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4.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5.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theme/theme7.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9.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0.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1.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2.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3.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4.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5.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6.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8.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1" r:id="rId4"/>
    <p:sldMasterId id="2147483865" r:id="rId5"/>
    <p:sldMasterId id="2147485083" r:id="rId6"/>
    <p:sldMasterId id="2147485229" r:id="rId7"/>
    <p:sldMasterId id="2147495047" r:id="rId8"/>
    <p:sldMasterId id="2147485482" r:id="rId9"/>
    <p:sldMasterId id="2147485528" r:id="rId10"/>
    <p:sldMasterId id="2147484934" r:id="rId11"/>
    <p:sldMasterId id="2147494834" r:id="rId12"/>
    <p:sldMasterId id="2147494857" r:id="rId13"/>
    <p:sldMasterId id="2147495049" r:id="rId14"/>
    <p:sldMasterId id="2147495085" r:id="rId15"/>
    <p:sldMasterId id="2147495105" r:id="rId16"/>
    <p:sldMasterId id="2147495108" r:id="rId17"/>
    <p:sldMasterId id="2147495114" r:id="rId18"/>
    <p:sldMasterId id="2147495145" r:id="rId19"/>
    <p:sldMasterId id="2147495151" r:id="rId20"/>
    <p:sldMasterId id="2147495204" r:id="rId21"/>
  </p:sldMasterIdLst>
  <p:notesMasterIdLst>
    <p:notesMasterId r:id="rId92"/>
  </p:notesMasterIdLst>
  <p:sldIdLst>
    <p:sldId id="2145705853" r:id="rId22"/>
    <p:sldId id="11112" r:id="rId23"/>
    <p:sldId id="2145705860" r:id="rId24"/>
    <p:sldId id="2145705861" r:id="rId25"/>
    <p:sldId id="275" r:id="rId26"/>
    <p:sldId id="2145705829" r:id="rId27"/>
    <p:sldId id="2145705844" r:id="rId28"/>
    <p:sldId id="2145705854" r:id="rId29"/>
    <p:sldId id="11931" r:id="rId30"/>
    <p:sldId id="11927" r:id="rId31"/>
    <p:sldId id="2076137012" r:id="rId32"/>
    <p:sldId id="2145705856" r:id="rId33"/>
    <p:sldId id="280" r:id="rId34"/>
    <p:sldId id="2145705830" r:id="rId35"/>
    <p:sldId id="2145705828" r:id="rId36"/>
    <p:sldId id="2145705831" r:id="rId37"/>
    <p:sldId id="2145705832" r:id="rId38"/>
    <p:sldId id="2145705836" r:id="rId39"/>
    <p:sldId id="2076137330" r:id="rId40"/>
    <p:sldId id="2145705857" r:id="rId41"/>
    <p:sldId id="2145705858" r:id="rId42"/>
    <p:sldId id="1933" r:id="rId43"/>
    <p:sldId id="1837" r:id="rId44"/>
    <p:sldId id="2076137329" r:id="rId45"/>
    <p:sldId id="388" r:id="rId46"/>
    <p:sldId id="389" r:id="rId47"/>
    <p:sldId id="390" r:id="rId48"/>
    <p:sldId id="2145705835" r:id="rId49"/>
    <p:sldId id="288" r:id="rId50"/>
    <p:sldId id="2145705852" r:id="rId51"/>
    <p:sldId id="2145705838" r:id="rId52"/>
    <p:sldId id="10054" r:id="rId53"/>
    <p:sldId id="2145705755" r:id="rId54"/>
    <p:sldId id="2145705855" r:id="rId55"/>
    <p:sldId id="2076137321" r:id="rId56"/>
    <p:sldId id="2076137322" r:id="rId57"/>
    <p:sldId id="2076137735" r:id="rId58"/>
    <p:sldId id="10057" r:id="rId59"/>
    <p:sldId id="11930" r:id="rId60"/>
    <p:sldId id="2076137736" r:id="rId61"/>
    <p:sldId id="10058" r:id="rId62"/>
    <p:sldId id="2076137759" r:id="rId63"/>
    <p:sldId id="2076137827" r:id="rId64"/>
    <p:sldId id="2076137760" r:id="rId65"/>
    <p:sldId id="2076137314" r:id="rId66"/>
    <p:sldId id="10244" r:id="rId67"/>
    <p:sldId id="2145705849" r:id="rId68"/>
    <p:sldId id="2076137315" r:id="rId69"/>
    <p:sldId id="9897" r:id="rId70"/>
    <p:sldId id="10022" r:id="rId71"/>
    <p:sldId id="2076137734" r:id="rId72"/>
    <p:sldId id="10038" r:id="rId73"/>
    <p:sldId id="11916" r:id="rId74"/>
    <p:sldId id="11933" r:id="rId75"/>
    <p:sldId id="2076137313" r:id="rId76"/>
    <p:sldId id="11932" r:id="rId77"/>
    <p:sldId id="11917" r:id="rId78"/>
    <p:sldId id="2145705848" r:id="rId79"/>
    <p:sldId id="2145705850" r:id="rId80"/>
    <p:sldId id="2145705851" r:id="rId81"/>
    <p:sldId id="2145705773" r:id="rId82"/>
    <p:sldId id="2145705687" r:id="rId83"/>
    <p:sldId id="2145705756" r:id="rId84"/>
    <p:sldId id="2145705840" r:id="rId85"/>
    <p:sldId id="2076137758" r:id="rId86"/>
    <p:sldId id="2076137309" r:id="rId87"/>
    <p:sldId id="2076137911" r:id="rId88"/>
    <p:sldId id="2076137400" r:id="rId89"/>
    <p:sldId id="1343" r:id="rId90"/>
    <p:sldId id="4472" r:id="rId9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12BC434A-1C45-45CD-A5AC-26AED7B8C594}">
          <p14:sldIdLst>
            <p14:sldId id="2145705853"/>
            <p14:sldId id="11112"/>
            <p14:sldId id="2145705860"/>
            <p14:sldId id="2145705861"/>
            <p14:sldId id="275"/>
            <p14:sldId id="2145705829"/>
            <p14:sldId id="2145705844"/>
            <p14:sldId id="2145705854"/>
            <p14:sldId id="11931"/>
            <p14:sldId id="11927"/>
            <p14:sldId id="2076137012"/>
            <p14:sldId id="2145705856"/>
            <p14:sldId id="280"/>
            <p14:sldId id="2145705830"/>
            <p14:sldId id="2145705828"/>
            <p14:sldId id="2145705831"/>
            <p14:sldId id="2145705832"/>
            <p14:sldId id="2145705836"/>
            <p14:sldId id="2076137330"/>
            <p14:sldId id="2145705857"/>
            <p14:sldId id="2145705858"/>
            <p14:sldId id="1933"/>
            <p14:sldId id="1837"/>
            <p14:sldId id="2076137329"/>
            <p14:sldId id="388"/>
            <p14:sldId id="389"/>
            <p14:sldId id="390"/>
            <p14:sldId id="2145705835"/>
            <p14:sldId id="288"/>
            <p14:sldId id="2145705852"/>
            <p14:sldId id="2145705838"/>
            <p14:sldId id="10054"/>
            <p14:sldId id="2145705755"/>
            <p14:sldId id="2145705855"/>
            <p14:sldId id="2076137321"/>
            <p14:sldId id="2076137322"/>
            <p14:sldId id="2076137735"/>
            <p14:sldId id="10057"/>
            <p14:sldId id="11930"/>
            <p14:sldId id="2076137736"/>
            <p14:sldId id="10058"/>
            <p14:sldId id="2076137759"/>
            <p14:sldId id="2076137827"/>
            <p14:sldId id="2076137760"/>
            <p14:sldId id="2076137314"/>
            <p14:sldId id="10244"/>
            <p14:sldId id="2145705849"/>
            <p14:sldId id="2076137315"/>
            <p14:sldId id="9897"/>
            <p14:sldId id="10022"/>
            <p14:sldId id="2076137734"/>
            <p14:sldId id="10038"/>
            <p14:sldId id="11916"/>
            <p14:sldId id="11933"/>
            <p14:sldId id="2076137313"/>
            <p14:sldId id="11932"/>
            <p14:sldId id="11917"/>
            <p14:sldId id="2145705848"/>
            <p14:sldId id="2145705850"/>
            <p14:sldId id="2145705851"/>
            <p14:sldId id="2145705773"/>
            <p14:sldId id="2145705687"/>
            <p14:sldId id="2145705756"/>
            <p14:sldId id="2145705840"/>
            <p14:sldId id="2076137758"/>
            <p14:sldId id="2076137309"/>
          </p14:sldIdLst>
        </p14:section>
        <p14:section name="Conclusion" id="{C136B04D-0FAC-453B-843A-7C78F66D3022}">
          <p14:sldIdLst>
            <p14:sldId id="2076137911"/>
            <p14:sldId id="2076137400"/>
            <p14:sldId id="1343"/>
            <p14:sldId id="4472"/>
          </p14:sldIdLst>
        </p14:section>
      </p14:sectionLst>
    </p:ext>
    <p:ext uri="{EFAFB233-063F-42B5-8137-9DF3F51BA10A}">
      <p15:sldGuideLst xmlns:p15="http://schemas.microsoft.com/office/powerpoint/2012/main">
        <p15:guide id="1" orient="horz" pos="672" userDrawn="1">
          <p15:clr>
            <a:srgbClr val="A4A3A4"/>
          </p15:clr>
        </p15:guide>
        <p15:guide id="2" pos="384" userDrawn="1">
          <p15:clr>
            <a:srgbClr val="A4A3A4"/>
          </p15:clr>
        </p15:guide>
        <p15:guide id="4" orient="horz" pos="304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iser Larsen" initials="KL" lastIdx="22" clrIdx="0">
    <p:extLst>
      <p:ext uri="{19B8F6BF-5375-455C-9EA6-DF929625EA0E}">
        <p15:presenceInfo xmlns:p15="http://schemas.microsoft.com/office/powerpoint/2012/main" userId="S::kalarse@microsoft.com::8275e704-f1f8-4fe1-a9ff-7bd738bf64dc" providerId="AD"/>
      </p:ext>
    </p:extLst>
  </p:cmAuthor>
  <p:cmAuthor id="2" name="Donald McGill" initials="DM" lastIdx="2" clrIdx="1">
    <p:extLst>
      <p:ext uri="{19B8F6BF-5375-455C-9EA6-DF929625EA0E}">
        <p15:presenceInfo xmlns:p15="http://schemas.microsoft.com/office/powerpoint/2012/main" userId="S::domcgill@microsoft.com::fbbf20ce-f541-4e7b-954f-57828c08bb9c" providerId="AD"/>
      </p:ext>
    </p:extLst>
  </p:cmAuthor>
  <p:cmAuthor id="3" name="Anny Dow" initials="AD" lastIdx="1" clrIdx="2">
    <p:extLst>
      <p:ext uri="{19B8F6BF-5375-455C-9EA6-DF929625EA0E}">
        <p15:presenceInfo xmlns:p15="http://schemas.microsoft.com/office/powerpoint/2012/main" userId="S::andow@microsoft.com::9ff7f0fa-a4bb-41b1-bc0b-804f591018db" providerId="AD"/>
      </p:ext>
    </p:extLst>
  </p:cmAuthor>
  <p:cmAuthor id="4" name="Nick Dwyer" initials="ND" lastIdx="12" clrIdx="3">
    <p:extLst>
      <p:ext uri="{19B8F6BF-5375-455C-9EA6-DF929625EA0E}">
        <p15:presenceInfo xmlns:p15="http://schemas.microsoft.com/office/powerpoint/2012/main" userId="S::Nick@2a.consulting::637372cd-8f04-49e1-a9c8-f5dbbdc447be" providerId="AD"/>
      </p:ext>
    </p:extLst>
  </p:cmAuthor>
  <p:cmAuthor id="5" name="Abby Breckenridge" initials="AB" lastIdx="13" clrIdx="4">
    <p:extLst>
      <p:ext uri="{19B8F6BF-5375-455C-9EA6-DF929625EA0E}">
        <p15:presenceInfo xmlns:p15="http://schemas.microsoft.com/office/powerpoint/2012/main" userId="S::Abby@2a.consulting::7484eb34-6984-436c-a1dc-76d180b2272f" providerId="AD"/>
      </p:ext>
    </p:extLst>
  </p:cmAuthor>
  <p:cmAuthor id="6" name="Owen Bitas" initials="OB" lastIdx="43" clrIdx="5">
    <p:extLst>
      <p:ext uri="{19B8F6BF-5375-455C-9EA6-DF929625EA0E}">
        <p15:presenceInfo xmlns:p15="http://schemas.microsoft.com/office/powerpoint/2012/main" userId="S::owen@2a.consulting::6ad0175d-ec2d-443a-9b24-991d0f2449e4" providerId="AD"/>
      </p:ext>
    </p:extLst>
  </p:cmAuthor>
  <p:cmAuthor id="7" name="Sarah Silva" initials="SS" lastIdx="12" clrIdx="6">
    <p:extLst>
      <p:ext uri="{19B8F6BF-5375-455C-9EA6-DF929625EA0E}">
        <p15:presenceInfo xmlns:p15="http://schemas.microsoft.com/office/powerpoint/2012/main" userId="S::sarah@2a.consulting::c5438fce-4105-481a-92ae-1da751e199b6" providerId="AD"/>
      </p:ext>
    </p:extLst>
  </p:cmAuthor>
  <p:cmAuthor id="8" name="Rachel Sacks" initials="RS" lastIdx="3" clrIdx="7">
    <p:extLst>
      <p:ext uri="{19B8F6BF-5375-455C-9EA6-DF929625EA0E}">
        <p15:presenceInfo xmlns:p15="http://schemas.microsoft.com/office/powerpoint/2012/main" userId="S::rachel@2a.consulting::8cf077d4-1e76-4bc4-ba9c-23f8284f1584" providerId="AD"/>
      </p:ext>
    </p:extLst>
  </p:cmAuthor>
  <p:cmAuthor id="9" name="Kyle Luikart" initials="KL" lastIdx="189" clrIdx="8">
    <p:extLst>
      <p:ext uri="{19B8F6BF-5375-455C-9EA6-DF929625EA0E}">
        <p15:presenceInfo xmlns:p15="http://schemas.microsoft.com/office/powerpoint/2012/main" userId="S::Kyle@2a.consulting::cc0bb450-253e-469e-832b-61acd4564af8" providerId="AD"/>
      </p:ext>
    </p:extLst>
  </p:cmAuthor>
  <p:cmAuthor id="10" name="Evan Aeschlimann" initials="EA" lastIdx="4" clrIdx="9"/>
  <p:cmAuthor id="11" name="Kelly Schermer" initials="KS" lastIdx="56" clrIdx="10">
    <p:extLst>
      <p:ext uri="{19B8F6BF-5375-455C-9EA6-DF929625EA0E}">
        <p15:presenceInfo xmlns:p15="http://schemas.microsoft.com/office/powerpoint/2012/main" userId="S::Kelly@2a.consulting::5de02e10-d631-4fcc-af0e-2ee13668d348" providerId="AD"/>
      </p:ext>
    </p:extLst>
  </p:cmAuthor>
  <p:cmAuthor id="12" name="Brandon Conboy" initials="BC" lastIdx="35" clrIdx="11">
    <p:extLst>
      <p:ext uri="{19B8F6BF-5375-455C-9EA6-DF929625EA0E}">
        <p15:presenceInfo xmlns:p15="http://schemas.microsoft.com/office/powerpoint/2012/main" userId="Brandon Conboy" providerId="None"/>
      </p:ext>
    </p:extLst>
  </p:cmAuthor>
  <p:cmAuthor id="13" name="Brandon Conboy" initials="BC [2]" lastIdx="31" clrIdx="12">
    <p:extLst>
      <p:ext uri="{19B8F6BF-5375-455C-9EA6-DF929625EA0E}">
        <p15:presenceInfo xmlns:p15="http://schemas.microsoft.com/office/powerpoint/2012/main" userId="22fc5c5e82777a7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F4D00"/>
    <a:srgbClr val="60A629"/>
    <a:srgbClr val="000000"/>
    <a:srgbClr val="00883C"/>
    <a:srgbClr val="FF7C00"/>
    <a:srgbClr val="E3008C"/>
    <a:srgbClr val="FFF100"/>
    <a:srgbClr val="E6E6E6"/>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400" autoAdjust="0"/>
    <p:restoredTop sz="85826" autoAdjust="0"/>
  </p:normalViewPr>
  <p:slideViewPr>
    <p:cSldViewPr snapToGrid="0">
      <p:cViewPr varScale="1">
        <p:scale>
          <a:sx n="70" d="100"/>
          <a:sy n="70" d="100"/>
        </p:scale>
        <p:origin x="96" y="58"/>
      </p:cViewPr>
      <p:guideLst>
        <p:guide orient="horz" pos="672"/>
        <p:guide pos="384"/>
        <p:guide orient="horz" pos="3048"/>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5" Type="http://schemas.openxmlformats.org/officeDocument/2006/relationships/slideMaster" Target="slideMasters/slideMaster2.xml"/><Relationship Id="rId90" Type="http://schemas.openxmlformats.org/officeDocument/2006/relationships/slide" Target="slides/slide69.xml"/><Relationship Id="rId95" Type="http://schemas.openxmlformats.org/officeDocument/2006/relationships/viewProps" Target="viewProps.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80" Type="http://schemas.openxmlformats.org/officeDocument/2006/relationships/slide" Target="slides/slide59.xml"/><Relationship Id="rId85" Type="http://schemas.openxmlformats.org/officeDocument/2006/relationships/slide" Target="slides/slide6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slide" Target="slides/slide67.xml"/><Relationship Id="rId91" Type="http://schemas.openxmlformats.org/officeDocument/2006/relationships/slide" Target="slides/slide70.xml"/><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0.xml"/><Relationship Id="rId9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383F44-B2B8-4628-A442-8F4CAF01295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CD506167-C644-4C9C-82F6-46F284CC67C9}">
      <dgm:prSet custT="1"/>
      <dgm:spPr>
        <a:solidFill>
          <a:schemeClr val="accent1">
            <a:lumMod val="75000"/>
          </a:schemeClr>
        </a:solidFill>
      </dgm:spPr>
      <dgm:t>
        <a:bodyPr/>
        <a:lstStyle/>
        <a:p>
          <a:r>
            <a:rPr lang="en-US" sz="2400" baseline="0" dirty="0"/>
            <a:t>Azure Synapse Concepts and Terminologies (120 minutes)</a:t>
          </a:r>
          <a:endParaRPr lang="en-US" sz="2400" dirty="0"/>
        </a:p>
      </dgm:t>
    </dgm:pt>
    <dgm:pt modelId="{09EC2586-618D-4B2E-BFF9-EE42FA4F0ABC}" type="parTrans" cxnId="{90A33D5B-2FA8-40CB-B7D7-BB4B548AD144}">
      <dgm:prSet/>
      <dgm:spPr/>
      <dgm:t>
        <a:bodyPr/>
        <a:lstStyle/>
        <a:p>
          <a:endParaRPr lang="en-US"/>
        </a:p>
      </dgm:t>
    </dgm:pt>
    <dgm:pt modelId="{C848B51D-F957-42AC-B879-3AA97DC10511}" type="sibTrans" cxnId="{90A33D5B-2FA8-40CB-B7D7-BB4B548AD144}">
      <dgm:prSet/>
      <dgm:spPr/>
      <dgm:t>
        <a:bodyPr/>
        <a:lstStyle/>
        <a:p>
          <a:endParaRPr lang="en-US"/>
        </a:p>
      </dgm:t>
    </dgm:pt>
    <dgm:pt modelId="{B292125A-DDA4-4E03-86D7-D22BAD4F0C74}">
      <dgm:prSet/>
      <dgm:spPr/>
      <dgm:t>
        <a:bodyPr/>
        <a:lstStyle/>
        <a:p>
          <a:r>
            <a:rPr lang="en-US" baseline="0"/>
            <a:t>What is Azure Synapse?</a:t>
          </a:r>
          <a:endParaRPr lang="en-US"/>
        </a:p>
      </dgm:t>
    </dgm:pt>
    <dgm:pt modelId="{CDD37949-8A01-4B14-91B3-543EEF7E1DFD}" type="parTrans" cxnId="{D2302516-841F-4C70-9765-74C680001257}">
      <dgm:prSet/>
      <dgm:spPr/>
      <dgm:t>
        <a:bodyPr/>
        <a:lstStyle/>
        <a:p>
          <a:endParaRPr lang="en-US"/>
        </a:p>
      </dgm:t>
    </dgm:pt>
    <dgm:pt modelId="{0FD95588-B5C5-4DB9-9E53-F076AF31E735}" type="sibTrans" cxnId="{D2302516-841F-4C70-9765-74C680001257}">
      <dgm:prSet/>
      <dgm:spPr/>
      <dgm:t>
        <a:bodyPr/>
        <a:lstStyle/>
        <a:p>
          <a:endParaRPr lang="en-US"/>
        </a:p>
      </dgm:t>
    </dgm:pt>
    <dgm:pt modelId="{F0ABF080-A633-4EE1-96FA-111FC0752D26}">
      <dgm:prSet/>
      <dgm:spPr/>
      <dgm:t>
        <a:bodyPr/>
        <a:lstStyle/>
        <a:p>
          <a:r>
            <a:rPr lang="en-US" baseline="0"/>
            <a:t>Overview of Modern Data Warehousing</a:t>
          </a:r>
          <a:endParaRPr lang="en-US"/>
        </a:p>
      </dgm:t>
    </dgm:pt>
    <dgm:pt modelId="{5A92F174-C45C-43A8-9740-DE30082F7829}" type="parTrans" cxnId="{7A430CCC-11E2-46BA-8A90-B2BE6DEE6407}">
      <dgm:prSet/>
      <dgm:spPr/>
      <dgm:t>
        <a:bodyPr/>
        <a:lstStyle/>
        <a:p>
          <a:endParaRPr lang="en-US"/>
        </a:p>
      </dgm:t>
    </dgm:pt>
    <dgm:pt modelId="{E14F0474-5C54-4600-B08C-E1786884FB75}" type="sibTrans" cxnId="{7A430CCC-11E2-46BA-8A90-B2BE6DEE6407}">
      <dgm:prSet/>
      <dgm:spPr/>
      <dgm:t>
        <a:bodyPr/>
        <a:lstStyle/>
        <a:p>
          <a:endParaRPr lang="en-US"/>
        </a:p>
      </dgm:t>
    </dgm:pt>
    <dgm:pt modelId="{2CBD792A-3146-42EF-A28D-6D3DB35308E1}">
      <dgm:prSet/>
      <dgm:spPr/>
      <dgm:t>
        <a:bodyPr/>
        <a:lstStyle/>
        <a:p>
          <a:r>
            <a:rPr lang="en-US" baseline="0" dirty="0"/>
            <a:t>Scaling Massively Parallel Processing (MPP)</a:t>
          </a:r>
          <a:endParaRPr lang="en-US" dirty="0"/>
        </a:p>
      </dgm:t>
    </dgm:pt>
    <dgm:pt modelId="{2BEFAB36-65B0-46DA-8D1F-C2AB9BA7D178}" type="parTrans" cxnId="{9FE6863F-C528-4E54-B359-6E5B3F9AC84E}">
      <dgm:prSet/>
      <dgm:spPr/>
      <dgm:t>
        <a:bodyPr/>
        <a:lstStyle/>
        <a:p>
          <a:endParaRPr lang="en-US"/>
        </a:p>
      </dgm:t>
    </dgm:pt>
    <dgm:pt modelId="{C9D28425-01D2-42F4-952D-39E350C1F1E3}" type="sibTrans" cxnId="{9FE6863F-C528-4E54-B359-6E5B3F9AC84E}">
      <dgm:prSet/>
      <dgm:spPr/>
      <dgm:t>
        <a:bodyPr/>
        <a:lstStyle/>
        <a:p>
          <a:endParaRPr lang="en-US"/>
        </a:p>
      </dgm:t>
    </dgm:pt>
    <dgm:pt modelId="{188D2CDC-7E15-4ACF-9745-57C66C55D1A4}">
      <dgm:prSet/>
      <dgm:spPr/>
      <dgm:t>
        <a:bodyPr/>
        <a:lstStyle/>
        <a:p>
          <a:r>
            <a:rPr lang="en-US" baseline="0" dirty="0"/>
            <a:t>Azure Synapse SQL Pool Architecture</a:t>
          </a:r>
          <a:endParaRPr lang="en-US" dirty="0"/>
        </a:p>
      </dgm:t>
    </dgm:pt>
    <dgm:pt modelId="{FE479C15-FF98-4AD7-967E-2575B32F03AE}" type="parTrans" cxnId="{4DA8A151-EDAD-4322-90E6-3B94AB4AEE49}">
      <dgm:prSet/>
      <dgm:spPr/>
      <dgm:t>
        <a:bodyPr/>
        <a:lstStyle/>
        <a:p>
          <a:endParaRPr lang="en-US"/>
        </a:p>
      </dgm:t>
    </dgm:pt>
    <dgm:pt modelId="{3D3517F5-EF01-4A90-892C-7196B44C3EBE}" type="sibTrans" cxnId="{4DA8A151-EDAD-4322-90E6-3B94AB4AEE49}">
      <dgm:prSet/>
      <dgm:spPr/>
      <dgm:t>
        <a:bodyPr/>
        <a:lstStyle/>
        <a:p>
          <a:endParaRPr lang="en-US"/>
        </a:p>
      </dgm:t>
    </dgm:pt>
    <dgm:pt modelId="{26515196-3A6F-4764-88F3-722C3BD14E90}">
      <dgm:prSet/>
      <dgm:spPr/>
      <dgm:t>
        <a:bodyPr/>
        <a:lstStyle/>
        <a:p>
          <a:r>
            <a:rPr lang="en-US" baseline="0" dirty="0"/>
            <a:t>Table Distributions in SQL Pools</a:t>
          </a:r>
          <a:endParaRPr lang="en-US" dirty="0"/>
        </a:p>
      </dgm:t>
    </dgm:pt>
    <dgm:pt modelId="{CF6576B6-396C-49C6-9163-E65C50B1B20F}" type="parTrans" cxnId="{82D5A89E-F1F2-4B2C-B358-EAF8504558D1}">
      <dgm:prSet/>
      <dgm:spPr/>
      <dgm:t>
        <a:bodyPr/>
        <a:lstStyle/>
        <a:p>
          <a:endParaRPr lang="en-US"/>
        </a:p>
      </dgm:t>
    </dgm:pt>
    <dgm:pt modelId="{E6159C54-1520-4AFD-A69D-D5D118FB3D28}" type="sibTrans" cxnId="{82D5A89E-F1F2-4B2C-B358-EAF8504558D1}">
      <dgm:prSet/>
      <dgm:spPr/>
      <dgm:t>
        <a:bodyPr/>
        <a:lstStyle/>
        <a:p>
          <a:endParaRPr lang="en-US"/>
        </a:p>
      </dgm:t>
    </dgm:pt>
    <dgm:pt modelId="{8DC2C98A-B24F-4D4A-BAE5-FC225F002567}">
      <dgm:prSet custT="1"/>
      <dgm:spPr/>
      <dgm:t>
        <a:bodyPr/>
        <a:lstStyle/>
        <a:p>
          <a:r>
            <a:rPr lang="en-US" sz="2400" baseline="0" dirty="0"/>
            <a:t>Azure Synapse in a day is a demo driven engagement where the attendee can achieve the most in the least amount of time. It is geared to showcase all the key components of Azure Synapse Analytics. </a:t>
          </a:r>
          <a:endParaRPr lang="en-US" sz="2400" dirty="0"/>
        </a:p>
      </dgm:t>
    </dgm:pt>
    <dgm:pt modelId="{58AC5887-10D2-4D73-BE03-DA110BB30268}" type="sibTrans" cxnId="{05EBC03F-02DB-48F9-8136-39717A86A9DC}">
      <dgm:prSet/>
      <dgm:spPr/>
      <dgm:t>
        <a:bodyPr/>
        <a:lstStyle/>
        <a:p>
          <a:endParaRPr lang="en-US"/>
        </a:p>
      </dgm:t>
    </dgm:pt>
    <dgm:pt modelId="{1A5BE044-5E78-4E91-BA51-B964AB2BFB01}" type="parTrans" cxnId="{05EBC03F-02DB-48F9-8136-39717A86A9DC}">
      <dgm:prSet/>
      <dgm:spPr/>
      <dgm:t>
        <a:bodyPr/>
        <a:lstStyle/>
        <a:p>
          <a:endParaRPr lang="en-US"/>
        </a:p>
      </dgm:t>
    </dgm:pt>
    <dgm:pt modelId="{D05B0772-8196-4ED4-BCF6-12242338B79E}" type="pres">
      <dgm:prSet presAssocID="{26383F44-B2B8-4628-A442-8F4CAF012956}" presName="linear" presStyleCnt="0">
        <dgm:presLayoutVars>
          <dgm:animLvl val="lvl"/>
          <dgm:resizeHandles val="exact"/>
        </dgm:presLayoutVars>
      </dgm:prSet>
      <dgm:spPr/>
    </dgm:pt>
    <dgm:pt modelId="{C9BD76BE-9482-467D-8C8A-E491FACBA516}" type="pres">
      <dgm:prSet presAssocID="{8DC2C98A-B24F-4D4A-BAE5-FC225F002567}" presName="parentText" presStyleLbl="node1" presStyleIdx="0" presStyleCnt="2">
        <dgm:presLayoutVars>
          <dgm:chMax val="0"/>
          <dgm:bulletEnabled val="1"/>
        </dgm:presLayoutVars>
      </dgm:prSet>
      <dgm:spPr/>
    </dgm:pt>
    <dgm:pt modelId="{6C4880D3-FFD0-4B2B-917C-0B6EDAD78AA0}" type="pres">
      <dgm:prSet presAssocID="{58AC5887-10D2-4D73-BE03-DA110BB30268}" presName="spacer" presStyleCnt="0"/>
      <dgm:spPr/>
    </dgm:pt>
    <dgm:pt modelId="{FF6D5B08-E4BA-4DBE-B6ED-7073FB24ADA6}" type="pres">
      <dgm:prSet presAssocID="{CD506167-C644-4C9C-82F6-46F284CC67C9}" presName="parentText" presStyleLbl="node1" presStyleIdx="1" presStyleCnt="2">
        <dgm:presLayoutVars>
          <dgm:chMax val="0"/>
          <dgm:bulletEnabled val="1"/>
        </dgm:presLayoutVars>
      </dgm:prSet>
      <dgm:spPr/>
    </dgm:pt>
    <dgm:pt modelId="{81B57021-C802-4B2D-822C-713BDB1D4007}" type="pres">
      <dgm:prSet presAssocID="{CD506167-C644-4C9C-82F6-46F284CC67C9}" presName="childText" presStyleLbl="revTx" presStyleIdx="0" presStyleCnt="1">
        <dgm:presLayoutVars>
          <dgm:bulletEnabled val="1"/>
        </dgm:presLayoutVars>
      </dgm:prSet>
      <dgm:spPr/>
    </dgm:pt>
  </dgm:ptLst>
  <dgm:cxnLst>
    <dgm:cxn modelId="{D2302516-841F-4C70-9765-74C680001257}" srcId="{CD506167-C644-4C9C-82F6-46F284CC67C9}" destId="{B292125A-DDA4-4E03-86D7-D22BAD4F0C74}" srcOrd="0" destOrd="0" parTransId="{CDD37949-8A01-4B14-91B3-543EEF7E1DFD}" sibTransId="{0FD95588-B5C5-4DB9-9E53-F076AF31E735}"/>
    <dgm:cxn modelId="{2B028B23-FBEB-472B-B234-CA658B37DDDA}" type="presOf" srcId="{CD506167-C644-4C9C-82F6-46F284CC67C9}" destId="{FF6D5B08-E4BA-4DBE-B6ED-7073FB24ADA6}" srcOrd="0" destOrd="0" presId="urn:microsoft.com/office/officeart/2005/8/layout/vList2"/>
    <dgm:cxn modelId="{A0110226-5979-48EC-831C-CE5F15B4BA25}" type="presOf" srcId="{F0ABF080-A633-4EE1-96FA-111FC0752D26}" destId="{81B57021-C802-4B2D-822C-713BDB1D4007}" srcOrd="0" destOrd="1" presId="urn:microsoft.com/office/officeart/2005/8/layout/vList2"/>
    <dgm:cxn modelId="{9FE6863F-C528-4E54-B359-6E5B3F9AC84E}" srcId="{CD506167-C644-4C9C-82F6-46F284CC67C9}" destId="{2CBD792A-3146-42EF-A28D-6D3DB35308E1}" srcOrd="2" destOrd="0" parTransId="{2BEFAB36-65B0-46DA-8D1F-C2AB9BA7D178}" sibTransId="{C9D28425-01D2-42F4-952D-39E350C1F1E3}"/>
    <dgm:cxn modelId="{05EBC03F-02DB-48F9-8136-39717A86A9DC}" srcId="{26383F44-B2B8-4628-A442-8F4CAF012956}" destId="{8DC2C98A-B24F-4D4A-BAE5-FC225F002567}" srcOrd="0" destOrd="0" parTransId="{1A5BE044-5E78-4E91-BA51-B964AB2BFB01}" sibTransId="{58AC5887-10D2-4D73-BE03-DA110BB30268}"/>
    <dgm:cxn modelId="{90A33D5B-2FA8-40CB-B7D7-BB4B548AD144}" srcId="{26383F44-B2B8-4628-A442-8F4CAF012956}" destId="{CD506167-C644-4C9C-82F6-46F284CC67C9}" srcOrd="1" destOrd="0" parTransId="{09EC2586-618D-4B2E-BFF9-EE42FA4F0ABC}" sibTransId="{C848B51D-F957-42AC-B879-3AA97DC10511}"/>
    <dgm:cxn modelId="{4DA8A151-EDAD-4322-90E6-3B94AB4AEE49}" srcId="{CD506167-C644-4C9C-82F6-46F284CC67C9}" destId="{188D2CDC-7E15-4ACF-9745-57C66C55D1A4}" srcOrd="3" destOrd="0" parTransId="{FE479C15-FF98-4AD7-967E-2575B32F03AE}" sibTransId="{3D3517F5-EF01-4A90-892C-7196B44C3EBE}"/>
    <dgm:cxn modelId="{09EA5B9B-93ED-420A-A388-E56734C2241B}" type="presOf" srcId="{2CBD792A-3146-42EF-A28D-6D3DB35308E1}" destId="{81B57021-C802-4B2D-822C-713BDB1D4007}" srcOrd="0" destOrd="2" presId="urn:microsoft.com/office/officeart/2005/8/layout/vList2"/>
    <dgm:cxn modelId="{82D5A89E-F1F2-4B2C-B358-EAF8504558D1}" srcId="{CD506167-C644-4C9C-82F6-46F284CC67C9}" destId="{26515196-3A6F-4764-88F3-722C3BD14E90}" srcOrd="4" destOrd="0" parTransId="{CF6576B6-396C-49C6-9163-E65C50B1B20F}" sibTransId="{E6159C54-1520-4AFD-A69D-D5D118FB3D28}"/>
    <dgm:cxn modelId="{9D1A9DB5-262F-44DB-AECE-279DD8520553}" type="presOf" srcId="{B292125A-DDA4-4E03-86D7-D22BAD4F0C74}" destId="{81B57021-C802-4B2D-822C-713BDB1D4007}" srcOrd="0" destOrd="0" presId="urn:microsoft.com/office/officeart/2005/8/layout/vList2"/>
    <dgm:cxn modelId="{DE75E9B7-0F91-4C4B-89BE-5F57BBFE9F92}" type="presOf" srcId="{188D2CDC-7E15-4ACF-9745-57C66C55D1A4}" destId="{81B57021-C802-4B2D-822C-713BDB1D4007}" srcOrd="0" destOrd="3" presId="urn:microsoft.com/office/officeart/2005/8/layout/vList2"/>
    <dgm:cxn modelId="{7A430CCC-11E2-46BA-8A90-B2BE6DEE6407}" srcId="{CD506167-C644-4C9C-82F6-46F284CC67C9}" destId="{F0ABF080-A633-4EE1-96FA-111FC0752D26}" srcOrd="1" destOrd="0" parTransId="{5A92F174-C45C-43A8-9740-DE30082F7829}" sibTransId="{E14F0474-5C54-4600-B08C-E1786884FB75}"/>
    <dgm:cxn modelId="{18985CDD-9723-471B-BBF7-5574FC5175AA}" type="presOf" srcId="{8DC2C98A-B24F-4D4A-BAE5-FC225F002567}" destId="{C9BD76BE-9482-467D-8C8A-E491FACBA516}" srcOrd="0" destOrd="0" presId="urn:microsoft.com/office/officeart/2005/8/layout/vList2"/>
    <dgm:cxn modelId="{FBD48AE7-1C91-4AA7-93C2-FF7AD19FFA10}" type="presOf" srcId="{26383F44-B2B8-4628-A442-8F4CAF012956}" destId="{D05B0772-8196-4ED4-BCF6-12242338B79E}" srcOrd="0" destOrd="0" presId="urn:microsoft.com/office/officeart/2005/8/layout/vList2"/>
    <dgm:cxn modelId="{2CF42EEF-5F1C-42FC-BE16-AB21B5BD6C25}" type="presOf" srcId="{26515196-3A6F-4764-88F3-722C3BD14E90}" destId="{81B57021-C802-4B2D-822C-713BDB1D4007}" srcOrd="0" destOrd="4" presId="urn:microsoft.com/office/officeart/2005/8/layout/vList2"/>
    <dgm:cxn modelId="{121468FD-13EC-4D23-BD76-535ACDE5FD31}" type="presParOf" srcId="{D05B0772-8196-4ED4-BCF6-12242338B79E}" destId="{C9BD76BE-9482-467D-8C8A-E491FACBA516}" srcOrd="0" destOrd="0" presId="urn:microsoft.com/office/officeart/2005/8/layout/vList2"/>
    <dgm:cxn modelId="{5B772F11-633F-4375-84CC-F698CA69A5C5}" type="presParOf" srcId="{D05B0772-8196-4ED4-BCF6-12242338B79E}" destId="{6C4880D3-FFD0-4B2B-917C-0B6EDAD78AA0}" srcOrd="1" destOrd="0" presId="urn:microsoft.com/office/officeart/2005/8/layout/vList2"/>
    <dgm:cxn modelId="{906FF99A-39A8-45B4-B0C7-C6545FCFFBA7}" type="presParOf" srcId="{D05B0772-8196-4ED4-BCF6-12242338B79E}" destId="{FF6D5B08-E4BA-4DBE-B6ED-7073FB24ADA6}" srcOrd="2" destOrd="0" presId="urn:microsoft.com/office/officeart/2005/8/layout/vList2"/>
    <dgm:cxn modelId="{6D9672AA-B5DA-49AB-B149-D0342C93A090}" type="presParOf" srcId="{D05B0772-8196-4ED4-BCF6-12242338B79E}" destId="{81B57021-C802-4B2D-822C-713BDB1D4007}"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383F44-B2B8-4628-A442-8F4CAF012956}"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8DC2C98A-B24F-4D4A-BAE5-FC225F002567}">
      <dgm:prSet custT="1"/>
      <dgm:spPr/>
      <dgm:t>
        <a:bodyPr/>
        <a:lstStyle/>
        <a:p>
          <a:r>
            <a:rPr lang="en-US" sz="1800" dirty="0">
              <a:ln w="3175"/>
              <a:latin typeface="+mj-lt"/>
              <a:cs typeface="Segoe UI" pitchFamily="34" charset="0"/>
            </a:rPr>
            <a:t>Demo 01 </a:t>
          </a:r>
          <a:endParaRPr lang="en-US" sz="1800" dirty="0"/>
        </a:p>
      </dgm:t>
    </dgm:pt>
    <dgm:pt modelId="{58AC5887-10D2-4D73-BE03-DA110BB30268}" type="sibTrans" cxnId="{05EBC03F-02DB-48F9-8136-39717A86A9DC}">
      <dgm:prSet/>
      <dgm:spPr/>
      <dgm:t>
        <a:bodyPr/>
        <a:lstStyle/>
        <a:p>
          <a:endParaRPr lang="en-US"/>
        </a:p>
      </dgm:t>
    </dgm:pt>
    <dgm:pt modelId="{1A5BE044-5E78-4E91-BA51-B964AB2BFB01}" type="parTrans" cxnId="{05EBC03F-02DB-48F9-8136-39717A86A9DC}">
      <dgm:prSet/>
      <dgm:spPr/>
      <dgm:t>
        <a:bodyPr/>
        <a:lstStyle/>
        <a:p>
          <a:endParaRPr lang="en-US"/>
        </a:p>
      </dgm:t>
    </dgm:pt>
    <dgm:pt modelId="{A434F160-3DF3-47C1-A6E7-7E3AE42404D8}">
      <dgm:prSet custT="1"/>
      <dgm:spPr/>
      <dgm:t>
        <a:bodyPr/>
        <a:lstStyle/>
        <a:p>
          <a:r>
            <a:rPr lang="en-US" sz="1800" dirty="0">
              <a:ln w="3175"/>
              <a:latin typeface="+mj-lt"/>
              <a:cs typeface="Segoe UI" pitchFamily="34" charset="0"/>
            </a:rPr>
            <a:t>Create Synapse Workspace</a:t>
          </a:r>
        </a:p>
      </dgm:t>
    </dgm:pt>
    <dgm:pt modelId="{30084888-60F3-43AF-AE6E-D780772EAD49}" type="parTrans" cxnId="{AE07B463-62D7-48CB-BCD2-84196A437CFC}">
      <dgm:prSet/>
      <dgm:spPr/>
      <dgm:t>
        <a:bodyPr/>
        <a:lstStyle/>
        <a:p>
          <a:endParaRPr lang="en-US"/>
        </a:p>
      </dgm:t>
    </dgm:pt>
    <dgm:pt modelId="{850287F3-B02A-4B6A-B275-BB838C23F2EB}" type="sibTrans" cxnId="{AE07B463-62D7-48CB-BCD2-84196A437CFC}">
      <dgm:prSet/>
      <dgm:spPr/>
      <dgm:t>
        <a:bodyPr/>
        <a:lstStyle/>
        <a:p>
          <a:endParaRPr lang="en-US"/>
        </a:p>
      </dgm:t>
    </dgm:pt>
    <dgm:pt modelId="{EA78B30D-B550-4B66-9F00-822245738835}">
      <dgm:prSet custT="1"/>
      <dgm:spPr/>
      <dgm:t>
        <a:bodyPr/>
        <a:lstStyle/>
        <a:p>
          <a:r>
            <a:rPr lang="en-US" sz="1800">
              <a:ln w="3175"/>
              <a:latin typeface="+mj-lt"/>
              <a:cs typeface="Segoe UI" pitchFamily="34" charset="0"/>
            </a:rPr>
            <a:t>Overview of Synapse Studio</a:t>
          </a:r>
          <a:endParaRPr lang="en-US" sz="1800" dirty="0">
            <a:ln w="3175"/>
            <a:latin typeface="+mj-lt"/>
            <a:cs typeface="Segoe UI" pitchFamily="34" charset="0"/>
          </a:endParaRPr>
        </a:p>
      </dgm:t>
    </dgm:pt>
    <dgm:pt modelId="{07A142B4-86F9-4CB7-AEF9-63410BB9288C}" type="parTrans" cxnId="{34426F06-5ED5-4A0E-BF36-E697790DE52A}">
      <dgm:prSet/>
      <dgm:spPr/>
      <dgm:t>
        <a:bodyPr/>
        <a:lstStyle/>
        <a:p>
          <a:endParaRPr lang="en-US"/>
        </a:p>
      </dgm:t>
    </dgm:pt>
    <dgm:pt modelId="{C848F05D-A9EE-4B9B-ACE7-8741AD497FC0}" type="sibTrans" cxnId="{34426F06-5ED5-4A0E-BF36-E697790DE52A}">
      <dgm:prSet/>
      <dgm:spPr/>
      <dgm:t>
        <a:bodyPr/>
        <a:lstStyle/>
        <a:p>
          <a:endParaRPr lang="en-US"/>
        </a:p>
      </dgm:t>
    </dgm:pt>
    <dgm:pt modelId="{A93943DC-722F-44FE-84CD-53071FDE96D4}">
      <dgm:prSet custT="1"/>
      <dgm:spPr/>
      <dgm:t>
        <a:bodyPr/>
        <a:lstStyle/>
        <a:p>
          <a:r>
            <a:rPr lang="en-US" sz="1800">
              <a:ln w="3175"/>
              <a:latin typeface="+mj-lt"/>
              <a:cs typeface="Segoe UI" pitchFamily="34" charset="0"/>
            </a:rPr>
            <a:t>Create SQL Pools</a:t>
          </a:r>
          <a:endParaRPr lang="en-US" sz="1800" dirty="0">
            <a:ln w="3175"/>
            <a:latin typeface="+mj-lt"/>
            <a:cs typeface="Segoe UI" pitchFamily="34" charset="0"/>
          </a:endParaRPr>
        </a:p>
      </dgm:t>
    </dgm:pt>
    <dgm:pt modelId="{AA151DC9-155E-461C-B615-27638C8C2123}" type="parTrans" cxnId="{F19829A2-C289-4F8B-AFD3-051824299ECD}">
      <dgm:prSet/>
      <dgm:spPr/>
      <dgm:t>
        <a:bodyPr/>
        <a:lstStyle/>
        <a:p>
          <a:endParaRPr lang="en-US"/>
        </a:p>
      </dgm:t>
    </dgm:pt>
    <dgm:pt modelId="{927A37DB-069F-4329-994A-DA48D345325B}" type="sibTrans" cxnId="{F19829A2-C289-4F8B-AFD3-051824299ECD}">
      <dgm:prSet/>
      <dgm:spPr/>
      <dgm:t>
        <a:bodyPr/>
        <a:lstStyle/>
        <a:p>
          <a:endParaRPr lang="en-US"/>
        </a:p>
      </dgm:t>
    </dgm:pt>
    <dgm:pt modelId="{8C628B80-FFDE-4907-8D52-2A10B71A59C5}">
      <dgm:prSet custT="1"/>
      <dgm:spPr/>
      <dgm:t>
        <a:bodyPr/>
        <a:lstStyle/>
        <a:p>
          <a:r>
            <a:rPr lang="en-US" sz="1800">
              <a:ln w="3175"/>
              <a:latin typeface="+mj-lt"/>
              <a:cs typeface="Segoe UI" pitchFamily="34" charset="0"/>
            </a:rPr>
            <a:t>Demo 02</a:t>
          </a:r>
          <a:endParaRPr lang="en-US" sz="1800" dirty="0">
            <a:ln w="3175"/>
            <a:latin typeface="+mj-lt"/>
            <a:cs typeface="Segoe UI" pitchFamily="34" charset="0"/>
          </a:endParaRPr>
        </a:p>
      </dgm:t>
    </dgm:pt>
    <dgm:pt modelId="{004F20BF-2D30-4E42-97F9-F4D50A162C91}" type="parTrans" cxnId="{3CD1FE4B-C5F6-4B30-9309-750EFED19DA3}">
      <dgm:prSet/>
      <dgm:spPr/>
      <dgm:t>
        <a:bodyPr/>
        <a:lstStyle/>
        <a:p>
          <a:endParaRPr lang="en-US"/>
        </a:p>
      </dgm:t>
    </dgm:pt>
    <dgm:pt modelId="{68DAAE50-4C8E-4C07-B3C5-861D72C31332}" type="sibTrans" cxnId="{3CD1FE4B-C5F6-4B30-9309-750EFED19DA3}">
      <dgm:prSet/>
      <dgm:spPr/>
      <dgm:t>
        <a:bodyPr/>
        <a:lstStyle/>
        <a:p>
          <a:endParaRPr lang="en-US"/>
        </a:p>
      </dgm:t>
    </dgm:pt>
    <dgm:pt modelId="{F71714A5-A03A-4130-9AC5-7B76BC7E1281}">
      <dgm:prSet custT="1"/>
      <dgm:spPr/>
      <dgm:t>
        <a:bodyPr/>
        <a:lstStyle/>
        <a:p>
          <a:r>
            <a:rPr lang="en-US" sz="1800" dirty="0">
              <a:ln w="3175"/>
              <a:latin typeface="+mj-lt"/>
              <a:cs typeface="Segoe UI" pitchFamily="34" charset="0"/>
            </a:rPr>
            <a:t>Setup Integration Runtime</a:t>
          </a:r>
        </a:p>
      </dgm:t>
    </dgm:pt>
    <dgm:pt modelId="{165DF41F-29D3-4D65-B916-7E32EAD889EB}" type="parTrans" cxnId="{6208692F-75E2-4C9B-B0D2-1250FB62ACB8}">
      <dgm:prSet/>
      <dgm:spPr/>
      <dgm:t>
        <a:bodyPr/>
        <a:lstStyle/>
        <a:p>
          <a:endParaRPr lang="en-US"/>
        </a:p>
      </dgm:t>
    </dgm:pt>
    <dgm:pt modelId="{791C5BDB-B7E2-4A0F-B81A-232DC57C3B7F}" type="sibTrans" cxnId="{6208692F-75E2-4C9B-B0D2-1250FB62ACB8}">
      <dgm:prSet/>
      <dgm:spPr/>
      <dgm:t>
        <a:bodyPr/>
        <a:lstStyle/>
        <a:p>
          <a:endParaRPr lang="en-US"/>
        </a:p>
      </dgm:t>
    </dgm:pt>
    <dgm:pt modelId="{B977CC0E-0F77-4300-BE87-CAEC6B210D22}">
      <dgm:prSet custT="1"/>
      <dgm:spPr/>
      <dgm:t>
        <a:bodyPr/>
        <a:lstStyle/>
        <a:p>
          <a:r>
            <a:rPr lang="en-US" sz="1800">
              <a:ln w="3175"/>
              <a:latin typeface="+mj-lt"/>
              <a:cs typeface="Segoe UI" pitchFamily="34" charset="0"/>
            </a:rPr>
            <a:t>Create Synapse Pipeline</a:t>
          </a:r>
          <a:endParaRPr lang="en-US" sz="1800" dirty="0">
            <a:ln w="3175"/>
            <a:latin typeface="+mj-lt"/>
            <a:cs typeface="Segoe UI" pitchFamily="34" charset="0"/>
          </a:endParaRPr>
        </a:p>
      </dgm:t>
    </dgm:pt>
    <dgm:pt modelId="{BBF78B77-5C6B-4376-860C-4E3B9160888D}" type="parTrans" cxnId="{E1326CC6-0DB8-4C16-8624-61E63642A4E7}">
      <dgm:prSet/>
      <dgm:spPr/>
      <dgm:t>
        <a:bodyPr/>
        <a:lstStyle/>
        <a:p>
          <a:endParaRPr lang="en-US"/>
        </a:p>
      </dgm:t>
    </dgm:pt>
    <dgm:pt modelId="{8BDD9512-ECB8-42BA-B9C1-BB39593EEC0B}" type="sibTrans" cxnId="{E1326CC6-0DB8-4C16-8624-61E63642A4E7}">
      <dgm:prSet/>
      <dgm:spPr/>
      <dgm:t>
        <a:bodyPr/>
        <a:lstStyle/>
        <a:p>
          <a:endParaRPr lang="en-US"/>
        </a:p>
      </dgm:t>
    </dgm:pt>
    <dgm:pt modelId="{D7D2E77A-CB97-4FBC-BC1E-3560EBFABEC5}">
      <dgm:prSet custT="1"/>
      <dgm:spPr/>
      <dgm:t>
        <a:bodyPr/>
        <a:lstStyle/>
        <a:p>
          <a:r>
            <a:rPr lang="en-US" sz="1800">
              <a:ln w="3175"/>
              <a:latin typeface="+mj-lt"/>
              <a:cs typeface="Segoe UI" pitchFamily="34" charset="0"/>
            </a:rPr>
            <a:t>Data Ingestion from an On-Premises Server (Single Table)</a:t>
          </a:r>
          <a:endParaRPr lang="en-US" sz="1800" dirty="0">
            <a:ln w="3175"/>
            <a:latin typeface="+mj-lt"/>
            <a:cs typeface="Segoe UI" pitchFamily="34" charset="0"/>
          </a:endParaRPr>
        </a:p>
      </dgm:t>
    </dgm:pt>
    <dgm:pt modelId="{58672DDF-5D8C-4F5D-BD25-79D277B2F10E}" type="parTrans" cxnId="{0627E252-F297-493E-8CCA-6A2BBAD30DB6}">
      <dgm:prSet/>
      <dgm:spPr/>
      <dgm:t>
        <a:bodyPr/>
        <a:lstStyle/>
        <a:p>
          <a:endParaRPr lang="en-US"/>
        </a:p>
      </dgm:t>
    </dgm:pt>
    <dgm:pt modelId="{79FE7837-1CB4-46E9-B78D-467C40B182B0}" type="sibTrans" cxnId="{0627E252-F297-493E-8CCA-6A2BBAD30DB6}">
      <dgm:prSet/>
      <dgm:spPr/>
      <dgm:t>
        <a:bodyPr/>
        <a:lstStyle/>
        <a:p>
          <a:endParaRPr lang="en-US"/>
        </a:p>
      </dgm:t>
    </dgm:pt>
    <dgm:pt modelId="{0736448F-0E75-4476-AA35-507D7438582C}">
      <dgm:prSet custT="1"/>
      <dgm:spPr/>
      <dgm:t>
        <a:bodyPr/>
        <a:lstStyle/>
        <a:p>
          <a:r>
            <a:rPr lang="en-US" sz="1800">
              <a:ln w="3175"/>
              <a:latin typeface="+mj-lt"/>
              <a:cs typeface="Segoe UI" pitchFamily="34" charset="0"/>
            </a:rPr>
            <a:t>Demo 03</a:t>
          </a:r>
          <a:endParaRPr lang="en-US" sz="1800" dirty="0">
            <a:ln w="3175"/>
            <a:latin typeface="+mj-lt"/>
            <a:cs typeface="Segoe UI" pitchFamily="34" charset="0"/>
          </a:endParaRPr>
        </a:p>
      </dgm:t>
    </dgm:pt>
    <dgm:pt modelId="{857E91BF-7C1F-40D1-8A19-71AB7F78DCEB}" type="parTrans" cxnId="{35829977-0F4B-43A2-921C-EA516C033ACC}">
      <dgm:prSet/>
      <dgm:spPr/>
      <dgm:t>
        <a:bodyPr/>
        <a:lstStyle/>
        <a:p>
          <a:endParaRPr lang="en-US"/>
        </a:p>
      </dgm:t>
    </dgm:pt>
    <dgm:pt modelId="{6AEDFC5F-847D-4E1E-B791-2CD4CB59AD49}" type="sibTrans" cxnId="{35829977-0F4B-43A2-921C-EA516C033ACC}">
      <dgm:prSet/>
      <dgm:spPr/>
      <dgm:t>
        <a:bodyPr/>
        <a:lstStyle/>
        <a:p>
          <a:endParaRPr lang="en-US"/>
        </a:p>
      </dgm:t>
    </dgm:pt>
    <dgm:pt modelId="{D5E891CA-D939-4C25-A135-63BF35A671BF}">
      <dgm:prSet custT="1"/>
      <dgm:spPr/>
      <dgm:t>
        <a:bodyPr/>
        <a:lstStyle/>
        <a:p>
          <a:r>
            <a:rPr lang="en-US" sz="1800" dirty="0">
              <a:ln w="3175"/>
              <a:latin typeface="+mj-lt"/>
              <a:cs typeface="Segoe UI" pitchFamily="34" charset="0"/>
            </a:rPr>
            <a:t>Data Ingestion from On-Premises Server (Lookup Tables)</a:t>
          </a:r>
        </a:p>
      </dgm:t>
    </dgm:pt>
    <dgm:pt modelId="{589D0F57-288E-464A-BE1E-CCEACF46CCDF}" type="parTrans" cxnId="{44C4349A-D050-4E2D-9CB1-86D560E0E0F7}">
      <dgm:prSet/>
      <dgm:spPr/>
      <dgm:t>
        <a:bodyPr/>
        <a:lstStyle/>
        <a:p>
          <a:endParaRPr lang="en-US"/>
        </a:p>
      </dgm:t>
    </dgm:pt>
    <dgm:pt modelId="{7FD016E7-C2C7-4AD7-8ACF-6792940B95EB}" type="sibTrans" cxnId="{44C4349A-D050-4E2D-9CB1-86D560E0E0F7}">
      <dgm:prSet/>
      <dgm:spPr/>
      <dgm:t>
        <a:bodyPr/>
        <a:lstStyle/>
        <a:p>
          <a:endParaRPr lang="en-US"/>
        </a:p>
      </dgm:t>
    </dgm:pt>
    <dgm:pt modelId="{AC07980B-3C3D-4F4B-9C9C-40BD77ED1549}">
      <dgm:prSet custT="1"/>
      <dgm:spPr/>
      <dgm:t>
        <a:bodyPr/>
        <a:lstStyle/>
        <a:p>
          <a:r>
            <a:rPr lang="en-US" sz="1800">
              <a:ln w="3175"/>
              <a:latin typeface="+mj-lt"/>
              <a:cs typeface="Segoe UI" pitchFamily="34" charset="0"/>
            </a:rPr>
            <a:t>Structured Data to ADLS</a:t>
          </a:r>
          <a:endParaRPr lang="en-US" sz="1800" dirty="0">
            <a:ln w="3175"/>
            <a:latin typeface="+mj-lt"/>
            <a:cs typeface="Segoe UI" pitchFamily="34" charset="0"/>
          </a:endParaRPr>
        </a:p>
      </dgm:t>
    </dgm:pt>
    <dgm:pt modelId="{377DA38D-1717-465E-8AAC-ACE28F0C5EAF}" type="parTrans" cxnId="{BFD7D22C-B6E7-4642-A4BD-3ED7F05CB030}">
      <dgm:prSet/>
      <dgm:spPr/>
      <dgm:t>
        <a:bodyPr/>
        <a:lstStyle/>
        <a:p>
          <a:endParaRPr lang="en-US"/>
        </a:p>
      </dgm:t>
    </dgm:pt>
    <dgm:pt modelId="{483D996C-1565-4ABF-8555-EB22CDB26AC5}" type="sibTrans" cxnId="{BFD7D22C-B6E7-4642-A4BD-3ED7F05CB030}">
      <dgm:prSet/>
      <dgm:spPr/>
      <dgm:t>
        <a:bodyPr/>
        <a:lstStyle/>
        <a:p>
          <a:endParaRPr lang="en-US"/>
        </a:p>
      </dgm:t>
    </dgm:pt>
    <dgm:pt modelId="{E7F74511-48A2-4B81-BDA1-92AB58D4433E}">
      <dgm:prSet custT="1"/>
      <dgm:spPr/>
      <dgm:t>
        <a:bodyPr/>
        <a:lstStyle/>
        <a:p>
          <a:r>
            <a:rPr lang="en-US" sz="1800" dirty="0">
              <a:ln w="3175"/>
              <a:latin typeface="+mj-lt"/>
              <a:cs typeface="Segoe UI" pitchFamily="34" charset="0"/>
            </a:rPr>
            <a:t>Demo 04</a:t>
          </a:r>
        </a:p>
      </dgm:t>
    </dgm:pt>
    <dgm:pt modelId="{DD14CC95-B692-4BBB-A8D1-192FC55E8ADB}" type="parTrans" cxnId="{6364D221-4717-47D0-9963-F76347F68E78}">
      <dgm:prSet/>
      <dgm:spPr/>
      <dgm:t>
        <a:bodyPr/>
        <a:lstStyle/>
        <a:p>
          <a:endParaRPr lang="en-US"/>
        </a:p>
      </dgm:t>
    </dgm:pt>
    <dgm:pt modelId="{BF51BA6B-9E13-4070-A1D7-9169F608CB67}" type="sibTrans" cxnId="{6364D221-4717-47D0-9963-F76347F68E78}">
      <dgm:prSet/>
      <dgm:spPr/>
      <dgm:t>
        <a:bodyPr/>
        <a:lstStyle/>
        <a:p>
          <a:endParaRPr lang="en-US"/>
        </a:p>
      </dgm:t>
    </dgm:pt>
    <dgm:pt modelId="{9AD9DB8C-83DD-4644-9C4F-EA63B02136F3}">
      <dgm:prSet custT="1"/>
      <dgm:spPr/>
      <dgm:t>
        <a:bodyPr/>
        <a:lstStyle/>
        <a:p>
          <a:r>
            <a:rPr lang="en-US" sz="1800">
              <a:ln w="3175"/>
              <a:latin typeface="+mj-lt"/>
              <a:cs typeface="Segoe UI" pitchFamily="34" charset="0"/>
            </a:rPr>
            <a:t>Ingest Data using Polybase</a:t>
          </a:r>
          <a:endParaRPr lang="en-US" sz="1800" dirty="0">
            <a:ln w="3175"/>
            <a:latin typeface="+mj-lt"/>
            <a:cs typeface="Segoe UI" pitchFamily="34" charset="0"/>
          </a:endParaRPr>
        </a:p>
      </dgm:t>
    </dgm:pt>
    <dgm:pt modelId="{8402D238-0280-42B3-9572-A5EA984EF393}" type="parTrans" cxnId="{8CBDB972-28E4-469A-833E-FA4461ED1E19}">
      <dgm:prSet/>
      <dgm:spPr/>
      <dgm:t>
        <a:bodyPr/>
        <a:lstStyle/>
        <a:p>
          <a:endParaRPr lang="en-US"/>
        </a:p>
      </dgm:t>
    </dgm:pt>
    <dgm:pt modelId="{12B62EEF-8054-426F-97CF-0F009234DD75}" type="sibTrans" cxnId="{8CBDB972-28E4-469A-833E-FA4461ED1E19}">
      <dgm:prSet/>
      <dgm:spPr/>
      <dgm:t>
        <a:bodyPr/>
        <a:lstStyle/>
        <a:p>
          <a:endParaRPr lang="en-US"/>
        </a:p>
      </dgm:t>
    </dgm:pt>
    <dgm:pt modelId="{F210A436-179B-456F-A5A9-D4925273ED8F}">
      <dgm:prSet custT="1"/>
      <dgm:spPr/>
      <dgm:t>
        <a:bodyPr/>
        <a:lstStyle/>
        <a:p>
          <a:r>
            <a:rPr lang="en-US" sz="1800" dirty="0">
              <a:ln w="3175"/>
              <a:latin typeface="+mj-lt"/>
              <a:cs typeface="Segoe UI" pitchFamily="34" charset="0"/>
            </a:rPr>
            <a:t>Ingest Data using COPY INTO</a:t>
          </a:r>
        </a:p>
      </dgm:t>
    </dgm:pt>
    <dgm:pt modelId="{5FEDCC9B-29D4-4240-A6EF-77F1F7F5B209}" type="parTrans" cxnId="{D518E1CE-A8A3-4D5D-AF00-811B872DE22C}">
      <dgm:prSet/>
      <dgm:spPr/>
      <dgm:t>
        <a:bodyPr/>
        <a:lstStyle/>
        <a:p>
          <a:endParaRPr lang="en-US"/>
        </a:p>
      </dgm:t>
    </dgm:pt>
    <dgm:pt modelId="{554096C6-81F7-484E-A0B2-241201C01D5F}" type="sibTrans" cxnId="{D518E1CE-A8A3-4D5D-AF00-811B872DE22C}">
      <dgm:prSet/>
      <dgm:spPr/>
      <dgm:t>
        <a:bodyPr/>
        <a:lstStyle/>
        <a:p>
          <a:endParaRPr lang="en-US"/>
        </a:p>
      </dgm:t>
    </dgm:pt>
    <dgm:pt modelId="{968ACA35-A8C9-49E2-96FE-FE7EF56DA535}">
      <dgm:prSet custT="1"/>
      <dgm:spPr/>
      <dgm:t>
        <a:bodyPr/>
        <a:lstStyle/>
        <a:p>
          <a:r>
            <a:rPr lang="en-US" sz="1800">
              <a:ln w="3175"/>
              <a:latin typeface="+mj-lt"/>
              <a:cs typeface="Segoe UI" pitchFamily="34" charset="0"/>
            </a:rPr>
            <a:t>Analyze Data in Synapse Studio</a:t>
          </a:r>
          <a:endParaRPr lang="en-US" sz="1800" dirty="0">
            <a:ln w="3175"/>
            <a:latin typeface="+mj-lt"/>
            <a:cs typeface="Segoe UI" pitchFamily="34" charset="0"/>
          </a:endParaRPr>
        </a:p>
      </dgm:t>
    </dgm:pt>
    <dgm:pt modelId="{52BDF3E5-1310-4B1A-8C34-B1D06CFA762A}" type="parTrans" cxnId="{8BE33B4D-F001-42C9-A1B3-81B14AF54D12}">
      <dgm:prSet/>
      <dgm:spPr/>
      <dgm:t>
        <a:bodyPr/>
        <a:lstStyle/>
        <a:p>
          <a:endParaRPr lang="en-US"/>
        </a:p>
      </dgm:t>
    </dgm:pt>
    <dgm:pt modelId="{8E1480C0-3209-40B1-B0D1-0DDA774BECE6}" type="sibTrans" cxnId="{8BE33B4D-F001-42C9-A1B3-81B14AF54D12}">
      <dgm:prSet/>
      <dgm:spPr/>
      <dgm:t>
        <a:bodyPr/>
        <a:lstStyle/>
        <a:p>
          <a:endParaRPr lang="en-US"/>
        </a:p>
      </dgm:t>
    </dgm:pt>
    <dgm:pt modelId="{E9496B7E-0EB8-424B-8360-A32474E7AE61}">
      <dgm:prSet custT="1"/>
      <dgm:spPr/>
      <dgm:t>
        <a:bodyPr/>
        <a:lstStyle/>
        <a:p>
          <a:r>
            <a:rPr lang="en-US" sz="1800">
              <a:ln w="3175"/>
              <a:latin typeface="+mj-lt"/>
              <a:cs typeface="Segoe UI" pitchFamily="34" charset="0"/>
            </a:rPr>
            <a:t>Demo 05</a:t>
          </a:r>
          <a:endParaRPr lang="en-US" sz="1800" dirty="0">
            <a:ln w="3175"/>
            <a:latin typeface="+mj-lt"/>
            <a:cs typeface="Segoe UI" pitchFamily="34" charset="0"/>
          </a:endParaRPr>
        </a:p>
      </dgm:t>
    </dgm:pt>
    <dgm:pt modelId="{1245AC3D-A2FE-4B81-8AA8-529D22295E60}" type="parTrans" cxnId="{9DD4EE3F-8A72-47DB-AD64-423C9DA5F4BB}">
      <dgm:prSet/>
      <dgm:spPr/>
      <dgm:t>
        <a:bodyPr/>
        <a:lstStyle/>
        <a:p>
          <a:endParaRPr lang="en-US"/>
        </a:p>
      </dgm:t>
    </dgm:pt>
    <dgm:pt modelId="{64581456-4D1F-428B-8844-1C303BF41CEA}" type="sibTrans" cxnId="{9DD4EE3F-8A72-47DB-AD64-423C9DA5F4BB}">
      <dgm:prSet/>
      <dgm:spPr/>
      <dgm:t>
        <a:bodyPr/>
        <a:lstStyle/>
        <a:p>
          <a:endParaRPr lang="en-US"/>
        </a:p>
      </dgm:t>
    </dgm:pt>
    <dgm:pt modelId="{4173F3A3-2F62-46CE-83A5-927FCA02B52D}">
      <dgm:prSet custT="1"/>
      <dgm:spPr/>
      <dgm:t>
        <a:bodyPr/>
        <a:lstStyle/>
        <a:p>
          <a:r>
            <a:rPr lang="en-US" sz="1800" dirty="0">
              <a:ln w="3175"/>
              <a:latin typeface="+mj-lt"/>
              <a:cs typeface="Segoe UI" pitchFamily="34" charset="0"/>
            </a:rPr>
            <a:t>Creating Spark Pools</a:t>
          </a:r>
        </a:p>
      </dgm:t>
    </dgm:pt>
    <dgm:pt modelId="{6DCC1C4F-15C3-414A-AA60-92E4F2C8D3EE}" type="parTrans" cxnId="{CA07B7E3-124F-4601-914C-D7185E9A5E9E}">
      <dgm:prSet/>
      <dgm:spPr/>
      <dgm:t>
        <a:bodyPr/>
        <a:lstStyle/>
        <a:p>
          <a:endParaRPr lang="en-US"/>
        </a:p>
      </dgm:t>
    </dgm:pt>
    <dgm:pt modelId="{B4D02002-0B23-4B8D-BF52-D322C4B90352}" type="sibTrans" cxnId="{CA07B7E3-124F-4601-914C-D7185E9A5E9E}">
      <dgm:prSet/>
      <dgm:spPr/>
      <dgm:t>
        <a:bodyPr/>
        <a:lstStyle/>
        <a:p>
          <a:endParaRPr lang="en-US"/>
        </a:p>
      </dgm:t>
    </dgm:pt>
    <dgm:pt modelId="{10FB4653-4244-42D6-9993-5214F31D0314}">
      <dgm:prSet custT="1"/>
      <dgm:spPr/>
      <dgm:t>
        <a:bodyPr/>
        <a:lstStyle/>
        <a:p>
          <a:r>
            <a:rPr lang="en-US" sz="1800">
              <a:ln w="3175"/>
              <a:latin typeface="+mj-lt"/>
              <a:cs typeface="Segoe UI" pitchFamily="34" charset="0"/>
            </a:rPr>
            <a:t>Ingesting Data from a Data Lake to CosmosDB</a:t>
          </a:r>
          <a:endParaRPr lang="en-US" sz="1800" dirty="0">
            <a:ln w="3175"/>
            <a:latin typeface="+mj-lt"/>
            <a:cs typeface="Segoe UI" pitchFamily="34" charset="0"/>
          </a:endParaRPr>
        </a:p>
      </dgm:t>
    </dgm:pt>
    <dgm:pt modelId="{727E60F4-63FE-454C-BBE1-B8C0E47FC269}" type="parTrans" cxnId="{E8BC56AC-6684-45A5-B7D0-9CE56C1FE021}">
      <dgm:prSet/>
      <dgm:spPr/>
      <dgm:t>
        <a:bodyPr/>
        <a:lstStyle/>
        <a:p>
          <a:endParaRPr lang="en-US"/>
        </a:p>
      </dgm:t>
    </dgm:pt>
    <dgm:pt modelId="{A9F4678D-D764-4FFE-AC48-928F0CBE7A6C}" type="sibTrans" cxnId="{E8BC56AC-6684-45A5-B7D0-9CE56C1FE021}">
      <dgm:prSet/>
      <dgm:spPr/>
      <dgm:t>
        <a:bodyPr/>
        <a:lstStyle/>
        <a:p>
          <a:endParaRPr lang="en-US"/>
        </a:p>
      </dgm:t>
    </dgm:pt>
    <dgm:pt modelId="{14355953-7C33-4C37-AB84-1FA9BC85B154}">
      <dgm:prSet custT="1"/>
      <dgm:spPr/>
      <dgm:t>
        <a:bodyPr/>
        <a:lstStyle/>
        <a:p>
          <a:r>
            <a:rPr lang="en-US" sz="1800" dirty="0">
              <a:ln w="3175"/>
              <a:latin typeface="+mj-lt"/>
              <a:cs typeface="Segoe UI" pitchFamily="34" charset="0"/>
            </a:rPr>
            <a:t>Reporting using Power BI</a:t>
          </a:r>
        </a:p>
      </dgm:t>
    </dgm:pt>
    <dgm:pt modelId="{8F374D44-8ABC-4299-A44A-2D86473DE5DC}" type="parTrans" cxnId="{F17F4507-67EE-4A6F-9C78-C6B5D82CFB76}">
      <dgm:prSet/>
      <dgm:spPr/>
      <dgm:t>
        <a:bodyPr/>
        <a:lstStyle/>
        <a:p>
          <a:endParaRPr lang="en-US"/>
        </a:p>
      </dgm:t>
    </dgm:pt>
    <dgm:pt modelId="{483F0F1B-D67B-491A-945D-5ED1DBF32BC1}" type="sibTrans" cxnId="{F17F4507-67EE-4A6F-9C78-C6B5D82CFB76}">
      <dgm:prSet/>
      <dgm:spPr/>
      <dgm:t>
        <a:bodyPr/>
        <a:lstStyle/>
        <a:p>
          <a:endParaRPr lang="en-US"/>
        </a:p>
      </dgm:t>
    </dgm:pt>
    <dgm:pt modelId="{BF7DD572-4D00-4A53-9BAA-88BBC62F79CB}" type="pres">
      <dgm:prSet presAssocID="{26383F44-B2B8-4628-A442-8F4CAF012956}" presName="Name0" presStyleCnt="0">
        <dgm:presLayoutVars>
          <dgm:dir/>
          <dgm:animLvl val="lvl"/>
          <dgm:resizeHandles val="exact"/>
        </dgm:presLayoutVars>
      </dgm:prSet>
      <dgm:spPr/>
    </dgm:pt>
    <dgm:pt modelId="{1E530088-9381-47F5-851E-77DA547EB835}" type="pres">
      <dgm:prSet presAssocID="{8DC2C98A-B24F-4D4A-BAE5-FC225F002567}" presName="composite" presStyleCnt="0"/>
      <dgm:spPr/>
    </dgm:pt>
    <dgm:pt modelId="{B2EF2977-99BE-4E1E-9309-35EC9A03E7E9}" type="pres">
      <dgm:prSet presAssocID="{8DC2C98A-B24F-4D4A-BAE5-FC225F002567}" presName="parTx" presStyleLbl="alignNode1" presStyleIdx="0" presStyleCnt="5">
        <dgm:presLayoutVars>
          <dgm:chMax val="0"/>
          <dgm:chPref val="0"/>
          <dgm:bulletEnabled val="1"/>
        </dgm:presLayoutVars>
      </dgm:prSet>
      <dgm:spPr/>
    </dgm:pt>
    <dgm:pt modelId="{9614B841-13B5-443B-A8D1-DABAB2F1117F}" type="pres">
      <dgm:prSet presAssocID="{8DC2C98A-B24F-4D4A-BAE5-FC225F002567}" presName="desTx" presStyleLbl="alignAccFollowNode1" presStyleIdx="0" presStyleCnt="5">
        <dgm:presLayoutVars>
          <dgm:bulletEnabled val="1"/>
        </dgm:presLayoutVars>
      </dgm:prSet>
      <dgm:spPr/>
    </dgm:pt>
    <dgm:pt modelId="{68EE813D-2793-4769-834E-0919DF379433}" type="pres">
      <dgm:prSet presAssocID="{58AC5887-10D2-4D73-BE03-DA110BB30268}" presName="space" presStyleCnt="0"/>
      <dgm:spPr/>
    </dgm:pt>
    <dgm:pt modelId="{A5CC36AB-B229-49D4-AF25-34166ECC41B8}" type="pres">
      <dgm:prSet presAssocID="{8C628B80-FFDE-4907-8D52-2A10B71A59C5}" presName="composite" presStyleCnt="0"/>
      <dgm:spPr/>
    </dgm:pt>
    <dgm:pt modelId="{989FBE74-055C-49BC-B777-427FEE92AF6A}" type="pres">
      <dgm:prSet presAssocID="{8C628B80-FFDE-4907-8D52-2A10B71A59C5}" presName="parTx" presStyleLbl="alignNode1" presStyleIdx="1" presStyleCnt="5">
        <dgm:presLayoutVars>
          <dgm:chMax val="0"/>
          <dgm:chPref val="0"/>
          <dgm:bulletEnabled val="1"/>
        </dgm:presLayoutVars>
      </dgm:prSet>
      <dgm:spPr/>
    </dgm:pt>
    <dgm:pt modelId="{0B09C8E4-1923-413D-ABF3-D6A12C793B9D}" type="pres">
      <dgm:prSet presAssocID="{8C628B80-FFDE-4907-8D52-2A10B71A59C5}" presName="desTx" presStyleLbl="alignAccFollowNode1" presStyleIdx="1" presStyleCnt="5">
        <dgm:presLayoutVars>
          <dgm:bulletEnabled val="1"/>
        </dgm:presLayoutVars>
      </dgm:prSet>
      <dgm:spPr/>
    </dgm:pt>
    <dgm:pt modelId="{864B3BE1-21CD-4198-9095-4F2DC764776B}" type="pres">
      <dgm:prSet presAssocID="{68DAAE50-4C8E-4C07-B3C5-861D72C31332}" presName="space" presStyleCnt="0"/>
      <dgm:spPr/>
    </dgm:pt>
    <dgm:pt modelId="{B0520795-4C1F-4208-A2FD-06FE25E17C83}" type="pres">
      <dgm:prSet presAssocID="{0736448F-0E75-4476-AA35-507D7438582C}" presName="composite" presStyleCnt="0"/>
      <dgm:spPr/>
    </dgm:pt>
    <dgm:pt modelId="{7E3F7806-B7D1-429F-AD90-0BD0B75F1783}" type="pres">
      <dgm:prSet presAssocID="{0736448F-0E75-4476-AA35-507D7438582C}" presName="parTx" presStyleLbl="alignNode1" presStyleIdx="2" presStyleCnt="5">
        <dgm:presLayoutVars>
          <dgm:chMax val="0"/>
          <dgm:chPref val="0"/>
          <dgm:bulletEnabled val="1"/>
        </dgm:presLayoutVars>
      </dgm:prSet>
      <dgm:spPr/>
    </dgm:pt>
    <dgm:pt modelId="{C0C34DFB-BE2B-4173-A583-83ADC6CCD32B}" type="pres">
      <dgm:prSet presAssocID="{0736448F-0E75-4476-AA35-507D7438582C}" presName="desTx" presStyleLbl="alignAccFollowNode1" presStyleIdx="2" presStyleCnt="5">
        <dgm:presLayoutVars>
          <dgm:bulletEnabled val="1"/>
        </dgm:presLayoutVars>
      </dgm:prSet>
      <dgm:spPr/>
    </dgm:pt>
    <dgm:pt modelId="{F37FA66A-095A-4391-A5B3-0A08288FAF13}" type="pres">
      <dgm:prSet presAssocID="{6AEDFC5F-847D-4E1E-B791-2CD4CB59AD49}" presName="space" presStyleCnt="0"/>
      <dgm:spPr/>
    </dgm:pt>
    <dgm:pt modelId="{6B3E31F4-A196-47E3-903D-F319B938069F}" type="pres">
      <dgm:prSet presAssocID="{E7F74511-48A2-4B81-BDA1-92AB58D4433E}" presName="composite" presStyleCnt="0"/>
      <dgm:spPr/>
    </dgm:pt>
    <dgm:pt modelId="{AC503C0B-3DC7-4A5D-94FC-CC3062797660}" type="pres">
      <dgm:prSet presAssocID="{E7F74511-48A2-4B81-BDA1-92AB58D4433E}" presName="parTx" presStyleLbl="alignNode1" presStyleIdx="3" presStyleCnt="5">
        <dgm:presLayoutVars>
          <dgm:chMax val="0"/>
          <dgm:chPref val="0"/>
          <dgm:bulletEnabled val="1"/>
        </dgm:presLayoutVars>
      </dgm:prSet>
      <dgm:spPr/>
    </dgm:pt>
    <dgm:pt modelId="{20587D1D-669C-431D-BDC7-6788F78B7AB1}" type="pres">
      <dgm:prSet presAssocID="{E7F74511-48A2-4B81-BDA1-92AB58D4433E}" presName="desTx" presStyleLbl="alignAccFollowNode1" presStyleIdx="3" presStyleCnt="5">
        <dgm:presLayoutVars>
          <dgm:bulletEnabled val="1"/>
        </dgm:presLayoutVars>
      </dgm:prSet>
      <dgm:spPr/>
    </dgm:pt>
    <dgm:pt modelId="{6A8ECE01-EFA1-4B25-9EC4-172C31C92D3B}" type="pres">
      <dgm:prSet presAssocID="{BF51BA6B-9E13-4070-A1D7-9169F608CB67}" presName="space" presStyleCnt="0"/>
      <dgm:spPr/>
    </dgm:pt>
    <dgm:pt modelId="{3FFE95F9-8AA2-4695-AEA0-462E2B71363D}" type="pres">
      <dgm:prSet presAssocID="{E9496B7E-0EB8-424B-8360-A32474E7AE61}" presName="composite" presStyleCnt="0"/>
      <dgm:spPr/>
    </dgm:pt>
    <dgm:pt modelId="{55654B45-B178-42D5-A9B7-9AF232079217}" type="pres">
      <dgm:prSet presAssocID="{E9496B7E-0EB8-424B-8360-A32474E7AE61}" presName="parTx" presStyleLbl="alignNode1" presStyleIdx="4" presStyleCnt="5">
        <dgm:presLayoutVars>
          <dgm:chMax val="0"/>
          <dgm:chPref val="0"/>
          <dgm:bulletEnabled val="1"/>
        </dgm:presLayoutVars>
      </dgm:prSet>
      <dgm:spPr/>
    </dgm:pt>
    <dgm:pt modelId="{71050162-0252-4563-AD57-44D0B4FD3903}" type="pres">
      <dgm:prSet presAssocID="{E9496B7E-0EB8-424B-8360-A32474E7AE61}" presName="desTx" presStyleLbl="alignAccFollowNode1" presStyleIdx="4" presStyleCnt="5">
        <dgm:presLayoutVars>
          <dgm:bulletEnabled val="1"/>
        </dgm:presLayoutVars>
      </dgm:prSet>
      <dgm:spPr/>
    </dgm:pt>
  </dgm:ptLst>
  <dgm:cxnLst>
    <dgm:cxn modelId="{8CB0A202-BC4C-49C2-A466-7C2F18B30230}" type="presOf" srcId="{4173F3A3-2F62-46CE-83A5-927FCA02B52D}" destId="{71050162-0252-4563-AD57-44D0B4FD3903}" srcOrd="0" destOrd="0" presId="urn:microsoft.com/office/officeart/2005/8/layout/hList1"/>
    <dgm:cxn modelId="{34426F06-5ED5-4A0E-BF36-E697790DE52A}" srcId="{8DC2C98A-B24F-4D4A-BAE5-FC225F002567}" destId="{EA78B30D-B550-4B66-9F00-822245738835}" srcOrd="1" destOrd="0" parTransId="{07A142B4-86F9-4CB7-AEF9-63410BB9288C}" sibTransId="{C848F05D-A9EE-4B9B-ACE7-8741AD497FC0}"/>
    <dgm:cxn modelId="{F17F4507-67EE-4A6F-9C78-C6B5D82CFB76}" srcId="{E9496B7E-0EB8-424B-8360-A32474E7AE61}" destId="{14355953-7C33-4C37-AB84-1FA9BC85B154}" srcOrd="2" destOrd="0" parTransId="{8F374D44-8ABC-4299-A44A-2D86473DE5DC}" sibTransId="{483F0F1B-D67B-491A-945D-5ED1DBF32BC1}"/>
    <dgm:cxn modelId="{B82A5B1A-3403-46E0-96F5-D22DDAD94D79}" type="presOf" srcId="{14355953-7C33-4C37-AB84-1FA9BC85B154}" destId="{71050162-0252-4563-AD57-44D0B4FD3903}" srcOrd="0" destOrd="2" presId="urn:microsoft.com/office/officeart/2005/8/layout/hList1"/>
    <dgm:cxn modelId="{064FAD1E-4FC1-4285-9D9B-52948659C9A1}" type="presOf" srcId="{E9496B7E-0EB8-424B-8360-A32474E7AE61}" destId="{55654B45-B178-42D5-A9B7-9AF232079217}" srcOrd="0" destOrd="0" presId="urn:microsoft.com/office/officeart/2005/8/layout/hList1"/>
    <dgm:cxn modelId="{6364D221-4717-47D0-9963-F76347F68E78}" srcId="{26383F44-B2B8-4628-A442-8F4CAF012956}" destId="{E7F74511-48A2-4B81-BDA1-92AB58D4433E}" srcOrd="3" destOrd="0" parTransId="{DD14CC95-B692-4BBB-A8D1-192FC55E8ADB}" sibTransId="{BF51BA6B-9E13-4070-A1D7-9169F608CB67}"/>
    <dgm:cxn modelId="{BFD7D22C-B6E7-4642-A4BD-3ED7F05CB030}" srcId="{0736448F-0E75-4476-AA35-507D7438582C}" destId="{AC07980B-3C3D-4F4B-9C9C-40BD77ED1549}" srcOrd="1" destOrd="0" parTransId="{377DA38D-1717-465E-8AAC-ACE28F0C5EAF}" sibTransId="{483D996C-1565-4ABF-8555-EB22CDB26AC5}"/>
    <dgm:cxn modelId="{6208692F-75E2-4C9B-B0D2-1250FB62ACB8}" srcId="{8C628B80-FFDE-4907-8D52-2A10B71A59C5}" destId="{F71714A5-A03A-4130-9AC5-7B76BC7E1281}" srcOrd="0" destOrd="0" parTransId="{165DF41F-29D3-4D65-B916-7E32EAD889EB}" sibTransId="{791C5BDB-B7E2-4A0F-B81A-232DC57C3B7F}"/>
    <dgm:cxn modelId="{05EBC03F-02DB-48F9-8136-39717A86A9DC}" srcId="{26383F44-B2B8-4628-A442-8F4CAF012956}" destId="{8DC2C98A-B24F-4D4A-BAE5-FC225F002567}" srcOrd="0" destOrd="0" parTransId="{1A5BE044-5E78-4E91-BA51-B964AB2BFB01}" sibTransId="{58AC5887-10D2-4D73-BE03-DA110BB30268}"/>
    <dgm:cxn modelId="{9DD4EE3F-8A72-47DB-AD64-423C9DA5F4BB}" srcId="{26383F44-B2B8-4628-A442-8F4CAF012956}" destId="{E9496B7E-0EB8-424B-8360-A32474E7AE61}" srcOrd="4" destOrd="0" parTransId="{1245AC3D-A2FE-4B81-8AA8-529D22295E60}" sibTransId="{64581456-4D1F-428B-8844-1C303BF41CEA}"/>
    <dgm:cxn modelId="{471C795B-5F42-443F-A39C-03A569B0FA9F}" type="presOf" srcId="{8C628B80-FFDE-4907-8D52-2A10B71A59C5}" destId="{989FBE74-055C-49BC-B777-427FEE92AF6A}" srcOrd="0" destOrd="0" presId="urn:microsoft.com/office/officeart/2005/8/layout/hList1"/>
    <dgm:cxn modelId="{3746825C-4AA6-4AE2-9FBE-394628753AB7}" type="presOf" srcId="{968ACA35-A8C9-49E2-96FE-FE7EF56DA535}" destId="{20587D1D-669C-431D-BDC7-6788F78B7AB1}" srcOrd="0" destOrd="2" presId="urn:microsoft.com/office/officeart/2005/8/layout/hList1"/>
    <dgm:cxn modelId="{5DE71F62-77A4-4BC8-965E-2D132F4138B0}" type="presOf" srcId="{E7F74511-48A2-4B81-BDA1-92AB58D4433E}" destId="{AC503C0B-3DC7-4A5D-94FC-CC3062797660}" srcOrd="0" destOrd="0" presId="urn:microsoft.com/office/officeart/2005/8/layout/hList1"/>
    <dgm:cxn modelId="{98EB6C63-E0B0-418C-9E19-C1B16EA58EAC}" type="presOf" srcId="{B977CC0E-0F77-4300-BE87-CAEC6B210D22}" destId="{0B09C8E4-1923-413D-ABF3-D6A12C793B9D}" srcOrd="0" destOrd="1" presId="urn:microsoft.com/office/officeart/2005/8/layout/hList1"/>
    <dgm:cxn modelId="{AE07B463-62D7-48CB-BCD2-84196A437CFC}" srcId="{8DC2C98A-B24F-4D4A-BAE5-FC225F002567}" destId="{A434F160-3DF3-47C1-A6E7-7E3AE42404D8}" srcOrd="0" destOrd="0" parTransId="{30084888-60F3-43AF-AE6E-D780772EAD49}" sibTransId="{850287F3-B02A-4B6A-B275-BB838C23F2EB}"/>
    <dgm:cxn modelId="{3CD1FE4B-C5F6-4B30-9309-750EFED19DA3}" srcId="{26383F44-B2B8-4628-A442-8F4CAF012956}" destId="{8C628B80-FFDE-4907-8D52-2A10B71A59C5}" srcOrd="1" destOrd="0" parTransId="{004F20BF-2D30-4E42-97F9-F4D50A162C91}" sibTransId="{68DAAE50-4C8E-4C07-B3C5-861D72C31332}"/>
    <dgm:cxn modelId="{8BE33B4D-F001-42C9-A1B3-81B14AF54D12}" srcId="{E7F74511-48A2-4B81-BDA1-92AB58D4433E}" destId="{968ACA35-A8C9-49E2-96FE-FE7EF56DA535}" srcOrd="2" destOrd="0" parTransId="{52BDF3E5-1310-4B1A-8C34-B1D06CFA762A}" sibTransId="{8E1480C0-3209-40B1-B0D1-0DDA774BECE6}"/>
    <dgm:cxn modelId="{91901871-3C87-455A-AFD7-F1EA9A43215D}" type="presOf" srcId="{A434F160-3DF3-47C1-A6E7-7E3AE42404D8}" destId="{9614B841-13B5-443B-A8D1-DABAB2F1117F}" srcOrd="0" destOrd="0" presId="urn:microsoft.com/office/officeart/2005/8/layout/hList1"/>
    <dgm:cxn modelId="{8CBDB972-28E4-469A-833E-FA4461ED1E19}" srcId="{E7F74511-48A2-4B81-BDA1-92AB58D4433E}" destId="{9AD9DB8C-83DD-4644-9C4F-EA63B02136F3}" srcOrd="0" destOrd="0" parTransId="{8402D238-0280-42B3-9572-A5EA984EF393}" sibTransId="{12B62EEF-8054-426F-97CF-0F009234DD75}"/>
    <dgm:cxn modelId="{0627E252-F297-493E-8CCA-6A2BBAD30DB6}" srcId="{8C628B80-FFDE-4907-8D52-2A10B71A59C5}" destId="{D7D2E77A-CB97-4FBC-BC1E-3560EBFABEC5}" srcOrd="2" destOrd="0" parTransId="{58672DDF-5D8C-4F5D-BD25-79D277B2F10E}" sibTransId="{79FE7837-1CB4-46E9-B78D-467C40B182B0}"/>
    <dgm:cxn modelId="{C24EE953-6D3E-47B7-A672-200C968E6E13}" type="presOf" srcId="{D5E891CA-D939-4C25-A135-63BF35A671BF}" destId="{C0C34DFB-BE2B-4173-A583-83ADC6CCD32B}" srcOrd="0" destOrd="0" presId="urn:microsoft.com/office/officeart/2005/8/layout/hList1"/>
    <dgm:cxn modelId="{35829977-0F4B-43A2-921C-EA516C033ACC}" srcId="{26383F44-B2B8-4628-A442-8F4CAF012956}" destId="{0736448F-0E75-4476-AA35-507D7438582C}" srcOrd="2" destOrd="0" parTransId="{857E91BF-7C1F-40D1-8A19-71AB7F78DCEB}" sibTransId="{6AEDFC5F-847D-4E1E-B791-2CD4CB59AD49}"/>
    <dgm:cxn modelId="{0F0DB358-5859-4779-A16A-E9E1E43B0253}" type="presOf" srcId="{A93943DC-722F-44FE-84CD-53071FDE96D4}" destId="{9614B841-13B5-443B-A8D1-DABAB2F1117F}" srcOrd="0" destOrd="2" presId="urn:microsoft.com/office/officeart/2005/8/layout/hList1"/>
    <dgm:cxn modelId="{45019282-96ED-4A72-B8DE-9341392FF933}" type="presOf" srcId="{0736448F-0E75-4476-AA35-507D7438582C}" destId="{7E3F7806-B7D1-429F-AD90-0BD0B75F1783}" srcOrd="0" destOrd="0" presId="urn:microsoft.com/office/officeart/2005/8/layout/hList1"/>
    <dgm:cxn modelId="{1DDC5086-3302-4C5B-AF67-422C9CA81591}" type="presOf" srcId="{10FB4653-4244-42D6-9993-5214F31D0314}" destId="{71050162-0252-4563-AD57-44D0B4FD3903}" srcOrd="0" destOrd="1" presId="urn:microsoft.com/office/officeart/2005/8/layout/hList1"/>
    <dgm:cxn modelId="{44C4349A-D050-4E2D-9CB1-86D560E0E0F7}" srcId="{0736448F-0E75-4476-AA35-507D7438582C}" destId="{D5E891CA-D939-4C25-A135-63BF35A671BF}" srcOrd="0" destOrd="0" parTransId="{589D0F57-288E-464A-BE1E-CCEACF46CCDF}" sibTransId="{7FD016E7-C2C7-4AD7-8ACF-6792940B95EB}"/>
    <dgm:cxn modelId="{F19829A2-C289-4F8B-AFD3-051824299ECD}" srcId="{8DC2C98A-B24F-4D4A-BAE5-FC225F002567}" destId="{A93943DC-722F-44FE-84CD-53071FDE96D4}" srcOrd="2" destOrd="0" parTransId="{AA151DC9-155E-461C-B615-27638C8C2123}" sibTransId="{927A37DB-069F-4329-994A-DA48D345325B}"/>
    <dgm:cxn modelId="{1B9751A9-AE9C-4DD6-AC88-5338794D1D99}" type="presOf" srcId="{F210A436-179B-456F-A5A9-D4925273ED8F}" destId="{20587D1D-669C-431D-BDC7-6788F78B7AB1}" srcOrd="0" destOrd="1" presId="urn:microsoft.com/office/officeart/2005/8/layout/hList1"/>
    <dgm:cxn modelId="{E8BC56AC-6684-45A5-B7D0-9CE56C1FE021}" srcId="{E9496B7E-0EB8-424B-8360-A32474E7AE61}" destId="{10FB4653-4244-42D6-9993-5214F31D0314}" srcOrd="1" destOrd="0" parTransId="{727E60F4-63FE-454C-BBE1-B8C0E47FC269}" sibTransId="{A9F4678D-D764-4FFE-AC48-928F0CBE7A6C}"/>
    <dgm:cxn modelId="{759DB8AD-4F3B-46EA-8797-CAED61ABEDF4}" type="presOf" srcId="{AC07980B-3C3D-4F4B-9C9C-40BD77ED1549}" destId="{C0C34DFB-BE2B-4173-A583-83ADC6CCD32B}" srcOrd="0" destOrd="1" presId="urn:microsoft.com/office/officeart/2005/8/layout/hList1"/>
    <dgm:cxn modelId="{A4062BBA-27D3-4A49-BF91-C2F327B0261F}" type="presOf" srcId="{8DC2C98A-B24F-4D4A-BAE5-FC225F002567}" destId="{B2EF2977-99BE-4E1E-9309-35EC9A03E7E9}" srcOrd="0" destOrd="0" presId="urn:microsoft.com/office/officeart/2005/8/layout/hList1"/>
    <dgm:cxn modelId="{419618BF-0119-44D1-AF47-C46728F2681A}" type="presOf" srcId="{F71714A5-A03A-4130-9AC5-7B76BC7E1281}" destId="{0B09C8E4-1923-413D-ABF3-D6A12C793B9D}" srcOrd="0" destOrd="0" presId="urn:microsoft.com/office/officeart/2005/8/layout/hList1"/>
    <dgm:cxn modelId="{E1326CC6-0DB8-4C16-8624-61E63642A4E7}" srcId="{8C628B80-FFDE-4907-8D52-2A10B71A59C5}" destId="{B977CC0E-0F77-4300-BE87-CAEC6B210D22}" srcOrd="1" destOrd="0" parTransId="{BBF78B77-5C6B-4376-860C-4E3B9160888D}" sibTransId="{8BDD9512-ECB8-42BA-B9C1-BB39593EEC0B}"/>
    <dgm:cxn modelId="{7B75CECA-A8BF-4403-B695-76FD10BA6355}" type="presOf" srcId="{D7D2E77A-CB97-4FBC-BC1E-3560EBFABEC5}" destId="{0B09C8E4-1923-413D-ABF3-D6A12C793B9D}" srcOrd="0" destOrd="2" presId="urn:microsoft.com/office/officeart/2005/8/layout/hList1"/>
    <dgm:cxn modelId="{D518E1CE-A8A3-4D5D-AF00-811B872DE22C}" srcId="{E7F74511-48A2-4B81-BDA1-92AB58D4433E}" destId="{F210A436-179B-456F-A5A9-D4925273ED8F}" srcOrd="1" destOrd="0" parTransId="{5FEDCC9B-29D4-4240-A6EF-77F1F7F5B209}" sibTransId="{554096C6-81F7-484E-A0B2-241201C01D5F}"/>
    <dgm:cxn modelId="{B01700E1-BE81-4D86-9154-0688E18EA034}" type="presOf" srcId="{EA78B30D-B550-4B66-9F00-822245738835}" destId="{9614B841-13B5-443B-A8D1-DABAB2F1117F}" srcOrd="0" destOrd="1" presId="urn:microsoft.com/office/officeart/2005/8/layout/hList1"/>
    <dgm:cxn modelId="{BB44E6E1-974B-40E2-94D8-947A1DB41ABC}" type="presOf" srcId="{26383F44-B2B8-4628-A442-8F4CAF012956}" destId="{BF7DD572-4D00-4A53-9BAA-88BBC62F79CB}" srcOrd="0" destOrd="0" presId="urn:microsoft.com/office/officeart/2005/8/layout/hList1"/>
    <dgm:cxn modelId="{CA07B7E3-124F-4601-914C-D7185E9A5E9E}" srcId="{E9496B7E-0EB8-424B-8360-A32474E7AE61}" destId="{4173F3A3-2F62-46CE-83A5-927FCA02B52D}" srcOrd="0" destOrd="0" parTransId="{6DCC1C4F-15C3-414A-AA60-92E4F2C8D3EE}" sibTransId="{B4D02002-0B23-4B8D-BF52-D322C4B90352}"/>
    <dgm:cxn modelId="{EEE3AEE9-0A26-47E1-AD51-C563F60AE2B9}" type="presOf" srcId="{9AD9DB8C-83DD-4644-9C4F-EA63B02136F3}" destId="{20587D1D-669C-431D-BDC7-6788F78B7AB1}" srcOrd="0" destOrd="0" presId="urn:microsoft.com/office/officeart/2005/8/layout/hList1"/>
    <dgm:cxn modelId="{8980E065-0A34-4053-A099-8C9C804E3E3E}" type="presParOf" srcId="{BF7DD572-4D00-4A53-9BAA-88BBC62F79CB}" destId="{1E530088-9381-47F5-851E-77DA547EB835}" srcOrd="0" destOrd="0" presId="urn:microsoft.com/office/officeart/2005/8/layout/hList1"/>
    <dgm:cxn modelId="{2B5AE037-B593-4798-9449-CF3BA228692B}" type="presParOf" srcId="{1E530088-9381-47F5-851E-77DA547EB835}" destId="{B2EF2977-99BE-4E1E-9309-35EC9A03E7E9}" srcOrd="0" destOrd="0" presId="urn:microsoft.com/office/officeart/2005/8/layout/hList1"/>
    <dgm:cxn modelId="{22BD3D81-DB5F-4A01-AFE9-BF4F03745077}" type="presParOf" srcId="{1E530088-9381-47F5-851E-77DA547EB835}" destId="{9614B841-13B5-443B-A8D1-DABAB2F1117F}" srcOrd="1" destOrd="0" presId="urn:microsoft.com/office/officeart/2005/8/layout/hList1"/>
    <dgm:cxn modelId="{A4E7CD81-AEF6-4BB9-AA42-001CF7491C30}" type="presParOf" srcId="{BF7DD572-4D00-4A53-9BAA-88BBC62F79CB}" destId="{68EE813D-2793-4769-834E-0919DF379433}" srcOrd="1" destOrd="0" presId="urn:microsoft.com/office/officeart/2005/8/layout/hList1"/>
    <dgm:cxn modelId="{033AE29C-1F75-4DDA-B8FC-F652566DE709}" type="presParOf" srcId="{BF7DD572-4D00-4A53-9BAA-88BBC62F79CB}" destId="{A5CC36AB-B229-49D4-AF25-34166ECC41B8}" srcOrd="2" destOrd="0" presId="urn:microsoft.com/office/officeart/2005/8/layout/hList1"/>
    <dgm:cxn modelId="{FF8505BC-8B67-4A05-8A17-96D2971EB94C}" type="presParOf" srcId="{A5CC36AB-B229-49D4-AF25-34166ECC41B8}" destId="{989FBE74-055C-49BC-B777-427FEE92AF6A}" srcOrd="0" destOrd="0" presId="urn:microsoft.com/office/officeart/2005/8/layout/hList1"/>
    <dgm:cxn modelId="{8E04AC5B-AFC4-4690-9089-CEAB66DD8EE0}" type="presParOf" srcId="{A5CC36AB-B229-49D4-AF25-34166ECC41B8}" destId="{0B09C8E4-1923-413D-ABF3-D6A12C793B9D}" srcOrd="1" destOrd="0" presId="urn:microsoft.com/office/officeart/2005/8/layout/hList1"/>
    <dgm:cxn modelId="{1B4BE92E-3B0B-4476-B117-4B8501926A55}" type="presParOf" srcId="{BF7DD572-4D00-4A53-9BAA-88BBC62F79CB}" destId="{864B3BE1-21CD-4198-9095-4F2DC764776B}" srcOrd="3" destOrd="0" presId="urn:microsoft.com/office/officeart/2005/8/layout/hList1"/>
    <dgm:cxn modelId="{1C4BB822-0316-4036-9459-61ED0B6945CF}" type="presParOf" srcId="{BF7DD572-4D00-4A53-9BAA-88BBC62F79CB}" destId="{B0520795-4C1F-4208-A2FD-06FE25E17C83}" srcOrd="4" destOrd="0" presId="urn:microsoft.com/office/officeart/2005/8/layout/hList1"/>
    <dgm:cxn modelId="{A0A5DC95-BFF6-4CEC-8A30-9C6792977E9B}" type="presParOf" srcId="{B0520795-4C1F-4208-A2FD-06FE25E17C83}" destId="{7E3F7806-B7D1-429F-AD90-0BD0B75F1783}" srcOrd="0" destOrd="0" presId="urn:microsoft.com/office/officeart/2005/8/layout/hList1"/>
    <dgm:cxn modelId="{14D1C559-B126-4DFA-B541-90FB7BB38C4D}" type="presParOf" srcId="{B0520795-4C1F-4208-A2FD-06FE25E17C83}" destId="{C0C34DFB-BE2B-4173-A583-83ADC6CCD32B}" srcOrd="1" destOrd="0" presId="urn:microsoft.com/office/officeart/2005/8/layout/hList1"/>
    <dgm:cxn modelId="{C2A4FD0B-79DC-484F-8FCA-86396D51CC98}" type="presParOf" srcId="{BF7DD572-4D00-4A53-9BAA-88BBC62F79CB}" destId="{F37FA66A-095A-4391-A5B3-0A08288FAF13}" srcOrd="5" destOrd="0" presId="urn:microsoft.com/office/officeart/2005/8/layout/hList1"/>
    <dgm:cxn modelId="{84CFC5F6-DEE6-47AA-900E-F3285A15C65B}" type="presParOf" srcId="{BF7DD572-4D00-4A53-9BAA-88BBC62F79CB}" destId="{6B3E31F4-A196-47E3-903D-F319B938069F}" srcOrd="6" destOrd="0" presId="urn:microsoft.com/office/officeart/2005/8/layout/hList1"/>
    <dgm:cxn modelId="{7E01F125-6014-4C61-8316-AF5349828135}" type="presParOf" srcId="{6B3E31F4-A196-47E3-903D-F319B938069F}" destId="{AC503C0B-3DC7-4A5D-94FC-CC3062797660}" srcOrd="0" destOrd="0" presId="urn:microsoft.com/office/officeart/2005/8/layout/hList1"/>
    <dgm:cxn modelId="{C2319CEB-6CB6-475F-9E2F-B03FFBA674C5}" type="presParOf" srcId="{6B3E31F4-A196-47E3-903D-F319B938069F}" destId="{20587D1D-669C-431D-BDC7-6788F78B7AB1}" srcOrd="1" destOrd="0" presId="urn:microsoft.com/office/officeart/2005/8/layout/hList1"/>
    <dgm:cxn modelId="{13E83E92-AFDA-4AA1-9635-A58D6601D869}" type="presParOf" srcId="{BF7DD572-4D00-4A53-9BAA-88BBC62F79CB}" destId="{6A8ECE01-EFA1-4B25-9EC4-172C31C92D3B}" srcOrd="7" destOrd="0" presId="urn:microsoft.com/office/officeart/2005/8/layout/hList1"/>
    <dgm:cxn modelId="{4A0BCE21-C344-472B-9F17-20C2F10B5070}" type="presParOf" srcId="{BF7DD572-4D00-4A53-9BAA-88BBC62F79CB}" destId="{3FFE95F9-8AA2-4695-AEA0-462E2B71363D}" srcOrd="8" destOrd="0" presId="urn:microsoft.com/office/officeart/2005/8/layout/hList1"/>
    <dgm:cxn modelId="{45916141-D3EA-4B24-B415-0E13990368A8}" type="presParOf" srcId="{3FFE95F9-8AA2-4695-AEA0-462E2B71363D}" destId="{55654B45-B178-42D5-A9B7-9AF232079217}" srcOrd="0" destOrd="0" presId="urn:microsoft.com/office/officeart/2005/8/layout/hList1"/>
    <dgm:cxn modelId="{9D37BC6B-E5D8-4BD2-BC09-D4B9DC0A1B6C}" type="presParOf" srcId="{3FFE95F9-8AA2-4695-AEA0-462E2B71363D}" destId="{71050162-0252-4563-AD57-44D0B4FD39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BD76BE-9482-467D-8C8A-E491FACBA516}">
      <dsp:nvSpPr>
        <dsp:cNvPr id="0" name=""/>
        <dsp:cNvSpPr/>
      </dsp:nvSpPr>
      <dsp:spPr>
        <a:xfrm>
          <a:off x="0" y="39363"/>
          <a:ext cx="11442319" cy="145079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Synapse in a day is a demo driven engagement where the attendee can achieve the most in the least amount of time. It is geared to showcase all the key components of Azure Synapse Analytics. </a:t>
          </a:r>
          <a:endParaRPr lang="en-US" sz="2400" kern="1200" dirty="0"/>
        </a:p>
      </dsp:txBody>
      <dsp:txXfrm>
        <a:off x="70822" y="110185"/>
        <a:ext cx="11300675" cy="1309155"/>
      </dsp:txXfrm>
    </dsp:sp>
    <dsp:sp modelId="{FF6D5B08-E4BA-4DBE-B6ED-7073FB24ADA6}">
      <dsp:nvSpPr>
        <dsp:cNvPr id="0" name=""/>
        <dsp:cNvSpPr/>
      </dsp:nvSpPr>
      <dsp:spPr>
        <a:xfrm>
          <a:off x="0" y="1579443"/>
          <a:ext cx="11442319" cy="1450799"/>
        </a:xfrm>
        <a:prstGeom prst="roundRect">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Synapse Concepts and Terminologies (120 minutes)</a:t>
          </a:r>
          <a:endParaRPr lang="en-US" sz="2400" kern="1200" dirty="0"/>
        </a:p>
      </dsp:txBody>
      <dsp:txXfrm>
        <a:off x="70822" y="1650265"/>
        <a:ext cx="11300675" cy="1309155"/>
      </dsp:txXfrm>
    </dsp:sp>
    <dsp:sp modelId="{81B57021-C802-4B2D-822C-713BDB1D4007}">
      <dsp:nvSpPr>
        <dsp:cNvPr id="0" name=""/>
        <dsp:cNvSpPr/>
      </dsp:nvSpPr>
      <dsp:spPr>
        <a:xfrm>
          <a:off x="0" y="3030243"/>
          <a:ext cx="11442319" cy="22459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3294"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a:t>What is Azure Synapse?</a:t>
          </a:r>
          <a:endParaRPr lang="en-US" sz="2400" kern="1200"/>
        </a:p>
        <a:p>
          <a:pPr marL="228600" lvl="1" indent="-228600" algn="l" defTabSz="1066800">
            <a:lnSpc>
              <a:spcPct val="90000"/>
            </a:lnSpc>
            <a:spcBef>
              <a:spcPct val="0"/>
            </a:spcBef>
            <a:spcAft>
              <a:spcPct val="20000"/>
            </a:spcAft>
            <a:buChar char="•"/>
          </a:pPr>
          <a:r>
            <a:rPr lang="en-US" sz="2400" kern="1200" baseline="0"/>
            <a:t>Overview of Modern Data Warehousing</a:t>
          </a:r>
          <a:endParaRPr lang="en-US" sz="2400" kern="1200"/>
        </a:p>
        <a:p>
          <a:pPr marL="228600" lvl="1" indent="-228600" algn="l" defTabSz="1066800">
            <a:lnSpc>
              <a:spcPct val="90000"/>
            </a:lnSpc>
            <a:spcBef>
              <a:spcPct val="0"/>
            </a:spcBef>
            <a:spcAft>
              <a:spcPct val="20000"/>
            </a:spcAft>
            <a:buChar char="•"/>
          </a:pPr>
          <a:r>
            <a:rPr lang="en-US" sz="2400" kern="1200" baseline="0" dirty="0"/>
            <a:t>Scaling Massively Parallel Processing (MPP)</a:t>
          </a:r>
          <a:endParaRPr lang="en-US" sz="2400" kern="1200" dirty="0"/>
        </a:p>
        <a:p>
          <a:pPr marL="228600" lvl="1" indent="-228600" algn="l" defTabSz="1066800">
            <a:lnSpc>
              <a:spcPct val="90000"/>
            </a:lnSpc>
            <a:spcBef>
              <a:spcPct val="0"/>
            </a:spcBef>
            <a:spcAft>
              <a:spcPct val="20000"/>
            </a:spcAft>
            <a:buChar char="•"/>
          </a:pPr>
          <a:r>
            <a:rPr lang="en-US" sz="2400" kern="1200" baseline="0" dirty="0"/>
            <a:t>Azure Synapse SQL Pool Architecture</a:t>
          </a:r>
          <a:endParaRPr lang="en-US" sz="2400" kern="1200" dirty="0"/>
        </a:p>
        <a:p>
          <a:pPr marL="228600" lvl="1" indent="-228600" algn="l" defTabSz="1066800">
            <a:lnSpc>
              <a:spcPct val="90000"/>
            </a:lnSpc>
            <a:spcBef>
              <a:spcPct val="0"/>
            </a:spcBef>
            <a:spcAft>
              <a:spcPct val="20000"/>
            </a:spcAft>
            <a:buChar char="•"/>
          </a:pPr>
          <a:r>
            <a:rPr lang="en-US" sz="2400" kern="1200" baseline="0" dirty="0"/>
            <a:t>Table Distributions in SQL Pools</a:t>
          </a:r>
          <a:endParaRPr lang="en-US" sz="2400" kern="1200" dirty="0"/>
        </a:p>
      </dsp:txBody>
      <dsp:txXfrm>
        <a:off x="0" y="3030243"/>
        <a:ext cx="11442319" cy="22459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EF2977-99BE-4E1E-9309-35EC9A03E7E9}">
      <dsp:nvSpPr>
        <dsp:cNvPr id="0" name=""/>
        <dsp:cNvSpPr/>
      </dsp:nvSpPr>
      <dsp:spPr>
        <a:xfrm>
          <a:off x="5313"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n w="3175"/>
              <a:latin typeface="+mj-lt"/>
              <a:cs typeface="Segoe UI" pitchFamily="34" charset="0"/>
            </a:rPr>
            <a:t>Demo 01 </a:t>
          </a:r>
          <a:endParaRPr lang="en-US" sz="1800" kern="1200" dirty="0"/>
        </a:p>
      </dsp:txBody>
      <dsp:txXfrm>
        <a:off x="5313" y="1371627"/>
        <a:ext cx="2036944" cy="814777"/>
      </dsp:txXfrm>
    </dsp:sp>
    <dsp:sp modelId="{9614B841-13B5-443B-A8D1-DABAB2F1117F}">
      <dsp:nvSpPr>
        <dsp:cNvPr id="0" name=""/>
        <dsp:cNvSpPr/>
      </dsp:nvSpPr>
      <dsp:spPr>
        <a:xfrm>
          <a:off x="5313"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Create Synapse Workspace</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Overview of Synapse Studio</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Create SQL Pools</a:t>
          </a:r>
          <a:endParaRPr lang="en-US" sz="1800" kern="1200" dirty="0">
            <a:ln w="3175"/>
            <a:latin typeface="+mj-lt"/>
            <a:cs typeface="Segoe UI" pitchFamily="34" charset="0"/>
          </a:endParaRPr>
        </a:p>
      </dsp:txBody>
      <dsp:txXfrm>
        <a:off x="5313" y="2186405"/>
        <a:ext cx="2036944" cy="2854800"/>
      </dsp:txXfrm>
    </dsp:sp>
    <dsp:sp modelId="{989FBE74-055C-49BC-B777-427FEE92AF6A}">
      <dsp:nvSpPr>
        <dsp:cNvPr id="0" name=""/>
        <dsp:cNvSpPr/>
      </dsp:nvSpPr>
      <dsp:spPr>
        <a:xfrm>
          <a:off x="2327430"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n w="3175"/>
              <a:latin typeface="+mj-lt"/>
              <a:cs typeface="Segoe UI" pitchFamily="34" charset="0"/>
            </a:rPr>
            <a:t>Demo 02</a:t>
          </a:r>
          <a:endParaRPr lang="en-US" sz="1800" kern="1200" dirty="0">
            <a:ln w="3175"/>
            <a:latin typeface="+mj-lt"/>
            <a:cs typeface="Segoe UI" pitchFamily="34" charset="0"/>
          </a:endParaRPr>
        </a:p>
      </dsp:txBody>
      <dsp:txXfrm>
        <a:off x="2327430" y="1371627"/>
        <a:ext cx="2036944" cy="814777"/>
      </dsp:txXfrm>
    </dsp:sp>
    <dsp:sp modelId="{0B09C8E4-1923-413D-ABF3-D6A12C793B9D}">
      <dsp:nvSpPr>
        <dsp:cNvPr id="0" name=""/>
        <dsp:cNvSpPr/>
      </dsp:nvSpPr>
      <dsp:spPr>
        <a:xfrm>
          <a:off x="2327430"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Setup Integration Runtime</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Create Synapse Pipeline</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Data Ingestion from an On-Premises Server (Single Table)</a:t>
          </a:r>
          <a:endParaRPr lang="en-US" sz="1800" kern="1200" dirty="0">
            <a:ln w="3175"/>
            <a:latin typeface="+mj-lt"/>
            <a:cs typeface="Segoe UI" pitchFamily="34" charset="0"/>
          </a:endParaRPr>
        </a:p>
      </dsp:txBody>
      <dsp:txXfrm>
        <a:off x="2327430" y="2186405"/>
        <a:ext cx="2036944" cy="2854800"/>
      </dsp:txXfrm>
    </dsp:sp>
    <dsp:sp modelId="{7E3F7806-B7D1-429F-AD90-0BD0B75F1783}">
      <dsp:nvSpPr>
        <dsp:cNvPr id="0" name=""/>
        <dsp:cNvSpPr/>
      </dsp:nvSpPr>
      <dsp:spPr>
        <a:xfrm>
          <a:off x="4649546"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n w="3175"/>
              <a:latin typeface="+mj-lt"/>
              <a:cs typeface="Segoe UI" pitchFamily="34" charset="0"/>
            </a:rPr>
            <a:t>Demo 03</a:t>
          </a:r>
          <a:endParaRPr lang="en-US" sz="1800" kern="1200" dirty="0">
            <a:ln w="3175"/>
            <a:latin typeface="+mj-lt"/>
            <a:cs typeface="Segoe UI" pitchFamily="34" charset="0"/>
          </a:endParaRPr>
        </a:p>
      </dsp:txBody>
      <dsp:txXfrm>
        <a:off x="4649546" y="1371627"/>
        <a:ext cx="2036944" cy="814777"/>
      </dsp:txXfrm>
    </dsp:sp>
    <dsp:sp modelId="{C0C34DFB-BE2B-4173-A583-83ADC6CCD32B}">
      <dsp:nvSpPr>
        <dsp:cNvPr id="0" name=""/>
        <dsp:cNvSpPr/>
      </dsp:nvSpPr>
      <dsp:spPr>
        <a:xfrm>
          <a:off x="4649546"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Data Ingestion from On-Premises Server (Lookup Tables)</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Structured Data to ADLS</a:t>
          </a:r>
          <a:endParaRPr lang="en-US" sz="1800" kern="1200" dirty="0">
            <a:ln w="3175"/>
            <a:latin typeface="+mj-lt"/>
            <a:cs typeface="Segoe UI" pitchFamily="34" charset="0"/>
          </a:endParaRPr>
        </a:p>
      </dsp:txBody>
      <dsp:txXfrm>
        <a:off x="4649546" y="2186405"/>
        <a:ext cx="2036944" cy="2854800"/>
      </dsp:txXfrm>
    </dsp:sp>
    <dsp:sp modelId="{AC503C0B-3DC7-4A5D-94FC-CC3062797660}">
      <dsp:nvSpPr>
        <dsp:cNvPr id="0" name=""/>
        <dsp:cNvSpPr/>
      </dsp:nvSpPr>
      <dsp:spPr>
        <a:xfrm>
          <a:off x="6971663"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n w="3175"/>
              <a:latin typeface="+mj-lt"/>
              <a:cs typeface="Segoe UI" pitchFamily="34" charset="0"/>
            </a:rPr>
            <a:t>Demo 04</a:t>
          </a:r>
        </a:p>
      </dsp:txBody>
      <dsp:txXfrm>
        <a:off x="6971663" y="1371627"/>
        <a:ext cx="2036944" cy="814777"/>
      </dsp:txXfrm>
    </dsp:sp>
    <dsp:sp modelId="{20587D1D-669C-431D-BDC7-6788F78B7AB1}">
      <dsp:nvSpPr>
        <dsp:cNvPr id="0" name=""/>
        <dsp:cNvSpPr/>
      </dsp:nvSpPr>
      <dsp:spPr>
        <a:xfrm>
          <a:off x="6971663"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Ingest Data using Polybase</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Ingest Data using COPY INTO</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Analyze Data in Synapse Studio</a:t>
          </a:r>
          <a:endParaRPr lang="en-US" sz="1800" kern="1200" dirty="0">
            <a:ln w="3175"/>
            <a:latin typeface="+mj-lt"/>
            <a:cs typeface="Segoe UI" pitchFamily="34" charset="0"/>
          </a:endParaRPr>
        </a:p>
      </dsp:txBody>
      <dsp:txXfrm>
        <a:off x="6971663" y="2186405"/>
        <a:ext cx="2036944" cy="2854800"/>
      </dsp:txXfrm>
    </dsp:sp>
    <dsp:sp modelId="{55654B45-B178-42D5-A9B7-9AF232079217}">
      <dsp:nvSpPr>
        <dsp:cNvPr id="0" name=""/>
        <dsp:cNvSpPr/>
      </dsp:nvSpPr>
      <dsp:spPr>
        <a:xfrm>
          <a:off x="9293779"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n w="3175"/>
              <a:latin typeface="+mj-lt"/>
              <a:cs typeface="Segoe UI" pitchFamily="34" charset="0"/>
            </a:rPr>
            <a:t>Demo 05</a:t>
          </a:r>
          <a:endParaRPr lang="en-US" sz="1800" kern="1200" dirty="0">
            <a:ln w="3175"/>
            <a:latin typeface="+mj-lt"/>
            <a:cs typeface="Segoe UI" pitchFamily="34" charset="0"/>
          </a:endParaRPr>
        </a:p>
      </dsp:txBody>
      <dsp:txXfrm>
        <a:off x="9293779" y="1371627"/>
        <a:ext cx="2036944" cy="814777"/>
      </dsp:txXfrm>
    </dsp:sp>
    <dsp:sp modelId="{71050162-0252-4563-AD57-44D0B4FD3903}">
      <dsp:nvSpPr>
        <dsp:cNvPr id="0" name=""/>
        <dsp:cNvSpPr/>
      </dsp:nvSpPr>
      <dsp:spPr>
        <a:xfrm>
          <a:off x="9293779"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Creating Spark Pools</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Ingesting Data from a Data Lake to CosmosDB</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Reporting using Power BI</a:t>
          </a:r>
        </a:p>
      </dsp:txBody>
      <dsp:txXfrm>
        <a:off x="9293779" y="2186405"/>
        <a:ext cx="2036944" cy="28548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B10AD8-BF62-435E-8ABD-4E2237E093D8}" type="datetimeFigureOut">
              <a:rPr lang="en-US" smtClean="0"/>
              <a:t>5/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E3BBFA-A8E6-4536-8FB4-4AF29A422DDF}" type="slidenum">
              <a:rPr lang="en-US" smtClean="0"/>
              <a:t>‹#›</a:t>
            </a:fld>
            <a:endParaRPr lang="en-US"/>
          </a:p>
        </p:txBody>
      </p:sp>
    </p:spTree>
    <p:extLst>
      <p:ext uri="{BB962C8B-B14F-4D97-AF65-F5344CB8AC3E}">
        <p14:creationId xmlns:p14="http://schemas.microsoft.com/office/powerpoint/2010/main" val="2750694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ka.ms/Synapse_Link_Doc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ka.ms/Synapse_Link_Doc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synapse-analytics/sql/overview-architectur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service-capacity-limits"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azure.microsoft.com/en-us/blog/blazing-fast-data-warehousing-with-sql-data-warehouse-gen2/" TargetMode="External"/><Relationship Id="rId5" Type="http://schemas.openxmlformats.org/officeDocument/2006/relationships/hyperlink" Target="https://azure.microsoft.com/en-us/blog/adaptive-caching-powers-azure-sql-data-warehouse-performance-gains/" TargetMode="External"/><Relationship Id="rId4" Type="http://schemas.openxmlformats.org/officeDocument/2006/relationships/hyperlink" Target="https://docs.microsoft.com/en-us/azure/synapse-analytics/sql-data-warehouse/memory-concurrency-limits"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pause-and-resume-compute-portal"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docs.microsoft.com/en-us/azure/synapse-analytics/sql-data-warehouse/sql-data-warehouse-manage-compute-rest-api#resume-compute" TargetMode="External"/><Relationship Id="rId5" Type="http://schemas.openxmlformats.org/officeDocument/2006/relationships/hyperlink" Target="https://docs.microsoft.com/en-us/azure/synapse-analytics/sql-data-warehouse/sql-data-warehouse-manage-compute-rest-api#pause-compute" TargetMode="External"/><Relationship Id="rId4" Type="http://schemas.openxmlformats.org/officeDocument/2006/relationships/hyperlink" Target="https://docs.microsoft.com/en-us/azure/synapse-analytics/sql-data-warehouse/pause-and-resume-compute-powershell"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A1A1F"/>
                </a:solidFill>
                <a:effectLst/>
                <a:latin typeface="Segoe UI" panose="020B0502040204020203" pitchFamily="34" charset="0"/>
              </a:rPr>
              <a:t>Gain instant clarity using the freshest operational data at all times</a:t>
            </a:r>
          </a:p>
          <a:p>
            <a:pPr algn="l"/>
            <a:r>
              <a:rPr lang="en-US" b="0" i="0" dirty="0">
                <a:solidFill>
                  <a:srgbClr val="4C4C51"/>
                </a:solidFill>
                <a:effectLst/>
                <a:latin typeface="Segoe UI" panose="020B0502040204020203" pitchFamily="34" charset="0"/>
              </a:rPr>
              <a:t>Bring immediate, in-the-moment insights to your business with a simple, low cost, cloud-native HTAP implementation using </a:t>
            </a:r>
            <a:r>
              <a:rPr lang="en-US" b="0" i="0" u="sng" dirty="0">
                <a:solidFill>
                  <a:srgbClr val="0062AD"/>
                </a:solidFill>
                <a:effectLst/>
                <a:latin typeface="Segoe UI" panose="020B0502040204020203" pitchFamily="34" charset="0"/>
                <a:hlinkClick r:id="rId3"/>
              </a:rPr>
              <a:t>Azure Synapse Link</a:t>
            </a:r>
            <a:r>
              <a:rPr lang="en-US" b="0" i="0" dirty="0">
                <a:solidFill>
                  <a:srgbClr val="4C4C51"/>
                </a:solidFill>
                <a:effectLst/>
                <a:latin typeface="Segoe UI" panose="020B0502040204020203" pitchFamily="34" charset="0"/>
              </a:rPr>
              <a:t>. With a single click, you can remove the barriers between Azure databases and Azure Synapse to get insights from your live operational data stores in near-real time. No complex ETL pipelines or additional database compute resources are required and you can run your analytics workloads on live data through Azure Synapse, without affecting your operational systems. Business analysts, data engineers, and data scientists can now use Azure Synapse to run near real-time business intelligence, analytics, and machine learning pipelines without impacting the performance of their transactional workloads on Azure Cosmos D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9CAC0C-83E7-4249-962B-231BAECB4C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4377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A1A1F"/>
                </a:solidFill>
                <a:effectLst/>
                <a:latin typeface="Segoe UI" panose="020B0502040204020203" pitchFamily="34" charset="0"/>
              </a:rPr>
              <a:t>Gain instant clarity using the freshest operational data at all times</a:t>
            </a:r>
          </a:p>
          <a:p>
            <a:pPr algn="l"/>
            <a:r>
              <a:rPr lang="en-US" b="0" i="0" dirty="0">
                <a:solidFill>
                  <a:srgbClr val="4C4C51"/>
                </a:solidFill>
                <a:effectLst/>
                <a:latin typeface="Segoe UI" panose="020B0502040204020203" pitchFamily="34" charset="0"/>
              </a:rPr>
              <a:t>Bring immediate, in-the-moment insights to your business with a simple, low cost, cloud-native HTAP implementation using </a:t>
            </a:r>
            <a:r>
              <a:rPr lang="en-US" b="0" i="0" u="sng" dirty="0">
                <a:solidFill>
                  <a:srgbClr val="0062AD"/>
                </a:solidFill>
                <a:effectLst/>
                <a:latin typeface="Segoe UI" panose="020B0502040204020203" pitchFamily="34" charset="0"/>
                <a:hlinkClick r:id="rId3"/>
              </a:rPr>
              <a:t>Azure Synapse Link</a:t>
            </a:r>
            <a:r>
              <a:rPr lang="en-US" b="0" i="0" dirty="0">
                <a:solidFill>
                  <a:srgbClr val="4C4C51"/>
                </a:solidFill>
                <a:effectLst/>
                <a:latin typeface="Segoe UI" panose="020B0502040204020203" pitchFamily="34" charset="0"/>
              </a:rPr>
              <a:t>. With a single click, you can remove the barriers between Azure databases and Azure Synapse to get insights from your live operational data stores in near-real time. No complex ETL pipelines or additional database compute resources are required and you can run your analytics workloads on live data through Azure Synapse, without affecting your operational systems. Business analysts, data engineers, and data scientists can now use Azure Synapse to run near real-time business intelligence, analytics, and machine learning pipelines without impacting the performance of their transactional workloads on Azure Cosmos D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9CAC0C-83E7-4249-962B-231BAECB4C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5409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your speech based on the link below</a:t>
            </a:r>
          </a:p>
          <a:p>
            <a:endParaRPr lang="en-US" dirty="0"/>
          </a:p>
          <a:p>
            <a:r>
              <a:rPr lang="en-US" dirty="0"/>
              <a:t>https://docs.microsoft.com/en-us/azure/synapse-analytics/sql-data-warehouse/sql-data-warehouse-overview-what-is</a:t>
            </a:r>
            <a:br>
              <a:rPr lang="en-US" dirty="0"/>
            </a:br>
            <a:r>
              <a:rPr lang="en-US" dirty="0"/>
              <a:t> </a:t>
            </a:r>
            <a:br>
              <a:rPr lang="en-US" dirty="0"/>
            </a:br>
            <a:r>
              <a:rPr lang="en-US" dirty="0"/>
              <a:t>Azure Synapse has four components:</a:t>
            </a:r>
          </a:p>
          <a:p>
            <a:br>
              <a:rPr lang="en-US" dirty="0"/>
            </a:br>
            <a:r>
              <a:rPr lang="en-US" dirty="0"/>
              <a:t>Information on 2020-07-15</a:t>
            </a:r>
          </a:p>
          <a:p>
            <a:pPr marL="171450" indent="-171450">
              <a:buFont typeface="Arial" panose="020B0604020202020204" pitchFamily="34" charset="0"/>
              <a:buChar char="•"/>
            </a:pPr>
            <a:r>
              <a:rPr lang="en-US" dirty="0"/>
              <a:t>Synapse SQL: complete T-SQL based analytics – Generally Available</a:t>
            </a:r>
          </a:p>
          <a:p>
            <a:pPr marL="171450" indent="-171450">
              <a:buFont typeface="Arial" panose="020B0604020202020204" pitchFamily="34" charset="0"/>
              <a:buChar char="•"/>
            </a:pPr>
            <a:r>
              <a:rPr lang="en-US" dirty="0"/>
              <a:t>SQL pool (pay per DWU provisioned)</a:t>
            </a:r>
          </a:p>
          <a:p>
            <a:pPr marL="171450" indent="-171450">
              <a:buFont typeface="Arial" panose="020B0604020202020204" pitchFamily="34" charset="0"/>
              <a:buChar char="•"/>
            </a:pPr>
            <a:r>
              <a:rPr lang="en-US" dirty="0"/>
              <a:t>SQL on-demand (pay per TB processed) (preview)</a:t>
            </a:r>
          </a:p>
          <a:p>
            <a:pPr marL="171450" indent="-171450">
              <a:buFont typeface="Arial" panose="020B0604020202020204" pitchFamily="34" charset="0"/>
              <a:buChar char="•"/>
            </a:pPr>
            <a:r>
              <a:rPr lang="en-US" dirty="0"/>
              <a:t>Spark: Deeply integrated Apache Spark (preview)</a:t>
            </a:r>
          </a:p>
          <a:p>
            <a:pPr marL="171450" indent="-171450">
              <a:buFont typeface="Arial" panose="020B0604020202020204" pitchFamily="34" charset="0"/>
              <a:buChar char="•"/>
            </a:pPr>
            <a:r>
              <a:rPr lang="en-US" dirty="0"/>
              <a:t>Synapse Pipelines: Hybrid data integration (preview)</a:t>
            </a:r>
          </a:p>
          <a:p>
            <a:pPr marL="171450" indent="-171450">
              <a:buFont typeface="Arial" panose="020B0604020202020204" pitchFamily="34" charset="0"/>
              <a:buChar char="•"/>
            </a:pPr>
            <a:r>
              <a:rPr lang="en-US" dirty="0"/>
              <a:t>Studio: Unified user experience. (preview)</a:t>
            </a:r>
          </a:p>
          <a:p>
            <a:pPr marL="171450" indent="-171450">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2771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b="0" i="0">
                <a:solidFill>
                  <a:srgbClr val="171717"/>
                </a:solidFill>
                <a:effectLst/>
                <a:latin typeface="Segoe UI" panose="020B0502040204020203" pitchFamily="34" charset="0"/>
              </a:rPr>
              <a:t>TALK TRACK:</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We provide you with managed virtual networks that connect your data pools seamlessly and keep you compliant. This way, your team doesn't have to do the specialized work of setting-up and maintaining the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 </a:t>
            </a: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85713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a:solidFill>
                  <a:srgbClr val="171717"/>
                </a:solidFill>
                <a:effectLst/>
                <a:latin typeface="Segoe UI" panose="020B0502040204020203" pitchFamily="34" charset="0"/>
              </a:rPr>
              <a:t>TALK TRACK:</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0" i="0">
                <a:solidFill>
                  <a:srgbClr val="171717"/>
                </a:solidFill>
                <a:effectLst/>
                <a:latin typeface="Segoe UI" panose="020B0502040204020203" pitchFamily="34" charset="0"/>
              </a:rPr>
              <a:t>Given this huge range of functionality available with Azure Synapse, it’s nice to have a choice about how you allocate and consume resources as well.</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0" i="0">
                <a:solidFill>
                  <a:srgbClr val="171717"/>
                </a:solidFill>
                <a:effectLst/>
                <a:latin typeface="Segoe UI" panose="020B0502040204020203" pitchFamily="34" charset="0"/>
              </a:rPr>
              <a:t>Today, Azure Synapse offers both serverless and dedicated resource models, giving you more flexibility and better budget control. </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0" i="0">
                <a:solidFill>
                  <a:srgbClr val="171717"/>
                </a:solidFill>
                <a:effectLst/>
                <a:latin typeface="Segoe UI" panose="020B0502040204020203" pitchFamily="34" charset="0"/>
              </a:rPr>
              <a:t>If you need predictable performance and cost, you can create dedicated SQL pools to reserve processing power for data stored in SQL tables. If you need to accommodate unplanned or </a:t>
            </a:r>
            <a:r>
              <a:rPr lang="en-US" b="0" i="0" err="1">
                <a:solidFill>
                  <a:srgbClr val="171717"/>
                </a:solidFill>
                <a:effectLst/>
                <a:latin typeface="Segoe UI" panose="020B0502040204020203" pitchFamily="34" charset="0"/>
              </a:rPr>
              <a:t>bursty</a:t>
            </a:r>
            <a:r>
              <a:rPr lang="en-US" b="0" i="0">
                <a:solidFill>
                  <a:srgbClr val="171717"/>
                </a:solidFill>
                <a:effectLst/>
                <a:latin typeface="Segoe UI" panose="020B0502040204020203" pitchFamily="34" charset="0"/>
              </a:rPr>
              <a:t> workloads, you can use the always-available, serverless SQL endpoint.</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71717"/>
                </a:solidFill>
                <a:effectLst/>
                <a:latin typeface="Segoe UI" panose="020B0502040204020203" pitchFamily="34" charset="0"/>
              </a:rPr>
              <a:t>More info: (</a:t>
            </a:r>
            <a:r>
              <a:rPr lang="en-US">
                <a:hlinkClick r:id="rId3"/>
              </a:rPr>
              <a:t>Synapse SQL architecture - Azure Synapse Analytics | Microsoft Docs</a:t>
            </a:r>
            <a:r>
              <a:rPr lang="en-US"/>
              <a:t>)</a:t>
            </a:r>
            <a:endParaRPr lang="en-US" b="1"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2744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6</a:t>
            </a:fld>
            <a:endParaRPr lang="en-US"/>
          </a:p>
        </p:txBody>
      </p:sp>
    </p:spTree>
    <p:extLst>
      <p:ext uri="{BB962C8B-B14F-4D97-AF65-F5344CB8AC3E}">
        <p14:creationId xmlns:p14="http://schemas.microsoft.com/office/powerpoint/2010/main" val="25705070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7</a:t>
            </a:fld>
            <a:endParaRPr lang="en-US"/>
          </a:p>
        </p:txBody>
      </p:sp>
    </p:spTree>
    <p:extLst>
      <p:ext uri="{BB962C8B-B14F-4D97-AF65-F5344CB8AC3E}">
        <p14:creationId xmlns:p14="http://schemas.microsoft.com/office/powerpoint/2010/main" val="34367900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8</a:t>
            </a:fld>
            <a:endParaRPr lang="en-US"/>
          </a:p>
        </p:txBody>
      </p:sp>
    </p:spTree>
    <p:extLst>
      <p:ext uri="{BB962C8B-B14F-4D97-AF65-F5344CB8AC3E}">
        <p14:creationId xmlns:p14="http://schemas.microsoft.com/office/powerpoint/2010/main" val="414710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Finding the right size of data warehouse units</a:t>
            </a:r>
          </a:p>
          <a:p>
            <a:pPr algn="l"/>
            <a:r>
              <a:rPr lang="en-US" b="0" i="0" dirty="0">
                <a:solidFill>
                  <a:srgbClr val="171717"/>
                </a:solidFill>
                <a:effectLst/>
                <a:latin typeface="Segoe UI" panose="020B0502040204020203" pitchFamily="34" charset="0"/>
              </a:rPr>
              <a:t>To see the performance benefits of scaling out, especially for larger data warehouse units, you want to use at least a 1-TB data set. To find the best number of data warehouse units for your SQL pool, try scaling up and down. Run a few queries with different numbers of data warehouse units after loading your data. Since scaling is quick, you can try various performance levels in an hour or less.</a:t>
            </a:r>
          </a:p>
          <a:p>
            <a:pPr algn="l"/>
            <a:r>
              <a:rPr lang="en-US" b="0" i="0" dirty="0">
                <a:solidFill>
                  <a:srgbClr val="171717"/>
                </a:solidFill>
                <a:effectLst/>
                <a:latin typeface="Segoe UI" panose="020B0502040204020203" pitchFamily="34" charset="0"/>
              </a:rPr>
              <a:t>Recommendations for finding the best number of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For a SQL pool in development, begin by selecting a smaller number of data warehouse units. A good starting point is DW400c or DW200c.</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onitor your application performance, observing the number of data warehouse units selected compared to the performance you observ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Assume a linear scale and determine how much you need to increase or decrease the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Continue making adjustments until you reach an optimum performance level for your business requirements.</a:t>
            </a:r>
          </a:p>
          <a:p>
            <a:endParaRPr lang="en-US" dirty="0"/>
          </a:p>
          <a:p>
            <a:endParaRPr lang="en-US" dirty="0"/>
          </a:p>
          <a:p>
            <a:pPr algn="l"/>
            <a:r>
              <a:rPr lang="en-US" b="1" i="0" dirty="0">
                <a:solidFill>
                  <a:srgbClr val="171717"/>
                </a:solidFill>
                <a:effectLst/>
                <a:latin typeface="Segoe UI" panose="020B0502040204020203" pitchFamily="34" charset="0"/>
              </a:rPr>
              <a:t>When to scale out</a:t>
            </a:r>
          </a:p>
          <a:p>
            <a:pPr algn="l"/>
            <a:r>
              <a:rPr lang="en-US" b="0" i="0" dirty="0">
                <a:solidFill>
                  <a:srgbClr val="171717"/>
                </a:solidFill>
                <a:effectLst/>
                <a:latin typeface="Segoe UI" panose="020B0502040204020203" pitchFamily="34" charset="0"/>
              </a:rPr>
              <a:t>Scaling out data warehouse units impacts these aspects of performanc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inearly improves performance of the system for scans, aggregations, and CTAS statemen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Increases the number of readers and writers for loading data.</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aximum number of concurrent queries and concurrency slots.</a:t>
            </a:r>
          </a:p>
          <a:p>
            <a:pPr algn="l"/>
            <a:r>
              <a:rPr lang="en-US" b="0" i="0" dirty="0">
                <a:solidFill>
                  <a:srgbClr val="171717"/>
                </a:solidFill>
                <a:effectLst/>
                <a:latin typeface="Segoe UI" panose="020B0502040204020203" pitchFamily="34" charset="0"/>
              </a:rPr>
              <a:t>Recommendations for when to scale out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Before you perform a heavy data loading or transformation operation, scale out to make the data available more quickly.</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During peak business hours, scale out to accommodate larger numbers of concurrent queri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37169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0</a:t>
            </a:fld>
            <a:endParaRPr lang="en-US"/>
          </a:p>
        </p:txBody>
      </p:sp>
    </p:spTree>
    <p:extLst>
      <p:ext uri="{BB962C8B-B14F-4D97-AF65-F5344CB8AC3E}">
        <p14:creationId xmlns:p14="http://schemas.microsoft.com/office/powerpoint/2010/main" val="1355774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2 7:0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41134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1</a:t>
            </a:fld>
            <a:endParaRPr lang="en-US"/>
          </a:p>
        </p:txBody>
      </p:sp>
    </p:spTree>
    <p:extLst>
      <p:ext uri="{BB962C8B-B14F-4D97-AF65-F5344CB8AC3E}">
        <p14:creationId xmlns:p14="http://schemas.microsoft.com/office/powerpoint/2010/main" val="27184752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mpute Node VM hosting two key components of SQL DW.  </a:t>
            </a:r>
          </a:p>
          <a:p>
            <a:r>
              <a:rPr lang="en-US" sz="900" kern="1200" dirty="0">
                <a:solidFill>
                  <a:schemeClr val="tx1"/>
                </a:solidFill>
                <a:effectLst/>
                <a:latin typeface="Segoe UI Light" pitchFamily="34" charset="0"/>
                <a:ea typeface="+mn-ea"/>
                <a:cs typeface="+mn-cs"/>
              </a:rPr>
              <a:t>These two key SQL DB and DMS.  </a:t>
            </a:r>
          </a:p>
          <a:p>
            <a:r>
              <a:rPr lang="en-US" sz="900" kern="1200" dirty="0">
                <a:solidFill>
                  <a:schemeClr val="tx1"/>
                </a:solidFill>
                <a:effectLst/>
                <a:latin typeface="Segoe UI Light" pitchFamily="34" charset="0"/>
                <a:ea typeface="+mn-ea"/>
                <a:cs typeface="+mn-cs"/>
              </a:rPr>
              <a:t>DMS, stands for Data Movement Service</a:t>
            </a:r>
          </a:p>
          <a:p>
            <a:r>
              <a:rPr lang="en-US" sz="900" kern="1200" dirty="0">
                <a:solidFill>
                  <a:schemeClr val="tx1"/>
                </a:solidFill>
                <a:effectLst/>
                <a:latin typeface="Segoe UI Light" pitchFamily="34" charset="0"/>
                <a:ea typeface="+mn-ea"/>
                <a:cs typeface="+mn-cs"/>
              </a:rPr>
              <a:t>cover more later on why move data</a:t>
            </a:r>
          </a:p>
          <a:p>
            <a:r>
              <a:rPr lang="en-US" sz="900" kern="1200" dirty="0">
                <a:solidFill>
                  <a:schemeClr val="tx1"/>
                </a:solidFill>
                <a:effectLst/>
                <a:latin typeface="Segoe UI Light" pitchFamily="34" charset="0"/>
                <a:ea typeface="+mn-ea"/>
                <a:cs typeface="+mn-cs"/>
              </a:rPr>
              <a:t>SQL DB crunching the data and DMS moving </a:t>
            </a:r>
          </a:p>
          <a:p>
            <a:r>
              <a:rPr lang="en-US" sz="900" kern="1200" dirty="0">
                <a:solidFill>
                  <a:schemeClr val="tx1"/>
                </a:solidFill>
                <a:effectLst/>
                <a:latin typeface="Segoe UI Light" pitchFamily="34" charset="0"/>
                <a:ea typeface="+mn-ea"/>
                <a:cs typeface="+mn-cs"/>
              </a:rPr>
              <a:t>Third component to SQL DW, the Engine.  </a:t>
            </a:r>
          </a:p>
          <a:p>
            <a:r>
              <a:rPr lang="en-US" sz="900" kern="1200" dirty="0">
                <a:solidFill>
                  <a:schemeClr val="tx1"/>
                </a:solidFill>
                <a:effectLst/>
                <a:latin typeface="Segoe UI Light" pitchFamily="34" charset="0"/>
                <a:ea typeface="+mn-ea"/>
                <a:cs typeface="+mn-cs"/>
              </a:rPr>
              <a:t>primary function is to optimize and manage incoming work.  </a:t>
            </a:r>
          </a:p>
          <a:p>
            <a:r>
              <a:rPr lang="en-US" sz="900" kern="1200" dirty="0">
                <a:solidFill>
                  <a:schemeClr val="tx1"/>
                </a:solidFill>
                <a:effectLst/>
                <a:latin typeface="Segoe UI Light" pitchFamily="34" charset="0"/>
                <a:ea typeface="+mn-ea"/>
                <a:cs typeface="+mn-cs"/>
              </a:rPr>
              <a:t>Engine parses and creates query plans.</a:t>
            </a:r>
          </a:p>
          <a:p>
            <a:r>
              <a:rPr lang="en-US" sz="900" kern="1200" dirty="0">
                <a:solidFill>
                  <a:schemeClr val="tx1"/>
                </a:solidFill>
                <a:effectLst/>
                <a:latin typeface="Segoe UI Light" pitchFamily="34" charset="0"/>
                <a:ea typeface="+mn-ea"/>
                <a:cs typeface="+mn-cs"/>
              </a:rPr>
              <a:t>Compute node has several SQL database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PP</a:t>
            </a:r>
          </a:p>
          <a:p>
            <a:r>
              <a:rPr lang="en-US" sz="900" kern="1200" dirty="0">
                <a:solidFill>
                  <a:schemeClr val="tx1"/>
                </a:solidFill>
                <a:effectLst/>
                <a:latin typeface="Segoe UI Light" pitchFamily="34" charset="0"/>
                <a:ea typeface="+mn-ea"/>
                <a:cs typeface="+mn-cs"/>
              </a:rPr>
              <a:t>Data is distributed into 60 distributions on storage</a:t>
            </a:r>
          </a:p>
          <a:p>
            <a:r>
              <a:rPr lang="en-US" sz="900" kern="1200" dirty="0">
                <a:solidFill>
                  <a:schemeClr val="tx1"/>
                </a:solidFill>
                <a:effectLst/>
                <a:latin typeface="Segoe UI Light" pitchFamily="34" charset="0"/>
                <a:ea typeface="+mn-ea"/>
                <a:cs typeface="+mn-cs"/>
              </a:rPr>
              <a:t>Each compute node is associated with a set of distributions</a:t>
            </a:r>
          </a:p>
          <a:p>
            <a:r>
              <a:rPr lang="en-US" sz="900" kern="1200" dirty="0">
                <a:solidFill>
                  <a:schemeClr val="tx1"/>
                </a:solidFill>
                <a:effectLst/>
                <a:latin typeface="Segoe UI Light" pitchFamily="34" charset="0"/>
                <a:ea typeface="+mn-ea"/>
                <a:cs typeface="+mn-cs"/>
              </a:rPr>
              <a:t>	1 Node would have all 60 distributions</a:t>
            </a:r>
          </a:p>
          <a:p>
            <a:r>
              <a:rPr lang="en-US" sz="900" kern="1200" dirty="0">
                <a:solidFill>
                  <a:schemeClr val="tx1"/>
                </a:solidFill>
                <a:effectLst/>
                <a:latin typeface="Segoe UI Light" pitchFamily="34" charset="0"/>
                <a:ea typeface="+mn-ea"/>
                <a:cs typeface="+mn-cs"/>
              </a:rPr>
              <a:t>	60 nodes would have 1 distribution each</a:t>
            </a:r>
          </a:p>
          <a:p>
            <a:r>
              <a:rPr lang="en-US" sz="900" kern="1200" dirty="0">
                <a:solidFill>
                  <a:schemeClr val="tx1"/>
                </a:solidFill>
                <a:effectLst/>
                <a:latin typeface="Segoe UI Light"/>
                <a:cs typeface="Segoe UI Light"/>
              </a:rPr>
              <a:t>This example is DW2500, each compute node is hosting 12 </a:t>
            </a:r>
            <a:r>
              <a:rPr lang="en-US" sz="900" dirty="0">
                <a:latin typeface="Segoe UI Light"/>
                <a:cs typeface="Segoe UI Light"/>
              </a:rPr>
              <a:t>distributions</a:t>
            </a:r>
            <a:r>
              <a:rPr lang="en-US" sz="900" kern="1200" dirty="0">
                <a:solidFill>
                  <a:schemeClr val="tx1"/>
                </a:solidFill>
                <a:effectLst/>
                <a:latin typeface="Segoe UI Light"/>
                <a:cs typeface="Segoe UI Light"/>
              </a:rPr>
              <a:t>.</a:t>
            </a:r>
          </a:p>
          <a:p>
            <a:r>
              <a:rPr lang="en-US" sz="900" kern="1200" dirty="0">
                <a:solidFill>
                  <a:schemeClr val="tx1"/>
                </a:solidFill>
                <a:effectLst/>
                <a:latin typeface="Segoe UI Light" pitchFamily="34" charset="0"/>
                <a:ea typeface="+mn-ea"/>
                <a:cs typeface="+mn-cs"/>
              </a:rPr>
              <a:t>Let’s say we want to take this DW2500 and scale it up to a DW5000</a:t>
            </a:r>
          </a:p>
          <a:p>
            <a:r>
              <a:rPr lang="en-US" sz="900" kern="1200" dirty="0">
                <a:solidFill>
                  <a:schemeClr val="tx1"/>
                </a:solidFill>
                <a:effectLst/>
                <a:latin typeface="Segoe UI Light" pitchFamily="34" charset="0"/>
                <a:ea typeface="+mn-ea"/>
                <a:cs typeface="+mn-cs"/>
              </a:rPr>
              <a:t>What happens behind the scenes?  </a:t>
            </a:r>
          </a:p>
          <a:p>
            <a:r>
              <a:rPr lang="en-US" sz="900" kern="1200" dirty="0">
                <a:solidFill>
                  <a:schemeClr val="tx1"/>
                </a:solidFill>
                <a:effectLst/>
                <a:latin typeface="Segoe UI Light"/>
                <a:cs typeface="Segoe UI Light"/>
              </a:rPr>
              <a:t>(1) take all of the SQL Databases down, </a:t>
            </a:r>
            <a:endParaRPr lang="en-US" sz="900" dirty="0">
              <a:latin typeface="Segoe UI Light"/>
              <a:cs typeface="Segoe UI Light"/>
            </a:endParaRPr>
          </a:p>
          <a:p>
            <a:r>
              <a:rPr lang="en-US" sz="900" kern="1200" dirty="0">
                <a:solidFill>
                  <a:schemeClr val="tx1"/>
                </a:solidFill>
                <a:effectLst/>
                <a:latin typeface="Segoe UI Light"/>
                <a:cs typeface="Segoe UI Light"/>
              </a:rPr>
              <a:t>(2) add 5 more compute nodes</a:t>
            </a:r>
            <a:r>
              <a:rPr lang="en-US" sz="900" dirty="0">
                <a:latin typeface="Segoe UI Light"/>
                <a:cs typeface="Segoe UI Light"/>
              </a:rPr>
              <a:t> </a:t>
            </a:r>
            <a:endParaRPr lang="en-US" dirty="0">
              <a:ea typeface="+mn-ea"/>
              <a:cs typeface="+mn-cs"/>
            </a:endParaRPr>
          </a:p>
          <a:p>
            <a:r>
              <a:rPr lang="en-US" sz="900" kern="1200" dirty="0">
                <a:solidFill>
                  <a:schemeClr val="tx1"/>
                </a:solidFill>
                <a:effectLst/>
                <a:latin typeface="Segoe UI Light" pitchFamily="34" charset="0"/>
                <a:ea typeface="+mn-ea"/>
                <a:cs typeface="+mn-cs"/>
              </a:rPr>
              <a:t>(3) start up the SQL DB databases again.  </a:t>
            </a:r>
          </a:p>
          <a:p>
            <a:r>
              <a:rPr lang="en-US" sz="900" kern="1200" dirty="0">
                <a:solidFill>
                  <a:schemeClr val="tx1"/>
                </a:solidFill>
                <a:effectLst/>
                <a:latin typeface="Segoe UI Light" pitchFamily="34" charset="0"/>
                <a:ea typeface="+mn-ea"/>
                <a:cs typeface="+mn-cs"/>
              </a:rPr>
              <a:t>some of the databases are on different compute nodes </a:t>
            </a:r>
          </a:p>
          <a:p>
            <a:r>
              <a:rPr lang="en-US" sz="900" kern="1200" dirty="0">
                <a:solidFill>
                  <a:schemeClr val="tx1"/>
                </a:solidFill>
                <a:effectLst/>
                <a:latin typeface="Segoe UI Light" pitchFamily="34" charset="0"/>
                <a:ea typeface="+mn-ea"/>
                <a:cs typeface="+mn-cs"/>
              </a:rPr>
              <a:t>6 distributions per node rather than 12</a:t>
            </a:r>
          </a:p>
          <a:p>
            <a:r>
              <a:rPr lang="en-US" sz="900" kern="1200" dirty="0">
                <a:solidFill>
                  <a:schemeClr val="tx1"/>
                </a:solidFill>
                <a:effectLst/>
                <a:latin typeface="Segoe UI Light" pitchFamily="34" charset="0"/>
                <a:ea typeface="+mn-ea"/>
                <a:cs typeface="+mn-cs"/>
              </a:rPr>
              <a:t>Each Node has half the work now</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More info: </a:t>
            </a:r>
            <a:r>
              <a:rPr lang="en-US" dirty="0"/>
              <a:t>https://docs.microsoft.com/en-us/azure/synapse-analytics/sql-data-warehouse/massively-parallel-processing-mpp-architecture</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DMS is the legacy service used to move data within the SQL Pool, it is being replaced with a </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a direct SQL – SQL movement process, that eliminates the Buffering used in DMS. This is significantly more streamlined compared to DMS. </a:t>
            </a:r>
          </a:p>
          <a:p>
            <a:pPr marL="0" marR="0" lvl="0" indent="0" algn="l" defTabSz="91422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DMS is still used for certain moves, and for </a:t>
            </a:r>
            <a:r>
              <a:rPr kumimoji="0" lang="en-US" sz="900" b="0" i="0" u="none" strike="noStrike" kern="1200" cap="none" spc="0" normalizeH="0" baseline="0" noProof="0" dirty="0" err="1">
                <a:ln>
                  <a:noFill/>
                </a:ln>
                <a:solidFill>
                  <a:srgbClr val="000000"/>
                </a:solidFill>
                <a:effectLst/>
                <a:uLnTx/>
                <a:uFillTx/>
                <a:latin typeface="Segoe UI Light" panose="020B0502040204020203" pitchFamily="34" charset="0"/>
                <a:ea typeface="+mn-ea"/>
                <a:cs typeface="Segoe UI Light" panose="020B0502040204020203" pitchFamily="34" charset="0"/>
              </a:rPr>
              <a:t>PolyBase</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 for external connections.</a:t>
            </a:r>
            <a:endParaRPr lang="en-US" sz="900" kern="1200" baseline="0" dirty="0">
              <a:solidFill>
                <a:schemeClr val="tx1"/>
              </a:solidFill>
              <a:effectLst/>
              <a:latin typeface="Segoe UI Light" pitchFamily="34" charset="0"/>
              <a:ea typeface="+mn-ea"/>
              <a:cs typeface="+mn-cs"/>
            </a:endParaRPr>
          </a:p>
          <a:p>
            <a:endParaRPr lang="en-US" baseline="0"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2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92061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is slide you need to be focus on the Control node and Compute node component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animation explains how the storage is queried and data goes to the Cache to minimize the request latency.</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first time you query data, the data goes from the Storage to the cache. The other request occurrences, the data will remain in the Cach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cache is also used for the replicated tables. In the background the Replicated table is stored as a Round-robin Distributed table. When you scale or resume, the replicated table are not stored in the cache. The data will reside in the cache the first time it will be requested.</a:t>
            </a:r>
          </a:p>
          <a:p>
            <a:endParaRPr lang="en-US" sz="900" b="0"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Non-Volatile Memory / Flash Memory hosting Cache and </a:t>
            </a:r>
            <a:r>
              <a:rPr lang="en-US" sz="900" b="1" i="0" kern="1200" dirty="0" err="1">
                <a:solidFill>
                  <a:schemeClr val="tx1"/>
                </a:solidFill>
                <a:effectLst/>
                <a:latin typeface="Segoe UI Light" pitchFamily="34" charset="0"/>
                <a:ea typeface="+mn-ea"/>
                <a:cs typeface="+mn-cs"/>
              </a:rPr>
              <a:t>tempdb</a:t>
            </a:r>
            <a:endParaRPr lang="en-US" sz="900" b="1"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NVM Express reduces </a:t>
            </a:r>
            <a:r>
              <a:rPr lang="en-US" sz="900" b="0" i="0" u="none" strike="noStrike" kern="1200" dirty="0">
                <a:solidFill>
                  <a:schemeClr val="tx1"/>
                </a:solidFill>
                <a:effectLst/>
                <a:latin typeface="Segoe UI Light" pitchFamily="34" charset="0"/>
                <a:ea typeface="+mn-ea"/>
                <a:cs typeface="+mn-cs"/>
              </a:rPr>
              <a:t>I/O </a:t>
            </a:r>
            <a:r>
              <a:rPr lang="en-US" sz="900" b="0" i="0" kern="1200" dirty="0">
                <a:solidFill>
                  <a:schemeClr val="tx1"/>
                </a:solidFill>
                <a:effectLst/>
                <a:latin typeface="Segoe UI Light" pitchFamily="34" charset="0"/>
                <a:ea typeface="+mn-ea"/>
                <a:cs typeface="+mn-cs"/>
              </a:rPr>
              <a:t>overhead and brings various performance improvements in comparison to previous logical-device interfaces, including multiple, long command queues, and reduced latency.</a:t>
            </a:r>
          </a:p>
          <a:p>
            <a:endParaRPr lang="en-US" sz="900" b="0" i="0" kern="1200" dirty="0">
              <a:solidFill>
                <a:schemeClr val="tx1"/>
              </a:solidFill>
              <a:effectLst/>
              <a:latin typeface="Segoe UI Light" pitchFamily="34" charset="0"/>
              <a:ea typeface="+mn-ea"/>
              <a:cs typeface="+mn-cs"/>
            </a:endParaRPr>
          </a:p>
          <a:p>
            <a:r>
              <a:rPr lang="en-GB" dirty="0"/>
              <a:t>Continue explaining the different layers by being focus on the </a:t>
            </a:r>
            <a:r>
              <a:rPr lang="en-GB" dirty="0" err="1"/>
              <a:t>NVMe</a:t>
            </a:r>
            <a:r>
              <a:rPr lang="en-GB" dirty="0"/>
              <a:t> SSD containing the cache and the </a:t>
            </a:r>
            <a:r>
              <a:rPr lang="en-GB" dirty="0" err="1"/>
              <a:t>Tempdb</a:t>
            </a:r>
            <a:r>
              <a:rPr lang="en-GB" dirty="0"/>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22 6: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4556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e the amount of compute node, RAM and specific scenarios for some </a:t>
            </a:r>
            <a:r>
              <a:rPr lang="en-US" dirty="0" err="1"/>
              <a:t>cDWU</a:t>
            </a:r>
            <a:endParaRPr lang="en-US" dirty="0"/>
          </a:p>
          <a:p>
            <a:r>
              <a:rPr lang="en-US" dirty="0"/>
              <a:t>For Example, speak about </a:t>
            </a:r>
            <a:r>
              <a:rPr lang="en-US" dirty="0" err="1"/>
              <a:t>cDWU</a:t>
            </a:r>
            <a:r>
              <a:rPr lang="en-US" dirty="0"/>
              <a:t> 100 to 500 will only have 1 compute node. Most of the time 100 to 400 is for DEV/UAT and sometime </a:t>
            </a:r>
            <a:r>
              <a:rPr lang="en-US" dirty="0" err="1"/>
              <a:t>PreProduction</a:t>
            </a:r>
            <a:r>
              <a:rPr lang="en-US" dirty="0"/>
              <a:t> environments.</a:t>
            </a:r>
          </a:p>
          <a:p>
            <a:r>
              <a:rPr lang="en-US" dirty="0"/>
              <a:t>DWU500 = 1 Compute node.</a:t>
            </a:r>
          </a:p>
          <a:p>
            <a:r>
              <a:rPr lang="en-US" dirty="0"/>
              <a:t>DWU30000 = 60 Compute nodes</a:t>
            </a:r>
          </a:p>
          <a:p>
            <a:r>
              <a:rPr lang="en-US" dirty="0"/>
              <a:t>Every 500 </a:t>
            </a:r>
            <a:r>
              <a:rPr lang="en-US" dirty="0" err="1"/>
              <a:t>cDWU</a:t>
            </a:r>
            <a:r>
              <a:rPr lang="en-US" dirty="0"/>
              <a:t>  = 1 compute node.</a:t>
            </a:r>
          </a:p>
          <a:p>
            <a:endParaRPr lang="en-US" dirty="0"/>
          </a:p>
          <a:p>
            <a:endParaRPr lang="en-US" dirty="0"/>
          </a:p>
          <a:p>
            <a:r>
              <a:rPr lang="en-US" dirty="0"/>
              <a:t>Then click on the slide for animation and jump to the Cache </a:t>
            </a:r>
          </a:p>
          <a:p>
            <a:endParaRPr lang="en-US" dirty="0"/>
          </a:p>
          <a:p>
            <a:r>
              <a:rPr lang="en-US" dirty="0"/>
              <a:t>Temp </a:t>
            </a:r>
            <a:r>
              <a:rPr lang="en-US" dirty="0" err="1"/>
              <a:t>db</a:t>
            </a:r>
            <a:r>
              <a:rPr lang="en-US" dirty="0"/>
              <a:t> information: </a:t>
            </a:r>
            <a:r>
              <a:rPr lang="en-US" dirty="0">
                <a:hlinkClick r:id="rId3"/>
              </a:rPr>
              <a:t>https://docs.microsoft.com/en-us/azure/synapse-analytics/sql-data-warehouse/sql-data-warehouse-service-capacity-limits</a:t>
            </a:r>
            <a:r>
              <a:rPr lang="en-US" dirty="0"/>
              <a:t> 399GB per DWU100c</a:t>
            </a:r>
          </a:p>
          <a:p>
            <a:r>
              <a:rPr lang="en-US" dirty="0"/>
              <a:t>Memory: 300GB per DWU500c (</a:t>
            </a:r>
            <a:r>
              <a:rPr lang="en-US" dirty="0">
                <a:hlinkClick r:id="rId4"/>
              </a:rPr>
              <a:t>https://docs.microsoft.com/en-us/azure/synapse-analytics/sql-data-warehouse/memory-concurrency-limits</a:t>
            </a:r>
            <a:r>
              <a:rPr lang="en-US" dirty="0"/>
              <a:t>)</a:t>
            </a:r>
          </a:p>
          <a:p>
            <a:endParaRPr lang="en-US" dirty="0"/>
          </a:p>
          <a:p>
            <a:endParaRPr lang="en-US" dirty="0"/>
          </a:p>
          <a:p>
            <a:r>
              <a:rPr lang="en-US" dirty="0"/>
              <a:t>Adaptive Cache: information: </a:t>
            </a:r>
            <a:r>
              <a:rPr lang="en-US" dirty="0">
                <a:hlinkClick r:id="rId5"/>
              </a:rPr>
              <a:t>https://azure.microsoft.com/en-us/blog/adaptive-caching-powers-azure-sql-data-warehouse-performance-gains/</a:t>
            </a:r>
            <a:endParaRPr lang="en-US" dirty="0"/>
          </a:p>
          <a:p>
            <a:r>
              <a:rPr lang="en-US" dirty="0">
                <a:hlinkClick r:id="rId6"/>
              </a:rPr>
              <a:t>https://azure.microsoft.com/en-us/blog/blazing-fast-data-warehousing-with-sql-data-warehouse-gen2/</a:t>
            </a: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0915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De-coupled storage from compute &amp; control</a:t>
            </a:r>
          </a:p>
          <a:p>
            <a:pPr marL="0" marR="0" indent="0" algn="l" defTabSz="932742" rtl="0" eaLnBrk="1" fontAlgn="auto" latinLnBrk="0" hangingPunct="1">
              <a:lnSpc>
                <a:spcPct val="90000"/>
              </a:lnSpc>
              <a:spcBef>
                <a:spcPts val="0"/>
              </a:spcBef>
              <a:spcAft>
                <a:spcPts val="340"/>
              </a:spcAft>
              <a:buClrTx/>
              <a:buSzTx/>
              <a:buFontTx/>
              <a:buNone/>
              <a:tabLst/>
              <a:defRPr/>
            </a:pPr>
            <a:r>
              <a:rPr lang="en-GB" dirty="0"/>
              <a:t>Completely elastic</a:t>
            </a:r>
          </a:p>
          <a:p>
            <a:pPr marL="0" marR="0" indent="0" algn="l" defTabSz="932742" rtl="0" eaLnBrk="1" fontAlgn="auto" latinLnBrk="0" hangingPunct="1">
              <a:lnSpc>
                <a:spcPct val="90000"/>
              </a:lnSpc>
              <a:spcBef>
                <a:spcPts val="0"/>
              </a:spcBef>
              <a:spcAft>
                <a:spcPts val="340"/>
              </a:spcAft>
              <a:buClrTx/>
              <a:buSzTx/>
              <a:buFontTx/>
              <a:buNone/>
              <a:tabLst/>
              <a:defRPr/>
            </a:pPr>
            <a:r>
              <a:rPr lang="en-GB" dirty="0"/>
              <a:t>Pay for the data you store and the compute you provision</a:t>
            </a:r>
          </a:p>
          <a:p>
            <a:endParaRPr lang="en-GB" dirty="0"/>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We always have 60 distribution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You can ramp up or down compute power without affecting your storage</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ing is a metadata operation</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Differentiator with redshift: when we reattach databases, we can scale much faster – no need to destroy/recreate the cluster</a:t>
            </a:r>
            <a:endParaRPr lang="en-US" sz="1800" b="0" i="0" dirty="0">
              <a:solidFill>
                <a:srgbClr val="444444"/>
              </a:solidFill>
              <a:effectLst/>
              <a:latin typeface="Arial" panose="020B0604020202020204" pitchFamily="34" charset="0"/>
            </a:endParaRP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22 6: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3526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ing happens quickly (seconds to minutes), but compute is offline while you are scaling</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e up compute in anticipation of high-volume activity times – scale down during low volume</a:t>
            </a:r>
            <a:r>
              <a:rPr lang="en-US" sz="1800" b="0" i="0" dirty="0">
                <a:solidFill>
                  <a:srgbClr val="444444"/>
                </a:solidFill>
                <a:effectLst/>
                <a:latin typeface="Calibri" panose="020F0502020204030204" pitchFamily="34" charset="0"/>
              </a:rPr>
              <a:t>​ activity /after high volume activity is completed</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1" u="none" strike="noStrike" dirty="0">
                <a:solidFill>
                  <a:srgbClr val="000000"/>
                </a:solidFill>
                <a:effectLst/>
                <a:latin typeface="Calibri" panose="020F0502020204030204" pitchFamily="34" charset="0"/>
              </a:rPr>
              <a:t>Possibly mention updates during scaling – need more info on this topic</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Compute scales from DW100, which is 1 nodes to </a:t>
            </a:r>
            <a:r>
              <a:rPr lang="en-US" sz="1800" b="0" i="0" u="none" strike="noStrike" dirty="0">
                <a:solidFill>
                  <a:srgbClr val="000000"/>
                </a:solidFill>
                <a:effectLst/>
                <a:latin typeface="Calibri" panose="020F0502020204030204" pitchFamily="34" charset="0"/>
              </a:rPr>
              <a:t>DW30000</a:t>
            </a:r>
            <a:r>
              <a:rPr lang="en-GB" sz="1800" b="0" i="0" u="none" strike="noStrike" dirty="0">
                <a:solidFill>
                  <a:srgbClr val="000000"/>
                </a:solidFill>
                <a:effectLst/>
                <a:latin typeface="Calibri" panose="020F0502020204030204" pitchFamily="34" charset="0"/>
              </a:rPr>
              <a:t>, which is 60 node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https://docs.microsoft.com/en-us/azure/synapse-analytics/sql-data-warehouse/sql-data-warehouse-manage-compute-overview#scaling-compute </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algn="l" rtl="0" fontAlgn="base"/>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r>
              <a:rPr lang="en-US" sz="1800" b="1" i="0" u="none" strike="noStrike" dirty="0">
                <a:solidFill>
                  <a:srgbClr val="000000"/>
                </a:solidFill>
                <a:effectLst/>
                <a:latin typeface="Calibri" panose="020F0502020204030204" pitchFamily="34" charset="0"/>
              </a:rPr>
              <a:t>The scaling workflow</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r>
              <a:rPr lang="en-US" sz="1800" b="0" i="0" u="none" strike="noStrike" dirty="0">
                <a:solidFill>
                  <a:srgbClr val="000000"/>
                </a:solidFill>
                <a:effectLst/>
                <a:latin typeface="Calibri" panose="020F0502020204030204" pitchFamily="34" charset="0"/>
              </a:rPr>
              <a:t>When you start a scale operation, the system first kills all open sessions, rolling back any open transactions to ensure a consistent state. For scale operations, scaling only occurs after this transactional rollback has completed.</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or a scale-up operation, the system detaches all compute nodes, provisions the additional compute nodes, and then reattaches to the storage layer.</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or a scale-down operation, the system detaches all compute nodes and then reattaches only the needed nodes to the storage layer.</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https://docs.microsoft.com/en-us/azure/synapse-analytics/sql-data-warehouse/what-is-a-data-warehouse-unit-dwu-cdwu#the-scaling-workflow</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GB" sz="1800" b="0" i="0" dirty="0">
                <a:solidFill>
                  <a:srgbClr val="444444"/>
                </a:solidFill>
                <a:effectLst/>
                <a:latin typeface="Calibri" panose="020F0502020204030204" pitchFamily="34" charset="0"/>
              </a:rPr>
              <a:t>​</a:t>
            </a:r>
            <a:endParaRPr lang="en-GB" sz="1800" b="0" i="0" dirty="0">
              <a:solidFill>
                <a:srgbClr val="444444"/>
              </a:solidFill>
              <a:effectLst/>
              <a:latin typeface="Arial" panose="020B0604020202020204" pitchFamily="34" charset="0"/>
            </a:endParaRPr>
          </a:p>
          <a:p>
            <a:pPr algn="l" rtl="0" fontAlgn="base"/>
            <a:endParaRPr lang="en-GB" sz="1800" b="0" i="0" u="none" strike="noStrike" dirty="0">
              <a:solidFill>
                <a:srgbClr val="000000"/>
              </a:solidFill>
              <a:effectLst/>
              <a:latin typeface="Calibri" panose="020F0502020204030204" pitchFamily="34" charset="0"/>
            </a:endParaRPr>
          </a:p>
          <a:p>
            <a:pPr algn="l" rtl="0" fontAlgn="base"/>
            <a:r>
              <a:rPr lang="en-GB" sz="1800" b="0" i="0" u="none" strike="noStrike" dirty="0">
                <a:solidFill>
                  <a:srgbClr val="000000"/>
                </a:solidFill>
                <a:effectLst/>
                <a:latin typeface="Calibri" panose="020F0502020204030204" pitchFamily="34" charset="0"/>
              </a:rPr>
              <a:t>What does not persist </a:t>
            </a:r>
            <a:r>
              <a:rPr lang="en-US" sz="1800" b="0" i="0" u="none" strike="noStrike" dirty="0">
                <a:solidFill>
                  <a:srgbClr val="000000"/>
                </a:solidFill>
                <a:effectLst/>
                <a:latin typeface="Calibri" panose="020F0502020204030204" pitchFamily="34" charset="0"/>
              </a:rPr>
              <a:t>Scaling: </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Replicated table cache</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Adaptive cache</a:t>
            </a:r>
            <a:r>
              <a:rPr lang="en-US" sz="1800" b="0" i="0" dirty="0">
                <a:solidFill>
                  <a:srgbClr val="444444"/>
                </a:solidFill>
                <a:effectLst/>
                <a:latin typeface="Calibri" panose="020F0502020204030204" pitchFamily="34" charset="0"/>
              </a:rPr>
              <a:t>​</a:t>
            </a:r>
            <a:endParaRPr lang="en-GB" sz="1800" b="0" i="0" dirty="0">
              <a:solidFill>
                <a:srgbClr val="444444"/>
              </a:solidFill>
              <a:effectLst/>
              <a:latin typeface="Arial" panose="020B0604020202020204" pitchFamily="34" charset="0"/>
            </a:endParaRP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22 6: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85908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2800" b="1" i="0" dirty="0">
                <a:solidFill>
                  <a:srgbClr val="171717"/>
                </a:solidFill>
                <a:effectLst/>
                <a:latin typeface="Segoe UI" panose="020B0502040204020203" pitchFamily="34" charset="0"/>
              </a:rPr>
              <a:t>Pausing and resuming compute</a:t>
            </a:r>
          </a:p>
          <a:p>
            <a:pPr algn="l"/>
            <a:r>
              <a:rPr lang="en-US" sz="2800" b="0" i="0" dirty="0">
                <a:solidFill>
                  <a:srgbClr val="171717"/>
                </a:solidFill>
                <a:effectLst/>
                <a:latin typeface="Segoe UI" panose="020B0502040204020203" pitchFamily="34" charset="0"/>
              </a:rPr>
              <a:t>Pausing compute causes the storage layer to detach from the Compute nodes. The compute resources are released from your account. You are not charged for compute while compute is paused. Resuming compute reattaches storage to the Compute nodes and resumes charges for Compute. When you pause a SQL pool:</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Compute and memory resources are returned to the pool of available resources in the data center</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Data warehouse unit costs are zero for the duration of the paus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Data storage is not affected, and your data stays intact.</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All running or queued operations are cancelled.</a:t>
            </a:r>
          </a:p>
          <a:p>
            <a:pPr marL="457200" indent="-457200" algn="l">
              <a:buFont typeface="Arial" panose="020B0604020202020204" pitchFamily="34" charset="0"/>
              <a:buChar char="•"/>
            </a:pPr>
            <a:endParaRPr lang="en-US" sz="2800" b="0" i="0" dirty="0">
              <a:solidFill>
                <a:srgbClr val="171717"/>
              </a:solidFill>
              <a:effectLst/>
              <a:latin typeface="Segoe UI" panose="020B0502040204020203" pitchFamily="34" charset="0"/>
            </a:endParaRPr>
          </a:p>
          <a:p>
            <a:pPr marL="0" indent="0" algn="l">
              <a:buFont typeface="Arial" panose="020B0604020202020204" pitchFamily="34" charset="0"/>
              <a:buNone/>
            </a:pPr>
            <a:endParaRPr lang="en-US" sz="2800" b="0" i="0" dirty="0">
              <a:solidFill>
                <a:srgbClr val="171717"/>
              </a:solidFill>
              <a:effectLst/>
              <a:latin typeface="Segoe UI" panose="020B0502040204020203" pitchFamily="34" charset="0"/>
            </a:endParaRPr>
          </a:p>
          <a:p>
            <a:pPr algn="l"/>
            <a:r>
              <a:rPr lang="en-US" sz="2800" b="0" i="0" dirty="0">
                <a:solidFill>
                  <a:srgbClr val="171717"/>
                </a:solidFill>
                <a:effectLst/>
                <a:latin typeface="Segoe UI" panose="020B0502040204020203" pitchFamily="34" charset="0"/>
              </a:rPr>
              <a:t>When you resume a SQL pool:</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The SQL pool acquires compute and memory resources for your data warehouse units setting.</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Compute charges for your data warehouse units resum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Your data becomes availabl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After the SQL pool is online, you need to restart your workload queries.</a:t>
            </a:r>
          </a:p>
          <a:p>
            <a:pPr algn="l"/>
            <a:r>
              <a:rPr lang="en-US" sz="2800" b="0" i="0" dirty="0">
                <a:solidFill>
                  <a:srgbClr val="171717"/>
                </a:solidFill>
                <a:effectLst/>
                <a:latin typeface="Segoe UI" panose="020B0502040204020203" pitchFamily="34" charset="0"/>
              </a:rPr>
              <a:t>If you always want your SQL pool accessible, consider scaling it down to the smallest size rather than pausing.</a:t>
            </a:r>
          </a:p>
          <a:p>
            <a:pPr algn="l"/>
            <a:r>
              <a:rPr lang="en-US" sz="2800" b="0" i="0" dirty="0">
                <a:solidFill>
                  <a:srgbClr val="171717"/>
                </a:solidFill>
                <a:effectLst/>
                <a:latin typeface="Segoe UI" panose="020B0502040204020203" pitchFamily="34" charset="0"/>
              </a:rPr>
              <a:t>For pause and resume steps, see the </a:t>
            </a:r>
            <a:r>
              <a:rPr lang="en-US" sz="2800" b="0" i="0" u="none" strike="noStrike" dirty="0">
                <a:solidFill>
                  <a:srgbClr val="171717"/>
                </a:solidFill>
                <a:effectLst/>
                <a:latin typeface="Segoe UI" panose="020B0502040204020203" pitchFamily="34" charset="0"/>
                <a:hlinkClick r:id="rId3"/>
              </a:rPr>
              <a:t>Azure portal</a:t>
            </a:r>
            <a:r>
              <a:rPr lang="en-US" sz="2800" b="0" i="0" dirty="0">
                <a:solidFill>
                  <a:srgbClr val="171717"/>
                </a:solidFill>
                <a:effectLst/>
                <a:latin typeface="Segoe UI" panose="020B0502040204020203" pitchFamily="34" charset="0"/>
              </a:rPr>
              <a:t>, or </a:t>
            </a:r>
            <a:r>
              <a:rPr lang="en-US" sz="2800" b="0" i="0" u="none" strike="noStrike" dirty="0">
                <a:solidFill>
                  <a:srgbClr val="171717"/>
                </a:solidFill>
                <a:effectLst/>
                <a:latin typeface="Segoe UI" panose="020B0502040204020203" pitchFamily="34" charset="0"/>
                <a:hlinkClick r:id="rId4"/>
              </a:rPr>
              <a:t>PowerShell</a:t>
            </a:r>
            <a:r>
              <a:rPr lang="en-US" sz="2800" b="0" i="0" dirty="0">
                <a:solidFill>
                  <a:srgbClr val="171717"/>
                </a:solidFill>
                <a:effectLst/>
                <a:latin typeface="Segoe UI" panose="020B0502040204020203" pitchFamily="34" charset="0"/>
              </a:rPr>
              <a:t> </a:t>
            </a:r>
            <a:r>
              <a:rPr lang="en-US" sz="2800" b="0" i="0" dirty="0" err="1">
                <a:solidFill>
                  <a:srgbClr val="171717"/>
                </a:solidFill>
                <a:effectLst/>
                <a:latin typeface="Segoe UI" panose="020B0502040204020203" pitchFamily="34" charset="0"/>
              </a:rPr>
              <a:t>quickstarts</a:t>
            </a:r>
            <a:r>
              <a:rPr lang="en-US" sz="2800" b="0" i="0" dirty="0">
                <a:solidFill>
                  <a:srgbClr val="171717"/>
                </a:solidFill>
                <a:effectLst/>
                <a:latin typeface="Segoe UI" panose="020B0502040204020203" pitchFamily="34" charset="0"/>
              </a:rPr>
              <a:t>. You can also use the </a:t>
            </a:r>
            <a:r>
              <a:rPr lang="en-US" sz="2800" b="0" i="0" u="none" strike="noStrike" dirty="0">
                <a:solidFill>
                  <a:srgbClr val="171717"/>
                </a:solidFill>
                <a:effectLst/>
                <a:latin typeface="Segoe UI" panose="020B0502040204020203" pitchFamily="34" charset="0"/>
                <a:hlinkClick r:id="rId5"/>
              </a:rPr>
              <a:t>pause REST API</a:t>
            </a:r>
            <a:r>
              <a:rPr lang="en-US" sz="2800" b="0" i="0" dirty="0">
                <a:solidFill>
                  <a:srgbClr val="171717"/>
                </a:solidFill>
                <a:effectLst/>
                <a:latin typeface="Segoe UI" panose="020B0502040204020203" pitchFamily="34" charset="0"/>
              </a:rPr>
              <a:t> or the </a:t>
            </a:r>
            <a:r>
              <a:rPr lang="en-US" sz="2800" b="0" i="0" u="none" strike="noStrike" dirty="0">
                <a:solidFill>
                  <a:srgbClr val="171717"/>
                </a:solidFill>
                <a:effectLst/>
                <a:latin typeface="Segoe UI" panose="020B0502040204020203" pitchFamily="34" charset="0"/>
                <a:hlinkClick r:id="rId6"/>
              </a:rPr>
              <a:t>resume REST API</a:t>
            </a:r>
            <a:r>
              <a:rPr lang="en-US" sz="2800" b="0" i="0" dirty="0">
                <a:solidFill>
                  <a:srgbClr val="171717"/>
                </a:solidFill>
                <a:effectLst/>
                <a:latin typeface="Segoe UI" panose="020B0502040204020203" pitchFamily="34" charset="0"/>
              </a:rPr>
              <a:t>.</a:t>
            </a:r>
          </a:p>
          <a:p>
            <a:endParaRPr lang="en-GB" dirty="0"/>
          </a:p>
          <a:p>
            <a:r>
              <a:rPr lang="en-GB" dirty="0"/>
              <a:t>Replicated Table cache is saved to disk on Pause and reloaded on Resume.</a:t>
            </a: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22 6: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66490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8</a:t>
            </a:fld>
            <a:endParaRPr lang="en-US"/>
          </a:p>
        </p:txBody>
      </p:sp>
    </p:spTree>
    <p:extLst>
      <p:ext uri="{BB962C8B-B14F-4D97-AF65-F5344CB8AC3E}">
        <p14:creationId xmlns:p14="http://schemas.microsoft.com/office/powerpoint/2010/main" val="28493856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Explain very lightly the different types of tables in Synapse SQL pools</a:t>
            </a:r>
          </a:p>
          <a:p>
            <a:r>
              <a:rPr lang="en-US" sz="900" kern="1200" dirty="0">
                <a:solidFill>
                  <a:schemeClr val="tx1"/>
                </a:solidFill>
                <a:effectLst/>
                <a:latin typeface="Segoe UI Light" pitchFamily="34" charset="0"/>
                <a:ea typeface="+mn-ea"/>
                <a:cs typeface="+mn-cs"/>
              </a:rPr>
              <a:t>Don’t go deeper as all the Table geometry will be explain in Module 3</a:t>
            </a:r>
          </a:p>
          <a:p>
            <a:r>
              <a:rPr lang="en-US" sz="900" kern="1200" dirty="0">
                <a:solidFill>
                  <a:schemeClr val="tx1"/>
                </a:solidFill>
                <a:effectLst/>
                <a:latin typeface="Segoe UI Light" pitchFamily="34" charset="0"/>
                <a:ea typeface="+mn-ea"/>
                <a:cs typeface="+mn-cs"/>
              </a:rPr>
              <a:t>Just add some scenarios based on your Data warehousing experience.</a:t>
            </a:r>
          </a:p>
          <a:p>
            <a:endParaRPr lang="en-US" sz="900" kern="1200" dirty="0">
              <a:solidFill>
                <a:schemeClr val="tx1"/>
              </a:solidFill>
              <a:effectLst/>
              <a:latin typeface="Segoe UI Light" pitchFamily="34" charset="0"/>
              <a:ea typeface="+mn-ea"/>
              <a:cs typeface="+mn-cs"/>
            </a:endParaRPr>
          </a:p>
          <a:p>
            <a:endParaRPr lang="en-US" sz="1100" kern="1200" dirty="0">
              <a:solidFill>
                <a:schemeClr val="tx1"/>
              </a:solidFill>
              <a:effectLst/>
              <a:latin typeface="Calibri"/>
              <a:cs typeface="Calibri"/>
            </a:endParaRPr>
          </a:p>
          <a:p>
            <a:r>
              <a:rPr lang="en-US" sz="1100" dirty="0">
                <a:latin typeface="Calibri"/>
                <a:cs typeface="Calibri"/>
              </a:rPr>
              <a:t>Note that Table Design is covered in detail in Mod 3 "Designing for Performance" </a:t>
            </a:r>
            <a:endParaRPr lang="en-US" sz="1100" kern="1200" dirty="0">
              <a:solidFill>
                <a:schemeClr val="tx1"/>
              </a:solidFill>
              <a:effectLst/>
              <a:latin typeface="Calibri"/>
              <a:cs typeface="Calibri"/>
            </a:endParaRPr>
          </a:p>
          <a:p>
            <a:endParaRPr lang="en-US" sz="900" dirty="0">
              <a:latin typeface="Segoe UI Light" pitchFamily="34" charset="0"/>
              <a:cs typeface="Segoe UI Light" pitchFamily="34" charset="0"/>
            </a:endParaRPr>
          </a:p>
          <a:p>
            <a:endParaRPr lang="en-US" sz="900" dirty="0">
              <a:latin typeface="Segoe UI Light" pitchFamily="34" charset="0"/>
              <a:cs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2 6: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03236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ignment of activities</a:t>
            </a:r>
          </a:p>
        </p:txBody>
      </p:sp>
      <p:sp>
        <p:nvSpPr>
          <p:cNvPr id="4" name="Slide Number Placeholder 3"/>
          <p:cNvSpPr>
            <a:spLocks noGrp="1"/>
          </p:cNvSpPr>
          <p:nvPr>
            <p:ph type="sldNum" sz="quarter" idx="5"/>
          </p:nvPr>
        </p:nvSpPr>
        <p:spPr/>
        <p:txBody>
          <a:bodyPr/>
          <a:lstStyle/>
          <a:p>
            <a:fld id="{67E65352-95B5-4433-84FB-24BF035F4B44}" type="slidenum">
              <a:rPr lang="en-US" smtClean="0"/>
              <a:t>31</a:t>
            </a:fld>
            <a:endParaRPr lang="en-US" dirty="0"/>
          </a:p>
        </p:txBody>
      </p:sp>
    </p:spTree>
    <p:extLst>
      <p:ext uri="{BB962C8B-B14F-4D97-AF65-F5344CB8AC3E}">
        <p14:creationId xmlns:p14="http://schemas.microsoft.com/office/powerpoint/2010/main" val="5419590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2 7:04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31152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Before we pivot into a hands-on lab, I want to make you aware of our Knowledge Center where you can find plenty of samples and examples for Azure Synapse Analytics that we’ve designed to help you accelerate your understanding and adoption of the service. </a:t>
            </a:r>
          </a:p>
          <a:p>
            <a:r>
              <a:rPr lang="en-US"/>
              <a:t> </a:t>
            </a:r>
          </a:p>
          <a:p>
            <a:r>
              <a:rPr lang="en-US"/>
              <a:t>Specifically, you can </a:t>
            </a:r>
          </a:p>
          <a:p>
            <a:pPr algn="l">
              <a:buFont typeface="Arial" panose="020B0604020202020204" pitchFamily="34" charset="0"/>
              <a:buChar char="•"/>
            </a:pPr>
            <a:r>
              <a:rPr lang="en-US" b="1" i="0">
                <a:solidFill>
                  <a:srgbClr val="171717"/>
                </a:solidFill>
                <a:effectLst/>
                <a:latin typeface="Segoe UI" panose="020B0502040204020203" pitchFamily="34" charset="0"/>
              </a:rPr>
              <a:t>Use samples immediately</a:t>
            </a:r>
            <a:r>
              <a:rPr lang="en-US" b="0" i="0">
                <a:solidFill>
                  <a:srgbClr val="171717"/>
                </a:solidFill>
                <a:effectLst/>
                <a:latin typeface="Segoe UI" panose="020B0502040204020203" pitchFamily="34" charset="0"/>
              </a:rPr>
              <a:t>, if you want a quick example of how Synapse works.</a:t>
            </a:r>
          </a:p>
          <a:p>
            <a:pPr algn="l">
              <a:buFont typeface="Arial" panose="020B0604020202020204" pitchFamily="34" charset="0"/>
              <a:buChar char="•"/>
            </a:pPr>
            <a:r>
              <a:rPr lang="en-US" b="1" i="0">
                <a:solidFill>
                  <a:srgbClr val="171717"/>
                </a:solidFill>
                <a:effectLst/>
                <a:latin typeface="Segoe UI" panose="020B0502040204020203" pitchFamily="34" charset="0"/>
              </a:rPr>
              <a:t>Browse gallery to </a:t>
            </a:r>
            <a:r>
              <a:rPr lang="en-US" b="0" i="0">
                <a:solidFill>
                  <a:srgbClr val="171717"/>
                </a:solidFill>
                <a:effectLst/>
                <a:latin typeface="Segoe UI" panose="020B0502040204020203" pitchFamily="34" charset="0"/>
              </a:rPr>
              <a:t>you link sample data sets and add sample code in the form of SQL scripts, notebooks, and pipelines.</a:t>
            </a:r>
          </a:p>
          <a:p>
            <a:pPr algn="l">
              <a:buFont typeface="Arial" panose="020B0604020202020204" pitchFamily="34" charset="0"/>
              <a:buChar char="•"/>
            </a:pPr>
            <a:r>
              <a:rPr lang="en-US" b="1" i="0">
                <a:solidFill>
                  <a:srgbClr val="171717"/>
                </a:solidFill>
                <a:effectLst/>
                <a:latin typeface="Segoe UI" panose="020B0502040204020203" pitchFamily="34" charset="0"/>
              </a:rPr>
              <a:t>Tour Synapse studio</a:t>
            </a:r>
            <a:r>
              <a:rPr lang="en-US" b="0" i="0">
                <a:solidFill>
                  <a:srgbClr val="171717"/>
                </a:solidFill>
                <a:effectLst/>
                <a:latin typeface="Segoe UI" panose="020B0502040204020203" pitchFamily="34" charset="0"/>
              </a:rPr>
              <a:t>. For a introduction to the basic parts that make it work.</a:t>
            </a:r>
          </a:p>
          <a:p>
            <a:endParaRPr lang="en-US"/>
          </a:p>
          <a:p>
            <a:r>
              <a:rPr lang="en-US"/>
              <a:t>It’s a great resource to share with your development and data science team to help them understand the possibilities.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2 6: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32439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93016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9999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2511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explain and why needed</a:t>
            </a:r>
          </a:p>
          <a:p>
            <a:r>
              <a:rPr lang="en-US" dirty="0"/>
              <a:t>Check with Gaurav</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2511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4684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ormat sli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9908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3472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65352-95B5-4433-84FB-24BF035F4B44}" type="slidenum">
              <a:rPr lang="en-US" smtClean="0"/>
              <a:t>53</a:t>
            </a:fld>
            <a:endParaRPr lang="en-US" dirty="0"/>
          </a:p>
        </p:txBody>
      </p:sp>
    </p:spTree>
    <p:extLst>
      <p:ext uri="{BB962C8B-B14F-4D97-AF65-F5344CB8AC3E}">
        <p14:creationId xmlns:p14="http://schemas.microsoft.com/office/powerpoint/2010/main" val="21211334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speech bubble to add elements </a:t>
            </a:r>
          </a:p>
        </p:txBody>
      </p:sp>
      <p:sp>
        <p:nvSpPr>
          <p:cNvPr id="4" name="Slide Number Placeholder 3"/>
          <p:cNvSpPr>
            <a:spLocks noGrp="1"/>
          </p:cNvSpPr>
          <p:nvPr>
            <p:ph type="sldNum" sz="quarter" idx="5"/>
          </p:nvPr>
        </p:nvSpPr>
        <p:spPr/>
        <p:txBody>
          <a:bodyPr/>
          <a:lstStyle/>
          <a:p>
            <a:fld id="{67E65352-95B5-4433-84FB-24BF035F4B44}" type="slidenum">
              <a:rPr lang="en-US" smtClean="0"/>
              <a:t>54</a:t>
            </a:fld>
            <a:endParaRPr lang="en-US" dirty="0"/>
          </a:p>
        </p:txBody>
      </p:sp>
    </p:spTree>
    <p:extLst>
      <p:ext uri="{BB962C8B-B14F-4D97-AF65-F5344CB8AC3E}">
        <p14:creationId xmlns:p14="http://schemas.microsoft.com/office/powerpoint/2010/main" val="409228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BA20BE-83F3-44E5-B1C9-990B263B9B87}"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Slide Image Placeholder 11">
            <a:extLst>
              <a:ext uri="{FF2B5EF4-FFF2-40B4-BE49-F238E27FC236}">
                <a16:creationId xmlns:a16="http://schemas.microsoft.com/office/drawing/2014/main" id="{73676507-BE34-4B0B-876C-2A8832468332}"/>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47083482-51EE-4241-A3E3-AB61B8B2168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190946C6-695D-4CE2-8699-691A494B797E}"/>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1542457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65352-95B5-4433-84FB-24BF035F4B44}" type="slidenum">
              <a:rPr lang="en-US" smtClean="0"/>
              <a:t>55</a:t>
            </a:fld>
            <a:endParaRPr lang="en-US" dirty="0"/>
          </a:p>
        </p:txBody>
      </p:sp>
    </p:spTree>
    <p:extLst>
      <p:ext uri="{BB962C8B-B14F-4D97-AF65-F5344CB8AC3E}">
        <p14:creationId xmlns:p14="http://schemas.microsoft.com/office/powerpoint/2010/main" val="10216672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ove data flow </a:t>
            </a:r>
          </a:p>
          <a:p>
            <a:r>
              <a:rPr lang="en-US" dirty="0"/>
              <a:t>Only explain data wrangling</a:t>
            </a:r>
          </a:p>
          <a:p>
            <a:r>
              <a:rPr lang="en-US" dirty="0"/>
              <a:t>Include data wrangling component and then zoom in - &gt; This will be updated later as Data Wrangling is not yet supported in Synapse.(12/2) Plan is to get onboard by public preview.</a:t>
            </a:r>
          </a:p>
          <a:p>
            <a:endParaRPr lang="en-US" dirty="0"/>
          </a:p>
          <a:p>
            <a:r>
              <a:rPr lang="en-US" dirty="0"/>
              <a:t>Modify this slide in a couple of days</a:t>
            </a:r>
          </a:p>
        </p:txBody>
      </p:sp>
      <p:sp>
        <p:nvSpPr>
          <p:cNvPr id="4" name="Slide Number Placeholder 3"/>
          <p:cNvSpPr>
            <a:spLocks noGrp="1"/>
          </p:cNvSpPr>
          <p:nvPr>
            <p:ph type="sldNum" sz="quarter" idx="5"/>
          </p:nvPr>
        </p:nvSpPr>
        <p:spPr/>
        <p:txBody>
          <a:bodyPr/>
          <a:lstStyle/>
          <a:p>
            <a:fld id="{67E65352-95B5-4433-84FB-24BF035F4B44}" type="slidenum">
              <a:rPr lang="en-US" smtClean="0"/>
              <a:t>56</a:t>
            </a:fld>
            <a:endParaRPr lang="en-US" dirty="0"/>
          </a:p>
        </p:txBody>
      </p:sp>
    </p:spTree>
    <p:extLst>
      <p:ext uri="{BB962C8B-B14F-4D97-AF65-F5344CB8AC3E}">
        <p14:creationId xmlns:p14="http://schemas.microsoft.com/office/powerpoint/2010/main" val="39846198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Of course, all these analytical insights mean nothing unless you can understand them. </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2 6: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90814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ALK TRACK: </a:t>
            </a:r>
          </a:p>
          <a:p>
            <a:endParaRPr lang="en-US"/>
          </a:p>
          <a:p>
            <a:r>
              <a:rPr lang="en-US"/>
              <a:t>Azure Synapse automatically takes the next natural step in your analytics journey b</a:t>
            </a:r>
            <a:r>
              <a:rPr lang="en-US" b="0"/>
              <a:t>y natively integrating with Azure Machine Learning as well as Power BI. </a:t>
            </a:r>
          </a:p>
          <a:p>
            <a:endParaRPr lang="en-US"/>
          </a:p>
          <a:p>
            <a:r>
              <a:rPr lang="en-US"/>
              <a:t>We’ve already touched on the integrated with Azure Machine Learning, so let’s dive into the integration of Power BI and Azure Synapse. </a:t>
            </a:r>
            <a:endParaRPr lang="en-US" b="0"/>
          </a:p>
          <a:p>
            <a:pPr algn="l"/>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B55C8A-9CF9-435C-B827-70F4C8B97A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75432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You can use Power BI directly through Synapse Studio. The new Power BI performance accelerator for Azure Synapse automates the creation and optimization of materialized views resulting in lighting fast query performance. This simplifies and heightens collaboration with your data analysts and database administrators as they can now use the same analytics service for querying data and building and viewing dashboards.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2 6: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41474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You can use Power BI directly through Synapse Studio. The new Power BI performance accelerator for Azure Synapse automates the creation and optimization of materialized views resulting in lighting fast query performance. This simplifies and heightens collaboration with your data analysts and database administrators as they can now use the same analytics service for querying data and building and viewing dashboards.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2 6: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00963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23542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573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33" marR="0" lvl="0" indent="0" algn="l" defTabSz="93286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5739"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5739" rtl="0" eaLnBrk="1" fontAlgn="auto" latinLnBrk="0" hangingPunct="1">
                <a:lnSpc>
                  <a:spcPct val="100000"/>
                </a:lnSpc>
                <a:spcBef>
                  <a:spcPts val="0"/>
                </a:spcBef>
                <a:spcAft>
                  <a:spcPts val="0"/>
                </a:spcAft>
                <a:buClrTx/>
                <a:buSzTx/>
                <a:buFontTx/>
                <a:buNone/>
                <a:tabLst/>
                <a:defRPr/>
              </a:pPr>
              <a:t>5/7/2022 6: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573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5739"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3128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273630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5/7/2022 6: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7333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14300" rtl="0" eaLnBrk="1" fontAlgn="auto" latinLnBrk="0" hangingPunct="1">
              <a:lnSpc>
                <a:spcPct val="100000"/>
              </a:lnSpc>
              <a:spcBef>
                <a:spcPts val="0"/>
              </a:spcBef>
              <a:spcAft>
                <a:spcPts val="600"/>
              </a:spcAft>
              <a:buClrTx/>
              <a:buSzPct val="90000"/>
              <a:buFontTx/>
              <a:buNone/>
              <a:tabLst/>
              <a:defRPr/>
            </a:pPr>
            <a:r>
              <a:rPr lang="en-US" sz="1200">
                <a:gradFill>
                  <a:gsLst>
                    <a:gs pos="2917">
                      <a:schemeClr val="tx1"/>
                    </a:gs>
                    <a:gs pos="30000">
                      <a:schemeClr val="tx1"/>
                    </a:gs>
                  </a:gsLst>
                  <a:lin ang="5400000" scaled="0"/>
                </a:gradFill>
              </a:rPr>
              <a:t>TALK TRACK: </a:t>
            </a:r>
          </a:p>
          <a:p>
            <a:pPr defTabSz="114300">
              <a:spcAft>
                <a:spcPts val="600"/>
              </a:spcAft>
              <a:buSzPct val="90000"/>
              <a:defRPr/>
            </a:pPr>
            <a:endParaRPr lang="en-US" b="0"/>
          </a:p>
          <a:p>
            <a:pPr defTabSz="114300">
              <a:spcAft>
                <a:spcPts val="600"/>
              </a:spcAft>
              <a:buSzPct val="90000"/>
              <a:defRPr/>
            </a:pPr>
            <a:r>
              <a:rPr lang="en-US" b="0"/>
              <a:t>Azure Synapse provides </a:t>
            </a:r>
            <a:r>
              <a:rPr lang="en-US" sz="1200" b="0" i="0">
                <a:gradFill>
                  <a:gsLst>
                    <a:gs pos="0">
                      <a:schemeClr val="tx1"/>
                    </a:gs>
                    <a:gs pos="83000">
                      <a:schemeClr val="tx1"/>
                    </a:gs>
                  </a:gsLst>
                  <a:lin ang="5400000" scaled="1"/>
                </a:gradFill>
                <a:effectLst/>
                <a:latin typeface="+mj-lt"/>
              </a:rPr>
              <a:t>a unified experience that brings together data ingestion, big data analytics, and data warehousing—at cloud scale. </a:t>
            </a:r>
          </a:p>
          <a:p>
            <a:pPr defTabSz="114300">
              <a:spcAft>
                <a:spcPts val="600"/>
              </a:spcAft>
              <a:buSzPct val="90000"/>
              <a:defRPr/>
            </a:pPr>
            <a:endParaRPr lang="en-US" sz="1200" b="0" i="0">
              <a:gradFill>
                <a:gsLst>
                  <a:gs pos="0">
                    <a:schemeClr val="tx1"/>
                  </a:gs>
                  <a:gs pos="83000">
                    <a:schemeClr val="tx1"/>
                  </a:gs>
                </a:gsLst>
                <a:lin ang="5400000" scaled="1"/>
              </a:gradFill>
              <a:effectLst/>
              <a:latin typeface="+mj-lt"/>
            </a:endParaRPr>
          </a:p>
          <a:p>
            <a:pPr marL="0" marR="0" lvl="0" indent="0" algn="l" defTabSz="114300"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lang="en-US" sz="1200" b="0" i="0">
                <a:gradFill>
                  <a:gsLst>
                    <a:gs pos="0">
                      <a:schemeClr val="tx1"/>
                    </a:gs>
                    <a:gs pos="83000">
                      <a:schemeClr val="tx1"/>
                    </a:gs>
                  </a:gsLst>
                  <a:lin ang="5400000" scaled="1"/>
                </a:gradFill>
                <a:effectLst/>
                <a:latin typeface="+mj-lt"/>
              </a:rPr>
              <a:t>Instead of stitching a multitude of services together or creating a siloed point solution for just one of these three areas…Azure Synapse unifies your data, your data tasks, and your data teams with a limitless analytics service that does it all.</a:t>
            </a:r>
            <a:endParaRPr lang="en-US" sz="1200" b="0" i="0">
              <a:gradFill>
                <a:gsLst>
                  <a:gs pos="0">
                    <a:schemeClr val="tx1"/>
                  </a:gs>
                  <a:gs pos="83000">
                    <a:schemeClr val="tx1"/>
                  </a:gs>
                </a:gsLst>
                <a:lin ang="5400000" scaled="1"/>
              </a:gradFill>
              <a:effectLst/>
              <a:latin typeface="+mj-lt"/>
              <a:cs typeface="Calibri Light"/>
            </a:endParaRPr>
          </a:p>
          <a:p>
            <a:pPr marL="0" marR="0" lvl="0" indent="0" algn="l" defTabSz="114300">
              <a:lnSpc>
                <a:spcPct val="100000"/>
              </a:lnSpc>
              <a:spcBef>
                <a:spcPts val="0"/>
              </a:spcBef>
              <a:spcAft>
                <a:spcPts val="600"/>
              </a:spcAft>
              <a:buClrTx/>
              <a:buFont typeface="Arial" panose="020B0604020202020204" pitchFamily="34" charset="0"/>
              <a:buNone/>
              <a:tabLst/>
              <a:defRPr/>
            </a:pPr>
            <a:endParaRPr lang="en-US" sz="1200" b="0" i="0">
              <a:gradFill>
                <a:gsLst>
                  <a:gs pos="0">
                    <a:schemeClr val="tx1"/>
                  </a:gs>
                  <a:gs pos="83000">
                    <a:schemeClr val="tx1"/>
                  </a:gs>
                </a:gsLst>
                <a:lin ang="5400000" scaled="1"/>
              </a:gradFill>
              <a:effectLst/>
              <a:latin typeface="+mj-lt"/>
              <a:cs typeface="Calibri Light"/>
            </a:endParaRPr>
          </a:p>
          <a:p>
            <a:pPr defTabSz="114300">
              <a:spcAft>
                <a:spcPts val="600"/>
              </a:spcAft>
              <a:buFont typeface="Arial" panose="020B0604020202020204" pitchFamily="34" charset="0"/>
              <a:defRPr/>
            </a:pPr>
            <a:r>
              <a:rPr lang="en-US" sz="1200">
                <a:gradFill>
                  <a:gsLst>
                    <a:gs pos="0">
                      <a:schemeClr val="tx1"/>
                    </a:gs>
                    <a:gs pos="83000">
                      <a:schemeClr val="tx1"/>
                    </a:gs>
                  </a:gsLst>
                  <a:lin ang="5400000" scaled="1"/>
                </a:gradFill>
                <a:latin typeface="+mj-lt"/>
                <a:cs typeface="Calibri Light" panose="020F0302020204030204"/>
              </a:rPr>
              <a:t>It simplifies the monotonous, but necessary, </a:t>
            </a:r>
            <a:r>
              <a:rPr lang="en-US" sz="1200" i="1">
                <a:gradFill>
                  <a:gsLst>
                    <a:gs pos="0">
                      <a:schemeClr val="tx1"/>
                    </a:gs>
                    <a:gs pos="83000">
                      <a:schemeClr val="tx1"/>
                    </a:gs>
                  </a:gsLst>
                  <a:lin ang="5400000" scaled="1"/>
                </a:gradFill>
                <a:latin typeface="+mj-lt"/>
                <a:cs typeface="Calibri Light" panose="020F0302020204030204"/>
              </a:rPr>
              <a:t>data chores</a:t>
            </a:r>
            <a:r>
              <a:rPr lang="en-US" sz="1200">
                <a:gradFill>
                  <a:gsLst>
                    <a:gs pos="0">
                      <a:schemeClr val="tx1"/>
                    </a:gs>
                    <a:gs pos="83000">
                      <a:schemeClr val="tx1"/>
                    </a:gs>
                  </a:gsLst>
                  <a:lin ang="5400000" scaled="1"/>
                </a:gradFill>
                <a:latin typeface="+mj-lt"/>
                <a:cs typeface="Calibri Light" panose="020F0302020204030204"/>
              </a:rPr>
              <a:t> that every team must do such as securing pipelines, assigning permissions to users for each service, building firewalls...and so on…. </a:t>
            </a:r>
          </a:p>
          <a:p>
            <a:pPr defTabSz="114300">
              <a:spcAft>
                <a:spcPts val="600"/>
              </a:spcAft>
              <a:buFont typeface="Arial" panose="020B0604020202020204" pitchFamily="34" charset="0"/>
              <a:defRPr/>
            </a:pPr>
            <a:endParaRPr lang="en-US" sz="1200">
              <a:gradFill>
                <a:gsLst>
                  <a:gs pos="0">
                    <a:schemeClr val="tx1"/>
                  </a:gs>
                  <a:gs pos="83000">
                    <a:schemeClr val="tx1"/>
                  </a:gs>
                </a:gsLst>
                <a:lin ang="5400000" scaled="1"/>
              </a:gradFill>
              <a:latin typeface="+mj-lt"/>
              <a:cs typeface="Calibri Light" panose="020F0302020204030204"/>
            </a:endParaRPr>
          </a:p>
          <a:p>
            <a:pPr defTabSz="114300">
              <a:spcAft>
                <a:spcPts val="600"/>
              </a:spcAft>
              <a:buFont typeface="Arial" panose="020B0604020202020204" pitchFamily="34" charset="0"/>
              <a:defRPr/>
            </a:pPr>
            <a:r>
              <a:rPr lang="en-US" sz="1200">
                <a:gradFill>
                  <a:gsLst>
                    <a:gs pos="0">
                      <a:schemeClr val="tx1"/>
                    </a:gs>
                    <a:gs pos="83000">
                      <a:schemeClr val="tx1"/>
                    </a:gs>
                  </a:gsLst>
                  <a:lin ang="5400000" scaled="1"/>
                </a:gradFill>
                <a:latin typeface="+mj-lt"/>
                <a:cs typeface="Calibri Light" panose="020F0302020204030204"/>
              </a:rPr>
              <a:t>With Azure Synapse, all you do is secure your Synapse Studio and Microsoft Azure team takes care of the rest. Simplified analytics is what you have been asking for. And simplified analytics is what Azure Synapse deliv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E10514-FFDB-4E29-B433-26D3AADC25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14488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day, Azure Synapse and Power BI are both available globally.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45043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2 6: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328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matt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1567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all layers of Azure Synapse Analytics in general and then focus on the Provisioned feature. This is representing the SQL Pool</a:t>
            </a:r>
          </a:p>
          <a:p>
            <a:endParaRPr lang="en-US" dirty="0"/>
          </a:p>
          <a:p>
            <a:r>
              <a:rPr lang="en-US" dirty="0"/>
              <a:t>https://docs.microsoft.com/en-us/learn/modules/design-azure-sql-data-warehouse/2-azure-synapse-analytics</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17300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6.xml"/><Relationship Id="rId4" Type="http://schemas.openxmlformats.org/officeDocument/2006/relationships/image" Target="../media/image51.jpe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52.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3.png"/><Relationship Id="rId1" Type="http://schemas.openxmlformats.org/officeDocument/2006/relationships/slideMaster" Target="../slideMasters/slideMaster8.xml"/><Relationship Id="rId4" Type="http://schemas.openxmlformats.org/officeDocument/2006/relationships/image" Target="../media/image54.png"/></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3.tiff"/><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3.tiff"/><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51.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51.jpeg"/></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3.xml"/><Relationship Id="rId4" Type="http://schemas.openxmlformats.org/officeDocument/2006/relationships/image" Target="../media/image17.emf"/></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5.xml"/><Relationship Id="rId4" Type="http://schemas.openxmlformats.org/officeDocument/2006/relationships/image" Target="../media/image10.jpe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5.xml"/><Relationship Id="rId4" Type="http://schemas.openxmlformats.org/officeDocument/2006/relationships/image" Target="../media/image17.emf"/></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51.jpe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C5DA342-80C0-D848-82DD-77952AD19C10}"/>
              </a:ext>
            </a:extLst>
          </p:cNvPr>
          <p:cNvSpPr/>
          <p:nvPr userDrawn="1"/>
        </p:nvSpPr>
        <p:spPr bwMode="auto">
          <a:xfrm>
            <a:off x="0" y="-1"/>
            <a:ext cx="12192000" cy="34290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756457"/>
            <a:ext cx="5272210" cy="1107996"/>
          </a:xfrm>
        </p:spPr>
        <p:txBody>
          <a:bodyPr/>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3" y="2257089"/>
            <a:ext cx="5271510" cy="276999"/>
          </a:xfrm>
        </p:spPr>
        <p:txBody>
          <a:bodyPr/>
          <a:lstStyle>
            <a:lvl1pPr marL="0" indent="0">
              <a:buNone/>
              <a:defRPr sz="1800">
                <a:solidFill>
                  <a:srgbClr val="50E7FF"/>
                </a:solidFill>
                <a:latin typeface="+mj-lt"/>
              </a:defRPr>
            </a:lvl1pPr>
          </a:lstStyle>
          <a:p>
            <a:pPr lvl="0"/>
            <a:r>
              <a:rPr lang="en-US"/>
              <a:t>Click to edit Master text styles</a:t>
            </a:r>
          </a:p>
        </p:txBody>
      </p:sp>
    </p:spTree>
    <p:extLst>
      <p:ext uri="{BB962C8B-B14F-4D97-AF65-F5344CB8AC3E}">
        <p14:creationId xmlns:p14="http://schemas.microsoft.com/office/powerpoint/2010/main" val="3500549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566943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2">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Rectangle 5">
            <a:extLst>
              <a:ext uri="{FF2B5EF4-FFF2-40B4-BE49-F238E27FC236}">
                <a16:creationId xmlns:a16="http://schemas.microsoft.com/office/drawing/2014/main" id="{E2782552-60EB-4284-96C6-882E10D3F8B2}"/>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42"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42"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42"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20 </a:t>
            </a:r>
          </a:p>
        </p:txBody>
      </p:sp>
      <p:pic>
        <p:nvPicPr>
          <p:cNvPr id="3" name="Picture 2" descr="A picture containing person, man, sitting, woman&#10;&#10;Description automatically generated">
            <a:extLst>
              <a:ext uri="{FF2B5EF4-FFF2-40B4-BE49-F238E27FC236}">
                <a16:creationId xmlns:a16="http://schemas.microsoft.com/office/drawing/2014/main" id="{18DE4503-19ED-4210-8CB4-4C51086CE3B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76976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A9E53E-EFAD-49EC-AC23-FF4E3FB8BABC}"/>
              </a:ext>
            </a:extLst>
          </p:cNvPr>
          <p:cNvGrpSpPr/>
          <p:nvPr userDrawn="1"/>
        </p:nvGrpSpPr>
        <p:grpSpPr>
          <a:xfrm>
            <a:off x="0" y="0"/>
            <a:ext cx="12192000" cy="6858000"/>
            <a:chOff x="0" y="0"/>
            <a:chExt cx="12192000" cy="6858000"/>
          </a:xfrm>
        </p:grpSpPr>
        <p:pic>
          <p:nvPicPr>
            <p:cNvPr id="4" name="Picture 3">
              <a:extLst>
                <a:ext uri="{FF2B5EF4-FFF2-40B4-BE49-F238E27FC236}">
                  <a16:creationId xmlns:a16="http://schemas.microsoft.com/office/drawing/2014/main" id="{872D6403-C365-4FCC-9353-BBAC25DE35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2E233206-C9C7-4C13-8DC1-A37D83FB47C6}"/>
                </a:ext>
              </a:extLst>
            </p:cNvPr>
            <p:cNvSpPr/>
            <p:nvPr userDrawn="1"/>
          </p:nvSpPr>
          <p:spPr bwMode="auto">
            <a:xfrm>
              <a:off x="3286125" y="0"/>
              <a:ext cx="8905875" cy="6858000"/>
            </a:xfrm>
            <a:prstGeom prst="rect">
              <a:avLst/>
            </a:prstGeom>
            <a:gradFill flip="none" rotWithShape="1">
              <a:gsLst>
                <a:gs pos="59000">
                  <a:srgbClr val="000000">
                    <a:alpha val="70000"/>
                  </a:srgbClr>
                </a:gs>
                <a:gs pos="100000">
                  <a:srgbClr val="000000">
                    <a:alpha val="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pic>
        <p:nvPicPr>
          <p:cNvPr id="6" name="Picture 5" descr="A person standing posing for the camera&#10;&#10;Description automatically generated">
            <a:extLst>
              <a:ext uri="{FF2B5EF4-FFF2-40B4-BE49-F238E27FC236}">
                <a16:creationId xmlns:a16="http://schemas.microsoft.com/office/drawing/2014/main" id="{E50F421F-69D0-455B-A9AE-9EF1E7D116A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03" t="1374" r="-4075" b="24508"/>
          <a:stretch/>
        </p:blipFill>
        <p:spPr>
          <a:xfrm>
            <a:off x="1" y="0"/>
            <a:ext cx="6667500" cy="6858000"/>
          </a:xfrm>
          <a:prstGeom prst="rect">
            <a:avLst/>
          </a:prstGeom>
        </p:spPr>
      </p:pic>
    </p:spTree>
    <p:extLst>
      <p:ext uri="{BB962C8B-B14F-4D97-AF65-F5344CB8AC3E}">
        <p14:creationId xmlns:p14="http://schemas.microsoft.com/office/powerpoint/2010/main" val="294648637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045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2314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27012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33153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242612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05780"/>
            <a:ext cx="5146331" cy="1046440"/>
          </a:xfrm>
        </p:spPr>
        <p:txBody>
          <a:bodyPr anchor="ctr">
            <a:spAutoFit/>
          </a:bodyPr>
          <a:lstStyle>
            <a:lvl1pPr>
              <a:defRPr sz="34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538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0684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7417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34189940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58722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7663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61432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7752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642797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650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24781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053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7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pli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05780"/>
            <a:ext cx="5146331" cy="1046440"/>
          </a:xfrm>
        </p:spPr>
        <p:txBody>
          <a:bodyPr anchor="ctr">
            <a:spAutoFit/>
          </a:bodyPr>
          <a:lstStyle>
            <a:lvl1pPr>
              <a:defRPr sz="34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8282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15296347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0284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096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427808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01463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91110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8846373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06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2800" b="0" kern="1200" cap="all" spc="500" baseline="0" dirty="0">
                <a:ln w="3175">
                  <a:noFill/>
                </a:ln>
                <a:solidFill>
                  <a:schemeClr val="bg1"/>
                </a:solidFill>
                <a:effectLst/>
                <a:latin typeface="Segoe UI Semilight" charset="0"/>
                <a:ea typeface="+mn-ea"/>
                <a:cs typeface="Segoe UI Semilight" charset="0"/>
              </a:defRPr>
            </a:lvl1pPr>
          </a:lstStyle>
          <a:p>
            <a:pPr marL="0" lvl="0" algn="l" defTabSz="914400" rtl="0" eaLnBrk="1" latinLnBrk="0" hangingPunct="1">
              <a:lnSpc>
                <a:spcPct val="100000"/>
              </a:lnSpc>
              <a:spcBef>
                <a:spcPct val="0"/>
              </a:spcBef>
              <a:buNone/>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247636287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9280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5164552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44273895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4009492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17916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46709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9056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92463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67565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30680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85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490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93068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3230156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543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3544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8188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5166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0363838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473578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376261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55846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08081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83556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29178734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218082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328971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extLst>
                <a:ext uri="{28A0092B-C50C-407E-A947-70E740481C1C}">
                  <a14:useLocalDpi xmlns:a14="http://schemas.microsoft.com/office/drawing/2010/main" val="0"/>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81514921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84899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8767046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824723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5829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06760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577524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043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800753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0430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0531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7231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767658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3573384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2485041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2104851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336363883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58379563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773502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48312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A668DDC-5965-4675-BC4C-D862B86C2C19}"/>
              </a:ext>
            </a:extLst>
          </p:cNvPr>
          <p:cNvPicPr>
            <a:picLocks noChangeAspect="1"/>
          </p:cNvPicPr>
          <p:nvPr userDrawn="1"/>
        </p:nvPicPr>
        <p:blipFill rotWithShape="1">
          <a:blip r:embed="rId2"/>
          <a:srcRect t="-10675" b="10676"/>
          <a:stretch/>
        </p:blipFill>
        <p:spPr>
          <a:xfrm>
            <a:off x="0" y="0"/>
            <a:ext cx="12192000" cy="6858000"/>
          </a:xfrm>
          <a:prstGeom prst="rect">
            <a:avLst/>
          </a:prstGeom>
          <a:solidFill>
            <a:srgbClr val="F2F2F2"/>
          </a:solidFill>
        </p:spPr>
      </p:pic>
      <p:pic>
        <p:nvPicPr>
          <p:cNvPr id="6" name="MS logo gray - EMF" descr="Microsoft logo, gray text version">
            <a:extLst>
              <a:ext uri="{FF2B5EF4-FFF2-40B4-BE49-F238E27FC236}">
                <a16:creationId xmlns:a16="http://schemas.microsoft.com/office/drawing/2014/main" id="{F006F48C-D660-42F9-BEF8-E710C1C657E8}"/>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itle 1">
            <a:extLst>
              <a:ext uri="{FF2B5EF4-FFF2-40B4-BE49-F238E27FC236}">
                <a16:creationId xmlns:a16="http://schemas.microsoft.com/office/drawing/2014/main" id="{26D884E0-BB05-4CEA-9F23-ABC4F4D4CA18}"/>
              </a:ext>
            </a:extLst>
          </p:cNvPr>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0">
                      <a:schemeClr val="bg1"/>
                    </a:gs>
                    <a:gs pos="100000">
                      <a:schemeClr val="bg1"/>
                    </a:gs>
                  </a:gsLst>
                  <a:lin ang="5400000" scaled="1"/>
                </a:gra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086DF62A-F1F7-4864-A374-86B2C1C5DB43}"/>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0">
                      <a:schemeClr val="bg1"/>
                    </a:gs>
                    <a:gs pos="100000">
                      <a:schemeClr val="bg1"/>
                    </a:gs>
                  </a:gsLst>
                  <a:lin ang="5400000" scaled="1"/>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8669389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95005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807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6298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7272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43476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967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22971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87467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78379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4557600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5137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7098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95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038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BEAC48B-C872-4998-A126-6DDD15F29350}"/>
              </a:ext>
            </a:extLst>
          </p:cNvPr>
          <p:cNvGrpSpPr/>
          <p:nvPr userDrawn="1"/>
        </p:nvGrpSpPr>
        <p:grpSpPr>
          <a:xfrm>
            <a:off x="0" y="0"/>
            <a:ext cx="6099048" cy="6858000"/>
            <a:chOff x="0" y="0"/>
            <a:chExt cx="6099048" cy="6858000"/>
          </a:xfrm>
        </p:grpSpPr>
        <p:pic>
          <p:nvPicPr>
            <p:cNvPr id="3" name="Picture 2" descr="A living room filled with furniture and a large window&#10;&#10;Description automatically generated">
              <a:extLst>
                <a:ext uri="{FF2B5EF4-FFF2-40B4-BE49-F238E27FC236}">
                  <a16:creationId xmlns:a16="http://schemas.microsoft.com/office/drawing/2014/main" id="{F54FAE64-3535-4EE1-91A3-B117D14E72E5}"/>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l="24908" r="30461"/>
            <a:stretch/>
          </p:blipFill>
          <p:spPr>
            <a:xfrm>
              <a:off x="0" y="0"/>
              <a:ext cx="6099048" cy="6858000"/>
            </a:xfrm>
            <a:prstGeom prst="rect">
              <a:avLst/>
            </a:prstGeom>
          </p:spPr>
        </p:pic>
        <p:pic>
          <p:nvPicPr>
            <p:cNvPr id="4" name="Picture 3" descr="A person posing for the camera&#10;&#10;Description automatically generated">
              <a:extLst>
                <a:ext uri="{FF2B5EF4-FFF2-40B4-BE49-F238E27FC236}">
                  <a16:creationId xmlns:a16="http://schemas.microsoft.com/office/drawing/2014/main" id="{D4D2E28C-0BE5-4F18-BEB3-4DDAE21C76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3118" y="1328840"/>
              <a:ext cx="3912813" cy="5529160"/>
            </a:xfrm>
            <a:prstGeom prst="rect">
              <a:avLst/>
            </a:prstGeom>
          </p:spPr>
        </p:pic>
        <p:sp>
          <p:nvSpPr>
            <p:cNvPr id="5" name="TextBox 4">
              <a:extLst>
                <a:ext uri="{FF2B5EF4-FFF2-40B4-BE49-F238E27FC236}">
                  <a16:creationId xmlns:a16="http://schemas.microsoft.com/office/drawing/2014/main" id="{25EE1288-E5D5-48D1-91E7-3FC71AA9A1DA}"/>
                </a:ext>
              </a:extLst>
            </p:cNvPr>
            <p:cNvSpPr txBox="1"/>
            <p:nvPr/>
          </p:nvSpPr>
          <p:spPr>
            <a:xfrm>
              <a:off x="1284810" y="598636"/>
              <a:ext cx="3529429" cy="369332"/>
            </a:xfrm>
            <a:prstGeom prst="rect">
              <a:avLst/>
            </a:prstGeom>
            <a:noFill/>
          </p:spPr>
          <p:txBody>
            <a:bodyPr wrap="none" lIns="0" tIns="0" rIns="0" bIns="0" rtlCol="0">
              <a:spAutoFit/>
            </a:bodyPr>
            <a:lstStyle/>
            <a:p>
              <a:pPr algn="ctr"/>
              <a:r>
                <a:rPr lang="en-US" sz="2400" b="1"/>
                <a:t>IMAG RECORDED VIDEO</a:t>
              </a:r>
            </a:p>
          </p:txBody>
        </p:sp>
      </p:grpSp>
    </p:spTree>
    <p:extLst>
      <p:ext uri="{BB962C8B-B14F-4D97-AF65-F5344CB8AC3E}">
        <p14:creationId xmlns:p14="http://schemas.microsoft.com/office/powerpoint/2010/main" val="829292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3511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127D89-7044-4B6A-AF06-F96F73E387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DB9C676-9BF2-4D51-BD11-9E4F3277FC56}"/>
              </a:ext>
            </a:extLst>
          </p:cNvPr>
          <p:cNvSpPr/>
          <p:nvPr userDrawn="1"/>
        </p:nvSpPr>
        <p:spPr bwMode="auto">
          <a:xfrm>
            <a:off x="1308100" y="0"/>
            <a:ext cx="10883901" cy="6858000"/>
          </a:xfrm>
          <a:prstGeom prst="rect">
            <a:avLst/>
          </a:prstGeom>
          <a:gradFill flip="none" rotWithShape="1">
            <a:gsLst>
              <a:gs pos="2917">
                <a:schemeClr val="bg1">
                  <a:alpha val="74000"/>
                </a:schemeClr>
              </a:gs>
              <a:gs pos="10000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8" name="Picture 7" descr="A person standing posing for the camera&#10;&#10;Description automatically generated">
            <a:extLst>
              <a:ext uri="{FF2B5EF4-FFF2-40B4-BE49-F238E27FC236}">
                <a16:creationId xmlns:a16="http://schemas.microsoft.com/office/drawing/2014/main" id="{53F22388-C23D-40EE-B79D-72A31384189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0784" t="-1542" r="-10784" b="29620"/>
          <a:stretch/>
        </p:blipFill>
        <p:spPr>
          <a:xfrm>
            <a:off x="19088" y="76200"/>
            <a:ext cx="6309848" cy="6781800"/>
          </a:xfrm>
          <a:prstGeom prst="rect">
            <a:avLst/>
          </a:prstGeom>
        </p:spPr>
      </p:pic>
    </p:spTree>
    <p:extLst>
      <p:ext uri="{BB962C8B-B14F-4D97-AF65-F5344CB8AC3E}">
        <p14:creationId xmlns:p14="http://schemas.microsoft.com/office/powerpoint/2010/main" val="340468470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94141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72D6403-C365-4FCC-9353-BBAC25DE35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Picture 5" descr="A person standing posing for the camera&#10;&#10;Description automatically generated">
            <a:extLst>
              <a:ext uri="{FF2B5EF4-FFF2-40B4-BE49-F238E27FC236}">
                <a16:creationId xmlns:a16="http://schemas.microsoft.com/office/drawing/2014/main" id="{E50F421F-69D0-455B-A9AE-9EF1E7D116A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03" t="1374" r="-4075" b="24508"/>
          <a:stretch/>
        </p:blipFill>
        <p:spPr>
          <a:xfrm>
            <a:off x="2762250" y="0"/>
            <a:ext cx="6667500" cy="6858000"/>
          </a:xfrm>
          <a:prstGeom prst="rect">
            <a:avLst/>
          </a:prstGeom>
        </p:spPr>
      </p:pic>
    </p:spTree>
    <p:extLst>
      <p:ext uri="{BB962C8B-B14F-4D97-AF65-F5344CB8AC3E}">
        <p14:creationId xmlns:p14="http://schemas.microsoft.com/office/powerpoint/2010/main" val="55281929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4321107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08001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3" name="Picture 2" descr="A picture containing person, indoor, person, table&#10;&#10;Description automatically generated">
            <a:extLst>
              <a:ext uri="{FF2B5EF4-FFF2-40B4-BE49-F238E27FC236}">
                <a16:creationId xmlns:a16="http://schemas.microsoft.com/office/drawing/2014/main" id="{EF87B81D-E7BB-4EEC-8B33-FC8CDF833F6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047208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81621"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04231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1941668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032125"/>
            <a:ext cx="9144000" cy="664797"/>
          </a:xfrm>
          <a:noFill/>
        </p:spPr>
        <p:txBody>
          <a:bodyPr lIns="0" tIns="0" rIns="0" bIns="0" anchor="b" anchorCtr="0">
            <a:spAutoFit/>
          </a:bodyPr>
          <a:lstStyle>
            <a:lvl1pPr algn="l" defTabSz="932742" rtl="0" eaLnBrk="1" latinLnBrk="0" hangingPunct="1">
              <a:lnSpc>
                <a:spcPct val="90000"/>
              </a:lnSpc>
              <a:spcBef>
                <a:spcPct val="0"/>
              </a:spcBef>
              <a:buNone/>
              <a:defRPr lang="en-US" sz="48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78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6100923" y="317685"/>
            <a:ext cx="5508910" cy="369332"/>
          </a:xfrm>
          <a:prstGeom prst="rect">
            <a:avLst/>
          </a:prstGeom>
        </p:spPr>
        <p:txBody>
          <a:bodyPr/>
          <a:lstStyle>
            <a:lvl1pPr algn="l">
              <a:defRPr/>
            </a:lvl1pPr>
          </a:lstStyle>
          <a:p>
            <a:r>
              <a:rPr lang="en-US"/>
              <a:t>Click to edit Master title style</a:t>
            </a:r>
          </a:p>
        </p:txBody>
      </p:sp>
      <p:sp>
        <p:nvSpPr>
          <p:cNvPr id="4" name="Text Placeholder 3"/>
          <p:cNvSpPr>
            <a:spLocks noGrp="1"/>
          </p:cNvSpPr>
          <p:nvPr>
            <p:ph type="body" sz="quarter" idx="10"/>
          </p:nvPr>
        </p:nvSpPr>
        <p:spPr>
          <a:xfrm>
            <a:off x="6096000" y="1434370"/>
            <a:ext cx="5508910" cy="155119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A2169B85-90F4-44B4-8135-327273ED86B1}"/>
              </a:ext>
            </a:extLst>
          </p:cNvPr>
          <p:cNvSpPr>
            <a:spLocks noGrp="1"/>
          </p:cNvSpPr>
          <p:nvPr>
            <p:ph type="pic" sz="quarter" idx="11"/>
          </p:nvPr>
        </p:nvSpPr>
        <p:spPr>
          <a:xfrm>
            <a:off x="0" y="0"/>
            <a:ext cx="5764213" cy="6858000"/>
          </a:xfrm>
        </p:spPr>
        <p:txBody>
          <a:bodyPr/>
          <a:lstStyle/>
          <a:p>
            <a:endParaRPr lang="en-US"/>
          </a:p>
        </p:txBody>
      </p:sp>
    </p:spTree>
    <p:extLst>
      <p:ext uri="{BB962C8B-B14F-4D97-AF65-F5344CB8AC3E}">
        <p14:creationId xmlns:p14="http://schemas.microsoft.com/office/powerpoint/2010/main" val="107928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122544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369332"/>
          </a:xfrm>
          <a:prstGeom prst="rect">
            <a:avLst/>
          </a:prstGeom>
        </p:spPr>
        <p:txBody>
          <a:bodyPr/>
          <a:lstStyle>
            <a:lvl1pPr algn="ctr">
              <a:defRPr>
                <a:solidFill>
                  <a:schemeClr val="tx1"/>
                </a:solidFill>
              </a:defRPr>
            </a:lvl1pPr>
          </a:lstStyle>
          <a:p>
            <a:r>
              <a:rPr lang="en-US"/>
              <a:t>Click to edit Master title style</a:t>
            </a:r>
          </a:p>
        </p:txBody>
      </p:sp>
      <p:sp>
        <p:nvSpPr>
          <p:cNvPr id="5" name="Text Placeholder 3">
            <a:extLst>
              <a:ext uri="{FF2B5EF4-FFF2-40B4-BE49-F238E27FC236}">
                <a16:creationId xmlns:a16="http://schemas.microsoft.com/office/drawing/2014/main" id="{44BE59D2-600F-4C4D-A76B-C285EF453D68}"/>
              </a:ext>
            </a:extLst>
          </p:cNvPr>
          <p:cNvSpPr>
            <a:spLocks noGrp="1"/>
          </p:cNvSpPr>
          <p:nvPr>
            <p:ph type="body" sz="quarter" idx="16"/>
          </p:nvPr>
        </p:nvSpPr>
        <p:spPr>
          <a:xfrm>
            <a:off x="58420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9B5E6FCA-2AAD-43CE-9CEE-EC652F2BC82B}"/>
              </a:ext>
            </a:extLst>
          </p:cNvPr>
          <p:cNvSpPr>
            <a:spLocks noGrp="1"/>
          </p:cNvSpPr>
          <p:nvPr>
            <p:ph type="body" sz="quarter" idx="17"/>
          </p:nvPr>
        </p:nvSpPr>
        <p:spPr>
          <a:xfrm>
            <a:off x="439083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A12B3F59-2898-443F-B3FC-F2BFE8DED5D4}"/>
              </a:ext>
            </a:extLst>
          </p:cNvPr>
          <p:cNvSpPr>
            <a:spLocks noGrp="1"/>
          </p:cNvSpPr>
          <p:nvPr>
            <p:ph type="body" sz="quarter" idx="18"/>
          </p:nvPr>
        </p:nvSpPr>
        <p:spPr>
          <a:xfrm>
            <a:off x="819746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D3AC1E8E-24D7-4FB8-A58B-EDC15224D2B9}"/>
              </a:ext>
              <a:ext uri="{C183D7F6-B498-43B3-948B-1728B52AA6E4}">
                <adec:decorative xmlns:adec="http://schemas.microsoft.com/office/drawing/2017/decorative" val="1"/>
              </a:ext>
            </a:extLst>
          </p:cNvPr>
          <p:cNvCxnSpPr>
            <a:cxnSpLocks/>
          </p:cNvCxnSpPr>
          <p:nvPr/>
        </p:nvCxnSpPr>
        <p:spPr>
          <a:xfrm flipH="1">
            <a:off x="87549" y="1203410"/>
            <a:ext cx="12104451" cy="0"/>
          </a:xfrm>
          <a:prstGeom prst="line">
            <a:avLst/>
          </a:prstGeom>
          <a:ln w="22225">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4627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62FEF93D-7D88-4C97-8723-79388D8462F0}"/>
              </a:ext>
            </a:extLst>
          </p:cNvPr>
          <p:cNvSpPr>
            <a:spLocks noGrp="1"/>
          </p:cNvSpPr>
          <p:nvPr>
            <p:ph type="body" sz="quarter" idx="20"/>
          </p:nvPr>
        </p:nvSpPr>
        <p:spPr>
          <a:xfrm>
            <a:off x="944736"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C61394E7-9F92-40DA-8624-126ED5571266}"/>
              </a:ext>
            </a:extLst>
          </p:cNvPr>
          <p:cNvSpPr>
            <a:spLocks noGrp="1"/>
          </p:cNvSpPr>
          <p:nvPr>
            <p:ph type="body" sz="quarter" idx="21"/>
          </p:nvPr>
        </p:nvSpPr>
        <p:spPr>
          <a:xfrm>
            <a:off x="6460903"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0B11BF55-A1B9-4102-9DB2-74E2FC27FE7C}"/>
              </a:ext>
            </a:extLst>
          </p:cNvPr>
          <p:cNvSpPr>
            <a:spLocks noGrp="1"/>
          </p:cNvSpPr>
          <p:nvPr>
            <p:ph type="body" sz="quarter" idx="22"/>
          </p:nvPr>
        </p:nvSpPr>
        <p:spPr>
          <a:xfrm>
            <a:off x="944736"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F8CF358E-9FA9-43BE-B0DD-F449F4B174E6}"/>
              </a:ext>
            </a:extLst>
          </p:cNvPr>
          <p:cNvSpPr>
            <a:spLocks noGrp="1"/>
          </p:cNvSpPr>
          <p:nvPr>
            <p:ph type="body" sz="quarter" idx="23"/>
          </p:nvPr>
        </p:nvSpPr>
        <p:spPr>
          <a:xfrm>
            <a:off x="6460903"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0930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36">
          <p15:clr>
            <a:srgbClr val="FBAE40"/>
          </p15:clr>
        </p15:guide>
        <p15:guide id="3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2251156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CENTER">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3A57C4E5-7BF8-4C86-B141-DAAD81166378}"/>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235923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2" orient="horz" pos="1608">
          <p15:clr>
            <a:srgbClr val="547EBF"/>
          </p15:clr>
        </p15:guide>
        <p15:guide id="33" orient="horz" pos="2040">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FDA6EC-4BA0-3040-9BBF-5E7B2929E5FB}"/>
              </a:ext>
            </a:extLst>
          </p:cNvPr>
          <p:cNvSpPr/>
          <p:nvPr userDrawn="1"/>
        </p:nvSpPr>
        <p:spPr bwMode="auto">
          <a:xfrm>
            <a:off x="0" y="0"/>
            <a:ext cx="12192000" cy="3429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6740" y="800541"/>
            <a:ext cx="11018520" cy="1615264"/>
          </a:xfrm>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878436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70506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91313" y="317685"/>
            <a:ext cx="11018520" cy="369332"/>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51194"/>
          </a:xfrm>
        </p:spPr>
        <p:txBody>
          <a:bodyPr wrap="square">
            <a:spAutoFit/>
          </a:bodyPr>
          <a:lstStyle>
            <a:lvl1pPr marL="0" indent="0" algn="l">
              <a:buNone/>
              <a:defRPr/>
            </a:lvl1pPr>
            <a:lvl2pPr marL="0" indent="0" algn="l">
              <a:buNone/>
              <a:defRPr/>
            </a:lvl2pPr>
            <a:lvl3pPr marL="0" indent="0" algn="l">
              <a:buNone/>
              <a:defRPr/>
            </a:lvl3pPr>
            <a:lvl4pPr marL="0" indent="0" algn="l">
              <a:buNone/>
              <a:defRPr/>
            </a:lvl4pPr>
            <a:lvl5pPr marL="285750" indent="-285750" algn="l">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4817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2B1284-F214-4F3C-93E1-A1D330F793C1}"/>
              </a:ext>
            </a:extLst>
          </p:cNvPr>
          <p:cNvSpPr>
            <a:spLocks noGrp="1"/>
          </p:cNvSpPr>
          <p:nvPr>
            <p:ph idx="1"/>
          </p:nvPr>
        </p:nvSpPr>
        <p:spPr>
          <a:xfrm>
            <a:off x="269244" y="1665440"/>
            <a:ext cx="11653521" cy="1763560"/>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799C5F4-9896-4464-8399-B2CEB719F506}"/>
              </a:ext>
            </a:extLst>
          </p:cNvPr>
          <p:cNvSpPr>
            <a:spLocks noGrp="1"/>
          </p:cNvSpPr>
          <p:nvPr>
            <p:ph type="body" sz="quarter" idx="10"/>
          </p:nvPr>
        </p:nvSpPr>
        <p:spPr>
          <a:xfrm>
            <a:off x="268080" y="991714"/>
            <a:ext cx="7242175" cy="461665"/>
          </a:xfrm>
        </p:spPr>
        <p:txBody>
          <a:bodyPr/>
          <a:lstStyle>
            <a:lvl1pPr>
              <a:defRPr sz="2000" b="1">
                <a:solidFill>
                  <a:schemeClr val="accent5"/>
                </a:solidFill>
              </a:defRPr>
            </a:lvl1pPr>
          </a:lstStyle>
          <a:p>
            <a:pPr lvl="0"/>
            <a:r>
              <a:rPr lang="en-US"/>
              <a:t>Edit Master text styles</a:t>
            </a:r>
          </a:p>
        </p:txBody>
      </p:sp>
    </p:spTree>
    <p:extLst>
      <p:ext uri="{BB962C8B-B14F-4D97-AF65-F5344CB8AC3E}">
        <p14:creationId xmlns:p14="http://schemas.microsoft.com/office/powerpoint/2010/main" val="351585493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solidFill>
                  <a:schemeClr val="tx1"/>
                </a:solidFill>
              </a:defRPr>
            </a:lvl2pPr>
            <a:lvl3pPr>
              <a:spcBef>
                <a:spcPts val="0"/>
              </a:spcBef>
              <a:spcAft>
                <a:spcPts val="1200"/>
              </a:spcAft>
              <a:defRPr sz="1600"/>
            </a:lvl3pPr>
            <a:lvl4pPr>
              <a:spcAft>
                <a:spcPts val="600"/>
              </a:spcAft>
              <a:defRPr/>
            </a:lvl4pPr>
            <a:lvl5pPr marL="171450" indent="-171450">
              <a:spcBef>
                <a:spcPts val="600"/>
              </a:spcBef>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7320767"/>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941111"/>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21229"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369510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8438536"/>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6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1" y="2365461"/>
            <a:ext cx="4950689"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5" name="Text Placeholder 4">
            <a:extLst>
              <a:ext uri="{FF2B5EF4-FFF2-40B4-BE49-F238E27FC236}">
                <a16:creationId xmlns:a16="http://schemas.microsoft.com/office/drawing/2014/main" id="{B55A97FE-C3B5-499A-B8A1-1237551E8077}"/>
              </a:ext>
            </a:extLst>
          </p:cNvPr>
          <p:cNvSpPr>
            <a:spLocks noGrp="1"/>
          </p:cNvSpPr>
          <p:nvPr>
            <p:ph type="body" sz="quarter" idx="12"/>
          </p:nvPr>
        </p:nvSpPr>
        <p:spPr>
          <a:xfrm>
            <a:off x="584200" y="3068744"/>
            <a:ext cx="4483100" cy="1551194"/>
          </a:xfrm>
        </p:spPr>
        <p:txBody>
          <a:bodyPr/>
          <a:lstStyle>
            <a:lvl1pPr>
              <a:defRPr>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5890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9032962" y="0"/>
            <a:ext cx="1949448"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10" name="Text Placeholder 9">
            <a:extLst>
              <a:ext uri="{FF2B5EF4-FFF2-40B4-BE49-F238E27FC236}">
                <a16:creationId xmlns:a16="http://schemas.microsoft.com/office/drawing/2014/main" id="{E0F179F0-2DF9-4289-B71C-6CE85DBED7FA}"/>
              </a:ext>
            </a:extLst>
          </p:cNvPr>
          <p:cNvSpPr>
            <a:spLocks noGrp="1"/>
          </p:cNvSpPr>
          <p:nvPr>
            <p:ph type="body" sz="quarter" idx="10"/>
          </p:nvPr>
        </p:nvSpPr>
        <p:spPr>
          <a:xfrm>
            <a:off x="584202" y="3116984"/>
            <a:ext cx="6896111" cy="1892826"/>
          </a:xfrm>
        </p:spPr>
        <p:txBody>
          <a:bodyPr/>
          <a:lstStyle>
            <a:lvl1pPr>
              <a:spcBef>
                <a:spcPts val="1200"/>
              </a:spcBef>
              <a:spcAft>
                <a:spcPts val="1200"/>
              </a:spcAft>
              <a:defRPr sz="1800">
                <a:solidFill>
                  <a:schemeClr val="tx1"/>
                </a:solidFill>
              </a:defRPr>
            </a:lvl1pPr>
            <a:lvl2pPr>
              <a:spcBef>
                <a:spcPts val="1200"/>
              </a:spcBef>
              <a:spcAft>
                <a:spcPts val="1200"/>
              </a:spcAft>
              <a:defRPr sz="1600">
                <a:solidFill>
                  <a:schemeClr val="tx1"/>
                </a:solidFill>
              </a:defRPr>
            </a:lvl2pPr>
            <a:lvl3pPr>
              <a:spcBef>
                <a:spcPts val="600"/>
              </a:spcBef>
              <a:spcAft>
                <a:spcPts val="600"/>
              </a:spcAft>
              <a:defRPr sz="1200">
                <a:solidFill>
                  <a:schemeClr val="tx1"/>
                </a:solidFill>
              </a:defRPr>
            </a:lvl3pPr>
            <a:lvl4pPr>
              <a:spcBef>
                <a:spcPts val="600"/>
              </a:spcBef>
              <a:spcAft>
                <a:spcPts val="600"/>
              </a:spcAft>
              <a:defRPr sz="1100">
                <a:solidFill>
                  <a:schemeClr val="tx1"/>
                </a:solidFill>
              </a:defRPr>
            </a:lvl4pPr>
            <a:lvl5pPr>
              <a:spcBef>
                <a:spcPts val="600"/>
              </a:spcBef>
              <a:spcAft>
                <a:spcPts val="600"/>
              </a:spcAft>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00140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anchor="b"/>
          <a:lstStyle>
            <a:lvl1pPr algn="l">
              <a:defRPr>
                <a:solidFill>
                  <a:schemeClr val="accent1">
                    <a:lumMod val="60000"/>
                    <a:lumOff val="40000"/>
                  </a:schemeClr>
                </a:solidFill>
              </a:defRPr>
            </a:lvl1pPr>
          </a:lstStyle>
          <a:p>
            <a:r>
              <a:rPr lang="en-US"/>
              <a:t>Click to edit Master title</a:t>
            </a:r>
          </a:p>
        </p:txBody>
      </p:sp>
      <p:sp>
        <p:nvSpPr>
          <p:cNvPr id="6" name="Text Placeholder 3">
            <a:extLst>
              <a:ext uri="{FF2B5EF4-FFF2-40B4-BE49-F238E27FC236}">
                <a16:creationId xmlns:a16="http://schemas.microsoft.com/office/drawing/2014/main" id="{99DC7EEF-439D-459A-91EB-54962A50B295}"/>
              </a:ext>
            </a:extLst>
          </p:cNvPr>
          <p:cNvSpPr>
            <a:spLocks noGrp="1"/>
          </p:cNvSpPr>
          <p:nvPr>
            <p:ph type="body" sz="quarter" idx="11"/>
          </p:nvPr>
        </p:nvSpPr>
        <p:spPr>
          <a:xfrm>
            <a:off x="689709" y="3059668"/>
            <a:ext cx="4377592" cy="369332"/>
          </a:xfrm>
        </p:spPr>
        <p:txBody>
          <a:bodyPr wrap="square">
            <a:spAutoFit/>
          </a:bodyPr>
          <a:lstStyle>
            <a:lvl1pPr marL="0" indent="0">
              <a:buNone/>
              <a:defRPr>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94C4331B-E784-4254-9BE0-EC59638A932D}"/>
              </a:ext>
            </a:extLst>
          </p:cNvPr>
          <p:cNvSpPr>
            <a:spLocks noGrp="1"/>
          </p:cNvSpPr>
          <p:nvPr>
            <p:ph type="body" sz="quarter" idx="12"/>
          </p:nvPr>
        </p:nvSpPr>
        <p:spPr>
          <a:xfrm>
            <a:off x="5873846" y="457200"/>
            <a:ext cx="5735638" cy="1092607"/>
          </a:xfrm>
        </p:spPr>
        <p:txBody>
          <a:bodyPr/>
          <a:lstStyle>
            <a:lvl1pPr algn="ctr">
              <a:spcBef>
                <a:spcPts val="0"/>
              </a:spcBef>
              <a:defRPr sz="1600">
                <a:solidFill>
                  <a:schemeClr val="tx1"/>
                </a:solidFill>
              </a:defRPr>
            </a:lvl1pPr>
            <a:lvl2pPr algn="ctr">
              <a:spcBef>
                <a:spcPts val="600"/>
              </a:spcBef>
              <a:defRPr sz="1800">
                <a:solidFill>
                  <a:schemeClr val="accent1">
                    <a:lumMod val="60000"/>
                    <a:lumOff val="40000"/>
                  </a:schemeClr>
                </a:solidFill>
              </a:defRPr>
            </a:lvl2pPr>
            <a:lvl3pPr algn="ctr">
              <a:spcBef>
                <a:spcPts val="0"/>
              </a:spcBef>
              <a:defRPr sz="1100">
                <a:solidFill>
                  <a:schemeClr val="tx1"/>
                </a:solidFill>
              </a:defRPr>
            </a:lvl3pPr>
            <a:lvl4pPr algn="ctr">
              <a:spcBef>
                <a:spcPts val="0"/>
              </a:spcBef>
              <a:defRPr sz="1050">
                <a:solidFill>
                  <a:schemeClr val="tx1"/>
                </a:solidFill>
              </a:defRPr>
            </a:lvl4pPr>
            <a:lvl5pPr algn="ct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782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541961"/>
          </a:xfrm>
        </p:spPr>
        <p:txBody>
          <a:bodyPr/>
          <a:lstStyle>
            <a:lvl1pPr>
              <a:spcBef>
                <a:spcPts val="0"/>
              </a:spcBef>
              <a:spcAft>
                <a:spcPts val="1200"/>
              </a:spcAft>
              <a:defRPr sz="2000">
                <a:latin typeface="+mj-lt"/>
              </a:defRPr>
            </a:lvl1pPr>
            <a:lvl2pPr>
              <a:spcBef>
                <a:spcPts val="0"/>
              </a:spcBef>
              <a:spcAft>
                <a:spcPts val="0"/>
              </a:spcAft>
              <a:defRPr sz="1200" b="1"/>
            </a:lvl2pPr>
            <a:lvl3pPr>
              <a:spcBef>
                <a:spcPts val="0"/>
              </a:spcBef>
              <a:spcAft>
                <a:spcPts val="800"/>
              </a:spcAft>
              <a:defRPr sz="12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935415"/>
            <a:ext cx="12192000" cy="1922585"/>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5052702"/>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317629"/>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5200744"/>
            <a:ext cx="6550458" cy="1192634"/>
          </a:xfrm>
        </p:spPr>
        <p:txBody>
          <a:bodyPr anchor="ctr"/>
          <a:lstStyle>
            <a:lvl1pPr marL="342900" indent="-342900">
              <a:spcBef>
                <a:spcPts val="600"/>
              </a:spcBef>
              <a:spcAft>
                <a:spcPts val="0"/>
              </a:spcAft>
              <a:buFont typeface="Wingdings" panose="05000000000000000000" pitchFamily="2" charset="2"/>
              <a:buChar char="ü"/>
              <a:defRPr sz="1400">
                <a:solidFill>
                  <a:schemeClr val="tx1"/>
                </a:solidFill>
                <a:latin typeface="+mn-lt"/>
              </a:defRPr>
            </a:lvl1pPr>
            <a:lvl2pPr marL="285750" indent="-285750">
              <a:spcBef>
                <a:spcPts val="600"/>
              </a:spcBef>
              <a:spcAft>
                <a:spcPts val="0"/>
              </a:spcAft>
              <a:buFont typeface="Wingdings" panose="05000000000000000000" pitchFamily="2" charset="2"/>
              <a:buChar char="ü"/>
              <a:defRPr sz="1100" b="1">
                <a:solidFill>
                  <a:schemeClr val="tx1"/>
                </a:solidFill>
                <a:latin typeface="+mn-lt"/>
              </a:defRPr>
            </a:lvl2pPr>
            <a:lvl3pPr marL="288925" indent="0">
              <a:spcBef>
                <a:spcPts val="0"/>
              </a:spcBef>
              <a:spcAft>
                <a:spcPts val="600"/>
              </a:spcAft>
              <a:buFont typeface="Wingdings" panose="05000000000000000000" pitchFamily="2" charset="2"/>
              <a:buNone/>
              <a:defRPr sz="1100">
                <a:solidFill>
                  <a:schemeClr val="tx1"/>
                </a:solidFill>
                <a:latin typeface="+mn-lt"/>
              </a:defRPr>
            </a:lvl3pPr>
            <a:lvl4pPr marL="285750" indent="-285750">
              <a:spcBef>
                <a:spcPts val="600"/>
              </a:spcBef>
              <a:spcAft>
                <a:spcPts val="0"/>
              </a:spcAft>
              <a:buFont typeface="Wingdings" panose="05000000000000000000" pitchFamily="2" charset="2"/>
              <a:buChar char="ü"/>
              <a:defRPr sz="1050">
                <a:solidFill>
                  <a:schemeClr val="tx1"/>
                </a:solidFill>
                <a:latin typeface="+mn-lt"/>
              </a:defRPr>
            </a:lvl4pPr>
            <a:lvl5pPr marL="168275" indent="-168275">
              <a:spcBef>
                <a:spcPts val="600"/>
              </a:spcBef>
              <a:spcAft>
                <a:spcPts val="0"/>
              </a:spcAft>
              <a:buFont typeface="Wingdings" panose="05000000000000000000" pitchFamily="2" charset="2"/>
              <a:buChar char="ü"/>
              <a:defRPr sz="10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627075"/>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117328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18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4301764"/>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461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lIns="0"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1567"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37678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883076" y="3105834"/>
            <a:ext cx="3140461" cy="646331"/>
          </a:xfrm>
          <a:prstGeom prst="rect">
            <a:avLst/>
          </a:prstGeom>
        </p:spPr>
        <p:txBody>
          <a:bodyPr wrap="square" anchor="b" anchorCtr="0">
            <a:spAutoFit/>
          </a:bodyPr>
          <a:lstStyle>
            <a:lvl1pPr algn="l">
              <a:defRPr sz="3600">
                <a:gradFill>
                  <a:gsLst>
                    <a:gs pos="0">
                      <a:schemeClr val="accent2"/>
                    </a:gs>
                    <a:gs pos="100000">
                      <a:schemeClr val="accent1">
                        <a:lumMod val="60000"/>
                        <a:lumOff val="40000"/>
                      </a:schemeClr>
                    </a:gs>
                  </a:gsLst>
                  <a:lin ang="12000000" scaled="0"/>
                </a:gradFill>
              </a:defRPr>
            </a:lvl1pPr>
          </a:lstStyle>
          <a:p>
            <a:r>
              <a:rPr lang="en-US"/>
              <a:t>Title</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228954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ase Study White with Qu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solidFill>
            <a:schemeClr val="bg1"/>
          </a:solidFill>
        </p:spPr>
        <p:txBody>
          <a:bodyPr lIns="0" tIns="2103120" rIns="0" anchor="t" anchorCtr="0">
            <a:noAutofit/>
          </a:bodyPr>
          <a:lstStyle>
            <a:lvl1pPr marL="0" indent="0" algn="ctr">
              <a:lnSpc>
                <a:spcPct val="100000"/>
              </a:lnSpc>
              <a:buNone/>
              <a:defRPr sz="1600" b="1">
                <a:solidFill>
                  <a:schemeClr val="tx2"/>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474980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88336"/>
            <a:ext cx="4812260" cy="1480405"/>
          </a:xfrm>
        </p:spPr>
        <p:txBody>
          <a:bodyPr/>
          <a:lstStyle>
            <a:lvl1pPr marL="0" indent="0">
              <a:spcBef>
                <a:spcPts val="0"/>
              </a:spcBef>
              <a:spcAft>
                <a:spcPts val="1200"/>
              </a:spcAft>
              <a:buNone/>
              <a:defRPr sz="1600">
                <a:solidFill>
                  <a:schemeClr val="accent1">
                    <a:lumMod val="60000"/>
                    <a:lumOff val="40000"/>
                  </a:schemeClr>
                </a:solidFill>
                <a:latin typeface="+mn-lt"/>
              </a:defRPr>
            </a:lvl1pPr>
            <a:lvl2pPr marL="0" indent="0">
              <a:spcBef>
                <a:spcPts val="1200"/>
              </a:spcBef>
              <a:buNone/>
              <a:defRPr lang="en-US" sz="1400" b="1" kern="0" cap="all" spc="100" baseline="0" dirty="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7F96311-057A-42CA-9275-9AC57B02AD29}"/>
              </a:ext>
            </a:extLst>
          </p:cNvPr>
          <p:cNvSpPr>
            <a:spLocks noGrp="1"/>
          </p:cNvSpPr>
          <p:nvPr>
            <p:ph type="body" sz="quarter" idx="14"/>
          </p:nvPr>
        </p:nvSpPr>
        <p:spPr>
          <a:xfrm>
            <a:off x="5919788" y="0"/>
            <a:ext cx="6272212" cy="1920526"/>
          </a:xfrm>
          <a:noFill/>
        </p:spPr>
        <p:txBody>
          <a:bodyPr lIns="182880" tIns="182880" rIns="182880" bIns="182880"/>
          <a:lstStyle>
            <a:lvl1pPr marL="0" indent="0" defTabSz="114300">
              <a:buNone/>
              <a:defRPr>
                <a:solidFill>
                  <a:schemeClr val="bg2"/>
                </a:solidFill>
              </a:defRPr>
            </a:lvl1pPr>
            <a:lvl2pPr marL="0" indent="0" defTabSz="114300">
              <a:buNone/>
              <a:defRPr>
                <a:solidFill>
                  <a:schemeClr val="bg2"/>
                </a:solidFill>
              </a:defRPr>
            </a:lvl2pPr>
            <a:lvl3pPr marL="0" indent="0" defTabSz="114300">
              <a:buNone/>
              <a:defRPr>
                <a:solidFill>
                  <a:schemeClr val="bg2"/>
                </a:solidFill>
              </a:defRPr>
            </a:lvl3pPr>
            <a:lvl4pPr marL="0" indent="0" defTabSz="114300">
              <a:buNone/>
              <a:defRPr>
                <a:solidFill>
                  <a:schemeClr val="bg2"/>
                </a:solidFill>
              </a:defRPr>
            </a:lvl4pPr>
            <a:lvl5pPr marL="0" indent="0" defTabSz="114300">
              <a:buNone/>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06484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92">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178431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3105834"/>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rgbClr val="000000"/>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solidFill>
                <a:srgbClr val="50E6FF"/>
              </a:solidFill>
              <a:latin typeface="Segoe UI Semibold"/>
            </a:endParaRPr>
          </a:p>
        </p:txBody>
      </p:sp>
    </p:spTree>
    <p:extLst>
      <p:ext uri="{BB962C8B-B14F-4D97-AF65-F5344CB8AC3E}">
        <p14:creationId xmlns:p14="http://schemas.microsoft.com/office/powerpoint/2010/main" val="62079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890620"/>
            <a:ext cx="6429343" cy="646331"/>
          </a:xfrm>
          <a:prstGeom prst="rect">
            <a:avLst/>
          </a:prstGeom>
        </p:spPr>
        <p:txBody>
          <a:bodyPr vert="horz" wrap="square" lIns="91440" tIns="45720" rIns="91440" bIns="45720" rtlCol="0" anchor="b" anchorCtr="0">
            <a:spAutoFit/>
          </a:bodyPr>
          <a:lstStyle>
            <a:lvl1pPr algn="l">
              <a:defRPr lang="en-US" sz="3600" dirty="0">
                <a:gradFill>
                  <a:gsLst>
                    <a:gs pos="0">
                      <a:schemeClr val="accent2"/>
                    </a:gs>
                    <a:gs pos="100000">
                      <a:schemeClr val="accent1">
                        <a:lumMod val="60000"/>
                        <a:lumOff val="40000"/>
                      </a:schemeClr>
                    </a:gs>
                  </a:gsLst>
                  <a:lin ang="12000000" scaled="0"/>
                </a:gradFill>
              </a:defRPr>
            </a:lvl1pPr>
          </a:lstStyle>
          <a:p>
            <a:pPr lvl="0" algn="l"/>
            <a:r>
              <a:rPr lang="en-US"/>
              <a:t>Event name or presentation</a:t>
            </a:r>
          </a:p>
        </p:txBody>
      </p:sp>
      <p:sp>
        <p:nvSpPr>
          <p:cNvPr id="5" name="Text Placeholder 4"/>
          <p:cNvSpPr>
            <a:spLocks noGrp="1"/>
          </p:cNvSpPr>
          <p:nvPr>
            <p:ph type="body" sz="quarter" idx="12" hasCustomPrompt="1"/>
          </p:nvPr>
        </p:nvSpPr>
        <p:spPr>
          <a:xfrm>
            <a:off x="584200" y="3536950"/>
            <a:ext cx="6429342"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5870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982952"/>
            <a:ext cx="6429343" cy="553998"/>
          </a:xfrm>
          <a:prstGeom prst="rect">
            <a:avLst/>
          </a:prstGeom>
          <a:noFill/>
        </p:spPr>
        <p:txBody>
          <a:bodyPr wrap="square" lIns="0" tIns="0" rIns="0" bIns="0" anchor="b" anchorCtr="0">
            <a:spAutoFit/>
          </a:bodyPr>
          <a:lstStyle>
            <a:lvl1pPr algn="l">
              <a:defRPr sz="3600" spc="-50" baseline="0">
                <a:solidFill>
                  <a:schemeClr val="accent1">
                    <a:lumMod val="60000"/>
                    <a:lumOff val="40000"/>
                  </a:schemeClr>
                </a:solidFill>
                <a:latin typeface="+mj-lt"/>
                <a:cs typeface="Segoe UI" panose="020B0502040204020203" pitchFamily="34" charset="0"/>
              </a:defRPr>
            </a:lvl1pPr>
          </a:lstStyle>
          <a:p>
            <a:r>
              <a:rPr lang="en-US"/>
              <a:t>Event name or presentation</a:t>
            </a:r>
          </a:p>
        </p:txBody>
      </p:sp>
      <p:sp>
        <p:nvSpPr>
          <p:cNvPr id="5" name="Text Placeholder 4"/>
          <p:cNvSpPr>
            <a:spLocks noGrp="1"/>
          </p:cNvSpPr>
          <p:nvPr>
            <p:ph type="body" sz="quarter" idx="12" hasCustomPrompt="1"/>
          </p:nvPr>
        </p:nvSpPr>
        <p:spPr>
          <a:xfrm>
            <a:off x="584200" y="3536950"/>
            <a:ext cx="6429342"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5233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AE9AC9-FB90-4EFA-9474-40009F1C0372}"/>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19036870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54531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03563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a:xfrm>
            <a:off x="838200" y="2532283"/>
            <a:ext cx="4186473" cy="2012557"/>
          </a:xfrm>
        </p:spPr>
        <p:txBody>
          <a:bodyPr/>
          <a:lstStyle>
            <a:lvl1pPr algn="l">
              <a:defRPr/>
            </a:lvl1pPr>
          </a:lstStyle>
          <a:p>
            <a:r>
              <a:rPr lang="en-US"/>
              <a:t>Click to edit Master title style</a:t>
            </a:r>
          </a:p>
        </p:txBody>
      </p:sp>
      <p:sp>
        <p:nvSpPr>
          <p:cNvPr id="3" name="Rectangle: Rounded Corners 2">
            <a:extLst>
              <a:ext uri="{FF2B5EF4-FFF2-40B4-BE49-F238E27FC236}">
                <a16:creationId xmlns:a16="http://schemas.microsoft.com/office/drawing/2014/main" id="{898B8325-0732-42F7-A30D-28849C692C2E}"/>
              </a:ext>
            </a:extLst>
          </p:cNvPr>
          <p:cNvSpPr/>
          <p:nvPr userDrawn="1"/>
        </p:nvSpPr>
        <p:spPr bwMode="auto">
          <a:xfrm>
            <a:off x="6590922" y="1023042"/>
            <a:ext cx="4680642" cy="4345664"/>
          </a:xfrm>
          <a:prstGeom prst="roundRect">
            <a:avLst>
              <a:gd name="adj" fmla="val 8750"/>
            </a:avLst>
          </a:prstGeom>
          <a:solidFill>
            <a:srgbClr val="000000"/>
          </a:solidFill>
          <a:ln>
            <a:noFill/>
            <a:headEnd type="none" w="med" len="med"/>
            <a:tailEnd type="none" w="med" len="med"/>
          </a:ln>
          <a:effectLst>
            <a:outerShdw blurRad="431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6501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1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A1A072E0-6A04-41F0-B2E0-22157BB7B74A}"/>
              </a:ext>
            </a:extLst>
          </p:cNvPr>
          <p:cNvSpPr>
            <a:spLocks noGrp="1"/>
          </p:cNvSpPr>
          <p:nvPr>
            <p:ph type="body" sz="quarter" idx="10"/>
          </p:nvPr>
        </p:nvSpPr>
        <p:spPr>
          <a:xfrm>
            <a:off x="838200" y="1233488"/>
            <a:ext cx="10577513" cy="276999"/>
          </a:xfrm>
        </p:spPr>
        <p:txBody>
          <a:bodyPr/>
          <a:lstStyle>
            <a:lvl1pPr algn="ctr">
              <a:defRPr sz="1800">
                <a:solidFill>
                  <a:schemeClr val="accent1">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1394445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17DF7B8-E3D0-4F73-8547-8FDE5314A234}"/>
              </a:ext>
            </a:extLst>
          </p:cNvPr>
          <p:cNvSpPr>
            <a:spLocks noGrp="1"/>
          </p:cNvSpPr>
          <p:nvPr>
            <p:ph type="body" sz="quarter" idx="10"/>
          </p:nvPr>
        </p:nvSpPr>
        <p:spPr>
          <a:xfrm>
            <a:off x="584200" y="1581150"/>
            <a:ext cx="10941050" cy="4819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036305"/>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9062870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09" y="1"/>
            <a:ext cx="3273053" cy="1082742"/>
          </a:xfrm>
          <a:prstGeom prst="rect">
            <a:avLst/>
          </a:prstGeom>
        </p:spPr>
      </p:pic>
    </p:spTree>
    <p:extLst>
      <p:ext uri="{BB962C8B-B14F-4D97-AF65-F5344CB8AC3E}">
        <p14:creationId xmlns:p14="http://schemas.microsoft.com/office/powerpoint/2010/main" val="3928454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873802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1960514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8682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5371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539085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3702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10015173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53077168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18640"/>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800"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600">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4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sz="3400">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86398777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02547521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30997"/>
          </a:xfrm>
        </p:spPr>
        <p:txBody>
          <a:bodyPr wrap="square" lIns="0" tIns="0" rIns="0" bIns="0">
            <a:spAutoFit/>
          </a:bodyPr>
          <a:lstStyle>
            <a:lvl1pPr marL="0" indent="0">
              <a:lnSpc>
                <a:spcPct val="100000"/>
              </a:lnSpc>
              <a:spcBef>
                <a:spcPts val="0"/>
              </a:spcBef>
              <a:spcAft>
                <a:spcPts val="1371"/>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4562872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143291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4177260796"/>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616871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8423867"/>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64475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3032458"/>
            <a:ext cx="5555966" cy="758022"/>
          </a:xfrm>
          <a:prstGeom prst="rect">
            <a:avLst/>
          </a:prstGeom>
        </p:spPr>
        <p:txBody>
          <a:bodyPr vert="horz" wrap="square" lIns="0" tIns="164592" rIns="0" bIns="0" rtlCol="0" anchor="t">
            <a:noAutofit/>
          </a:bodyPr>
          <a:lstStyle>
            <a:lvl1pPr>
              <a:defRPr sz="3600"/>
            </a:lvl1pPr>
          </a:lstStyle>
          <a:p>
            <a:r>
              <a:rPr lang="en-US"/>
              <a:t>Photo layout</a:t>
            </a:r>
          </a:p>
        </p:txBody>
      </p:sp>
    </p:spTree>
    <p:extLst>
      <p:ext uri="{BB962C8B-B14F-4D97-AF65-F5344CB8AC3E}">
        <p14:creationId xmlns:p14="http://schemas.microsoft.com/office/powerpoint/2010/main" val="3045330740"/>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4766894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9916435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73392884"/>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dirty="0"/>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9058921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7583416"/>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54665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33023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1185430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2807259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4151124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rotWithShape="1">
          <a:blip r:embed="rId2"/>
          <a:srcRect r="10789" b="10795"/>
          <a:stretch/>
        </p:blipFill>
        <p:spPr>
          <a:xfrm>
            <a:off x="0" y="0"/>
            <a:ext cx="12192000" cy="6858000"/>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8281324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73300"/>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85660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804855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5/7/2022</a:t>
            </a:fld>
            <a:endParaRPr lang="en-US" dirty="0"/>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dirty="0"/>
          </a:p>
        </p:txBody>
      </p:sp>
    </p:spTree>
    <p:extLst>
      <p:ext uri="{BB962C8B-B14F-4D97-AF65-F5344CB8AC3E}">
        <p14:creationId xmlns:p14="http://schemas.microsoft.com/office/powerpoint/2010/main" val="411761533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401276685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a:t>Edit Master text styles</a:t>
            </a:r>
          </a:p>
          <a:p>
            <a:pPr lvl="1"/>
            <a:r>
              <a:rPr lang="en-US"/>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664890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489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971809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6295953"/>
      </p:ext>
    </p:extLst>
  </p:cSld>
  <p:clrMapOvr>
    <a:masterClrMapping/>
  </p:clrMapOvr>
  <p:transition>
    <p:fade/>
  </p:transition>
  <p:hf sldNum="0" hd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6099509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2379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335970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618788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668864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283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3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1838818"/>
            <a:ext cx="4958462" cy="1354217"/>
          </a:xfrm>
        </p:spPr>
        <p:txBody>
          <a:bodyPr anchor="b"/>
          <a:lstStyle>
            <a:lvl1pPr>
              <a:defRPr sz="4400"/>
            </a:lvl1pPr>
          </a:lstStyle>
          <a:p>
            <a:r>
              <a:rPr lang="en-US"/>
              <a:t>Click to edit Master title style</a:t>
            </a:r>
          </a:p>
        </p:txBody>
      </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3245501"/>
            <a:ext cx="4962525" cy="2031325"/>
          </a:xfrm>
        </p:spPr>
        <p:txBody>
          <a:bodyPr/>
          <a:lstStyle>
            <a:lvl1pPr marL="0" indent="0">
              <a:spcBef>
                <a:spcPts val="600"/>
              </a:spcBef>
              <a:spcAft>
                <a:spcPts val="600"/>
              </a:spcAft>
              <a:buNone/>
              <a:defRPr>
                <a:solidFill>
                  <a:schemeClr val="accent2"/>
                </a:solidFill>
              </a:defRPr>
            </a:lvl1pPr>
            <a:lvl2pPr marL="0" indent="0">
              <a:spcBef>
                <a:spcPts val="600"/>
              </a:spcBef>
              <a:spcAft>
                <a:spcPts val="600"/>
              </a:spcAft>
              <a:buNone/>
              <a:defRPr>
                <a:solidFill>
                  <a:schemeClr val="accent2"/>
                </a:solidFill>
              </a:defRPr>
            </a:lvl2pPr>
            <a:lvl3pPr marL="0" indent="0">
              <a:spcBef>
                <a:spcPts val="600"/>
              </a:spcBef>
              <a:spcAft>
                <a:spcPts val="600"/>
              </a:spcAft>
              <a:buNone/>
              <a:defRPr>
                <a:solidFill>
                  <a:schemeClr val="accent2"/>
                </a:solidFill>
              </a:defRPr>
            </a:lvl3pPr>
            <a:lvl4pPr marL="0" indent="0">
              <a:spcBef>
                <a:spcPts val="600"/>
              </a:spcBef>
              <a:spcAft>
                <a:spcPts val="600"/>
              </a:spcAft>
              <a:buNone/>
              <a:defRPr>
                <a:solidFill>
                  <a:schemeClr val="accent2"/>
                </a:solidFill>
              </a:defRPr>
            </a:lvl4pPr>
            <a:lvl5pPr marL="0" indent="0">
              <a:spcBef>
                <a:spcPts val="600"/>
              </a:spcBef>
              <a:spcAft>
                <a:spcPts val="600"/>
              </a:spcAft>
              <a:buNone/>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86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0131B08F-6EB1-4888-93DB-41BA611A8181}"/>
              </a:ext>
            </a:extLst>
          </p:cNvPr>
          <p:cNvSpPr>
            <a:spLocks noGrp="1"/>
          </p:cNvSpPr>
          <p:nvPr>
            <p:ph type="title"/>
          </p:nvPr>
        </p:nvSpPr>
        <p:spPr>
          <a:xfrm>
            <a:off x="588263" y="2321004"/>
            <a:ext cx="4747308" cy="1107996"/>
          </a:xfrm>
        </p:spPr>
        <p:txBody>
          <a:bodyPr anchor="b"/>
          <a:lstStyle/>
          <a:p>
            <a:r>
              <a:rPr lang="en-US" dirty="0"/>
              <a:t>Click to edit Master title style</a:t>
            </a:r>
          </a:p>
        </p:txBody>
      </p:sp>
    </p:spTree>
    <p:extLst>
      <p:ext uri="{BB962C8B-B14F-4D97-AF65-F5344CB8AC3E}">
        <p14:creationId xmlns:p14="http://schemas.microsoft.com/office/powerpoint/2010/main" val="128074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1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1011198"/>
            <a:ext cx="4962525" cy="430887"/>
          </a:xfrm>
        </p:spPr>
        <p:txBody>
          <a:bodyPr/>
          <a:lstStyle>
            <a:lvl1pPr marL="0" indent="0">
              <a:buNone/>
              <a:defRPr>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F57A45A5-32CB-4A20-B03A-8EFC583A5B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746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4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3429000"/>
            <a:ext cx="4958462" cy="1107996"/>
          </a:xfrm>
        </p:spPr>
        <p:txBody>
          <a:bodyPr anchor="t"/>
          <a:lstStyle/>
          <a:p>
            <a:r>
              <a:rPr lang="en-US"/>
              <a:t>Click to edit Master title style</a:t>
            </a:r>
          </a:p>
        </p:txBody>
      </p:sp>
    </p:spTree>
    <p:extLst>
      <p:ext uri="{BB962C8B-B14F-4D97-AF65-F5344CB8AC3E}">
        <p14:creationId xmlns:p14="http://schemas.microsoft.com/office/powerpoint/2010/main" val="2758337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2611853"/>
            <a:ext cx="6314541" cy="1493229"/>
          </a:xfrm>
        </p:spPr>
        <p:txBody>
          <a:bodyPr/>
          <a:lstStyle>
            <a:lvl1pPr marL="0" indent="0">
              <a:spcAft>
                <a:spcPts val="688"/>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C796AF52-6BF1-4287-8EC6-C7FA210A7EEB}"/>
              </a:ext>
            </a:extLst>
          </p:cNvPr>
          <p:cNvSpPr>
            <a:spLocks noGrp="1"/>
          </p:cNvSpPr>
          <p:nvPr>
            <p:ph type="title"/>
          </p:nvPr>
        </p:nvSpPr>
        <p:spPr>
          <a:xfrm>
            <a:off x="584200" y="1588341"/>
            <a:ext cx="6219943" cy="553998"/>
          </a:xfrm>
        </p:spPr>
        <p:txBody>
          <a:bodyPr anchor="b"/>
          <a:lstStyle>
            <a:lvl1pPr>
              <a:defRPr sz="3600"/>
            </a:lvl1pPr>
          </a:lstStyle>
          <a:p>
            <a:r>
              <a:rPr lang="en-US"/>
              <a:t>Click to edit Master title style</a:t>
            </a:r>
          </a:p>
        </p:txBody>
      </p:sp>
      <p:sp>
        <p:nvSpPr>
          <p:cNvPr id="10" name="Rectangle 9">
            <a:extLst>
              <a:ext uri="{FF2B5EF4-FFF2-40B4-BE49-F238E27FC236}">
                <a16:creationId xmlns:a16="http://schemas.microsoft.com/office/drawing/2014/main" id="{219702E6-C8ED-4606-95F4-AFC9DC1BCBB6}"/>
              </a:ext>
            </a:extLst>
          </p:cNvPr>
          <p:cNvSpPr/>
          <p:nvPr userDrawn="1"/>
        </p:nvSpPr>
        <p:spPr bwMode="auto">
          <a:xfrm>
            <a:off x="7199921" y="624932"/>
            <a:ext cx="4698392" cy="5608135"/>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US" sz="1600">
                <a:solidFill>
                  <a:schemeClr val="accent2"/>
                </a:solidFill>
                <a:latin typeface="Segoe UI Semibold"/>
              </a:rPr>
              <a:t> </a:t>
            </a:r>
          </a:p>
          <a:p>
            <a:pPr algn="ctr" defTabSz="932472" fontAlgn="base">
              <a:lnSpc>
                <a:spcPct val="90000"/>
              </a:lnSpc>
              <a:spcBef>
                <a:spcPct val="0"/>
              </a:spcBef>
              <a:spcAft>
                <a:spcPct val="0"/>
              </a:spcAft>
            </a:pPr>
            <a:endParaRPr lang="en-US" sz="1600">
              <a:solidFill>
                <a:schemeClr val="accent2"/>
              </a:solidFill>
              <a:latin typeface="Segoe UI Semibold"/>
            </a:endParaRPr>
          </a:p>
        </p:txBody>
      </p:sp>
    </p:spTree>
    <p:extLst>
      <p:ext uri="{BB962C8B-B14F-4D97-AF65-F5344CB8AC3E}">
        <p14:creationId xmlns:p14="http://schemas.microsoft.com/office/powerpoint/2010/main" val="4260668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pos="6024">
          <p15:clr>
            <a:srgbClr val="FBAE40"/>
          </p15:clr>
        </p15:guide>
        <p15:guide id="3"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9335215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78131144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8654720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rgbClr val="FFFFFF">
                    <a:lumMod val="65000"/>
                  </a:srgbClr>
                </a:solidFill>
              </a:rPr>
              <a:t>© Microsoft Corporation</a:t>
            </a:r>
            <a:endParaRPr lang="en-US" sz="784">
              <a:solidFill>
                <a:srgbClr val="FFFFFF">
                  <a:lumMod val="65000"/>
                </a:srgbClr>
              </a:solidFill>
            </a:endParaRPr>
          </a:p>
        </p:txBody>
      </p:sp>
    </p:spTree>
    <p:extLst>
      <p:ext uri="{BB962C8B-B14F-4D97-AF65-F5344CB8AC3E}">
        <p14:creationId xmlns:p14="http://schemas.microsoft.com/office/powerpoint/2010/main" val="337498853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235657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4980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857113918"/>
      </p:ext>
    </p:extLst>
  </p:cSld>
  <p:clrMapOvr>
    <a:masterClrMapping/>
  </p:clrMapOvr>
  <p:transition>
    <p:fade/>
  </p:transition>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24725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06788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73798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789790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69721784"/>
      </p:ext>
    </p:extLst>
  </p:cSld>
  <p:clrMapOvr>
    <a:masterClrMapping/>
  </p:clrMapOvr>
  <p:transition>
    <p:fade/>
  </p:transition>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90202419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140590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40198144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229768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654706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57826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11420748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434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0516776"/>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59929480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968221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89962451"/>
      </p:ext>
    </p:extLst>
  </p:cSld>
  <p:clrMapOvr>
    <a:masterClrMapping/>
  </p:clrMapOvr>
  <p:transition>
    <p:fade/>
  </p:transition>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7672785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73637467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12172645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2799300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2585554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64782747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82015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777024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5431078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485793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85330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4929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350768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617089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7472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2120804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547940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607640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9966291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80247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801018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96517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57195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4169346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52429294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2664514399"/>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519323949"/>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735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194405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6077500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965257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8183062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8625814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4895506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24959859"/>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59030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099106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4130994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56849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38225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44392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15672903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2613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73615569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346034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4878319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19187102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4637518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8528921"/>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7234554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278277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7073737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3862873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6261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8036735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5187861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922856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4463149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5964231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0854518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754976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2652071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730251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544328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92117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5933017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776420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622253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2813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281097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4497910"/>
      </p:ext>
    </p:extLst>
  </p:cSld>
  <p:clrMapOvr>
    <a:masterClrMapping/>
  </p:clrMapOvr>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247145"/>
      </p:ext>
    </p:extLst>
  </p:cSld>
  <p:clrMapOvr>
    <a:masterClrMapping/>
  </p:clrMapOvr>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680917819"/>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95635454"/>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465573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61120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009614307"/>
      </p:ext>
    </p:extLst>
  </p:cSld>
  <p:clrMapOvr>
    <a:masterClrMapping/>
  </p:clrMapOvr>
  <p:transition>
    <p:fade/>
  </p:transition>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939299774"/>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957801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65450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188481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67630196"/>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5895469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9678369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9892193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267896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6634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46012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46012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46012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46228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5145072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4142469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5130309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6784511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370091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4584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84615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35835355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51547004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2721232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3424700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39753660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3857184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2435187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938179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4243795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7620333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477057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4532392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0649138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E18DD-934B-406E-9A8A-CB695F904135}"/>
              </a:ext>
            </a:extLst>
          </p:cNvPr>
          <p:cNvSpPr>
            <a:spLocks noGrp="1"/>
          </p:cNvSpPr>
          <p:nvPr>
            <p:ph type="title"/>
          </p:nvPr>
        </p:nvSpPr>
        <p:spPr>
          <a:xfrm>
            <a:off x="588263" y="1527969"/>
            <a:ext cx="5507737" cy="979488"/>
          </a:xfrm>
        </p:spPr>
        <p:txBody>
          <a:bodyPr/>
          <a:lstStyle/>
          <a:p>
            <a:r>
              <a:rPr lang="en-US"/>
              <a:t>Click to edit Master title style</a:t>
            </a:r>
          </a:p>
        </p:txBody>
      </p:sp>
      <p:sp>
        <p:nvSpPr>
          <p:cNvPr id="5" name="Text Placeholder 4">
            <a:extLst>
              <a:ext uri="{FF2B5EF4-FFF2-40B4-BE49-F238E27FC236}">
                <a16:creationId xmlns:a16="http://schemas.microsoft.com/office/drawing/2014/main" id="{21C2B5AF-0799-4E87-82F3-7633F52FFAFC}"/>
              </a:ext>
            </a:extLst>
          </p:cNvPr>
          <p:cNvSpPr>
            <a:spLocks noGrp="1"/>
          </p:cNvSpPr>
          <p:nvPr>
            <p:ph type="body" sz="quarter" idx="10"/>
          </p:nvPr>
        </p:nvSpPr>
        <p:spPr>
          <a:xfrm>
            <a:off x="584200" y="3104871"/>
            <a:ext cx="5655235"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816657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1875691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059770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7716301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4862796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245996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7751645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8831024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160334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713403"/>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5742841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649531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0555156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1875986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698557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45878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3640880"/>
      </p:ext>
    </p:extLst>
  </p:cSld>
  <p:clrMapOvr>
    <a:masterClrMapping/>
  </p:clrMapOvr>
  <p:extLst>
    <p:ext uri="{DCECCB84-F9BA-43D5-87BE-67443E8EF086}">
      <p15:sldGuideLst xmlns:p15="http://schemas.microsoft.com/office/powerpoint/2012/main"/>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8979"/>
      </p:ext>
    </p:extLst>
  </p:cSld>
  <p:clrMapOvr>
    <a:masterClrMapping/>
  </p:clrMapOvr>
  <p:extLst>
    <p:ext uri="{DCECCB84-F9BA-43D5-87BE-67443E8EF086}">
      <p15:sldGuideLst xmlns:p15="http://schemas.microsoft.com/office/powerpoint/2012/main"/>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116560532"/>
      </p:ext>
    </p:extLst>
  </p:cSld>
  <p:clrMapOvr>
    <a:masterClrMapping/>
  </p:clrMapOvr>
  <p:extLst>
    <p:ext uri="{DCECCB84-F9BA-43D5-87BE-67443E8EF086}">
      <p15:sldGuideLst xmlns:p15="http://schemas.microsoft.com/office/powerpoint/2012/main"/>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95537279"/>
      </p:ext>
    </p:extLst>
  </p:cSld>
  <p:clrMapOvr>
    <a:masterClrMapping/>
  </p:clrMapOvr>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827661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033831212"/>
      </p:ext>
    </p:extLst>
  </p:cSld>
  <p:clrMapOvr>
    <a:masterClrMapping/>
  </p:clrMapOvr>
  <p:transition>
    <p:fade/>
  </p:transition>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749792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256889" y="4009966"/>
            <a:ext cx="9678222" cy="553998"/>
          </a:xfrm>
        </p:spPr>
        <p:txBody>
          <a:bodyPr anchor="t"/>
          <a:lstStyle>
            <a:lvl1pPr algn="ct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725025"/>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3848905"/>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65711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1" i="0">
                <a:solidFill>
                  <a:srgbClr val="0078D3"/>
                </a:solidFill>
                <a:latin typeface="Segoe UI Semibold"/>
                <a:cs typeface="Segoe UI Semibold"/>
              </a:defRPr>
            </a:lvl1pPr>
          </a:lstStyle>
          <a:p>
            <a:endParaRPr/>
          </a:p>
        </p:txBody>
      </p:sp>
      <p:sp>
        <p:nvSpPr>
          <p:cNvPr id="3" name="Holder 3"/>
          <p:cNvSpPr>
            <a:spLocks noGrp="1"/>
          </p:cNvSpPr>
          <p:nvPr>
            <p:ph type="body" idx="1"/>
          </p:nvPr>
        </p:nvSpPr>
        <p:spPr/>
        <p:txBody>
          <a:bodyPr lIns="0" tIns="0" rIns="0" bIns="0"/>
          <a:lstStyle>
            <a:lvl1pPr>
              <a:defRPr sz="1200" b="0" i="0">
                <a:solidFill>
                  <a:srgbClr val="202020"/>
                </a:solidFill>
                <a:latin typeface="Consolas"/>
                <a:cs typeface="Consola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7/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5042287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1849434"/>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5592394"/>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
            <a:ext cx="12192000" cy="692497"/>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213084449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80722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Case Study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590113"/>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4302178"/>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89434" y="3615148"/>
            <a:ext cx="9678222" cy="553998"/>
          </a:xfrm>
        </p:spPr>
        <p:txBody>
          <a:bodyPr anchor="t"/>
          <a:lstStyle>
            <a:lvl1pPr algn="ctr">
              <a:defRPr/>
            </a:lvl1pPr>
          </a:lstStyle>
          <a:p>
            <a:r>
              <a:rPr lang="en-US"/>
              <a:t>Title square photo layout </a:t>
            </a:r>
          </a:p>
        </p:txBody>
      </p:sp>
    </p:spTree>
    <p:extLst>
      <p:ext uri="{BB962C8B-B14F-4D97-AF65-F5344CB8AC3E}">
        <p14:creationId xmlns:p14="http://schemas.microsoft.com/office/powerpoint/2010/main" val="13911338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F227518-E0C9-435E-A0A0-150D2B57B112}"/>
              </a:ext>
            </a:extLst>
          </p:cNvPr>
          <p:cNvSpPr/>
          <p:nvPr userDrawn="1"/>
        </p:nvSpPr>
        <p:spPr bwMode="auto">
          <a:xfrm>
            <a:off x="6148422"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8" name="Rectangle 17">
            <a:extLst>
              <a:ext uri="{FF2B5EF4-FFF2-40B4-BE49-F238E27FC236}">
                <a16:creationId xmlns:a16="http://schemas.microsoft.com/office/drawing/2014/main" id="{9F0EB202-E158-4485-B222-0FCDEC89A309}"/>
              </a:ext>
            </a:extLst>
          </p:cNvPr>
          <p:cNvSpPr/>
          <p:nvPr userDrawn="1"/>
        </p:nvSpPr>
        <p:spPr bwMode="auto">
          <a:xfrm>
            <a:off x="501998"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9" name="Rectangle 18">
            <a:extLst>
              <a:ext uri="{FF2B5EF4-FFF2-40B4-BE49-F238E27FC236}">
                <a16:creationId xmlns:a16="http://schemas.microsoft.com/office/drawing/2014/main" id="{D5C71814-DCC4-46FC-A1BB-1A648FD5C85B}"/>
              </a:ext>
            </a:extLst>
          </p:cNvPr>
          <p:cNvSpPr/>
          <p:nvPr userDrawn="1"/>
        </p:nvSpPr>
        <p:spPr bwMode="auto">
          <a:xfrm>
            <a:off x="3325210"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20" name="Rectangle 19">
            <a:extLst>
              <a:ext uri="{FF2B5EF4-FFF2-40B4-BE49-F238E27FC236}">
                <a16:creationId xmlns:a16="http://schemas.microsoft.com/office/drawing/2014/main" id="{DB9427F7-C573-4C8C-B153-697CCBE1BFB2}"/>
              </a:ext>
            </a:extLst>
          </p:cNvPr>
          <p:cNvSpPr/>
          <p:nvPr userDrawn="1"/>
        </p:nvSpPr>
        <p:spPr bwMode="auto">
          <a:xfrm>
            <a:off x="8971633"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3" name="Text Placeholder 12">
            <a:extLst>
              <a:ext uri="{FF2B5EF4-FFF2-40B4-BE49-F238E27FC236}">
                <a16:creationId xmlns:a16="http://schemas.microsoft.com/office/drawing/2014/main" id="{4DE6FDA7-6359-42AB-AACF-D7A3D7D28A33}"/>
              </a:ext>
            </a:extLst>
          </p:cNvPr>
          <p:cNvSpPr>
            <a:spLocks noGrp="1"/>
          </p:cNvSpPr>
          <p:nvPr>
            <p:ph type="body" sz="quarter" idx="15"/>
          </p:nvPr>
        </p:nvSpPr>
        <p:spPr>
          <a:xfrm>
            <a:off x="588963" y="1011238"/>
            <a:ext cx="11020425" cy="276999"/>
          </a:xfrm>
        </p:spPr>
        <p:txBody>
          <a:bodyPr/>
          <a:lstStyle>
            <a:lvl1pPr marL="0" indent="0" algn="ctr">
              <a:buNone/>
              <a:defRPr kumimoji="0" lang="en-US" sz="1800" b="0" i="0" u="none" strike="noStrike" kern="1200" cap="none" spc="0" normalizeH="0" baseline="0" dirty="0">
                <a:ln>
                  <a:noFill/>
                </a:ln>
                <a:solidFill>
                  <a:srgbClr val="50E6FF"/>
                </a:solidFill>
                <a:effectLst/>
                <a:uLnTx/>
                <a:uFillTx/>
                <a:latin typeface="Segoe UI"/>
                <a:ea typeface="+mn-ea"/>
                <a:cs typeface="+mn-cs"/>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
        <p:nvSpPr>
          <p:cNvPr id="14" name="Text Placeholder 12">
            <a:extLst>
              <a:ext uri="{FF2B5EF4-FFF2-40B4-BE49-F238E27FC236}">
                <a16:creationId xmlns:a16="http://schemas.microsoft.com/office/drawing/2014/main" id="{7308AB1B-0249-467A-8D9D-1BF735767950}"/>
              </a:ext>
            </a:extLst>
          </p:cNvPr>
          <p:cNvSpPr>
            <a:spLocks noGrp="1"/>
          </p:cNvSpPr>
          <p:nvPr>
            <p:ph type="body" sz="quarter" idx="16"/>
          </p:nvPr>
        </p:nvSpPr>
        <p:spPr>
          <a:xfrm>
            <a:off x="588963" y="211097"/>
            <a:ext cx="11020425" cy="246221"/>
          </a:xfrm>
        </p:spPr>
        <p:txBody>
          <a:bodyPr/>
          <a:lstStyle>
            <a:lvl1pPr marL="0" indent="0" algn="ctr">
              <a:buNone/>
              <a:defRPr sz="1600" cap="all" spc="100" baseline="0">
                <a:solidFill>
                  <a:schemeClr val="accent1">
                    <a:lumMod val="60000"/>
                    <a:lumOff val="40000"/>
                  </a:schemeClr>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2" name="Title 1">
            <a:extLst>
              <a:ext uri="{FF2B5EF4-FFF2-40B4-BE49-F238E27FC236}">
                <a16:creationId xmlns:a16="http://schemas.microsoft.com/office/drawing/2014/main" id="{A404B5B7-8773-4896-9B51-294411DD9822}"/>
              </a:ext>
            </a:extLst>
          </p:cNvPr>
          <p:cNvSpPr>
            <a:spLocks noGrp="1"/>
          </p:cNvSpPr>
          <p:nvPr>
            <p:ph type="title"/>
          </p:nvPr>
        </p:nvSpPr>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73042E59-3F2D-45CC-A47B-3CA4D6A108E5}"/>
              </a:ext>
            </a:extLst>
          </p:cNvPr>
          <p:cNvSpPr>
            <a:spLocks noGrp="1"/>
          </p:cNvSpPr>
          <p:nvPr>
            <p:ph type="body" sz="quarter" idx="26" hasCustomPrompt="1"/>
          </p:nvPr>
        </p:nvSpPr>
        <p:spPr>
          <a:xfrm>
            <a:off x="588963"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9599F6FC-4120-434E-A257-EDA21F526B4E}"/>
              </a:ext>
            </a:extLst>
          </p:cNvPr>
          <p:cNvSpPr>
            <a:spLocks noGrp="1"/>
          </p:cNvSpPr>
          <p:nvPr>
            <p:ph type="body" sz="quarter" idx="27" hasCustomPrompt="1"/>
          </p:nvPr>
        </p:nvSpPr>
        <p:spPr>
          <a:xfrm>
            <a:off x="3445384"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2DE9D245-D213-4997-9799-EC1C29E6E3E7}"/>
              </a:ext>
            </a:extLst>
          </p:cNvPr>
          <p:cNvSpPr>
            <a:spLocks noGrp="1"/>
          </p:cNvSpPr>
          <p:nvPr>
            <p:ph type="body" sz="quarter" idx="28" hasCustomPrompt="1"/>
          </p:nvPr>
        </p:nvSpPr>
        <p:spPr>
          <a:xfrm>
            <a:off x="6268596"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6">
            <a:extLst>
              <a:ext uri="{FF2B5EF4-FFF2-40B4-BE49-F238E27FC236}">
                <a16:creationId xmlns:a16="http://schemas.microsoft.com/office/drawing/2014/main" id="{98699805-E14A-494D-A249-391BCDF54C04}"/>
              </a:ext>
            </a:extLst>
          </p:cNvPr>
          <p:cNvSpPr>
            <a:spLocks noGrp="1"/>
          </p:cNvSpPr>
          <p:nvPr>
            <p:ph type="body" sz="quarter" idx="29" hasCustomPrompt="1"/>
          </p:nvPr>
        </p:nvSpPr>
        <p:spPr>
          <a:xfrm>
            <a:off x="9091807"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049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028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61120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63936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4849813" y="1956215"/>
            <a:ext cx="2851980" cy="553998"/>
          </a:xfrm>
        </p:spPr>
        <p:txBody>
          <a:bodyPr/>
          <a:lstStyle/>
          <a:p>
            <a:r>
              <a:rPr lang="en-US"/>
              <a:t>Click to</a:t>
            </a:r>
          </a:p>
        </p:txBody>
      </p:sp>
    </p:spTree>
    <p:extLst>
      <p:ext uri="{BB962C8B-B14F-4D97-AF65-F5344CB8AC3E}">
        <p14:creationId xmlns:p14="http://schemas.microsoft.com/office/powerpoint/2010/main" val="2658417919"/>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239445815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1709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21146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104547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408115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6054419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5873069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3A323A-9CFE-4845-AA24-20557FD4AFE1}"/>
              </a:ext>
            </a:extLst>
          </p:cNvPr>
          <p:cNvSpPr/>
          <p:nvPr userDrawn="1"/>
        </p:nvSpPr>
        <p:spPr bwMode="auto">
          <a:xfrm>
            <a:off x="588262" y="4747013"/>
            <a:ext cx="11603737" cy="1347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3">
            <a:extLst>
              <a:ext uri="{FF2B5EF4-FFF2-40B4-BE49-F238E27FC236}">
                <a16:creationId xmlns:a16="http://schemas.microsoft.com/office/drawing/2014/main" id="{71D392B9-1F03-0D4E-910D-78718BAC0560}"/>
              </a:ext>
            </a:extLst>
          </p:cNvPr>
          <p:cNvSpPr/>
          <p:nvPr userDrawn="1"/>
        </p:nvSpPr>
        <p:spPr bwMode="auto">
          <a:xfrm>
            <a:off x="0" y="4747013"/>
            <a:ext cx="1970843" cy="134781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person smiling for the camera&#10;&#10;Description automatically generated">
            <a:extLst>
              <a:ext uri="{FF2B5EF4-FFF2-40B4-BE49-F238E27FC236}">
                <a16:creationId xmlns:a16="http://schemas.microsoft.com/office/drawing/2014/main" id="{869C1B2D-D431-444A-BBB9-7DA8C6CF7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714" y="5055882"/>
            <a:ext cx="730081" cy="730081"/>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92276AEC-D216-EB4E-86FB-4882DAFD047A}"/>
              </a:ext>
            </a:extLst>
          </p:cNvPr>
          <p:cNvSpPr txBox="1"/>
          <p:nvPr userDrawn="1"/>
        </p:nvSpPr>
        <p:spPr>
          <a:xfrm>
            <a:off x="67711" y="5190090"/>
            <a:ext cx="1753214" cy="461665"/>
          </a:xfrm>
          <a:prstGeom prst="rect">
            <a:avLst/>
          </a:prstGeom>
          <a:noFill/>
        </p:spPr>
        <p:txBody>
          <a:bodyPr wrap="square">
            <a:spAutoFit/>
          </a:bodyPr>
          <a:lstStyle/>
          <a:p>
            <a:pPr lvl="0">
              <a:spcBef>
                <a:spcPts val="0"/>
              </a:spcBef>
              <a:spcAft>
                <a:spcPts val="600"/>
              </a:spcAft>
            </a:pPr>
            <a:r>
              <a:rPr lang="en-US" sz="2400">
                <a:solidFill>
                  <a:schemeClr val="bg1"/>
                </a:solidFill>
                <a:latin typeface="+mj-lt"/>
                <a:cs typeface="Segoe UI Light" panose="020B0502040204020203" pitchFamily="34" charset="0"/>
              </a:rPr>
              <a:t>Speakers</a:t>
            </a:r>
          </a:p>
        </p:txBody>
      </p:sp>
      <p:pic>
        <p:nvPicPr>
          <p:cNvPr id="10" name="Picture 2" descr="Matt Usher">
            <a:extLst>
              <a:ext uri="{FF2B5EF4-FFF2-40B4-BE49-F238E27FC236}">
                <a16:creationId xmlns:a16="http://schemas.microsoft.com/office/drawing/2014/main" id="{0052B006-B896-B241-8FFF-1795B02947F5}"/>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990" t="6625" r="9261" b="6625"/>
          <a:stretch/>
        </p:blipFill>
        <p:spPr bwMode="auto">
          <a:xfrm>
            <a:off x="5320166" y="5055882"/>
            <a:ext cx="730081" cy="730081"/>
          </a:xfrm>
          <a:prstGeom prst="ellipse">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Picture Placeholder 20">
            <a:extLst>
              <a:ext uri="{FF2B5EF4-FFF2-40B4-BE49-F238E27FC236}">
                <a16:creationId xmlns:a16="http://schemas.microsoft.com/office/drawing/2014/main" id="{892049FA-3693-EC43-A272-722FAFDF5372}"/>
              </a:ext>
            </a:extLst>
          </p:cNvPr>
          <p:cNvSpPr>
            <a:spLocks noGrp="1"/>
          </p:cNvSpPr>
          <p:nvPr>
            <p:ph type="pic" sz="quarter" idx="10"/>
          </p:nvPr>
        </p:nvSpPr>
        <p:spPr>
          <a:xfrm>
            <a:off x="8529638" y="5056188"/>
            <a:ext cx="731520" cy="731520"/>
          </a:xfrm>
          <a:prstGeom prst="ellipse">
            <a:avLst/>
          </a:prstGeom>
        </p:spPr>
        <p:txBody>
          <a:bodyPr anchor="ctr"/>
          <a:lstStyle>
            <a:lvl1pPr marL="0" indent="0" algn="ctr">
              <a:buNone/>
              <a:defRPr sz="900"/>
            </a:lvl1pPr>
          </a:lstStyle>
          <a:p>
            <a:endParaRPr lang="en-US"/>
          </a:p>
        </p:txBody>
      </p:sp>
      <p:sp>
        <p:nvSpPr>
          <p:cNvPr id="23" name="Text Placeholder 22">
            <a:extLst>
              <a:ext uri="{FF2B5EF4-FFF2-40B4-BE49-F238E27FC236}">
                <a16:creationId xmlns:a16="http://schemas.microsoft.com/office/drawing/2014/main" id="{C2BFF51B-3E5E-104A-A631-05BE052278AA}"/>
              </a:ext>
            </a:extLst>
          </p:cNvPr>
          <p:cNvSpPr>
            <a:spLocks noGrp="1"/>
          </p:cNvSpPr>
          <p:nvPr>
            <p:ph type="body" sz="quarter" idx="11"/>
          </p:nvPr>
        </p:nvSpPr>
        <p:spPr>
          <a:xfrm>
            <a:off x="2966435" y="4930019"/>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2">
            <a:extLst>
              <a:ext uri="{FF2B5EF4-FFF2-40B4-BE49-F238E27FC236}">
                <a16:creationId xmlns:a16="http://schemas.microsoft.com/office/drawing/2014/main" id="{F291E41A-A30D-BC4F-96FC-044F3CB2E3B5}"/>
              </a:ext>
            </a:extLst>
          </p:cNvPr>
          <p:cNvSpPr>
            <a:spLocks noGrp="1"/>
          </p:cNvSpPr>
          <p:nvPr>
            <p:ph type="body" sz="quarter" idx="12"/>
          </p:nvPr>
        </p:nvSpPr>
        <p:spPr>
          <a:xfrm>
            <a:off x="6186990"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2">
            <a:extLst>
              <a:ext uri="{FF2B5EF4-FFF2-40B4-BE49-F238E27FC236}">
                <a16:creationId xmlns:a16="http://schemas.microsoft.com/office/drawing/2014/main" id="{D8608FED-BB29-3C48-9DE1-189289535DB5}"/>
              </a:ext>
            </a:extLst>
          </p:cNvPr>
          <p:cNvSpPr>
            <a:spLocks noGrp="1"/>
          </p:cNvSpPr>
          <p:nvPr>
            <p:ph type="body" sz="quarter" idx="13"/>
          </p:nvPr>
        </p:nvSpPr>
        <p:spPr>
          <a:xfrm>
            <a:off x="9422228"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pic>
        <p:nvPicPr>
          <p:cNvPr id="12" name="Espaço Reservado para Imagem 4" descr="Homem sentado em frente a palco&#10;&#10;Descrição gerada automaticamente">
            <a:extLst>
              <a:ext uri="{FF2B5EF4-FFF2-40B4-BE49-F238E27FC236}">
                <a16:creationId xmlns:a16="http://schemas.microsoft.com/office/drawing/2014/main" id="{250549DD-2AC5-43E1-B0CA-07179BE88336}"/>
              </a:ext>
            </a:extLst>
          </p:cNvPr>
          <p:cNvPicPr>
            <a:picLocks noChangeAspect="1"/>
          </p:cNvPicPr>
          <p:nvPr userDrawn="1"/>
        </p:nvPicPr>
        <p:blipFill>
          <a:blip r:embed="rId4">
            <a:extLst>
              <a:ext uri="{28A0092B-C50C-407E-A947-70E740481C1C}">
                <a14:useLocalDpi xmlns:a14="http://schemas.microsoft.com/office/drawing/2010/main" val="0"/>
              </a:ext>
            </a:extLst>
          </a:blip>
          <a:srcRect t="7636" b="7636"/>
          <a:stretch>
            <a:fillRect/>
          </a:stretch>
        </p:blipFill>
        <p:spPr>
          <a:xfrm>
            <a:off x="8529638" y="5055882"/>
            <a:ext cx="731520" cy="73152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548614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3A323A-9CFE-4845-AA24-20557FD4AFE1}"/>
              </a:ext>
            </a:extLst>
          </p:cNvPr>
          <p:cNvSpPr/>
          <p:nvPr userDrawn="1"/>
        </p:nvSpPr>
        <p:spPr bwMode="auto">
          <a:xfrm>
            <a:off x="588262" y="4747013"/>
            <a:ext cx="11603737" cy="1347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3">
            <a:extLst>
              <a:ext uri="{FF2B5EF4-FFF2-40B4-BE49-F238E27FC236}">
                <a16:creationId xmlns:a16="http://schemas.microsoft.com/office/drawing/2014/main" id="{71D392B9-1F03-0D4E-910D-78718BAC0560}"/>
              </a:ext>
            </a:extLst>
          </p:cNvPr>
          <p:cNvSpPr/>
          <p:nvPr userDrawn="1"/>
        </p:nvSpPr>
        <p:spPr bwMode="auto">
          <a:xfrm>
            <a:off x="0" y="4747013"/>
            <a:ext cx="1970843" cy="134781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person smiling for the camera&#10;&#10;Description automatically generated">
            <a:extLst>
              <a:ext uri="{FF2B5EF4-FFF2-40B4-BE49-F238E27FC236}">
                <a16:creationId xmlns:a16="http://schemas.microsoft.com/office/drawing/2014/main" id="{869C1B2D-D431-444A-BBB9-7DA8C6CF7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714" y="5055882"/>
            <a:ext cx="730081" cy="730081"/>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92276AEC-D216-EB4E-86FB-4882DAFD047A}"/>
              </a:ext>
            </a:extLst>
          </p:cNvPr>
          <p:cNvSpPr txBox="1"/>
          <p:nvPr userDrawn="1"/>
        </p:nvSpPr>
        <p:spPr>
          <a:xfrm>
            <a:off x="67711" y="5190090"/>
            <a:ext cx="1753214" cy="461665"/>
          </a:xfrm>
          <a:prstGeom prst="rect">
            <a:avLst/>
          </a:prstGeom>
          <a:noFill/>
        </p:spPr>
        <p:txBody>
          <a:bodyPr wrap="square">
            <a:spAutoFit/>
          </a:bodyPr>
          <a:lstStyle/>
          <a:p>
            <a:pPr lvl="0">
              <a:spcBef>
                <a:spcPts val="0"/>
              </a:spcBef>
              <a:spcAft>
                <a:spcPts val="600"/>
              </a:spcAft>
            </a:pPr>
            <a:r>
              <a:rPr lang="en-US" sz="2400">
                <a:solidFill>
                  <a:schemeClr val="bg1"/>
                </a:solidFill>
                <a:latin typeface="+mj-lt"/>
                <a:cs typeface="Segoe UI Light" panose="020B0502040204020203" pitchFamily="34" charset="0"/>
              </a:rPr>
              <a:t>Speakers</a:t>
            </a:r>
          </a:p>
        </p:txBody>
      </p:sp>
      <p:pic>
        <p:nvPicPr>
          <p:cNvPr id="10" name="Picture 2" descr="Matt Usher">
            <a:extLst>
              <a:ext uri="{FF2B5EF4-FFF2-40B4-BE49-F238E27FC236}">
                <a16:creationId xmlns:a16="http://schemas.microsoft.com/office/drawing/2014/main" id="{0052B006-B896-B241-8FFF-1795B02947F5}"/>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990" t="6625" r="9261" b="6625"/>
          <a:stretch/>
        </p:blipFill>
        <p:spPr bwMode="auto">
          <a:xfrm>
            <a:off x="5320166" y="5055882"/>
            <a:ext cx="730081" cy="730081"/>
          </a:xfrm>
          <a:prstGeom prst="ellipse">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Picture Placeholder 20">
            <a:extLst>
              <a:ext uri="{FF2B5EF4-FFF2-40B4-BE49-F238E27FC236}">
                <a16:creationId xmlns:a16="http://schemas.microsoft.com/office/drawing/2014/main" id="{892049FA-3693-EC43-A272-722FAFDF5372}"/>
              </a:ext>
            </a:extLst>
          </p:cNvPr>
          <p:cNvSpPr>
            <a:spLocks noGrp="1"/>
          </p:cNvSpPr>
          <p:nvPr>
            <p:ph type="pic" sz="quarter" idx="10"/>
          </p:nvPr>
        </p:nvSpPr>
        <p:spPr>
          <a:xfrm>
            <a:off x="8529638" y="5056188"/>
            <a:ext cx="731520" cy="731520"/>
          </a:xfrm>
          <a:prstGeom prst="ellipse">
            <a:avLst/>
          </a:prstGeom>
        </p:spPr>
        <p:txBody>
          <a:bodyPr anchor="ctr"/>
          <a:lstStyle>
            <a:lvl1pPr marL="0" indent="0" algn="ctr">
              <a:buNone/>
              <a:defRPr sz="900"/>
            </a:lvl1pPr>
          </a:lstStyle>
          <a:p>
            <a:endParaRPr lang="en-US"/>
          </a:p>
        </p:txBody>
      </p:sp>
      <p:sp>
        <p:nvSpPr>
          <p:cNvPr id="23" name="Text Placeholder 22">
            <a:extLst>
              <a:ext uri="{FF2B5EF4-FFF2-40B4-BE49-F238E27FC236}">
                <a16:creationId xmlns:a16="http://schemas.microsoft.com/office/drawing/2014/main" id="{C2BFF51B-3E5E-104A-A631-05BE052278AA}"/>
              </a:ext>
            </a:extLst>
          </p:cNvPr>
          <p:cNvSpPr>
            <a:spLocks noGrp="1"/>
          </p:cNvSpPr>
          <p:nvPr>
            <p:ph type="body" sz="quarter" idx="11"/>
          </p:nvPr>
        </p:nvSpPr>
        <p:spPr>
          <a:xfrm>
            <a:off x="2966435" y="4930019"/>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2">
            <a:extLst>
              <a:ext uri="{FF2B5EF4-FFF2-40B4-BE49-F238E27FC236}">
                <a16:creationId xmlns:a16="http://schemas.microsoft.com/office/drawing/2014/main" id="{F291E41A-A30D-BC4F-96FC-044F3CB2E3B5}"/>
              </a:ext>
            </a:extLst>
          </p:cNvPr>
          <p:cNvSpPr>
            <a:spLocks noGrp="1"/>
          </p:cNvSpPr>
          <p:nvPr>
            <p:ph type="body" sz="quarter" idx="12"/>
          </p:nvPr>
        </p:nvSpPr>
        <p:spPr>
          <a:xfrm>
            <a:off x="6186990"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2">
            <a:extLst>
              <a:ext uri="{FF2B5EF4-FFF2-40B4-BE49-F238E27FC236}">
                <a16:creationId xmlns:a16="http://schemas.microsoft.com/office/drawing/2014/main" id="{D8608FED-BB29-3C48-9DE1-189289535DB5}"/>
              </a:ext>
            </a:extLst>
          </p:cNvPr>
          <p:cNvSpPr>
            <a:spLocks noGrp="1"/>
          </p:cNvSpPr>
          <p:nvPr>
            <p:ph type="body" sz="quarter" idx="13"/>
          </p:nvPr>
        </p:nvSpPr>
        <p:spPr>
          <a:xfrm>
            <a:off x="9422228"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548614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516979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9878288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7762305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42515675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01959720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95488037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183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26071148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4777472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129257838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7245774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584437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01071322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676867768"/>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3518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3053538"/>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1EF806-1EE7-4F4B-B3F6-F54F07D3D8C9}"/>
              </a:ext>
            </a:extLst>
          </p:cNvPr>
          <p:cNvSpPr/>
          <p:nvPr userDrawn="1"/>
        </p:nvSpPr>
        <p:spPr bwMode="auto">
          <a:xfrm>
            <a:off x="1" y="0"/>
            <a:ext cx="399522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278767" y="2875002"/>
            <a:ext cx="3547639" cy="1107996"/>
          </a:xfrm>
        </p:spPr>
        <p:txBody>
          <a:bodyPr anchor="ctr"/>
          <a:lstStyle>
            <a:lvl1pPr>
              <a:defRPr>
                <a:solidFill>
                  <a:schemeClr val="tx1"/>
                </a:solidFill>
              </a:defRPr>
            </a:lvl1pPr>
          </a:lstStyle>
          <a:p>
            <a:r>
              <a:rPr lang="en-US"/>
              <a:t>Click to edit Master</a:t>
            </a:r>
          </a:p>
        </p:txBody>
      </p:sp>
    </p:spTree>
    <p:extLst>
      <p:ext uri="{BB962C8B-B14F-4D97-AF65-F5344CB8AC3E}">
        <p14:creationId xmlns:p14="http://schemas.microsoft.com/office/powerpoint/2010/main" val="274445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433894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2382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80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4080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60020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74470738"/>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276999"/>
          </a:xfrm>
        </p:spPr>
        <p:txBody>
          <a:bodyPr/>
          <a:lstStyle>
            <a:lvl1pPr marL="0" indent="0" algn="ctr">
              <a:buNone/>
              <a:defRPr kumimoji="0" lang="en-US" sz="18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3918918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193019935"/>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4339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6712465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9296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98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0337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405308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4_Title Sli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77116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6EC0D-563C-48B2-8262-9287F014CB3B}"/>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01709566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Blue + Logo">
    <p:bg>
      <p:bgPr>
        <a:solidFill>
          <a:schemeClr val="bg1">
            <a:lumMod val="95000"/>
            <a:lumOff val="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826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974549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290962655"/>
      </p:ext>
    </p:extLst>
  </p:cSld>
  <p:clrMapOvr>
    <a:masterClrMapping/>
  </p:clrMapOvr>
  <p:transition>
    <p:fade/>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7137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191597729"/>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15671373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086380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18268196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119667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22780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ase Study Pictur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blipFill>
            <a:blip r:embed="rId2"/>
            <a:stretch>
              <a:fillRect/>
            </a:stretch>
          </a:blipFill>
        </p:spPr>
        <p:txBody>
          <a:bodyPr lIns="0" tIns="2103120" rIns="0" anchor="t" anchorCtr="0">
            <a:noAutofit/>
          </a:bodyPr>
          <a:lstStyle>
            <a:lvl1pPr marL="0" indent="0" algn="ctr">
              <a:lnSpc>
                <a:spcPct val="100000"/>
              </a:lnSpc>
              <a:buNone/>
              <a:defRPr sz="1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474980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88336"/>
            <a:ext cx="4812260" cy="1480405"/>
          </a:xfrm>
        </p:spPr>
        <p:txBody>
          <a:bodyPr/>
          <a:lstStyle>
            <a:lvl1pPr marL="0" indent="0">
              <a:spcBef>
                <a:spcPts val="0"/>
              </a:spcBef>
              <a:spcAft>
                <a:spcPts val="1200"/>
              </a:spcAft>
              <a:buNone/>
              <a:defRPr sz="1600">
                <a:latin typeface="+mn-lt"/>
              </a:defRPr>
            </a:lvl1pPr>
            <a:lvl2pPr marL="0" indent="0">
              <a:spcBef>
                <a:spcPts val="1200"/>
              </a:spcBef>
              <a:buNone/>
              <a:defRPr lang="en-US" sz="1400" b="1" kern="0" cap="all" spc="100" baseline="0" dirty="0" smtClean="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1781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Case Study Quote on top">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blipFill>
            <a:blip r:embed="rId2"/>
            <a:stretch>
              <a:fillRect/>
            </a:stretch>
          </a:blipFill>
        </p:spPr>
        <p:txBody>
          <a:bodyPr lIns="0" tIns="2103120" rIns="0" anchor="t" anchorCtr="0">
            <a:noAutofit/>
          </a:bodyPr>
          <a:lstStyle>
            <a:lvl1pPr marL="0" indent="0" algn="ctr">
              <a:lnSpc>
                <a:spcPct val="100000"/>
              </a:lnSpc>
              <a:buNone/>
              <a:defRPr sz="1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521208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91033"/>
            <a:ext cx="4812260" cy="1480405"/>
          </a:xfrm>
        </p:spPr>
        <p:txBody>
          <a:bodyPr/>
          <a:lstStyle>
            <a:lvl1pPr marL="0" indent="0">
              <a:spcBef>
                <a:spcPts val="0"/>
              </a:spcBef>
              <a:spcAft>
                <a:spcPts val="1200"/>
              </a:spcAft>
              <a:buNone/>
              <a:defRPr sz="1600">
                <a:solidFill>
                  <a:schemeClr val="accent1">
                    <a:lumMod val="60000"/>
                    <a:lumOff val="40000"/>
                  </a:schemeClr>
                </a:solidFill>
                <a:latin typeface="+mn-lt"/>
              </a:defRPr>
            </a:lvl1pPr>
            <a:lvl2pPr marL="0" indent="0">
              <a:spcBef>
                <a:spcPts val="1200"/>
              </a:spcBef>
              <a:buNone/>
              <a:defRPr lang="en-US" sz="1400" b="1" kern="0" cap="all" spc="100" baseline="0" dirty="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7F96311-057A-42CA-9275-9AC57B02AD29}"/>
              </a:ext>
            </a:extLst>
          </p:cNvPr>
          <p:cNvSpPr>
            <a:spLocks noGrp="1"/>
          </p:cNvSpPr>
          <p:nvPr>
            <p:ph type="body" sz="quarter" idx="14"/>
          </p:nvPr>
        </p:nvSpPr>
        <p:spPr>
          <a:xfrm>
            <a:off x="5919788" y="0"/>
            <a:ext cx="6272212" cy="1435100"/>
          </a:xfrm>
          <a:solidFill>
            <a:srgbClr val="000000">
              <a:alpha val="53000"/>
            </a:srgbClr>
          </a:solidFill>
        </p:spPr>
        <p:txBody>
          <a:bodyPr lIns="182880" tIns="182880" rIns="182880" bIns="182880"/>
          <a:lstStyle>
            <a:lvl1pPr marL="0" indent="0" defTabSz="114300">
              <a:buNone/>
              <a:defRPr>
                <a:solidFill>
                  <a:schemeClr val="tx1"/>
                </a:solidFill>
              </a:defRPr>
            </a:lvl1pPr>
            <a:lvl2pPr marL="0" indent="0" defTabSz="114300">
              <a:buNone/>
              <a:defRPr>
                <a:solidFill>
                  <a:schemeClr val="tx1"/>
                </a:solidFill>
              </a:defRPr>
            </a:lvl2pPr>
            <a:lvl3pPr marL="0" indent="0" defTabSz="114300">
              <a:buNone/>
              <a:defRPr>
                <a:solidFill>
                  <a:schemeClr val="tx1"/>
                </a:solidFill>
              </a:defRPr>
            </a:lvl3pPr>
            <a:lvl4pPr marL="0" indent="0" defTabSz="114300">
              <a:buNone/>
              <a:defRPr>
                <a:solidFill>
                  <a:schemeClr val="tx1"/>
                </a:solidFill>
              </a:defRPr>
            </a:lvl4pPr>
            <a:lvl5pPr marL="0" indent="0" defTabSz="114300">
              <a:buNone/>
              <a:defRPr>
                <a:solidFill>
                  <a:schemeClr val="tx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1662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92">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1337482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1">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7D2226-B0D0-441B-B004-E84E0F9949F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242730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medium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09305002"/>
      </p:ext>
    </p:extLst>
  </p:cSld>
  <p:clrMapOvr>
    <a:overrideClrMapping bg1="dk1" tx1="lt1" bg2="dk2" tx2="lt2" accent1="accent1" accent2="accent2" accent3="accent3" accent4="accent4" accent5="accent5" accent6="accent6" hlink="hlink" folHlink="folHlink"/>
  </p:clrMapOvr>
  <p:transition advClick="0" advTm="15000">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image" Target="../media/image1.emf"/><Relationship Id="rId10" Type="http://schemas.openxmlformats.org/officeDocument/2006/relationships/slideLayout" Target="../slideLayouts/slideLayout221.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image" Target="../media/image2.emf"/><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image" Target="../media/image47.png"/><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theme" Target="../theme/theme11.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8" Type="http://schemas.openxmlformats.org/officeDocument/2006/relationships/slideLayout" Target="../slideLayouts/slideLayout232.xml"/><Relationship Id="rId3"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image" Target="../media/image1.emf"/><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10" Type="http://schemas.openxmlformats.org/officeDocument/2006/relationships/slideLayout" Target="../slideLayouts/slideLayout269.xml"/><Relationship Id="rId19" Type="http://schemas.openxmlformats.org/officeDocument/2006/relationships/theme" Target="../theme/theme12.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5" Type="http://schemas.openxmlformats.org/officeDocument/2006/relationships/image" Target="../media/image3.png"/><Relationship Id="rId4" Type="http://schemas.openxmlformats.org/officeDocument/2006/relationships/image" Target="../media/image2.emf"/></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281.xml"/><Relationship Id="rId1" Type="http://schemas.openxmlformats.org/officeDocument/2006/relationships/slideLayout" Target="../slideLayouts/slideLayout28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image" Target="../media/image3.png"/><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image" Target="../media/image2.emf"/><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13.xml"/><Relationship Id="rId7" Type="http://schemas.openxmlformats.org/officeDocument/2006/relationships/image" Target="../media/image47.png"/><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theme" Target="../theme/theme16.xml"/><Relationship Id="rId5" Type="http://schemas.openxmlformats.org/officeDocument/2006/relationships/slideLayout" Target="../slideLayouts/slideLayout315.xml"/><Relationship Id="rId4" Type="http://schemas.openxmlformats.org/officeDocument/2006/relationships/slideLayout" Target="../slideLayouts/slideLayout314.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26" Type="http://schemas.openxmlformats.org/officeDocument/2006/relationships/slideLayout" Target="../slideLayouts/slideLayout341.xml"/><Relationship Id="rId39" Type="http://schemas.openxmlformats.org/officeDocument/2006/relationships/slideLayout" Target="../slideLayouts/slideLayout354.xml"/><Relationship Id="rId21" Type="http://schemas.openxmlformats.org/officeDocument/2006/relationships/slideLayout" Target="../slideLayouts/slideLayout336.xml"/><Relationship Id="rId34" Type="http://schemas.openxmlformats.org/officeDocument/2006/relationships/slideLayout" Target="../slideLayouts/slideLayout349.xml"/><Relationship Id="rId42" Type="http://schemas.openxmlformats.org/officeDocument/2006/relationships/slideLayout" Target="../slideLayouts/slideLayout357.xml"/><Relationship Id="rId47" Type="http://schemas.openxmlformats.org/officeDocument/2006/relationships/slideLayout" Target="../slideLayouts/slideLayout362.xml"/><Relationship Id="rId50" Type="http://schemas.openxmlformats.org/officeDocument/2006/relationships/tags" Target="../tags/tag1.xml"/><Relationship Id="rId7" Type="http://schemas.openxmlformats.org/officeDocument/2006/relationships/slideLayout" Target="../slideLayouts/slideLayout322.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9" Type="http://schemas.openxmlformats.org/officeDocument/2006/relationships/slideLayout" Target="../slideLayouts/slideLayout344.xml"/><Relationship Id="rId11" Type="http://schemas.openxmlformats.org/officeDocument/2006/relationships/slideLayout" Target="../slideLayouts/slideLayout326.xml"/><Relationship Id="rId24" Type="http://schemas.openxmlformats.org/officeDocument/2006/relationships/slideLayout" Target="../slideLayouts/slideLayout339.xml"/><Relationship Id="rId32" Type="http://schemas.openxmlformats.org/officeDocument/2006/relationships/slideLayout" Target="../slideLayouts/slideLayout347.xml"/><Relationship Id="rId37" Type="http://schemas.openxmlformats.org/officeDocument/2006/relationships/slideLayout" Target="../slideLayouts/slideLayout352.xml"/><Relationship Id="rId40" Type="http://schemas.openxmlformats.org/officeDocument/2006/relationships/slideLayout" Target="../slideLayouts/slideLayout355.xml"/><Relationship Id="rId45" Type="http://schemas.openxmlformats.org/officeDocument/2006/relationships/slideLayout" Target="../slideLayouts/slideLayout360.xml"/><Relationship Id="rId53" Type="http://schemas.openxmlformats.org/officeDocument/2006/relationships/image" Target="../media/image1.emf"/><Relationship Id="rId5" Type="http://schemas.openxmlformats.org/officeDocument/2006/relationships/slideLayout" Target="../slideLayouts/slideLayout320.xml"/><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31" Type="http://schemas.openxmlformats.org/officeDocument/2006/relationships/slideLayout" Target="../slideLayouts/slideLayout346.xml"/><Relationship Id="rId44" Type="http://schemas.openxmlformats.org/officeDocument/2006/relationships/slideLayout" Target="../slideLayouts/slideLayout359.xml"/><Relationship Id="rId52" Type="http://schemas.openxmlformats.org/officeDocument/2006/relationships/tags" Target="../tags/tag3.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slideLayout" Target="../slideLayouts/slideLayout337.xml"/><Relationship Id="rId27" Type="http://schemas.openxmlformats.org/officeDocument/2006/relationships/slideLayout" Target="../slideLayouts/slideLayout342.xml"/><Relationship Id="rId30" Type="http://schemas.openxmlformats.org/officeDocument/2006/relationships/slideLayout" Target="../slideLayouts/slideLayout345.xml"/><Relationship Id="rId35" Type="http://schemas.openxmlformats.org/officeDocument/2006/relationships/slideLayout" Target="../slideLayouts/slideLayout350.xml"/><Relationship Id="rId43" Type="http://schemas.openxmlformats.org/officeDocument/2006/relationships/slideLayout" Target="../slideLayouts/slideLayout358.xml"/><Relationship Id="rId48" Type="http://schemas.openxmlformats.org/officeDocument/2006/relationships/slideLayout" Target="../slideLayouts/slideLayout363.xml"/><Relationship Id="rId8" Type="http://schemas.openxmlformats.org/officeDocument/2006/relationships/slideLayout" Target="../slideLayouts/slideLayout323.xml"/><Relationship Id="rId51" Type="http://schemas.openxmlformats.org/officeDocument/2006/relationships/tags" Target="../tags/tag2.xml"/><Relationship Id="rId3" Type="http://schemas.openxmlformats.org/officeDocument/2006/relationships/slideLayout" Target="../slideLayouts/slideLayout318.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slideLayout" Target="../slideLayouts/slideLayout340.xml"/><Relationship Id="rId33" Type="http://schemas.openxmlformats.org/officeDocument/2006/relationships/slideLayout" Target="../slideLayouts/slideLayout348.xml"/><Relationship Id="rId38" Type="http://schemas.openxmlformats.org/officeDocument/2006/relationships/slideLayout" Target="../slideLayouts/slideLayout353.xml"/><Relationship Id="rId46" Type="http://schemas.openxmlformats.org/officeDocument/2006/relationships/slideLayout" Target="../slideLayouts/slideLayout361.xml"/><Relationship Id="rId20" Type="http://schemas.openxmlformats.org/officeDocument/2006/relationships/slideLayout" Target="../slideLayouts/slideLayout335.xml"/><Relationship Id="rId41" Type="http://schemas.openxmlformats.org/officeDocument/2006/relationships/slideLayout" Target="../slideLayouts/slideLayout356.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5" Type="http://schemas.openxmlformats.org/officeDocument/2006/relationships/slideLayout" Target="../slideLayouts/slideLayout330.xml"/><Relationship Id="rId23" Type="http://schemas.openxmlformats.org/officeDocument/2006/relationships/slideLayout" Target="../slideLayouts/slideLayout338.xml"/><Relationship Id="rId28" Type="http://schemas.openxmlformats.org/officeDocument/2006/relationships/slideLayout" Target="../slideLayouts/slideLayout343.xml"/><Relationship Id="rId36" Type="http://schemas.openxmlformats.org/officeDocument/2006/relationships/slideLayout" Target="../slideLayouts/slideLayout351.xml"/><Relationship Id="rId4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76.xml"/><Relationship Id="rId18" Type="http://schemas.openxmlformats.org/officeDocument/2006/relationships/slideLayout" Target="../slideLayouts/slideLayout381.xml"/><Relationship Id="rId26" Type="http://schemas.openxmlformats.org/officeDocument/2006/relationships/slideLayout" Target="../slideLayouts/slideLayout389.xml"/><Relationship Id="rId39" Type="http://schemas.openxmlformats.org/officeDocument/2006/relationships/slideLayout" Target="../slideLayouts/slideLayout402.xml"/><Relationship Id="rId21" Type="http://schemas.openxmlformats.org/officeDocument/2006/relationships/slideLayout" Target="../slideLayouts/slideLayout384.xml"/><Relationship Id="rId34" Type="http://schemas.openxmlformats.org/officeDocument/2006/relationships/slideLayout" Target="../slideLayouts/slideLayout397.xml"/><Relationship Id="rId42" Type="http://schemas.openxmlformats.org/officeDocument/2006/relationships/slideLayout" Target="../slideLayouts/slideLayout405.xml"/><Relationship Id="rId47" Type="http://schemas.openxmlformats.org/officeDocument/2006/relationships/slideLayout" Target="../slideLayouts/slideLayout410.xml"/><Relationship Id="rId50" Type="http://schemas.openxmlformats.org/officeDocument/2006/relationships/slideLayout" Target="../slideLayouts/slideLayout413.xml"/><Relationship Id="rId55" Type="http://schemas.openxmlformats.org/officeDocument/2006/relationships/tags" Target="../tags/tag6.xml"/><Relationship Id="rId7" Type="http://schemas.openxmlformats.org/officeDocument/2006/relationships/slideLayout" Target="../slideLayouts/slideLayout370.xml"/><Relationship Id="rId2" Type="http://schemas.openxmlformats.org/officeDocument/2006/relationships/slideLayout" Target="../slideLayouts/slideLayout365.xml"/><Relationship Id="rId16" Type="http://schemas.openxmlformats.org/officeDocument/2006/relationships/slideLayout" Target="../slideLayouts/slideLayout379.xml"/><Relationship Id="rId29" Type="http://schemas.openxmlformats.org/officeDocument/2006/relationships/slideLayout" Target="../slideLayouts/slideLayout392.xml"/><Relationship Id="rId11" Type="http://schemas.openxmlformats.org/officeDocument/2006/relationships/slideLayout" Target="../slideLayouts/slideLayout374.xml"/><Relationship Id="rId24" Type="http://schemas.openxmlformats.org/officeDocument/2006/relationships/slideLayout" Target="../slideLayouts/slideLayout387.xml"/><Relationship Id="rId32" Type="http://schemas.openxmlformats.org/officeDocument/2006/relationships/slideLayout" Target="../slideLayouts/slideLayout395.xml"/><Relationship Id="rId37" Type="http://schemas.openxmlformats.org/officeDocument/2006/relationships/slideLayout" Target="../slideLayouts/slideLayout400.xml"/><Relationship Id="rId40" Type="http://schemas.openxmlformats.org/officeDocument/2006/relationships/slideLayout" Target="../slideLayouts/slideLayout403.xml"/><Relationship Id="rId45" Type="http://schemas.openxmlformats.org/officeDocument/2006/relationships/slideLayout" Target="../slideLayouts/slideLayout408.xml"/><Relationship Id="rId53" Type="http://schemas.openxmlformats.org/officeDocument/2006/relationships/tags" Target="../tags/tag4.xml"/><Relationship Id="rId5" Type="http://schemas.openxmlformats.org/officeDocument/2006/relationships/slideLayout" Target="../slideLayouts/slideLayout368.xml"/><Relationship Id="rId10" Type="http://schemas.openxmlformats.org/officeDocument/2006/relationships/slideLayout" Target="../slideLayouts/slideLayout373.xml"/><Relationship Id="rId19" Type="http://schemas.openxmlformats.org/officeDocument/2006/relationships/slideLayout" Target="../slideLayouts/slideLayout382.xml"/><Relationship Id="rId31" Type="http://schemas.openxmlformats.org/officeDocument/2006/relationships/slideLayout" Target="../slideLayouts/slideLayout394.xml"/><Relationship Id="rId44" Type="http://schemas.openxmlformats.org/officeDocument/2006/relationships/slideLayout" Target="../slideLayouts/slideLayout407.xml"/><Relationship Id="rId52" Type="http://schemas.openxmlformats.org/officeDocument/2006/relationships/theme" Target="../theme/theme18.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slideLayout" Target="../slideLayouts/slideLayout377.xml"/><Relationship Id="rId22" Type="http://schemas.openxmlformats.org/officeDocument/2006/relationships/slideLayout" Target="../slideLayouts/slideLayout385.xml"/><Relationship Id="rId27" Type="http://schemas.openxmlformats.org/officeDocument/2006/relationships/slideLayout" Target="../slideLayouts/slideLayout390.xml"/><Relationship Id="rId30" Type="http://schemas.openxmlformats.org/officeDocument/2006/relationships/slideLayout" Target="../slideLayouts/slideLayout393.xml"/><Relationship Id="rId35" Type="http://schemas.openxmlformats.org/officeDocument/2006/relationships/slideLayout" Target="../slideLayouts/slideLayout398.xml"/><Relationship Id="rId43" Type="http://schemas.openxmlformats.org/officeDocument/2006/relationships/slideLayout" Target="../slideLayouts/slideLayout406.xml"/><Relationship Id="rId48" Type="http://schemas.openxmlformats.org/officeDocument/2006/relationships/slideLayout" Target="../slideLayouts/slideLayout411.xml"/><Relationship Id="rId56" Type="http://schemas.openxmlformats.org/officeDocument/2006/relationships/image" Target="../media/image1.emf"/><Relationship Id="rId8" Type="http://schemas.openxmlformats.org/officeDocument/2006/relationships/slideLayout" Target="../slideLayouts/slideLayout371.xml"/><Relationship Id="rId51" Type="http://schemas.openxmlformats.org/officeDocument/2006/relationships/slideLayout" Target="../slideLayouts/slideLayout414.xml"/><Relationship Id="rId3" Type="http://schemas.openxmlformats.org/officeDocument/2006/relationships/slideLayout" Target="../slideLayouts/slideLayout366.xml"/><Relationship Id="rId12" Type="http://schemas.openxmlformats.org/officeDocument/2006/relationships/slideLayout" Target="../slideLayouts/slideLayout375.xml"/><Relationship Id="rId17" Type="http://schemas.openxmlformats.org/officeDocument/2006/relationships/slideLayout" Target="../slideLayouts/slideLayout380.xml"/><Relationship Id="rId25" Type="http://schemas.openxmlformats.org/officeDocument/2006/relationships/slideLayout" Target="../slideLayouts/slideLayout388.xml"/><Relationship Id="rId33" Type="http://schemas.openxmlformats.org/officeDocument/2006/relationships/slideLayout" Target="../slideLayouts/slideLayout396.xml"/><Relationship Id="rId38" Type="http://schemas.openxmlformats.org/officeDocument/2006/relationships/slideLayout" Target="../slideLayouts/slideLayout401.xml"/><Relationship Id="rId46" Type="http://schemas.openxmlformats.org/officeDocument/2006/relationships/slideLayout" Target="../slideLayouts/slideLayout409.xml"/><Relationship Id="rId20" Type="http://schemas.openxmlformats.org/officeDocument/2006/relationships/slideLayout" Target="../slideLayouts/slideLayout383.xml"/><Relationship Id="rId41" Type="http://schemas.openxmlformats.org/officeDocument/2006/relationships/slideLayout" Target="../slideLayouts/slideLayout404.xml"/><Relationship Id="rId54" Type="http://schemas.openxmlformats.org/officeDocument/2006/relationships/tags" Target="../tags/tag5.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5" Type="http://schemas.openxmlformats.org/officeDocument/2006/relationships/slideLayout" Target="../slideLayouts/slideLayout378.xml"/><Relationship Id="rId23" Type="http://schemas.openxmlformats.org/officeDocument/2006/relationships/slideLayout" Target="../slideLayouts/slideLayout386.xml"/><Relationship Id="rId28" Type="http://schemas.openxmlformats.org/officeDocument/2006/relationships/slideLayout" Target="../slideLayouts/slideLayout391.xml"/><Relationship Id="rId36" Type="http://schemas.openxmlformats.org/officeDocument/2006/relationships/slideLayout" Target="../slideLayouts/slideLayout399.xml"/><Relationship Id="rId49" Type="http://schemas.openxmlformats.org/officeDocument/2006/relationships/slideLayout" Target="../slideLayouts/slideLayout4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image" Target="../media/image2.emf"/><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theme" Target="../theme/theme2.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5.xml"/><Relationship Id="rId21" Type="http://schemas.openxmlformats.org/officeDocument/2006/relationships/slideLayout" Target="../slideLayouts/slideLayout50.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63" Type="http://schemas.openxmlformats.org/officeDocument/2006/relationships/slideLayout" Target="../slideLayouts/slideLayout92.xml"/><Relationship Id="rId68" Type="http://schemas.openxmlformats.org/officeDocument/2006/relationships/slideLayout" Target="../slideLayouts/slideLayout97.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slideLayout" Target="../slideLayouts/slideLayout87.xml"/><Relationship Id="rId66" Type="http://schemas.openxmlformats.org/officeDocument/2006/relationships/slideLayout" Target="../slideLayouts/slideLayout95.xml"/><Relationship Id="rId74" Type="http://schemas.openxmlformats.org/officeDocument/2006/relationships/image" Target="../media/image1.emf"/><Relationship Id="rId5" Type="http://schemas.openxmlformats.org/officeDocument/2006/relationships/slideLayout" Target="../slideLayouts/slideLayout34.xml"/><Relationship Id="rId61" Type="http://schemas.openxmlformats.org/officeDocument/2006/relationships/slideLayout" Target="../slideLayouts/slideLayout90.xml"/><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slideLayout" Target="../slideLayouts/slideLayout85.xml"/><Relationship Id="rId64" Type="http://schemas.openxmlformats.org/officeDocument/2006/relationships/slideLayout" Target="../slideLayouts/slideLayout93.xml"/><Relationship Id="rId69" Type="http://schemas.openxmlformats.org/officeDocument/2006/relationships/slideLayout" Target="../slideLayouts/slideLayout98.xml"/><Relationship Id="rId8" Type="http://schemas.openxmlformats.org/officeDocument/2006/relationships/slideLayout" Target="../slideLayouts/slideLayout37.xml"/><Relationship Id="rId51" Type="http://schemas.openxmlformats.org/officeDocument/2006/relationships/slideLayout" Target="../slideLayouts/slideLayout80.xml"/><Relationship Id="rId72" Type="http://schemas.openxmlformats.org/officeDocument/2006/relationships/slideLayout" Target="../slideLayouts/slideLayout101.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slideLayout" Target="../slideLayouts/slideLayout88.xml"/><Relationship Id="rId67" Type="http://schemas.openxmlformats.org/officeDocument/2006/relationships/slideLayout" Target="../slideLayouts/slideLayout96.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62" Type="http://schemas.openxmlformats.org/officeDocument/2006/relationships/slideLayout" Target="../slideLayouts/slideLayout91.xml"/><Relationship Id="rId70" Type="http://schemas.openxmlformats.org/officeDocument/2006/relationships/slideLayout" Target="../slideLayouts/slideLayout9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slideLayout" Target="../slideLayouts/slideLayout86.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slideLayout" Target="../slideLayouts/slideLayout89.xml"/><Relationship Id="rId65" Type="http://schemas.openxmlformats.org/officeDocument/2006/relationships/slideLayout" Target="../slideLayouts/slideLayout94.xml"/><Relationship Id="rId73"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9" Type="http://schemas.openxmlformats.org/officeDocument/2006/relationships/slideLayout" Target="../slideLayouts/slideLayout68.xml"/><Relationship Id="rId34" Type="http://schemas.openxmlformats.org/officeDocument/2006/relationships/slideLayout" Target="../slideLayouts/slideLayout63.xml"/><Relationship Id="rId50" Type="http://schemas.openxmlformats.org/officeDocument/2006/relationships/slideLayout" Target="../slideLayouts/slideLayout79.xml"/><Relationship Id="rId55" Type="http://schemas.openxmlformats.org/officeDocument/2006/relationships/slideLayout" Target="../slideLayouts/slideLayout84.xml"/><Relationship Id="rId7" Type="http://schemas.openxmlformats.org/officeDocument/2006/relationships/slideLayout" Target="../slideLayouts/slideLayout36.xml"/><Relationship Id="rId71"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image" Target="../media/image32.emf"/><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theme" Target="../theme/theme4.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8"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34" Type="http://schemas.openxmlformats.org/officeDocument/2006/relationships/image" Target="../media/image1.emf"/><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theme" Target="../theme/theme5.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8" Type="http://schemas.openxmlformats.org/officeDocument/2006/relationships/slideLayout" Target="../slideLayouts/slideLayout140.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67.xml"/><Relationship Id="rId7" Type="http://schemas.openxmlformats.org/officeDocument/2006/relationships/image" Target="../media/image2.emf"/><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image" Target="../media/image47.png"/><Relationship Id="rId5" Type="http://schemas.openxmlformats.org/officeDocument/2006/relationships/theme" Target="../theme/theme6.xml"/><Relationship Id="rId4" Type="http://schemas.openxmlformats.org/officeDocument/2006/relationships/slideLayout" Target="../slideLayouts/slideLayout168.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theme" Target="../theme/theme7.xml"/><Relationship Id="rId1"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image" Target="../media/image1.emf"/><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image" Target="../media/image1.emf"/><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309934203"/>
      </p:ext>
    </p:extLst>
  </p:cSld>
  <p:clrMap bg1="lt1" tx1="dk1" bg2="lt2" tx2="dk2" accent1="accent1" accent2="accent2" accent3="accent3" accent4="accent4" accent5="accent5" accent6="accent6" hlink="hlink" folHlink="folHlink"/>
  <p:sldLayoutIdLst>
    <p:sldLayoutId id="2147483864" r:id="rId1"/>
    <p:sldLayoutId id="2147483863"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310831027"/>
      </p:ext>
    </p:extLst>
  </p:cSld>
  <p:clrMap bg1="dk1" tx1="lt1" bg2="dk2" tx2="lt2" accent1="accent1" accent2="accent2" accent3="accent3" accent4="accent4" accent5="accent5" accent6="accent6" hlink="hlink" folHlink="folHlink"/>
  <p:sldLayoutIdLst>
    <p:sldLayoutId id="2147494858" r:id="rId1"/>
    <p:sldLayoutId id="2147494861" r:id="rId2"/>
    <p:sldLayoutId id="2147494862" r:id="rId3"/>
    <p:sldLayoutId id="2147494863" r:id="rId4"/>
    <p:sldLayoutId id="2147494864" r:id="rId5"/>
    <p:sldLayoutId id="2147494865" r:id="rId6"/>
    <p:sldLayoutId id="2147494866" r:id="rId7"/>
    <p:sldLayoutId id="2147494867" r:id="rId8"/>
    <p:sldLayoutId id="2147494868" r:id="rId9"/>
    <p:sldLayoutId id="2147494869" r:id="rId10"/>
    <p:sldLayoutId id="2147494870" r:id="rId11"/>
    <p:sldLayoutId id="2147494871" r:id="rId12"/>
    <p:sldLayoutId id="2147494872" r:id="rId13"/>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7"/>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14828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1042033156"/>
      </p:ext>
    </p:extLst>
  </p:cSld>
  <p:clrMap bg1="lt1" tx1="dk1" bg2="lt2" tx2="dk2" accent1="accent1" accent2="accent2" accent3="accent3" accent4="accent4" accent5="accent5" accent6="accent6" hlink="hlink" folHlink="folHlink"/>
  <p:sldLayoutIdLst>
    <p:sldLayoutId id="2147495050" r:id="rId1"/>
    <p:sldLayoutId id="2147495051" r:id="rId2"/>
    <p:sldLayoutId id="2147495052" r:id="rId3"/>
    <p:sldLayoutId id="2147495053" r:id="rId4"/>
    <p:sldLayoutId id="2147495054" r:id="rId5"/>
    <p:sldLayoutId id="2147495055" r:id="rId6"/>
    <p:sldLayoutId id="2147495056" r:id="rId7"/>
    <p:sldLayoutId id="2147495057" r:id="rId8"/>
    <p:sldLayoutId id="2147495058" r:id="rId9"/>
    <p:sldLayoutId id="2147495059" r:id="rId10"/>
    <p:sldLayoutId id="2147495060" r:id="rId11"/>
    <p:sldLayoutId id="2147495061" r:id="rId12"/>
    <p:sldLayoutId id="2147495062" r:id="rId13"/>
    <p:sldLayoutId id="2147495063" r:id="rId14"/>
    <p:sldLayoutId id="2147495064" r:id="rId15"/>
    <p:sldLayoutId id="2147495065" r:id="rId16"/>
    <p:sldLayoutId id="2147495066" r:id="rId17"/>
    <p:sldLayoutId id="2147495067" r:id="rId18"/>
    <p:sldLayoutId id="2147495068" r:id="rId19"/>
    <p:sldLayoutId id="2147495069" r:id="rId20"/>
    <p:sldLayoutId id="2147495070" r:id="rId21"/>
    <p:sldLayoutId id="2147495071" r:id="rId22"/>
    <p:sldLayoutId id="2147495072" r:id="rId23"/>
    <p:sldLayoutId id="2147495073" r:id="rId24"/>
    <p:sldLayoutId id="2147495074" r:id="rId25"/>
    <p:sldLayoutId id="2147495075" r:id="rId26"/>
    <p:sldLayoutId id="2147495076" r:id="rId27"/>
    <p:sldLayoutId id="2147495077" r:id="rId28"/>
    <p:sldLayoutId id="2147495078" r:id="rId29"/>
    <p:sldLayoutId id="2147495079" r:id="rId30"/>
    <p:sldLayoutId id="2147495080" r:id="rId31"/>
    <p:sldLayoutId id="2147495081" r:id="rId32"/>
    <p:sldLayoutId id="2147495082" r:id="rId33"/>
    <p:sldLayoutId id="2147495083" r:id="rId34"/>
    <p:sldLayoutId id="2147495084" r:id="rId35"/>
  </p:sldLayoutIdLst>
  <p:transition>
    <p:fade/>
  </p:transition>
  <p:hf sldNum="0" hdr="0" dt="0"/>
  <p:txStyles>
    <p:title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97568012"/>
      </p:ext>
    </p:extLst>
  </p:cSld>
  <p:clrMap bg1="dk1" tx1="lt1" bg2="dk2" tx2="lt2" accent1="accent1" accent2="accent2" accent3="accent3" accent4="accent4" accent5="accent5" accent6="accent6" hlink="hlink" folHlink="folHlink"/>
  <p:sldLayoutIdLst>
    <p:sldLayoutId id="2147495086" r:id="rId1"/>
    <p:sldLayoutId id="2147495087" r:id="rId2"/>
    <p:sldLayoutId id="2147495088" r:id="rId3"/>
    <p:sldLayoutId id="2147495089" r:id="rId4"/>
    <p:sldLayoutId id="2147495090" r:id="rId5"/>
    <p:sldLayoutId id="2147495091" r:id="rId6"/>
    <p:sldLayoutId id="2147495092" r:id="rId7"/>
    <p:sldLayoutId id="2147495093" r:id="rId8"/>
    <p:sldLayoutId id="2147495094" r:id="rId9"/>
    <p:sldLayoutId id="2147495095" r:id="rId10"/>
    <p:sldLayoutId id="2147495097" r:id="rId11"/>
    <p:sldLayoutId id="2147495098" r:id="rId12"/>
    <p:sldLayoutId id="2147495099" r:id="rId13"/>
    <p:sldLayoutId id="2147495100" r:id="rId14"/>
    <p:sldLayoutId id="2147495101" r:id="rId15"/>
    <p:sldLayoutId id="2147495102" r:id="rId16"/>
    <p:sldLayoutId id="2147495103" r:id="rId17"/>
    <p:sldLayoutId id="2147495113"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550533674"/>
      </p:ext>
    </p:extLst>
  </p:cSld>
  <p:clrMap bg1="lt1" tx1="dk1" bg2="lt2" tx2="dk2" accent1="accent1" accent2="accent2" accent3="accent3" accent4="accent4" accent5="accent5" accent6="accent6" hlink="hlink" folHlink="folHlink"/>
  <p:sldLayoutIdLst>
    <p:sldLayoutId id="2147495106" r:id="rId1"/>
    <p:sldLayoutId id="2147495107" r:id="rId2"/>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Tree>
    <p:extLst>
      <p:ext uri="{BB962C8B-B14F-4D97-AF65-F5344CB8AC3E}">
        <p14:creationId xmlns:p14="http://schemas.microsoft.com/office/powerpoint/2010/main" val="2247068143"/>
      </p:ext>
    </p:extLst>
  </p:cSld>
  <p:clrMap bg1="lt1" tx1="dk1" bg2="lt2" tx2="dk2" accent1="accent1" accent2="accent2" accent3="accent3" accent4="accent4" accent5="accent5" accent6="accent6" hlink="hlink" folHlink="folHlink"/>
  <p:sldLayoutIdLst>
    <p:sldLayoutId id="2147495110" r:id="rId1"/>
    <p:sldLayoutId id="2147495111" r:id="rId2"/>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960018623"/>
      </p:ext>
    </p:extLst>
  </p:cSld>
  <p:clrMap bg1="lt1" tx1="dk1" bg2="lt2" tx2="dk2" accent1="accent1" accent2="accent2" accent3="accent3" accent4="accent4" accent5="accent5" accent6="accent6" hlink="hlink" folHlink="folHlink"/>
  <p:sldLayoutIdLst>
    <p:sldLayoutId id="2147495115" r:id="rId1"/>
    <p:sldLayoutId id="2147495116" r:id="rId2"/>
    <p:sldLayoutId id="2147495117" r:id="rId3"/>
    <p:sldLayoutId id="2147495118" r:id="rId4"/>
    <p:sldLayoutId id="2147495119" r:id="rId5"/>
    <p:sldLayoutId id="2147495120" r:id="rId6"/>
    <p:sldLayoutId id="2147495121" r:id="rId7"/>
    <p:sldLayoutId id="2147495122" r:id="rId8"/>
    <p:sldLayoutId id="2147495123" r:id="rId9"/>
    <p:sldLayoutId id="2147495124" r:id="rId10"/>
    <p:sldLayoutId id="2147495125" r:id="rId11"/>
    <p:sldLayoutId id="2147495126" r:id="rId12"/>
    <p:sldLayoutId id="2147495127" r:id="rId13"/>
    <p:sldLayoutId id="2147495128" r:id="rId14"/>
    <p:sldLayoutId id="2147495129" r:id="rId15"/>
    <p:sldLayoutId id="2147495130" r:id="rId16"/>
    <p:sldLayoutId id="2147495131" r:id="rId17"/>
    <p:sldLayoutId id="2147495132" r:id="rId18"/>
    <p:sldLayoutId id="2147495133" r:id="rId19"/>
    <p:sldLayoutId id="2147495134" r:id="rId20"/>
    <p:sldLayoutId id="2147495135" r:id="rId21"/>
    <p:sldLayoutId id="2147495136" r:id="rId22"/>
    <p:sldLayoutId id="2147495137" r:id="rId23"/>
    <p:sldLayoutId id="2147495138" r:id="rId24"/>
    <p:sldLayoutId id="2147495139" r:id="rId25"/>
    <p:sldLayoutId id="2147495140" r:id="rId26"/>
    <p:sldLayoutId id="2147495141" r:id="rId27"/>
    <p:sldLayoutId id="2147495142" r:id="rId28"/>
    <p:sldLayoutId id="2147495144" r:id="rId2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7"/>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836232830"/>
      </p:ext>
    </p:extLst>
  </p:cSld>
  <p:clrMap bg1="lt1" tx1="dk1" bg2="lt2" tx2="dk2" accent1="accent1" accent2="accent2" accent3="accent3" accent4="accent4" accent5="accent5" accent6="accent6" hlink="hlink" folHlink="folHlink"/>
  <p:sldLayoutIdLst>
    <p:sldLayoutId id="2147495146" r:id="rId1"/>
    <p:sldLayoutId id="2147495147" r:id="rId2"/>
    <p:sldLayoutId id="2147495148" r:id="rId3"/>
    <p:sldLayoutId id="2147495149" r:id="rId4"/>
    <p:sldLayoutId id="2147495150" r:id="rId5"/>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3160219"/>
      </p:ext>
    </p:extLst>
  </p:cSld>
  <p:clrMap bg1="lt1" tx1="dk1" bg2="lt2" tx2="dk2" accent1="accent1" accent2="accent2" accent3="accent3" accent4="accent4" accent5="accent5" accent6="accent6" hlink="hlink" folHlink="folHlink"/>
  <p:sldLayoutIdLst>
    <p:sldLayoutId id="2147495152" r:id="rId1"/>
    <p:sldLayoutId id="2147495153" r:id="rId2"/>
    <p:sldLayoutId id="2147495154" r:id="rId3"/>
    <p:sldLayoutId id="2147495155" r:id="rId4"/>
    <p:sldLayoutId id="2147495156" r:id="rId5"/>
    <p:sldLayoutId id="2147495157" r:id="rId6"/>
    <p:sldLayoutId id="2147495158" r:id="rId7"/>
    <p:sldLayoutId id="2147495159" r:id="rId8"/>
    <p:sldLayoutId id="2147495160" r:id="rId9"/>
    <p:sldLayoutId id="2147495161" r:id="rId10"/>
    <p:sldLayoutId id="2147495162" r:id="rId11"/>
    <p:sldLayoutId id="2147495163" r:id="rId12"/>
    <p:sldLayoutId id="2147495164" r:id="rId13"/>
    <p:sldLayoutId id="2147495165" r:id="rId14"/>
    <p:sldLayoutId id="2147495166" r:id="rId15"/>
    <p:sldLayoutId id="2147495167" r:id="rId16"/>
    <p:sldLayoutId id="2147495168" r:id="rId17"/>
    <p:sldLayoutId id="2147495169" r:id="rId18"/>
    <p:sldLayoutId id="2147495170" r:id="rId19"/>
    <p:sldLayoutId id="2147495171" r:id="rId20"/>
    <p:sldLayoutId id="2147495172" r:id="rId21"/>
    <p:sldLayoutId id="2147495173" r:id="rId22"/>
    <p:sldLayoutId id="2147495174" r:id="rId23"/>
    <p:sldLayoutId id="2147495175" r:id="rId24"/>
    <p:sldLayoutId id="2147495176" r:id="rId25"/>
    <p:sldLayoutId id="2147495177" r:id="rId26"/>
    <p:sldLayoutId id="2147495178" r:id="rId27"/>
    <p:sldLayoutId id="2147495179" r:id="rId28"/>
    <p:sldLayoutId id="2147495180" r:id="rId29"/>
    <p:sldLayoutId id="2147495181" r:id="rId30"/>
    <p:sldLayoutId id="2147495182" r:id="rId31"/>
    <p:sldLayoutId id="2147495183" r:id="rId32"/>
    <p:sldLayoutId id="2147495184" r:id="rId33"/>
    <p:sldLayoutId id="2147495185" r:id="rId34"/>
    <p:sldLayoutId id="2147495186" r:id="rId35"/>
    <p:sldLayoutId id="2147495187" r:id="rId36"/>
    <p:sldLayoutId id="2147495188" r:id="rId37"/>
    <p:sldLayoutId id="2147495189" r:id="rId38"/>
    <p:sldLayoutId id="2147495190" r:id="rId39"/>
    <p:sldLayoutId id="2147495191" r:id="rId40"/>
    <p:sldLayoutId id="2147495192" r:id="rId41"/>
    <p:sldLayoutId id="2147495193" r:id="rId42"/>
    <p:sldLayoutId id="2147495194" r:id="rId43"/>
    <p:sldLayoutId id="2147495195" r:id="rId44"/>
    <p:sldLayoutId id="2147495196" r:id="rId45"/>
    <p:sldLayoutId id="2147495197" r:id="rId46"/>
    <p:sldLayoutId id="2147495199" r:id="rId47"/>
    <p:sldLayoutId id="2147495202" r:id="rId4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6"/>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85957703"/>
      </p:ext>
    </p:extLst>
  </p:cSld>
  <p:clrMap bg1="lt1" tx1="dk1" bg2="lt2" tx2="dk2" accent1="accent1" accent2="accent2" accent3="accent3" accent4="accent4" accent5="accent5" accent6="accent6" hlink="hlink" folHlink="folHlink"/>
  <p:sldLayoutIdLst>
    <p:sldLayoutId id="2147495205" r:id="rId1"/>
    <p:sldLayoutId id="2147495206" r:id="rId2"/>
    <p:sldLayoutId id="2147495207" r:id="rId3"/>
    <p:sldLayoutId id="2147495208" r:id="rId4"/>
    <p:sldLayoutId id="2147495209" r:id="rId5"/>
    <p:sldLayoutId id="2147495210" r:id="rId6"/>
    <p:sldLayoutId id="2147495211" r:id="rId7"/>
    <p:sldLayoutId id="2147495212" r:id="rId8"/>
    <p:sldLayoutId id="2147495213" r:id="rId9"/>
    <p:sldLayoutId id="2147495214" r:id="rId10"/>
    <p:sldLayoutId id="2147495215" r:id="rId11"/>
    <p:sldLayoutId id="2147495216" r:id="rId12"/>
    <p:sldLayoutId id="2147495217" r:id="rId13"/>
    <p:sldLayoutId id="2147495218" r:id="rId14"/>
    <p:sldLayoutId id="2147495219" r:id="rId15"/>
    <p:sldLayoutId id="2147495220" r:id="rId16"/>
    <p:sldLayoutId id="2147495221" r:id="rId17"/>
    <p:sldLayoutId id="2147495222" r:id="rId18"/>
    <p:sldLayoutId id="2147495223" r:id="rId19"/>
    <p:sldLayoutId id="2147495224" r:id="rId20"/>
    <p:sldLayoutId id="2147495225" r:id="rId21"/>
    <p:sldLayoutId id="2147495226" r:id="rId22"/>
    <p:sldLayoutId id="2147495227" r:id="rId23"/>
    <p:sldLayoutId id="2147495228" r:id="rId24"/>
    <p:sldLayoutId id="2147495229" r:id="rId25"/>
    <p:sldLayoutId id="2147495230" r:id="rId26"/>
    <p:sldLayoutId id="2147495231" r:id="rId27"/>
    <p:sldLayoutId id="2147495232" r:id="rId28"/>
    <p:sldLayoutId id="2147495233" r:id="rId29"/>
    <p:sldLayoutId id="2147495234" r:id="rId30"/>
    <p:sldLayoutId id="2147495235" r:id="rId31"/>
    <p:sldLayoutId id="2147495236" r:id="rId32"/>
    <p:sldLayoutId id="2147495237" r:id="rId33"/>
    <p:sldLayoutId id="2147495238" r:id="rId34"/>
    <p:sldLayoutId id="2147495239" r:id="rId35"/>
    <p:sldLayoutId id="2147495240" r:id="rId36"/>
    <p:sldLayoutId id="2147495241" r:id="rId37"/>
    <p:sldLayoutId id="2147495242" r:id="rId38"/>
    <p:sldLayoutId id="2147495243" r:id="rId39"/>
    <p:sldLayoutId id="2147495244" r:id="rId40"/>
    <p:sldLayoutId id="2147495245" r:id="rId41"/>
    <p:sldLayoutId id="2147495246" r:id="rId42"/>
    <p:sldLayoutId id="2147495247" r:id="rId43"/>
    <p:sldLayoutId id="2147495248" r:id="rId44"/>
    <p:sldLayoutId id="2147495249" r:id="rId45"/>
    <p:sldLayoutId id="2147495250" r:id="rId46"/>
    <p:sldLayoutId id="2147495251" r:id="rId47"/>
    <p:sldLayoutId id="2147495252" r:id="rId48"/>
    <p:sldLayoutId id="2147495253" r:id="rId49"/>
    <p:sldLayoutId id="2147495254" r:id="rId50"/>
    <p:sldLayoutId id="2147495255" r:id="rId51"/>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386064381"/>
      </p:ext>
    </p:extLst>
  </p:cSld>
  <p:clrMap bg1="lt1" tx1="dk1" bg2="lt2" tx2="dk2" accent1="accent1" accent2="accent2" accent3="accent3" accent4="accent4" accent5="accent5" accent6="accent6" hlink="hlink" folHlink="folHlink"/>
  <p:sldLayoutIdLst>
    <p:sldLayoutId id="2147483866" r:id="rId1"/>
    <p:sldLayoutId id="2147483674" r:id="rId2"/>
    <p:sldLayoutId id="2147483675" r:id="rId3"/>
    <p:sldLayoutId id="2147483676"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880" r:id="rId14"/>
    <p:sldLayoutId id="2147483688" r:id="rId15"/>
    <p:sldLayoutId id="2147483689" r:id="rId16"/>
    <p:sldLayoutId id="2147483883" r:id="rId17"/>
    <p:sldLayoutId id="2147483691" r:id="rId18"/>
    <p:sldLayoutId id="2147483692" r:id="rId19"/>
    <p:sldLayoutId id="2147483693" r:id="rId20"/>
    <p:sldLayoutId id="2147483695" r:id="rId21"/>
    <p:sldLayoutId id="2147494856" r:id="rId22"/>
    <p:sldLayoutId id="2147483697" r:id="rId23"/>
    <p:sldLayoutId id="2147483698" r:id="rId24"/>
    <p:sldLayoutId id="2147494907" r:id="rId25"/>
    <p:sldLayoutId id="2147495048" r:id="rId26"/>
    <p:sldLayoutId id="2147495203" r:id="rId27"/>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7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67581166"/>
      </p:ext>
    </p:extLst>
  </p:cSld>
  <p:clrMap bg1="dk1" tx1="lt1" bg2="dk2" tx2="lt2" accent1="accent1" accent2="accent2" accent3="accent3" accent4="accent4" accent5="accent5" accent6="accent6" hlink="hlink" folHlink="folHlink"/>
  <p:sldLayoutIdLst>
    <p:sldLayoutId id="2147485370" r:id="rId1"/>
    <p:sldLayoutId id="2147485371" r:id="rId2"/>
    <p:sldLayoutId id="2147485372" r:id="rId3"/>
    <p:sldLayoutId id="2147485290" r:id="rId4"/>
    <p:sldLayoutId id="2147485291" r:id="rId5"/>
    <p:sldLayoutId id="2147485292" r:id="rId6"/>
    <p:sldLayoutId id="2147485225" r:id="rId7"/>
    <p:sldLayoutId id="2147485374" r:id="rId8"/>
    <p:sldLayoutId id="2147494244" r:id="rId9"/>
    <p:sldLayoutId id="2147483704" r:id="rId10"/>
    <p:sldLayoutId id="2147483705" r:id="rId11"/>
    <p:sldLayoutId id="2147483706" r:id="rId12"/>
    <p:sldLayoutId id="2147483707" r:id="rId13"/>
    <p:sldLayoutId id="2147483708" r:id="rId14"/>
    <p:sldLayoutId id="2147483709" r:id="rId15"/>
    <p:sldLayoutId id="2147485145" r:id="rId16"/>
    <p:sldLayoutId id="2147483710" r:id="rId17"/>
    <p:sldLayoutId id="2147483711" r:id="rId18"/>
    <p:sldLayoutId id="2147485148" r:id="rId19"/>
    <p:sldLayoutId id="2147483712" r:id="rId20"/>
    <p:sldLayoutId id="2147483713" r:id="rId21"/>
    <p:sldLayoutId id="2147483714" r:id="rId22"/>
    <p:sldLayoutId id="2147485088" r:id="rId23"/>
    <p:sldLayoutId id="2147485094" r:id="rId24"/>
    <p:sldLayoutId id="2147485404" r:id="rId25"/>
    <p:sldLayoutId id="2147485373" r:id="rId26"/>
    <p:sldLayoutId id="2147483716" r:id="rId27"/>
    <p:sldLayoutId id="2147483717" r:id="rId28"/>
    <p:sldLayoutId id="2147483718" r:id="rId29"/>
    <p:sldLayoutId id="2147492770" r:id="rId30"/>
    <p:sldLayoutId id="2147492771" r:id="rId31"/>
    <p:sldLayoutId id="2147483719" r:id="rId32"/>
    <p:sldLayoutId id="2147483720" r:id="rId33"/>
    <p:sldLayoutId id="2147483721" r:id="rId34"/>
    <p:sldLayoutId id="2147483722" r:id="rId35"/>
    <p:sldLayoutId id="2147483723" r:id="rId36"/>
    <p:sldLayoutId id="2147492772" r:id="rId37"/>
    <p:sldLayoutId id="2147483724" r:id="rId38"/>
    <p:sldLayoutId id="2147483725" r:id="rId39"/>
    <p:sldLayoutId id="2147483726" r:id="rId40"/>
    <p:sldLayoutId id="2147485328" r:id="rId41"/>
    <p:sldLayoutId id="2147483727" r:id="rId42"/>
    <p:sldLayoutId id="2147483728" r:id="rId43"/>
    <p:sldLayoutId id="2147485246" r:id="rId44"/>
    <p:sldLayoutId id="2147485166" r:id="rId45"/>
    <p:sldLayoutId id="2147485167" r:id="rId46"/>
    <p:sldLayoutId id="2147483729" r:id="rId47"/>
    <p:sldLayoutId id="2147483730" r:id="rId48"/>
    <p:sldLayoutId id="2147485169" r:id="rId49"/>
    <p:sldLayoutId id="2147483731" r:id="rId50"/>
    <p:sldLayoutId id="2147483732" r:id="rId51"/>
    <p:sldLayoutId id="2147485227" r:id="rId52"/>
    <p:sldLayoutId id="2147485173" r:id="rId53"/>
    <p:sldLayoutId id="2147483734" r:id="rId54"/>
    <p:sldLayoutId id="2147485175" r:id="rId55"/>
    <p:sldLayoutId id="2147485177" r:id="rId56"/>
    <p:sldLayoutId id="2147485178" r:id="rId57"/>
    <p:sldLayoutId id="2147485180" r:id="rId58"/>
    <p:sldLayoutId id="2147485181" r:id="rId59"/>
    <p:sldLayoutId id="2147485256" r:id="rId60"/>
    <p:sldLayoutId id="2147485217" r:id="rId61"/>
    <p:sldLayoutId id="2147485218" r:id="rId62"/>
    <p:sldLayoutId id="2147492776" r:id="rId63"/>
    <p:sldLayoutId id="2147492777" r:id="rId64"/>
    <p:sldLayoutId id="2147485450" r:id="rId65"/>
    <p:sldLayoutId id="2147485206" r:id="rId66"/>
    <p:sldLayoutId id="2147485449" r:id="rId67"/>
    <p:sldLayoutId id="2147492779" r:id="rId68"/>
    <p:sldLayoutId id="2147492781" r:id="rId69"/>
    <p:sldLayoutId id="2147492782" r:id="rId70"/>
    <p:sldLayoutId id="2147492783" r:id="rId71"/>
    <p:sldLayoutId id="2147485228"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2689798"/>
      </p:ext>
    </p:extLst>
  </p:cSld>
  <p:clrMap bg1="lt1" tx1="dk1" bg2="lt2" tx2="dk2" accent1="accent1" accent2="accent2" accent3="accent3" accent4="accent4" accent5="accent5" accent6="accent6" hlink="hlink" folHlink="folHlink"/>
  <p:sldLayoutIdLst>
    <p:sldLayoutId id="2147494874" r:id="rId1"/>
    <p:sldLayoutId id="2147494875" r:id="rId2"/>
    <p:sldLayoutId id="2147494876" r:id="rId3"/>
    <p:sldLayoutId id="2147494877" r:id="rId4"/>
    <p:sldLayoutId id="2147494878" r:id="rId5"/>
    <p:sldLayoutId id="2147494879" r:id="rId6"/>
    <p:sldLayoutId id="2147494880" r:id="rId7"/>
    <p:sldLayoutId id="2147494881" r:id="rId8"/>
    <p:sldLayoutId id="2147494882" r:id="rId9"/>
    <p:sldLayoutId id="2147494883" r:id="rId10"/>
    <p:sldLayoutId id="2147494884" r:id="rId11"/>
    <p:sldLayoutId id="2147494885" r:id="rId12"/>
    <p:sldLayoutId id="2147494886" r:id="rId13"/>
    <p:sldLayoutId id="2147494887" r:id="rId14"/>
    <p:sldLayoutId id="2147494888" r:id="rId15"/>
    <p:sldLayoutId id="2147494889" r:id="rId16"/>
    <p:sldLayoutId id="2147494890" r:id="rId17"/>
    <p:sldLayoutId id="2147485235" r:id="rId18"/>
    <p:sldLayoutId id="2147485248" r:id="rId19"/>
    <p:sldLayoutId id="2147494892" r:id="rId20"/>
    <p:sldLayoutId id="2147494893" r:id="rId21"/>
    <p:sldLayoutId id="2147494894" r:id="rId22"/>
    <p:sldLayoutId id="2147494895" r:id="rId23"/>
    <p:sldLayoutId id="2147494896" r:id="rId24"/>
    <p:sldLayoutId id="2147494897" r:id="rId25"/>
    <p:sldLayoutId id="2147494898" r:id="rId26"/>
    <p:sldLayoutId id="2147494899" r:id="rId27"/>
    <p:sldLayoutId id="2147494900" r:id="rId28"/>
    <p:sldLayoutId id="2147494901" r:id="rId29"/>
    <p:sldLayoutId id="2147494902" r:id="rId30"/>
    <p:sldLayoutId id="2147494903"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4" cstate="print">
            <a:extLst>
              <a:ext uri="{28A0092B-C50C-407E-A947-70E740481C1C}">
                <a14:useLocalDpi xmlns:a14="http://schemas.microsoft.com/office/drawing/2010/main" val="0"/>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3599557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5477" r:id="rId28"/>
    <p:sldLayoutId id="2147483765" r:id="rId29"/>
    <p:sldLayoutId id="2147483766" r:id="rId30"/>
    <p:sldLayoutId id="2147483767" r:id="rId31"/>
    <p:sldLayoutId id="2147483768" r:id="rId3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6"/>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2955925883"/>
      </p:ext>
    </p:extLst>
  </p:cSld>
  <p:clrMap bg1="lt1" tx1="dk1" bg2="lt2" tx2="dk2" accent1="accent1" accent2="accent2" accent3="accent3" accent4="accent4" accent5="accent5" accent6="accent6" hlink="hlink" folHlink="folHlink"/>
  <p:sldLayoutIdLst>
    <p:sldLayoutId id="2147485485" r:id="rId1"/>
    <p:sldLayoutId id="2147485493" r:id="rId2"/>
    <p:sldLayoutId id="2147485494" r:id="rId3"/>
    <p:sldLayoutId id="2147485502" r:id="rId4"/>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0222780"/>
      </p:ext>
    </p:extLst>
  </p:cSld>
  <p:clrMap bg1="lt1" tx1="dk1" bg2="lt2" tx2="dk2" accent1="accent1" accent2="accent2" accent3="accent3" accent4="accent4" accent5="accent5" accent6="accent6" hlink="hlink" folHlink="folHlink"/>
  <p:sldLayoutIdLst>
    <p:sldLayoutId id="2147485559"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37859892"/>
      </p:ext>
    </p:extLst>
  </p:cSld>
  <p:clrMap bg1="dk1" tx1="lt1" bg2="dk2" tx2="lt2" accent1="accent1" accent2="accent2" accent3="accent3" accent4="accent4" accent5="accent5" accent6="accent6" hlink="hlink" folHlink="folHlink"/>
  <p:sldLayoutIdLst>
    <p:sldLayoutId id="2147484952" r:id="rId1"/>
    <p:sldLayoutId id="2147484935" r:id="rId2"/>
    <p:sldLayoutId id="2147484936" r:id="rId3"/>
    <p:sldLayoutId id="2147484937" r:id="rId4"/>
    <p:sldLayoutId id="2147484938" r:id="rId5"/>
    <p:sldLayoutId id="2147484939" r:id="rId6"/>
    <p:sldLayoutId id="2147484940" r:id="rId7"/>
    <p:sldLayoutId id="2147484941" r:id="rId8"/>
    <p:sldLayoutId id="2147484942" r:id="rId9"/>
    <p:sldLayoutId id="2147484943" r:id="rId10"/>
    <p:sldLayoutId id="2147484944" r:id="rId11"/>
    <p:sldLayoutId id="2147484945" r:id="rId12"/>
    <p:sldLayoutId id="2147484946" r:id="rId13"/>
    <p:sldLayoutId id="2147484947" r:id="rId14"/>
    <p:sldLayoutId id="2147484949" r:id="rId15"/>
    <p:sldLayoutId id="2147484950" r:id="rId16"/>
    <p:sldLayoutId id="2147484951" r:id="rId17"/>
    <p:sldLayoutId id="2147484953" r:id="rId18"/>
    <p:sldLayoutId id="2147494904" r:id="rId19"/>
    <p:sldLayoutId id="2147484954" r:id="rId20"/>
    <p:sldLayoutId id="2147484955"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1042722034"/>
      </p:ext>
    </p:extLst>
  </p:cSld>
  <p:clrMap bg1="dk1" tx1="lt1" bg2="dk2" tx2="lt2" accent1="accent1" accent2="accent2" accent3="accent3" accent4="accent4" accent5="accent5" accent6="accent6" hlink="hlink" folHlink="folHlink"/>
  <p:sldLayoutIdLst>
    <p:sldLayoutId id="2147494835" r:id="rId1"/>
    <p:sldLayoutId id="2147494836" r:id="rId2"/>
    <p:sldLayoutId id="2147494837" r:id="rId3"/>
    <p:sldLayoutId id="2147494838" r:id="rId4"/>
    <p:sldLayoutId id="2147494839" r:id="rId5"/>
    <p:sldLayoutId id="2147494840" r:id="rId6"/>
    <p:sldLayoutId id="2147494841" r:id="rId7"/>
    <p:sldLayoutId id="2147494842" r:id="rId8"/>
    <p:sldLayoutId id="2147494843" r:id="rId9"/>
    <p:sldLayoutId id="2147494844" r:id="rId10"/>
    <p:sldLayoutId id="2147494845" r:id="rId11"/>
    <p:sldLayoutId id="2147494846" r:id="rId12"/>
    <p:sldLayoutId id="2147494847" r:id="rId13"/>
    <p:sldLayoutId id="2147494848" r:id="rId14"/>
    <p:sldLayoutId id="2147494849" r:id="rId15"/>
    <p:sldLayoutId id="2147494850" r:id="rId16"/>
    <p:sldLayoutId id="2147494851" r:id="rId17"/>
    <p:sldLayoutId id="2147494852" r:id="rId18"/>
    <p:sldLayoutId id="2147494853" r:id="rId19"/>
    <p:sldLayoutId id="2147494854" r:id="rId20"/>
    <p:sldLayoutId id="2147494855" r:id="rId21"/>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77.xml"/></Relationships>
</file>

<file path=ppt/slides/_rels/slide1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9.xml"/><Relationship Id="rId1" Type="http://schemas.openxmlformats.org/officeDocument/2006/relationships/slideLayout" Target="../slideLayouts/slideLayout360.xml"/></Relationships>
</file>

<file path=ppt/slides/_rels/slide1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0.xml"/><Relationship Id="rId1" Type="http://schemas.openxmlformats.org/officeDocument/2006/relationships/slideLayout" Target="../slideLayouts/slideLayout323.xml"/></Relationships>
</file>

<file path=ppt/slides/_rels/slide1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1.xml"/><Relationship Id="rId1" Type="http://schemas.openxmlformats.org/officeDocument/2006/relationships/slideLayout" Target="../slideLayouts/slideLayout323.xml"/></Relationships>
</file>

<file path=ppt/slides/_rels/slide1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5.png"/><Relationship Id="rId7" Type="http://schemas.openxmlformats.org/officeDocument/2006/relationships/image" Target="../media/image96.svg"/><Relationship Id="rId2" Type="http://schemas.openxmlformats.org/officeDocument/2006/relationships/notesSlide" Target="../notesSlides/notesSlide12.xml"/><Relationship Id="rId1" Type="http://schemas.openxmlformats.org/officeDocument/2006/relationships/slideLayout" Target="../slideLayouts/slideLayout323.xml"/><Relationship Id="rId6" Type="http://schemas.openxmlformats.org/officeDocument/2006/relationships/image" Target="../media/image95.png"/><Relationship Id="rId11" Type="http://schemas.openxmlformats.org/officeDocument/2006/relationships/image" Target="../media/image100.svg"/><Relationship Id="rId5" Type="http://schemas.openxmlformats.org/officeDocument/2006/relationships/image" Target="../media/image94.sv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svg"/></Relationships>
</file>

<file path=ppt/slides/_rels/slide1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101.png"/><Relationship Id="rId7" Type="http://schemas.openxmlformats.org/officeDocument/2006/relationships/image" Target="../media/image105.svg"/><Relationship Id="rId2" Type="http://schemas.openxmlformats.org/officeDocument/2006/relationships/notesSlide" Target="../notesSlides/notesSlide13.xml"/><Relationship Id="rId1" Type="http://schemas.openxmlformats.org/officeDocument/2006/relationships/slideLayout" Target="../slideLayouts/slideLayout260.xml"/><Relationship Id="rId6" Type="http://schemas.openxmlformats.org/officeDocument/2006/relationships/image" Target="../media/image104.png"/><Relationship Id="rId5" Type="http://schemas.openxmlformats.org/officeDocument/2006/relationships/image" Target="../media/image103.svg"/><Relationship Id="rId4" Type="http://schemas.openxmlformats.org/officeDocument/2006/relationships/image" Target="../media/image10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0.xml"/></Relationships>
</file>

<file path=ppt/slides/_rels/slide1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5.xml"/><Relationship Id="rId1" Type="http://schemas.openxmlformats.org/officeDocument/2006/relationships/slideLayout" Target="../slideLayouts/slideLayout274.xml"/><Relationship Id="rId5" Type="http://schemas.openxmlformats.org/officeDocument/2006/relationships/image" Target="../media/image85.png"/><Relationship Id="rId4" Type="http://schemas.openxmlformats.org/officeDocument/2006/relationships/image" Target="../media/image17.emf"/></Relationships>
</file>

<file path=ppt/slides/_rels/slide1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6.xml"/><Relationship Id="rId1" Type="http://schemas.openxmlformats.org/officeDocument/2006/relationships/slideLayout" Target="../slideLayouts/slideLayout274.xml"/><Relationship Id="rId5" Type="http://schemas.openxmlformats.org/officeDocument/2006/relationships/image" Target="../media/image107.png"/><Relationship Id="rId4" Type="http://schemas.openxmlformats.org/officeDocument/2006/relationships/image" Target="../media/image85.png"/></Relationships>
</file>

<file path=ppt/slides/_rels/slide1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7.xml"/><Relationship Id="rId1" Type="http://schemas.openxmlformats.org/officeDocument/2006/relationships/slideLayout" Target="../slideLayouts/slideLayout274.xml"/><Relationship Id="rId4" Type="http://schemas.openxmlformats.org/officeDocument/2006/relationships/image" Target="../media/image8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5.xml"/></Relationships>
</file>

<file path=ppt/slides/_rels/slide2.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1.xml"/><Relationship Id="rId1" Type="http://schemas.openxmlformats.org/officeDocument/2006/relationships/slideLayout" Target="../slideLayouts/slideLayout281.xml"/><Relationship Id="rId6" Type="http://schemas.openxmlformats.org/officeDocument/2006/relationships/image" Target="../media/image71.png"/><Relationship Id="rId5" Type="http://schemas.openxmlformats.org/officeDocument/2006/relationships/image" Target="../media/image70.jpg"/><Relationship Id="rId4" Type="http://schemas.openxmlformats.org/officeDocument/2006/relationships/image" Target="../media/image69.png"/><Relationship Id="rId9" Type="http://schemas.openxmlformats.org/officeDocument/2006/relationships/image" Target="../media/image74.png"/></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9.xml"/><Relationship Id="rId1" Type="http://schemas.openxmlformats.org/officeDocument/2006/relationships/slideLayout" Target="../slideLayouts/slideLayout274.xml"/><Relationship Id="rId5" Type="http://schemas.openxmlformats.org/officeDocument/2006/relationships/image" Target="../media/image108.png"/><Relationship Id="rId4" Type="http://schemas.openxmlformats.org/officeDocument/2006/relationships/image" Target="../media/image85.png"/></Relationships>
</file>

<file path=ppt/slides/_rels/slide2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0.xml"/><Relationship Id="rId1" Type="http://schemas.openxmlformats.org/officeDocument/2006/relationships/slideLayout" Target="../slideLayouts/slideLayout274.xml"/><Relationship Id="rId5" Type="http://schemas.openxmlformats.org/officeDocument/2006/relationships/image" Target="../media/image108.png"/><Relationship Id="rId4" Type="http://schemas.openxmlformats.org/officeDocument/2006/relationships/image" Target="../media/image85.png"/></Relationships>
</file>

<file path=ppt/slides/_rels/slide2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1.xml"/><Relationship Id="rId1" Type="http://schemas.openxmlformats.org/officeDocument/2006/relationships/slideLayout" Target="../slideLayouts/slideLayout3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2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23.xml"/></Relationships>
</file>

<file path=ppt/slides/_rels/slide2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4.xml"/><Relationship Id="rId1" Type="http://schemas.openxmlformats.org/officeDocument/2006/relationships/slideLayout" Target="../slideLayouts/slideLayout325.xml"/><Relationship Id="rId5" Type="http://schemas.openxmlformats.org/officeDocument/2006/relationships/image" Target="../media/image85.png"/><Relationship Id="rId4" Type="http://schemas.openxmlformats.org/officeDocument/2006/relationships/image" Target="../media/image111.png"/></Relationships>
</file>

<file path=ppt/slides/_rels/slide2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5.xml"/><Relationship Id="rId1" Type="http://schemas.openxmlformats.org/officeDocument/2006/relationships/slideLayout" Target="../slideLayouts/slideLayout325.xml"/><Relationship Id="rId5" Type="http://schemas.openxmlformats.org/officeDocument/2006/relationships/image" Target="../media/image85.png"/><Relationship Id="rId4" Type="http://schemas.openxmlformats.org/officeDocument/2006/relationships/image" Target="../media/image110.png"/></Relationships>
</file>

<file path=ppt/slides/_rels/slide2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6.xml"/><Relationship Id="rId1" Type="http://schemas.openxmlformats.org/officeDocument/2006/relationships/slideLayout" Target="../slideLayouts/slideLayout325.xml"/><Relationship Id="rId5" Type="http://schemas.openxmlformats.org/officeDocument/2006/relationships/image" Target="../media/image85.png"/><Relationship Id="rId4" Type="http://schemas.openxmlformats.org/officeDocument/2006/relationships/image" Target="../media/image110.png"/></Relationships>
</file>

<file path=ppt/slides/_rels/slide2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7.xml"/><Relationship Id="rId1" Type="http://schemas.openxmlformats.org/officeDocument/2006/relationships/slideLayout" Target="../slideLayouts/slideLayout274.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85.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12.xml"/></Relationships>
</file>

<file path=ppt/slides/_rels/slide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6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7.xml"/></Relationships>
</file>

<file path=ppt/slides/_rels/slide31.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notesSlide" Target="../notesSlides/notesSlide29.xml"/><Relationship Id="rId1" Type="http://schemas.openxmlformats.org/officeDocument/2006/relationships/slideLayout" Target="../slideLayouts/slideLayout275.xml"/><Relationship Id="rId6" Type="http://schemas.openxmlformats.org/officeDocument/2006/relationships/image" Target="../media/image117.png"/><Relationship Id="rId5" Type="http://schemas.openxmlformats.org/officeDocument/2006/relationships/image" Target="../media/image116.png"/><Relationship Id="rId10" Type="http://schemas.openxmlformats.org/officeDocument/2006/relationships/image" Target="../media/image121.svg"/><Relationship Id="rId4" Type="http://schemas.openxmlformats.org/officeDocument/2006/relationships/image" Target="../media/image115.png"/><Relationship Id="rId9" Type="http://schemas.openxmlformats.org/officeDocument/2006/relationships/image" Target="../media/image120.png"/></Relationships>
</file>

<file path=ppt/slides/_rels/slide3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0.xml"/><Relationship Id="rId1" Type="http://schemas.openxmlformats.org/officeDocument/2006/relationships/slideLayout" Target="../slideLayouts/slideLayout23.xml"/><Relationship Id="rId4" Type="http://schemas.openxmlformats.org/officeDocument/2006/relationships/image" Target="../media/image123.png"/></Relationships>
</file>

<file path=ppt/slides/_rels/slide3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1.xml"/><Relationship Id="rId1" Type="http://schemas.openxmlformats.org/officeDocument/2006/relationships/slideLayout" Target="../slideLayouts/slideLayout249.xml"/><Relationship Id="rId4" Type="http://schemas.openxmlformats.org/officeDocument/2006/relationships/image" Target="../media/image125.svg"/></Relationships>
</file>

<file path=ppt/slides/_rels/slide3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2.xml"/><Relationship Id="rId1" Type="http://schemas.openxmlformats.org/officeDocument/2006/relationships/slideLayout" Target="../slideLayouts/slideLayout249.xml"/><Relationship Id="rId4" Type="http://schemas.openxmlformats.org/officeDocument/2006/relationships/image" Target="../media/image125.svg"/></Relationships>
</file>

<file path=ppt/slides/_rels/slide38.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239.xml"/></Relationships>
</file>

<file path=ppt/slides/_rels/slide3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239.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6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33.svg"/><Relationship Id="rId2" Type="http://schemas.openxmlformats.org/officeDocument/2006/relationships/image" Target="../media/image132.png"/><Relationship Id="rId1" Type="http://schemas.openxmlformats.org/officeDocument/2006/relationships/slideLayout" Target="../slideLayouts/slideLayout249.xml"/></Relationships>
</file>

<file path=ppt/slides/_rels/slide41.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39.xml"/></Relationships>
</file>

<file path=ppt/slides/_rels/slide4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239.xml"/></Relationships>
</file>

<file path=ppt/slides/_rels/slide4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239.xml"/><Relationship Id="rId4" Type="http://schemas.openxmlformats.org/officeDocument/2006/relationships/image" Target="../media/image139.png"/></Relationships>
</file>

<file path=ppt/slides/_rels/slide4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239.xml"/><Relationship Id="rId4" Type="http://schemas.openxmlformats.org/officeDocument/2006/relationships/image" Target="../media/image142.png"/></Relationships>
</file>

<file path=ppt/slides/_rels/slide4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239.xml"/></Relationships>
</file>

<file path=ppt/slides/_rels/slide4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239.xml"/></Relationships>
</file>

<file path=ppt/slides/_rels/slide47.xml.rels><?xml version="1.0" encoding="UTF-8" standalone="yes"?>
<Relationships xmlns="http://schemas.openxmlformats.org/package/2006/relationships"><Relationship Id="rId8" Type="http://schemas.openxmlformats.org/officeDocument/2006/relationships/image" Target="../media/image152.svg"/><Relationship Id="rId13" Type="http://schemas.openxmlformats.org/officeDocument/2006/relationships/image" Target="../media/image157.png"/><Relationship Id="rId3" Type="http://schemas.openxmlformats.org/officeDocument/2006/relationships/image" Target="../media/image147.png"/><Relationship Id="rId7" Type="http://schemas.openxmlformats.org/officeDocument/2006/relationships/image" Target="../media/image151.png"/><Relationship Id="rId12" Type="http://schemas.openxmlformats.org/officeDocument/2006/relationships/image" Target="../media/image156.svg"/><Relationship Id="rId2" Type="http://schemas.openxmlformats.org/officeDocument/2006/relationships/notesSlide" Target="../notesSlides/notesSlide33.xml"/><Relationship Id="rId16" Type="http://schemas.openxmlformats.org/officeDocument/2006/relationships/image" Target="../media/image160.svg"/><Relationship Id="rId1" Type="http://schemas.openxmlformats.org/officeDocument/2006/relationships/slideLayout" Target="../slideLayouts/slideLayout28.xml"/><Relationship Id="rId6" Type="http://schemas.openxmlformats.org/officeDocument/2006/relationships/image" Target="../media/image150.svg"/><Relationship Id="rId11" Type="http://schemas.openxmlformats.org/officeDocument/2006/relationships/image" Target="../media/image155.png"/><Relationship Id="rId5" Type="http://schemas.openxmlformats.org/officeDocument/2006/relationships/image" Target="../media/image149.png"/><Relationship Id="rId15" Type="http://schemas.openxmlformats.org/officeDocument/2006/relationships/image" Target="../media/image159.png"/><Relationship Id="rId10" Type="http://schemas.openxmlformats.org/officeDocument/2006/relationships/image" Target="../media/image154.svg"/><Relationship Id="rId4" Type="http://schemas.openxmlformats.org/officeDocument/2006/relationships/image" Target="../media/image148.svg"/><Relationship Id="rId9" Type="http://schemas.openxmlformats.org/officeDocument/2006/relationships/image" Target="../media/image153.png"/><Relationship Id="rId14" Type="http://schemas.openxmlformats.org/officeDocument/2006/relationships/image" Target="../media/image158.svg"/></Relationships>
</file>

<file path=ppt/slides/_rels/slide4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4.xml"/><Relationship Id="rId1" Type="http://schemas.openxmlformats.org/officeDocument/2006/relationships/slideLayout" Target="../slideLayouts/slideLayout239.xml"/><Relationship Id="rId4" Type="http://schemas.openxmlformats.org/officeDocument/2006/relationships/image" Target="../media/image162.png"/></Relationships>
</file>

<file path=ppt/slides/_rels/slide4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5.xml"/><Relationship Id="rId1" Type="http://schemas.openxmlformats.org/officeDocument/2006/relationships/slideLayout" Target="../slideLayouts/slideLayout23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36.xml"/><Relationship Id="rId1" Type="http://schemas.openxmlformats.org/officeDocument/2006/relationships/tags" Target="../tags/tag7.xml"/><Relationship Id="rId5" Type="http://schemas.openxmlformats.org/officeDocument/2006/relationships/image" Target="../media/image76.svg"/><Relationship Id="rId4" Type="http://schemas.openxmlformats.org/officeDocument/2006/relationships/image" Target="../media/image75.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32.xml"/></Relationships>
</file>

<file path=ppt/slides/_rels/slide51.xml.rels><?xml version="1.0" encoding="UTF-8" standalone="yes"?>
<Relationships xmlns="http://schemas.openxmlformats.org/package/2006/relationships"><Relationship Id="rId3" Type="http://schemas.openxmlformats.org/officeDocument/2006/relationships/image" Target="../media/image165.svg"/><Relationship Id="rId2" Type="http://schemas.openxmlformats.org/officeDocument/2006/relationships/image" Target="../media/image164.png"/><Relationship Id="rId1" Type="http://schemas.openxmlformats.org/officeDocument/2006/relationships/slideLayout" Target="../slideLayouts/slideLayout249.xml"/></Relationships>
</file>

<file path=ppt/slides/_rels/slide5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7.xml"/><Relationship Id="rId1" Type="http://schemas.openxmlformats.org/officeDocument/2006/relationships/slideLayout" Target="../slideLayouts/slideLayout239.xml"/><Relationship Id="rId6" Type="http://schemas.openxmlformats.org/officeDocument/2006/relationships/image" Target="../media/image169.png"/><Relationship Id="rId5" Type="http://schemas.openxmlformats.org/officeDocument/2006/relationships/image" Target="../media/image168.png"/><Relationship Id="rId4" Type="http://schemas.openxmlformats.org/officeDocument/2006/relationships/image" Target="../media/image167.png"/></Relationships>
</file>

<file path=ppt/slides/_rels/slide53.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38.xml"/><Relationship Id="rId1" Type="http://schemas.openxmlformats.org/officeDocument/2006/relationships/slideLayout" Target="../slideLayouts/slideLayout239.xml"/><Relationship Id="rId4" Type="http://schemas.openxmlformats.org/officeDocument/2006/relationships/image" Target="../media/image171.png"/></Relationships>
</file>

<file path=ppt/slides/_rels/slide54.xml.rels><?xml version="1.0" encoding="UTF-8" standalone="yes"?>
<Relationships xmlns="http://schemas.openxmlformats.org/package/2006/relationships"><Relationship Id="rId8" Type="http://schemas.openxmlformats.org/officeDocument/2006/relationships/image" Target="../media/image177.svg"/><Relationship Id="rId3" Type="http://schemas.openxmlformats.org/officeDocument/2006/relationships/image" Target="../media/image172.png"/><Relationship Id="rId7" Type="http://schemas.openxmlformats.org/officeDocument/2006/relationships/image" Target="../media/image176.png"/><Relationship Id="rId2" Type="http://schemas.openxmlformats.org/officeDocument/2006/relationships/notesSlide" Target="../notesSlides/notesSlide39.xml"/><Relationship Id="rId1" Type="http://schemas.openxmlformats.org/officeDocument/2006/relationships/slideLayout" Target="../slideLayouts/slideLayout239.xml"/><Relationship Id="rId6" Type="http://schemas.openxmlformats.org/officeDocument/2006/relationships/image" Target="../media/image175.svg"/><Relationship Id="rId5" Type="http://schemas.openxmlformats.org/officeDocument/2006/relationships/image" Target="../media/image174.png"/><Relationship Id="rId4" Type="http://schemas.openxmlformats.org/officeDocument/2006/relationships/image" Target="../media/image173.svg"/></Relationships>
</file>

<file path=ppt/slides/_rels/slide55.xml.rels><?xml version="1.0" encoding="UTF-8" standalone="yes"?>
<Relationships xmlns="http://schemas.openxmlformats.org/package/2006/relationships"><Relationship Id="rId8" Type="http://schemas.openxmlformats.org/officeDocument/2006/relationships/image" Target="../media/image152.svg"/><Relationship Id="rId13" Type="http://schemas.openxmlformats.org/officeDocument/2006/relationships/image" Target="../media/image157.png"/><Relationship Id="rId3" Type="http://schemas.openxmlformats.org/officeDocument/2006/relationships/image" Target="../media/image147.png"/><Relationship Id="rId7" Type="http://schemas.openxmlformats.org/officeDocument/2006/relationships/image" Target="../media/image151.png"/><Relationship Id="rId12" Type="http://schemas.openxmlformats.org/officeDocument/2006/relationships/image" Target="../media/image156.svg"/><Relationship Id="rId2" Type="http://schemas.openxmlformats.org/officeDocument/2006/relationships/notesSlide" Target="../notesSlides/notesSlide40.xml"/><Relationship Id="rId16" Type="http://schemas.openxmlformats.org/officeDocument/2006/relationships/image" Target="../media/image160.svg"/><Relationship Id="rId1" Type="http://schemas.openxmlformats.org/officeDocument/2006/relationships/slideLayout" Target="../slideLayouts/slideLayout239.xml"/><Relationship Id="rId6" Type="http://schemas.openxmlformats.org/officeDocument/2006/relationships/image" Target="../media/image150.svg"/><Relationship Id="rId11" Type="http://schemas.openxmlformats.org/officeDocument/2006/relationships/image" Target="../media/image155.png"/><Relationship Id="rId5" Type="http://schemas.openxmlformats.org/officeDocument/2006/relationships/image" Target="../media/image149.png"/><Relationship Id="rId15" Type="http://schemas.openxmlformats.org/officeDocument/2006/relationships/image" Target="../media/image159.png"/><Relationship Id="rId10" Type="http://schemas.openxmlformats.org/officeDocument/2006/relationships/image" Target="../media/image154.svg"/><Relationship Id="rId4" Type="http://schemas.openxmlformats.org/officeDocument/2006/relationships/image" Target="../media/image148.svg"/><Relationship Id="rId9" Type="http://schemas.openxmlformats.org/officeDocument/2006/relationships/image" Target="../media/image153.png"/><Relationship Id="rId14" Type="http://schemas.openxmlformats.org/officeDocument/2006/relationships/image" Target="../media/image158.svg"/></Relationships>
</file>

<file path=ppt/slides/_rels/slide5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41.xml"/><Relationship Id="rId1" Type="http://schemas.openxmlformats.org/officeDocument/2006/relationships/slideLayout" Target="../slideLayouts/slideLayout239.xml"/><Relationship Id="rId4" Type="http://schemas.openxmlformats.org/officeDocument/2006/relationships/image" Target="../media/image179.png"/></Relationships>
</file>

<file path=ppt/slides/_rels/slide57.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23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5.xml"/><Relationship Id="rId1" Type="http://schemas.openxmlformats.org/officeDocument/2006/relationships/slideLayout" Target="../slideLayouts/slideLayout261.xml"/><Relationship Id="rId6" Type="http://schemas.openxmlformats.org/officeDocument/2006/relationships/image" Target="../media/image80.svg"/><Relationship Id="rId5" Type="http://schemas.openxmlformats.org/officeDocument/2006/relationships/image" Target="../media/image79.png"/><Relationship Id="rId10" Type="http://schemas.openxmlformats.org/officeDocument/2006/relationships/image" Target="../media/image84.svg"/><Relationship Id="rId4" Type="http://schemas.openxmlformats.org/officeDocument/2006/relationships/image" Target="../media/image78.svg"/><Relationship Id="rId9" Type="http://schemas.openxmlformats.org/officeDocument/2006/relationships/image" Target="../media/image83.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15.xml"/></Relationships>
</file>

<file path=ppt/slides/_rels/slide6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3.xml"/><Relationship Id="rId1" Type="http://schemas.openxmlformats.org/officeDocument/2006/relationships/slideLayout" Target="../slideLayouts/slideLayout52.xml"/><Relationship Id="rId5" Type="http://schemas.openxmlformats.org/officeDocument/2006/relationships/image" Target="../media/image183.png"/><Relationship Id="rId4" Type="http://schemas.openxmlformats.org/officeDocument/2006/relationships/image" Target="../media/image182.png"/></Relationships>
</file>

<file path=ppt/slides/_rels/slide6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44.xml"/><Relationship Id="rId1" Type="http://schemas.openxmlformats.org/officeDocument/2006/relationships/slideLayout" Target="../slideLayouts/slideLayout23.xml"/><Relationship Id="rId5" Type="http://schemas.openxmlformats.org/officeDocument/2006/relationships/image" Target="../media/image123.png"/><Relationship Id="rId4" Type="http://schemas.openxmlformats.org/officeDocument/2006/relationships/image" Target="../media/image185.png"/></Relationships>
</file>

<file path=ppt/slides/_rels/slide64.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45.xml"/><Relationship Id="rId1" Type="http://schemas.openxmlformats.org/officeDocument/2006/relationships/slideLayout" Target="../slideLayouts/slideLayout276.xml"/><Relationship Id="rId5" Type="http://schemas.openxmlformats.org/officeDocument/2006/relationships/image" Target="../media/image123.png"/><Relationship Id="rId4" Type="http://schemas.openxmlformats.org/officeDocument/2006/relationships/image" Target="../media/image185.png"/></Relationships>
</file>

<file path=ppt/slides/_rels/slide6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19.xml"/><Relationship Id="rId4" Type="http://schemas.openxmlformats.org/officeDocument/2006/relationships/image" Target="../media/image188.png"/></Relationships>
</file>

<file path=ppt/slides/_rels/slide66.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19.xml"/></Relationships>
</file>

<file path=ppt/slides/_rels/slide67.xml.rels><?xml version="1.0" encoding="UTF-8" standalone="yes"?>
<Relationships xmlns="http://schemas.openxmlformats.org/package/2006/relationships"><Relationship Id="rId3" Type="http://schemas.openxmlformats.org/officeDocument/2006/relationships/hyperlink" Target="https://azure.microsoft.com/en-us/free/synapse-analytics/" TargetMode="External"/><Relationship Id="rId2" Type="http://schemas.openxmlformats.org/officeDocument/2006/relationships/notesSlide" Target="../notesSlides/notesSlide46.xml"/><Relationship Id="rId1" Type="http://schemas.openxmlformats.org/officeDocument/2006/relationships/slideLayout" Target="../slideLayouts/slideLayout167.xml"/><Relationship Id="rId6" Type="http://schemas.openxmlformats.org/officeDocument/2006/relationships/image" Target="../media/image191.svg"/><Relationship Id="rId5" Type="http://schemas.openxmlformats.org/officeDocument/2006/relationships/image" Target="../media/image190.png"/><Relationship Id="rId4" Type="http://schemas.openxmlformats.org/officeDocument/2006/relationships/hyperlink" Target="https://aka.ms/synapse"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9.xml"/><Relationship Id="rId1" Type="http://schemas.openxmlformats.org/officeDocument/2006/relationships/tags" Target="../tags/tag8.xml"/><Relationship Id="rId4" Type="http://schemas.openxmlformats.org/officeDocument/2006/relationships/image" Target="../media/image19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0.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69.xml"/></Relationships>
</file>

<file path=ppt/slides/_rels/slide8.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svg"/><Relationship Id="rId2" Type="http://schemas.openxmlformats.org/officeDocument/2006/relationships/notesSlide" Target="../notesSlides/notesSlide7.xml"/><Relationship Id="rId1" Type="http://schemas.openxmlformats.org/officeDocument/2006/relationships/slideLayout" Target="../slideLayouts/slideLayout36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277721" y="2275485"/>
            <a:ext cx="5199473" cy="2585323"/>
          </a:xfrm>
        </p:spPr>
        <p:txBody>
          <a:bodyPr/>
          <a:lstStyle/>
          <a:p>
            <a:pPr algn="ctr"/>
            <a:r>
              <a:rPr kumimoji="0" lang="en-US" sz="60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t>Azure </a:t>
            </a:r>
            <a:r>
              <a:rPr kumimoji="0" lang="en-US" sz="6000" b="0" i="0" u="none" strike="noStrike" kern="1200" cap="none" spc="-147" normalizeH="0" baseline="0" noProof="0" dirty="0">
                <a:ln w="3175">
                  <a:noFill/>
                </a:ln>
                <a:solidFill>
                  <a:srgbClr val="0078D4">
                    <a:lumMod val="60000"/>
                    <a:lumOff val="40000"/>
                  </a:srgbClr>
                </a:solidFill>
                <a:effectLst/>
                <a:uLnTx/>
                <a:uFillTx/>
                <a:latin typeface="Segoe UI Semibold"/>
                <a:ea typeface="+mn-ea"/>
                <a:cs typeface="Segoe UI" pitchFamily="34" charset="0"/>
              </a:rPr>
              <a:t>Synapse</a:t>
            </a:r>
            <a:r>
              <a:rPr kumimoji="0" lang="en-US" sz="60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t> Analytics</a:t>
            </a:r>
            <a:br>
              <a:rPr kumimoji="0" lang="en-US" sz="54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br>
            <a:r>
              <a:rPr kumimoji="0" lang="en-US" sz="4800" b="0" i="0" u="none" strike="noStrike" kern="1200" cap="none" spc="-147" normalizeH="0" baseline="0" noProof="0" dirty="0">
                <a:ln w="3175">
                  <a:noFill/>
                </a:ln>
                <a:solidFill>
                  <a:srgbClr val="BAD80A">
                    <a:lumMod val="60000"/>
                    <a:lumOff val="40000"/>
                  </a:srgbClr>
                </a:solidFill>
                <a:effectLst/>
                <a:uLnTx/>
                <a:uFillTx/>
                <a:latin typeface="Segoe UI Semibold"/>
                <a:ea typeface="+mn-ea"/>
                <a:cs typeface="Segoe UI" pitchFamily="34" charset="0"/>
              </a:rPr>
              <a:t>Synapse in a Day</a:t>
            </a:r>
            <a:endParaRPr lang="en-US" dirty="0"/>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5026595"/>
            <a:ext cx="5199473" cy="7755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p:txBody>
      </p:sp>
      <p:pic>
        <p:nvPicPr>
          <p:cNvPr id="3" name="Picture 2">
            <a:extLst>
              <a:ext uri="{FF2B5EF4-FFF2-40B4-BE49-F238E27FC236}">
                <a16:creationId xmlns:a16="http://schemas.microsoft.com/office/drawing/2014/main" id="{C83C1B24-361C-1F24-627F-A4A689F846B9}"/>
              </a:ext>
            </a:extLst>
          </p:cNvPr>
          <p:cNvPicPr>
            <a:picLocks noChangeAspect="1"/>
          </p:cNvPicPr>
          <p:nvPr/>
        </p:nvPicPr>
        <p:blipFill>
          <a:blip r:embed="rId2"/>
          <a:stretch>
            <a:fillRect/>
          </a:stretch>
        </p:blipFill>
        <p:spPr>
          <a:xfrm>
            <a:off x="7991062" y="1768362"/>
            <a:ext cx="1537570" cy="15513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622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450399-9912-4C7D-A85F-9EA3EAF4F694}"/>
              </a:ext>
            </a:extLst>
          </p:cNvPr>
          <p:cNvSpPr>
            <a:spLocks noGrp="1"/>
          </p:cNvSpPr>
          <p:nvPr>
            <p:ph type="title"/>
          </p:nvPr>
        </p:nvSpPr>
        <p:spPr/>
        <p:txBody>
          <a:bodyPr/>
          <a:lstStyle/>
          <a:p>
            <a:r>
              <a:rPr lang="en-US" dirty="0"/>
              <a:t>Azure Synapse Analytics </a:t>
            </a:r>
          </a:p>
        </p:txBody>
      </p:sp>
      <p:sp>
        <p:nvSpPr>
          <p:cNvPr id="6" name="empowering world's worker">
            <a:extLst>
              <a:ext uri="{FF2B5EF4-FFF2-40B4-BE49-F238E27FC236}">
                <a16:creationId xmlns:a16="http://schemas.microsoft.com/office/drawing/2014/main" id="{78052C4F-87BB-4F1C-BF2F-43938A411C5E}"/>
              </a:ext>
            </a:extLst>
          </p:cNvPr>
          <p:cNvSpPr/>
          <p:nvPr/>
        </p:nvSpPr>
        <p:spPr bwMode="auto">
          <a:xfrm>
            <a:off x="426424" y="9083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a:rPr>
              <a:t>Limitless analytics service with unmatched time to insight</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Semibold"/>
            </a:endParaRPr>
          </a:p>
        </p:txBody>
      </p:sp>
      <p:sp>
        <p:nvSpPr>
          <p:cNvPr id="7" name="Rectangle 6">
            <a:extLst>
              <a:ext uri="{FF2B5EF4-FFF2-40B4-BE49-F238E27FC236}">
                <a16:creationId xmlns:a16="http://schemas.microsoft.com/office/drawing/2014/main" id="{63AE8E0B-D05A-43CA-A549-C61E6BBE8883}"/>
              </a:ext>
            </a:extLst>
          </p:cNvPr>
          <p:cNvSpPr/>
          <p:nvPr/>
        </p:nvSpPr>
        <p:spPr bwMode="auto">
          <a:xfrm>
            <a:off x="553885" y="1393053"/>
            <a:ext cx="8040606" cy="4832350"/>
          </a:xfrm>
          <a:prstGeom prst="rect">
            <a:avLst/>
          </a:prstGeom>
          <a:solidFill>
            <a:schemeClr val="bg1">
              <a:lumMod val="95000"/>
            </a:schemeClr>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0C3"/>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1A958CCD-ABAD-48E0-8FE2-C9F98C6511C0}"/>
              </a:ext>
            </a:extLst>
          </p:cNvPr>
          <p:cNvGrpSpPr/>
          <p:nvPr/>
        </p:nvGrpSpPr>
        <p:grpSpPr>
          <a:xfrm>
            <a:off x="775753" y="1813292"/>
            <a:ext cx="7655325" cy="3311529"/>
            <a:chOff x="1115729" y="2187385"/>
            <a:chExt cx="7655325" cy="3311529"/>
          </a:xfrm>
          <a:effectLst>
            <a:glow rad="63500">
              <a:schemeClr val="accent1">
                <a:satMod val="175000"/>
                <a:alpha val="40000"/>
              </a:schemeClr>
            </a:glow>
          </a:effectLst>
        </p:grpSpPr>
        <p:sp>
          <p:nvSpPr>
            <p:cNvPr id="9" name="Rectangle 8">
              <a:extLst>
                <a:ext uri="{FF2B5EF4-FFF2-40B4-BE49-F238E27FC236}">
                  <a16:creationId xmlns:a16="http://schemas.microsoft.com/office/drawing/2014/main" id="{6254600A-9D34-4C7B-A7F9-A362A99C9292}"/>
                </a:ext>
              </a:extLst>
            </p:cNvPr>
            <p:cNvSpPr/>
            <p:nvPr/>
          </p:nvSpPr>
          <p:spPr bwMode="auto">
            <a:xfrm>
              <a:off x="1116434" y="2454682"/>
              <a:ext cx="7654620" cy="3044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C38BBBA-A5B8-4972-9F5A-E7C201751809}"/>
                </a:ext>
              </a:extLst>
            </p:cNvPr>
            <p:cNvSpPr/>
            <p:nvPr/>
          </p:nvSpPr>
          <p:spPr bwMode="auto">
            <a:xfrm>
              <a:off x="1115729" y="2187385"/>
              <a:ext cx="1820290" cy="277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ynapse Analytics</a:t>
              </a:r>
            </a:p>
          </p:txBody>
        </p:sp>
      </p:grpSp>
      <p:sp>
        <p:nvSpPr>
          <p:cNvPr id="11" name="Rectangle 10">
            <a:extLst>
              <a:ext uri="{FF2B5EF4-FFF2-40B4-BE49-F238E27FC236}">
                <a16:creationId xmlns:a16="http://schemas.microsoft.com/office/drawing/2014/main" id="{80827C0C-A2B0-4D09-B7A8-6458E0B87929}"/>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Platform</a:t>
            </a:r>
          </a:p>
        </p:txBody>
      </p:sp>
      <p:grpSp>
        <p:nvGrpSpPr>
          <p:cNvPr id="12" name="Group 11">
            <a:extLst>
              <a:ext uri="{FF2B5EF4-FFF2-40B4-BE49-F238E27FC236}">
                <a16:creationId xmlns:a16="http://schemas.microsoft.com/office/drawing/2014/main" id="{09EA3A49-F255-4B80-8747-0FB97BBE2E16}"/>
              </a:ext>
            </a:extLst>
          </p:cNvPr>
          <p:cNvGrpSpPr/>
          <p:nvPr/>
        </p:nvGrpSpPr>
        <p:grpSpPr>
          <a:xfrm>
            <a:off x="772577" y="4998201"/>
            <a:ext cx="7654620" cy="1057692"/>
            <a:chOff x="772577" y="4998201"/>
            <a:chExt cx="7654620" cy="1057692"/>
          </a:xfrm>
          <a:effectLst>
            <a:glow rad="101600">
              <a:schemeClr val="accent1">
                <a:satMod val="175000"/>
                <a:alpha val="40000"/>
              </a:schemeClr>
            </a:glow>
          </a:effectLst>
        </p:grpSpPr>
        <p:sp>
          <p:nvSpPr>
            <p:cNvPr id="13" name="Rectangle 12">
              <a:extLst>
                <a:ext uri="{FF2B5EF4-FFF2-40B4-BE49-F238E27FC236}">
                  <a16:creationId xmlns:a16="http://schemas.microsoft.com/office/drawing/2014/main" id="{54A165CF-1CDC-434B-8ADD-03082CA25B44}"/>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14" name="TextBox 13">
              <a:extLst>
                <a:ext uri="{FF2B5EF4-FFF2-40B4-BE49-F238E27FC236}">
                  <a16:creationId xmlns:a16="http://schemas.microsoft.com/office/drawing/2014/main" id="{FBFF6E47-23C5-4A67-9823-C4714F0669B6}"/>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15" name="Group 14">
              <a:extLst>
                <a:ext uri="{FF2B5EF4-FFF2-40B4-BE49-F238E27FC236}">
                  <a16:creationId xmlns:a16="http://schemas.microsoft.com/office/drawing/2014/main" id="{33BE2FFE-D754-4C7C-BCCB-2F0D8B396188}"/>
                </a:ext>
              </a:extLst>
            </p:cNvPr>
            <p:cNvGrpSpPr/>
            <p:nvPr/>
          </p:nvGrpSpPr>
          <p:grpSpPr>
            <a:xfrm>
              <a:off x="3931915" y="4998201"/>
              <a:ext cx="2436090" cy="774917"/>
              <a:chOff x="4053274" y="4916113"/>
              <a:chExt cx="2436090" cy="857006"/>
            </a:xfrm>
          </p:grpSpPr>
          <p:cxnSp>
            <p:nvCxnSpPr>
              <p:cNvPr id="16" name="Straight Connector 15">
                <a:extLst>
                  <a:ext uri="{FF2B5EF4-FFF2-40B4-BE49-F238E27FC236}">
                    <a16:creationId xmlns:a16="http://schemas.microsoft.com/office/drawing/2014/main" id="{27CF1A39-0075-4FA4-ADB3-0D4C88F63A6D}"/>
                  </a:ext>
                </a:extLst>
              </p:cNvPr>
              <p:cNvCxnSpPr>
                <a:cxnSpLocks/>
              </p:cNvCxnSpPr>
              <p:nvPr/>
            </p:nvCxnSpPr>
            <p:spPr>
              <a:xfrm flipV="1">
                <a:off x="40532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08610E-A314-4A75-B9B3-2DC75E473717}"/>
                  </a:ext>
                </a:extLst>
              </p:cNvPr>
              <p:cNvCxnSpPr>
                <a:cxnSpLocks/>
              </p:cNvCxnSpPr>
              <p:nvPr/>
            </p:nvCxnSpPr>
            <p:spPr>
              <a:xfrm flipV="1">
                <a:off x="4146264"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3CACC8-1351-4061-833E-3886F45A3703}"/>
                  </a:ext>
                </a:extLst>
              </p:cNvPr>
              <p:cNvCxnSpPr>
                <a:cxnSpLocks/>
              </p:cNvCxnSpPr>
              <p:nvPr/>
            </p:nvCxnSpPr>
            <p:spPr>
              <a:xfrm flipV="1">
                <a:off x="423986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AA4253C-AD68-4811-B626-AEF12EA9C69B}"/>
                  </a:ext>
                </a:extLst>
              </p:cNvPr>
              <p:cNvCxnSpPr>
                <a:cxnSpLocks/>
              </p:cNvCxnSpPr>
              <p:nvPr/>
            </p:nvCxnSpPr>
            <p:spPr>
              <a:xfrm flipV="1">
                <a:off x="4327618"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9E2B07C-5840-4E76-9961-BAED39D3F721}"/>
                  </a:ext>
                </a:extLst>
              </p:cNvPr>
              <p:cNvCxnSpPr>
                <a:cxnSpLocks/>
              </p:cNvCxnSpPr>
              <p:nvPr/>
            </p:nvCxnSpPr>
            <p:spPr>
              <a:xfrm flipV="1">
                <a:off x="4420557"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25D8228-CABD-48BE-B2FD-F8B9CBEC4FB1}"/>
                  </a:ext>
                </a:extLst>
              </p:cNvPr>
              <p:cNvCxnSpPr>
                <a:cxnSpLocks/>
              </p:cNvCxnSpPr>
              <p:nvPr/>
            </p:nvCxnSpPr>
            <p:spPr>
              <a:xfrm flipV="1">
                <a:off x="450579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386C60-4191-46F7-802C-2B9D531544B7}"/>
                  </a:ext>
                </a:extLst>
              </p:cNvPr>
              <p:cNvCxnSpPr>
                <a:cxnSpLocks/>
              </p:cNvCxnSpPr>
              <p:nvPr/>
            </p:nvCxnSpPr>
            <p:spPr>
              <a:xfrm flipV="1">
                <a:off x="4595679"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1B94F7-9F65-4F6D-8F49-E6840E434E87}"/>
                  </a:ext>
                </a:extLst>
              </p:cNvPr>
              <p:cNvCxnSpPr>
                <a:cxnSpLocks/>
              </p:cNvCxnSpPr>
              <p:nvPr/>
            </p:nvCxnSpPr>
            <p:spPr>
              <a:xfrm flipV="1">
                <a:off x="4683807"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7CAD5DC-6FBB-461B-8992-5B4D2827C4FE}"/>
                  </a:ext>
                </a:extLst>
              </p:cNvPr>
              <p:cNvCxnSpPr>
                <a:cxnSpLocks/>
              </p:cNvCxnSpPr>
              <p:nvPr/>
            </p:nvCxnSpPr>
            <p:spPr>
              <a:xfrm flipV="1">
                <a:off x="477679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4BE2AE-161F-4C8F-829C-9531DB245921}"/>
                  </a:ext>
                </a:extLst>
              </p:cNvPr>
              <p:cNvCxnSpPr>
                <a:cxnSpLocks/>
              </p:cNvCxnSpPr>
              <p:nvPr/>
            </p:nvCxnSpPr>
            <p:spPr>
              <a:xfrm flipV="1">
                <a:off x="486978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92C06B9-08B9-4E52-B4D3-3A3B8FA0AEA9}"/>
                  </a:ext>
                </a:extLst>
              </p:cNvPr>
              <p:cNvCxnSpPr>
                <a:cxnSpLocks/>
              </p:cNvCxnSpPr>
              <p:nvPr/>
            </p:nvCxnSpPr>
            <p:spPr>
              <a:xfrm flipV="1">
                <a:off x="495217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B1D975C-3AA3-481A-BEBC-A9D59E761F26}"/>
                  </a:ext>
                </a:extLst>
              </p:cNvPr>
              <p:cNvCxnSpPr>
                <a:cxnSpLocks/>
              </p:cNvCxnSpPr>
              <p:nvPr/>
            </p:nvCxnSpPr>
            <p:spPr>
              <a:xfrm flipV="1">
                <a:off x="504516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69D3AE7-2E91-41D8-AD0B-D1ECA3D8FB55}"/>
                  </a:ext>
                </a:extLst>
              </p:cNvPr>
              <p:cNvCxnSpPr>
                <a:cxnSpLocks/>
              </p:cNvCxnSpPr>
              <p:nvPr/>
            </p:nvCxnSpPr>
            <p:spPr>
              <a:xfrm flipV="1">
                <a:off x="5138766"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3AFC8F-FCEA-4AEB-BC7B-7B16368CD215}"/>
                  </a:ext>
                </a:extLst>
              </p:cNvPr>
              <p:cNvCxnSpPr>
                <a:cxnSpLocks/>
              </p:cNvCxnSpPr>
              <p:nvPr/>
            </p:nvCxnSpPr>
            <p:spPr>
              <a:xfrm flipV="1">
                <a:off x="522652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2A81E13-EB0B-4A6E-8D23-2EE7113ACF84}"/>
                  </a:ext>
                </a:extLst>
              </p:cNvPr>
              <p:cNvCxnSpPr>
                <a:cxnSpLocks/>
              </p:cNvCxnSpPr>
              <p:nvPr/>
            </p:nvCxnSpPr>
            <p:spPr>
              <a:xfrm flipV="1">
                <a:off x="5319461"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A99B171-D7FD-402F-9800-BAF64A150744}"/>
                  </a:ext>
                </a:extLst>
              </p:cNvPr>
              <p:cNvCxnSpPr>
                <a:cxnSpLocks/>
              </p:cNvCxnSpPr>
              <p:nvPr/>
            </p:nvCxnSpPr>
            <p:spPr>
              <a:xfrm flipV="1">
                <a:off x="5404702"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2C4D812-5626-4539-8C73-0DB6B39507BF}"/>
                  </a:ext>
                </a:extLst>
              </p:cNvPr>
              <p:cNvCxnSpPr>
                <a:cxnSpLocks/>
              </p:cNvCxnSpPr>
              <p:nvPr/>
            </p:nvCxnSpPr>
            <p:spPr>
              <a:xfrm flipV="1">
                <a:off x="549458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79B3711-8A14-48E1-B6A1-C6E95F14FAB6}"/>
                  </a:ext>
                </a:extLst>
              </p:cNvPr>
              <p:cNvCxnSpPr>
                <a:cxnSpLocks/>
              </p:cNvCxnSpPr>
              <p:nvPr/>
            </p:nvCxnSpPr>
            <p:spPr>
              <a:xfrm flipV="1">
                <a:off x="5582711"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9959F9-6C20-4AB5-836A-8521B8437F44}"/>
                  </a:ext>
                </a:extLst>
              </p:cNvPr>
              <p:cNvCxnSpPr>
                <a:cxnSpLocks/>
              </p:cNvCxnSpPr>
              <p:nvPr/>
            </p:nvCxnSpPr>
            <p:spPr>
              <a:xfrm flipV="1">
                <a:off x="567570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96833F7-1C59-41D2-9D4F-8417F031019C}"/>
                  </a:ext>
                </a:extLst>
              </p:cNvPr>
              <p:cNvCxnSpPr>
                <a:cxnSpLocks/>
              </p:cNvCxnSpPr>
              <p:nvPr/>
            </p:nvCxnSpPr>
            <p:spPr>
              <a:xfrm flipV="1">
                <a:off x="576869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4A68315-2FE5-4721-94EB-C5553BA52636}"/>
                  </a:ext>
                </a:extLst>
              </p:cNvPr>
              <p:cNvCxnSpPr>
                <a:cxnSpLocks/>
              </p:cNvCxnSpPr>
              <p:nvPr/>
            </p:nvCxnSpPr>
            <p:spPr>
              <a:xfrm flipV="1">
                <a:off x="585943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795316-3792-40A1-ACBC-37A71B46CAA9}"/>
                  </a:ext>
                </a:extLst>
              </p:cNvPr>
              <p:cNvCxnSpPr>
                <a:cxnSpLocks/>
              </p:cNvCxnSpPr>
              <p:nvPr/>
            </p:nvCxnSpPr>
            <p:spPr>
              <a:xfrm flipV="1">
                <a:off x="594719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5A90FE8-A567-44FD-A403-2133BC513904}"/>
                  </a:ext>
                </a:extLst>
              </p:cNvPr>
              <p:cNvCxnSpPr>
                <a:cxnSpLocks/>
              </p:cNvCxnSpPr>
              <p:nvPr/>
            </p:nvCxnSpPr>
            <p:spPr>
              <a:xfrm flipV="1">
                <a:off x="604013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A4382F-3490-43EB-857A-0C0060195611}"/>
                  </a:ext>
                </a:extLst>
              </p:cNvPr>
              <p:cNvCxnSpPr>
                <a:cxnSpLocks/>
              </p:cNvCxnSpPr>
              <p:nvPr/>
            </p:nvCxnSpPr>
            <p:spPr>
              <a:xfrm flipV="1">
                <a:off x="61253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6CFE2EC-E362-4235-AD4B-2896DC1C08C4}"/>
                  </a:ext>
                </a:extLst>
              </p:cNvPr>
              <p:cNvCxnSpPr>
                <a:cxnSpLocks/>
              </p:cNvCxnSpPr>
              <p:nvPr/>
            </p:nvCxnSpPr>
            <p:spPr>
              <a:xfrm flipV="1">
                <a:off x="6215255"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7011FEC-1B27-4B3B-9EA6-A3ECA49C7A9D}"/>
                  </a:ext>
                </a:extLst>
              </p:cNvPr>
              <p:cNvCxnSpPr>
                <a:cxnSpLocks/>
              </p:cNvCxnSpPr>
              <p:nvPr/>
            </p:nvCxnSpPr>
            <p:spPr>
              <a:xfrm flipV="1">
                <a:off x="63189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B14C8C-BBDA-4A8D-A229-0F24D175B704}"/>
                  </a:ext>
                </a:extLst>
              </p:cNvPr>
              <p:cNvCxnSpPr>
                <a:cxnSpLocks/>
              </p:cNvCxnSpPr>
              <p:nvPr/>
            </p:nvCxnSpPr>
            <p:spPr>
              <a:xfrm flipV="1">
                <a:off x="63963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2C04F8A-5A90-4F6C-85DB-0E9ABEF3F5BB}"/>
                  </a:ext>
                </a:extLst>
              </p:cNvPr>
              <p:cNvCxnSpPr>
                <a:cxnSpLocks/>
              </p:cNvCxnSpPr>
              <p:nvPr/>
            </p:nvCxnSpPr>
            <p:spPr>
              <a:xfrm flipV="1">
                <a:off x="648936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44" name="Straight Connector 43">
            <a:extLst>
              <a:ext uri="{FF2B5EF4-FFF2-40B4-BE49-F238E27FC236}">
                <a16:creationId xmlns:a16="http://schemas.microsoft.com/office/drawing/2014/main" id="{9DB36C69-98B0-40A2-AD4A-5674747177AC}"/>
              </a:ext>
            </a:extLst>
          </p:cNvPr>
          <p:cNvCxnSpPr>
            <a:cxnSpLocks/>
            <a:endCxn id="45"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DCD1C0D0-FBFF-4E66-AECF-DE65604BB1C7}"/>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Data</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t>
            </a: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36E778D1-F36B-4F99-BE6E-061554CFF1DA}"/>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ETASTORE</a:t>
            </a:r>
          </a:p>
        </p:txBody>
      </p:sp>
      <p:sp>
        <p:nvSpPr>
          <p:cNvPr id="47" name="Rectangle 46">
            <a:extLst>
              <a:ext uri="{FF2B5EF4-FFF2-40B4-BE49-F238E27FC236}">
                <a16:creationId xmlns:a16="http://schemas.microsoft.com/office/drawing/2014/main" id="{253DD55B-E7DD-4EDA-8046-553354EE11EB}"/>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SECURITY</a:t>
            </a:r>
          </a:p>
        </p:txBody>
      </p:sp>
      <p:sp>
        <p:nvSpPr>
          <p:cNvPr id="48" name="Rectangle 47">
            <a:extLst>
              <a:ext uri="{FF2B5EF4-FFF2-40B4-BE49-F238E27FC236}">
                <a16:creationId xmlns:a16="http://schemas.microsoft.com/office/drawing/2014/main" id="{C0545D86-76AA-424C-A711-D569E3AF3F45}"/>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ANAGEMENT</a:t>
            </a:r>
          </a:p>
        </p:txBody>
      </p:sp>
      <p:sp>
        <p:nvSpPr>
          <p:cNvPr id="49" name="Rectangle 48">
            <a:extLst>
              <a:ext uri="{FF2B5EF4-FFF2-40B4-BE49-F238E27FC236}">
                <a16:creationId xmlns:a16="http://schemas.microsoft.com/office/drawing/2014/main" id="{94464004-5A22-4B58-8133-C5D17DE63CF0}"/>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ONITORING</a:t>
            </a:r>
          </a:p>
        </p:txBody>
      </p:sp>
      <p:sp>
        <p:nvSpPr>
          <p:cNvPr id="50" name="Rectangle 49">
            <a:extLst>
              <a:ext uri="{FF2B5EF4-FFF2-40B4-BE49-F238E27FC236}">
                <a16:creationId xmlns:a16="http://schemas.microsoft.com/office/drawing/2014/main" id="{2671B03A-81D6-478F-BD24-4FBE61123CBB}"/>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or, management, security, monitoring, and </a:t>
            </a:r>
            <a:r>
              <a:rPr kumimoji="0" lang="en-US" sz="12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CF0E0A25-6A3F-4F14-ACA8-E489033D7762}"/>
              </a:ext>
            </a:extLst>
          </p:cNvPr>
          <p:cNvCxnSpPr>
            <a:cxnSpLocks/>
            <a:endCxn id="50"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AE5EB2-1FDA-46F8-A22D-C8910947F966}"/>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9CF6DD72-B710-49D1-94A5-A87AE0396FE3}"/>
              </a:ext>
            </a:extLst>
          </p:cNvPr>
          <p:cNvSpPr/>
          <p:nvPr/>
        </p:nvSpPr>
        <p:spPr bwMode="auto">
          <a:xfrm>
            <a:off x="3816117" y="4602301"/>
            <a:ext cx="4213419"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54" name="Group 53">
            <a:extLst>
              <a:ext uri="{FF2B5EF4-FFF2-40B4-BE49-F238E27FC236}">
                <a16:creationId xmlns:a16="http://schemas.microsoft.com/office/drawing/2014/main" id="{427BE648-DAF1-4C51-9831-952F9DF49EDF}"/>
              </a:ext>
            </a:extLst>
          </p:cNvPr>
          <p:cNvGrpSpPr/>
          <p:nvPr/>
        </p:nvGrpSpPr>
        <p:grpSpPr>
          <a:xfrm>
            <a:off x="5952629" y="4060181"/>
            <a:ext cx="2076908" cy="490796"/>
            <a:chOff x="5911431" y="4135704"/>
            <a:chExt cx="2076908" cy="490796"/>
          </a:xfrm>
        </p:grpSpPr>
        <p:sp>
          <p:nvSpPr>
            <p:cNvPr id="55" name="Rectangle 54">
              <a:extLst>
                <a:ext uri="{FF2B5EF4-FFF2-40B4-BE49-F238E27FC236}">
                  <a16:creationId xmlns:a16="http://schemas.microsoft.com/office/drawing/2014/main" id="{AC3BB007-AB8E-4A06-9574-2BD3CA50573A}"/>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4">
              <a:extLst>
                <a:ext uri="{FF2B5EF4-FFF2-40B4-BE49-F238E27FC236}">
                  <a16:creationId xmlns:a16="http://schemas.microsoft.com/office/drawing/2014/main" id="{3E0DBEF9-A1CA-4B28-B499-62249BE721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ectangle 56">
            <a:extLst>
              <a:ext uri="{FF2B5EF4-FFF2-40B4-BE49-F238E27FC236}">
                <a16:creationId xmlns:a16="http://schemas.microsoft.com/office/drawing/2014/main" id="{922C63DC-3060-4300-8BB4-671C252FE040}"/>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58" name="TextBox 57">
            <a:extLst>
              <a:ext uri="{FF2B5EF4-FFF2-40B4-BE49-F238E27FC236}">
                <a16:creationId xmlns:a16="http://schemas.microsoft.com/office/drawing/2014/main" id="{295C5000-8792-4BAB-81C4-8262B78BADEE}"/>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59" name="Rectangle 58">
            <a:extLst>
              <a:ext uri="{FF2B5EF4-FFF2-40B4-BE49-F238E27FC236}">
                <a16:creationId xmlns:a16="http://schemas.microsoft.com/office/drawing/2014/main" id="{49223E51-AF5A-4394-9724-724B4EE7B46E}"/>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60" name="Straight Connector 59">
            <a:extLst>
              <a:ext uri="{FF2B5EF4-FFF2-40B4-BE49-F238E27FC236}">
                <a16:creationId xmlns:a16="http://schemas.microsoft.com/office/drawing/2014/main" id="{A045CDCF-C358-41C3-A628-9F37A5C58049}"/>
              </a:ext>
            </a:extLst>
          </p:cNvPr>
          <p:cNvCxnSpPr>
            <a:cxnSpLocks/>
            <a:endCxn id="59"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9CA8C01-9D65-43CE-9E9D-AC7F86F522A8}"/>
              </a:ext>
            </a:extLst>
          </p:cNvPr>
          <p:cNvSpPr/>
          <p:nvPr/>
        </p:nvSpPr>
        <p:spPr bwMode="auto">
          <a:xfrm>
            <a:off x="3816118" y="3494173"/>
            <a:ext cx="2085040"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62" name="Rectangle 61">
            <a:extLst>
              <a:ext uri="{FF2B5EF4-FFF2-40B4-BE49-F238E27FC236}">
                <a16:creationId xmlns:a16="http://schemas.microsoft.com/office/drawing/2014/main" id="{098A2E19-8A08-4B94-8974-15F1264A3606}"/>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63" name="TextBox 62">
            <a:extLst>
              <a:ext uri="{FF2B5EF4-FFF2-40B4-BE49-F238E27FC236}">
                <a16:creationId xmlns:a16="http://schemas.microsoft.com/office/drawing/2014/main" id="{B64F9498-F3A5-4BD4-856A-82B4BDE1A214}"/>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64" name="Rectangle 63">
            <a:extLst>
              <a:ext uri="{FF2B5EF4-FFF2-40B4-BE49-F238E27FC236}">
                <a16:creationId xmlns:a16="http://schemas.microsoft.com/office/drawing/2014/main" id="{9C6A3698-44F0-4A60-AF21-9869FA9D60D6}"/>
              </a:ext>
            </a:extLst>
          </p:cNvPr>
          <p:cNvSpPr/>
          <p:nvPr/>
        </p:nvSpPr>
        <p:spPr bwMode="auto">
          <a:xfrm>
            <a:off x="381611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65" name="TextBox 64">
            <a:extLst>
              <a:ext uri="{FF2B5EF4-FFF2-40B4-BE49-F238E27FC236}">
                <a16:creationId xmlns:a16="http://schemas.microsoft.com/office/drawing/2014/main" id="{734526D6-FE7E-4F96-A661-C41872D8932E}"/>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66" name="Rectangle 65">
            <a:extLst>
              <a:ext uri="{FF2B5EF4-FFF2-40B4-BE49-F238E27FC236}">
                <a16:creationId xmlns:a16="http://schemas.microsoft.com/office/drawing/2014/main" id="{9EB32D62-8B35-4F1E-9613-55EFA5CC52A9}"/>
              </a:ext>
            </a:extLst>
          </p:cNvPr>
          <p:cNvSpPr/>
          <p:nvPr/>
        </p:nvSpPr>
        <p:spPr bwMode="auto">
          <a:xfrm>
            <a:off x="4526896"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67" name="Rectangle 66">
            <a:extLst>
              <a:ext uri="{FF2B5EF4-FFF2-40B4-BE49-F238E27FC236}">
                <a16:creationId xmlns:a16="http://schemas.microsoft.com/office/drawing/2014/main" id="{C977EB28-CB90-43A3-B1FE-73402A86728B}"/>
              </a:ext>
            </a:extLst>
          </p:cNvPr>
          <p:cNvSpPr/>
          <p:nvPr/>
        </p:nvSpPr>
        <p:spPr bwMode="auto">
          <a:xfrm>
            <a:off x="5239762"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68" name="Rectangle 67">
            <a:extLst>
              <a:ext uri="{FF2B5EF4-FFF2-40B4-BE49-F238E27FC236}">
                <a16:creationId xmlns:a16="http://schemas.microsoft.com/office/drawing/2014/main" id="{8661F14E-5C68-4FC1-BE09-29CB29AA6C3C}"/>
              </a:ext>
            </a:extLst>
          </p:cNvPr>
          <p:cNvSpPr/>
          <p:nvPr/>
        </p:nvSpPr>
        <p:spPr bwMode="auto">
          <a:xfrm>
            <a:off x="595262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69" name="Rectangle 68">
            <a:extLst>
              <a:ext uri="{FF2B5EF4-FFF2-40B4-BE49-F238E27FC236}">
                <a16:creationId xmlns:a16="http://schemas.microsoft.com/office/drawing/2014/main" id="{B19BB60F-986C-417F-A157-2347EA8F173E}"/>
              </a:ext>
            </a:extLst>
          </p:cNvPr>
          <p:cNvSpPr/>
          <p:nvPr/>
        </p:nvSpPr>
        <p:spPr bwMode="auto">
          <a:xfrm>
            <a:off x="6665494"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70" name="Rectangle 69">
            <a:extLst>
              <a:ext uri="{FF2B5EF4-FFF2-40B4-BE49-F238E27FC236}">
                <a16:creationId xmlns:a16="http://schemas.microsoft.com/office/drawing/2014/main" id="{963039AD-E708-4840-8BF9-8F0F23298DB6}"/>
              </a:ext>
            </a:extLst>
          </p:cNvPr>
          <p:cNvSpPr/>
          <p:nvPr/>
        </p:nvSpPr>
        <p:spPr bwMode="auto">
          <a:xfrm>
            <a:off x="7368140"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71" name="Straight Connector 70">
            <a:extLst>
              <a:ext uri="{FF2B5EF4-FFF2-40B4-BE49-F238E27FC236}">
                <a16:creationId xmlns:a16="http://schemas.microsoft.com/office/drawing/2014/main" id="{78950CC2-CDBF-4D29-B705-517C66A6DEEB}"/>
              </a:ext>
            </a:extLst>
          </p:cNvPr>
          <p:cNvCxnSpPr>
            <a:cxnSpLocks/>
            <a:endCxn id="72"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39F9E20-A3E4-44A4-A338-008632A30E22}"/>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F49EEA15-32AB-4B0F-9706-7911CBF9345C}"/>
              </a:ext>
            </a:extLst>
          </p:cNvPr>
          <p:cNvSpPr/>
          <p:nvPr/>
        </p:nvSpPr>
        <p:spPr bwMode="auto">
          <a:xfrm>
            <a:off x="892021" y="216534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74" name="TextBox 4">
            <a:extLst>
              <a:ext uri="{FF2B5EF4-FFF2-40B4-BE49-F238E27FC236}">
                <a16:creationId xmlns:a16="http://schemas.microsoft.com/office/drawing/2014/main" id="{C42E5283-ADAA-4C97-908E-9F6713B36689}"/>
              </a:ext>
            </a:extLst>
          </p:cNvPr>
          <p:cNvSpPr txBox="1"/>
          <p:nvPr/>
        </p:nvSpPr>
        <p:spPr>
          <a:xfrm>
            <a:off x="3816117" y="2238678"/>
            <a:ext cx="1962874"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Synapse Analytics Studio</a:t>
            </a:r>
          </a:p>
        </p:txBody>
      </p:sp>
      <p:cxnSp>
        <p:nvCxnSpPr>
          <p:cNvPr id="75" name="Straight Connector 74">
            <a:extLst>
              <a:ext uri="{FF2B5EF4-FFF2-40B4-BE49-F238E27FC236}">
                <a16:creationId xmlns:a16="http://schemas.microsoft.com/office/drawing/2014/main" id="{43794DA4-5102-4CD6-96B5-A8D7E9ACD050}"/>
              </a:ext>
            </a:extLst>
          </p:cNvPr>
          <p:cNvCxnSpPr>
            <a:cxnSpLocks/>
            <a:endCxn id="76"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378CFE44-DCCE-4D93-915F-883EDFFB6216}"/>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77" name="Straight Connector 76">
            <a:extLst>
              <a:ext uri="{FF2B5EF4-FFF2-40B4-BE49-F238E27FC236}">
                <a16:creationId xmlns:a16="http://schemas.microsoft.com/office/drawing/2014/main" id="{56995DF9-D656-4DE0-BDF7-692A2FD26A0B}"/>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Box 4">
            <a:extLst>
              <a:ext uri="{FF2B5EF4-FFF2-40B4-BE49-F238E27FC236}">
                <a16:creationId xmlns:a16="http://schemas.microsoft.com/office/drawing/2014/main" id="{D1DCCB60-6ECC-4659-9D23-B522271D68F8}"/>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79" name="Rectangle 78">
            <a:extLst>
              <a:ext uri="{FF2B5EF4-FFF2-40B4-BE49-F238E27FC236}">
                <a16:creationId xmlns:a16="http://schemas.microsoft.com/office/drawing/2014/main" id="{CB424E2C-F29B-4D82-83BA-BA7878441F1C}"/>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80" name="Straight Connector 79">
            <a:extLst>
              <a:ext uri="{FF2B5EF4-FFF2-40B4-BE49-F238E27FC236}">
                <a16:creationId xmlns:a16="http://schemas.microsoft.com/office/drawing/2014/main" id="{300F791C-19BC-4423-B30C-BCF87167F5F8}"/>
              </a:ext>
            </a:extLst>
          </p:cNvPr>
          <p:cNvCxnSpPr>
            <a:cxnSpLocks/>
            <a:endCxn id="79"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677DF5E-6766-4A6A-9F68-B1B9F2645E3E}"/>
              </a:ext>
            </a:extLst>
          </p:cNvPr>
          <p:cNvSpPr/>
          <p:nvPr/>
        </p:nvSpPr>
        <p:spPr bwMode="auto">
          <a:xfrm>
            <a:off x="2088114" y="4424534"/>
            <a:ext cx="1612367"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82" name="Rectangle 81">
            <a:extLst>
              <a:ext uri="{FF2B5EF4-FFF2-40B4-BE49-F238E27FC236}">
                <a16:creationId xmlns:a16="http://schemas.microsoft.com/office/drawing/2014/main" id="{D88D7BB1-BDF8-4775-AA26-B0590A51F615}"/>
              </a:ext>
            </a:extLst>
          </p:cNvPr>
          <p:cNvSpPr/>
          <p:nvPr/>
        </p:nvSpPr>
        <p:spPr bwMode="auto">
          <a:xfrm>
            <a:off x="2088114" y="3331416"/>
            <a:ext cx="1612366" cy="4304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83" name="Rectangle 82">
            <a:extLst>
              <a:ext uri="{FF2B5EF4-FFF2-40B4-BE49-F238E27FC236}">
                <a16:creationId xmlns:a16="http://schemas.microsoft.com/office/drawing/2014/main" id="{136D8A84-F510-4C10-94A5-7D017C5C9E26}"/>
              </a:ext>
            </a:extLst>
          </p:cNvPr>
          <p:cNvSpPr/>
          <p:nvPr/>
        </p:nvSpPr>
        <p:spPr bwMode="auto">
          <a:xfrm>
            <a:off x="2088114" y="2781843"/>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84" name="Rectangle 83">
            <a:extLst>
              <a:ext uri="{FF2B5EF4-FFF2-40B4-BE49-F238E27FC236}">
                <a16:creationId xmlns:a16="http://schemas.microsoft.com/office/drawing/2014/main" id="{0C0020B8-A67A-4478-8823-22B9CB98F106}"/>
              </a:ext>
            </a:extLst>
          </p:cNvPr>
          <p:cNvSpPr/>
          <p:nvPr/>
        </p:nvSpPr>
        <p:spPr bwMode="auto">
          <a:xfrm>
            <a:off x="2088114" y="3874962"/>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Tree>
    <p:extLst>
      <p:ext uri="{BB962C8B-B14F-4D97-AF65-F5344CB8AC3E}">
        <p14:creationId xmlns:p14="http://schemas.microsoft.com/office/powerpoint/2010/main" val="34567175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006631-97ED-4797-8AB5-80EC7AEE77C0}"/>
              </a:ext>
            </a:extLst>
          </p:cNvPr>
          <p:cNvSpPr>
            <a:spLocks noGrp="1"/>
          </p:cNvSpPr>
          <p:nvPr>
            <p:ph type="title"/>
          </p:nvPr>
        </p:nvSpPr>
        <p:spPr/>
        <p:txBody>
          <a:bodyPr/>
          <a:lstStyle/>
          <a:p>
            <a:r>
              <a:rPr lang="en-US" dirty="0"/>
              <a:t>Azure Synapse Analytics</a:t>
            </a:r>
          </a:p>
        </p:txBody>
      </p:sp>
      <p:pic>
        <p:nvPicPr>
          <p:cNvPr id="15" name="Picture 14" descr="A picture containing toy, table&#10;&#10;Description automatically generated">
            <a:extLst>
              <a:ext uri="{FF2B5EF4-FFF2-40B4-BE49-F238E27FC236}">
                <a16:creationId xmlns:a16="http://schemas.microsoft.com/office/drawing/2014/main" id="{86CFA64E-FC1B-4A56-AE0B-085689A5B2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3973" y="1475205"/>
            <a:ext cx="7914017" cy="4452667"/>
          </a:xfrm>
          <a:prstGeom prst="rect">
            <a:avLst/>
          </a:prstGeom>
        </p:spPr>
      </p:pic>
      <p:sp>
        <p:nvSpPr>
          <p:cNvPr id="16" name="Rectangle 15">
            <a:extLst>
              <a:ext uri="{FF2B5EF4-FFF2-40B4-BE49-F238E27FC236}">
                <a16:creationId xmlns:a16="http://schemas.microsoft.com/office/drawing/2014/main" id="{560BAF42-22BA-4212-B2FF-D5F743AEB96F}"/>
              </a:ext>
            </a:extLst>
          </p:cNvPr>
          <p:cNvSpPr/>
          <p:nvPr/>
        </p:nvSpPr>
        <p:spPr>
          <a:xfrm>
            <a:off x="3183979" y="5623764"/>
            <a:ext cx="1507676"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Power BI</a:t>
            </a:r>
          </a:p>
        </p:txBody>
      </p:sp>
      <p:sp>
        <p:nvSpPr>
          <p:cNvPr id="17" name="Rectangle 16">
            <a:extLst>
              <a:ext uri="{FF2B5EF4-FFF2-40B4-BE49-F238E27FC236}">
                <a16:creationId xmlns:a16="http://schemas.microsoft.com/office/drawing/2014/main" id="{8EA1BEAF-4E9A-4150-B620-9BD6BB1EE493}"/>
              </a:ext>
            </a:extLst>
          </p:cNvPr>
          <p:cNvSpPr/>
          <p:nvPr/>
        </p:nvSpPr>
        <p:spPr>
          <a:xfrm>
            <a:off x="7071427" y="5623764"/>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Azure Machine Learning</a:t>
            </a:r>
          </a:p>
        </p:txBody>
      </p:sp>
      <p:sp>
        <p:nvSpPr>
          <p:cNvPr id="18" name="Rectangle 17">
            <a:extLst>
              <a:ext uri="{FF2B5EF4-FFF2-40B4-BE49-F238E27FC236}">
                <a16:creationId xmlns:a16="http://schemas.microsoft.com/office/drawing/2014/main" id="{BC1882E3-9C3E-4C94-819A-E74E6F2E0A99}"/>
              </a:ext>
            </a:extLst>
          </p:cNvPr>
          <p:cNvSpPr/>
          <p:nvPr/>
        </p:nvSpPr>
        <p:spPr>
          <a:xfrm>
            <a:off x="3134862" y="183041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4"/>
                </a:solidFill>
                <a:effectLst/>
                <a:uLnTx/>
                <a:uFillTx/>
                <a:latin typeface="Segoe UI Semibold"/>
                <a:ea typeface="+mn-ea"/>
                <a:cs typeface="+mn-cs"/>
              </a:rPr>
              <a:t>Azure Data Share</a:t>
            </a:r>
          </a:p>
        </p:txBody>
      </p:sp>
      <p:sp>
        <p:nvSpPr>
          <p:cNvPr id="19" name="Rectangle 18">
            <a:extLst>
              <a:ext uri="{FF2B5EF4-FFF2-40B4-BE49-F238E27FC236}">
                <a16:creationId xmlns:a16="http://schemas.microsoft.com/office/drawing/2014/main" id="{CC408A2C-AB61-41B3-B731-6C602D7C811F}"/>
              </a:ext>
            </a:extLst>
          </p:cNvPr>
          <p:cNvSpPr/>
          <p:nvPr/>
        </p:nvSpPr>
        <p:spPr>
          <a:xfrm>
            <a:off x="6864670" y="183041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Ecosystem</a:t>
            </a:r>
          </a:p>
        </p:txBody>
      </p:sp>
      <p:sp>
        <p:nvSpPr>
          <p:cNvPr id="20" name="Rectangle 19">
            <a:extLst>
              <a:ext uri="{FF2B5EF4-FFF2-40B4-BE49-F238E27FC236}">
                <a16:creationId xmlns:a16="http://schemas.microsoft.com/office/drawing/2014/main" id="{D5066833-F7AB-45B4-816D-55104DAED0AC}"/>
              </a:ext>
            </a:extLst>
          </p:cNvPr>
          <p:cNvSpPr/>
          <p:nvPr/>
        </p:nvSpPr>
        <p:spPr>
          <a:xfrm>
            <a:off x="5154742" y="446434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Azure Synapse Analytics</a:t>
            </a:r>
          </a:p>
        </p:txBody>
      </p:sp>
    </p:spTree>
    <p:extLst>
      <p:ext uri="{BB962C8B-B14F-4D97-AF65-F5344CB8AC3E}">
        <p14:creationId xmlns:p14="http://schemas.microsoft.com/office/powerpoint/2010/main" val="1653638172"/>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006631-97ED-4797-8AB5-80EC7AEE77C0}"/>
              </a:ext>
            </a:extLst>
          </p:cNvPr>
          <p:cNvSpPr>
            <a:spLocks noGrp="1"/>
          </p:cNvSpPr>
          <p:nvPr>
            <p:ph type="title"/>
          </p:nvPr>
        </p:nvSpPr>
        <p:spPr/>
        <p:txBody>
          <a:bodyPr/>
          <a:lstStyle/>
          <a:p>
            <a:r>
              <a:rPr lang="en-US" dirty="0"/>
              <a:t>Standalone Pools vs Workspace Pools</a:t>
            </a:r>
          </a:p>
        </p:txBody>
      </p:sp>
      <p:pic>
        <p:nvPicPr>
          <p:cNvPr id="1026" name="Picture 2" descr="Dedicated SQL pool (formerly SQL DW) in relation to Azure Synapse">
            <a:extLst>
              <a:ext uri="{FF2B5EF4-FFF2-40B4-BE49-F238E27FC236}">
                <a16:creationId xmlns:a16="http://schemas.microsoft.com/office/drawing/2014/main" id="{6C8DF184-6ED6-6AB8-CCF2-A4FA17EB05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1485" y="1081401"/>
            <a:ext cx="9696702" cy="555815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4916134"/>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2B837-27E1-45CF-822F-A40F0F694394}"/>
              </a:ext>
            </a:extLst>
          </p:cNvPr>
          <p:cNvSpPr>
            <a:spLocks noGrp="1"/>
          </p:cNvSpPr>
          <p:nvPr>
            <p:ph type="title"/>
          </p:nvPr>
        </p:nvSpPr>
        <p:spPr/>
        <p:txBody>
          <a:bodyPr/>
          <a:lstStyle/>
          <a:p>
            <a:r>
              <a:rPr lang="en-US" dirty="0"/>
              <a:t>What is Synapse</a:t>
            </a:r>
          </a:p>
        </p:txBody>
      </p:sp>
      <p:grpSp>
        <p:nvGrpSpPr>
          <p:cNvPr id="5" name="Group 4">
            <a:extLst>
              <a:ext uri="{FF2B5EF4-FFF2-40B4-BE49-F238E27FC236}">
                <a16:creationId xmlns:a16="http://schemas.microsoft.com/office/drawing/2014/main" id="{4A84BD77-674E-4DA9-BF4E-D4ADA9CEE684}"/>
              </a:ext>
              <a:ext uri="{C183D7F6-B498-43B3-948B-1728B52AA6E4}">
                <adec:decorative xmlns:adec="http://schemas.microsoft.com/office/drawing/2017/decorative" val="1"/>
              </a:ext>
            </a:extLst>
          </p:cNvPr>
          <p:cNvGrpSpPr/>
          <p:nvPr/>
        </p:nvGrpSpPr>
        <p:grpSpPr>
          <a:xfrm>
            <a:off x="4146790" y="2440853"/>
            <a:ext cx="3903646" cy="1485893"/>
            <a:chOff x="1621490" y="2508304"/>
            <a:chExt cx="8802663" cy="3350666"/>
          </a:xfrm>
          <a:noFill/>
        </p:grpSpPr>
        <p:sp>
          <p:nvSpPr>
            <p:cNvPr id="6" name="Freeform: Shape 5">
              <a:extLst>
                <a:ext uri="{FF2B5EF4-FFF2-40B4-BE49-F238E27FC236}">
                  <a16:creationId xmlns:a16="http://schemas.microsoft.com/office/drawing/2014/main" id="{5803D3F0-0CC7-400F-84A7-428B009BD1CA}"/>
                </a:ext>
              </a:extLst>
            </p:cNvPr>
            <p:cNvSpPr/>
            <p:nvPr/>
          </p:nvSpPr>
          <p:spPr bwMode="auto">
            <a:xfrm>
              <a:off x="1621490" y="2508304"/>
              <a:ext cx="5461298" cy="3350666"/>
            </a:xfrm>
            <a:custGeom>
              <a:avLst/>
              <a:gdLst>
                <a:gd name="connsiteX0" fmla="*/ 0 w 5461298"/>
                <a:gd name="connsiteY0" fmla="*/ 0 h 3350666"/>
                <a:gd name="connsiteX1" fmla="*/ 4328154 w 5461298"/>
                <a:gd name="connsiteY1" fmla="*/ 0 h 3350666"/>
                <a:gd name="connsiteX2" fmla="*/ 4328154 w 5461298"/>
                <a:gd name="connsiteY2" fmla="*/ 1522766 h 3350666"/>
                <a:gd name="connsiteX3" fmla="*/ 4350139 w 5461298"/>
                <a:gd name="connsiteY3" fmla="*/ 1530424 h 3350666"/>
                <a:gd name="connsiteX4" fmla="*/ 4395493 w 5461298"/>
                <a:gd name="connsiteY4" fmla="*/ 1530424 h 3350666"/>
                <a:gd name="connsiteX5" fmla="*/ 4418169 w 5461298"/>
                <a:gd name="connsiteY5" fmla="*/ 1530424 h 3350666"/>
                <a:gd name="connsiteX6" fmla="*/ 4576906 w 5461298"/>
                <a:gd name="connsiteY6" fmla="*/ 1417207 h 3350666"/>
                <a:gd name="connsiteX7" fmla="*/ 4962411 w 5461298"/>
                <a:gd name="connsiteY7" fmla="*/ 1213417 h 3350666"/>
                <a:gd name="connsiteX8" fmla="*/ 5461298 w 5461298"/>
                <a:gd name="connsiteY8" fmla="*/ 1756858 h 3350666"/>
                <a:gd name="connsiteX9" fmla="*/ 4962411 w 5461298"/>
                <a:gd name="connsiteY9" fmla="*/ 2300298 h 3350666"/>
                <a:gd name="connsiteX10" fmla="*/ 4576906 w 5461298"/>
                <a:gd name="connsiteY10" fmla="*/ 2096509 h 3350666"/>
                <a:gd name="connsiteX11" fmla="*/ 4395493 w 5461298"/>
                <a:gd name="connsiteY11" fmla="*/ 2005935 h 3350666"/>
                <a:gd name="connsiteX12" fmla="*/ 4328154 w 5461298"/>
                <a:gd name="connsiteY12" fmla="*/ 2005935 h 3350666"/>
                <a:gd name="connsiteX13" fmla="*/ 4328154 w 5461298"/>
                <a:gd name="connsiteY13" fmla="*/ 3350666 h 3350666"/>
                <a:gd name="connsiteX14" fmla="*/ 0 w 5461298"/>
                <a:gd name="connsiteY14" fmla="*/ 3350666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1298" h="3350666">
                  <a:moveTo>
                    <a:pt x="0" y="0"/>
                  </a:moveTo>
                  <a:lnTo>
                    <a:pt x="4328154" y="0"/>
                  </a:lnTo>
                  <a:lnTo>
                    <a:pt x="4328154" y="1522766"/>
                  </a:lnTo>
                  <a:lnTo>
                    <a:pt x="4350139" y="1530424"/>
                  </a:lnTo>
                  <a:cubicBezTo>
                    <a:pt x="4350139" y="1530424"/>
                    <a:pt x="4395493" y="1530424"/>
                    <a:pt x="4395493" y="1530424"/>
                  </a:cubicBezTo>
                  <a:cubicBezTo>
                    <a:pt x="4395493" y="1530424"/>
                    <a:pt x="4395493" y="1530424"/>
                    <a:pt x="4418169" y="1530424"/>
                  </a:cubicBezTo>
                  <a:cubicBezTo>
                    <a:pt x="4486199" y="1530424"/>
                    <a:pt x="4576906" y="1417207"/>
                    <a:pt x="4576906" y="1417207"/>
                  </a:cubicBezTo>
                  <a:cubicBezTo>
                    <a:pt x="4667612" y="1281347"/>
                    <a:pt x="4803673" y="1213417"/>
                    <a:pt x="4962411" y="1213417"/>
                  </a:cubicBezTo>
                  <a:cubicBezTo>
                    <a:pt x="5234530" y="1213417"/>
                    <a:pt x="5461298" y="1462494"/>
                    <a:pt x="5461298" y="1756858"/>
                  </a:cubicBezTo>
                  <a:cubicBezTo>
                    <a:pt x="5461298" y="2051221"/>
                    <a:pt x="5234530" y="2300298"/>
                    <a:pt x="4962411" y="2300298"/>
                  </a:cubicBezTo>
                  <a:cubicBezTo>
                    <a:pt x="4803673" y="2300298"/>
                    <a:pt x="4667612" y="2232369"/>
                    <a:pt x="4576906" y="2096509"/>
                  </a:cubicBezTo>
                  <a:cubicBezTo>
                    <a:pt x="4531552" y="2073866"/>
                    <a:pt x="4463522" y="2005935"/>
                    <a:pt x="4395493" y="2005935"/>
                  </a:cubicBezTo>
                  <a:lnTo>
                    <a:pt x="4328154" y="2005935"/>
                  </a:lnTo>
                  <a:lnTo>
                    <a:pt x="4328154" y="3350666"/>
                  </a:lnTo>
                  <a:lnTo>
                    <a:pt x="0" y="3350666"/>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7" name="Freeform: Shape 6">
              <a:extLst>
                <a:ext uri="{FF2B5EF4-FFF2-40B4-BE49-F238E27FC236}">
                  <a16:creationId xmlns:a16="http://schemas.microsoft.com/office/drawing/2014/main" id="{66A1C3C6-56B4-4CF3-A649-1CB4ED305B55}"/>
                </a:ext>
              </a:extLst>
            </p:cNvPr>
            <p:cNvSpPr/>
            <p:nvPr/>
          </p:nvSpPr>
          <p:spPr bwMode="auto">
            <a:xfrm>
              <a:off x="6095999" y="2508304"/>
              <a:ext cx="4328154" cy="3350666"/>
            </a:xfrm>
            <a:custGeom>
              <a:avLst/>
              <a:gdLst>
                <a:gd name="connsiteX0" fmla="*/ 0 w 4328154"/>
                <a:gd name="connsiteY0" fmla="*/ 0 h 3350666"/>
                <a:gd name="connsiteX1" fmla="*/ 4328154 w 4328154"/>
                <a:gd name="connsiteY1" fmla="*/ 0 h 3350666"/>
                <a:gd name="connsiteX2" fmla="*/ 4328154 w 4328154"/>
                <a:gd name="connsiteY2" fmla="*/ 3350666 h 3350666"/>
                <a:gd name="connsiteX3" fmla="*/ 0 w 4328154"/>
                <a:gd name="connsiteY3" fmla="*/ 3350666 h 3350666"/>
                <a:gd name="connsiteX4" fmla="*/ 0 w 4328154"/>
                <a:gd name="connsiteY4" fmla="*/ 2133297 h 3350666"/>
                <a:gd name="connsiteX5" fmla="*/ 27743 w 4328154"/>
                <a:gd name="connsiteY5" fmla="*/ 2150642 h 3350666"/>
                <a:gd name="connsiteX6" fmla="*/ 483435 w 4328154"/>
                <a:gd name="connsiteY6" fmla="*/ 2391535 h 3350666"/>
                <a:gd name="connsiteX7" fmla="*/ 1073154 w 4328154"/>
                <a:gd name="connsiteY7" fmla="*/ 1749152 h 3350666"/>
                <a:gd name="connsiteX8" fmla="*/ 483435 w 4328154"/>
                <a:gd name="connsiteY8" fmla="*/ 1106769 h 3350666"/>
                <a:gd name="connsiteX9" fmla="*/ 27743 w 4328154"/>
                <a:gd name="connsiteY9" fmla="*/ 1347662 h 3350666"/>
                <a:gd name="connsiteX10" fmla="*/ 9733 w 4328154"/>
                <a:gd name="connsiteY10" fmla="*/ 1368573 h 3350666"/>
                <a:gd name="connsiteX11" fmla="*/ 0 w 4328154"/>
                <a:gd name="connsiteY11" fmla="*/ 1378381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154" h="3350666">
                  <a:moveTo>
                    <a:pt x="0" y="0"/>
                  </a:moveTo>
                  <a:lnTo>
                    <a:pt x="4328154" y="0"/>
                  </a:lnTo>
                  <a:lnTo>
                    <a:pt x="4328154" y="3350666"/>
                  </a:lnTo>
                  <a:lnTo>
                    <a:pt x="0" y="3350666"/>
                  </a:lnTo>
                  <a:lnTo>
                    <a:pt x="0" y="2133297"/>
                  </a:lnTo>
                  <a:lnTo>
                    <a:pt x="27743" y="2150642"/>
                  </a:lnTo>
                  <a:cubicBezTo>
                    <a:pt x="134964" y="2311238"/>
                    <a:pt x="295797" y="2391535"/>
                    <a:pt x="483435" y="2391535"/>
                  </a:cubicBezTo>
                  <a:cubicBezTo>
                    <a:pt x="805099" y="2391535"/>
                    <a:pt x="1073154" y="2097109"/>
                    <a:pt x="1073154" y="1749152"/>
                  </a:cubicBezTo>
                  <a:cubicBezTo>
                    <a:pt x="1073154" y="1401195"/>
                    <a:pt x="805099" y="1106769"/>
                    <a:pt x="483435" y="1106769"/>
                  </a:cubicBezTo>
                  <a:cubicBezTo>
                    <a:pt x="295797" y="1106769"/>
                    <a:pt x="134964" y="1187066"/>
                    <a:pt x="27743" y="1347662"/>
                  </a:cubicBezTo>
                  <a:cubicBezTo>
                    <a:pt x="27743" y="1347662"/>
                    <a:pt x="21041" y="1356027"/>
                    <a:pt x="9733" y="1368573"/>
                  </a:cubicBezTo>
                  <a:lnTo>
                    <a:pt x="0" y="1378381"/>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p:nvSpPr>
          <p:cNvPr id="8" name="3">
            <a:extLst>
              <a:ext uri="{FF2B5EF4-FFF2-40B4-BE49-F238E27FC236}">
                <a16:creationId xmlns:a16="http://schemas.microsoft.com/office/drawing/2014/main" id="{2ED88342-6E52-43FE-AC32-772B3DDE73ED}"/>
              </a:ext>
              <a:ext uri="{C183D7F6-B498-43B3-948B-1728B52AA6E4}">
                <adec:decorative xmlns:adec="http://schemas.microsoft.com/office/drawing/2017/decorative" val="1"/>
              </a:ext>
            </a:extLst>
          </p:cNvPr>
          <p:cNvSpPr/>
          <p:nvPr/>
        </p:nvSpPr>
        <p:spPr bwMode="auto">
          <a:xfrm>
            <a:off x="2520237" y="2008213"/>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9" name="2">
            <a:extLst>
              <a:ext uri="{FF2B5EF4-FFF2-40B4-BE49-F238E27FC236}">
                <a16:creationId xmlns:a16="http://schemas.microsoft.com/office/drawing/2014/main" id="{B4115F01-C8B7-449B-974E-23A00D1FBF12}"/>
              </a:ext>
              <a:ext uri="{C183D7F6-B498-43B3-948B-1728B52AA6E4}">
                <adec:decorative xmlns:adec="http://schemas.microsoft.com/office/drawing/2017/decorative" val="1"/>
              </a:ext>
            </a:extLst>
          </p:cNvPr>
          <p:cNvSpPr/>
          <p:nvPr/>
        </p:nvSpPr>
        <p:spPr bwMode="auto">
          <a:xfrm>
            <a:off x="2520237" y="2017357"/>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pic>
        <p:nvPicPr>
          <p:cNvPr id="10" name="Picture 9">
            <a:extLst>
              <a:ext uri="{FF2B5EF4-FFF2-40B4-BE49-F238E27FC236}">
                <a16:creationId xmlns:a16="http://schemas.microsoft.com/office/drawing/2014/main" id="{D6A22AD6-2031-4A30-9A75-5509885183C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425069" y="1419099"/>
            <a:ext cx="1367572" cy="1367572"/>
          </a:xfrm>
          <a:prstGeom prst="rect">
            <a:avLst/>
          </a:prstGeom>
        </p:spPr>
      </p:pic>
      <p:sp>
        <p:nvSpPr>
          <p:cNvPr id="11" name="Synapse Analytics">
            <a:extLst>
              <a:ext uri="{FF2B5EF4-FFF2-40B4-BE49-F238E27FC236}">
                <a16:creationId xmlns:a16="http://schemas.microsoft.com/office/drawing/2014/main" id="{FAE746F9-78CA-4F35-B15F-2CA128631518}"/>
              </a:ext>
              <a:ext uri="{C183D7F6-B498-43B3-948B-1728B52AA6E4}">
                <adec:decorative xmlns:adec="http://schemas.microsoft.com/office/drawing/2017/decorative" val="1"/>
              </a:ext>
            </a:extLst>
          </p:cNvPr>
          <p:cNvSpPr txBox="1"/>
          <p:nvPr/>
        </p:nvSpPr>
        <p:spPr>
          <a:xfrm>
            <a:off x="1764960" y="5138871"/>
            <a:ext cx="1329788"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SQL</a:t>
            </a:r>
          </a:p>
        </p:txBody>
      </p:sp>
      <p:sp>
        <p:nvSpPr>
          <p:cNvPr id="12" name="Synapse Analytics">
            <a:extLst>
              <a:ext uri="{FF2B5EF4-FFF2-40B4-BE49-F238E27FC236}">
                <a16:creationId xmlns:a16="http://schemas.microsoft.com/office/drawing/2014/main" id="{384A64C6-88DF-409C-ADE2-A1AB1F2D93DD}"/>
              </a:ext>
              <a:ext uri="{C183D7F6-B498-43B3-948B-1728B52AA6E4}">
                <adec:decorative xmlns:adec="http://schemas.microsoft.com/office/drawing/2017/decorative" val="1"/>
              </a:ext>
            </a:extLst>
          </p:cNvPr>
          <p:cNvSpPr txBox="1"/>
          <p:nvPr/>
        </p:nvSpPr>
        <p:spPr>
          <a:xfrm>
            <a:off x="4317190" y="5014222"/>
            <a:ext cx="1496627" cy="498598"/>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Apache Spark </a:t>
            </a:r>
          </a:p>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for Synapse</a:t>
            </a:r>
          </a:p>
        </p:txBody>
      </p:sp>
      <p:sp>
        <p:nvSpPr>
          <p:cNvPr id="13" name="Synapse Analytics">
            <a:extLst>
              <a:ext uri="{FF2B5EF4-FFF2-40B4-BE49-F238E27FC236}">
                <a16:creationId xmlns:a16="http://schemas.microsoft.com/office/drawing/2014/main" id="{44DCE996-497E-40BC-8A4D-89B08FDDF354}"/>
              </a:ext>
              <a:ext uri="{C183D7F6-B498-43B3-948B-1728B52AA6E4}">
                <adec:decorative xmlns:adec="http://schemas.microsoft.com/office/drawing/2017/decorative" val="1"/>
              </a:ext>
            </a:extLst>
          </p:cNvPr>
          <p:cNvSpPr txBox="1"/>
          <p:nvPr/>
        </p:nvSpPr>
        <p:spPr>
          <a:xfrm>
            <a:off x="6687132" y="5138871"/>
            <a:ext cx="1855573"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Pipelines</a:t>
            </a:r>
          </a:p>
        </p:txBody>
      </p:sp>
      <p:sp>
        <p:nvSpPr>
          <p:cNvPr id="14" name="Synapse Analytics">
            <a:extLst>
              <a:ext uri="{FF2B5EF4-FFF2-40B4-BE49-F238E27FC236}">
                <a16:creationId xmlns:a16="http://schemas.microsoft.com/office/drawing/2014/main" id="{1738A1C7-8F46-445F-9C1E-987C8B574555}"/>
              </a:ext>
              <a:ext uri="{C183D7F6-B498-43B3-948B-1728B52AA6E4}">
                <adec:decorative xmlns:adec="http://schemas.microsoft.com/office/drawing/2017/decorative" val="1"/>
              </a:ext>
            </a:extLst>
          </p:cNvPr>
          <p:cNvSpPr txBox="1"/>
          <p:nvPr/>
        </p:nvSpPr>
        <p:spPr>
          <a:xfrm>
            <a:off x="9170270" y="5138871"/>
            <a:ext cx="1592424"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Studio</a:t>
            </a:r>
          </a:p>
        </p:txBody>
      </p:sp>
      <p:pic>
        <p:nvPicPr>
          <p:cNvPr id="15" name="Graphic 14">
            <a:extLst>
              <a:ext uri="{FF2B5EF4-FFF2-40B4-BE49-F238E27FC236}">
                <a16:creationId xmlns:a16="http://schemas.microsoft.com/office/drawing/2014/main" id="{A1EB6ADC-B49D-45D5-998A-4ED439455DE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382342" y="4159520"/>
            <a:ext cx="1320544" cy="750104"/>
          </a:xfrm>
          <a:prstGeom prst="rect">
            <a:avLst/>
          </a:prstGeom>
        </p:spPr>
      </p:pic>
      <p:pic>
        <p:nvPicPr>
          <p:cNvPr id="16" name="Graphic 15">
            <a:extLst>
              <a:ext uri="{FF2B5EF4-FFF2-40B4-BE49-F238E27FC236}">
                <a16:creationId xmlns:a16="http://schemas.microsoft.com/office/drawing/2014/main" id="{F9844ECF-BEA2-4E1C-9441-71C7FBA8A0F8}"/>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817769" y="4159520"/>
            <a:ext cx="1320542" cy="752664"/>
          </a:xfrm>
          <a:prstGeom prst="rect">
            <a:avLst/>
          </a:prstGeom>
        </p:spPr>
      </p:pic>
      <p:pic>
        <p:nvPicPr>
          <p:cNvPr id="17" name="Graphic 16">
            <a:extLst>
              <a:ext uri="{FF2B5EF4-FFF2-40B4-BE49-F238E27FC236}">
                <a16:creationId xmlns:a16="http://schemas.microsoft.com/office/drawing/2014/main" id="{C0D75922-B85C-4EBE-9EB5-A6328B588AD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52901" y="4159520"/>
            <a:ext cx="1014070" cy="838298"/>
          </a:xfrm>
          <a:prstGeom prst="rect">
            <a:avLst/>
          </a:prstGeom>
        </p:spPr>
      </p:pic>
      <p:pic>
        <p:nvPicPr>
          <p:cNvPr id="18" name="Graphic 17">
            <a:extLst>
              <a:ext uri="{FF2B5EF4-FFF2-40B4-BE49-F238E27FC236}">
                <a16:creationId xmlns:a16="http://schemas.microsoft.com/office/drawing/2014/main" id="{9A7FC5BB-61BF-4072-94AD-8DEE5CD897C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46917" y="4159520"/>
            <a:ext cx="1261954" cy="829284"/>
          </a:xfrm>
          <a:prstGeom prst="rect">
            <a:avLst/>
          </a:prstGeom>
        </p:spPr>
      </p:pic>
      <p:cxnSp>
        <p:nvCxnSpPr>
          <p:cNvPr id="19" name="Straight Connector 18">
            <a:extLst>
              <a:ext uri="{FF2B5EF4-FFF2-40B4-BE49-F238E27FC236}">
                <a16:creationId xmlns:a16="http://schemas.microsoft.com/office/drawing/2014/main" id="{90F09F48-D8D8-4943-B1C8-29B66196D887}"/>
              </a:ext>
              <a:ext uri="{C183D7F6-B498-43B3-948B-1728B52AA6E4}">
                <adec:decorative xmlns:adec="http://schemas.microsoft.com/office/drawing/2017/decorative" val="1"/>
              </a:ext>
            </a:extLst>
          </p:cNvPr>
          <p:cNvCxnSpPr>
            <a:cxnSpLocks/>
          </p:cNvCxnSpPr>
          <p:nvPr/>
        </p:nvCxnSpPr>
        <p:spPr>
          <a:xfrm>
            <a:off x="1764960" y="3440876"/>
            <a:ext cx="8863456" cy="0"/>
          </a:xfrm>
          <a:prstGeom prst="line">
            <a:avLst/>
          </a:prstGeom>
          <a:ln w="19050">
            <a:solidFill>
              <a:srgbClr val="0073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05681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CE60892D-C4DD-4F06-A7B9-2C5A4018DA91}"/>
              </a:ext>
            </a:extLst>
          </p:cNvPr>
          <p:cNvSpPr txBox="1">
            <a:spLocks/>
          </p:cNvSpPr>
          <p:nvPr/>
        </p:nvSpPr>
        <p:spPr>
          <a:xfrm>
            <a:off x="588262" y="2504412"/>
            <a:ext cx="4163125" cy="201593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lang="en-US" dirty="0">
                <a:solidFill>
                  <a:srgbClr val="50E6FF">
                    <a:lumMod val="75000"/>
                  </a:srgbClr>
                </a:solidFill>
                <a:latin typeface="Segoe UI Semibold"/>
              </a:rPr>
              <a:t>Integrated data platform</a:t>
            </a:r>
            <a:endParaRPr lang="en-US" sz="1600" dirty="0">
              <a:solidFill>
                <a:srgbClr val="50E6FF">
                  <a:lumMod val="75000"/>
                </a:srgbClr>
              </a:solidFill>
              <a:latin typeface="Segoe UI Semibold"/>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lang="en-US" sz="1400" dirty="0">
                <a:solidFill>
                  <a:srgbClr val="FFFFFF"/>
                </a:solidFill>
                <a:latin typeface="+mn-lt"/>
              </a:rPr>
              <a:t>Dedicated SQL Pool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Serverless SQL Pool</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Apache Spark Pool</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Azure Data Lake Storage</a:t>
            </a:r>
          </a:p>
        </p:txBody>
      </p:sp>
      <p:grpSp>
        <p:nvGrpSpPr>
          <p:cNvPr id="2" name="Group 1">
            <a:extLst>
              <a:ext uri="{FF2B5EF4-FFF2-40B4-BE49-F238E27FC236}">
                <a16:creationId xmlns:a16="http://schemas.microsoft.com/office/drawing/2014/main" id="{C9F7DCF1-E491-47FD-AFE3-734E0EB0EC0C}"/>
              </a:ext>
            </a:extLst>
          </p:cNvPr>
          <p:cNvGrpSpPr/>
          <p:nvPr/>
        </p:nvGrpSpPr>
        <p:grpSpPr>
          <a:xfrm>
            <a:off x="0" y="986388"/>
            <a:ext cx="4934321" cy="1283389"/>
            <a:chOff x="0" y="986388"/>
            <a:chExt cx="4934321" cy="1283389"/>
          </a:xfrm>
        </p:grpSpPr>
        <p:sp>
          <p:nvSpPr>
            <p:cNvPr id="18" name="Title 1">
              <a:extLst>
                <a:ext uri="{FF2B5EF4-FFF2-40B4-BE49-F238E27FC236}">
                  <a16:creationId xmlns:a16="http://schemas.microsoft.com/office/drawing/2014/main" id="{276C7EC9-3889-419B-9E6E-8C37E1D30E1E}"/>
                </a:ext>
              </a:extLst>
            </p:cNvPr>
            <p:cNvSpPr txBox="1">
              <a:spLocks/>
            </p:cNvSpPr>
            <p:nvPr/>
          </p:nvSpPr>
          <p:spPr>
            <a:xfrm>
              <a:off x="588263" y="986388"/>
              <a:ext cx="4346058"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Analytics Eco System</a:t>
              </a:r>
            </a:p>
          </p:txBody>
        </p:sp>
        <p:cxnSp>
          <p:nvCxnSpPr>
            <p:cNvPr id="20" name="Straight Connector 19">
              <a:extLst>
                <a:ext uri="{FF2B5EF4-FFF2-40B4-BE49-F238E27FC236}">
                  <a16:creationId xmlns:a16="http://schemas.microsoft.com/office/drawing/2014/main" id="{439C2F31-14C6-4D24-9446-1F0909D28905}"/>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BAA55ECF-0A92-4ADF-B49B-E443BDD23900}"/>
              </a:ext>
            </a:extLst>
          </p:cNvPr>
          <p:cNvGrpSpPr/>
          <p:nvPr/>
        </p:nvGrpSpPr>
        <p:grpSpPr>
          <a:xfrm>
            <a:off x="5949131" y="885951"/>
            <a:ext cx="5909480" cy="5459356"/>
            <a:chOff x="5949131" y="885951"/>
            <a:chExt cx="5909480" cy="5459356"/>
          </a:xfrm>
        </p:grpSpPr>
        <p:sp>
          <p:nvSpPr>
            <p:cNvPr id="76" name="TextBox 75">
              <a:extLst>
                <a:ext uri="{FF2B5EF4-FFF2-40B4-BE49-F238E27FC236}">
                  <a16:creationId xmlns:a16="http://schemas.microsoft.com/office/drawing/2014/main" id="{3D159CB8-C071-4224-96AB-36374F94713C}"/>
                </a:ext>
              </a:extLst>
            </p:cNvPr>
            <p:cNvSpPr txBox="1"/>
            <p:nvPr/>
          </p:nvSpPr>
          <p:spPr>
            <a:xfrm>
              <a:off x="8233270" y="4159375"/>
              <a:ext cx="1314451" cy="738664"/>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dirty="0">
                  <a:gradFill>
                    <a:gsLst>
                      <a:gs pos="0">
                        <a:srgbClr val="FFFFFF"/>
                      </a:gs>
                      <a:gs pos="100000">
                        <a:srgbClr val="FFFFFF"/>
                      </a:gs>
                    </a:gsLst>
                    <a:lin ang="5400000" scaled="0"/>
                  </a:gradFill>
                  <a:latin typeface="Segoe UI Semibold"/>
                  <a:ea typeface="Segoe UI" pitchFamily="34" charset="0"/>
                  <a:cs typeface="Segoe UI" pitchFamily="34" charset="0"/>
                </a:rPr>
                <a:t>Azure Synapse Analytic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cxnSp>
          <p:nvCxnSpPr>
            <p:cNvPr id="123" name="Connector: Elbow 122">
              <a:extLst>
                <a:ext uri="{FF2B5EF4-FFF2-40B4-BE49-F238E27FC236}">
                  <a16:creationId xmlns:a16="http://schemas.microsoft.com/office/drawing/2014/main" id="{0F7B365F-AD70-4E8A-A58A-8B81EAB534EA}"/>
                </a:ext>
              </a:extLst>
            </p:cNvPr>
            <p:cNvCxnSpPr>
              <a:cxnSpLocks/>
              <a:stCxn id="88" idx="3"/>
            </p:cNvCxnSpPr>
            <p:nvPr/>
          </p:nvCxnSpPr>
          <p:spPr>
            <a:xfrm>
              <a:off x="7177375" y="1833588"/>
              <a:ext cx="1309082" cy="1823278"/>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1BD0AB19-39A1-4980-8E84-036870F83661}"/>
                </a:ext>
              </a:extLst>
            </p:cNvPr>
            <p:cNvCxnSpPr>
              <a:cxnSpLocks/>
              <a:stCxn id="51" idx="3"/>
            </p:cNvCxnSpPr>
            <p:nvPr/>
          </p:nvCxnSpPr>
          <p:spPr>
            <a:xfrm flipV="1">
              <a:off x="7177375" y="3656866"/>
              <a:ext cx="1309082" cy="1209607"/>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A727D6CF-BDA3-4F4A-B86B-7F93C09558F6}"/>
                </a:ext>
              </a:extLst>
            </p:cNvPr>
            <p:cNvCxnSpPr>
              <a:cxnSpLocks/>
              <a:stCxn id="95" idx="1"/>
            </p:cNvCxnSpPr>
            <p:nvPr/>
          </p:nvCxnSpPr>
          <p:spPr>
            <a:xfrm rot="10800000" flipV="1">
              <a:off x="9294534" y="1833588"/>
              <a:ext cx="1129099" cy="1823278"/>
            </a:xfrm>
            <a:prstGeom prst="bentConnector3">
              <a:avLst>
                <a:gd name="adj1" fmla="val 50000"/>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4D4E1A95-ECB5-4128-A1F6-7A75E25CFE05}"/>
                </a:ext>
              </a:extLst>
            </p:cNvPr>
            <p:cNvCxnSpPr>
              <a:cxnSpLocks/>
              <a:stCxn id="64" idx="1"/>
            </p:cNvCxnSpPr>
            <p:nvPr/>
          </p:nvCxnSpPr>
          <p:spPr>
            <a:xfrm rot="10800000">
              <a:off x="9294534" y="3656866"/>
              <a:ext cx="1129099" cy="1262770"/>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996EB8C6-8DA1-49F8-B556-336985614CC5}"/>
                </a:ext>
              </a:extLst>
            </p:cNvPr>
            <p:cNvCxnSpPr>
              <a:cxnSpLocks/>
            </p:cNvCxnSpPr>
            <p:nvPr/>
          </p:nvCxnSpPr>
          <p:spPr>
            <a:xfrm>
              <a:off x="7827343" y="1897673"/>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130E5C8-7B23-4EDD-AF24-2619D7BA03C5}"/>
                </a:ext>
              </a:extLst>
            </p:cNvPr>
            <p:cNvCxnSpPr/>
            <p:nvPr/>
          </p:nvCxnSpPr>
          <p:spPr>
            <a:xfrm>
              <a:off x="9859083" y="2566564"/>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54D8DB4-0E59-47F8-99A6-87349230D47C}"/>
                </a:ext>
              </a:extLst>
            </p:cNvPr>
            <p:cNvCxnSpPr>
              <a:cxnSpLocks/>
            </p:cNvCxnSpPr>
            <p:nvPr/>
          </p:nvCxnSpPr>
          <p:spPr>
            <a:xfrm>
              <a:off x="7803421" y="3656865"/>
              <a:ext cx="29110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C79E2774-C3B4-46AE-A74D-E81D94127951}"/>
                </a:ext>
              </a:extLst>
            </p:cNvPr>
            <p:cNvCxnSpPr>
              <a:cxnSpLocks/>
            </p:cNvCxnSpPr>
            <p:nvPr/>
          </p:nvCxnSpPr>
          <p:spPr>
            <a:xfrm>
              <a:off x="7827343" y="3638058"/>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2" name="Group 141">
              <a:extLst>
                <a:ext uri="{FF2B5EF4-FFF2-40B4-BE49-F238E27FC236}">
                  <a16:creationId xmlns:a16="http://schemas.microsoft.com/office/drawing/2014/main" id="{B2C0F9C7-ED31-4D1B-AA3F-22A39B8891AF}"/>
                </a:ext>
              </a:extLst>
            </p:cNvPr>
            <p:cNvGrpSpPr/>
            <p:nvPr/>
          </p:nvGrpSpPr>
          <p:grpSpPr>
            <a:xfrm>
              <a:off x="8486457" y="3252828"/>
              <a:ext cx="808076" cy="936246"/>
              <a:chOff x="7670593" y="2981026"/>
              <a:chExt cx="808076" cy="936246"/>
            </a:xfrm>
          </p:grpSpPr>
          <p:sp>
            <p:nvSpPr>
              <p:cNvPr id="143" name="Rectangle: Rounded Corners 142">
                <a:extLst>
                  <a:ext uri="{FF2B5EF4-FFF2-40B4-BE49-F238E27FC236}">
                    <a16:creationId xmlns:a16="http://schemas.microsoft.com/office/drawing/2014/main" id="{02CFF834-6ADD-42DF-A310-28D306091F08}"/>
                  </a:ext>
                </a:extLst>
              </p:cNvPr>
              <p:cNvSpPr/>
              <p:nvPr/>
            </p:nvSpPr>
            <p:spPr bwMode="auto">
              <a:xfrm>
                <a:off x="7670593" y="3109196"/>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Rounded Corners 143">
                <a:extLst>
                  <a:ext uri="{FF2B5EF4-FFF2-40B4-BE49-F238E27FC236}">
                    <a16:creationId xmlns:a16="http://schemas.microsoft.com/office/drawing/2014/main" id="{455D1F24-52AA-49E7-8B78-B769E1C5096E}"/>
                  </a:ext>
                </a:extLst>
              </p:cNvPr>
              <p:cNvSpPr/>
              <p:nvPr/>
            </p:nvSpPr>
            <p:spPr bwMode="auto">
              <a:xfrm>
                <a:off x="7670593" y="3045111"/>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Rounded Corners 144">
                <a:extLst>
                  <a:ext uri="{FF2B5EF4-FFF2-40B4-BE49-F238E27FC236}">
                    <a16:creationId xmlns:a16="http://schemas.microsoft.com/office/drawing/2014/main" id="{13148E3F-6B94-4DF8-A57D-629E13672443}"/>
                  </a:ext>
                </a:extLst>
              </p:cNvPr>
              <p:cNvSpPr/>
              <p:nvPr/>
            </p:nvSpPr>
            <p:spPr bwMode="auto">
              <a:xfrm>
                <a:off x="7670593" y="2981026"/>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Rectangle: Rounded Corners 53">
              <a:extLst>
                <a:ext uri="{FF2B5EF4-FFF2-40B4-BE49-F238E27FC236}">
                  <a16:creationId xmlns:a16="http://schemas.microsoft.com/office/drawing/2014/main" id="{5176E46F-9B8B-486E-BC5B-FFD614B1D7BA}"/>
                </a:ext>
              </a:extLst>
            </p:cNvPr>
            <p:cNvSpPr/>
            <p:nvPr/>
          </p:nvSpPr>
          <p:spPr bwMode="auto">
            <a:xfrm>
              <a:off x="6369299" y="4590605"/>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D28BEB2E-958C-491F-AE92-6D8E5ABBD3B8}"/>
                </a:ext>
              </a:extLst>
            </p:cNvPr>
            <p:cNvSpPr/>
            <p:nvPr/>
          </p:nvSpPr>
          <p:spPr bwMode="auto">
            <a:xfrm>
              <a:off x="6369299" y="4526520"/>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Rounded Corners 50">
              <a:extLst>
                <a:ext uri="{FF2B5EF4-FFF2-40B4-BE49-F238E27FC236}">
                  <a16:creationId xmlns:a16="http://schemas.microsoft.com/office/drawing/2014/main" id="{DEAAD91C-9EE6-4F9E-B4D4-AF2BDDFA1CB1}"/>
                </a:ext>
              </a:extLst>
            </p:cNvPr>
            <p:cNvSpPr/>
            <p:nvPr/>
          </p:nvSpPr>
          <p:spPr bwMode="auto">
            <a:xfrm>
              <a:off x="6369299" y="4462435"/>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7" name="TextBox 56">
              <a:extLst>
                <a:ext uri="{FF2B5EF4-FFF2-40B4-BE49-F238E27FC236}">
                  <a16:creationId xmlns:a16="http://schemas.microsoft.com/office/drawing/2014/main" id="{2BFF7B03-AD3D-4B1B-B358-267BAE08004D}"/>
                </a:ext>
              </a:extLst>
            </p:cNvPr>
            <p:cNvSpPr txBox="1"/>
            <p:nvPr/>
          </p:nvSpPr>
          <p:spPr>
            <a:xfrm>
              <a:off x="6116112" y="5368982"/>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Data Lake Storage</a:t>
              </a:r>
            </a:p>
          </p:txBody>
        </p:sp>
        <p:sp>
          <p:nvSpPr>
            <p:cNvPr id="86" name="Rectangle: Rounded Corners 85">
              <a:extLst>
                <a:ext uri="{FF2B5EF4-FFF2-40B4-BE49-F238E27FC236}">
                  <a16:creationId xmlns:a16="http://schemas.microsoft.com/office/drawing/2014/main" id="{7C5BEF37-9979-4652-90D5-508DBD5A0838}"/>
                </a:ext>
              </a:extLst>
            </p:cNvPr>
            <p:cNvSpPr/>
            <p:nvPr/>
          </p:nvSpPr>
          <p:spPr bwMode="auto">
            <a:xfrm>
              <a:off x="6369299" y="1557720"/>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Rounded Corners 86">
              <a:extLst>
                <a:ext uri="{FF2B5EF4-FFF2-40B4-BE49-F238E27FC236}">
                  <a16:creationId xmlns:a16="http://schemas.microsoft.com/office/drawing/2014/main" id="{013E7140-A425-4137-84B4-097842BEF5D3}"/>
                </a:ext>
              </a:extLst>
            </p:cNvPr>
            <p:cNvSpPr/>
            <p:nvPr/>
          </p:nvSpPr>
          <p:spPr bwMode="auto">
            <a:xfrm>
              <a:off x="6369299" y="1493635"/>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Rounded Corners 87">
              <a:extLst>
                <a:ext uri="{FF2B5EF4-FFF2-40B4-BE49-F238E27FC236}">
                  <a16:creationId xmlns:a16="http://schemas.microsoft.com/office/drawing/2014/main" id="{EBED1C47-8CB7-4EB8-8F34-9EF48DAA3E9E}"/>
                </a:ext>
              </a:extLst>
            </p:cNvPr>
            <p:cNvSpPr/>
            <p:nvPr/>
          </p:nvSpPr>
          <p:spPr bwMode="auto">
            <a:xfrm>
              <a:off x="6369299" y="1429550"/>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84">
              <a:extLst>
                <a:ext uri="{FF2B5EF4-FFF2-40B4-BE49-F238E27FC236}">
                  <a16:creationId xmlns:a16="http://schemas.microsoft.com/office/drawing/2014/main" id="{39721AC9-2704-4292-8A00-A4D37F83BEA8}"/>
                </a:ext>
              </a:extLst>
            </p:cNvPr>
            <p:cNvSpPr txBox="1"/>
            <p:nvPr/>
          </p:nvSpPr>
          <p:spPr>
            <a:xfrm>
              <a:off x="6116112" y="2336097"/>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dicated SQL Pools</a:t>
              </a:r>
            </a:p>
          </p:txBody>
        </p:sp>
        <p:pic>
          <p:nvPicPr>
            <p:cNvPr id="149" name="Picture 148">
              <a:extLst>
                <a:ext uri="{FF2B5EF4-FFF2-40B4-BE49-F238E27FC236}">
                  <a16:creationId xmlns:a16="http://schemas.microsoft.com/office/drawing/2014/main" id="{DC80B917-8D7B-4F2B-A6A7-7ABBFFBA918F}"/>
                </a:ext>
              </a:extLst>
            </p:cNvPr>
            <p:cNvPicPr>
              <a:picLocks noChangeAspect="1"/>
            </p:cNvPicPr>
            <p:nvPr/>
          </p:nvPicPr>
          <p:blipFill>
            <a:blip r:embed="rId3"/>
            <a:stretch>
              <a:fillRect/>
            </a:stretch>
          </p:blipFill>
          <p:spPr>
            <a:xfrm>
              <a:off x="6514234" y="4206964"/>
              <a:ext cx="518205" cy="688908"/>
            </a:xfrm>
            <a:prstGeom prst="rect">
              <a:avLst/>
            </a:prstGeom>
          </p:spPr>
        </p:pic>
        <p:pic>
          <p:nvPicPr>
            <p:cNvPr id="151" name="Graphic 150">
              <a:extLst>
                <a:ext uri="{FF2B5EF4-FFF2-40B4-BE49-F238E27FC236}">
                  <a16:creationId xmlns:a16="http://schemas.microsoft.com/office/drawing/2014/main" id="{4770F4B5-3579-492D-96FB-7B88D82E2C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28883" y="1174079"/>
              <a:ext cx="688908" cy="688908"/>
            </a:xfrm>
            <a:prstGeom prst="rect">
              <a:avLst/>
            </a:prstGeom>
          </p:spPr>
        </p:pic>
        <p:sp>
          <p:nvSpPr>
            <p:cNvPr id="93" name="Rectangle: Rounded Corners 92">
              <a:extLst>
                <a:ext uri="{FF2B5EF4-FFF2-40B4-BE49-F238E27FC236}">
                  <a16:creationId xmlns:a16="http://schemas.microsoft.com/office/drawing/2014/main" id="{08F91616-2669-44A0-80A8-09C37C4189E3}"/>
                </a:ext>
              </a:extLst>
            </p:cNvPr>
            <p:cNvSpPr/>
            <p:nvPr/>
          </p:nvSpPr>
          <p:spPr bwMode="auto">
            <a:xfrm>
              <a:off x="10423632" y="1557720"/>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Rounded Corners 93">
              <a:extLst>
                <a:ext uri="{FF2B5EF4-FFF2-40B4-BE49-F238E27FC236}">
                  <a16:creationId xmlns:a16="http://schemas.microsoft.com/office/drawing/2014/main" id="{8A53F08A-3B41-48FE-9811-61740D50BCE6}"/>
                </a:ext>
              </a:extLst>
            </p:cNvPr>
            <p:cNvSpPr/>
            <p:nvPr/>
          </p:nvSpPr>
          <p:spPr bwMode="auto">
            <a:xfrm>
              <a:off x="10423632" y="1493635"/>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Rounded Corners 94">
              <a:extLst>
                <a:ext uri="{FF2B5EF4-FFF2-40B4-BE49-F238E27FC236}">
                  <a16:creationId xmlns:a16="http://schemas.microsoft.com/office/drawing/2014/main" id="{D15E09F7-D9E1-4180-ABC2-CFAABFEEA0FA}"/>
                </a:ext>
              </a:extLst>
            </p:cNvPr>
            <p:cNvSpPr/>
            <p:nvPr/>
          </p:nvSpPr>
          <p:spPr bwMode="auto">
            <a:xfrm>
              <a:off x="10423632" y="1429550"/>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6" name="TextBox 95">
              <a:extLst>
                <a:ext uri="{FF2B5EF4-FFF2-40B4-BE49-F238E27FC236}">
                  <a16:creationId xmlns:a16="http://schemas.microsoft.com/office/drawing/2014/main" id="{47E440E1-9799-42E7-8AD9-F3A96FF513A9}"/>
                </a:ext>
              </a:extLst>
            </p:cNvPr>
            <p:cNvSpPr txBox="1"/>
            <p:nvPr/>
          </p:nvSpPr>
          <p:spPr>
            <a:xfrm>
              <a:off x="10170445" y="2336097"/>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 SQL Pool</a:t>
              </a:r>
            </a:p>
          </p:txBody>
        </p:sp>
        <p:sp>
          <p:nvSpPr>
            <p:cNvPr id="61" name="TextBox 60">
              <a:extLst>
                <a:ext uri="{FF2B5EF4-FFF2-40B4-BE49-F238E27FC236}">
                  <a16:creationId xmlns:a16="http://schemas.microsoft.com/office/drawing/2014/main" id="{05D8E688-3746-4D6B-ABC7-18046F0C8099}"/>
                </a:ext>
              </a:extLst>
            </p:cNvPr>
            <p:cNvSpPr txBox="1"/>
            <p:nvPr/>
          </p:nvSpPr>
          <p:spPr>
            <a:xfrm>
              <a:off x="9895913" y="5368982"/>
              <a:ext cx="1863514" cy="30777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pache Spark Pools</a:t>
              </a:r>
            </a:p>
          </p:txBody>
        </p:sp>
        <p:sp>
          <p:nvSpPr>
            <p:cNvPr id="62" name="Rectangle: Rounded Corners 61">
              <a:extLst>
                <a:ext uri="{FF2B5EF4-FFF2-40B4-BE49-F238E27FC236}">
                  <a16:creationId xmlns:a16="http://schemas.microsoft.com/office/drawing/2014/main" id="{BE73D167-DA4E-43DB-9ACA-E10819446283}"/>
                </a:ext>
              </a:extLst>
            </p:cNvPr>
            <p:cNvSpPr/>
            <p:nvPr/>
          </p:nvSpPr>
          <p:spPr bwMode="auto">
            <a:xfrm>
              <a:off x="10423632" y="4643768"/>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B30176F8-DD5C-4991-B389-D09642DB37FB}"/>
                </a:ext>
              </a:extLst>
            </p:cNvPr>
            <p:cNvSpPr/>
            <p:nvPr/>
          </p:nvSpPr>
          <p:spPr bwMode="auto">
            <a:xfrm>
              <a:off x="10423632" y="4579683"/>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55832DB-FCEB-47C1-AFAA-B744080FF6A7}"/>
                </a:ext>
              </a:extLst>
            </p:cNvPr>
            <p:cNvSpPr/>
            <p:nvPr/>
          </p:nvSpPr>
          <p:spPr bwMode="auto">
            <a:xfrm>
              <a:off x="10423632" y="4515598"/>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136" name="Straight Connector 135">
              <a:extLst>
                <a:ext uri="{FF2B5EF4-FFF2-40B4-BE49-F238E27FC236}">
                  <a16:creationId xmlns:a16="http://schemas.microsoft.com/office/drawing/2014/main" id="{CE89580C-598F-4249-9D0B-219AE1E0C266}"/>
                </a:ext>
              </a:extLst>
            </p:cNvPr>
            <p:cNvCxnSpPr/>
            <p:nvPr/>
          </p:nvCxnSpPr>
          <p:spPr>
            <a:xfrm>
              <a:off x="9994898" y="4906797"/>
              <a:ext cx="350875"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50" name="Graphic 149">
              <a:extLst>
                <a:ext uri="{FF2B5EF4-FFF2-40B4-BE49-F238E27FC236}">
                  <a16:creationId xmlns:a16="http://schemas.microsoft.com/office/drawing/2014/main" id="{313B86D0-C209-410D-9D72-571FFB93D53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99001" y="4273747"/>
              <a:ext cx="657338" cy="657338"/>
            </a:xfrm>
            <a:prstGeom prst="rect">
              <a:avLst/>
            </a:prstGeom>
          </p:spPr>
        </p:pic>
        <p:pic>
          <p:nvPicPr>
            <p:cNvPr id="45" name="Graphic 44">
              <a:extLst>
                <a:ext uri="{FF2B5EF4-FFF2-40B4-BE49-F238E27FC236}">
                  <a16:creationId xmlns:a16="http://schemas.microsoft.com/office/drawing/2014/main" id="{21FD4E4B-C06C-4020-8FA0-3D18EF319E9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83216" y="1178549"/>
              <a:ext cx="688908" cy="688908"/>
            </a:xfrm>
            <a:prstGeom prst="rect">
              <a:avLst/>
            </a:prstGeom>
          </p:spPr>
        </p:pic>
        <p:sp>
          <p:nvSpPr>
            <p:cNvPr id="4" name="Rectangle 3">
              <a:extLst>
                <a:ext uri="{FF2B5EF4-FFF2-40B4-BE49-F238E27FC236}">
                  <a16:creationId xmlns:a16="http://schemas.microsoft.com/office/drawing/2014/main" id="{93DF3C52-0D25-4025-AA82-2B0354E247D5}"/>
                </a:ext>
              </a:extLst>
            </p:cNvPr>
            <p:cNvSpPr/>
            <p:nvPr/>
          </p:nvSpPr>
          <p:spPr bwMode="auto">
            <a:xfrm>
              <a:off x="5949131" y="885951"/>
              <a:ext cx="5909480" cy="5086097"/>
            </a:xfrm>
            <a:prstGeom prst="rect">
              <a:avLst/>
            </a:prstGeom>
            <a:noFill/>
            <a:ln>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483C84D1-0919-4CBC-BA56-E6AB25E3775B}"/>
                </a:ext>
              </a:extLst>
            </p:cNvPr>
            <p:cNvSpPr txBox="1"/>
            <p:nvPr/>
          </p:nvSpPr>
          <p:spPr>
            <a:xfrm>
              <a:off x="5949131" y="6006753"/>
              <a:ext cx="5909480" cy="338554"/>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E6FF"/>
                  </a:solidFill>
                  <a:effectLst/>
                  <a:uLnTx/>
                  <a:uFillTx/>
                  <a:latin typeface="Segoe UI Semibold"/>
                  <a:ea typeface="Segoe UI" pitchFamily="34" charset="0"/>
                  <a:cs typeface="Segoe UI" pitchFamily="34" charset="0"/>
                </a:rPr>
                <a:t>Compliance boundary</a:t>
              </a:r>
            </a:p>
          </p:txBody>
        </p:sp>
      </p:grpSp>
      <p:pic>
        <p:nvPicPr>
          <p:cNvPr id="6" name="Picture 5">
            <a:extLst>
              <a:ext uri="{FF2B5EF4-FFF2-40B4-BE49-F238E27FC236}">
                <a16:creationId xmlns:a16="http://schemas.microsoft.com/office/drawing/2014/main" id="{609162B8-DB71-4561-B942-5B961E234F8D}"/>
              </a:ext>
            </a:extLst>
          </p:cNvPr>
          <p:cNvPicPr>
            <a:picLocks noChangeAspect="1"/>
          </p:cNvPicPr>
          <p:nvPr/>
        </p:nvPicPr>
        <p:blipFill>
          <a:blip r:embed="rId8"/>
          <a:stretch>
            <a:fillRect/>
          </a:stretch>
        </p:blipFill>
        <p:spPr>
          <a:xfrm>
            <a:off x="8206106" y="2998796"/>
            <a:ext cx="1262873" cy="12628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267920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C78CD8CC-0D3D-41D3-915C-3B4A82655224}"/>
              </a:ext>
            </a:extLst>
          </p:cNvPr>
          <p:cNvSpPr txBox="1">
            <a:spLocks/>
          </p:cNvSpPr>
          <p:nvPr/>
        </p:nvSpPr>
        <p:spPr>
          <a:xfrm>
            <a:off x="588262" y="2504412"/>
            <a:ext cx="4420301"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Flexible consumption models </a:t>
            </a:r>
            <a:endParaRPr kumimoji="0" lang="en-US" sz="16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Serverless pay-per-query ideal for ad-hoc data lake exploration and transformation</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Dedicated</a:t>
            </a:r>
            <a:r>
              <a:rPr lang="en-US" sz="1400" dirty="0">
                <a:solidFill>
                  <a:srgbClr val="FFFFFF"/>
                </a:solidFill>
                <a:latin typeface="Segoe UI"/>
              </a:rPr>
              <a:t> clusters optimized mission-critical </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data warehouse workloads</a:t>
            </a:r>
          </a:p>
        </p:txBody>
      </p:sp>
      <p:grpSp>
        <p:nvGrpSpPr>
          <p:cNvPr id="2" name="Group 1">
            <a:extLst>
              <a:ext uri="{FF2B5EF4-FFF2-40B4-BE49-F238E27FC236}">
                <a16:creationId xmlns:a16="http://schemas.microsoft.com/office/drawing/2014/main" id="{B5BD819F-39DB-4912-9F64-63C8442AB0BB}"/>
              </a:ext>
            </a:extLst>
          </p:cNvPr>
          <p:cNvGrpSpPr/>
          <p:nvPr/>
        </p:nvGrpSpPr>
        <p:grpSpPr>
          <a:xfrm>
            <a:off x="0" y="986388"/>
            <a:ext cx="4751388" cy="1283389"/>
            <a:chOff x="0" y="986388"/>
            <a:chExt cx="4751388" cy="1283389"/>
          </a:xfrm>
        </p:grpSpPr>
        <p:sp>
          <p:nvSpPr>
            <p:cNvPr id="9" name="Title 1">
              <a:extLst>
                <a:ext uri="{FF2B5EF4-FFF2-40B4-BE49-F238E27FC236}">
                  <a16:creationId xmlns:a16="http://schemas.microsoft.com/office/drawing/2014/main" id="{DC8B46B1-22E4-48EC-9CB4-D3533B13CA0D}"/>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Serverless + dedicated SQL</a:t>
              </a:r>
            </a:p>
          </p:txBody>
        </p:sp>
        <p:cxnSp>
          <p:nvCxnSpPr>
            <p:cNvPr id="11" name="Straight Connector 10">
              <a:extLst>
                <a:ext uri="{FF2B5EF4-FFF2-40B4-BE49-F238E27FC236}">
                  <a16:creationId xmlns:a16="http://schemas.microsoft.com/office/drawing/2014/main" id="{D5CDD913-4B9F-485D-8899-EE0298D5D990}"/>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3" name="Group 2">
            <a:extLst>
              <a:ext uri="{FF2B5EF4-FFF2-40B4-BE49-F238E27FC236}">
                <a16:creationId xmlns:a16="http://schemas.microsoft.com/office/drawing/2014/main" id="{3967CCF8-CC41-42CE-90DE-5F19717BAF69}"/>
              </a:ext>
            </a:extLst>
          </p:cNvPr>
          <p:cNvGrpSpPr/>
          <p:nvPr/>
        </p:nvGrpSpPr>
        <p:grpSpPr>
          <a:xfrm>
            <a:off x="5927536" y="1967840"/>
            <a:ext cx="3457250" cy="6127334"/>
            <a:chOff x="5927536" y="1967840"/>
            <a:chExt cx="3457250" cy="6127334"/>
          </a:xfrm>
        </p:grpSpPr>
        <p:grpSp>
          <p:nvGrpSpPr>
            <p:cNvPr id="238" name="Group 237">
              <a:extLst>
                <a:ext uri="{FF2B5EF4-FFF2-40B4-BE49-F238E27FC236}">
                  <a16:creationId xmlns:a16="http://schemas.microsoft.com/office/drawing/2014/main" id="{9A670901-5C80-42E8-AF1D-9E4CBA039330}"/>
                </a:ext>
              </a:extLst>
            </p:cNvPr>
            <p:cNvGrpSpPr/>
            <p:nvPr/>
          </p:nvGrpSpPr>
          <p:grpSpPr>
            <a:xfrm>
              <a:off x="5927536" y="1967840"/>
              <a:ext cx="3457250" cy="6127334"/>
              <a:chOff x="7122498" y="6815693"/>
              <a:chExt cx="2850411" cy="5051826"/>
            </a:xfrm>
          </p:grpSpPr>
          <p:grpSp>
            <p:nvGrpSpPr>
              <p:cNvPr id="119" name="Graphic 11">
                <a:extLst>
                  <a:ext uri="{FF2B5EF4-FFF2-40B4-BE49-F238E27FC236}">
                    <a16:creationId xmlns:a16="http://schemas.microsoft.com/office/drawing/2014/main" id="{9B9DDA68-4E07-40E0-A0EB-542CA46A71AD}"/>
                  </a:ext>
                </a:extLst>
              </p:cNvPr>
              <p:cNvGrpSpPr/>
              <p:nvPr/>
            </p:nvGrpSpPr>
            <p:grpSpPr>
              <a:xfrm>
                <a:off x="7224041" y="7569535"/>
                <a:ext cx="2748868" cy="4297984"/>
                <a:chOff x="7224041" y="7569535"/>
                <a:chExt cx="2748868" cy="4297984"/>
              </a:xfrm>
            </p:grpSpPr>
            <p:sp>
              <p:nvSpPr>
                <p:cNvPr id="120" name="Freeform: Shape 119">
                  <a:extLst>
                    <a:ext uri="{FF2B5EF4-FFF2-40B4-BE49-F238E27FC236}">
                      <a16:creationId xmlns:a16="http://schemas.microsoft.com/office/drawing/2014/main" id="{F3F818D7-BEE7-46E5-9C8F-62A19C381476}"/>
                    </a:ext>
                  </a:extLst>
                </p:cNvPr>
                <p:cNvSpPr/>
                <p:nvPr/>
              </p:nvSpPr>
              <p:spPr>
                <a:xfrm>
                  <a:off x="7224137"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8"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0394BCC6-8DA6-4966-8476-C38E981E159B}"/>
                    </a:ext>
                  </a:extLst>
                </p:cNvPr>
                <p:cNvSpPr/>
                <p:nvPr/>
              </p:nvSpPr>
              <p:spPr>
                <a:xfrm>
                  <a:off x="7224190" y="8126429"/>
                  <a:ext cx="1960299" cy="663373"/>
                </a:xfrm>
                <a:custGeom>
                  <a:avLst/>
                  <a:gdLst>
                    <a:gd name="connsiteX0" fmla="*/ 1924161 w 1960299"/>
                    <a:gd name="connsiteY0" fmla="*/ 61629 h 663373"/>
                    <a:gd name="connsiteX1" fmla="*/ 1924161 w 1960299"/>
                    <a:gd name="connsiteY1" fmla="*/ 63780 h 663373"/>
                    <a:gd name="connsiteX2" fmla="*/ 1083403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3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3"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3" y="642642"/>
                      </a:cubicBezTo>
                      <a:lnTo>
                        <a:pt x="1924161" y="154342"/>
                      </a:lnTo>
                      <a:cubicBezTo>
                        <a:pt x="1947500"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F52FB9E4-BF22-4339-A43E-DAD5C9A0E6D7}"/>
                    </a:ext>
                  </a:extLst>
                </p:cNvPr>
                <p:cNvSpPr/>
                <p:nvPr/>
              </p:nvSpPr>
              <p:spPr>
                <a:xfrm>
                  <a:off x="7224041" y="7569535"/>
                  <a:ext cx="1960825" cy="1134975"/>
                </a:xfrm>
                <a:custGeom>
                  <a:avLst/>
                  <a:gdLst>
                    <a:gd name="connsiteX0" fmla="*/ 1924203 w 1960825"/>
                    <a:gd name="connsiteY0" fmla="*/ 523982 h 1134975"/>
                    <a:gd name="connsiteX1" fmla="*/ 1924203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0 w 1960825"/>
                    <a:gd name="connsiteY7" fmla="*/ 20731 h 1134975"/>
                    <a:gd name="connsiteX8" fmla="*/ 1053652 w 1960825"/>
                    <a:gd name="connsiteY8" fmla="*/ 20731 h 1134975"/>
                    <a:gd name="connsiteX9" fmla="*/ 1924203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3" y="523982"/>
                      </a:moveTo>
                      <a:cubicBezTo>
                        <a:pt x="1973033" y="551624"/>
                        <a:pt x="1973033" y="596151"/>
                        <a:pt x="1924203"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0" y="20731"/>
                      </a:lnTo>
                      <a:cubicBezTo>
                        <a:pt x="926307" y="-6910"/>
                        <a:pt x="1004822" y="-6910"/>
                        <a:pt x="1053652" y="20731"/>
                      </a:cubicBezTo>
                      <a:lnTo>
                        <a:pt x="1924203" y="523982"/>
                      </a:lnTo>
                      <a:close/>
                    </a:path>
                  </a:pathLst>
                </a:custGeom>
                <a:solidFill>
                  <a:srgbClr val="242429"/>
                </a:solidFill>
                <a:ln w="7660" cap="flat">
                  <a:noFill/>
                  <a:prstDash val="solid"/>
                  <a:miter/>
                </a:ln>
              </p:spPr>
              <p:txBody>
                <a:bodyPr rtlCol="0" anchor="ctr"/>
                <a:lstStyle/>
                <a:p>
                  <a:endParaRPr lang="en-US"/>
                </a:p>
              </p:txBody>
            </p:sp>
          </p:grpSp>
          <p:sp>
            <p:nvSpPr>
              <p:cNvPr id="123" name="Freeform: Shape 122">
                <a:extLst>
                  <a:ext uri="{FF2B5EF4-FFF2-40B4-BE49-F238E27FC236}">
                    <a16:creationId xmlns:a16="http://schemas.microsoft.com/office/drawing/2014/main" id="{26669A45-298A-40DE-B43A-1042AD060F6A}"/>
                  </a:ext>
                </a:extLst>
              </p:cNvPr>
              <p:cNvSpPr/>
              <p:nvPr/>
            </p:nvSpPr>
            <p:spPr>
              <a:xfrm>
                <a:off x="7578154"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30000"/>
                </a:srgbClr>
              </a:solidFill>
              <a:ln w="766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587F020-BE3E-44C4-A357-B21BC52293B4}"/>
                  </a:ext>
                </a:extLst>
              </p:cNvPr>
              <p:cNvSpPr/>
              <p:nvPr/>
            </p:nvSpPr>
            <p:spPr>
              <a:xfrm>
                <a:off x="7613540" y="7632535"/>
                <a:ext cx="638339" cy="357728"/>
              </a:xfrm>
              <a:custGeom>
                <a:avLst/>
                <a:gdLst>
                  <a:gd name="connsiteX0" fmla="*/ 359449 w 638339"/>
                  <a:gd name="connsiteY0" fmla="*/ 0 h 357728"/>
                  <a:gd name="connsiteX1" fmla="*/ 0 w 638339"/>
                  <a:gd name="connsiteY1" fmla="*/ 208334 h 357728"/>
                  <a:gd name="connsiteX2" fmla="*/ 278890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0" y="357728"/>
                    </a:lnTo>
                    <a:lnTo>
                      <a:pt x="638340" y="149394"/>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EB777102-EF7B-4BC7-90C8-96C6477CE5C3}"/>
                  </a:ext>
                </a:extLst>
              </p:cNvPr>
              <p:cNvSpPr/>
              <p:nvPr/>
            </p:nvSpPr>
            <p:spPr>
              <a:xfrm>
                <a:off x="789049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alpha val="20000"/>
                </a:srgbClr>
              </a:solidFill>
              <a:ln w="766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297B92F7-9C86-493E-A939-7573AF2AACFA}"/>
                  </a:ext>
                </a:extLst>
              </p:cNvPr>
              <p:cNvSpPr/>
              <p:nvPr/>
            </p:nvSpPr>
            <p:spPr>
              <a:xfrm>
                <a:off x="7611604" y="7840762"/>
                <a:ext cx="280826" cy="314383"/>
              </a:xfrm>
              <a:custGeom>
                <a:avLst/>
                <a:gdLst>
                  <a:gd name="connsiteX0" fmla="*/ 1936 w 280826"/>
                  <a:gd name="connsiteY0" fmla="*/ 0 h 314383"/>
                  <a:gd name="connsiteX1" fmla="*/ 0 w 280826"/>
                  <a:gd name="connsiteY1" fmla="*/ 167033 h 314383"/>
                  <a:gd name="connsiteX2" fmla="*/ 278891 w 280826"/>
                  <a:gd name="connsiteY2" fmla="*/ 314384 h 314383"/>
                  <a:gd name="connsiteX3" fmla="*/ 280826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1" y="314384"/>
                    </a:lnTo>
                    <a:lnTo>
                      <a:pt x="280826" y="149287"/>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4A849B6E-2BD2-4777-9C31-903D308EDD8C}"/>
                  </a:ext>
                </a:extLst>
              </p:cNvPr>
              <p:cNvSpPr/>
              <p:nvPr/>
            </p:nvSpPr>
            <p:spPr>
              <a:xfrm>
                <a:off x="7613540" y="7441948"/>
                <a:ext cx="638339" cy="357620"/>
              </a:xfrm>
              <a:custGeom>
                <a:avLst/>
                <a:gdLst>
                  <a:gd name="connsiteX0" fmla="*/ 359449 w 638339"/>
                  <a:gd name="connsiteY0" fmla="*/ 0 h 357620"/>
                  <a:gd name="connsiteX1" fmla="*/ 0 w 638339"/>
                  <a:gd name="connsiteY1" fmla="*/ 210270 h 357620"/>
                  <a:gd name="connsiteX2" fmla="*/ 278890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0" y="357621"/>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022E1037-869F-4821-A6D7-3E667A01E69A}"/>
                  </a:ext>
                </a:extLst>
              </p:cNvPr>
              <p:cNvSpPr/>
              <p:nvPr/>
            </p:nvSpPr>
            <p:spPr>
              <a:xfrm>
                <a:off x="789049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alpha val="20000"/>
                </a:srgbClr>
              </a:solidFill>
              <a:ln w="766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36DB0710-C8DD-400A-96AD-707D2623C072}"/>
                  </a:ext>
                </a:extLst>
              </p:cNvPr>
              <p:cNvSpPr/>
              <p:nvPr/>
            </p:nvSpPr>
            <p:spPr>
              <a:xfrm>
                <a:off x="7611604" y="7652110"/>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7351"/>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A51A9D10-B5B2-447A-B030-F0B331B4A476}"/>
                  </a:ext>
                </a:extLst>
              </p:cNvPr>
              <p:cNvSpPr/>
              <p:nvPr/>
            </p:nvSpPr>
            <p:spPr>
              <a:xfrm>
                <a:off x="7613540" y="7251467"/>
                <a:ext cx="638339" cy="359557"/>
              </a:xfrm>
              <a:custGeom>
                <a:avLst/>
                <a:gdLst>
                  <a:gd name="connsiteX0" fmla="*/ 359449 w 638339"/>
                  <a:gd name="connsiteY0" fmla="*/ 0 h 359557"/>
                  <a:gd name="connsiteX1" fmla="*/ 0 w 638339"/>
                  <a:gd name="connsiteY1" fmla="*/ 210163 h 359557"/>
                  <a:gd name="connsiteX2" fmla="*/ 278890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0" y="359557"/>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1899B364-1BB4-4C5D-AC28-60D6920EF433}"/>
                  </a:ext>
                </a:extLst>
              </p:cNvPr>
              <p:cNvSpPr/>
              <p:nvPr/>
            </p:nvSpPr>
            <p:spPr>
              <a:xfrm>
                <a:off x="789049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alpha val="20000"/>
                </a:srgbClr>
              </a:solidFill>
              <a:ln w="766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76A0E4F2-B864-4D7E-ACD6-8557DCC44C58}"/>
                  </a:ext>
                </a:extLst>
              </p:cNvPr>
              <p:cNvSpPr/>
              <p:nvPr/>
            </p:nvSpPr>
            <p:spPr>
              <a:xfrm>
                <a:off x="7611604" y="7461522"/>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E2F4552D-3E26-4C15-AC30-05541A47DC2E}"/>
                  </a:ext>
                </a:extLst>
              </p:cNvPr>
              <p:cNvSpPr/>
              <p:nvPr/>
            </p:nvSpPr>
            <p:spPr>
              <a:xfrm>
                <a:off x="7613540" y="7062816"/>
                <a:ext cx="638339" cy="359664"/>
              </a:xfrm>
              <a:custGeom>
                <a:avLst/>
                <a:gdLst>
                  <a:gd name="connsiteX0" fmla="*/ 359449 w 638339"/>
                  <a:gd name="connsiteY0" fmla="*/ 0 h 359664"/>
                  <a:gd name="connsiteX1" fmla="*/ 0 w 638339"/>
                  <a:gd name="connsiteY1" fmla="*/ 210270 h 359664"/>
                  <a:gd name="connsiteX2" fmla="*/ 278890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0" y="359665"/>
                    </a:lnTo>
                    <a:lnTo>
                      <a:pt x="638340" y="149394"/>
                    </a:lnTo>
                    <a:lnTo>
                      <a:pt x="359449" y="0"/>
                    </a:lnTo>
                    <a:close/>
                  </a:path>
                </a:pathLst>
              </a:custGeom>
              <a:solidFill>
                <a:srgbClr val="84ECFD">
                  <a:alpha val="30000"/>
                </a:srgbClr>
              </a:solidFill>
              <a:ln w="766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D27847B7-49A3-4A31-AE7A-0C1DEA50B6F0}"/>
                  </a:ext>
                </a:extLst>
              </p:cNvPr>
              <p:cNvSpPr/>
              <p:nvPr/>
            </p:nvSpPr>
            <p:spPr>
              <a:xfrm>
                <a:off x="789049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alpha val="20000"/>
                </a:srgbClr>
              </a:solidFill>
              <a:ln w="766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1C97FA57-1A99-4AC0-A921-0ECEE79760F8}"/>
                  </a:ext>
                </a:extLst>
              </p:cNvPr>
              <p:cNvSpPr/>
              <p:nvPr/>
            </p:nvSpPr>
            <p:spPr>
              <a:xfrm>
                <a:off x="7611604" y="7272978"/>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5A0B59F1-A2A4-47FB-9710-41816832FAF2}"/>
                  </a:ext>
                </a:extLst>
              </p:cNvPr>
              <p:cNvSpPr/>
              <p:nvPr/>
            </p:nvSpPr>
            <p:spPr>
              <a:xfrm>
                <a:off x="7640967"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alpha val="30000"/>
                </a:srgbClr>
              </a:solidFill>
              <a:ln w="766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8D9C21ED-C919-4387-A8B4-2432C1B1C752}"/>
                  </a:ext>
                </a:extLst>
              </p:cNvPr>
              <p:cNvSpPr/>
              <p:nvPr/>
            </p:nvSpPr>
            <p:spPr>
              <a:xfrm>
                <a:off x="7912328"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64BCC04A-3966-4746-AD85-400E08464FF2}"/>
                  </a:ext>
                </a:extLst>
              </p:cNvPr>
              <p:cNvSpPr/>
              <p:nvPr/>
            </p:nvSpPr>
            <p:spPr>
              <a:xfrm>
                <a:off x="7912328"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A706DD3A-0D64-42D9-BF14-2C43B1215DFE}"/>
                  </a:ext>
                </a:extLst>
              </p:cNvPr>
              <p:cNvSpPr/>
              <p:nvPr/>
            </p:nvSpPr>
            <p:spPr>
              <a:xfrm>
                <a:off x="7907596" y="7580156"/>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61CA6D1F-EF01-47DA-B169-4135D857939D}"/>
                  </a:ext>
                </a:extLst>
              </p:cNvPr>
              <p:cNvSpPr/>
              <p:nvPr/>
            </p:nvSpPr>
            <p:spPr>
              <a:xfrm>
                <a:off x="7907596" y="7389998"/>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91BED6DB-81D7-44B0-B255-46BB6B5F7A19}"/>
                  </a:ext>
                </a:extLst>
              </p:cNvPr>
              <p:cNvSpPr/>
              <p:nvPr/>
            </p:nvSpPr>
            <p:spPr>
              <a:xfrm>
                <a:off x="7649786" y="7071635"/>
                <a:ext cx="694160" cy="10755"/>
              </a:xfrm>
              <a:custGeom>
                <a:avLst/>
                <a:gdLst>
                  <a:gd name="connsiteX0" fmla="*/ 694161 w 694160"/>
                  <a:gd name="connsiteY0" fmla="*/ 0 h 10755"/>
                  <a:gd name="connsiteX1" fmla="*/ 0 w 694160"/>
                  <a:gd name="connsiteY1" fmla="*/ 0 h 10755"/>
                </a:gdLst>
                <a:ahLst/>
                <a:cxnLst>
                  <a:cxn ang="0">
                    <a:pos x="connsiteX0" y="connsiteY0"/>
                  </a:cxn>
                  <a:cxn ang="0">
                    <a:pos x="connsiteX1" y="connsiteY1"/>
                  </a:cxn>
                </a:cxnLst>
                <a:rect l="l" t="t" r="r" b="b"/>
                <a:pathLst>
                  <a:path w="694160" h="10755">
                    <a:moveTo>
                      <a:pt x="694161" y="0"/>
                    </a:moveTo>
                    <a:lnTo>
                      <a:pt x="0" y="0"/>
                    </a:lnTo>
                  </a:path>
                </a:pathLst>
              </a:custGeom>
              <a:noFill/>
              <a:ln w="7660" cap="flat">
                <a:solidFill>
                  <a:srgbClr val="50E6FF"/>
                </a:solid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A0317BFC-F8C9-47EB-8FF3-FE1FA8FC3D59}"/>
                  </a:ext>
                </a:extLst>
              </p:cNvPr>
              <p:cNvSpPr/>
              <p:nvPr/>
            </p:nvSpPr>
            <p:spPr>
              <a:xfrm>
                <a:off x="7818647" y="7071635"/>
                <a:ext cx="525299" cy="770847"/>
              </a:xfrm>
              <a:custGeom>
                <a:avLst/>
                <a:gdLst>
                  <a:gd name="connsiteX0" fmla="*/ 525299 w 525299"/>
                  <a:gd name="connsiteY0" fmla="*/ 0 h 770847"/>
                  <a:gd name="connsiteX1" fmla="*/ 0 w 525299"/>
                  <a:gd name="connsiteY1" fmla="*/ 470339 h 770847"/>
                  <a:gd name="connsiteX2" fmla="*/ 419357 w 525299"/>
                  <a:gd name="connsiteY2" fmla="*/ 770848 h 770847"/>
                  <a:gd name="connsiteX3" fmla="*/ 525299 w 525299"/>
                  <a:gd name="connsiteY3" fmla="*/ 0 h 770847"/>
                </a:gdLst>
                <a:ahLst/>
                <a:cxnLst>
                  <a:cxn ang="0">
                    <a:pos x="connsiteX0" y="connsiteY0"/>
                  </a:cxn>
                  <a:cxn ang="0">
                    <a:pos x="connsiteX1" y="connsiteY1"/>
                  </a:cxn>
                  <a:cxn ang="0">
                    <a:pos x="connsiteX2" y="connsiteY2"/>
                  </a:cxn>
                  <a:cxn ang="0">
                    <a:pos x="connsiteX3" y="connsiteY3"/>
                  </a:cxn>
                </a:cxnLst>
                <a:rect l="l" t="t" r="r" b="b"/>
                <a:pathLst>
                  <a:path w="525299" h="770847">
                    <a:moveTo>
                      <a:pt x="525299" y="0"/>
                    </a:moveTo>
                    <a:lnTo>
                      <a:pt x="0" y="470339"/>
                    </a:lnTo>
                    <a:lnTo>
                      <a:pt x="419357" y="770848"/>
                    </a:lnTo>
                    <a:lnTo>
                      <a:pt x="525299" y="0"/>
                    </a:lnTo>
                    <a:close/>
                  </a:path>
                </a:pathLst>
              </a:custGeom>
              <a:noFill/>
              <a:ln w="7660" cap="flat">
                <a:solidFill>
                  <a:srgbClr val="50E6FF"/>
                </a:solid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991DF048-FEC7-442D-845D-D3A42A606CFF}"/>
                  </a:ext>
                </a:extLst>
              </p:cNvPr>
              <p:cNvSpPr/>
              <p:nvPr/>
            </p:nvSpPr>
            <p:spPr>
              <a:xfrm>
                <a:off x="7158474" y="7071635"/>
                <a:ext cx="660173" cy="470338"/>
              </a:xfrm>
              <a:custGeom>
                <a:avLst/>
                <a:gdLst>
                  <a:gd name="connsiteX0" fmla="*/ 484751 w 660173"/>
                  <a:gd name="connsiteY0" fmla="*/ 0 h 470338"/>
                  <a:gd name="connsiteX1" fmla="*/ 505079 w 660173"/>
                  <a:gd name="connsiteY1" fmla="*/ 258993 h 470338"/>
                  <a:gd name="connsiteX2" fmla="*/ 660173 w 660173"/>
                  <a:gd name="connsiteY2" fmla="*/ 470339 h 470338"/>
                  <a:gd name="connsiteX3" fmla="*/ 0 w 660173"/>
                  <a:gd name="connsiteY3" fmla="*/ 414840 h 470338"/>
                  <a:gd name="connsiteX4" fmla="*/ 500884 w 660173"/>
                  <a:gd name="connsiteY4" fmla="*/ 245010 h 47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73" h="470338">
                    <a:moveTo>
                      <a:pt x="484751" y="0"/>
                    </a:moveTo>
                    <a:lnTo>
                      <a:pt x="505079" y="258993"/>
                    </a:lnTo>
                    <a:lnTo>
                      <a:pt x="660173" y="470339"/>
                    </a:lnTo>
                    <a:lnTo>
                      <a:pt x="0" y="414840"/>
                    </a:lnTo>
                    <a:lnTo>
                      <a:pt x="500884" y="245010"/>
                    </a:lnTo>
                  </a:path>
                </a:pathLst>
              </a:custGeom>
              <a:noFill/>
              <a:ln w="7660" cap="flat">
                <a:solidFill>
                  <a:srgbClr val="50E6FF"/>
                </a:solid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0D364130-0E93-43B8-BC7A-55D487FB79CF}"/>
                  </a:ext>
                </a:extLst>
              </p:cNvPr>
              <p:cNvSpPr/>
              <p:nvPr/>
            </p:nvSpPr>
            <p:spPr>
              <a:xfrm>
                <a:off x="7122498" y="7456417"/>
                <a:ext cx="75716" cy="75220"/>
              </a:xfrm>
              <a:custGeom>
                <a:avLst/>
                <a:gdLst>
                  <a:gd name="connsiteX0" fmla="*/ 55229 w 75716"/>
                  <a:gd name="connsiteY0" fmla="*/ 71252 h 75220"/>
                  <a:gd name="connsiteX1" fmla="*/ 73621 w 75716"/>
                  <a:gd name="connsiteY1" fmla="*/ 25542 h 75220"/>
                  <a:gd name="connsiteX2" fmla="*/ 20488 w 75716"/>
                  <a:gd name="connsiteY2" fmla="*/ 4030 h 75220"/>
                  <a:gd name="connsiteX3" fmla="*/ 2096 w 75716"/>
                  <a:gd name="connsiteY3" fmla="*/ 49741 h 75220"/>
                  <a:gd name="connsiteX4" fmla="*/ 55229 w 75716"/>
                  <a:gd name="connsiteY4" fmla="*/ 71252 h 7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16" h="75220">
                    <a:moveTo>
                      <a:pt x="55229" y="71252"/>
                    </a:moveTo>
                    <a:cubicBezTo>
                      <a:pt x="72437" y="62218"/>
                      <a:pt x="79644" y="44041"/>
                      <a:pt x="73621" y="25542"/>
                    </a:cubicBezTo>
                    <a:cubicBezTo>
                      <a:pt x="65446" y="4353"/>
                      <a:pt x="40709" y="-6402"/>
                      <a:pt x="20488" y="4030"/>
                    </a:cubicBezTo>
                    <a:cubicBezTo>
                      <a:pt x="3279" y="13065"/>
                      <a:pt x="-3927" y="31242"/>
                      <a:pt x="2096" y="49741"/>
                    </a:cubicBezTo>
                    <a:cubicBezTo>
                      <a:pt x="10271" y="70822"/>
                      <a:pt x="35008" y="81578"/>
                      <a:pt x="55229" y="71252"/>
                    </a:cubicBezTo>
                    <a:close/>
                  </a:path>
                </a:pathLst>
              </a:custGeom>
              <a:solidFill>
                <a:srgbClr val="185A97"/>
              </a:solidFill>
              <a:ln w="766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A073F878-72C5-4492-9AD6-A4A368969C5C}"/>
                  </a:ext>
                </a:extLst>
              </p:cNvPr>
              <p:cNvSpPr/>
              <p:nvPr/>
            </p:nvSpPr>
            <p:spPr>
              <a:xfrm>
                <a:off x="8597063" y="7067342"/>
                <a:ext cx="74887" cy="71829"/>
              </a:xfrm>
              <a:custGeom>
                <a:avLst/>
                <a:gdLst>
                  <a:gd name="connsiteX0" fmla="*/ 52018 w 74887"/>
                  <a:gd name="connsiteY0" fmla="*/ 68719 h 71829"/>
                  <a:gd name="connsiteX1" fmla="*/ 71808 w 74887"/>
                  <a:gd name="connsiteY1" fmla="*/ 21933 h 71829"/>
                  <a:gd name="connsiteX2" fmla="*/ 22870 w 74887"/>
                  <a:gd name="connsiteY2" fmla="*/ 3003 h 71829"/>
                  <a:gd name="connsiteX3" fmla="*/ 3080 w 74887"/>
                  <a:gd name="connsiteY3" fmla="*/ 49789 h 71829"/>
                  <a:gd name="connsiteX4" fmla="*/ 52018 w 74887"/>
                  <a:gd name="connsiteY4" fmla="*/ 68719 h 71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1829">
                    <a:moveTo>
                      <a:pt x="52018" y="68719"/>
                    </a:moveTo>
                    <a:cubicBezTo>
                      <a:pt x="71377" y="60760"/>
                      <a:pt x="79982" y="40432"/>
                      <a:pt x="71808" y="21933"/>
                    </a:cubicBezTo>
                    <a:cubicBezTo>
                      <a:pt x="63526" y="3433"/>
                      <a:pt x="42230" y="-4956"/>
                      <a:pt x="22870" y="3003"/>
                    </a:cubicBezTo>
                    <a:cubicBezTo>
                      <a:pt x="3510" y="10962"/>
                      <a:pt x="-5094" y="31290"/>
                      <a:pt x="3080" y="49789"/>
                    </a:cubicBezTo>
                    <a:cubicBezTo>
                      <a:pt x="11254" y="68397"/>
                      <a:pt x="31905" y="76893"/>
                      <a:pt x="52018" y="68719"/>
                    </a:cubicBezTo>
                    <a:close/>
                  </a:path>
                </a:pathLst>
              </a:custGeom>
              <a:solidFill>
                <a:srgbClr val="2195DC"/>
              </a:solidFill>
              <a:ln w="766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ADAE52A4-0CAD-46F9-AC13-50993C8885A6}"/>
                  </a:ext>
                </a:extLst>
              </p:cNvPr>
              <p:cNvSpPr/>
              <p:nvPr/>
            </p:nvSpPr>
            <p:spPr>
              <a:xfrm>
                <a:off x="7605082" y="7028176"/>
                <a:ext cx="74887" cy="75132"/>
              </a:xfrm>
              <a:custGeom>
                <a:avLst/>
                <a:gdLst>
                  <a:gd name="connsiteX0" fmla="*/ 52018 w 74887"/>
                  <a:gd name="connsiteY0" fmla="*/ 71854 h 75132"/>
                  <a:gd name="connsiteX1" fmla="*/ 71808 w 74887"/>
                  <a:gd name="connsiteY1" fmla="*/ 22916 h 75132"/>
                  <a:gd name="connsiteX2" fmla="*/ 22870 w 74887"/>
                  <a:gd name="connsiteY2" fmla="*/ 3126 h 75132"/>
                  <a:gd name="connsiteX3" fmla="*/ 3080 w 74887"/>
                  <a:gd name="connsiteY3" fmla="*/ 52063 h 75132"/>
                  <a:gd name="connsiteX4" fmla="*/ 52018 w 74887"/>
                  <a:gd name="connsiteY4" fmla="*/ 71854 h 75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132">
                    <a:moveTo>
                      <a:pt x="52018" y="71854"/>
                    </a:moveTo>
                    <a:cubicBezTo>
                      <a:pt x="71378" y="63572"/>
                      <a:pt x="79982" y="42276"/>
                      <a:pt x="71808" y="22916"/>
                    </a:cubicBezTo>
                    <a:cubicBezTo>
                      <a:pt x="63526" y="3556"/>
                      <a:pt x="42230" y="-5156"/>
                      <a:pt x="22870" y="3126"/>
                    </a:cubicBezTo>
                    <a:cubicBezTo>
                      <a:pt x="3510" y="11408"/>
                      <a:pt x="-5094" y="32703"/>
                      <a:pt x="3080" y="52063"/>
                    </a:cubicBezTo>
                    <a:cubicBezTo>
                      <a:pt x="10394" y="69272"/>
                      <a:pt x="32227" y="81211"/>
                      <a:pt x="52018" y="71854"/>
                    </a:cubicBezTo>
                    <a:close/>
                  </a:path>
                </a:pathLst>
              </a:custGeom>
              <a:solidFill>
                <a:srgbClr val="0078D4"/>
              </a:solidFill>
              <a:ln w="766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E29C5990-59A7-4495-8BF3-FE9466D01529}"/>
                  </a:ext>
                </a:extLst>
              </p:cNvPr>
              <p:cNvSpPr/>
              <p:nvPr/>
            </p:nvSpPr>
            <p:spPr>
              <a:xfrm>
                <a:off x="8315591" y="7034137"/>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577" y="72130"/>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7A523FF8-51F0-4A0C-B144-9D116F5A7443}"/>
                  </a:ext>
                </a:extLst>
              </p:cNvPr>
              <p:cNvSpPr/>
              <p:nvPr/>
            </p:nvSpPr>
            <p:spPr>
              <a:xfrm>
                <a:off x="7261659" y="7034030"/>
                <a:ext cx="74887" cy="75079"/>
              </a:xfrm>
              <a:custGeom>
                <a:avLst/>
                <a:gdLst>
                  <a:gd name="connsiteX0" fmla="*/ 52018 w 74887"/>
                  <a:gd name="connsiteY0" fmla="*/ 71808 h 75079"/>
                  <a:gd name="connsiteX1" fmla="*/ 71808 w 74887"/>
                  <a:gd name="connsiteY1" fmla="*/ 22870 h 75079"/>
                  <a:gd name="connsiteX2" fmla="*/ 22870 w 74887"/>
                  <a:gd name="connsiteY2" fmla="*/ 3080 h 75079"/>
                  <a:gd name="connsiteX3" fmla="*/ 3080 w 74887"/>
                  <a:gd name="connsiteY3" fmla="*/ 52018 h 75079"/>
                  <a:gd name="connsiteX4" fmla="*/ 52018 w 74887"/>
                  <a:gd name="connsiteY4" fmla="*/ 71808 h 75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07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346"/>
                      <a:pt x="32658" y="80090"/>
                      <a:pt x="52018" y="71808"/>
                    </a:cubicBezTo>
                    <a:close/>
                  </a:path>
                </a:pathLst>
              </a:custGeom>
              <a:solidFill>
                <a:srgbClr val="185A97"/>
              </a:solidFill>
              <a:ln w="766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966F183D-3B98-485A-B874-1792BE6ADE82}"/>
                  </a:ext>
                </a:extLst>
              </p:cNvPr>
              <p:cNvSpPr/>
              <p:nvPr/>
            </p:nvSpPr>
            <p:spPr>
              <a:xfrm>
                <a:off x="7782118" y="7500497"/>
                <a:ext cx="74887" cy="74949"/>
              </a:xfrm>
              <a:custGeom>
                <a:avLst/>
                <a:gdLst>
                  <a:gd name="connsiteX0" fmla="*/ 52018 w 74887"/>
                  <a:gd name="connsiteY0" fmla="*/ 71808 h 74949"/>
                  <a:gd name="connsiteX1" fmla="*/ 71808 w 74887"/>
                  <a:gd name="connsiteY1" fmla="*/ 22870 h 74949"/>
                  <a:gd name="connsiteX2" fmla="*/ 22870 w 74887"/>
                  <a:gd name="connsiteY2" fmla="*/ 3080 h 74949"/>
                  <a:gd name="connsiteX3" fmla="*/ 3080 w 74887"/>
                  <a:gd name="connsiteY3" fmla="*/ 52018 h 74949"/>
                  <a:gd name="connsiteX4" fmla="*/ 52018 w 74887"/>
                  <a:gd name="connsiteY4" fmla="*/ 71808 h 7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4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469" y="71485"/>
                      <a:pt x="32658" y="80089"/>
                      <a:pt x="52018" y="71808"/>
                    </a:cubicBezTo>
                    <a:close/>
                  </a:path>
                </a:pathLst>
              </a:custGeom>
              <a:solidFill>
                <a:srgbClr val="185A97"/>
              </a:solidFill>
              <a:ln w="766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7CF3DE95-A37A-4BA4-A3AA-A5F929ACF2E9}"/>
                  </a:ext>
                </a:extLst>
              </p:cNvPr>
              <p:cNvSpPr/>
              <p:nvPr/>
            </p:nvSpPr>
            <p:spPr>
              <a:xfrm>
                <a:off x="8328889" y="7431515"/>
                <a:ext cx="350522" cy="419142"/>
              </a:xfrm>
              <a:custGeom>
                <a:avLst/>
                <a:gdLst>
                  <a:gd name="connsiteX0" fmla="*/ 350522 w 350522"/>
                  <a:gd name="connsiteY0" fmla="*/ 0 h 419142"/>
                  <a:gd name="connsiteX1" fmla="*/ 0 w 350522"/>
                  <a:gd name="connsiteY1" fmla="*/ 419142 h 419142"/>
                </a:gdLst>
                <a:ahLst/>
                <a:cxnLst>
                  <a:cxn ang="0">
                    <a:pos x="connsiteX0" y="connsiteY0"/>
                  </a:cxn>
                  <a:cxn ang="0">
                    <a:pos x="connsiteX1" y="connsiteY1"/>
                  </a:cxn>
                </a:cxnLst>
                <a:rect l="l" t="t" r="r" b="b"/>
                <a:pathLst>
                  <a:path w="350522" h="419142">
                    <a:moveTo>
                      <a:pt x="350522" y="0"/>
                    </a:moveTo>
                    <a:lnTo>
                      <a:pt x="0" y="419142"/>
                    </a:lnTo>
                  </a:path>
                </a:pathLst>
              </a:custGeom>
              <a:noFill/>
              <a:ln w="7660" cap="flat">
                <a:solidFill>
                  <a:srgbClr val="50E6FF"/>
                </a:solid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BAF95C38-23CC-4E5E-AE61-644A96053463}"/>
                  </a:ext>
                </a:extLst>
              </p:cNvPr>
              <p:cNvSpPr/>
              <p:nvPr/>
            </p:nvSpPr>
            <p:spPr>
              <a:xfrm>
                <a:off x="8641268" y="7394017"/>
                <a:ext cx="74887" cy="74586"/>
              </a:xfrm>
              <a:custGeom>
                <a:avLst/>
                <a:gdLst>
                  <a:gd name="connsiteX0" fmla="*/ 52017 w 74887"/>
                  <a:gd name="connsiteY0" fmla="*/ 71808 h 74586"/>
                  <a:gd name="connsiteX1" fmla="*/ 71808 w 74887"/>
                  <a:gd name="connsiteY1" fmla="*/ 22870 h 74586"/>
                  <a:gd name="connsiteX2" fmla="*/ 22870 w 74887"/>
                  <a:gd name="connsiteY2" fmla="*/ 3080 h 74586"/>
                  <a:gd name="connsiteX3" fmla="*/ 3080 w 74887"/>
                  <a:gd name="connsiteY3" fmla="*/ 52018 h 74586"/>
                  <a:gd name="connsiteX4" fmla="*/ 52017 w 74887"/>
                  <a:gd name="connsiteY4" fmla="*/ 71808 h 74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586">
                    <a:moveTo>
                      <a:pt x="52017" y="71808"/>
                    </a:moveTo>
                    <a:cubicBezTo>
                      <a:pt x="71378" y="63526"/>
                      <a:pt x="79982" y="42230"/>
                      <a:pt x="71808" y="22870"/>
                    </a:cubicBezTo>
                    <a:cubicBezTo>
                      <a:pt x="63526" y="3510"/>
                      <a:pt x="42230" y="-5094"/>
                      <a:pt x="22870" y="3080"/>
                    </a:cubicBezTo>
                    <a:cubicBezTo>
                      <a:pt x="3510" y="11362"/>
                      <a:pt x="-5094" y="32658"/>
                      <a:pt x="3080" y="52018"/>
                    </a:cubicBezTo>
                    <a:cubicBezTo>
                      <a:pt x="11684" y="72131"/>
                      <a:pt x="34809" y="79014"/>
                      <a:pt x="52017" y="71808"/>
                    </a:cubicBezTo>
                    <a:close/>
                  </a:path>
                </a:pathLst>
              </a:custGeom>
              <a:solidFill>
                <a:srgbClr val="185A97"/>
              </a:solidFill>
              <a:ln w="766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60FF9A61-8349-440C-A532-BD5AC09A4BDE}"/>
                  </a:ext>
                </a:extLst>
              </p:cNvPr>
              <p:cNvSpPr/>
              <p:nvPr/>
            </p:nvSpPr>
            <p:spPr>
              <a:xfrm>
                <a:off x="7627454" y="7279148"/>
                <a:ext cx="74887" cy="75897"/>
              </a:xfrm>
              <a:custGeom>
                <a:avLst/>
                <a:gdLst>
                  <a:gd name="connsiteX0" fmla="*/ 52018 w 74887"/>
                  <a:gd name="connsiteY0" fmla="*/ 71808 h 75897"/>
                  <a:gd name="connsiteX1" fmla="*/ 71808 w 74887"/>
                  <a:gd name="connsiteY1" fmla="*/ 22870 h 75897"/>
                  <a:gd name="connsiteX2" fmla="*/ 22870 w 74887"/>
                  <a:gd name="connsiteY2" fmla="*/ 3080 h 75897"/>
                  <a:gd name="connsiteX3" fmla="*/ 3080 w 74887"/>
                  <a:gd name="connsiteY3" fmla="*/ 52018 h 75897"/>
                  <a:gd name="connsiteX4" fmla="*/ 52018 w 74887"/>
                  <a:gd name="connsiteY4" fmla="*/ 71808 h 75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897">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5" y="72238"/>
                      <a:pt x="36099" y="82026"/>
                      <a:pt x="52018" y="71808"/>
                    </a:cubicBezTo>
                    <a:close/>
                  </a:path>
                </a:pathLst>
              </a:custGeom>
              <a:solidFill>
                <a:srgbClr val="0078D4"/>
              </a:solidFill>
              <a:ln w="7660" cap="flat">
                <a:noFill/>
                <a:prstDash val="solid"/>
                <a:miter/>
              </a:ln>
            </p:spPr>
            <p:txBody>
              <a:bodyPr rtlCol="0" anchor="ctr"/>
              <a:lstStyle/>
              <a:p>
                <a:endParaRPr lang="en-US"/>
              </a:p>
            </p:txBody>
          </p:sp>
          <p:grpSp>
            <p:nvGrpSpPr>
              <p:cNvPr id="153" name="Graphic 11">
                <a:extLst>
                  <a:ext uri="{FF2B5EF4-FFF2-40B4-BE49-F238E27FC236}">
                    <a16:creationId xmlns:a16="http://schemas.microsoft.com/office/drawing/2014/main" id="{9B9DDA68-4E07-40E0-A0EB-542CA46A71AD}"/>
                  </a:ext>
                </a:extLst>
              </p:cNvPr>
              <p:cNvGrpSpPr/>
              <p:nvPr/>
            </p:nvGrpSpPr>
            <p:grpSpPr>
              <a:xfrm>
                <a:off x="8003511" y="7587661"/>
                <a:ext cx="1050164" cy="2331277"/>
                <a:chOff x="8003511" y="7587661"/>
                <a:chExt cx="1050164" cy="2331277"/>
              </a:xfrm>
            </p:grpSpPr>
            <p:sp>
              <p:nvSpPr>
                <p:cNvPr id="154" name="Freeform: Shape 153">
                  <a:extLst>
                    <a:ext uri="{FF2B5EF4-FFF2-40B4-BE49-F238E27FC236}">
                      <a16:creationId xmlns:a16="http://schemas.microsoft.com/office/drawing/2014/main" id="{6342FB5A-87CB-48CA-95FD-83F8F0D4C95D}"/>
                    </a:ext>
                  </a:extLst>
                </p:cNvPr>
                <p:cNvSpPr/>
                <p:nvPr/>
              </p:nvSpPr>
              <p:spPr>
                <a:xfrm>
                  <a:off x="8006224" y="7593782"/>
                  <a:ext cx="471951" cy="553512"/>
                </a:xfrm>
                <a:custGeom>
                  <a:avLst/>
                  <a:gdLst>
                    <a:gd name="connsiteX0" fmla="*/ 0 w 471951"/>
                    <a:gd name="connsiteY0" fmla="*/ 214176 h 553512"/>
                    <a:gd name="connsiteX1" fmla="*/ 77225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5" y="553512"/>
                      </a:lnTo>
                      <a:lnTo>
                        <a:pt x="471952" y="339800"/>
                      </a:lnTo>
                      <a:lnTo>
                        <a:pt x="409355" y="7670"/>
                      </a:lnTo>
                      <a:cubicBezTo>
                        <a:pt x="408602" y="1539"/>
                        <a:pt x="401934"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608F3FB2-DDD9-405B-8118-0AC5E94761AA}"/>
                    </a:ext>
                  </a:extLst>
                </p:cNvPr>
                <p:cNvSpPr/>
                <p:nvPr/>
              </p:nvSpPr>
              <p:spPr>
                <a:xfrm>
                  <a:off x="8033650" y="7630761"/>
                  <a:ext cx="419683" cy="473511"/>
                </a:xfrm>
                <a:custGeom>
                  <a:avLst/>
                  <a:gdLst>
                    <a:gd name="connsiteX0" fmla="*/ 364397 w 419683"/>
                    <a:gd name="connsiteY0" fmla="*/ 1667 h 473511"/>
                    <a:gd name="connsiteX1" fmla="*/ 363429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7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7" y="1667"/>
                      </a:moveTo>
                      <a:cubicBezTo>
                        <a:pt x="364289" y="1022"/>
                        <a:pt x="363859" y="484"/>
                        <a:pt x="363429" y="161"/>
                      </a:cubicBezTo>
                      <a:cubicBezTo>
                        <a:pt x="362783" y="-54"/>
                        <a:pt x="362246" y="-54"/>
                        <a:pt x="361708" y="161"/>
                      </a:cubicBezTo>
                      <a:lnTo>
                        <a:pt x="0" y="190534"/>
                      </a:lnTo>
                      <a:lnTo>
                        <a:pt x="70556" y="473512"/>
                      </a:lnTo>
                      <a:lnTo>
                        <a:pt x="419680" y="287226"/>
                      </a:lnTo>
                      <a:cubicBezTo>
                        <a:pt x="420218" y="286688"/>
                        <a:pt x="364397" y="1667"/>
                        <a:pt x="364397" y="1667"/>
                      </a:cubicBezTo>
                      <a:close/>
                    </a:path>
                  </a:pathLst>
                </a:custGeom>
                <a:solidFill>
                  <a:srgbClr val="0279D5"/>
                </a:solidFill>
                <a:ln w="766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6599341E-4296-4038-8182-D752991F14AE}"/>
                    </a:ext>
                  </a:extLst>
                </p:cNvPr>
                <p:cNvSpPr/>
                <p:nvPr/>
              </p:nvSpPr>
              <p:spPr>
                <a:xfrm>
                  <a:off x="8003511" y="7587661"/>
                  <a:ext cx="474508" cy="559025"/>
                </a:xfrm>
                <a:custGeom>
                  <a:avLst/>
                  <a:gdLst>
                    <a:gd name="connsiteX0" fmla="*/ 474450 w 474508"/>
                    <a:gd name="connsiteY0" fmla="*/ 331939 h 559025"/>
                    <a:gd name="connsiteX1" fmla="*/ 414541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2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3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1" y="15404"/>
                      </a:cubicBezTo>
                      <a:cubicBezTo>
                        <a:pt x="412175" y="3680"/>
                        <a:pt x="404969" y="-3741"/>
                        <a:pt x="393461" y="1959"/>
                      </a:cubicBezTo>
                      <a:cubicBezTo>
                        <a:pt x="388083" y="4648"/>
                        <a:pt x="18308" y="202657"/>
                        <a:pt x="13146" y="205884"/>
                      </a:cubicBezTo>
                      <a:cubicBezTo>
                        <a:pt x="-1052" y="214811"/>
                        <a:pt x="-1374" y="220727"/>
                        <a:pt x="1315" y="236537"/>
                      </a:cubicBezTo>
                      <a:cubicBezTo>
                        <a:pt x="3788" y="250734"/>
                        <a:pt x="71978" y="538983"/>
                        <a:pt x="73914" y="548447"/>
                      </a:cubicBezTo>
                      <a:cubicBezTo>
                        <a:pt x="76818" y="562752"/>
                        <a:pt x="70903" y="558665"/>
                        <a:pt x="80152" y="557912"/>
                      </a:cubicBezTo>
                      <a:cubicBezTo>
                        <a:pt x="80152" y="557912"/>
                        <a:pt x="80152" y="557589"/>
                        <a:pt x="80045" y="557267"/>
                      </a:cubicBezTo>
                      <a:cubicBezTo>
                        <a:pt x="80152" y="557267"/>
                        <a:pt x="80260" y="557267"/>
                        <a:pt x="80368" y="557267"/>
                      </a:cubicBezTo>
                      <a:cubicBezTo>
                        <a:pt x="82411" y="557052"/>
                        <a:pt x="83809"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3" y="23148"/>
                      </a:cubicBezTo>
                      <a:cubicBezTo>
                        <a:pt x="410024" y="33366"/>
                        <a:pt x="466060" y="313977"/>
                        <a:pt x="468857" y="337962"/>
                      </a:cubicBezTo>
                      <a:cubicBezTo>
                        <a:pt x="469287" y="342372"/>
                        <a:pt x="468964" y="340758"/>
                        <a:pt x="468211" y="342802"/>
                      </a:cubicBezTo>
                      <a:cubicBezTo>
                        <a:pt x="467459"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04215F57-1F46-425E-B7B6-24DA9A858DBA}"/>
                    </a:ext>
                  </a:extLst>
                </p:cNvPr>
                <p:cNvSpPr/>
                <p:nvPr/>
              </p:nvSpPr>
              <p:spPr>
                <a:xfrm>
                  <a:off x="8078501" y="7914176"/>
                  <a:ext cx="672542" cy="380792"/>
                </a:xfrm>
                <a:custGeom>
                  <a:avLst/>
                  <a:gdLst>
                    <a:gd name="connsiteX0" fmla="*/ 409032 w 672542"/>
                    <a:gd name="connsiteY0" fmla="*/ 1122 h 380792"/>
                    <a:gd name="connsiteX1" fmla="*/ 672542 w 672542"/>
                    <a:gd name="connsiteY1" fmla="*/ 152022 h 380792"/>
                    <a:gd name="connsiteX2" fmla="*/ 647051 w 672542"/>
                    <a:gd name="connsiteY2" fmla="*/ 168263 h 380792"/>
                    <a:gd name="connsiteX3" fmla="*/ 277815 w 672542"/>
                    <a:gd name="connsiteY3" fmla="*/ 376060 h 380792"/>
                    <a:gd name="connsiteX4" fmla="*/ 269748 w 672542"/>
                    <a:gd name="connsiteY4" fmla="*/ 380792 h 380792"/>
                    <a:gd name="connsiteX5" fmla="*/ 9250 w 672542"/>
                    <a:gd name="connsiteY5" fmla="*/ 232688 h 380792"/>
                    <a:gd name="connsiteX6" fmla="*/ 0 w 672542"/>
                    <a:gd name="connsiteY6" fmla="*/ 228064 h 380792"/>
                    <a:gd name="connsiteX7" fmla="*/ 5700 w 672542"/>
                    <a:gd name="connsiteY7" fmla="*/ 219782 h 380792"/>
                    <a:gd name="connsiteX8" fmla="*/ 397524 w 672542"/>
                    <a:gd name="connsiteY8" fmla="*/ 2628 h 380792"/>
                    <a:gd name="connsiteX9" fmla="*/ 409032 w 672542"/>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2"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396" y="154"/>
                        <a:pt x="405160" y="-1029"/>
                        <a:pt x="409032" y="1122"/>
                      </a:cubicBezTo>
                      <a:close/>
                    </a:path>
                  </a:pathLst>
                </a:custGeom>
                <a:solidFill>
                  <a:srgbClr val="AFADAE"/>
                </a:solidFill>
                <a:ln w="766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02AC9CEC-71E6-4017-A327-509986CF66D1}"/>
                    </a:ext>
                  </a:extLst>
                </p:cNvPr>
                <p:cNvSpPr/>
                <p:nvPr/>
              </p:nvSpPr>
              <p:spPr>
                <a:xfrm>
                  <a:off x="8077658" y="8063965"/>
                  <a:ext cx="674997" cy="254599"/>
                </a:xfrm>
                <a:custGeom>
                  <a:avLst/>
                  <a:gdLst>
                    <a:gd name="connsiteX0" fmla="*/ 669405 w 674997"/>
                    <a:gd name="connsiteY0" fmla="*/ 512 h 254599"/>
                    <a:gd name="connsiteX1" fmla="*/ 667899 w 674997"/>
                    <a:gd name="connsiteY1" fmla="*/ 6213 h 254599"/>
                    <a:gd name="connsiteX2" fmla="*/ 286831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7 w 674997"/>
                    <a:gd name="connsiteY7" fmla="*/ 101399 h 254599"/>
                    <a:gd name="connsiteX8" fmla="*/ 258222 w 674997"/>
                    <a:gd name="connsiteY8" fmla="*/ 248104 h 254599"/>
                    <a:gd name="connsiteX9" fmla="*/ 292639 w 674997"/>
                    <a:gd name="connsiteY9" fmla="*/ 248427 h 254599"/>
                    <a:gd name="connsiteX10" fmla="*/ 672416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0" y="4384"/>
                        <a:pt x="667899" y="6213"/>
                      </a:cubicBezTo>
                      <a:cubicBezTo>
                        <a:pt x="621651" y="39447"/>
                        <a:pt x="297372" y="219494"/>
                        <a:pt x="286831"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7" y="101399"/>
                      </a:cubicBezTo>
                      <a:cubicBezTo>
                        <a:pt x="34937" y="119360"/>
                        <a:pt x="246821" y="241758"/>
                        <a:pt x="258222" y="248104"/>
                      </a:cubicBezTo>
                      <a:cubicBezTo>
                        <a:pt x="274570" y="257139"/>
                        <a:pt x="278227" y="256278"/>
                        <a:pt x="292639" y="248427"/>
                      </a:cubicBezTo>
                      <a:cubicBezTo>
                        <a:pt x="310924" y="238531"/>
                        <a:pt x="641978" y="48697"/>
                        <a:pt x="672416" y="27401"/>
                      </a:cubicBezTo>
                      <a:cubicBezTo>
                        <a:pt x="674137" y="26218"/>
                        <a:pt x="674998" y="24389"/>
                        <a:pt x="674998" y="22346"/>
                      </a:cubicBezTo>
                      <a:lnTo>
                        <a:pt x="674675" y="3201"/>
                      </a:lnTo>
                      <a:cubicBezTo>
                        <a:pt x="674353" y="3201"/>
                        <a:pt x="670480" y="-1531"/>
                        <a:pt x="669405" y="512"/>
                      </a:cubicBezTo>
                      <a:close/>
                    </a:path>
                  </a:pathLst>
                </a:custGeom>
                <a:solidFill>
                  <a:srgbClr val="185A97"/>
                </a:solidFill>
                <a:ln w="766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12052B7A-4CB1-4B8E-888B-306726058E60}"/>
                    </a:ext>
                  </a:extLst>
                </p:cNvPr>
                <p:cNvSpPr/>
                <p:nvPr/>
              </p:nvSpPr>
              <p:spPr>
                <a:xfrm>
                  <a:off x="8078716"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1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1" y="162060"/>
                      </a:lnTo>
                      <a:cubicBezTo>
                        <a:pt x="673402" y="159909"/>
                        <a:pt x="673402" y="156897"/>
                        <a:pt x="673295" y="155499"/>
                      </a:cubicBezTo>
                      <a:cubicBezTo>
                        <a:pt x="673187" y="153778"/>
                        <a:pt x="672327" y="151304"/>
                        <a:pt x="670499" y="150229"/>
                      </a:cubicBezTo>
                      <a:lnTo>
                        <a:pt x="412259" y="1480"/>
                      </a:lnTo>
                      <a:cubicBezTo>
                        <a:pt x="408925"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DECB8403-CC19-4EF9-A234-4713596AE249}"/>
                    </a:ext>
                  </a:extLst>
                </p:cNvPr>
                <p:cNvSpPr/>
                <p:nvPr/>
              </p:nvSpPr>
              <p:spPr>
                <a:xfrm>
                  <a:off x="8032814" y="7622788"/>
                  <a:ext cx="417773" cy="473457"/>
                </a:xfrm>
                <a:custGeom>
                  <a:avLst/>
                  <a:gdLst>
                    <a:gd name="connsiteX0" fmla="*/ 417612 w 417773"/>
                    <a:gd name="connsiteY0" fmla="*/ 278636 h 473457"/>
                    <a:gd name="connsiteX1" fmla="*/ 364372 w 417773"/>
                    <a:gd name="connsiteY1" fmla="*/ 6414 h 473457"/>
                    <a:gd name="connsiteX2" fmla="*/ 352864 w 417773"/>
                    <a:gd name="connsiteY2" fmla="*/ 928 h 473457"/>
                    <a:gd name="connsiteX3" fmla="*/ 4170 w 417773"/>
                    <a:gd name="connsiteY3" fmla="*/ 186676 h 473457"/>
                    <a:gd name="connsiteX4" fmla="*/ 191 w 417773"/>
                    <a:gd name="connsiteY4" fmla="*/ 195388 h 473457"/>
                    <a:gd name="connsiteX5" fmla="*/ 62680 w 417773"/>
                    <a:gd name="connsiteY5" fmla="*/ 466104 h 473457"/>
                    <a:gd name="connsiteX6" fmla="*/ 76447 w 417773"/>
                    <a:gd name="connsiteY6" fmla="*/ 472342 h 473457"/>
                    <a:gd name="connsiteX7" fmla="*/ 412772 w 417773"/>
                    <a:gd name="connsiteY7" fmla="*/ 288746 h 473457"/>
                    <a:gd name="connsiteX8" fmla="*/ 417612 w 417773"/>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73" h="473457">
                      <a:moveTo>
                        <a:pt x="417612" y="278636"/>
                      </a:moveTo>
                      <a:lnTo>
                        <a:pt x="364372"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429" y="286810"/>
                        <a:pt x="418365" y="282830"/>
                        <a:pt x="417612" y="278636"/>
                      </a:cubicBezTo>
                      <a:close/>
                    </a:path>
                  </a:pathLst>
                </a:custGeom>
                <a:solidFill>
                  <a:srgbClr val="E9FCFE"/>
                </a:solidFill>
                <a:ln w="766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4FB9BD3E-FFBD-485E-BD19-5D4161044040}"/>
                    </a:ext>
                  </a:extLst>
                </p:cNvPr>
                <p:cNvSpPr/>
                <p:nvPr/>
              </p:nvSpPr>
              <p:spPr>
                <a:xfrm>
                  <a:off x="8456342" y="7988758"/>
                  <a:ext cx="40870" cy="23661"/>
                </a:xfrm>
                <a:custGeom>
                  <a:avLst/>
                  <a:gdLst>
                    <a:gd name="connsiteX0" fmla="*/ 23770 w 40870"/>
                    <a:gd name="connsiteY0" fmla="*/ 0 h 23661"/>
                    <a:gd name="connsiteX1" fmla="*/ 40871 w 40870"/>
                    <a:gd name="connsiteY1" fmla="*/ 10110 h 23661"/>
                    <a:gd name="connsiteX2" fmla="*/ 17101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1"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3983D362-FCF0-4A84-8DC9-F1FC07CE395E}"/>
                    </a:ext>
                  </a:extLst>
                </p:cNvPr>
                <p:cNvSpPr/>
                <p:nvPr/>
              </p:nvSpPr>
              <p:spPr>
                <a:xfrm>
                  <a:off x="8430421" y="8005859"/>
                  <a:ext cx="36676" cy="21296"/>
                </a:xfrm>
                <a:custGeom>
                  <a:avLst/>
                  <a:gdLst>
                    <a:gd name="connsiteX0" fmla="*/ 19575 w 36676"/>
                    <a:gd name="connsiteY0" fmla="*/ 0 h 21296"/>
                    <a:gd name="connsiteX1" fmla="*/ 36676 w 36676"/>
                    <a:gd name="connsiteY1" fmla="*/ 10110 h 21296"/>
                    <a:gd name="connsiteX2" fmla="*/ 16994 w 36676"/>
                    <a:gd name="connsiteY2" fmla="*/ 21296 h 21296"/>
                    <a:gd name="connsiteX3" fmla="*/ 0 w 36676"/>
                    <a:gd name="connsiteY3" fmla="*/ 11186 h 21296"/>
                    <a:gd name="connsiteX4" fmla="*/ 19575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5" y="0"/>
                      </a:moveTo>
                      <a:lnTo>
                        <a:pt x="36676" y="10110"/>
                      </a:lnTo>
                      <a:lnTo>
                        <a:pt x="16994" y="21296"/>
                      </a:lnTo>
                      <a:lnTo>
                        <a:pt x="0" y="11186"/>
                      </a:lnTo>
                      <a:lnTo>
                        <a:pt x="19575" y="0"/>
                      </a:lnTo>
                      <a:close/>
                    </a:path>
                  </a:pathLst>
                </a:custGeom>
                <a:solidFill>
                  <a:srgbClr val="50E6FF"/>
                </a:solidFill>
                <a:ln w="7660"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9B050204-39FB-4781-8F5B-A3D6BD116E1E}"/>
                    </a:ext>
                  </a:extLst>
                </p:cNvPr>
                <p:cNvSpPr/>
                <p:nvPr/>
              </p:nvSpPr>
              <p:spPr>
                <a:xfrm>
                  <a:off x="8404178" y="8020702"/>
                  <a:ext cx="36891" cy="21511"/>
                </a:xfrm>
                <a:custGeom>
                  <a:avLst/>
                  <a:gdLst>
                    <a:gd name="connsiteX0" fmla="*/ 19898 w 36891"/>
                    <a:gd name="connsiteY0" fmla="*/ 0 h 21511"/>
                    <a:gd name="connsiteX1" fmla="*/ 36891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1"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F525A07E-192E-4085-BDC0-A9C17E7F1DBB}"/>
                    </a:ext>
                  </a:extLst>
                </p:cNvPr>
                <p:cNvSpPr/>
                <p:nvPr/>
              </p:nvSpPr>
              <p:spPr>
                <a:xfrm>
                  <a:off x="8499364" y="7980584"/>
                  <a:ext cx="59693" cy="34417"/>
                </a:xfrm>
                <a:custGeom>
                  <a:avLst/>
                  <a:gdLst>
                    <a:gd name="connsiteX0" fmla="*/ 0 w 59693"/>
                    <a:gd name="connsiteY0" fmla="*/ 23877 h 34417"/>
                    <a:gd name="connsiteX1" fmla="*/ 41839 w 59693"/>
                    <a:gd name="connsiteY1" fmla="*/ 0 h 34417"/>
                    <a:gd name="connsiteX2" fmla="*/ 59693 w 59693"/>
                    <a:gd name="connsiteY2" fmla="*/ 10541 h 34417"/>
                    <a:gd name="connsiteX3" fmla="*/ 17854 w 59693"/>
                    <a:gd name="connsiteY3" fmla="*/ 34418 h 34417"/>
                    <a:gd name="connsiteX4" fmla="*/ 0 w 59693"/>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3"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942D74D8-FF06-46AE-8050-01487DBE566C}"/>
                    </a:ext>
                  </a:extLst>
                </p:cNvPr>
                <p:cNvSpPr/>
                <p:nvPr/>
              </p:nvSpPr>
              <p:spPr>
                <a:xfrm>
                  <a:off x="8298343"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7FC25D8B-810F-43F1-B844-65134B5AC9B1}"/>
                    </a:ext>
                  </a:extLst>
                </p:cNvPr>
                <p:cNvSpPr/>
                <p:nvPr/>
              </p:nvSpPr>
              <p:spPr>
                <a:xfrm>
                  <a:off x="8274574" y="8149768"/>
                  <a:ext cx="34095" cy="19897"/>
                </a:xfrm>
                <a:custGeom>
                  <a:avLst/>
                  <a:gdLst>
                    <a:gd name="connsiteX0" fmla="*/ 16671 w 34095"/>
                    <a:gd name="connsiteY0" fmla="*/ 19898 h 19897"/>
                    <a:gd name="connsiteX1" fmla="*/ 0 w 34095"/>
                    <a:gd name="connsiteY1" fmla="*/ 10003 h 19897"/>
                    <a:gd name="connsiteX2" fmla="*/ 17532 w 34095"/>
                    <a:gd name="connsiteY2" fmla="*/ 0 h 19897"/>
                    <a:gd name="connsiteX3" fmla="*/ 34095 w 34095"/>
                    <a:gd name="connsiteY3" fmla="*/ 9895 h 19897"/>
                    <a:gd name="connsiteX4" fmla="*/ 16671 w 34095"/>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5"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5E11D673-9A0F-44EF-8276-3966A2E67B98}"/>
                    </a:ext>
                  </a:extLst>
                </p:cNvPr>
                <p:cNvSpPr/>
                <p:nvPr/>
              </p:nvSpPr>
              <p:spPr>
                <a:xfrm>
                  <a:off x="8321360" y="8067166"/>
                  <a:ext cx="38074" cy="22048"/>
                </a:xfrm>
                <a:custGeom>
                  <a:avLst/>
                  <a:gdLst>
                    <a:gd name="connsiteX0" fmla="*/ 21081 w 38074"/>
                    <a:gd name="connsiteY0" fmla="*/ 0 h 22048"/>
                    <a:gd name="connsiteX1" fmla="*/ 38074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4"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D8320EA2-E14F-4849-99A3-5112A3CECC26}"/>
                    </a:ext>
                  </a:extLst>
                </p:cNvPr>
                <p:cNvSpPr/>
                <p:nvPr/>
              </p:nvSpPr>
              <p:spPr>
                <a:xfrm>
                  <a:off x="8311788"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7CD97C8E-EDA5-464A-91F2-7621BC12461F}"/>
                    </a:ext>
                  </a:extLst>
                </p:cNvPr>
                <p:cNvSpPr/>
                <p:nvPr/>
              </p:nvSpPr>
              <p:spPr>
                <a:xfrm>
                  <a:off x="8284146"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7150A78C-3634-495F-8449-0A8E913836FA}"/>
                    </a:ext>
                  </a:extLst>
                </p:cNvPr>
                <p:cNvSpPr/>
                <p:nvPr/>
              </p:nvSpPr>
              <p:spPr>
                <a:xfrm>
                  <a:off x="829371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DC5800AB-93C7-4C88-BF02-1381F38C600B}"/>
                    </a:ext>
                  </a:extLst>
                </p:cNvPr>
                <p:cNvSpPr/>
                <p:nvPr/>
              </p:nvSpPr>
              <p:spPr>
                <a:xfrm>
                  <a:off x="833867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CF1775ED-DB48-42FA-ABEB-4B9784D47582}"/>
                    </a:ext>
                  </a:extLst>
                </p:cNvPr>
                <p:cNvSpPr/>
                <p:nvPr/>
              </p:nvSpPr>
              <p:spPr>
                <a:xfrm>
                  <a:off x="8267045"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7AAED3DB-04A9-47D6-B4A7-AD7AF33A2542}"/>
                    </a:ext>
                  </a:extLst>
                </p:cNvPr>
                <p:cNvSpPr/>
                <p:nvPr/>
              </p:nvSpPr>
              <p:spPr>
                <a:xfrm>
                  <a:off x="8348894" y="8051033"/>
                  <a:ext cx="39042" cy="22586"/>
                </a:xfrm>
                <a:custGeom>
                  <a:avLst/>
                  <a:gdLst>
                    <a:gd name="connsiteX0" fmla="*/ 21941 w 39042"/>
                    <a:gd name="connsiteY0" fmla="*/ 0 h 22586"/>
                    <a:gd name="connsiteX1" fmla="*/ 39043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3"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9152CD40-0797-4E62-A8D9-4FBFE5B11B76}"/>
                    </a:ext>
                  </a:extLst>
                </p:cNvPr>
                <p:cNvSpPr/>
                <p:nvPr/>
              </p:nvSpPr>
              <p:spPr>
                <a:xfrm>
                  <a:off x="8377074" y="8035652"/>
                  <a:ext cx="37859" cy="21833"/>
                </a:xfrm>
                <a:custGeom>
                  <a:avLst/>
                  <a:gdLst>
                    <a:gd name="connsiteX0" fmla="*/ 20758 w 37859"/>
                    <a:gd name="connsiteY0" fmla="*/ 0 h 21833"/>
                    <a:gd name="connsiteX1" fmla="*/ 37859 w 37859"/>
                    <a:gd name="connsiteY1" fmla="*/ 10003 h 21833"/>
                    <a:gd name="connsiteX2" fmla="*/ 17101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59" y="10003"/>
                      </a:lnTo>
                      <a:lnTo>
                        <a:pt x="17101"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8EBEEDB0-C668-4C91-93B2-3AC868446D9A}"/>
                    </a:ext>
                  </a:extLst>
                </p:cNvPr>
                <p:cNvSpPr/>
                <p:nvPr/>
              </p:nvSpPr>
              <p:spPr>
                <a:xfrm>
                  <a:off x="8400628" y="8076630"/>
                  <a:ext cx="36461" cy="21296"/>
                </a:xfrm>
                <a:custGeom>
                  <a:avLst/>
                  <a:gdLst>
                    <a:gd name="connsiteX0" fmla="*/ 16671 w 36461"/>
                    <a:gd name="connsiteY0" fmla="*/ 21296 h 21296"/>
                    <a:gd name="connsiteX1" fmla="*/ 0 w 36461"/>
                    <a:gd name="connsiteY1" fmla="*/ 11401 h 21296"/>
                    <a:gd name="connsiteX2" fmla="*/ 19898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8"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4CB8C7F7-766D-4E75-8EC9-D161FFE345BB}"/>
                    </a:ext>
                  </a:extLst>
                </p:cNvPr>
                <p:cNvSpPr/>
                <p:nvPr/>
              </p:nvSpPr>
              <p:spPr>
                <a:xfrm>
                  <a:off x="8376213" y="8091581"/>
                  <a:ext cx="34740" cy="20220"/>
                </a:xfrm>
                <a:custGeom>
                  <a:avLst/>
                  <a:gdLst>
                    <a:gd name="connsiteX0" fmla="*/ 16671 w 34740"/>
                    <a:gd name="connsiteY0" fmla="*/ 20220 h 20220"/>
                    <a:gd name="connsiteX1" fmla="*/ 0 w 34740"/>
                    <a:gd name="connsiteY1" fmla="*/ 10325 h 20220"/>
                    <a:gd name="connsiteX2" fmla="*/ 18069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69"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4FA0D5DF-5E8A-4FF6-A759-11E625F546AE}"/>
                    </a:ext>
                  </a:extLst>
                </p:cNvPr>
                <p:cNvSpPr/>
                <p:nvPr/>
              </p:nvSpPr>
              <p:spPr>
                <a:xfrm>
                  <a:off x="8470862" y="8008011"/>
                  <a:ext cx="40010" cy="23231"/>
                </a:xfrm>
                <a:custGeom>
                  <a:avLst/>
                  <a:gdLst>
                    <a:gd name="connsiteX0" fmla="*/ 22156 w 40010"/>
                    <a:gd name="connsiteY0" fmla="*/ 0 h 23231"/>
                    <a:gd name="connsiteX1" fmla="*/ 40011 w 40010"/>
                    <a:gd name="connsiteY1" fmla="*/ 10540 h 23231"/>
                    <a:gd name="connsiteX2" fmla="*/ 17854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4"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C9F3B736-5EE1-4E92-A27C-DF1F8A387B30}"/>
                    </a:ext>
                  </a:extLst>
                </p:cNvPr>
                <p:cNvSpPr/>
                <p:nvPr/>
              </p:nvSpPr>
              <p:spPr>
                <a:xfrm>
                  <a:off x="8426872" y="8062111"/>
                  <a:ext cx="35815" cy="20865"/>
                </a:xfrm>
                <a:custGeom>
                  <a:avLst/>
                  <a:gdLst>
                    <a:gd name="connsiteX0" fmla="*/ 16564 w 35815"/>
                    <a:gd name="connsiteY0" fmla="*/ 20865 h 20865"/>
                    <a:gd name="connsiteX1" fmla="*/ 0 w 35815"/>
                    <a:gd name="connsiteY1" fmla="*/ 10971 h 20865"/>
                    <a:gd name="connsiteX2" fmla="*/ 19252 w 35815"/>
                    <a:gd name="connsiteY2" fmla="*/ 0 h 20865"/>
                    <a:gd name="connsiteX3" fmla="*/ 35816 w 35815"/>
                    <a:gd name="connsiteY3" fmla="*/ 9895 h 20865"/>
                    <a:gd name="connsiteX4" fmla="*/ 16564 w 35815"/>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865">
                      <a:moveTo>
                        <a:pt x="16564" y="20865"/>
                      </a:moveTo>
                      <a:lnTo>
                        <a:pt x="0" y="10971"/>
                      </a:lnTo>
                      <a:lnTo>
                        <a:pt x="19252" y="0"/>
                      </a:lnTo>
                      <a:lnTo>
                        <a:pt x="35816" y="9895"/>
                      </a:lnTo>
                      <a:lnTo>
                        <a:pt x="16564" y="20865"/>
                      </a:lnTo>
                      <a:close/>
                    </a:path>
                  </a:pathLst>
                </a:custGeom>
                <a:solidFill>
                  <a:srgbClr val="50E6FF"/>
                </a:solidFill>
                <a:ln w="7660"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A211B100-3936-4B59-A759-517C6E56A71E}"/>
                    </a:ext>
                  </a:extLst>
                </p:cNvPr>
                <p:cNvSpPr/>
                <p:nvPr/>
              </p:nvSpPr>
              <p:spPr>
                <a:xfrm>
                  <a:off x="8255859" y="8130408"/>
                  <a:ext cx="39902" cy="23124"/>
                </a:xfrm>
                <a:custGeom>
                  <a:avLst/>
                  <a:gdLst>
                    <a:gd name="connsiteX0" fmla="*/ 17854 w 39902"/>
                    <a:gd name="connsiteY0" fmla="*/ 23125 h 23124"/>
                    <a:gd name="connsiteX1" fmla="*/ 0 w 39902"/>
                    <a:gd name="connsiteY1" fmla="*/ 12476 h 23124"/>
                    <a:gd name="connsiteX2" fmla="*/ 22049 w 39902"/>
                    <a:gd name="connsiteY2" fmla="*/ 0 h 23124"/>
                    <a:gd name="connsiteX3" fmla="*/ 39903 w 39902"/>
                    <a:gd name="connsiteY3" fmla="*/ 10541 h 23124"/>
                    <a:gd name="connsiteX4" fmla="*/ 17854 w 39902"/>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2"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5C4919A5-54EB-43E2-A179-701DF52AB316}"/>
                    </a:ext>
                  </a:extLst>
                </p:cNvPr>
                <p:cNvSpPr/>
                <p:nvPr/>
              </p:nvSpPr>
              <p:spPr>
                <a:xfrm>
                  <a:off x="8213697"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3ADBD9B9-9F2D-40F6-B961-14DA4D2C9097}"/>
                    </a:ext>
                  </a:extLst>
                </p:cNvPr>
                <p:cNvSpPr/>
                <p:nvPr/>
              </p:nvSpPr>
              <p:spPr>
                <a:xfrm>
                  <a:off x="8325877" y="8120191"/>
                  <a:ext cx="34955" cy="20327"/>
                </a:xfrm>
                <a:custGeom>
                  <a:avLst/>
                  <a:gdLst>
                    <a:gd name="connsiteX0" fmla="*/ 16564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4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4" y="20328"/>
                      </a:moveTo>
                      <a:lnTo>
                        <a:pt x="0" y="10325"/>
                      </a:lnTo>
                      <a:lnTo>
                        <a:pt x="18284" y="0"/>
                      </a:lnTo>
                      <a:lnTo>
                        <a:pt x="34955" y="9895"/>
                      </a:lnTo>
                      <a:lnTo>
                        <a:pt x="16564" y="20328"/>
                      </a:lnTo>
                      <a:close/>
                    </a:path>
                  </a:pathLst>
                </a:custGeom>
                <a:solidFill>
                  <a:srgbClr val="50E6FF"/>
                </a:solidFill>
                <a:ln w="7660"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B880A694-DA4B-4CF3-B065-2D1B678DFA69}"/>
                    </a:ext>
                  </a:extLst>
                </p:cNvPr>
                <p:cNvSpPr/>
                <p:nvPr/>
              </p:nvSpPr>
              <p:spPr>
                <a:xfrm>
                  <a:off x="8364167"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66B3A106-1795-47D5-95A0-B48F365885D6}"/>
                    </a:ext>
                  </a:extLst>
                </p:cNvPr>
                <p:cNvSpPr/>
                <p:nvPr/>
              </p:nvSpPr>
              <p:spPr>
                <a:xfrm>
                  <a:off x="8389335" y="8055012"/>
                  <a:ext cx="38827" cy="22478"/>
                </a:xfrm>
                <a:custGeom>
                  <a:avLst/>
                  <a:gdLst>
                    <a:gd name="connsiteX0" fmla="*/ 20973 w 38827"/>
                    <a:gd name="connsiteY0" fmla="*/ 0 h 22478"/>
                    <a:gd name="connsiteX1" fmla="*/ 38827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7"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D3E39A16-4BFE-4FFB-8030-AE39F704CB2B}"/>
                    </a:ext>
                  </a:extLst>
                </p:cNvPr>
                <p:cNvSpPr/>
                <p:nvPr/>
              </p:nvSpPr>
              <p:spPr>
                <a:xfrm>
                  <a:off x="8416546" y="8040062"/>
                  <a:ext cx="37751" cy="22049"/>
                </a:xfrm>
                <a:custGeom>
                  <a:avLst/>
                  <a:gdLst>
                    <a:gd name="connsiteX0" fmla="*/ 20113 w 37751"/>
                    <a:gd name="connsiteY0" fmla="*/ 0 h 22049"/>
                    <a:gd name="connsiteX1" fmla="*/ 37752 w 37751"/>
                    <a:gd name="connsiteY1" fmla="*/ 10648 h 22049"/>
                    <a:gd name="connsiteX2" fmla="*/ 17854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4"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135F2E40-ACF8-482F-81FA-09A5E80B2AB3}"/>
                    </a:ext>
                  </a:extLst>
                </p:cNvPr>
                <p:cNvSpPr/>
                <p:nvPr/>
              </p:nvSpPr>
              <p:spPr>
                <a:xfrm>
                  <a:off x="8350615"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3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3"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C692DEB5-F09A-42BB-B6FA-66015EE1DF55}"/>
                    </a:ext>
                  </a:extLst>
                </p:cNvPr>
                <p:cNvSpPr/>
                <p:nvPr/>
              </p:nvSpPr>
              <p:spPr>
                <a:xfrm>
                  <a:off x="8442790" y="8024144"/>
                  <a:ext cx="39472" cy="22908"/>
                </a:xfrm>
                <a:custGeom>
                  <a:avLst/>
                  <a:gdLst>
                    <a:gd name="connsiteX0" fmla="*/ 21834 w 39472"/>
                    <a:gd name="connsiteY0" fmla="*/ 0 h 22908"/>
                    <a:gd name="connsiteX1" fmla="*/ 39473 w 39472"/>
                    <a:gd name="connsiteY1" fmla="*/ 10540 h 22908"/>
                    <a:gd name="connsiteX2" fmla="*/ 17854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4"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FA8A7CEC-4D4F-4A95-91C6-045BCAD6CF04}"/>
                    </a:ext>
                  </a:extLst>
                </p:cNvPr>
                <p:cNvSpPr/>
                <p:nvPr/>
              </p:nvSpPr>
              <p:spPr>
                <a:xfrm>
                  <a:off x="8216817" y="8101906"/>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F76AA31E-A1BC-48F0-9C45-68408CCDC49C}"/>
                    </a:ext>
                  </a:extLst>
                </p:cNvPr>
                <p:cNvSpPr/>
                <p:nvPr/>
              </p:nvSpPr>
              <p:spPr>
                <a:xfrm>
                  <a:off x="8452470"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1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1"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FCEB358E-9C9F-4355-A4B3-58A2B975F76C}"/>
                    </a:ext>
                  </a:extLst>
                </p:cNvPr>
                <p:cNvSpPr/>
                <p:nvPr/>
              </p:nvSpPr>
              <p:spPr>
                <a:xfrm>
                  <a:off x="8242845" y="8088462"/>
                  <a:ext cx="33557" cy="19467"/>
                </a:xfrm>
                <a:custGeom>
                  <a:avLst/>
                  <a:gdLst>
                    <a:gd name="connsiteX0" fmla="*/ 17316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6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6" y="0"/>
                      </a:moveTo>
                      <a:lnTo>
                        <a:pt x="33557" y="9680"/>
                      </a:lnTo>
                      <a:lnTo>
                        <a:pt x="16348" y="19467"/>
                      </a:lnTo>
                      <a:lnTo>
                        <a:pt x="0" y="9788"/>
                      </a:lnTo>
                      <a:lnTo>
                        <a:pt x="17316" y="0"/>
                      </a:lnTo>
                      <a:close/>
                    </a:path>
                  </a:pathLst>
                </a:custGeom>
                <a:solidFill>
                  <a:srgbClr val="50E6FF"/>
                </a:solidFill>
                <a:ln w="7660"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6BECAD16-7615-41CE-943E-59718644C0CC}"/>
                    </a:ext>
                  </a:extLst>
                </p:cNvPr>
                <p:cNvSpPr/>
                <p:nvPr/>
              </p:nvSpPr>
              <p:spPr>
                <a:xfrm>
                  <a:off x="8187777"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199575A4-A63D-4A3D-B340-29959186D230}"/>
                    </a:ext>
                  </a:extLst>
                </p:cNvPr>
                <p:cNvSpPr/>
                <p:nvPr/>
              </p:nvSpPr>
              <p:spPr>
                <a:xfrm>
                  <a:off x="824037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011F32D0-0FD1-4196-8771-9DBBBDAEB195}"/>
                    </a:ext>
                  </a:extLst>
                </p:cNvPr>
                <p:cNvSpPr/>
                <p:nvPr/>
              </p:nvSpPr>
              <p:spPr>
                <a:xfrm>
                  <a:off x="8138732"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C22819D0-B687-4758-B2DB-3CC0E044ECAD}"/>
                    </a:ext>
                  </a:extLst>
                </p:cNvPr>
                <p:cNvSpPr/>
                <p:nvPr/>
              </p:nvSpPr>
              <p:spPr>
                <a:xfrm>
                  <a:off x="8266399" y="8074049"/>
                  <a:ext cx="35170" cy="20435"/>
                </a:xfrm>
                <a:custGeom>
                  <a:avLst/>
                  <a:gdLst>
                    <a:gd name="connsiteX0" fmla="*/ 18930 w 35170"/>
                    <a:gd name="connsiteY0" fmla="*/ 0 h 20435"/>
                    <a:gd name="connsiteX1" fmla="*/ 35171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1"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3F14775A-DC81-4438-9FAA-10633718E97E}"/>
                    </a:ext>
                  </a:extLst>
                </p:cNvPr>
                <p:cNvSpPr/>
                <p:nvPr/>
              </p:nvSpPr>
              <p:spPr>
                <a:xfrm>
                  <a:off x="8369652" y="8014356"/>
                  <a:ext cx="36891" cy="21403"/>
                </a:xfrm>
                <a:custGeom>
                  <a:avLst/>
                  <a:gdLst>
                    <a:gd name="connsiteX0" fmla="*/ 20651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1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1" y="0"/>
                      </a:moveTo>
                      <a:lnTo>
                        <a:pt x="36891" y="9680"/>
                      </a:lnTo>
                      <a:lnTo>
                        <a:pt x="16241" y="21403"/>
                      </a:lnTo>
                      <a:lnTo>
                        <a:pt x="0" y="11723"/>
                      </a:lnTo>
                      <a:lnTo>
                        <a:pt x="20651" y="0"/>
                      </a:lnTo>
                      <a:close/>
                    </a:path>
                  </a:pathLst>
                </a:custGeom>
                <a:solidFill>
                  <a:srgbClr val="50E6FF"/>
                </a:solidFill>
                <a:ln w="7660"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7FC55850-8815-40C9-9FE2-64B919D88729}"/>
                    </a:ext>
                  </a:extLst>
                </p:cNvPr>
                <p:cNvSpPr/>
                <p:nvPr/>
              </p:nvSpPr>
              <p:spPr>
                <a:xfrm>
                  <a:off x="8175300"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423548B4-3BEC-4FA2-BF73-A98061A378E2}"/>
                    </a:ext>
                  </a:extLst>
                </p:cNvPr>
                <p:cNvSpPr/>
                <p:nvPr/>
              </p:nvSpPr>
              <p:spPr>
                <a:xfrm>
                  <a:off x="8396649" y="7997900"/>
                  <a:ext cx="38612" cy="22371"/>
                </a:xfrm>
                <a:custGeom>
                  <a:avLst/>
                  <a:gdLst>
                    <a:gd name="connsiteX0" fmla="*/ 22371 w 38612"/>
                    <a:gd name="connsiteY0" fmla="*/ 0 h 22371"/>
                    <a:gd name="connsiteX1" fmla="*/ 38612 w 38612"/>
                    <a:gd name="connsiteY1" fmla="*/ 9680 h 22371"/>
                    <a:gd name="connsiteX2" fmla="*/ 16241 w 38612"/>
                    <a:gd name="connsiteY2" fmla="*/ 22371 h 22371"/>
                    <a:gd name="connsiteX3" fmla="*/ 0 w 38612"/>
                    <a:gd name="connsiteY3" fmla="*/ 12691 h 22371"/>
                    <a:gd name="connsiteX4" fmla="*/ 22371 w 38612"/>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2"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D8B4B6D8-9C26-4111-8D3B-568DBBC57A8D}"/>
                    </a:ext>
                  </a:extLst>
                </p:cNvPr>
                <p:cNvSpPr/>
                <p:nvPr/>
              </p:nvSpPr>
              <p:spPr>
                <a:xfrm>
                  <a:off x="8425258" y="7983703"/>
                  <a:ext cx="35062" cy="20435"/>
                </a:xfrm>
                <a:custGeom>
                  <a:avLst/>
                  <a:gdLst>
                    <a:gd name="connsiteX0" fmla="*/ 18822 w 35062"/>
                    <a:gd name="connsiteY0" fmla="*/ 0 h 20435"/>
                    <a:gd name="connsiteX1" fmla="*/ 35063 w 35062"/>
                    <a:gd name="connsiteY1" fmla="*/ 9680 h 20435"/>
                    <a:gd name="connsiteX2" fmla="*/ 16241 w 35062"/>
                    <a:gd name="connsiteY2" fmla="*/ 20435 h 20435"/>
                    <a:gd name="connsiteX3" fmla="*/ 0 w 35062"/>
                    <a:gd name="connsiteY3" fmla="*/ 10756 h 20435"/>
                    <a:gd name="connsiteX4" fmla="*/ 18822 w 35062"/>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2"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7FCDB0A2-61D6-4554-A204-FA342E1D45C7}"/>
                    </a:ext>
                  </a:extLst>
                </p:cNvPr>
                <p:cNvSpPr/>
                <p:nvPr/>
              </p:nvSpPr>
              <p:spPr>
                <a:xfrm>
                  <a:off x="8291675" y="8059745"/>
                  <a:ext cx="35170" cy="20435"/>
                </a:xfrm>
                <a:custGeom>
                  <a:avLst/>
                  <a:gdLst>
                    <a:gd name="connsiteX0" fmla="*/ 18930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0"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3D410F58-C9B0-4156-BE77-DA466FC168AD}"/>
                    </a:ext>
                  </a:extLst>
                </p:cNvPr>
                <p:cNvSpPr/>
                <p:nvPr/>
              </p:nvSpPr>
              <p:spPr>
                <a:xfrm>
                  <a:off x="8316950" y="8044794"/>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1329D299-9E47-48E5-A432-47DD01E6FB30}"/>
                    </a:ext>
                  </a:extLst>
                </p:cNvPr>
                <p:cNvSpPr/>
                <p:nvPr/>
              </p:nvSpPr>
              <p:spPr>
                <a:xfrm>
                  <a:off x="8486457"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1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1" y="28287"/>
                      </a:lnTo>
                      <a:lnTo>
                        <a:pt x="0" y="18285"/>
                      </a:lnTo>
                      <a:close/>
                    </a:path>
                  </a:pathLst>
                </a:custGeom>
                <a:solidFill>
                  <a:srgbClr val="50E6FF"/>
                </a:solidFill>
                <a:ln w="7660"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75D261C1-5592-4132-AAFC-BBAE79C18C42}"/>
                    </a:ext>
                  </a:extLst>
                </p:cNvPr>
                <p:cNvSpPr/>
                <p:nvPr/>
              </p:nvSpPr>
              <p:spPr>
                <a:xfrm>
                  <a:off x="834308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3044DEC2-90F9-4FE1-BBD0-F07B36BA3139}"/>
                    </a:ext>
                  </a:extLst>
                </p:cNvPr>
                <p:cNvSpPr/>
                <p:nvPr/>
              </p:nvSpPr>
              <p:spPr>
                <a:xfrm>
                  <a:off x="8409663"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0585B7C7-6988-4D7F-8E36-D9844677F36E}"/>
                    </a:ext>
                  </a:extLst>
                </p:cNvPr>
                <p:cNvSpPr/>
                <p:nvPr/>
              </p:nvSpPr>
              <p:spPr>
                <a:xfrm>
                  <a:off x="8200791"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D7A57D30-40BA-49F7-8BB7-9CC3E1B9317F}"/>
                    </a:ext>
                  </a:extLst>
                </p:cNvPr>
                <p:cNvSpPr/>
                <p:nvPr/>
              </p:nvSpPr>
              <p:spPr>
                <a:xfrm>
                  <a:off x="8385248" y="7982627"/>
                  <a:ext cx="33341" cy="19144"/>
                </a:xfrm>
                <a:custGeom>
                  <a:avLst/>
                  <a:gdLst>
                    <a:gd name="connsiteX0" fmla="*/ 15165 w 33341"/>
                    <a:gd name="connsiteY0" fmla="*/ 19145 h 19144"/>
                    <a:gd name="connsiteX1" fmla="*/ 0 w 33341"/>
                    <a:gd name="connsiteY1" fmla="*/ 10218 h 19144"/>
                    <a:gd name="connsiteX2" fmla="*/ 18069 w 33341"/>
                    <a:gd name="connsiteY2" fmla="*/ 0 h 19144"/>
                    <a:gd name="connsiteX3" fmla="*/ 33342 w 33341"/>
                    <a:gd name="connsiteY3" fmla="*/ 8927 h 19144"/>
                    <a:gd name="connsiteX4" fmla="*/ 15165 w 33341"/>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1"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D0B1680A-A01F-46D8-8B2A-7991DD9AD91C}"/>
                    </a:ext>
                  </a:extLst>
                </p:cNvPr>
                <p:cNvSpPr/>
                <p:nvPr/>
              </p:nvSpPr>
              <p:spPr>
                <a:xfrm>
                  <a:off x="8358789"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B32981A5-04C2-4036-917C-CBFF52D5DA81}"/>
                    </a:ext>
                  </a:extLst>
                </p:cNvPr>
                <p:cNvSpPr/>
                <p:nvPr/>
              </p:nvSpPr>
              <p:spPr>
                <a:xfrm>
                  <a:off x="8458063" y="7941434"/>
                  <a:ext cx="32696" cy="18929"/>
                </a:xfrm>
                <a:custGeom>
                  <a:avLst/>
                  <a:gdLst>
                    <a:gd name="connsiteX0" fmla="*/ 0 w 32696"/>
                    <a:gd name="connsiteY0" fmla="*/ 10003 h 18929"/>
                    <a:gd name="connsiteX1" fmla="*/ 17531 w 32696"/>
                    <a:gd name="connsiteY1" fmla="*/ 0 h 18929"/>
                    <a:gd name="connsiteX2" fmla="*/ 32697 w 32696"/>
                    <a:gd name="connsiteY2" fmla="*/ 8927 h 18929"/>
                    <a:gd name="connsiteX3" fmla="*/ 15273 w 32696"/>
                    <a:gd name="connsiteY3" fmla="*/ 18929 h 18929"/>
                    <a:gd name="connsiteX4" fmla="*/ 0 w 32696"/>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6" h="18929">
                      <a:moveTo>
                        <a:pt x="0" y="10003"/>
                      </a:moveTo>
                      <a:lnTo>
                        <a:pt x="17531"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E8E6DABA-DB4E-4F0F-9D80-18772583C2C6}"/>
                    </a:ext>
                  </a:extLst>
                </p:cNvPr>
                <p:cNvSpPr/>
                <p:nvPr/>
              </p:nvSpPr>
              <p:spPr>
                <a:xfrm>
                  <a:off x="8476239"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8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8" y="21188"/>
                      </a:lnTo>
                      <a:lnTo>
                        <a:pt x="0" y="11508"/>
                      </a:lnTo>
                      <a:close/>
                    </a:path>
                  </a:pathLst>
                </a:custGeom>
                <a:solidFill>
                  <a:srgbClr val="50E6FF"/>
                </a:solidFill>
                <a:ln w="7660"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147FF212-BC25-4C5B-A9A3-D697C1CA98A7}"/>
                    </a:ext>
                  </a:extLst>
                </p:cNvPr>
                <p:cNvSpPr/>
                <p:nvPr/>
              </p:nvSpPr>
              <p:spPr>
                <a:xfrm>
                  <a:off x="8432787"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0685699E-02FB-47C3-B4A0-A97534D87B51}"/>
                    </a:ext>
                  </a:extLst>
                </p:cNvPr>
                <p:cNvSpPr/>
                <p:nvPr/>
              </p:nvSpPr>
              <p:spPr>
                <a:xfrm>
                  <a:off x="8229078"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63673F2C-097E-4693-827D-44CCE750D0A0}"/>
                    </a:ext>
                  </a:extLst>
                </p:cNvPr>
                <p:cNvSpPr/>
                <p:nvPr/>
              </p:nvSpPr>
              <p:spPr>
                <a:xfrm>
                  <a:off x="8331470"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E3D26747-0438-4AD3-BFC9-6B64CF584EAF}"/>
                    </a:ext>
                  </a:extLst>
                </p:cNvPr>
                <p:cNvSpPr/>
                <p:nvPr/>
              </p:nvSpPr>
              <p:spPr>
                <a:xfrm>
                  <a:off x="8252632"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37166C2C-4AB4-4C86-A0AB-FC7233DB7EAA}"/>
                    </a:ext>
                  </a:extLst>
                </p:cNvPr>
                <p:cNvSpPr/>
                <p:nvPr/>
              </p:nvSpPr>
              <p:spPr>
                <a:xfrm>
                  <a:off x="827812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DEE3B268-B11B-4375-8DBF-DFE7F01D1CE1}"/>
                    </a:ext>
                  </a:extLst>
                </p:cNvPr>
                <p:cNvSpPr/>
                <p:nvPr/>
              </p:nvSpPr>
              <p:spPr>
                <a:xfrm>
                  <a:off x="8304259"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2A618843-E84B-479A-9844-C182C5645EE5}"/>
                    </a:ext>
                  </a:extLst>
                </p:cNvPr>
                <p:cNvSpPr/>
                <p:nvPr/>
              </p:nvSpPr>
              <p:spPr>
                <a:xfrm>
                  <a:off x="8450426" y="7969075"/>
                  <a:ext cx="35815" cy="20650"/>
                </a:xfrm>
                <a:custGeom>
                  <a:avLst/>
                  <a:gdLst>
                    <a:gd name="connsiteX0" fmla="*/ 19467 w 35815"/>
                    <a:gd name="connsiteY0" fmla="*/ 0 h 20650"/>
                    <a:gd name="connsiteX1" fmla="*/ 35816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6"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CE3EB511-80B4-4A53-B47A-EB7AB5829513}"/>
                    </a:ext>
                  </a:extLst>
                </p:cNvPr>
                <p:cNvSpPr/>
                <p:nvPr/>
              </p:nvSpPr>
              <p:spPr>
                <a:xfrm>
                  <a:off x="8362339"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1F717B55-F4F7-4968-8925-296A5C6A257D}"/>
                    </a:ext>
                  </a:extLst>
                </p:cNvPr>
                <p:cNvSpPr/>
                <p:nvPr/>
              </p:nvSpPr>
              <p:spPr>
                <a:xfrm>
                  <a:off x="8389443"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E4186910-7B0F-403D-9AE8-2A1E6C197862}"/>
                    </a:ext>
                  </a:extLst>
                </p:cNvPr>
                <p:cNvSpPr/>
                <p:nvPr/>
              </p:nvSpPr>
              <p:spPr>
                <a:xfrm>
                  <a:off x="8532706" y="7994566"/>
                  <a:ext cx="48722" cy="28071"/>
                </a:xfrm>
                <a:custGeom>
                  <a:avLst/>
                  <a:gdLst>
                    <a:gd name="connsiteX0" fmla="*/ 0 w 48722"/>
                    <a:gd name="connsiteY0" fmla="*/ 18284 h 28071"/>
                    <a:gd name="connsiteX1" fmla="*/ 32052 w 48722"/>
                    <a:gd name="connsiteY1" fmla="*/ 0 h 28071"/>
                    <a:gd name="connsiteX2" fmla="*/ 48722 w 48722"/>
                    <a:gd name="connsiteY2" fmla="*/ 9895 h 28071"/>
                    <a:gd name="connsiteX3" fmla="*/ 16671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2" y="9895"/>
                      </a:lnTo>
                      <a:lnTo>
                        <a:pt x="16671" y="28072"/>
                      </a:lnTo>
                      <a:lnTo>
                        <a:pt x="0" y="18284"/>
                      </a:lnTo>
                      <a:close/>
                    </a:path>
                  </a:pathLst>
                </a:custGeom>
                <a:solidFill>
                  <a:srgbClr val="50E6FF"/>
                </a:solidFill>
                <a:ln w="7660"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0E556A7C-67DC-4609-8509-AED11835E31E}"/>
                    </a:ext>
                  </a:extLst>
                </p:cNvPr>
                <p:cNvSpPr/>
                <p:nvPr/>
              </p:nvSpPr>
              <p:spPr>
                <a:xfrm>
                  <a:off x="8567339" y="8007795"/>
                  <a:ext cx="38074" cy="22049"/>
                </a:xfrm>
                <a:custGeom>
                  <a:avLst/>
                  <a:gdLst>
                    <a:gd name="connsiteX0" fmla="*/ 19898 w 38074"/>
                    <a:gd name="connsiteY0" fmla="*/ 0 h 22049"/>
                    <a:gd name="connsiteX1" fmla="*/ 38075 w 38074"/>
                    <a:gd name="connsiteY1" fmla="*/ 10863 h 22049"/>
                    <a:gd name="connsiteX2" fmla="*/ 18177 w 38074"/>
                    <a:gd name="connsiteY2" fmla="*/ 22049 h 22049"/>
                    <a:gd name="connsiteX3" fmla="*/ 0 w 38074"/>
                    <a:gd name="connsiteY3" fmla="*/ 11293 h 22049"/>
                    <a:gd name="connsiteX4" fmla="*/ 19898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8" y="0"/>
                      </a:moveTo>
                      <a:lnTo>
                        <a:pt x="38075" y="10863"/>
                      </a:lnTo>
                      <a:lnTo>
                        <a:pt x="18177" y="22049"/>
                      </a:lnTo>
                      <a:lnTo>
                        <a:pt x="0" y="11293"/>
                      </a:lnTo>
                      <a:lnTo>
                        <a:pt x="19898" y="0"/>
                      </a:lnTo>
                      <a:close/>
                    </a:path>
                  </a:pathLst>
                </a:custGeom>
                <a:solidFill>
                  <a:srgbClr val="50E6FF"/>
                </a:solidFill>
                <a:ln w="7660"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11CCCFC7-43FC-483D-BCAA-CB04D6FDF264}"/>
                    </a:ext>
                  </a:extLst>
                </p:cNvPr>
                <p:cNvSpPr/>
                <p:nvPr/>
              </p:nvSpPr>
              <p:spPr>
                <a:xfrm>
                  <a:off x="8542278" y="8022746"/>
                  <a:ext cx="36998" cy="21403"/>
                </a:xfrm>
                <a:custGeom>
                  <a:avLst/>
                  <a:gdLst>
                    <a:gd name="connsiteX0" fmla="*/ 18715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5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5" y="0"/>
                      </a:moveTo>
                      <a:lnTo>
                        <a:pt x="36999" y="10863"/>
                      </a:lnTo>
                      <a:lnTo>
                        <a:pt x="18285" y="21403"/>
                      </a:lnTo>
                      <a:lnTo>
                        <a:pt x="0" y="10648"/>
                      </a:lnTo>
                      <a:lnTo>
                        <a:pt x="18715" y="0"/>
                      </a:lnTo>
                      <a:close/>
                    </a:path>
                  </a:pathLst>
                </a:custGeom>
                <a:solidFill>
                  <a:srgbClr val="50E6FF"/>
                </a:solidFill>
                <a:ln w="7660"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DB2E8037-63B1-4C6C-B5FC-8B6E845EA84D}"/>
                    </a:ext>
                  </a:extLst>
                </p:cNvPr>
                <p:cNvSpPr/>
                <p:nvPr/>
              </p:nvSpPr>
              <p:spPr>
                <a:xfrm>
                  <a:off x="8467635" y="8065445"/>
                  <a:ext cx="36568" cy="21403"/>
                </a:xfrm>
                <a:custGeom>
                  <a:avLst/>
                  <a:gdLst>
                    <a:gd name="connsiteX0" fmla="*/ 18392 w 36568"/>
                    <a:gd name="connsiteY0" fmla="*/ 0 h 21403"/>
                    <a:gd name="connsiteX1" fmla="*/ 36569 w 36568"/>
                    <a:gd name="connsiteY1" fmla="*/ 10863 h 21403"/>
                    <a:gd name="connsiteX2" fmla="*/ 18177 w 36568"/>
                    <a:gd name="connsiteY2" fmla="*/ 21403 h 21403"/>
                    <a:gd name="connsiteX3" fmla="*/ 0 w 36568"/>
                    <a:gd name="connsiteY3" fmla="*/ 10540 h 21403"/>
                    <a:gd name="connsiteX4" fmla="*/ 18392 w 3656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8"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92A55A5E-50C3-4CC9-87FE-2A5E96E423B0}"/>
                    </a:ext>
                  </a:extLst>
                </p:cNvPr>
                <p:cNvSpPr/>
                <p:nvPr/>
              </p:nvSpPr>
              <p:spPr>
                <a:xfrm>
                  <a:off x="8492373"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77883E3B-5A76-4190-83A2-255D4EDE2CFB}"/>
                    </a:ext>
                  </a:extLst>
                </p:cNvPr>
                <p:cNvSpPr/>
                <p:nvPr/>
              </p:nvSpPr>
              <p:spPr>
                <a:xfrm>
                  <a:off x="8517863" y="8037050"/>
                  <a:ext cx="36461" cy="21080"/>
                </a:xfrm>
                <a:custGeom>
                  <a:avLst/>
                  <a:gdLst>
                    <a:gd name="connsiteX0" fmla="*/ 18284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4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4" y="0"/>
                      </a:moveTo>
                      <a:lnTo>
                        <a:pt x="36461" y="10756"/>
                      </a:lnTo>
                      <a:lnTo>
                        <a:pt x="18177" y="21081"/>
                      </a:lnTo>
                      <a:lnTo>
                        <a:pt x="0" y="10325"/>
                      </a:lnTo>
                      <a:lnTo>
                        <a:pt x="18284" y="0"/>
                      </a:lnTo>
                      <a:close/>
                    </a:path>
                  </a:pathLst>
                </a:custGeom>
                <a:solidFill>
                  <a:srgbClr val="50E6FF"/>
                </a:solidFill>
                <a:ln w="7660"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81515DF6-3D9E-406D-9709-05AD2F1BFA7E}"/>
                    </a:ext>
                  </a:extLst>
                </p:cNvPr>
                <p:cNvSpPr/>
                <p:nvPr/>
              </p:nvSpPr>
              <p:spPr>
                <a:xfrm>
                  <a:off x="8159705" y="8133312"/>
                  <a:ext cx="37966" cy="22048"/>
                </a:xfrm>
                <a:custGeom>
                  <a:avLst/>
                  <a:gdLst>
                    <a:gd name="connsiteX0" fmla="*/ 21726 w 37966"/>
                    <a:gd name="connsiteY0" fmla="*/ 0 h 22048"/>
                    <a:gd name="connsiteX1" fmla="*/ 37967 w 37966"/>
                    <a:gd name="connsiteY1" fmla="*/ 9680 h 22048"/>
                    <a:gd name="connsiteX2" fmla="*/ 16241 w 37966"/>
                    <a:gd name="connsiteY2" fmla="*/ 22049 h 22048"/>
                    <a:gd name="connsiteX3" fmla="*/ 0 w 37966"/>
                    <a:gd name="connsiteY3" fmla="*/ 12369 h 22048"/>
                    <a:gd name="connsiteX4" fmla="*/ 21726 w 37966"/>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6"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A6833130-551A-4341-ACDF-E3197DEFE28D}"/>
                    </a:ext>
                  </a:extLst>
                </p:cNvPr>
                <p:cNvSpPr/>
                <p:nvPr/>
              </p:nvSpPr>
              <p:spPr>
                <a:xfrm>
                  <a:off x="8440209"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4CF71942-23A1-4F24-BA84-FCFC79A2F200}"/>
                    </a:ext>
                  </a:extLst>
                </p:cNvPr>
                <p:cNvSpPr/>
                <p:nvPr/>
              </p:nvSpPr>
              <p:spPr>
                <a:xfrm>
                  <a:off x="8414826"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B5758A4C-0AC5-4B84-BCAB-A7AB95E9B1DF}"/>
                    </a:ext>
                  </a:extLst>
                </p:cNvPr>
                <p:cNvSpPr/>
                <p:nvPr/>
              </p:nvSpPr>
              <p:spPr>
                <a:xfrm>
                  <a:off x="818175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4980EDB7-8266-410D-90B6-DA352333F514}"/>
                    </a:ext>
                  </a:extLst>
                </p:cNvPr>
                <p:cNvSpPr/>
                <p:nvPr/>
              </p:nvSpPr>
              <p:spPr>
                <a:xfrm>
                  <a:off x="8228110"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38510E36-4708-4D4C-87F0-B81454288E85}"/>
                    </a:ext>
                  </a:extLst>
                </p:cNvPr>
                <p:cNvSpPr/>
                <p:nvPr/>
              </p:nvSpPr>
              <p:spPr>
                <a:xfrm>
                  <a:off x="8287695"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46E2EF41-038B-46EF-B030-A1B203B345BB}"/>
                    </a:ext>
                  </a:extLst>
                </p:cNvPr>
                <p:cNvSpPr/>
                <p:nvPr/>
              </p:nvSpPr>
              <p:spPr>
                <a:xfrm>
                  <a:off x="8250481" y="8181927"/>
                  <a:ext cx="49045" cy="28287"/>
                </a:xfrm>
                <a:custGeom>
                  <a:avLst/>
                  <a:gdLst>
                    <a:gd name="connsiteX0" fmla="*/ 49045 w 49045"/>
                    <a:gd name="connsiteY0" fmla="*/ 10756 h 28287"/>
                    <a:gd name="connsiteX1" fmla="*/ 18069 w 49045"/>
                    <a:gd name="connsiteY1" fmla="*/ 28287 h 28287"/>
                    <a:gd name="connsiteX2" fmla="*/ 0 w 49045"/>
                    <a:gd name="connsiteY2" fmla="*/ 17532 h 28287"/>
                    <a:gd name="connsiteX3" fmla="*/ 30868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69" y="28287"/>
                      </a:lnTo>
                      <a:lnTo>
                        <a:pt x="0" y="17532"/>
                      </a:lnTo>
                      <a:lnTo>
                        <a:pt x="30868" y="0"/>
                      </a:lnTo>
                      <a:lnTo>
                        <a:pt x="49045" y="10756"/>
                      </a:lnTo>
                      <a:close/>
                    </a:path>
                  </a:pathLst>
                </a:custGeom>
                <a:solidFill>
                  <a:srgbClr val="50E6FF"/>
                </a:solidFill>
                <a:ln w="7660"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09B8DA17-6337-4D3A-ABAE-C6EAFA20DAB3}"/>
                    </a:ext>
                  </a:extLst>
                </p:cNvPr>
                <p:cNvSpPr/>
                <p:nvPr/>
              </p:nvSpPr>
              <p:spPr>
                <a:xfrm>
                  <a:off x="847731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C09D4A80-07D1-44B8-A8F3-CD90BC2145BF}"/>
                    </a:ext>
                  </a:extLst>
                </p:cNvPr>
                <p:cNvSpPr/>
                <p:nvPr/>
              </p:nvSpPr>
              <p:spPr>
                <a:xfrm>
                  <a:off x="8337063" y="8139335"/>
                  <a:ext cx="37106" cy="21618"/>
                </a:xfrm>
                <a:custGeom>
                  <a:avLst/>
                  <a:gdLst>
                    <a:gd name="connsiteX0" fmla="*/ 18930 w 37106"/>
                    <a:gd name="connsiteY0" fmla="*/ 0 h 21618"/>
                    <a:gd name="connsiteX1" fmla="*/ 37106 w 37106"/>
                    <a:gd name="connsiteY1" fmla="*/ 10863 h 21618"/>
                    <a:gd name="connsiteX2" fmla="*/ 18069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6" y="10863"/>
                      </a:lnTo>
                      <a:lnTo>
                        <a:pt x="18069"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C928E7C9-5FA7-4550-85CF-07830BF1CC17}"/>
                    </a:ext>
                  </a:extLst>
                </p:cNvPr>
                <p:cNvSpPr/>
                <p:nvPr/>
              </p:nvSpPr>
              <p:spPr>
                <a:xfrm>
                  <a:off x="8311573"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5AE61BCA-FB4D-4C8C-90E3-1F902D98168E}"/>
                    </a:ext>
                  </a:extLst>
                </p:cNvPr>
                <p:cNvSpPr/>
                <p:nvPr/>
              </p:nvSpPr>
              <p:spPr>
                <a:xfrm>
                  <a:off x="8505172" y="8016400"/>
                  <a:ext cx="37859" cy="21941"/>
                </a:xfrm>
                <a:custGeom>
                  <a:avLst/>
                  <a:gdLst>
                    <a:gd name="connsiteX0" fmla="*/ 16564 w 37859"/>
                    <a:gd name="connsiteY0" fmla="*/ 21941 h 21941"/>
                    <a:gd name="connsiteX1" fmla="*/ 0 w 37859"/>
                    <a:gd name="connsiteY1" fmla="*/ 12046 h 21941"/>
                    <a:gd name="connsiteX2" fmla="*/ 21188 w 37859"/>
                    <a:gd name="connsiteY2" fmla="*/ 0 h 21941"/>
                    <a:gd name="connsiteX3" fmla="*/ 37859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8" y="0"/>
                      </a:lnTo>
                      <a:lnTo>
                        <a:pt x="37859"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03C0E752-610B-418E-BEE3-36136E998693}"/>
                    </a:ext>
                  </a:extLst>
                </p:cNvPr>
                <p:cNvSpPr/>
                <p:nvPr/>
              </p:nvSpPr>
              <p:spPr>
                <a:xfrm>
                  <a:off x="8204448"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02E2CE61-6836-45B3-8F73-8430438254C0}"/>
                    </a:ext>
                  </a:extLst>
                </p:cNvPr>
                <p:cNvSpPr/>
                <p:nvPr/>
              </p:nvSpPr>
              <p:spPr>
                <a:xfrm>
                  <a:off x="8409878" y="8092871"/>
                  <a:ext cx="187145" cy="108200"/>
                </a:xfrm>
                <a:custGeom>
                  <a:avLst/>
                  <a:gdLst>
                    <a:gd name="connsiteX0" fmla="*/ 0 w 187145"/>
                    <a:gd name="connsiteY0" fmla="*/ 66254 h 108200"/>
                    <a:gd name="connsiteX1" fmla="*/ 116052 w 187145"/>
                    <a:gd name="connsiteY1" fmla="*/ 0 h 108200"/>
                    <a:gd name="connsiteX2" fmla="*/ 187146 w 187145"/>
                    <a:gd name="connsiteY2" fmla="*/ 41731 h 108200"/>
                    <a:gd name="connsiteX3" fmla="*/ 70771 w 187145"/>
                    <a:gd name="connsiteY3" fmla="*/ 108200 h 108200"/>
                    <a:gd name="connsiteX4" fmla="*/ 0 w 187145"/>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5"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36" name="Freeform: Shape 235">
                <a:extLst>
                  <a:ext uri="{FF2B5EF4-FFF2-40B4-BE49-F238E27FC236}">
                    <a16:creationId xmlns:a16="http://schemas.microsoft.com/office/drawing/2014/main" id="{E076115E-31D0-4E71-877F-0F1C85A4BDD8}"/>
                  </a:ext>
                </a:extLst>
              </p:cNvPr>
              <p:cNvSpPr/>
              <p:nvPr/>
            </p:nvSpPr>
            <p:spPr>
              <a:xfrm>
                <a:off x="7446653" y="7821979"/>
                <a:ext cx="74887" cy="74970"/>
              </a:xfrm>
              <a:custGeom>
                <a:avLst/>
                <a:gdLst>
                  <a:gd name="connsiteX0" fmla="*/ 52018 w 74887"/>
                  <a:gd name="connsiteY0" fmla="*/ 71808 h 74970"/>
                  <a:gd name="connsiteX1" fmla="*/ 71808 w 74887"/>
                  <a:gd name="connsiteY1" fmla="*/ 22870 h 74970"/>
                  <a:gd name="connsiteX2" fmla="*/ 22870 w 74887"/>
                  <a:gd name="connsiteY2" fmla="*/ 3080 h 74970"/>
                  <a:gd name="connsiteX3" fmla="*/ 3080 w 74887"/>
                  <a:gd name="connsiteY3" fmla="*/ 52018 h 74970"/>
                  <a:gd name="connsiteX4" fmla="*/ 52018 w 74887"/>
                  <a:gd name="connsiteY4" fmla="*/ 71808 h 7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70">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238"/>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92D475DC-2E0E-4DC4-87EC-DDB77CDE8449}"/>
                  </a:ext>
                </a:extLst>
              </p:cNvPr>
              <p:cNvSpPr/>
              <p:nvPr/>
            </p:nvSpPr>
            <p:spPr>
              <a:xfrm>
                <a:off x="7968726" y="6815693"/>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130"/>
                      <a:pt x="35131" y="79874"/>
                      <a:pt x="52018" y="71808"/>
                    </a:cubicBezTo>
                    <a:close/>
                  </a:path>
                </a:pathLst>
              </a:custGeom>
              <a:solidFill>
                <a:srgbClr val="50E6FF"/>
              </a:solidFill>
              <a:ln w="7660" cap="flat">
                <a:noFill/>
                <a:prstDash val="solid"/>
                <a:miter/>
              </a:ln>
            </p:spPr>
            <p:txBody>
              <a:bodyPr rtlCol="0" anchor="ctr"/>
              <a:lstStyle/>
              <a:p>
                <a:endParaRPr lang="en-US"/>
              </a:p>
            </p:txBody>
          </p:sp>
        </p:grpSp>
        <p:sp>
          <p:nvSpPr>
            <p:cNvPr id="241" name="TextBox 240">
              <a:extLst>
                <a:ext uri="{FF2B5EF4-FFF2-40B4-BE49-F238E27FC236}">
                  <a16:creationId xmlns:a16="http://schemas.microsoft.com/office/drawing/2014/main" id="{7D1EFC8C-7146-464B-AD90-79EFE6A7B819}"/>
                </a:ext>
              </a:extLst>
            </p:cNvPr>
            <p:cNvSpPr txBox="1"/>
            <p:nvPr/>
          </p:nvSpPr>
          <p:spPr>
            <a:xfrm>
              <a:off x="6050223" y="4849631"/>
              <a:ext cx="2378291"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Serverless</a:t>
              </a:r>
              <a:endParaRPr lang="en-US"/>
            </a:p>
          </p:txBody>
        </p:sp>
      </p:grpSp>
      <p:grpSp>
        <p:nvGrpSpPr>
          <p:cNvPr id="4" name="Group 3">
            <a:extLst>
              <a:ext uri="{FF2B5EF4-FFF2-40B4-BE49-F238E27FC236}">
                <a16:creationId xmlns:a16="http://schemas.microsoft.com/office/drawing/2014/main" id="{7196AC56-D01E-4002-8E0E-88B556850E69}"/>
              </a:ext>
            </a:extLst>
          </p:cNvPr>
          <p:cNvGrpSpPr/>
          <p:nvPr/>
        </p:nvGrpSpPr>
        <p:grpSpPr>
          <a:xfrm>
            <a:off x="9197274" y="2241268"/>
            <a:ext cx="3334088" cy="5827602"/>
            <a:chOff x="9197274" y="2241268"/>
            <a:chExt cx="3334088" cy="5827602"/>
          </a:xfrm>
        </p:grpSpPr>
        <p:grpSp>
          <p:nvGrpSpPr>
            <p:cNvPr id="239" name="Group 238">
              <a:extLst>
                <a:ext uri="{FF2B5EF4-FFF2-40B4-BE49-F238E27FC236}">
                  <a16:creationId xmlns:a16="http://schemas.microsoft.com/office/drawing/2014/main" id="{F41DFC82-70AC-48D6-86D0-D6F94AD683D2}"/>
                </a:ext>
              </a:extLst>
            </p:cNvPr>
            <p:cNvGrpSpPr/>
            <p:nvPr/>
          </p:nvGrpSpPr>
          <p:grpSpPr>
            <a:xfrm>
              <a:off x="9197274" y="2241268"/>
              <a:ext cx="3334088" cy="5827602"/>
              <a:chOff x="10229023" y="7062816"/>
              <a:chExt cx="2748868" cy="4804703"/>
            </a:xfrm>
          </p:grpSpPr>
          <p:grpSp>
            <p:nvGrpSpPr>
              <p:cNvPr id="14" name="Graphic 11">
                <a:extLst>
                  <a:ext uri="{FF2B5EF4-FFF2-40B4-BE49-F238E27FC236}">
                    <a16:creationId xmlns:a16="http://schemas.microsoft.com/office/drawing/2014/main" id="{9B9DDA68-4E07-40E0-A0EB-542CA46A71AD}"/>
                  </a:ext>
                </a:extLst>
              </p:cNvPr>
              <p:cNvGrpSpPr/>
              <p:nvPr/>
            </p:nvGrpSpPr>
            <p:grpSpPr>
              <a:xfrm>
                <a:off x="10229023" y="7569535"/>
                <a:ext cx="2748868" cy="4297984"/>
                <a:chOff x="10229023" y="7569535"/>
                <a:chExt cx="2748868" cy="4297984"/>
              </a:xfrm>
            </p:grpSpPr>
            <p:sp>
              <p:nvSpPr>
                <p:cNvPr id="15" name="Freeform: Shape 14">
                  <a:extLst>
                    <a:ext uri="{FF2B5EF4-FFF2-40B4-BE49-F238E27FC236}">
                      <a16:creationId xmlns:a16="http://schemas.microsoft.com/office/drawing/2014/main" id="{480697A0-AFD3-491B-BA82-DFD06A3F71F8}"/>
                    </a:ext>
                  </a:extLst>
                </p:cNvPr>
                <p:cNvSpPr/>
                <p:nvPr/>
              </p:nvSpPr>
              <p:spPr>
                <a:xfrm>
                  <a:off x="10229119"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9"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6CD374A-864F-4BA2-997A-0A99FB445F21}"/>
                    </a:ext>
                  </a:extLst>
                </p:cNvPr>
                <p:cNvSpPr/>
                <p:nvPr/>
              </p:nvSpPr>
              <p:spPr>
                <a:xfrm>
                  <a:off x="10229173" y="8126429"/>
                  <a:ext cx="1960299" cy="663373"/>
                </a:xfrm>
                <a:custGeom>
                  <a:avLst/>
                  <a:gdLst>
                    <a:gd name="connsiteX0" fmla="*/ 1924161 w 1960299"/>
                    <a:gd name="connsiteY0" fmla="*/ 61629 h 663373"/>
                    <a:gd name="connsiteX1" fmla="*/ 1924161 w 1960299"/>
                    <a:gd name="connsiteY1" fmla="*/ 63780 h 663373"/>
                    <a:gd name="connsiteX2" fmla="*/ 1083402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2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2"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2" y="642642"/>
                      </a:cubicBezTo>
                      <a:lnTo>
                        <a:pt x="1924161" y="154342"/>
                      </a:lnTo>
                      <a:cubicBezTo>
                        <a:pt x="1947501"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7100F1C-1E51-46D0-A305-C8E81E670329}"/>
                    </a:ext>
                  </a:extLst>
                </p:cNvPr>
                <p:cNvSpPr/>
                <p:nvPr/>
              </p:nvSpPr>
              <p:spPr>
                <a:xfrm>
                  <a:off x="10229023" y="7569535"/>
                  <a:ext cx="1960825" cy="1134975"/>
                </a:xfrm>
                <a:custGeom>
                  <a:avLst/>
                  <a:gdLst>
                    <a:gd name="connsiteX0" fmla="*/ 1924204 w 1960825"/>
                    <a:gd name="connsiteY0" fmla="*/ 523982 h 1134975"/>
                    <a:gd name="connsiteX1" fmla="*/ 1924204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1 w 1960825"/>
                    <a:gd name="connsiteY7" fmla="*/ 20731 h 1134975"/>
                    <a:gd name="connsiteX8" fmla="*/ 1053652 w 1960825"/>
                    <a:gd name="connsiteY8" fmla="*/ 20731 h 1134975"/>
                    <a:gd name="connsiteX9" fmla="*/ 1924204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4" y="523982"/>
                      </a:moveTo>
                      <a:cubicBezTo>
                        <a:pt x="1973033" y="551624"/>
                        <a:pt x="1973033" y="596151"/>
                        <a:pt x="1924204"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1" y="20731"/>
                      </a:lnTo>
                      <a:cubicBezTo>
                        <a:pt x="926307" y="-6910"/>
                        <a:pt x="1004822" y="-6910"/>
                        <a:pt x="1053652" y="20731"/>
                      </a:cubicBezTo>
                      <a:lnTo>
                        <a:pt x="1924204" y="523982"/>
                      </a:lnTo>
                      <a:close/>
                    </a:path>
                  </a:pathLst>
                </a:custGeom>
                <a:solidFill>
                  <a:srgbClr val="242429"/>
                </a:solidFill>
                <a:ln w="7660" cap="flat">
                  <a:noFill/>
                  <a:prstDash val="solid"/>
                  <a:miter/>
                </a:ln>
              </p:spPr>
              <p:txBody>
                <a:bodyPr rtlCol="0" anchor="ctr"/>
                <a:lstStyle/>
                <a:p>
                  <a:endParaRPr lang="en-US"/>
                </a:p>
              </p:txBody>
            </p:sp>
          </p:grpSp>
          <p:sp>
            <p:nvSpPr>
              <p:cNvPr id="18" name="Freeform: Shape 17">
                <a:extLst>
                  <a:ext uri="{FF2B5EF4-FFF2-40B4-BE49-F238E27FC236}">
                    <a16:creationId xmlns:a16="http://schemas.microsoft.com/office/drawing/2014/main" id="{31DA6D39-6380-4D2C-ADED-1544C05E4A86}"/>
                  </a:ext>
                </a:extLst>
              </p:cNvPr>
              <p:cNvSpPr/>
              <p:nvPr/>
            </p:nvSpPr>
            <p:spPr>
              <a:xfrm>
                <a:off x="10583137"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40000"/>
                </a:srgbClr>
              </a:solidFill>
              <a:ln w="766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D3183DA-87FB-4000-B0F9-7D2C367D25DD}"/>
                  </a:ext>
                </a:extLst>
              </p:cNvPr>
              <p:cNvSpPr/>
              <p:nvPr/>
            </p:nvSpPr>
            <p:spPr>
              <a:xfrm>
                <a:off x="10618522" y="7632535"/>
                <a:ext cx="638339" cy="357728"/>
              </a:xfrm>
              <a:custGeom>
                <a:avLst/>
                <a:gdLst>
                  <a:gd name="connsiteX0" fmla="*/ 359449 w 638339"/>
                  <a:gd name="connsiteY0" fmla="*/ 0 h 357728"/>
                  <a:gd name="connsiteX1" fmla="*/ 0 w 638339"/>
                  <a:gd name="connsiteY1" fmla="*/ 208334 h 357728"/>
                  <a:gd name="connsiteX2" fmla="*/ 278891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1" y="357728"/>
                    </a:lnTo>
                    <a:lnTo>
                      <a:pt x="638340" y="149394"/>
                    </a:lnTo>
                    <a:lnTo>
                      <a:pt x="359449" y="0"/>
                    </a:lnTo>
                    <a:close/>
                  </a:path>
                </a:pathLst>
              </a:custGeom>
              <a:solidFill>
                <a:srgbClr val="FFFFFF"/>
              </a:solidFill>
              <a:ln w="766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EB8B75B1-B753-4B23-A66B-A273BC67B643}"/>
                  </a:ext>
                </a:extLst>
              </p:cNvPr>
              <p:cNvSpPr/>
              <p:nvPr/>
            </p:nvSpPr>
            <p:spPr>
              <a:xfrm>
                <a:off x="1089558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solidFill>
              <a:ln w="766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EBD0CC5-4080-43DA-9D13-BFEBA82654BF}"/>
                  </a:ext>
                </a:extLst>
              </p:cNvPr>
              <p:cNvSpPr/>
              <p:nvPr/>
            </p:nvSpPr>
            <p:spPr>
              <a:xfrm>
                <a:off x="10616586" y="7840762"/>
                <a:ext cx="280826" cy="314383"/>
              </a:xfrm>
              <a:custGeom>
                <a:avLst/>
                <a:gdLst>
                  <a:gd name="connsiteX0" fmla="*/ 1936 w 280826"/>
                  <a:gd name="connsiteY0" fmla="*/ 0 h 314383"/>
                  <a:gd name="connsiteX1" fmla="*/ 0 w 280826"/>
                  <a:gd name="connsiteY1" fmla="*/ 167033 h 314383"/>
                  <a:gd name="connsiteX2" fmla="*/ 278890 w 280826"/>
                  <a:gd name="connsiteY2" fmla="*/ 314384 h 314383"/>
                  <a:gd name="connsiteX3" fmla="*/ 280827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0" y="314384"/>
                    </a:lnTo>
                    <a:lnTo>
                      <a:pt x="280827" y="149287"/>
                    </a:lnTo>
                    <a:lnTo>
                      <a:pt x="1936" y="0"/>
                    </a:lnTo>
                    <a:close/>
                  </a:path>
                </a:pathLst>
              </a:custGeom>
              <a:solidFill>
                <a:srgbClr val="50E6FF"/>
              </a:solidFill>
              <a:ln w="766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9CC9CE8-03BE-44EE-9B85-42895CAD7816}"/>
                  </a:ext>
                </a:extLst>
              </p:cNvPr>
              <p:cNvSpPr/>
              <p:nvPr/>
            </p:nvSpPr>
            <p:spPr>
              <a:xfrm>
                <a:off x="10618522" y="7441948"/>
                <a:ext cx="638339" cy="357620"/>
              </a:xfrm>
              <a:custGeom>
                <a:avLst/>
                <a:gdLst>
                  <a:gd name="connsiteX0" fmla="*/ 359449 w 638339"/>
                  <a:gd name="connsiteY0" fmla="*/ 0 h 357620"/>
                  <a:gd name="connsiteX1" fmla="*/ 0 w 638339"/>
                  <a:gd name="connsiteY1" fmla="*/ 210270 h 357620"/>
                  <a:gd name="connsiteX2" fmla="*/ 278891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1" y="357621"/>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D9E2F89-4889-4371-A14E-492F78EC1360}"/>
                  </a:ext>
                </a:extLst>
              </p:cNvPr>
              <p:cNvSpPr/>
              <p:nvPr/>
            </p:nvSpPr>
            <p:spPr>
              <a:xfrm>
                <a:off x="1089558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solidFill>
              <a:ln w="766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2D661AA5-D91C-4CED-8F8B-3E3984152177}"/>
                  </a:ext>
                </a:extLst>
              </p:cNvPr>
              <p:cNvSpPr/>
              <p:nvPr/>
            </p:nvSpPr>
            <p:spPr>
              <a:xfrm>
                <a:off x="10616586" y="7652110"/>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7351"/>
                    </a:lnTo>
                    <a:lnTo>
                      <a:pt x="1936" y="0"/>
                    </a:lnTo>
                    <a:close/>
                  </a:path>
                </a:pathLst>
              </a:custGeom>
              <a:solidFill>
                <a:srgbClr val="50E6FF"/>
              </a:solidFill>
              <a:ln w="766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CC30D8C-EECD-4D5D-83AF-F9FA40A7D157}"/>
                  </a:ext>
                </a:extLst>
              </p:cNvPr>
              <p:cNvSpPr/>
              <p:nvPr/>
            </p:nvSpPr>
            <p:spPr>
              <a:xfrm>
                <a:off x="10618522" y="7251467"/>
                <a:ext cx="638339" cy="359557"/>
              </a:xfrm>
              <a:custGeom>
                <a:avLst/>
                <a:gdLst>
                  <a:gd name="connsiteX0" fmla="*/ 359449 w 638339"/>
                  <a:gd name="connsiteY0" fmla="*/ 0 h 359557"/>
                  <a:gd name="connsiteX1" fmla="*/ 0 w 638339"/>
                  <a:gd name="connsiteY1" fmla="*/ 210163 h 359557"/>
                  <a:gd name="connsiteX2" fmla="*/ 278891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1" y="359557"/>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17C837-98EE-4F99-B770-20E80CEF92FE}"/>
                  </a:ext>
                </a:extLst>
              </p:cNvPr>
              <p:cNvSpPr/>
              <p:nvPr/>
            </p:nvSpPr>
            <p:spPr>
              <a:xfrm>
                <a:off x="1089558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solidFill>
              <a:ln w="766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5FFD691B-55CC-4766-887A-AA3CEB002145}"/>
                  </a:ext>
                </a:extLst>
              </p:cNvPr>
              <p:cNvSpPr/>
              <p:nvPr/>
            </p:nvSpPr>
            <p:spPr>
              <a:xfrm>
                <a:off x="10616586" y="7461522"/>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831F431-6411-4A72-AE5D-663839A81046}"/>
                  </a:ext>
                </a:extLst>
              </p:cNvPr>
              <p:cNvSpPr/>
              <p:nvPr/>
            </p:nvSpPr>
            <p:spPr>
              <a:xfrm>
                <a:off x="10618522" y="7062816"/>
                <a:ext cx="638339" cy="359664"/>
              </a:xfrm>
              <a:custGeom>
                <a:avLst/>
                <a:gdLst>
                  <a:gd name="connsiteX0" fmla="*/ 359449 w 638339"/>
                  <a:gd name="connsiteY0" fmla="*/ 0 h 359664"/>
                  <a:gd name="connsiteX1" fmla="*/ 0 w 638339"/>
                  <a:gd name="connsiteY1" fmla="*/ 210270 h 359664"/>
                  <a:gd name="connsiteX2" fmla="*/ 278891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1" y="359665"/>
                    </a:lnTo>
                    <a:lnTo>
                      <a:pt x="638340" y="149394"/>
                    </a:lnTo>
                    <a:lnTo>
                      <a:pt x="359449" y="0"/>
                    </a:lnTo>
                    <a:close/>
                  </a:path>
                </a:pathLst>
              </a:custGeom>
              <a:solidFill>
                <a:srgbClr val="84ECFD"/>
              </a:solidFill>
              <a:ln w="766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A4B7AC1-36D6-4E28-827D-1B29075D7277}"/>
                  </a:ext>
                </a:extLst>
              </p:cNvPr>
              <p:cNvSpPr/>
              <p:nvPr/>
            </p:nvSpPr>
            <p:spPr>
              <a:xfrm>
                <a:off x="1089558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solidFill>
              <a:ln w="766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3452FD7-048C-495B-89E0-3D1EC2036336}"/>
                  </a:ext>
                </a:extLst>
              </p:cNvPr>
              <p:cNvSpPr/>
              <p:nvPr/>
            </p:nvSpPr>
            <p:spPr>
              <a:xfrm>
                <a:off x="10616586" y="7272978"/>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B9CEAE5-7A0C-4FF9-B5DC-7401312E58D6}"/>
                  </a:ext>
                </a:extLst>
              </p:cNvPr>
              <p:cNvSpPr/>
              <p:nvPr/>
            </p:nvSpPr>
            <p:spPr>
              <a:xfrm>
                <a:off x="10645949"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solidFill>
              <a:ln w="766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42B59419-1A74-4B77-AB81-5213B3FD78E4}"/>
                  </a:ext>
                </a:extLst>
              </p:cNvPr>
              <p:cNvSpPr/>
              <p:nvPr/>
            </p:nvSpPr>
            <p:spPr>
              <a:xfrm>
                <a:off x="10917310"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D2403AD-7EC5-458C-8BAC-E4D1788B0984}"/>
                  </a:ext>
                </a:extLst>
              </p:cNvPr>
              <p:cNvSpPr/>
              <p:nvPr/>
            </p:nvSpPr>
            <p:spPr>
              <a:xfrm>
                <a:off x="10917310"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9EAE2142-4016-4814-A83C-49EB9AA2BE69}"/>
                  </a:ext>
                </a:extLst>
              </p:cNvPr>
              <p:cNvSpPr/>
              <p:nvPr/>
            </p:nvSpPr>
            <p:spPr>
              <a:xfrm>
                <a:off x="10912685" y="7580156"/>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112C6A14-131C-4065-904C-6441468B92FE}"/>
                  </a:ext>
                </a:extLst>
              </p:cNvPr>
              <p:cNvSpPr/>
              <p:nvPr/>
            </p:nvSpPr>
            <p:spPr>
              <a:xfrm>
                <a:off x="10912685" y="7389998"/>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1CA59C3-C6E6-4871-A964-F63BFB91B61B}"/>
                  </a:ext>
                </a:extLst>
              </p:cNvPr>
              <p:cNvSpPr/>
              <p:nvPr/>
            </p:nvSpPr>
            <p:spPr>
              <a:xfrm>
                <a:off x="11072082" y="7928957"/>
                <a:ext cx="699431" cy="415377"/>
              </a:xfrm>
              <a:custGeom>
                <a:avLst/>
                <a:gdLst>
                  <a:gd name="connsiteX0" fmla="*/ 0 w 699431"/>
                  <a:gd name="connsiteY0" fmla="*/ 245118 h 415377"/>
                  <a:gd name="connsiteX1" fmla="*/ 408279 w 699431"/>
                  <a:gd name="connsiteY1" fmla="*/ 0 h 415377"/>
                  <a:gd name="connsiteX2" fmla="*/ 699431 w 699431"/>
                  <a:gd name="connsiteY2" fmla="*/ 172949 h 415377"/>
                  <a:gd name="connsiteX3" fmla="*/ 283623 w 699431"/>
                  <a:gd name="connsiteY3" fmla="*/ 415378 h 415377"/>
                  <a:gd name="connsiteX4" fmla="*/ 0 w 699431"/>
                  <a:gd name="connsiteY4" fmla="*/ 245118 h 415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431" h="415377">
                    <a:moveTo>
                      <a:pt x="0" y="245118"/>
                    </a:moveTo>
                    <a:lnTo>
                      <a:pt x="408279" y="0"/>
                    </a:lnTo>
                    <a:lnTo>
                      <a:pt x="699431" y="172949"/>
                    </a:lnTo>
                    <a:lnTo>
                      <a:pt x="283623" y="415378"/>
                    </a:lnTo>
                    <a:lnTo>
                      <a:pt x="0" y="245118"/>
                    </a:lnTo>
                    <a:close/>
                  </a:path>
                </a:pathLst>
              </a:custGeom>
              <a:solidFill>
                <a:srgbClr val="1F1D21">
                  <a:alpha val="20000"/>
                </a:srgbClr>
              </a:solidFill>
              <a:ln w="766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470CB728-8CFC-4E3D-A537-14BF6345EB9D}"/>
                  </a:ext>
                </a:extLst>
              </p:cNvPr>
              <p:cNvSpPr/>
              <p:nvPr/>
            </p:nvSpPr>
            <p:spPr>
              <a:xfrm>
                <a:off x="11011206" y="7593782"/>
                <a:ext cx="471951" cy="553512"/>
              </a:xfrm>
              <a:custGeom>
                <a:avLst/>
                <a:gdLst>
                  <a:gd name="connsiteX0" fmla="*/ 0 w 471951"/>
                  <a:gd name="connsiteY0" fmla="*/ 214176 h 553512"/>
                  <a:gd name="connsiteX1" fmla="*/ 77224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4" y="553512"/>
                    </a:lnTo>
                    <a:lnTo>
                      <a:pt x="471952" y="339800"/>
                    </a:lnTo>
                    <a:lnTo>
                      <a:pt x="409355" y="7670"/>
                    </a:lnTo>
                    <a:cubicBezTo>
                      <a:pt x="408602" y="1539"/>
                      <a:pt x="401933"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FBA2C4A9-FED1-49D5-8F4D-95AD9E4BC4AD}"/>
                  </a:ext>
                </a:extLst>
              </p:cNvPr>
              <p:cNvSpPr/>
              <p:nvPr/>
            </p:nvSpPr>
            <p:spPr>
              <a:xfrm>
                <a:off x="11038633" y="7630761"/>
                <a:ext cx="419683" cy="473511"/>
              </a:xfrm>
              <a:custGeom>
                <a:avLst/>
                <a:gdLst>
                  <a:gd name="connsiteX0" fmla="*/ 364396 w 419683"/>
                  <a:gd name="connsiteY0" fmla="*/ 1667 h 473511"/>
                  <a:gd name="connsiteX1" fmla="*/ 363428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6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6" y="1667"/>
                    </a:moveTo>
                    <a:cubicBezTo>
                      <a:pt x="364289" y="1022"/>
                      <a:pt x="363859" y="484"/>
                      <a:pt x="363428" y="161"/>
                    </a:cubicBezTo>
                    <a:cubicBezTo>
                      <a:pt x="362783" y="-54"/>
                      <a:pt x="362246" y="-54"/>
                      <a:pt x="361708" y="161"/>
                    </a:cubicBezTo>
                    <a:lnTo>
                      <a:pt x="0" y="190534"/>
                    </a:lnTo>
                    <a:lnTo>
                      <a:pt x="70556" y="473512"/>
                    </a:lnTo>
                    <a:lnTo>
                      <a:pt x="419680" y="287226"/>
                    </a:lnTo>
                    <a:cubicBezTo>
                      <a:pt x="420218" y="286688"/>
                      <a:pt x="364396" y="1667"/>
                      <a:pt x="364396" y="1667"/>
                    </a:cubicBezTo>
                    <a:close/>
                  </a:path>
                </a:pathLst>
              </a:custGeom>
              <a:solidFill>
                <a:srgbClr val="0279D5"/>
              </a:solidFill>
              <a:ln w="766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8F862D4-10D3-4BE6-81A3-E6FF88E19A5B}"/>
                  </a:ext>
                </a:extLst>
              </p:cNvPr>
              <p:cNvSpPr/>
              <p:nvPr/>
            </p:nvSpPr>
            <p:spPr>
              <a:xfrm>
                <a:off x="11008493" y="7587661"/>
                <a:ext cx="474508" cy="559025"/>
              </a:xfrm>
              <a:custGeom>
                <a:avLst/>
                <a:gdLst>
                  <a:gd name="connsiteX0" fmla="*/ 474450 w 474508"/>
                  <a:gd name="connsiteY0" fmla="*/ 331939 h 559025"/>
                  <a:gd name="connsiteX1" fmla="*/ 414542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3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4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2" y="15404"/>
                    </a:cubicBezTo>
                    <a:cubicBezTo>
                      <a:pt x="412175" y="3680"/>
                      <a:pt x="404969" y="-3741"/>
                      <a:pt x="393461" y="1959"/>
                    </a:cubicBezTo>
                    <a:cubicBezTo>
                      <a:pt x="388083" y="4648"/>
                      <a:pt x="18309" y="202657"/>
                      <a:pt x="13146" y="205884"/>
                    </a:cubicBezTo>
                    <a:cubicBezTo>
                      <a:pt x="-1052" y="214811"/>
                      <a:pt x="-1374" y="220727"/>
                      <a:pt x="1315" y="236537"/>
                    </a:cubicBezTo>
                    <a:cubicBezTo>
                      <a:pt x="3789" y="250734"/>
                      <a:pt x="71978" y="538983"/>
                      <a:pt x="73914" y="548447"/>
                    </a:cubicBezTo>
                    <a:cubicBezTo>
                      <a:pt x="76819" y="562752"/>
                      <a:pt x="70903" y="558665"/>
                      <a:pt x="80153" y="557912"/>
                    </a:cubicBezTo>
                    <a:cubicBezTo>
                      <a:pt x="80153" y="557912"/>
                      <a:pt x="80153" y="557589"/>
                      <a:pt x="80045" y="557267"/>
                    </a:cubicBezTo>
                    <a:cubicBezTo>
                      <a:pt x="80153" y="557267"/>
                      <a:pt x="80260" y="557267"/>
                      <a:pt x="80368" y="557267"/>
                    </a:cubicBezTo>
                    <a:cubicBezTo>
                      <a:pt x="82411" y="557052"/>
                      <a:pt x="83810"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4" y="23148"/>
                    </a:cubicBezTo>
                    <a:cubicBezTo>
                      <a:pt x="410024" y="33366"/>
                      <a:pt x="466060" y="313977"/>
                      <a:pt x="468857" y="337962"/>
                    </a:cubicBezTo>
                    <a:cubicBezTo>
                      <a:pt x="469287" y="342372"/>
                      <a:pt x="468964" y="340758"/>
                      <a:pt x="468211" y="342802"/>
                    </a:cubicBezTo>
                    <a:cubicBezTo>
                      <a:pt x="467458"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60DDB74F-83A4-4585-8856-6753AA00AC0C}"/>
                  </a:ext>
                </a:extLst>
              </p:cNvPr>
              <p:cNvSpPr/>
              <p:nvPr/>
            </p:nvSpPr>
            <p:spPr>
              <a:xfrm>
                <a:off x="11083591" y="7914176"/>
                <a:ext cx="672541" cy="380792"/>
              </a:xfrm>
              <a:custGeom>
                <a:avLst/>
                <a:gdLst>
                  <a:gd name="connsiteX0" fmla="*/ 409032 w 672541"/>
                  <a:gd name="connsiteY0" fmla="*/ 1122 h 380792"/>
                  <a:gd name="connsiteX1" fmla="*/ 672542 w 672541"/>
                  <a:gd name="connsiteY1" fmla="*/ 152022 h 380792"/>
                  <a:gd name="connsiteX2" fmla="*/ 647051 w 672541"/>
                  <a:gd name="connsiteY2" fmla="*/ 168263 h 380792"/>
                  <a:gd name="connsiteX3" fmla="*/ 277815 w 672541"/>
                  <a:gd name="connsiteY3" fmla="*/ 376060 h 380792"/>
                  <a:gd name="connsiteX4" fmla="*/ 269748 w 672541"/>
                  <a:gd name="connsiteY4" fmla="*/ 380792 h 380792"/>
                  <a:gd name="connsiteX5" fmla="*/ 9250 w 672541"/>
                  <a:gd name="connsiteY5" fmla="*/ 232688 h 380792"/>
                  <a:gd name="connsiteX6" fmla="*/ 0 w 672541"/>
                  <a:gd name="connsiteY6" fmla="*/ 228064 h 380792"/>
                  <a:gd name="connsiteX7" fmla="*/ 5700 w 672541"/>
                  <a:gd name="connsiteY7" fmla="*/ 219782 h 380792"/>
                  <a:gd name="connsiteX8" fmla="*/ 397524 w 672541"/>
                  <a:gd name="connsiteY8" fmla="*/ 2628 h 380792"/>
                  <a:gd name="connsiteX9" fmla="*/ 409032 w 672541"/>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1"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288" y="154"/>
                      <a:pt x="405052" y="-1029"/>
                      <a:pt x="409032" y="1122"/>
                    </a:cubicBezTo>
                    <a:close/>
                  </a:path>
                </a:pathLst>
              </a:custGeom>
              <a:solidFill>
                <a:srgbClr val="AFADAE"/>
              </a:solidFill>
              <a:ln w="766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341ECD0-4819-491C-8301-B2334574B1FF}"/>
                  </a:ext>
                </a:extLst>
              </p:cNvPr>
              <p:cNvSpPr/>
              <p:nvPr/>
            </p:nvSpPr>
            <p:spPr>
              <a:xfrm>
                <a:off x="11082748" y="8063965"/>
                <a:ext cx="674997" cy="254599"/>
              </a:xfrm>
              <a:custGeom>
                <a:avLst/>
                <a:gdLst>
                  <a:gd name="connsiteX0" fmla="*/ 669405 w 674997"/>
                  <a:gd name="connsiteY0" fmla="*/ 512 h 254599"/>
                  <a:gd name="connsiteX1" fmla="*/ 667900 w 674997"/>
                  <a:gd name="connsiteY1" fmla="*/ 6213 h 254599"/>
                  <a:gd name="connsiteX2" fmla="*/ 286832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8 w 674997"/>
                  <a:gd name="connsiteY7" fmla="*/ 101399 h 254599"/>
                  <a:gd name="connsiteX8" fmla="*/ 258222 w 674997"/>
                  <a:gd name="connsiteY8" fmla="*/ 248104 h 254599"/>
                  <a:gd name="connsiteX9" fmla="*/ 292640 w 674997"/>
                  <a:gd name="connsiteY9" fmla="*/ 248427 h 254599"/>
                  <a:gd name="connsiteX10" fmla="*/ 672417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1" y="4384"/>
                      <a:pt x="667900" y="6213"/>
                    </a:cubicBezTo>
                    <a:cubicBezTo>
                      <a:pt x="621650" y="39447"/>
                      <a:pt x="297372" y="219494"/>
                      <a:pt x="286832"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8" y="101399"/>
                    </a:cubicBezTo>
                    <a:cubicBezTo>
                      <a:pt x="34937" y="119360"/>
                      <a:pt x="246821" y="241758"/>
                      <a:pt x="258222" y="248104"/>
                    </a:cubicBezTo>
                    <a:cubicBezTo>
                      <a:pt x="274570" y="257139"/>
                      <a:pt x="278227" y="256278"/>
                      <a:pt x="292640" y="248427"/>
                    </a:cubicBezTo>
                    <a:cubicBezTo>
                      <a:pt x="310924" y="238531"/>
                      <a:pt x="641978" y="48697"/>
                      <a:pt x="672417" y="27401"/>
                    </a:cubicBezTo>
                    <a:cubicBezTo>
                      <a:pt x="674137" y="26218"/>
                      <a:pt x="674998" y="24389"/>
                      <a:pt x="674998" y="22346"/>
                    </a:cubicBezTo>
                    <a:lnTo>
                      <a:pt x="674675" y="3201"/>
                    </a:lnTo>
                    <a:cubicBezTo>
                      <a:pt x="674245" y="3201"/>
                      <a:pt x="670373" y="-1531"/>
                      <a:pt x="669405" y="512"/>
                    </a:cubicBezTo>
                    <a:close/>
                  </a:path>
                </a:pathLst>
              </a:custGeom>
              <a:solidFill>
                <a:srgbClr val="185A97"/>
              </a:solidFill>
              <a:ln w="766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C6BD9E9-E8EA-4563-95C6-77CCD61043F1}"/>
                  </a:ext>
                </a:extLst>
              </p:cNvPr>
              <p:cNvSpPr/>
              <p:nvPr/>
            </p:nvSpPr>
            <p:spPr>
              <a:xfrm>
                <a:off x="11083698"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2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2" y="162060"/>
                    </a:lnTo>
                    <a:cubicBezTo>
                      <a:pt x="673403" y="159909"/>
                      <a:pt x="673403" y="156897"/>
                      <a:pt x="673295" y="155499"/>
                    </a:cubicBezTo>
                    <a:cubicBezTo>
                      <a:pt x="673187" y="153778"/>
                      <a:pt x="672327" y="151304"/>
                      <a:pt x="670499" y="150229"/>
                    </a:cubicBezTo>
                    <a:lnTo>
                      <a:pt x="412259" y="1480"/>
                    </a:lnTo>
                    <a:cubicBezTo>
                      <a:pt x="408924"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4B5426F9-636B-45D4-A7D8-4C988E45E75D}"/>
                  </a:ext>
                </a:extLst>
              </p:cNvPr>
              <p:cNvSpPr/>
              <p:nvPr/>
            </p:nvSpPr>
            <p:spPr>
              <a:xfrm>
                <a:off x="11037904" y="7622788"/>
                <a:ext cx="417735" cy="473457"/>
              </a:xfrm>
              <a:custGeom>
                <a:avLst/>
                <a:gdLst>
                  <a:gd name="connsiteX0" fmla="*/ 417613 w 417735"/>
                  <a:gd name="connsiteY0" fmla="*/ 278636 h 473457"/>
                  <a:gd name="connsiteX1" fmla="*/ 364373 w 417735"/>
                  <a:gd name="connsiteY1" fmla="*/ 6414 h 473457"/>
                  <a:gd name="connsiteX2" fmla="*/ 352864 w 417735"/>
                  <a:gd name="connsiteY2" fmla="*/ 928 h 473457"/>
                  <a:gd name="connsiteX3" fmla="*/ 4170 w 417735"/>
                  <a:gd name="connsiteY3" fmla="*/ 186676 h 473457"/>
                  <a:gd name="connsiteX4" fmla="*/ 191 w 417735"/>
                  <a:gd name="connsiteY4" fmla="*/ 195388 h 473457"/>
                  <a:gd name="connsiteX5" fmla="*/ 62680 w 417735"/>
                  <a:gd name="connsiteY5" fmla="*/ 466104 h 473457"/>
                  <a:gd name="connsiteX6" fmla="*/ 76447 w 417735"/>
                  <a:gd name="connsiteY6" fmla="*/ 472342 h 473457"/>
                  <a:gd name="connsiteX7" fmla="*/ 412772 w 417735"/>
                  <a:gd name="connsiteY7" fmla="*/ 288746 h 473457"/>
                  <a:gd name="connsiteX8" fmla="*/ 417613 w 417735"/>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35" h="473457">
                    <a:moveTo>
                      <a:pt x="417613" y="278636"/>
                    </a:moveTo>
                    <a:lnTo>
                      <a:pt x="364373"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322" y="286810"/>
                      <a:pt x="418258" y="282830"/>
                      <a:pt x="417613" y="278636"/>
                    </a:cubicBezTo>
                    <a:close/>
                  </a:path>
                </a:pathLst>
              </a:custGeom>
              <a:solidFill>
                <a:srgbClr val="E9FCFE"/>
              </a:solidFill>
              <a:ln w="766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21EA08B9-D74E-4D0D-9872-8C172C85144D}"/>
                  </a:ext>
                </a:extLst>
              </p:cNvPr>
              <p:cNvSpPr/>
              <p:nvPr/>
            </p:nvSpPr>
            <p:spPr>
              <a:xfrm>
                <a:off x="11461324" y="7988758"/>
                <a:ext cx="40870" cy="23661"/>
              </a:xfrm>
              <a:custGeom>
                <a:avLst/>
                <a:gdLst>
                  <a:gd name="connsiteX0" fmla="*/ 23770 w 40870"/>
                  <a:gd name="connsiteY0" fmla="*/ 0 h 23661"/>
                  <a:gd name="connsiteX1" fmla="*/ 40871 w 40870"/>
                  <a:gd name="connsiteY1" fmla="*/ 10110 h 23661"/>
                  <a:gd name="connsiteX2" fmla="*/ 17102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2"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6384E27-00F1-444E-95EC-8CD92E08FF90}"/>
                  </a:ext>
                </a:extLst>
              </p:cNvPr>
              <p:cNvSpPr/>
              <p:nvPr/>
            </p:nvSpPr>
            <p:spPr>
              <a:xfrm>
                <a:off x="11435404" y="8005859"/>
                <a:ext cx="36676" cy="21296"/>
              </a:xfrm>
              <a:custGeom>
                <a:avLst/>
                <a:gdLst>
                  <a:gd name="connsiteX0" fmla="*/ 19574 w 36676"/>
                  <a:gd name="connsiteY0" fmla="*/ 0 h 21296"/>
                  <a:gd name="connsiteX1" fmla="*/ 36676 w 36676"/>
                  <a:gd name="connsiteY1" fmla="*/ 10110 h 21296"/>
                  <a:gd name="connsiteX2" fmla="*/ 16993 w 36676"/>
                  <a:gd name="connsiteY2" fmla="*/ 21296 h 21296"/>
                  <a:gd name="connsiteX3" fmla="*/ 0 w 36676"/>
                  <a:gd name="connsiteY3" fmla="*/ 11186 h 21296"/>
                  <a:gd name="connsiteX4" fmla="*/ 19574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4" y="0"/>
                    </a:moveTo>
                    <a:lnTo>
                      <a:pt x="36676" y="10110"/>
                    </a:lnTo>
                    <a:lnTo>
                      <a:pt x="16993" y="21296"/>
                    </a:lnTo>
                    <a:lnTo>
                      <a:pt x="0" y="11186"/>
                    </a:lnTo>
                    <a:lnTo>
                      <a:pt x="19574" y="0"/>
                    </a:lnTo>
                    <a:close/>
                  </a:path>
                </a:pathLst>
              </a:custGeom>
              <a:solidFill>
                <a:srgbClr val="50E6FF"/>
              </a:solidFill>
              <a:ln w="766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C820852-BB76-4B45-9C29-ED0F3F58DB49}"/>
                  </a:ext>
                </a:extLst>
              </p:cNvPr>
              <p:cNvSpPr/>
              <p:nvPr/>
            </p:nvSpPr>
            <p:spPr>
              <a:xfrm>
                <a:off x="11409267" y="8020702"/>
                <a:ext cx="36891" cy="21511"/>
              </a:xfrm>
              <a:custGeom>
                <a:avLst/>
                <a:gdLst>
                  <a:gd name="connsiteX0" fmla="*/ 19898 w 36891"/>
                  <a:gd name="connsiteY0" fmla="*/ 0 h 21511"/>
                  <a:gd name="connsiteX1" fmla="*/ 36892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2"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9232E125-D2DE-4D1E-9CE3-04E211243F2C}"/>
                  </a:ext>
                </a:extLst>
              </p:cNvPr>
              <p:cNvSpPr/>
              <p:nvPr/>
            </p:nvSpPr>
            <p:spPr>
              <a:xfrm>
                <a:off x="11504454" y="7980584"/>
                <a:ext cx="59692" cy="34417"/>
              </a:xfrm>
              <a:custGeom>
                <a:avLst/>
                <a:gdLst>
                  <a:gd name="connsiteX0" fmla="*/ 0 w 59692"/>
                  <a:gd name="connsiteY0" fmla="*/ 23877 h 34417"/>
                  <a:gd name="connsiteX1" fmla="*/ 41839 w 59692"/>
                  <a:gd name="connsiteY1" fmla="*/ 0 h 34417"/>
                  <a:gd name="connsiteX2" fmla="*/ 59693 w 59692"/>
                  <a:gd name="connsiteY2" fmla="*/ 10541 h 34417"/>
                  <a:gd name="connsiteX3" fmla="*/ 17854 w 59692"/>
                  <a:gd name="connsiteY3" fmla="*/ 34418 h 34417"/>
                  <a:gd name="connsiteX4" fmla="*/ 0 w 59692"/>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2"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669CDBE2-AAE6-4B00-9D8B-55D935345F09}"/>
                  </a:ext>
                </a:extLst>
              </p:cNvPr>
              <p:cNvSpPr/>
              <p:nvPr/>
            </p:nvSpPr>
            <p:spPr>
              <a:xfrm>
                <a:off x="11303326"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8BCE0A2-C4DC-41B0-AFF9-684AE2A2B83C}"/>
                  </a:ext>
                </a:extLst>
              </p:cNvPr>
              <p:cNvSpPr/>
              <p:nvPr/>
            </p:nvSpPr>
            <p:spPr>
              <a:xfrm>
                <a:off x="11279556" y="8149768"/>
                <a:ext cx="34094" cy="19897"/>
              </a:xfrm>
              <a:custGeom>
                <a:avLst/>
                <a:gdLst>
                  <a:gd name="connsiteX0" fmla="*/ 16671 w 34094"/>
                  <a:gd name="connsiteY0" fmla="*/ 19898 h 19897"/>
                  <a:gd name="connsiteX1" fmla="*/ 0 w 34094"/>
                  <a:gd name="connsiteY1" fmla="*/ 10003 h 19897"/>
                  <a:gd name="connsiteX2" fmla="*/ 17532 w 34094"/>
                  <a:gd name="connsiteY2" fmla="*/ 0 h 19897"/>
                  <a:gd name="connsiteX3" fmla="*/ 34095 w 34094"/>
                  <a:gd name="connsiteY3" fmla="*/ 9895 h 19897"/>
                  <a:gd name="connsiteX4" fmla="*/ 16671 w 34094"/>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4"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C41123F-4E66-4345-903C-CCB9CFFA51FE}"/>
                  </a:ext>
                </a:extLst>
              </p:cNvPr>
              <p:cNvSpPr/>
              <p:nvPr/>
            </p:nvSpPr>
            <p:spPr>
              <a:xfrm>
                <a:off x="11326450" y="8067166"/>
                <a:ext cx="38074" cy="22048"/>
              </a:xfrm>
              <a:custGeom>
                <a:avLst/>
                <a:gdLst>
                  <a:gd name="connsiteX0" fmla="*/ 21081 w 38074"/>
                  <a:gd name="connsiteY0" fmla="*/ 0 h 22048"/>
                  <a:gd name="connsiteX1" fmla="*/ 38075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5"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362C2EE8-0527-4DE8-9C93-5881926DF8AA}"/>
                  </a:ext>
                </a:extLst>
              </p:cNvPr>
              <p:cNvSpPr/>
              <p:nvPr/>
            </p:nvSpPr>
            <p:spPr>
              <a:xfrm>
                <a:off x="11316770"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377BD3D-EBBB-4223-88F6-2CFF5B08A183}"/>
                  </a:ext>
                </a:extLst>
              </p:cNvPr>
              <p:cNvSpPr/>
              <p:nvPr/>
            </p:nvSpPr>
            <p:spPr>
              <a:xfrm>
                <a:off x="11289128"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D59B6D0-8B6A-4A5E-84E8-0760CE2E7056}"/>
                  </a:ext>
                </a:extLst>
              </p:cNvPr>
              <p:cNvSpPr/>
              <p:nvPr/>
            </p:nvSpPr>
            <p:spPr>
              <a:xfrm>
                <a:off x="1129880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A5DCA475-A6F5-48CB-99A3-7D20A3FA1A21}"/>
                  </a:ext>
                </a:extLst>
              </p:cNvPr>
              <p:cNvSpPr/>
              <p:nvPr/>
            </p:nvSpPr>
            <p:spPr>
              <a:xfrm>
                <a:off x="1134376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F86CC93-5AE0-4A3C-BFCF-4AD91BDAA732}"/>
                  </a:ext>
                </a:extLst>
              </p:cNvPr>
              <p:cNvSpPr/>
              <p:nvPr/>
            </p:nvSpPr>
            <p:spPr>
              <a:xfrm>
                <a:off x="11272027"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430723B-D364-48F6-919E-33DDB8A50C26}"/>
                  </a:ext>
                </a:extLst>
              </p:cNvPr>
              <p:cNvSpPr/>
              <p:nvPr/>
            </p:nvSpPr>
            <p:spPr>
              <a:xfrm>
                <a:off x="11353877" y="8051033"/>
                <a:ext cx="39042" cy="22586"/>
              </a:xfrm>
              <a:custGeom>
                <a:avLst/>
                <a:gdLst>
                  <a:gd name="connsiteX0" fmla="*/ 21941 w 39042"/>
                  <a:gd name="connsiteY0" fmla="*/ 0 h 22586"/>
                  <a:gd name="connsiteX1" fmla="*/ 39042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2"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97EF27C0-FD71-4A38-9D5A-16DCD465637B}"/>
                  </a:ext>
                </a:extLst>
              </p:cNvPr>
              <p:cNvSpPr/>
              <p:nvPr/>
            </p:nvSpPr>
            <p:spPr>
              <a:xfrm>
                <a:off x="11382163" y="8035652"/>
                <a:ext cx="37859" cy="21833"/>
              </a:xfrm>
              <a:custGeom>
                <a:avLst/>
                <a:gdLst>
                  <a:gd name="connsiteX0" fmla="*/ 20758 w 37859"/>
                  <a:gd name="connsiteY0" fmla="*/ 0 h 21833"/>
                  <a:gd name="connsiteX1" fmla="*/ 37860 w 37859"/>
                  <a:gd name="connsiteY1" fmla="*/ 10003 h 21833"/>
                  <a:gd name="connsiteX2" fmla="*/ 17102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60" y="10003"/>
                    </a:lnTo>
                    <a:lnTo>
                      <a:pt x="17102"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80D3616A-047F-42EC-9275-8410A73A4E62}"/>
                  </a:ext>
                </a:extLst>
              </p:cNvPr>
              <p:cNvSpPr/>
              <p:nvPr/>
            </p:nvSpPr>
            <p:spPr>
              <a:xfrm>
                <a:off x="11405611" y="8076630"/>
                <a:ext cx="36461" cy="21296"/>
              </a:xfrm>
              <a:custGeom>
                <a:avLst/>
                <a:gdLst>
                  <a:gd name="connsiteX0" fmla="*/ 16671 w 36461"/>
                  <a:gd name="connsiteY0" fmla="*/ 21296 h 21296"/>
                  <a:gd name="connsiteX1" fmla="*/ 0 w 36461"/>
                  <a:gd name="connsiteY1" fmla="*/ 11401 h 21296"/>
                  <a:gd name="connsiteX2" fmla="*/ 19897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7"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CB22D331-B62A-417D-81B7-605CD369A970}"/>
                  </a:ext>
                </a:extLst>
              </p:cNvPr>
              <p:cNvSpPr/>
              <p:nvPr/>
            </p:nvSpPr>
            <p:spPr>
              <a:xfrm>
                <a:off x="11381195" y="8091581"/>
                <a:ext cx="34740" cy="20220"/>
              </a:xfrm>
              <a:custGeom>
                <a:avLst/>
                <a:gdLst>
                  <a:gd name="connsiteX0" fmla="*/ 16671 w 34740"/>
                  <a:gd name="connsiteY0" fmla="*/ 20220 h 20220"/>
                  <a:gd name="connsiteX1" fmla="*/ 0 w 34740"/>
                  <a:gd name="connsiteY1" fmla="*/ 10325 h 20220"/>
                  <a:gd name="connsiteX2" fmla="*/ 18070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70"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6807CF3D-43CC-4D27-B55F-C3B89FC53CA9}"/>
                  </a:ext>
                </a:extLst>
              </p:cNvPr>
              <p:cNvSpPr/>
              <p:nvPr/>
            </p:nvSpPr>
            <p:spPr>
              <a:xfrm>
                <a:off x="11475951" y="8008011"/>
                <a:ext cx="40010" cy="23231"/>
              </a:xfrm>
              <a:custGeom>
                <a:avLst/>
                <a:gdLst>
                  <a:gd name="connsiteX0" fmla="*/ 22156 w 40010"/>
                  <a:gd name="connsiteY0" fmla="*/ 0 h 23231"/>
                  <a:gd name="connsiteX1" fmla="*/ 40011 w 40010"/>
                  <a:gd name="connsiteY1" fmla="*/ 10540 h 23231"/>
                  <a:gd name="connsiteX2" fmla="*/ 17855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5"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7D0A0230-5EA7-4C20-BCCC-73312C534988}"/>
                  </a:ext>
                </a:extLst>
              </p:cNvPr>
              <p:cNvSpPr/>
              <p:nvPr/>
            </p:nvSpPr>
            <p:spPr>
              <a:xfrm>
                <a:off x="11431854" y="8062111"/>
                <a:ext cx="35816" cy="20865"/>
              </a:xfrm>
              <a:custGeom>
                <a:avLst/>
                <a:gdLst>
                  <a:gd name="connsiteX0" fmla="*/ 16563 w 35816"/>
                  <a:gd name="connsiteY0" fmla="*/ 20865 h 20865"/>
                  <a:gd name="connsiteX1" fmla="*/ 0 w 35816"/>
                  <a:gd name="connsiteY1" fmla="*/ 10971 h 20865"/>
                  <a:gd name="connsiteX2" fmla="*/ 19252 w 35816"/>
                  <a:gd name="connsiteY2" fmla="*/ 0 h 20865"/>
                  <a:gd name="connsiteX3" fmla="*/ 35816 w 35816"/>
                  <a:gd name="connsiteY3" fmla="*/ 9895 h 20865"/>
                  <a:gd name="connsiteX4" fmla="*/ 16563 w 35816"/>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6" h="20865">
                    <a:moveTo>
                      <a:pt x="16563" y="20865"/>
                    </a:moveTo>
                    <a:lnTo>
                      <a:pt x="0" y="10971"/>
                    </a:lnTo>
                    <a:lnTo>
                      <a:pt x="19252" y="0"/>
                    </a:lnTo>
                    <a:lnTo>
                      <a:pt x="35816" y="9895"/>
                    </a:lnTo>
                    <a:lnTo>
                      <a:pt x="16563" y="20865"/>
                    </a:lnTo>
                    <a:close/>
                  </a:path>
                </a:pathLst>
              </a:custGeom>
              <a:solidFill>
                <a:srgbClr val="50E6FF"/>
              </a:solidFill>
              <a:ln w="766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C404B4C9-9F7C-412C-8C93-DCFB00440ADB}"/>
                  </a:ext>
                </a:extLst>
              </p:cNvPr>
              <p:cNvSpPr/>
              <p:nvPr/>
            </p:nvSpPr>
            <p:spPr>
              <a:xfrm>
                <a:off x="11260841" y="8130408"/>
                <a:ext cx="39903" cy="23124"/>
              </a:xfrm>
              <a:custGeom>
                <a:avLst/>
                <a:gdLst>
                  <a:gd name="connsiteX0" fmla="*/ 17854 w 39903"/>
                  <a:gd name="connsiteY0" fmla="*/ 23125 h 23124"/>
                  <a:gd name="connsiteX1" fmla="*/ 0 w 39903"/>
                  <a:gd name="connsiteY1" fmla="*/ 12476 h 23124"/>
                  <a:gd name="connsiteX2" fmla="*/ 22049 w 39903"/>
                  <a:gd name="connsiteY2" fmla="*/ 0 h 23124"/>
                  <a:gd name="connsiteX3" fmla="*/ 39903 w 39903"/>
                  <a:gd name="connsiteY3" fmla="*/ 10541 h 23124"/>
                  <a:gd name="connsiteX4" fmla="*/ 17854 w 39903"/>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3"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533D8B45-9970-498B-8935-1E3F7AF1D8D3}"/>
                  </a:ext>
                </a:extLst>
              </p:cNvPr>
              <p:cNvSpPr/>
              <p:nvPr/>
            </p:nvSpPr>
            <p:spPr>
              <a:xfrm>
                <a:off x="11218680"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E3D2F7E-02E9-499E-98A7-00284FBEDF10}"/>
                  </a:ext>
                </a:extLst>
              </p:cNvPr>
              <p:cNvSpPr/>
              <p:nvPr/>
            </p:nvSpPr>
            <p:spPr>
              <a:xfrm>
                <a:off x="11330967" y="8120191"/>
                <a:ext cx="34955" cy="20327"/>
              </a:xfrm>
              <a:custGeom>
                <a:avLst/>
                <a:gdLst>
                  <a:gd name="connsiteX0" fmla="*/ 16563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3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3" y="20328"/>
                    </a:moveTo>
                    <a:lnTo>
                      <a:pt x="0" y="10325"/>
                    </a:lnTo>
                    <a:lnTo>
                      <a:pt x="18284" y="0"/>
                    </a:lnTo>
                    <a:lnTo>
                      <a:pt x="34955" y="9895"/>
                    </a:lnTo>
                    <a:lnTo>
                      <a:pt x="16563" y="20328"/>
                    </a:lnTo>
                    <a:close/>
                  </a:path>
                </a:pathLst>
              </a:custGeom>
              <a:solidFill>
                <a:srgbClr val="50E6FF"/>
              </a:solidFill>
              <a:ln w="766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AFD4ADF6-5E8E-4AA5-9075-36E4D4E01B90}"/>
                  </a:ext>
                </a:extLst>
              </p:cNvPr>
              <p:cNvSpPr/>
              <p:nvPr/>
            </p:nvSpPr>
            <p:spPr>
              <a:xfrm>
                <a:off x="11369149"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6DC4D30D-8946-4882-85B7-2258566D8F46}"/>
                  </a:ext>
                </a:extLst>
              </p:cNvPr>
              <p:cNvSpPr/>
              <p:nvPr/>
            </p:nvSpPr>
            <p:spPr>
              <a:xfrm>
                <a:off x="11394317" y="8055012"/>
                <a:ext cx="38827" cy="22478"/>
              </a:xfrm>
              <a:custGeom>
                <a:avLst/>
                <a:gdLst>
                  <a:gd name="connsiteX0" fmla="*/ 20973 w 38827"/>
                  <a:gd name="connsiteY0" fmla="*/ 0 h 22478"/>
                  <a:gd name="connsiteX1" fmla="*/ 38828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8"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1C07BE7-46DB-4E86-8F1A-934352794787}"/>
                  </a:ext>
                </a:extLst>
              </p:cNvPr>
              <p:cNvSpPr/>
              <p:nvPr/>
            </p:nvSpPr>
            <p:spPr>
              <a:xfrm>
                <a:off x="11421529" y="8040062"/>
                <a:ext cx="37751" cy="22049"/>
              </a:xfrm>
              <a:custGeom>
                <a:avLst/>
                <a:gdLst>
                  <a:gd name="connsiteX0" fmla="*/ 20113 w 37751"/>
                  <a:gd name="connsiteY0" fmla="*/ 0 h 22049"/>
                  <a:gd name="connsiteX1" fmla="*/ 37752 w 37751"/>
                  <a:gd name="connsiteY1" fmla="*/ 10648 h 22049"/>
                  <a:gd name="connsiteX2" fmla="*/ 17855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5"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02991E2-5097-4A42-AA1B-12621CC52B1F}"/>
                  </a:ext>
                </a:extLst>
              </p:cNvPr>
              <p:cNvSpPr/>
              <p:nvPr/>
            </p:nvSpPr>
            <p:spPr>
              <a:xfrm>
                <a:off x="11355597"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4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4"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DF8CD822-A76E-4555-98A6-30C9568B9CA9}"/>
                  </a:ext>
                </a:extLst>
              </p:cNvPr>
              <p:cNvSpPr/>
              <p:nvPr/>
            </p:nvSpPr>
            <p:spPr>
              <a:xfrm>
                <a:off x="11447772" y="8024144"/>
                <a:ext cx="39472" cy="22908"/>
              </a:xfrm>
              <a:custGeom>
                <a:avLst/>
                <a:gdLst>
                  <a:gd name="connsiteX0" fmla="*/ 21834 w 39472"/>
                  <a:gd name="connsiteY0" fmla="*/ 0 h 22908"/>
                  <a:gd name="connsiteX1" fmla="*/ 39473 w 39472"/>
                  <a:gd name="connsiteY1" fmla="*/ 10540 h 22908"/>
                  <a:gd name="connsiteX2" fmla="*/ 17855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5"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6A0E3353-B17C-437E-B179-10020A8AC867}"/>
                  </a:ext>
                </a:extLst>
              </p:cNvPr>
              <p:cNvSpPr/>
              <p:nvPr/>
            </p:nvSpPr>
            <p:spPr>
              <a:xfrm>
                <a:off x="11221799" y="8101906"/>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4D221BC-3D5E-4FBF-B873-466EB409AF87}"/>
                  </a:ext>
                </a:extLst>
              </p:cNvPr>
              <p:cNvSpPr/>
              <p:nvPr/>
            </p:nvSpPr>
            <p:spPr>
              <a:xfrm>
                <a:off x="11457452"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0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0"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8E902755-8D16-4EC5-B0EF-9C3DA8EA5326}"/>
                  </a:ext>
                </a:extLst>
              </p:cNvPr>
              <p:cNvSpPr/>
              <p:nvPr/>
            </p:nvSpPr>
            <p:spPr>
              <a:xfrm>
                <a:off x="11247827" y="8088462"/>
                <a:ext cx="33557" cy="19467"/>
              </a:xfrm>
              <a:custGeom>
                <a:avLst/>
                <a:gdLst>
                  <a:gd name="connsiteX0" fmla="*/ 17317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7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7" y="0"/>
                    </a:moveTo>
                    <a:lnTo>
                      <a:pt x="33557" y="9680"/>
                    </a:lnTo>
                    <a:lnTo>
                      <a:pt x="16348" y="19467"/>
                    </a:lnTo>
                    <a:lnTo>
                      <a:pt x="0" y="9788"/>
                    </a:lnTo>
                    <a:lnTo>
                      <a:pt x="17317" y="0"/>
                    </a:lnTo>
                    <a:close/>
                  </a:path>
                </a:pathLst>
              </a:custGeom>
              <a:solidFill>
                <a:srgbClr val="50E6FF"/>
              </a:solidFill>
              <a:ln w="766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21CBF76D-E3B0-4197-8F2A-225FB6320BFA}"/>
                  </a:ext>
                </a:extLst>
              </p:cNvPr>
              <p:cNvSpPr/>
              <p:nvPr/>
            </p:nvSpPr>
            <p:spPr>
              <a:xfrm>
                <a:off x="11192759"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989CDB85-0806-4A98-873F-581614BF5D36}"/>
                  </a:ext>
                </a:extLst>
              </p:cNvPr>
              <p:cNvSpPr/>
              <p:nvPr/>
            </p:nvSpPr>
            <p:spPr>
              <a:xfrm>
                <a:off x="1124546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C53FE687-A212-4F23-B823-09B7E5E9A892}"/>
                  </a:ext>
                </a:extLst>
              </p:cNvPr>
              <p:cNvSpPr/>
              <p:nvPr/>
            </p:nvSpPr>
            <p:spPr>
              <a:xfrm>
                <a:off x="11143714"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0E920B01-8C5D-4D57-8D86-DE4F248A6C8B}"/>
                  </a:ext>
                </a:extLst>
              </p:cNvPr>
              <p:cNvSpPr/>
              <p:nvPr/>
            </p:nvSpPr>
            <p:spPr>
              <a:xfrm>
                <a:off x="11271489" y="8074049"/>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9ED57331-051A-49D2-9DEB-4006C3859ECB}"/>
                  </a:ext>
                </a:extLst>
              </p:cNvPr>
              <p:cNvSpPr/>
              <p:nvPr/>
            </p:nvSpPr>
            <p:spPr>
              <a:xfrm>
                <a:off x="11374635" y="8014356"/>
                <a:ext cx="36891" cy="21403"/>
              </a:xfrm>
              <a:custGeom>
                <a:avLst/>
                <a:gdLst>
                  <a:gd name="connsiteX0" fmla="*/ 20650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0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0" y="0"/>
                    </a:moveTo>
                    <a:lnTo>
                      <a:pt x="36891" y="9680"/>
                    </a:lnTo>
                    <a:lnTo>
                      <a:pt x="16241" y="21403"/>
                    </a:lnTo>
                    <a:lnTo>
                      <a:pt x="0" y="11723"/>
                    </a:lnTo>
                    <a:lnTo>
                      <a:pt x="20650" y="0"/>
                    </a:lnTo>
                    <a:close/>
                  </a:path>
                </a:pathLst>
              </a:custGeom>
              <a:solidFill>
                <a:srgbClr val="50E6FF"/>
              </a:solidFill>
              <a:ln w="766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CEC80AA-5B36-4790-95D8-4886AB8E7F44}"/>
                  </a:ext>
                </a:extLst>
              </p:cNvPr>
              <p:cNvSpPr/>
              <p:nvPr/>
            </p:nvSpPr>
            <p:spPr>
              <a:xfrm>
                <a:off x="11180282"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88682250-4445-45CB-979C-8E0DF9E894D0}"/>
                  </a:ext>
                </a:extLst>
              </p:cNvPr>
              <p:cNvSpPr/>
              <p:nvPr/>
            </p:nvSpPr>
            <p:spPr>
              <a:xfrm>
                <a:off x="11401631" y="7997900"/>
                <a:ext cx="38611" cy="22371"/>
              </a:xfrm>
              <a:custGeom>
                <a:avLst/>
                <a:gdLst>
                  <a:gd name="connsiteX0" fmla="*/ 22371 w 38611"/>
                  <a:gd name="connsiteY0" fmla="*/ 0 h 22371"/>
                  <a:gd name="connsiteX1" fmla="*/ 38612 w 38611"/>
                  <a:gd name="connsiteY1" fmla="*/ 9680 h 22371"/>
                  <a:gd name="connsiteX2" fmla="*/ 16241 w 38611"/>
                  <a:gd name="connsiteY2" fmla="*/ 22371 h 22371"/>
                  <a:gd name="connsiteX3" fmla="*/ 0 w 38611"/>
                  <a:gd name="connsiteY3" fmla="*/ 12691 h 22371"/>
                  <a:gd name="connsiteX4" fmla="*/ 22371 w 38611"/>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1"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0B960E09-8305-45A1-9B2F-F63DD20A401E}"/>
                  </a:ext>
                </a:extLst>
              </p:cNvPr>
              <p:cNvSpPr/>
              <p:nvPr/>
            </p:nvSpPr>
            <p:spPr>
              <a:xfrm>
                <a:off x="11430348" y="7983703"/>
                <a:ext cx="35063" cy="20435"/>
              </a:xfrm>
              <a:custGeom>
                <a:avLst/>
                <a:gdLst>
                  <a:gd name="connsiteX0" fmla="*/ 18822 w 35063"/>
                  <a:gd name="connsiteY0" fmla="*/ 0 h 20435"/>
                  <a:gd name="connsiteX1" fmla="*/ 35063 w 35063"/>
                  <a:gd name="connsiteY1" fmla="*/ 9680 h 20435"/>
                  <a:gd name="connsiteX2" fmla="*/ 16241 w 35063"/>
                  <a:gd name="connsiteY2" fmla="*/ 20435 h 20435"/>
                  <a:gd name="connsiteX3" fmla="*/ 0 w 35063"/>
                  <a:gd name="connsiteY3" fmla="*/ 10756 h 20435"/>
                  <a:gd name="connsiteX4" fmla="*/ 18822 w 35063"/>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D02BDF1F-A9DE-4DC9-8814-A23C39CCB8E4}"/>
                  </a:ext>
                </a:extLst>
              </p:cNvPr>
              <p:cNvSpPr/>
              <p:nvPr/>
            </p:nvSpPr>
            <p:spPr>
              <a:xfrm>
                <a:off x="11296765" y="8059745"/>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4CACE7C8-1B4F-469B-8175-0BD192F368E6}"/>
                  </a:ext>
                </a:extLst>
              </p:cNvPr>
              <p:cNvSpPr/>
              <p:nvPr/>
            </p:nvSpPr>
            <p:spPr>
              <a:xfrm>
                <a:off x="11321933" y="8044794"/>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D0DBE928-3B7A-4BC9-B8DE-FB046F72AF80}"/>
                  </a:ext>
                </a:extLst>
              </p:cNvPr>
              <p:cNvSpPr/>
              <p:nvPr/>
            </p:nvSpPr>
            <p:spPr>
              <a:xfrm>
                <a:off x="11491439"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2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2" y="28287"/>
                    </a:lnTo>
                    <a:lnTo>
                      <a:pt x="0" y="18285"/>
                    </a:lnTo>
                    <a:close/>
                  </a:path>
                </a:pathLst>
              </a:custGeom>
              <a:solidFill>
                <a:srgbClr val="50E6FF"/>
              </a:solidFill>
              <a:ln w="766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B5F1D171-E9B8-4281-A95F-F75E5C49DBD2}"/>
                  </a:ext>
                </a:extLst>
              </p:cNvPr>
              <p:cNvSpPr/>
              <p:nvPr/>
            </p:nvSpPr>
            <p:spPr>
              <a:xfrm>
                <a:off x="1134817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576F8B6C-F852-4DCD-934F-5EDAB559B172}"/>
                  </a:ext>
                </a:extLst>
              </p:cNvPr>
              <p:cNvSpPr/>
              <p:nvPr/>
            </p:nvSpPr>
            <p:spPr>
              <a:xfrm>
                <a:off x="11414645"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B168F9E0-30FA-4340-A65E-CA71A4765681}"/>
                  </a:ext>
                </a:extLst>
              </p:cNvPr>
              <p:cNvSpPr/>
              <p:nvPr/>
            </p:nvSpPr>
            <p:spPr>
              <a:xfrm>
                <a:off x="11205773"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77F94892-2F98-4932-8ED3-7CEF2E730B18}"/>
                  </a:ext>
                </a:extLst>
              </p:cNvPr>
              <p:cNvSpPr/>
              <p:nvPr/>
            </p:nvSpPr>
            <p:spPr>
              <a:xfrm>
                <a:off x="11390338" y="7982627"/>
                <a:ext cx="33342" cy="19144"/>
              </a:xfrm>
              <a:custGeom>
                <a:avLst/>
                <a:gdLst>
                  <a:gd name="connsiteX0" fmla="*/ 15165 w 33342"/>
                  <a:gd name="connsiteY0" fmla="*/ 19145 h 19144"/>
                  <a:gd name="connsiteX1" fmla="*/ 0 w 33342"/>
                  <a:gd name="connsiteY1" fmla="*/ 10218 h 19144"/>
                  <a:gd name="connsiteX2" fmla="*/ 18069 w 33342"/>
                  <a:gd name="connsiteY2" fmla="*/ 0 h 19144"/>
                  <a:gd name="connsiteX3" fmla="*/ 33342 w 33342"/>
                  <a:gd name="connsiteY3" fmla="*/ 8927 h 19144"/>
                  <a:gd name="connsiteX4" fmla="*/ 15165 w 33342"/>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2"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F0E80CD0-8836-4807-ADB1-ACE721D62F71}"/>
                  </a:ext>
                </a:extLst>
              </p:cNvPr>
              <p:cNvSpPr/>
              <p:nvPr/>
            </p:nvSpPr>
            <p:spPr>
              <a:xfrm>
                <a:off x="11363771"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BB7AEC50-CFA6-46F6-AE8A-18F859320527}"/>
                  </a:ext>
                </a:extLst>
              </p:cNvPr>
              <p:cNvSpPr/>
              <p:nvPr/>
            </p:nvSpPr>
            <p:spPr>
              <a:xfrm>
                <a:off x="11463045" y="7941434"/>
                <a:ext cx="32697" cy="18929"/>
              </a:xfrm>
              <a:custGeom>
                <a:avLst/>
                <a:gdLst>
                  <a:gd name="connsiteX0" fmla="*/ 0 w 32697"/>
                  <a:gd name="connsiteY0" fmla="*/ 10003 h 18929"/>
                  <a:gd name="connsiteX1" fmla="*/ 17532 w 32697"/>
                  <a:gd name="connsiteY1" fmla="*/ 0 h 18929"/>
                  <a:gd name="connsiteX2" fmla="*/ 32697 w 32697"/>
                  <a:gd name="connsiteY2" fmla="*/ 8927 h 18929"/>
                  <a:gd name="connsiteX3" fmla="*/ 15273 w 32697"/>
                  <a:gd name="connsiteY3" fmla="*/ 18929 h 18929"/>
                  <a:gd name="connsiteX4" fmla="*/ 0 w 32697"/>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7" h="18929">
                    <a:moveTo>
                      <a:pt x="0" y="10003"/>
                    </a:moveTo>
                    <a:lnTo>
                      <a:pt x="17532"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628E3FB6-0B27-44D7-8E4F-68AE07012C79}"/>
                  </a:ext>
                </a:extLst>
              </p:cNvPr>
              <p:cNvSpPr/>
              <p:nvPr/>
            </p:nvSpPr>
            <p:spPr>
              <a:xfrm>
                <a:off x="11481221"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9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9" y="21188"/>
                    </a:lnTo>
                    <a:lnTo>
                      <a:pt x="0" y="11508"/>
                    </a:lnTo>
                    <a:close/>
                  </a:path>
                </a:pathLst>
              </a:custGeom>
              <a:solidFill>
                <a:srgbClr val="50E6FF"/>
              </a:solidFill>
              <a:ln w="766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B22832F9-F3B1-4BC7-81EC-C72D2ECA87EE}"/>
                  </a:ext>
                </a:extLst>
              </p:cNvPr>
              <p:cNvSpPr/>
              <p:nvPr/>
            </p:nvSpPr>
            <p:spPr>
              <a:xfrm>
                <a:off x="11437769"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219CC22-766B-4264-BAC9-6D819226664A}"/>
                  </a:ext>
                </a:extLst>
              </p:cNvPr>
              <p:cNvSpPr/>
              <p:nvPr/>
            </p:nvSpPr>
            <p:spPr>
              <a:xfrm>
                <a:off x="11234060"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C18F71DB-B3E1-424C-B8CF-085E1ED65F38}"/>
                  </a:ext>
                </a:extLst>
              </p:cNvPr>
              <p:cNvSpPr/>
              <p:nvPr/>
            </p:nvSpPr>
            <p:spPr>
              <a:xfrm>
                <a:off x="11336452"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95E6E1E9-8933-4296-AF3B-B17576F82A3C}"/>
                  </a:ext>
                </a:extLst>
              </p:cNvPr>
              <p:cNvSpPr/>
              <p:nvPr/>
            </p:nvSpPr>
            <p:spPr>
              <a:xfrm>
                <a:off x="11257615"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BEA03308-85A0-4970-A95D-F5A782E6DE78}"/>
                  </a:ext>
                </a:extLst>
              </p:cNvPr>
              <p:cNvSpPr/>
              <p:nvPr/>
            </p:nvSpPr>
            <p:spPr>
              <a:xfrm>
                <a:off x="1128321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F5AAE09-F39C-4B87-B2EA-C4A0F5EDCFB6}"/>
                  </a:ext>
                </a:extLst>
              </p:cNvPr>
              <p:cNvSpPr/>
              <p:nvPr/>
            </p:nvSpPr>
            <p:spPr>
              <a:xfrm>
                <a:off x="11309241"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783C3DAD-4C72-4396-98FE-49222ACD0F1F}"/>
                  </a:ext>
                </a:extLst>
              </p:cNvPr>
              <p:cNvSpPr/>
              <p:nvPr/>
            </p:nvSpPr>
            <p:spPr>
              <a:xfrm>
                <a:off x="11455409" y="7969075"/>
                <a:ext cx="35815" cy="20650"/>
              </a:xfrm>
              <a:custGeom>
                <a:avLst/>
                <a:gdLst>
                  <a:gd name="connsiteX0" fmla="*/ 19467 w 35815"/>
                  <a:gd name="connsiteY0" fmla="*/ 0 h 20650"/>
                  <a:gd name="connsiteX1" fmla="*/ 35815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5"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E10270EC-F6A4-480B-A3B1-2926779E94C8}"/>
                  </a:ext>
                </a:extLst>
              </p:cNvPr>
              <p:cNvSpPr/>
              <p:nvPr/>
            </p:nvSpPr>
            <p:spPr>
              <a:xfrm>
                <a:off x="11367428"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DD4477B5-4591-4E4D-99D6-5F1B052ADAD5}"/>
                  </a:ext>
                </a:extLst>
              </p:cNvPr>
              <p:cNvSpPr/>
              <p:nvPr/>
            </p:nvSpPr>
            <p:spPr>
              <a:xfrm>
                <a:off x="11394532"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98BCB74E-646F-4AFF-9EFB-777090958710}"/>
                  </a:ext>
                </a:extLst>
              </p:cNvPr>
              <p:cNvSpPr/>
              <p:nvPr/>
            </p:nvSpPr>
            <p:spPr>
              <a:xfrm>
                <a:off x="11537688" y="7994566"/>
                <a:ext cx="48722" cy="28071"/>
              </a:xfrm>
              <a:custGeom>
                <a:avLst/>
                <a:gdLst>
                  <a:gd name="connsiteX0" fmla="*/ 0 w 48722"/>
                  <a:gd name="connsiteY0" fmla="*/ 18284 h 28071"/>
                  <a:gd name="connsiteX1" fmla="*/ 32052 w 48722"/>
                  <a:gd name="connsiteY1" fmla="*/ 0 h 28071"/>
                  <a:gd name="connsiteX2" fmla="*/ 48723 w 48722"/>
                  <a:gd name="connsiteY2" fmla="*/ 9895 h 28071"/>
                  <a:gd name="connsiteX3" fmla="*/ 16672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3" y="9895"/>
                    </a:lnTo>
                    <a:lnTo>
                      <a:pt x="16672" y="28072"/>
                    </a:lnTo>
                    <a:lnTo>
                      <a:pt x="0" y="18284"/>
                    </a:lnTo>
                    <a:close/>
                  </a:path>
                </a:pathLst>
              </a:custGeom>
              <a:solidFill>
                <a:srgbClr val="50E6FF"/>
              </a:solidFill>
              <a:ln w="766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7C4D6EA6-DE49-4923-B35D-4106C511C209}"/>
                  </a:ext>
                </a:extLst>
              </p:cNvPr>
              <p:cNvSpPr/>
              <p:nvPr/>
            </p:nvSpPr>
            <p:spPr>
              <a:xfrm>
                <a:off x="11572321" y="8007795"/>
                <a:ext cx="38074" cy="22049"/>
              </a:xfrm>
              <a:custGeom>
                <a:avLst/>
                <a:gdLst>
                  <a:gd name="connsiteX0" fmla="*/ 19897 w 38074"/>
                  <a:gd name="connsiteY0" fmla="*/ 0 h 22049"/>
                  <a:gd name="connsiteX1" fmla="*/ 38074 w 38074"/>
                  <a:gd name="connsiteY1" fmla="*/ 10863 h 22049"/>
                  <a:gd name="connsiteX2" fmla="*/ 18177 w 38074"/>
                  <a:gd name="connsiteY2" fmla="*/ 22049 h 22049"/>
                  <a:gd name="connsiteX3" fmla="*/ 0 w 38074"/>
                  <a:gd name="connsiteY3" fmla="*/ 11293 h 22049"/>
                  <a:gd name="connsiteX4" fmla="*/ 19897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7" y="0"/>
                    </a:moveTo>
                    <a:lnTo>
                      <a:pt x="38074" y="10863"/>
                    </a:lnTo>
                    <a:lnTo>
                      <a:pt x="18177" y="22049"/>
                    </a:lnTo>
                    <a:lnTo>
                      <a:pt x="0" y="11293"/>
                    </a:lnTo>
                    <a:lnTo>
                      <a:pt x="19897" y="0"/>
                    </a:lnTo>
                    <a:close/>
                  </a:path>
                </a:pathLst>
              </a:custGeom>
              <a:solidFill>
                <a:srgbClr val="50E6FF"/>
              </a:solidFill>
              <a:ln w="766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1C38A925-0271-4FE0-9FE0-DBAD4E43A7CF}"/>
                  </a:ext>
                </a:extLst>
              </p:cNvPr>
              <p:cNvSpPr/>
              <p:nvPr/>
            </p:nvSpPr>
            <p:spPr>
              <a:xfrm>
                <a:off x="11547260" y="8022746"/>
                <a:ext cx="36998" cy="21403"/>
              </a:xfrm>
              <a:custGeom>
                <a:avLst/>
                <a:gdLst>
                  <a:gd name="connsiteX0" fmla="*/ 18714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4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4" y="0"/>
                    </a:moveTo>
                    <a:lnTo>
                      <a:pt x="36999" y="10863"/>
                    </a:lnTo>
                    <a:lnTo>
                      <a:pt x="18285" y="21403"/>
                    </a:lnTo>
                    <a:lnTo>
                      <a:pt x="0" y="10648"/>
                    </a:lnTo>
                    <a:lnTo>
                      <a:pt x="18714" y="0"/>
                    </a:lnTo>
                    <a:close/>
                  </a:path>
                </a:pathLst>
              </a:custGeom>
              <a:solidFill>
                <a:srgbClr val="50E6FF"/>
              </a:solidFill>
              <a:ln w="766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F775411F-E99A-4AA9-97CA-668C7025505E}"/>
                  </a:ext>
                </a:extLst>
              </p:cNvPr>
              <p:cNvSpPr/>
              <p:nvPr/>
            </p:nvSpPr>
            <p:spPr>
              <a:xfrm>
                <a:off x="11472617" y="8065445"/>
                <a:ext cx="36569" cy="21403"/>
              </a:xfrm>
              <a:custGeom>
                <a:avLst/>
                <a:gdLst>
                  <a:gd name="connsiteX0" fmla="*/ 18392 w 36569"/>
                  <a:gd name="connsiteY0" fmla="*/ 0 h 21403"/>
                  <a:gd name="connsiteX1" fmla="*/ 36569 w 36569"/>
                  <a:gd name="connsiteY1" fmla="*/ 10863 h 21403"/>
                  <a:gd name="connsiteX2" fmla="*/ 18177 w 36569"/>
                  <a:gd name="connsiteY2" fmla="*/ 21403 h 21403"/>
                  <a:gd name="connsiteX3" fmla="*/ 0 w 36569"/>
                  <a:gd name="connsiteY3" fmla="*/ 10540 h 21403"/>
                  <a:gd name="connsiteX4" fmla="*/ 18392 w 36569"/>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9"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29FF8685-E56B-4104-9784-6699C96A092B}"/>
                  </a:ext>
                </a:extLst>
              </p:cNvPr>
              <p:cNvSpPr/>
              <p:nvPr/>
            </p:nvSpPr>
            <p:spPr>
              <a:xfrm>
                <a:off x="11497355"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12BCEDFE-13FB-489A-B547-F55AB7291CBC}"/>
                  </a:ext>
                </a:extLst>
              </p:cNvPr>
              <p:cNvSpPr/>
              <p:nvPr/>
            </p:nvSpPr>
            <p:spPr>
              <a:xfrm>
                <a:off x="11522845" y="8037050"/>
                <a:ext cx="36461" cy="21080"/>
              </a:xfrm>
              <a:custGeom>
                <a:avLst/>
                <a:gdLst>
                  <a:gd name="connsiteX0" fmla="*/ 18285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5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5" y="0"/>
                    </a:moveTo>
                    <a:lnTo>
                      <a:pt x="36461" y="10756"/>
                    </a:lnTo>
                    <a:lnTo>
                      <a:pt x="18177" y="21081"/>
                    </a:lnTo>
                    <a:lnTo>
                      <a:pt x="0" y="10325"/>
                    </a:lnTo>
                    <a:lnTo>
                      <a:pt x="18285" y="0"/>
                    </a:lnTo>
                    <a:close/>
                  </a:path>
                </a:pathLst>
              </a:custGeom>
              <a:solidFill>
                <a:srgbClr val="50E6FF"/>
              </a:solidFill>
              <a:ln w="766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88C71542-EDDB-4361-9A60-1B7B7BFE6745}"/>
                  </a:ext>
                </a:extLst>
              </p:cNvPr>
              <p:cNvSpPr/>
              <p:nvPr/>
            </p:nvSpPr>
            <p:spPr>
              <a:xfrm>
                <a:off x="11164687" y="8133312"/>
                <a:ext cx="37967" cy="22048"/>
              </a:xfrm>
              <a:custGeom>
                <a:avLst/>
                <a:gdLst>
                  <a:gd name="connsiteX0" fmla="*/ 21726 w 37967"/>
                  <a:gd name="connsiteY0" fmla="*/ 0 h 22048"/>
                  <a:gd name="connsiteX1" fmla="*/ 37967 w 37967"/>
                  <a:gd name="connsiteY1" fmla="*/ 9680 h 22048"/>
                  <a:gd name="connsiteX2" fmla="*/ 16241 w 37967"/>
                  <a:gd name="connsiteY2" fmla="*/ 22049 h 22048"/>
                  <a:gd name="connsiteX3" fmla="*/ 0 w 37967"/>
                  <a:gd name="connsiteY3" fmla="*/ 12369 h 22048"/>
                  <a:gd name="connsiteX4" fmla="*/ 21726 w 37967"/>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7"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2C78CFD-9F42-4D78-BCA7-3A55AD507B11}"/>
                  </a:ext>
                </a:extLst>
              </p:cNvPr>
              <p:cNvSpPr/>
              <p:nvPr/>
            </p:nvSpPr>
            <p:spPr>
              <a:xfrm>
                <a:off x="11445298"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24EE5AD2-1017-46FA-978A-7712DFE083A2}"/>
                  </a:ext>
                </a:extLst>
              </p:cNvPr>
              <p:cNvSpPr/>
              <p:nvPr/>
            </p:nvSpPr>
            <p:spPr>
              <a:xfrm>
                <a:off x="11419808"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01684880-85BF-45D6-ACDC-93B209C6D98F}"/>
                  </a:ext>
                </a:extLst>
              </p:cNvPr>
              <p:cNvSpPr/>
              <p:nvPr/>
            </p:nvSpPr>
            <p:spPr>
              <a:xfrm>
                <a:off x="1118684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446C132C-2F73-4628-ADBD-FF5D1C4E3712}"/>
                  </a:ext>
                </a:extLst>
              </p:cNvPr>
              <p:cNvSpPr/>
              <p:nvPr/>
            </p:nvSpPr>
            <p:spPr>
              <a:xfrm>
                <a:off x="11233092"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5CD0C58D-25C8-4EAF-9E54-D0547A9312FF}"/>
                  </a:ext>
                </a:extLst>
              </p:cNvPr>
              <p:cNvSpPr/>
              <p:nvPr/>
            </p:nvSpPr>
            <p:spPr>
              <a:xfrm>
                <a:off x="11292678"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BE1F334B-100A-4533-9392-A1DEA0440D98}"/>
                  </a:ext>
                </a:extLst>
              </p:cNvPr>
              <p:cNvSpPr/>
              <p:nvPr/>
            </p:nvSpPr>
            <p:spPr>
              <a:xfrm>
                <a:off x="11255463" y="8181927"/>
                <a:ext cx="49045" cy="28287"/>
              </a:xfrm>
              <a:custGeom>
                <a:avLst/>
                <a:gdLst>
                  <a:gd name="connsiteX0" fmla="*/ 49045 w 49045"/>
                  <a:gd name="connsiteY0" fmla="*/ 10756 h 28287"/>
                  <a:gd name="connsiteX1" fmla="*/ 18070 w 49045"/>
                  <a:gd name="connsiteY1" fmla="*/ 28287 h 28287"/>
                  <a:gd name="connsiteX2" fmla="*/ 0 w 49045"/>
                  <a:gd name="connsiteY2" fmla="*/ 17532 h 28287"/>
                  <a:gd name="connsiteX3" fmla="*/ 30869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70" y="28287"/>
                    </a:lnTo>
                    <a:lnTo>
                      <a:pt x="0" y="17532"/>
                    </a:lnTo>
                    <a:lnTo>
                      <a:pt x="30869" y="0"/>
                    </a:lnTo>
                    <a:lnTo>
                      <a:pt x="49045" y="10756"/>
                    </a:lnTo>
                    <a:close/>
                  </a:path>
                </a:pathLst>
              </a:custGeom>
              <a:solidFill>
                <a:srgbClr val="50E6FF"/>
              </a:solidFill>
              <a:ln w="766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164B5F9-C8A2-4B9E-8BC6-88CB547AFE8C}"/>
                  </a:ext>
                </a:extLst>
              </p:cNvPr>
              <p:cNvSpPr/>
              <p:nvPr/>
            </p:nvSpPr>
            <p:spPr>
              <a:xfrm>
                <a:off x="1148240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F7C6F80D-DBAE-483C-B4C1-5D4885CE9147}"/>
                  </a:ext>
                </a:extLst>
              </p:cNvPr>
              <p:cNvSpPr/>
              <p:nvPr/>
            </p:nvSpPr>
            <p:spPr>
              <a:xfrm>
                <a:off x="11342153" y="8139335"/>
                <a:ext cx="37106" cy="21618"/>
              </a:xfrm>
              <a:custGeom>
                <a:avLst/>
                <a:gdLst>
                  <a:gd name="connsiteX0" fmla="*/ 18930 w 37106"/>
                  <a:gd name="connsiteY0" fmla="*/ 0 h 21618"/>
                  <a:gd name="connsiteX1" fmla="*/ 37107 w 37106"/>
                  <a:gd name="connsiteY1" fmla="*/ 10863 h 21618"/>
                  <a:gd name="connsiteX2" fmla="*/ 18070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7" y="10863"/>
                    </a:lnTo>
                    <a:lnTo>
                      <a:pt x="18070"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A3C88972-970B-4BDB-9C87-63FFEECB8617}"/>
                  </a:ext>
                </a:extLst>
              </p:cNvPr>
              <p:cNvSpPr/>
              <p:nvPr/>
            </p:nvSpPr>
            <p:spPr>
              <a:xfrm>
                <a:off x="11316662"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7254D6F3-5125-4830-B1E5-6DAE26B9F47D}"/>
                  </a:ext>
                </a:extLst>
              </p:cNvPr>
              <p:cNvSpPr/>
              <p:nvPr/>
            </p:nvSpPr>
            <p:spPr>
              <a:xfrm>
                <a:off x="11510154" y="8016400"/>
                <a:ext cx="37859" cy="21941"/>
              </a:xfrm>
              <a:custGeom>
                <a:avLst/>
                <a:gdLst>
                  <a:gd name="connsiteX0" fmla="*/ 16564 w 37859"/>
                  <a:gd name="connsiteY0" fmla="*/ 21941 h 21941"/>
                  <a:gd name="connsiteX1" fmla="*/ 0 w 37859"/>
                  <a:gd name="connsiteY1" fmla="*/ 12046 h 21941"/>
                  <a:gd name="connsiteX2" fmla="*/ 21189 w 37859"/>
                  <a:gd name="connsiteY2" fmla="*/ 0 h 21941"/>
                  <a:gd name="connsiteX3" fmla="*/ 37860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9" y="0"/>
                    </a:lnTo>
                    <a:lnTo>
                      <a:pt x="37860"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9516B38B-5365-489E-AA8E-2EB5B1918136}"/>
                  </a:ext>
                </a:extLst>
              </p:cNvPr>
              <p:cNvSpPr/>
              <p:nvPr/>
            </p:nvSpPr>
            <p:spPr>
              <a:xfrm>
                <a:off x="11209430"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599D0C8A-C127-4369-A4B4-D512D5B738A0}"/>
                  </a:ext>
                </a:extLst>
              </p:cNvPr>
              <p:cNvSpPr/>
              <p:nvPr/>
            </p:nvSpPr>
            <p:spPr>
              <a:xfrm>
                <a:off x="11414860" y="8092871"/>
                <a:ext cx="187146" cy="108200"/>
              </a:xfrm>
              <a:custGeom>
                <a:avLst/>
                <a:gdLst>
                  <a:gd name="connsiteX0" fmla="*/ 0 w 187146"/>
                  <a:gd name="connsiteY0" fmla="*/ 66254 h 108200"/>
                  <a:gd name="connsiteX1" fmla="*/ 116052 w 187146"/>
                  <a:gd name="connsiteY1" fmla="*/ 0 h 108200"/>
                  <a:gd name="connsiteX2" fmla="*/ 187146 w 187146"/>
                  <a:gd name="connsiteY2" fmla="*/ 41731 h 108200"/>
                  <a:gd name="connsiteX3" fmla="*/ 70771 w 187146"/>
                  <a:gd name="connsiteY3" fmla="*/ 108200 h 108200"/>
                  <a:gd name="connsiteX4" fmla="*/ 0 w 187146"/>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6"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42" name="TextBox 241">
              <a:extLst>
                <a:ext uri="{FF2B5EF4-FFF2-40B4-BE49-F238E27FC236}">
                  <a16:creationId xmlns:a16="http://schemas.microsoft.com/office/drawing/2014/main" id="{FD90038C-41C6-4C4C-B64B-9C29ED6AD04B}"/>
                </a:ext>
              </a:extLst>
            </p:cNvPr>
            <p:cNvSpPr txBox="1"/>
            <p:nvPr/>
          </p:nvSpPr>
          <p:spPr>
            <a:xfrm>
              <a:off x="9197274" y="4849631"/>
              <a:ext cx="2378291"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Dedicated</a:t>
              </a:r>
              <a:endParaRPr lang="en-US"/>
            </a:p>
          </p:txBody>
        </p:sp>
      </p:grpSp>
    </p:spTree>
    <p:extLst>
      <p:ext uri="{BB962C8B-B14F-4D97-AF65-F5344CB8AC3E}">
        <p14:creationId xmlns:p14="http://schemas.microsoft.com/office/powerpoint/2010/main" val="335656153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B5B5E1A-3362-4728-96B5-6A696BA1C305}"/>
              </a:ext>
            </a:extLst>
          </p:cNvPr>
          <p:cNvPicPr>
            <a:picLocks noChangeAspect="1"/>
          </p:cNvPicPr>
          <p:nvPr/>
        </p:nvPicPr>
        <p:blipFill>
          <a:blip r:embed="rId3"/>
          <a:stretch>
            <a:fillRect/>
          </a:stretch>
        </p:blipFill>
        <p:spPr>
          <a:xfrm>
            <a:off x="6493273" y="1718932"/>
            <a:ext cx="4860685" cy="3965755"/>
          </a:xfrm>
          <a:prstGeom prst="rect">
            <a:avLst/>
          </a:prstGeom>
        </p:spPr>
      </p:pic>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5247356" cy="184665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Massively</a:t>
            </a:r>
            <a:r>
              <a:rPr kumimoji="0" lang="en-US" sz="2000" b="0" i="0" u="none" strike="noStrike" kern="1200" cap="none" spc="0" normalizeH="0" noProof="0" dirty="0">
                <a:ln>
                  <a:noFill/>
                </a:ln>
                <a:solidFill>
                  <a:srgbClr val="50E6FF">
                    <a:lumMod val="75000"/>
                  </a:srgbClr>
                </a:solidFill>
                <a:effectLst/>
                <a:uLnTx/>
                <a:uFillTx/>
                <a:latin typeface="Segoe UI Semibold"/>
                <a:ea typeface="+mn-ea"/>
                <a:cs typeface="Segoe UI" panose="020B0502040204020203" pitchFamily="34" charset="0"/>
              </a:rPr>
              <a:t> Parallel Processing (MPP)</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lang="en-US" dirty="0">
                <a:solidFill>
                  <a:srgbClr val="50E6FF">
                    <a:lumMod val="75000"/>
                  </a:srgbClr>
                </a:solidFill>
                <a:latin typeface="Segoe UI Semibold"/>
              </a:rPr>
              <a:t>Compute Data Warehouse Units (</a:t>
            </a:r>
            <a:r>
              <a:rPr lang="en-US" dirty="0" err="1">
                <a:solidFill>
                  <a:srgbClr val="50E6FF">
                    <a:lumMod val="75000"/>
                  </a:srgbClr>
                </a:solidFill>
                <a:latin typeface="Segoe UI Semibold"/>
              </a:rPr>
              <a:t>cDWU’s</a:t>
            </a:r>
            <a:r>
              <a:rPr lang="en-US" dirty="0">
                <a:solidFill>
                  <a:srgbClr val="50E6FF">
                    <a:lumMod val="75000"/>
                  </a:srgbClr>
                </a:solidFill>
                <a:latin typeface="Segoe UI Semibold"/>
              </a:rPr>
              <a:t>)</a:t>
            </a:r>
            <a:endPar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Control Node</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Compute Nodes</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Distributions</a:t>
            </a:r>
          </a:p>
        </p:txBody>
      </p:sp>
      <p:grpSp>
        <p:nvGrpSpPr>
          <p:cNvPr id="2" name="Group 1">
            <a:extLst>
              <a:ext uri="{FF2B5EF4-FFF2-40B4-BE49-F238E27FC236}">
                <a16:creationId xmlns:a16="http://schemas.microsoft.com/office/drawing/2014/main" id="{0092F378-8A1F-49E0-B761-078D760A7632}"/>
              </a:ext>
            </a:extLst>
          </p:cNvPr>
          <p:cNvGrpSpPr/>
          <p:nvPr/>
        </p:nvGrpSpPr>
        <p:grpSpPr>
          <a:xfrm>
            <a:off x="0" y="986388"/>
            <a:ext cx="4751388" cy="1283389"/>
            <a:chOff x="0" y="986388"/>
            <a:chExt cx="4751388" cy="1283389"/>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Let’s get the concepts clear</a:t>
              </a:r>
            </a:p>
          </p:txBody>
        </p:sp>
        <p:cxnSp>
          <p:nvCxnSpPr>
            <p:cNvPr id="7" name="Straight Connector 6">
              <a:extLst>
                <a:ext uri="{FF2B5EF4-FFF2-40B4-BE49-F238E27FC236}">
                  <a16:creationId xmlns:a16="http://schemas.microsoft.com/office/drawing/2014/main" id="{CDB71B2A-A6EB-4FE6-BF47-00636E8EA5CF}"/>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4"/>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5"/>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spTree>
    <p:extLst>
      <p:ext uri="{BB962C8B-B14F-4D97-AF65-F5344CB8AC3E}">
        <p14:creationId xmlns:p14="http://schemas.microsoft.com/office/powerpoint/2010/main" val="390629469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6667203" cy="169277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lang="en-US" dirty="0">
                <a:solidFill>
                  <a:schemeClr val="tx1"/>
                </a:solidFill>
                <a:latin typeface="Segoe UI (Body)"/>
              </a:rPr>
              <a:t>“Divide and Conquer” Concept</a:t>
            </a:r>
            <a:endParaRPr kumimoji="0" lang="en-US" b="0" i="0" u="none" strike="noStrike" kern="1200" cap="none" spc="0" normalizeH="0" baseline="0" noProof="0" dirty="0">
              <a:ln>
                <a:noFill/>
              </a:ln>
              <a:solidFill>
                <a:schemeClr val="tx1"/>
              </a:solidFill>
              <a:effectLst/>
              <a:uLnTx/>
              <a:uFillTx/>
              <a:latin typeface="Segoe UI (Body)"/>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b="0" i="0" u="none" strike="noStrike" kern="1200" cap="none" spc="0" normalizeH="0" baseline="0" noProof="0" dirty="0">
                <a:ln>
                  <a:noFill/>
                </a:ln>
                <a:solidFill>
                  <a:schemeClr val="tx1"/>
                </a:solidFill>
                <a:effectLst/>
                <a:uLnTx/>
                <a:uFillTx/>
                <a:latin typeface="Segoe UI (Body)"/>
              </a:rPr>
              <a:t>Uses many separate</a:t>
            </a:r>
            <a:r>
              <a:rPr kumimoji="0" lang="en-US" b="0" i="0" u="none" strike="noStrike" kern="1200" cap="none" spc="0" normalizeH="0" noProof="0" dirty="0">
                <a:ln>
                  <a:noFill/>
                </a:ln>
                <a:solidFill>
                  <a:schemeClr val="tx1"/>
                </a:solidFill>
                <a:effectLst/>
                <a:uLnTx/>
                <a:uFillTx/>
                <a:latin typeface="Segoe UI (Body)"/>
              </a:rPr>
              <a:t> CPUs running in parallel to execute a single program</a:t>
            </a:r>
            <a:endParaRPr kumimoji="0" lang="en-US" b="0" i="0" u="none" strike="noStrike" kern="1200" cap="none" spc="0" normalizeH="0" baseline="0" noProof="0" dirty="0">
              <a:ln>
                <a:noFill/>
              </a:ln>
              <a:solidFill>
                <a:schemeClr val="tx1"/>
              </a:solidFill>
              <a:effectLst/>
              <a:uLnTx/>
              <a:uFillTx/>
              <a:latin typeface="Segoe UI (Body)"/>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b="0" i="0" u="none" strike="noStrike" kern="1200" cap="none" spc="0" normalizeH="0" baseline="0" noProof="0" dirty="0">
                <a:ln>
                  <a:noFill/>
                </a:ln>
                <a:solidFill>
                  <a:schemeClr val="tx1"/>
                </a:solidFill>
                <a:effectLst/>
                <a:uLnTx/>
                <a:uFillTx/>
                <a:latin typeface="Segoe UI (Body)"/>
              </a:rPr>
              <a:t>Shared Nothing:</a:t>
            </a:r>
            <a:r>
              <a:rPr kumimoji="0" lang="en-US" b="0" i="0" u="none" strike="noStrike" kern="1200" cap="none" spc="0" normalizeH="0" noProof="0" dirty="0">
                <a:ln>
                  <a:noFill/>
                </a:ln>
                <a:solidFill>
                  <a:schemeClr val="tx1"/>
                </a:solidFill>
                <a:effectLst/>
                <a:uLnTx/>
                <a:uFillTx/>
                <a:latin typeface="Segoe UI (Body)"/>
              </a:rPr>
              <a:t> Each CPU has its own memory and disk (scale-out)</a:t>
            </a:r>
            <a:endParaRPr kumimoji="0" lang="en-US"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986388"/>
            <a:ext cx="6428370" cy="1269604"/>
            <a:chOff x="390573" y="986388"/>
            <a:chExt cx="6428370" cy="1269604"/>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6230680"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Massively Parallel Process</a:t>
              </a:r>
              <a:r>
                <a:rPr lang="en-US" dirty="0" err="1">
                  <a:gradFill>
                    <a:gsLst>
                      <a:gs pos="1250">
                        <a:srgbClr val="FFFFFF"/>
                      </a:gs>
                      <a:gs pos="100000">
                        <a:srgbClr val="FFFFFF"/>
                      </a:gs>
                    </a:gsLst>
                    <a:lin ang="5400000" scaled="0"/>
                  </a:gradFill>
                  <a:latin typeface="Segoe UI Semibold"/>
                </a:rPr>
                <a:t>ing</a:t>
              </a:r>
              <a:r>
                <a:rPr lang="en-US" dirty="0">
                  <a:gradFill>
                    <a:gsLst>
                      <a:gs pos="1250">
                        <a:srgbClr val="FFFFFF"/>
                      </a:gs>
                      <a:gs pos="100000">
                        <a:srgbClr val="FFFFFF"/>
                      </a:gs>
                    </a:gsLst>
                    <a:lin ang="5400000" scaled="0"/>
                  </a:gradFill>
                  <a:latin typeface="Segoe UI Semibold"/>
                </a:rPr>
                <a:t> (MPP)</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20" name="Picture 19">
            <a:extLst>
              <a:ext uri="{FF2B5EF4-FFF2-40B4-BE49-F238E27FC236}">
                <a16:creationId xmlns:a16="http://schemas.microsoft.com/office/drawing/2014/main" id="{04AFA079-3ED2-4B62-A583-B90C40BC1540}"/>
              </a:ext>
            </a:extLst>
          </p:cNvPr>
          <p:cNvPicPr>
            <a:picLocks noChangeAspect="1"/>
          </p:cNvPicPr>
          <p:nvPr/>
        </p:nvPicPr>
        <p:blipFill>
          <a:blip r:embed="rId5"/>
          <a:stretch>
            <a:fillRect/>
          </a:stretch>
        </p:blipFill>
        <p:spPr>
          <a:xfrm>
            <a:off x="7774913" y="4140072"/>
            <a:ext cx="4285676" cy="2317015"/>
          </a:xfrm>
          <a:prstGeom prst="rect">
            <a:avLst/>
          </a:prstGeom>
          <a:ln>
            <a:noFill/>
          </a:ln>
          <a:effectLst>
            <a:softEdge rad="112500"/>
          </a:effectLst>
        </p:spPr>
      </p:pic>
    </p:spTree>
    <p:extLst>
      <p:ext uri="{BB962C8B-B14F-4D97-AF65-F5344CB8AC3E}">
        <p14:creationId xmlns:p14="http://schemas.microsoft.com/office/powerpoint/2010/main" val="8434312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195438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200" dirty="0">
                <a:solidFill>
                  <a:schemeClr val="tx1"/>
                </a:solidFill>
                <a:latin typeface="Segoe UI (Body)"/>
              </a:rPr>
              <a:t>cDWU is a combination of CPU, Memory and IO</a:t>
            </a:r>
          </a:p>
          <a:p>
            <a:pPr marL="342900" lvl="1" indent="-342900" defTabSz="114300">
              <a:buFont typeface="Wingdings" panose="05000000000000000000" pitchFamily="2" charset="2"/>
              <a:buChar char="§"/>
              <a:defRPr/>
            </a:pPr>
            <a:r>
              <a:rPr lang="en-US" sz="2200" dirty="0">
                <a:solidFill>
                  <a:schemeClr val="tx1"/>
                </a:solidFill>
                <a:latin typeface="Segoe UI (Body)"/>
              </a:rPr>
              <a:t>More cDWU you have, more the compute power</a:t>
            </a:r>
          </a:p>
          <a:p>
            <a:pPr marL="342900" lvl="1" indent="-342900" defTabSz="114300">
              <a:buFont typeface="Wingdings" panose="05000000000000000000" pitchFamily="2" charset="2"/>
              <a:buChar char="§"/>
              <a:defRPr/>
            </a:pPr>
            <a:r>
              <a:rPr lang="en-US" sz="2200" dirty="0">
                <a:solidFill>
                  <a:schemeClr val="tx1"/>
                </a:solidFill>
                <a:latin typeface="Segoe UI (Body)"/>
              </a:rPr>
              <a:t>cDWU ranges from DW100c to DW30,000c </a:t>
            </a:r>
          </a:p>
          <a:p>
            <a:pPr lvl="2" indent="0" defTabSz="114300">
              <a:buNone/>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986388"/>
            <a:ext cx="6428370" cy="1269604"/>
            <a:chOff x="390573" y="986388"/>
            <a:chExt cx="6428370" cy="1269604"/>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6230680"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gradFill>
                    <a:gsLst>
                      <a:gs pos="1250">
                        <a:srgbClr val="FFFFFF"/>
                      </a:gs>
                      <a:gs pos="100000">
                        <a:srgbClr val="FFFFFF"/>
                      </a:gs>
                    </a:gsLst>
                    <a:lin ang="5400000" scaled="0"/>
                  </a:gradFill>
                  <a:latin typeface="Segoe UI Semibold"/>
                </a:rPr>
                <a:t>Compute Data Warehouse Units (cDWUs)</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grpSp>
        <p:nvGrpSpPr>
          <p:cNvPr id="28" name="Group 27">
            <a:extLst>
              <a:ext uri="{FF2B5EF4-FFF2-40B4-BE49-F238E27FC236}">
                <a16:creationId xmlns:a16="http://schemas.microsoft.com/office/drawing/2014/main" id="{AF6DD5A5-FD6A-4D05-86D4-2A349E89C940}"/>
              </a:ext>
            </a:extLst>
          </p:cNvPr>
          <p:cNvGrpSpPr/>
          <p:nvPr/>
        </p:nvGrpSpPr>
        <p:grpSpPr>
          <a:xfrm>
            <a:off x="8642306" y="3271905"/>
            <a:ext cx="1168617" cy="2240905"/>
            <a:chOff x="7512186" y="1651897"/>
            <a:chExt cx="1970521" cy="3161401"/>
          </a:xfrm>
        </p:grpSpPr>
        <p:sp>
          <p:nvSpPr>
            <p:cNvPr id="29" name="Rectangle 28">
              <a:extLst>
                <a:ext uri="{FF2B5EF4-FFF2-40B4-BE49-F238E27FC236}">
                  <a16:creationId xmlns:a16="http://schemas.microsoft.com/office/drawing/2014/main" id="{2B68B98A-523E-4246-A0AA-90F5DB676196}"/>
                </a:ext>
              </a:extLst>
            </p:cNvPr>
            <p:cNvSpPr/>
            <p:nvPr/>
          </p:nvSpPr>
          <p:spPr bwMode="auto">
            <a:xfrm>
              <a:off x="751218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grpSp>
          <p:nvGrpSpPr>
            <p:cNvPr id="30" name="Group 315">
              <a:extLst>
                <a:ext uri="{FF2B5EF4-FFF2-40B4-BE49-F238E27FC236}">
                  <a16:creationId xmlns:a16="http://schemas.microsoft.com/office/drawing/2014/main" id="{E776F296-5919-4BAE-9CAB-A2DBF668499A}"/>
                </a:ext>
              </a:extLst>
            </p:cNvPr>
            <p:cNvGrpSpPr>
              <a:grpSpLocks noChangeAspect="1"/>
            </p:cNvGrpSpPr>
            <p:nvPr/>
          </p:nvGrpSpPr>
          <p:grpSpPr bwMode="auto">
            <a:xfrm>
              <a:off x="8243779" y="2648110"/>
              <a:ext cx="495300" cy="495300"/>
              <a:chOff x="1614" y="2777"/>
              <a:chExt cx="312" cy="312"/>
            </a:xfrm>
          </p:grpSpPr>
          <p:sp>
            <p:nvSpPr>
              <p:cNvPr id="32" name="Line 316">
                <a:extLst>
                  <a:ext uri="{FF2B5EF4-FFF2-40B4-BE49-F238E27FC236}">
                    <a16:creationId xmlns:a16="http://schemas.microsoft.com/office/drawing/2014/main" id="{A5AF1CFC-C351-4F1B-8C40-7FF0A601EBF5}"/>
                  </a:ext>
                </a:extLst>
              </p:cNvPr>
              <p:cNvSpPr>
                <a:spLocks noChangeShapeType="1"/>
              </p:cNvSpPr>
              <p:nvPr/>
            </p:nvSpPr>
            <p:spPr bwMode="auto">
              <a:xfrm flipH="1" flipV="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 name="Line 317">
                <a:extLst>
                  <a:ext uri="{FF2B5EF4-FFF2-40B4-BE49-F238E27FC236}">
                    <a16:creationId xmlns:a16="http://schemas.microsoft.com/office/drawing/2014/main" id="{1448937C-AFD8-444D-BBFF-CAA65AB6F537}"/>
                  </a:ext>
                </a:extLst>
              </p:cNvPr>
              <p:cNvSpPr>
                <a:spLocks noChangeShapeType="1"/>
              </p:cNvSpPr>
              <p:nvPr/>
            </p:nvSpPr>
            <p:spPr bwMode="auto">
              <a:xfrm flipV="1">
                <a:off x="1771" y="2792"/>
                <a:ext cx="0" cy="282"/>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 name="Line 318">
                <a:extLst>
                  <a:ext uri="{FF2B5EF4-FFF2-40B4-BE49-F238E27FC236}">
                    <a16:creationId xmlns:a16="http://schemas.microsoft.com/office/drawing/2014/main" id="{F50E5217-1242-40C6-A52C-5C91B3375BB9}"/>
                  </a:ext>
                </a:extLst>
              </p:cNvPr>
              <p:cNvSpPr>
                <a:spLocks noChangeShapeType="1"/>
              </p:cNvSpPr>
              <p:nvPr/>
            </p:nvSpPr>
            <p:spPr bwMode="auto">
              <a:xfrm flipH="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 name="Oval 319">
                <a:extLst>
                  <a:ext uri="{FF2B5EF4-FFF2-40B4-BE49-F238E27FC236}">
                    <a16:creationId xmlns:a16="http://schemas.microsoft.com/office/drawing/2014/main" id="{63AD0500-F875-45B8-9559-22C3122683C6}"/>
                  </a:ext>
                </a:extLst>
              </p:cNvPr>
              <p:cNvSpPr>
                <a:spLocks noChangeArrowheads="1"/>
              </p:cNvSpPr>
              <p:nvPr/>
            </p:nvSpPr>
            <p:spPr bwMode="auto">
              <a:xfrm>
                <a:off x="1858" y="3021"/>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 name="Oval 320">
                <a:extLst>
                  <a:ext uri="{FF2B5EF4-FFF2-40B4-BE49-F238E27FC236}">
                    <a16:creationId xmlns:a16="http://schemas.microsoft.com/office/drawing/2014/main" id="{3DEDA6B4-33BF-4B01-AC53-C8178FA4127B}"/>
                  </a:ext>
                </a:extLst>
              </p:cNvPr>
              <p:cNvSpPr>
                <a:spLocks noChangeArrowheads="1"/>
              </p:cNvSpPr>
              <p:nvPr/>
            </p:nvSpPr>
            <p:spPr bwMode="auto">
              <a:xfrm>
                <a:off x="1653" y="302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 name="Oval 321">
                <a:extLst>
                  <a:ext uri="{FF2B5EF4-FFF2-40B4-BE49-F238E27FC236}">
                    <a16:creationId xmlns:a16="http://schemas.microsoft.com/office/drawing/2014/main" id="{03153B35-A9AA-496E-8783-D6555A5D77C7}"/>
                  </a:ext>
                </a:extLst>
              </p:cNvPr>
              <p:cNvSpPr>
                <a:spLocks noChangeArrowheads="1"/>
              </p:cNvSpPr>
              <p:nvPr/>
            </p:nvSpPr>
            <p:spPr bwMode="auto">
              <a:xfrm>
                <a:off x="1653" y="2816"/>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 name="Oval 322">
                <a:extLst>
                  <a:ext uri="{FF2B5EF4-FFF2-40B4-BE49-F238E27FC236}">
                    <a16:creationId xmlns:a16="http://schemas.microsoft.com/office/drawing/2014/main" id="{BCDA706F-C8B6-4CDB-BF06-6DB63EC04DED}"/>
                  </a:ext>
                </a:extLst>
              </p:cNvPr>
              <p:cNvSpPr>
                <a:spLocks noChangeArrowheads="1"/>
              </p:cNvSpPr>
              <p:nvPr/>
            </p:nvSpPr>
            <p:spPr bwMode="auto">
              <a:xfrm>
                <a:off x="1858" y="2816"/>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9" name="Line 323">
                <a:extLst>
                  <a:ext uri="{FF2B5EF4-FFF2-40B4-BE49-F238E27FC236}">
                    <a16:creationId xmlns:a16="http://schemas.microsoft.com/office/drawing/2014/main" id="{B16DB4C4-4CF5-4204-B178-FDBD18626EBE}"/>
                  </a:ext>
                </a:extLst>
              </p:cNvPr>
              <p:cNvSpPr>
                <a:spLocks noChangeShapeType="1"/>
              </p:cNvSpPr>
              <p:nvPr/>
            </p:nvSpPr>
            <p:spPr bwMode="auto">
              <a:xfrm>
                <a:off x="1629" y="2933"/>
                <a:ext cx="282" cy="0"/>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0" name="Oval 324">
                <a:extLst>
                  <a:ext uri="{FF2B5EF4-FFF2-40B4-BE49-F238E27FC236}">
                    <a16:creationId xmlns:a16="http://schemas.microsoft.com/office/drawing/2014/main" id="{92703363-E95D-4BF3-9275-7A8DDE8D5EA3}"/>
                  </a:ext>
                </a:extLst>
              </p:cNvPr>
              <p:cNvSpPr>
                <a:spLocks noChangeArrowheads="1"/>
              </p:cNvSpPr>
              <p:nvPr/>
            </p:nvSpPr>
            <p:spPr bwMode="auto">
              <a:xfrm>
                <a:off x="1897" y="2919"/>
                <a:ext cx="29"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1" name="Oval 325">
                <a:extLst>
                  <a:ext uri="{FF2B5EF4-FFF2-40B4-BE49-F238E27FC236}">
                    <a16:creationId xmlns:a16="http://schemas.microsoft.com/office/drawing/2014/main" id="{1FFD32D7-33C2-4071-A960-90302F188EB3}"/>
                  </a:ext>
                </a:extLst>
              </p:cNvPr>
              <p:cNvSpPr>
                <a:spLocks noChangeArrowheads="1"/>
              </p:cNvSpPr>
              <p:nvPr/>
            </p:nvSpPr>
            <p:spPr bwMode="auto">
              <a:xfrm>
                <a:off x="1614" y="2919"/>
                <a:ext cx="29"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2" name="Oval 326">
                <a:extLst>
                  <a:ext uri="{FF2B5EF4-FFF2-40B4-BE49-F238E27FC236}">
                    <a16:creationId xmlns:a16="http://schemas.microsoft.com/office/drawing/2014/main" id="{37652F9C-84D7-4037-AECD-104E90B63370}"/>
                  </a:ext>
                </a:extLst>
              </p:cNvPr>
              <p:cNvSpPr>
                <a:spLocks noChangeArrowheads="1"/>
              </p:cNvSpPr>
              <p:nvPr/>
            </p:nvSpPr>
            <p:spPr bwMode="auto">
              <a:xfrm>
                <a:off x="1755" y="2777"/>
                <a:ext cx="30"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3" name="Oval 327">
                <a:extLst>
                  <a:ext uri="{FF2B5EF4-FFF2-40B4-BE49-F238E27FC236}">
                    <a16:creationId xmlns:a16="http://schemas.microsoft.com/office/drawing/2014/main" id="{F72A9B7C-413F-4160-BB06-7E4159942E08}"/>
                  </a:ext>
                </a:extLst>
              </p:cNvPr>
              <p:cNvSpPr>
                <a:spLocks noChangeArrowheads="1"/>
              </p:cNvSpPr>
              <p:nvPr/>
            </p:nvSpPr>
            <p:spPr bwMode="auto">
              <a:xfrm>
                <a:off x="1755" y="3060"/>
                <a:ext cx="30"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4" name="Oval 328">
                <a:extLst>
                  <a:ext uri="{FF2B5EF4-FFF2-40B4-BE49-F238E27FC236}">
                    <a16:creationId xmlns:a16="http://schemas.microsoft.com/office/drawing/2014/main" id="{8C43F725-C318-4997-B0B1-57A004F87473}"/>
                  </a:ext>
                </a:extLst>
              </p:cNvPr>
              <p:cNvSpPr>
                <a:spLocks noChangeArrowheads="1"/>
              </p:cNvSpPr>
              <p:nvPr/>
            </p:nvSpPr>
            <p:spPr bwMode="auto">
              <a:xfrm>
                <a:off x="1741" y="2904"/>
                <a:ext cx="58" cy="58"/>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grpSp>
        <p:sp>
          <p:nvSpPr>
            <p:cNvPr id="31" name="TextBox 30">
              <a:extLst>
                <a:ext uri="{FF2B5EF4-FFF2-40B4-BE49-F238E27FC236}">
                  <a16:creationId xmlns:a16="http://schemas.microsoft.com/office/drawing/2014/main" id="{0993E87A-AE3B-42F0-8DD0-A1AA0FE16CAD}"/>
                </a:ext>
              </a:extLst>
            </p:cNvPr>
            <p:cNvSpPr txBox="1"/>
            <p:nvPr/>
          </p:nvSpPr>
          <p:spPr>
            <a:xfrm>
              <a:off x="7569342" y="3262407"/>
              <a:ext cx="1856209" cy="228063"/>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sz="1600" kern="0" dirty="0">
                  <a:gradFill>
                    <a:gsLst>
                      <a:gs pos="0">
                        <a:srgbClr val="FFFFFF"/>
                      </a:gs>
                      <a:gs pos="100000">
                        <a:srgbClr val="FFFFFF"/>
                      </a:gs>
                    </a:gsLst>
                    <a:lin ang="5400000" scaled="0"/>
                  </a:gradFill>
                  <a:latin typeface="Segoe UI Semibold"/>
                  <a:ea typeface="Segoe UI" pitchFamily="34" charset="0"/>
                  <a:cs typeface="Segoe UI" pitchFamily="34" charset="0"/>
                </a:rPr>
                <a:t>RAM</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74F993FF-4442-4F66-83C2-1537E1E25AAD}"/>
              </a:ext>
            </a:extLst>
          </p:cNvPr>
          <p:cNvGrpSpPr/>
          <p:nvPr/>
        </p:nvGrpSpPr>
        <p:grpSpPr>
          <a:xfrm>
            <a:off x="6562205" y="5870141"/>
            <a:ext cx="5376286" cy="848210"/>
            <a:chOff x="5391156" y="4948788"/>
            <a:chExt cx="6212581" cy="872951"/>
          </a:xfrm>
        </p:grpSpPr>
        <p:sp>
          <p:nvSpPr>
            <p:cNvPr id="46" name="Right Brace 45">
              <a:extLst>
                <a:ext uri="{FF2B5EF4-FFF2-40B4-BE49-F238E27FC236}">
                  <a16:creationId xmlns:a16="http://schemas.microsoft.com/office/drawing/2014/main" id="{536FB0C3-8931-4160-B9D7-94694FDD3965}"/>
                </a:ext>
              </a:extLst>
            </p:cNvPr>
            <p:cNvSpPr/>
            <p:nvPr/>
          </p:nvSpPr>
          <p:spPr>
            <a:xfrm rot="5400000">
              <a:off x="8297392" y="2042552"/>
              <a:ext cx="400109" cy="6212581"/>
            </a:xfrm>
            <a:prstGeom prst="rightBrace">
              <a:avLst>
                <a:gd name="adj1" fmla="val 0"/>
                <a:gd name="adj2"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E6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25C77947-66CD-42DA-AF88-12F2774F4B9A}"/>
                </a:ext>
              </a:extLst>
            </p:cNvPr>
            <p:cNvSpPr txBox="1"/>
            <p:nvPr/>
          </p:nvSpPr>
          <p:spPr>
            <a:xfrm>
              <a:off x="7194959" y="5409959"/>
              <a:ext cx="2604976" cy="411780"/>
            </a:xfrm>
            <a:prstGeom prst="rect">
              <a:avLst/>
            </a:prstGeom>
            <a:noFill/>
          </p:spPr>
          <p:txBody>
            <a:bodyPr wrap="square">
              <a:spAutoFit/>
            </a:bodyPr>
            <a:lstStyle/>
            <a:p>
              <a:pPr algn="ctr" defTabSz="114300">
                <a:spcAft>
                  <a:spcPts val="600"/>
                </a:spcAft>
                <a:buSzPct val="90000"/>
                <a:defRPr/>
              </a:pPr>
              <a:r>
                <a:rPr lang="en-US" sz="2000" dirty="0">
                  <a:solidFill>
                    <a:srgbClr val="50E6FF">
                      <a:lumMod val="75000"/>
                    </a:srgbClr>
                  </a:solidFill>
                  <a:latin typeface="Segoe UI Semibold"/>
                  <a:cs typeface="Segoe UI" panose="020B0502040204020203" pitchFamily="34" charset="0"/>
                </a:rPr>
                <a:t>cDWUs</a:t>
              </a:r>
            </a:p>
          </p:txBody>
        </p:sp>
      </p:grpSp>
      <p:grpSp>
        <p:nvGrpSpPr>
          <p:cNvPr id="48" name="Group 47">
            <a:extLst>
              <a:ext uri="{FF2B5EF4-FFF2-40B4-BE49-F238E27FC236}">
                <a16:creationId xmlns:a16="http://schemas.microsoft.com/office/drawing/2014/main" id="{1FDD432A-2274-4B43-A18B-DFACB01A9905}"/>
              </a:ext>
            </a:extLst>
          </p:cNvPr>
          <p:cNvGrpSpPr/>
          <p:nvPr/>
        </p:nvGrpSpPr>
        <p:grpSpPr>
          <a:xfrm>
            <a:off x="10520022" y="3211070"/>
            <a:ext cx="1168617" cy="2301740"/>
            <a:chOff x="9633216" y="1651897"/>
            <a:chExt cx="1970521" cy="3161401"/>
          </a:xfrm>
        </p:grpSpPr>
        <p:sp>
          <p:nvSpPr>
            <p:cNvPr id="49" name="Rectangle 48">
              <a:extLst>
                <a:ext uri="{FF2B5EF4-FFF2-40B4-BE49-F238E27FC236}">
                  <a16:creationId xmlns:a16="http://schemas.microsoft.com/office/drawing/2014/main" id="{E903C812-E465-4C3E-9D37-263AE60DDAC3}"/>
                </a:ext>
              </a:extLst>
            </p:cNvPr>
            <p:cNvSpPr/>
            <p:nvPr/>
          </p:nvSpPr>
          <p:spPr bwMode="auto">
            <a:xfrm>
              <a:off x="963321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sp>
          <p:nvSpPr>
            <p:cNvPr id="50" name="TextBox 49">
              <a:extLst>
                <a:ext uri="{FF2B5EF4-FFF2-40B4-BE49-F238E27FC236}">
                  <a16:creationId xmlns:a16="http://schemas.microsoft.com/office/drawing/2014/main" id="{744495A5-EDB1-402A-8989-BACD9DEB5B35}"/>
                </a:ext>
              </a:extLst>
            </p:cNvPr>
            <p:cNvSpPr txBox="1"/>
            <p:nvPr/>
          </p:nvSpPr>
          <p:spPr>
            <a:xfrm>
              <a:off x="9690372" y="3262407"/>
              <a:ext cx="1856209" cy="228063"/>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I/O</a:t>
              </a:r>
            </a:p>
          </p:txBody>
        </p:sp>
        <p:grpSp>
          <p:nvGrpSpPr>
            <p:cNvPr id="51" name="Group 50">
              <a:extLst>
                <a:ext uri="{FF2B5EF4-FFF2-40B4-BE49-F238E27FC236}">
                  <a16:creationId xmlns:a16="http://schemas.microsoft.com/office/drawing/2014/main" id="{60C40A1E-ACE7-46F7-826F-3810C023530E}"/>
                </a:ext>
              </a:extLst>
            </p:cNvPr>
            <p:cNvGrpSpPr/>
            <p:nvPr/>
          </p:nvGrpSpPr>
          <p:grpSpPr>
            <a:xfrm>
              <a:off x="10271829" y="2649521"/>
              <a:ext cx="599853" cy="492478"/>
              <a:chOff x="10318550" y="2593165"/>
              <a:chExt cx="599853" cy="492478"/>
            </a:xfrm>
          </p:grpSpPr>
          <p:sp>
            <p:nvSpPr>
              <p:cNvPr id="52" name="AutoShape 37">
                <a:extLst>
                  <a:ext uri="{FF2B5EF4-FFF2-40B4-BE49-F238E27FC236}">
                    <a16:creationId xmlns:a16="http://schemas.microsoft.com/office/drawing/2014/main" id="{048D1CB7-2270-443D-9352-6CC3ABBBCA0F}"/>
                  </a:ext>
                </a:extLst>
              </p:cNvPr>
              <p:cNvSpPr>
                <a:spLocks noChangeAspect="1" noChangeArrowheads="1" noTextEdit="1"/>
              </p:cNvSpPr>
              <p:nvPr/>
            </p:nvSpPr>
            <p:spPr bwMode="auto">
              <a:xfrm>
                <a:off x="10318550" y="2593165"/>
                <a:ext cx="246239" cy="492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39">
                <a:extLst>
                  <a:ext uri="{FF2B5EF4-FFF2-40B4-BE49-F238E27FC236}">
                    <a16:creationId xmlns:a16="http://schemas.microsoft.com/office/drawing/2014/main" id="{FFDFCE60-C0BD-449F-8DB8-9AA9DB975613}"/>
                  </a:ext>
                </a:extLst>
              </p:cNvPr>
              <p:cNvSpPr>
                <a:spLocks noChangeArrowheads="1"/>
              </p:cNvSpPr>
              <p:nvPr/>
            </p:nvSpPr>
            <p:spPr bwMode="auto">
              <a:xfrm>
                <a:off x="10318550" y="2593165"/>
                <a:ext cx="246239" cy="49247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Rectangle 40">
                <a:extLst>
                  <a:ext uri="{FF2B5EF4-FFF2-40B4-BE49-F238E27FC236}">
                    <a16:creationId xmlns:a16="http://schemas.microsoft.com/office/drawing/2014/main" id="{BDFDD683-EE82-46F3-9257-177B98238C0A}"/>
                  </a:ext>
                </a:extLst>
              </p:cNvPr>
              <p:cNvSpPr>
                <a:spLocks noChangeArrowheads="1"/>
              </p:cNvSpPr>
              <p:nvPr/>
            </p:nvSpPr>
            <p:spPr bwMode="auto">
              <a:xfrm>
                <a:off x="10348540" y="2946739"/>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5" name="Rectangle 41">
                <a:extLst>
                  <a:ext uri="{FF2B5EF4-FFF2-40B4-BE49-F238E27FC236}">
                    <a16:creationId xmlns:a16="http://schemas.microsoft.com/office/drawing/2014/main" id="{F5A15EDD-055E-4F05-90DF-6BB77413253C}"/>
                  </a:ext>
                </a:extLst>
              </p:cNvPr>
              <p:cNvSpPr>
                <a:spLocks noChangeArrowheads="1"/>
              </p:cNvSpPr>
              <p:nvPr/>
            </p:nvSpPr>
            <p:spPr bwMode="auto">
              <a:xfrm>
                <a:off x="10348540" y="2638940"/>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6" name="Rectangle 42">
                <a:extLst>
                  <a:ext uri="{FF2B5EF4-FFF2-40B4-BE49-F238E27FC236}">
                    <a16:creationId xmlns:a16="http://schemas.microsoft.com/office/drawing/2014/main" id="{18A5F342-8989-4BCB-9137-74763A8B159F}"/>
                  </a:ext>
                </a:extLst>
              </p:cNvPr>
              <p:cNvSpPr>
                <a:spLocks noChangeArrowheads="1"/>
              </p:cNvSpPr>
              <p:nvPr/>
            </p:nvSpPr>
            <p:spPr bwMode="auto">
              <a:xfrm>
                <a:off x="10348540" y="3008299"/>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7" name="Freeform: Shape 56">
                <a:extLst>
                  <a:ext uri="{FF2B5EF4-FFF2-40B4-BE49-F238E27FC236}">
                    <a16:creationId xmlns:a16="http://schemas.microsoft.com/office/drawing/2014/main" id="{64892FA0-9E54-4CEE-8073-0D7D540E1AF8}"/>
                  </a:ext>
                </a:extLst>
              </p:cNvPr>
              <p:cNvSpPr>
                <a:spLocks noChangeArrowheads="1"/>
              </p:cNvSpPr>
              <p:nvPr/>
            </p:nvSpPr>
            <p:spPr bwMode="auto">
              <a:xfrm>
                <a:off x="10380110" y="2769951"/>
                <a:ext cx="123120" cy="69452"/>
              </a:xfrm>
              <a:custGeom>
                <a:avLst/>
                <a:gdLst>
                  <a:gd name="connsiteX0" fmla="*/ 45775 w 123120"/>
                  <a:gd name="connsiteY0" fmla="*/ 0 h 69452"/>
                  <a:gd name="connsiteX1" fmla="*/ 70330 w 123120"/>
                  <a:gd name="connsiteY1" fmla="*/ 10171 h 69452"/>
                  <a:gd name="connsiteX2" fmla="*/ 73771 w 123120"/>
                  <a:gd name="connsiteY2" fmla="*/ 18479 h 69452"/>
                  <a:gd name="connsiteX3" fmla="*/ 80501 w 123120"/>
                  <a:gd name="connsiteY3" fmla="*/ 15784 h 69452"/>
                  <a:gd name="connsiteX4" fmla="*/ 97243 w 123120"/>
                  <a:gd name="connsiteY4" fmla="*/ 22488 h 69452"/>
                  <a:gd name="connsiteX5" fmla="*/ 103840 w 123120"/>
                  <a:gd name="connsiteY5" fmla="*/ 37883 h 69452"/>
                  <a:gd name="connsiteX6" fmla="*/ 106549 w 123120"/>
                  <a:gd name="connsiteY6" fmla="*/ 37883 h 69452"/>
                  <a:gd name="connsiteX7" fmla="*/ 108000 w 123120"/>
                  <a:gd name="connsiteY7" fmla="*/ 37883 h 69452"/>
                  <a:gd name="connsiteX8" fmla="*/ 123120 w 123120"/>
                  <a:gd name="connsiteY8" fmla="*/ 53482 h 69452"/>
                  <a:gd name="connsiteX9" fmla="*/ 123120 w 123120"/>
                  <a:gd name="connsiteY9" fmla="*/ 54225 h 69452"/>
                  <a:gd name="connsiteX10" fmla="*/ 108000 w 123120"/>
                  <a:gd name="connsiteY10" fmla="*/ 69452 h 69452"/>
                  <a:gd name="connsiteX11" fmla="*/ 54304 w 123120"/>
                  <a:gd name="connsiteY11" fmla="*/ 69452 h 69452"/>
                  <a:gd name="connsiteX12" fmla="*/ 45775 w 123120"/>
                  <a:gd name="connsiteY12" fmla="*/ 69452 h 69452"/>
                  <a:gd name="connsiteX13" fmla="*/ 26730 w 123120"/>
                  <a:gd name="connsiteY13" fmla="*/ 69452 h 69452"/>
                  <a:gd name="connsiteX14" fmla="*/ 15120 w 123120"/>
                  <a:gd name="connsiteY14" fmla="*/ 69452 h 69452"/>
                  <a:gd name="connsiteX15" fmla="*/ 0 w 123120"/>
                  <a:gd name="connsiteY15" fmla="*/ 54225 h 69452"/>
                  <a:gd name="connsiteX16" fmla="*/ 0 w 123120"/>
                  <a:gd name="connsiteY16" fmla="*/ 53482 h 69452"/>
                  <a:gd name="connsiteX17" fmla="*/ 4455 w 123120"/>
                  <a:gd name="connsiteY17" fmla="*/ 42479 h 69452"/>
                  <a:gd name="connsiteX18" fmla="*/ 12775 w 123120"/>
                  <a:gd name="connsiteY18" fmla="*/ 38894 h 69452"/>
                  <a:gd name="connsiteX19" fmla="*/ 11049 w 123120"/>
                  <a:gd name="connsiteY19" fmla="*/ 34726 h 69452"/>
                  <a:gd name="connsiteX20" fmla="*/ 45775 w 123120"/>
                  <a:gd name="connsiteY20" fmla="*/ 0 h 69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20" h="69452">
                    <a:moveTo>
                      <a:pt x="45775" y="0"/>
                    </a:moveTo>
                    <a:cubicBezTo>
                      <a:pt x="55365" y="0"/>
                      <a:pt x="64046" y="3887"/>
                      <a:pt x="70330" y="10171"/>
                    </a:cubicBezTo>
                    <a:lnTo>
                      <a:pt x="73771" y="18479"/>
                    </a:lnTo>
                    <a:lnTo>
                      <a:pt x="80501" y="15784"/>
                    </a:lnTo>
                    <a:cubicBezTo>
                      <a:pt x="87039" y="15784"/>
                      <a:pt x="92958" y="18346"/>
                      <a:pt x="97243" y="22488"/>
                    </a:cubicBezTo>
                    <a:lnTo>
                      <a:pt x="103840" y="37883"/>
                    </a:lnTo>
                    <a:lnTo>
                      <a:pt x="106549" y="37883"/>
                    </a:lnTo>
                    <a:cubicBezTo>
                      <a:pt x="108000" y="37883"/>
                      <a:pt x="108000" y="37883"/>
                      <a:pt x="108000" y="37883"/>
                    </a:cubicBezTo>
                    <a:cubicBezTo>
                      <a:pt x="116280" y="37883"/>
                      <a:pt x="123120" y="44940"/>
                      <a:pt x="123120" y="53482"/>
                    </a:cubicBezTo>
                    <a:cubicBezTo>
                      <a:pt x="123120" y="54225"/>
                      <a:pt x="123120" y="54225"/>
                      <a:pt x="123120" y="54225"/>
                    </a:cubicBezTo>
                    <a:cubicBezTo>
                      <a:pt x="123120" y="62767"/>
                      <a:pt x="116280" y="69452"/>
                      <a:pt x="108000" y="69452"/>
                    </a:cubicBezTo>
                    <a:cubicBezTo>
                      <a:pt x="84780" y="69452"/>
                      <a:pt x="67365" y="69452"/>
                      <a:pt x="54304" y="69452"/>
                    </a:cubicBezTo>
                    <a:lnTo>
                      <a:pt x="45775" y="69452"/>
                    </a:lnTo>
                    <a:lnTo>
                      <a:pt x="26730" y="69452"/>
                    </a:lnTo>
                    <a:cubicBezTo>
                      <a:pt x="15120" y="69452"/>
                      <a:pt x="15120" y="69452"/>
                      <a:pt x="15120" y="69452"/>
                    </a:cubicBezTo>
                    <a:cubicBezTo>
                      <a:pt x="6840" y="69452"/>
                      <a:pt x="0" y="62767"/>
                      <a:pt x="0" y="54225"/>
                    </a:cubicBezTo>
                    <a:cubicBezTo>
                      <a:pt x="0" y="53482"/>
                      <a:pt x="0" y="53482"/>
                      <a:pt x="0" y="53482"/>
                    </a:cubicBezTo>
                    <a:cubicBezTo>
                      <a:pt x="0" y="49211"/>
                      <a:pt x="1710" y="45311"/>
                      <a:pt x="4455" y="42479"/>
                    </a:cubicBezTo>
                    <a:lnTo>
                      <a:pt x="12775" y="38894"/>
                    </a:lnTo>
                    <a:lnTo>
                      <a:pt x="11049" y="34726"/>
                    </a:lnTo>
                    <a:cubicBezTo>
                      <a:pt x="11049" y="15547"/>
                      <a:pt x="26596" y="0"/>
                      <a:pt x="45775" y="0"/>
                    </a:cubicBezTo>
                    <a:close/>
                  </a:path>
                </a:pathLst>
              </a:cu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8" name="Rectangle 57">
                <a:extLst>
                  <a:ext uri="{FF2B5EF4-FFF2-40B4-BE49-F238E27FC236}">
                    <a16:creationId xmlns:a16="http://schemas.microsoft.com/office/drawing/2014/main" id="{49003A51-3B3E-4C43-B4DA-16D0B8B1D688}"/>
                  </a:ext>
                </a:extLst>
              </p:cNvPr>
              <p:cNvSpPr/>
              <p:nvPr/>
            </p:nvSpPr>
            <p:spPr bwMode="auto">
              <a:xfrm>
                <a:off x="10507869" y="2788462"/>
                <a:ext cx="410534" cy="2971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386">
                <a:extLst>
                  <a:ext uri="{FF2B5EF4-FFF2-40B4-BE49-F238E27FC236}">
                    <a16:creationId xmlns:a16="http://schemas.microsoft.com/office/drawing/2014/main" id="{F3035035-CEBC-4088-8AE6-5DD05F0F0F17}"/>
                  </a:ext>
                </a:extLst>
              </p:cNvPr>
              <p:cNvGrpSpPr>
                <a:grpSpLocks noChangeAspect="1"/>
              </p:cNvGrpSpPr>
              <p:nvPr/>
            </p:nvGrpSpPr>
            <p:grpSpPr bwMode="auto">
              <a:xfrm>
                <a:off x="10523056" y="2807835"/>
                <a:ext cx="370412" cy="277808"/>
                <a:chOff x="7014" y="2816"/>
                <a:chExt cx="312" cy="234"/>
              </a:xfrm>
            </p:grpSpPr>
            <p:sp>
              <p:nvSpPr>
                <p:cNvPr id="60" name="AutoShape 385">
                  <a:extLst>
                    <a:ext uri="{FF2B5EF4-FFF2-40B4-BE49-F238E27FC236}">
                      <a16:creationId xmlns:a16="http://schemas.microsoft.com/office/drawing/2014/main" id="{7B0E3EAB-1786-45CA-8014-8482A2B107B1}"/>
                    </a:ext>
                  </a:extLst>
                </p:cNvPr>
                <p:cNvSpPr>
                  <a:spLocks noChangeAspect="1" noChangeArrowheads="1" noTextEdit="1"/>
                </p:cNvSpPr>
                <p:nvPr/>
              </p:nvSpPr>
              <p:spPr bwMode="auto">
                <a:xfrm>
                  <a:off x="7014" y="281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387">
                  <a:extLst>
                    <a:ext uri="{FF2B5EF4-FFF2-40B4-BE49-F238E27FC236}">
                      <a16:creationId xmlns:a16="http://schemas.microsoft.com/office/drawing/2014/main" id="{44BBAF66-D849-408E-A19E-7DD1C736A9C6}"/>
                    </a:ext>
                  </a:extLst>
                </p:cNvPr>
                <p:cNvSpPr>
                  <a:spLocks noChangeArrowheads="1"/>
                </p:cNvSpPr>
                <p:nvPr/>
              </p:nvSpPr>
              <p:spPr bwMode="auto">
                <a:xfrm>
                  <a:off x="7014" y="2816"/>
                  <a:ext cx="312" cy="234"/>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62" name="Rectangle 388">
                  <a:extLst>
                    <a:ext uri="{FF2B5EF4-FFF2-40B4-BE49-F238E27FC236}">
                      <a16:creationId xmlns:a16="http://schemas.microsoft.com/office/drawing/2014/main" id="{AD59CCBC-3B06-4FBA-9E0B-3E8FB3194A15}"/>
                    </a:ext>
                  </a:extLst>
                </p:cNvPr>
                <p:cNvSpPr>
                  <a:spLocks noChangeArrowheads="1"/>
                </p:cNvSpPr>
                <p:nvPr/>
              </p:nvSpPr>
              <p:spPr bwMode="auto">
                <a:xfrm>
                  <a:off x="7014" y="2816"/>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389">
                  <a:extLst>
                    <a:ext uri="{FF2B5EF4-FFF2-40B4-BE49-F238E27FC236}">
                      <a16:creationId xmlns:a16="http://schemas.microsoft.com/office/drawing/2014/main" id="{02C73F48-F5E5-4CAC-841B-B75EE993E91B}"/>
                    </a:ext>
                  </a:extLst>
                </p:cNvPr>
                <p:cNvSpPr>
                  <a:spLocks noChangeArrowheads="1"/>
                </p:cNvSpPr>
                <p:nvPr/>
              </p:nvSpPr>
              <p:spPr bwMode="auto">
                <a:xfrm>
                  <a:off x="7025" y="2826"/>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390">
                  <a:extLst>
                    <a:ext uri="{FF2B5EF4-FFF2-40B4-BE49-F238E27FC236}">
                      <a16:creationId xmlns:a16="http://schemas.microsoft.com/office/drawing/2014/main" id="{090027F6-12F2-421D-A7D3-F5A04F0FE5C9}"/>
                    </a:ext>
                  </a:extLst>
                </p:cNvPr>
                <p:cNvSpPr>
                  <a:spLocks noChangeArrowheads="1"/>
                </p:cNvSpPr>
                <p:nvPr/>
              </p:nvSpPr>
              <p:spPr bwMode="auto">
                <a:xfrm>
                  <a:off x="7039"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391">
                  <a:extLst>
                    <a:ext uri="{FF2B5EF4-FFF2-40B4-BE49-F238E27FC236}">
                      <a16:creationId xmlns:a16="http://schemas.microsoft.com/office/drawing/2014/main" id="{70620B30-1813-4036-A39B-A886EFA8B2E0}"/>
                    </a:ext>
                  </a:extLst>
                </p:cNvPr>
                <p:cNvSpPr>
                  <a:spLocks noChangeArrowheads="1"/>
                </p:cNvSpPr>
                <p:nvPr/>
              </p:nvSpPr>
              <p:spPr bwMode="auto">
                <a:xfrm>
                  <a:off x="7054"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392">
                  <a:extLst>
                    <a:ext uri="{FF2B5EF4-FFF2-40B4-BE49-F238E27FC236}">
                      <a16:creationId xmlns:a16="http://schemas.microsoft.com/office/drawing/2014/main" id="{D3B3B841-59A2-4AA3-A05A-42853D28BFCB}"/>
                    </a:ext>
                  </a:extLst>
                </p:cNvPr>
                <p:cNvSpPr>
                  <a:spLocks noChangeArrowheads="1"/>
                </p:cNvSpPr>
                <p:nvPr/>
              </p:nvSpPr>
              <p:spPr bwMode="auto">
                <a:xfrm>
                  <a:off x="7073" y="2884"/>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93">
                  <a:extLst>
                    <a:ext uri="{FF2B5EF4-FFF2-40B4-BE49-F238E27FC236}">
                      <a16:creationId xmlns:a16="http://schemas.microsoft.com/office/drawing/2014/main" id="{30D11FD8-DAFE-409E-BFB5-7694E8EB0F4B}"/>
                    </a:ext>
                  </a:extLst>
                </p:cNvPr>
                <p:cNvSpPr>
                  <a:spLocks noChangeArrowheads="1"/>
                </p:cNvSpPr>
                <p:nvPr/>
              </p:nvSpPr>
              <p:spPr bwMode="auto">
                <a:xfrm>
                  <a:off x="7146" y="2884"/>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94">
                  <a:extLst>
                    <a:ext uri="{FF2B5EF4-FFF2-40B4-BE49-F238E27FC236}">
                      <a16:creationId xmlns:a16="http://schemas.microsoft.com/office/drawing/2014/main" id="{647AB59B-77F8-4070-A2A2-271DB6B6471F}"/>
                    </a:ext>
                  </a:extLst>
                </p:cNvPr>
                <p:cNvSpPr>
                  <a:spLocks noChangeArrowheads="1"/>
                </p:cNvSpPr>
                <p:nvPr/>
              </p:nvSpPr>
              <p:spPr bwMode="auto">
                <a:xfrm>
                  <a:off x="7219" y="2884"/>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395">
                  <a:extLst>
                    <a:ext uri="{FF2B5EF4-FFF2-40B4-BE49-F238E27FC236}">
                      <a16:creationId xmlns:a16="http://schemas.microsoft.com/office/drawing/2014/main" id="{5BA39CF2-B7E4-4CB9-BE6A-6703DA651186}"/>
                    </a:ext>
                  </a:extLst>
                </p:cNvPr>
                <p:cNvSpPr>
                  <a:spLocks noChangeArrowheads="1"/>
                </p:cNvSpPr>
                <p:nvPr/>
              </p:nvSpPr>
              <p:spPr bwMode="auto">
                <a:xfrm>
                  <a:off x="7073" y="2962"/>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96">
                  <a:extLst>
                    <a:ext uri="{FF2B5EF4-FFF2-40B4-BE49-F238E27FC236}">
                      <a16:creationId xmlns:a16="http://schemas.microsoft.com/office/drawing/2014/main" id="{9E47BA27-6EB5-46E3-B5EA-E5928F4EE723}"/>
                    </a:ext>
                  </a:extLst>
                </p:cNvPr>
                <p:cNvSpPr>
                  <a:spLocks noChangeArrowheads="1"/>
                </p:cNvSpPr>
                <p:nvPr/>
              </p:nvSpPr>
              <p:spPr bwMode="auto">
                <a:xfrm>
                  <a:off x="7146" y="2962"/>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397">
                  <a:extLst>
                    <a:ext uri="{FF2B5EF4-FFF2-40B4-BE49-F238E27FC236}">
                      <a16:creationId xmlns:a16="http://schemas.microsoft.com/office/drawing/2014/main" id="{28B81F8A-CEEE-489F-B0E9-4C75BBD1832C}"/>
                    </a:ext>
                  </a:extLst>
                </p:cNvPr>
                <p:cNvSpPr>
                  <a:spLocks noChangeArrowheads="1"/>
                </p:cNvSpPr>
                <p:nvPr/>
              </p:nvSpPr>
              <p:spPr bwMode="auto">
                <a:xfrm>
                  <a:off x="7219" y="2962"/>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72" name="Group 71">
            <a:extLst>
              <a:ext uri="{FF2B5EF4-FFF2-40B4-BE49-F238E27FC236}">
                <a16:creationId xmlns:a16="http://schemas.microsoft.com/office/drawing/2014/main" id="{1B908999-9839-4F3A-8565-E114013B2B22}"/>
              </a:ext>
            </a:extLst>
          </p:cNvPr>
          <p:cNvGrpSpPr/>
          <p:nvPr/>
        </p:nvGrpSpPr>
        <p:grpSpPr>
          <a:xfrm>
            <a:off x="6875341" y="3322451"/>
            <a:ext cx="1134227" cy="2190360"/>
            <a:chOff x="5391156" y="1651897"/>
            <a:chExt cx="1970521" cy="3161401"/>
          </a:xfrm>
        </p:grpSpPr>
        <p:sp>
          <p:nvSpPr>
            <p:cNvPr id="73" name="Rectangle 72">
              <a:extLst>
                <a:ext uri="{FF2B5EF4-FFF2-40B4-BE49-F238E27FC236}">
                  <a16:creationId xmlns:a16="http://schemas.microsoft.com/office/drawing/2014/main" id="{DFB41FB2-8207-42B7-B643-500BCD2F6D82}"/>
                </a:ext>
              </a:extLst>
            </p:cNvPr>
            <p:cNvSpPr/>
            <p:nvPr/>
          </p:nvSpPr>
          <p:spPr bwMode="auto">
            <a:xfrm>
              <a:off x="539115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sp>
          <p:nvSpPr>
            <p:cNvPr id="74" name="TextBox 73">
              <a:extLst>
                <a:ext uri="{FF2B5EF4-FFF2-40B4-BE49-F238E27FC236}">
                  <a16:creationId xmlns:a16="http://schemas.microsoft.com/office/drawing/2014/main" id="{2F43D55F-186B-40A7-BC42-BF86F512727E}"/>
                </a:ext>
              </a:extLst>
            </p:cNvPr>
            <p:cNvSpPr txBox="1"/>
            <p:nvPr/>
          </p:nvSpPr>
          <p:spPr>
            <a:xfrm>
              <a:off x="5448312" y="3262407"/>
              <a:ext cx="1856209" cy="456125"/>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PU</a:t>
              </a:r>
              <a:endParaRPr lang="en-US" sz="1600" kern="0" dirty="0">
                <a:gradFill>
                  <a:gsLst>
                    <a:gs pos="0">
                      <a:srgbClr val="FFFFFF"/>
                    </a:gs>
                    <a:gs pos="100000">
                      <a:srgbClr val="FFFFFF"/>
                    </a:gs>
                  </a:gsLst>
                  <a:lin ang="5400000" scaled="0"/>
                </a:gradFill>
                <a:latin typeface="Segoe UI Semibold"/>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75" name="Group 74">
              <a:extLst>
                <a:ext uri="{FF2B5EF4-FFF2-40B4-BE49-F238E27FC236}">
                  <a16:creationId xmlns:a16="http://schemas.microsoft.com/office/drawing/2014/main" id="{E9BB1C38-DF77-433C-BB8A-F50F3F002337}"/>
                </a:ext>
              </a:extLst>
            </p:cNvPr>
            <p:cNvGrpSpPr/>
            <p:nvPr/>
          </p:nvGrpSpPr>
          <p:grpSpPr>
            <a:xfrm>
              <a:off x="5933785" y="2598338"/>
              <a:ext cx="885262" cy="594844"/>
              <a:chOff x="5933785" y="2571639"/>
              <a:chExt cx="885262" cy="594844"/>
            </a:xfrm>
          </p:grpSpPr>
          <p:sp>
            <p:nvSpPr>
              <p:cNvPr id="76" name="Rectangle 75">
                <a:extLst>
                  <a:ext uri="{FF2B5EF4-FFF2-40B4-BE49-F238E27FC236}">
                    <a16:creationId xmlns:a16="http://schemas.microsoft.com/office/drawing/2014/main" id="{0716226A-6598-4B47-9678-FD51C119743A}"/>
                  </a:ext>
                </a:extLst>
              </p:cNvPr>
              <p:cNvSpPr/>
              <p:nvPr/>
            </p:nvSpPr>
            <p:spPr bwMode="auto">
              <a:xfrm>
                <a:off x="6083413" y="2871709"/>
                <a:ext cx="84439" cy="128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10E1867B-62D1-4728-BBDB-33DB6D97381B}"/>
                  </a:ext>
                </a:extLst>
              </p:cNvPr>
              <p:cNvSpPr/>
              <p:nvPr/>
            </p:nvSpPr>
            <p:spPr bwMode="auto">
              <a:xfrm>
                <a:off x="6584980" y="2871709"/>
                <a:ext cx="84439" cy="128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105">
                <a:extLst>
                  <a:ext uri="{FF2B5EF4-FFF2-40B4-BE49-F238E27FC236}">
                    <a16:creationId xmlns:a16="http://schemas.microsoft.com/office/drawing/2014/main" id="{8F8454A1-7494-456E-94CB-3E11AE988BCD}"/>
                  </a:ext>
                </a:extLst>
              </p:cNvPr>
              <p:cNvGrpSpPr>
                <a:grpSpLocks noChangeAspect="1"/>
              </p:cNvGrpSpPr>
              <p:nvPr/>
            </p:nvGrpSpPr>
            <p:grpSpPr bwMode="auto">
              <a:xfrm>
                <a:off x="5933785" y="2571639"/>
                <a:ext cx="383695" cy="383696"/>
                <a:chOff x="2208" y="2781"/>
                <a:chExt cx="312" cy="312"/>
              </a:xfrm>
            </p:grpSpPr>
            <p:sp>
              <p:nvSpPr>
                <p:cNvPr id="103" name="AutoShape 104">
                  <a:extLst>
                    <a:ext uri="{FF2B5EF4-FFF2-40B4-BE49-F238E27FC236}">
                      <a16:creationId xmlns:a16="http://schemas.microsoft.com/office/drawing/2014/main" id="{7614E8E5-EFCC-4AD5-A00F-A06D2AF68799}"/>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6">
                  <a:extLst>
                    <a:ext uri="{FF2B5EF4-FFF2-40B4-BE49-F238E27FC236}">
                      <a16:creationId xmlns:a16="http://schemas.microsoft.com/office/drawing/2014/main" id="{F12FF31E-83FD-4F16-8C62-50166BEC24AC}"/>
                    </a:ext>
                  </a:extLst>
                </p:cNvPr>
                <p:cNvSpPr>
                  <a:spLocks noChangeArrowheads="1"/>
                </p:cNvSpPr>
                <p:nvPr/>
              </p:nvSpPr>
              <p:spPr bwMode="auto">
                <a:xfrm>
                  <a:off x="2208"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107">
                  <a:extLst>
                    <a:ext uri="{FF2B5EF4-FFF2-40B4-BE49-F238E27FC236}">
                      <a16:creationId xmlns:a16="http://schemas.microsoft.com/office/drawing/2014/main" id="{CBC5A4A1-993E-4454-BC60-1993582B9C41}"/>
                    </a:ext>
                  </a:extLst>
                </p:cNvPr>
                <p:cNvSpPr>
                  <a:spLocks noChangeArrowheads="1"/>
                </p:cNvSpPr>
                <p:nvPr/>
              </p:nvSpPr>
              <p:spPr bwMode="auto">
                <a:xfrm>
                  <a:off x="2208" y="2791"/>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6" name="Rectangle 108">
                  <a:extLst>
                    <a:ext uri="{FF2B5EF4-FFF2-40B4-BE49-F238E27FC236}">
                      <a16:creationId xmlns:a16="http://schemas.microsoft.com/office/drawing/2014/main" id="{292F278E-BD5A-4A26-B0E7-91F02AC8DD9C}"/>
                    </a:ext>
                  </a:extLst>
                </p:cNvPr>
                <p:cNvSpPr>
                  <a:spLocks noChangeArrowheads="1"/>
                </p:cNvSpPr>
                <p:nvPr/>
              </p:nvSpPr>
              <p:spPr bwMode="auto">
                <a:xfrm>
                  <a:off x="2208" y="2869"/>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7" name="Rectangle 109">
                  <a:extLst>
                    <a:ext uri="{FF2B5EF4-FFF2-40B4-BE49-F238E27FC236}">
                      <a16:creationId xmlns:a16="http://schemas.microsoft.com/office/drawing/2014/main" id="{3BE12C09-D544-4C44-9A1C-CAE450CB694C}"/>
                    </a:ext>
                  </a:extLst>
                </p:cNvPr>
                <p:cNvSpPr>
                  <a:spLocks noChangeArrowheads="1"/>
                </p:cNvSpPr>
                <p:nvPr/>
              </p:nvSpPr>
              <p:spPr bwMode="auto">
                <a:xfrm>
                  <a:off x="2208" y="2947"/>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8" name="Rectangle 110">
                  <a:extLst>
                    <a:ext uri="{FF2B5EF4-FFF2-40B4-BE49-F238E27FC236}">
                      <a16:creationId xmlns:a16="http://schemas.microsoft.com/office/drawing/2014/main" id="{28B1BD02-3321-463A-AA37-71AFAB3BF255}"/>
                    </a:ext>
                  </a:extLst>
                </p:cNvPr>
                <p:cNvSpPr>
                  <a:spLocks noChangeArrowheads="1"/>
                </p:cNvSpPr>
                <p:nvPr/>
              </p:nvSpPr>
              <p:spPr bwMode="auto">
                <a:xfrm>
                  <a:off x="2208" y="3025"/>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9" name="Oval 111">
                  <a:extLst>
                    <a:ext uri="{FF2B5EF4-FFF2-40B4-BE49-F238E27FC236}">
                      <a16:creationId xmlns:a16="http://schemas.microsoft.com/office/drawing/2014/main" id="{74103D05-CA01-499E-ADDF-78F550911D22}"/>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112">
                  <a:extLst>
                    <a:ext uri="{FF2B5EF4-FFF2-40B4-BE49-F238E27FC236}">
                      <a16:creationId xmlns:a16="http://schemas.microsoft.com/office/drawing/2014/main" id="{1BF15E8F-154A-41CB-98C8-F68DCDCF7E1F}"/>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113">
                  <a:extLst>
                    <a:ext uri="{FF2B5EF4-FFF2-40B4-BE49-F238E27FC236}">
                      <a16:creationId xmlns:a16="http://schemas.microsoft.com/office/drawing/2014/main" id="{AD28BCF8-ACFB-46BF-B6D8-278679CCFE7B}"/>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114">
                  <a:extLst>
                    <a:ext uri="{FF2B5EF4-FFF2-40B4-BE49-F238E27FC236}">
                      <a16:creationId xmlns:a16="http://schemas.microsoft.com/office/drawing/2014/main" id="{44D07D66-D16B-4795-8E42-E178BC6987A2}"/>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15">
                  <a:extLst>
                    <a:ext uri="{FF2B5EF4-FFF2-40B4-BE49-F238E27FC236}">
                      <a16:creationId xmlns:a16="http://schemas.microsoft.com/office/drawing/2014/main" id="{6CA53234-9380-4517-8870-E3A8AD35E4FF}"/>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116">
                  <a:extLst>
                    <a:ext uri="{FF2B5EF4-FFF2-40B4-BE49-F238E27FC236}">
                      <a16:creationId xmlns:a16="http://schemas.microsoft.com/office/drawing/2014/main" id="{C9A35BE1-14A4-43E7-85B1-E15899C0DB90}"/>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117">
                  <a:extLst>
                    <a:ext uri="{FF2B5EF4-FFF2-40B4-BE49-F238E27FC236}">
                      <a16:creationId xmlns:a16="http://schemas.microsoft.com/office/drawing/2014/main" id="{CA09C510-37F1-493D-9E57-ED172E167237}"/>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118">
                  <a:extLst>
                    <a:ext uri="{FF2B5EF4-FFF2-40B4-BE49-F238E27FC236}">
                      <a16:creationId xmlns:a16="http://schemas.microsoft.com/office/drawing/2014/main" id="{1DE91930-520A-4F6F-8957-9A3A78B030D9}"/>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19">
                  <a:extLst>
                    <a:ext uri="{FF2B5EF4-FFF2-40B4-BE49-F238E27FC236}">
                      <a16:creationId xmlns:a16="http://schemas.microsoft.com/office/drawing/2014/main" id="{7A214065-0ACB-4DB7-B80A-5FE2F5F437EE}"/>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20">
                  <a:extLst>
                    <a:ext uri="{FF2B5EF4-FFF2-40B4-BE49-F238E27FC236}">
                      <a16:creationId xmlns:a16="http://schemas.microsoft.com/office/drawing/2014/main" id="{0221C561-0B63-4057-BC5A-A44CA7DA27E5}"/>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121">
                  <a:extLst>
                    <a:ext uri="{FF2B5EF4-FFF2-40B4-BE49-F238E27FC236}">
                      <a16:creationId xmlns:a16="http://schemas.microsoft.com/office/drawing/2014/main" id="{A2CE143C-1D52-461C-812F-DFAADDB68779}"/>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22">
                  <a:extLst>
                    <a:ext uri="{FF2B5EF4-FFF2-40B4-BE49-F238E27FC236}">
                      <a16:creationId xmlns:a16="http://schemas.microsoft.com/office/drawing/2014/main" id="{BA77D177-3438-49F9-BB9B-E12751E63244}"/>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9" name="Group 105">
                <a:extLst>
                  <a:ext uri="{FF2B5EF4-FFF2-40B4-BE49-F238E27FC236}">
                    <a16:creationId xmlns:a16="http://schemas.microsoft.com/office/drawing/2014/main" id="{A36943A9-8AD9-4CDC-AF99-926BE3B73433}"/>
                  </a:ext>
                </a:extLst>
              </p:cNvPr>
              <p:cNvGrpSpPr>
                <a:grpSpLocks noChangeAspect="1"/>
              </p:cNvGrpSpPr>
              <p:nvPr/>
            </p:nvGrpSpPr>
            <p:grpSpPr bwMode="auto">
              <a:xfrm>
                <a:off x="6435352" y="2571639"/>
                <a:ext cx="383695" cy="383696"/>
                <a:chOff x="2208" y="2781"/>
                <a:chExt cx="312" cy="312"/>
              </a:xfrm>
            </p:grpSpPr>
            <p:sp>
              <p:nvSpPr>
                <p:cNvPr id="85" name="AutoShape 104">
                  <a:extLst>
                    <a:ext uri="{FF2B5EF4-FFF2-40B4-BE49-F238E27FC236}">
                      <a16:creationId xmlns:a16="http://schemas.microsoft.com/office/drawing/2014/main" id="{06D15DD0-96FE-403F-B5E9-0AC1B369B720}"/>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06">
                  <a:extLst>
                    <a:ext uri="{FF2B5EF4-FFF2-40B4-BE49-F238E27FC236}">
                      <a16:creationId xmlns:a16="http://schemas.microsoft.com/office/drawing/2014/main" id="{933ED22D-FCD4-47B4-8EE8-861527B89EEB}"/>
                    </a:ext>
                  </a:extLst>
                </p:cNvPr>
                <p:cNvSpPr>
                  <a:spLocks noChangeArrowheads="1"/>
                </p:cNvSpPr>
                <p:nvPr/>
              </p:nvSpPr>
              <p:spPr bwMode="auto">
                <a:xfrm>
                  <a:off x="2208"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07">
                  <a:extLst>
                    <a:ext uri="{FF2B5EF4-FFF2-40B4-BE49-F238E27FC236}">
                      <a16:creationId xmlns:a16="http://schemas.microsoft.com/office/drawing/2014/main" id="{3B389CA4-2384-4478-B767-A1F1D5CC16B7}"/>
                    </a:ext>
                  </a:extLst>
                </p:cNvPr>
                <p:cNvSpPr>
                  <a:spLocks noChangeArrowheads="1"/>
                </p:cNvSpPr>
                <p:nvPr/>
              </p:nvSpPr>
              <p:spPr bwMode="auto">
                <a:xfrm>
                  <a:off x="2208" y="2791"/>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8" name="Rectangle 108">
                  <a:extLst>
                    <a:ext uri="{FF2B5EF4-FFF2-40B4-BE49-F238E27FC236}">
                      <a16:creationId xmlns:a16="http://schemas.microsoft.com/office/drawing/2014/main" id="{AE0E9A12-B92C-432E-AF67-F5F141BA5B7C}"/>
                    </a:ext>
                  </a:extLst>
                </p:cNvPr>
                <p:cNvSpPr>
                  <a:spLocks noChangeArrowheads="1"/>
                </p:cNvSpPr>
                <p:nvPr/>
              </p:nvSpPr>
              <p:spPr bwMode="auto">
                <a:xfrm>
                  <a:off x="2208" y="2869"/>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9" name="Rectangle 109">
                  <a:extLst>
                    <a:ext uri="{FF2B5EF4-FFF2-40B4-BE49-F238E27FC236}">
                      <a16:creationId xmlns:a16="http://schemas.microsoft.com/office/drawing/2014/main" id="{1E6B7253-EEEF-4908-B2C9-C98E93F767C8}"/>
                    </a:ext>
                  </a:extLst>
                </p:cNvPr>
                <p:cNvSpPr>
                  <a:spLocks noChangeArrowheads="1"/>
                </p:cNvSpPr>
                <p:nvPr/>
              </p:nvSpPr>
              <p:spPr bwMode="auto">
                <a:xfrm>
                  <a:off x="2208" y="2947"/>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90" name="Rectangle 110">
                  <a:extLst>
                    <a:ext uri="{FF2B5EF4-FFF2-40B4-BE49-F238E27FC236}">
                      <a16:creationId xmlns:a16="http://schemas.microsoft.com/office/drawing/2014/main" id="{CB8096DC-8238-4145-8B22-EE2587EB9244}"/>
                    </a:ext>
                  </a:extLst>
                </p:cNvPr>
                <p:cNvSpPr>
                  <a:spLocks noChangeArrowheads="1"/>
                </p:cNvSpPr>
                <p:nvPr/>
              </p:nvSpPr>
              <p:spPr bwMode="auto">
                <a:xfrm>
                  <a:off x="2208" y="3025"/>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91" name="Oval 111">
                  <a:extLst>
                    <a:ext uri="{FF2B5EF4-FFF2-40B4-BE49-F238E27FC236}">
                      <a16:creationId xmlns:a16="http://schemas.microsoft.com/office/drawing/2014/main" id="{73858BD7-72B4-4A5D-BFC7-C443F445E92E}"/>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112">
                  <a:extLst>
                    <a:ext uri="{FF2B5EF4-FFF2-40B4-BE49-F238E27FC236}">
                      <a16:creationId xmlns:a16="http://schemas.microsoft.com/office/drawing/2014/main" id="{ABB10A43-A83C-420D-B8A6-A169CDF2B5EE}"/>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13">
                  <a:extLst>
                    <a:ext uri="{FF2B5EF4-FFF2-40B4-BE49-F238E27FC236}">
                      <a16:creationId xmlns:a16="http://schemas.microsoft.com/office/drawing/2014/main" id="{E1D24B8A-BB57-45A7-B229-C06FE8174C99}"/>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14">
                  <a:extLst>
                    <a:ext uri="{FF2B5EF4-FFF2-40B4-BE49-F238E27FC236}">
                      <a16:creationId xmlns:a16="http://schemas.microsoft.com/office/drawing/2014/main" id="{E2FEF5B8-C7F4-411E-A25E-027A52945428}"/>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15">
                  <a:extLst>
                    <a:ext uri="{FF2B5EF4-FFF2-40B4-BE49-F238E27FC236}">
                      <a16:creationId xmlns:a16="http://schemas.microsoft.com/office/drawing/2014/main" id="{88D4E00C-AE14-445E-A6D8-EDEF8201B346}"/>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16">
                  <a:extLst>
                    <a:ext uri="{FF2B5EF4-FFF2-40B4-BE49-F238E27FC236}">
                      <a16:creationId xmlns:a16="http://schemas.microsoft.com/office/drawing/2014/main" id="{45D7E8B6-D73B-40E2-A453-7F1AAC9CC9E8}"/>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17">
                  <a:extLst>
                    <a:ext uri="{FF2B5EF4-FFF2-40B4-BE49-F238E27FC236}">
                      <a16:creationId xmlns:a16="http://schemas.microsoft.com/office/drawing/2014/main" id="{6D105AB5-0B56-4298-B61C-CD18330D92F2}"/>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118">
                  <a:extLst>
                    <a:ext uri="{FF2B5EF4-FFF2-40B4-BE49-F238E27FC236}">
                      <a16:creationId xmlns:a16="http://schemas.microsoft.com/office/drawing/2014/main" id="{7FC3C1C9-BE40-4BB2-8A49-7B5C4C05AAE8}"/>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19">
                  <a:extLst>
                    <a:ext uri="{FF2B5EF4-FFF2-40B4-BE49-F238E27FC236}">
                      <a16:creationId xmlns:a16="http://schemas.microsoft.com/office/drawing/2014/main" id="{3DD954F1-14C9-46CF-B85D-753A601B3EF8}"/>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120">
                  <a:extLst>
                    <a:ext uri="{FF2B5EF4-FFF2-40B4-BE49-F238E27FC236}">
                      <a16:creationId xmlns:a16="http://schemas.microsoft.com/office/drawing/2014/main" id="{798A34A2-F4EF-4C10-954A-EC02C39A57A0}"/>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Oval 121">
                  <a:extLst>
                    <a:ext uri="{FF2B5EF4-FFF2-40B4-BE49-F238E27FC236}">
                      <a16:creationId xmlns:a16="http://schemas.microsoft.com/office/drawing/2014/main" id="{F90DD129-00BA-4FBD-B17D-C6B4AD766484}"/>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122">
                  <a:extLst>
                    <a:ext uri="{FF2B5EF4-FFF2-40B4-BE49-F238E27FC236}">
                      <a16:creationId xmlns:a16="http://schemas.microsoft.com/office/drawing/2014/main" id="{0151AD92-1E91-4C7B-9B08-AED7B1EE1679}"/>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80" name="Connector: Elbow 79">
                <a:extLst>
                  <a:ext uri="{FF2B5EF4-FFF2-40B4-BE49-F238E27FC236}">
                    <a16:creationId xmlns:a16="http://schemas.microsoft.com/office/drawing/2014/main" id="{DD0129FD-45FE-426C-8E45-720A004DB3A7}"/>
                  </a:ext>
                </a:extLst>
              </p:cNvPr>
              <p:cNvCxnSpPr>
                <a:stCxn id="76" idx="2"/>
                <a:endCxn id="77" idx="2"/>
              </p:cNvCxnSpPr>
              <p:nvPr/>
            </p:nvCxnSpPr>
            <p:spPr>
              <a:xfrm rot="16200000" flipH="1">
                <a:off x="6376416" y="2749723"/>
                <a:ext cx="9838" cy="501567"/>
              </a:xfrm>
              <a:prstGeom prst="bentConnector3">
                <a:avLst>
                  <a:gd name="adj1" fmla="val 696346"/>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1560905A-C80C-46F2-B20F-B38C74F41608}"/>
                  </a:ext>
                </a:extLst>
              </p:cNvPr>
              <p:cNvSpPr/>
              <p:nvPr/>
            </p:nvSpPr>
            <p:spPr bwMode="auto">
              <a:xfrm>
                <a:off x="6262335" y="2962523"/>
                <a:ext cx="228162" cy="2039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a:extLst>
                  <a:ext uri="{FF2B5EF4-FFF2-40B4-BE49-F238E27FC236}">
                    <a16:creationId xmlns:a16="http://schemas.microsoft.com/office/drawing/2014/main" id="{299550AF-F491-42D4-B687-83E0FB42F2A2}"/>
                  </a:ext>
                </a:extLst>
              </p:cNvPr>
              <p:cNvGrpSpPr/>
              <p:nvPr/>
            </p:nvGrpSpPr>
            <p:grpSpPr>
              <a:xfrm>
                <a:off x="6288827" y="2980199"/>
                <a:ext cx="175178" cy="172932"/>
                <a:chOff x="7710395" y="4490321"/>
                <a:chExt cx="1454870" cy="1436218"/>
              </a:xfrm>
            </p:grpSpPr>
            <p:sp>
              <p:nvSpPr>
                <p:cNvPr id="83" name="Freeform 180">
                  <a:extLst>
                    <a:ext uri="{FF2B5EF4-FFF2-40B4-BE49-F238E27FC236}">
                      <a16:creationId xmlns:a16="http://schemas.microsoft.com/office/drawing/2014/main" id="{21FF05F5-6BED-4D81-B99F-F439660980AC}"/>
                    </a:ext>
                  </a:extLst>
                </p:cNvPr>
                <p:cNvSpPr>
                  <a:spLocks/>
                </p:cNvSpPr>
                <p:nvPr/>
              </p:nvSpPr>
              <p:spPr bwMode="auto">
                <a:xfrm>
                  <a:off x="7710395" y="4490321"/>
                  <a:ext cx="1454870" cy="1436218"/>
                </a:xfrm>
                <a:custGeom>
                  <a:avLst/>
                  <a:gdLst>
                    <a:gd name="T0" fmla="*/ 147 w 160"/>
                    <a:gd name="T1" fmla="*/ 64 h 160"/>
                    <a:gd name="T2" fmla="*/ 139 w 160"/>
                    <a:gd name="T3" fmla="*/ 44 h 160"/>
                    <a:gd name="T4" fmla="*/ 145 w 160"/>
                    <a:gd name="T5" fmla="*/ 31 h 160"/>
                    <a:gd name="T6" fmla="*/ 129 w 160"/>
                    <a:gd name="T7" fmla="*/ 15 h 160"/>
                    <a:gd name="T8" fmla="*/ 116 w 160"/>
                    <a:gd name="T9" fmla="*/ 21 h 160"/>
                    <a:gd name="T10" fmla="*/ 96 w 160"/>
                    <a:gd name="T11" fmla="*/ 13 h 160"/>
                    <a:gd name="T12" fmla="*/ 92 w 160"/>
                    <a:gd name="T13" fmla="*/ 0 h 160"/>
                    <a:gd name="T14" fmla="*/ 69 w 160"/>
                    <a:gd name="T15" fmla="*/ 0 h 160"/>
                    <a:gd name="T16" fmla="*/ 64 w 160"/>
                    <a:gd name="T17" fmla="*/ 13 h 160"/>
                    <a:gd name="T18" fmla="*/ 44 w 160"/>
                    <a:gd name="T19" fmla="*/ 21 h 160"/>
                    <a:gd name="T20" fmla="*/ 32 w 160"/>
                    <a:gd name="T21" fmla="*/ 15 h 160"/>
                    <a:gd name="T22" fmla="*/ 16 w 160"/>
                    <a:gd name="T23" fmla="*/ 31 h 160"/>
                    <a:gd name="T24" fmla="*/ 22 w 160"/>
                    <a:gd name="T25" fmla="*/ 44 h 160"/>
                    <a:gd name="T26" fmla="*/ 14 w 160"/>
                    <a:gd name="T27" fmla="*/ 64 h 160"/>
                    <a:gd name="T28" fmla="*/ 0 w 160"/>
                    <a:gd name="T29" fmla="*/ 68 h 160"/>
                    <a:gd name="T30" fmla="*/ 0 w 160"/>
                    <a:gd name="T31" fmla="*/ 91 h 160"/>
                    <a:gd name="T32" fmla="*/ 14 w 160"/>
                    <a:gd name="T33" fmla="*/ 96 h 160"/>
                    <a:gd name="T34" fmla="*/ 22 w 160"/>
                    <a:gd name="T35" fmla="*/ 116 h 160"/>
                    <a:gd name="T36" fmla="*/ 16 w 160"/>
                    <a:gd name="T37" fmla="*/ 128 h 160"/>
                    <a:gd name="T38" fmla="*/ 32 w 160"/>
                    <a:gd name="T39" fmla="*/ 144 h 160"/>
                    <a:gd name="T40" fmla="*/ 44 w 160"/>
                    <a:gd name="T41" fmla="*/ 138 h 160"/>
                    <a:gd name="T42" fmla="*/ 64 w 160"/>
                    <a:gd name="T43" fmla="*/ 146 h 160"/>
                    <a:gd name="T44" fmla="*/ 69 w 160"/>
                    <a:gd name="T45" fmla="*/ 160 h 160"/>
                    <a:gd name="T46" fmla="*/ 92 w 160"/>
                    <a:gd name="T47" fmla="*/ 160 h 160"/>
                    <a:gd name="T48" fmla="*/ 96 w 160"/>
                    <a:gd name="T49" fmla="*/ 146 h 160"/>
                    <a:gd name="T50" fmla="*/ 116 w 160"/>
                    <a:gd name="T51" fmla="*/ 138 h 160"/>
                    <a:gd name="T52" fmla="*/ 129 w 160"/>
                    <a:gd name="T53" fmla="*/ 144 h 160"/>
                    <a:gd name="T54" fmla="*/ 145 w 160"/>
                    <a:gd name="T55" fmla="*/ 128 h 160"/>
                    <a:gd name="T56" fmla="*/ 139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9" y="44"/>
                      </a:cubicBezTo>
                      <a:cubicBezTo>
                        <a:pt x="145" y="31"/>
                        <a:pt x="145" y="31"/>
                        <a:pt x="145" y="31"/>
                      </a:cubicBezTo>
                      <a:cubicBezTo>
                        <a:pt x="129" y="15"/>
                        <a:pt x="129" y="15"/>
                        <a:pt x="129" y="15"/>
                      </a:cubicBezTo>
                      <a:cubicBezTo>
                        <a:pt x="116" y="21"/>
                        <a:pt x="116" y="21"/>
                        <a:pt x="116" y="21"/>
                      </a:cubicBezTo>
                      <a:cubicBezTo>
                        <a:pt x="110" y="18"/>
                        <a:pt x="103" y="15"/>
                        <a:pt x="96" y="13"/>
                      </a:cubicBezTo>
                      <a:cubicBezTo>
                        <a:pt x="92" y="0"/>
                        <a:pt x="92" y="0"/>
                        <a:pt x="92" y="0"/>
                      </a:cubicBezTo>
                      <a:cubicBezTo>
                        <a:pt x="69" y="0"/>
                        <a:pt x="69" y="0"/>
                        <a:pt x="69" y="0"/>
                      </a:cubicBezTo>
                      <a:cubicBezTo>
                        <a:pt x="64" y="13"/>
                        <a:pt x="64" y="13"/>
                        <a:pt x="64" y="13"/>
                      </a:cubicBezTo>
                      <a:cubicBezTo>
                        <a:pt x="57" y="15"/>
                        <a:pt x="51" y="18"/>
                        <a:pt x="44" y="21"/>
                      </a:cubicBezTo>
                      <a:cubicBezTo>
                        <a:pt x="32" y="15"/>
                        <a:pt x="32" y="15"/>
                        <a:pt x="32" y="15"/>
                      </a:cubicBezTo>
                      <a:cubicBezTo>
                        <a:pt x="16" y="31"/>
                        <a:pt x="16" y="31"/>
                        <a:pt x="16" y="31"/>
                      </a:cubicBezTo>
                      <a:cubicBezTo>
                        <a:pt x="22" y="44"/>
                        <a:pt x="22" y="44"/>
                        <a:pt x="22" y="44"/>
                      </a:cubicBezTo>
                      <a:cubicBezTo>
                        <a:pt x="18" y="50"/>
                        <a:pt x="15" y="57"/>
                        <a:pt x="14" y="64"/>
                      </a:cubicBezTo>
                      <a:cubicBezTo>
                        <a:pt x="0" y="68"/>
                        <a:pt x="0" y="68"/>
                        <a:pt x="0" y="68"/>
                      </a:cubicBezTo>
                      <a:cubicBezTo>
                        <a:pt x="0" y="91"/>
                        <a:pt x="0" y="91"/>
                        <a:pt x="0" y="91"/>
                      </a:cubicBezTo>
                      <a:cubicBezTo>
                        <a:pt x="14" y="96"/>
                        <a:pt x="14" y="96"/>
                        <a:pt x="14" y="96"/>
                      </a:cubicBezTo>
                      <a:cubicBezTo>
                        <a:pt x="15" y="103"/>
                        <a:pt x="18" y="109"/>
                        <a:pt x="22" y="116"/>
                      </a:cubicBezTo>
                      <a:cubicBezTo>
                        <a:pt x="16" y="128"/>
                        <a:pt x="16" y="128"/>
                        <a:pt x="16" y="128"/>
                      </a:cubicBezTo>
                      <a:cubicBezTo>
                        <a:pt x="32" y="144"/>
                        <a:pt x="32" y="144"/>
                        <a:pt x="32" y="144"/>
                      </a:cubicBezTo>
                      <a:cubicBezTo>
                        <a:pt x="44" y="138"/>
                        <a:pt x="44" y="138"/>
                        <a:pt x="44" y="138"/>
                      </a:cubicBezTo>
                      <a:cubicBezTo>
                        <a:pt x="51" y="142"/>
                        <a:pt x="57" y="145"/>
                        <a:pt x="64" y="146"/>
                      </a:cubicBezTo>
                      <a:cubicBezTo>
                        <a:pt x="69" y="160"/>
                        <a:pt x="69" y="160"/>
                        <a:pt x="69" y="160"/>
                      </a:cubicBezTo>
                      <a:cubicBezTo>
                        <a:pt x="92" y="160"/>
                        <a:pt x="92" y="160"/>
                        <a:pt x="92" y="160"/>
                      </a:cubicBezTo>
                      <a:cubicBezTo>
                        <a:pt x="96" y="146"/>
                        <a:pt x="96" y="146"/>
                        <a:pt x="96" y="146"/>
                      </a:cubicBezTo>
                      <a:cubicBezTo>
                        <a:pt x="103" y="145"/>
                        <a:pt x="110" y="142"/>
                        <a:pt x="116" y="138"/>
                      </a:cubicBezTo>
                      <a:cubicBezTo>
                        <a:pt x="129" y="144"/>
                        <a:pt x="129" y="144"/>
                        <a:pt x="129" y="144"/>
                      </a:cubicBezTo>
                      <a:cubicBezTo>
                        <a:pt x="145" y="128"/>
                        <a:pt x="145" y="128"/>
                        <a:pt x="145" y="128"/>
                      </a:cubicBezTo>
                      <a:cubicBezTo>
                        <a:pt x="139" y="116"/>
                        <a:pt x="139" y="116"/>
                        <a:pt x="139" y="116"/>
                      </a:cubicBezTo>
                      <a:cubicBezTo>
                        <a:pt x="142" y="109"/>
                        <a:pt x="145" y="103"/>
                        <a:pt x="147" y="96"/>
                      </a:cubicBezTo>
                      <a:cubicBezTo>
                        <a:pt x="160" y="91"/>
                        <a:pt x="160" y="91"/>
                        <a:pt x="160" y="91"/>
                      </a:cubicBezTo>
                      <a:cubicBezTo>
                        <a:pt x="160" y="68"/>
                        <a:pt x="160" y="68"/>
                        <a:pt x="160" y="68"/>
                      </a:cubicBezTo>
                      <a:lnTo>
                        <a:pt x="147" y="64"/>
                      </a:lnTo>
                      <a:close/>
                    </a:path>
                  </a:pathLst>
                </a:cu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4" name="Freeform: Shape 83">
                  <a:extLst>
                    <a:ext uri="{FF2B5EF4-FFF2-40B4-BE49-F238E27FC236}">
                      <a16:creationId xmlns:a16="http://schemas.microsoft.com/office/drawing/2014/main" id="{D685AF68-44C5-4B14-8B15-E19BE99953D9}"/>
                    </a:ext>
                  </a:extLst>
                </p:cNvPr>
                <p:cNvSpPr/>
                <p:nvPr/>
              </p:nvSpPr>
              <p:spPr bwMode="auto">
                <a:xfrm>
                  <a:off x="8136886" y="4907489"/>
                  <a:ext cx="601888" cy="601882"/>
                </a:xfrm>
                <a:custGeom>
                  <a:avLst/>
                  <a:gdLst>
                    <a:gd name="connsiteX0" fmla="*/ 166687 w 231775"/>
                    <a:gd name="connsiteY0" fmla="*/ 0 h 231775"/>
                    <a:gd name="connsiteX1" fmla="*/ 231775 w 231775"/>
                    <a:gd name="connsiteY1" fmla="*/ 0 h 231775"/>
                    <a:gd name="connsiteX2" fmla="*/ 139700 w 231775"/>
                    <a:gd name="connsiteY2" fmla="*/ 92075 h 231775"/>
                    <a:gd name="connsiteX3" fmla="*/ 204788 w 231775"/>
                    <a:gd name="connsiteY3" fmla="*/ 92075 h 231775"/>
                    <a:gd name="connsiteX4" fmla="*/ 66675 w 231775"/>
                    <a:gd name="connsiteY4" fmla="*/ 231775 h 231775"/>
                    <a:gd name="connsiteX5" fmla="*/ 0 w 231775"/>
                    <a:gd name="connsiteY5" fmla="*/ 231775 h 231775"/>
                    <a:gd name="connsiteX6" fmla="*/ 92075 w 231775"/>
                    <a:gd name="connsiteY6" fmla="*/ 139700 h 231775"/>
                    <a:gd name="connsiteX7" fmla="*/ 26987 w 231775"/>
                    <a:gd name="connsiteY7" fmla="*/ 13970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775" h="231775">
                      <a:moveTo>
                        <a:pt x="166687" y="0"/>
                      </a:moveTo>
                      <a:lnTo>
                        <a:pt x="231775" y="0"/>
                      </a:lnTo>
                      <a:lnTo>
                        <a:pt x="139700" y="92075"/>
                      </a:lnTo>
                      <a:lnTo>
                        <a:pt x="204788" y="92075"/>
                      </a:lnTo>
                      <a:lnTo>
                        <a:pt x="66675" y="231775"/>
                      </a:lnTo>
                      <a:lnTo>
                        <a:pt x="0" y="231775"/>
                      </a:lnTo>
                      <a:lnTo>
                        <a:pt x="92075" y="139700"/>
                      </a:lnTo>
                      <a:lnTo>
                        <a:pt x="26987" y="1397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grpSp>
        </p:grpSp>
      </p:grpSp>
    </p:spTree>
    <p:extLst>
      <p:ext uri="{BB962C8B-B14F-4D97-AF65-F5344CB8AC3E}">
        <p14:creationId xmlns:p14="http://schemas.microsoft.com/office/powerpoint/2010/main" val="411467160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EE848-65EA-4F3D-AA59-286CF0338285}"/>
              </a:ext>
            </a:extLst>
          </p:cNvPr>
          <p:cNvSpPr>
            <a:spLocks noGrp="1"/>
          </p:cNvSpPr>
          <p:nvPr>
            <p:ph type="title"/>
          </p:nvPr>
        </p:nvSpPr>
        <p:spPr/>
        <p:txBody>
          <a:bodyPr/>
          <a:lstStyle/>
          <a:p>
            <a:r>
              <a:rPr lang="en-US" dirty="0"/>
              <a:t>Scaling Compute</a:t>
            </a:r>
          </a:p>
        </p:txBody>
      </p:sp>
      <p:graphicFrame>
        <p:nvGraphicFramePr>
          <p:cNvPr id="4" name="Table 4">
            <a:extLst>
              <a:ext uri="{FF2B5EF4-FFF2-40B4-BE49-F238E27FC236}">
                <a16:creationId xmlns:a16="http://schemas.microsoft.com/office/drawing/2014/main" id="{44B59BE2-BDA3-479D-BDA8-F921F4A69DF4}"/>
              </a:ext>
            </a:extLst>
          </p:cNvPr>
          <p:cNvGraphicFramePr>
            <a:graphicFrameLocks noGrp="1"/>
          </p:cNvGraphicFramePr>
          <p:nvPr>
            <p:extLst>
              <p:ext uri="{D42A27DB-BD31-4B8C-83A1-F6EECF244321}">
                <p14:modId xmlns:p14="http://schemas.microsoft.com/office/powerpoint/2010/main" val="811018186"/>
              </p:ext>
            </p:extLst>
          </p:nvPr>
        </p:nvGraphicFramePr>
        <p:xfrm>
          <a:off x="2259330" y="1097280"/>
          <a:ext cx="7673340" cy="5440680"/>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2557780">
                  <a:extLst>
                    <a:ext uri="{9D8B030D-6E8A-4147-A177-3AD203B41FA5}">
                      <a16:colId xmlns:a16="http://schemas.microsoft.com/office/drawing/2014/main" val="1432371333"/>
                    </a:ext>
                  </a:extLst>
                </a:gridCol>
                <a:gridCol w="2557780">
                  <a:extLst>
                    <a:ext uri="{9D8B030D-6E8A-4147-A177-3AD203B41FA5}">
                      <a16:colId xmlns:a16="http://schemas.microsoft.com/office/drawing/2014/main" val="946483975"/>
                    </a:ext>
                  </a:extLst>
                </a:gridCol>
                <a:gridCol w="2557780">
                  <a:extLst>
                    <a:ext uri="{9D8B030D-6E8A-4147-A177-3AD203B41FA5}">
                      <a16:colId xmlns:a16="http://schemas.microsoft.com/office/drawing/2014/main" val="3302170393"/>
                    </a:ext>
                  </a:extLst>
                </a:gridCol>
              </a:tblGrid>
              <a:tr h="320040">
                <a:tc>
                  <a:txBody>
                    <a:bodyPr/>
                    <a:lstStyle/>
                    <a:p>
                      <a:pPr algn="ctr"/>
                      <a:r>
                        <a:rPr lang="en-US" sz="1400" dirty="0" err="1"/>
                        <a:t>cDWU</a:t>
                      </a:r>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t># of Compute Nod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t># Distributions per n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9680309"/>
                  </a:ext>
                </a:extLst>
              </a:tr>
              <a:tr h="320040">
                <a:tc>
                  <a:txBody>
                    <a:bodyPr/>
                    <a:lstStyle/>
                    <a:p>
                      <a:pPr algn="ctr" fontAlgn="t"/>
                      <a:r>
                        <a:rPr lang="en-US" sz="1200" dirty="0">
                          <a:effectLst/>
                        </a:rPr>
                        <a:t>DW1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3523431"/>
                  </a:ext>
                </a:extLst>
              </a:tr>
              <a:tr h="320040">
                <a:tc>
                  <a:txBody>
                    <a:bodyPr/>
                    <a:lstStyle/>
                    <a:p>
                      <a:pPr algn="ctr" fontAlgn="t"/>
                      <a:r>
                        <a:rPr lang="en-US" sz="1200" dirty="0">
                          <a:effectLst/>
                        </a:rPr>
                        <a:t>DW2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3662821"/>
                  </a:ext>
                </a:extLst>
              </a:tr>
              <a:tr h="320040">
                <a:tc>
                  <a:txBody>
                    <a:bodyPr/>
                    <a:lstStyle/>
                    <a:p>
                      <a:pPr algn="ctr" fontAlgn="t"/>
                      <a:r>
                        <a:rPr lang="en-US" sz="1200">
                          <a:effectLst/>
                        </a:rPr>
                        <a:t>DW3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6880490"/>
                  </a:ext>
                </a:extLst>
              </a:tr>
              <a:tr h="320040">
                <a:tc>
                  <a:txBody>
                    <a:bodyPr/>
                    <a:lstStyle/>
                    <a:p>
                      <a:pPr algn="ctr" fontAlgn="t"/>
                      <a:r>
                        <a:rPr lang="en-US" sz="1200">
                          <a:effectLst/>
                        </a:rPr>
                        <a:t>DW4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1006197"/>
                  </a:ext>
                </a:extLst>
              </a:tr>
              <a:tr h="320040">
                <a:tc>
                  <a:txBody>
                    <a:bodyPr/>
                    <a:lstStyle/>
                    <a:p>
                      <a:pPr algn="ctr" fontAlgn="t"/>
                      <a:r>
                        <a:rPr lang="en-US" sz="1200" dirty="0">
                          <a:effectLst/>
                        </a:rPr>
                        <a:t>DW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9179518"/>
                  </a:ext>
                </a:extLst>
              </a:tr>
              <a:tr h="320040">
                <a:tc>
                  <a:txBody>
                    <a:bodyPr/>
                    <a:lstStyle/>
                    <a:p>
                      <a:pPr algn="ctr" fontAlgn="t"/>
                      <a:r>
                        <a:rPr lang="en-US" sz="1200">
                          <a:effectLst/>
                        </a:rPr>
                        <a:t>DW1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6708891"/>
                  </a:ext>
                </a:extLst>
              </a:tr>
              <a:tr h="320040">
                <a:tc>
                  <a:txBody>
                    <a:bodyPr/>
                    <a:lstStyle/>
                    <a:p>
                      <a:pPr algn="ctr" fontAlgn="t"/>
                      <a:r>
                        <a:rPr lang="en-US" sz="1200">
                          <a:effectLst/>
                        </a:rPr>
                        <a:t>DW1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7699790"/>
                  </a:ext>
                </a:extLst>
              </a:tr>
              <a:tr h="320040">
                <a:tc>
                  <a:txBody>
                    <a:bodyPr/>
                    <a:lstStyle/>
                    <a:p>
                      <a:pPr algn="ctr" fontAlgn="t"/>
                      <a:r>
                        <a:rPr lang="en-US" sz="1200">
                          <a:effectLst/>
                        </a:rPr>
                        <a:t>DW2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3985963"/>
                  </a:ext>
                </a:extLst>
              </a:tr>
              <a:tr h="320040">
                <a:tc>
                  <a:txBody>
                    <a:bodyPr/>
                    <a:lstStyle/>
                    <a:p>
                      <a:pPr algn="ctr" fontAlgn="t"/>
                      <a:r>
                        <a:rPr lang="en-US" sz="1200">
                          <a:effectLst/>
                        </a:rPr>
                        <a:t>DW2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0066826"/>
                  </a:ext>
                </a:extLst>
              </a:tr>
              <a:tr h="320040">
                <a:tc>
                  <a:txBody>
                    <a:bodyPr/>
                    <a:lstStyle/>
                    <a:p>
                      <a:pPr algn="ctr" fontAlgn="t"/>
                      <a:r>
                        <a:rPr lang="en-US" sz="1200">
                          <a:effectLst/>
                        </a:rPr>
                        <a:t>DW3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8456778"/>
                  </a:ext>
                </a:extLst>
              </a:tr>
              <a:tr h="320040">
                <a:tc>
                  <a:txBody>
                    <a:bodyPr/>
                    <a:lstStyle/>
                    <a:p>
                      <a:pPr algn="ctr" fontAlgn="t"/>
                      <a:r>
                        <a:rPr lang="en-US" sz="1200">
                          <a:effectLst/>
                        </a:rPr>
                        <a:t>DW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5303948"/>
                  </a:ext>
                </a:extLst>
              </a:tr>
              <a:tr h="320040">
                <a:tc>
                  <a:txBody>
                    <a:bodyPr/>
                    <a:lstStyle/>
                    <a:p>
                      <a:pPr algn="ctr" fontAlgn="t"/>
                      <a:r>
                        <a:rPr lang="en-US" sz="1200">
                          <a:effectLst/>
                        </a:rPr>
                        <a:t>DW6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368867"/>
                  </a:ext>
                </a:extLst>
              </a:tr>
              <a:tr h="320040">
                <a:tc>
                  <a:txBody>
                    <a:bodyPr/>
                    <a:lstStyle/>
                    <a:p>
                      <a:pPr algn="ctr" fontAlgn="t"/>
                      <a:r>
                        <a:rPr lang="en-US" sz="1200">
                          <a:effectLst/>
                        </a:rPr>
                        <a:t>DW7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4005588"/>
                  </a:ext>
                </a:extLst>
              </a:tr>
              <a:tr h="320040">
                <a:tc>
                  <a:txBody>
                    <a:bodyPr/>
                    <a:lstStyle/>
                    <a:p>
                      <a:pPr algn="ctr" fontAlgn="t"/>
                      <a:r>
                        <a:rPr lang="en-US" sz="1200">
                          <a:effectLst/>
                        </a:rPr>
                        <a:t>DW1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5870167"/>
                  </a:ext>
                </a:extLst>
              </a:tr>
              <a:tr h="320040">
                <a:tc>
                  <a:txBody>
                    <a:bodyPr/>
                    <a:lstStyle/>
                    <a:p>
                      <a:pPr algn="ctr" fontAlgn="t"/>
                      <a:r>
                        <a:rPr lang="en-US" sz="1200">
                          <a:effectLst/>
                        </a:rPr>
                        <a:t>DW1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10874"/>
                  </a:ext>
                </a:extLst>
              </a:tr>
              <a:tr h="320040">
                <a:tc>
                  <a:txBody>
                    <a:bodyPr/>
                    <a:lstStyle/>
                    <a:p>
                      <a:pPr algn="ctr" fontAlgn="t"/>
                      <a:r>
                        <a:rPr lang="en-US" sz="1200">
                          <a:effectLst/>
                        </a:rPr>
                        <a:t>DW3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85846278"/>
                  </a:ext>
                </a:extLst>
              </a:tr>
            </a:tbl>
          </a:graphicData>
        </a:graphic>
      </p:graphicFrame>
    </p:spTree>
    <p:extLst>
      <p:ext uri="{BB962C8B-B14F-4D97-AF65-F5344CB8AC3E}">
        <p14:creationId xmlns:p14="http://schemas.microsoft.com/office/powerpoint/2010/main" val="2685198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effectLst/>
      </p:bgPr>
    </p:bg>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4964595"/>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377" y="4602877"/>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738341" y="950497"/>
            <a:ext cx="7974384"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524"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8991" y="4594534"/>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2219" y="462786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5605" y="4602877"/>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4581653"/>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206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56993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brain of the MPP architectur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It</a:t>
            </a:r>
            <a:r>
              <a:rPr lang="en-US" sz="2000" dirty="0">
                <a:solidFill>
                  <a:schemeClr val="tx1"/>
                </a:solidFill>
                <a:latin typeface="Segoe UI (Body)"/>
              </a:rPr>
              <a:t> is the front end to that interacts with applications and connections</a:t>
            </a:r>
          </a:p>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distributed query engine runs on the control nod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Responsible</a:t>
            </a:r>
            <a:r>
              <a:rPr lang="en-US" sz="2000" dirty="0">
                <a:solidFill>
                  <a:schemeClr val="tx1"/>
                </a:solidFill>
                <a:latin typeface="Segoe UI (Body)"/>
              </a:rPr>
              <a:t> for optimizing and coordinating queries</a:t>
            </a: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Control Node</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5"/>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282256559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164660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brawn of the MPP architectur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Provides computational power</a:t>
            </a:r>
            <a:endParaRPr lang="en-US" sz="2000" dirty="0">
              <a:solidFill>
                <a:schemeClr val="tx1"/>
              </a:solidFill>
              <a:latin typeface="Segoe UI (Body)"/>
            </a:endParaRPr>
          </a:p>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Number of compute</a:t>
            </a:r>
            <a:r>
              <a:rPr kumimoji="0" lang="en-US" sz="2000" b="0" i="0" u="none" strike="noStrike" kern="1200" cap="none" spc="0" normalizeH="0" noProof="0" dirty="0">
                <a:ln>
                  <a:noFill/>
                </a:ln>
                <a:solidFill>
                  <a:schemeClr val="tx1"/>
                </a:solidFill>
                <a:effectLst/>
                <a:uLnTx/>
                <a:uFillTx/>
                <a:latin typeface="Segoe UI (Body)"/>
              </a:rPr>
              <a:t> nodes can</a:t>
            </a:r>
            <a:r>
              <a:rPr kumimoji="0" lang="en-US" sz="2000" b="0" i="0" u="none" strike="noStrike" kern="1200" cap="none" spc="0" normalizeH="0" baseline="0" noProof="0" dirty="0">
                <a:ln>
                  <a:noFill/>
                </a:ln>
                <a:solidFill>
                  <a:schemeClr val="tx1"/>
                </a:solidFill>
                <a:effectLst/>
                <a:uLnTx/>
                <a:uFillTx/>
                <a:latin typeface="Segoe UI (Body)"/>
              </a:rPr>
              <a:t> range from 1 to 60 </a:t>
            </a:r>
            <a:endParaRPr kumimoji="0" lang="en-US" sz="2000" b="0" i="0" u="none" strike="noStrike" kern="1200" cap="none" spc="0" normalizeH="0" noProof="0" dirty="0">
              <a:ln>
                <a:noFill/>
              </a:ln>
              <a:solidFill>
                <a:schemeClr val="tx1"/>
              </a:solidFill>
              <a:effectLst/>
              <a:uLnTx/>
              <a:uFillTx/>
              <a:latin typeface="Segoe UI (Body)"/>
            </a:endParaRPr>
          </a:p>
          <a:p>
            <a:pPr marL="514350" lvl="2" indent="-342900" defTabSz="114300">
              <a:buFont typeface="Wingdings" panose="05000000000000000000" pitchFamily="2" charset="2"/>
              <a:buChar char="§"/>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Compute Nodes</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5"/>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325608598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D2D8751A-2E8F-4B82-A252-D830B7D8DCE2}"/>
              </a:ext>
            </a:extLst>
          </p:cNvPr>
          <p:cNvGrpSpPr/>
          <p:nvPr/>
        </p:nvGrpSpPr>
        <p:grpSpPr>
          <a:xfrm>
            <a:off x="3869320" y="1181386"/>
            <a:ext cx="1124243" cy="1356385"/>
            <a:chOff x="3869005" y="1181066"/>
            <a:chExt cx="1124402" cy="1356577"/>
          </a:xfrm>
        </p:grpSpPr>
        <p:sp>
          <p:nvSpPr>
            <p:cNvPr id="10" name="Rectangle 378"/>
            <p:cNvSpPr>
              <a:spLocks noChangeArrowheads="1"/>
            </p:cNvSpPr>
            <p:nvPr/>
          </p:nvSpPr>
          <p:spPr bwMode="auto">
            <a:xfrm>
              <a:off x="3869005" y="1657975"/>
              <a:ext cx="65" cy="33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56885">
                <a:defRPr/>
              </a:pPr>
              <a:endParaRPr lang="en-US" altLang="en-US" sz="2206" kern="0" dirty="0">
                <a:solidFill>
                  <a:srgbClr val="505050"/>
                </a:solidFill>
                <a:latin typeface="Segoe UI"/>
              </a:endParaRPr>
            </a:p>
          </p:txBody>
        </p:sp>
        <p:grpSp>
          <p:nvGrpSpPr>
            <p:cNvPr id="11" name="Group 10"/>
            <p:cNvGrpSpPr>
              <a:grpSpLocks noChangeAspect="1"/>
            </p:cNvGrpSpPr>
            <p:nvPr/>
          </p:nvGrpSpPr>
          <p:grpSpPr>
            <a:xfrm>
              <a:off x="3876498" y="1181066"/>
              <a:ext cx="1116909" cy="1356577"/>
              <a:chOff x="6676089" y="4829670"/>
              <a:chExt cx="2181833" cy="2596649"/>
            </a:xfrm>
          </p:grpSpPr>
          <p:sp>
            <p:nvSpPr>
              <p:cNvPr id="12" name="Can 11"/>
              <p:cNvSpPr/>
              <p:nvPr/>
            </p:nvSpPr>
            <p:spPr>
              <a:xfrm>
                <a:off x="6676089" y="4829670"/>
                <a:ext cx="2181833" cy="2596649"/>
              </a:xfrm>
              <a:prstGeom prst="can">
                <a:avLst>
                  <a:gd name="adj" fmla="val 4691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4" name="Group 13"/>
              <p:cNvGrpSpPr/>
              <p:nvPr/>
            </p:nvGrpSpPr>
            <p:grpSpPr>
              <a:xfrm>
                <a:off x="6806039" y="4974045"/>
                <a:ext cx="1936120" cy="706026"/>
                <a:chOff x="3617177" y="5327184"/>
                <a:chExt cx="2539947" cy="933206"/>
              </a:xfrm>
            </p:grpSpPr>
            <p:sp>
              <p:nvSpPr>
                <p:cNvPr id="15" name="Donut 14"/>
                <p:cNvSpPr/>
                <p:nvPr/>
              </p:nvSpPr>
              <p:spPr>
                <a:xfrm>
                  <a:off x="3617179" y="5327184"/>
                  <a:ext cx="2539945" cy="933206"/>
                </a:xfrm>
                <a:prstGeom prst="donut">
                  <a:avLst>
                    <a:gd name="adj" fmla="val 50000"/>
                  </a:avLst>
                </a:prstGeom>
                <a:solidFill>
                  <a:srgbClr val="00ABDA"/>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6" name="Freeform 15"/>
                <p:cNvSpPr/>
                <p:nvPr/>
              </p:nvSpPr>
              <p:spPr>
                <a:xfrm>
                  <a:off x="3617177" y="5577689"/>
                  <a:ext cx="2511697" cy="68270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42" name="TextBox 41"/>
            <p:cNvSpPr txBox="1"/>
            <p:nvPr/>
          </p:nvSpPr>
          <p:spPr>
            <a:xfrm>
              <a:off x="3987340" y="1262574"/>
              <a:ext cx="887315" cy="460041"/>
            </a:xfrm>
            <a:prstGeom prst="rect">
              <a:avLst/>
            </a:prstGeom>
            <a:noFill/>
          </p:spPr>
          <p:txBody>
            <a:bodyPr wrap="non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ntrol</a:t>
              </a:r>
            </a:p>
          </p:txBody>
        </p:sp>
        <p:sp>
          <p:nvSpPr>
            <p:cNvPr id="43" name="Rounded Rectangle 42"/>
            <p:cNvSpPr/>
            <p:nvPr/>
          </p:nvSpPr>
          <p:spPr>
            <a:xfrm>
              <a:off x="4040216" y="1730026"/>
              <a:ext cx="813210" cy="175633"/>
            </a:xfrm>
            <a:prstGeom prst="roundRect">
              <a:avLst/>
            </a:prstGeom>
            <a:solidFill>
              <a:schemeClr val="accent1"/>
            </a:solidFill>
            <a:ln w="12700" cap="flat" cmpd="sng" algn="ctr">
              <a:no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Engine</a:t>
              </a:r>
            </a:p>
          </p:txBody>
        </p:sp>
        <p:sp>
          <p:nvSpPr>
            <p:cNvPr id="46" name="Freeform 45"/>
            <p:cNvSpPr/>
            <p:nvPr/>
          </p:nvSpPr>
          <p:spPr bwMode="auto">
            <a:xfrm>
              <a:off x="4022916" y="2161625"/>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solidFill>
                    <a:srgbClr val="505050"/>
                  </a:solidFill>
                  <a:latin typeface="Segoe UI Light"/>
                  <a:ea typeface="Segoe UI" pitchFamily="34" charset="0"/>
                  <a:cs typeface="Segoe UI" pitchFamily="34" charset="0"/>
                </a:rPr>
                <a:t>SQL DB</a:t>
              </a:r>
            </a:p>
          </p:txBody>
        </p:sp>
      </p:grpSp>
      <p:cxnSp>
        <p:nvCxnSpPr>
          <p:cNvPr id="128" name="Straight Connector 127"/>
          <p:cNvCxnSpPr>
            <a:cxnSpLocks/>
            <a:stCxn id="249" idx="0"/>
            <a:endCxn id="12" idx="3"/>
          </p:cNvCxnSpPr>
          <p:nvPr/>
        </p:nvCxnSpPr>
        <p:spPr>
          <a:xfrm flipH="1" flipV="1">
            <a:off x="4435189" y="2537769"/>
            <a:ext cx="3398257" cy="460673"/>
          </a:xfrm>
          <a:prstGeom prst="line">
            <a:avLst/>
          </a:prstGeom>
          <a:noFill/>
          <a:ln w="38100" cap="flat" cmpd="sng" algn="ctr">
            <a:solidFill>
              <a:srgbClr val="5C2D91"/>
            </a:solidFill>
            <a:prstDash val="solid"/>
            <a:miter lim="800000"/>
          </a:ln>
          <a:effectLst/>
        </p:spPr>
      </p:cxnSp>
      <p:cxnSp>
        <p:nvCxnSpPr>
          <p:cNvPr id="306" name="Straight Connector 305"/>
          <p:cNvCxnSpPr>
            <a:cxnSpLocks/>
            <a:endCxn id="12" idx="3"/>
          </p:cNvCxnSpPr>
          <p:nvPr/>
        </p:nvCxnSpPr>
        <p:spPr>
          <a:xfrm flipH="1" flipV="1">
            <a:off x="4435189" y="2537769"/>
            <a:ext cx="1065819" cy="434333"/>
          </a:xfrm>
          <a:prstGeom prst="line">
            <a:avLst/>
          </a:prstGeom>
          <a:noFill/>
          <a:ln w="38100" cap="flat" cmpd="sng" algn="ctr">
            <a:solidFill>
              <a:srgbClr val="5C2D91"/>
            </a:solidFill>
            <a:prstDash val="solid"/>
            <a:miter lim="800000"/>
          </a:ln>
          <a:effectLst/>
        </p:spPr>
      </p:cxnSp>
      <p:cxnSp>
        <p:nvCxnSpPr>
          <p:cNvPr id="120" name="Straight Connector 119"/>
          <p:cNvCxnSpPr>
            <a:cxnSpLocks/>
            <a:endCxn id="12" idx="3"/>
          </p:cNvCxnSpPr>
          <p:nvPr/>
        </p:nvCxnSpPr>
        <p:spPr>
          <a:xfrm flipV="1">
            <a:off x="3243572" y="2537769"/>
            <a:ext cx="1191617" cy="417659"/>
          </a:xfrm>
          <a:prstGeom prst="line">
            <a:avLst/>
          </a:prstGeom>
          <a:noFill/>
          <a:ln w="38100" cap="flat" cmpd="sng" algn="ctr">
            <a:solidFill>
              <a:srgbClr val="5C2D91"/>
            </a:solidFill>
            <a:prstDash val="solid"/>
            <a:miter lim="800000"/>
          </a:ln>
          <a:effectLst/>
        </p:spPr>
      </p:cxnSp>
      <p:cxnSp>
        <p:nvCxnSpPr>
          <p:cNvPr id="304" name="Straight Connector 303"/>
          <p:cNvCxnSpPr>
            <a:cxnSpLocks/>
            <a:endCxn id="12" idx="3"/>
          </p:cNvCxnSpPr>
          <p:nvPr/>
        </p:nvCxnSpPr>
        <p:spPr>
          <a:xfrm flipV="1">
            <a:off x="975685" y="2537771"/>
            <a:ext cx="3459504" cy="417842"/>
          </a:xfrm>
          <a:prstGeom prst="line">
            <a:avLst/>
          </a:prstGeom>
          <a:noFill/>
          <a:ln w="38100" cap="flat" cmpd="sng" algn="ctr">
            <a:solidFill>
              <a:srgbClr val="5C2D91"/>
            </a:solidFill>
            <a:prstDash val="solid"/>
            <a:miter lim="800000"/>
          </a:ln>
          <a:effectLst/>
        </p:spPr>
      </p:cxnSp>
      <p:sp>
        <p:nvSpPr>
          <p:cNvPr id="239" name="Rectangle 238"/>
          <p:cNvSpPr/>
          <p:nvPr/>
        </p:nvSpPr>
        <p:spPr bwMode="auto">
          <a:xfrm>
            <a:off x="557777" y="3959177"/>
            <a:ext cx="7679871" cy="515505"/>
          </a:xfrm>
          <a:prstGeom prst="rect">
            <a:avLst/>
          </a:prstGeom>
          <a:solidFill>
            <a:srgbClr val="7030A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23" fontAlgn="base">
              <a:spcBef>
                <a:spcPct val="0"/>
              </a:spcBef>
              <a:spcAft>
                <a:spcPct val="0"/>
              </a:spcAft>
              <a:defRPr/>
            </a:pPr>
            <a:endParaRPr lang="en-US" sz="1961" kern="0" dirty="0">
              <a:solidFill>
                <a:schemeClr val="tx1"/>
              </a:solidFill>
            </a:endParaRPr>
          </a:p>
        </p:txBody>
      </p:sp>
      <p:grpSp>
        <p:nvGrpSpPr>
          <p:cNvPr id="26" name="Group 25">
            <a:extLst>
              <a:ext uri="{FF2B5EF4-FFF2-40B4-BE49-F238E27FC236}">
                <a16:creationId xmlns:a16="http://schemas.microsoft.com/office/drawing/2014/main" id="{AE2FD8A3-044E-40DE-8AEF-7A491055153E}"/>
              </a:ext>
            </a:extLst>
          </p:cNvPr>
          <p:cNvGrpSpPr/>
          <p:nvPr/>
        </p:nvGrpSpPr>
        <p:grpSpPr>
          <a:xfrm>
            <a:off x="7330146" y="2906160"/>
            <a:ext cx="1006599" cy="2302257"/>
            <a:chOff x="7330321" y="2906086"/>
            <a:chExt cx="1006741" cy="2302584"/>
          </a:xfrm>
        </p:grpSpPr>
        <p:grpSp>
          <p:nvGrpSpPr>
            <p:cNvPr id="247" name="Group 246"/>
            <p:cNvGrpSpPr/>
            <p:nvPr/>
          </p:nvGrpSpPr>
          <p:grpSpPr>
            <a:xfrm>
              <a:off x="7330321" y="2906086"/>
              <a:ext cx="1006741" cy="2302584"/>
              <a:chOff x="9830164" y="3198627"/>
              <a:chExt cx="1148681" cy="1463134"/>
            </a:xfrm>
          </p:grpSpPr>
          <p:grpSp>
            <p:nvGrpSpPr>
              <p:cNvPr id="248" name="Group 247"/>
              <p:cNvGrpSpPr>
                <a:grpSpLocks noChangeAspect="1"/>
              </p:cNvGrpSpPr>
              <p:nvPr/>
            </p:nvGrpSpPr>
            <p:grpSpPr>
              <a:xfrm>
                <a:off x="9882326" y="3198627"/>
                <a:ext cx="1024606" cy="1463134"/>
                <a:chOff x="6592191" y="2051295"/>
                <a:chExt cx="2194328" cy="3133501"/>
              </a:xfrm>
            </p:grpSpPr>
            <p:sp>
              <p:nvSpPr>
                <p:cNvPr id="250" name="Can 249"/>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51" name="Donut 250"/>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252" name="Group 251"/>
                <p:cNvGrpSpPr/>
                <p:nvPr/>
              </p:nvGrpSpPr>
              <p:grpSpPr>
                <a:xfrm>
                  <a:off x="6654556" y="2051295"/>
                  <a:ext cx="2062790" cy="690308"/>
                  <a:chOff x="3418453" y="1463971"/>
                  <a:chExt cx="2706123" cy="912428"/>
                </a:xfrm>
              </p:grpSpPr>
              <p:sp>
                <p:nvSpPr>
                  <p:cNvPr id="253" name="Donut 252"/>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54" name="Freeform 253"/>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249" name="TextBox 248"/>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255" name="Rounded Rectangle 254"/>
            <p:cNvSpPr/>
            <p:nvPr/>
          </p:nvSpPr>
          <p:spPr bwMode="auto">
            <a:xfrm>
              <a:off x="7457020"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46</a:t>
              </a:r>
            </a:p>
            <a:p>
              <a:pPr defTabSz="914023" fontAlgn="base">
                <a:spcBef>
                  <a:spcPct val="0"/>
                </a:spcBef>
                <a:spcAft>
                  <a:spcPct val="0"/>
                </a:spcAft>
                <a:defRPr/>
              </a:pPr>
              <a:r>
                <a:rPr lang="en-US" sz="981" b="1" kern="0" dirty="0">
                  <a:solidFill>
                    <a:schemeClr val="tx1"/>
                  </a:solidFill>
                </a:rPr>
                <a:t>Dist_DB_47</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60</a:t>
              </a:r>
            </a:p>
          </p:txBody>
        </p:sp>
        <p:sp>
          <p:nvSpPr>
            <p:cNvPr id="257" name="Freeform 256"/>
            <p:cNvSpPr/>
            <p:nvPr/>
          </p:nvSpPr>
          <p:spPr bwMode="auto">
            <a:xfrm>
              <a:off x="7429636"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258" name="TextBox 257"/>
            <p:cNvSpPr txBox="1"/>
            <p:nvPr/>
          </p:nvSpPr>
          <p:spPr>
            <a:xfrm rot="5400000">
              <a:off x="7549926"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5" name="Group 24">
            <a:extLst>
              <a:ext uri="{FF2B5EF4-FFF2-40B4-BE49-F238E27FC236}">
                <a16:creationId xmlns:a16="http://schemas.microsoft.com/office/drawing/2014/main" id="{BFC6A3D2-D4F5-493A-B4C7-687BC737587F}"/>
              </a:ext>
            </a:extLst>
          </p:cNvPr>
          <p:cNvGrpSpPr/>
          <p:nvPr/>
        </p:nvGrpSpPr>
        <p:grpSpPr>
          <a:xfrm>
            <a:off x="5051478" y="2906160"/>
            <a:ext cx="1006599" cy="2302257"/>
            <a:chOff x="5051329" y="2906086"/>
            <a:chExt cx="1006741" cy="2302584"/>
          </a:xfrm>
        </p:grpSpPr>
        <p:grpSp>
          <p:nvGrpSpPr>
            <p:cNvPr id="200" name="Group 199"/>
            <p:cNvGrpSpPr/>
            <p:nvPr/>
          </p:nvGrpSpPr>
          <p:grpSpPr>
            <a:xfrm>
              <a:off x="5051329" y="2906086"/>
              <a:ext cx="1006741" cy="2302584"/>
              <a:chOff x="9830164" y="3198627"/>
              <a:chExt cx="1148681" cy="1463134"/>
            </a:xfrm>
          </p:grpSpPr>
          <p:grpSp>
            <p:nvGrpSpPr>
              <p:cNvPr id="203" name="Group 202"/>
              <p:cNvGrpSpPr>
                <a:grpSpLocks noChangeAspect="1"/>
              </p:cNvGrpSpPr>
              <p:nvPr/>
            </p:nvGrpSpPr>
            <p:grpSpPr>
              <a:xfrm>
                <a:off x="9882326" y="3198627"/>
                <a:ext cx="1024606" cy="1463134"/>
                <a:chOff x="6592191" y="2051295"/>
                <a:chExt cx="2194328" cy="3133501"/>
              </a:xfrm>
            </p:grpSpPr>
            <p:sp>
              <p:nvSpPr>
                <p:cNvPr id="205" name="Can 204"/>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06" name="Donut 205"/>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207" name="Group 206"/>
                <p:cNvGrpSpPr/>
                <p:nvPr/>
              </p:nvGrpSpPr>
              <p:grpSpPr>
                <a:xfrm>
                  <a:off x="6654556" y="2051295"/>
                  <a:ext cx="2062790" cy="690308"/>
                  <a:chOff x="3418453" y="1463971"/>
                  <a:chExt cx="2706123" cy="912428"/>
                </a:xfrm>
              </p:grpSpPr>
              <p:sp>
                <p:nvSpPr>
                  <p:cNvPr id="208" name="Donut 207"/>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09" name="Freeform 208"/>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204" name="TextBox 203"/>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210" name="Rounded Rectangle 209"/>
            <p:cNvSpPr/>
            <p:nvPr/>
          </p:nvSpPr>
          <p:spPr bwMode="auto">
            <a:xfrm>
              <a:off x="5178026"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31</a:t>
              </a:r>
            </a:p>
            <a:p>
              <a:pPr defTabSz="914023" fontAlgn="base">
                <a:spcBef>
                  <a:spcPct val="0"/>
                </a:spcBef>
                <a:spcAft>
                  <a:spcPct val="0"/>
                </a:spcAft>
                <a:defRPr/>
              </a:pPr>
              <a:r>
                <a:rPr lang="en-US" sz="981" b="1" kern="0" dirty="0">
                  <a:solidFill>
                    <a:schemeClr val="tx1"/>
                  </a:solidFill>
                </a:rPr>
                <a:t>Dist_DB_32</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45</a:t>
              </a:r>
            </a:p>
          </p:txBody>
        </p:sp>
        <p:sp>
          <p:nvSpPr>
            <p:cNvPr id="212" name="Freeform 211"/>
            <p:cNvSpPr/>
            <p:nvPr/>
          </p:nvSpPr>
          <p:spPr bwMode="auto">
            <a:xfrm>
              <a:off x="5150642"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213" name="TextBox 212"/>
            <p:cNvSpPr txBox="1"/>
            <p:nvPr/>
          </p:nvSpPr>
          <p:spPr>
            <a:xfrm rot="5400000">
              <a:off x="5270932"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4" name="Group 23">
            <a:extLst>
              <a:ext uri="{FF2B5EF4-FFF2-40B4-BE49-F238E27FC236}">
                <a16:creationId xmlns:a16="http://schemas.microsoft.com/office/drawing/2014/main" id="{9E495243-C974-49EA-829F-10671AF13976}"/>
              </a:ext>
            </a:extLst>
          </p:cNvPr>
          <p:cNvGrpSpPr/>
          <p:nvPr/>
        </p:nvGrpSpPr>
        <p:grpSpPr>
          <a:xfrm>
            <a:off x="2772809" y="2906160"/>
            <a:ext cx="1006599" cy="2302257"/>
            <a:chOff x="2772337" y="2906086"/>
            <a:chExt cx="1006741" cy="2302584"/>
          </a:xfrm>
        </p:grpSpPr>
        <p:grpSp>
          <p:nvGrpSpPr>
            <p:cNvPr id="176" name="Group 175"/>
            <p:cNvGrpSpPr/>
            <p:nvPr/>
          </p:nvGrpSpPr>
          <p:grpSpPr>
            <a:xfrm>
              <a:off x="2772337" y="2906086"/>
              <a:ext cx="1006741" cy="2302584"/>
              <a:chOff x="9830164" y="3198627"/>
              <a:chExt cx="1148681" cy="1463134"/>
            </a:xfrm>
          </p:grpSpPr>
          <p:grpSp>
            <p:nvGrpSpPr>
              <p:cNvPr id="177" name="Group 176"/>
              <p:cNvGrpSpPr>
                <a:grpSpLocks noChangeAspect="1"/>
              </p:cNvGrpSpPr>
              <p:nvPr/>
            </p:nvGrpSpPr>
            <p:grpSpPr>
              <a:xfrm>
                <a:off x="9882326" y="3198627"/>
                <a:ext cx="1024606" cy="1463134"/>
                <a:chOff x="6592191" y="2051295"/>
                <a:chExt cx="2194328" cy="3133501"/>
              </a:xfrm>
            </p:grpSpPr>
            <p:sp>
              <p:nvSpPr>
                <p:cNvPr id="179" name="Can 178"/>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80" name="Donut 179"/>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81" name="Group 180"/>
                <p:cNvGrpSpPr/>
                <p:nvPr/>
              </p:nvGrpSpPr>
              <p:grpSpPr>
                <a:xfrm>
                  <a:off x="6654556" y="2051295"/>
                  <a:ext cx="2062790" cy="690308"/>
                  <a:chOff x="3418453" y="1463971"/>
                  <a:chExt cx="2706123" cy="912428"/>
                </a:xfrm>
              </p:grpSpPr>
              <p:sp>
                <p:nvSpPr>
                  <p:cNvPr id="182" name="Donut 181"/>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83" name="Freeform 182"/>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178" name="TextBox 177"/>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184" name="Rounded Rectangle 183"/>
            <p:cNvSpPr/>
            <p:nvPr/>
          </p:nvSpPr>
          <p:spPr bwMode="auto">
            <a:xfrm>
              <a:off x="2899034"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16</a:t>
              </a:r>
            </a:p>
            <a:p>
              <a:pPr defTabSz="914023" fontAlgn="base">
                <a:spcBef>
                  <a:spcPct val="0"/>
                </a:spcBef>
                <a:spcAft>
                  <a:spcPct val="0"/>
                </a:spcAft>
                <a:defRPr/>
              </a:pPr>
              <a:r>
                <a:rPr lang="en-US" sz="981" b="1" kern="0" dirty="0">
                  <a:solidFill>
                    <a:schemeClr val="tx1"/>
                  </a:solidFill>
                </a:rPr>
                <a:t>Dist_DB_17</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30</a:t>
              </a:r>
            </a:p>
          </p:txBody>
        </p:sp>
        <p:sp>
          <p:nvSpPr>
            <p:cNvPr id="186" name="Freeform 185"/>
            <p:cNvSpPr/>
            <p:nvPr/>
          </p:nvSpPr>
          <p:spPr bwMode="auto">
            <a:xfrm>
              <a:off x="2871651"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187" name="TextBox 186"/>
            <p:cNvSpPr txBox="1"/>
            <p:nvPr/>
          </p:nvSpPr>
          <p:spPr>
            <a:xfrm rot="5400000">
              <a:off x="2991940"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3" name="Group 22">
            <a:extLst>
              <a:ext uri="{FF2B5EF4-FFF2-40B4-BE49-F238E27FC236}">
                <a16:creationId xmlns:a16="http://schemas.microsoft.com/office/drawing/2014/main" id="{4F2C1991-3890-42BC-8CD4-E6F328A545C2}"/>
              </a:ext>
            </a:extLst>
          </p:cNvPr>
          <p:cNvGrpSpPr/>
          <p:nvPr/>
        </p:nvGrpSpPr>
        <p:grpSpPr>
          <a:xfrm>
            <a:off x="494140" y="2919338"/>
            <a:ext cx="1006599" cy="2302257"/>
            <a:chOff x="493345" y="2919265"/>
            <a:chExt cx="1006741" cy="2302584"/>
          </a:xfrm>
        </p:grpSpPr>
        <p:grpSp>
          <p:nvGrpSpPr>
            <p:cNvPr id="98" name="Group 97"/>
            <p:cNvGrpSpPr/>
            <p:nvPr/>
          </p:nvGrpSpPr>
          <p:grpSpPr>
            <a:xfrm>
              <a:off x="493345" y="2919265"/>
              <a:ext cx="1006741" cy="2302584"/>
              <a:chOff x="9830164" y="3198627"/>
              <a:chExt cx="1148681" cy="1463134"/>
            </a:xfrm>
          </p:grpSpPr>
          <p:grpSp>
            <p:nvGrpSpPr>
              <p:cNvPr id="99" name="Group 98"/>
              <p:cNvGrpSpPr>
                <a:grpSpLocks noChangeAspect="1"/>
              </p:cNvGrpSpPr>
              <p:nvPr/>
            </p:nvGrpSpPr>
            <p:grpSpPr>
              <a:xfrm>
                <a:off x="9882326" y="3198627"/>
                <a:ext cx="1024606" cy="1463134"/>
                <a:chOff x="6592191" y="2051295"/>
                <a:chExt cx="2194328" cy="3133501"/>
              </a:xfrm>
            </p:grpSpPr>
            <p:sp>
              <p:nvSpPr>
                <p:cNvPr id="101" name="Can 100"/>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02" name="Donut 101"/>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03" name="Group 102"/>
                <p:cNvGrpSpPr/>
                <p:nvPr/>
              </p:nvGrpSpPr>
              <p:grpSpPr>
                <a:xfrm>
                  <a:off x="6654556" y="2051295"/>
                  <a:ext cx="2062790" cy="690308"/>
                  <a:chOff x="3418453" y="1463971"/>
                  <a:chExt cx="2706123" cy="912428"/>
                </a:xfrm>
              </p:grpSpPr>
              <p:sp>
                <p:nvSpPr>
                  <p:cNvPr id="104" name="Donut 103"/>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05" name="Freeform 104"/>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100" name="TextBox 99"/>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4" name="Rounded Rectangle 3"/>
            <p:cNvSpPr/>
            <p:nvPr/>
          </p:nvSpPr>
          <p:spPr bwMode="auto">
            <a:xfrm>
              <a:off x="620043" y="3922184"/>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1</a:t>
              </a:r>
            </a:p>
            <a:p>
              <a:pPr defTabSz="914023" fontAlgn="base">
                <a:spcBef>
                  <a:spcPct val="0"/>
                </a:spcBef>
                <a:spcAft>
                  <a:spcPct val="0"/>
                </a:spcAft>
                <a:defRPr/>
              </a:pPr>
              <a:r>
                <a:rPr lang="en-US" sz="981" b="1" kern="0" dirty="0">
                  <a:solidFill>
                    <a:schemeClr val="tx1"/>
                  </a:solidFill>
                </a:rPr>
                <a:t>Dist_DB_2</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15</a:t>
              </a:r>
            </a:p>
          </p:txBody>
        </p:sp>
        <p:sp>
          <p:nvSpPr>
            <p:cNvPr id="223" name="Freeform 222"/>
            <p:cNvSpPr/>
            <p:nvPr/>
          </p:nvSpPr>
          <p:spPr bwMode="auto">
            <a:xfrm>
              <a:off x="592659" y="379303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6" name="TextBox 5"/>
            <p:cNvSpPr txBox="1"/>
            <p:nvPr/>
          </p:nvSpPr>
          <p:spPr>
            <a:xfrm rot="5400000">
              <a:off x="712949" y="4323245"/>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sp>
        <p:nvSpPr>
          <p:cNvPr id="17" name="Title 16"/>
          <p:cNvSpPr>
            <a:spLocks noGrp="1"/>
          </p:cNvSpPr>
          <p:nvPr>
            <p:ph type="title"/>
          </p:nvPr>
        </p:nvSpPr>
        <p:spPr/>
        <p:txBody>
          <a:bodyPr/>
          <a:lstStyle/>
          <a:p>
            <a:r>
              <a:rPr lang="en-US" dirty="0"/>
              <a:t>Synapse SQL MPP Architecture</a:t>
            </a:r>
          </a:p>
        </p:txBody>
      </p:sp>
      <p:sp>
        <p:nvSpPr>
          <p:cNvPr id="45" name="Rounded Rectangle 44"/>
          <p:cNvSpPr/>
          <p:nvPr/>
        </p:nvSpPr>
        <p:spPr>
          <a:xfrm>
            <a:off x="4048798" y="1956377"/>
            <a:ext cx="813095"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21" name="Rounded Rectangle 220"/>
          <p:cNvSpPr/>
          <p:nvPr/>
        </p:nvSpPr>
        <p:spPr>
          <a:xfrm>
            <a:off x="654421" y="3547277"/>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185" name="Rounded Rectangle 184"/>
          <p:cNvSpPr/>
          <p:nvPr/>
        </p:nvSpPr>
        <p:spPr>
          <a:xfrm>
            <a:off x="2933089"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11" name="Rounded Rectangle 210"/>
          <p:cNvSpPr/>
          <p:nvPr/>
        </p:nvSpPr>
        <p:spPr>
          <a:xfrm>
            <a:off x="5211759"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56" name="Rounded Rectangle 255"/>
          <p:cNvSpPr/>
          <p:nvPr/>
        </p:nvSpPr>
        <p:spPr>
          <a:xfrm>
            <a:off x="7490428"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109" name="Rounded Rectangle 108"/>
          <p:cNvSpPr/>
          <p:nvPr/>
        </p:nvSpPr>
        <p:spPr>
          <a:xfrm>
            <a:off x="8955645" y="2547746"/>
            <a:ext cx="2925665" cy="1188551"/>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latin typeface="Calibri" panose="020F0502020204030204"/>
              </a:rPr>
              <a:t>Compute </a:t>
            </a:r>
          </a:p>
          <a:p>
            <a:pPr algn="ctr" defTabSz="878692">
              <a:defRPr/>
            </a:pPr>
            <a:r>
              <a:rPr lang="en-US" sz="1600" kern="0" dirty="0">
                <a:solidFill>
                  <a:prstClr val="white"/>
                </a:solidFill>
                <a:latin typeface="Calibri" panose="020F0502020204030204"/>
              </a:rPr>
              <a:t>Handles query processing, ability to scale up/down</a:t>
            </a:r>
          </a:p>
        </p:txBody>
      </p:sp>
      <p:sp>
        <p:nvSpPr>
          <p:cNvPr id="111" name="Rounded Rectangle 110"/>
          <p:cNvSpPr/>
          <p:nvPr/>
        </p:nvSpPr>
        <p:spPr>
          <a:xfrm>
            <a:off x="8955645" y="1135992"/>
            <a:ext cx="2925665" cy="1188551"/>
          </a:xfrm>
          <a:prstGeom prst="roundRect">
            <a:avLst/>
          </a:prstGeom>
          <a:solidFill>
            <a:srgbClr val="0078D7"/>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latin typeface="Calibri" panose="020F0502020204030204"/>
              </a:rPr>
              <a:t>Control </a:t>
            </a:r>
          </a:p>
          <a:p>
            <a:pPr algn="ctr" defTabSz="878692">
              <a:defRPr/>
            </a:pPr>
            <a:r>
              <a:rPr lang="en-US" sz="1600" kern="0" dirty="0">
                <a:solidFill>
                  <a:prstClr val="white"/>
                </a:solidFill>
                <a:latin typeface="Calibri" panose="020F0502020204030204"/>
              </a:rPr>
              <a:t>Connection and tool endpoint.  Coordinates compute activity.</a:t>
            </a:r>
          </a:p>
        </p:txBody>
      </p:sp>
      <p:sp>
        <p:nvSpPr>
          <p:cNvPr id="112" name="Rounded Rectangle 111"/>
          <p:cNvSpPr/>
          <p:nvPr/>
        </p:nvSpPr>
        <p:spPr>
          <a:xfrm>
            <a:off x="8955645" y="3959500"/>
            <a:ext cx="2925665" cy="1188551"/>
          </a:xfrm>
          <a:prstGeom prst="roundRect">
            <a:avLst/>
          </a:prstGeom>
          <a:solidFill>
            <a:srgbClr val="7030A0"/>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rPr>
              <a:t>DMS: </a:t>
            </a:r>
            <a:r>
              <a:rPr lang="en-US" sz="1600" u="sng" kern="0" dirty="0">
                <a:solidFill>
                  <a:prstClr val="white"/>
                </a:solidFill>
                <a:latin typeface="Calibri" panose="020F0502020204030204"/>
              </a:rPr>
              <a:t>Data Movement Services / Instant Data Movement</a:t>
            </a:r>
          </a:p>
          <a:p>
            <a:pPr algn="ctr" defTabSz="878692">
              <a:defRPr/>
            </a:pPr>
            <a:r>
              <a:rPr lang="en-US" sz="1600" kern="0" dirty="0">
                <a:solidFill>
                  <a:prstClr val="white"/>
                </a:solidFill>
                <a:latin typeface="Calibri" panose="020F0502020204030204"/>
              </a:rPr>
              <a:t>Coordinates data movement between nodes</a:t>
            </a:r>
          </a:p>
        </p:txBody>
      </p:sp>
      <p:pic>
        <p:nvPicPr>
          <p:cNvPr id="3" name="Picture 2">
            <a:extLst>
              <a:ext uri="{FF2B5EF4-FFF2-40B4-BE49-F238E27FC236}">
                <a16:creationId xmlns:a16="http://schemas.microsoft.com/office/drawing/2014/main" id="{C2DDB928-E356-4684-AABC-21685B3A346D}"/>
              </a:ext>
            </a:extLst>
          </p:cNvPr>
          <p:cNvPicPr>
            <a:picLocks noChangeAspect="1"/>
          </p:cNvPicPr>
          <p:nvPr/>
        </p:nvPicPr>
        <p:blipFill>
          <a:blip r:embed="rId3"/>
          <a:stretch>
            <a:fillRect/>
          </a:stretch>
        </p:blipFill>
        <p:spPr>
          <a:xfrm>
            <a:off x="1101189" y="5294657"/>
            <a:ext cx="6963367" cy="1434366"/>
          </a:xfrm>
          <a:prstGeom prst="rect">
            <a:avLst/>
          </a:prstGeom>
        </p:spPr>
      </p:pic>
      <p:sp>
        <p:nvSpPr>
          <p:cNvPr id="5" name="TextBox 4">
            <a:extLst>
              <a:ext uri="{FF2B5EF4-FFF2-40B4-BE49-F238E27FC236}">
                <a16:creationId xmlns:a16="http://schemas.microsoft.com/office/drawing/2014/main" id="{D88D6309-6B29-49FD-B5E9-17333CC2B757}"/>
              </a:ext>
            </a:extLst>
          </p:cNvPr>
          <p:cNvSpPr txBox="1"/>
          <p:nvPr/>
        </p:nvSpPr>
        <p:spPr>
          <a:xfrm>
            <a:off x="-84239" y="5657929"/>
            <a:ext cx="1355357" cy="479709"/>
          </a:xfrm>
          <a:prstGeom prst="rect">
            <a:avLst/>
          </a:prstGeom>
          <a:noFill/>
        </p:spPr>
        <p:txBody>
          <a:bodyPr wrap="none" lIns="179285" tIns="143428" rIns="179285" bIns="143428" rtlCol="0">
            <a:spAutoFit/>
          </a:bodyPr>
          <a:lstStyle/>
          <a:p>
            <a:pPr>
              <a:lnSpc>
                <a:spcPct val="90000"/>
              </a:lnSpc>
              <a:spcAft>
                <a:spcPts val="588"/>
              </a:spcAft>
            </a:pPr>
            <a:r>
              <a:rPr lang="en-US" sz="1372" dirty="0">
                <a:gradFill>
                  <a:gsLst>
                    <a:gs pos="2917">
                      <a:schemeClr val="tx1"/>
                    </a:gs>
                    <a:gs pos="30000">
                      <a:schemeClr val="tx1"/>
                    </a:gs>
                  </a:gsLst>
                  <a:lin ang="5400000" scaled="0"/>
                </a:gradFill>
              </a:rPr>
              <a:t>Blob Storage</a:t>
            </a:r>
          </a:p>
        </p:txBody>
      </p:sp>
      <p:sp>
        <p:nvSpPr>
          <p:cNvPr id="78" name="Rounded Rectangle 111">
            <a:extLst>
              <a:ext uri="{FF2B5EF4-FFF2-40B4-BE49-F238E27FC236}">
                <a16:creationId xmlns:a16="http://schemas.microsoft.com/office/drawing/2014/main" id="{8CD93663-B041-43AF-98EC-E32CBE5AF904}"/>
              </a:ext>
            </a:extLst>
          </p:cNvPr>
          <p:cNvSpPr/>
          <p:nvPr/>
        </p:nvSpPr>
        <p:spPr>
          <a:xfrm>
            <a:off x="8955645" y="5371254"/>
            <a:ext cx="2925665" cy="1188551"/>
          </a:xfrm>
          <a:prstGeom prst="roundRect">
            <a:avLst/>
          </a:prstGeom>
          <a:solidFill>
            <a:srgbClr val="002050">
              <a:lumMod val="25000"/>
              <a:lumOff val="75000"/>
            </a:srgbClr>
          </a:solidFill>
          <a:ln w="12700" cap="flat" cmpd="sng" algn="ctr">
            <a:solidFill>
              <a:sysClr val="windowText" lastClr="000000"/>
            </a:solidFill>
            <a:prstDash val="solid"/>
            <a:miter lim="800000"/>
          </a:ln>
          <a:effectLst/>
        </p:spPr>
        <p:txBody>
          <a:bodyPr rtlCol="0" anchor="ctr"/>
          <a:lstStyle/>
          <a:p>
            <a:pPr marL="0" marR="0" lvl="0" indent="0" algn="ctr" defTabSz="878692"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a:ln>
                  <a:noFill/>
                </a:ln>
                <a:solidFill>
                  <a:prstClr val="white"/>
                </a:solidFill>
                <a:effectLst/>
                <a:uLnTx/>
                <a:uFillTx/>
                <a:latin typeface="Segoe UI Semilight"/>
              </a:rPr>
              <a:t>Storage</a:t>
            </a:r>
            <a:endParaRPr kumimoji="0" lang="en-US" sz="1600" b="0" i="0" u="sng" strike="noStrike" kern="0" cap="none" spc="0" normalizeH="0" baseline="0" noProof="0" dirty="0">
              <a:ln>
                <a:noFill/>
              </a:ln>
              <a:solidFill>
                <a:prstClr val="white"/>
              </a:solidFill>
              <a:effectLst/>
              <a:uLnTx/>
              <a:uFillTx/>
              <a:latin typeface="Calibri" panose="020F0502020204030204"/>
            </a:endParaRPr>
          </a:p>
          <a:p>
            <a:pPr marL="0" marR="0" lvl="0" indent="0" algn="ctr" defTabSz="87869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panose="020F0502020204030204"/>
              </a:rPr>
              <a:t>Remote storage.  Scales independently of compute</a:t>
            </a:r>
          </a:p>
        </p:txBody>
      </p:sp>
    </p:spTree>
    <p:extLst>
      <p:ext uri="{BB962C8B-B14F-4D97-AF65-F5344CB8AC3E}">
        <p14:creationId xmlns:p14="http://schemas.microsoft.com/office/powerpoint/2010/main" val="397768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700"/>
                                        <p:tgtEl>
                                          <p:spTgt spid="5"/>
                                        </p:tgtEl>
                                      </p:cBhvr>
                                    </p:animEffect>
                                  </p:childTnLst>
                                </p:cTn>
                              </p:par>
                            </p:childTnLst>
                          </p:cTn>
                        </p:par>
                        <p:par>
                          <p:cTn id="14" fill="hold">
                            <p:stCondLst>
                              <p:cond delay="2200"/>
                            </p:stCondLst>
                            <p:childTnLst>
                              <p:par>
                                <p:cTn id="15" presetID="2" presetClass="entr" presetSubtype="4" fill="hold" nodeType="after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2800" fill="hold"/>
                                        <p:tgtEl>
                                          <p:spTgt spid="27"/>
                                        </p:tgtEl>
                                        <p:attrNameLst>
                                          <p:attrName>ppt_x</p:attrName>
                                        </p:attrNameLst>
                                      </p:cBhvr>
                                      <p:tavLst>
                                        <p:tav tm="0">
                                          <p:val>
                                            <p:strVal val="#ppt_x"/>
                                          </p:val>
                                        </p:tav>
                                        <p:tav tm="100000">
                                          <p:val>
                                            <p:strVal val="#ppt_x"/>
                                          </p:val>
                                        </p:tav>
                                      </p:tavLst>
                                    </p:anim>
                                    <p:anim calcmode="lin" valueType="num">
                                      <p:cBhvr additive="base">
                                        <p:cTn id="18" dur="2800" fill="hold"/>
                                        <p:tgtEl>
                                          <p:spTgt spid="2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1"/>
                                        </p:tgtEl>
                                        <p:attrNameLst>
                                          <p:attrName>style.visibility</p:attrName>
                                        </p:attrNameLst>
                                      </p:cBhvr>
                                      <p:to>
                                        <p:strVal val="visible"/>
                                      </p:to>
                                    </p:set>
                                    <p:anim calcmode="lin" valueType="num">
                                      <p:cBhvr additive="base">
                                        <p:cTn id="21" dur="2800" fill="hold"/>
                                        <p:tgtEl>
                                          <p:spTgt spid="111"/>
                                        </p:tgtEl>
                                        <p:attrNameLst>
                                          <p:attrName>ppt_x</p:attrName>
                                        </p:attrNameLst>
                                      </p:cBhvr>
                                      <p:tavLst>
                                        <p:tav tm="0">
                                          <p:val>
                                            <p:strVal val="#ppt_x"/>
                                          </p:val>
                                        </p:tav>
                                        <p:tav tm="100000">
                                          <p:val>
                                            <p:strVal val="#ppt_x"/>
                                          </p:val>
                                        </p:tav>
                                      </p:tavLst>
                                    </p:anim>
                                    <p:anim calcmode="lin" valueType="num">
                                      <p:cBhvr additive="base">
                                        <p:cTn id="22" dur="2800" fill="hold"/>
                                        <p:tgtEl>
                                          <p:spTgt spid="111"/>
                                        </p:tgtEl>
                                        <p:attrNameLst>
                                          <p:attrName>ppt_y</p:attrName>
                                        </p:attrNameLst>
                                      </p:cBhvr>
                                      <p:tavLst>
                                        <p:tav tm="0">
                                          <p:val>
                                            <p:strVal val="1+#ppt_h/2"/>
                                          </p:val>
                                        </p:tav>
                                        <p:tav tm="100000">
                                          <p:val>
                                            <p:strVal val="#ppt_y"/>
                                          </p:val>
                                        </p:tav>
                                      </p:tavLst>
                                    </p:anim>
                                  </p:childTnLst>
                                </p:cTn>
                              </p:par>
                            </p:childTnLst>
                          </p:cTn>
                        </p:par>
                        <p:par>
                          <p:cTn id="23" fill="hold">
                            <p:stCondLst>
                              <p:cond delay="5000"/>
                            </p:stCondLst>
                            <p:childTnLst>
                              <p:par>
                                <p:cTn id="24" presetID="10" presetClass="entr" presetSubtype="0"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4000"/>
                                        <p:tgtEl>
                                          <p:spTgt spid="23"/>
                                        </p:tgtEl>
                                      </p:cBhvr>
                                    </p:animEffect>
                                  </p:childTnLst>
                                </p:cTn>
                              </p:par>
                              <p:par>
                                <p:cTn id="27" presetID="10"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4000"/>
                                        <p:tgtEl>
                                          <p:spTgt spid="24"/>
                                        </p:tgtEl>
                                      </p:cBhvr>
                                    </p:animEffect>
                                  </p:childTnLst>
                                </p:cTn>
                              </p:par>
                              <p:par>
                                <p:cTn id="30" presetID="10" presetClass="entr" presetSubtype="0"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4000"/>
                                        <p:tgtEl>
                                          <p:spTgt spid="25"/>
                                        </p:tgtEl>
                                      </p:cBhvr>
                                    </p:animEffect>
                                  </p:childTnLst>
                                </p:cTn>
                              </p:par>
                              <p:par>
                                <p:cTn id="33" presetID="10"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4000"/>
                                        <p:tgtEl>
                                          <p:spTgt spid="2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09"/>
                                        </p:tgtEl>
                                        <p:attrNameLst>
                                          <p:attrName>style.visibility</p:attrName>
                                        </p:attrNameLst>
                                      </p:cBhvr>
                                      <p:to>
                                        <p:strVal val="visible"/>
                                      </p:to>
                                    </p:set>
                                    <p:animEffect transition="in" filter="fade">
                                      <p:cBhvr>
                                        <p:cTn id="38" dur="4000"/>
                                        <p:tgtEl>
                                          <p:spTgt spid="109"/>
                                        </p:tgtEl>
                                      </p:cBhvr>
                                    </p:animEffect>
                                  </p:childTnLst>
                                </p:cTn>
                              </p:par>
                            </p:childTnLst>
                          </p:cTn>
                        </p:par>
                        <p:par>
                          <p:cTn id="39" fill="hold">
                            <p:stCondLst>
                              <p:cond delay="9000"/>
                            </p:stCondLst>
                            <p:childTnLst>
                              <p:par>
                                <p:cTn id="40" presetID="42" presetClass="entr" presetSubtype="0" fill="hold" grpId="0" nodeType="after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1000"/>
                                        <p:tgtEl>
                                          <p:spTgt spid="45"/>
                                        </p:tgtEl>
                                      </p:cBhvr>
                                    </p:animEffect>
                                    <p:anim calcmode="lin" valueType="num">
                                      <p:cBhvr>
                                        <p:cTn id="43" dur="1000" fill="hold"/>
                                        <p:tgtEl>
                                          <p:spTgt spid="45"/>
                                        </p:tgtEl>
                                        <p:attrNameLst>
                                          <p:attrName>ppt_x</p:attrName>
                                        </p:attrNameLst>
                                      </p:cBhvr>
                                      <p:tavLst>
                                        <p:tav tm="0">
                                          <p:val>
                                            <p:strVal val="#ppt_x"/>
                                          </p:val>
                                        </p:tav>
                                        <p:tav tm="100000">
                                          <p:val>
                                            <p:strVal val="#ppt_x"/>
                                          </p:val>
                                        </p:tav>
                                      </p:tavLst>
                                    </p:anim>
                                    <p:anim calcmode="lin" valueType="num">
                                      <p:cBhvr>
                                        <p:cTn id="44" dur="1000" fill="hold"/>
                                        <p:tgtEl>
                                          <p:spTgt spid="45"/>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221"/>
                                        </p:tgtEl>
                                        <p:attrNameLst>
                                          <p:attrName>style.visibility</p:attrName>
                                        </p:attrNameLst>
                                      </p:cBhvr>
                                      <p:to>
                                        <p:strVal val="visible"/>
                                      </p:to>
                                    </p:set>
                                    <p:animEffect transition="in" filter="fade">
                                      <p:cBhvr>
                                        <p:cTn id="47" dur="1000"/>
                                        <p:tgtEl>
                                          <p:spTgt spid="221"/>
                                        </p:tgtEl>
                                      </p:cBhvr>
                                    </p:animEffect>
                                    <p:anim calcmode="lin" valueType="num">
                                      <p:cBhvr>
                                        <p:cTn id="48" dur="1000" fill="hold"/>
                                        <p:tgtEl>
                                          <p:spTgt spid="221"/>
                                        </p:tgtEl>
                                        <p:attrNameLst>
                                          <p:attrName>ppt_x</p:attrName>
                                        </p:attrNameLst>
                                      </p:cBhvr>
                                      <p:tavLst>
                                        <p:tav tm="0">
                                          <p:val>
                                            <p:strVal val="#ppt_x"/>
                                          </p:val>
                                        </p:tav>
                                        <p:tav tm="100000">
                                          <p:val>
                                            <p:strVal val="#ppt_x"/>
                                          </p:val>
                                        </p:tav>
                                      </p:tavLst>
                                    </p:anim>
                                    <p:anim calcmode="lin" valueType="num">
                                      <p:cBhvr>
                                        <p:cTn id="49" dur="1000" fill="hold"/>
                                        <p:tgtEl>
                                          <p:spTgt spid="221"/>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85"/>
                                        </p:tgtEl>
                                        <p:attrNameLst>
                                          <p:attrName>style.visibility</p:attrName>
                                        </p:attrNameLst>
                                      </p:cBhvr>
                                      <p:to>
                                        <p:strVal val="visible"/>
                                      </p:to>
                                    </p:set>
                                    <p:animEffect transition="in" filter="fade">
                                      <p:cBhvr>
                                        <p:cTn id="52" dur="1000"/>
                                        <p:tgtEl>
                                          <p:spTgt spid="185"/>
                                        </p:tgtEl>
                                      </p:cBhvr>
                                    </p:animEffect>
                                    <p:anim calcmode="lin" valueType="num">
                                      <p:cBhvr>
                                        <p:cTn id="53" dur="1000" fill="hold"/>
                                        <p:tgtEl>
                                          <p:spTgt spid="185"/>
                                        </p:tgtEl>
                                        <p:attrNameLst>
                                          <p:attrName>ppt_x</p:attrName>
                                        </p:attrNameLst>
                                      </p:cBhvr>
                                      <p:tavLst>
                                        <p:tav tm="0">
                                          <p:val>
                                            <p:strVal val="#ppt_x"/>
                                          </p:val>
                                        </p:tav>
                                        <p:tav tm="100000">
                                          <p:val>
                                            <p:strVal val="#ppt_x"/>
                                          </p:val>
                                        </p:tav>
                                      </p:tavLst>
                                    </p:anim>
                                    <p:anim calcmode="lin" valueType="num">
                                      <p:cBhvr>
                                        <p:cTn id="54" dur="1000" fill="hold"/>
                                        <p:tgtEl>
                                          <p:spTgt spid="185"/>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211"/>
                                        </p:tgtEl>
                                        <p:attrNameLst>
                                          <p:attrName>style.visibility</p:attrName>
                                        </p:attrNameLst>
                                      </p:cBhvr>
                                      <p:to>
                                        <p:strVal val="visible"/>
                                      </p:to>
                                    </p:set>
                                    <p:animEffect transition="in" filter="fade">
                                      <p:cBhvr>
                                        <p:cTn id="57" dur="1000"/>
                                        <p:tgtEl>
                                          <p:spTgt spid="211"/>
                                        </p:tgtEl>
                                      </p:cBhvr>
                                    </p:animEffect>
                                    <p:anim calcmode="lin" valueType="num">
                                      <p:cBhvr>
                                        <p:cTn id="58" dur="1000" fill="hold"/>
                                        <p:tgtEl>
                                          <p:spTgt spid="211"/>
                                        </p:tgtEl>
                                        <p:attrNameLst>
                                          <p:attrName>ppt_x</p:attrName>
                                        </p:attrNameLst>
                                      </p:cBhvr>
                                      <p:tavLst>
                                        <p:tav tm="0">
                                          <p:val>
                                            <p:strVal val="#ppt_x"/>
                                          </p:val>
                                        </p:tav>
                                        <p:tav tm="100000">
                                          <p:val>
                                            <p:strVal val="#ppt_x"/>
                                          </p:val>
                                        </p:tav>
                                      </p:tavLst>
                                    </p:anim>
                                    <p:anim calcmode="lin" valueType="num">
                                      <p:cBhvr>
                                        <p:cTn id="59" dur="1000" fill="hold"/>
                                        <p:tgtEl>
                                          <p:spTgt spid="211"/>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256"/>
                                        </p:tgtEl>
                                        <p:attrNameLst>
                                          <p:attrName>style.visibility</p:attrName>
                                        </p:attrNameLst>
                                      </p:cBhvr>
                                      <p:to>
                                        <p:strVal val="visible"/>
                                      </p:to>
                                    </p:set>
                                    <p:animEffect transition="in" filter="fade">
                                      <p:cBhvr>
                                        <p:cTn id="62" dur="1000"/>
                                        <p:tgtEl>
                                          <p:spTgt spid="256"/>
                                        </p:tgtEl>
                                      </p:cBhvr>
                                    </p:animEffect>
                                    <p:anim calcmode="lin" valueType="num">
                                      <p:cBhvr>
                                        <p:cTn id="63" dur="1000" fill="hold"/>
                                        <p:tgtEl>
                                          <p:spTgt spid="256"/>
                                        </p:tgtEl>
                                        <p:attrNameLst>
                                          <p:attrName>ppt_x</p:attrName>
                                        </p:attrNameLst>
                                      </p:cBhvr>
                                      <p:tavLst>
                                        <p:tav tm="0">
                                          <p:val>
                                            <p:strVal val="#ppt_x"/>
                                          </p:val>
                                        </p:tav>
                                        <p:tav tm="100000">
                                          <p:val>
                                            <p:strVal val="#ppt_x"/>
                                          </p:val>
                                        </p:tav>
                                      </p:tavLst>
                                    </p:anim>
                                    <p:anim calcmode="lin" valueType="num">
                                      <p:cBhvr>
                                        <p:cTn id="64" dur="1000" fill="hold"/>
                                        <p:tgtEl>
                                          <p:spTgt spid="256"/>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39"/>
                                        </p:tgtEl>
                                        <p:attrNameLst>
                                          <p:attrName>style.visibility</p:attrName>
                                        </p:attrNameLst>
                                      </p:cBhvr>
                                      <p:to>
                                        <p:strVal val="visible"/>
                                      </p:to>
                                    </p:set>
                                    <p:animEffect transition="in" filter="fade">
                                      <p:cBhvr>
                                        <p:cTn id="67" dur="1000"/>
                                        <p:tgtEl>
                                          <p:spTgt spid="239"/>
                                        </p:tgtEl>
                                      </p:cBhvr>
                                    </p:animEffect>
                                    <p:anim calcmode="lin" valueType="num">
                                      <p:cBhvr>
                                        <p:cTn id="68" dur="1000" fill="hold"/>
                                        <p:tgtEl>
                                          <p:spTgt spid="239"/>
                                        </p:tgtEl>
                                        <p:attrNameLst>
                                          <p:attrName>ppt_x</p:attrName>
                                        </p:attrNameLst>
                                      </p:cBhvr>
                                      <p:tavLst>
                                        <p:tav tm="0">
                                          <p:val>
                                            <p:strVal val="#ppt_x"/>
                                          </p:val>
                                        </p:tav>
                                        <p:tav tm="100000">
                                          <p:val>
                                            <p:strVal val="#ppt_x"/>
                                          </p:val>
                                        </p:tav>
                                      </p:tavLst>
                                    </p:anim>
                                    <p:anim calcmode="lin" valueType="num">
                                      <p:cBhvr>
                                        <p:cTn id="69" dur="1000" fill="hold"/>
                                        <p:tgtEl>
                                          <p:spTgt spid="239"/>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112"/>
                                        </p:tgtEl>
                                        <p:attrNameLst>
                                          <p:attrName>style.visibility</p:attrName>
                                        </p:attrNameLst>
                                      </p:cBhvr>
                                      <p:to>
                                        <p:strVal val="visible"/>
                                      </p:to>
                                    </p:set>
                                    <p:animEffect transition="in" filter="fade">
                                      <p:cBhvr>
                                        <p:cTn id="72" dur="1000"/>
                                        <p:tgtEl>
                                          <p:spTgt spid="112"/>
                                        </p:tgtEl>
                                      </p:cBhvr>
                                    </p:animEffect>
                                    <p:anim calcmode="lin" valueType="num">
                                      <p:cBhvr>
                                        <p:cTn id="73" dur="1000" fill="hold"/>
                                        <p:tgtEl>
                                          <p:spTgt spid="112"/>
                                        </p:tgtEl>
                                        <p:attrNameLst>
                                          <p:attrName>ppt_x</p:attrName>
                                        </p:attrNameLst>
                                      </p:cBhvr>
                                      <p:tavLst>
                                        <p:tav tm="0">
                                          <p:val>
                                            <p:strVal val="#ppt_x"/>
                                          </p:val>
                                        </p:tav>
                                        <p:tav tm="100000">
                                          <p:val>
                                            <p:strVal val="#ppt_x"/>
                                          </p:val>
                                        </p:tav>
                                      </p:tavLst>
                                    </p:anim>
                                    <p:anim calcmode="lin" valueType="num">
                                      <p:cBhvr>
                                        <p:cTn id="74" dur="1000" fill="hold"/>
                                        <p:tgtEl>
                                          <p:spTgt spid="112"/>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128"/>
                                        </p:tgtEl>
                                        <p:attrNameLst>
                                          <p:attrName>style.visibility</p:attrName>
                                        </p:attrNameLst>
                                      </p:cBhvr>
                                      <p:to>
                                        <p:strVal val="visible"/>
                                      </p:to>
                                    </p:set>
                                    <p:animEffect transition="in" filter="fade">
                                      <p:cBhvr>
                                        <p:cTn id="77" dur="1000"/>
                                        <p:tgtEl>
                                          <p:spTgt spid="128"/>
                                        </p:tgtEl>
                                      </p:cBhvr>
                                    </p:animEffect>
                                    <p:anim calcmode="lin" valueType="num">
                                      <p:cBhvr>
                                        <p:cTn id="78" dur="1000" fill="hold"/>
                                        <p:tgtEl>
                                          <p:spTgt spid="128"/>
                                        </p:tgtEl>
                                        <p:attrNameLst>
                                          <p:attrName>ppt_x</p:attrName>
                                        </p:attrNameLst>
                                      </p:cBhvr>
                                      <p:tavLst>
                                        <p:tav tm="0">
                                          <p:val>
                                            <p:strVal val="#ppt_x"/>
                                          </p:val>
                                        </p:tav>
                                        <p:tav tm="100000">
                                          <p:val>
                                            <p:strVal val="#ppt_x"/>
                                          </p:val>
                                        </p:tav>
                                      </p:tavLst>
                                    </p:anim>
                                    <p:anim calcmode="lin" valueType="num">
                                      <p:cBhvr>
                                        <p:cTn id="79" dur="1000" fill="hold"/>
                                        <p:tgtEl>
                                          <p:spTgt spid="128"/>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306"/>
                                        </p:tgtEl>
                                        <p:attrNameLst>
                                          <p:attrName>style.visibility</p:attrName>
                                        </p:attrNameLst>
                                      </p:cBhvr>
                                      <p:to>
                                        <p:strVal val="visible"/>
                                      </p:to>
                                    </p:set>
                                    <p:animEffect transition="in" filter="fade">
                                      <p:cBhvr>
                                        <p:cTn id="82" dur="1000"/>
                                        <p:tgtEl>
                                          <p:spTgt spid="306"/>
                                        </p:tgtEl>
                                      </p:cBhvr>
                                    </p:animEffect>
                                    <p:anim calcmode="lin" valueType="num">
                                      <p:cBhvr>
                                        <p:cTn id="83" dur="1000" fill="hold"/>
                                        <p:tgtEl>
                                          <p:spTgt spid="306"/>
                                        </p:tgtEl>
                                        <p:attrNameLst>
                                          <p:attrName>ppt_x</p:attrName>
                                        </p:attrNameLst>
                                      </p:cBhvr>
                                      <p:tavLst>
                                        <p:tav tm="0">
                                          <p:val>
                                            <p:strVal val="#ppt_x"/>
                                          </p:val>
                                        </p:tav>
                                        <p:tav tm="100000">
                                          <p:val>
                                            <p:strVal val="#ppt_x"/>
                                          </p:val>
                                        </p:tav>
                                      </p:tavLst>
                                    </p:anim>
                                    <p:anim calcmode="lin" valueType="num">
                                      <p:cBhvr>
                                        <p:cTn id="84" dur="1000" fill="hold"/>
                                        <p:tgtEl>
                                          <p:spTgt spid="306"/>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120"/>
                                        </p:tgtEl>
                                        <p:attrNameLst>
                                          <p:attrName>style.visibility</p:attrName>
                                        </p:attrNameLst>
                                      </p:cBhvr>
                                      <p:to>
                                        <p:strVal val="visible"/>
                                      </p:to>
                                    </p:set>
                                    <p:animEffect transition="in" filter="fade">
                                      <p:cBhvr>
                                        <p:cTn id="87" dur="1000"/>
                                        <p:tgtEl>
                                          <p:spTgt spid="120"/>
                                        </p:tgtEl>
                                      </p:cBhvr>
                                    </p:animEffect>
                                    <p:anim calcmode="lin" valueType="num">
                                      <p:cBhvr>
                                        <p:cTn id="88" dur="1000" fill="hold"/>
                                        <p:tgtEl>
                                          <p:spTgt spid="120"/>
                                        </p:tgtEl>
                                        <p:attrNameLst>
                                          <p:attrName>ppt_x</p:attrName>
                                        </p:attrNameLst>
                                      </p:cBhvr>
                                      <p:tavLst>
                                        <p:tav tm="0">
                                          <p:val>
                                            <p:strVal val="#ppt_x"/>
                                          </p:val>
                                        </p:tav>
                                        <p:tav tm="100000">
                                          <p:val>
                                            <p:strVal val="#ppt_x"/>
                                          </p:val>
                                        </p:tav>
                                      </p:tavLst>
                                    </p:anim>
                                    <p:anim calcmode="lin" valueType="num">
                                      <p:cBhvr>
                                        <p:cTn id="89" dur="1000" fill="hold"/>
                                        <p:tgtEl>
                                          <p:spTgt spid="120"/>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304"/>
                                        </p:tgtEl>
                                        <p:attrNameLst>
                                          <p:attrName>style.visibility</p:attrName>
                                        </p:attrNameLst>
                                      </p:cBhvr>
                                      <p:to>
                                        <p:strVal val="visible"/>
                                      </p:to>
                                    </p:set>
                                    <p:animEffect transition="in" filter="fade">
                                      <p:cBhvr>
                                        <p:cTn id="92" dur="1000"/>
                                        <p:tgtEl>
                                          <p:spTgt spid="304"/>
                                        </p:tgtEl>
                                      </p:cBhvr>
                                    </p:animEffect>
                                    <p:anim calcmode="lin" valueType="num">
                                      <p:cBhvr>
                                        <p:cTn id="93" dur="1000" fill="hold"/>
                                        <p:tgtEl>
                                          <p:spTgt spid="304"/>
                                        </p:tgtEl>
                                        <p:attrNameLst>
                                          <p:attrName>ppt_x</p:attrName>
                                        </p:attrNameLst>
                                      </p:cBhvr>
                                      <p:tavLst>
                                        <p:tav tm="0">
                                          <p:val>
                                            <p:strVal val="#ppt_x"/>
                                          </p:val>
                                        </p:tav>
                                        <p:tav tm="100000">
                                          <p:val>
                                            <p:strVal val="#ppt_x"/>
                                          </p:val>
                                        </p:tav>
                                      </p:tavLst>
                                    </p:anim>
                                    <p:anim calcmode="lin" valueType="num">
                                      <p:cBhvr>
                                        <p:cTn id="94" dur="1000" fill="hold"/>
                                        <p:tgtEl>
                                          <p:spTgt spid="30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9" grpId="0" animBg="1"/>
      <p:bldP spid="45" grpId="0" animBg="1"/>
      <p:bldP spid="221" grpId="0" animBg="1"/>
      <p:bldP spid="185" grpId="0" animBg="1"/>
      <p:bldP spid="211" grpId="0" animBg="1"/>
      <p:bldP spid="256" grpId="0" animBg="1"/>
      <p:bldP spid="109" grpId="0" animBg="1"/>
      <p:bldP spid="111" grpId="0" animBg="1"/>
      <p:bldP spid="112" grpId="0" animBg="1"/>
      <p:bldP spid="5" grpId="0"/>
      <p:bldP spid="7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Flowchart: Process 91"/>
          <p:cNvSpPr/>
          <p:nvPr/>
        </p:nvSpPr>
        <p:spPr bwMode="auto">
          <a:xfrm>
            <a:off x="168045" y="4135595"/>
            <a:ext cx="10754047" cy="2608030"/>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57" name="Trapezoid 156"/>
          <p:cNvSpPr/>
          <p:nvPr/>
        </p:nvSpPr>
        <p:spPr bwMode="auto">
          <a:xfrm>
            <a:off x="7767904" y="4284159"/>
            <a:ext cx="802970" cy="260145"/>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57" name="Group 56">
            <a:extLst>
              <a:ext uri="{FF2B5EF4-FFF2-40B4-BE49-F238E27FC236}">
                <a16:creationId xmlns:a16="http://schemas.microsoft.com/office/drawing/2014/main" id="{AE657D77-7CD2-4BC2-9EC4-9869D207196E}"/>
              </a:ext>
            </a:extLst>
          </p:cNvPr>
          <p:cNvGrpSpPr/>
          <p:nvPr/>
        </p:nvGrpSpPr>
        <p:grpSpPr>
          <a:xfrm>
            <a:off x="8872645" y="4568652"/>
            <a:ext cx="627319" cy="640672"/>
            <a:chOff x="993735" y="4900958"/>
            <a:chExt cx="640080" cy="653703"/>
          </a:xfrm>
          <a:solidFill>
            <a:schemeClr val="tx2"/>
          </a:solidFill>
        </p:grpSpPr>
        <p:sp>
          <p:nvSpPr>
            <p:cNvPr id="58" name="Rectangle: Rounded Corners 57">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59" name="Rectangle: Rounded Corners 58">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 name="Rectangle: Rounded Corners 59">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 name="Rectangle: Rounded Corners 60">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 name="Rectangle: Rounded Corners 61">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 name="Rectangle: Rounded Corners 62">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19" name="Group 18">
            <a:extLst>
              <a:ext uri="{FF2B5EF4-FFF2-40B4-BE49-F238E27FC236}">
                <a16:creationId xmlns:a16="http://schemas.microsoft.com/office/drawing/2014/main" id="{A777FC3E-7FA9-48CF-AC97-5E1B8638D4E0}"/>
              </a:ext>
            </a:extLst>
          </p:cNvPr>
          <p:cNvGrpSpPr/>
          <p:nvPr/>
        </p:nvGrpSpPr>
        <p:grpSpPr>
          <a:xfrm>
            <a:off x="983063" y="3686711"/>
            <a:ext cx="10468442" cy="657192"/>
            <a:chOff x="895582" y="4124280"/>
            <a:chExt cx="10681385" cy="670560"/>
          </a:xfrm>
        </p:grpSpPr>
        <p:sp>
          <p:nvSpPr>
            <p:cNvPr id="95" name="Cylinder 94"/>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6" name="Cylinder 95"/>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7" name="Cylinder 96"/>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8" name="Cylinder 97"/>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9" name="Cylinder 98"/>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0" name="Cylinder 99"/>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1" name="Cylinder 100"/>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2" name="Cylinder 101"/>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3" name="Cylinder 102"/>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4" name="Cylinder 103"/>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5" name="Cylinder 104"/>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6" name="Cylinder 105"/>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7" name="Cylinder 106"/>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8" name="Cylinder 107"/>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9" name="Cylinder 108"/>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0" name="Cylinder 109"/>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1" name="Cylinder 110"/>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2" name="Cylinder 111"/>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3" name="Cylinder 112"/>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4" name="Cylinder 113"/>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5" name="Cylinder 114"/>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6" name="Cylinder 115"/>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7" name="Cylinder 116"/>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8" name="Cylinder 117"/>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9" name="Cylinder 118"/>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0" name="Cylinder 119"/>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1" name="Cylinder 120"/>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2" name="Cylinder 121"/>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3" name="Cylinder 122"/>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4" name="Cylinder 123"/>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5" name="Cylinder 124"/>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6" name="Cylinder 125"/>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7" name="Cylinder 126"/>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8" name="Cylinder 127"/>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9" name="Cylinder 128"/>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0" name="Cylinder 129"/>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1" name="Cylinder 130"/>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2" name="Cylinder 131"/>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3" name="Cylinder 132"/>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4" name="Cylinder 133"/>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5" name="Cylinder 134"/>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6" name="Cylinder 135"/>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7" name="Cylinder 136"/>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8" name="Cylinder 137"/>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9" name="Cylinder 138"/>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0" name="Cylinder 139"/>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1" name="Cylinder 140"/>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2" name="Cylinder 141"/>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3" name="Cylinder 142"/>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4" name="Cylinder 143"/>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5" name="Cylinder 144"/>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6" name="Cylinder 145"/>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7" name="Cylinder 146"/>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8" name="Cylinder 147"/>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9" name="Cylinder 148"/>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0" name="Cylinder 149"/>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1" name="Cylinder 150"/>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2" name="Cylinder 151"/>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3" name="Cylinder 152"/>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4" name="Cylinder 153"/>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sp>
        <p:nvSpPr>
          <p:cNvPr id="201" name="Rectangle: Rounded Corners 200"/>
          <p:cNvSpPr/>
          <p:nvPr/>
        </p:nvSpPr>
        <p:spPr bwMode="auto">
          <a:xfrm rot="5400000">
            <a:off x="89551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2" name="Rectangle: Rounded Corners 201"/>
          <p:cNvSpPr/>
          <p:nvPr/>
        </p:nvSpPr>
        <p:spPr bwMode="auto">
          <a:xfrm rot="5400000">
            <a:off x="9890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3" name="Rectangle: Rounded Corners 202"/>
          <p:cNvSpPr/>
          <p:nvPr/>
        </p:nvSpPr>
        <p:spPr bwMode="auto">
          <a:xfrm rot="5400000">
            <a:off x="108252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4" name="Rectangle: Rounded Corners 203"/>
          <p:cNvSpPr/>
          <p:nvPr/>
        </p:nvSpPr>
        <p:spPr bwMode="auto">
          <a:xfrm rot="5400000">
            <a:off x="117603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5" name="Rectangle: Rounded Corners 204"/>
          <p:cNvSpPr/>
          <p:nvPr/>
        </p:nvSpPr>
        <p:spPr bwMode="auto">
          <a:xfrm rot="5400000">
            <a:off x="12695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6" name="Rectangle: Rounded Corners 205"/>
          <p:cNvSpPr/>
          <p:nvPr/>
        </p:nvSpPr>
        <p:spPr bwMode="auto">
          <a:xfrm rot="5400000">
            <a:off x="136304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7" name="Rectangle: Rounded Corners 206"/>
          <p:cNvSpPr/>
          <p:nvPr/>
        </p:nvSpPr>
        <p:spPr bwMode="auto">
          <a:xfrm rot="5400000">
            <a:off x="145654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8" name="Rectangle: Rounded Corners 207"/>
          <p:cNvSpPr/>
          <p:nvPr/>
        </p:nvSpPr>
        <p:spPr bwMode="auto">
          <a:xfrm rot="5400000">
            <a:off x="155005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9" name="Rectangle: Rounded Corners 208"/>
          <p:cNvSpPr/>
          <p:nvPr/>
        </p:nvSpPr>
        <p:spPr bwMode="auto">
          <a:xfrm rot="5400000">
            <a:off x="16435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0" name="Rectangle: Rounded Corners 209"/>
          <p:cNvSpPr/>
          <p:nvPr/>
        </p:nvSpPr>
        <p:spPr bwMode="auto">
          <a:xfrm rot="5400000">
            <a:off x="173706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1" name="Rectangle: Rounded Corners 210"/>
          <p:cNvSpPr/>
          <p:nvPr/>
        </p:nvSpPr>
        <p:spPr bwMode="auto">
          <a:xfrm rot="5400000">
            <a:off x="1830570"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2" name="Rectangle: Rounded Corners 211"/>
          <p:cNvSpPr/>
          <p:nvPr/>
        </p:nvSpPr>
        <p:spPr bwMode="auto">
          <a:xfrm rot="5400000">
            <a:off x="19240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3" name="Rectangle: Rounded Corners 212"/>
          <p:cNvSpPr/>
          <p:nvPr/>
        </p:nvSpPr>
        <p:spPr bwMode="auto">
          <a:xfrm rot="5400000">
            <a:off x="20175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4" name="Rectangle: Rounded Corners 213"/>
          <p:cNvSpPr/>
          <p:nvPr/>
        </p:nvSpPr>
        <p:spPr bwMode="auto">
          <a:xfrm rot="5400000">
            <a:off x="211108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5" name="Rectangle: Rounded Corners 214"/>
          <p:cNvSpPr/>
          <p:nvPr/>
        </p:nvSpPr>
        <p:spPr bwMode="auto">
          <a:xfrm rot="5400000">
            <a:off x="220458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6" name="Rectangle: Rounded Corners 215"/>
          <p:cNvSpPr/>
          <p:nvPr/>
        </p:nvSpPr>
        <p:spPr bwMode="auto">
          <a:xfrm rot="5400000">
            <a:off x="229809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7" name="Rectangle: Rounded Corners 216"/>
          <p:cNvSpPr/>
          <p:nvPr/>
        </p:nvSpPr>
        <p:spPr bwMode="auto">
          <a:xfrm rot="5400000">
            <a:off x="23915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8" name="Rectangle: Rounded Corners 217"/>
          <p:cNvSpPr/>
          <p:nvPr/>
        </p:nvSpPr>
        <p:spPr bwMode="auto">
          <a:xfrm rot="5400000">
            <a:off x="248510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9" name="Rectangle: Rounded Corners 218"/>
          <p:cNvSpPr/>
          <p:nvPr/>
        </p:nvSpPr>
        <p:spPr bwMode="auto">
          <a:xfrm rot="5400000">
            <a:off x="25786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0" name="Rectangle: Rounded Corners 219"/>
          <p:cNvSpPr/>
          <p:nvPr/>
        </p:nvSpPr>
        <p:spPr bwMode="auto">
          <a:xfrm rot="5400000">
            <a:off x="26721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1" name="Rectangle: Rounded Corners 220"/>
          <p:cNvSpPr/>
          <p:nvPr/>
        </p:nvSpPr>
        <p:spPr bwMode="auto">
          <a:xfrm rot="5400000">
            <a:off x="27656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2" name="Rectangle: Rounded Corners 221"/>
          <p:cNvSpPr/>
          <p:nvPr/>
        </p:nvSpPr>
        <p:spPr bwMode="auto">
          <a:xfrm rot="5400000">
            <a:off x="28591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3" name="Rectangle: Rounded Corners 222"/>
          <p:cNvSpPr/>
          <p:nvPr/>
        </p:nvSpPr>
        <p:spPr bwMode="auto">
          <a:xfrm rot="5400000">
            <a:off x="29526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4" name="Rectangle: Rounded Corners 223"/>
          <p:cNvSpPr/>
          <p:nvPr/>
        </p:nvSpPr>
        <p:spPr bwMode="auto">
          <a:xfrm rot="5400000">
            <a:off x="30461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5" name="Rectangle: Rounded Corners 224"/>
          <p:cNvSpPr/>
          <p:nvPr/>
        </p:nvSpPr>
        <p:spPr bwMode="auto">
          <a:xfrm rot="5400000">
            <a:off x="313963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6" name="Rectangle: Rounded Corners 225"/>
          <p:cNvSpPr/>
          <p:nvPr/>
        </p:nvSpPr>
        <p:spPr bwMode="auto">
          <a:xfrm rot="5400000">
            <a:off x="323314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7" name="Rectangle: Rounded Corners 226"/>
          <p:cNvSpPr/>
          <p:nvPr/>
        </p:nvSpPr>
        <p:spPr bwMode="auto">
          <a:xfrm rot="5400000">
            <a:off x="332664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8" name="Rectangle: Rounded Corners 227"/>
          <p:cNvSpPr/>
          <p:nvPr/>
        </p:nvSpPr>
        <p:spPr bwMode="auto">
          <a:xfrm rot="5400000">
            <a:off x="34201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9" name="Rectangle: Rounded Corners 228"/>
          <p:cNvSpPr/>
          <p:nvPr/>
        </p:nvSpPr>
        <p:spPr bwMode="auto">
          <a:xfrm rot="5400000">
            <a:off x="35136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0" name="Rectangle: Rounded Corners 229"/>
          <p:cNvSpPr/>
          <p:nvPr/>
        </p:nvSpPr>
        <p:spPr bwMode="auto">
          <a:xfrm rot="5400000">
            <a:off x="360716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1" name="Rectangle: Rounded Corners 230"/>
          <p:cNvSpPr/>
          <p:nvPr/>
        </p:nvSpPr>
        <p:spPr bwMode="auto">
          <a:xfrm rot="5400000">
            <a:off x="370066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2" name="Rectangle: Rounded Corners 231"/>
          <p:cNvSpPr/>
          <p:nvPr/>
        </p:nvSpPr>
        <p:spPr bwMode="auto">
          <a:xfrm rot="5400000">
            <a:off x="37941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3" name="Rectangle: Rounded Corners 232"/>
          <p:cNvSpPr/>
          <p:nvPr/>
        </p:nvSpPr>
        <p:spPr bwMode="auto">
          <a:xfrm rot="5400000">
            <a:off x="38876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4" name="Rectangle: Rounded Corners 233"/>
          <p:cNvSpPr/>
          <p:nvPr/>
        </p:nvSpPr>
        <p:spPr bwMode="auto">
          <a:xfrm rot="5400000">
            <a:off x="398118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5" name="Rectangle: Rounded Corners 234"/>
          <p:cNvSpPr/>
          <p:nvPr/>
        </p:nvSpPr>
        <p:spPr bwMode="auto">
          <a:xfrm rot="5400000">
            <a:off x="407468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6" name="Rectangle: Rounded Corners 235"/>
          <p:cNvSpPr/>
          <p:nvPr/>
        </p:nvSpPr>
        <p:spPr bwMode="auto">
          <a:xfrm rot="5400000">
            <a:off x="416819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7" name="Rectangle: Rounded Corners 236"/>
          <p:cNvSpPr/>
          <p:nvPr/>
        </p:nvSpPr>
        <p:spPr bwMode="auto">
          <a:xfrm rot="5400000">
            <a:off x="42616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8" name="Rectangle: Rounded Corners 237"/>
          <p:cNvSpPr/>
          <p:nvPr/>
        </p:nvSpPr>
        <p:spPr bwMode="auto">
          <a:xfrm rot="5400000">
            <a:off x="435520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9" name="Rectangle: Rounded Corners 238"/>
          <p:cNvSpPr/>
          <p:nvPr/>
        </p:nvSpPr>
        <p:spPr bwMode="auto">
          <a:xfrm rot="5400000">
            <a:off x="44487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0" name="Rectangle: Rounded Corners 239"/>
          <p:cNvSpPr/>
          <p:nvPr/>
        </p:nvSpPr>
        <p:spPr bwMode="auto">
          <a:xfrm rot="5400000">
            <a:off x="45422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1" name="Rectangle: Rounded Corners 240"/>
          <p:cNvSpPr/>
          <p:nvPr/>
        </p:nvSpPr>
        <p:spPr bwMode="auto">
          <a:xfrm rot="5400000">
            <a:off x="46357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2" name="Rectangle: Rounded Corners 241"/>
          <p:cNvSpPr/>
          <p:nvPr/>
        </p:nvSpPr>
        <p:spPr bwMode="auto">
          <a:xfrm rot="5400000">
            <a:off x="47292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3" name="Rectangle: Rounded Corners 242"/>
          <p:cNvSpPr/>
          <p:nvPr/>
        </p:nvSpPr>
        <p:spPr bwMode="auto">
          <a:xfrm rot="5400000">
            <a:off x="48227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4" name="Rectangle: Rounded Corners 243"/>
          <p:cNvSpPr/>
          <p:nvPr/>
        </p:nvSpPr>
        <p:spPr bwMode="auto">
          <a:xfrm rot="5400000">
            <a:off x="49162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5" name="Rectangle: Rounded Corners 244"/>
          <p:cNvSpPr/>
          <p:nvPr/>
        </p:nvSpPr>
        <p:spPr bwMode="auto">
          <a:xfrm rot="5400000">
            <a:off x="500973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6" name="Rectangle: Rounded Corners 245"/>
          <p:cNvSpPr/>
          <p:nvPr/>
        </p:nvSpPr>
        <p:spPr bwMode="auto">
          <a:xfrm rot="5400000">
            <a:off x="510324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7" name="Rectangle: Rounded Corners 246"/>
          <p:cNvSpPr/>
          <p:nvPr/>
        </p:nvSpPr>
        <p:spPr bwMode="auto">
          <a:xfrm rot="5400000">
            <a:off x="519674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8" name="Rectangle: Rounded Corners 247"/>
          <p:cNvSpPr/>
          <p:nvPr/>
        </p:nvSpPr>
        <p:spPr bwMode="auto">
          <a:xfrm rot="5400000">
            <a:off x="52902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9" name="Rectangle: Rounded Corners 248"/>
          <p:cNvSpPr/>
          <p:nvPr/>
        </p:nvSpPr>
        <p:spPr bwMode="auto">
          <a:xfrm rot="5400000">
            <a:off x="53837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0" name="Rectangle: Rounded Corners 249"/>
          <p:cNvSpPr/>
          <p:nvPr/>
        </p:nvSpPr>
        <p:spPr bwMode="auto">
          <a:xfrm rot="5400000">
            <a:off x="547726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1" name="Rectangle: Rounded Corners 250"/>
          <p:cNvSpPr/>
          <p:nvPr/>
        </p:nvSpPr>
        <p:spPr bwMode="auto">
          <a:xfrm rot="5400000">
            <a:off x="557076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2" name="Rectangle: Rounded Corners 251"/>
          <p:cNvSpPr/>
          <p:nvPr/>
        </p:nvSpPr>
        <p:spPr bwMode="auto">
          <a:xfrm rot="5400000">
            <a:off x="566427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3" name="Rectangle: Rounded Corners 252"/>
          <p:cNvSpPr/>
          <p:nvPr/>
        </p:nvSpPr>
        <p:spPr bwMode="auto">
          <a:xfrm rot="5400000">
            <a:off x="57577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4" name="Rectangle: Rounded Corners 253"/>
          <p:cNvSpPr/>
          <p:nvPr/>
        </p:nvSpPr>
        <p:spPr bwMode="auto">
          <a:xfrm rot="5400000">
            <a:off x="585128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5" name="Rectangle: Rounded Corners 254"/>
          <p:cNvSpPr/>
          <p:nvPr/>
        </p:nvSpPr>
        <p:spPr bwMode="auto">
          <a:xfrm rot="5400000">
            <a:off x="594478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6" name="Rectangle: Rounded Corners 255"/>
          <p:cNvSpPr/>
          <p:nvPr/>
        </p:nvSpPr>
        <p:spPr bwMode="auto">
          <a:xfrm rot="5400000">
            <a:off x="603829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8" name="Rectangle: Rounded Corners 257"/>
          <p:cNvSpPr/>
          <p:nvPr/>
        </p:nvSpPr>
        <p:spPr bwMode="auto">
          <a:xfrm rot="5400000">
            <a:off x="919454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9" name="Rectangle: Rounded Corners 258"/>
          <p:cNvSpPr/>
          <p:nvPr/>
        </p:nvSpPr>
        <p:spPr bwMode="auto">
          <a:xfrm rot="5400000">
            <a:off x="928804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0" name="Rectangle: Rounded Corners 259"/>
          <p:cNvSpPr/>
          <p:nvPr/>
        </p:nvSpPr>
        <p:spPr bwMode="auto">
          <a:xfrm rot="5400000">
            <a:off x="938155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1" name="Rectangle: Rounded Corners 260"/>
          <p:cNvSpPr/>
          <p:nvPr/>
        </p:nvSpPr>
        <p:spPr bwMode="auto">
          <a:xfrm rot="5400000">
            <a:off x="947505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2" name="Rectangle: Rounded Corners 261"/>
          <p:cNvSpPr/>
          <p:nvPr/>
        </p:nvSpPr>
        <p:spPr bwMode="auto">
          <a:xfrm rot="5400000">
            <a:off x="956856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3" name="Rectangle: Rounded Corners 262"/>
          <p:cNvSpPr/>
          <p:nvPr/>
        </p:nvSpPr>
        <p:spPr bwMode="auto">
          <a:xfrm rot="5400000">
            <a:off x="966206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4" name="Rectangle: Rounded Corners 263"/>
          <p:cNvSpPr/>
          <p:nvPr/>
        </p:nvSpPr>
        <p:spPr bwMode="auto">
          <a:xfrm rot="5400000">
            <a:off x="975557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5" name="Rectangle: Rounded Corners 264"/>
          <p:cNvSpPr/>
          <p:nvPr/>
        </p:nvSpPr>
        <p:spPr bwMode="auto">
          <a:xfrm rot="5400000">
            <a:off x="984907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6" name="Rectangle: Rounded Corners 265"/>
          <p:cNvSpPr/>
          <p:nvPr/>
        </p:nvSpPr>
        <p:spPr bwMode="auto">
          <a:xfrm rot="5400000">
            <a:off x="994480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7" name="Rectangle: Rounded Corners 266"/>
          <p:cNvSpPr/>
          <p:nvPr/>
        </p:nvSpPr>
        <p:spPr bwMode="auto">
          <a:xfrm rot="5400000">
            <a:off x="100383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8" name="Rectangle: Rounded Corners 267"/>
          <p:cNvSpPr/>
          <p:nvPr/>
        </p:nvSpPr>
        <p:spPr bwMode="auto">
          <a:xfrm rot="5400000">
            <a:off x="1013181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9" name="Rectangle: Rounded Corners 268"/>
          <p:cNvSpPr/>
          <p:nvPr/>
        </p:nvSpPr>
        <p:spPr bwMode="auto">
          <a:xfrm rot="5400000">
            <a:off x="1022531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0" name="Rectangle: Rounded Corners 269"/>
          <p:cNvSpPr/>
          <p:nvPr/>
        </p:nvSpPr>
        <p:spPr bwMode="auto">
          <a:xfrm rot="5400000">
            <a:off x="103188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1" name="Rectangle: Rounded Corners 270"/>
          <p:cNvSpPr/>
          <p:nvPr/>
        </p:nvSpPr>
        <p:spPr bwMode="auto">
          <a:xfrm rot="5400000">
            <a:off x="1041232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2" name="Rectangle: Rounded Corners 271"/>
          <p:cNvSpPr/>
          <p:nvPr/>
        </p:nvSpPr>
        <p:spPr bwMode="auto">
          <a:xfrm rot="5400000">
            <a:off x="1050583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3" name="Rectangle: Rounded Corners 272"/>
          <p:cNvSpPr/>
          <p:nvPr/>
        </p:nvSpPr>
        <p:spPr bwMode="auto">
          <a:xfrm rot="5400000">
            <a:off x="105993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83" name="TextBox 182">
            <a:extLst>
              <a:ext uri="{FF2B5EF4-FFF2-40B4-BE49-F238E27FC236}">
                <a16:creationId xmlns:a16="http://schemas.microsoft.com/office/drawing/2014/main" id="{E66B6EFD-A3D0-46F3-9AA7-5394DE4BBAD9}"/>
              </a:ext>
            </a:extLst>
          </p:cNvPr>
          <p:cNvSpPr txBox="1"/>
          <p:nvPr/>
        </p:nvSpPr>
        <p:spPr>
          <a:xfrm rot="16200000">
            <a:off x="85880" y="2573011"/>
            <a:ext cx="988655" cy="455624"/>
          </a:xfrm>
          <a:prstGeom prst="rect">
            <a:avLst/>
          </a:prstGeom>
          <a:noFill/>
        </p:spPr>
        <p:txBody>
          <a:bodyPr wrap="none" lIns="179235" tIns="143388" rIns="179235" bIns="143388" rtlCol="0">
            <a:spAutoFit/>
          </a:bodyPr>
          <a:lstStyle/>
          <a:p>
            <a:pPr defTabSz="914087">
              <a:lnSpc>
                <a:spcPct val="90000"/>
              </a:lnSpc>
              <a:spcAft>
                <a:spcPts val="588"/>
              </a:spcAft>
              <a:defRPr/>
            </a:pPr>
            <a:r>
              <a:rPr lang="en-US" sz="1175">
                <a:solidFill>
                  <a:srgbClr val="002050"/>
                </a:solidFill>
                <a:latin typeface="Segoe UI" panose="020B0502040204020203" pitchFamily="34" charset="0"/>
                <a:cs typeface="Segoe UI" panose="020B0502040204020203" pitchFamily="34" charset="0"/>
              </a:rPr>
              <a:t>Compute</a:t>
            </a:r>
            <a:endParaRPr lang="en-GB" sz="1175">
              <a:solidFill>
                <a:srgbClr val="002050"/>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21485E57-C8CD-4189-9567-CB43C50B61C5}"/>
              </a:ext>
            </a:extLst>
          </p:cNvPr>
          <p:cNvSpPr txBox="1"/>
          <p:nvPr/>
        </p:nvSpPr>
        <p:spPr>
          <a:xfrm rot="16200000">
            <a:off x="-567360" y="4773284"/>
            <a:ext cx="2295143" cy="452418"/>
          </a:xfrm>
          <a:prstGeom prst="rect">
            <a:avLst/>
          </a:prstGeom>
          <a:noFill/>
        </p:spPr>
        <p:txBody>
          <a:bodyPr wrap="squar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Remote storage</a:t>
            </a:r>
            <a:endParaRPr lang="en-GB" sz="1175">
              <a:solidFill>
                <a:srgbClr val="002050"/>
              </a:solidFill>
              <a:latin typeface="Segoe UI" panose="020B0502040204020203" pitchFamily="34" charset="0"/>
              <a:cs typeface="Segoe UI" panose="020B0502040204020203" pitchFamily="34" charset="0"/>
            </a:endParaRPr>
          </a:p>
        </p:txBody>
      </p:sp>
      <p:cxnSp>
        <p:nvCxnSpPr>
          <p:cNvPr id="192" name="Straight Connector 191">
            <a:extLst>
              <a:ext uri="{FF2B5EF4-FFF2-40B4-BE49-F238E27FC236}">
                <a16:creationId xmlns:a16="http://schemas.microsoft.com/office/drawing/2014/main" id="{6FF23621-FB74-4BB3-9FDD-C3FD0531FC33}"/>
              </a:ext>
            </a:extLst>
          </p:cNvPr>
          <p:cNvCxnSpPr/>
          <p:nvPr/>
        </p:nvCxnSpPr>
        <p:spPr>
          <a:xfrm>
            <a:off x="822579" y="3426455"/>
            <a:ext cx="10754047"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37E250F3-4CF0-4AF0-8930-1BE2D082A0BC}"/>
              </a:ext>
            </a:extLst>
          </p:cNvPr>
          <p:cNvGrpSpPr/>
          <p:nvPr/>
        </p:nvGrpSpPr>
        <p:grpSpPr>
          <a:xfrm>
            <a:off x="1179106" y="1746666"/>
            <a:ext cx="2143648" cy="1459058"/>
            <a:chOff x="0" y="753357"/>
            <a:chExt cx="2187253" cy="1488737"/>
          </a:xfrm>
        </p:grpSpPr>
        <p:sp>
          <p:nvSpPr>
            <p:cNvPr id="179" name="Rectangle 178">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9" name="Group 8">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80" name="Rectangle 179">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81" name="Rectangle 180">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2" name="Rectangle 181">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3" name="Trapezoid 12">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75" name="Rectangle 274">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76" name="Rectangle 275">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313" name="Rectangle 312">
            <a:extLst>
              <a:ext uri="{FF2B5EF4-FFF2-40B4-BE49-F238E27FC236}">
                <a16:creationId xmlns:a16="http://schemas.microsoft.com/office/drawing/2014/main" id="{16F1B168-09A4-4801-9E08-4B5BAB9DF509}"/>
              </a:ext>
            </a:extLst>
          </p:cNvPr>
          <p:cNvSpPr/>
          <p:nvPr/>
        </p:nvSpPr>
        <p:spPr bwMode="auto">
          <a:xfrm>
            <a:off x="7603862" y="4582474"/>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Data</a:t>
            </a:r>
          </a:p>
        </p:txBody>
      </p:sp>
      <p:sp>
        <p:nvSpPr>
          <p:cNvPr id="314" name="Rectangle 313">
            <a:extLst>
              <a:ext uri="{FF2B5EF4-FFF2-40B4-BE49-F238E27FC236}">
                <a16:creationId xmlns:a16="http://schemas.microsoft.com/office/drawing/2014/main" id="{2C194EF0-F8C9-4FAB-8078-BC702A106243}"/>
              </a:ext>
            </a:extLst>
          </p:cNvPr>
          <p:cNvSpPr/>
          <p:nvPr/>
        </p:nvSpPr>
        <p:spPr bwMode="auto">
          <a:xfrm>
            <a:off x="7603862" y="4955878"/>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Log</a:t>
            </a:r>
          </a:p>
        </p:txBody>
      </p:sp>
      <p:grpSp>
        <p:nvGrpSpPr>
          <p:cNvPr id="185" name="Group 184">
            <a:extLst>
              <a:ext uri="{FF2B5EF4-FFF2-40B4-BE49-F238E27FC236}">
                <a16:creationId xmlns:a16="http://schemas.microsoft.com/office/drawing/2014/main" id="{AB0847F2-DC3E-49E1-B147-06F45003C19C}"/>
              </a:ext>
            </a:extLst>
          </p:cNvPr>
          <p:cNvGrpSpPr/>
          <p:nvPr/>
        </p:nvGrpSpPr>
        <p:grpSpPr>
          <a:xfrm>
            <a:off x="4986878" y="1746666"/>
            <a:ext cx="2143648" cy="1459058"/>
            <a:chOff x="0" y="753357"/>
            <a:chExt cx="2187253" cy="1488737"/>
          </a:xfrm>
        </p:grpSpPr>
        <p:sp>
          <p:nvSpPr>
            <p:cNvPr id="186" name="Rectangle 185">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87" name="Group 186">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93" name="Rectangle 192">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94" name="Rectangle 193">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8" name="Rectangle 187">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89" name="Trapezoid 188">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190" name="Rectangle 189">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191" name="Rectangle 190">
              <a:extLst>
                <a:ext uri="{FF2B5EF4-FFF2-40B4-BE49-F238E27FC236}">
                  <a16:creationId xmlns:a16="http://schemas.microsoft.com/office/drawing/2014/main" id="{681DB066-6383-4891-AFA5-CF1D659F0FBD}"/>
                </a:ext>
              </a:extLst>
            </p:cNvPr>
            <p:cNvSpPr/>
            <p:nvPr/>
          </p:nvSpPr>
          <p:spPr bwMode="auto">
            <a:xfrm>
              <a:off x="1135858" y="862433"/>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dirty="0">
                  <a:solidFill>
                    <a:srgbClr val="FFFFFF"/>
                  </a:solidFill>
                  <a:latin typeface="Segoe UI Semilight"/>
                </a:rPr>
                <a:t>Memory</a:t>
              </a:r>
              <a:endParaRPr lang="en-GB" sz="1371" dirty="0">
                <a:solidFill>
                  <a:srgbClr val="FFFFFF"/>
                </a:solidFill>
                <a:latin typeface="Segoe UI Semilight"/>
              </a:endParaRPr>
            </a:p>
          </p:txBody>
        </p:sp>
      </p:grpSp>
      <p:grpSp>
        <p:nvGrpSpPr>
          <p:cNvPr id="195" name="Group 194">
            <a:extLst>
              <a:ext uri="{FF2B5EF4-FFF2-40B4-BE49-F238E27FC236}">
                <a16:creationId xmlns:a16="http://schemas.microsoft.com/office/drawing/2014/main" id="{B1736699-F120-48BA-9791-05D59E835055}"/>
              </a:ext>
            </a:extLst>
          </p:cNvPr>
          <p:cNvGrpSpPr/>
          <p:nvPr/>
        </p:nvGrpSpPr>
        <p:grpSpPr>
          <a:xfrm>
            <a:off x="8793213" y="1746666"/>
            <a:ext cx="2143648" cy="1459058"/>
            <a:chOff x="0" y="753357"/>
            <a:chExt cx="2187253" cy="1488737"/>
          </a:xfrm>
        </p:grpSpPr>
        <p:sp>
          <p:nvSpPr>
            <p:cNvPr id="196" name="Rectangle 195">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97" name="Group 196">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274" name="Rectangle 273">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286" name="Rectangle 285">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98" name="Rectangle 197">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99" name="Trapezoid 198">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57" name="Rectangle 256">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287" name="Rectangle 286">
            <a:extLst>
              <a:ext uri="{FF2B5EF4-FFF2-40B4-BE49-F238E27FC236}">
                <a16:creationId xmlns:a16="http://schemas.microsoft.com/office/drawing/2014/main" id="{BFBD9F2B-F505-4AB0-8992-C09A921B5D51}"/>
              </a:ext>
            </a:extLst>
          </p:cNvPr>
          <p:cNvSpPr/>
          <p:nvPr/>
        </p:nvSpPr>
        <p:spPr bwMode="auto">
          <a:xfrm>
            <a:off x="3441274" y="5030559"/>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371">
              <a:solidFill>
                <a:srgbClr val="002050"/>
              </a:solidFill>
              <a:latin typeface="Segoe UI Semilight"/>
            </a:endParaRPr>
          </a:p>
        </p:txBody>
      </p:sp>
      <p:sp>
        <p:nvSpPr>
          <p:cNvPr id="288" name="Rectangle 287">
            <a:extLst>
              <a:ext uri="{FF2B5EF4-FFF2-40B4-BE49-F238E27FC236}">
                <a16:creationId xmlns:a16="http://schemas.microsoft.com/office/drawing/2014/main" id="{349A60F6-084B-48FB-9AEF-D067F593FF7B}"/>
              </a:ext>
            </a:extLst>
          </p:cNvPr>
          <p:cNvSpPr/>
          <p:nvPr/>
        </p:nvSpPr>
        <p:spPr bwMode="auto">
          <a:xfrm>
            <a:off x="3291911" y="4881196"/>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371">
              <a:solidFill>
                <a:srgbClr val="002050"/>
              </a:solidFill>
              <a:latin typeface="Segoe UI Semilight"/>
            </a:endParaRPr>
          </a:p>
        </p:txBody>
      </p:sp>
      <p:sp>
        <p:nvSpPr>
          <p:cNvPr id="289" name="Rectangle 288">
            <a:extLst>
              <a:ext uri="{FF2B5EF4-FFF2-40B4-BE49-F238E27FC236}">
                <a16:creationId xmlns:a16="http://schemas.microsoft.com/office/drawing/2014/main" id="{679F3993-55F1-47DE-867B-99B2A5BCA482}"/>
              </a:ext>
            </a:extLst>
          </p:cNvPr>
          <p:cNvSpPr/>
          <p:nvPr/>
        </p:nvSpPr>
        <p:spPr bwMode="auto">
          <a:xfrm>
            <a:off x="3142550" y="4731833"/>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r>
              <a:rPr lang="en-US" sz="1371">
                <a:solidFill>
                  <a:srgbClr val="002050"/>
                </a:solidFill>
                <a:latin typeface="Segoe UI Semilight"/>
              </a:rPr>
              <a:t>Snapshot backups</a:t>
            </a:r>
          </a:p>
        </p:txBody>
      </p:sp>
      <p:cxnSp>
        <p:nvCxnSpPr>
          <p:cNvPr id="278" name="Straight Connector 277">
            <a:extLst>
              <a:ext uri="{FF2B5EF4-FFF2-40B4-BE49-F238E27FC236}">
                <a16:creationId xmlns:a16="http://schemas.microsoft.com/office/drawing/2014/main" id="{05EFA083-C400-4FB3-A796-F70683FA0713}"/>
              </a:ext>
            </a:extLst>
          </p:cNvPr>
          <p:cNvCxnSpPr/>
          <p:nvPr/>
        </p:nvCxnSpPr>
        <p:spPr>
          <a:xfrm>
            <a:off x="822579" y="1567496"/>
            <a:ext cx="10754047" cy="0"/>
          </a:xfrm>
          <a:prstGeom prst="line">
            <a:avLst/>
          </a:prstGeom>
          <a:ln w="12700">
            <a:solidFill>
              <a:schemeClr val="tx2">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EF0661CF-8E32-47CC-ACBE-71DB9C390DC0}"/>
              </a:ext>
            </a:extLst>
          </p:cNvPr>
          <p:cNvSpPr txBox="1"/>
          <p:nvPr/>
        </p:nvSpPr>
        <p:spPr>
          <a:xfrm rot="16200000">
            <a:off x="167735" y="703662"/>
            <a:ext cx="857229" cy="452418"/>
          </a:xfrm>
          <a:prstGeom prst="rect">
            <a:avLst/>
          </a:prstGeom>
          <a:noFill/>
        </p:spPr>
        <p:txBody>
          <a:bodyPr wrap="non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Control</a:t>
            </a:r>
            <a:endParaRPr lang="en-GB" sz="1175">
              <a:solidFill>
                <a:srgbClr val="002050"/>
              </a:solidFill>
              <a:latin typeface="Segoe UI" panose="020B0502040204020203" pitchFamily="34" charset="0"/>
              <a:cs typeface="Segoe UI" panose="020B0502040204020203" pitchFamily="34" charset="0"/>
            </a:endParaRPr>
          </a:p>
        </p:txBody>
      </p:sp>
      <p:grpSp>
        <p:nvGrpSpPr>
          <p:cNvPr id="280" name="Group 279">
            <a:extLst>
              <a:ext uri="{FF2B5EF4-FFF2-40B4-BE49-F238E27FC236}">
                <a16:creationId xmlns:a16="http://schemas.microsoft.com/office/drawing/2014/main" id="{A35E4C88-8776-47DF-8918-31523A2767D5}"/>
              </a:ext>
            </a:extLst>
          </p:cNvPr>
          <p:cNvGrpSpPr/>
          <p:nvPr/>
        </p:nvGrpSpPr>
        <p:grpSpPr>
          <a:xfrm>
            <a:off x="4981678" y="446238"/>
            <a:ext cx="2136702" cy="861003"/>
            <a:chOff x="1238204" y="1748518"/>
            <a:chExt cx="2180166" cy="878518"/>
          </a:xfrm>
        </p:grpSpPr>
        <p:sp>
          <p:nvSpPr>
            <p:cNvPr id="281" name="Rectangle 280">
              <a:extLst>
                <a:ext uri="{FF2B5EF4-FFF2-40B4-BE49-F238E27FC236}">
                  <a16:creationId xmlns:a16="http://schemas.microsoft.com/office/drawing/2014/main" id="{D12B897F-C80A-4F4B-8C06-C5E0CCFE61BA}"/>
                </a:ext>
              </a:extLst>
            </p:cNvPr>
            <p:cNvSpPr/>
            <p:nvPr/>
          </p:nvSpPr>
          <p:spPr bwMode="auto">
            <a:xfrm>
              <a:off x="1238204" y="1748518"/>
              <a:ext cx="2180166" cy="878518"/>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sp>
          <p:nvSpPr>
            <p:cNvPr id="282" name="Rectangle 281">
              <a:extLst>
                <a:ext uri="{FF2B5EF4-FFF2-40B4-BE49-F238E27FC236}">
                  <a16:creationId xmlns:a16="http://schemas.microsoft.com/office/drawing/2014/main" id="{CCAC5E34-0B89-4E2D-9F3A-1BDE2CBE3CB8}"/>
                </a:ext>
              </a:extLst>
            </p:cNvPr>
            <p:cNvSpPr/>
            <p:nvPr/>
          </p:nvSpPr>
          <p:spPr bwMode="auto">
            <a:xfrm>
              <a:off x="135499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83" name="Rectangle 282">
              <a:extLst>
                <a:ext uri="{FF2B5EF4-FFF2-40B4-BE49-F238E27FC236}">
                  <a16:creationId xmlns:a16="http://schemas.microsoft.com/office/drawing/2014/main" id="{7F06C8BB-C8DF-4CE1-8BDC-330E84240366}"/>
                </a:ext>
              </a:extLst>
            </p:cNvPr>
            <p:cNvSpPr/>
            <p:nvPr/>
          </p:nvSpPr>
          <p:spPr bwMode="auto">
            <a:xfrm>
              <a:off x="236721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sp>
          <p:nvSpPr>
            <p:cNvPr id="284" name="Rectangle 283">
              <a:extLst>
                <a:ext uri="{FF2B5EF4-FFF2-40B4-BE49-F238E27FC236}">
                  <a16:creationId xmlns:a16="http://schemas.microsoft.com/office/drawing/2014/main" id="{85EA35E4-A511-4A26-A527-DE1B97162D91}"/>
                </a:ext>
              </a:extLst>
            </p:cNvPr>
            <p:cNvSpPr/>
            <p:nvPr/>
          </p:nvSpPr>
          <p:spPr bwMode="auto">
            <a:xfrm>
              <a:off x="1354999" y="2205053"/>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SSD TempDB</a:t>
              </a:r>
              <a:endParaRPr lang="en-GB" sz="1371">
                <a:solidFill>
                  <a:srgbClr val="FFFFFF"/>
                </a:solidFill>
                <a:latin typeface="Segoe UI Semilight"/>
              </a:endParaRPr>
            </a:p>
          </p:txBody>
        </p:sp>
      </p:grpSp>
    </p:spTree>
    <p:extLst>
      <p:ext uri="{BB962C8B-B14F-4D97-AF65-F5344CB8AC3E}">
        <p14:creationId xmlns:p14="http://schemas.microsoft.com/office/powerpoint/2010/main" val="328096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0.01417 -0.03563 L 0.3167 -0.40604 " pathEditMode="relative" rAng="0" ptsTypes="AA">
                                      <p:cBhvr>
                                        <p:cTn id="6" dur="2000" fill="hold"/>
                                        <p:tgtEl>
                                          <p:spTgt spid="204"/>
                                        </p:tgtEl>
                                        <p:attrNameLst>
                                          <p:attrName>ppt_x</p:attrName>
                                          <p:attrName>ppt_y</p:attrName>
                                        </p:attrNameLst>
                                      </p:cBhvr>
                                      <p:rCtr x="16543" y="-18520"/>
                                    </p:animMotion>
                                  </p:childTnLst>
                                </p:cTn>
                              </p:par>
                              <p:par>
                                <p:cTn id="7" presetID="64" presetClass="path" presetSubtype="0" accel="50000" decel="50000" fill="hold" grpId="0" nodeType="withEffect">
                                  <p:stCondLst>
                                    <p:cond delay="0"/>
                                  </p:stCondLst>
                                  <p:childTnLst>
                                    <p:animMotion origin="layout" path="M 2.71381E-6 -2.11984E-6 L -0.03319 -0.40604 " pathEditMode="relative" rAng="0" ptsTypes="AA">
                                      <p:cBhvr>
                                        <p:cTn id="8" dur="2000" fill="hold"/>
                                        <p:tgtEl>
                                          <p:spTgt spid="216"/>
                                        </p:tgtEl>
                                        <p:attrNameLst>
                                          <p:attrName>ppt_x</p:attrName>
                                          <p:attrName>ppt_y</p:attrName>
                                        </p:attrNameLst>
                                      </p:cBhvr>
                                      <p:rCtr x="-1659" y="-20313"/>
                                    </p:animMotion>
                                  </p:childTnLst>
                                </p:cTn>
                              </p:par>
                              <p:par>
                                <p:cTn id="9" presetID="64" presetClass="path" presetSubtype="0" accel="50000" decel="50000" fill="hold" grpId="0" nodeType="withEffect">
                                  <p:stCondLst>
                                    <p:cond delay="0"/>
                                  </p:stCondLst>
                                  <p:childTnLst>
                                    <p:animMotion origin="layout" path="M -4.16135E-6 -2.11984E-6 L -0.10186 -0.40604 " pathEditMode="relative" rAng="0" ptsTypes="AA">
                                      <p:cBhvr>
                                        <p:cTn id="10" dur="2000" fill="hold"/>
                                        <p:tgtEl>
                                          <p:spTgt spid="226"/>
                                        </p:tgtEl>
                                        <p:attrNameLst>
                                          <p:attrName>ppt_x</p:attrName>
                                          <p:attrName>ppt_y</p:attrName>
                                        </p:attrNameLst>
                                      </p:cBhvr>
                                      <p:rCtr x="-5093" y="-20313"/>
                                    </p:animMotion>
                                  </p:childTnLst>
                                </p:cTn>
                              </p:par>
                              <p:par>
                                <p:cTn id="11" presetID="64" presetClass="path" presetSubtype="0" accel="50000" decel="50000" fill="hold" grpId="0" nodeType="withEffect">
                                  <p:stCondLst>
                                    <p:cond delay="0"/>
                                  </p:stCondLst>
                                  <p:childTnLst>
                                    <p:animMotion origin="layout" path="M -1.03651E-6 -2.11984E-6 L -0.24496 -0.40604 " pathEditMode="relative" rAng="0" ptsTypes="AA">
                                      <p:cBhvr>
                                        <p:cTn id="12" dur="2000" fill="hold"/>
                                        <p:tgtEl>
                                          <p:spTgt spid="236"/>
                                        </p:tgtEl>
                                        <p:attrNameLst>
                                          <p:attrName>ppt_x</p:attrName>
                                          <p:attrName>ppt_y</p:attrName>
                                        </p:attrNameLst>
                                      </p:cBhvr>
                                      <p:rCtr x="-12254" y="-20313"/>
                                    </p:animMotion>
                                  </p:childTnLst>
                                </p:cTn>
                              </p:par>
                              <p:par>
                                <p:cTn id="13" presetID="64" presetClass="path" presetSubtype="0" accel="50000" decel="50000" fill="hold" grpId="0" nodeType="withEffect">
                                  <p:stCondLst>
                                    <p:cond delay="0"/>
                                  </p:stCondLst>
                                  <p:childTnLst>
                                    <p:animMotion origin="layout" path="M -0.02183 -0.03472 L 0.04914 -0.40604 " pathEditMode="relative" rAng="0" ptsTypes="AA">
                                      <p:cBhvr>
                                        <p:cTn id="14" dur="2000" fill="hold"/>
                                        <p:tgtEl>
                                          <p:spTgt spid="246"/>
                                        </p:tgtEl>
                                        <p:attrNameLst>
                                          <p:attrName>ppt_x</p:attrName>
                                          <p:attrName>ppt_y</p:attrName>
                                        </p:attrNameLst>
                                      </p:cBhvr>
                                      <p:rCtr x="3549" y="-18566"/>
                                    </p:animMotion>
                                  </p:childTnLst>
                                </p:cTn>
                              </p:par>
                              <p:par>
                                <p:cTn id="15" presetID="64" presetClass="path" presetSubtype="0" accel="50000" decel="50000" fill="hold" grpId="0" nodeType="withEffect">
                                  <p:stCondLst>
                                    <p:cond delay="0"/>
                                  </p:stCondLst>
                                  <p:childTnLst>
                                    <p:animMotion origin="layout" path="M -2.94358E-6 -2.11984E-6 L -0.03485 -0.40604 " pathEditMode="relative" rAng="0" ptsTypes="AA">
                                      <p:cBhvr>
                                        <p:cTn id="16" dur="2000" fill="hold"/>
                                        <p:tgtEl>
                                          <p:spTgt spid="259"/>
                                        </p:tgtEl>
                                        <p:attrNameLst>
                                          <p:attrName>ppt_x</p:attrName>
                                          <p:attrName>ppt_y</p:attrName>
                                        </p:attrNameLst>
                                      </p:cBhvr>
                                      <p:rCtr x="-1749" y="-20313"/>
                                    </p:animMotion>
                                  </p:childTnLst>
                                </p:cTn>
                              </p:par>
                              <p:par>
                                <p:cTn id="17" presetID="64" presetClass="path" presetSubtype="0" accel="50000" decel="50000" fill="hold" grpId="0" nodeType="withEffect">
                                  <p:stCondLst>
                                    <p:cond delay="0"/>
                                  </p:stCondLst>
                                  <p:childTnLst>
                                    <p:animMotion origin="layout" path="M -6.99515E-7 -2.11984E-6 L -0.09727 -0.40604 " pathEditMode="relative" rAng="0" ptsTypes="AA">
                                      <p:cBhvr>
                                        <p:cTn id="18" dur="2000" fill="hold"/>
                                        <p:tgtEl>
                                          <p:spTgt spid="266"/>
                                        </p:tgtEl>
                                        <p:attrNameLst>
                                          <p:attrName>ppt_x</p:attrName>
                                          <p:attrName>ppt_y</p:attrName>
                                        </p:attrNameLst>
                                      </p:cBhvr>
                                      <p:rCtr x="-4863" y="-20313"/>
                                    </p:animMotion>
                                  </p:childTnLst>
                                </p:cTn>
                              </p:par>
                              <p:par>
                                <p:cTn id="19" presetID="64" presetClass="path" presetSubtype="0" accel="50000" decel="50000" fill="hold" grpId="0" nodeType="withEffect">
                                  <p:stCondLst>
                                    <p:cond delay="0"/>
                                  </p:stCondLst>
                                  <p:childTnLst>
                                    <p:animMotion origin="layout" path="M -4.23538E-6 -2.11984E-6 L -0.0822 -0.40604 " pathEditMode="relative" rAng="0" ptsTypes="AA">
                                      <p:cBhvr>
                                        <p:cTn id="20" dur="2000" fill="hold"/>
                                        <p:tgtEl>
                                          <p:spTgt spid="272"/>
                                        </p:tgtEl>
                                        <p:attrNameLst>
                                          <p:attrName>ppt_x</p:attrName>
                                          <p:attrName>ppt_y</p:attrName>
                                        </p:attrNameLst>
                                      </p:cBhvr>
                                      <p:rCtr x="-4110" y="-203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216" grpId="0" animBg="1"/>
      <p:bldP spid="226" grpId="0" animBg="1"/>
      <p:bldP spid="236" grpId="0" animBg="1"/>
      <p:bldP spid="246" grpId="0" animBg="1"/>
      <p:bldP spid="259" grpId="0" animBg="1"/>
      <p:bldP spid="266" grpId="0" animBg="1"/>
      <p:bldP spid="27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F4FF8-EC7A-4C87-8567-8BACFD795911}"/>
              </a:ext>
            </a:extLst>
          </p:cNvPr>
          <p:cNvSpPr>
            <a:spLocks noGrp="1"/>
          </p:cNvSpPr>
          <p:nvPr>
            <p:ph type="title"/>
          </p:nvPr>
        </p:nvSpPr>
        <p:spPr>
          <a:xfrm>
            <a:off x="655638" y="320040"/>
            <a:ext cx="10880725" cy="923330"/>
          </a:xfrm>
        </p:spPr>
        <p:txBody>
          <a:bodyPr/>
          <a:lstStyle/>
          <a:p>
            <a:r>
              <a:rPr lang="en-US" dirty="0"/>
              <a:t>Compute Data Warehouse Units – Memory and  Adaptive Cache</a:t>
            </a:r>
          </a:p>
        </p:txBody>
      </p:sp>
      <p:sp>
        <p:nvSpPr>
          <p:cNvPr id="3" name="Content Placeholder 2">
            <a:extLst>
              <a:ext uri="{FF2B5EF4-FFF2-40B4-BE49-F238E27FC236}">
                <a16:creationId xmlns:a16="http://schemas.microsoft.com/office/drawing/2014/main" id="{5A30ECC7-8433-4B94-890E-DD7A842C9CA1}"/>
              </a:ext>
            </a:extLst>
          </p:cNvPr>
          <p:cNvSpPr>
            <a:spLocks noGrp="1"/>
          </p:cNvSpPr>
          <p:nvPr>
            <p:ph sz="quarter" idx="13"/>
          </p:nvPr>
        </p:nvSpPr>
        <p:spPr>
          <a:xfrm>
            <a:off x="655638" y="1408114"/>
            <a:ext cx="3786822" cy="4819650"/>
          </a:xfrm>
        </p:spPr>
        <p:txBody>
          <a:bodyPr vert="horz" lIns="0" tIns="0" rIns="0" bIns="0" rtlCol="0" anchor="t">
            <a:normAutofit/>
          </a:bodyPr>
          <a:lstStyle/>
          <a:p>
            <a:pPr marL="466090" indent="-466090">
              <a:buFont typeface="Arial" panose="020B0604020202020204" pitchFamily="34" charset="0"/>
              <a:buChar char="•"/>
            </a:pPr>
            <a:r>
              <a:rPr lang="en-US" sz="2000" dirty="0">
                <a:cs typeface="Segoe UI"/>
              </a:rPr>
              <a:t>300 GB per DWU500</a:t>
            </a:r>
          </a:p>
          <a:p>
            <a:pPr marL="466090" indent="-466090">
              <a:buFont typeface="Arial" panose="020B0604020202020204" pitchFamily="34" charset="0"/>
              <a:buChar char="•"/>
            </a:pPr>
            <a:r>
              <a:rPr lang="en-US" sz="2000" dirty="0">
                <a:cs typeface="Segoe UI"/>
              </a:rPr>
              <a:t>1.5TB cache per DWU 500</a:t>
            </a:r>
            <a:endParaRPr lang="en-US" dirty="0">
              <a:cs typeface="Segoe UI"/>
            </a:endParaRPr>
          </a:p>
          <a:p>
            <a:pPr marL="466090" indent="-466090">
              <a:buFont typeface="Arial" panose="020B0604020202020204" pitchFamily="34" charset="0"/>
              <a:buChar char="•"/>
            </a:pPr>
            <a:r>
              <a:rPr lang="en-US" sz="2000" dirty="0"/>
              <a:t>EXEC </a:t>
            </a:r>
            <a:r>
              <a:rPr lang="en-US" sz="2000" b="1" dirty="0" err="1"/>
              <a:t>sp_spaceused</a:t>
            </a:r>
            <a:r>
              <a:rPr lang="en-US" sz="2000" dirty="0"/>
              <a:t> </a:t>
            </a:r>
          </a:p>
          <a:p>
            <a:pPr marL="466090" indent="-466090">
              <a:buFont typeface="Arial" panose="020B0604020202020204" pitchFamily="34" charset="0"/>
              <a:buChar char="•"/>
            </a:pPr>
            <a:r>
              <a:rPr lang="en-US" sz="2000" dirty="0"/>
              <a:t>This cache is </a:t>
            </a:r>
            <a:r>
              <a:rPr lang="en-US" sz="2000" i="1" dirty="0"/>
              <a:t>per node</a:t>
            </a:r>
          </a:p>
          <a:p>
            <a:pPr marL="310515" indent="-310515"/>
            <a:endParaRPr lang="en-US" dirty="0"/>
          </a:p>
        </p:txBody>
      </p:sp>
      <p:graphicFrame>
        <p:nvGraphicFramePr>
          <p:cNvPr id="4" name="Table 3">
            <a:extLst>
              <a:ext uri="{FF2B5EF4-FFF2-40B4-BE49-F238E27FC236}">
                <a16:creationId xmlns:a16="http://schemas.microsoft.com/office/drawing/2014/main" id="{F755E1A2-04BB-4AD4-8D54-EB497B53BF13}"/>
              </a:ext>
            </a:extLst>
          </p:cNvPr>
          <p:cNvGraphicFramePr>
            <a:graphicFrameLocks noGrp="1"/>
          </p:cNvGraphicFramePr>
          <p:nvPr>
            <p:extLst>
              <p:ext uri="{D42A27DB-BD31-4B8C-83A1-F6EECF244321}">
                <p14:modId xmlns:p14="http://schemas.microsoft.com/office/powerpoint/2010/main" val="996604620"/>
              </p:ext>
            </p:extLst>
          </p:nvPr>
        </p:nvGraphicFramePr>
        <p:xfrm>
          <a:off x="4442460" y="1243370"/>
          <a:ext cx="6861296" cy="5334361"/>
        </p:xfrm>
        <a:graphic>
          <a:graphicData uri="http://schemas.openxmlformats.org/drawingml/2006/table">
            <a:tbl>
              <a:tblPr>
                <a:tableStyleId>{5C22544A-7EE6-4342-B048-85BDC9FD1C3A}</a:tableStyleId>
              </a:tblPr>
              <a:tblGrid>
                <a:gridCol w="1811723">
                  <a:extLst>
                    <a:ext uri="{9D8B030D-6E8A-4147-A177-3AD203B41FA5}">
                      <a16:colId xmlns:a16="http://schemas.microsoft.com/office/drawing/2014/main" val="2286826540"/>
                    </a:ext>
                  </a:extLst>
                </a:gridCol>
                <a:gridCol w="1864159">
                  <a:extLst>
                    <a:ext uri="{9D8B030D-6E8A-4147-A177-3AD203B41FA5}">
                      <a16:colId xmlns:a16="http://schemas.microsoft.com/office/drawing/2014/main" val="470242949"/>
                    </a:ext>
                  </a:extLst>
                </a:gridCol>
                <a:gridCol w="1592707">
                  <a:extLst>
                    <a:ext uri="{9D8B030D-6E8A-4147-A177-3AD203B41FA5}">
                      <a16:colId xmlns:a16="http://schemas.microsoft.com/office/drawing/2014/main" val="1345424083"/>
                    </a:ext>
                  </a:extLst>
                </a:gridCol>
                <a:gridCol w="1592707">
                  <a:extLst>
                    <a:ext uri="{9D8B030D-6E8A-4147-A177-3AD203B41FA5}">
                      <a16:colId xmlns:a16="http://schemas.microsoft.com/office/drawing/2014/main" val="1049291834"/>
                    </a:ext>
                  </a:extLst>
                </a:gridCol>
              </a:tblGrid>
              <a:tr h="0">
                <a:tc>
                  <a:txBody>
                    <a:bodyPr/>
                    <a:lstStyle/>
                    <a:p>
                      <a:pPr algn="ctr" fontAlgn="ctr"/>
                      <a:r>
                        <a:rPr lang="en-US" sz="2000" b="0" i="0" u="none" strike="noStrike">
                          <a:solidFill>
                            <a:srgbClr val="000000"/>
                          </a:solidFill>
                          <a:effectLst/>
                          <a:latin typeface="Segoe UI (Body)"/>
                        </a:rPr>
                        <a:t>DWU</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u="none" strike="noStrike">
                          <a:effectLst/>
                          <a:latin typeface="Segoe UI (Body)"/>
                        </a:rPr>
                        <a:t>Memory </a:t>
                      </a:r>
                    </a:p>
                    <a:p>
                      <a:pPr algn="ctr" fontAlgn="ctr"/>
                      <a:r>
                        <a:rPr lang="en-US" sz="2000" u="none" strike="noStrike">
                          <a:effectLst/>
                          <a:latin typeface="Segoe UI (Body)"/>
                        </a:rPr>
                        <a:t>(GB)</a:t>
                      </a:r>
                      <a:endParaRPr lang="en-US" sz="2000" b="0" i="0" u="none" strike="noStrike">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US" sz="2000" u="none" strike="noStrike">
                          <a:effectLst/>
                          <a:latin typeface="Segoe UI (Body)"/>
                        </a:rPr>
                        <a:t>Tempdb </a:t>
                      </a:r>
                    </a:p>
                    <a:p>
                      <a:pPr algn="ctr" fontAlgn="ctr"/>
                      <a:r>
                        <a:rPr lang="en-US" sz="2000" u="none" strike="noStrike">
                          <a:effectLst/>
                          <a:latin typeface="Segoe UI (Body)"/>
                        </a:rPr>
                        <a:t>(TB)</a:t>
                      </a:r>
                      <a:endParaRPr lang="en-US" sz="2000" b="0" i="0" u="none" strike="noStrike">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b="0" i="0" u="none" strike="noStrike" dirty="0">
                          <a:solidFill>
                            <a:srgbClr val="000000"/>
                          </a:solidFill>
                          <a:effectLst/>
                          <a:latin typeface="Segoe UI (Body)"/>
                        </a:rPr>
                        <a:t>Cache</a:t>
                      </a:r>
                    </a:p>
                    <a:p>
                      <a:pPr algn="ctr" fontAlgn="ctr"/>
                      <a:r>
                        <a:rPr lang="en-US" sz="2000" b="0" i="0" u="none" strike="noStrike" dirty="0">
                          <a:solidFill>
                            <a:srgbClr val="000000"/>
                          </a:solidFill>
                          <a:effectLst/>
                          <a:latin typeface="Segoe UI (Body)"/>
                        </a:rPr>
                        <a:t>(TB)</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123826314"/>
                  </a:ext>
                </a:extLst>
              </a:tr>
              <a:tr h="428935">
                <a:tc>
                  <a:txBody>
                    <a:bodyPr/>
                    <a:lstStyle/>
                    <a:p>
                      <a:pPr algn="ctr" fontAlgn="ctr"/>
                      <a:r>
                        <a:rPr lang="en-US" sz="2000" u="none" strike="noStrike" dirty="0">
                          <a:effectLst/>
                          <a:latin typeface="Segoe UI (Body)"/>
                        </a:rPr>
                        <a:t>1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6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4</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3</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020882961"/>
                  </a:ext>
                </a:extLst>
              </a:tr>
              <a:tr h="428935">
                <a:tc>
                  <a:txBody>
                    <a:bodyPr/>
                    <a:lstStyle/>
                    <a:p>
                      <a:pPr algn="ctr" fontAlgn="ctr"/>
                      <a:r>
                        <a:rPr lang="en-US" sz="2000" u="none" strike="noStrike" dirty="0">
                          <a:effectLst/>
                          <a:latin typeface="Segoe UI (Body)"/>
                        </a:rPr>
                        <a:t>1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9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6</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4.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53667344"/>
                  </a:ext>
                </a:extLst>
              </a:tr>
              <a:tr h="428935">
                <a:tc>
                  <a:txBody>
                    <a:bodyPr/>
                    <a:lstStyle/>
                    <a:p>
                      <a:pPr algn="ctr" fontAlgn="ctr"/>
                      <a:r>
                        <a:rPr lang="en-US" sz="2000" u="none" strike="noStrike" dirty="0">
                          <a:effectLst/>
                          <a:latin typeface="Segoe UI (Body)"/>
                        </a:rPr>
                        <a:t>2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2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8</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6</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26799518"/>
                  </a:ext>
                </a:extLst>
              </a:tr>
              <a:tr h="428935">
                <a:tc>
                  <a:txBody>
                    <a:bodyPr/>
                    <a:lstStyle/>
                    <a:p>
                      <a:pPr algn="ctr" fontAlgn="ctr"/>
                      <a:r>
                        <a:rPr lang="en-US" sz="2000" u="none" strike="noStrike" dirty="0">
                          <a:effectLst/>
                          <a:latin typeface="Segoe UI (Body)"/>
                        </a:rPr>
                        <a:t>2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5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1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7.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86821773"/>
                  </a:ext>
                </a:extLst>
              </a:tr>
              <a:tr h="428935">
                <a:tc>
                  <a:txBody>
                    <a:bodyPr/>
                    <a:lstStyle/>
                    <a:p>
                      <a:pPr algn="ctr" fontAlgn="ctr"/>
                      <a:r>
                        <a:rPr lang="en-US" sz="2000" u="none" strike="noStrike" dirty="0">
                          <a:effectLst/>
                          <a:latin typeface="Segoe UI (Body)"/>
                        </a:rPr>
                        <a:t>3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2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2</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9</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92496133"/>
                  </a:ext>
                </a:extLst>
              </a:tr>
              <a:tr h="428935">
                <a:tc>
                  <a:txBody>
                    <a:bodyPr/>
                    <a:lstStyle/>
                    <a:p>
                      <a:pPr algn="ctr" fontAlgn="ctr"/>
                      <a:r>
                        <a:rPr lang="en-US" sz="2000" u="none" strike="noStrike" dirty="0">
                          <a:effectLst/>
                          <a:latin typeface="Segoe UI (Body)"/>
                        </a:rPr>
                        <a:t>5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3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77019021"/>
                  </a:ext>
                </a:extLst>
              </a:tr>
              <a:tr h="428935">
                <a:tc>
                  <a:txBody>
                    <a:bodyPr/>
                    <a:lstStyle/>
                    <a:p>
                      <a:pPr algn="ctr" fontAlgn="ctr"/>
                      <a:r>
                        <a:rPr lang="en-US" sz="2000" u="none" strike="noStrike" dirty="0">
                          <a:effectLst/>
                          <a:latin typeface="Segoe UI (Body)"/>
                        </a:rPr>
                        <a:t>6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36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23</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8</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59882243"/>
                  </a:ext>
                </a:extLst>
              </a:tr>
              <a:tr h="428935">
                <a:tc>
                  <a:txBody>
                    <a:bodyPr/>
                    <a:lstStyle/>
                    <a:p>
                      <a:pPr algn="ctr" fontAlgn="ctr"/>
                      <a:r>
                        <a:rPr lang="en-US" sz="2000" u="none" strike="noStrike" dirty="0">
                          <a:effectLst/>
                          <a:latin typeface="Segoe UI (Body)"/>
                        </a:rPr>
                        <a:t>7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dirty="0">
                          <a:effectLst/>
                          <a:latin typeface="Segoe UI (Body)"/>
                        </a:rPr>
                        <a:t>4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2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22.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312114"/>
                  </a:ext>
                </a:extLst>
              </a:tr>
              <a:tr h="428935">
                <a:tc>
                  <a:txBody>
                    <a:bodyPr/>
                    <a:lstStyle/>
                    <a:p>
                      <a:pPr algn="ctr" fontAlgn="ctr"/>
                      <a:r>
                        <a:rPr lang="en-US" sz="2000" u="none" strike="noStrike" dirty="0">
                          <a:effectLst/>
                          <a:latin typeface="Segoe UI (Body)"/>
                        </a:rPr>
                        <a:t>10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6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3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30</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32942033"/>
                  </a:ext>
                </a:extLst>
              </a:tr>
              <a:tr h="428935">
                <a:tc>
                  <a:txBody>
                    <a:bodyPr/>
                    <a:lstStyle/>
                    <a:p>
                      <a:pPr algn="ctr" fontAlgn="ctr"/>
                      <a:r>
                        <a:rPr lang="en-US" sz="2000" u="none" strike="noStrike" dirty="0">
                          <a:effectLst/>
                          <a:latin typeface="Segoe UI (Body)"/>
                        </a:rPr>
                        <a:t>15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9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58</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4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789997082"/>
                  </a:ext>
                </a:extLst>
              </a:tr>
              <a:tr h="428935">
                <a:tc>
                  <a:txBody>
                    <a:bodyPr/>
                    <a:lstStyle/>
                    <a:p>
                      <a:pPr algn="ctr" fontAlgn="ctr"/>
                      <a:r>
                        <a:rPr lang="en-US" sz="2000" u="none" strike="noStrike" dirty="0">
                          <a:effectLst/>
                          <a:latin typeface="Segoe UI (Body)"/>
                        </a:rPr>
                        <a:t>30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8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17</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90</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30881645"/>
                  </a:ext>
                </a:extLst>
              </a:tr>
            </a:tbl>
          </a:graphicData>
        </a:graphic>
      </p:graphicFrame>
    </p:spTree>
    <p:extLst>
      <p:ext uri="{BB962C8B-B14F-4D97-AF65-F5344CB8AC3E}">
        <p14:creationId xmlns:p14="http://schemas.microsoft.com/office/powerpoint/2010/main" val="28187695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3">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3">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3">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3">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3">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3">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3">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3">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3">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3">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3">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3">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3">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3">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3">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3">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3">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3">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3">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3">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3">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3">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3">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3">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3">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3">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3">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3">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3">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3">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208" name="Compute Node 05"/>
          <p:cNvPicPr>
            <a:picLocks noChangeAspect="1"/>
          </p:cNvPicPr>
          <p:nvPr/>
        </p:nvPicPr>
        <p:blipFill>
          <a:blip r:embed="rId4">
            <a:biLevel thresh="25000"/>
          </a:blip>
          <a:stretch>
            <a:fillRect/>
          </a:stretch>
        </p:blipFill>
        <p:spPr>
          <a:xfrm>
            <a:off x="5300489" y="2747644"/>
            <a:ext cx="764842" cy="764842"/>
          </a:xfrm>
          <a:prstGeom prst="rect">
            <a:avLst/>
          </a:prstGeom>
          <a:ln>
            <a:noFill/>
          </a:ln>
        </p:spPr>
      </p:pic>
      <p:pic>
        <p:nvPicPr>
          <p:cNvPr id="206" name="Compute Node 04"/>
          <p:cNvPicPr>
            <a:picLocks noChangeAspect="1"/>
          </p:cNvPicPr>
          <p:nvPr/>
        </p:nvPicPr>
        <p:blipFill>
          <a:blip r:embed="rId4">
            <a:biLevel thresh="25000"/>
          </a:blip>
          <a:stretch>
            <a:fillRect/>
          </a:stretch>
        </p:blipFill>
        <p:spPr>
          <a:xfrm>
            <a:off x="4474305" y="2747644"/>
            <a:ext cx="764842" cy="764842"/>
          </a:xfrm>
          <a:prstGeom prst="rect">
            <a:avLst/>
          </a:prstGeom>
          <a:ln>
            <a:noFill/>
          </a:ln>
        </p:spPr>
      </p:pic>
      <p:pic>
        <p:nvPicPr>
          <p:cNvPr id="207" name="Compute Node 03"/>
          <p:cNvPicPr>
            <a:picLocks noChangeAspect="1"/>
          </p:cNvPicPr>
          <p:nvPr/>
        </p:nvPicPr>
        <p:blipFill>
          <a:blip r:embed="rId4">
            <a:biLevel thresh="25000"/>
          </a:blip>
          <a:stretch>
            <a:fillRect/>
          </a:stretch>
        </p:blipFill>
        <p:spPr>
          <a:xfrm>
            <a:off x="3648120" y="2747644"/>
            <a:ext cx="764842" cy="764842"/>
          </a:xfrm>
          <a:prstGeom prst="rect">
            <a:avLst/>
          </a:prstGeom>
          <a:ln>
            <a:noFill/>
          </a:ln>
        </p:spPr>
      </p:pic>
      <p:pic>
        <p:nvPicPr>
          <p:cNvPr id="108" name="Compute Node 02"/>
          <p:cNvPicPr>
            <a:picLocks noChangeAspect="1"/>
          </p:cNvPicPr>
          <p:nvPr/>
        </p:nvPicPr>
        <p:blipFill>
          <a:blip r:embed="rId4">
            <a:biLevel thresh="25000"/>
          </a:blip>
          <a:stretch>
            <a:fillRect/>
          </a:stretch>
        </p:blipFill>
        <p:spPr>
          <a:xfrm>
            <a:off x="2821935" y="2747644"/>
            <a:ext cx="764842" cy="764842"/>
          </a:xfrm>
          <a:prstGeom prst="rect">
            <a:avLst/>
          </a:prstGeom>
          <a:ln>
            <a:noFill/>
          </a:ln>
        </p:spPr>
      </p:pic>
      <p:pic>
        <p:nvPicPr>
          <p:cNvPr id="205" name="Compute Node 01"/>
          <p:cNvPicPr>
            <a:picLocks noChangeAspect="1"/>
          </p:cNvPicPr>
          <p:nvPr/>
        </p:nvPicPr>
        <p:blipFill>
          <a:blip r:embed="rId4">
            <a:biLevel thresh="25000"/>
          </a:blip>
          <a:stretch>
            <a:fillRect/>
          </a:stretch>
        </p:blipFill>
        <p:spPr>
          <a:xfrm>
            <a:off x="1995752" y="2747644"/>
            <a:ext cx="764842" cy="764842"/>
          </a:xfrm>
          <a:prstGeom prst="rect">
            <a:avLst/>
          </a:prstGeom>
          <a:ln>
            <a:noFill/>
          </a:ln>
        </p:spPr>
      </p:pic>
      <p:grpSp>
        <p:nvGrpSpPr>
          <p:cNvPr id="6" name="Control Set"/>
          <p:cNvGrpSpPr/>
          <p:nvPr/>
        </p:nvGrpSpPr>
        <p:grpSpPr>
          <a:xfrm>
            <a:off x="5713580" y="1735023"/>
            <a:ext cx="2287447" cy="764842"/>
            <a:chOff x="5828092" y="1769070"/>
            <a:chExt cx="2333646" cy="780290"/>
          </a:xfrm>
        </p:grpSpPr>
        <p:pic>
          <p:nvPicPr>
            <p:cNvPr id="215" name="Control Node"/>
            <p:cNvPicPr>
              <a:picLocks noChangeAspect="1"/>
            </p:cNvPicPr>
            <p:nvPr/>
          </p:nvPicPr>
          <p:blipFill>
            <a:blip r:embed="rId4">
              <a:biLevel thresh="25000"/>
            </a:blip>
            <a:stretch>
              <a:fillRect/>
            </a:stretch>
          </p:blipFill>
          <p:spPr>
            <a:xfrm>
              <a:off x="5828092" y="1769070"/>
              <a:ext cx="780290" cy="780290"/>
            </a:xfrm>
            <a:prstGeom prst="rect">
              <a:avLst/>
            </a:prstGeom>
            <a:ln>
              <a:noFill/>
            </a:ln>
          </p:spPr>
        </p:pic>
        <p:sp>
          <p:nvSpPr>
            <p:cNvPr id="110" name="Control Text"/>
            <p:cNvSpPr txBox="1"/>
            <p:nvPr/>
          </p:nvSpPr>
          <p:spPr>
            <a:xfrm>
              <a:off x="6792546" y="1842172"/>
              <a:ext cx="1369192" cy="634530"/>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sp>
        <p:nvSpPr>
          <p:cNvPr id="3" name="Title 2"/>
          <p:cNvSpPr>
            <a:spLocks noGrp="1"/>
          </p:cNvSpPr>
          <p:nvPr>
            <p:ph type="title"/>
          </p:nvPr>
        </p:nvSpPr>
        <p:spPr>
          <a:xfrm>
            <a:off x="655638" y="320040"/>
            <a:ext cx="10880725" cy="923330"/>
          </a:xfrm>
        </p:spPr>
        <p:txBody>
          <a:bodyPr/>
          <a:lstStyle/>
          <a:p>
            <a:r>
              <a:rPr lang="en-GB" dirty="0">
                <a:cs typeface="Segoe UI"/>
              </a:rPr>
              <a:t>Separate Compute From Storage</a:t>
            </a:r>
            <a:br>
              <a:rPr lang="en-GB" dirty="0"/>
            </a:br>
            <a:endParaRPr lang="en-US"/>
          </a:p>
        </p:txBody>
      </p:sp>
      <p:pic>
        <p:nvPicPr>
          <p:cNvPr id="97" name="Picture 96">
            <a:extLst>
              <a:ext uri="{FF2B5EF4-FFF2-40B4-BE49-F238E27FC236}">
                <a16:creationId xmlns:a16="http://schemas.microsoft.com/office/drawing/2014/main" id="{CE97EC93-2A7B-4055-9001-228FD153F16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4119683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205"/>
                                        </p:tgtEl>
                                        <p:attrNameLst>
                                          <p:attrName>style.visibility</p:attrName>
                                        </p:attrNameLst>
                                      </p:cBhvr>
                                      <p:to>
                                        <p:strVal val="visible"/>
                                      </p:to>
                                    </p:set>
                                    <p:animEffect transition="in" filter="fade">
                                      <p:cBhvr>
                                        <p:cTn id="18" dur="500"/>
                                        <p:tgtEl>
                                          <p:spTgt spid="205"/>
                                        </p:tgtEl>
                                      </p:cBhvr>
                                    </p:animEffect>
                                  </p:childTnLst>
                                </p:cTn>
                              </p:par>
                              <p:par>
                                <p:cTn id="19" presetID="10" presetClass="entr" presetSubtype="0" fill="hold" nodeType="withEffect">
                                  <p:stCondLst>
                                    <p:cond delay="0"/>
                                  </p:stCondLst>
                                  <p:childTnLst>
                                    <p:set>
                                      <p:cBhvr>
                                        <p:cTn id="20" dur="1" fill="hold">
                                          <p:stCondLst>
                                            <p:cond delay="0"/>
                                          </p:stCondLst>
                                        </p:cTn>
                                        <p:tgtEl>
                                          <p:spTgt spid="108"/>
                                        </p:tgtEl>
                                        <p:attrNameLst>
                                          <p:attrName>style.visibility</p:attrName>
                                        </p:attrNameLst>
                                      </p:cBhvr>
                                      <p:to>
                                        <p:strVal val="visible"/>
                                      </p:to>
                                    </p:set>
                                    <p:animEffect transition="in" filter="fade">
                                      <p:cBhvr>
                                        <p:cTn id="21" dur="500"/>
                                        <p:tgtEl>
                                          <p:spTgt spid="108"/>
                                        </p:tgtEl>
                                      </p:cBhvr>
                                    </p:animEffect>
                                  </p:childTnLst>
                                </p:cTn>
                              </p:par>
                              <p:par>
                                <p:cTn id="22" presetID="10" presetClass="entr" presetSubtype="0" fill="hold" nodeType="withEffect">
                                  <p:stCondLst>
                                    <p:cond delay="0"/>
                                  </p:stCondLst>
                                  <p:childTnLst>
                                    <p:set>
                                      <p:cBhvr>
                                        <p:cTn id="23" dur="1" fill="hold">
                                          <p:stCondLst>
                                            <p:cond delay="0"/>
                                          </p:stCondLst>
                                        </p:cTn>
                                        <p:tgtEl>
                                          <p:spTgt spid="207"/>
                                        </p:tgtEl>
                                        <p:attrNameLst>
                                          <p:attrName>style.visibility</p:attrName>
                                        </p:attrNameLst>
                                      </p:cBhvr>
                                      <p:to>
                                        <p:strVal val="visible"/>
                                      </p:to>
                                    </p:set>
                                    <p:animEffect transition="in" filter="fade">
                                      <p:cBhvr>
                                        <p:cTn id="24" dur="500"/>
                                        <p:tgtEl>
                                          <p:spTgt spid="207"/>
                                        </p:tgtEl>
                                      </p:cBhvr>
                                    </p:animEffect>
                                  </p:childTnLst>
                                </p:cTn>
                              </p:par>
                              <p:par>
                                <p:cTn id="25" presetID="10" presetClass="entr" presetSubtype="0" fill="hold" nodeType="withEffect">
                                  <p:stCondLst>
                                    <p:cond delay="0"/>
                                  </p:stCondLst>
                                  <p:childTnLst>
                                    <p:set>
                                      <p:cBhvr>
                                        <p:cTn id="26" dur="1" fill="hold">
                                          <p:stCondLst>
                                            <p:cond delay="0"/>
                                          </p:stCondLst>
                                        </p:cTn>
                                        <p:tgtEl>
                                          <p:spTgt spid="206"/>
                                        </p:tgtEl>
                                        <p:attrNameLst>
                                          <p:attrName>style.visibility</p:attrName>
                                        </p:attrNameLst>
                                      </p:cBhvr>
                                      <p:to>
                                        <p:strVal val="visible"/>
                                      </p:to>
                                    </p:set>
                                    <p:animEffect transition="in" filter="fade">
                                      <p:cBhvr>
                                        <p:cTn id="27" dur="500"/>
                                        <p:tgtEl>
                                          <p:spTgt spid="206"/>
                                        </p:tgtEl>
                                      </p:cBhvr>
                                    </p:animEffect>
                                  </p:childTnLst>
                                </p:cTn>
                              </p:par>
                              <p:par>
                                <p:cTn id="28" presetID="10" presetClass="entr" presetSubtype="0" fill="hold" nodeType="withEffect">
                                  <p:stCondLst>
                                    <p:cond delay="0"/>
                                  </p:stCondLst>
                                  <p:childTnLst>
                                    <p:set>
                                      <p:cBhvr>
                                        <p:cTn id="29" dur="1" fill="hold">
                                          <p:stCondLst>
                                            <p:cond delay="0"/>
                                          </p:stCondLst>
                                        </p:cTn>
                                        <p:tgtEl>
                                          <p:spTgt spid="208"/>
                                        </p:tgtEl>
                                        <p:attrNameLst>
                                          <p:attrName>style.visibility</p:attrName>
                                        </p:attrNameLst>
                                      </p:cBhvr>
                                      <p:to>
                                        <p:strVal val="visible"/>
                                      </p:to>
                                    </p:set>
                                    <p:animEffect transition="in" filter="fade">
                                      <p:cBhvr>
                                        <p:cTn id="30" dur="500"/>
                                        <p:tgtEl>
                                          <p:spTgt spid="2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sp>
        <p:nvSpPr>
          <p:cNvPr id="3" name="Title 2"/>
          <p:cNvSpPr>
            <a:spLocks noGrp="1"/>
          </p:cNvSpPr>
          <p:nvPr>
            <p:ph type="title"/>
          </p:nvPr>
        </p:nvSpPr>
        <p:spPr>
          <a:xfrm>
            <a:off x="655638" y="320040"/>
            <a:ext cx="10880725" cy="923330"/>
          </a:xfrm>
        </p:spPr>
        <p:txBody>
          <a:bodyPr/>
          <a:lstStyle/>
          <a:p>
            <a:r>
              <a:rPr lang="en-GB" dirty="0">
                <a:cs typeface="Segoe UI"/>
              </a:rPr>
              <a:t>Independently Scale Compute</a:t>
            </a:r>
            <a:br>
              <a:rPr lang="en-GB" dirty="0"/>
            </a:br>
            <a:endParaRPr lang="en-US"/>
          </a:p>
        </p:txBody>
      </p:sp>
      <p:pic>
        <p:nvPicPr>
          <p:cNvPr id="213" name="Compute Node 10"/>
          <p:cNvPicPr>
            <a:picLocks noChangeAspect="1"/>
          </p:cNvPicPr>
          <p:nvPr/>
        </p:nvPicPr>
        <p:blipFill>
          <a:blip r:embed="rId3">
            <a:biLevel thresh="25000"/>
          </a:blip>
          <a:stretch>
            <a:fillRect/>
          </a:stretch>
        </p:blipFill>
        <p:spPr>
          <a:xfrm>
            <a:off x="9431410" y="2747644"/>
            <a:ext cx="764842" cy="764842"/>
          </a:xfrm>
          <a:prstGeom prst="rect">
            <a:avLst/>
          </a:prstGeom>
          <a:solidFill>
            <a:schemeClr val="tx2"/>
          </a:solidFill>
        </p:spPr>
      </p:pic>
      <p:pic>
        <p:nvPicPr>
          <p:cNvPr id="211" name="Compute Node 09"/>
          <p:cNvPicPr>
            <a:picLocks noChangeAspect="1"/>
          </p:cNvPicPr>
          <p:nvPr/>
        </p:nvPicPr>
        <p:blipFill>
          <a:blip r:embed="rId3">
            <a:biLevel thresh="25000"/>
          </a:blip>
          <a:stretch>
            <a:fillRect/>
          </a:stretch>
        </p:blipFill>
        <p:spPr>
          <a:xfrm>
            <a:off x="8605227" y="2747644"/>
            <a:ext cx="764842" cy="764842"/>
          </a:xfrm>
          <a:prstGeom prst="rect">
            <a:avLst/>
          </a:prstGeom>
          <a:solidFill>
            <a:schemeClr val="tx2"/>
          </a:solidFill>
        </p:spPr>
      </p:pic>
      <p:pic>
        <p:nvPicPr>
          <p:cNvPr id="212" name="Compute Node 08"/>
          <p:cNvPicPr>
            <a:picLocks noChangeAspect="1"/>
          </p:cNvPicPr>
          <p:nvPr/>
        </p:nvPicPr>
        <p:blipFill>
          <a:blip r:embed="rId3">
            <a:biLevel thresh="25000"/>
          </a:blip>
          <a:stretch>
            <a:fillRect/>
          </a:stretch>
        </p:blipFill>
        <p:spPr>
          <a:xfrm>
            <a:off x="7779041" y="2747644"/>
            <a:ext cx="764842" cy="764842"/>
          </a:xfrm>
          <a:prstGeom prst="rect">
            <a:avLst/>
          </a:prstGeom>
          <a:solidFill>
            <a:schemeClr val="tx2"/>
          </a:solidFill>
        </p:spPr>
      </p:pic>
      <p:pic>
        <p:nvPicPr>
          <p:cNvPr id="209" name="Compute Node 07"/>
          <p:cNvPicPr>
            <a:picLocks noChangeAspect="1"/>
          </p:cNvPicPr>
          <p:nvPr/>
        </p:nvPicPr>
        <p:blipFill>
          <a:blip r:embed="rId3">
            <a:biLevel thresh="25000"/>
          </a:blip>
          <a:stretch>
            <a:fillRect/>
          </a:stretch>
        </p:blipFill>
        <p:spPr>
          <a:xfrm>
            <a:off x="6952858" y="2747644"/>
            <a:ext cx="764842" cy="764842"/>
          </a:xfrm>
          <a:prstGeom prst="rect">
            <a:avLst/>
          </a:prstGeom>
          <a:solidFill>
            <a:schemeClr val="tx2"/>
          </a:solidFill>
        </p:spPr>
      </p:pic>
      <p:pic>
        <p:nvPicPr>
          <p:cNvPr id="210" name="Comptue Node 06"/>
          <p:cNvPicPr>
            <a:picLocks noChangeAspect="1"/>
          </p:cNvPicPr>
          <p:nvPr/>
        </p:nvPicPr>
        <p:blipFill>
          <a:blip r:embed="rId3">
            <a:biLevel thresh="25000"/>
          </a:blip>
          <a:stretch>
            <a:fillRect/>
          </a:stretch>
        </p:blipFill>
        <p:spPr>
          <a:xfrm>
            <a:off x="6126672" y="2747644"/>
            <a:ext cx="764842" cy="764842"/>
          </a:xfrm>
          <a:prstGeom prst="rect">
            <a:avLst/>
          </a:prstGeom>
          <a:solidFill>
            <a:schemeClr val="tx2"/>
          </a:solidFill>
        </p:spPr>
      </p:pic>
      <p:pic>
        <p:nvPicPr>
          <p:cNvPr id="208" name="Compute Node 05"/>
          <p:cNvPicPr>
            <a:picLocks noChangeAspect="1"/>
          </p:cNvPicPr>
          <p:nvPr/>
        </p:nvPicPr>
        <p:blipFill>
          <a:blip r:embed="rId3">
            <a:biLevel thresh="25000"/>
          </a:blip>
          <a:stretch>
            <a:fillRect/>
          </a:stretch>
        </p:blipFill>
        <p:spPr>
          <a:xfrm>
            <a:off x="5300489" y="2747644"/>
            <a:ext cx="764842" cy="764842"/>
          </a:xfrm>
          <a:prstGeom prst="rect">
            <a:avLst/>
          </a:prstGeom>
          <a:solidFill>
            <a:schemeClr val="tx2"/>
          </a:solidFill>
        </p:spPr>
      </p:pic>
      <p:pic>
        <p:nvPicPr>
          <p:cNvPr id="206" name="Compute Node 04"/>
          <p:cNvPicPr>
            <a:picLocks noChangeAspect="1"/>
          </p:cNvPicPr>
          <p:nvPr/>
        </p:nvPicPr>
        <p:blipFill>
          <a:blip r:embed="rId3">
            <a:biLevel thresh="25000"/>
          </a:blip>
          <a:stretch>
            <a:fillRect/>
          </a:stretch>
        </p:blipFill>
        <p:spPr>
          <a:xfrm>
            <a:off x="4474305" y="2747644"/>
            <a:ext cx="764842" cy="764842"/>
          </a:xfrm>
          <a:prstGeom prst="rect">
            <a:avLst/>
          </a:prstGeom>
          <a:solidFill>
            <a:schemeClr val="tx2"/>
          </a:solidFill>
        </p:spPr>
      </p:pic>
      <p:pic>
        <p:nvPicPr>
          <p:cNvPr id="207" name="Compute Node 03"/>
          <p:cNvPicPr>
            <a:picLocks noChangeAspect="1"/>
          </p:cNvPicPr>
          <p:nvPr/>
        </p:nvPicPr>
        <p:blipFill>
          <a:blip r:embed="rId3">
            <a:biLevel thresh="25000"/>
          </a:blip>
          <a:stretch>
            <a:fillRect/>
          </a:stretch>
        </p:blipFill>
        <p:spPr>
          <a:xfrm>
            <a:off x="3648120" y="2747644"/>
            <a:ext cx="764842" cy="764842"/>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21935" y="2747644"/>
            <a:ext cx="764842" cy="764842"/>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1995752" y="2747644"/>
            <a:ext cx="764842" cy="764842"/>
          </a:xfrm>
          <a:prstGeom prst="rect">
            <a:avLst/>
          </a:prstGeom>
          <a:solidFill>
            <a:schemeClr val="tx2"/>
          </a:solidFill>
        </p:spPr>
      </p:pic>
      <p:grpSp>
        <p:nvGrpSpPr>
          <p:cNvPr id="6" name="Control Set"/>
          <p:cNvGrpSpPr/>
          <p:nvPr/>
        </p:nvGrpSpPr>
        <p:grpSpPr>
          <a:xfrm>
            <a:off x="5713580" y="1735023"/>
            <a:ext cx="2287447" cy="764842"/>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98" name="Picture 97">
            <a:extLst>
              <a:ext uri="{FF2B5EF4-FFF2-40B4-BE49-F238E27FC236}">
                <a16:creationId xmlns:a16="http://schemas.microsoft.com/office/drawing/2014/main" id="{ADE6B338-AEF8-4E05-BA8D-78F176B1D36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1832500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0"/>
                                        </p:tgtEl>
                                        <p:attrNameLst>
                                          <p:attrName>style.visibility</p:attrName>
                                        </p:attrNameLst>
                                      </p:cBhvr>
                                      <p:to>
                                        <p:strVal val="visible"/>
                                      </p:to>
                                    </p:set>
                                    <p:animEffect transition="in" filter="fade">
                                      <p:cBhvr>
                                        <p:cTn id="7" dur="500"/>
                                        <p:tgtEl>
                                          <p:spTgt spid="210"/>
                                        </p:tgtEl>
                                      </p:cBhvr>
                                    </p:animEffect>
                                  </p:childTnLst>
                                </p:cTn>
                              </p:par>
                              <p:par>
                                <p:cTn id="8" presetID="10" presetClass="entr" presetSubtype="0" fill="hold" nodeType="withEffect">
                                  <p:stCondLst>
                                    <p:cond delay="0"/>
                                  </p:stCondLst>
                                  <p:childTnLst>
                                    <p:set>
                                      <p:cBhvr>
                                        <p:cTn id="9" dur="1" fill="hold">
                                          <p:stCondLst>
                                            <p:cond delay="0"/>
                                          </p:stCondLst>
                                        </p:cTn>
                                        <p:tgtEl>
                                          <p:spTgt spid="213"/>
                                        </p:tgtEl>
                                        <p:attrNameLst>
                                          <p:attrName>style.visibility</p:attrName>
                                        </p:attrNameLst>
                                      </p:cBhvr>
                                      <p:to>
                                        <p:strVal val="visible"/>
                                      </p:to>
                                    </p:set>
                                    <p:animEffect transition="in" filter="fade">
                                      <p:cBhvr>
                                        <p:cTn id="10" dur="500"/>
                                        <p:tgtEl>
                                          <p:spTgt spid="213"/>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5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212"/>
                                        </p:tgtEl>
                                        <p:attrNameLst>
                                          <p:attrName>style.visibility</p:attrName>
                                        </p:attrNameLst>
                                      </p:cBhvr>
                                      <p:to>
                                        <p:strVal val="visible"/>
                                      </p:to>
                                    </p:set>
                                    <p:animEffect transition="in" filter="fade">
                                      <p:cBhvr>
                                        <p:cTn id="16" dur="500"/>
                                        <p:tgtEl>
                                          <p:spTgt spid="212"/>
                                        </p:tgtEl>
                                      </p:cBhvr>
                                    </p:animEffect>
                                  </p:childTnLst>
                                </p:cTn>
                              </p:par>
                              <p:par>
                                <p:cTn id="17" presetID="10" presetClass="entr" presetSubtype="0" fill="hold" nodeType="withEffect">
                                  <p:stCondLst>
                                    <p:cond delay="0"/>
                                  </p:stCondLst>
                                  <p:childTnLst>
                                    <p:set>
                                      <p:cBhvr>
                                        <p:cTn id="18" dur="1" fill="hold">
                                          <p:stCondLst>
                                            <p:cond delay="0"/>
                                          </p:stCondLst>
                                        </p:cTn>
                                        <p:tgtEl>
                                          <p:spTgt spid="209"/>
                                        </p:tgtEl>
                                        <p:attrNameLst>
                                          <p:attrName>style.visibility</p:attrName>
                                        </p:attrNameLst>
                                      </p:cBhvr>
                                      <p:to>
                                        <p:strVal val="visible"/>
                                      </p:to>
                                    </p:set>
                                    <p:animEffect transition="in" filter="fade">
                                      <p:cBhvr>
                                        <p:cTn id="19" dur="500"/>
                                        <p:tgtEl>
                                          <p:spTgt spid="20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210"/>
                                        </p:tgtEl>
                                      </p:cBhvr>
                                    </p:animEffect>
                                    <p:set>
                                      <p:cBhvr>
                                        <p:cTn id="24" dur="1" fill="hold">
                                          <p:stCondLst>
                                            <p:cond delay="499"/>
                                          </p:stCondLst>
                                        </p:cTn>
                                        <p:tgtEl>
                                          <p:spTgt spid="210"/>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213"/>
                                        </p:tgtEl>
                                      </p:cBhvr>
                                    </p:animEffect>
                                    <p:set>
                                      <p:cBhvr>
                                        <p:cTn id="27" dur="1" fill="hold">
                                          <p:stCondLst>
                                            <p:cond delay="499"/>
                                          </p:stCondLst>
                                        </p:cTn>
                                        <p:tgtEl>
                                          <p:spTgt spid="213"/>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211"/>
                                        </p:tgtEl>
                                      </p:cBhvr>
                                    </p:animEffect>
                                    <p:set>
                                      <p:cBhvr>
                                        <p:cTn id="30" dur="1" fill="hold">
                                          <p:stCondLst>
                                            <p:cond delay="499"/>
                                          </p:stCondLst>
                                        </p:cTn>
                                        <p:tgtEl>
                                          <p:spTgt spid="211"/>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212"/>
                                        </p:tgtEl>
                                      </p:cBhvr>
                                    </p:animEffect>
                                    <p:set>
                                      <p:cBhvr>
                                        <p:cTn id="33" dur="1" fill="hold">
                                          <p:stCondLst>
                                            <p:cond delay="499"/>
                                          </p:stCondLst>
                                        </p:cTn>
                                        <p:tgtEl>
                                          <p:spTgt spid="212"/>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209"/>
                                        </p:tgtEl>
                                      </p:cBhvr>
                                    </p:animEffect>
                                    <p:set>
                                      <p:cBhvr>
                                        <p:cTn id="36" dur="1" fill="hold">
                                          <p:stCondLst>
                                            <p:cond delay="499"/>
                                          </p:stCondLst>
                                        </p:cTn>
                                        <p:tgtEl>
                                          <p:spTgt spid="209"/>
                                        </p:tgtEl>
                                        <p:attrNameLst>
                                          <p:attrName>style.visibility</p:attrName>
                                        </p:attrNameLst>
                                      </p:cBhvr>
                                      <p:to>
                                        <p:strVal val="hidden"/>
                                      </p:to>
                                    </p:set>
                                  </p:childTnLst>
                                </p:cTn>
                              </p:par>
                              <p:par>
                                <p:cTn id="37" presetID="10" presetClass="exit" presetSubtype="0" fill="hold" nodeType="withEffect">
                                  <p:stCondLst>
                                    <p:cond delay="0"/>
                                  </p:stCondLst>
                                  <p:childTnLst>
                                    <p:animEffect transition="out" filter="fade">
                                      <p:cBhvr>
                                        <p:cTn id="38" dur="500"/>
                                        <p:tgtEl>
                                          <p:spTgt spid="206"/>
                                        </p:tgtEl>
                                      </p:cBhvr>
                                    </p:animEffect>
                                    <p:set>
                                      <p:cBhvr>
                                        <p:cTn id="39" dur="1" fill="hold">
                                          <p:stCondLst>
                                            <p:cond delay="499"/>
                                          </p:stCondLst>
                                        </p:cTn>
                                        <p:tgtEl>
                                          <p:spTgt spid="20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208"/>
                                        </p:tgtEl>
                                      </p:cBhvr>
                                    </p:animEffect>
                                    <p:set>
                                      <p:cBhvr>
                                        <p:cTn id="42" dur="1" fill="hold">
                                          <p:stCondLst>
                                            <p:cond delay="499"/>
                                          </p:stCondLst>
                                        </p:cTn>
                                        <p:tgtEl>
                                          <p:spTgt spid="20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grp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sp>
        <p:nvSpPr>
          <p:cNvPr id="3" name="Title 2"/>
          <p:cNvSpPr>
            <a:spLocks noGrp="1"/>
          </p:cNvSpPr>
          <p:nvPr>
            <p:ph type="title"/>
          </p:nvPr>
        </p:nvSpPr>
        <p:spPr/>
        <p:txBody>
          <a:bodyPr/>
          <a:lstStyle/>
          <a:p>
            <a:r>
              <a:rPr lang="en-GB" dirty="0">
                <a:cs typeface="Segoe UI"/>
              </a:rPr>
              <a:t>Pause and Resume Workload</a:t>
            </a:r>
            <a:endParaRPr lang="en-US" dirty="0">
              <a:cs typeface="Segoe UI"/>
            </a:endParaRPr>
          </a:p>
        </p:txBody>
      </p:sp>
      <p:pic>
        <p:nvPicPr>
          <p:cNvPr id="207" name="Compute Node 03"/>
          <p:cNvPicPr>
            <a:picLocks noChangeAspect="1"/>
          </p:cNvPicPr>
          <p:nvPr/>
        </p:nvPicPr>
        <p:blipFill>
          <a:blip r:embed="rId3">
            <a:biLevel thresh="25000"/>
          </a:blip>
          <a:stretch>
            <a:fillRect/>
          </a:stretch>
        </p:blipFill>
        <p:spPr>
          <a:xfrm>
            <a:off x="3648120" y="2747644"/>
            <a:ext cx="764842" cy="764842"/>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21935" y="2747644"/>
            <a:ext cx="764842" cy="764842"/>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1995752" y="2747644"/>
            <a:ext cx="764842" cy="764842"/>
          </a:xfrm>
          <a:prstGeom prst="rect">
            <a:avLst/>
          </a:prstGeom>
          <a:solidFill>
            <a:schemeClr val="tx2"/>
          </a:solidFill>
        </p:spPr>
      </p:pic>
      <p:grpSp>
        <p:nvGrpSpPr>
          <p:cNvPr id="6" name="Control Set"/>
          <p:cNvGrpSpPr/>
          <p:nvPr/>
        </p:nvGrpSpPr>
        <p:grpSpPr>
          <a:xfrm>
            <a:off x="5713580" y="1735023"/>
            <a:ext cx="2287447" cy="764842"/>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solidFill>
                  <a:schemeClr val="bg1"/>
                </a:solid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solidFill>
                  <a:schemeClr val="bg1"/>
                </a:solid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solidFill>
                  <a:schemeClr val="bg1"/>
                </a:solid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solidFill>
                  <a:schemeClr val="bg1"/>
                </a:solid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solidFill>
                  <a:schemeClr val="bg1"/>
                </a:solid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solidFill>
                  <a:schemeClr val="bg1"/>
                </a:solid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solidFill>
                  <a:schemeClr val="bg1"/>
                </a:solid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solidFill>
                  <a:schemeClr val="bg1"/>
                </a:solid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solidFill>
                  <a:schemeClr val="bg1"/>
                </a:solid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solidFill>
                  <a:schemeClr val="bg1"/>
                </a:solid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solidFill>
                  <a:schemeClr val="bg1"/>
                </a:solid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solidFill>
                  <a:schemeClr val="bg1"/>
                </a:solid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solidFill>
                  <a:schemeClr val="bg1"/>
                </a:solid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solidFill>
                  <a:schemeClr val="bg1"/>
                </a:solid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solidFill>
                  <a:schemeClr val="bg1"/>
                </a:solid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solidFill>
                  <a:schemeClr val="bg1"/>
                </a:solid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solidFill>
                  <a:schemeClr val="bg1"/>
                </a:solid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solidFill>
                  <a:schemeClr val="bg1"/>
                </a:solid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solidFill>
                  <a:schemeClr val="bg1"/>
                </a:solid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solidFill>
                  <a:schemeClr val="bg1"/>
                </a:solid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solidFill>
                  <a:schemeClr val="bg1"/>
                </a:solid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solidFill>
                  <a:schemeClr val="bg1"/>
                </a:solid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solidFill>
                  <a:schemeClr val="bg1"/>
                </a:solid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solidFill>
                  <a:schemeClr val="bg1"/>
                </a:solid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solidFill>
                  <a:schemeClr val="bg1"/>
                </a:solid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solidFill>
                  <a:schemeClr val="bg1"/>
                </a:solid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solidFill>
                  <a:schemeClr val="bg1"/>
                </a:solid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solidFill>
                  <a:schemeClr val="bg1"/>
                </a:solid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solidFill>
                  <a:schemeClr val="bg1"/>
                </a:solid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solidFill>
                  <a:schemeClr val="bg1"/>
                </a:solid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97" name="Picture 96">
            <a:extLst>
              <a:ext uri="{FF2B5EF4-FFF2-40B4-BE49-F238E27FC236}">
                <a16:creationId xmlns:a16="http://schemas.microsoft.com/office/drawing/2014/main" id="{E6749DD2-D9AD-4629-BAB9-C045F616425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1129031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205"/>
                                        </p:tgtEl>
                                      </p:cBhvr>
                                    </p:animEffect>
                                    <p:set>
                                      <p:cBhvr>
                                        <p:cTn id="10" dur="1" fill="hold">
                                          <p:stCondLst>
                                            <p:cond delay="499"/>
                                          </p:stCondLst>
                                        </p:cTn>
                                        <p:tgtEl>
                                          <p:spTgt spid="205"/>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08"/>
                                        </p:tgtEl>
                                      </p:cBhvr>
                                    </p:animEffect>
                                    <p:set>
                                      <p:cBhvr>
                                        <p:cTn id="16" dur="1" fill="hold">
                                          <p:stCondLst>
                                            <p:cond delay="499"/>
                                          </p:stCondLst>
                                        </p:cTn>
                                        <p:tgtEl>
                                          <p:spTgt spid="108"/>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207"/>
                                        </p:tgtEl>
                                      </p:cBhvr>
                                    </p:animEffect>
                                    <p:set>
                                      <p:cBhvr>
                                        <p:cTn id="19" dur="1" fill="hold">
                                          <p:stCondLst>
                                            <p:cond delay="499"/>
                                          </p:stCondLst>
                                        </p:cTn>
                                        <p:tgtEl>
                                          <p:spTgt spid="207"/>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nodeType="withEffect">
                                  <p:stCondLst>
                                    <p:cond delay="0"/>
                                  </p:stCondLst>
                                  <p:childTnLst>
                                    <p:set>
                                      <p:cBhvr>
                                        <p:cTn id="26" dur="1" fill="hold">
                                          <p:stCondLst>
                                            <p:cond delay="0"/>
                                          </p:stCondLst>
                                        </p:cTn>
                                        <p:tgtEl>
                                          <p:spTgt spid="205"/>
                                        </p:tgtEl>
                                        <p:attrNameLst>
                                          <p:attrName>style.visibility</p:attrName>
                                        </p:attrNameLst>
                                      </p:cBhvr>
                                      <p:to>
                                        <p:strVal val="visible"/>
                                      </p:to>
                                    </p:set>
                                    <p:animEffect transition="in" filter="fade">
                                      <p:cBhvr>
                                        <p:cTn id="27" dur="500"/>
                                        <p:tgtEl>
                                          <p:spTgt spid="205"/>
                                        </p:tgtEl>
                                      </p:cBhvr>
                                    </p:animEffect>
                                  </p:childTnLst>
                                </p:cTn>
                              </p:par>
                              <p:par>
                                <p:cTn id="28" presetID="10" presetClass="entr" presetSubtype="0" fill="hold" nodeType="with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10" presetClass="entr" presetSubtype="0" fill="hold" nodeType="withEffect">
                                  <p:stCondLst>
                                    <p:cond delay="0"/>
                                  </p:stCondLst>
                                  <p:childTnLst>
                                    <p:set>
                                      <p:cBhvr>
                                        <p:cTn id="32" dur="1" fill="hold">
                                          <p:stCondLst>
                                            <p:cond delay="0"/>
                                          </p:stCondLst>
                                        </p:cTn>
                                        <p:tgtEl>
                                          <p:spTgt spid="108"/>
                                        </p:tgtEl>
                                        <p:attrNameLst>
                                          <p:attrName>style.visibility</p:attrName>
                                        </p:attrNameLst>
                                      </p:cBhvr>
                                      <p:to>
                                        <p:strVal val="visible"/>
                                      </p:to>
                                    </p:set>
                                    <p:animEffect transition="in" filter="fade">
                                      <p:cBhvr>
                                        <p:cTn id="33" dur="500"/>
                                        <p:tgtEl>
                                          <p:spTgt spid="108"/>
                                        </p:tgtEl>
                                      </p:cBhvr>
                                    </p:animEffect>
                                  </p:childTnLst>
                                </p:cTn>
                              </p:par>
                              <p:par>
                                <p:cTn id="34" presetID="10" presetClass="entr" presetSubtype="0" fill="hold" nodeType="withEffect">
                                  <p:stCondLst>
                                    <p:cond delay="0"/>
                                  </p:stCondLst>
                                  <p:childTnLst>
                                    <p:set>
                                      <p:cBhvr>
                                        <p:cTn id="35" dur="1" fill="hold">
                                          <p:stCondLst>
                                            <p:cond delay="0"/>
                                          </p:stCondLst>
                                        </p:cTn>
                                        <p:tgtEl>
                                          <p:spTgt spid="207"/>
                                        </p:tgtEl>
                                        <p:attrNameLst>
                                          <p:attrName>style.visibility</p:attrName>
                                        </p:attrNameLst>
                                      </p:cBhvr>
                                      <p:to>
                                        <p:strVal val="visible"/>
                                      </p:to>
                                    </p:set>
                                    <p:animEffect transition="in" filter="fade">
                                      <p:cBhvr>
                                        <p:cTn id="36" dur="500"/>
                                        <p:tgtEl>
                                          <p:spTgt spid="2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42835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200" dirty="0">
                <a:solidFill>
                  <a:schemeClr val="tx1"/>
                </a:solidFill>
                <a:latin typeface="Segoe UI (Body)"/>
              </a:rPr>
              <a:t>The work is divided into 60 distributions </a:t>
            </a:r>
            <a:endParaRPr kumimoji="0" lang="en-US" sz="2200" b="0" i="0" u="none" strike="noStrike" kern="1200" cap="none" spc="0" normalizeH="0" noProof="0" dirty="0">
              <a:ln>
                <a:noFill/>
              </a:ln>
              <a:solidFill>
                <a:schemeClr val="tx1"/>
              </a:solidFill>
              <a:effectLst/>
              <a:uLnTx/>
              <a:uFillTx/>
              <a:latin typeface="Segoe UI (Body)"/>
            </a:endParaRPr>
          </a:p>
          <a:p>
            <a:pPr marL="342900" lvl="1" indent="-342900" defTabSz="114300">
              <a:buFont typeface="Wingdings" panose="05000000000000000000" pitchFamily="2" charset="2"/>
              <a:buChar char="§"/>
              <a:defRPr/>
            </a:pPr>
            <a:r>
              <a:rPr lang="en-US" sz="2200" baseline="0" dirty="0">
                <a:solidFill>
                  <a:schemeClr val="tx1"/>
                </a:solidFill>
                <a:latin typeface="Segoe UI (Body)"/>
              </a:rPr>
              <a:t>Various</a:t>
            </a:r>
            <a:r>
              <a:rPr lang="en-US" sz="2200" dirty="0">
                <a:solidFill>
                  <a:schemeClr val="tx1"/>
                </a:solidFill>
                <a:latin typeface="Segoe UI (Body)"/>
              </a:rPr>
              <a:t> ways to distribute the data:</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Hash-distributed</a:t>
            </a:r>
            <a:r>
              <a:rPr lang="en-US" sz="1800" dirty="0">
                <a:solidFill>
                  <a:schemeClr val="tx1"/>
                </a:solidFill>
                <a:latin typeface="Segoe UI (Body)"/>
              </a:rPr>
              <a:t> tables</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Round-robin distributed </a:t>
            </a:r>
            <a:r>
              <a:rPr lang="en-US" sz="1800" dirty="0">
                <a:solidFill>
                  <a:schemeClr val="tx1"/>
                </a:solidFill>
                <a:latin typeface="Segoe UI (Body)"/>
              </a:rPr>
              <a:t>tables</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Replicated</a:t>
            </a:r>
            <a:r>
              <a:rPr lang="en-US" sz="1800" dirty="0">
                <a:solidFill>
                  <a:schemeClr val="tx1"/>
                </a:solidFill>
                <a:latin typeface="Segoe UI (Body)"/>
              </a:rPr>
              <a:t> tables</a:t>
            </a:r>
          </a:p>
          <a:p>
            <a:pPr lvl="2" indent="0" defTabSz="114300">
              <a:buNone/>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Distributions</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4" name="Picture 3">
            <a:extLst>
              <a:ext uri="{FF2B5EF4-FFF2-40B4-BE49-F238E27FC236}">
                <a16:creationId xmlns:a16="http://schemas.microsoft.com/office/drawing/2014/main" id="{875FC3E2-A2AD-4270-9F18-1B1443F722CA}"/>
              </a:ext>
            </a:extLst>
          </p:cNvPr>
          <p:cNvPicPr>
            <a:picLocks noChangeAspect="1"/>
          </p:cNvPicPr>
          <p:nvPr/>
        </p:nvPicPr>
        <p:blipFill>
          <a:blip r:embed="rId5"/>
          <a:stretch>
            <a:fillRect/>
          </a:stretch>
        </p:blipFill>
        <p:spPr>
          <a:xfrm>
            <a:off x="7361150" y="585788"/>
            <a:ext cx="4586671" cy="2719303"/>
          </a:xfrm>
          <a:prstGeom prst="rect">
            <a:avLst/>
          </a:prstGeom>
          <a:ln>
            <a:noFill/>
          </a:ln>
          <a:effectLst>
            <a:softEdge rad="112500"/>
          </a:effectLst>
        </p:spPr>
      </p:pic>
      <p:pic>
        <p:nvPicPr>
          <p:cNvPr id="9" name="Picture 8">
            <a:extLst>
              <a:ext uri="{FF2B5EF4-FFF2-40B4-BE49-F238E27FC236}">
                <a16:creationId xmlns:a16="http://schemas.microsoft.com/office/drawing/2014/main" id="{49C4358F-042D-40B9-8AC1-CD42A5D1CA94}"/>
              </a:ext>
            </a:extLst>
          </p:cNvPr>
          <p:cNvPicPr>
            <a:picLocks noChangeAspect="1"/>
          </p:cNvPicPr>
          <p:nvPr/>
        </p:nvPicPr>
        <p:blipFill>
          <a:blip r:embed="rId6"/>
          <a:stretch>
            <a:fillRect/>
          </a:stretch>
        </p:blipFill>
        <p:spPr>
          <a:xfrm>
            <a:off x="7361150" y="3504346"/>
            <a:ext cx="4586671" cy="2736769"/>
          </a:xfrm>
          <a:prstGeom prst="rect">
            <a:avLst/>
          </a:prstGeom>
          <a:ln>
            <a:noFill/>
          </a:ln>
          <a:effectLst>
            <a:softEdge rad="112500"/>
          </a:effectLst>
        </p:spPr>
      </p:pic>
    </p:spTree>
    <p:extLst>
      <p:ext uri="{BB962C8B-B14F-4D97-AF65-F5344CB8AC3E}">
        <p14:creationId xmlns:p14="http://schemas.microsoft.com/office/powerpoint/2010/main" val="40385604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862" y="339106"/>
            <a:ext cx="10507264" cy="461665"/>
          </a:xfrm>
        </p:spPr>
        <p:txBody>
          <a:bodyPr/>
          <a:lstStyle/>
          <a:p>
            <a:r>
              <a:rPr lang="en-US"/>
              <a:t>Table Distribution Options</a:t>
            </a:r>
          </a:p>
        </p:txBody>
      </p:sp>
      <p:grpSp>
        <p:nvGrpSpPr>
          <p:cNvPr id="4" name="Group 3"/>
          <p:cNvGrpSpPr/>
          <p:nvPr/>
        </p:nvGrpSpPr>
        <p:grpSpPr>
          <a:xfrm>
            <a:off x="8165291" y="1394093"/>
            <a:ext cx="3771449" cy="3212026"/>
            <a:chOff x="4264819" y="1763395"/>
            <a:chExt cx="3657600" cy="3460630"/>
          </a:xfrm>
          <a:solidFill>
            <a:schemeClr val="accent2">
              <a:lumMod val="20000"/>
              <a:lumOff val="80000"/>
            </a:schemeClr>
          </a:solidFill>
        </p:grpSpPr>
        <p:sp>
          <p:nvSpPr>
            <p:cNvPr id="5" name="Rectangle 4"/>
            <p:cNvSpPr/>
            <p:nvPr/>
          </p:nvSpPr>
          <p:spPr bwMode="auto">
            <a:xfrm>
              <a:off x="4264819" y="1763395"/>
              <a:ext cx="3657600" cy="819597"/>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91342" tIns="0" rIns="91342" bIns="0"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sp>
          <p:nvSpPr>
            <p:cNvPr id="6" name="Rectangle 5"/>
            <p:cNvSpPr/>
            <p:nvPr/>
          </p:nvSpPr>
          <p:spPr bwMode="auto">
            <a:xfrm>
              <a:off x="4264819" y="2582992"/>
              <a:ext cx="3657600" cy="2641033"/>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342497" marR="0" lvl="0" indent="-342497" algn="l" defTabSz="12171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6" name="TextBox 15"/>
          <p:cNvSpPr txBox="1"/>
          <p:nvPr/>
        </p:nvSpPr>
        <p:spPr>
          <a:xfrm>
            <a:off x="8320926" y="1423829"/>
            <a:ext cx="3566809" cy="398279"/>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Replicated</a:t>
            </a:r>
          </a:p>
        </p:txBody>
      </p:sp>
      <p:grpSp>
        <p:nvGrpSpPr>
          <p:cNvPr id="17" name="Group 16"/>
          <p:cNvGrpSpPr/>
          <p:nvPr/>
        </p:nvGrpSpPr>
        <p:grpSpPr>
          <a:xfrm>
            <a:off x="4217446" y="1381917"/>
            <a:ext cx="3771449" cy="3176056"/>
            <a:chOff x="3127344" y="1198457"/>
            <a:chExt cx="2898575" cy="2001761"/>
          </a:xfrm>
          <a:solidFill>
            <a:schemeClr val="accent2">
              <a:lumMod val="20000"/>
              <a:lumOff val="80000"/>
            </a:schemeClr>
          </a:solidFill>
        </p:grpSpPr>
        <p:grpSp>
          <p:nvGrpSpPr>
            <p:cNvPr id="7" name="Group 6"/>
            <p:cNvGrpSpPr/>
            <p:nvPr/>
          </p:nvGrpSpPr>
          <p:grpSpPr>
            <a:xfrm>
              <a:off x="3127344" y="1198457"/>
              <a:ext cx="2898575" cy="2001761"/>
              <a:chOff x="4264819" y="1755904"/>
              <a:chExt cx="3657600" cy="3199974"/>
            </a:xfrm>
            <a:grpFill/>
          </p:grpSpPr>
          <p:sp>
            <p:nvSpPr>
              <p:cNvPr id="8" name="Rectangle 7"/>
              <p:cNvSpPr/>
              <p:nvPr/>
            </p:nvSpPr>
            <p:spPr bwMode="auto">
              <a:xfrm>
                <a:off x="4264819" y="2507393"/>
                <a:ext cx="3657600" cy="2448485"/>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342497" marR="0" lvl="0" indent="-342497" algn="l" defTabSz="12171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p:cNvSpPr/>
              <p:nvPr/>
            </p:nvSpPr>
            <p:spPr bwMode="auto">
              <a:xfrm>
                <a:off x="4264819" y="1755904"/>
                <a:ext cx="3657600" cy="75148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91342" tIns="0" rIns="91342" bIns="0"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2699"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grpSp>
        <p:sp>
          <p:nvSpPr>
            <p:cNvPr id="14" name="TextBox 13"/>
            <p:cNvSpPr txBox="1"/>
            <p:nvPr/>
          </p:nvSpPr>
          <p:spPr>
            <a:xfrm>
              <a:off x="3350396" y="1206331"/>
              <a:ext cx="2443207" cy="465623"/>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Round Rob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Default)</a:t>
              </a:r>
            </a:p>
          </p:txBody>
        </p:sp>
        <p:sp>
          <p:nvSpPr>
            <p:cNvPr id="19" name="Rectangle 18"/>
            <p:cNvSpPr/>
            <p:nvPr/>
          </p:nvSpPr>
          <p:spPr>
            <a:xfrm>
              <a:off x="3148867" y="1649720"/>
              <a:ext cx="2867318" cy="1276800"/>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Data distributed evenly across nod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Easy place to start, don’t need to know anything about the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000000"/>
                  </a:solidFill>
                  <a:effectLst/>
                  <a:uLnTx/>
                  <a:uFillTx/>
                  <a:latin typeface="Segoe UI"/>
                  <a:ea typeface="+mn-ea"/>
                  <a:cs typeface="+mn-cs"/>
                </a:rPr>
                <a:t>Simplicity at a cost</a:t>
              </a:r>
            </a:p>
          </p:txBody>
        </p:sp>
      </p:grpSp>
      <p:sp>
        <p:nvSpPr>
          <p:cNvPr id="20" name="Rectangle 19"/>
          <p:cNvSpPr/>
          <p:nvPr/>
        </p:nvSpPr>
        <p:spPr>
          <a:xfrm>
            <a:off x="8149371" y="2147574"/>
            <a:ext cx="3843416" cy="1781517"/>
          </a:xfrm>
          <a:prstGeom prst="rect">
            <a:avLst/>
          </a:prstGeom>
        </p:spPr>
        <p:txBody>
          <a:bodyPr wrap="square">
            <a:spAutoFit/>
          </a:bodyPr>
          <a:lstStyle/>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Data repeated on every node</a:t>
            </a:r>
          </a:p>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Simplifies many query plans and reduces data movement</a:t>
            </a:r>
          </a:p>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000000"/>
                </a:solidFill>
                <a:effectLst/>
                <a:uLnTx/>
                <a:uFillTx/>
                <a:latin typeface="Segoe UI"/>
                <a:ea typeface="+mn-ea"/>
                <a:cs typeface="+mn-cs"/>
              </a:rPr>
              <a:t>Best with joining hash table</a:t>
            </a:r>
          </a:p>
        </p:txBody>
      </p:sp>
      <p:grpSp>
        <p:nvGrpSpPr>
          <p:cNvPr id="9" name="Group 8"/>
          <p:cNvGrpSpPr/>
          <p:nvPr/>
        </p:nvGrpSpPr>
        <p:grpSpPr>
          <a:xfrm>
            <a:off x="273864" y="1369326"/>
            <a:ext cx="3803892" cy="3373697"/>
            <a:chOff x="203326" y="1208649"/>
            <a:chExt cx="2867994" cy="1922619"/>
          </a:xfrm>
          <a:solidFill>
            <a:schemeClr val="accent2">
              <a:lumMod val="20000"/>
              <a:lumOff val="80000"/>
            </a:schemeClr>
          </a:solidFill>
        </p:grpSpPr>
        <p:grpSp>
          <p:nvGrpSpPr>
            <p:cNvPr id="11" name="Group 10"/>
            <p:cNvGrpSpPr/>
            <p:nvPr/>
          </p:nvGrpSpPr>
          <p:grpSpPr>
            <a:xfrm>
              <a:off x="203326" y="1208649"/>
              <a:ext cx="2867993" cy="1747208"/>
              <a:chOff x="8010525" y="1554481"/>
              <a:chExt cx="3657600" cy="2726258"/>
            </a:xfrm>
            <a:grpFill/>
          </p:grpSpPr>
          <p:sp>
            <p:nvSpPr>
              <p:cNvPr id="12" name="Rectangle 11"/>
              <p:cNvSpPr/>
              <p:nvPr/>
            </p:nvSpPr>
            <p:spPr bwMode="auto">
              <a:xfrm>
                <a:off x="8010525" y="2195114"/>
                <a:ext cx="3657600" cy="2085625"/>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0" marR="0" lvl="0" indent="0" algn="l" defTabSz="1217154" rtl="0" eaLnBrk="1" fontAlgn="auto" latinLnBrk="0" hangingPunct="1">
                  <a:lnSpc>
                    <a:spcPct val="100000"/>
                  </a:lnSpc>
                  <a:spcBef>
                    <a:spcPts val="0"/>
                  </a:spcBef>
                  <a:spcAft>
                    <a:spcPts val="0"/>
                  </a:spcAft>
                  <a:buClrTx/>
                  <a:buSzTx/>
                  <a:buFontTx/>
                  <a:buNone/>
                  <a:tabLst/>
                  <a:defRPr/>
                </a:pPr>
                <a:endParaRPr kumimoji="0" lang="en-US" sz="1960" b="0" i="0" u="none" strike="noStrike" kern="0" cap="none" spc="0" normalizeH="0" baseline="0" noProof="0">
                  <a:ln>
                    <a:noFill/>
                  </a:ln>
                  <a:solidFill>
                    <a:srgbClr val="000000"/>
                  </a:solidFill>
                  <a:effectLst/>
                  <a:uLnTx/>
                  <a:uFillTx/>
                  <a:latin typeface="Segoe UI"/>
                  <a:ea typeface="+mn-ea"/>
                  <a:cs typeface="+mn-cs"/>
                </a:endParaRPr>
              </a:p>
            </p:txBody>
          </p:sp>
          <p:sp>
            <p:nvSpPr>
              <p:cNvPr id="13" name="Rectangle 12"/>
              <p:cNvSpPr/>
              <p:nvPr/>
            </p:nvSpPr>
            <p:spPr bwMode="auto">
              <a:xfrm>
                <a:off x="8010525" y="1554481"/>
                <a:ext cx="3657600" cy="666983"/>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62322" tIns="0" rIns="162322" bIns="32466"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2699"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grpSp>
        <p:sp>
          <p:nvSpPr>
            <p:cNvPr id="15" name="TextBox 14"/>
            <p:cNvSpPr txBox="1"/>
            <p:nvPr/>
          </p:nvSpPr>
          <p:spPr>
            <a:xfrm>
              <a:off x="308648" y="1215727"/>
              <a:ext cx="2689274" cy="228330"/>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Hash Distributed</a:t>
              </a:r>
            </a:p>
          </p:txBody>
        </p:sp>
        <p:sp>
          <p:nvSpPr>
            <p:cNvPr id="18" name="Rectangle 17"/>
            <p:cNvSpPr/>
            <p:nvPr/>
          </p:nvSpPr>
          <p:spPr>
            <a:xfrm>
              <a:off x="203824" y="1657931"/>
              <a:ext cx="2867496" cy="1473337"/>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Data divided across nodes based on hashing algorith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Same value will always hash to same distrib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Single column 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Multi column so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p:txBody>
        </p:sp>
      </p:grpSp>
      <p:sp>
        <p:nvSpPr>
          <p:cNvPr id="21" name="Rectangle 20"/>
          <p:cNvSpPr/>
          <p:nvPr/>
        </p:nvSpPr>
        <p:spPr bwMode="auto">
          <a:xfrm>
            <a:off x="290386" y="4545608"/>
            <a:ext cx="3787369" cy="1943750"/>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913264" rtl="0" eaLnBrk="1" fontAlgn="base" latinLnBrk="0" hangingPunct="1">
              <a:lnSpc>
                <a:spcPct val="100000"/>
              </a:lnSpc>
              <a:spcBef>
                <a:spcPct val="0"/>
              </a:spcBef>
              <a:spcAft>
                <a:spcPct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3264"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sym typeface="Wingdings 2" pitchFamily="18" charset="2"/>
              </a:rPr>
              <a:t>Check for Data Skew</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a:ea typeface="+mn-ea"/>
              <a:cs typeface="+mn-cs"/>
            </a:endParaRPr>
          </a:p>
        </p:txBody>
      </p:sp>
      <p:sp>
        <p:nvSpPr>
          <p:cNvPr id="22" name="Rectangle 21"/>
          <p:cNvSpPr/>
          <p:nvPr/>
        </p:nvSpPr>
        <p:spPr bwMode="auto">
          <a:xfrm>
            <a:off x="4220368" y="4557973"/>
            <a:ext cx="3787369" cy="1931385"/>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sym typeface="Wingdings 2" pitchFamily="18" charset="2"/>
              </a:rPr>
              <a:t>Will incur more data movement at query ti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rPr>
              <a:t> </a:t>
            </a: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Rectangle 22"/>
          <p:cNvSpPr/>
          <p:nvPr/>
        </p:nvSpPr>
        <p:spPr bwMode="auto">
          <a:xfrm>
            <a:off x="8149371" y="4548644"/>
            <a:ext cx="3787369" cy="1940716"/>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Consumes more space</a:t>
            </a: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Joining two Replicated Table runs </a:t>
            </a: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on one node</a:t>
            </a:r>
          </a:p>
          <a:p>
            <a:pPr marL="0" marR="0" lvl="0" indent="0" algn="ctr" defTabSz="913264" rtl="0" eaLnBrk="1" fontAlgn="base" latinLnBrk="0" hangingPunct="1">
              <a:lnSpc>
                <a:spcPct val="100000"/>
              </a:lnSpc>
              <a:spcBef>
                <a:spcPct val="0"/>
              </a:spcBef>
              <a:spcAft>
                <a:spcPct val="0"/>
              </a:spcAft>
              <a:buClrTx/>
              <a:buSzTx/>
              <a:buFontTx/>
              <a:buNone/>
              <a:tabLst/>
              <a:defRPr/>
            </a:pPr>
            <a:endParaRPr kumimoji="0" lang="en-US" sz="196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48123504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Agenda</a:t>
            </a:r>
          </a:p>
        </p:txBody>
      </p:sp>
      <p:graphicFrame>
        <p:nvGraphicFramePr>
          <p:cNvPr id="13" name="Diagram 12">
            <a:extLst>
              <a:ext uri="{FF2B5EF4-FFF2-40B4-BE49-F238E27FC236}">
                <a16:creationId xmlns:a16="http://schemas.microsoft.com/office/drawing/2014/main" id="{81529D68-5A8B-B642-7B19-378C3C0153B6}"/>
              </a:ext>
            </a:extLst>
          </p:cNvPr>
          <p:cNvGraphicFramePr/>
          <p:nvPr>
            <p:extLst>
              <p:ext uri="{D42A27DB-BD31-4B8C-83A1-F6EECF244321}">
                <p14:modId xmlns:p14="http://schemas.microsoft.com/office/powerpoint/2010/main" val="5384038"/>
              </p:ext>
            </p:extLst>
          </p:nvPr>
        </p:nvGraphicFramePr>
        <p:xfrm>
          <a:off x="374840" y="1147027"/>
          <a:ext cx="11442319" cy="53155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7" name="Picture 26">
            <a:extLst>
              <a:ext uri="{FF2B5EF4-FFF2-40B4-BE49-F238E27FC236}">
                <a16:creationId xmlns:a16="http://schemas.microsoft.com/office/drawing/2014/main" id="{89C2659F-B0B9-8954-F36F-5FA8913FB73A}"/>
              </a:ext>
            </a:extLst>
          </p:cNvPr>
          <p:cNvPicPr>
            <a:picLocks noChangeAspect="1"/>
          </p:cNvPicPr>
          <p:nvPr/>
        </p:nvPicPr>
        <p:blipFill>
          <a:blip r:embed="rId8"/>
          <a:stretch>
            <a:fillRect/>
          </a:stretch>
        </p:blipFill>
        <p:spPr>
          <a:xfrm>
            <a:off x="9242855" y="4361338"/>
            <a:ext cx="2082638" cy="21012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2240413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One</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3087603"/>
            <a:ext cx="5199473" cy="2714589"/>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indent="-457200">
              <a:buFont typeface="Arial" panose="020B0604020202020204" pitchFamily="34" charset="0"/>
              <a:buChar char="•"/>
            </a:pPr>
            <a:r>
              <a:rPr lang="en-US" sz="2800" dirty="0"/>
              <a:t>Create Synapse Workspace</a:t>
            </a:r>
          </a:p>
          <a:p>
            <a:pPr marL="457200" indent="-457200">
              <a:buFont typeface="Arial" panose="020B0604020202020204" pitchFamily="34" charset="0"/>
              <a:buChar char="•"/>
            </a:pPr>
            <a:r>
              <a:rPr lang="en-US" sz="2800" dirty="0"/>
              <a:t>Overview of Synapse Studio</a:t>
            </a:r>
          </a:p>
          <a:p>
            <a:pPr marL="457200" indent="-457200">
              <a:buFont typeface="Arial" panose="020B0604020202020204" pitchFamily="34" charset="0"/>
              <a:buChar char="•"/>
            </a:pPr>
            <a:r>
              <a:rPr lang="en-US" sz="2800" dirty="0"/>
              <a:t>Create SQL Pool</a:t>
            </a:r>
          </a:p>
          <a:p>
            <a:pPr marL="457200" indent="-457200">
              <a:buFont typeface="Arial" panose="020B0604020202020204" pitchFamily="34" charset="0"/>
              <a:buChar char="•"/>
            </a:pPr>
            <a:r>
              <a:rPr lang="en-US" sz="2800" dirty="0"/>
              <a:t>Create Workspace using PowerShell</a:t>
            </a:r>
          </a:p>
          <a:p>
            <a:pPr marL="457200" indent="-457200">
              <a:buFont typeface="Arial" panose="020B0604020202020204" pitchFamily="34" charset="0"/>
              <a:buChar char="•"/>
            </a:pPr>
            <a:endParaRPr lang="en-US" sz="2400" dirty="0"/>
          </a:p>
          <a:p>
            <a:endParaRPr lang="en-US" dirty="0"/>
          </a:p>
        </p:txBody>
      </p:sp>
    </p:spTree>
    <p:extLst>
      <p:ext uri="{BB962C8B-B14F-4D97-AF65-F5344CB8AC3E}">
        <p14:creationId xmlns:p14="http://schemas.microsoft.com/office/powerpoint/2010/main" val="246002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B6329C2-9B1B-48F5-B651-515B0D983403}"/>
              </a:ext>
            </a:extLst>
          </p:cNvPr>
          <p:cNvPicPr>
            <a:picLocks noChangeAspect="1"/>
          </p:cNvPicPr>
          <p:nvPr/>
        </p:nvPicPr>
        <p:blipFill>
          <a:blip r:embed="rId3"/>
          <a:stretch>
            <a:fillRect/>
          </a:stretch>
        </p:blipFill>
        <p:spPr>
          <a:xfrm>
            <a:off x="455696" y="2215345"/>
            <a:ext cx="8384680" cy="4543846"/>
          </a:xfrm>
          <a:prstGeom prst="rect">
            <a:avLst/>
          </a:prstGeom>
        </p:spPr>
      </p:pic>
      <p:sp>
        <p:nvSpPr>
          <p:cNvPr id="3" name="Title 2">
            <a:extLst>
              <a:ext uri="{FF2B5EF4-FFF2-40B4-BE49-F238E27FC236}">
                <a16:creationId xmlns:a16="http://schemas.microsoft.com/office/drawing/2014/main" id="{05A5B767-130E-4814-9C1B-9EE5F8476FFF}"/>
              </a:ext>
            </a:extLst>
          </p:cNvPr>
          <p:cNvSpPr>
            <a:spLocks noGrp="1"/>
          </p:cNvSpPr>
          <p:nvPr>
            <p:ph type="title"/>
          </p:nvPr>
        </p:nvSpPr>
        <p:spPr/>
        <p:txBody>
          <a:bodyPr/>
          <a:lstStyle/>
          <a:p>
            <a:r>
              <a:rPr lang="en-US" dirty="0">
                <a:solidFill>
                  <a:schemeClr val="bg1"/>
                </a:solidFill>
              </a:rPr>
              <a:t>Synapse Studio</a:t>
            </a:r>
          </a:p>
        </p:txBody>
      </p:sp>
      <p:sp>
        <p:nvSpPr>
          <p:cNvPr id="4" name="Text Placeholder 3">
            <a:extLst>
              <a:ext uri="{FF2B5EF4-FFF2-40B4-BE49-F238E27FC236}">
                <a16:creationId xmlns:a16="http://schemas.microsoft.com/office/drawing/2014/main" id="{2C7274EF-0126-446D-B562-39D16D957BBE}"/>
              </a:ext>
            </a:extLst>
          </p:cNvPr>
          <p:cNvSpPr>
            <a:spLocks noGrp="1"/>
          </p:cNvSpPr>
          <p:nvPr>
            <p:ph type="body" sz="quarter" idx="11"/>
          </p:nvPr>
        </p:nvSpPr>
        <p:spPr>
          <a:xfrm>
            <a:off x="426424" y="1129914"/>
            <a:ext cx="7446443" cy="1009330"/>
          </a:xfrm>
        </p:spPr>
        <p:txBody>
          <a:bodyPr/>
          <a:lstStyle/>
          <a:p>
            <a:pPr>
              <a:lnSpc>
                <a:spcPct val="100000"/>
              </a:lnSpc>
              <a:spcAft>
                <a:spcPts val="1000"/>
              </a:spcAft>
            </a:pPr>
            <a:r>
              <a:rPr lang="en-US" sz="1800" dirty="0"/>
              <a:t>Synapse Studio divided into </a:t>
            </a:r>
            <a:r>
              <a:rPr lang="en-US" sz="1800" b="1" dirty="0"/>
              <a:t>Activity hubs</a:t>
            </a:r>
            <a:r>
              <a:rPr lang="en-US" sz="1800" dirty="0"/>
              <a:t>.</a:t>
            </a:r>
          </a:p>
          <a:p>
            <a:pPr>
              <a:lnSpc>
                <a:spcPct val="100000"/>
              </a:lnSpc>
              <a:spcAft>
                <a:spcPts val="1000"/>
              </a:spcAft>
            </a:pPr>
            <a:r>
              <a:rPr lang="en-US" sz="1800" dirty="0"/>
              <a:t>These organize the tasks needed for building analytics solution.</a:t>
            </a:r>
          </a:p>
          <a:p>
            <a:endParaRPr lang="en-US" sz="1800" b="1" dirty="0"/>
          </a:p>
        </p:txBody>
      </p:sp>
      <p:sp>
        <p:nvSpPr>
          <p:cNvPr id="6" name="Rectangle 5">
            <a:extLst>
              <a:ext uri="{FF2B5EF4-FFF2-40B4-BE49-F238E27FC236}">
                <a16:creationId xmlns:a16="http://schemas.microsoft.com/office/drawing/2014/main" id="{CF609249-1FF9-4047-9880-87038F8C9C80}"/>
              </a:ext>
            </a:extLst>
          </p:cNvPr>
          <p:cNvSpPr/>
          <p:nvPr/>
        </p:nvSpPr>
        <p:spPr bwMode="auto">
          <a:xfrm>
            <a:off x="-1" y="0"/>
            <a:ext cx="12191999" cy="286527"/>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Studio &gt; Home</a:t>
            </a:r>
          </a:p>
        </p:txBody>
      </p:sp>
      <p:sp>
        <p:nvSpPr>
          <p:cNvPr id="9" name="Rectangle 8">
            <a:extLst>
              <a:ext uri="{FF2B5EF4-FFF2-40B4-BE49-F238E27FC236}">
                <a16:creationId xmlns:a16="http://schemas.microsoft.com/office/drawing/2014/main" id="{3AF43572-2E52-4842-9BF9-0B016E660B47}"/>
              </a:ext>
            </a:extLst>
          </p:cNvPr>
          <p:cNvSpPr/>
          <p:nvPr/>
        </p:nvSpPr>
        <p:spPr bwMode="auto">
          <a:xfrm>
            <a:off x="2934333" y="2752989"/>
            <a:ext cx="9051244" cy="3931536"/>
          </a:xfrm>
          <a:prstGeom prst="rect">
            <a:avLst/>
          </a:prstGeom>
          <a:solidFill>
            <a:srgbClr val="F9FAF8"/>
          </a:solidFill>
          <a:ln>
            <a:noFill/>
            <a:headEnd type="none" w="med" len="med"/>
            <a:tailEnd type="none" w="med" len="med"/>
          </a:ln>
          <a:effectLst>
            <a:outerShdw blurRad="393700" dist="381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 Placeholder 4">
            <a:extLst>
              <a:ext uri="{FF2B5EF4-FFF2-40B4-BE49-F238E27FC236}">
                <a16:creationId xmlns:a16="http://schemas.microsoft.com/office/drawing/2014/main" id="{AB81B57A-9513-4FFB-9024-D3AEB7112842}"/>
              </a:ext>
            </a:extLst>
          </p:cNvPr>
          <p:cNvSpPr txBox="1">
            <a:spLocks/>
          </p:cNvSpPr>
          <p:nvPr/>
        </p:nvSpPr>
        <p:spPr>
          <a:xfrm>
            <a:off x="3679522" y="3344890"/>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ome</a:t>
            </a:r>
          </a:p>
        </p:txBody>
      </p:sp>
      <p:sp>
        <p:nvSpPr>
          <p:cNvPr id="11" name="Text Placeholder 5">
            <a:extLst>
              <a:ext uri="{FF2B5EF4-FFF2-40B4-BE49-F238E27FC236}">
                <a16:creationId xmlns:a16="http://schemas.microsoft.com/office/drawing/2014/main" id="{D6A14578-217B-4982-A409-F053E9FE10D6}"/>
              </a:ext>
            </a:extLst>
          </p:cNvPr>
          <p:cNvSpPr txBox="1">
            <a:spLocks/>
          </p:cNvSpPr>
          <p:nvPr/>
        </p:nvSpPr>
        <p:spPr>
          <a:xfrm>
            <a:off x="5743400" y="3344890"/>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Data</a:t>
            </a:r>
          </a:p>
        </p:txBody>
      </p:sp>
      <p:sp>
        <p:nvSpPr>
          <p:cNvPr id="12" name="Text Placeholder 6">
            <a:extLst>
              <a:ext uri="{FF2B5EF4-FFF2-40B4-BE49-F238E27FC236}">
                <a16:creationId xmlns:a16="http://schemas.microsoft.com/office/drawing/2014/main" id="{F236CE3A-06A3-4194-B8E7-421307FD1DAF}"/>
              </a:ext>
            </a:extLst>
          </p:cNvPr>
          <p:cNvSpPr txBox="1">
            <a:spLocks/>
          </p:cNvSpPr>
          <p:nvPr/>
        </p:nvSpPr>
        <p:spPr>
          <a:xfrm>
            <a:off x="3679522" y="5396411"/>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Monitor</a:t>
            </a:r>
          </a:p>
        </p:txBody>
      </p:sp>
      <p:sp>
        <p:nvSpPr>
          <p:cNvPr id="13" name="Text Placeholder 6">
            <a:extLst>
              <a:ext uri="{FF2B5EF4-FFF2-40B4-BE49-F238E27FC236}">
                <a16:creationId xmlns:a16="http://schemas.microsoft.com/office/drawing/2014/main" id="{87C9AAB7-89DF-4770-B467-C41052EDE876}"/>
              </a:ext>
            </a:extLst>
          </p:cNvPr>
          <p:cNvSpPr txBox="1">
            <a:spLocks/>
          </p:cNvSpPr>
          <p:nvPr/>
        </p:nvSpPr>
        <p:spPr>
          <a:xfrm>
            <a:off x="5789302" y="5428836"/>
            <a:ext cx="1990240" cy="220320"/>
          </a:xfrm>
          <a:prstGeom prst="rect">
            <a:avLst/>
          </a:prstGeom>
        </p:spPr>
        <p:txBody>
          <a:bodyPr lIns="0"/>
          <a:lstStyle>
            <a:defPPr>
              <a:defRPr lang="en-US"/>
            </a:defPPr>
            <a:lvl1pPr marL="228600" indent="-228600">
              <a:lnSpc>
                <a:spcPct val="90000"/>
              </a:lnSpc>
              <a:spcBef>
                <a:spcPts val="1000"/>
              </a:spcBef>
              <a:buFont typeface="Arial" panose="020B0604020202020204" pitchFamily="34" charset="0"/>
              <a:buChar char="•"/>
              <a:defRPr sz="14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Manage</a:t>
            </a:r>
          </a:p>
        </p:txBody>
      </p:sp>
      <p:pic>
        <p:nvPicPr>
          <p:cNvPr id="14" name="Picture 13">
            <a:extLst>
              <a:ext uri="{FF2B5EF4-FFF2-40B4-BE49-F238E27FC236}">
                <a16:creationId xmlns:a16="http://schemas.microsoft.com/office/drawing/2014/main" id="{82C85CA6-5FCB-40A4-A5E3-35C16EF1F217}"/>
              </a:ext>
            </a:extLst>
          </p:cNvPr>
          <p:cNvPicPr>
            <a:picLocks noChangeAspect="1"/>
          </p:cNvPicPr>
          <p:nvPr/>
        </p:nvPicPr>
        <p:blipFill>
          <a:blip r:embed="rId4"/>
          <a:stretch>
            <a:fillRect/>
          </a:stretch>
        </p:blipFill>
        <p:spPr>
          <a:xfrm>
            <a:off x="5735539" y="4998378"/>
            <a:ext cx="388207" cy="369722"/>
          </a:xfrm>
          <a:prstGeom prst="rect">
            <a:avLst/>
          </a:prstGeom>
        </p:spPr>
      </p:pic>
      <p:pic>
        <p:nvPicPr>
          <p:cNvPr id="15" name="Picture 14">
            <a:extLst>
              <a:ext uri="{FF2B5EF4-FFF2-40B4-BE49-F238E27FC236}">
                <a16:creationId xmlns:a16="http://schemas.microsoft.com/office/drawing/2014/main" id="{E8DF0B17-3C9E-4C09-8FCD-085B34F631A5}"/>
              </a:ext>
            </a:extLst>
          </p:cNvPr>
          <p:cNvPicPr>
            <a:picLocks noChangeAspect="1"/>
          </p:cNvPicPr>
          <p:nvPr/>
        </p:nvPicPr>
        <p:blipFill>
          <a:blip r:embed="rId5"/>
          <a:stretch>
            <a:fillRect/>
          </a:stretch>
        </p:blipFill>
        <p:spPr>
          <a:xfrm>
            <a:off x="3604017" y="3010720"/>
            <a:ext cx="397451" cy="323506"/>
          </a:xfrm>
          <a:prstGeom prst="rect">
            <a:avLst/>
          </a:prstGeom>
        </p:spPr>
      </p:pic>
      <p:pic>
        <p:nvPicPr>
          <p:cNvPr id="16" name="Picture 15">
            <a:extLst>
              <a:ext uri="{FF2B5EF4-FFF2-40B4-BE49-F238E27FC236}">
                <a16:creationId xmlns:a16="http://schemas.microsoft.com/office/drawing/2014/main" id="{694AA3F4-4458-405A-B3D0-24CCA83BFD0B}"/>
              </a:ext>
            </a:extLst>
          </p:cNvPr>
          <p:cNvPicPr>
            <a:picLocks noChangeAspect="1"/>
          </p:cNvPicPr>
          <p:nvPr/>
        </p:nvPicPr>
        <p:blipFill>
          <a:blip r:embed="rId6"/>
          <a:stretch>
            <a:fillRect/>
          </a:stretch>
        </p:blipFill>
        <p:spPr>
          <a:xfrm>
            <a:off x="3605885" y="5021412"/>
            <a:ext cx="351235" cy="360478"/>
          </a:xfrm>
          <a:prstGeom prst="rect">
            <a:avLst/>
          </a:prstGeom>
        </p:spPr>
      </p:pic>
      <p:pic>
        <p:nvPicPr>
          <p:cNvPr id="17" name="Picture 16">
            <a:extLst>
              <a:ext uri="{FF2B5EF4-FFF2-40B4-BE49-F238E27FC236}">
                <a16:creationId xmlns:a16="http://schemas.microsoft.com/office/drawing/2014/main" id="{24C88923-820D-4518-AE6E-52EDC21A6B3D}"/>
              </a:ext>
            </a:extLst>
          </p:cNvPr>
          <p:cNvPicPr>
            <a:picLocks noChangeAspect="1"/>
          </p:cNvPicPr>
          <p:nvPr/>
        </p:nvPicPr>
        <p:blipFill>
          <a:blip r:embed="rId7"/>
          <a:stretch>
            <a:fillRect/>
          </a:stretch>
        </p:blipFill>
        <p:spPr>
          <a:xfrm>
            <a:off x="5667212" y="2974352"/>
            <a:ext cx="332749" cy="341992"/>
          </a:xfrm>
          <a:prstGeom prst="rect">
            <a:avLst/>
          </a:prstGeom>
        </p:spPr>
      </p:pic>
      <p:pic>
        <p:nvPicPr>
          <p:cNvPr id="18" name="Picture 17">
            <a:extLst>
              <a:ext uri="{FF2B5EF4-FFF2-40B4-BE49-F238E27FC236}">
                <a16:creationId xmlns:a16="http://schemas.microsoft.com/office/drawing/2014/main" id="{B9BFA7E5-FB06-4D2E-BA8A-5DB678FC64C9}"/>
              </a:ext>
            </a:extLst>
          </p:cNvPr>
          <p:cNvPicPr>
            <a:picLocks noChangeAspect="1"/>
          </p:cNvPicPr>
          <p:nvPr/>
        </p:nvPicPr>
        <p:blipFill>
          <a:blip r:embed="rId8"/>
          <a:stretch>
            <a:fillRect/>
          </a:stretch>
        </p:blipFill>
        <p:spPr>
          <a:xfrm>
            <a:off x="9807884" y="2896779"/>
            <a:ext cx="443666" cy="378964"/>
          </a:xfrm>
          <a:prstGeom prst="rect">
            <a:avLst/>
          </a:prstGeom>
        </p:spPr>
      </p:pic>
      <p:sp>
        <p:nvSpPr>
          <p:cNvPr id="20" name="Text Placeholder 4">
            <a:extLst>
              <a:ext uri="{FF2B5EF4-FFF2-40B4-BE49-F238E27FC236}">
                <a16:creationId xmlns:a16="http://schemas.microsoft.com/office/drawing/2014/main" id="{D7B5B108-2333-4F58-8E35-BD823BF10CAD}"/>
              </a:ext>
            </a:extLst>
          </p:cNvPr>
          <p:cNvSpPr txBox="1">
            <a:spLocks/>
          </p:cNvSpPr>
          <p:nvPr/>
        </p:nvSpPr>
        <p:spPr>
          <a:xfrm>
            <a:off x="3679522" y="3635567"/>
            <a:ext cx="1679673" cy="615553"/>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Quick-access to common gestures, most-recently used items, and links to tutorials and documentation.</a:t>
            </a:r>
          </a:p>
        </p:txBody>
      </p:sp>
      <p:sp>
        <p:nvSpPr>
          <p:cNvPr id="21" name="Text Placeholder 5">
            <a:extLst>
              <a:ext uri="{FF2B5EF4-FFF2-40B4-BE49-F238E27FC236}">
                <a16:creationId xmlns:a16="http://schemas.microsoft.com/office/drawing/2014/main" id="{D80CE37A-50C5-49DA-B56A-8DAABF266CA9}"/>
              </a:ext>
            </a:extLst>
          </p:cNvPr>
          <p:cNvSpPr txBox="1">
            <a:spLocks/>
          </p:cNvSpPr>
          <p:nvPr/>
        </p:nvSpPr>
        <p:spPr>
          <a:xfrm>
            <a:off x="5743400" y="3635567"/>
            <a:ext cx="1780579"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Explore structured and unstructured data</a:t>
            </a:r>
          </a:p>
        </p:txBody>
      </p:sp>
      <p:sp>
        <p:nvSpPr>
          <p:cNvPr id="22" name="Text Placeholder 6">
            <a:extLst>
              <a:ext uri="{FF2B5EF4-FFF2-40B4-BE49-F238E27FC236}">
                <a16:creationId xmlns:a16="http://schemas.microsoft.com/office/drawing/2014/main" id="{E2DB2640-719C-4907-AFDB-DF36FA52AD3C}"/>
              </a:ext>
            </a:extLst>
          </p:cNvPr>
          <p:cNvSpPr txBox="1">
            <a:spLocks/>
          </p:cNvSpPr>
          <p:nvPr/>
        </p:nvSpPr>
        <p:spPr>
          <a:xfrm>
            <a:off x="3679522" y="5687088"/>
            <a:ext cx="1780581" cy="461665"/>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Centralized view of all resource usage and activities in the workspace.</a:t>
            </a:r>
          </a:p>
        </p:txBody>
      </p:sp>
      <p:sp>
        <p:nvSpPr>
          <p:cNvPr id="23" name="Text Placeholder 6">
            <a:extLst>
              <a:ext uri="{FF2B5EF4-FFF2-40B4-BE49-F238E27FC236}">
                <a16:creationId xmlns:a16="http://schemas.microsoft.com/office/drawing/2014/main" id="{E31A153A-461D-4974-BF4F-0EECEAE6DE15}"/>
              </a:ext>
            </a:extLst>
          </p:cNvPr>
          <p:cNvSpPr txBox="1">
            <a:spLocks/>
          </p:cNvSpPr>
          <p:nvPr/>
        </p:nvSpPr>
        <p:spPr>
          <a:xfrm>
            <a:off x="5799067" y="5729236"/>
            <a:ext cx="1867649"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Configure the workspace, pool, linked service, access to artifacts</a:t>
            </a:r>
          </a:p>
        </p:txBody>
      </p:sp>
      <p:sp>
        <p:nvSpPr>
          <p:cNvPr id="24" name="Text Placeholder 4">
            <a:extLst>
              <a:ext uri="{FF2B5EF4-FFF2-40B4-BE49-F238E27FC236}">
                <a16:creationId xmlns:a16="http://schemas.microsoft.com/office/drawing/2014/main" id="{650B02FD-520D-4D93-ABB1-C393BEE19411}"/>
              </a:ext>
            </a:extLst>
          </p:cNvPr>
          <p:cNvSpPr txBox="1">
            <a:spLocks/>
          </p:cNvSpPr>
          <p:nvPr/>
        </p:nvSpPr>
        <p:spPr>
          <a:xfrm>
            <a:off x="7662495" y="3316344"/>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Develop</a:t>
            </a:r>
          </a:p>
        </p:txBody>
      </p:sp>
      <p:sp>
        <p:nvSpPr>
          <p:cNvPr id="25" name="Text Placeholder 4">
            <a:extLst>
              <a:ext uri="{FF2B5EF4-FFF2-40B4-BE49-F238E27FC236}">
                <a16:creationId xmlns:a16="http://schemas.microsoft.com/office/drawing/2014/main" id="{BA4EEFB8-6574-4EBE-948C-8FCB2F2D3A2F}"/>
              </a:ext>
            </a:extLst>
          </p:cNvPr>
          <p:cNvSpPr txBox="1">
            <a:spLocks/>
          </p:cNvSpPr>
          <p:nvPr/>
        </p:nvSpPr>
        <p:spPr>
          <a:xfrm>
            <a:off x="7662495" y="3607021"/>
            <a:ext cx="1679673" cy="615553"/>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defRPr/>
            </a:pPr>
            <a:r>
              <a:rPr lang="en-US" sz="1000" dirty="0">
                <a:solidFill>
                  <a:srgbClr val="44546A"/>
                </a:solidFill>
                <a:latin typeface="+mn-lt"/>
              </a:rPr>
              <a:t>Write code and the define business logic of the pipeline via notebooks, SQL scripts, Data flows, etc.</a:t>
            </a:r>
          </a:p>
        </p:txBody>
      </p:sp>
      <p:sp>
        <p:nvSpPr>
          <p:cNvPr id="26" name="Text Placeholder 4">
            <a:extLst>
              <a:ext uri="{FF2B5EF4-FFF2-40B4-BE49-F238E27FC236}">
                <a16:creationId xmlns:a16="http://schemas.microsoft.com/office/drawing/2014/main" id="{17FEC67F-EECC-48AB-8D27-067F61DB3460}"/>
              </a:ext>
            </a:extLst>
          </p:cNvPr>
          <p:cNvSpPr txBox="1">
            <a:spLocks/>
          </p:cNvSpPr>
          <p:nvPr/>
        </p:nvSpPr>
        <p:spPr>
          <a:xfrm>
            <a:off x="9863343" y="3296298"/>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dirty="0">
                <a:solidFill>
                  <a:prstClr val="black"/>
                </a:solidFill>
                <a:latin typeface="Segoe UI"/>
              </a:rPr>
              <a:t>Integrate</a:t>
            </a: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7" name="Text Placeholder 4">
            <a:extLst>
              <a:ext uri="{FF2B5EF4-FFF2-40B4-BE49-F238E27FC236}">
                <a16:creationId xmlns:a16="http://schemas.microsoft.com/office/drawing/2014/main" id="{BA07A631-88D6-41B1-A896-9A935A7E3596}"/>
              </a:ext>
            </a:extLst>
          </p:cNvPr>
          <p:cNvSpPr txBox="1">
            <a:spLocks/>
          </p:cNvSpPr>
          <p:nvPr/>
        </p:nvSpPr>
        <p:spPr>
          <a:xfrm>
            <a:off x="9863343" y="3586975"/>
            <a:ext cx="1679673"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defRPr/>
            </a:pPr>
            <a:r>
              <a:rPr lang="en-US" sz="1000" dirty="0">
                <a:solidFill>
                  <a:srgbClr val="44546A"/>
                </a:solidFill>
                <a:latin typeface="+mn-lt"/>
              </a:rPr>
              <a:t>Design pipelines that that move and transform data.</a:t>
            </a:r>
          </a:p>
        </p:txBody>
      </p:sp>
      <p:sp>
        <p:nvSpPr>
          <p:cNvPr id="28" name="Rectangle 27">
            <a:extLst>
              <a:ext uri="{FF2B5EF4-FFF2-40B4-BE49-F238E27FC236}">
                <a16:creationId xmlns:a16="http://schemas.microsoft.com/office/drawing/2014/main" id="{D960F193-92E5-4803-998F-D5E38F5F3FC0}"/>
              </a:ext>
            </a:extLst>
          </p:cNvPr>
          <p:cNvSpPr/>
          <p:nvPr/>
        </p:nvSpPr>
        <p:spPr bwMode="auto">
          <a:xfrm>
            <a:off x="331174" y="2581275"/>
            <a:ext cx="1484602" cy="1752600"/>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Arrow Connector 29">
            <a:extLst>
              <a:ext uri="{FF2B5EF4-FFF2-40B4-BE49-F238E27FC236}">
                <a16:creationId xmlns:a16="http://schemas.microsoft.com/office/drawing/2014/main" id="{0AAD32D9-7273-4D11-B16D-78188404098E}"/>
              </a:ext>
            </a:extLst>
          </p:cNvPr>
          <p:cNvCxnSpPr>
            <a:stCxn id="28" idx="3"/>
          </p:cNvCxnSpPr>
          <p:nvPr/>
        </p:nvCxnSpPr>
        <p:spPr>
          <a:xfrm flipV="1">
            <a:off x="1815776" y="3434248"/>
            <a:ext cx="1118557"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CDF3F6A4-728D-4C66-9A63-81749DE85A3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57174" y="3013691"/>
            <a:ext cx="215693" cy="215693"/>
          </a:xfrm>
          <a:prstGeom prst="rect">
            <a:avLst/>
          </a:prstGeom>
        </p:spPr>
      </p:pic>
    </p:spTree>
    <p:extLst>
      <p:ext uri="{BB962C8B-B14F-4D97-AF65-F5344CB8AC3E}">
        <p14:creationId xmlns:p14="http://schemas.microsoft.com/office/powerpoint/2010/main" val="269563878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BCFD2D2-1668-48B2-9F1A-DBF9A87347DD}"/>
              </a:ext>
            </a:extLst>
          </p:cNvPr>
          <p:cNvPicPr>
            <a:picLocks noChangeAspect="1"/>
          </p:cNvPicPr>
          <p:nvPr/>
        </p:nvPicPr>
        <p:blipFill>
          <a:blip r:embed="rId2"/>
          <a:stretch>
            <a:fillRect/>
          </a:stretch>
        </p:blipFill>
        <p:spPr>
          <a:xfrm>
            <a:off x="1393795" y="1473519"/>
            <a:ext cx="9706546" cy="5260194"/>
          </a:xfrm>
          <a:prstGeom prst="rect">
            <a:avLst/>
          </a:prstGeom>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Home Hub</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Home</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5" y="1129914"/>
            <a:ext cx="11224328" cy="512274"/>
          </a:xfrm>
        </p:spPr>
        <p:txBody>
          <a:bodyPr/>
          <a:lstStyle/>
          <a:p>
            <a:r>
              <a:rPr lang="en-US" sz="1600" dirty="0"/>
              <a:t>It is a starting point for the activities with key links to tasks, artifacts, documentation and sample artifacts for learning purpose</a:t>
            </a:r>
          </a:p>
        </p:txBody>
      </p:sp>
      <p:sp>
        <p:nvSpPr>
          <p:cNvPr id="4" name="Rectangle 3">
            <a:extLst>
              <a:ext uri="{FF2B5EF4-FFF2-40B4-BE49-F238E27FC236}">
                <a16:creationId xmlns:a16="http://schemas.microsoft.com/office/drawing/2014/main" id="{25750DE1-25C2-4B7F-9055-9BAC4691EE3F}"/>
              </a:ext>
            </a:extLst>
          </p:cNvPr>
          <p:cNvSpPr/>
          <p:nvPr/>
        </p:nvSpPr>
        <p:spPr bwMode="auto">
          <a:xfrm>
            <a:off x="3101534" y="3318500"/>
            <a:ext cx="7800109" cy="102315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9878225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9" name="Text Placeholder 2">
            <a:extLst>
              <a:ext uri="{FF2B5EF4-FFF2-40B4-BE49-F238E27FC236}">
                <a16:creationId xmlns:a16="http://schemas.microsoft.com/office/drawing/2014/main" id="{7452C086-BEC4-4453-939E-F3349E9BC19A}"/>
              </a:ext>
            </a:extLst>
          </p:cNvPr>
          <p:cNvSpPr txBox="1">
            <a:spLocks/>
          </p:cNvSpPr>
          <p:nvPr/>
        </p:nvSpPr>
        <p:spPr>
          <a:xfrm>
            <a:off x="588262" y="2504412"/>
            <a:ext cx="4163125" cy="260071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Accelerate time to solution</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zure Open Data sets</a:t>
            </a:r>
          </a:p>
          <a:p>
            <a:pPr marL="0" marR="0" lvl="0" indent="0" algn="l" defTabSz="114300"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re-built samples to accelerate development</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QL Scripts</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Notebooks</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Data Pipelines</a:t>
            </a:r>
          </a:p>
          <a:p>
            <a:pPr marL="0" marR="0" lvl="0" indent="0" algn="l" defTabSz="114300"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nvGrpSpPr>
          <p:cNvPr id="2" name="Group 1">
            <a:extLst>
              <a:ext uri="{FF2B5EF4-FFF2-40B4-BE49-F238E27FC236}">
                <a16:creationId xmlns:a16="http://schemas.microsoft.com/office/drawing/2014/main" id="{936B2B1A-63B2-4570-9491-86676C72A1A5}"/>
              </a:ext>
            </a:extLst>
          </p:cNvPr>
          <p:cNvGrpSpPr/>
          <p:nvPr/>
        </p:nvGrpSpPr>
        <p:grpSpPr>
          <a:xfrm>
            <a:off x="0" y="1540386"/>
            <a:ext cx="4751388" cy="729391"/>
            <a:chOff x="0" y="1540386"/>
            <a:chExt cx="4751388" cy="729391"/>
          </a:xfrm>
        </p:grpSpPr>
        <p:sp>
          <p:nvSpPr>
            <p:cNvPr id="7" name="Title 1">
              <a:extLst>
                <a:ext uri="{FF2B5EF4-FFF2-40B4-BE49-F238E27FC236}">
                  <a16:creationId xmlns:a16="http://schemas.microsoft.com/office/drawing/2014/main" id="{F61E2FA2-98F2-450F-8F50-1A5C2DCEC7BD}"/>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Knowledge Center</a:t>
              </a:r>
            </a:p>
          </p:txBody>
        </p:sp>
        <p:cxnSp>
          <p:nvCxnSpPr>
            <p:cNvPr id="10" name="Straight Connector 9">
              <a:extLst>
                <a:ext uri="{FF2B5EF4-FFF2-40B4-BE49-F238E27FC236}">
                  <a16:creationId xmlns:a16="http://schemas.microsoft.com/office/drawing/2014/main" id="{21B636F8-B45B-4D82-8D01-92CADBFE0A05}"/>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4" name="Picture 3" descr="Graphical user interface, application&#10;&#10;Description automatically generated">
            <a:extLst>
              <a:ext uri="{FF2B5EF4-FFF2-40B4-BE49-F238E27FC236}">
                <a16:creationId xmlns:a16="http://schemas.microsoft.com/office/drawing/2014/main" id="{82E67553-F001-448C-B9E7-89062B91CF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2950" y="1305773"/>
            <a:ext cx="6416851" cy="4296370"/>
          </a:xfrm>
          <a:prstGeom prst="rect">
            <a:avLst/>
          </a:prstGeom>
        </p:spPr>
      </p:pic>
      <p:pic>
        <p:nvPicPr>
          <p:cNvPr id="11" name="Picture 10">
            <a:extLst>
              <a:ext uri="{FF2B5EF4-FFF2-40B4-BE49-F238E27FC236}">
                <a16:creationId xmlns:a16="http://schemas.microsoft.com/office/drawing/2014/main" id="{601BEC3E-6B76-4CE0-A4D0-54B88C56CB28}"/>
              </a:ext>
            </a:extLst>
          </p:cNvPr>
          <p:cNvPicPr>
            <a:picLocks noChangeAspect="1"/>
          </p:cNvPicPr>
          <p:nvPr/>
        </p:nvPicPr>
        <p:blipFill rotWithShape="1">
          <a:blip r:embed="rId4">
            <a:extLst>
              <a:ext uri="{28A0092B-C50C-407E-A947-70E740481C1C}">
                <a14:useLocalDpi xmlns:a14="http://schemas.microsoft.com/office/drawing/2010/main" val="0"/>
              </a:ext>
            </a:extLst>
          </a:blip>
          <a:srcRect l="27180" t="5361" r="27180" b="37190"/>
          <a:stretch/>
        </p:blipFill>
        <p:spPr>
          <a:xfrm>
            <a:off x="4983126" y="947043"/>
            <a:ext cx="7021032" cy="4963914"/>
          </a:xfrm>
          <a:prstGeom prst="rect">
            <a:avLst/>
          </a:prstGeom>
        </p:spPr>
      </p:pic>
    </p:spTree>
    <p:extLst>
      <p:ext uri="{BB962C8B-B14F-4D97-AF65-F5344CB8AC3E}">
        <p14:creationId xmlns:p14="http://schemas.microsoft.com/office/powerpoint/2010/main" val="2960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Data hub</a:t>
            </a:r>
          </a:p>
        </p:txBody>
      </p:sp>
      <p:pic>
        <p:nvPicPr>
          <p:cNvPr id="4" name="Graphic 3">
            <a:extLst>
              <a:ext uri="{FF2B5EF4-FFF2-40B4-BE49-F238E27FC236}">
                <a16:creationId xmlns:a16="http://schemas.microsoft.com/office/drawing/2014/main" id="{472973A1-635A-479F-8FFE-48D6EC3F2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684" y="1600200"/>
            <a:ext cx="3657600" cy="3657600"/>
          </a:xfrm>
          <a:prstGeom prst="rect">
            <a:avLst/>
          </a:prstGeom>
        </p:spPr>
      </p:pic>
    </p:spTree>
    <p:extLst>
      <p:ext uri="{BB962C8B-B14F-4D97-AF65-F5344CB8AC3E}">
        <p14:creationId xmlns:p14="http://schemas.microsoft.com/office/powerpoint/2010/main" val="3293371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4D05D3-646F-4306-8883-58F8232C1417}"/>
              </a:ext>
            </a:extLst>
          </p:cNvPr>
          <p:cNvPicPr>
            <a:picLocks noChangeAspect="1"/>
          </p:cNvPicPr>
          <p:nvPr/>
        </p:nvPicPr>
        <p:blipFill>
          <a:blip r:embed="rId2"/>
          <a:stretch>
            <a:fillRect/>
          </a:stretch>
        </p:blipFill>
        <p:spPr>
          <a:xfrm>
            <a:off x="6111928" y="1595535"/>
            <a:ext cx="4981705" cy="4132551"/>
          </a:xfrm>
          <a:prstGeom prst="rect">
            <a:avLst/>
          </a:prstGeom>
          <a:ln>
            <a:solidFill>
              <a:schemeClr val="tx1"/>
            </a:solidFill>
          </a:ln>
        </p:spPr>
      </p:pic>
      <p:pic>
        <p:nvPicPr>
          <p:cNvPr id="4" name="Picture 3">
            <a:extLst>
              <a:ext uri="{FF2B5EF4-FFF2-40B4-BE49-F238E27FC236}">
                <a16:creationId xmlns:a16="http://schemas.microsoft.com/office/drawing/2014/main" id="{A418F7AC-6196-4254-910C-2B75998B621F}"/>
              </a:ext>
            </a:extLst>
          </p:cNvPr>
          <p:cNvPicPr>
            <a:picLocks noChangeAspect="1"/>
          </p:cNvPicPr>
          <p:nvPr/>
        </p:nvPicPr>
        <p:blipFill>
          <a:blip r:embed="rId3"/>
          <a:stretch>
            <a:fillRect/>
          </a:stretch>
        </p:blipFill>
        <p:spPr>
          <a:xfrm>
            <a:off x="675521" y="1595535"/>
            <a:ext cx="5057775" cy="4581525"/>
          </a:xfrm>
          <a:prstGeom prst="rect">
            <a:avLst/>
          </a:prstGeom>
          <a:ln>
            <a:solidFill>
              <a:schemeClr val="tx1"/>
            </a:solidFill>
          </a:ln>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Data Hub</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Data</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5" y="1129914"/>
            <a:ext cx="10294448" cy="465621"/>
          </a:xfrm>
        </p:spPr>
        <p:txBody>
          <a:bodyPr/>
          <a:lstStyle/>
          <a:p>
            <a:r>
              <a:rPr lang="en-US" sz="1800" dirty="0">
                <a:solidFill>
                  <a:schemeClr val="tx1"/>
                </a:solidFill>
              </a:rPr>
              <a:t>Explore data inside the workspace and in linked storage accounts</a:t>
            </a:r>
            <a:endParaRPr lang="en-US" sz="1600" dirty="0">
              <a:solidFill>
                <a:schemeClr val="tx1"/>
              </a:solidFill>
            </a:endParaRPr>
          </a:p>
        </p:txBody>
      </p:sp>
      <p:sp>
        <p:nvSpPr>
          <p:cNvPr id="9" name="Rectangle 8">
            <a:extLst>
              <a:ext uri="{FF2B5EF4-FFF2-40B4-BE49-F238E27FC236}">
                <a16:creationId xmlns:a16="http://schemas.microsoft.com/office/drawing/2014/main" id="{69866A11-461F-4C47-A6CC-9EEE4F5A6704}"/>
              </a:ext>
            </a:extLst>
          </p:cNvPr>
          <p:cNvSpPr/>
          <p:nvPr/>
        </p:nvSpPr>
        <p:spPr bwMode="auto">
          <a:xfrm>
            <a:off x="2982897" y="2654422"/>
            <a:ext cx="1189608" cy="46562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CD8D4354-2317-4A32-9BE7-6525FEDE17A0}"/>
              </a:ext>
            </a:extLst>
          </p:cNvPr>
          <p:cNvSpPr/>
          <p:nvPr/>
        </p:nvSpPr>
        <p:spPr bwMode="auto">
          <a:xfrm>
            <a:off x="9653982" y="2649592"/>
            <a:ext cx="1288348" cy="47045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7603015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C2AE368-AFFE-40AD-A5A2-746134C203D4}"/>
              </a:ext>
            </a:extLst>
          </p:cNvPr>
          <p:cNvPicPr>
            <a:picLocks noChangeAspect="1"/>
          </p:cNvPicPr>
          <p:nvPr/>
        </p:nvPicPr>
        <p:blipFill>
          <a:blip r:embed="rId2"/>
          <a:stretch>
            <a:fillRect/>
          </a:stretch>
        </p:blipFill>
        <p:spPr>
          <a:xfrm>
            <a:off x="3167501" y="1552485"/>
            <a:ext cx="8834102" cy="5086989"/>
          </a:xfrm>
          <a:prstGeom prst="rect">
            <a:avLst/>
          </a:prstGeom>
          <a:ln>
            <a:solidFill>
              <a:schemeClr val="tx1"/>
            </a:solidFill>
          </a:ln>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Data Hub – Linked Storage </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Data</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6" y="1027431"/>
            <a:ext cx="10294448" cy="465621"/>
          </a:xfrm>
        </p:spPr>
        <p:txBody>
          <a:bodyPr/>
          <a:lstStyle/>
          <a:p>
            <a:r>
              <a:rPr lang="en-US" sz="1800" dirty="0">
                <a:solidFill>
                  <a:schemeClr val="tx1"/>
                </a:solidFill>
              </a:rPr>
              <a:t>Browse Azure Data Lake Storage Gen2 accounts – filesystems, Azure Data Explorer – clusters, Azure Cosmos DB -containers</a:t>
            </a:r>
            <a:endParaRPr lang="en-US" sz="1600" dirty="0">
              <a:solidFill>
                <a:schemeClr val="tx1"/>
              </a:solidFill>
            </a:endParaRPr>
          </a:p>
        </p:txBody>
      </p:sp>
      <p:sp>
        <p:nvSpPr>
          <p:cNvPr id="6" name="Rectangle 5">
            <a:extLst>
              <a:ext uri="{FF2B5EF4-FFF2-40B4-BE49-F238E27FC236}">
                <a16:creationId xmlns:a16="http://schemas.microsoft.com/office/drawing/2014/main" id="{13E61F6C-A33C-4D21-8341-2A2104F4AFAE}"/>
              </a:ext>
            </a:extLst>
          </p:cNvPr>
          <p:cNvSpPr/>
          <p:nvPr/>
        </p:nvSpPr>
        <p:spPr bwMode="auto">
          <a:xfrm>
            <a:off x="3521708" y="3993672"/>
            <a:ext cx="2189960"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4B24CE52-6F6F-4F82-A63D-FE80FEF1674B}"/>
              </a:ext>
            </a:extLst>
          </p:cNvPr>
          <p:cNvSpPr/>
          <p:nvPr/>
        </p:nvSpPr>
        <p:spPr bwMode="auto">
          <a:xfrm>
            <a:off x="3826276" y="4475525"/>
            <a:ext cx="970991"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D53680C-EEE3-499F-82B7-1F24FBF37FF5}"/>
              </a:ext>
            </a:extLst>
          </p:cNvPr>
          <p:cNvSpPr txBox="1"/>
          <p:nvPr/>
        </p:nvSpPr>
        <p:spPr>
          <a:xfrm>
            <a:off x="922136" y="3816341"/>
            <a:ext cx="154638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ADLS Gen2 Account</a:t>
            </a:r>
          </a:p>
        </p:txBody>
      </p:sp>
      <p:sp>
        <p:nvSpPr>
          <p:cNvPr id="9" name="TextBox 8">
            <a:extLst>
              <a:ext uri="{FF2B5EF4-FFF2-40B4-BE49-F238E27FC236}">
                <a16:creationId xmlns:a16="http://schemas.microsoft.com/office/drawing/2014/main" id="{6AC3C418-E214-41DE-A03A-4600029A9501}"/>
              </a:ext>
            </a:extLst>
          </p:cNvPr>
          <p:cNvSpPr txBox="1"/>
          <p:nvPr/>
        </p:nvSpPr>
        <p:spPr>
          <a:xfrm>
            <a:off x="1332977" y="4594587"/>
            <a:ext cx="115243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Container (filesystem)</a:t>
            </a:r>
          </a:p>
        </p:txBody>
      </p:sp>
      <p:cxnSp>
        <p:nvCxnSpPr>
          <p:cNvPr id="11" name="Straight Arrow Connector 10">
            <a:extLst>
              <a:ext uri="{FF2B5EF4-FFF2-40B4-BE49-F238E27FC236}">
                <a16:creationId xmlns:a16="http://schemas.microsoft.com/office/drawing/2014/main" id="{D8A53B76-8CAC-4E1B-BBA8-15E9534DEA79}"/>
              </a:ext>
            </a:extLst>
          </p:cNvPr>
          <p:cNvCxnSpPr>
            <a:cxnSpLocks/>
            <a:stCxn id="2" idx="3"/>
            <a:endCxn id="6" idx="1"/>
          </p:cNvCxnSpPr>
          <p:nvPr/>
        </p:nvCxnSpPr>
        <p:spPr>
          <a:xfrm flipV="1">
            <a:off x="2468522" y="4112735"/>
            <a:ext cx="1053186" cy="1753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24F598D-9824-41B0-8B2F-02248A2F5D54}"/>
              </a:ext>
            </a:extLst>
          </p:cNvPr>
          <p:cNvCxnSpPr>
            <a:cxnSpLocks/>
            <a:stCxn id="9" idx="3"/>
            <a:endCxn id="8" idx="1"/>
          </p:cNvCxnSpPr>
          <p:nvPr/>
        </p:nvCxnSpPr>
        <p:spPr>
          <a:xfrm flipV="1">
            <a:off x="2485411" y="4594588"/>
            <a:ext cx="1340865" cy="31393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6DC05BB-F373-4012-AFCB-816237124F44}"/>
              </a:ext>
            </a:extLst>
          </p:cNvPr>
          <p:cNvSpPr txBox="1"/>
          <p:nvPr/>
        </p:nvSpPr>
        <p:spPr>
          <a:xfrm>
            <a:off x="7584552" y="2646318"/>
            <a:ext cx="1160549" cy="350865"/>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File path</a:t>
            </a:r>
          </a:p>
        </p:txBody>
      </p:sp>
      <p:sp>
        <p:nvSpPr>
          <p:cNvPr id="23" name="Rectangle 22">
            <a:extLst>
              <a:ext uri="{FF2B5EF4-FFF2-40B4-BE49-F238E27FC236}">
                <a16:creationId xmlns:a16="http://schemas.microsoft.com/office/drawing/2014/main" id="{11B57224-408A-4A13-B844-2FDD180D7504}"/>
              </a:ext>
            </a:extLst>
          </p:cNvPr>
          <p:cNvSpPr/>
          <p:nvPr/>
        </p:nvSpPr>
        <p:spPr bwMode="auto">
          <a:xfrm>
            <a:off x="6488577" y="2678384"/>
            <a:ext cx="1160548"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183ADEA7-AB6D-4B26-9FDE-B8F256C47D2A}"/>
              </a:ext>
            </a:extLst>
          </p:cNvPr>
          <p:cNvSpPr/>
          <p:nvPr/>
        </p:nvSpPr>
        <p:spPr bwMode="auto">
          <a:xfrm>
            <a:off x="3521708" y="3498296"/>
            <a:ext cx="2189959"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08E66697-8145-4226-BE74-8F4202A0E012}"/>
              </a:ext>
            </a:extLst>
          </p:cNvPr>
          <p:cNvSpPr txBox="1"/>
          <p:nvPr/>
        </p:nvSpPr>
        <p:spPr>
          <a:xfrm>
            <a:off x="922136" y="3020686"/>
            <a:ext cx="154638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Azure Data Explorer </a:t>
            </a:r>
          </a:p>
        </p:txBody>
      </p:sp>
      <p:cxnSp>
        <p:nvCxnSpPr>
          <p:cNvPr id="19" name="Straight Arrow Connector 18">
            <a:extLst>
              <a:ext uri="{FF2B5EF4-FFF2-40B4-BE49-F238E27FC236}">
                <a16:creationId xmlns:a16="http://schemas.microsoft.com/office/drawing/2014/main" id="{76D3BFBD-7591-40B1-9F19-1DB7DE52C592}"/>
              </a:ext>
            </a:extLst>
          </p:cNvPr>
          <p:cNvCxnSpPr>
            <a:cxnSpLocks/>
            <a:stCxn id="17" idx="3"/>
            <a:endCxn id="16" idx="1"/>
          </p:cNvCxnSpPr>
          <p:nvPr/>
        </p:nvCxnSpPr>
        <p:spPr>
          <a:xfrm>
            <a:off x="2468522" y="3334618"/>
            <a:ext cx="1053186" cy="28274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5B92CF0-A040-4E1F-8E5B-D8D0E9501711}"/>
              </a:ext>
            </a:extLst>
          </p:cNvPr>
          <p:cNvSpPr/>
          <p:nvPr/>
        </p:nvSpPr>
        <p:spPr bwMode="auto">
          <a:xfrm>
            <a:off x="3521708" y="3197886"/>
            <a:ext cx="2189958"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EC0A7CC7-F121-46F1-A2CD-4ED3E54441EB}"/>
              </a:ext>
            </a:extLst>
          </p:cNvPr>
          <p:cNvSpPr txBox="1"/>
          <p:nvPr/>
        </p:nvSpPr>
        <p:spPr>
          <a:xfrm>
            <a:off x="983542" y="2215319"/>
            <a:ext cx="1650588"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Cosmos DB Analytical Store</a:t>
            </a:r>
          </a:p>
        </p:txBody>
      </p:sp>
      <p:cxnSp>
        <p:nvCxnSpPr>
          <p:cNvPr id="29" name="Straight Arrow Connector 28">
            <a:extLst>
              <a:ext uri="{FF2B5EF4-FFF2-40B4-BE49-F238E27FC236}">
                <a16:creationId xmlns:a16="http://schemas.microsoft.com/office/drawing/2014/main" id="{97114190-BBC8-4322-98F1-75F0DB4158B7}"/>
              </a:ext>
            </a:extLst>
          </p:cNvPr>
          <p:cNvCxnSpPr>
            <a:cxnSpLocks/>
            <a:stCxn id="27" idx="3"/>
            <a:endCxn id="21" idx="1"/>
          </p:cNvCxnSpPr>
          <p:nvPr/>
        </p:nvCxnSpPr>
        <p:spPr>
          <a:xfrm>
            <a:off x="2634130" y="2529251"/>
            <a:ext cx="887578" cy="78769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978187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Monitor hub</a:t>
            </a:r>
          </a:p>
        </p:txBody>
      </p:sp>
      <p:pic>
        <p:nvPicPr>
          <p:cNvPr id="4" name="Graphic 3">
            <a:extLst>
              <a:ext uri="{FF2B5EF4-FFF2-40B4-BE49-F238E27FC236}">
                <a16:creationId xmlns:a16="http://schemas.microsoft.com/office/drawing/2014/main" id="{472973A1-635A-479F-8FFE-48D6EC3F2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684" y="1600200"/>
            <a:ext cx="3657600" cy="3657600"/>
          </a:xfrm>
          <a:prstGeom prst="rect">
            <a:avLst/>
          </a:prstGeom>
        </p:spPr>
      </p:pic>
    </p:spTree>
    <p:extLst>
      <p:ext uri="{BB962C8B-B14F-4D97-AF65-F5344CB8AC3E}">
        <p14:creationId xmlns:p14="http://schemas.microsoft.com/office/powerpoint/2010/main" val="2922061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Monitor Hub</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3" y="1129914"/>
            <a:ext cx="5475613" cy="5160049"/>
          </a:xfrm>
        </p:spPr>
        <p:txBody>
          <a:bodyPr/>
          <a:lstStyle/>
          <a:p>
            <a:r>
              <a:rPr lang="en-US" sz="1800" dirty="0">
                <a:solidFill>
                  <a:schemeClr val="tx2"/>
                </a:solidFill>
                <a:latin typeface="+mj-lt"/>
              </a:rPr>
              <a:t>Overview</a:t>
            </a:r>
          </a:p>
          <a:p>
            <a:pPr>
              <a:lnSpc>
                <a:spcPct val="150000"/>
              </a:lnSpc>
              <a:spcAft>
                <a:spcPts val="600"/>
              </a:spcAft>
            </a:pPr>
            <a:r>
              <a:rPr lang="en-US" sz="1600" dirty="0"/>
              <a:t>This feature provides single pane of glass to monitor orchestration, activities for Apache Spark Application and SQL requests. </a:t>
            </a:r>
          </a:p>
          <a:p>
            <a:pPr>
              <a:lnSpc>
                <a:spcPct val="150000"/>
              </a:lnSpc>
              <a:spcAft>
                <a:spcPts val="600"/>
              </a:spcAft>
            </a:pPr>
            <a:endParaRPr lang="en-US" sz="1600" dirty="0"/>
          </a:p>
          <a:p>
            <a:r>
              <a:rPr lang="en-US" sz="1800" dirty="0">
                <a:solidFill>
                  <a:schemeClr val="tx2"/>
                </a:solidFill>
                <a:latin typeface="+mj-lt"/>
              </a:rPr>
              <a:t>Benefits</a:t>
            </a:r>
          </a:p>
          <a:p>
            <a:pPr>
              <a:lnSpc>
                <a:spcPct val="150000"/>
              </a:lnSpc>
              <a:spcAft>
                <a:spcPts val="600"/>
              </a:spcAft>
            </a:pPr>
            <a:r>
              <a:rPr lang="en-US" sz="1600" dirty="0"/>
              <a:t>Offers additional filters to monitor specific activities or orchestration</a:t>
            </a:r>
          </a:p>
          <a:p>
            <a:pPr>
              <a:lnSpc>
                <a:spcPct val="150000"/>
              </a:lnSpc>
              <a:spcAft>
                <a:spcPts val="600"/>
              </a:spcAft>
            </a:pPr>
            <a:endParaRPr lang="en-US" sz="1600" dirty="0"/>
          </a:p>
          <a:p>
            <a:pPr>
              <a:lnSpc>
                <a:spcPct val="150000"/>
              </a:lnSpc>
              <a:spcAft>
                <a:spcPts val="600"/>
              </a:spcAft>
            </a:pPr>
            <a:endParaRPr lang="en-US" sz="1600"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onitor</a:t>
            </a:r>
          </a:p>
        </p:txBody>
      </p:sp>
      <p:pic>
        <p:nvPicPr>
          <p:cNvPr id="6" name="Picture 5">
            <a:extLst>
              <a:ext uri="{FF2B5EF4-FFF2-40B4-BE49-F238E27FC236}">
                <a16:creationId xmlns:a16="http://schemas.microsoft.com/office/drawing/2014/main" id="{D20B6D72-1E40-40F6-95E2-4EA0A12AB47B}"/>
              </a:ext>
            </a:extLst>
          </p:cNvPr>
          <p:cNvPicPr>
            <a:picLocks noChangeAspect="1"/>
          </p:cNvPicPr>
          <p:nvPr/>
        </p:nvPicPr>
        <p:blipFill>
          <a:blip r:embed="rId2"/>
          <a:stretch>
            <a:fillRect/>
          </a:stretch>
        </p:blipFill>
        <p:spPr>
          <a:xfrm>
            <a:off x="7330369" y="980605"/>
            <a:ext cx="3213695" cy="5086820"/>
          </a:xfrm>
          <a:prstGeom prst="rect">
            <a:avLst/>
          </a:prstGeom>
          <a:ln>
            <a:solidFill>
              <a:schemeClr val="tx1"/>
            </a:solidFill>
          </a:ln>
        </p:spPr>
      </p:pic>
    </p:spTree>
    <p:extLst>
      <p:ext uri="{BB962C8B-B14F-4D97-AF65-F5344CB8AC3E}">
        <p14:creationId xmlns:p14="http://schemas.microsoft.com/office/powerpoint/2010/main" val="278212863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5B8A30-373C-4E3F-8D08-421F1FB6FB8E}"/>
              </a:ext>
            </a:extLst>
          </p:cNvPr>
          <p:cNvSpPr>
            <a:spLocks noGrp="1"/>
          </p:cNvSpPr>
          <p:nvPr>
            <p:ph type="title"/>
          </p:nvPr>
        </p:nvSpPr>
        <p:spPr>
          <a:xfrm>
            <a:off x="426426" y="222583"/>
            <a:ext cx="7467272" cy="758022"/>
          </a:xfrm>
        </p:spPr>
        <p:txBody>
          <a:bodyPr/>
          <a:lstStyle/>
          <a:p>
            <a:r>
              <a:rPr lang="en-US" dirty="0"/>
              <a:t>Monitor Hub - Integration</a:t>
            </a:r>
          </a:p>
        </p:txBody>
      </p:sp>
      <p:sp>
        <p:nvSpPr>
          <p:cNvPr id="4" name="Text Placeholder 3">
            <a:extLst>
              <a:ext uri="{FF2B5EF4-FFF2-40B4-BE49-F238E27FC236}">
                <a16:creationId xmlns:a16="http://schemas.microsoft.com/office/drawing/2014/main" id="{3EB8DFDE-DAE0-4A27-A2DA-A67EBA7AD323}"/>
              </a:ext>
            </a:extLst>
          </p:cNvPr>
          <p:cNvSpPr>
            <a:spLocks noGrp="1"/>
          </p:cNvSpPr>
          <p:nvPr>
            <p:ph type="body" sz="quarter" idx="11"/>
          </p:nvPr>
        </p:nvSpPr>
        <p:spPr>
          <a:xfrm>
            <a:off x="426424" y="1129914"/>
            <a:ext cx="5555965" cy="5436349"/>
          </a:xfrm>
        </p:spPr>
        <p:txBody>
          <a:bodyPr/>
          <a:lstStyle/>
          <a:p>
            <a:r>
              <a:rPr lang="en-US" sz="1800" b="1" dirty="0">
                <a:solidFill>
                  <a:schemeClr val="tx2"/>
                </a:solidFill>
                <a:latin typeface="+mj-lt"/>
              </a:rPr>
              <a:t>Overview</a:t>
            </a:r>
          </a:p>
          <a:p>
            <a:pPr>
              <a:lnSpc>
                <a:spcPct val="150000"/>
              </a:lnSpc>
            </a:pPr>
            <a:r>
              <a:rPr lang="en-US" sz="1600" dirty="0"/>
              <a:t>Monitor orchestration in the Synapse workspace for the progress and status of pipeline</a:t>
            </a:r>
          </a:p>
          <a:p>
            <a:endParaRPr lang="en-US" sz="1600" dirty="0"/>
          </a:p>
          <a:p>
            <a:r>
              <a:rPr lang="en-US" sz="1800" b="1" dirty="0">
                <a:solidFill>
                  <a:schemeClr val="tx2"/>
                </a:solidFill>
                <a:latin typeface="+mj-lt"/>
              </a:rPr>
              <a:t>Benefits</a:t>
            </a:r>
          </a:p>
          <a:p>
            <a:r>
              <a:rPr lang="en-US" sz="1600" dirty="0"/>
              <a:t>Track all/specific pipelines</a:t>
            </a:r>
          </a:p>
          <a:p>
            <a:r>
              <a:rPr lang="en-US" sz="1600" dirty="0"/>
              <a:t>Monitor pipeline run and activity run details</a:t>
            </a:r>
          </a:p>
          <a:p>
            <a:r>
              <a:rPr lang="en-US" sz="1600" dirty="0"/>
              <a:t>Find the root cause of pipeline failure or activity failure</a:t>
            </a:r>
          </a:p>
          <a:p>
            <a:endParaRPr lang="en-US" sz="1600" dirty="0"/>
          </a:p>
          <a:p>
            <a:endParaRPr lang="en-US" sz="1600" dirty="0"/>
          </a:p>
        </p:txBody>
      </p:sp>
      <p:sp>
        <p:nvSpPr>
          <p:cNvPr id="5" name="Rectangle 4">
            <a:extLst>
              <a:ext uri="{FF2B5EF4-FFF2-40B4-BE49-F238E27FC236}">
                <a16:creationId xmlns:a16="http://schemas.microsoft.com/office/drawing/2014/main" id="{ADA93FA9-76B6-4000-A092-F7654544A52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onitor &gt; Integration</a:t>
            </a:r>
          </a:p>
        </p:txBody>
      </p:sp>
      <p:pic>
        <p:nvPicPr>
          <p:cNvPr id="6" name="Picture 5">
            <a:extLst>
              <a:ext uri="{FF2B5EF4-FFF2-40B4-BE49-F238E27FC236}">
                <a16:creationId xmlns:a16="http://schemas.microsoft.com/office/drawing/2014/main" id="{148AAC37-9FFE-4EFC-9360-CDD20D199621}"/>
              </a:ext>
            </a:extLst>
          </p:cNvPr>
          <p:cNvPicPr>
            <a:picLocks noChangeAspect="1"/>
          </p:cNvPicPr>
          <p:nvPr/>
        </p:nvPicPr>
        <p:blipFill>
          <a:blip r:embed="rId2"/>
          <a:stretch>
            <a:fillRect/>
          </a:stretch>
        </p:blipFill>
        <p:spPr>
          <a:xfrm>
            <a:off x="5468982" y="1785867"/>
            <a:ext cx="6472236" cy="2228850"/>
          </a:xfrm>
          <a:prstGeom prst="rect">
            <a:avLst/>
          </a:prstGeom>
          <a:ln>
            <a:solidFill>
              <a:schemeClr val="bg2">
                <a:lumMod val="50000"/>
              </a:schemeClr>
            </a:solidFill>
          </a:ln>
        </p:spPr>
      </p:pic>
      <p:pic>
        <p:nvPicPr>
          <p:cNvPr id="2" name="Picture 1">
            <a:extLst>
              <a:ext uri="{FF2B5EF4-FFF2-40B4-BE49-F238E27FC236}">
                <a16:creationId xmlns:a16="http://schemas.microsoft.com/office/drawing/2014/main" id="{EA374813-0C23-4FC7-8455-4E3BC0444C46}"/>
              </a:ext>
            </a:extLst>
          </p:cNvPr>
          <p:cNvPicPr>
            <a:picLocks noChangeAspect="1"/>
          </p:cNvPicPr>
          <p:nvPr/>
        </p:nvPicPr>
        <p:blipFill>
          <a:blip r:embed="rId3"/>
          <a:stretch>
            <a:fillRect/>
          </a:stretch>
        </p:blipFill>
        <p:spPr>
          <a:xfrm>
            <a:off x="5468982" y="4250747"/>
            <a:ext cx="6465309" cy="2228850"/>
          </a:xfrm>
          <a:prstGeom prst="rect">
            <a:avLst/>
          </a:prstGeom>
          <a:ln>
            <a:solidFill>
              <a:schemeClr val="tx1"/>
            </a:solidFill>
          </a:ln>
        </p:spPr>
      </p:pic>
    </p:spTree>
    <p:extLst>
      <p:ext uri="{BB962C8B-B14F-4D97-AF65-F5344CB8AC3E}">
        <p14:creationId xmlns:p14="http://schemas.microsoft.com/office/powerpoint/2010/main" val="339579270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Demonstrations</a:t>
            </a:r>
          </a:p>
        </p:txBody>
      </p:sp>
      <p:graphicFrame>
        <p:nvGraphicFramePr>
          <p:cNvPr id="13" name="Diagram 12">
            <a:extLst>
              <a:ext uri="{FF2B5EF4-FFF2-40B4-BE49-F238E27FC236}">
                <a16:creationId xmlns:a16="http://schemas.microsoft.com/office/drawing/2014/main" id="{81529D68-5A8B-B642-7B19-378C3C0153B6}"/>
              </a:ext>
            </a:extLst>
          </p:cNvPr>
          <p:cNvGraphicFramePr/>
          <p:nvPr>
            <p:extLst>
              <p:ext uri="{D42A27DB-BD31-4B8C-83A1-F6EECF244321}">
                <p14:modId xmlns:p14="http://schemas.microsoft.com/office/powerpoint/2010/main" val="738677302"/>
              </p:ext>
            </p:extLst>
          </p:nvPr>
        </p:nvGraphicFramePr>
        <p:xfrm>
          <a:off x="374841" y="222583"/>
          <a:ext cx="11336038" cy="64128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188117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Manage hub</a:t>
            </a:r>
          </a:p>
        </p:txBody>
      </p:sp>
      <p:pic>
        <p:nvPicPr>
          <p:cNvPr id="4" name="Graphic 3">
            <a:extLst>
              <a:ext uri="{FF2B5EF4-FFF2-40B4-BE49-F238E27FC236}">
                <a16:creationId xmlns:a16="http://schemas.microsoft.com/office/drawing/2014/main" id="{4D29572B-F3CD-4D25-9179-C4EE93CCD5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9550" y="1483376"/>
            <a:ext cx="3657600" cy="3657600"/>
          </a:xfrm>
          <a:prstGeom prst="rect">
            <a:avLst/>
          </a:prstGeom>
        </p:spPr>
      </p:pic>
    </p:spTree>
    <p:extLst>
      <p:ext uri="{BB962C8B-B14F-4D97-AF65-F5344CB8AC3E}">
        <p14:creationId xmlns:p14="http://schemas.microsoft.com/office/powerpoint/2010/main" val="3441047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Manage Hub</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10103031" cy="1059104"/>
          </a:xfrm>
        </p:spPr>
        <p:txBody>
          <a:bodyPr/>
          <a:lstStyle/>
          <a:p>
            <a:r>
              <a:rPr lang="en-US" sz="1800" dirty="0">
                <a:solidFill>
                  <a:schemeClr val="tx2"/>
                </a:solidFill>
                <a:latin typeface="+mj-lt"/>
              </a:rPr>
              <a:t>Overview</a:t>
            </a:r>
          </a:p>
          <a:p>
            <a:pPr lvl="0">
              <a:lnSpc>
                <a:spcPct val="100000"/>
              </a:lnSpc>
              <a:spcAft>
                <a:spcPts val="600"/>
              </a:spcAft>
            </a:pPr>
            <a:r>
              <a:rPr lang="en-US" sz="1600" dirty="0"/>
              <a:t>This feature provides ability to manage Analytics pools, Linked Services, Integration, Security and Source Contro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a:t>
            </a:r>
          </a:p>
        </p:txBody>
      </p:sp>
      <p:pic>
        <p:nvPicPr>
          <p:cNvPr id="7" name="Picture 6">
            <a:extLst>
              <a:ext uri="{FF2B5EF4-FFF2-40B4-BE49-F238E27FC236}">
                <a16:creationId xmlns:a16="http://schemas.microsoft.com/office/drawing/2014/main" id="{B844ADA9-1DEF-47EF-9B1F-F8B5BF715498}"/>
              </a:ext>
            </a:extLst>
          </p:cNvPr>
          <p:cNvPicPr>
            <a:picLocks noChangeAspect="1"/>
          </p:cNvPicPr>
          <p:nvPr/>
        </p:nvPicPr>
        <p:blipFill>
          <a:blip r:embed="rId2"/>
          <a:stretch>
            <a:fillRect/>
          </a:stretch>
        </p:blipFill>
        <p:spPr>
          <a:xfrm>
            <a:off x="326821" y="2157512"/>
            <a:ext cx="11516312" cy="4477905"/>
          </a:xfrm>
          <a:prstGeom prst="rect">
            <a:avLst/>
          </a:prstGeom>
          <a:ln>
            <a:solidFill>
              <a:schemeClr val="tx1"/>
            </a:solidFill>
          </a:ln>
        </p:spPr>
      </p:pic>
    </p:spTree>
    <p:extLst>
      <p:ext uri="{BB962C8B-B14F-4D97-AF65-F5344CB8AC3E}">
        <p14:creationId xmlns:p14="http://schemas.microsoft.com/office/powerpoint/2010/main" val="242101299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5" y="222583"/>
            <a:ext cx="6646403" cy="758022"/>
          </a:xfrm>
        </p:spPr>
        <p:txBody>
          <a:bodyPr/>
          <a:lstStyle/>
          <a:p>
            <a:r>
              <a:rPr lang="en-US" dirty="0"/>
              <a:t>Manage – dedicated SQL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10103031" cy="1059104"/>
          </a:xfrm>
        </p:spPr>
        <p:txBody>
          <a:bodyPr/>
          <a:lstStyle/>
          <a:p>
            <a:r>
              <a:rPr lang="en-US" sz="1800" dirty="0">
                <a:solidFill>
                  <a:schemeClr val="tx2"/>
                </a:solidFill>
                <a:latin typeface="+mj-lt"/>
              </a:rPr>
              <a:t>Overview</a:t>
            </a:r>
          </a:p>
          <a:p>
            <a:pPr lvl="0">
              <a:lnSpc>
                <a:spcPct val="100000"/>
              </a:lnSpc>
              <a:spcAft>
                <a:spcPts val="600"/>
              </a:spcAft>
            </a:pPr>
            <a:r>
              <a:rPr lang="en-US" sz="1600" dirty="0"/>
              <a:t>Provides ability to Pause and Resume, change Scale, Assign Tags from Studio. </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pic>
        <p:nvPicPr>
          <p:cNvPr id="6" name="Picture 5">
            <a:extLst>
              <a:ext uri="{FF2B5EF4-FFF2-40B4-BE49-F238E27FC236}">
                <a16:creationId xmlns:a16="http://schemas.microsoft.com/office/drawing/2014/main" id="{3FCAFA9A-BF47-4134-9CCA-122C9D7DF5A9}"/>
              </a:ext>
            </a:extLst>
          </p:cNvPr>
          <p:cNvPicPr>
            <a:picLocks noChangeAspect="1"/>
          </p:cNvPicPr>
          <p:nvPr/>
        </p:nvPicPr>
        <p:blipFill>
          <a:blip r:embed="rId2"/>
          <a:stretch>
            <a:fillRect/>
          </a:stretch>
        </p:blipFill>
        <p:spPr>
          <a:xfrm>
            <a:off x="144613" y="2330578"/>
            <a:ext cx="7454606" cy="4125641"/>
          </a:xfrm>
          <a:prstGeom prst="rect">
            <a:avLst/>
          </a:prstGeom>
          <a:ln>
            <a:solidFill>
              <a:schemeClr val="tx1"/>
            </a:solidFill>
          </a:ln>
        </p:spPr>
      </p:pic>
      <p:pic>
        <p:nvPicPr>
          <p:cNvPr id="10" name="Picture 9">
            <a:extLst>
              <a:ext uri="{FF2B5EF4-FFF2-40B4-BE49-F238E27FC236}">
                <a16:creationId xmlns:a16="http://schemas.microsoft.com/office/drawing/2014/main" id="{7D38871C-F24E-40AD-9DF3-8899445E0C2F}"/>
              </a:ext>
            </a:extLst>
          </p:cNvPr>
          <p:cNvPicPr>
            <a:picLocks noChangeAspect="1"/>
          </p:cNvPicPr>
          <p:nvPr/>
        </p:nvPicPr>
        <p:blipFill>
          <a:blip r:embed="rId3"/>
          <a:stretch>
            <a:fillRect/>
          </a:stretch>
        </p:blipFill>
        <p:spPr>
          <a:xfrm>
            <a:off x="7756779" y="2189019"/>
            <a:ext cx="4290608" cy="4551277"/>
          </a:xfrm>
          <a:prstGeom prst="rect">
            <a:avLst/>
          </a:prstGeom>
          <a:ln>
            <a:solidFill>
              <a:schemeClr val="tx1"/>
            </a:solidFill>
          </a:ln>
        </p:spPr>
      </p:pic>
    </p:spTree>
    <p:extLst>
      <p:ext uri="{BB962C8B-B14F-4D97-AF65-F5344CB8AC3E}">
        <p14:creationId xmlns:p14="http://schemas.microsoft.com/office/powerpoint/2010/main" val="94930228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5" y="222583"/>
            <a:ext cx="6646403" cy="758022"/>
          </a:xfrm>
        </p:spPr>
        <p:txBody>
          <a:bodyPr/>
          <a:lstStyle/>
          <a:p>
            <a:r>
              <a:rPr lang="en-US" dirty="0"/>
              <a:t>Manage – serverless SQL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5" y="1097658"/>
            <a:ext cx="8309952" cy="658675"/>
          </a:xfrm>
        </p:spPr>
        <p:txBody>
          <a:bodyPr/>
          <a:lstStyle/>
          <a:p>
            <a:pPr>
              <a:lnSpc>
                <a:spcPct val="100000"/>
              </a:lnSpc>
              <a:spcAft>
                <a:spcPts val="0"/>
              </a:spcAft>
            </a:pPr>
            <a:r>
              <a:rPr lang="en-US" sz="1800" dirty="0">
                <a:solidFill>
                  <a:schemeClr val="tx2"/>
                </a:solidFill>
                <a:latin typeface="+mj-lt"/>
              </a:rPr>
              <a:t>Overview</a:t>
            </a:r>
          </a:p>
          <a:p>
            <a:pPr>
              <a:lnSpc>
                <a:spcPct val="100000"/>
              </a:lnSpc>
              <a:spcAft>
                <a:spcPts val="0"/>
              </a:spcAft>
            </a:pPr>
            <a:r>
              <a:rPr lang="en-US" sz="1600" dirty="0"/>
              <a:t>It enables to set the budget for amount of data processed within Synapse Studio or T-SQ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pic>
        <p:nvPicPr>
          <p:cNvPr id="7" name="Picture 6">
            <a:extLst>
              <a:ext uri="{FF2B5EF4-FFF2-40B4-BE49-F238E27FC236}">
                <a16:creationId xmlns:a16="http://schemas.microsoft.com/office/drawing/2014/main" id="{6682B305-7D67-4041-B1EB-C2B60F90787D}"/>
              </a:ext>
            </a:extLst>
          </p:cNvPr>
          <p:cNvPicPr>
            <a:picLocks noChangeAspect="1"/>
          </p:cNvPicPr>
          <p:nvPr/>
        </p:nvPicPr>
        <p:blipFill>
          <a:blip r:embed="rId2"/>
          <a:stretch>
            <a:fillRect/>
          </a:stretch>
        </p:blipFill>
        <p:spPr>
          <a:xfrm>
            <a:off x="200993" y="1734833"/>
            <a:ext cx="7555786" cy="2922413"/>
          </a:xfrm>
          <a:prstGeom prst="rect">
            <a:avLst/>
          </a:prstGeom>
          <a:solidFill>
            <a:schemeClr val="bg1">
              <a:lumMod val="75000"/>
              <a:lumOff val="25000"/>
            </a:schemeClr>
          </a:solidFill>
          <a:ln>
            <a:solidFill>
              <a:schemeClr val="tx1"/>
            </a:solidFill>
          </a:ln>
        </p:spPr>
      </p:pic>
      <p:pic>
        <p:nvPicPr>
          <p:cNvPr id="9" name="Picture 8">
            <a:extLst>
              <a:ext uri="{FF2B5EF4-FFF2-40B4-BE49-F238E27FC236}">
                <a16:creationId xmlns:a16="http://schemas.microsoft.com/office/drawing/2014/main" id="{452B1E9E-AEB1-424A-85FC-9118B864FA6D}"/>
              </a:ext>
            </a:extLst>
          </p:cNvPr>
          <p:cNvPicPr>
            <a:picLocks noChangeAspect="1"/>
          </p:cNvPicPr>
          <p:nvPr/>
        </p:nvPicPr>
        <p:blipFill>
          <a:blip r:embed="rId3"/>
          <a:stretch>
            <a:fillRect/>
          </a:stretch>
        </p:blipFill>
        <p:spPr>
          <a:xfrm>
            <a:off x="9165997" y="861880"/>
            <a:ext cx="2825010" cy="5824073"/>
          </a:xfrm>
          <a:prstGeom prst="rect">
            <a:avLst/>
          </a:prstGeom>
          <a:ln>
            <a:solidFill>
              <a:schemeClr val="tx1"/>
            </a:solidFill>
          </a:ln>
        </p:spPr>
      </p:pic>
      <p:pic>
        <p:nvPicPr>
          <p:cNvPr id="12" name="Picture 11">
            <a:extLst>
              <a:ext uri="{FF2B5EF4-FFF2-40B4-BE49-F238E27FC236}">
                <a16:creationId xmlns:a16="http://schemas.microsoft.com/office/drawing/2014/main" id="{BD2A5DE8-B2A4-4021-A059-1816887456D1}"/>
              </a:ext>
            </a:extLst>
          </p:cNvPr>
          <p:cNvPicPr>
            <a:picLocks noChangeAspect="1"/>
          </p:cNvPicPr>
          <p:nvPr/>
        </p:nvPicPr>
        <p:blipFill>
          <a:blip r:embed="rId4"/>
          <a:stretch>
            <a:fillRect/>
          </a:stretch>
        </p:blipFill>
        <p:spPr>
          <a:xfrm>
            <a:off x="3338545" y="4477013"/>
            <a:ext cx="5711795" cy="2286059"/>
          </a:xfrm>
          <a:prstGeom prst="rect">
            <a:avLst/>
          </a:prstGeom>
          <a:ln>
            <a:solidFill>
              <a:schemeClr val="tx1"/>
            </a:solidFill>
          </a:ln>
        </p:spPr>
      </p:pic>
    </p:spTree>
    <p:extLst>
      <p:ext uri="{BB962C8B-B14F-4D97-AF65-F5344CB8AC3E}">
        <p14:creationId xmlns:p14="http://schemas.microsoft.com/office/powerpoint/2010/main" val="126942827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1DBAA00-226A-42C0-9BFF-A62BCD4FF8DD}"/>
              </a:ext>
            </a:extLst>
          </p:cNvPr>
          <p:cNvPicPr>
            <a:picLocks noChangeAspect="1"/>
          </p:cNvPicPr>
          <p:nvPr/>
        </p:nvPicPr>
        <p:blipFill>
          <a:blip r:embed="rId2"/>
          <a:stretch>
            <a:fillRect/>
          </a:stretch>
        </p:blipFill>
        <p:spPr>
          <a:xfrm>
            <a:off x="6080917" y="3670733"/>
            <a:ext cx="4583803" cy="2925480"/>
          </a:xfrm>
          <a:prstGeom prst="rect">
            <a:avLst/>
          </a:prstGeom>
          <a:ln>
            <a:solidFill>
              <a:schemeClr val="tx1"/>
            </a:solidFill>
          </a:ln>
        </p:spPr>
      </p:pic>
      <p:pic>
        <p:nvPicPr>
          <p:cNvPr id="8" name="Picture 7">
            <a:extLst>
              <a:ext uri="{FF2B5EF4-FFF2-40B4-BE49-F238E27FC236}">
                <a16:creationId xmlns:a16="http://schemas.microsoft.com/office/drawing/2014/main" id="{5CF188B7-1413-4566-9EF1-D2D53EFF8E11}"/>
              </a:ext>
            </a:extLst>
          </p:cNvPr>
          <p:cNvPicPr>
            <a:picLocks noChangeAspect="1"/>
          </p:cNvPicPr>
          <p:nvPr/>
        </p:nvPicPr>
        <p:blipFill>
          <a:blip r:embed="rId3"/>
          <a:stretch>
            <a:fillRect/>
          </a:stretch>
        </p:blipFill>
        <p:spPr>
          <a:xfrm>
            <a:off x="205949" y="2918981"/>
            <a:ext cx="5734731" cy="3677232"/>
          </a:xfrm>
          <a:prstGeom prst="rect">
            <a:avLst/>
          </a:prstGeom>
          <a:ln>
            <a:solidFill>
              <a:schemeClr val="tx1"/>
            </a:solidFill>
          </a:ln>
        </p:spPr>
      </p:pic>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6" y="286527"/>
            <a:ext cx="5555966" cy="694078"/>
          </a:xfrm>
        </p:spPr>
        <p:txBody>
          <a:bodyPr/>
          <a:lstStyle/>
          <a:p>
            <a:r>
              <a:rPr lang="en-US" dirty="0"/>
              <a:t>Manage – Apache Spark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7362501" cy="1408796"/>
          </a:xfrm>
        </p:spPr>
        <p:txBody>
          <a:bodyPr/>
          <a:lstStyle/>
          <a:p>
            <a:r>
              <a:rPr lang="en-US" sz="1800" dirty="0">
                <a:solidFill>
                  <a:schemeClr val="tx2"/>
                </a:solidFill>
                <a:latin typeface="+mj-lt"/>
              </a:rPr>
              <a:t>Overview</a:t>
            </a:r>
          </a:p>
          <a:p>
            <a:pPr lvl="0">
              <a:lnSpc>
                <a:spcPct val="100000"/>
              </a:lnSpc>
              <a:spcAft>
                <a:spcPts val="600"/>
              </a:spcAft>
            </a:pPr>
            <a:r>
              <a:rPr lang="en-US" sz="1600" dirty="0"/>
              <a:t>Provides ability to Pause, Scale, Assign Tags, upload Spark configuration, packages from Studio and validate role assignments on respective Spark poo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sp>
        <p:nvSpPr>
          <p:cNvPr id="9" name="Rectangle 8">
            <a:extLst>
              <a:ext uri="{FF2B5EF4-FFF2-40B4-BE49-F238E27FC236}">
                <a16:creationId xmlns:a16="http://schemas.microsoft.com/office/drawing/2014/main" id="{D47E4EE3-A963-4995-8EE8-250659889032}"/>
              </a:ext>
            </a:extLst>
          </p:cNvPr>
          <p:cNvSpPr/>
          <p:nvPr/>
        </p:nvSpPr>
        <p:spPr bwMode="auto">
          <a:xfrm>
            <a:off x="4701979" y="5047013"/>
            <a:ext cx="1238702" cy="1549200"/>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F8D883EC-C415-4D9F-9C45-C44C643BC1D2}"/>
              </a:ext>
            </a:extLst>
          </p:cNvPr>
          <p:cNvSpPr/>
          <p:nvPr/>
        </p:nvSpPr>
        <p:spPr bwMode="auto">
          <a:xfrm flipV="1">
            <a:off x="6180857" y="5228839"/>
            <a:ext cx="1476261" cy="280992"/>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46670AF1-9E6D-46E1-92B9-5BD48ABFFA90}"/>
              </a:ext>
            </a:extLst>
          </p:cNvPr>
          <p:cNvPicPr>
            <a:picLocks noChangeAspect="1"/>
          </p:cNvPicPr>
          <p:nvPr/>
        </p:nvPicPr>
        <p:blipFill>
          <a:blip r:embed="rId4"/>
          <a:stretch>
            <a:fillRect/>
          </a:stretch>
        </p:blipFill>
        <p:spPr>
          <a:xfrm>
            <a:off x="8427904" y="349921"/>
            <a:ext cx="3625026" cy="3733300"/>
          </a:xfrm>
          <a:prstGeom prst="rect">
            <a:avLst/>
          </a:prstGeom>
          <a:ln>
            <a:solidFill>
              <a:schemeClr val="tx1"/>
            </a:solidFill>
          </a:ln>
        </p:spPr>
      </p:pic>
    </p:spTree>
    <p:extLst>
      <p:ext uri="{BB962C8B-B14F-4D97-AF65-F5344CB8AC3E}">
        <p14:creationId xmlns:p14="http://schemas.microsoft.com/office/powerpoint/2010/main" val="217204839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07FC273-26C5-4F4D-9480-BDBCE09C28ED}"/>
              </a:ext>
            </a:extLst>
          </p:cNvPr>
          <p:cNvPicPr>
            <a:picLocks noChangeAspect="1"/>
          </p:cNvPicPr>
          <p:nvPr/>
        </p:nvPicPr>
        <p:blipFill>
          <a:blip r:embed="rId2"/>
          <a:stretch>
            <a:fillRect/>
          </a:stretch>
        </p:blipFill>
        <p:spPr>
          <a:xfrm>
            <a:off x="4979336" y="920127"/>
            <a:ext cx="6786238" cy="5017746"/>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Linked services</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1129913"/>
            <a:ext cx="4948009" cy="5345531"/>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t>It defines the connection information needed to connect to external resources.</a:t>
            </a:r>
          </a:p>
          <a:p>
            <a:pPr>
              <a:lnSpc>
                <a:spcPct val="110000"/>
              </a:lnSpc>
              <a:spcBef>
                <a:spcPts val="600"/>
              </a:spcBef>
              <a:spcAft>
                <a:spcPts val="600"/>
              </a:spcAft>
            </a:pPr>
            <a:endParaRPr lang="en-US" sz="1600" dirty="0"/>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Offers pre-build 90+ connectors </a:t>
            </a:r>
          </a:p>
          <a:p>
            <a:pPr>
              <a:lnSpc>
                <a:spcPct val="110000"/>
              </a:lnSpc>
              <a:spcBef>
                <a:spcPts val="600"/>
              </a:spcBef>
              <a:spcAft>
                <a:spcPts val="600"/>
              </a:spcAft>
            </a:pPr>
            <a:r>
              <a:rPr lang="en-US" sz="1600" dirty="0"/>
              <a:t>Easy cross platform data migration </a:t>
            </a:r>
          </a:p>
          <a:p>
            <a:pPr>
              <a:lnSpc>
                <a:spcPct val="110000"/>
              </a:lnSpc>
              <a:spcBef>
                <a:spcPts val="600"/>
              </a:spcBef>
              <a:spcAft>
                <a:spcPts val="600"/>
              </a:spcAft>
            </a:pPr>
            <a:r>
              <a:rPr lang="en-US" sz="1600" dirty="0"/>
              <a:t>Represents data store or compute resources</a:t>
            </a:r>
          </a:p>
          <a:p>
            <a:pPr>
              <a:lnSpc>
                <a:spcPct val="110000"/>
              </a:lnSpc>
              <a:spcBef>
                <a:spcPts val="600"/>
              </a:spcBef>
              <a:spcAft>
                <a:spcPts val="600"/>
              </a:spcAft>
            </a:pPr>
            <a:endParaRPr lang="en-US" sz="1600" dirty="0"/>
          </a:p>
          <a:p>
            <a:pPr>
              <a:lnSpc>
                <a:spcPct val="110000"/>
              </a:lnSpc>
              <a:spcBef>
                <a:spcPts val="600"/>
              </a:spcBef>
              <a:spcAft>
                <a:spcPts val="600"/>
              </a:spcAft>
            </a:pPr>
            <a:endParaRPr lang="en-US" sz="1800" dirty="0">
              <a:solidFill>
                <a:schemeClr val="tx2"/>
              </a:solidFill>
              <a:latin typeface="+mj-lt"/>
            </a:endParaRP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755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Linked services</a:t>
            </a:r>
          </a:p>
        </p:txBody>
      </p:sp>
      <p:pic>
        <p:nvPicPr>
          <p:cNvPr id="7" name="Picture 6">
            <a:extLst>
              <a:ext uri="{FF2B5EF4-FFF2-40B4-BE49-F238E27FC236}">
                <a16:creationId xmlns:a16="http://schemas.microsoft.com/office/drawing/2014/main" id="{5F208C84-C5BF-4E54-BB4D-6B7D00FCF9D6}"/>
              </a:ext>
            </a:extLst>
          </p:cNvPr>
          <p:cNvPicPr>
            <a:picLocks noChangeAspect="1"/>
          </p:cNvPicPr>
          <p:nvPr/>
        </p:nvPicPr>
        <p:blipFill>
          <a:blip r:embed="rId3"/>
          <a:stretch>
            <a:fillRect/>
          </a:stretch>
        </p:blipFill>
        <p:spPr>
          <a:xfrm>
            <a:off x="8901404" y="3053527"/>
            <a:ext cx="2961682" cy="3673844"/>
          </a:xfrm>
          <a:prstGeom prst="rect">
            <a:avLst/>
          </a:prstGeom>
          <a:ln>
            <a:solidFill>
              <a:schemeClr val="bg2">
                <a:lumMod val="50000"/>
              </a:schemeClr>
            </a:solidFill>
          </a:ln>
        </p:spPr>
      </p:pic>
      <p:sp>
        <p:nvSpPr>
          <p:cNvPr id="8" name="Rectangle 7">
            <a:extLst>
              <a:ext uri="{FF2B5EF4-FFF2-40B4-BE49-F238E27FC236}">
                <a16:creationId xmlns:a16="http://schemas.microsoft.com/office/drawing/2014/main" id="{F6FACEE6-A5CC-4CDA-8E27-BFA20E84EFD5}"/>
              </a:ext>
            </a:extLst>
          </p:cNvPr>
          <p:cNvSpPr/>
          <p:nvPr/>
        </p:nvSpPr>
        <p:spPr bwMode="auto">
          <a:xfrm>
            <a:off x="5459943" y="2894014"/>
            <a:ext cx="1550719" cy="29094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1C155013-4219-43D6-818D-B6F6767B5EC6}"/>
              </a:ext>
            </a:extLst>
          </p:cNvPr>
          <p:cNvSpPr/>
          <p:nvPr/>
        </p:nvSpPr>
        <p:spPr bwMode="auto">
          <a:xfrm>
            <a:off x="7629350" y="2493819"/>
            <a:ext cx="686547" cy="29250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Connector: Elbow 9">
            <a:extLst>
              <a:ext uri="{FF2B5EF4-FFF2-40B4-BE49-F238E27FC236}">
                <a16:creationId xmlns:a16="http://schemas.microsoft.com/office/drawing/2014/main" id="{85BE7839-A977-4551-8FB0-1C5912505218}"/>
              </a:ext>
            </a:extLst>
          </p:cNvPr>
          <p:cNvCxnSpPr>
            <a:cxnSpLocks/>
            <a:stCxn id="9" idx="3"/>
            <a:endCxn id="7" idx="0"/>
          </p:cNvCxnSpPr>
          <p:nvPr/>
        </p:nvCxnSpPr>
        <p:spPr>
          <a:xfrm>
            <a:off x="8315897" y="2640070"/>
            <a:ext cx="2066348" cy="413457"/>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16939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735E17E-E285-438F-9D78-D16487CD59A4}"/>
              </a:ext>
            </a:extLst>
          </p:cNvPr>
          <p:cNvPicPr>
            <a:picLocks noChangeAspect="1"/>
          </p:cNvPicPr>
          <p:nvPr/>
        </p:nvPicPr>
        <p:blipFill>
          <a:blip r:embed="rId2"/>
          <a:stretch>
            <a:fillRect/>
          </a:stretch>
        </p:blipFill>
        <p:spPr>
          <a:xfrm>
            <a:off x="3472442" y="3076345"/>
            <a:ext cx="7468977" cy="3270988"/>
          </a:xfrm>
          <a:prstGeom prst="rect">
            <a:avLst/>
          </a:prstGeom>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Triggers </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1129914"/>
            <a:ext cx="5555965" cy="5505503"/>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latin typeface="Segoe UI"/>
              </a:rPr>
              <a:t>It defines a unit of processing that determines when a pipeline execution needs to be kicked off. </a:t>
            </a:r>
          </a:p>
          <a:p>
            <a:pPr>
              <a:lnSpc>
                <a:spcPct val="110000"/>
              </a:lnSpc>
              <a:spcBef>
                <a:spcPts val="600"/>
              </a:spcBef>
              <a:spcAft>
                <a:spcPts val="600"/>
              </a:spcAft>
            </a:pP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Create and manage</a:t>
            </a:r>
          </a:p>
          <a:p>
            <a:pPr marL="285750" indent="-285750">
              <a:lnSpc>
                <a:spcPct val="110000"/>
              </a:lnSpc>
              <a:spcBef>
                <a:spcPts val="600"/>
              </a:spcBef>
              <a:spcAft>
                <a:spcPts val="600"/>
              </a:spcAft>
              <a:buFont typeface="Arial" panose="020B0604020202020204" pitchFamily="34" charset="0"/>
              <a:buChar char="•"/>
            </a:pPr>
            <a:r>
              <a:rPr lang="en-US" sz="1600" dirty="0"/>
              <a:t>Schedule trigger</a:t>
            </a:r>
          </a:p>
          <a:p>
            <a:pPr marL="285750" indent="-285750">
              <a:lnSpc>
                <a:spcPct val="110000"/>
              </a:lnSpc>
              <a:spcBef>
                <a:spcPts val="600"/>
              </a:spcBef>
              <a:spcAft>
                <a:spcPts val="600"/>
              </a:spcAft>
              <a:buFont typeface="Arial" panose="020B0604020202020204" pitchFamily="34" charset="0"/>
              <a:buChar char="•"/>
            </a:pPr>
            <a:r>
              <a:rPr lang="en-US" sz="1600" dirty="0"/>
              <a:t>Tumbling window trigger</a:t>
            </a:r>
          </a:p>
          <a:p>
            <a:pPr marL="285750" indent="-285750">
              <a:lnSpc>
                <a:spcPct val="110000"/>
              </a:lnSpc>
              <a:spcBef>
                <a:spcPts val="600"/>
              </a:spcBef>
              <a:spcAft>
                <a:spcPts val="600"/>
              </a:spcAft>
              <a:buFont typeface="Arial" panose="020B0604020202020204" pitchFamily="34" charset="0"/>
              <a:buChar char="•"/>
            </a:pPr>
            <a:r>
              <a:rPr lang="en-US" sz="1600" dirty="0"/>
              <a:t>Event trigger</a:t>
            </a:r>
          </a:p>
          <a:p>
            <a:pPr>
              <a:lnSpc>
                <a:spcPct val="110000"/>
              </a:lnSpc>
              <a:spcBef>
                <a:spcPts val="600"/>
              </a:spcBef>
              <a:spcAft>
                <a:spcPts val="600"/>
              </a:spcAft>
            </a:pPr>
            <a:r>
              <a:rPr lang="en-US" sz="1600" dirty="0"/>
              <a:t>Control pipeline execution</a:t>
            </a: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Triggers</a:t>
            </a:r>
          </a:p>
        </p:txBody>
      </p:sp>
      <p:pic>
        <p:nvPicPr>
          <p:cNvPr id="7" name="Picture 6">
            <a:extLst>
              <a:ext uri="{FF2B5EF4-FFF2-40B4-BE49-F238E27FC236}">
                <a16:creationId xmlns:a16="http://schemas.microsoft.com/office/drawing/2014/main" id="{A2E8FEC8-86E1-4E86-84DE-47C6208D7781}"/>
              </a:ext>
            </a:extLst>
          </p:cNvPr>
          <p:cNvPicPr>
            <a:picLocks noChangeAspect="1"/>
          </p:cNvPicPr>
          <p:nvPr/>
        </p:nvPicPr>
        <p:blipFill>
          <a:blip r:embed="rId3"/>
          <a:stretch>
            <a:fillRect/>
          </a:stretch>
        </p:blipFill>
        <p:spPr>
          <a:xfrm>
            <a:off x="7790590" y="331950"/>
            <a:ext cx="4307026" cy="4518314"/>
          </a:xfrm>
          <a:prstGeom prst="rect">
            <a:avLst/>
          </a:prstGeom>
          <a:ln>
            <a:solidFill>
              <a:schemeClr val="bg2">
                <a:lumMod val="50000"/>
              </a:schemeClr>
            </a:solidFill>
          </a:ln>
        </p:spPr>
      </p:pic>
      <p:sp>
        <p:nvSpPr>
          <p:cNvPr id="8" name="Rectangle 7">
            <a:extLst>
              <a:ext uri="{FF2B5EF4-FFF2-40B4-BE49-F238E27FC236}">
                <a16:creationId xmlns:a16="http://schemas.microsoft.com/office/drawing/2014/main" id="{62D41EE8-E220-418A-B810-737EB31B0295}"/>
              </a:ext>
            </a:extLst>
          </p:cNvPr>
          <p:cNvSpPr/>
          <p:nvPr/>
        </p:nvSpPr>
        <p:spPr bwMode="auto">
          <a:xfrm>
            <a:off x="3942704" y="5153539"/>
            <a:ext cx="1632062" cy="27709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249A6B4-E8B7-4DCF-9365-795DB0269C73}"/>
              </a:ext>
            </a:extLst>
          </p:cNvPr>
          <p:cNvSpPr/>
          <p:nvPr/>
        </p:nvSpPr>
        <p:spPr bwMode="auto">
          <a:xfrm>
            <a:off x="5963327" y="4208003"/>
            <a:ext cx="597160" cy="24481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C0E88E02-5571-43E7-B25B-801316E32B7F}"/>
              </a:ext>
            </a:extLst>
          </p:cNvPr>
          <p:cNvCxnSpPr>
            <a:cxnSpLocks/>
            <a:stCxn id="10" idx="0"/>
            <a:endCxn id="7" idx="1"/>
          </p:cNvCxnSpPr>
          <p:nvPr/>
        </p:nvCxnSpPr>
        <p:spPr>
          <a:xfrm rot="5400000" flipH="1" flipV="1">
            <a:off x="6217800" y="2635214"/>
            <a:ext cx="1616896" cy="152868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216462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580194-EC0A-4159-84F8-5B2CA72D5259}"/>
              </a:ext>
            </a:extLst>
          </p:cNvPr>
          <p:cNvSpPr>
            <a:spLocks noGrp="1"/>
          </p:cNvSpPr>
          <p:nvPr>
            <p:ph type="title"/>
          </p:nvPr>
        </p:nvSpPr>
        <p:spPr>
          <a:xfrm>
            <a:off x="426423" y="371892"/>
            <a:ext cx="5555966" cy="758022"/>
          </a:xfrm>
        </p:spPr>
        <p:txBody>
          <a:bodyPr/>
          <a:lstStyle/>
          <a:p>
            <a:r>
              <a:rPr lang="en-US" dirty="0"/>
              <a:t>Connectivity</a:t>
            </a:r>
          </a:p>
        </p:txBody>
      </p:sp>
      <p:sp>
        <p:nvSpPr>
          <p:cNvPr id="4" name="Text Placeholder 3">
            <a:extLst>
              <a:ext uri="{FF2B5EF4-FFF2-40B4-BE49-F238E27FC236}">
                <a16:creationId xmlns:a16="http://schemas.microsoft.com/office/drawing/2014/main" id="{4D0BE427-19F6-4B80-B6C6-A09A24EB395C}"/>
              </a:ext>
            </a:extLst>
          </p:cNvPr>
          <p:cNvSpPr>
            <a:spLocks noGrp="1"/>
          </p:cNvSpPr>
          <p:nvPr>
            <p:ph type="body" sz="quarter" idx="11"/>
          </p:nvPr>
        </p:nvSpPr>
        <p:spPr>
          <a:xfrm>
            <a:off x="442255" y="1327328"/>
            <a:ext cx="6244965" cy="4934984"/>
          </a:xfrm>
        </p:spPr>
        <p:txBody>
          <a:bodyPr/>
          <a:lstStyle/>
          <a:p>
            <a:pPr marL="0" marR="0">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We need to ensure we have connectivity between our on-premises server and the cloud.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There are three possible ways to achieve thi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Express Route: Private VNET extended between Azure and On premi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Side to Side VPN: VNET extension between Azure and On premi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US" sz="1800" b="1" dirty="0">
                <a:effectLst/>
                <a:latin typeface="Segoe UI Light" panose="020B0502040204020203" pitchFamily="34" charset="0"/>
                <a:ea typeface="Calibri" panose="020F0502020204030204" pitchFamily="34" charset="0"/>
                <a:cs typeface="Times New Roman" panose="02020603050405020304" pitchFamily="18" charset="0"/>
              </a:rPr>
              <a:t>Self-Hosted Integration runtime</a:t>
            </a:r>
            <a:r>
              <a:rPr lang="en-US" sz="1800" dirty="0">
                <a:effectLst/>
                <a:latin typeface="Segoe UI Light" panose="020B0502040204020203" pitchFamily="34" charset="0"/>
                <a:ea typeface="Calibri" panose="020F0502020204030204" pitchFamily="34" charset="0"/>
                <a:cs typeface="Times New Roman" panose="02020603050405020304" pitchFamily="18" charset="0"/>
              </a:rPr>
              <a:t>: VM Which hosts an Integration runtime, this will allow traffic to pass through between Azure Synapse Workspace Pipelines and Azure resources for data move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pPr>
            <a:endParaRPr lang="en-US" sz="1800" dirty="0">
              <a:solidFill>
                <a:srgbClr val="353535"/>
              </a:solidFill>
              <a:cs typeface="Segoe UI" panose="020B0502040204020203" pitchFamily="34" charset="0"/>
            </a:endParaRPr>
          </a:p>
        </p:txBody>
      </p:sp>
      <p:sp>
        <p:nvSpPr>
          <p:cNvPr id="5" name="Rectangle 4">
            <a:extLst>
              <a:ext uri="{FF2B5EF4-FFF2-40B4-BE49-F238E27FC236}">
                <a16:creationId xmlns:a16="http://schemas.microsoft.com/office/drawing/2014/main" id="{F7399934-5326-4A74-A24A-68EB7911D1A0}"/>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Data Integration</a:t>
            </a:r>
          </a:p>
        </p:txBody>
      </p:sp>
      <p:grpSp>
        <p:nvGrpSpPr>
          <p:cNvPr id="60" name="Group 59">
            <a:extLst>
              <a:ext uri="{FF2B5EF4-FFF2-40B4-BE49-F238E27FC236}">
                <a16:creationId xmlns:a16="http://schemas.microsoft.com/office/drawing/2014/main" id="{AAF7B35D-577A-4043-885F-8A09E3A08E54}"/>
              </a:ext>
            </a:extLst>
          </p:cNvPr>
          <p:cNvGrpSpPr/>
          <p:nvPr/>
        </p:nvGrpSpPr>
        <p:grpSpPr>
          <a:xfrm>
            <a:off x="7172906" y="1725693"/>
            <a:ext cx="4277988" cy="3886083"/>
            <a:chOff x="7172906" y="1725693"/>
            <a:chExt cx="4277988" cy="3886083"/>
          </a:xfrm>
        </p:grpSpPr>
        <p:pic>
          <p:nvPicPr>
            <p:cNvPr id="10" name="Graphic 9">
              <a:extLst>
                <a:ext uri="{FF2B5EF4-FFF2-40B4-BE49-F238E27FC236}">
                  <a16:creationId xmlns:a16="http://schemas.microsoft.com/office/drawing/2014/main" id="{D99D78C3-CDF6-4A61-BCA8-D356A3CBC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72906" y="1972693"/>
              <a:ext cx="1082351" cy="1082351"/>
            </a:xfrm>
            <a:prstGeom prst="rect">
              <a:avLst/>
            </a:prstGeom>
          </p:spPr>
        </p:pic>
        <p:pic>
          <p:nvPicPr>
            <p:cNvPr id="14" name="Graphic 13">
              <a:extLst>
                <a:ext uri="{FF2B5EF4-FFF2-40B4-BE49-F238E27FC236}">
                  <a16:creationId xmlns:a16="http://schemas.microsoft.com/office/drawing/2014/main" id="{6C273930-D26F-4EAB-80A5-ED60B6F55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7477" y="4485706"/>
              <a:ext cx="765307" cy="765307"/>
            </a:xfrm>
            <a:prstGeom prst="rect">
              <a:avLst/>
            </a:prstGeom>
          </p:spPr>
        </p:pic>
        <p:sp>
          <p:nvSpPr>
            <p:cNvPr id="23" name="Freeform: Shape 22">
              <a:extLst>
                <a:ext uri="{FF2B5EF4-FFF2-40B4-BE49-F238E27FC236}">
                  <a16:creationId xmlns:a16="http://schemas.microsoft.com/office/drawing/2014/main" id="{0699C5CC-BE52-45E7-AA8C-5818F1FAE286}"/>
                </a:ext>
              </a:extLst>
            </p:cNvPr>
            <p:cNvSpPr/>
            <p:nvPr/>
          </p:nvSpPr>
          <p:spPr bwMode="auto">
            <a:xfrm>
              <a:off x="7893698" y="2700010"/>
              <a:ext cx="1512977" cy="1256170"/>
            </a:xfrm>
            <a:custGeom>
              <a:avLst/>
              <a:gdLst>
                <a:gd name="connsiteX0" fmla="*/ 0 w 1512977"/>
                <a:gd name="connsiteY0" fmla="*/ 388423 h 1256170"/>
                <a:gd name="connsiteX1" fmla="*/ 1483567 w 1512977"/>
                <a:gd name="connsiteY1" fmla="*/ 43190 h 1256170"/>
                <a:gd name="connsiteX2" fmla="*/ 1063690 w 1512977"/>
                <a:gd name="connsiteY2" fmla="*/ 1256170 h 1256170"/>
              </a:gdLst>
              <a:ahLst/>
              <a:cxnLst>
                <a:cxn ang="0">
                  <a:pos x="connsiteX0" y="connsiteY0"/>
                </a:cxn>
                <a:cxn ang="0">
                  <a:pos x="connsiteX1" y="connsiteY1"/>
                </a:cxn>
                <a:cxn ang="0">
                  <a:pos x="connsiteX2" y="connsiteY2"/>
                </a:cxn>
              </a:cxnLst>
              <a:rect l="l" t="t" r="r" b="b"/>
              <a:pathLst>
                <a:path w="1512977" h="1256170">
                  <a:moveTo>
                    <a:pt x="0" y="388423"/>
                  </a:moveTo>
                  <a:cubicBezTo>
                    <a:pt x="653142" y="143494"/>
                    <a:pt x="1306285" y="-101434"/>
                    <a:pt x="1483567" y="43190"/>
                  </a:cubicBezTo>
                  <a:cubicBezTo>
                    <a:pt x="1660849" y="187814"/>
                    <a:pt x="975049" y="993358"/>
                    <a:pt x="1063690" y="12561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25" name="Straight Connector 24">
              <a:extLst>
                <a:ext uri="{FF2B5EF4-FFF2-40B4-BE49-F238E27FC236}">
                  <a16:creationId xmlns:a16="http://schemas.microsoft.com/office/drawing/2014/main" id="{2A05D29E-2DE6-4491-BE18-045FBB789FAD}"/>
                </a:ext>
              </a:extLst>
            </p:cNvPr>
            <p:cNvCxnSpPr>
              <a:cxnSpLocks/>
            </p:cNvCxnSpPr>
            <p:nvPr/>
          </p:nvCxnSpPr>
          <p:spPr>
            <a:xfrm flipV="1">
              <a:off x="7909352" y="2426960"/>
              <a:ext cx="1497323" cy="96451"/>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DC4BD2-15FB-49CC-A9F2-836DAFF177DA}"/>
                </a:ext>
              </a:extLst>
            </p:cNvPr>
            <p:cNvCxnSpPr>
              <a:cxnSpLocks/>
            </p:cNvCxnSpPr>
            <p:nvPr/>
          </p:nvCxnSpPr>
          <p:spPr>
            <a:xfrm flipV="1">
              <a:off x="8720895" y="3055045"/>
              <a:ext cx="960685" cy="16284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B6606F5-64E7-4621-B758-A7B90285EC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8041" y="4638050"/>
              <a:ext cx="765306" cy="765306"/>
            </a:xfrm>
            <a:prstGeom prst="rect">
              <a:avLst/>
            </a:prstGeom>
          </p:spPr>
        </p:pic>
        <p:cxnSp>
          <p:nvCxnSpPr>
            <p:cNvPr id="33" name="Straight Connector 32">
              <a:extLst>
                <a:ext uri="{FF2B5EF4-FFF2-40B4-BE49-F238E27FC236}">
                  <a16:creationId xmlns:a16="http://schemas.microsoft.com/office/drawing/2014/main" id="{67C9814F-C92A-4C82-AD9B-96AAE90994F6}"/>
                </a:ext>
              </a:extLst>
            </p:cNvPr>
            <p:cNvCxnSpPr>
              <a:cxnSpLocks/>
              <a:stCxn id="32" idx="0"/>
            </p:cNvCxnSpPr>
            <p:nvPr/>
          </p:nvCxnSpPr>
          <p:spPr>
            <a:xfrm flipV="1">
              <a:off x="9780694" y="3093898"/>
              <a:ext cx="327722" cy="15441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CAB34692-0A96-4BEF-BA1D-6DFCED6A7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5589" y="4846471"/>
              <a:ext cx="765305" cy="765305"/>
            </a:xfrm>
            <a:prstGeom prst="rect">
              <a:avLst/>
            </a:prstGeom>
          </p:spPr>
        </p:pic>
        <p:cxnSp>
          <p:nvCxnSpPr>
            <p:cNvPr id="40" name="Straight Connector 39">
              <a:extLst>
                <a:ext uri="{FF2B5EF4-FFF2-40B4-BE49-F238E27FC236}">
                  <a16:creationId xmlns:a16="http://schemas.microsoft.com/office/drawing/2014/main" id="{0124BEFF-B53F-44B4-91D9-6831B3552D45}"/>
                </a:ext>
              </a:extLst>
            </p:cNvPr>
            <p:cNvCxnSpPr>
              <a:cxnSpLocks/>
              <a:stCxn id="39" idx="0"/>
            </p:cNvCxnSpPr>
            <p:nvPr/>
          </p:nvCxnSpPr>
          <p:spPr>
            <a:xfrm flipH="1" flipV="1">
              <a:off x="10628985" y="3093897"/>
              <a:ext cx="439257" cy="1752574"/>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524B4C-970C-48CB-96D4-DEE5D3CCFAAC}"/>
                </a:ext>
              </a:extLst>
            </p:cNvPr>
            <p:cNvGrpSpPr/>
            <p:nvPr/>
          </p:nvGrpSpPr>
          <p:grpSpPr>
            <a:xfrm>
              <a:off x="7578913" y="3328095"/>
              <a:ext cx="530456" cy="579723"/>
              <a:chOff x="8173936" y="5562423"/>
              <a:chExt cx="530456" cy="579723"/>
            </a:xfrm>
          </p:grpSpPr>
          <p:pic>
            <p:nvPicPr>
              <p:cNvPr id="49" name="Graphic 48">
                <a:extLst>
                  <a:ext uri="{FF2B5EF4-FFF2-40B4-BE49-F238E27FC236}">
                    <a16:creationId xmlns:a16="http://schemas.microsoft.com/office/drawing/2014/main" id="{52DB9326-4DFB-4DC0-8755-C5D7EE99CF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3936" y="5562423"/>
                <a:ext cx="466725" cy="466725"/>
              </a:xfrm>
              <a:prstGeom prst="rect">
                <a:avLst/>
              </a:prstGeom>
            </p:spPr>
          </p:pic>
          <p:pic>
            <p:nvPicPr>
              <p:cNvPr id="47" name="Graphic 46">
                <a:extLst>
                  <a:ext uri="{FF2B5EF4-FFF2-40B4-BE49-F238E27FC236}">
                    <a16:creationId xmlns:a16="http://schemas.microsoft.com/office/drawing/2014/main" id="{863546AB-4BF2-4C5D-BB33-15CBAB0989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7155" y="5704909"/>
                <a:ext cx="437237" cy="437237"/>
              </a:xfrm>
              <a:prstGeom prst="rect">
                <a:avLst/>
              </a:prstGeom>
            </p:spPr>
          </p:pic>
        </p:grpSp>
        <p:cxnSp>
          <p:nvCxnSpPr>
            <p:cNvPr id="53" name="Straight Connector 52">
              <a:extLst>
                <a:ext uri="{FF2B5EF4-FFF2-40B4-BE49-F238E27FC236}">
                  <a16:creationId xmlns:a16="http://schemas.microsoft.com/office/drawing/2014/main" id="{A79678BB-B2E0-4FE0-8105-9772E69158DE}"/>
                </a:ext>
              </a:extLst>
            </p:cNvPr>
            <p:cNvCxnSpPr>
              <a:cxnSpLocks/>
              <a:stCxn id="47" idx="3"/>
            </p:cNvCxnSpPr>
            <p:nvPr/>
          </p:nvCxnSpPr>
          <p:spPr>
            <a:xfrm flipV="1">
              <a:off x="8109369" y="2846807"/>
              <a:ext cx="1333078" cy="842393"/>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0C667280-2CA5-43D1-82B4-550BCA4096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15059" y="1725693"/>
              <a:ext cx="1656124" cy="1656124"/>
            </a:xfrm>
            <a:prstGeom prst="rect">
              <a:avLst/>
            </a:prstGeom>
          </p:spPr>
        </p:pic>
      </p:grpSp>
    </p:spTree>
    <p:extLst>
      <p:ext uri="{BB962C8B-B14F-4D97-AF65-F5344CB8AC3E}">
        <p14:creationId xmlns:p14="http://schemas.microsoft.com/office/powerpoint/2010/main" val="255437982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8697D7-D0AC-4C44-8809-E1F8E37E2D84}"/>
              </a:ext>
            </a:extLst>
          </p:cNvPr>
          <p:cNvPicPr>
            <a:picLocks noChangeAspect="1"/>
          </p:cNvPicPr>
          <p:nvPr/>
        </p:nvPicPr>
        <p:blipFill>
          <a:blip r:embed="rId3"/>
          <a:stretch>
            <a:fillRect/>
          </a:stretch>
        </p:blipFill>
        <p:spPr>
          <a:xfrm>
            <a:off x="5874529" y="890802"/>
            <a:ext cx="5237401" cy="2833688"/>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a:xfrm>
            <a:off x="426424" y="168129"/>
            <a:ext cx="7420619" cy="758022"/>
          </a:xfrm>
        </p:spPr>
        <p:txBody>
          <a:bodyPr/>
          <a:lstStyle/>
          <a:p>
            <a:r>
              <a:rPr lang="en-US" dirty="0"/>
              <a:t>Manage – Integration runtimes</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999285"/>
            <a:ext cx="5350187" cy="5560135"/>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t>Integration runtimes are the compute infrastructure used by Pipelines to provide the data integration capabilities across different network environments. An integration runtime provides the bridge between the activity and linked services.</a:t>
            </a: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Offers Azure Integration Runtime or Self-Hosted Integration Runtime</a:t>
            </a:r>
          </a:p>
          <a:p>
            <a:pPr>
              <a:lnSpc>
                <a:spcPct val="110000"/>
              </a:lnSpc>
              <a:spcBef>
                <a:spcPts val="600"/>
              </a:spcBef>
              <a:spcAft>
                <a:spcPts val="600"/>
              </a:spcAft>
            </a:pPr>
            <a:r>
              <a:rPr lang="en-US" sz="1600" dirty="0"/>
              <a:t>Azure Integration Runtime – provides fully managed, serverless compute in Azure</a:t>
            </a:r>
          </a:p>
          <a:p>
            <a:pPr>
              <a:lnSpc>
                <a:spcPct val="110000"/>
              </a:lnSpc>
              <a:spcBef>
                <a:spcPts val="600"/>
              </a:spcBef>
              <a:spcAft>
                <a:spcPts val="600"/>
              </a:spcAft>
            </a:pPr>
            <a:r>
              <a:rPr lang="en-US" sz="1600" dirty="0"/>
              <a:t>Self-Hosted Integration Runtime – use compute resources in on-premises machine or a VM inside private network</a:t>
            </a:r>
          </a:p>
          <a:p>
            <a:pPr>
              <a:lnSpc>
                <a:spcPct val="110000"/>
              </a:lnSpc>
              <a:spcBef>
                <a:spcPts val="600"/>
              </a:spcBef>
              <a:spcAft>
                <a:spcPts val="600"/>
              </a:spcAft>
            </a:pPr>
            <a:endParaRPr lang="en-US" sz="1600" dirty="0"/>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3299"/>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Integration runtimes</a:t>
            </a:r>
          </a:p>
        </p:txBody>
      </p:sp>
      <p:sp>
        <p:nvSpPr>
          <p:cNvPr id="7" name="Rectangle 6">
            <a:extLst>
              <a:ext uri="{FF2B5EF4-FFF2-40B4-BE49-F238E27FC236}">
                <a16:creationId xmlns:a16="http://schemas.microsoft.com/office/drawing/2014/main" id="{3E2649C9-45D5-4F5A-B209-D9D5FAB837CD}"/>
              </a:ext>
            </a:extLst>
          </p:cNvPr>
          <p:cNvSpPr/>
          <p:nvPr/>
        </p:nvSpPr>
        <p:spPr bwMode="auto">
          <a:xfrm>
            <a:off x="6243489" y="2769643"/>
            <a:ext cx="1086926" cy="21741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2D515019-8678-4FC6-8595-BC6A0B5C87BC}"/>
              </a:ext>
            </a:extLst>
          </p:cNvPr>
          <p:cNvPicPr>
            <a:picLocks noChangeAspect="1"/>
          </p:cNvPicPr>
          <p:nvPr/>
        </p:nvPicPr>
        <p:blipFill>
          <a:blip r:embed="rId4"/>
          <a:stretch>
            <a:fillRect/>
          </a:stretch>
        </p:blipFill>
        <p:spPr>
          <a:xfrm>
            <a:off x="8703600" y="2834281"/>
            <a:ext cx="3368025" cy="3961648"/>
          </a:xfrm>
          <a:prstGeom prst="rect">
            <a:avLst/>
          </a:prstGeom>
          <a:ln>
            <a:solidFill>
              <a:schemeClr val="bg2">
                <a:lumMod val="50000"/>
              </a:schemeClr>
            </a:solidFill>
          </a:ln>
        </p:spPr>
      </p:pic>
      <p:sp>
        <p:nvSpPr>
          <p:cNvPr id="10" name="Rectangle 9">
            <a:extLst>
              <a:ext uri="{FF2B5EF4-FFF2-40B4-BE49-F238E27FC236}">
                <a16:creationId xmlns:a16="http://schemas.microsoft.com/office/drawing/2014/main" id="{3B66D9B3-BECD-4DA7-A13A-785439782F4B}"/>
              </a:ext>
            </a:extLst>
          </p:cNvPr>
          <p:cNvSpPr/>
          <p:nvPr/>
        </p:nvSpPr>
        <p:spPr bwMode="auto">
          <a:xfrm>
            <a:off x="7755592" y="1795749"/>
            <a:ext cx="551126" cy="241958"/>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Connector: Elbow 12">
            <a:extLst>
              <a:ext uri="{FF2B5EF4-FFF2-40B4-BE49-F238E27FC236}">
                <a16:creationId xmlns:a16="http://schemas.microsoft.com/office/drawing/2014/main" id="{D9137469-2651-4AA1-88EA-3B10EE27024D}"/>
              </a:ext>
            </a:extLst>
          </p:cNvPr>
          <p:cNvCxnSpPr>
            <a:cxnSpLocks/>
            <a:stCxn id="10" idx="3"/>
            <a:endCxn id="9" idx="0"/>
          </p:cNvCxnSpPr>
          <p:nvPr/>
        </p:nvCxnSpPr>
        <p:spPr>
          <a:xfrm>
            <a:off x="8306718" y="1916728"/>
            <a:ext cx="2080895" cy="91755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069366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9FE2FDF-E7D8-42E4-91E4-55C6E22A8356}"/>
              </a:ext>
            </a:extLst>
          </p:cNvPr>
          <p:cNvSpPr>
            <a:spLocks noGrp="1"/>
          </p:cNvSpPr>
          <p:nvPr>
            <p:ph type="title"/>
          </p:nvPr>
        </p:nvSpPr>
        <p:spPr/>
        <p:txBody>
          <a:bodyPr/>
          <a:lstStyle/>
          <a:p>
            <a:r>
              <a:rPr lang="en-US" dirty="0"/>
              <a:t>Comprehensive SQL functionality</a:t>
            </a:r>
          </a:p>
        </p:txBody>
      </p:sp>
      <p:sp>
        <p:nvSpPr>
          <p:cNvPr id="10" name="Text Placeholder 9">
            <a:extLst>
              <a:ext uri="{FF2B5EF4-FFF2-40B4-BE49-F238E27FC236}">
                <a16:creationId xmlns:a16="http://schemas.microsoft.com/office/drawing/2014/main" id="{62C3D029-2023-4032-8073-BEE18C14B9E0}"/>
              </a:ext>
            </a:extLst>
          </p:cNvPr>
          <p:cNvSpPr txBox="1">
            <a:spLocks/>
          </p:cNvSpPr>
          <p:nvPr/>
        </p:nvSpPr>
        <p:spPr>
          <a:xfrm>
            <a:off x="4339972" y="2081859"/>
            <a:ext cx="2813537" cy="4104196"/>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T-SQL Querying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Windowing aggregat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pproximate execution (Hyperloglog)</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JSON data support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Score machine learning models in ONNX format</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Text Placeholder 9">
            <a:extLst>
              <a:ext uri="{FF2B5EF4-FFF2-40B4-BE49-F238E27FC236}">
                <a16:creationId xmlns:a16="http://schemas.microsoft.com/office/drawing/2014/main" id="{31ACB80C-5CD0-4236-A347-31E8169092AB}"/>
              </a:ext>
            </a:extLst>
          </p:cNvPr>
          <p:cNvSpPr txBox="1">
            <a:spLocks/>
          </p:cNvSpPr>
          <p:nvPr/>
        </p:nvSpPr>
        <p:spPr>
          <a:xfrm>
            <a:off x="617957" y="2052949"/>
            <a:ext cx="3140684" cy="3454233"/>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Advanced storage system</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Columnstore Index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Table partition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Distributed tabl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Isolation mod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Materialized View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Nonclustered Index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Result-set caching</a:t>
            </a:r>
          </a:p>
        </p:txBody>
      </p:sp>
      <p:sp>
        <p:nvSpPr>
          <p:cNvPr id="16" name="Text Placeholder 9">
            <a:extLst>
              <a:ext uri="{FF2B5EF4-FFF2-40B4-BE49-F238E27FC236}">
                <a16:creationId xmlns:a16="http://schemas.microsoft.com/office/drawing/2014/main" id="{327BCE4D-DCCE-4206-8F34-BFE44360F48D}"/>
              </a:ext>
            </a:extLst>
          </p:cNvPr>
          <p:cNvSpPr txBox="1">
            <a:spLocks/>
          </p:cNvSpPr>
          <p:nvPr/>
        </p:nvSpPr>
        <p:spPr>
          <a:xfrm>
            <a:off x="7734840" y="2052949"/>
            <a:ext cx="3447585" cy="3265722"/>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Complete SQL object model</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Tabl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Views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Stored procedur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Functions </a:t>
            </a:r>
          </a:p>
        </p:txBody>
      </p:sp>
      <p:sp>
        <p:nvSpPr>
          <p:cNvPr id="8" name="Rectangle 7">
            <a:extLst>
              <a:ext uri="{FF2B5EF4-FFF2-40B4-BE49-F238E27FC236}">
                <a16:creationId xmlns:a16="http://schemas.microsoft.com/office/drawing/2014/main" id="{C5A8022F-EDE0-4002-8CB2-D67F92B71F99}"/>
              </a:ext>
            </a:extLst>
          </p:cNvPr>
          <p:cNvSpPr/>
          <p:nvPr/>
        </p:nvSpPr>
        <p:spPr bwMode="auto">
          <a:xfrm>
            <a:off x="0" y="-35511"/>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zure Synapse Analytics &gt; Dedicated SQL pool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mprehensive SQL functionality</a:t>
            </a:r>
          </a:p>
        </p:txBody>
      </p:sp>
      <p:pic>
        <p:nvPicPr>
          <p:cNvPr id="1026" name="Picture 5" descr="cid:image002.png@01D593F0.B88B7900">
            <a:extLst>
              <a:ext uri="{FF2B5EF4-FFF2-40B4-BE49-F238E27FC236}">
                <a16:creationId xmlns:a16="http://schemas.microsoft.com/office/drawing/2014/main" id="{6C1A2E5A-8B83-49A4-B9EC-C5E7BC2AA5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47044" y="345224"/>
            <a:ext cx="1270762" cy="127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4691894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wrap="square" anchor="t">
            <a:normAutofit/>
          </a:bodyPr>
          <a:lstStyle/>
          <a:p>
            <a:r>
              <a:rPr lang="en-US"/>
              <a:t>Attendee Introductions</a:t>
            </a:r>
          </a:p>
        </p:txBody>
      </p:sp>
      <p:sp>
        <p:nvSpPr>
          <p:cNvPr id="3" name="Text Placeholder 2"/>
          <p:cNvSpPr>
            <a:spLocks noGrp="1"/>
          </p:cNvSpPr>
          <p:nvPr>
            <p:ph type="body" sz="quarter" idx="16"/>
          </p:nvPr>
        </p:nvSpPr>
        <p:spPr>
          <a:xfrm>
            <a:off x="655320" y="1408113"/>
            <a:ext cx="4352925" cy="4819650"/>
          </a:xfrm>
        </p:spPr>
        <p:txBody>
          <a:bodyPr>
            <a:normAutofit/>
          </a:bodyPr>
          <a:lstStyle/>
          <a:p>
            <a:r>
              <a:rPr lang="en-US" dirty="0"/>
              <a:t>Name</a:t>
            </a:r>
          </a:p>
          <a:p>
            <a:endParaRPr lang="en-US" dirty="0"/>
          </a:p>
          <a:p>
            <a:r>
              <a:rPr lang="en-US" dirty="0"/>
              <a:t>Job/Team/Specialty</a:t>
            </a:r>
          </a:p>
          <a:p>
            <a:endParaRPr lang="en-US" dirty="0"/>
          </a:p>
          <a:p>
            <a:r>
              <a:rPr lang="en-US" dirty="0"/>
              <a:t>Time Zone</a:t>
            </a:r>
          </a:p>
          <a:p>
            <a:endParaRPr lang="en-US" dirty="0"/>
          </a:p>
          <a:p>
            <a:r>
              <a:rPr lang="en-US" dirty="0"/>
              <a:t>Experience</a:t>
            </a:r>
          </a:p>
          <a:p>
            <a:endParaRPr lang="en-US" dirty="0"/>
          </a:p>
          <a:p>
            <a:r>
              <a:rPr lang="en-US" dirty="0"/>
              <a:t>Expectations</a:t>
            </a:r>
          </a:p>
          <a:p>
            <a:endParaRPr lang="en-US" dirty="0"/>
          </a:p>
          <a:p>
            <a:endParaRPr lang="en-US" dirty="0"/>
          </a:p>
        </p:txBody>
      </p:sp>
      <p:pic>
        <p:nvPicPr>
          <p:cNvPr id="10" name="Picture Placeholder 9" descr="Laptop with phone and calculator">
            <a:extLst>
              <a:ext uri="{FF2B5EF4-FFF2-40B4-BE49-F238E27FC236}">
                <a16:creationId xmlns:a16="http://schemas.microsoft.com/office/drawing/2014/main" id="{781CCE07-EF7D-49AE-897D-6012CAEBF217}"/>
              </a:ext>
            </a:extLst>
          </p:cNvPr>
          <p:cNvPicPr>
            <a:picLocks noGrp="1" noChangeAspect="1"/>
          </p:cNvPicPr>
          <p:nvPr>
            <p:ph type="pic" sz="quarter" idx="15"/>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p:blipFill>
        <p:spPr>
          <a:xfrm>
            <a:off x="5334000" y="0"/>
            <a:ext cx="6858000" cy="6858000"/>
          </a:xfrm>
        </p:spPr>
      </p:pic>
    </p:spTree>
    <p:custDataLst>
      <p:tags r:id="rId1"/>
    </p:custDataLst>
    <p:extLst>
      <p:ext uri="{BB962C8B-B14F-4D97-AF65-F5344CB8AC3E}">
        <p14:creationId xmlns:p14="http://schemas.microsoft.com/office/powerpoint/2010/main" val="2886847419"/>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9" name="Table 88">
            <a:extLst>
              <a:ext uri="{FF2B5EF4-FFF2-40B4-BE49-F238E27FC236}">
                <a16:creationId xmlns:a16="http://schemas.microsoft.com/office/drawing/2014/main" id="{95E76997-B3CA-4312-861A-CB2086D8DA18}"/>
              </a:ext>
            </a:extLst>
          </p:cNvPr>
          <p:cNvGraphicFramePr>
            <a:graphicFrameLocks noGrp="1"/>
          </p:cNvGraphicFramePr>
          <p:nvPr/>
        </p:nvGraphicFramePr>
        <p:xfrm>
          <a:off x="9846015" y="3391388"/>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73" name="Table 72">
            <a:extLst>
              <a:ext uri="{FF2B5EF4-FFF2-40B4-BE49-F238E27FC236}">
                <a16:creationId xmlns:a16="http://schemas.microsoft.com/office/drawing/2014/main" id="{CB5C4395-7DAC-4E1D-BB45-F370CE88B301}"/>
              </a:ext>
            </a:extLst>
          </p:cNvPr>
          <p:cNvGraphicFramePr>
            <a:graphicFrameLocks noGrp="1"/>
          </p:cNvGraphicFramePr>
          <p:nvPr/>
        </p:nvGraphicFramePr>
        <p:xfrm>
          <a:off x="7449739" y="3428138"/>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sp>
        <p:nvSpPr>
          <p:cNvPr id="105" name="Rectangle 104">
            <a:extLst>
              <a:ext uri="{FF2B5EF4-FFF2-40B4-BE49-F238E27FC236}">
                <a16:creationId xmlns:a16="http://schemas.microsoft.com/office/drawing/2014/main" id="{89F253B4-7D28-4CE8-A482-03C2F98307EF}"/>
              </a:ext>
            </a:extLst>
          </p:cNvPr>
          <p:cNvSpPr/>
          <p:nvPr/>
        </p:nvSpPr>
        <p:spPr bwMode="auto">
          <a:xfrm>
            <a:off x="3631553" y="1622079"/>
            <a:ext cx="3094182" cy="2021592"/>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1407E31-A578-414E-AFAD-7A59551BE95E}"/>
              </a:ext>
            </a:extLst>
          </p:cNvPr>
          <p:cNvSpPr/>
          <p:nvPr/>
        </p:nvSpPr>
        <p:spPr bwMode="auto">
          <a:xfrm>
            <a:off x="3484655" y="1722089"/>
            <a:ext cx="3094182" cy="2060987"/>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 name="Table 3">
            <a:extLst>
              <a:ext uri="{FF2B5EF4-FFF2-40B4-BE49-F238E27FC236}">
                <a16:creationId xmlns:a16="http://schemas.microsoft.com/office/drawing/2014/main" id="{C5367C8F-FFCA-41FF-BEB0-C3E881E05880}"/>
              </a:ext>
            </a:extLst>
          </p:cNvPr>
          <p:cNvGraphicFramePr>
            <a:graphicFrameLocks noGrp="1"/>
          </p:cNvGraphicFramePr>
          <p:nvPr>
            <p:extLst>
              <p:ext uri="{D42A27DB-BD31-4B8C-83A1-F6EECF244321}">
                <p14:modId xmlns:p14="http://schemas.microsoft.com/office/powerpoint/2010/main" val="830288314"/>
              </p:ext>
            </p:extLst>
          </p:nvPr>
        </p:nvGraphicFramePr>
        <p:xfrm>
          <a:off x="382348" y="2058802"/>
          <a:ext cx="2612051" cy="3649409"/>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gridCol w="762000">
                  <a:extLst>
                    <a:ext uri="{9D8B030D-6E8A-4147-A177-3AD203B41FA5}">
                      <a16:colId xmlns:a16="http://schemas.microsoft.com/office/drawing/2014/main" val="778469355"/>
                    </a:ext>
                  </a:extLst>
                </a:gridCol>
                <a:gridCol w="523875">
                  <a:extLst>
                    <a:ext uri="{9D8B030D-6E8A-4147-A177-3AD203B41FA5}">
                      <a16:colId xmlns:a16="http://schemas.microsoft.com/office/drawing/2014/main" val="3068263925"/>
                    </a:ext>
                  </a:extLst>
                </a:gridCol>
                <a:gridCol w="6477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2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r>
                        <a:rPr lang="en-US" sz="1000" dirty="0"/>
                        <a:t>85395</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V</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kumimoji="0" lang="en-US" sz="1000" u="none" strike="noStrike" kern="1200" cap="none" spc="0" normalizeH="0" baseline="0" noProof="0" dirty="0">
                          <a:ln>
                            <a:noFill/>
                          </a:ln>
                          <a:effectLst/>
                          <a:uLnTx/>
                          <a:uFillTx/>
                        </a:rPr>
                        <a:t>86881</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D</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57995973"/>
                  </a:ext>
                </a:extLst>
              </a:tr>
              <a:tr h="220938">
                <a:tc>
                  <a:txBody>
                    <a:bodyPr/>
                    <a:lstStyle/>
                    <a:p>
                      <a:r>
                        <a:rPr kumimoji="0" lang="en-US" sz="1000" u="none" strike="noStrike" kern="1200" cap="none" spc="0" normalizeH="0" baseline="0" noProof="0" dirty="0">
                          <a:ln>
                            <a:noFill/>
                          </a:ln>
                          <a:effectLst/>
                          <a:uLnTx/>
                          <a:uFillTx/>
                        </a:rPr>
                        <a:t>9308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3-2018</a:t>
                      </a:r>
                    </a:p>
                  </a:txBody>
                  <a:tcPr marL="54478" marR="54478" marT="27239" marB="27239"/>
                </a:tc>
                <a:tc>
                  <a:txBody>
                    <a:bodyPr/>
                    <a:lstStyle/>
                    <a:p>
                      <a:r>
                        <a:rPr lang="en-US" sz="1000" dirty="0"/>
                        <a:t>R</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220938">
                <a:tc>
                  <a:txBody>
                    <a:bodyPr/>
                    <a:lstStyle/>
                    <a:p>
                      <a:r>
                        <a:rPr kumimoji="0" lang="en-US" sz="1000" u="none" strike="noStrike" kern="1200" cap="none" spc="0" normalizeH="0" baseline="0" noProof="0" dirty="0">
                          <a:ln>
                            <a:noFill/>
                          </a:ln>
                          <a:effectLst/>
                          <a:uLnTx/>
                          <a:uFillTx/>
                        </a:rPr>
                        <a:t>94156</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S</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220938">
                <a:tc>
                  <a:txBody>
                    <a:bodyPr/>
                    <a:lstStyle/>
                    <a:p>
                      <a:r>
                        <a:rPr kumimoji="0" lang="en-US" sz="1000" u="none" strike="noStrike" kern="1200" cap="none" spc="0" normalizeH="0" baseline="0" noProof="0" dirty="0">
                          <a:ln>
                            <a:noFill/>
                          </a:ln>
                          <a:effectLst/>
                          <a:uLnTx/>
                          <a:uFillTx/>
                        </a:rPr>
                        <a:t>9625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Q</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R</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40898676"/>
                  </a:ext>
                </a:extLst>
              </a:tr>
              <a:tr h="220938">
                <a:tc>
                  <a:txBody>
                    <a:bodyPr/>
                    <a:lstStyle/>
                    <a:p>
                      <a:r>
                        <a:rPr kumimoji="0" lang="en-US" sz="1000" u="none" strike="noStrike" kern="1200" cap="none" spc="0" normalizeH="0" baseline="0" noProof="0" dirty="0">
                          <a:ln>
                            <a:noFill/>
                          </a:ln>
                          <a:effectLst/>
                          <a:uLnTx/>
                          <a:uFillTx/>
                        </a:rPr>
                        <a:t>98015</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23186010"/>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2633975"/>
                  </a:ext>
                </a:extLst>
              </a:tr>
              <a:tr h="220938">
                <a:tc>
                  <a:txBody>
                    <a:bodyPr/>
                    <a:lstStyle/>
                    <a:p>
                      <a:r>
                        <a:rPr kumimoji="0" lang="en-US" sz="1000" u="none" strike="noStrike" kern="1200" cap="none" spc="0" normalizeH="0" baseline="0" noProof="0" dirty="0">
                          <a:ln>
                            <a:noFill/>
                          </a:ln>
                          <a:effectLst/>
                          <a:uLnTx/>
                          <a:uFillTx/>
                        </a:rPr>
                        <a:t>9897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Z</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41869205"/>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263327469"/>
                  </a:ext>
                </a:extLst>
              </a:tr>
              <a:tr h="220938">
                <a:tc>
                  <a:txBody>
                    <a:bodyPr/>
                    <a:lstStyle/>
                    <a:p>
                      <a:pPr algn="ctr"/>
                      <a:r>
                        <a:rPr lang="en-US" sz="1000" dirty="0"/>
                        <a:t>…</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972440"/>
                  </a:ext>
                </a:extLst>
              </a:tr>
            </a:tbl>
          </a:graphicData>
        </a:graphic>
      </p:graphicFrame>
      <p:sp>
        <p:nvSpPr>
          <p:cNvPr id="11" name="Text Placeholder 5">
            <a:extLst>
              <a:ext uri="{FF2B5EF4-FFF2-40B4-BE49-F238E27FC236}">
                <a16:creationId xmlns:a16="http://schemas.microsoft.com/office/drawing/2014/main" id="{2B20FE4F-DBE5-4CE2-A821-05565CF79BD8}"/>
              </a:ext>
            </a:extLst>
          </p:cNvPr>
          <p:cNvSpPr>
            <a:spLocks noGrp="1"/>
          </p:cNvSpPr>
          <p:nvPr>
            <p:ph type="body" sz="quarter" idx="10"/>
          </p:nvPr>
        </p:nvSpPr>
        <p:spPr>
          <a:xfrm>
            <a:off x="389259" y="1520496"/>
            <a:ext cx="2380266" cy="249620"/>
          </a:xfrm>
        </p:spPr>
        <p:txBody>
          <a:bodyPr/>
          <a:lstStyle/>
          <a:p>
            <a:pPr>
              <a:spcBef>
                <a:spcPts val="600"/>
              </a:spcBef>
            </a:pPr>
            <a:r>
              <a:rPr lang="en-US" sz="1600" dirty="0">
                <a:solidFill>
                  <a:schemeClr val="tx2"/>
                </a:solidFill>
              </a:rPr>
              <a:t>Logical table structure</a:t>
            </a:r>
          </a:p>
        </p:txBody>
      </p:sp>
      <p:sp>
        <p:nvSpPr>
          <p:cNvPr id="64" name="Rectangle 63">
            <a:extLst>
              <a:ext uri="{FF2B5EF4-FFF2-40B4-BE49-F238E27FC236}">
                <a16:creationId xmlns:a16="http://schemas.microsoft.com/office/drawing/2014/main" id="{9DF02122-110A-4BC1-B6B0-A1503424FF5C}"/>
              </a:ext>
            </a:extLst>
          </p:cNvPr>
          <p:cNvSpPr/>
          <p:nvPr/>
        </p:nvSpPr>
        <p:spPr bwMode="auto">
          <a:xfrm>
            <a:off x="3305650" y="1857609"/>
            <a:ext cx="3094182" cy="2090594"/>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5" name="Table 64">
            <a:extLst>
              <a:ext uri="{FF2B5EF4-FFF2-40B4-BE49-F238E27FC236}">
                <a16:creationId xmlns:a16="http://schemas.microsoft.com/office/drawing/2014/main" id="{CE56E5CD-E1D3-4791-A23F-2F7C6694FDCC}"/>
              </a:ext>
            </a:extLst>
          </p:cNvPr>
          <p:cNvGraphicFramePr>
            <a:graphicFrameLocks noGrp="1"/>
          </p:cNvGraphicFramePr>
          <p:nvPr/>
        </p:nvGraphicFramePr>
        <p:xfrm>
          <a:off x="3425973" y="2538178"/>
          <a:ext cx="678476" cy="1325628"/>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tblGrid>
              <a:tr h="220938">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pPr algn="l"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pPr algn="l" fontAlgn="b"/>
                      <a:r>
                        <a:rPr lang="en-US" sz="1100" u="none" strike="noStrike" dirty="0">
                          <a:effectLst/>
                        </a:rPr>
                        <a:t>850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pPr algn="l" fontAlgn="b"/>
                      <a:r>
                        <a:rPr lang="en-US" sz="1100" u="none" strike="noStrike" dirty="0">
                          <a:effectLst/>
                        </a:rPr>
                        <a:t>85018</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pPr algn="l" fontAlgn="b"/>
                      <a:r>
                        <a:rPr lang="en-US" sz="1100" u="none" strike="noStrike" dirty="0">
                          <a:effectLst/>
                        </a:rPr>
                        <a:t>852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pPr algn="l"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2406426"/>
                  </a:ext>
                </a:extLst>
              </a:tr>
            </a:tbl>
          </a:graphicData>
        </a:graphic>
      </p:graphicFrame>
      <p:graphicFrame>
        <p:nvGraphicFramePr>
          <p:cNvPr id="67" name="Table 66">
            <a:extLst>
              <a:ext uri="{FF2B5EF4-FFF2-40B4-BE49-F238E27FC236}">
                <a16:creationId xmlns:a16="http://schemas.microsoft.com/office/drawing/2014/main" id="{836FF59E-247D-4F43-A8D9-3AAC6FA35481}"/>
              </a:ext>
            </a:extLst>
          </p:cNvPr>
          <p:cNvGraphicFramePr>
            <a:graphicFrameLocks noGrp="1"/>
          </p:cNvGraphicFramePr>
          <p:nvPr/>
        </p:nvGraphicFramePr>
        <p:xfrm>
          <a:off x="4172448" y="3418021"/>
          <a:ext cx="762000" cy="441876"/>
        </p:xfrm>
        <a:graphic>
          <a:graphicData uri="http://schemas.openxmlformats.org/drawingml/2006/table">
            <a:tbl>
              <a:tblPr firstRow="1" bandRow="1">
                <a:tableStyleId>{69CF1AB2-1976-4502-BF36-3FF5EA218861}</a:tableStyleId>
              </a:tblPr>
              <a:tblGrid>
                <a:gridCol w="762000">
                  <a:extLst>
                    <a:ext uri="{9D8B030D-6E8A-4147-A177-3AD203B41FA5}">
                      <a16:colId xmlns:a16="http://schemas.microsoft.com/office/drawing/2014/main" val="778469355"/>
                    </a:ext>
                  </a:extLst>
                </a:gridCol>
              </a:tblGrid>
              <a:tr h="220938">
                <a:tc>
                  <a:txBody>
                    <a:bodyPr/>
                    <a:lstStyle/>
                    <a:p>
                      <a:r>
                        <a:rPr lang="en-US" sz="900" dirty="0">
                          <a:solidFill>
                            <a:schemeClr val="bg1"/>
                          </a:solidFill>
                        </a:rPr>
                        <a:t>Dat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4366343"/>
                  </a:ext>
                </a:extLst>
              </a:tr>
            </a:tbl>
          </a:graphicData>
        </a:graphic>
      </p:graphicFrame>
      <p:graphicFrame>
        <p:nvGraphicFramePr>
          <p:cNvPr id="68" name="Table 67">
            <a:extLst>
              <a:ext uri="{FF2B5EF4-FFF2-40B4-BE49-F238E27FC236}">
                <a16:creationId xmlns:a16="http://schemas.microsoft.com/office/drawing/2014/main" id="{A889EEF2-8896-40E4-82D0-B8428EF3996A}"/>
              </a:ext>
            </a:extLst>
          </p:cNvPr>
          <p:cNvGraphicFramePr>
            <a:graphicFrameLocks noGrp="1"/>
          </p:cNvGraphicFramePr>
          <p:nvPr/>
        </p:nvGraphicFramePr>
        <p:xfrm>
          <a:off x="5597327" y="2568250"/>
          <a:ext cx="574094" cy="1296328"/>
        </p:xfrm>
        <a:graphic>
          <a:graphicData uri="http://schemas.openxmlformats.org/drawingml/2006/table">
            <a:tbl>
              <a:tblPr firstRow="1" bandRow="1">
                <a:tableStyleId>{69CF1AB2-1976-4502-BF36-3FF5EA218861}</a:tableStyleId>
              </a:tblPr>
              <a:tblGrid>
                <a:gridCol w="574094">
                  <a:extLst>
                    <a:ext uri="{9D8B030D-6E8A-4147-A177-3AD203B41FA5}">
                      <a16:colId xmlns:a16="http://schemas.microsoft.com/office/drawing/2014/main" val="40476078"/>
                    </a:ext>
                  </a:extLst>
                </a:gridCol>
              </a:tblGrid>
              <a:tr h="0">
                <a:tc>
                  <a:txBody>
                    <a:bodyPr/>
                    <a:lstStyle/>
                    <a:p>
                      <a:r>
                        <a:rPr lang="en-US" sz="900" dirty="0">
                          <a:solidFill>
                            <a:schemeClr val="bg1"/>
                          </a:solidFill>
                        </a:rPr>
                        <a:t>Country</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FR</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UK</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SP</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lang="en-US" sz="1000" dirty="0"/>
                        <a:t>D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01448120"/>
                  </a:ext>
                </a:extLst>
              </a:tr>
              <a:tr h="220938">
                <a:tc>
                  <a:txBody>
                    <a:bodyPr/>
                    <a:lstStyle/>
                    <a:p>
                      <a:r>
                        <a:rPr lang="en-US" sz="1000" dirty="0"/>
                        <a:t>NL</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8041110"/>
                  </a:ext>
                </a:extLst>
              </a:tr>
            </a:tbl>
          </a:graphicData>
        </a:graphic>
      </p:graphicFrame>
      <p:graphicFrame>
        <p:nvGraphicFramePr>
          <p:cNvPr id="69" name="Table 68">
            <a:extLst>
              <a:ext uri="{FF2B5EF4-FFF2-40B4-BE49-F238E27FC236}">
                <a16:creationId xmlns:a16="http://schemas.microsoft.com/office/drawing/2014/main" id="{90D87DFF-570F-4319-B4C4-9AFAD4465F5C}"/>
              </a:ext>
            </a:extLst>
          </p:cNvPr>
          <p:cNvGraphicFramePr>
            <a:graphicFrameLocks noGrp="1"/>
          </p:cNvGraphicFramePr>
          <p:nvPr/>
        </p:nvGraphicFramePr>
        <p:xfrm>
          <a:off x="4982064" y="3200881"/>
          <a:ext cx="523875" cy="662814"/>
        </p:xfrm>
        <a:graphic>
          <a:graphicData uri="http://schemas.openxmlformats.org/drawingml/2006/table">
            <a:tbl>
              <a:tblPr firstRow="1" bandRow="1">
                <a:tableStyleId>{69CF1AB2-1976-4502-BF36-3FF5EA218861}</a:tableStyleId>
              </a:tblPr>
              <a:tblGrid>
                <a:gridCol w="523875">
                  <a:extLst>
                    <a:ext uri="{9D8B030D-6E8A-4147-A177-3AD203B41FA5}">
                      <a16:colId xmlns:a16="http://schemas.microsoft.com/office/drawing/2014/main" val="3068263925"/>
                    </a:ext>
                  </a:extLst>
                </a:gridCol>
              </a:tblGrid>
              <a:tr h="220938">
                <a:tc>
                  <a:txBody>
                    <a:bodyPr/>
                    <a:lstStyle/>
                    <a:p>
                      <a:r>
                        <a:rPr lang="en-US" sz="900" dirty="0">
                          <a:solidFill>
                            <a:schemeClr val="bg1"/>
                          </a:solidFill>
                        </a:rPr>
                        <a:t>Nam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Q</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V</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2893756"/>
                  </a:ext>
                </a:extLst>
              </a:tr>
            </a:tbl>
          </a:graphicData>
        </a:graphic>
      </p:graphicFrame>
      <p:grpSp>
        <p:nvGrpSpPr>
          <p:cNvPr id="70" name="Group 69">
            <a:extLst>
              <a:ext uri="{FF2B5EF4-FFF2-40B4-BE49-F238E27FC236}">
                <a16:creationId xmlns:a16="http://schemas.microsoft.com/office/drawing/2014/main" id="{EDDA739E-D4B8-48B4-AAD2-30589DF01454}"/>
              </a:ext>
            </a:extLst>
          </p:cNvPr>
          <p:cNvGrpSpPr/>
          <p:nvPr/>
        </p:nvGrpSpPr>
        <p:grpSpPr>
          <a:xfrm>
            <a:off x="5614498" y="2330439"/>
            <a:ext cx="206748" cy="209085"/>
            <a:chOff x="7302089" y="1925930"/>
            <a:chExt cx="704483" cy="712447"/>
          </a:xfrm>
        </p:grpSpPr>
        <p:cxnSp>
          <p:nvCxnSpPr>
            <p:cNvPr id="71" name="Straight Arrow Connector 70">
              <a:extLst>
                <a:ext uri="{FF2B5EF4-FFF2-40B4-BE49-F238E27FC236}">
                  <a16:creationId xmlns:a16="http://schemas.microsoft.com/office/drawing/2014/main" id="{532E0054-E509-4862-A6AF-B14235B72B3D}"/>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FDB956DD-044B-46DF-84BF-0502FB39E0F1}"/>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844C784-FD2D-415B-8852-CD74185ED473}"/>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13947204-467C-4041-B5BA-8DE3F7D11D3F}"/>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AABA206D-C0AB-4FEF-8CD9-063315B733B8}"/>
              </a:ext>
            </a:extLst>
          </p:cNvPr>
          <p:cNvGrpSpPr/>
          <p:nvPr/>
        </p:nvGrpSpPr>
        <p:grpSpPr>
          <a:xfrm>
            <a:off x="4209072" y="3188861"/>
            <a:ext cx="206748" cy="209085"/>
            <a:chOff x="7302089" y="1925930"/>
            <a:chExt cx="704483" cy="712447"/>
          </a:xfrm>
        </p:grpSpPr>
        <p:cxnSp>
          <p:nvCxnSpPr>
            <p:cNvPr id="81" name="Straight Arrow Connector 80">
              <a:extLst>
                <a:ext uri="{FF2B5EF4-FFF2-40B4-BE49-F238E27FC236}">
                  <a16:creationId xmlns:a16="http://schemas.microsoft.com/office/drawing/2014/main" id="{8D62FD9C-66D8-4D3D-9D43-27367A9A1318}"/>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C9F534E6-EEE1-41A5-B349-5DB113A68AE2}"/>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AD4A797D-9785-49C2-8A04-03526C3A3141}"/>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5D246C26-A4B1-4579-BEC0-B835409494B2}"/>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3EB4B4FF-7EAB-44B6-9447-93E8F8D0FEFD}"/>
              </a:ext>
            </a:extLst>
          </p:cNvPr>
          <p:cNvGrpSpPr/>
          <p:nvPr/>
        </p:nvGrpSpPr>
        <p:grpSpPr>
          <a:xfrm>
            <a:off x="3443167" y="2313588"/>
            <a:ext cx="206748" cy="209085"/>
            <a:chOff x="7302089" y="1925930"/>
            <a:chExt cx="704483" cy="712447"/>
          </a:xfrm>
        </p:grpSpPr>
        <p:cxnSp>
          <p:nvCxnSpPr>
            <p:cNvPr id="92" name="Straight Arrow Connector 91">
              <a:extLst>
                <a:ext uri="{FF2B5EF4-FFF2-40B4-BE49-F238E27FC236}">
                  <a16:creationId xmlns:a16="http://schemas.microsoft.com/office/drawing/2014/main" id="{3485CD26-19F9-4A7A-96A2-52A08EF3E596}"/>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F60007E9-29BD-4238-B2F7-0993754779A3}"/>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0AE280-D2DF-462E-8A0E-0C5D91C693BA}"/>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517E1DF-B0B2-453A-AEB1-3454479EF1A6}"/>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23AB37D3-5658-450B-98BB-96D6C9329643}"/>
              </a:ext>
            </a:extLst>
          </p:cNvPr>
          <p:cNvGrpSpPr/>
          <p:nvPr/>
        </p:nvGrpSpPr>
        <p:grpSpPr>
          <a:xfrm>
            <a:off x="5013170" y="2956046"/>
            <a:ext cx="206748" cy="209085"/>
            <a:chOff x="7302089" y="1925930"/>
            <a:chExt cx="704483" cy="712447"/>
          </a:xfrm>
        </p:grpSpPr>
        <p:cxnSp>
          <p:nvCxnSpPr>
            <p:cNvPr id="97" name="Straight Arrow Connector 96">
              <a:extLst>
                <a:ext uri="{FF2B5EF4-FFF2-40B4-BE49-F238E27FC236}">
                  <a16:creationId xmlns:a16="http://schemas.microsoft.com/office/drawing/2014/main" id="{5BD3B100-5115-4CEE-A546-58245750EA5F}"/>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3394843-6D7D-45E7-9F82-BA6F51DE16F9}"/>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B6EDCA11-CAA0-4C53-BFFC-1089AE4507D4}"/>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5CA60FA2-D837-4B3E-B3C6-627110E92312}"/>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1" name="Text Placeholder 5">
            <a:extLst>
              <a:ext uri="{FF2B5EF4-FFF2-40B4-BE49-F238E27FC236}">
                <a16:creationId xmlns:a16="http://schemas.microsoft.com/office/drawing/2014/main" id="{018594A2-572E-43CF-8FE6-AE8508F3C339}"/>
              </a:ext>
            </a:extLst>
          </p:cNvPr>
          <p:cNvSpPr txBox="1">
            <a:spLocks/>
          </p:cNvSpPr>
          <p:nvPr/>
        </p:nvSpPr>
        <p:spPr>
          <a:xfrm>
            <a:off x="3383328" y="1876053"/>
            <a:ext cx="3252194" cy="374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Rowgroup1 </a:t>
            </a:r>
            <a:br>
              <a:rPr kumimoji="0" lang="en-US" sz="12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Min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2147  |  M</a:t>
            </a: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ax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5395</a:t>
            </a:r>
            <a:endParaRPr kumimoji="0" lang="en-US" sz="1050" b="0" i="0" u="none" strike="noStrike" kern="1200" cap="none" spc="0" normalizeH="0" baseline="0" noProof="0" dirty="0">
              <a:ln>
                <a:noFill/>
              </a:ln>
              <a:solidFill>
                <a:srgbClr val="000000"/>
              </a:solidFill>
              <a:effectLst/>
              <a:uLnTx/>
              <a:uFillTx/>
              <a:latin typeface="Segoe UI Semibold"/>
              <a:ea typeface="+mn-ea"/>
              <a:cs typeface="+mn-cs"/>
            </a:endParaRPr>
          </a:p>
        </p:txBody>
      </p:sp>
      <p:graphicFrame>
        <p:nvGraphicFramePr>
          <p:cNvPr id="102" name="Table 101">
            <a:extLst>
              <a:ext uri="{FF2B5EF4-FFF2-40B4-BE49-F238E27FC236}">
                <a16:creationId xmlns:a16="http://schemas.microsoft.com/office/drawing/2014/main" id="{E4C7CC43-D228-4DAD-BE6B-4E4EA360ACFD}"/>
              </a:ext>
            </a:extLst>
          </p:cNvPr>
          <p:cNvGraphicFramePr>
            <a:graphicFrameLocks noGrp="1"/>
          </p:cNvGraphicFramePr>
          <p:nvPr/>
        </p:nvGraphicFramePr>
        <p:xfrm>
          <a:off x="3397581" y="4345049"/>
          <a:ext cx="3072131" cy="90222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gridCol w="616149">
                  <a:extLst>
                    <a:ext uri="{9D8B030D-6E8A-4147-A177-3AD203B41FA5}">
                      <a16:colId xmlns:a16="http://schemas.microsoft.com/office/drawing/2014/main" val="3068263925"/>
                    </a:ext>
                  </a:extLst>
                </a:gridCol>
                <a:gridCol w="761784">
                  <a:extLst>
                    <a:ext uri="{9D8B030D-6E8A-4147-A177-3AD203B41FA5}">
                      <a16:colId xmlns:a16="http://schemas.microsoft.com/office/drawing/2014/main" val="40476078"/>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137</a:t>
                      </a: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1-3-2018</a:t>
                      </a:r>
                    </a:p>
                  </a:txBody>
                  <a:tcPr marL="54478" marR="54478" marT="27239" marB="27239"/>
                </a:tc>
                <a:tc>
                  <a:txBody>
                    <a:bodyPr/>
                    <a:lstStyle/>
                    <a:p>
                      <a:r>
                        <a:rPr lang="en-US" sz="800" dirty="0"/>
                        <a:t>T</a:t>
                      </a:r>
                    </a:p>
                  </a:txBody>
                  <a:tcPr marL="54478" marR="54478" marT="27239" marB="27239"/>
                </a:tc>
                <a:tc>
                  <a:txBody>
                    <a:bodyPr/>
                    <a:lstStyle/>
                    <a:p>
                      <a:r>
                        <a:rPr lang="en-US" sz="8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310</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D</a:t>
                      </a:r>
                    </a:p>
                  </a:txBody>
                  <a:tcPr marL="54478" marR="54478" marT="27239" marB="27239"/>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799</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R</a:t>
                      </a:r>
                    </a:p>
                  </a:txBody>
                  <a:tcPr marL="54478" marR="54478" marT="27239" marB="27239"/>
                </a:tc>
                <a:tc>
                  <a:txBody>
                    <a:bodyPr/>
                    <a:lstStyle/>
                    <a:p>
                      <a:r>
                        <a:rPr lang="en-US" sz="8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91677">
                <a:tc>
                  <a:txBody>
                    <a:bodyPr/>
                    <a:lstStyle/>
                    <a:p>
                      <a:pPr marL="0" algn="l" defTabSz="914192" rtl="0" eaLnBrk="1" fontAlgn="b" latinLnBrk="0" hangingPunct="1"/>
                      <a:r>
                        <a:rPr lang="en-US" sz="800" kern="1200" dirty="0">
                          <a:solidFill>
                            <a:schemeClr val="dk1"/>
                          </a:solidFill>
                          <a:latin typeface="+mn-lt"/>
                          <a:ea typeface="+mn-ea"/>
                          <a:cs typeface="+mn-cs"/>
                        </a:rPr>
                        <a:t>98979</a:t>
                      </a: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Z</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40898676"/>
                  </a:ext>
                </a:extLst>
              </a:tr>
            </a:tbl>
          </a:graphicData>
        </a:graphic>
      </p:graphicFrame>
      <p:sp>
        <p:nvSpPr>
          <p:cNvPr id="103" name="Text Placeholder 5">
            <a:extLst>
              <a:ext uri="{FF2B5EF4-FFF2-40B4-BE49-F238E27FC236}">
                <a16:creationId xmlns:a16="http://schemas.microsoft.com/office/drawing/2014/main" id="{1C844CF7-9F94-4AF9-9A01-D73CD0F406AA}"/>
              </a:ext>
            </a:extLst>
          </p:cNvPr>
          <p:cNvSpPr txBox="1">
            <a:spLocks/>
          </p:cNvSpPr>
          <p:nvPr/>
        </p:nvSpPr>
        <p:spPr>
          <a:xfrm>
            <a:off x="3397238" y="4145577"/>
            <a:ext cx="1194639" cy="187167"/>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elta Rowstore </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ABB5047B-185D-4C36-B7FB-313C044DA32D}"/>
              </a:ext>
            </a:extLst>
          </p:cNvPr>
          <p:cNvSpPr/>
          <p:nvPr/>
        </p:nvSpPr>
        <p:spPr bwMode="auto">
          <a:xfrm>
            <a:off x="0" y="-2160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zure Synapse Analytics &gt; Dedicated SQL pool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Performance Optimizations</a:t>
            </a:r>
          </a:p>
        </p:txBody>
      </p:sp>
      <p:sp>
        <p:nvSpPr>
          <p:cNvPr id="90" name="Title 4">
            <a:extLst>
              <a:ext uri="{FF2B5EF4-FFF2-40B4-BE49-F238E27FC236}">
                <a16:creationId xmlns:a16="http://schemas.microsoft.com/office/drawing/2014/main" id="{B17E7898-D75C-4CD2-97F0-3290FDA47CB1}"/>
              </a:ext>
            </a:extLst>
          </p:cNvPr>
          <p:cNvSpPr>
            <a:spLocks noGrp="1"/>
          </p:cNvSpPr>
          <p:nvPr>
            <p:ph type="title"/>
          </p:nvPr>
        </p:nvSpPr>
        <p:spPr>
          <a:xfrm>
            <a:off x="426424" y="106641"/>
            <a:ext cx="7903108" cy="739343"/>
          </a:xfrm>
        </p:spPr>
        <p:txBody>
          <a:bodyPr/>
          <a:lstStyle/>
          <a:p>
            <a:r>
              <a:rPr lang="en-US" dirty="0"/>
              <a:t>Synapse SQL (provisioned) Columnstore Tables </a:t>
            </a:r>
          </a:p>
        </p:txBody>
      </p:sp>
      <p:cxnSp>
        <p:nvCxnSpPr>
          <p:cNvPr id="10" name="Straight Connector 9">
            <a:extLst>
              <a:ext uri="{FF2B5EF4-FFF2-40B4-BE49-F238E27FC236}">
                <a16:creationId xmlns:a16="http://schemas.microsoft.com/office/drawing/2014/main" id="{1C1F37AA-5E77-4268-840B-AD031004CE75}"/>
              </a:ext>
            </a:extLst>
          </p:cNvPr>
          <p:cNvCxnSpPr>
            <a:cxnSpLocks/>
          </p:cNvCxnSpPr>
          <p:nvPr/>
        </p:nvCxnSpPr>
        <p:spPr>
          <a:xfrm>
            <a:off x="3094824" y="1055096"/>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Text Placeholder 5">
            <a:extLst>
              <a:ext uri="{FF2B5EF4-FFF2-40B4-BE49-F238E27FC236}">
                <a16:creationId xmlns:a16="http://schemas.microsoft.com/office/drawing/2014/main" id="{1AA0C365-16BA-439C-8E6F-99B738DA8A20}"/>
              </a:ext>
            </a:extLst>
          </p:cNvPr>
          <p:cNvSpPr txBox="1">
            <a:spLocks/>
          </p:cNvSpPr>
          <p:nvPr/>
        </p:nvSpPr>
        <p:spPr>
          <a:xfrm>
            <a:off x="3271722" y="1079100"/>
            <a:ext cx="3303832"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 column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07" name="Text Placeholder 5">
            <a:extLst>
              <a:ext uri="{FF2B5EF4-FFF2-40B4-BE49-F238E27FC236}">
                <a16:creationId xmlns:a16="http://schemas.microsoft.com/office/drawing/2014/main" id="{091298A3-71C4-4DD0-AD7B-9C03D10F7EB3}"/>
              </a:ext>
            </a:extLst>
          </p:cNvPr>
          <p:cNvSpPr txBox="1">
            <a:spLocks/>
          </p:cNvSpPr>
          <p:nvPr/>
        </p:nvSpPr>
        <p:spPr>
          <a:xfrm>
            <a:off x="6927031" y="2984996"/>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2" name="Straight Connector 111">
            <a:extLst>
              <a:ext uri="{FF2B5EF4-FFF2-40B4-BE49-F238E27FC236}">
                <a16:creationId xmlns:a16="http://schemas.microsoft.com/office/drawing/2014/main" id="{50D09001-D443-4C7A-88A6-954ACCAF57F8}"/>
              </a:ext>
            </a:extLst>
          </p:cNvPr>
          <p:cNvCxnSpPr>
            <a:cxnSpLocks/>
          </p:cNvCxnSpPr>
          <p:nvPr/>
        </p:nvCxnSpPr>
        <p:spPr>
          <a:xfrm>
            <a:off x="7234016" y="1055096"/>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2" name="Text Placeholder 5">
            <a:extLst>
              <a:ext uri="{FF2B5EF4-FFF2-40B4-BE49-F238E27FC236}">
                <a16:creationId xmlns:a16="http://schemas.microsoft.com/office/drawing/2014/main" id="{AD6012E5-F21F-42B7-8C20-55AA4A0578A1}"/>
              </a:ext>
            </a:extLst>
          </p:cNvPr>
          <p:cNvSpPr txBox="1">
            <a:spLocks/>
          </p:cNvSpPr>
          <p:nvPr/>
        </p:nvSpPr>
        <p:spPr>
          <a:xfrm>
            <a:off x="3155687" y="5458560"/>
            <a:ext cx="4019964" cy="1356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stored in compressed columnstore segments after being sliced into groups of rows (rowgroups/micro-partitions) for maximum compression</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ows are stored in the delta rowstore until the number of rows is large enough to be compressed into a columnstore</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Text Placeholder 5">
            <a:extLst>
              <a:ext uri="{FF2B5EF4-FFF2-40B4-BE49-F238E27FC236}">
                <a16:creationId xmlns:a16="http://schemas.microsoft.com/office/drawing/2014/main" id="{E9E7A243-76C8-4D10-88EF-1A02E96163AD}"/>
              </a:ext>
            </a:extLst>
          </p:cNvPr>
          <p:cNvSpPr txBox="1">
            <a:spLocks/>
          </p:cNvSpPr>
          <p:nvPr/>
        </p:nvSpPr>
        <p:spPr>
          <a:xfrm>
            <a:off x="7451012" y="1096576"/>
            <a:ext cx="3975388"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Non-clustered row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35" name="Text Placeholder 5">
            <a:extLst>
              <a:ext uri="{FF2B5EF4-FFF2-40B4-BE49-F238E27FC236}">
                <a16:creationId xmlns:a16="http://schemas.microsoft.com/office/drawing/2014/main" id="{85755ABA-F415-4E3A-8C56-FE4762C7F4BF}"/>
              </a:ext>
            </a:extLst>
          </p:cNvPr>
          <p:cNvSpPr txBox="1">
            <a:spLocks/>
          </p:cNvSpPr>
          <p:nvPr/>
        </p:nvSpPr>
        <p:spPr>
          <a:xfrm>
            <a:off x="7312387" y="5083251"/>
            <a:ext cx="4114013" cy="1713739"/>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is stored in a B-tree index structure for performant lookup queries for particular rows.</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lustered rowstore index: The leaf nodes in the structure store the data values in a row (as pictured above)</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Non-clustered (secondary) rowstore index:  The leaf nodes store pointers to the data values, not the values themselves</a:t>
            </a:r>
          </a:p>
        </p:txBody>
      </p:sp>
      <p:sp>
        <p:nvSpPr>
          <p:cNvPr id="53" name="Text Placeholder 5">
            <a:extLst>
              <a:ext uri="{FF2B5EF4-FFF2-40B4-BE49-F238E27FC236}">
                <a16:creationId xmlns:a16="http://schemas.microsoft.com/office/drawing/2014/main" id="{57ABE3CD-C0EA-442C-AF84-7A949B24F427}"/>
              </a:ext>
            </a:extLst>
          </p:cNvPr>
          <p:cNvSpPr txBox="1">
            <a:spLocks/>
          </p:cNvSpPr>
          <p:nvPr/>
        </p:nvSpPr>
        <p:spPr>
          <a:xfrm>
            <a:off x="4663405" y="3801520"/>
            <a:ext cx="272965" cy="514756"/>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3300" b="0" i="0" u="none" strike="noStrike" kern="1200" cap="none" spc="0" normalizeH="0" baseline="0" noProof="0" dirty="0">
                <a:ln>
                  <a:noFill/>
                </a:ln>
                <a:solidFill>
                  <a:srgbClr val="000000"/>
                </a:solidFill>
                <a:effectLst/>
                <a:uLnTx/>
                <a:uFillTx/>
                <a:latin typeface="Segoe UI Semibold"/>
                <a:ea typeface="+mn-ea"/>
                <a:cs typeface="+mn-cs"/>
              </a:rPr>
              <a:t>+</a:t>
            </a:r>
          </a:p>
        </p:txBody>
      </p:sp>
      <p:graphicFrame>
        <p:nvGraphicFramePr>
          <p:cNvPr id="54" name="Table 53">
            <a:extLst>
              <a:ext uri="{FF2B5EF4-FFF2-40B4-BE49-F238E27FC236}">
                <a16:creationId xmlns:a16="http://schemas.microsoft.com/office/drawing/2014/main" id="{07F4BC5A-BA79-484D-8866-E62D27544CB5}"/>
              </a:ext>
            </a:extLst>
          </p:cNvPr>
          <p:cNvGraphicFramePr>
            <a:graphicFrameLocks noGrp="1"/>
          </p:cNvGraphicFramePr>
          <p:nvPr/>
        </p:nvGraphicFramePr>
        <p:xfrm>
          <a:off x="8255829" y="1693322"/>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1</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2</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5" name="Table 54">
            <a:extLst>
              <a:ext uri="{FF2B5EF4-FFF2-40B4-BE49-F238E27FC236}">
                <a16:creationId xmlns:a16="http://schemas.microsoft.com/office/drawing/2014/main" id="{BC8C929C-716A-4B92-B5FA-8460D0DD188B}"/>
              </a:ext>
            </a:extLst>
          </p:cNvPr>
          <p:cNvGraphicFramePr>
            <a:graphicFrameLocks noGrp="1"/>
          </p:cNvGraphicFramePr>
          <p:nvPr/>
        </p:nvGraphicFramePr>
        <p:xfrm>
          <a:off x="7339046" y="2694249"/>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5</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6</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6" name="Table 55">
            <a:extLst>
              <a:ext uri="{FF2B5EF4-FFF2-40B4-BE49-F238E27FC236}">
                <a16:creationId xmlns:a16="http://schemas.microsoft.com/office/drawing/2014/main" id="{7C30944A-A412-4F5C-B1FE-3276971AF5C5}"/>
              </a:ext>
            </a:extLst>
          </p:cNvPr>
          <p:cNvGraphicFramePr>
            <a:graphicFrameLocks noGrp="1"/>
          </p:cNvGraphicFramePr>
          <p:nvPr/>
        </p:nvGraphicFramePr>
        <p:xfrm>
          <a:off x="9710556" y="2689984"/>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7</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979</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7" name="Table 56">
            <a:extLst>
              <a:ext uri="{FF2B5EF4-FFF2-40B4-BE49-F238E27FC236}">
                <a16:creationId xmlns:a16="http://schemas.microsoft.com/office/drawing/2014/main" id="{727E6AF6-7C8A-4704-A7FC-0B6D80EAC8AA}"/>
              </a:ext>
            </a:extLst>
          </p:cNvPr>
          <p:cNvGraphicFramePr>
            <a:graphicFrameLocks noGrp="1"/>
          </p:cNvGraphicFramePr>
          <p:nvPr/>
        </p:nvGraphicFramePr>
        <p:xfrm>
          <a:off x="7339046" y="3538240"/>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59" name="Table 58">
            <a:extLst>
              <a:ext uri="{FF2B5EF4-FFF2-40B4-BE49-F238E27FC236}">
                <a16:creationId xmlns:a16="http://schemas.microsoft.com/office/drawing/2014/main" id="{C4AA2735-7470-4789-84A7-F76A77A43A58}"/>
              </a:ext>
            </a:extLst>
          </p:cNvPr>
          <p:cNvGraphicFramePr>
            <a:graphicFrameLocks noGrp="1"/>
          </p:cNvGraphicFramePr>
          <p:nvPr/>
        </p:nvGraphicFramePr>
        <p:xfrm>
          <a:off x="9827512" y="3545030"/>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cxnSp>
        <p:nvCxnSpPr>
          <p:cNvPr id="3" name="Straight Connector 2">
            <a:extLst>
              <a:ext uri="{FF2B5EF4-FFF2-40B4-BE49-F238E27FC236}">
                <a16:creationId xmlns:a16="http://schemas.microsoft.com/office/drawing/2014/main" id="{A9A316A7-74F6-4727-9A4E-88CFD131495C}"/>
              </a:ext>
            </a:extLst>
          </p:cNvPr>
          <p:cNvCxnSpPr>
            <a:cxnSpLocks/>
          </p:cNvCxnSpPr>
          <p:nvPr/>
        </p:nvCxnSpPr>
        <p:spPr>
          <a:xfrm flipH="1">
            <a:off x="8398018" y="2328921"/>
            <a:ext cx="249182" cy="30741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2AB102E-1500-4BE0-A3D7-8D6401C98A48}"/>
              </a:ext>
            </a:extLst>
          </p:cNvPr>
          <p:cNvCxnSpPr>
            <a:cxnSpLocks/>
          </p:cNvCxnSpPr>
          <p:nvPr/>
        </p:nvCxnSpPr>
        <p:spPr>
          <a:xfrm>
            <a:off x="9536684" y="2312917"/>
            <a:ext cx="254558" cy="28790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303AEE5-4196-4E8F-8E13-44094D7C88D1}"/>
              </a:ext>
            </a:extLst>
          </p:cNvPr>
          <p:cNvCxnSpPr>
            <a:cxnSpLocks/>
          </p:cNvCxnSpPr>
          <p:nvPr/>
        </p:nvCxnSpPr>
        <p:spPr>
          <a:xfrm flipH="1">
            <a:off x="7838681" y="3263346"/>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A4B68E0-B628-4505-BE67-CF509A8C5D89}"/>
              </a:ext>
            </a:extLst>
          </p:cNvPr>
          <p:cNvCxnSpPr>
            <a:cxnSpLocks/>
          </p:cNvCxnSpPr>
          <p:nvPr/>
        </p:nvCxnSpPr>
        <p:spPr>
          <a:xfrm>
            <a:off x="8329535" y="3264007"/>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5" name="Text Placeholder 5">
            <a:extLst>
              <a:ext uri="{FF2B5EF4-FFF2-40B4-BE49-F238E27FC236}">
                <a16:creationId xmlns:a16="http://schemas.microsoft.com/office/drawing/2014/main" id="{FAA71C64-FA68-4099-AB15-8DACE5E16401}"/>
              </a:ext>
            </a:extLst>
          </p:cNvPr>
          <p:cNvSpPr txBox="1">
            <a:spLocks/>
          </p:cNvSpPr>
          <p:nvPr/>
        </p:nvSpPr>
        <p:spPr>
          <a:xfrm>
            <a:off x="8575693" y="3205594"/>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86" name="Straight Connector 85">
            <a:extLst>
              <a:ext uri="{FF2B5EF4-FFF2-40B4-BE49-F238E27FC236}">
                <a16:creationId xmlns:a16="http://schemas.microsoft.com/office/drawing/2014/main" id="{13091875-F2F1-4CC4-BC53-D39340C4A77C}"/>
              </a:ext>
            </a:extLst>
          </p:cNvPr>
          <p:cNvCxnSpPr>
            <a:cxnSpLocks/>
            <a:stCxn id="55" idx="2"/>
          </p:cNvCxnSpPr>
          <p:nvPr/>
        </p:nvCxnSpPr>
        <p:spPr>
          <a:xfrm flipH="1">
            <a:off x="8148079" y="3242011"/>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0F5D18C-4215-43F2-9431-F58A585D5E30}"/>
              </a:ext>
            </a:extLst>
          </p:cNvPr>
          <p:cNvCxnSpPr>
            <a:cxnSpLocks/>
          </p:cNvCxnSpPr>
          <p:nvPr/>
        </p:nvCxnSpPr>
        <p:spPr>
          <a:xfrm flipH="1">
            <a:off x="10359322" y="3257704"/>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D612F57-24E0-46FD-AE2B-EDD0F301E669}"/>
              </a:ext>
            </a:extLst>
          </p:cNvPr>
          <p:cNvCxnSpPr>
            <a:cxnSpLocks/>
          </p:cNvCxnSpPr>
          <p:nvPr/>
        </p:nvCxnSpPr>
        <p:spPr>
          <a:xfrm>
            <a:off x="10850176" y="3258365"/>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Text Placeholder 5">
            <a:extLst>
              <a:ext uri="{FF2B5EF4-FFF2-40B4-BE49-F238E27FC236}">
                <a16:creationId xmlns:a16="http://schemas.microsoft.com/office/drawing/2014/main" id="{C46C9EE0-A081-4F91-85D9-A7862AD72173}"/>
              </a:ext>
            </a:extLst>
          </p:cNvPr>
          <p:cNvSpPr txBox="1">
            <a:spLocks/>
          </p:cNvSpPr>
          <p:nvPr/>
        </p:nvSpPr>
        <p:spPr>
          <a:xfrm>
            <a:off x="11069349" y="3187956"/>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4" name="Straight Connector 113">
            <a:extLst>
              <a:ext uri="{FF2B5EF4-FFF2-40B4-BE49-F238E27FC236}">
                <a16:creationId xmlns:a16="http://schemas.microsoft.com/office/drawing/2014/main" id="{D13F67CE-E58C-4EB2-B76D-74733FF22A92}"/>
              </a:ext>
            </a:extLst>
          </p:cNvPr>
          <p:cNvCxnSpPr>
            <a:cxnSpLocks/>
          </p:cNvCxnSpPr>
          <p:nvPr/>
        </p:nvCxnSpPr>
        <p:spPr>
          <a:xfrm flipH="1">
            <a:off x="10668720" y="3236369"/>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79442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Data Ingestion</a:t>
            </a:r>
          </a:p>
        </p:txBody>
      </p:sp>
      <p:pic>
        <p:nvPicPr>
          <p:cNvPr id="3" name="Graphic 2">
            <a:extLst>
              <a:ext uri="{FF2B5EF4-FFF2-40B4-BE49-F238E27FC236}">
                <a16:creationId xmlns:a16="http://schemas.microsoft.com/office/drawing/2014/main" id="{3F017AFE-367F-40EC-92BF-DEB4B21EBF6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8151" y="2500028"/>
            <a:ext cx="2103120" cy="2103120"/>
          </a:xfrm>
          <a:prstGeom prst="rect">
            <a:avLst/>
          </a:prstGeom>
        </p:spPr>
      </p:pic>
    </p:spTree>
    <p:extLst>
      <p:ext uri="{BB962C8B-B14F-4D97-AF65-F5344CB8AC3E}">
        <p14:creationId xmlns:p14="http://schemas.microsoft.com/office/powerpoint/2010/main" val="1973753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7BDB1F7-A08A-49DF-8269-753F47A1FF83}"/>
              </a:ext>
            </a:extLst>
          </p:cNvPr>
          <p:cNvPicPr>
            <a:picLocks noChangeAspect="1"/>
          </p:cNvPicPr>
          <p:nvPr/>
        </p:nvPicPr>
        <p:blipFill>
          <a:blip r:embed="rId3"/>
          <a:stretch>
            <a:fillRect/>
          </a:stretch>
        </p:blipFill>
        <p:spPr>
          <a:xfrm>
            <a:off x="4257213" y="2287778"/>
            <a:ext cx="7508794" cy="4207125"/>
          </a:xfrm>
          <a:prstGeom prst="rect">
            <a:avLst/>
          </a:prstGeom>
          <a:ln>
            <a:solidFill>
              <a:schemeClr val="tx1"/>
            </a:solidFill>
          </a:ln>
        </p:spPr>
      </p:pic>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Integrate Hub </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5" y="1203188"/>
            <a:ext cx="9202767" cy="877539"/>
          </a:xfrm>
        </p:spPr>
        <p:txBody>
          <a:bodyPr/>
          <a:lstStyle/>
          <a:p>
            <a:pPr>
              <a:lnSpc>
                <a:spcPct val="150000"/>
              </a:lnSpc>
              <a:spcAft>
                <a:spcPts val="600"/>
              </a:spcAft>
            </a:pPr>
            <a:r>
              <a:rPr lang="en-US" sz="1600" dirty="0"/>
              <a:t>It provides ability to create pipelines to ingest, transform and load data with 90+ inbuilt connectors.</a:t>
            </a:r>
          </a:p>
          <a:p>
            <a:pPr>
              <a:lnSpc>
                <a:spcPct val="150000"/>
              </a:lnSpc>
              <a:spcAft>
                <a:spcPts val="600"/>
              </a:spcAft>
            </a:pPr>
            <a:r>
              <a:rPr lang="en-US" sz="1600" dirty="0"/>
              <a:t>Offers a wide range of activities that a pipeline can perform.</a:t>
            </a:r>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Integrate</a:t>
            </a:r>
          </a:p>
        </p:txBody>
      </p:sp>
      <p:sp>
        <p:nvSpPr>
          <p:cNvPr id="2" name="Rectangle 1">
            <a:extLst>
              <a:ext uri="{FF2B5EF4-FFF2-40B4-BE49-F238E27FC236}">
                <a16:creationId xmlns:a16="http://schemas.microsoft.com/office/drawing/2014/main" id="{CFE22879-9AC8-4567-8A1B-AD6D808E6910}"/>
              </a:ext>
            </a:extLst>
          </p:cNvPr>
          <p:cNvSpPr/>
          <p:nvPr/>
        </p:nvSpPr>
        <p:spPr bwMode="auto">
          <a:xfrm>
            <a:off x="6425682" y="3276600"/>
            <a:ext cx="1457553" cy="2729345"/>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Arrow Connector 6">
            <a:extLst>
              <a:ext uri="{FF2B5EF4-FFF2-40B4-BE49-F238E27FC236}">
                <a16:creationId xmlns:a16="http://schemas.microsoft.com/office/drawing/2014/main" id="{19A9B8B3-598A-4D56-98BB-7C28D62E3E40}"/>
              </a:ext>
            </a:extLst>
          </p:cNvPr>
          <p:cNvCxnSpPr>
            <a:cxnSpLocks/>
            <a:endCxn id="10" idx="3"/>
          </p:cNvCxnSpPr>
          <p:nvPr/>
        </p:nvCxnSpPr>
        <p:spPr>
          <a:xfrm flipH="1">
            <a:off x="2686309" y="3695104"/>
            <a:ext cx="3834412" cy="68154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A676D8E-EEF6-4824-8AFC-B40821E9D510}"/>
              </a:ext>
            </a:extLst>
          </p:cNvPr>
          <p:cNvCxnSpPr>
            <a:cxnSpLocks/>
            <a:endCxn id="6" idx="3"/>
          </p:cNvCxnSpPr>
          <p:nvPr/>
        </p:nvCxnSpPr>
        <p:spPr>
          <a:xfrm flipH="1" flipV="1">
            <a:off x="2686309" y="5585471"/>
            <a:ext cx="3834412" cy="24729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562EAE9-02D0-4E8B-9E36-BDDE9DE61016}"/>
              </a:ext>
            </a:extLst>
          </p:cNvPr>
          <p:cNvCxnSpPr>
            <a:cxnSpLocks/>
            <a:endCxn id="16" idx="3"/>
          </p:cNvCxnSpPr>
          <p:nvPr/>
        </p:nvCxnSpPr>
        <p:spPr>
          <a:xfrm flipH="1" flipV="1">
            <a:off x="2674612" y="3094856"/>
            <a:ext cx="3846109" cy="334144"/>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B060380-E9BE-4B47-A1F8-1C1491AB06D6}"/>
              </a:ext>
            </a:extLst>
          </p:cNvPr>
          <p:cNvPicPr>
            <a:picLocks noChangeAspect="1"/>
          </p:cNvPicPr>
          <p:nvPr/>
        </p:nvPicPr>
        <p:blipFill>
          <a:blip r:embed="rId4"/>
          <a:stretch>
            <a:fillRect/>
          </a:stretch>
        </p:blipFill>
        <p:spPr>
          <a:xfrm>
            <a:off x="1109556" y="4998003"/>
            <a:ext cx="1576753" cy="1174935"/>
          </a:xfrm>
          <a:prstGeom prst="rect">
            <a:avLst/>
          </a:prstGeom>
          <a:ln>
            <a:solidFill>
              <a:schemeClr val="bg2">
                <a:lumMod val="50000"/>
              </a:schemeClr>
            </a:solidFill>
          </a:ln>
        </p:spPr>
      </p:pic>
      <p:pic>
        <p:nvPicPr>
          <p:cNvPr id="10" name="Picture 9">
            <a:extLst>
              <a:ext uri="{FF2B5EF4-FFF2-40B4-BE49-F238E27FC236}">
                <a16:creationId xmlns:a16="http://schemas.microsoft.com/office/drawing/2014/main" id="{7245AEC6-D6AE-47D1-8EA5-D6C60E9B3E6A}"/>
              </a:ext>
            </a:extLst>
          </p:cNvPr>
          <p:cNvPicPr>
            <a:picLocks noChangeAspect="1"/>
          </p:cNvPicPr>
          <p:nvPr/>
        </p:nvPicPr>
        <p:blipFill>
          <a:blip r:embed="rId5"/>
          <a:stretch>
            <a:fillRect/>
          </a:stretch>
        </p:blipFill>
        <p:spPr>
          <a:xfrm>
            <a:off x="1109556" y="3931594"/>
            <a:ext cx="1576753" cy="890102"/>
          </a:xfrm>
          <a:prstGeom prst="rect">
            <a:avLst/>
          </a:prstGeom>
          <a:ln>
            <a:solidFill>
              <a:schemeClr val="bg2">
                <a:lumMod val="50000"/>
              </a:schemeClr>
            </a:solidFill>
          </a:ln>
        </p:spPr>
      </p:pic>
      <p:pic>
        <p:nvPicPr>
          <p:cNvPr id="16" name="Picture 15">
            <a:extLst>
              <a:ext uri="{FF2B5EF4-FFF2-40B4-BE49-F238E27FC236}">
                <a16:creationId xmlns:a16="http://schemas.microsoft.com/office/drawing/2014/main" id="{4329AD13-76B4-474E-97B2-6981F3AB6556}"/>
              </a:ext>
            </a:extLst>
          </p:cNvPr>
          <p:cNvPicPr>
            <a:picLocks noChangeAspect="1"/>
          </p:cNvPicPr>
          <p:nvPr/>
        </p:nvPicPr>
        <p:blipFill>
          <a:blip r:embed="rId6"/>
          <a:stretch>
            <a:fillRect/>
          </a:stretch>
        </p:blipFill>
        <p:spPr>
          <a:xfrm>
            <a:off x="1109556" y="2463207"/>
            <a:ext cx="1565056" cy="1263297"/>
          </a:xfrm>
          <a:prstGeom prst="rect">
            <a:avLst/>
          </a:prstGeom>
          <a:ln>
            <a:solidFill>
              <a:schemeClr val="bg2">
                <a:lumMod val="50000"/>
              </a:schemeClr>
            </a:solidFill>
          </a:ln>
        </p:spPr>
      </p:pic>
    </p:spTree>
    <p:extLst>
      <p:ext uri="{BB962C8B-B14F-4D97-AF65-F5344CB8AC3E}">
        <p14:creationId xmlns:p14="http://schemas.microsoft.com/office/powerpoint/2010/main" val="314840490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3A64FF-354D-4FD0-9311-AF311772ADC7}"/>
              </a:ext>
            </a:extLst>
          </p:cNvPr>
          <p:cNvSpPr>
            <a:spLocks noGrp="1"/>
          </p:cNvSpPr>
          <p:nvPr>
            <p:ph type="title"/>
          </p:nvPr>
        </p:nvSpPr>
        <p:spPr>
          <a:xfrm>
            <a:off x="426426" y="187947"/>
            <a:ext cx="5555966" cy="758022"/>
          </a:xfrm>
        </p:spPr>
        <p:txBody>
          <a:bodyPr/>
          <a:lstStyle/>
          <a:p>
            <a:r>
              <a:rPr lang="en-US" dirty="0"/>
              <a:t>Pipelines</a:t>
            </a:r>
          </a:p>
        </p:txBody>
      </p:sp>
      <p:sp>
        <p:nvSpPr>
          <p:cNvPr id="4" name="Text Placeholder 3">
            <a:extLst>
              <a:ext uri="{FF2B5EF4-FFF2-40B4-BE49-F238E27FC236}">
                <a16:creationId xmlns:a16="http://schemas.microsoft.com/office/drawing/2014/main" id="{1F2DF2B0-CC2A-48E3-8A5B-44EBBCEFF0AD}"/>
              </a:ext>
            </a:extLst>
          </p:cNvPr>
          <p:cNvSpPr>
            <a:spLocks noGrp="1"/>
          </p:cNvSpPr>
          <p:nvPr>
            <p:ph type="body" sz="quarter" idx="11"/>
          </p:nvPr>
        </p:nvSpPr>
        <p:spPr>
          <a:xfrm>
            <a:off x="426425" y="1129914"/>
            <a:ext cx="4259876" cy="5270886"/>
          </a:xfrm>
        </p:spPr>
        <p:txBody>
          <a:bodyPr/>
          <a:lstStyle/>
          <a:p>
            <a:r>
              <a:rPr lang="en-US" sz="1800" b="1" dirty="0">
                <a:solidFill>
                  <a:schemeClr val="tx2"/>
                </a:solidFill>
                <a:latin typeface="+mj-lt"/>
              </a:rPr>
              <a:t>Overview</a:t>
            </a:r>
          </a:p>
          <a:p>
            <a:pPr>
              <a:lnSpc>
                <a:spcPct val="150000"/>
              </a:lnSpc>
            </a:pPr>
            <a:r>
              <a:rPr lang="en-US" sz="1600" dirty="0">
                <a:solidFill>
                  <a:schemeClr val="tx1"/>
                </a:solidFill>
                <a:cs typeface="Segoe UI" panose="020B0502040204020203" pitchFamily="34" charset="0"/>
              </a:rPr>
              <a:t>It provides ability to load data from storage account to desired linked service. Load data by manual execution of pipeline or by orchestration</a:t>
            </a:r>
          </a:p>
          <a:p>
            <a:r>
              <a:rPr lang="en-US" sz="1800" b="1" dirty="0">
                <a:solidFill>
                  <a:schemeClr val="tx2"/>
                </a:solidFill>
                <a:latin typeface="+mj-lt"/>
              </a:rPr>
              <a:t>Benefits</a:t>
            </a:r>
          </a:p>
          <a:p>
            <a:pPr>
              <a:lnSpc>
                <a:spcPct val="100000"/>
              </a:lnSpc>
            </a:pPr>
            <a:r>
              <a:rPr lang="en-US" sz="1600" dirty="0">
                <a:solidFill>
                  <a:schemeClr val="tx1"/>
                </a:solidFill>
                <a:cs typeface="Segoe UI" panose="020B0502040204020203" pitchFamily="34" charset="0"/>
              </a:rPr>
              <a:t>Supports common loading patterns</a:t>
            </a:r>
          </a:p>
          <a:p>
            <a:pPr>
              <a:lnSpc>
                <a:spcPct val="100000"/>
              </a:lnSpc>
            </a:pPr>
            <a:r>
              <a:rPr lang="en-US" sz="1600" dirty="0">
                <a:solidFill>
                  <a:schemeClr val="tx1"/>
                </a:solidFill>
                <a:cs typeface="Segoe UI" panose="020B0502040204020203" pitchFamily="34" charset="0"/>
              </a:rPr>
              <a:t>Fully parallel loading into data lake or SQL tables </a:t>
            </a:r>
          </a:p>
          <a:p>
            <a:pPr>
              <a:lnSpc>
                <a:spcPct val="100000"/>
              </a:lnSpc>
            </a:pPr>
            <a:r>
              <a:rPr lang="en-US" sz="1600" dirty="0">
                <a:solidFill>
                  <a:schemeClr val="tx1"/>
                </a:solidFill>
                <a:cs typeface="Segoe UI" panose="020B0502040204020203" pitchFamily="34" charset="0"/>
              </a:rPr>
              <a:t>Graphical development experience</a:t>
            </a:r>
          </a:p>
          <a:p>
            <a:pPr>
              <a:lnSpc>
                <a:spcPct val="150000"/>
              </a:lnSpc>
            </a:pPr>
            <a:endParaRPr lang="en-US" sz="1600" dirty="0">
              <a:solidFill>
                <a:schemeClr val="tx1"/>
              </a:solidFill>
              <a:cs typeface="Segoe UI" panose="020B0502040204020203" pitchFamily="34" charset="0"/>
            </a:endParaRPr>
          </a:p>
          <a:p>
            <a:endParaRPr lang="en-US" dirty="0"/>
          </a:p>
        </p:txBody>
      </p:sp>
      <p:sp>
        <p:nvSpPr>
          <p:cNvPr id="5" name="Rectangle 4">
            <a:extLst>
              <a:ext uri="{FF2B5EF4-FFF2-40B4-BE49-F238E27FC236}">
                <a16:creationId xmlns:a16="http://schemas.microsoft.com/office/drawing/2014/main" id="{1BCE14EA-629F-4D74-A1D2-84C71A7D6FFD}"/>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Pipelines</a:t>
            </a:r>
          </a:p>
        </p:txBody>
      </p:sp>
      <p:pic>
        <p:nvPicPr>
          <p:cNvPr id="9" name="Picture 8">
            <a:extLst>
              <a:ext uri="{FF2B5EF4-FFF2-40B4-BE49-F238E27FC236}">
                <a16:creationId xmlns:a16="http://schemas.microsoft.com/office/drawing/2014/main" id="{91912AB9-C07E-419E-BFBE-81C6E055FB6F}"/>
              </a:ext>
            </a:extLst>
          </p:cNvPr>
          <p:cNvPicPr>
            <a:picLocks noChangeAspect="1"/>
          </p:cNvPicPr>
          <p:nvPr/>
        </p:nvPicPr>
        <p:blipFill>
          <a:blip r:embed="rId3"/>
          <a:stretch>
            <a:fillRect/>
          </a:stretch>
        </p:blipFill>
        <p:spPr>
          <a:xfrm>
            <a:off x="5252534" y="853485"/>
            <a:ext cx="6291976" cy="2190097"/>
          </a:xfrm>
          <a:prstGeom prst="rect">
            <a:avLst/>
          </a:prstGeom>
          <a:ln>
            <a:solidFill>
              <a:schemeClr val="tx1"/>
            </a:solidFill>
          </a:ln>
        </p:spPr>
      </p:pic>
      <p:pic>
        <p:nvPicPr>
          <p:cNvPr id="10" name="Picture 9">
            <a:extLst>
              <a:ext uri="{FF2B5EF4-FFF2-40B4-BE49-F238E27FC236}">
                <a16:creationId xmlns:a16="http://schemas.microsoft.com/office/drawing/2014/main" id="{CC946DFE-3AEC-43A6-847C-726CE1586D00}"/>
              </a:ext>
            </a:extLst>
          </p:cNvPr>
          <p:cNvPicPr>
            <a:picLocks noChangeAspect="1"/>
          </p:cNvPicPr>
          <p:nvPr/>
        </p:nvPicPr>
        <p:blipFill>
          <a:blip r:embed="rId4"/>
          <a:stretch>
            <a:fillRect/>
          </a:stretch>
        </p:blipFill>
        <p:spPr>
          <a:xfrm>
            <a:off x="5247322" y="3081527"/>
            <a:ext cx="6297188" cy="3715732"/>
          </a:xfrm>
          <a:prstGeom prst="rect">
            <a:avLst/>
          </a:prstGeom>
          <a:ln>
            <a:solidFill>
              <a:schemeClr val="tx1"/>
            </a:solidFill>
          </a:ln>
        </p:spPr>
      </p:pic>
    </p:spTree>
    <p:extLst>
      <p:ext uri="{BB962C8B-B14F-4D97-AF65-F5344CB8AC3E}">
        <p14:creationId xmlns:p14="http://schemas.microsoft.com/office/powerpoint/2010/main" val="37239858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4E42ED1-2D64-4EC6-9EDA-EE4EABFFE30F}"/>
              </a:ext>
            </a:extLst>
          </p:cNvPr>
          <p:cNvCxnSpPr>
            <a:cxnSpLocks/>
            <a:stCxn id="17" idx="3"/>
          </p:cNvCxnSpPr>
          <p:nvPr/>
        </p:nvCxnSpPr>
        <p:spPr>
          <a:xfrm flipV="1">
            <a:off x="10108754" y="893177"/>
            <a:ext cx="572491" cy="8036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EE6EC34-BD37-4B80-A6B4-8E2F586465D8}"/>
              </a:ext>
            </a:extLst>
          </p:cNvPr>
          <p:cNvCxnSpPr>
            <a:cxnSpLocks/>
            <a:stCxn id="17" idx="3"/>
          </p:cNvCxnSpPr>
          <p:nvPr/>
        </p:nvCxnSpPr>
        <p:spPr>
          <a:xfrm>
            <a:off x="10108754" y="1696839"/>
            <a:ext cx="579515" cy="598935"/>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584A8-0BE8-4825-8E02-11CD10C5CDEF}"/>
              </a:ext>
            </a:extLst>
          </p:cNvPr>
          <p:cNvCxnSpPr>
            <a:cxnSpLocks/>
            <a:stCxn id="17" idx="3"/>
          </p:cNvCxnSpPr>
          <p:nvPr/>
        </p:nvCxnSpPr>
        <p:spPr>
          <a:xfrm flipV="1">
            <a:off x="10108754" y="1619231"/>
            <a:ext cx="572491" cy="7760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FE5CF17-B2C2-414A-AFA3-E9DC5B406C17}"/>
              </a:ext>
            </a:extLst>
          </p:cNvPr>
          <p:cNvCxnSpPr>
            <a:cxnSpLocks/>
            <a:endCxn id="17" idx="1"/>
          </p:cNvCxnSpPr>
          <p:nvPr/>
        </p:nvCxnSpPr>
        <p:spPr>
          <a:xfrm flipV="1">
            <a:off x="7933714" y="1696839"/>
            <a:ext cx="602102" cy="612424"/>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DC19C46-FC98-42BD-8D5D-BA42D0AFD789}"/>
              </a:ext>
            </a:extLst>
          </p:cNvPr>
          <p:cNvCxnSpPr>
            <a:cxnSpLocks/>
            <a:endCxn id="62" idx="1"/>
          </p:cNvCxnSpPr>
          <p:nvPr/>
        </p:nvCxnSpPr>
        <p:spPr>
          <a:xfrm>
            <a:off x="7966085" y="2299038"/>
            <a:ext cx="569731" cy="568392"/>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1F0E04F-16E1-4600-A90E-3F5593307842}"/>
              </a:ext>
            </a:extLst>
          </p:cNvPr>
          <p:cNvCxnSpPr>
            <a:cxnSpLocks/>
          </p:cNvCxnSpPr>
          <p:nvPr/>
        </p:nvCxnSpPr>
        <p:spPr>
          <a:xfrm rot="5400000" flipV="1">
            <a:off x="2533064" y="2206958"/>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F410326-FB5F-4427-80FF-32F0142A3F97}"/>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B7ACDA2B-AD5F-4036-902D-46B290779B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5226" y="3781498"/>
            <a:ext cx="3205665" cy="3205665"/>
          </a:xfrm>
          <a:prstGeom prst="rect">
            <a:avLst/>
          </a:prstGeom>
          <a:effectLst/>
        </p:spPr>
      </p:pic>
      <p:sp>
        <p:nvSpPr>
          <p:cNvPr id="13" name="Rectangle 12">
            <a:extLst>
              <a:ext uri="{FF2B5EF4-FFF2-40B4-BE49-F238E27FC236}">
                <a16:creationId xmlns:a16="http://schemas.microsoft.com/office/drawing/2014/main" id="{8D64510E-D8C5-4B30-A6A6-45A9F932AC32}"/>
              </a:ext>
            </a:extLst>
          </p:cNvPr>
          <p:cNvSpPr/>
          <p:nvPr/>
        </p:nvSpPr>
        <p:spPr bwMode="auto">
          <a:xfrm>
            <a:off x="6547978" y="4645844"/>
            <a:ext cx="1580872" cy="545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zure</a:t>
            </a:r>
          </a:p>
          <a:p>
            <a:pPr defTabSz="932472" fontAlgn="base">
              <a:spcBef>
                <a:spcPct val="0"/>
              </a:spcBef>
              <a:spcAft>
                <a:spcPct val="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14" name="TextBox 13">
            <a:extLst>
              <a:ext uri="{FF2B5EF4-FFF2-40B4-BE49-F238E27FC236}">
                <a16:creationId xmlns:a16="http://schemas.microsoft.com/office/drawing/2014/main" id="{97C1A5A2-E19D-4E22-9B47-9BF642327AB8}"/>
              </a:ext>
            </a:extLst>
          </p:cNvPr>
          <p:cNvSpPr txBox="1"/>
          <p:nvPr/>
        </p:nvSpPr>
        <p:spPr>
          <a:xfrm>
            <a:off x="6859818" y="5750480"/>
            <a:ext cx="1031678" cy="153888"/>
          </a:xfrm>
          <a:prstGeom prst="rect">
            <a:avLst/>
          </a:prstGeom>
          <a:noFill/>
        </p:spPr>
        <p:txBody>
          <a:bodyPr wrap="square" lIns="0" tIns="0" rIns="0" bIns="0" rtlCol="0">
            <a:spAutoFit/>
          </a:bodyPr>
          <a:lstStyle/>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Azure Services</a:t>
            </a:r>
          </a:p>
        </p:txBody>
      </p:sp>
      <p:cxnSp>
        <p:nvCxnSpPr>
          <p:cNvPr id="15" name="Straight Connector 14">
            <a:extLst>
              <a:ext uri="{FF2B5EF4-FFF2-40B4-BE49-F238E27FC236}">
                <a16:creationId xmlns:a16="http://schemas.microsoft.com/office/drawing/2014/main" id="{BC448D9C-AD7A-4BEB-BD2F-0A0D1D2E676F}"/>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1394C5C-3398-48D5-B25A-6B4D5E978FA3}"/>
              </a:ext>
            </a:extLst>
          </p:cNvPr>
          <p:cNvGrpSpPr/>
          <p:nvPr/>
        </p:nvGrpSpPr>
        <p:grpSpPr>
          <a:xfrm>
            <a:off x="8535816" y="1439280"/>
            <a:ext cx="1572938" cy="515118"/>
            <a:chOff x="8223680" y="4069863"/>
            <a:chExt cx="1752274" cy="515118"/>
          </a:xfrm>
        </p:grpSpPr>
        <p:sp>
          <p:nvSpPr>
            <p:cNvPr id="17" name="Rectangle 16">
              <a:extLst>
                <a:ext uri="{FF2B5EF4-FFF2-40B4-BE49-F238E27FC236}">
                  <a16:creationId xmlns:a16="http://schemas.microsoft.com/office/drawing/2014/main" id="{25832C13-10FF-4BC9-9C44-48DEE80E4BB7}"/>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18" name="Group 17">
              <a:extLst>
                <a:ext uri="{FF2B5EF4-FFF2-40B4-BE49-F238E27FC236}">
                  <a16:creationId xmlns:a16="http://schemas.microsoft.com/office/drawing/2014/main" id="{70D4E749-1CB1-4C18-A43B-61EA1A7646EB}"/>
                </a:ext>
              </a:extLst>
            </p:cNvPr>
            <p:cNvGrpSpPr/>
            <p:nvPr/>
          </p:nvGrpSpPr>
          <p:grpSpPr>
            <a:xfrm>
              <a:off x="8395993" y="4176016"/>
              <a:ext cx="1400625" cy="302811"/>
              <a:chOff x="5827333" y="4633691"/>
              <a:chExt cx="6400800" cy="1383834"/>
            </a:xfrm>
          </p:grpSpPr>
          <p:sp>
            <p:nvSpPr>
              <p:cNvPr id="19" name="Rectangle 18">
                <a:extLst>
                  <a:ext uri="{FF2B5EF4-FFF2-40B4-BE49-F238E27FC236}">
                    <a16:creationId xmlns:a16="http://schemas.microsoft.com/office/drawing/2014/main" id="{C1114A99-D1B6-4771-A3E9-D9D9173FCB3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DEB0B76E-E639-426E-B45D-2DEF354033D7}"/>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458EBC3-33B5-45D0-B657-E65D46A818F8}"/>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23EDDDD8-71C5-4FDD-8B04-589BCE8D1D96}"/>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F8B59657-C7FA-4185-9379-3B4FB85271C9}"/>
                  </a:ext>
                </a:extLst>
              </p:cNvPr>
              <p:cNvCxnSpPr>
                <a:cxnSpLocks/>
                <a:stCxn id="21"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48DCB23-DDF8-408A-B638-803DDFB423F1}"/>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2EAE9ED-7CFC-4C53-804C-DD3BFD2325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4A3270A1-5348-4536-A014-6642B05E41FF}"/>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6751339-6B31-48C3-94C2-00511B1DA0D1}"/>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8" name="Straight Connector 27">
            <a:extLst>
              <a:ext uri="{FF2B5EF4-FFF2-40B4-BE49-F238E27FC236}">
                <a16:creationId xmlns:a16="http://schemas.microsoft.com/office/drawing/2014/main" id="{5911C991-3330-49F5-8851-1D0407E48B37}"/>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95F707D-757B-4D31-A4FC-5032F67A1F80}"/>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6455D9C-9F5B-4A8C-AF41-880732305553}"/>
              </a:ext>
            </a:extLst>
          </p:cNvPr>
          <p:cNvSpPr txBox="1"/>
          <p:nvPr/>
        </p:nvSpPr>
        <p:spPr>
          <a:xfrm>
            <a:off x="10327355" y="5685908"/>
            <a:ext cx="1138186" cy="123111"/>
          </a:xfrm>
          <a:prstGeom prst="rect">
            <a:avLst/>
          </a:prstGeom>
          <a:noFill/>
        </p:spPr>
        <p:txBody>
          <a:bodyPr wrap="square" lIns="0" tIns="0" rIns="0" bIns="0" rtlCol="0">
            <a:spAutoFit/>
          </a:bodyPr>
          <a:lstStyle/>
          <a:p>
            <a:r>
              <a:rPr lang="en-US" sz="800" b="1" dirty="0">
                <a:solidFill>
                  <a:schemeClr val="bg1">
                    <a:lumMod val="50000"/>
                  </a:schemeClr>
                </a:solidFill>
                <a:latin typeface="Segoe UI Semibold" panose="020B0502040204020203" pitchFamily="34" charset="0"/>
                <a:cs typeface="Segoe UI Semibold" panose="020B0502040204020203" pitchFamily="34" charset="0"/>
              </a:rPr>
              <a:t>Command and Control</a:t>
            </a:r>
          </a:p>
        </p:txBody>
      </p:sp>
      <p:sp>
        <p:nvSpPr>
          <p:cNvPr id="31" name="TextBox 30">
            <a:extLst>
              <a:ext uri="{FF2B5EF4-FFF2-40B4-BE49-F238E27FC236}">
                <a16:creationId xmlns:a16="http://schemas.microsoft.com/office/drawing/2014/main" id="{D3C6BE7C-B581-4889-940E-EBC4318E4DEE}"/>
              </a:ext>
            </a:extLst>
          </p:cNvPr>
          <p:cNvSpPr txBox="1"/>
          <p:nvPr/>
        </p:nvSpPr>
        <p:spPr>
          <a:xfrm>
            <a:off x="9853653" y="5462338"/>
            <a:ext cx="686325" cy="123111"/>
          </a:xfrm>
          <a:prstGeom prst="rect">
            <a:avLst/>
          </a:prstGeom>
          <a:noFill/>
        </p:spPr>
        <p:txBody>
          <a:bodyPr wrap="square" lIns="0" tIns="0" rIns="0" bIns="0" rtlCol="0">
            <a:spAutoFit/>
          </a:bodyPr>
          <a:lstStyle/>
          <a:p>
            <a:r>
              <a:rPr lang="en-US" sz="800" b="1" spc="150" dirty="0">
                <a:solidFill>
                  <a:schemeClr val="bg1">
                    <a:lumMod val="50000"/>
                  </a:schemeClr>
                </a:solidFill>
                <a:latin typeface="Segoe UI Semibold" panose="020B0502040204020203" pitchFamily="34" charset="0"/>
                <a:cs typeface="Segoe UI Semibold" panose="020B0502040204020203" pitchFamily="34" charset="0"/>
              </a:rPr>
              <a:t>LEGEND</a:t>
            </a:r>
          </a:p>
        </p:txBody>
      </p:sp>
      <p:sp>
        <p:nvSpPr>
          <p:cNvPr id="32" name="TextBox 31">
            <a:extLst>
              <a:ext uri="{FF2B5EF4-FFF2-40B4-BE49-F238E27FC236}">
                <a16:creationId xmlns:a16="http://schemas.microsoft.com/office/drawing/2014/main" id="{B97E044C-4FCF-4E4F-89ED-C6150E40131E}"/>
              </a:ext>
            </a:extLst>
          </p:cNvPr>
          <p:cNvSpPr txBox="1"/>
          <p:nvPr/>
        </p:nvSpPr>
        <p:spPr>
          <a:xfrm>
            <a:off x="10338506" y="5911292"/>
            <a:ext cx="399739" cy="123111"/>
          </a:xfrm>
          <a:prstGeom prst="rect">
            <a:avLst/>
          </a:prstGeom>
          <a:noFill/>
        </p:spPr>
        <p:txBody>
          <a:bodyPr wrap="square" lIns="0" tIns="0" rIns="0" bIns="0" rtlCol="0">
            <a:spAutoFit/>
          </a:bodyPr>
          <a:lstStyle/>
          <a:p>
            <a:r>
              <a:rPr lang="en-US" sz="800" b="1" dirty="0">
                <a:solidFill>
                  <a:schemeClr val="bg1">
                    <a:lumMod val="50000"/>
                  </a:schemeClr>
                </a:solidFill>
                <a:latin typeface="Segoe UI Semibold" panose="020B0502040204020203" pitchFamily="34" charset="0"/>
                <a:cs typeface="Segoe UI Semibold" panose="020B0502040204020203" pitchFamily="34" charset="0"/>
              </a:rPr>
              <a:t>Data</a:t>
            </a:r>
          </a:p>
        </p:txBody>
      </p:sp>
      <p:sp>
        <p:nvSpPr>
          <p:cNvPr id="33" name="Title 1">
            <a:extLst>
              <a:ext uri="{FF2B5EF4-FFF2-40B4-BE49-F238E27FC236}">
                <a16:creationId xmlns:a16="http://schemas.microsoft.com/office/drawing/2014/main" id="{E98D83FB-BD23-46DD-AF68-3156AD99260B}"/>
              </a:ext>
            </a:extLst>
          </p:cNvPr>
          <p:cNvSpPr txBox="1">
            <a:spLocks/>
          </p:cNvSpPr>
          <p:nvPr/>
        </p:nvSpPr>
        <p:spPr>
          <a:xfrm>
            <a:off x="420662" y="364748"/>
            <a:ext cx="11018520" cy="553998"/>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400" b="0" kern="1200" cap="none" spc="-147" baseline="0">
                <a:ln w="3175">
                  <a:noFill/>
                </a:ln>
                <a:solidFill>
                  <a:schemeClr val="tx2"/>
                </a:solidFill>
                <a:effectLst/>
                <a:latin typeface="+mj-lt"/>
                <a:ea typeface="+mn-ea"/>
                <a:cs typeface="Segoe UI" pitchFamily="34" charset="0"/>
              </a:defRPr>
            </a:lvl1pPr>
          </a:lstStyle>
          <a:p>
            <a:r>
              <a:rPr lang="en-US" dirty="0"/>
              <a:t>Orchestration @ Scale</a:t>
            </a:r>
          </a:p>
        </p:txBody>
      </p:sp>
      <p:sp>
        <p:nvSpPr>
          <p:cNvPr id="34" name="Rectangle 33">
            <a:extLst>
              <a:ext uri="{FF2B5EF4-FFF2-40B4-BE49-F238E27FC236}">
                <a16:creationId xmlns:a16="http://schemas.microsoft.com/office/drawing/2014/main" id="{B0206B75-3599-4343-851B-7BE23FDF5F1D}"/>
              </a:ext>
            </a:extLst>
          </p:cNvPr>
          <p:cNvSpPr/>
          <p:nvPr/>
        </p:nvSpPr>
        <p:spPr bwMode="auto">
          <a:xfrm>
            <a:off x="584200" y="1441672"/>
            <a:ext cx="1237467" cy="158659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Trigger</a:t>
            </a:r>
          </a:p>
        </p:txBody>
      </p:sp>
      <p:sp>
        <p:nvSpPr>
          <p:cNvPr id="35" name="TextBox 34">
            <a:extLst>
              <a:ext uri="{FF2B5EF4-FFF2-40B4-BE49-F238E27FC236}">
                <a16:creationId xmlns:a16="http://schemas.microsoft.com/office/drawing/2014/main" id="{5508C92B-AF5E-4FA2-8AA3-84F64AEDA6AD}"/>
              </a:ext>
            </a:extLst>
          </p:cNvPr>
          <p:cNvSpPr txBox="1"/>
          <p:nvPr/>
        </p:nvSpPr>
        <p:spPr>
          <a:xfrm>
            <a:off x="710958" y="1965368"/>
            <a:ext cx="1187296" cy="923330"/>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On demand</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Schedule</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Data Window</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Event</a:t>
            </a:r>
          </a:p>
          <a:p>
            <a:pPr algn="l"/>
            <a:endPar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endParaRPr>
          </a:p>
        </p:txBody>
      </p:sp>
      <p:sp>
        <p:nvSpPr>
          <p:cNvPr id="36" name="Rectangle 35">
            <a:extLst>
              <a:ext uri="{FF2B5EF4-FFF2-40B4-BE49-F238E27FC236}">
                <a16:creationId xmlns:a16="http://schemas.microsoft.com/office/drawing/2014/main" id="{78671885-B45D-460A-B662-BE5F4654C964}"/>
              </a:ext>
            </a:extLst>
          </p:cNvPr>
          <p:cNvSpPr/>
          <p:nvPr/>
        </p:nvSpPr>
        <p:spPr bwMode="auto">
          <a:xfrm>
            <a:off x="2546492" y="1441670"/>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37" name="Straight Connector 36">
            <a:extLst>
              <a:ext uri="{FF2B5EF4-FFF2-40B4-BE49-F238E27FC236}">
                <a16:creationId xmlns:a16="http://schemas.microsoft.com/office/drawing/2014/main" id="{1E9BD7B6-65AC-45FB-B9EC-EDA5907C87C3}"/>
              </a:ext>
            </a:extLst>
          </p:cNvPr>
          <p:cNvCxnSpPr>
            <a:cxnSpLocks/>
          </p:cNvCxnSpPr>
          <p:nvPr/>
        </p:nvCxnSpPr>
        <p:spPr>
          <a:xfrm flipV="1">
            <a:off x="1791745" y="2424945"/>
            <a:ext cx="298312" cy="7494"/>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3C35DF8-1056-484C-86E0-2BBCAE4A34FE}"/>
              </a:ext>
            </a:extLst>
          </p:cNvPr>
          <p:cNvCxnSpPr>
            <a:cxnSpLocks/>
          </p:cNvCxnSpPr>
          <p:nvPr/>
        </p:nvCxnSpPr>
        <p:spPr>
          <a:xfrm rot="5400000" flipV="1">
            <a:off x="3559891" y="2206958"/>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E0BE442-D68B-4FC5-86BB-FC3C529AA930}"/>
              </a:ext>
            </a:extLst>
          </p:cNvPr>
          <p:cNvSpPr/>
          <p:nvPr/>
        </p:nvSpPr>
        <p:spPr bwMode="auto">
          <a:xfrm>
            <a:off x="2688846" y="2255006"/>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60607F78-CA64-4394-963B-4CA7504ACFE2}"/>
              </a:ext>
            </a:extLst>
          </p:cNvPr>
          <p:cNvSpPr/>
          <p:nvPr/>
        </p:nvSpPr>
        <p:spPr bwMode="auto">
          <a:xfrm>
            <a:off x="5432584" y="1615845"/>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foreach (…)</a:t>
            </a:r>
            <a:endParaRPr lang="en-US" sz="10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Rectangle 40">
            <a:extLst>
              <a:ext uri="{FF2B5EF4-FFF2-40B4-BE49-F238E27FC236}">
                <a16:creationId xmlns:a16="http://schemas.microsoft.com/office/drawing/2014/main" id="{1F1AED7B-2E75-4331-AEB2-B32AD57C4E4C}"/>
              </a:ext>
            </a:extLst>
          </p:cNvPr>
          <p:cNvSpPr/>
          <p:nvPr/>
        </p:nvSpPr>
        <p:spPr bwMode="auto">
          <a:xfrm>
            <a:off x="3890256" y="2255006"/>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2" name="Straight Connector 41">
            <a:extLst>
              <a:ext uri="{FF2B5EF4-FFF2-40B4-BE49-F238E27FC236}">
                <a16:creationId xmlns:a16="http://schemas.microsoft.com/office/drawing/2014/main" id="{5E34397D-BE4D-4055-93A3-EB506BAEB0E2}"/>
              </a:ext>
            </a:extLst>
          </p:cNvPr>
          <p:cNvCxnSpPr>
            <a:cxnSpLocks/>
          </p:cNvCxnSpPr>
          <p:nvPr/>
        </p:nvCxnSpPr>
        <p:spPr>
          <a:xfrm rot="5400000" flipV="1">
            <a:off x="6445983" y="190635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2F0D157-C377-422D-B612-BC79414D69E9}"/>
              </a:ext>
            </a:extLst>
          </p:cNvPr>
          <p:cNvSpPr/>
          <p:nvPr/>
        </p:nvSpPr>
        <p:spPr bwMode="auto">
          <a:xfrm>
            <a:off x="5574938" y="195439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sp>
        <p:nvSpPr>
          <p:cNvPr id="44" name="Rectangle 43">
            <a:extLst>
              <a:ext uri="{FF2B5EF4-FFF2-40B4-BE49-F238E27FC236}">
                <a16:creationId xmlns:a16="http://schemas.microsoft.com/office/drawing/2014/main" id="{4DC64C58-E5DF-4F8F-9E12-8AE6E7C1141C}"/>
              </a:ext>
            </a:extLst>
          </p:cNvPr>
          <p:cNvSpPr/>
          <p:nvPr/>
        </p:nvSpPr>
        <p:spPr bwMode="auto">
          <a:xfrm>
            <a:off x="6776348" y="195439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5" name="Straight Connector 44">
            <a:extLst>
              <a:ext uri="{FF2B5EF4-FFF2-40B4-BE49-F238E27FC236}">
                <a16:creationId xmlns:a16="http://schemas.microsoft.com/office/drawing/2014/main" id="{4CFCD8DD-49E0-478C-8EF1-586560CD7C43}"/>
              </a:ext>
            </a:extLst>
          </p:cNvPr>
          <p:cNvCxnSpPr>
            <a:cxnSpLocks/>
          </p:cNvCxnSpPr>
          <p:nvPr/>
        </p:nvCxnSpPr>
        <p:spPr>
          <a:xfrm flipV="1">
            <a:off x="4772650" y="2188562"/>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5789C3BC-ECD2-4C0E-B6E4-10F465501A0C}"/>
              </a:ext>
            </a:extLst>
          </p:cNvPr>
          <p:cNvSpPr/>
          <p:nvPr/>
        </p:nvSpPr>
        <p:spPr bwMode="auto">
          <a:xfrm>
            <a:off x="5574938" y="2613965"/>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7" name="Straight Connector 46">
            <a:extLst>
              <a:ext uri="{FF2B5EF4-FFF2-40B4-BE49-F238E27FC236}">
                <a16:creationId xmlns:a16="http://schemas.microsoft.com/office/drawing/2014/main" id="{DF0EEFD3-7735-4E80-8597-B7AFC6CC2511}"/>
              </a:ext>
            </a:extLst>
          </p:cNvPr>
          <p:cNvCxnSpPr>
            <a:cxnSpLocks/>
          </p:cNvCxnSpPr>
          <p:nvPr/>
        </p:nvCxnSpPr>
        <p:spPr>
          <a:xfrm>
            <a:off x="4772650" y="2434998"/>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0376A586-F556-4ACC-8AB2-08FAC9B26F76}"/>
              </a:ext>
            </a:extLst>
          </p:cNvPr>
          <p:cNvSpPr/>
          <p:nvPr/>
        </p:nvSpPr>
        <p:spPr bwMode="auto">
          <a:xfrm>
            <a:off x="3002751" y="4645844"/>
            <a:ext cx="1580872" cy="545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Self-hosted</a:t>
            </a:r>
          </a:p>
          <a:p>
            <a:pPr defTabSz="932472" fontAlgn="base">
              <a:spcBef>
                <a:spcPct val="0"/>
              </a:spcBef>
              <a:spcAft>
                <a:spcPct val="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49" name="Graphic 48">
            <a:extLst>
              <a:ext uri="{FF2B5EF4-FFF2-40B4-BE49-F238E27FC236}">
                <a16:creationId xmlns:a16="http://schemas.microsoft.com/office/drawing/2014/main" id="{9DBD294B-A5B9-4720-851B-A2D0A49DA4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50" name="TextBox 49">
            <a:extLst>
              <a:ext uri="{FF2B5EF4-FFF2-40B4-BE49-F238E27FC236}">
                <a16:creationId xmlns:a16="http://schemas.microsoft.com/office/drawing/2014/main" id="{98451025-D870-41D3-8F5D-A2BAA58F97F3}"/>
              </a:ext>
            </a:extLst>
          </p:cNvPr>
          <p:cNvSpPr txBox="1"/>
          <p:nvPr/>
        </p:nvSpPr>
        <p:spPr>
          <a:xfrm>
            <a:off x="3564433" y="5750480"/>
            <a:ext cx="1031678" cy="307777"/>
          </a:xfrm>
          <a:prstGeom prst="rect">
            <a:avLst/>
          </a:prstGeom>
          <a:noFill/>
        </p:spPr>
        <p:txBody>
          <a:bodyPr wrap="square" lIns="0" tIns="0" rIns="0" bIns="0" rtlCol="0">
            <a:spAutoFit/>
          </a:bodyPr>
          <a:lstStyle/>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On-prem</a:t>
            </a:r>
          </a:p>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Apps &amp; Data</a:t>
            </a:r>
          </a:p>
        </p:txBody>
      </p:sp>
      <p:sp>
        <p:nvSpPr>
          <p:cNvPr id="51" name="Rectangle 50">
            <a:extLst>
              <a:ext uri="{FF2B5EF4-FFF2-40B4-BE49-F238E27FC236}">
                <a16:creationId xmlns:a16="http://schemas.microsoft.com/office/drawing/2014/main" id="{D9A3C26E-AAB8-4811-A939-AA49212675B2}"/>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2" name="Graphic 51" descr="Bonfire">
            <a:extLst>
              <a:ext uri="{FF2B5EF4-FFF2-40B4-BE49-F238E27FC236}">
                <a16:creationId xmlns:a16="http://schemas.microsoft.com/office/drawing/2014/main" id="{CBE423C3-68C5-4953-BA1B-90F4EB1E5B0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53" name="Rectangle 52">
            <a:extLst>
              <a:ext uri="{FF2B5EF4-FFF2-40B4-BE49-F238E27FC236}">
                <a16:creationId xmlns:a16="http://schemas.microsoft.com/office/drawing/2014/main" id="{3BBB8ED3-3CEB-40F1-8C00-1D7FCE353DC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A58D8DA3-F988-4330-8F92-B5D441E3219F}"/>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C147367-C5AD-420C-8C23-9E47F63F3EED}"/>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305847A-3669-4B5A-8B2E-7890D139532F}"/>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6FAF8EC-605E-4923-95EE-0D21EFF246A6}"/>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B124B06-461E-4B67-95CB-87EBB61939E0}"/>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9E53638-3BB9-4B81-B547-790069E2B2E5}"/>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3401857-309F-4461-A2FF-EAB5B711B942}"/>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Linked</a:t>
            </a:r>
          </a:p>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Service</a:t>
            </a:r>
          </a:p>
        </p:txBody>
      </p:sp>
      <p:grpSp>
        <p:nvGrpSpPr>
          <p:cNvPr id="61" name="Group 60">
            <a:extLst>
              <a:ext uri="{FF2B5EF4-FFF2-40B4-BE49-F238E27FC236}">
                <a16:creationId xmlns:a16="http://schemas.microsoft.com/office/drawing/2014/main" id="{087AAC19-72C3-415B-8FE5-C302CD944175}"/>
              </a:ext>
            </a:extLst>
          </p:cNvPr>
          <p:cNvGrpSpPr/>
          <p:nvPr/>
        </p:nvGrpSpPr>
        <p:grpSpPr>
          <a:xfrm>
            <a:off x="8535816" y="2609871"/>
            <a:ext cx="1572938" cy="515118"/>
            <a:chOff x="8223680" y="4069863"/>
            <a:chExt cx="1752274" cy="515118"/>
          </a:xfrm>
        </p:grpSpPr>
        <p:sp>
          <p:nvSpPr>
            <p:cNvPr id="62" name="Rectangle 61">
              <a:extLst>
                <a:ext uri="{FF2B5EF4-FFF2-40B4-BE49-F238E27FC236}">
                  <a16:creationId xmlns:a16="http://schemas.microsoft.com/office/drawing/2014/main" id="{B0819EC7-1A70-4501-9DAB-29FF3C710732}"/>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63" name="Group 62">
              <a:extLst>
                <a:ext uri="{FF2B5EF4-FFF2-40B4-BE49-F238E27FC236}">
                  <a16:creationId xmlns:a16="http://schemas.microsoft.com/office/drawing/2014/main" id="{F153BEE4-6180-4954-96A6-C0F66749D371}"/>
                </a:ext>
              </a:extLst>
            </p:cNvPr>
            <p:cNvGrpSpPr/>
            <p:nvPr/>
          </p:nvGrpSpPr>
          <p:grpSpPr>
            <a:xfrm>
              <a:off x="8395993" y="4176016"/>
              <a:ext cx="1400625" cy="302811"/>
              <a:chOff x="5827333" y="4633691"/>
              <a:chExt cx="6400800" cy="1383834"/>
            </a:xfrm>
          </p:grpSpPr>
          <p:sp>
            <p:nvSpPr>
              <p:cNvPr id="64" name="Rectangle 63">
                <a:extLst>
                  <a:ext uri="{FF2B5EF4-FFF2-40B4-BE49-F238E27FC236}">
                    <a16:creationId xmlns:a16="http://schemas.microsoft.com/office/drawing/2014/main" id="{61D65F28-8D0F-4E6F-A066-EBF5AEB2515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5" name="Straight Arrow Connector 64">
                <a:extLst>
                  <a:ext uri="{FF2B5EF4-FFF2-40B4-BE49-F238E27FC236}">
                    <a16:creationId xmlns:a16="http://schemas.microsoft.com/office/drawing/2014/main" id="{971DC88C-64C4-4EE1-B0BD-45C75FD4F713}"/>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D68C923-A483-45F9-8DD5-60315A73AD98}"/>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5DB0BE69-436B-4F8D-B3BD-FC83A1A806D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8" name="Straight Arrow Connector 67">
                <a:extLst>
                  <a:ext uri="{FF2B5EF4-FFF2-40B4-BE49-F238E27FC236}">
                    <a16:creationId xmlns:a16="http://schemas.microsoft.com/office/drawing/2014/main" id="{A692F08F-7898-4AF3-A539-7D9C4C6D3346}"/>
                  </a:ext>
                </a:extLst>
              </p:cNvPr>
              <p:cNvCxnSpPr>
                <a:cxnSpLocks/>
                <a:stCxn id="6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3691F8E-63B3-4678-A43C-A776A6EEC794}"/>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EE64D92A-4B08-42DA-AFC2-F5C52D1D58B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1" name="Straight Arrow Connector 70">
                <a:extLst>
                  <a:ext uri="{FF2B5EF4-FFF2-40B4-BE49-F238E27FC236}">
                    <a16:creationId xmlns:a16="http://schemas.microsoft.com/office/drawing/2014/main" id="{5FF38013-F51C-4EB6-B6B3-CCDAA84E7EF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2030BF1D-C031-4FBA-B99D-6F445C7B84E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3" name="Group 72">
            <a:extLst>
              <a:ext uri="{FF2B5EF4-FFF2-40B4-BE49-F238E27FC236}">
                <a16:creationId xmlns:a16="http://schemas.microsoft.com/office/drawing/2014/main" id="{8B9DDE7C-2941-4287-8685-1F99709755A0}"/>
              </a:ext>
            </a:extLst>
          </p:cNvPr>
          <p:cNvGrpSpPr/>
          <p:nvPr/>
        </p:nvGrpSpPr>
        <p:grpSpPr>
          <a:xfrm>
            <a:off x="10674281" y="1374061"/>
            <a:ext cx="1424835" cy="452706"/>
            <a:chOff x="8223680" y="4069863"/>
            <a:chExt cx="1752274" cy="515118"/>
          </a:xfrm>
        </p:grpSpPr>
        <p:sp>
          <p:nvSpPr>
            <p:cNvPr id="74" name="Rectangle 73">
              <a:extLst>
                <a:ext uri="{FF2B5EF4-FFF2-40B4-BE49-F238E27FC236}">
                  <a16:creationId xmlns:a16="http://schemas.microsoft.com/office/drawing/2014/main" id="{28FACD1F-47F9-42F2-8F8F-5DD820DAC5C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75" name="Group 74">
              <a:extLst>
                <a:ext uri="{FF2B5EF4-FFF2-40B4-BE49-F238E27FC236}">
                  <a16:creationId xmlns:a16="http://schemas.microsoft.com/office/drawing/2014/main" id="{6E7DC39C-4553-4423-B6EC-B53126F6DCAC}"/>
                </a:ext>
              </a:extLst>
            </p:cNvPr>
            <p:cNvGrpSpPr/>
            <p:nvPr/>
          </p:nvGrpSpPr>
          <p:grpSpPr>
            <a:xfrm>
              <a:off x="8395993" y="4176016"/>
              <a:ext cx="1400625" cy="302811"/>
              <a:chOff x="5827333" y="4633691"/>
              <a:chExt cx="6400800" cy="1383834"/>
            </a:xfrm>
          </p:grpSpPr>
          <p:sp>
            <p:nvSpPr>
              <p:cNvPr id="76" name="Rectangle 75">
                <a:extLst>
                  <a:ext uri="{FF2B5EF4-FFF2-40B4-BE49-F238E27FC236}">
                    <a16:creationId xmlns:a16="http://schemas.microsoft.com/office/drawing/2014/main" id="{466A8D94-54DE-4860-A557-8ED57E912BEA}"/>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7" name="Straight Arrow Connector 76">
                <a:extLst>
                  <a:ext uri="{FF2B5EF4-FFF2-40B4-BE49-F238E27FC236}">
                    <a16:creationId xmlns:a16="http://schemas.microsoft.com/office/drawing/2014/main" id="{4002ECE8-FDE4-471C-82D4-3F4B8B1FCF71}"/>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558EF83F-583F-41AF-9C34-DDD9876A86B2}"/>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a:extLst>
                  <a:ext uri="{FF2B5EF4-FFF2-40B4-BE49-F238E27FC236}">
                    <a16:creationId xmlns:a16="http://schemas.microsoft.com/office/drawing/2014/main" id="{AE6E0D7E-3A25-4791-A412-20D1AE30222A}"/>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Arrow Connector 79">
                <a:extLst>
                  <a:ext uri="{FF2B5EF4-FFF2-40B4-BE49-F238E27FC236}">
                    <a16:creationId xmlns:a16="http://schemas.microsoft.com/office/drawing/2014/main" id="{26EDDA6F-BF12-4C1F-AF45-F997C1D9F04E}"/>
                  </a:ext>
                </a:extLst>
              </p:cNvPr>
              <p:cNvCxnSpPr>
                <a:cxnSpLocks/>
                <a:stCxn id="7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2B5EFF3-0FDB-401E-88B2-31DCF3014ECA}"/>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FE051C0-F3AA-47FC-879C-78650294CCC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3" name="Straight Arrow Connector 82">
                <a:extLst>
                  <a:ext uri="{FF2B5EF4-FFF2-40B4-BE49-F238E27FC236}">
                    <a16:creationId xmlns:a16="http://schemas.microsoft.com/office/drawing/2014/main" id="{63509710-DBB8-40A2-9912-96397246C416}"/>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F726EB3F-91FB-4933-AB32-2BEB6FDF4CB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5" name="Group 84">
            <a:extLst>
              <a:ext uri="{FF2B5EF4-FFF2-40B4-BE49-F238E27FC236}">
                <a16:creationId xmlns:a16="http://schemas.microsoft.com/office/drawing/2014/main" id="{46672E50-CBF2-4463-88AF-8BF0CFA6B2E9}"/>
              </a:ext>
            </a:extLst>
          </p:cNvPr>
          <p:cNvGrpSpPr/>
          <p:nvPr/>
        </p:nvGrpSpPr>
        <p:grpSpPr>
          <a:xfrm>
            <a:off x="10674281" y="669523"/>
            <a:ext cx="1424835" cy="452706"/>
            <a:chOff x="8223680" y="4069863"/>
            <a:chExt cx="1752274" cy="515118"/>
          </a:xfrm>
        </p:grpSpPr>
        <p:sp>
          <p:nvSpPr>
            <p:cNvPr id="86" name="Rectangle 85">
              <a:extLst>
                <a:ext uri="{FF2B5EF4-FFF2-40B4-BE49-F238E27FC236}">
                  <a16:creationId xmlns:a16="http://schemas.microsoft.com/office/drawing/2014/main" id="{FCA0F1F8-CA1A-40B0-9C72-228CEB3161A2}"/>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87" name="Group 86">
              <a:extLst>
                <a:ext uri="{FF2B5EF4-FFF2-40B4-BE49-F238E27FC236}">
                  <a16:creationId xmlns:a16="http://schemas.microsoft.com/office/drawing/2014/main" id="{A09EA3D3-D647-49EC-8992-5E865A113621}"/>
                </a:ext>
              </a:extLst>
            </p:cNvPr>
            <p:cNvGrpSpPr/>
            <p:nvPr/>
          </p:nvGrpSpPr>
          <p:grpSpPr>
            <a:xfrm>
              <a:off x="8395993" y="4176016"/>
              <a:ext cx="1400625" cy="302811"/>
              <a:chOff x="5827333" y="4633691"/>
              <a:chExt cx="6400800" cy="1383834"/>
            </a:xfrm>
          </p:grpSpPr>
          <p:sp>
            <p:nvSpPr>
              <p:cNvPr id="88" name="Rectangle 87">
                <a:extLst>
                  <a:ext uri="{FF2B5EF4-FFF2-40B4-BE49-F238E27FC236}">
                    <a16:creationId xmlns:a16="http://schemas.microsoft.com/office/drawing/2014/main" id="{32F49A29-373F-463F-A42A-118D9892A31D}"/>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Arrow Connector 88">
                <a:extLst>
                  <a:ext uri="{FF2B5EF4-FFF2-40B4-BE49-F238E27FC236}">
                    <a16:creationId xmlns:a16="http://schemas.microsoft.com/office/drawing/2014/main" id="{C96B81CE-8062-4A9D-8A71-989F4AB4166B}"/>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05F93E48-58D7-4D93-8326-FE971CCB0D1F}"/>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a:extLst>
                  <a:ext uri="{FF2B5EF4-FFF2-40B4-BE49-F238E27FC236}">
                    <a16:creationId xmlns:a16="http://schemas.microsoft.com/office/drawing/2014/main" id="{DC81353D-6CF6-470A-AA4E-070755C9BE3E}"/>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2" name="Straight Arrow Connector 91">
                <a:extLst>
                  <a:ext uri="{FF2B5EF4-FFF2-40B4-BE49-F238E27FC236}">
                    <a16:creationId xmlns:a16="http://schemas.microsoft.com/office/drawing/2014/main" id="{CEAD84DB-7B33-496B-9050-0E703FE08B99}"/>
                  </a:ext>
                </a:extLst>
              </p:cNvPr>
              <p:cNvCxnSpPr>
                <a:cxnSpLocks/>
                <a:stCxn id="9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DF6B68F-6F58-4D4C-A4EF-00111489CDF3}"/>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56B7007C-8848-490A-A8CA-207E1FB0232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5" name="Straight Arrow Connector 94">
                <a:extLst>
                  <a:ext uri="{FF2B5EF4-FFF2-40B4-BE49-F238E27FC236}">
                    <a16:creationId xmlns:a16="http://schemas.microsoft.com/office/drawing/2014/main" id="{7ECD7192-64E4-4735-955F-57065430931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BBC43B45-93DB-4388-9EE4-87506763E626}"/>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97" name="Group 96">
            <a:extLst>
              <a:ext uri="{FF2B5EF4-FFF2-40B4-BE49-F238E27FC236}">
                <a16:creationId xmlns:a16="http://schemas.microsoft.com/office/drawing/2014/main" id="{0B4E36B5-04CF-42F6-8D23-ED65FF68CF64}"/>
              </a:ext>
            </a:extLst>
          </p:cNvPr>
          <p:cNvGrpSpPr/>
          <p:nvPr/>
        </p:nvGrpSpPr>
        <p:grpSpPr>
          <a:xfrm>
            <a:off x="10674281" y="2091944"/>
            <a:ext cx="1424835" cy="452706"/>
            <a:chOff x="8223680" y="4069863"/>
            <a:chExt cx="1752274" cy="515118"/>
          </a:xfrm>
        </p:grpSpPr>
        <p:sp>
          <p:nvSpPr>
            <p:cNvPr id="98" name="Rectangle 97">
              <a:extLst>
                <a:ext uri="{FF2B5EF4-FFF2-40B4-BE49-F238E27FC236}">
                  <a16:creationId xmlns:a16="http://schemas.microsoft.com/office/drawing/2014/main" id="{1DFFFD8C-8159-44A8-B4D8-5A45A84B0CD4}"/>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99" name="Group 98">
              <a:extLst>
                <a:ext uri="{FF2B5EF4-FFF2-40B4-BE49-F238E27FC236}">
                  <a16:creationId xmlns:a16="http://schemas.microsoft.com/office/drawing/2014/main" id="{5D08B8CF-301D-4DF5-B2C4-9264C38E2839}"/>
                </a:ext>
              </a:extLst>
            </p:cNvPr>
            <p:cNvGrpSpPr/>
            <p:nvPr/>
          </p:nvGrpSpPr>
          <p:grpSpPr>
            <a:xfrm>
              <a:off x="8395993" y="4176016"/>
              <a:ext cx="1400625" cy="302811"/>
              <a:chOff x="5827333" y="4633691"/>
              <a:chExt cx="6400800" cy="1383834"/>
            </a:xfrm>
          </p:grpSpPr>
          <p:sp>
            <p:nvSpPr>
              <p:cNvPr id="100" name="Rectangle 99">
                <a:extLst>
                  <a:ext uri="{FF2B5EF4-FFF2-40B4-BE49-F238E27FC236}">
                    <a16:creationId xmlns:a16="http://schemas.microsoft.com/office/drawing/2014/main" id="{0CE96FF4-56DD-4A93-8F8B-49B5377D2C08}"/>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1" name="Straight Arrow Connector 100">
                <a:extLst>
                  <a:ext uri="{FF2B5EF4-FFF2-40B4-BE49-F238E27FC236}">
                    <a16:creationId xmlns:a16="http://schemas.microsoft.com/office/drawing/2014/main" id="{BA4AF043-FC93-47C7-8ED0-AB61FE23E63B}"/>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8754782A-F87A-4729-ADDB-343B65690A4A}"/>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a:extLst>
                  <a:ext uri="{FF2B5EF4-FFF2-40B4-BE49-F238E27FC236}">
                    <a16:creationId xmlns:a16="http://schemas.microsoft.com/office/drawing/2014/main" id="{E4E88022-59B6-4849-B682-8DEC19B83703}"/>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4" name="Straight Arrow Connector 103">
                <a:extLst>
                  <a:ext uri="{FF2B5EF4-FFF2-40B4-BE49-F238E27FC236}">
                    <a16:creationId xmlns:a16="http://schemas.microsoft.com/office/drawing/2014/main" id="{DD86C163-6CD6-4FD1-BAB1-4264D9143724}"/>
                  </a:ext>
                </a:extLst>
              </p:cNvPr>
              <p:cNvCxnSpPr>
                <a:cxnSpLocks/>
                <a:stCxn id="10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33ADD8E4-8B3C-45C0-BF0B-92D201191B7E}"/>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23EBC617-7D26-426A-8401-CACADD53A5B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7" name="Straight Arrow Connector 106">
                <a:extLst>
                  <a:ext uri="{FF2B5EF4-FFF2-40B4-BE49-F238E27FC236}">
                    <a16:creationId xmlns:a16="http://schemas.microsoft.com/office/drawing/2014/main" id="{EF3B1399-0EF4-4A1C-8482-78E34283BBAB}"/>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625F978C-E7E0-4B95-917D-7E06D361503E}"/>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27" name="Rectangle 126">
            <a:extLst>
              <a:ext uri="{FF2B5EF4-FFF2-40B4-BE49-F238E27FC236}">
                <a16:creationId xmlns:a16="http://schemas.microsoft.com/office/drawing/2014/main" id="{99BE13EA-D037-46A2-B48B-C86A49404AAF}"/>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Integration</a:t>
            </a:r>
          </a:p>
        </p:txBody>
      </p:sp>
    </p:spTree>
    <p:extLst>
      <p:ext uri="{BB962C8B-B14F-4D97-AF65-F5344CB8AC3E}">
        <p14:creationId xmlns:p14="http://schemas.microsoft.com/office/powerpoint/2010/main" val="277855729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580194-EC0A-4159-84F8-5B2CA72D5259}"/>
              </a:ext>
            </a:extLst>
          </p:cNvPr>
          <p:cNvSpPr>
            <a:spLocks noGrp="1"/>
          </p:cNvSpPr>
          <p:nvPr>
            <p:ph type="title"/>
          </p:nvPr>
        </p:nvSpPr>
        <p:spPr/>
        <p:txBody>
          <a:bodyPr/>
          <a:lstStyle/>
          <a:p>
            <a:r>
              <a:rPr lang="en-US" dirty="0"/>
              <a:t>Data Movement</a:t>
            </a:r>
          </a:p>
        </p:txBody>
      </p:sp>
      <p:sp>
        <p:nvSpPr>
          <p:cNvPr id="4" name="Text Placeholder 3">
            <a:extLst>
              <a:ext uri="{FF2B5EF4-FFF2-40B4-BE49-F238E27FC236}">
                <a16:creationId xmlns:a16="http://schemas.microsoft.com/office/drawing/2014/main" id="{4D0BE427-19F6-4B80-B6C6-A09A24EB395C}"/>
              </a:ext>
            </a:extLst>
          </p:cNvPr>
          <p:cNvSpPr>
            <a:spLocks noGrp="1"/>
          </p:cNvSpPr>
          <p:nvPr>
            <p:ph type="body" sz="quarter" idx="11"/>
          </p:nvPr>
        </p:nvSpPr>
        <p:spPr>
          <a:xfrm>
            <a:off x="426423" y="1129914"/>
            <a:ext cx="6244965" cy="4934984"/>
          </a:xfrm>
        </p:spPr>
        <p:txBody>
          <a:bodyPr/>
          <a:lstStyle/>
          <a:p>
            <a:pPr>
              <a:lnSpc>
                <a:spcPct val="150000"/>
              </a:lnSpc>
              <a:spcAft>
                <a:spcPts val="600"/>
              </a:spcAft>
            </a:pPr>
            <a:r>
              <a:rPr lang="en-US" sz="1800" b="1" dirty="0">
                <a:solidFill>
                  <a:schemeClr val="tx2"/>
                </a:solidFill>
                <a:latin typeface="+mj-lt"/>
              </a:rPr>
              <a:t>Scalable </a:t>
            </a:r>
          </a:p>
          <a:p>
            <a:pPr>
              <a:lnSpc>
                <a:spcPct val="100000"/>
              </a:lnSpc>
              <a:spcAft>
                <a:spcPts val="600"/>
              </a:spcAft>
            </a:pPr>
            <a:r>
              <a:rPr lang="en-US" sz="1600" dirty="0">
                <a:solidFill>
                  <a:schemeClr val="tx1"/>
                </a:solidFill>
              </a:rPr>
              <a:t>per job elasticity </a:t>
            </a:r>
          </a:p>
          <a:p>
            <a:pPr>
              <a:lnSpc>
                <a:spcPct val="100000"/>
              </a:lnSpc>
              <a:spcAft>
                <a:spcPts val="600"/>
              </a:spcAft>
            </a:pPr>
            <a:r>
              <a:rPr lang="en-US" sz="1600" dirty="0">
                <a:solidFill>
                  <a:schemeClr val="tx1"/>
                </a:solidFill>
              </a:rPr>
              <a:t>Up to 4 GB/s </a:t>
            </a:r>
          </a:p>
          <a:p>
            <a:pPr>
              <a:lnSpc>
                <a:spcPct val="100000"/>
              </a:lnSpc>
              <a:spcAft>
                <a:spcPts val="600"/>
              </a:spcAft>
            </a:pPr>
            <a:endParaRPr lang="en-US" sz="1600" dirty="0">
              <a:solidFill>
                <a:schemeClr val="tx1"/>
              </a:solidFill>
            </a:endParaRPr>
          </a:p>
          <a:p>
            <a:pPr>
              <a:lnSpc>
                <a:spcPct val="150000"/>
              </a:lnSpc>
              <a:spcAft>
                <a:spcPts val="600"/>
              </a:spcAft>
            </a:pPr>
            <a:r>
              <a:rPr lang="en-US" sz="1800" b="1" dirty="0">
                <a:solidFill>
                  <a:schemeClr val="tx2"/>
                </a:solidFill>
                <a:latin typeface="+mj-lt"/>
              </a:rPr>
              <a:t>Simple </a:t>
            </a:r>
          </a:p>
          <a:p>
            <a:pPr>
              <a:lnSpc>
                <a:spcPct val="100000"/>
              </a:lnSpc>
              <a:spcAft>
                <a:spcPts val="600"/>
              </a:spcAft>
            </a:pPr>
            <a:r>
              <a:rPr lang="en-US" sz="1600" dirty="0">
                <a:solidFill>
                  <a:schemeClr val="tx1"/>
                </a:solidFill>
              </a:rPr>
              <a:t>Visually author or via code (Python, .NET, etc.)  </a:t>
            </a:r>
          </a:p>
          <a:p>
            <a:pPr>
              <a:lnSpc>
                <a:spcPct val="100000"/>
              </a:lnSpc>
              <a:spcAft>
                <a:spcPts val="600"/>
              </a:spcAft>
            </a:pPr>
            <a:r>
              <a:rPr lang="en-US" sz="1600" dirty="0">
                <a:solidFill>
                  <a:schemeClr val="tx1"/>
                </a:solidFill>
              </a:rPr>
              <a:t>Serverless, no infrastructure to manage </a:t>
            </a:r>
          </a:p>
          <a:p>
            <a:pPr>
              <a:lnSpc>
                <a:spcPct val="100000"/>
              </a:lnSpc>
              <a:spcAft>
                <a:spcPts val="600"/>
              </a:spcAft>
            </a:pPr>
            <a:endParaRPr lang="en-US" sz="1600" dirty="0">
              <a:solidFill>
                <a:schemeClr val="tx1"/>
              </a:solidFill>
            </a:endParaRPr>
          </a:p>
          <a:p>
            <a:pPr>
              <a:lnSpc>
                <a:spcPct val="150000"/>
              </a:lnSpc>
              <a:spcAft>
                <a:spcPts val="600"/>
              </a:spcAft>
            </a:pPr>
            <a:r>
              <a:rPr lang="en-US" sz="1800" b="1" dirty="0">
                <a:solidFill>
                  <a:schemeClr val="tx2"/>
                </a:solidFill>
                <a:latin typeface="+mj-lt"/>
              </a:rPr>
              <a:t>Access all your data    </a:t>
            </a:r>
          </a:p>
          <a:p>
            <a:pPr>
              <a:lnSpc>
                <a:spcPct val="100000"/>
              </a:lnSpc>
              <a:spcAft>
                <a:spcPts val="600"/>
              </a:spcAft>
            </a:pPr>
            <a:r>
              <a:rPr lang="en-US" sz="1600" dirty="0">
                <a:solidFill>
                  <a:schemeClr val="tx1"/>
                </a:solidFill>
              </a:rPr>
              <a:t>90+ connectors provided and growing (cloud, on premises, SaaS)</a:t>
            </a:r>
          </a:p>
          <a:p>
            <a:pPr>
              <a:lnSpc>
                <a:spcPct val="100000"/>
              </a:lnSpc>
              <a:spcAft>
                <a:spcPts val="600"/>
              </a:spcAft>
            </a:pPr>
            <a:r>
              <a:rPr lang="en-US" sz="1600" dirty="0">
                <a:solidFill>
                  <a:schemeClr val="tx1"/>
                </a:solidFill>
              </a:rPr>
              <a:t>Data Movement as a Service: 25 points of presence worldwide  </a:t>
            </a:r>
          </a:p>
          <a:p>
            <a:pPr>
              <a:lnSpc>
                <a:spcPct val="100000"/>
              </a:lnSpc>
              <a:spcAft>
                <a:spcPts val="600"/>
              </a:spcAft>
            </a:pPr>
            <a:r>
              <a:rPr lang="en-US" sz="1600" dirty="0">
                <a:solidFill>
                  <a:schemeClr val="tx1"/>
                </a:solidFill>
              </a:rPr>
              <a:t>Self-hostable Integration Runtime for hybrid movement</a:t>
            </a:r>
          </a:p>
          <a:p>
            <a:pPr>
              <a:lnSpc>
                <a:spcPct val="150000"/>
              </a:lnSpc>
            </a:pPr>
            <a:endParaRPr lang="en-US" sz="1800" dirty="0">
              <a:solidFill>
                <a:srgbClr val="353535"/>
              </a:solidFill>
              <a:cs typeface="Segoe UI" panose="020B0502040204020203" pitchFamily="34" charset="0"/>
            </a:endParaRPr>
          </a:p>
        </p:txBody>
      </p:sp>
      <p:sp>
        <p:nvSpPr>
          <p:cNvPr id="5" name="Rectangle 4">
            <a:extLst>
              <a:ext uri="{FF2B5EF4-FFF2-40B4-BE49-F238E27FC236}">
                <a16:creationId xmlns:a16="http://schemas.microsoft.com/office/drawing/2014/main" id="{F7399934-5326-4A74-A24A-68EB7911D1A0}"/>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Data Movement</a:t>
            </a:r>
          </a:p>
        </p:txBody>
      </p:sp>
      <p:grpSp>
        <p:nvGrpSpPr>
          <p:cNvPr id="60" name="Group 59">
            <a:extLst>
              <a:ext uri="{FF2B5EF4-FFF2-40B4-BE49-F238E27FC236}">
                <a16:creationId xmlns:a16="http://schemas.microsoft.com/office/drawing/2014/main" id="{AAF7B35D-577A-4043-885F-8A09E3A08E54}"/>
              </a:ext>
            </a:extLst>
          </p:cNvPr>
          <p:cNvGrpSpPr/>
          <p:nvPr/>
        </p:nvGrpSpPr>
        <p:grpSpPr>
          <a:xfrm>
            <a:off x="7172906" y="1725693"/>
            <a:ext cx="4277988" cy="3886083"/>
            <a:chOff x="7172906" y="1725693"/>
            <a:chExt cx="4277988" cy="3886083"/>
          </a:xfrm>
        </p:grpSpPr>
        <p:pic>
          <p:nvPicPr>
            <p:cNvPr id="10" name="Graphic 9">
              <a:extLst>
                <a:ext uri="{FF2B5EF4-FFF2-40B4-BE49-F238E27FC236}">
                  <a16:creationId xmlns:a16="http://schemas.microsoft.com/office/drawing/2014/main" id="{D99D78C3-CDF6-4A61-BCA8-D356A3CBC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72906" y="1972693"/>
              <a:ext cx="1082351" cy="1082351"/>
            </a:xfrm>
            <a:prstGeom prst="rect">
              <a:avLst/>
            </a:prstGeom>
          </p:spPr>
        </p:pic>
        <p:pic>
          <p:nvPicPr>
            <p:cNvPr id="14" name="Graphic 13">
              <a:extLst>
                <a:ext uri="{FF2B5EF4-FFF2-40B4-BE49-F238E27FC236}">
                  <a16:creationId xmlns:a16="http://schemas.microsoft.com/office/drawing/2014/main" id="{6C273930-D26F-4EAB-80A5-ED60B6F55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7477" y="4485706"/>
              <a:ext cx="765307" cy="765307"/>
            </a:xfrm>
            <a:prstGeom prst="rect">
              <a:avLst/>
            </a:prstGeom>
          </p:spPr>
        </p:pic>
        <p:sp>
          <p:nvSpPr>
            <p:cNvPr id="23" name="Freeform: Shape 22">
              <a:extLst>
                <a:ext uri="{FF2B5EF4-FFF2-40B4-BE49-F238E27FC236}">
                  <a16:creationId xmlns:a16="http://schemas.microsoft.com/office/drawing/2014/main" id="{0699C5CC-BE52-45E7-AA8C-5818F1FAE286}"/>
                </a:ext>
              </a:extLst>
            </p:cNvPr>
            <p:cNvSpPr/>
            <p:nvPr/>
          </p:nvSpPr>
          <p:spPr bwMode="auto">
            <a:xfrm>
              <a:off x="7893698" y="2700010"/>
              <a:ext cx="1512977" cy="1256170"/>
            </a:xfrm>
            <a:custGeom>
              <a:avLst/>
              <a:gdLst>
                <a:gd name="connsiteX0" fmla="*/ 0 w 1512977"/>
                <a:gd name="connsiteY0" fmla="*/ 388423 h 1256170"/>
                <a:gd name="connsiteX1" fmla="*/ 1483567 w 1512977"/>
                <a:gd name="connsiteY1" fmla="*/ 43190 h 1256170"/>
                <a:gd name="connsiteX2" fmla="*/ 1063690 w 1512977"/>
                <a:gd name="connsiteY2" fmla="*/ 1256170 h 1256170"/>
              </a:gdLst>
              <a:ahLst/>
              <a:cxnLst>
                <a:cxn ang="0">
                  <a:pos x="connsiteX0" y="connsiteY0"/>
                </a:cxn>
                <a:cxn ang="0">
                  <a:pos x="connsiteX1" y="connsiteY1"/>
                </a:cxn>
                <a:cxn ang="0">
                  <a:pos x="connsiteX2" y="connsiteY2"/>
                </a:cxn>
              </a:cxnLst>
              <a:rect l="l" t="t" r="r" b="b"/>
              <a:pathLst>
                <a:path w="1512977" h="1256170">
                  <a:moveTo>
                    <a:pt x="0" y="388423"/>
                  </a:moveTo>
                  <a:cubicBezTo>
                    <a:pt x="653142" y="143494"/>
                    <a:pt x="1306285" y="-101434"/>
                    <a:pt x="1483567" y="43190"/>
                  </a:cubicBezTo>
                  <a:cubicBezTo>
                    <a:pt x="1660849" y="187814"/>
                    <a:pt x="975049" y="993358"/>
                    <a:pt x="1063690" y="12561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2A05D29E-2DE6-4491-BE18-045FBB789FAD}"/>
                </a:ext>
              </a:extLst>
            </p:cNvPr>
            <p:cNvCxnSpPr>
              <a:cxnSpLocks/>
            </p:cNvCxnSpPr>
            <p:nvPr/>
          </p:nvCxnSpPr>
          <p:spPr>
            <a:xfrm flipV="1">
              <a:off x="7909352" y="2426960"/>
              <a:ext cx="1497323" cy="96451"/>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DC4BD2-15FB-49CC-A9F2-836DAFF177DA}"/>
                </a:ext>
              </a:extLst>
            </p:cNvPr>
            <p:cNvCxnSpPr>
              <a:cxnSpLocks/>
            </p:cNvCxnSpPr>
            <p:nvPr/>
          </p:nvCxnSpPr>
          <p:spPr>
            <a:xfrm flipV="1">
              <a:off x="8720895" y="3055045"/>
              <a:ext cx="960685" cy="16284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B6606F5-64E7-4621-B758-A7B90285EC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8041" y="4638050"/>
              <a:ext cx="765306" cy="765306"/>
            </a:xfrm>
            <a:prstGeom prst="rect">
              <a:avLst/>
            </a:prstGeom>
          </p:spPr>
        </p:pic>
        <p:cxnSp>
          <p:nvCxnSpPr>
            <p:cNvPr id="33" name="Straight Connector 32">
              <a:extLst>
                <a:ext uri="{FF2B5EF4-FFF2-40B4-BE49-F238E27FC236}">
                  <a16:creationId xmlns:a16="http://schemas.microsoft.com/office/drawing/2014/main" id="{67C9814F-C92A-4C82-AD9B-96AAE90994F6}"/>
                </a:ext>
              </a:extLst>
            </p:cNvPr>
            <p:cNvCxnSpPr>
              <a:cxnSpLocks/>
              <a:stCxn id="32" idx="0"/>
            </p:cNvCxnSpPr>
            <p:nvPr/>
          </p:nvCxnSpPr>
          <p:spPr>
            <a:xfrm flipV="1">
              <a:off x="9780694" y="3093898"/>
              <a:ext cx="327722" cy="15441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CAB34692-0A96-4BEF-BA1D-6DFCED6A7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5589" y="4846471"/>
              <a:ext cx="765305" cy="765305"/>
            </a:xfrm>
            <a:prstGeom prst="rect">
              <a:avLst/>
            </a:prstGeom>
          </p:spPr>
        </p:pic>
        <p:cxnSp>
          <p:nvCxnSpPr>
            <p:cNvPr id="40" name="Straight Connector 39">
              <a:extLst>
                <a:ext uri="{FF2B5EF4-FFF2-40B4-BE49-F238E27FC236}">
                  <a16:creationId xmlns:a16="http://schemas.microsoft.com/office/drawing/2014/main" id="{0124BEFF-B53F-44B4-91D9-6831B3552D45}"/>
                </a:ext>
              </a:extLst>
            </p:cNvPr>
            <p:cNvCxnSpPr>
              <a:cxnSpLocks/>
              <a:stCxn id="39" idx="0"/>
            </p:cNvCxnSpPr>
            <p:nvPr/>
          </p:nvCxnSpPr>
          <p:spPr>
            <a:xfrm flipH="1" flipV="1">
              <a:off x="10628985" y="3093897"/>
              <a:ext cx="439257" cy="1752574"/>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524B4C-970C-48CB-96D4-DEE5D3CCFAAC}"/>
                </a:ext>
              </a:extLst>
            </p:cNvPr>
            <p:cNvGrpSpPr/>
            <p:nvPr/>
          </p:nvGrpSpPr>
          <p:grpSpPr>
            <a:xfrm>
              <a:off x="7578913" y="3328095"/>
              <a:ext cx="530456" cy="579723"/>
              <a:chOff x="8173936" y="5562423"/>
              <a:chExt cx="530456" cy="579723"/>
            </a:xfrm>
          </p:grpSpPr>
          <p:pic>
            <p:nvPicPr>
              <p:cNvPr id="49" name="Graphic 48">
                <a:extLst>
                  <a:ext uri="{FF2B5EF4-FFF2-40B4-BE49-F238E27FC236}">
                    <a16:creationId xmlns:a16="http://schemas.microsoft.com/office/drawing/2014/main" id="{52DB9326-4DFB-4DC0-8755-C5D7EE99CF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3936" y="5562423"/>
                <a:ext cx="466725" cy="466725"/>
              </a:xfrm>
              <a:prstGeom prst="rect">
                <a:avLst/>
              </a:prstGeom>
            </p:spPr>
          </p:pic>
          <p:pic>
            <p:nvPicPr>
              <p:cNvPr id="47" name="Graphic 46">
                <a:extLst>
                  <a:ext uri="{FF2B5EF4-FFF2-40B4-BE49-F238E27FC236}">
                    <a16:creationId xmlns:a16="http://schemas.microsoft.com/office/drawing/2014/main" id="{863546AB-4BF2-4C5D-BB33-15CBAB0989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7155" y="5704909"/>
                <a:ext cx="437237" cy="437237"/>
              </a:xfrm>
              <a:prstGeom prst="rect">
                <a:avLst/>
              </a:prstGeom>
            </p:spPr>
          </p:pic>
        </p:grpSp>
        <p:cxnSp>
          <p:nvCxnSpPr>
            <p:cNvPr id="53" name="Straight Connector 52">
              <a:extLst>
                <a:ext uri="{FF2B5EF4-FFF2-40B4-BE49-F238E27FC236}">
                  <a16:creationId xmlns:a16="http://schemas.microsoft.com/office/drawing/2014/main" id="{A79678BB-B2E0-4FE0-8105-9772E69158DE}"/>
                </a:ext>
              </a:extLst>
            </p:cNvPr>
            <p:cNvCxnSpPr>
              <a:cxnSpLocks/>
              <a:stCxn id="47" idx="3"/>
            </p:cNvCxnSpPr>
            <p:nvPr/>
          </p:nvCxnSpPr>
          <p:spPr>
            <a:xfrm flipV="1">
              <a:off x="8109369" y="2846807"/>
              <a:ext cx="1333078" cy="842393"/>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0C667280-2CA5-43D1-82B4-550BCA4096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15059" y="1725693"/>
              <a:ext cx="1656124" cy="1656124"/>
            </a:xfrm>
            <a:prstGeom prst="rect">
              <a:avLst/>
            </a:prstGeom>
          </p:spPr>
        </p:pic>
      </p:grpSp>
    </p:spTree>
    <p:extLst>
      <p:ext uri="{BB962C8B-B14F-4D97-AF65-F5344CB8AC3E}">
        <p14:creationId xmlns:p14="http://schemas.microsoft.com/office/powerpoint/2010/main" val="374183529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5948A4-B1CE-4771-A72A-1FDFD5B42CF3}"/>
              </a:ext>
            </a:extLst>
          </p:cNvPr>
          <p:cNvSpPr>
            <a:spLocks noGrp="1"/>
          </p:cNvSpPr>
          <p:nvPr>
            <p:ph type="title"/>
          </p:nvPr>
        </p:nvSpPr>
        <p:spPr/>
        <p:txBody>
          <a:bodyPr/>
          <a:lstStyle/>
          <a:p>
            <a:r>
              <a:rPr lang="en-US" dirty="0"/>
              <a:t>Prep &amp; Transform Data</a:t>
            </a:r>
          </a:p>
        </p:txBody>
      </p:sp>
      <p:sp>
        <p:nvSpPr>
          <p:cNvPr id="4" name="Text Placeholder 3">
            <a:extLst>
              <a:ext uri="{FF2B5EF4-FFF2-40B4-BE49-F238E27FC236}">
                <a16:creationId xmlns:a16="http://schemas.microsoft.com/office/drawing/2014/main" id="{4D0C7A08-232E-446A-BFA2-06C37DB1ACAF}"/>
              </a:ext>
            </a:extLst>
          </p:cNvPr>
          <p:cNvSpPr>
            <a:spLocks noGrp="1"/>
          </p:cNvSpPr>
          <p:nvPr>
            <p:ph type="body" sz="quarter" idx="11"/>
          </p:nvPr>
        </p:nvSpPr>
        <p:spPr>
          <a:xfrm>
            <a:off x="426424" y="1129915"/>
            <a:ext cx="4231301" cy="1128094"/>
          </a:xfrm>
        </p:spPr>
        <p:txBody>
          <a:bodyPr/>
          <a:lstStyle/>
          <a:p>
            <a:pPr>
              <a:lnSpc>
                <a:spcPct val="150000"/>
              </a:lnSpc>
              <a:spcAft>
                <a:spcPts val="600"/>
              </a:spcAft>
            </a:pPr>
            <a:r>
              <a:rPr lang="en-US" sz="1800" b="1" dirty="0">
                <a:solidFill>
                  <a:schemeClr val="tx2"/>
                </a:solidFill>
                <a:latin typeface="+mj-lt"/>
              </a:rPr>
              <a:t>Mapping Dataflow</a:t>
            </a:r>
          </a:p>
          <a:p>
            <a:pPr>
              <a:lnSpc>
                <a:spcPct val="150000"/>
              </a:lnSpc>
              <a:spcAft>
                <a:spcPts val="600"/>
              </a:spcAft>
            </a:pPr>
            <a:r>
              <a:rPr lang="en-US" sz="1600" dirty="0">
                <a:solidFill>
                  <a:schemeClr val="tx1"/>
                </a:solidFill>
              </a:rPr>
              <a:t>Code free data transformation @scale</a:t>
            </a:r>
            <a:endParaRPr lang="en-US" sz="2000" dirty="0">
              <a:solidFill>
                <a:schemeClr val="tx1"/>
              </a:solidFill>
            </a:endParaRPr>
          </a:p>
        </p:txBody>
      </p:sp>
      <p:sp>
        <p:nvSpPr>
          <p:cNvPr id="5" name="Rectangle 4">
            <a:extLst>
              <a:ext uri="{FF2B5EF4-FFF2-40B4-BE49-F238E27FC236}">
                <a16:creationId xmlns:a16="http://schemas.microsoft.com/office/drawing/2014/main" id="{C305E585-930D-42E7-8F3F-2B5855AF51BC}"/>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Prep &amp; Transform Data</a:t>
            </a:r>
          </a:p>
        </p:txBody>
      </p:sp>
      <p:pic>
        <p:nvPicPr>
          <p:cNvPr id="12" name="Picture 11">
            <a:extLst>
              <a:ext uri="{FF2B5EF4-FFF2-40B4-BE49-F238E27FC236}">
                <a16:creationId xmlns:a16="http://schemas.microsoft.com/office/drawing/2014/main" id="{6BDEEC8F-31FA-4F6B-8EBB-2761293CCF34}"/>
              </a:ext>
            </a:extLst>
          </p:cNvPr>
          <p:cNvPicPr>
            <a:picLocks noChangeAspect="1"/>
          </p:cNvPicPr>
          <p:nvPr/>
        </p:nvPicPr>
        <p:blipFill>
          <a:blip r:embed="rId3"/>
          <a:stretch>
            <a:fillRect/>
          </a:stretch>
        </p:blipFill>
        <p:spPr>
          <a:xfrm>
            <a:off x="135451" y="2258008"/>
            <a:ext cx="5717060" cy="3844211"/>
          </a:xfrm>
          <a:prstGeom prst="rect">
            <a:avLst/>
          </a:prstGeom>
          <a:ln>
            <a:solidFill>
              <a:schemeClr val="bg2">
                <a:lumMod val="50000"/>
              </a:schemeClr>
            </a:solidFill>
          </a:ln>
          <a:effectLst/>
        </p:spPr>
      </p:pic>
      <p:sp>
        <p:nvSpPr>
          <p:cNvPr id="15" name="Text Placeholder 3">
            <a:extLst>
              <a:ext uri="{FF2B5EF4-FFF2-40B4-BE49-F238E27FC236}">
                <a16:creationId xmlns:a16="http://schemas.microsoft.com/office/drawing/2014/main" id="{250E5CDA-27D4-4F1C-AFB6-424CB7927C0B}"/>
              </a:ext>
            </a:extLst>
          </p:cNvPr>
          <p:cNvSpPr txBox="1">
            <a:spLocks/>
          </p:cNvSpPr>
          <p:nvPr/>
        </p:nvSpPr>
        <p:spPr>
          <a:xfrm>
            <a:off x="6460359" y="1129915"/>
            <a:ext cx="4231301" cy="1128094"/>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dirty="0">
                <a:solidFill>
                  <a:schemeClr val="tx2"/>
                </a:solidFill>
                <a:latin typeface="+mj-lt"/>
              </a:rPr>
              <a:t>Power Query</a:t>
            </a:r>
          </a:p>
          <a:p>
            <a:pPr>
              <a:lnSpc>
                <a:spcPct val="150000"/>
              </a:lnSpc>
              <a:spcAft>
                <a:spcPts val="600"/>
              </a:spcAft>
            </a:pPr>
            <a:r>
              <a:rPr lang="en-US" sz="1600" dirty="0">
                <a:solidFill>
                  <a:schemeClr val="tx1"/>
                </a:solidFill>
              </a:rPr>
              <a:t>Code free data preparation @scale</a:t>
            </a:r>
            <a:endParaRPr lang="en-US" sz="2000" dirty="0">
              <a:solidFill>
                <a:schemeClr val="tx1"/>
              </a:solidFill>
            </a:endParaRPr>
          </a:p>
        </p:txBody>
      </p:sp>
      <p:pic>
        <p:nvPicPr>
          <p:cNvPr id="6" name="Picture 5">
            <a:extLst>
              <a:ext uri="{FF2B5EF4-FFF2-40B4-BE49-F238E27FC236}">
                <a16:creationId xmlns:a16="http://schemas.microsoft.com/office/drawing/2014/main" id="{FC7F90BF-24E6-4FFE-ACFA-B0E3E2BC5230}"/>
              </a:ext>
            </a:extLst>
          </p:cNvPr>
          <p:cNvPicPr>
            <a:picLocks noChangeAspect="1"/>
          </p:cNvPicPr>
          <p:nvPr/>
        </p:nvPicPr>
        <p:blipFill>
          <a:blip r:embed="rId4"/>
          <a:stretch>
            <a:fillRect/>
          </a:stretch>
        </p:blipFill>
        <p:spPr>
          <a:xfrm>
            <a:off x="5982392" y="2318037"/>
            <a:ext cx="6244003" cy="3724151"/>
          </a:xfrm>
          <a:prstGeom prst="rect">
            <a:avLst/>
          </a:prstGeom>
        </p:spPr>
      </p:pic>
    </p:spTree>
    <p:extLst>
      <p:ext uri="{BB962C8B-B14F-4D97-AF65-F5344CB8AC3E}">
        <p14:creationId xmlns:p14="http://schemas.microsoft.com/office/powerpoint/2010/main" val="208653608"/>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5431EB-87AC-44C6-B7A9-C96216E08354}"/>
              </a:ext>
            </a:extLst>
          </p:cNvPr>
          <p:cNvSpPr>
            <a:spLocks noGrp="1"/>
          </p:cNvSpPr>
          <p:nvPr>
            <p:ph type="title"/>
          </p:nvPr>
        </p:nvSpPr>
        <p:spPr/>
        <p:txBody>
          <a:bodyPr/>
          <a:lstStyle/>
          <a:p>
            <a:r>
              <a:rPr lang="en-US" dirty="0"/>
              <a:t>Triggers</a:t>
            </a:r>
          </a:p>
        </p:txBody>
      </p:sp>
      <p:sp>
        <p:nvSpPr>
          <p:cNvPr id="4" name="Text Placeholder 3">
            <a:extLst>
              <a:ext uri="{FF2B5EF4-FFF2-40B4-BE49-F238E27FC236}">
                <a16:creationId xmlns:a16="http://schemas.microsoft.com/office/drawing/2014/main" id="{0F4EFC09-9557-4414-9AE6-9E216D0B11C8}"/>
              </a:ext>
            </a:extLst>
          </p:cNvPr>
          <p:cNvSpPr>
            <a:spLocks noGrp="1"/>
          </p:cNvSpPr>
          <p:nvPr>
            <p:ph type="body" sz="quarter" idx="11"/>
          </p:nvPr>
        </p:nvSpPr>
        <p:spPr>
          <a:xfrm>
            <a:off x="426424" y="1129914"/>
            <a:ext cx="4669451" cy="5128822"/>
          </a:xfrm>
        </p:spPr>
        <p:txBody>
          <a:bodyPr/>
          <a:lstStyle/>
          <a:p>
            <a:r>
              <a:rPr lang="en-US" sz="1800" dirty="0">
                <a:solidFill>
                  <a:schemeClr val="tx2"/>
                </a:solidFill>
                <a:latin typeface="+mj-lt"/>
              </a:rPr>
              <a:t>Overview</a:t>
            </a:r>
          </a:p>
          <a:p>
            <a:r>
              <a:rPr lang="en-US" sz="1600" dirty="0"/>
              <a:t>Triggers represent a unit of processing that determines when a pipeline execution needs to be kicked off. </a:t>
            </a:r>
          </a:p>
          <a:p>
            <a:r>
              <a:rPr lang="en-US" sz="1600" dirty="0"/>
              <a:t>Data Integration offers 3 trigger types as – </a:t>
            </a:r>
          </a:p>
          <a:p>
            <a:pPr marL="342900" indent="-342900">
              <a:buAutoNum type="arabicPeriod"/>
            </a:pPr>
            <a:r>
              <a:rPr lang="en-US" sz="1600" dirty="0"/>
              <a:t>Schedule – gets fired at a schedule with information of  start date, recurrence, end date</a:t>
            </a:r>
          </a:p>
          <a:p>
            <a:pPr marL="342900" indent="-342900">
              <a:buAutoNum type="arabicPeriod"/>
            </a:pPr>
            <a:r>
              <a:rPr lang="en-US" sz="1600" dirty="0"/>
              <a:t>Event – gets fired on specified event</a:t>
            </a:r>
          </a:p>
          <a:p>
            <a:pPr marL="342900" indent="-342900">
              <a:buAutoNum type="arabicPeriod"/>
            </a:pPr>
            <a:r>
              <a:rPr lang="en-US" sz="1600" dirty="0"/>
              <a:t>Tumbling window – gets fired at a periodic time interval from a specified start date, while retaining state</a:t>
            </a:r>
          </a:p>
          <a:p>
            <a:r>
              <a:rPr lang="en-US" sz="1600" dirty="0"/>
              <a:t>It also provides ability to monitor pipeline runs and control trigger execution.</a:t>
            </a:r>
          </a:p>
          <a:p>
            <a:endParaRPr lang="en-US" sz="1600" dirty="0"/>
          </a:p>
          <a:p>
            <a:r>
              <a:rPr lang="en-US" sz="1600" dirty="0"/>
              <a:t> </a:t>
            </a:r>
          </a:p>
        </p:txBody>
      </p:sp>
      <p:sp>
        <p:nvSpPr>
          <p:cNvPr id="5" name="Rectangle 4">
            <a:extLst>
              <a:ext uri="{FF2B5EF4-FFF2-40B4-BE49-F238E27FC236}">
                <a16:creationId xmlns:a16="http://schemas.microsoft.com/office/drawing/2014/main" id="{634D02F4-FA34-4697-9657-26176864B3DB}"/>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Integration</a:t>
            </a:r>
          </a:p>
        </p:txBody>
      </p:sp>
      <p:pic>
        <p:nvPicPr>
          <p:cNvPr id="111" name="Picture 110">
            <a:extLst>
              <a:ext uri="{FF2B5EF4-FFF2-40B4-BE49-F238E27FC236}">
                <a16:creationId xmlns:a16="http://schemas.microsoft.com/office/drawing/2014/main" id="{97A977FD-D9DC-4FF9-8B7F-C3A7C1F9784E}"/>
              </a:ext>
            </a:extLst>
          </p:cNvPr>
          <p:cNvPicPr>
            <a:picLocks noChangeAspect="1"/>
          </p:cNvPicPr>
          <p:nvPr/>
        </p:nvPicPr>
        <p:blipFill>
          <a:blip r:embed="rId2"/>
          <a:stretch>
            <a:fillRect/>
          </a:stretch>
        </p:blipFill>
        <p:spPr>
          <a:xfrm>
            <a:off x="5243965" y="723900"/>
            <a:ext cx="4280687" cy="5128823"/>
          </a:xfrm>
          <a:prstGeom prst="rect">
            <a:avLst/>
          </a:prstGeom>
          <a:ln>
            <a:solidFill>
              <a:schemeClr val="bg2">
                <a:lumMod val="50000"/>
              </a:schemeClr>
            </a:solidFill>
          </a:ln>
        </p:spPr>
      </p:pic>
      <p:pic>
        <p:nvPicPr>
          <p:cNvPr id="9" name="Picture 8">
            <a:extLst>
              <a:ext uri="{FF2B5EF4-FFF2-40B4-BE49-F238E27FC236}">
                <a16:creationId xmlns:a16="http://schemas.microsoft.com/office/drawing/2014/main" id="{DE83D40C-4A57-4133-A1FC-8C27445E8E00}"/>
              </a:ext>
            </a:extLst>
          </p:cNvPr>
          <p:cNvPicPr>
            <a:picLocks noChangeAspect="1"/>
          </p:cNvPicPr>
          <p:nvPr/>
        </p:nvPicPr>
        <p:blipFill>
          <a:blip r:embed="rId3"/>
          <a:stretch>
            <a:fillRect/>
          </a:stretch>
        </p:blipFill>
        <p:spPr>
          <a:xfrm>
            <a:off x="6132906" y="4710414"/>
            <a:ext cx="5962391" cy="2133732"/>
          </a:xfrm>
          <a:prstGeom prst="rect">
            <a:avLst/>
          </a:prstGeom>
          <a:ln>
            <a:solidFill>
              <a:schemeClr val="tx1"/>
            </a:solidFill>
          </a:ln>
        </p:spPr>
      </p:pic>
    </p:spTree>
    <p:extLst>
      <p:ext uri="{BB962C8B-B14F-4D97-AF65-F5344CB8AC3E}">
        <p14:creationId xmlns:p14="http://schemas.microsoft.com/office/powerpoint/2010/main" val="110486013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Two</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5" y="2801706"/>
            <a:ext cx="5199473" cy="2714589"/>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etup Integration Runtim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Create Synapse Pipeline</a:t>
            </a:r>
          </a:p>
          <a:p>
            <a:pPr marL="457200" indent="-457200">
              <a:buFont typeface="Arial" panose="020B0604020202020204" pitchFamily="34" charset="0"/>
              <a:buChar char="•"/>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 Ingestion from On-Premises Server</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64762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Three</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5" y="3429000"/>
            <a:ext cx="5199473" cy="2326791"/>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 Ingestion from On-Premises Server (Lookup)</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tructured Data to ADLS</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148386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B78487-CD6D-4A6B-9C53-EF73225C19C1}"/>
              </a:ext>
            </a:extLst>
          </p:cNvPr>
          <p:cNvSpPr txBox="1"/>
          <p:nvPr/>
        </p:nvSpPr>
        <p:spPr>
          <a:xfrm>
            <a:off x="561575" y="7597371"/>
            <a:ext cx="11068850" cy="731354"/>
          </a:xfrm>
          <a:prstGeom prst="rect">
            <a:avLst/>
          </a:prstGeom>
          <a:noFill/>
        </p:spPr>
        <p:txBody>
          <a:bodyPr wrap="square" lIns="0" tIns="0" rIns="0" bIns="0" rtlCol="0" anchor="t">
            <a:spAutoFit/>
          </a:bodyPr>
          <a:lstStyle/>
          <a:p>
            <a:pPr marL="0" marR="0" lvl="0" indent="0" algn="ctr" defTabSz="914367" rtl="0" eaLnBrk="1" fontAlgn="auto" latinLnBrk="0" hangingPunct="1">
              <a:lnSpc>
                <a:spcPts val="3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50E6FF"/>
                </a:solidFill>
                <a:effectLst/>
                <a:uLnTx/>
                <a:uFillTx/>
                <a:latin typeface="Segoe UI Semibold"/>
                <a:ea typeface="+mn-ea"/>
                <a:cs typeface="Segoe UI"/>
              </a:rPr>
              <a:t>Azure Synapse is the only unified platform for analytics</a:t>
            </a:r>
            <a:r>
              <a:rPr kumimoji="0" lang="en-US" sz="2000" b="0" i="0" u="none" strike="noStrike" kern="0" cap="none" spc="0" normalizeH="0" baseline="0" noProof="0">
                <a:ln w="3175">
                  <a:noFill/>
                </a:ln>
                <a:solidFill>
                  <a:srgbClr val="FFFFFF"/>
                </a:solidFill>
                <a:effectLst/>
                <a:uLnTx/>
                <a:uFillTx/>
                <a:latin typeface="Segoe UI"/>
                <a:ea typeface="+mn-ea"/>
                <a:cs typeface="Segoe UI"/>
              </a:rPr>
              <a:t>, blending big data, data warehousing, and data integration into a </a:t>
            </a:r>
            <a:r>
              <a:rPr kumimoji="0" lang="en-US" sz="2000" b="0" i="0" u="none" strike="noStrike" kern="0" cap="none" spc="0" normalizeH="0" baseline="0" noProof="0">
                <a:ln w="3175">
                  <a:noFill/>
                </a:ln>
                <a:solidFill>
                  <a:srgbClr val="50E6FF"/>
                </a:solidFill>
                <a:effectLst/>
                <a:uLnTx/>
                <a:uFillTx/>
                <a:latin typeface="Segoe UI Semibold"/>
                <a:ea typeface="+mn-ea"/>
                <a:cs typeface="Segoe UI"/>
              </a:rPr>
              <a:t>single cloud native service </a:t>
            </a:r>
            <a:r>
              <a:rPr kumimoji="0" lang="en-US" sz="2000" b="0" i="0" u="none" strike="noStrike" kern="0" cap="none" spc="0" normalizeH="0" baseline="0" noProof="0">
                <a:ln w="3175">
                  <a:noFill/>
                </a:ln>
                <a:solidFill>
                  <a:srgbClr val="FFFFFF"/>
                </a:solidFill>
                <a:effectLst/>
                <a:uLnTx/>
                <a:uFillTx/>
                <a:latin typeface="Segoe UI"/>
                <a:ea typeface="+mn-ea"/>
                <a:cs typeface="Segoe UI"/>
              </a:rPr>
              <a:t>for end-to-end analytics at cloud scale. </a:t>
            </a:r>
          </a:p>
        </p:txBody>
      </p:sp>
      <p:sp>
        <p:nvSpPr>
          <p:cNvPr id="10" name="TextBox 9">
            <a:extLst>
              <a:ext uri="{FF2B5EF4-FFF2-40B4-BE49-F238E27FC236}">
                <a16:creationId xmlns:a16="http://schemas.microsoft.com/office/drawing/2014/main" id="{E2AE43D5-D51E-4227-8FEB-1D1720751016}"/>
              </a:ext>
            </a:extLst>
          </p:cNvPr>
          <p:cNvSpPr txBox="1"/>
          <p:nvPr/>
        </p:nvSpPr>
        <p:spPr>
          <a:xfrm>
            <a:off x="3940704" y="3434261"/>
            <a:ext cx="3319330" cy="242374"/>
          </a:xfrm>
          <a:prstGeom prst="rect">
            <a:avLst/>
          </a:prstGeom>
          <a:noFill/>
        </p:spPr>
        <p:txBody>
          <a:bodyPr wrap="square" lIns="0" tIns="0" rIns="0" bIns="0" rtlCol="0" anchor="t">
            <a:spAutoFit/>
          </a:bodyPr>
          <a:lstStyle/>
          <a:p>
            <a:pPr algn="r" defTabSz="913742">
              <a:lnSpc>
                <a:spcPct val="90000"/>
              </a:lnSpc>
              <a:spcAft>
                <a:spcPts val="588"/>
              </a:spcAft>
              <a:defRPr/>
            </a:pPr>
            <a:r>
              <a:rPr lang="en-US" sz="1750">
                <a:gradFill>
                  <a:gsLst>
                    <a:gs pos="81091">
                      <a:srgbClr val="FFFFFF"/>
                    </a:gs>
                    <a:gs pos="53818">
                      <a:srgbClr val="FFFFFF"/>
                    </a:gs>
                  </a:gsLst>
                  <a:lin ang="5400000" scaled="0"/>
                </a:gradFill>
                <a:latin typeface="Segoe UI Semibold"/>
                <a:ea typeface="MS PGothic"/>
                <a:cs typeface="Segoe UI Semibold"/>
              </a:rPr>
              <a:t>Data integration</a:t>
            </a:r>
            <a:endPar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endParaRPr>
          </a:p>
        </p:txBody>
      </p:sp>
      <p:sp>
        <p:nvSpPr>
          <p:cNvPr id="11" name="TextBox 10">
            <a:extLst>
              <a:ext uri="{FF2B5EF4-FFF2-40B4-BE49-F238E27FC236}">
                <a16:creationId xmlns:a16="http://schemas.microsoft.com/office/drawing/2014/main" id="{5D586834-93A0-4034-97F4-1BB66A1B88B1}"/>
              </a:ext>
            </a:extLst>
          </p:cNvPr>
          <p:cNvSpPr txBox="1"/>
          <p:nvPr/>
        </p:nvSpPr>
        <p:spPr>
          <a:xfrm>
            <a:off x="3940704" y="5038062"/>
            <a:ext cx="3319330" cy="249299"/>
          </a:xfrm>
          <a:prstGeom prst="rect">
            <a:avLst/>
          </a:prstGeom>
          <a:noFill/>
        </p:spPr>
        <p:txBody>
          <a:bodyPr wrap="square" lIns="0" tIns="0" rIns="0" bIns="0" rtlCol="0">
            <a:spAutoFit/>
          </a:bodyPr>
          <a:lstStyle/>
          <a:p>
            <a:pPr algn="r" defTabSz="913742">
              <a:lnSpc>
                <a:spcPct val="90000"/>
              </a:lnSpc>
              <a:spcAft>
                <a:spcPts val="588"/>
              </a:spcAft>
              <a:defRPr/>
            </a:pPr>
            <a:r>
              <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rPr>
              <a:t>Data warehousing</a:t>
            </a:r>
          </a:p>
        </p:txBody>
      </p:sp>
      <p:sp>
        <p:nvSpPr>
          <p:cNvPr id="12" name="TextBox 11">
            <a:extLst>
              <a:ext uri="{FF2B5EF4-FFF2-40B4-BE49-F238E27FC236}">
                <a16:creationId xmlns:a16="http://schemas.microsoft.com/office/drawing/2014/main" id="{1EE367C4-C4DE-4087-A3C3-024C5FE3FB13}"/>
              </a:ext>
            </a:extLst>
          </p:cNvPr>
          <p:cNvSpPr txBox="1"/>
          <p:nvPr/>
        </p:nvSpPr>
        <p:spPr>
          <a:xfrm>
            <a:off x="9582672" y="4285601"/>
            <a:ext cx="3319330" cy="249299"/>
          </a:xfrm>
          <a:prstGeom prst="rect">
            <a:avLst/>
          </a:prstGeom>
          <a:noFill/>
        </p:spPr>
        <p:txBody>
          <a:bodyPr wrap="square" lIns="0" tIns="0" rIns="0" bIns="0" rtlCol="0">
            <a:spAutoFit/>
          </a:bodyPr>
          <a:lstStyle/>
          <a:p>
            <a:pPr defTabSz="913742">
              <a:lnSpc>
                <a:spcPct val="90000"/>
              </a:lnSpc>
              <a:spcAft>
                <a:spcPts val="588"/>
              </a:spcAft>
              <a:defRPr/>
            </a:pPr>
            <a:r>
              <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rPr>
              <a:t>Big data analytics</a:t>
            </a:r>
          </a:p>
        </p:txBody>
      </p:sp>
      <p:sp>
        <p:nvSpPr>
          <p:cNvPr id="14" name="Text Placeholder 2">
            <a:extLst>
              <a:ext uri="{FF2B5EF4-FFF2-40B4-BE49-F238E27FC236}">
                <a16:creationId xmlns:a16="http://schemas.microsoft.com/office/drawing/2014/main" id="{FED1F0DF-735F-43BF-BB08-CA251D5EC2FD}"/>
              </a:ext>
            </a:extLst>
          </p:cNvPr>
          <p:cNvSpPr txBox="1">
            <a:spLocks/>
          </p:cNvSpPr>
          <p:nvPr/>
        </p:nvSpPr>
        <p:spPr>
          <a:xfrm>
            <a:off x="588263" y="2504412"/>
            <a:ext cx="3995770" cy="17081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The </a:t>
            </a:r>
            <a:r>
              <a:rPr kumimoji="0" lang="en-US" sz="20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first</a:t>
            </a: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 unified, cloud native platform for converged analytics</a:t>
            </a:r>
            <a:endParaRPr kumimoji="0" lang="en-US" sz="16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chemeClr val="accent2"/>
                </a:solidFill>
                <a:effectLst/>
                <a:uLnTx/>
                <a:uFillTx/>
                <a:latin typeface="Segoe UI"/>
                <a:ea typeface="+mn-ea"/>
                <a:cs typeface="Segoe UI" panose="020B0502040204020203" pitchFamily="34" charset="0"/>
              </a:rPr>
              <a:t>Azure Synapse is the only unified platform for analytics</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 blending big data, data warehousing, and data integration into a </a:t>
            </a:r>
            <a:r>
              <a:rPr kumimoji="0" lang="en-US" sz="1400" b="0" i="0" u="none" strike="noStrike" kern="1200" cap="none" spc="0" normalizeH="0" baseline="0" noProof="0" dirty="0">
                <a:ln>
                  <a:noFill/>
                </a:ln>
                <a:solidFill>
                  <a:schemeClr val="accent2"/>
                </a:solidFill>
                <a:effectLst/>
                <a:uLnTx/>
                <a:uFillTx/>
                <a:latin typeface="Segoe UI"/>
                <a:ea typeface="+mn-ea"/>
                <a:cs typeface="Segoe UI" panose="020B0502040204020203" pitchFamily="34" charset="0"/>
              </a:rPr>
              <a:t>single cloud native service </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for end-to-end analytics at cloud scale. </a:t>
            </a:r>
          </a:p>
        </p:txBody>
      </p:sp>
      <p:grpSp>
        <p:nvGrpSpPr>
          <p:cNvPr id="7" name="Group 6">
            <a:extLst>
              <a:ext uri="{FF2B5EF4-FFF2-40B4-BE49-F238E27FC236}">
                <a16:creationId xmlns:a16="http://schemas.microsoft.com/office/drawing/2014/main" id="{6398F2F5-9088-4B7A-BF83-4BA3F10AE196}"/>
              </a:ext>
            </a:extLst>
          </p:cNvPr>
          <p:cNvGrpSpPr/>
          <p:nvPr/>
        </p:nvGrpSpPr>
        <p:grpSpPr>
          <a:xfrm>
            <a:off x="0" y="986388"/>
            <a:ext cx="4751388" cy="1283389"/>
            <a:chOff x="0" y="986388"/>
            <a:chExt cx="4751388" cy="1283389"/>
          </a:xfrm>
        </p:grpSpPr>
        <p:sp>
          <p:nvSpPr>
            <p:cNvPr id="13" name="Title 1">
              <a:extLst>
                <a:ext uri="{FF2B5EF4-FFF2-40B4-BE49-F238E27FC236}">
                  <a16:creationId xmlns:a16="http://schemas.microsoft.com/office/drawing/2014/main" id="{E9BEC0F2-60F1-4965-A537-3C5EE141DF1E}"/>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Analytics</a:t>
              </a:r>
            </a:p>
          </p:txBody>
        </p:sp>
        <p:cxnSp>
          <p:nvCxnSpPr>
            <p:cNvPr id="15" name="Straight Connector 14">
              <a:extLst>
                <a:ext uri="{FF2B5EF4-FFF2-40B4-BE49-F238E27FC236}">
                  <a16:creationId xmlns:a16="http://schemas.microsoft.com/office/drawing/2014/main" id="{61FE06CD-90F7-43D8-893C-F8AC472A5EBC}"/>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6" name="Graphic 5">
            <a:extLst>
              <a:ext uri="{FF2B5EF4-FFF2-40B4-BE49-F238E27FC236}">
                <a16:creationId xmlns:a16="http://schemas.microsoft.com/office/drawing/2014/main" id="{BD53CFB6-2B26-4F35-A3ED-62557058D9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79864" y="4477584"/>
            <a:ext cx="2364477" cy="1550956"/>
          </a:xfrm>
          <a:prstGeom prst="rect">
            <a:avLst/>
          </a:prstGeom>
        </p:spPr>
      </p:pic>
      <p:pic>
        <p:nvPicPr>
          <p:cNvPr id="5" name="Graphic 4">
            <a:extLst>
              <a:ext uri="{FF2B5EF4-FFF2-40B4-BE49-F238E27FC236}">
                <a16:creationId xmlns:a16="http://schemas.microsoft.com/office/drawing/2014/main" id="{0FAED8F3-87CE-44BF-8D5E-23E7D761E2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79864" y="3717244"/>
            <a:ext cx="2364477" cy="1550956"/>
          </a:xfrm>
          <a:prstGeom prst="rect">
            <a:avLst/>
          </a:prstGeom>
        </p:spPr>
      </p:pic>
      <p:pic>
        <p:nvPicPr>
          <p:cNvPr id="3" name="Graphic 2">
            <a:extLst>
              <a:ext uri="{FF2B5EF4-FFF2-40B4-BE49-F238E27FC236}">
                <a16:creationId xmlns:a16="http://schemas.microsoft.com/office/drawing/2014/main" id="{F96EBA14-EF02-42D3-9ECA-098310E6F2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76938" y="2885659"/>
            <a:ext cx="2370330" cy="1550956"/>
          </a:xfrm>
          <a:prstGeom prst="rect">
            <a:avLst/>
          </a:prstGeom>
        </p:spPr>
      </p:pic>
      <p:pic>
        <p:nvPicPr>
          <p:cNvPr id="2" name="Graphic 1">
            <a:extLst>
              <a:ext uri="{FF2B5EF4-FFF2-40B4-BE49-F238E27FC236}">
                <a16:creationId xmlns:a16="http://schemas.microsoft.com/office/drawing/2014/main" id="{BD3FBF4D-44EE-434B-A07B-DF578BC12F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43841" y="1162050"/>
            <a:ext cx="3236524" cy="2639552"/>
          </a:xfrm>
          <a:prstGeom prst="rect">
            <a:avLst/>
          </a:prstGeom>
        </p:spPr>
      </p:pic>
    </p:spTree>
    <p:extLst>
      <p:ext uri="{BB962C8B-B14F-4D97-AF65-F5344CB8AC3E}">
        <p14:creationId xmlns:p14="http://schemas.microsoft.com/office/powerpoint/2010/main" val="104988971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Four</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202407" y="3429000"/>
            <a:ext cx="5443752" cy="1938992"/>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Ingest Data using Polybas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Ingest Data using COPY INTO</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80572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C76C1E-C7B8-46A6-A431-EAA764642AEB}"/>
              </a:ext>
            </a:extLst>
          </p:cNvPr>
          <p:cNvGrpSpPr/>
          <p:nvPr/>
        </p:nvGrpSpPr>
        <p:grpSpPr>
          <a:xfrm>
            <a:off x="0" y="2642332"/>
            <a:ext cx="9144000" cy="1392390"/>
            <a:chOff x="152400" y="2794732"/>
            <a:chExt cx="9144000" cy="1392390"/>
          </a:xfrm>
        </p:grpSpPr>
        <p:sp>
          <p:nvSpPr>
            <p:cNvPr id="6" name="Title 2">
              <a:extLst>
                <a:ext uri="{FF2B5EF4-FFF2-40B4-BE49-F238E27FC236}">
                  <a16:creationId xmlns:a16="http://schemas.microsoft.com/office/drawing/2014/main" id="{D7CA0EA2-A9E4-4C98-BB07-510AC079A4F7}"/>
                </a:ext>
              </a:extLst>
            </p:cNvPr>
            <p:cNvSpPr txBox="1">
              <a:spLocks/>
            </p:cNvSpPr>
            <p:nvPr/>
          </p:nvSpPr>
          <p:spPr>
            <a:xfrm>
              <a:off x="740662" y="2794732"/>
              <a:ext cx="6117338" cy="553998"/>
            </a:xfrm>
            <a:prstGeom prst="rect">
              <a:avLst/>
            </a:prstGeom>
          </p:spPr>
          <p:txBody>
            <a:bodyPr vert="horz" wrap="square" lIns="0" tIns="164592" rIns="0" bIns="0" rtlCol="0" anchor="b">
              <a:noAutofit/>
            </a:bodyPr>
            <a:lstStyle>
              <a:lvl1pPr algn="l" defTabSz="914192" rtl="0" eaLnBrk="1" latinLnBrk="0" hangingPunct="1">
                <a:lnSpc>
                  <a:spcPct val="90000"/>
                </a:lnSpc>
                <a:spcBef>
                  <a:spcPct val="0"/>
                </a:spcBef>
                <a:buNone/>
                <a:defRPr lang="en-US" sz="3200" b="0" kern="1200" cap="none" spc="-147" baseline="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47" normalizeH="0" baseline="0" noProof="0">
                  <a:ln w="3175">
                    <a:noFill/>
                  </a:ln>
                  <a:solidFill>
                    <a:srgbClr val="FFFFFF"/>
                  </a:solidFill>
                  <a:effectLst/>
                  <a:uLnTx/>
                  <a:uFillTx/>
                  <a:latin typeface="Segoe UI Semibold"/>
                  <a:ea typeface="+mn-ea"/>
                  <a:cs typeface="Segoe UI" pitchFamily="34" charset="0"/>
                </a:rPr>
                <a:t>Power BI + Azure Synapse</a:t>
              </a:r>
            </a:p>
          </p:txBody>
        </p:sp>
        <p:sp>
          <p:nvSpPr>
            <p:cNvPr id="7" name="Text Placeholder 12">
              <a:extLst>
                <a:ext uri="{FF2B5EF4-FFF2-40B4-BE49-F238E27FC236}">
                  <a16:creationId xmlns:a16="http://schemas.microsoft.com/office/drawing/2014/main" id="{D2FA3EB1-0A61-482A-ADEA-F8C5A2B8831E}"/>
                </a:ext>
              </a:extLst>
            </p:cNvPr>
            <p:cNvSpPr txBox="1">
              <a:spLocks/>
            </p:cNvSpPr>
            <p:nvPr/>
          </p:nvSpPr>
          <p:spPr>
            <a:xfrm>
              <a:off x="740662" y="3817790"/>
              <a:ext cx="7427755" cy="369332"/>
            </a:xfrm>
            <a:prstGeom prst="rect">
              <a:avLst/>
            </a:prstGeom>
          </p:spPr>
          <p:txBody>
            <a:bodyPr vert="horz" wrap="square" lIns="0" tIns="0" rIns="0" bIns="0" rtlCol="0" anchor="t">
              <a:spAutoFit/>
            </a:bodyPr>
            <a:lstStyle>
              <a:lvl1pPr marL="0" marR="0" indent="0" algn="l" defTabSz="114300" rtl="0" eaLnBrk="1" fontAlgn="auto" latinLnBrk="0" hangingPunct="1">
                <a:lnSpc>
                  <a:spcPct val="100000"/>
                </a:lnSpc>
                <a:spcBef>
                  <a:spcPts val="1800"/>
                </a:spcBef>
                <a:spcAft>
                  <a:spcPts val="1200"/>
                </a:spcAft>
                <a:buClrTx/>
                <a:buSzPct val="90000"/>
                <a:buFont typeface="Wingdings" panose="05000000000000000000" pitchFamily="2" charset="2"/>
                <a:buNone/>
                <a:tabLst/>
                <a:defRPr sz="2400" kern="1200" spc="0" baseline="0">
                  <a:solidFill>
                    <a:schemeClr val="accent2"/>
                  </a:solidFill>
                  <a:latin typeface="+mj-lt"/>
                  <a:ea typeface="+mn-ea"/>
                  <a:cs typeface="+mn-cs"/>
                </a:defRPr>
              </a:lvl1pPr>
              <a:lvl2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600" kern="1200" spc="0" baseline="0">
                  <a:solidFill>
                    <a:srgbClr val="000000"/>
                  </a:solidFill>
                  <a:latin typeface="+mn-lt"/>
                  <a:ea typeface="+mn-ea"/>
                  <a:cs typeface="+mn-cs"/>
                </a:defRPr>
              </a:lvl2pPr>
              <a:lvl3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800" b="1" kern="1200" spc="0" baseline="0">
                  <a:solidFill>
                    <a:srgbClr val="000000"/>
                  </a:solidFill>
                  <a:latin typeface="+mj-lt"/>
                  <a:ea typeface="+mn-ea"/>
                  <a:cs typeface="+mn-cs"/>
                </a:defRPr>
              </a:lvl3pPr>
              <a:lvl4pPr marL="0" marR="0" indent="0" algn="l" defTabSz="114300"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1" kern="1200" spc="0" baseline="0">
                  <a:solidFill>
                    <a:srgbClr val="000000"/>
                  </a:solidFill>
                  <a:latin typeface="+mn-lt"/>
                  <a:ea typeface="+mn-ea"/>
                  <a:cs typeface="+mn-cs"/>
                </a:defRPr>
              </a:lvl4pPr>
              <a:lvl5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4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An unmatched combination</a:t>
              </a:r>
              <a:endParaRPr kumimoji="0" lang="en-US" sz="2400" b="0" i="0" u="none" strike="noStrike" kern="1200" cap="none" spc="0" normalizeH="0" baseline="0" noProof="0">
                <a:ln>
                  <a:noFill/>
                </a:ln>
                <a:solidFill>
                  <a:srgbClr val="D2D2D2"/>
                </a:solidFill>
                <a:effectLst/>
                <a:uLnTx/>
                <a:uFillTx/>
                <a:latin typeface="Segoe UI Semibold"/>
                <a:ea typeface="+mn-ea"/>
                <a:cs typeface="+mn-cs"/>
              </a:endParaRPr>
            </a:p>
          </p:txBody>
        </p:sp>
        <p:cxnSp>
          <p:nvCxnSpPr>
            <p:cNvPr id="8" name="Straight Connector 7">
              <a:extLst>
                <a:ext uri="{FF2B5EF4-FFF2-40B4-BE49-F238E27FC236}">
                  <a16:creationId xmlns:a16="http://schemas.microsoft.com/office/drawing/2014/main" id="{F34E7DD3-F41E-4178-873E-94C7206F2188}"/>
                </a:ext>
              </a:extLst>
            </p:cNvPr>
            <p:cNvCxnSpPr>
              <a:cxnSpLocks/>
            </p:cNvCxnSpPr>
            <p:nvPr/>
          </p:nvCxnSpPr>
          <p:spPr>
            <a:xfrm>
              <a:off x="152400" y="3580416"/>
              <a:ext cx="9144000" cy="0"/>
            </a:xfrm>
            <a:prstGeom prst="line">
              <a:avLst/>
            </a:prstGeom>
            <a:noFill/>
            <a:ln w="19050" cap="flat" cmpd="sng" algn="ctr">
              <a:solidFill>
                <a:srgbClr val="50E6FF"/>
              </a:solidFill>
              <a:prstDash val="solid"/>
              <a:headEnd type="none"/>
              <a:tailEnd type="none"/>
            </a:ln>
            <a:effectLst/>
          </p:spPr>
        </p:cxnSp>
      </p:grpSp>
    </p:spTree>
    <p:extLst>
      <p:ext uri="{BB962C8B-B14F-4D97-AF65-F5344CB8AC3E}">
        <p14:creationId xmlns:p14="http://schemas.microsoft.com/office/powerpoint/2010/main" val="76359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Group 108">
            <a:extLst>
              <a:ext uri="{FF2B5EF4-FFF2-40B4-BE49-F238E27FC236}">
                <a16:creationId xmlns:a16="http://schemas.microsoft.com/office/drawing/2014/main" id="{3744346A-17C3-43B8-95E4-454473BC2511}"/>
              </a:ext>
            </a:extLst>
          </p:cNvPr>
          <p:cNvGrpSpPr/>
          <p:nvPr/>
        </p:nvGrpSpPr>
        <p:grpSpPr>
          <a:xfrm>
            <a:off x="4603105" y="573026"/>
            <a:ext cx="2990850" cy="1653816"/>
            <a:chOff x="4600575" y="573026"/>
            <a:chExt cx="2990850" cy="1653816"/>
          </a:xfrm>
        </p:grpSpPr>
        <p:grpSp>
          <p:nvGrpSpPr>
            <p:cNvPr id="3" name="Group 2">
              <a:extLst>
                <a:ext uri="{FF2B5EF4-FFF2-40B4-BE49-F238E27FC236}">
                  <a16:creationId xmlns:a16="http://schemas.microsoft.com/office/drawing/2014/main" id="{D2A3D3E2-13C3-4614-A71B-0763F7C6F238}"/>
                </a:ext>
              </a:extLst>
            </p:cNvPr>
            <p:cNvGrpSpPr/>
            <p:nvPr/>
          </p:nvGrpSpPr>
          <p:grpSpPr>
            <a:xfrm>
              <a:off x="5495925" y="573026"/>
              <a:ext cx="1200150" cy="1200150"/>
              <a:chOff x="5495925" y="573026"/>
              <a:chExt cx="1200150" cy="1200150"/>
            </a:xfrm>
          </p:grpSpPr>
          <p:sp>
            <p:nvSpPr>
              <p:cNvPr id="2" name="Oval 1">
                <a:extLst>
                  <a:ext uri="{FF2B5EF4-FFF2-40B4-BE49-F238E27FC236}">
                    <a16:creationId xmlns:a16="http://schemas.microsoft.com/office/drawing/2014/main" id="{67C164AD-A306-44CE-84F2-13D2A28CDCF5}"/>
                  </a:ext>
                </a:extLst>
              </p:cNvPr>
              <p:cNvSpPr/>
              <p:nvPr/>
            </p:nvSpPr>
            <p:spPr bwMode="auto">
              <a:xfrm>
                <a:off x="5495925" y="573026"/>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3" name="Picture 12" descr="Azure Synapse Icon">
                <a:extLst>
                  <a:ext uri="{FF2B5EF4-FFF2-40B4-BE49-F238E27FC236}">
                    <a16:creationId xmlns:a16="http://schemas.microsoft.com/office/drawing/2014/main" id="{9BF170C6-09E7-439B-95E4-5993005882DB}"/>
                  </a:ext>
                </a:extLst>
              </p:cNvPr>
              <p:cNvPicPr>
                <a:picLocks noChangeAspect="1"/>
              </p:cNvPicPr>
              <p:nvPr/>
            </p:nvPicPr>
            <p:blipFill>
              <a:blip r:embed="rId3"/>
              <a:stretch>
                <a:fillRect/>
              </a:stretch>
            </p:blipFill>
            <p:spPr>
              <a:xfrm>
                <a:off x="5715000" y="792105"/>
                <a:ext cx="762000" cy="761992"/>
              </a:xfrm>
              <a:prstGeom prst="rect">
                <a:avLst/>
              </a:prstGeom>
            </p:spPr>
          </p:pic>
        </p:grpSp>
        <p:sp>
          <p:nvSpPr>
            <p:cNvPr id="15" name="Text Placeholder 2">
              <a:extLst>
                <a:ext uri="{FF2B5EF4-FFF2-40B4-BE49-F238E27FC236}">
                  <a16:creationId xmlns:a16="http://schemas.microsoft.com/office/drawing/2014/main" id="{04C98763-FA55-4F71-8FFC-CE195B2868D2}"/>
                </a:ext>
              </a:extLst>
            </p:cNvPr>
            <p:cNvSpPr txBox="1">
              <a:spLocks/>
            </p:cNvSpPr>
            <p:nvPr/>
          </p:nvSpPr>
          <p:spPr>
            <a:xfrm>
              <a:off x="4600575" y="1949843"/>
              <a:ext cx="2990850"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zure Synapse Analytics</a:t>
              </a:r>
            </a:p>
          </p:txBody>
        </p:sp>
      </p:grpSp>
      <p:cxnSp>
        <p:nvCxnSpPr>
          <p:cNvPr id="20" name="Connector: Elbow 19">
            <a:extLst>
              <a:ext uri="{FF2B5EF4-FFF2-40B4-BE49-F238E27FC236}">
                <a16:creationId xmlns:a16="http://schemas.microsoft.com/office/drawing/2014/main" id="{8492712B-52AF-45D0-BAB8-8287D8AB85BC}"/>
              </a:ext>
            </a:extLst>
          </p:cNvPr>
          <p:cNvCxnSpPr>
            <a:cxnSpLocks/>
          </p:cNvCxnSpPr>
          <p:nvPr/>
        </p:nvCxnSpPr>
        <p:spPr>
          <a:xfrm rot="10800000" flipV="1">
            <a:off x="3143343" y="1173101"/>
            <a:ext cx="2060162" cy="684069"/>
          </a:xfrm>
          <a:prstGeom prst="bentConnector2">
            <a:avLst/>
          </a:prstGeom>
          <a:ln w="1905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0F616EEC-91B6-496A-9C32-A0D67D595F2B}"/>
              </a:ext>
            </a:extLst>
          </p:cNvPr>
          <p:cNvGrpSpPr/>
          <p:nvPr/>
        </p:nvGrpSpPr>
        <p:grpSpPr>
          <a:xfrm>
            <a:off x="7448368" y="2164499"/>
            <a:ext cx="3200582" cy="1653247"/>
            <a:chOff x="7448368" y="2164499"/>
            <a:chExt cx="3200582" cy="1653247"/>
          </a:xfrm>
        </p:grpSpPr>
        <p:sp>
          <p:nvSpPr>
            <p:cNvPr id="16" name="Text Placeholder 2">
              <a:extLst>
                <a:ext uri="{FF2B5EF4-FFF2-40B4-BE49-F238E27FC236}">
                  <a16:creationId xmlns:a16="http://schemas.microsoft.com/office/drawing/2014/main" id="{339B481A-EB2B-457D-A87B-F92010B7A87C}"/>
                </a:ext>
              </a:extLst>
            </p:cNvPr>
            <p:cNvSpPr txBox="1">
              <a:spLocks/>
            </p:cNvSpPr>
            <p:nvPr/>
          </p:nvSpPr>
          <p:spPr>
            <a:xfrm>
              <a:off x="7448368" y="3540747"/>
              <a:ext cx="320058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zure Machine Learning </a:t>
              </a:r>
            </a:p>
          </p:txBody>
        </p:sp>
        <p:sp>
          <p:nvSpPr>
            <p:cNvPr id="88" name="Oval 87">
              <a:extLst>
                <a:ext uri="{FF2B5EF4-FFF2-40B4-BE49-F238E27FC236}">
                  <a16:creationId xmlns:a16="http://schemas.microsoft.com/office/drawing/2014/main" id="{1316485E-C84D-42E7-9C0D-EBCD18892B8F}"/>
                </a:ext>
              </a:extLst>
            </p:cNvPr>
            <p:cNvSpPr/>
            <p:nvPr/>
          </p:nvSpPr>
          <p:spPr bwMode="auto">
            <a:xfrm>
              <a:off x="8448584" y="2164499"/>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9" name="Azure Machine Learning" descr="Azure Machine Learning logo">
              <a:extLst>
                <a:ext uri="{FF2B5EF4-FFF2-40B4-BE49-F238E27FC236}">
                  <a16:creationId xmlns:a16="http://schemas.microsoft.com/office/drawing/2014/main" id="{7D017DD1-98AC-4DE9-B4C0-3BE16C533F0A}"/>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8734908" y="2444134"/>
              <a:ext cx="627502" cy="627494"/>
            </a:xfrm>
            <a:prstGeom prst="rect">
              <a:avLst/>
            </a:prstGeom>
          </p:spPr>
        </p:pic>
      </p:grpSp>
      <p:cxnSp>
        <p:nvCxnSpPr>
          <p:cNvPr id="98" name="Connector: Elbow 97">
            <a:extLst>
              <a:ext uri="{FF2B5EF4-FFF2-40B4-BE49-F238E27FC236}">
                <a16:creationId xmlns:a16="http://schemas.microsoft.com/office/drawing/2014/main" id="{B49F5489-ED2F-4D5B-9C33-D8C5101EF9E1}"/>
              </a:ext>
            </a:extLst>
          </p:cNvPr>
          <p:cNvCxnSpPr>
            <a:cxnSpLocks/>
          </p:cNvCxnSpPr>
          <p:nvPr/>
        </p:nvCxnSpPr>
        <p:spPr>
          <a:xfrm>
            <a:off x="6993555" y="1173102"/>
            <a:ext cx="2055105" cy="684069"/>
          </a:xfrm>
          <a:prstGeom prst="bentConnector2">
            <a:avLst/>
          </a:prstGeom>
          <a:ln w="1905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BBBF60A9-D642-4487-A819-B13042F4B40B}"/>
              </a:ext>
            </a:extLst>
          </p:cNvPr>
          <p:cNvGrpSpPr/>
          <p:nvPr/>
        </p:nvGrpSpPr>
        <p:grpSpPr>
          <a:xfrm>
            <a:off x="2128011" y="2164499"/>
            <a:ext cx="2030662" cy="1653247"/>
            <a:chOff x="2128011" y="2164499"/>
            <a:chExt cx="2030662" cy="1653247"/>
          </a:xfrm>
        </p:grpSpPr>
        <p:sp>
          <p:nvSpPr>
            <p:cNvPr id="93" name="Text Placeholder 2">
              <a:extLst>
                <a:ext uri="{FF2B5EF4-FFF2-40B4-BE49-F238E27FC236}">
                  <a16:creationId xmlns:a16="http://schemas.microsoft.com/office/drawing/2014/main" id="{8A911D40-6C4B-43B2-A281-E68233B5A0C5}"/>
                </a:ext>
              </a:extLst>
            </p:cNvPr>
            <p:cNvSpPr txBox="1">
              <a:spLocks/>
            </p:cNvSpPr>
            <p:nvPr/>
          </p:nvSpPr>
          <p:spPr>
            <a:xfrm>
              <a:off x="2128011" y="3540747"/>
              <a:ext cx="203066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Power BI</a:t>
              </a:r>
            </a:p>
          </p:txBody>
        </p:sp>
        <p:sp>
          <p:nvSpPr>
            <p:cNvPr id="94" name="Oval 93">
              <a:extLst>
                <a:ext uri="{FF2B5EF4-FFF2-40B4-BE49-F238E27FC236}">
                  <a16:creationId xmlns:a16="http://schemas.microsoft.com/office/drawing/2014/main" id="{5F30114D-9879-4986-9656-0091BCC544DA}"/>
                </a:ext>
              </a:extLst>
            </p:cNvPr>
            <p:cNvSpPr/>
            <p:nvPr/>
          </p:nvSpPr>
          <p:spPr bwMode="auto">
            <a:xfrm>
              <a:off x="2543267" y="2164499"/>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8" name="Picture 6">
              <a:extLst>
                <a:ext uri="{FF2B5EF4-FFF2-40B4-BE49-F238E27FC236}">
                  <a16:creationId xmlns:a16="http://schemas.microsoft.com/office/drawing/2014/main" id="{70604BEE-79EC-4A1C-8840-6E034CFFEC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98099" y="2419331"/>
              <a:ext cx="690486" cy="690486"/>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TextBox 21">
            <a:extLst>
              <a:ext uri="{FF2B5EF4-FFF2-40B4-BE49-F238E27FC236}">
                <a16:creationId xmlns:a16="http://schemas.microsoft.com/office/drawing/2014/main" id="{FC6C2E45-38CE-48A6-92B2-3571DC43B338}"/>
              </a:ext>
            </a:extLst>
          </p:cNvPr>
          <p:cNvSpPr txBox="1"/>
          <p:nvPr/>
        </p:nvSpPr>
        <p:spPr>
          <a:xfrm>
            <a:off x="3804959" y="4863361"/>
            <a:ext cx="4582082" cy="10772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Unified experience to enrich data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Automated ML for rapid development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Seamless collaboration</a:t>
            </a:r>
          </a:p>
        </p:txBody>
      </p:sp>
      <p:cxnSp>
        <p:nvCxnSpPr>
          <p:cNvPr id="101" name="Straight Connector 100">
            <a:extLst>
              <a:ext uri="{FF2B5EF4-FFF2-40B4-BE49-F238E27FC236}">
                <a16:creationId xmlns:a16="http://schemas.microsoft.com/office/drawing/2014/main" id="{A3C901A1-D672-4B80-9A5D-4782140DD7DB}"/>
              </a:ext>
            </a:extLst>
          </p:cNvPr>
          <p:cNvCxnSpPr>
            <a:cxnSpLocks/>
          </p:cNvCxnSpPr>
          <p:nvPr/>
        </p:nvCxnSpPr>
        <p:spPr>
          <a:xfrm>
            <a:off x="0" y="4539957"/>
            <a:ext cx="1220538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5884DCE2-BEC5-4B28-906C-4D0DF265C4C1}"/>
              </a:ext>
            </a:extLst>
          </p:cNvPr>
          <p:cNvCxnSpPr>
            <a:cxnSpLocks/>
          </p:cNvCxnSpPr>
          <p:nvPr/>
        </p:nvCxnSpPr>
        <p:spPr>
          <a:xfrm>
            <a:off x="0" y="6263982"/>
            <a:ext cx="1220538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952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nodeType="withEffect">
                                  <p:stCondLst>
                                    <p:cond delay="0"/>
                                  </p:stCondLst>
                                  <p:childTnLst>
                                    <p:animMotion origin="layout" path="M 3.125E-6 4.81481E-6 L 3.125E-6 0.01921 " pathEditMode="relative" rAng="0" ptsTypes="AA">
                                      <p:cBhvr>
                                        <p:cTn id="9" dur="500" spd="-100000" fill="hold"/>
                                        <p:tgtEl>
                                          <p:spTgt spid="109"/>
                                        </p:tgtEl>
                                        <p:attrNameLst>
                                          <p:attrName>ppt_x</p:attrName>
                                          <p:attrName>ppt_y</p:attrName>
                                        </p:attrNameLst>
                                      </p:cBhvr>
                                      <p:rCtr x="0" y="949"/>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8"/>
                                        </p:tgtEl>
                                        <p:attrNameLst>
                                          <p:attrName>style.visibility</p:attrName>
                                        </p:attrNameLst>
                                      </p:cBhvr>
                                      <p:to>
                                        <p:strVal val="visible"/>
                                      </p:to>
                                    </p:set>
                                    <p:animEffect transition="in" filter="fade">
                                      <p:cBhvr>
                                        <p:cTn id="13" dur="500"/>
                                        <p:tgtEl>
                                          <p:spTgt spid="98"/>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5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42" presetClass="path" presetSubtype="0" decel="100000" fill="hold" nodeType="withEffect">
                                  <p:stCondLst>
                                    <p:cond delay="500"/>
                                  </p:stCondLst>
                                  <p:childTnLst>
                                    <p:animMotion origin="layout" path="M 3.125E-6 4.81481E-6 L 3.125E-6 0.01921 " pathEditMode="relative" rAng="0" ptsTypes="AA">
                                      <p:cBhvr>
                                        <p:cTn id="21" dur="500" spd="-100000" fill="hold"/>
                                        <p:tgtEl>
                                          <p:spTgt spid="111"/>
                                        </p:tgtEl>
                                        <p:attrNameLst>
                                          <p:attrName>ppt_x</p:attrName>
                                          <p:attrName>ppt_y</p:attrName>
                                        </p:attrNameLst>
                                      </p:cBhvr>
                                      <p:rCtr x="0" y="949"/>
                                    </p:animMotion>
                                  </p:childTnLst>
                                </p:cTn>
                              </p:par>
                              <p:par>
                                <p:cTn id="22" presetID="10" presetClass="entr" presetSubtype="0" fill="hold" nodeType="withEffect">
                                  <p:stCondLst>
                                    <p:cond delay="500"/>
                                  </p:stCondLst>
                                  <p:childTnLst>
                                    <p:set>
                                      <p:cBhvr>
                                        <p:cTn id="23" dur="1" fill="hold">
                                          <p:stCondLst>
                                            <p:cond delay="0"/>
                                          </p:stCondLst>
                                        </p:cTn>
                                        <p:tgtEl>
                                          <p:spTgt spid="110"/>
                                        </p:tgtEl>
                                        <p:attrNameLst>
                                          <p:attrName>style.visibility</p:attrName>
                                        </p:attrNameLst>
                                      </p:cBhvr>
                                      <p:to>
                                        <p:strVal val="visible"/>
                                      </p:to>
                                    </p:set>
                                    <p:animEffect transition="in" filter="fade">
                                      <p:cBhvr>
                                        <p:cTn id="24" dur="500"/>
                                        <p:tgtEl>
                                          <p:spTgt spid="110"/>
                                        </p:tgtEl>
                                      </p:cBhvr>
                                    </p:animEffect>
                                  </p:childTnLst>
                                </p:cTn>
                              </p:par>
                              <p:par>
                                <p:cTn id="25" presetID="42" presetClass="path" presetSubtype="0" decel="100000" fill="hold" nodeType="withEffect">
                                  <p:stCondLst>
                                    <p:cond delay="500"/>
                                  </p:stCondLst>
                                  <p:childTnLst>
                                    <p:animMotion origin="layout" path="M 3.125E-6 4.81481E-6 L 3.125E-6 0.01921 " pathEditMode="relative" rAng="0" ptsTypes="AA">
                                      <p:cBhvr>
                                        <p:cTn id="26" dur="500" spd="-100000" fill="hold"/>
                                        <p:tgtEl>
                                          <p:spTgt spid="110"/>
                                        </p:tgtEl>
                                        <p:attrNameLst>
                                          <p:attrName>ppt_x</p:attrName>
                                          <p:attrName>ppt_y</p:attrName>
                                        </p:attrNameLst>
                                      </p:cBhvr>
                                      <p:rCtr x="0" y="949"/>
                                    </p:animMotion>
                                  </p:childTnLst>
                                </p:cTn>
                              </p:par>
                              <p:par>
                                <p:cTn id="27" presetID="2" presetClass="entr" presetSubtype="8" decel="100000" fill="hold" nodeType="withEffect">
                                  <p:stCondLst>
                                    <p:cond delay="500"/>
                                  </p:stCondLst>
                                  <p:childTnLst>
                                    <p:set>
                                      <p:cBhvr>
                                        <p:cTn id="28" dur="1" fill="hold">
                                          <p:stCondLst>
                                            <p:cond delay="0"/>
                                          </p:stCondLst>
                                        </p:cTn>
                                        <p:tgtEl>
                                          <p:spTgt spid="101"/>
                                        </p:tgtEl>
                                        <p:attrNameLst>
                                          <p:attrName>style.visibility</p:attrName>
                                        </p:attrNameLst>
                                      </p:cBhvr>
                                      <p:to>
                                        <p:strVal val="visible"/>
                                      </p:to>
                                    </p:set>
                                    <p:anim calcmode="lin" valueType="num">
                                      <p:cBhvr additive="base">
                                        <p:cTn id="29" dur="500" fill="hold"/>
                                        <p:tgtEl>
                                          <p:spTgt spid="101"/>
                                        </p:tgtEl>
                                        <p:attrNameLst>
                                          <p:attrName>ppt_x</p:attrName>
                                        </p:attrNameLst>
                                      </p:cBhvr>
                                      <p:tavLst>
                                        <p:tav tm="0">
                                          <p:val>
                                            <p:strVal val="0-#ppt_w/2"/>
                                          </p:val>
                                        </p:tav>
                                        <p:tav tm="100000">
                                          <p:val>
                                            <p:strVal val="#ppt_x"/>
                                          </p:val>
                                        </p:tav>
                                      </p:tavLst>
                                    </p:anim>
                                    <p:anim calcmode="lin" valueType="num">
                                      <p:cBhvr additive="base">
                                        <p:cTn id="30" dur="500" fill="hold"/>
                                        <p:tgtEl>
                                          <p:spTgt spid="101"/>
                                        </p:tgtEl>
                                        <p:attrNameLst>
                                          <p:attrName>ppt_y</p:attrName>
                                        </p:attrNameLst>
                                      </p:cBhvr>
                                      <p:tavLst>
                                        <p:tav tm="0">
                                          <p:val>
                                            <p:strVal val="#ppt_y"/>
                                          </p:val>
                                        </p:tav>
                                        <p:tav tm="100000">
                                          <p:val>
                                            <p:strVal val="#ppt_y"/>
                                          </p:val>
                                        </p:tav>
                                      </p:tavLst>
                                    </p:anim>
                                  </p:childTnLst>
                                </p:cTn>
                              </p:par>
                              <p:par>
                                <p:cTn id="31" presetID="2" presetClass="entr" presetSubtype="2" decel="100000" fill="hold" nodeType="withEffect">
                                  <p:stCondLst>
                                    <p:cond delay="500"/>
                                  </p:stCondLst>
                                  <p:childTnLst>
                                    <p:set>
                                      <p:cBhvr>
                                        <p:cTn id="32" dur="1" fill="hold">
                                          <p:stCondLst>
                                            <p:cond delay="0"/>
                                          </p:stCondLst>
                                        </p:cTn>
                                        <p:tgtEl>
                                          <p:spTgt spid="106"/>
                                        </p:tgtEl>
                                        <p:attrNameLst>
                                          <p:attrName>style.visibility</p:attrName>
                                        </p:attrNameLst>
                                      </p:cBhvr>
                                      <p:to>
                                        <p:strVal val="visible"/>
                                      </p:to>
                                    </p:set>
                                    <p:anim calcmode="lin" valueType="num">
                                      <p:cBhvr additive="base">
                                        <p:cTn id="33" dur="500" fill="hold"/>
                                        <p:tgtEl>
                                          <p:spTgt spid="106"/>
                                        </p:tgtEl>
                                        <p:attrNameLst>
                                          <p:attrName>ppt_x</p:attrName>
                                        </p:attrNameLst>
                                      </p:cBhvr>
                                      <p:tavLst>
                                        <p:tav tm="0">
                                          <p:val>
                                            <p:strVal val="1+#ppt_w/2"/>
                                          </p:val>
                                        </p:tav>
                                        <p:tav tm="100000">
                                          <p:val>
                                            <p:strVal val="#ppt_x"/>
                                          </p:val>
                                        </p:tav>
                                      </p:tavLst>
                                    </p:anim>
                                    <p:anim calcmode="lin" valueType="num">
                                      <p:cBhvr additive="base">
                                        <p:cTn id="34" dur="500" fill="hold"/>
                                        <p:tgtEl>
                                          <p:spTgt spid="106"/>
                                        </p:tgtEl>
                                        <p:attrNameLst>
                                          <p:attrName>ppt_y</p:attrName>
                                        </p:attrNameLst>
                                      </p:cBhvr>
                                      <p:tavLst>
                                        <p:tav tm="0">
                                          <p:val>
                                            <p:strVal val="#ppt_y"/>
                                          </p:val>
                                        </p:tav>
                                        <p:tav tm="100000">
                                          <p:val>
                                            <p:strVal val="#ppt_y"/>
                                          </p:val>
                                        </p:tav>
                                      </p:tavLst>
                                    </p:anim>
                                  </p:childTnLst>
                                </p:cTn>
                              </p:par>
                              <p:par>
                                <p:cTn id="35" presetID="10" presetClass="entr" presetSubtype="0" fill="hold" grpId="0" nodeType="withEffect">
                                  <p:stCondLst>
                                    <p:cond delay="5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3555EA79-FA4E-4FC8-A447-C62C318C7620}"/>
              </a:ext>
            </a:extLst>
          </p:cNvPr>
          <p:cNvSpPr txBox="1">
            <a:spLocks/>
          </p:cNvSpPr>
          <p:nvPr/>
        </p:nvSpPr>
        <p:spPr>
          <a:xfrm>
            <a:off x="588262" y="2504412"/>
            <a:ext cx="4163125"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Build dashboard in Synapse Studio</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de-free experience for development rich visualization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e-click publishing to for secure consumption across the enterprise</a:t>
            </a:r>
          </a:p>
        </p:txBody>
      </p:sp>
      <p:grpSp>
        <p:nvGrpSpPr>
          <p:cNvPr id="2" name="Group 1">
            <a:extLst>
              <a:ext uri="{FF2B5EF4-FFF2-40B4-BE49-F238E27FC236}">
                <a16:creationId xmlns:a16="http://schemas.microsoft.com/office/drawing/2014/main" id="{45237227-C9DB-4C44-81B3-E68C4C51C02B}"/>
              </a:ext>
            </a:extLst>
          </p:cNvPr>
          <p:cNvGrpSpPr/>
          <p:nvPr/>
        </p:nvGrpSpPr>
        <p:grpSpPr>
          <a:xfrm>
            <a:off x="0" y="1540386"/>
            <a:ext cx="4751388" cy="729391"/>
            <a:chOff x="0" y="1540386"/>
            <a:chExt cx="4751388" cy="729391"/>
          </a:xfrm>
        </p:grpSpPr>
        <p:sp>
          <p:nvSpPr>
            <p:cNvPr id="14" name="Title 1">
              <a:extLst>
                <a:ext uri="{FF2B5EF4-FFF2-40B4-BE49-F238E27FC236}">
                  <a16:creationId xmlns:a16="http://schemas.microsoft.com/office/drawing/2014/main" id="{636C29A6-9C2B-4E87-9AC5-3EC877DDBDC8}"/>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Power BI integration</a:t>
              </a:r>
            </a:p>
          </p:txBody>
        </p:sp>
        <p:cxnSp>
          <p:nvCxnSpPr>
            <p:cNvPr id="16" name="Straight Connector 15">
              <a:extLst>
                <a:ext uri="{FF2B5EF4-FFF2-40B4-BE49-F238E27FC236}">
                  <a16:creationId xmlns:a16="http://schemas.microsoft.com/office/drawing/2014/main" id="{3E8325CD-CFFC-419A-AD95-E6D3FE61A9E3}"/>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8D795CE5-16D8-4F3C-B8A2-2DF16CEAC386}"/>
              </a:ext>
            </a:extLst>
          </p:cNvPr>
          <p:cNvGrpSpPr/>
          <p:nvPr/>
        </p:nvGrpSpPr>
        <p:grpSpPr>
          <a:xfrm>
            <a:off x="4884847" y="1011542"/>
            <a:ext cx="7021032" cy="4963914"/>
            <a:chOff x="5589182" y="701749"/>
            <a:chExt cx="7021032" cy="4963914"/>
          </a:xfrm>
        </p:grpSpPr>
        <p:pic>
          <p:nvPicPr>
            <p:cNvPr id="3" name="Picture 2" descr="Graphical user interface, application&#10;&#10;Description automatically generated">
              <a:extLst>
                <a:ext uri="{FF2B5EF4-FFF2-40B4-BE49-F238E27FC236}">
                  <a16:creationId xmlns:a16="http://schemas.microsoft.com/office/drawing/2014/main" id="{A06F9567-5E5B-4B2A-9EC4-6F45CED2401A}"/>
                </a:ext>
              </a:extLst>
            </p:cNvPr>
            <p:cNvPicPr>
              <a:picLocks noChangeAspect="1"/>
            </p:cNvPicPr>
            <p:nvPr/>
          </p:nvPicPr>
          <p:blipFill rotWithShape="1">
            <a:blip r:embed="rId3">
              <a:extLst>
                <a:ext uri="{28A0092B-C50C-407E-A947-70E740481C1C}">
                  <a14:useLocalDpi xmlns:a14="http://schemas.microsoft.com/office/drawing/2010/main" val="0"/>
                </a:ext>
              </a:extLst>
            </a:blip>
            <a:srcRect r="11051"/>
            <a:stretch/>
          </p:blipFill>
          <p:spPr>
            <a:xfrm>
              <a:off x="5966461" y="1066279"/>
              <a:ext cx="6425564" cy="427343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658E410E-511E-426C-8442-C8277C063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75240" y="1943100"/>
              <a:ext cx="2016785" cy="3391732"/>
            </a:xfrm>
            <a:prstGeom prst="rect">
              <a:avLst/>
            </a:prstGeom>
          </p:spPr>
        </p:pic>
        <p:pic>
          <p:nvPicPr>
            <p:cNvPr id="12" name="Picture 11">
              <a:extLst>
                <a:ext uri="{FF2B5EF4-FFF2-40B4-BE49-F238E27FC236}">
                  <a16:creationId xmlns:a16="http://schemas.microsoft.com/office/drawing/2014/main" id="{ABDBA987-0918-418D-B114-CA5B9D87DFF7}"/>
                </a:ext>
              </a:extLst>
            </p:cNvPr>
            <p:cNvPicPr>
              <a:picLocks noChangeAspect="1"/>
            </p:cNvPicPr>
            <p:nvPr/>
          </p:nvPicPr>
          <p:blipFill rotWithShape="1">
            <a:blip r:embed="rId5">
              <a:extLst>
                <a:ext uri="{28A0092B-C50C-407E-A947-70E740481C1C}">
                  <a14:useLocalDpi xmlns:a14="http://schemas.microsoft.com/office/drawing/2010/main" val="0"/>
                </a:ext>
              </a:extLst>
            </a:blip>
            <a:srcRect l="27180" t="5361" r="27180" b="37190"/>
            <a:stretch/>
          </p:blipFill>
          <p:spPr>
            <a:xfrm>
              <a:off x="5589182" y="701749"/>
              <a:ext cx="7021032" cy="4963914"/>
            </a:xfrm>
            <a:prstGeom prst="rect">
              <a:avLst/>
            </a:prstGeom>
          </p:spPr>
        </p:pic>
      </p:grpSp>
    </p:spTree>
    <p:extLst>
      <p:ext uri="{BB962C8B-B14F-4D97-AF65-F5344CB8AC3E}">
        <p14:creationId xmlns:p14="http://schemas.microsoft.com/office/powerpoint/2010/main" val="3594499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2" presetClass="entr" presetSubtype="2" decel="10000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1+#ppt_w/2"/>
                                          </p:val>
                                        </p:tav>
                                        <p:tav tm="100000">
                                          <p:val>
                                            <p:strVal val="#ppt_x"/>
                                          </p:val>
                                        </p:tav>
                                      </p:tavLst>
                                    </p:anim>
                                    <p:anim calcmode="lin" valueType="num">
                                      <p:cBhvr additive="base">
                                        <p:cTn id="15"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3555EA79-FA4E-4FC8-A447-C62C318C7620}"/>
              </a:ext>
            </a:extLst>
          </p:cNvPr>
          <p:cNvSpPr txBox="1">
            <a:spLocks/>
          </p:cNvSpPr>
          <p:nvPr/>
        </p:nvSpPr>
        <p:spPr>
          <a:xfrm>
            <a:off x="588262" y="2504412"/>
            <a:ext cx="4163125"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Build dashboard in Synapse Studio</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de-free experience for development rich visualization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e-click publishing to for secure consumption across the enterprise</a:t>
            </a:r>
          </a:p>
        </p:txBody>
      </p:sp>
      <p:grpSp>
        <p:nvGrpSpPr>
          <p:cNvPr id="2" name="Group 1">
            <a:extLst>
              <a:ext uri="{FF2B5EF4-FFF2-40B4-BE49-F238E27FC236}">
                <a16:creationId xmlns:a16="http://schemas.microsoft.com/office/drawing/2014/main" id="{45237227-C9DB-4C44-81B3-E68C4C51C02B}"/>
              </a:ext>
            </a:extLst>
          </p:cNvPr>
          <p:cNvGrpSpPr/>
          <p:nvPr/>
        </p:nvGrpSpPr>
        <p:grpSpPr>
          <a:xfrm>
            <a:off x="0" y="1540386"/>
            <a:ext cx="4751388" cy="729391"/>
            <a:chOff x="0" y="1540386"/>
            <a:chExt cx="4751388" cy="729391"/>
          </a:xfrm>
        </p:grpSpPr>
        <p:sp>
          <p:nvSpPr>
            <p:cNvPr id="14" name="Title 1">
              <a:extLst>
                <a:ext uri="{FF2B5EF4-FFF2-40B4-BE49-F238E27FC236}">
                  <a16:creationId xmlns:a16="http://schemas.microsoft.com/office/drawing/2014/main" id="{636C29A6-9C2B-4E87-9AC5-3EC877DDBDC8}"/>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Power BI integration</a:t>
              </a:r>
            </a:p>
          </p:txBody>
        </p:sp>
        <p:cxnSp>
          <p:nvCxnSpPr>
            <p:cNvPr id="16" name="Straight Connector 15">
              <a:extLst>
                <a:ext uri="{FF2B5EF4-FFF2-40B4-BE49-F238E27FC236}">
                  <a16:creationId xmlns:a16="http://schemas.microsoft.com/office/drawing/2014/main" id="{3E8325CD-CFFC-419A-AD95-E6D3FE61A9E3}"/>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8D795CE5-16D8-4F3C-B8A2-2DF16CEAC386}"/>
              </a:ext>
            </a:extLst>
          </p:cNvPr>
          <p:cNvGrpSpPr/>
          <p:nvPr/>
        </p:nvGrpSpPr>
        <p:grpSpPr>
          <a:xfrm>
            <a:off x="4950481" y="838063"/>
            <a:ext cx="7021032" cy="4963914"/>
            <a:chOff x="5589182" y="701749"/>
            <a:chExt cx="7021032" cy="4963914"/>
          </a:xfrm>
        </p:grpSpPr>
        <p:pic>
          <p:nvPicPr>
            <p:cNvPr id="3" name="Picture 2" descr="Graphical user interface, application&#10;&#10;Description automatically generated">
              <a:extLst>
                <a:ext uri="{FF2B5EF4-FFF2-40B4-BE49-F238E27FC236}">
                  <a16:creationId xmlns:a16="http://schemas.microsoft.com/office/drawing/2014/main" id="{A06F9567-5E5B-4B2A-9EC4-6F45CED2401A}"/>
                </a:ext>
              </a:extLst>
            </p:cNvPr>
            <p:cNvPicPr>
              <a:picLocks noChangeAspect="1"/>
            </p:cNvPicPr>
            <p:nvPr/>
          </p:nvPicPr>
          <p:blipFill rotWithShape="1">
            <a:blip r:embed="rId3">
              <a:extLst>
                <a:ext uri="{28A0092B-C50C-407E-A947-70E740481C1C}">
                  <a14:useLocalDpi xmlns:a14="http://schemas.microsoft.com/office/drawing/2010/main" val="0"/>
                </a:ext>
              </a:extLst>
            </a:blip>
            <a:srcRect r="11051"/>
            <a:stretch/>
          </p:blipFill>
          <p:spPr>
            <a:xfrm>
              <a:off x="5966461" y="1066279"/>
              <a:ext cx="6425564" cy="427343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658E410E-511E-426C-8442-C8277C063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75240" y="1943100"/>
              <a:ext cx="2016785" cy="3391732"/>
            </a:xfrm>
            <a:prstGeom prst="rect">
              <a:avLst/>
            </a:prstGeom>
          </p:spPr>
        </p:pic>
        <p:pic>
          <p:nvPicPr>
            <p:cNvPr id="12" name="Picture 11">
              <a:extLst>
                <a:ext uri="{FF2B5EF4-FFF2-40B4-BE49-F238E27FC236}">
                  <a16:creationId xmlns:a16="http://schemas.microsoft.com/office/drawing/2014/main" id="{ABDBA987-0918-418D-B114-CA5B9D87DFF7}"/>
                </a:ext>
              </a:extLst>
            </p:cNvPr>
            <p:cNvPicPr>
              <a:picLocks noChangeAspect="1"/>
            </p:cNvPicPr>
            <p:nvPr/>
          </p:nvPicPr>
          <p:blipFill rotWithShape="1">
            <a:blip r:embed="rId5">
              <a:extLst>
                <a:ext uri="{28A0092B-C50C-407E-A947-70E740481C1C}">
                  <a14:useLocalDpi xmlns:a14="http://schemas.microsoft.com/office/drawing/2010/main" val="0"/>
                </a:ext>
              </a:extLst>
            </a:blip>
            <a:srcRect l="27180" t="5361" r="27180" b="37190"/>
            <a:stretch/>
          </p:blipFill>
          <p:spPr>
            <a:xfrm>
              <a:off x="5589182" y="701749"/>
              <a:ext cx="7021032" cy="4963914"/>
            </a:xfrm>
            <a:prstGeom prst="rect">
              <a:avLst/>
            </a:prstGeom>
          </p:spPr>
        </p:pic>
      </p:grpSp>
    </p:spTree>
    <p:extLst>
      <p:ext uri="{BB962C8B-B14F-4D97-AF65-F5344CB8AC3E}">
        <p14:creationId xmlns:p14="http://schemas.microsoft.com/office/powerpoint/2010/main" val="3333600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2" presetClass="entr" presetSubtype="2" decel="10000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1+#ppt_w/2"/>
                                          </p:val>
                                        </p:tav>
                                        <p:tav tm="100000">
                                          <p:val>
                                            <p:strVal val="#ppt_x"/>
                                          </p:val>
                                        </p:tav>
                                      </p:tavLst>
                                    </p:anim>
                                    <p:anim calcmode="lin" valueType="num">
                                      <p:cBhvr additive="base">
                                        <p:cTn id="15"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847B09-3EF6-4A66-91DD-DDBB4E474BFF}"/>
              </a:ext>
            </a:extLst>
          </p:cNvPr>
          <p:cNvSpPr/>
          <p:nvPr/>
        </p:nvSpPr>
        <p:spPr bwMode="auto">
          <a:xfrm>
            <a:off x="0" y="-101307"/>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b="1"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evelop &gt; Power BI</a:t>
            </a:r>
            <a:endParaRPr lang="en-US" sz="1000"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2">
            <a:extLst>
              <a:ext uri="{FF2B5EF4-FFF2-40B4-BE49-F238E27FC236}">
                <a16:creationId xmlns:a16="http://schemas.microsoft.com/office/drawing/2014/main" id="{34EEAF1F-DCFC-494D-B4C1-9E6C315A64B7}"/>
              </a:ext>
            </a:extLst>
          </p:cNvPr>
          <p:cNvSpPr txBox="1">
            <a:spLocks/>
          </p:cNvSpPr>
          <p:nvPr/>
        </p:nvSpPr>
        <p:spPr>
          <a:xfrm>
            <a:off x="426426" y="222583"/>
            <a:ext cx="5555966" cy="758022"/>
          </a:xfrm>
          <a:prstGeom prst="rect">
            <a:avLst/>
          </a:prstGeom>
        </p:spPr>
        <p:txBody>
          <a:bodyPr/>
          <a:lst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a:lstStyle>
          <a:p>
            <a:r>
              <a:rPr lang="en-US" dirty="0"/>
              <a:t>Develop Hub – Power BI</a:t>
            </a:r>
          </a:p>
        </p:txBody>
      </p:sp>
      <p:sp>
        <p:nvSpPr>
          <p:cNvPr id="6" name="Text Placeholder 3">
            <a:extLst>
              <a:ext uri="{FF2B5EF4-FFF2-40B4-BE49-F238E27FC236}">
                <a16:creationId xmlns:a16="http://schemas.microsoft.com/office/drawing/2014/main" id="{00FAADBB-18C1-4F1B-B70B-23A1F97323C8}"/>
              </a:ext>
            </a:extLst>
          </p:cNvPr>
          <p:cNvSpPr txBox="1">
            <a:spLocks/>
          </p:cNvSpPr>
          <p:nvPr/>
        </p:nvSpPr>
        <p:spPr>
          <a:xfrm>
            <a:off x="426426" y="980605"/>
            <a:ext cx="9454693" cy="758023"/>
          </a:xfrm>
          <a:prstGeom prst="rect">
            <a:avLst/>
          </a:prstGeom>
        </p:spPr>
        <p:txBody>
          <a:bodyPr/>
          <a:lst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solidFill>
                  <a:schemeClr val="tx1"/>
                </a:solidFill>
              </a:rPr>
              <a:t>Create new reports from existing published Power BI datasets </a:t>
            </a:r>
          </a:p>
          <a:p>
            <a:r>
              <a:rPr lang="en-US" sz="1400" dirty="0">
                <a:solidFill>
                  <a:schemeClr val="tx1"/>
                </a:solidFill>
              </a:rPr>
              <a:t>Create new Power BI datasets</a:t>
            </a:r>
          </a:p>
          <a:p>
            <a:endParaRPr lang="en-US" sz="1400" dirty="0">
              <a:solidFill>
                <a:schemeClr val="tx1"/>
              </a:solidFill>
            </a:endParaRPr>
          </a:p>
        </p:txBody>
      </p:sp>
      <p:pic>
        <p:nvPicPr>
          <p:cNvPr id="2" name="Picture 1">
            <a:extLst>
              <a:ext uri="{FF2B5EF4-FFF2-40B4-BE49-F238E27FC236}">
                <a16:creationId xmlns:a16="http://schemas.microsoft.com/office/drawing/2014/main" id="{408420A2-47E9-4C26-BC84-5D46416DC36C}"/>
              </a:ext>
            </a:extLst>
          </p:cNvPr>
          <p:cNvPicPr>
            <a:picLocks noChangeAspect="1"/>
          </p:cNvPicPr>
          <p:nvPr/>
        </p:nvPicPr>
        <p:blipFill>
          <a:blip r:embed="rId2"/>
          <a:stretch>
            <a:fillRect/>
          </a:stretch>
        </p:blipFill>
        <p:spPr>
          <a:xfrm>
            <a:off x="110192" y="2738876"/>
            <a:ext cx="3290721" cy="3514362"/>
          </a:xfrm>
          <a:prstGeom prst="rect">
            <a:avLst/>
          </a:prstGeom>
          <a:ln>
            <a:solidFill>
              <a:schemeClr val="tx1"/>
            </a:solidFill>
          </a:ln>
        </p:spPr>
      </p:pic>
      <p:pic>
        <p:nvPicPr>
          <p:cNvPr id="8" name="Picture 7">
            <a:extLst>
              <a:ext uri="{FF2B5EF4-FFF2-40B4-BE49-F238E27FC236}">
                <a16:creationId xmlns:a16="http://schemas.microsoft.com/office/drawing/2014/main" id="{C8E7FB92-9AF5-483F-B0ED-25C4A8D65A69}"/>
              </a:ext>
            </a:extLst>
          </p:cNvPr>
          <p:cNvPicPr>
            <a:picLocks noChangeAspect="1"/>
          </p:cNvPicPr>
          <p:nvPr/>
        </p:nvPicPr>
        <p:blipFill>
          <a:blip r:embed="rId3"/>
          <a:stretch>
            <a:fillRect/>
          </a:stretch>
        </p:blipFill>
        <p:spPr>
          <a:xfrm>
            <a:off x="3530476" y="2738876"/>
            <a:ext cx="2927797" cy="4006129"/>
          </a:xfrm>
          <a:prstGeom prst="rect">
            <a:avLst/>
          </a:prstGeom>
          <a:ln>
            <a:solidFill>
              <a:schemeClr val="tx1"/>
            </a:solidFill>
          </a:ln>
        </p:spPr>
      </p:pic>
      <p:pic>
        <p:nvPicPr>
          <p:cNvPr id="9" name="Picture 8">
            <a:extLst>
              <a:ext uri="{FF2B5EF4-FFF2-40B4-BE49-F238E27FC236}">
                <a16:creationId xmlns:a16="http://schemas.microsoft.com/office/drawing/2014/main" id="{39F6479A-1484-46D2-9801-8D9B33D7513E}"/>
              </a:ext>
            </a:extLst>
          </p:cNvPr>
          <p:cNvPicPr>
            <a:picLocks noChangeAspect="1"/>
          </p:cNvPicPr>
          <p:nvPr/>
        </p:nvPicPr>
        <p:blipFill>
          <a:blip r:embed="rId4"/>
          <a:stretch>
            <a:fillRect/>
          </a:stretch>
        </p:blipFill>
        <p:spPr>
          <a:xfrm>
            <a:off x="6587836" y="2738876"/>
            <a:ext cx="5530891" cy="3428999"/>
          </a:xfrm>
          <a:prstGeom prst="rect">
            <a:avLst/>
          </a:prstGeom>
          <a:ln>
            <a:solidFill>
              <a:schemeClr val="tx1"/>
            </a:solidFill>
          </a:ln>
        </p:spPr>
      </p:pic>
      <p:sp>
        <p:nvSpPr>
          <p:cNvPr id="10" name="Oval 9">
            <a:extLst>
              <a:ext uri="{FF2B5EF4-FFF2-40B4-BE49-F238E27FC236}">
                <a16:creationId xmlns:a16="http://schemas.microsoft.com/office/drawing/2014/main" id="{D71E6EFC-7E8E-4AEA-9724-41E5DE75C9F9}"/>
              </a:ext>
            </a:extLst>
          </p:cNvPr>
          <p:cNvSpPr/>
          <p:nvPr/>
        </p:nvSpPr>
        <p:spPr bwMode="auto">
          <a:xfrm>
            <a:off x="1454726" y="2043545"/>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12" name="Oval 11">
            <a:extLst>
              <a:ext uri="{FF2B5EF4-FFF2-40B4-BE49-F238E27FC236}">
                <a16:creationId xmlns:a16="http://schemas.microsoft.com/office/drawing/2014/main" id="{14C0EEFB-C53A-4152-A8D6-B03E71B47275}"/>
              </a:ext>
            </a:extLst>
          </p:cNvPr>
          <p:cNvSpPr/>
          <p:nvPr/>
        </p:nvSpPr>
        <p:spPr bwMode="auto">
          <a:xfrm>
            <a:off x="4533206" y="2039104"/>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4" name="Oval 13">
            <a:extLst>
              <a:ext uri="{FF2B5EF4-FFF2-40B4-BE49-F238E27FC236}">
                <a16:creationId xmlns:a16="http://schemas.microsoft.com/office/drawing/2014/main" id="{94F0ABD4-916F-413A-BADB-E6A4E7147173}"/>
              </a:ext>
            </a:extLst>
          </p:cNvPr>
          <p:cNvSpPr/>
          <p:nvPr/>
        </p:nvSpPr>
        <p:spPr bwMode="auto">
          <a:xfrm>
            <a:off x="8776261" y="2039104"/>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Rectangle 14">
            <a:extLst>
              <a:ext uri="{FF2B5EF4-FFF2-40B4-BE49-F238E27FC236}">
                <a16:creationId xmlns:a16="http://schemas.microsoft.com/office/drawing/2014/main" id="{077E6B38-792F-40A1-AAEE-6A372EB8D974}"/>
              </a:ext>
            </a:extLst>
          </p:cNvPr>
          <p:cNvSpPr/>
          <p:nvPr/>
        </p:nvSpPr>
        <p:spPr bwMode="auto">
          <a:xfrm>
            <a:off x="1669474" y="4620491"/>
            <a:ext cx="1731439" cy="332509"/>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592080"/>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847B09-3EF6-4A66-91DD-DDBB4E474BFF}"/>
              </a:ext>
            </a:extLst>
          </p:cNvPr>
          <p:cNvSpPr/>
          <p:nvPr/>
        </p:nvSpPr>
        <p:spPr bwMode="auto">
          <a:xfrm>
            <a:off x="0" y="-101307"/>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b="1"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evelop &gt; Power BI</a:t>
            </a:r>
            <a:endParaRPr lang="en-US" sz="1000"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2">
            <a:extLst>
              <a:ext uri="{FF2B5EF4-FFF2-40B4-BE49-F238E27FC236}">
                <a16:creationId xmlns:a16="http://schemas.microsoft.com/office/drawing/2014/main" id="{34EEAF1F-DCFC-494D-B4C1-9E6C315A64B7}"/>
              </a:ext>
            </a:extLst>
          </p:cNvPr>
          <p:cNvSpPr txBox="1">
            <a:spLocks/>
          </p:cNvSpPr>
          <p:nvPr/>
        </p:nvSpPr>
        <p:spPr>
          <a:xfrm>
            <a:off x="426426" y="222583"/>
            <a:ext cx="5555966" cy="758022"/>
          </a:xfrm>
          <a:prstGeom prst="rect">
            <a:avLst/>
          </a:prstGeom>
        </p:spPr>
        <p:txBody>
          <a:bodyPr/>
          <a:lst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a:lstStyle>
          <a:p>
            <a:r>
              <a:rPr lang="en-US" dirty="0"/>
              <a:t>Develop Hub – Power BI</a:t>
            </a:r>
          </a:p>
        </p:txBody>
      </p:sp>
      <p:sp>
        <p:nvSpPr>
          <p:cNvPr id="6" name="Text Placeholder 3">
            <a:extLst>
              <a:ext uri="{FF2B5EF4-FFF2-40B4-BE49-F238E27FC236}">
                <a16:creationId xmlns:a16="http://schemas.microsoft.com/office/drawing/2014/main" id="{00FAADBB-18C1-4F1B-B70B-23A1F97323C8}"/>
              </a:ext>
            </a:extLst>
          </p:cNvPr>
          <p:cNvSpPr txBox="1">
            <a:spLocks/>
          </p:cNvSpPr>
          <p:nvPr/>
        </p:nvSpPr>
        <p:spPr>
          <a:xfrm>
            <a:off x="426426" y="980605"/>
            <a:ext cx="9454693" cy="758023"/>
          </a:xfrm>
          <a:prstGeom prst="rect">
            <a:avLst/>
          </a:prstGeom>
        </p:spPr>
        <p:txBody>
          <a:bodyPr/>
          <a:lst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solidFill>
                  <a:schemeClr val="tx1"/>
                </a:solidFill>
              </a:rPr>
              <a:t>View published reports in Power BI workspace</a:t>
            </a:r>
            <a:endParaRPr lang="en-US" sz="1400" dirty="0">
              <a:solidFill>
                <a:schemeClr val="tx1"/>
              </a:solidFill>
            </a:endParaRPr>
          </a:p>
        </p:txBody>
      </p:sp>
      <p:pic>
        <p:nvPicPr>
          <p:cNvPr id="2" name="Picture 1">
            <a:extLst>
              <a:ext uri="{FF2B5EF4-FFF2-40B4-BE49-F238E27FC236}">
                <a16:creationId xmlns:a16="http://schemas.microsoft.com/office/drawing/2014/main" id="{A4F89F93-E03B-4818-A5E2-71E3422AE4CB}"/>
              </a:ext>
            </a:extLst>
          </p:cNvPr>
          <p:cNvPicPr>
            <a:picLocks noChangeAspect="1"/>
          </p:cNvPicPr>
          <p:nvPr/>
        </p:nvPicPr>
        <p:blipFill>
          <a:blip r:embed="rId2"/>
          <a:stretch>
            <a:fillRect/>
          </a:stretch>
        </p:blipFill>
        <p:spPr>
          <a:xfrm>
            <a:off x="870857" y="1366329"/>
            <a:ext cx="10624353" cy="5364882"/>
          </a:xfrm>
          <a:prstGeom prst="rect">
            <a:avLst/>
          </a:prstGeom>
          <a:ln>
            <a:solidFill>
              <a:schemeClr val="tx1"/>
            </a:solidFill>
          </a:ln>
        </p:spPr>
      </p:pic>
    </p:spTree>
    <p:extLst>
      <p:ext uri="{BB962C8B-B14F-4D97-AF65-F5344CB8AC3E}">
        <p14:creationId xmlns:p14="http://schemas.microsoft.com/office/powerpoint/2010/main" val="347519218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0CB46-F2D7-4164-B816-868FC5CB5ACE}"/>
              </a:ext>
            </a:extLst>
          </p:cNvPr>
          <p:cNvSpPr>
            <a:spLocks noGrp="1"/>
          </p:cNvSpPr>
          <p:nvPr>
            <p:ph type="title"/>
          </p:nvPr>
        </p:nvSpPr>
        <p:spPr>
          <a:xfrm>
            <a:off x="427980" y="1058960"/>
            <a:ext cx="11336039" cy="758022"/>
          </a:xfrm>
        </p:spPr>
        <p:txBody>
          <a:bodyPr anchor="ctr"/>
          <a:lstStyle/>
          <a:p>
            <a:r>
              <a:rPr lang="en-US" sz="4800" spc="0"/>
              <a:t>Get started today</a:t>
            </a:r>
            <a:endParaRPr lang="en-US" sz="4800" spc="0">
              <a:solidFill>
                <a:srgbClr val="50E6FF"/>
              </a:solidFill>
            </a:endParaRPr>
          </a:p>
        </p:txBody>
      </p:sp>
      <p:sp>
        <p:nvSpPr>
          <p:cNvPr id="3" name="TextBox 2">
            <a:extLst>
              <a:ext uri="{FF2B5EF4-FFF2-40B4-BE49-F238E27FC236}">
                <a16:creationId xmlns:a16="http://schemas.microsoft.com/office/drawing/2014/main" id="{680145F6-6808-8644-9F64-2A90F53E244A}"/>
              </a:ext>
            </a:extLst>
          </p:cNvPr>
          <p:cNvSpPr txBox="1"/>
          <p:nvPr/>
        </p:nvSpPr>
        <p:spPr>
          <a:xfrm>
            <a:off x="1048996" y="2133421"/>
            <a:ext cx="9068829" cy="432733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reate a free Azure account and get started with Azure Synapse Analytics:</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50E7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zure.microsoft.com/en-us/free/synapse-analytics/</a:t>
            </a:r>
            <a:endParaRPr kumimoji="0" lang="en-US" sz="1800" b="0" i="0" u="none" strike="noStrike" kern="1200" cap="none" spc="0" normalizeH="0" baseline="0" noProof="0">
              <a:ln>
                <a:noFill/>
              </a:ln>
              <a:solidFill>
                <a:srgbClr val="50E7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ubmit info for free proof of value package for modernizing SAP workloads: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rPr>
              <a:t>https://aka.ms/synapse-qlik </a:t>
            </a:r>
          </a:p>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ubmit info for free proof of value package for migrating on-prem data warehous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rPr>
              <a:t>http://aka.ms/synapse-informatica</a:t>
            </a:r>
          </a:p>
          <a:p>
            <a:pPr>
              <a:spcAft>
                <a:spcPts val="3000"/>
              </a:spcAf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earn mor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https://aka.ms/synapse</a:t>
            </a:r>
            <a:endParaRPr kumimoji="0" lang="en-US" sz="1800" b="0" i="0" u="sng" strike="noStrike" kern="1200" cap="none" spc="0" normalizeH="0" baseline="0" noProof="0">
              <a:ln>
                <a:noFill/>
              </a:ln>
              <a:solidFill>
                <a:srgbClr val="50E7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0"/>
              </a:spcAft>
              <a:buClrTx/>
              <a:buSzTx/>
              <a:buFontTx/>
              <a:buNone/>
              <a:tabLst/>
              <a:defRPr/>
            </a:pPr>
            <a:endParaRPr lang="en-US" u="sng">
              <a:solidFill>
                <a:srgbClr val="50E7FF"/>
              </a:solidFill>
              <a:latin typeface="Segoe UI"/>
            </a:endParaRPr>
          </a:p>
        </p:txBody>
      </p:sp>
      <p:grpSp>
        <p:nvGrpSpPr>
          <p:cNvPr id="4" name="Group 3">
            <a:extLst>
              <a:ext uri="{FF2B5EF4-FFF2-40B4-BE49-F238E27FC236}">
                <a16:creationId xmlns:a16="http://schemas.microsoft.com/office/drawing/2014/main" id="{CA8FC803-78D3-684E-B0D4-EEDBFF1D6503}"/>
              </a:ext>
            </a:extLst>
          </p:cNvPr>
          <p:cNvGrpSpPr>
            <a:grpSpLocks noChangeAspect="1"/>
          </p:cNvGrpSpPr>
          <p:nvPr/>
        </p:nvGrpSpPr>
        <p:grpSpPr>
          <a:xfrm>
            <a:off x="515750" y="2374692"/>
            <a:ext cx="385761" cy="385762"/>
            <a:chOff x="6370638" y="4414837"/>
            <a:chExt cx="495300" cy="495302"/>
          </a:xfrm>
        </p:grpSpPr>
        <p:sp>
          <p:nvSpPr>
            <p:cNvPr id="5" name="AutoShape 210">
              <a:extLst>
                <a:ext uri="{FF2B5EF4-FFF2-40B4-BE49-F238E27FC236}">
                  <a16:creationId xmlns:a16="http://schemas.microsoft.com/office/drawing/2014/main" id="{E84F4233-229A-4E49-9FD6-F51BD5B5C225}"/>
                </a:ext>
              </a:extLst>
            </p:cNvPr>
            <p:cNvSpPr>
              <a:spLocks noChangeAspect="1" noChangeArrowheads="1" noTextEdit="1"/>
            </p:cNvSpPr>
            <p:nvPr/>
          </p:nvSpPr>
          <p:spPr bwMode="auto">
            <a:xfrm>
              <a:off x="6370638" y="4414838"/>
              <a:ext cx="4953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Shape 341">
              <a:extLst>
                <a:ext uri="{FF2B5EF4-FFF2-40B4-BE49-F238E27FC236}">
                  <a16:creationId xmlns:a16="http://schemas.microsoft.com/office/drawing/2014/main" id="{9FB1FE89-1163-234F-B60E-F244F7AD4E68}"/>
                </a:ext>
              </a:extLst>
            </p:cNvPr>
            <p:cNvSpPr>
              <a:spLocks noChangeArrowheads="1"/>
            </p:cNvSpPr>
            <p:nvPr/>
          </p:nvSpPr>
          <p:spPr bwMode="auto">
            <a:xfrm>
              <a:off x="6370638" y="4414837"/>
              <a:ext cx="107950" cy="107950"/>
            </a:xfrm>
            <a:custGeom>
              <a:avLst/>
              <a:gdLst>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30163 h 107950"/>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30163 h 107950"/>
                <a:gd name="connsiteX3" fmla="*/ 31750 w 107950"/>
                <a:gd name="connsiteY3" fmla="*/ 30163 h 107950"/>
                <a:gd name="connsiteX4" fmla="*/ 31750 w 107950"/>
                <a:gd name="connsiteY4" fmla="*/ 107950 h 107950"/>
                <a:gd name="connsiteX5" fmla="*/ 0 w 107950"/>
                <a:gd name="connsiteY5" fmla="*/ 107950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30163"/>
                  </a:lnTo>
                  <a:lnTo>
                    <a:pt x="31750" y="30163"/>
                  </a:lnTo>
                  <a:lnTo>
                    <a:pt x="31750" y="107950"/>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7" name="Freeform: Shape 342">
              <a:extLst>
                <a:ext uri="{FF2B5EF4-FFF2-40B4-BE49-F238E27FC236}">
                  <a16:creationId xmlns:a16="http://schemas.microsoft.com/office/drawing/2014/main" id="{9739F1B5-70D2-B042-8273-814DAFCDAFCE}"/>
                </a:ext>
              </a:extLst>
            </p:cNvPr>
            <p:cNvSpPr>
              <a:spLocks noChangeArrowheads="1"/>
            </p:cNvSpPr>
            <p:nvPr/>
          </p:nvSpPr>
          <p:spPr bwMode="auto">
            <a:xfrm>
              <a:off x="6370638" y="4802188"/>
              <a:ext cx="107950" cy="107951"/>
            </a:xfrm>
            <a:custGeom>
              <a:avLst/>
              <a:gdLst>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77788 h 107951"/>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0" y="0"/>
                  </a:moveTo>
                  <a:lnTo>
                    <a:pt x="31750" y="0"/>
                  </a:lnTo>
                  <a:lnTo>
                    <a:pt x="31750" y="77788"/>
                  </a:lnTo>
                  <a:lnTo>
                    <a:pt x="107950" y="77788"/>
                  </a:lnTo>
                  <a:lnTo>
                    <a:pt x="107950" y="107951"/>
                  </a:lnTo>
                  <a:lnTo>
                    <a:pt x="0" y="107951"/>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8" name="Freeform: Shape 344">
              <a:extLst>
                <a:ext uri="{FF2B5EF4-FFF2-40B4-BE49-F238E27FC236}">
                  <a16:creationId xmlns:a16="http://schemas.microsoft.com/office/drawing/2014/main" id="{29461DDF-7CBD-284C-8EC5-EE8711B0DFF4}"/>
                </a:ext>
              </a:extLst>
            </p:cNvPr>
            <p:cNvSpPr>
              <a:spLocks noChangeArrowheads="1"/>
            </p:cNvSpPr>
            <p:nvPr/>
          </p:nvSpPr>
          <p:spPr bwMode="auto">
            <a:xfrm>
              <a:off x="6757988" y="4414837"/>
              <a:ext cx="107950" cy="107950"/>
            </a:xfrm>
            <a:custGeom>
              <a:avLst/>
              <a:gdLst>
                <a:gd name="connsiteX0" fmla="*/ 0 w 107950"/>
                <a:gd name="connsiteY0" fmla="*/ 0 h 107950"/>
                <a:gd name="connsiteX1" fmla="*/ 76200 w 107950"/>
                <a:gd name="connsiteY1" fmla="*/ 0 h 107950"/>
                <a:gd name="connsiteX2" fmla="*/ 107950 w 107950"/>
                <a:gd name="connsiteY2" fmla="*/ 0 h 107950"/>
                <a:gd name="connsiteX3" fmla="*/ 107950 w 107950"/>
                <a:gd name="connsiteY3" fmla="*/ 30163 h 107950"/>
                <a:gd name="connsiteX4" fmla="*/ 107950 w 107950"/>
                <a:gd name="connsiteY4" fmla="*/ 107950 h 107950"/>
                <a:gd name="connsiteX5" fmla="*/ 76200 w 107950"/>
                <a:gd name="connsiteY5" fmla="*/ 107950 h 107950"/>
                <a:gd name="connsiteX6" fmla="*/ 76200 w 107950"/>
                <a:gd name="connsiteY6" fmla="*/ 30163 h 107950"/>
                <a:gd name="connsiteX7" fmla="*/ 0 w 107950"/>
                <a:gd name="connsiteY7" fmla="*/ 30163 h 107950"/>
                <a:gd name="connsiteX0" fmla="*/ 0 w 107950"/>
                <a:gd name="connsiteY0" fmla="*/ 0 h 107950"/>
                <a:gd name="connsiteX1" fmla="*/ 107950 w 107950"/>
                <a:gd name="connsiteY1" fmla="*/ 0 h 107950"/>
                <a:gd name="connsiteX2" fmla="*/ 107950 w 107950"/>
                <a:gd name="connsiteY2" fmla="*/ 30163 h 107950"/>
                <a:gd name="connsiteX3" fmla="*/ 107950 w 107950"/>
                <a:gd name="connsiteY3" fmla="*/ 107950 h 107950"/>
                <a:gd name="connsiteX4" fmla="*/ 76200 w 107950"/>
                <a:gd name="connsiteY4" fmla="*/ 107950 h 107950"/>
                <a:gd name="connsiteX5" fmla="*/ 76200 w 107950"/>
                <a:gd name="connsiteY5" fmla="*/ 30163 h 107950"/>
                <a:gd name="connsiteX6" fmla="*/ 0 w 107950"/>
                <a:gd name="connsiteY6" fmla="*/ 30163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107950 h 107950"/>
                <a:gd name="connsiteX3" fmla="*/ 76200 w 107950"/>
                <a:gd name="connsiteY3" fmla="*/ 107950 h 107950"/>
                <a:gd name="connsiteX4" fmla="*/ 76200 w 107950"/>
                <a:gd name="connsiteY4" fmla="*/ 30163 h 107950"/>
                <a:gd name="connsiteX5" fmla="*/ 0 w 107950"/>
                <a:gd name="connsiteY5" fmla="*/ 30163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107950"/>
                  </a:lnTo>
                  <a:lnTo>
                    <a:pt x="76200" y="107950"/>
                  </a:lnTo>
                  <a:lnTo>
                    <a:pt x="76200" y="30163"/>
                  </a:lnTo>
                  <a:lnTo>
                    <a:pt x="0" y="30163"/>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9" name="Freeform: Shape 343">
              <a:extLst>
                <a:ext uri="{FF2B5EF4-FFF2-40B4-BE49-F238E27FC236}">
                  <a16:creationId xmlns:a16="http://schemas.microsoft.com/office/drawing/2014/main" id="{D36D502D-5061-B341-A615-5FDD3CAC653A}"/>
                </a:ext>
              </a:extLst>
            </p:cNvPr>
            <p:cNvSpPr>
              <a:spLocks noChangeArrowheads="1"/>
            </p:cNvSpPr>
            <p:nvPr/>
          </p:nvSpPr>
          <p:spPr bwMode="auto">
            <a:xfrm>
              <a:off x="6757988" y="4802188"/>
              <a:ext cx="107950" cy="107951"/>
            </a:xfrm>
            <a:custGeom>
              <a:avLst/>
              <a:gdLst>
                <a:gd name="connsiteX0" fmla="*/ 76200 w 107950"/>
                <a:gd name="connsiteY0" fmla="*/ 0 h 107951"/>
                <a:gd name="connsiteX1" fmla="*/ 107950 w 107950"/>
                <a:gd name="connsiteY1" fmla="*/ 0 h 107951"/>
                <a:gd name="connsiteX2" fmla="*/ 107950 w 107950"/>
                <a:gd name="connsiteY2" fmla="*/ 77788 h 107951"/>
                <a:gd name="connsiteX3" fmla="*/ 107950 w 107950"/>
                <a:gd name="connsiteY3" fmla="*/ 107950 h 107951"/>
                <a:gd name="connsiteX4" fmla="*/ 107950 w 107950"/>
                <a:gd name="connsiteY4" fmla="*/ 107951 h 107951"/>
                <a:gd name="connsiteX5" fmla="*/ 0 w 107950"/>
                <a:gd name="connsiteY5" fmla="*/ 107951 h 107951"/>
                <a:gd name="connsiteX6" fmla="*/ 0 w 107950"/>
                <a:gd name="connsiteY6" fmla="*/ 77788 h 107951"/>
                <a:gd name="connsiteX7" fmla="*/ 76200 w 107950"/>
                <a:gd name="connsiteY7" fmla="*/ 77788 h 107951"/>
                <a:gd name="connsiteX0" fmla="*/ 76200 w 107950"/>
                <a:gd name="connsiteY0" fmla="*/ 0 h 107951"/>
                <a:gd name="connsiteX1" fmla="*/ 107950 w 107950"/>
                <a:gd name="connsiteY1" fmla="*/ 0 h 107951"/>
                <a:gd name="connsiteX2" fmla="*/ 107950 w 107950"/>
                <a:gd name="connsiteY2" fmla="*/ 107950 h 107951"/>
                <a:gd name="connsiteX3" fmla="*/ 107950 w 107950"/>
                <a:gd name="connsiteY3" fmla="*/ 107951 h 107951"/>
                <a:gd name="connsiteX4" fmla="*/ 0 w 107950"/>
                <a:gd name="connsiteY4" fmla="*/ 107951 h 107951"/>
                <a:gd name="connsiteX5" fmla="*/ 0 w 107950"/>
                <a:gd name="connsiteY5" fmla="*/ 77788 h 107951"/>
                <a:gd name="connsiteX6" fmla="*/ 76200 w 107950"/>
                <a:gd name="connsiteY6" fmla="*/ 77788 h 107951"/>
                <a:gd name="connsiteX7" fmla="*/ 7620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76200" y="0"/>
                  </a:moveTo>
                  <a:lnTo>
                    <a:pt x="107950" y="0"/>
                  </a:lnTo>
                  <a:lnTo>
                    <a:pt x="107950" y="107950"/>
                  </a:lnTo>
                  <a:lnTo>
                    <a:pt x="107950" y="107951"/>
                  </a:lnTo>
                  <a:lnTo>
                    <a:pt x="0" y="107951"/>
                  </a:lnTo>
                  <a:lnTo>
                    <a:pt x="0" y="77788"/>
                  </a:lnTo>
                  <a:lnTo>
                    <a:pt x="76200" y="77788"/>
                  </a:lnTo>
                  <a:lnTo>
                    <a:pt x="7620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0" name="Oval 220">
              <a:extLst>
                <a:ext uri="{FF2B5EF4-FFF2-40B4-BE49-F238E27FC236}">
                  <a16:creationId xmlns:a16="http://schemas.microsoft.com/office/drawing/2014/main" id="{0D6EB01A-4100-2E41-BBFB-5F8C97E4CBE1}"/>
                </a:ext>
              </a:extLst>
            </p:cNvPr>
            <p:cNvSpPr>
              <a:spLocks noChangeArrowheads="1"/>
            </p:cNvSpPr>
            <p:nvPr/>
          </p:nvSpPr>
          <p:spPr bwMode="auto">
            <a:xfrm>
              <a:off x="6572251" y="4554538"/>
              <a:ext cx="92075" cy="920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21">
              <a:extLst>
                <a:ext uri="{FF2B5EF4-FFF2-40B4-BE49-F238E27FC236}">
                  <a16:creationId xmlns:a16="http://schemas.microsoft.com/office/drawing/2014/main" id="{50528CDE-5707-8B48-B420-A45F24D92089}"/>
                </a:ext>
              </a:extLst>
            </p:cNvPr>
            <p:cNvSpPr>
              <a:spLocks/>
            </p:cNvSpPr>
            <p:nvPr/>
          </p:nvSpPr>
          <p:spPr bwMode="auto">
            <a:xfrm>
              <a:off x="6526213" y="4678363"/>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5" y="0"/>
                    <a:pt x="256" y="0"/>
                  </a:cubicBezTo>
                  <a:cubicBezTo>
                    <a:pt x="397" y="0"/>
                    <a:pt x="512" y="115"/>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139">
            <a:extLst>
              <a:ext uri="{FF2B5EF4-FFF2-40B4-BE49-F238E27FC236}">
                <a16:creationId xmlns:a16="http://schemas.microsoft.com/office/drawing/2014/main" id="{8C9D8B62-1715-7A44-BD9C-0AC393D77A8B}"/>
              </a:ext>
            </a:extLst>
          </p:cNvPr>
          <p:cNvGrpSpPr>
            <a:grpSpLocks noChangeAspect="1"/>
          </p:cNvGrpSpPr>
          <p:nvPr/>
        </p:nvGrpSpPr>
        <p:grpSpPr bwMode="auto">
          <a:xfrm>
            <a:off x="460980" y="3307176"/>
            <a:ext cx="495300" cy="371475"/>
            <a:chOff x="410" y="2822"/>
            <a:chExt cx="312" cy="234"/>
          </a:xfrm>
        </p:grpSpPr>
        <p:sp>
          <p:nvSpPr>
            <p:cNvPr id="24" name="AutoShape 138">
              <a:extLst>
                <a:ext uri="{FF2B5EF4-FFF2-40B4-BE49-F238E27FC236}">
                  <a16:creationId xmlns:a16="http://schemas.microsoft.com/office/drawing/2014/main" id="{379F9A62-E0C8-D24B-A58E-53460353FBDD}"/>
                </a:ext>
              </a:extLst>
            </p:cNvPr>
            <p:cNvSpPr>
              <a:spLocks noChangeAspect="1" noChangeArrowheads="1" noTextEdit="1"/>
            </p:cNvSpPr>
            <p:nvPr/>
          </p:nvSpPr>
          <p:spPr bwMode="auto">
            <a:xfrm>
              <a:off x="410" y="2822"/>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40">
              <a:extLst>
                <a:ext uri="{FF2B5EF4-FFF2-40B4-BE49-F238E27FC236}">
                  <a16:creationId xmlns:a16="http://schemas.microsoft.com/office/drawing/2014/main" id="{A5260284-9E6E-3243-9807-1641B9E51825}"/>
                </a:ext>
              </a:extLst>
            </p:cNvPr>
            <p:cNvSpPr>
              <a:spLocks noChangeArrowheads="1"/>
            </p:cNvSpPr>
            <p:nvPr/>
          </p:nvSpPr>
          <p:spPr bwMode="auto">
            <a:xfrm>
              <a:off x="410" y="2822"/>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41">
              <a:extLst>
                <a:ext uri="{FF2B5EF4-FFF2-40B4-BE49-F238E27FC236}">
                  <a16:creationId xmlns:a16="http://schemas.microsoft.com/office/drawing/2014/main" id="{EE829560-FB88-3641-A9BB-477CDDA4DC55}"/>
                </a:ext>
              </a:extLst>
            </p:cNvPr>
            <p:cNvSpPr>
              <a:spLocks noChangeArrowheads="1"/>
            </p:cNvSpPr>
            <p:nvPr/>
          </p:nvSpPr>
          <p:spPr bwMode="auto">
            <a:xfrm>
              <a:off x="410" y="2851"/>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142">
              <a:extLst>
                <a:ext uri="{FF2B5EF4-FFF2-40B4-BE49-F238E27FC236}">
                  <a16:creationId xmlns:a16="http://schemas.microsoft.com/office/drawing/2014/main" id="{B9FEED83-101D-2F4B-ACB1-26A56E892268}"/>
                </a:ext>
              </a:extLst>
            </p:cNvPr>
            <p:cNvSpPr>
              <a:spLocks noChangeArrowheads="1"/>
            </p:cNvSpPr>
            <p:nvPr/>
          </p:nvSpPr>
          <p:spPr bwMode="auto">
            <a:xfrm>
              <a:off x="420"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143">
              <a:extLst>
                <a:ext uri="{FF2B5EF4-FFF2-40B4-BE49-F238E27FC236}">
                  <a16:creationId xmlns:a16="http://schemas.microsoft.com/office/drawing/2014/main" id="{3957B117-F7EF-A44D-BDA8-9F09BE91033A}"/>
                </a:ext>
              </a:extLst>
            </p:cNvPr>
            <p:cNvSpPr>
              <a:spLocks noChangeArrowheads="1"/>
            </p:cNvSpPr>
            <p:nvPr/>
          </p:nvSpPr>
          <p:spPr bwMode="auto">
            <a:xfrm>
              <a:off x="434"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144">
              <a:extLst>
                <a:ext uri="{FF2B5EF4-FFF2-40B4-BE49-F238E27FC236}">
                  <a16:creationId xmlns:a16="http://schemas.microsoft.com/office/drawing/2014/main" id="{5584775A-F1AC-9E47-99E8-288762B015CD}"/>
                </a:ext>
              </a:extLst>
            </p:cNvPr>
            <p:cNvSpPr>
              <a:spLocks noChangeArrowheads="1"/>
            </p:cNvSpPr>
            <p:nvPr/>
          </p:nvSpPr>
          <p:spPr bwMode="auto">
            <a:xfrm>
              <a:off x="449"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145">
              <a:extLst>
                <a:ext uri="{FF2B5EF4-FFF2-40B4-BE49-F238E27FC236}">
                  <a16:creationId xmlns:a16="http://schemas.microsoft.com/office/drawing/2014/main" id="{A409DC87-643F-E941-87A1-74256790B987}"/>
                </a:ext>
              </a:extLst>
            </p:cNvPr>
            <p:cNvSpPr>
              <a:spLocks noChangeArrowheads="1"/>
            </p:cNvSpPr>
            <p:nvPr/>
          </p:nvSpPr>
          <p:spPr bwMode="auto">
            <a:xfrm>
              <a:off x="537" y="2890"/>
              <a:ext cx="58"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46">
              <a:extLst>
                <a:ext uri="{FF2B5EF4-FFF2-40B4-BE49-F238E27FC236}">
                  <a16:creationId xmlns:a16="http://schemas.microsoft.com/office/drawing/2014/main" id="{4C28BFDC-27F2-C145-A64D-BCC9CCBD7411}"/>
                </a:ext>
              </a:extLst>
            </p:cNvPr>
            <p:cNvSpPr>
              <a:spLocks/>
            </p:cNvSpPr>
            <p:nvPr/>
          </p:nvSpPr>
          <p:spPr bwMode="auto">
            <a:xfrm>
              <a:off x="508" y="2959"/>
              <a:ext cx="116"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4"/>
                    <a:pt x="115" y="0"/>
                    <a:pt x="256" y="0"/>
                  </a:cubicBezTo>
                  <a:cubicBezTo>
                    <a:pt x="397" y="0"/>
                    <a:pt x="512" y="114"/>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2" name="Graphic 31">
            <a:extLst>
              <a:ext uri="{FF2B5EF4-FFF2-40B4-BE49-F238E27FC236}">
                <a16:creationId xmlns:a16="http://schemas.microsoft.com/office/drawing/2014/main" id="{7A54B216-5C3A-534C-85EC-2918EEDD10E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618" y="5066595"/>
            <a:ext cx="406025" cy="466807"/>
          </a:xfrm>
          <a:prstGeom prst="rect">
            <a:avLst/>
          </a:prstGeom>
        </p:spPr>
      </p:pic>
      <p:grpSp>
        <p:nvGrpSpPr>
          <p:cNvPr id="22" name="Group 139">
            <a:extLst>
              <a:ext uri="{FF2B5EF4-FFF2-40B4-BE49-F238E27FC236}">
                <a16:creationId xmlns:a16="http://schemas.microsoft.com/office/drawing/2014/main" id="{A96DB4DF-F148-4D19-BB9E-34FF68A73CA4}"/>
              </a:ext>
            </a:extLst>
          </p:cNvPr>
          <p:cNvGrpSpPr>
            <a:grpSpLocks noChangeAspect="1"/>
          </p:cNvGrpSpPr>
          <p:nvPr/>
        </p:nvGrpSpPr>
        <p:grpSpPr bwMode="auto">
          <a:xfrm>
            <a:off x="462869" y="4211285"/>
            <a:ext cx="495300" cy="371475"/>
            <a:chOff x="410" y="2822"/>
            <a:chExt cx="312" cy="234"/>
          </a:xfrm>
        </p:grpSpPr>
        <p:sp>
          <p:nvSpPr>
            <p:cNvPr id="33" name="AutoShape 138">
              <a:extLst>
                <a:ext uri="{FF2B5EF4-FFF2-40B4-BE49-F238E27FC236}">
                  <a16:creationId xmlns:a16="http://schemas.microsoft.com/office/drawing/2014/main" id="{7B4986FA-9395-40CB-9E53-6AC922A41416}"/>
                </a:ext>
              </a:extLst>
            </p:cNvPr>
            <p:cNvSpPr>
              <a:spLocks noChangeAspect="1" noChangeArrowheads="1" noTextEdit="1"/>
            </p:cNvSpPr>
            <p:nvPr/>
          </p:nvSpPr>
          <p:spPr bwMode="auto">
            <a:xfrm>
              <a:off x="410" y="2822"/>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40">
              <a:extLst>
                <a:ext uri="{FF2B5EF4-FFF2-40B4-BE49-F238E27FC236}">
                  <a16:creationId xmlns:a16="http://schemas.microsoft.com/office/drawing/2014/main" id="{49DEFE90-BF34-43D8-A483-D31A7D92A288}"/>
                </a:ext>
              </a:extLst>
            </p:cNvPr>
            <p:cNvSpPr>
              <a:spLocks noChangeArrowheads="1"/>
            </p:cNvSpPr>
            <p:nvPr/>
          </p:nvSpPr>
          <p:spPr bwMode="auto">
            <a:xfrm>
              <a:off x="410" y="2822"/>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41">
              <a:extLst>
                <a:ext uri="{FF2B5EF4-FFF2-40B4-BE49-F238E27FC236}">
                  <a16:creationId xmlns:a16="http://schemas.microsoft.com/office/drawing/2014/main" id="{392F3D5F-508B-4A6B-8AEF-8CBF6E1ECDC3}"/>
                </a:ext>
              </a:extLst>
            </p:cNvPr>
            <p:cNvSpPr>
              <a:spLocks noChangeArrowheads="1"/>
            </p:cNvSpPr>
            <p:nvPr/>
          </p:nvSpPr>
          <p:spPr bwMode="auto">
            <a:xfrm>
              <a:off x="410" y="2851"/>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142">
              <a:extLst>
                <a:ext uri="{FF2B5EF4-FFF2-40B4-BE49-F238E27FC236}">
                  <a16:creationId xmlns:a16="http://schemas.microsoft.com/office/drawing/2014/main" id="{7E61C032-B3D2-4BA1-91C4-56F1ACC62BAD}"/>
                </a:ext>
              </a:extLst>
            </p:cNvPr>
            <p:cNvSpPr>
              <a:spLocks noChangeArrowheads="1"/>
            </p:cNvSpPr>
            <p:nvPr/>
          </p:nvSpPr>
          <p:spPr bwMode="auto">
            <a:xfrm>
              <a:off x="420"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143">
              <a:extLst>
                <a:ext uri="{FF2B5EF4-FFF2-40B4-BE49-F238E27FC236}">
                  <a16:creationId xmlns:a16="http://schemas.microsoft.com/office/drawing/2014/main" id="{7E0F3CB3-D807-4885-AB64-0DF8BAA69198}"/>
                </a:ext>
              </a:extLst>
            </p:cNvPr>
            <p:cNvSpPr>
              <a:spLocks noChangeArrowheads="1"/>
            </p:cNvSpPr>
            <p:nvPr/>
          </p:nvSpPr>
          <p:spPr bwMode="auto">
            <a:xfrm>
              <a:off x="434"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44">
              <a:extLst>
                <a:ext uri="{FF2B5EF4-FFF2-40B4-BE49-F238E27FC236}">
                  <a16:creationId xmlns:a16="http://schemas.microsoft.com/office/drawing/2014/main" id="{35FFC61A-5656-450F-B3D5-D8BD122BF0C8}"/>
                </a:ext>
              </a:extLst>
            </p:cNvPr>
            <p:cNvSpPr>
              <a:spLocks noChangeArrowheads="1"/>
            </p:cNvSpPr>
            <p:nvPr/>
          </p:nvSpPr>
          <p:spPr bwMode="auto">
            <a:xfrm>
              <a:off x="449"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145">
              <a:extLst>
                <a:ext uri="{FF2B5EF4-FFF2-40B4-BE49-F238E27FC236}">
                  <a16:creationId xmlns:a16="http://schemas.microsoft.com/office/drawing/2014/main" id="{6176B6C1-101D-4E20-AD85-66860A434079}"/>
                </a:ext>
              </a:extLst>
            </p:cNvPr>
            <p:cNvSpPr>
              <a:spLocks noChangeArrowheads="1"/>
            </p:cNvSpPr>
            <p:nvPr/>
          </p:nvSpPr>
          <p:spPr bwMode="auto">
            <a:xfrm>
              <a:off x="537" y="2890"/>
              <a:ext cx="58"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46">
              <a:extLst>
                <a:ext uri="{FF2B5EF4-FFF2-40B4-BE49-F238E27FC236}">
                  <a16:creationId xmlns:a16="http://schemas.microsoft.com/office/drawing/2014/main" id="{1365907C-3B2E-460B-81A9-B8941EE085FA}"/>
                </a:ext>
              </a:extLst>
            </p:cNvPr>
            <p:cNvSpPr>
              <a:spLocks/>
            </p:cNvSpPr>
            <p:nvPr/>
          </p:nvSpPr>
          <p:spPr bwMode="auto">
            <a:xfrm>
              <a:off x="508" y="2959"/>
              <a:ext cx="116"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4"/>
                    <a:pt x="115" y="0"/>
                    <a:pt x="256" y="0"/>
                  </a:cubicBezTo>
                  <a:cubicBezTo>
                    <a:pt x="397" y="0"/>
                    <a:pt x="512" y="114"/>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756048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0E3D95-7980-D44E-8A11-6A75F01CA158}"/>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1413" y="0"/>
            <a:ext cx="12189173" cy="6858000"/>
          </a:xfrm>
          <a:prstGeom prst="rect">
            <a:avLst/>
          </a:prstGeom>
        </p:spPr>
      </p:pic>
      <p:sp>
        <p:nvSpPr>
          <p:cNvPr id="8" name="Title 1">
            <a:extLst>
              <a:ext uri="{FF2B5EF4-FFF2-40B4-BE49-F238E27FC236}">
                <a16:creationId xmlns:a16="http://schemas.microsoft.com/office/drawing/2014/main" id="{FFC93CE4-D29D-4261-B341-EE359B4CFB34}"/>
              </a:ext>
            </a:extLst>
          </p:cNvPr>
          <p:cNvSpPr txBox="1">
            <a:spLocks/>
          </p:cNvSpPr>
          <p:nvPr/>
        </p:nvSpPr>
        <p:spPr>
          <a:xfrm>
            <a:off x="4379994" y="2967335"/>
            <a:ext cx="3432030" cy="923330"/>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50" normalizeH="0" baseline="0" noProof="0">
                <a:ln w="3175">
                  <a:noFill/>
                </a:ln>
                <a:solidFill>
                  <a:srgbClr val="50E6FF"/>
                </a:solidFill>
                <a:effectLst/>
                <a:uLnTx/>
                <a:uFillTx/>
                <a:latin typeface="Segoe UI Semibold"/>
                <a:ea typeface="+mn-ea"/>
                <a:cs typeface="Segoe UI" pitchFamily="34" charset="0"/>
              </a:rPr>
              <a:t>Questions</a:t>
            </a:r>
            <a:endParaRPr kumimoji="0" lang="en-US" sz="4000" b="0" i="0" u="none" strike="noStrike" kern="1200" cap="none" spc="-50" normalizeH="0" baseline="0" noProof="0">
              <a:ln w="3175">
                <a:noFill/>
              </a:ln>
              <a:solidFill>
                <a:srgbClr val="50E6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540388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CE8AD00-81A4-4ECE-A151-051C27514524}"/>
              </a:ext>
            </a:extLst>
          </p:cNvPr>
          <p:cNvGraphicFramePr>
            <a:graphicFrameLocks noGrp="1"/>
          </p:cNvGraphicFramePr>
          <p:nvPr/>
        </p:nvGraphicFramePr>
        <p:xfrm>
          <a:off x="588264" y="2459129"/>
          <a:ext cx="2958754" cy="3911838"/>
        </p:xfrm>
        <a:graphic>
          <a:graphicData uri="http://schemas.openxmlformats.org/drawingml/2006/table">
            <a:tbl>
              <a:tblPr bandRow="1"/>
              <a:tblGrid>
                <a:gridCol w="1479377">
                  <a:extLst>
                    <a:ext uri="{9D8B030D-6E8A-4147-A177-3AD203B41FA5}">
                      <a16:colId xmlns:a16="http://schemas.microsoft.com/office/drawing/2014/main" val="981038713"/>
                    </a:ext>
                  </a:extLst>
                </a:gridCol>
                <a:gridCol w="1479377">
                  <a:extLst>
                    <a:ext uri="{9D8B030D-6E8A-4147-A177-3AD203B41FA5}">
                      <a16:colId xmlns:a16="http://schemas.microsoft.com/office/drawing/2014/main" val="2484769447"/>
                    </a:ext>
                  </a:extLst>
                </a:gridCol>
              </a:tblGrid>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Australia South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Korea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122907354"/>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Australia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North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467240512"/>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Brazil Sou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North Europ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03197049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anada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 Africa Nor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86892829"/>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anada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750255002"/>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entral Ind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east As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97230091"/>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Switzerland Nor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720433866"/>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As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UK We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197288284"/>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UK Sou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71957893"/>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US 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63638697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France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Europ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361651997"/>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Germany West Centra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01983617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Japan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US 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863093787"/>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Japan We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endParaRPr lang="en-US" sz="1000" kern="1200">
                        <a:gradFill>
                          <a:gsLst>
                            <a:gs pos="1250">
                              <a:srgbClr val="FFFFFF"/>
                            </a:gs>
                            <a:gs pos="100000">
                              <a:srgbClr val="FFFFFF"/>
                            </a:gs>
                          </a:gsLst>
                          <a:lin ang="5400000" scaled="0"/>
                        </a:gradFill>
                        <a:latin typeface="+mn-lt"/>
                        <a:ea typeface="+mn-ea"/>
                        <a:cs typeface="+mn-cs"/>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400875320"/>
                  </a:ext>
                </a:extLst>
              </a:tr>
            </a:tbl>
          </a:graphicData>
        </a:graphic>
      </p:graphicFrame>
      <p:grpSp>
        <p:nvGrpSpPr>
          <p:cNvPr id="5" name="Group 4">
            <a:extLst>
              <a:ext uri="{FF2B5EF4-FFF2-40B4-BE49-F238E27FC236}">
                <a16:creationId xmlns:a16="http://schemas.microsoft.com/office/drawing/2014/main" id="{17893835-5789-42D2-9E43-93FD2FC4FE01}"/>
              </a:ext>
            </a:extLst>
          </p:cNvPr>
          <p:cNvGrpSpPr/>
          <p:nvPr/>
        </p:nvGrpSpPr>
        <p:grpSpPr>
          <a:xfrm>
            <a:off x="3716867" y="0"/>
            <a:ext cx="8475794" cy="6858000"/>
            <a:chOff x="3716867" y="0"/>
            <a:chExt cx="8475794" cy="6858000"/>
          </a:xfrm>
        </p:grpSpPr>
        <p:grpSp>
          <p:nvGrpSpPr>
            <p:cNvPr id="6" name="Graphic 2">
              <a:extLst>
                <a:ext uri="{FF2B5EF4-FFF2-40B4-BE49-F238E27FC236}">
                  <a16:creationId xmlns:a16="http://schemas.microsoft.com/office/drawing/2014/main" id="{19E9311B-50BB-41BF-8D53-7E4CC98041BF}"/>
                </a:ext>
              </a:extLst>
            </p:cNvPr>
            <p:cNvGrpSpPr>
              <a:grpSpLocks noChangeAspect="1"/>
            </p:cNvGrpSpPr>
            <p:nvPr/>
          </p:nvGrpSpPr>
          <p:grpSpPr>
            <a:xfrm>
              <a:off x="4092714" y="1540386"/>
              <a:ext cx="7996264" cy="3998130"/>
              <a:chOff x="1171575" y="1454153"/>
              <a:chExt cx="9848850" cy="4924422"/>
            </a:xfrm>
          </p:grpSpPr>
          <p:sp>
            <p:nvSpPr>
              <p:cNvPr id="8" name="Freeform: Shape 7">
                <a:extLst>
                  <a:ext uri="{FF2B5EF4-FFF2-40B4-BE49-F238E27FC236}">
                    <a16:creationId xmlns:a16="http://schemas.microsoft.com/office/drawing/2014/main" id="{A7EC6546-E74C-47EA-BD18-7DED6746F1BF}"/>
                  </a:ext>
                </a:extLst>
              </p:cNvPr>
              <p:cNvSpPr/>
              <p:nvPr/>
            </p:nvSpPr>
            <p:spPr>
              <a:xfrm>
                <a:off x="6466923" y="4990948"/>
                <a:ext cx="212886" cy="190764"/>
              </a:xfrm>
              <a:custGeom>
                <a:avLst/>
                <a:gdLst>
                  <a:gd name="connsiteX0" fmla="*/ 212432 w 212886"/>
                  <a:gd name="connsiteY0" fmla="*/ 116368 h 190764"/>
                  <a:gd name="connsiteX1" fmla="*/ 210159 w 212886"/>
                  <a:gd name="connsiteY1" fmla="*/ 112731 h 190764"/>
                  <a:gd name="connsiteX2" fmla="*/ 208492 w 212886"/>
                  <a:gd name="connsiteY2" fmla="*/ 109701 h 190764"/>
                  <a:gd name="connsiteX3" fmla="*/ 206977 w 212886"/>
                  <a:gd name="connsiteY3" fmla="*/ 104852 h 190764"/>
                  <a:gd name="connsiteX4" fmla="*/ 208492 w 212886"/>
                  <a:gd name="connsiteY4" fmla="*/ 100761 h 190764"/>
                  <a:gd name="connsiteX5" fmla="*/ 208947 w 212886"/>
                  <a:gd name="connsiteY5" fmla="*/ 98185 h 190764"/>
                  <a:gd name="connsiteX6" fmla="*/ 208947 w 212886"/>
                  <a:gd name="connsiteY6" fmla="*/ 96822 h 190764"/>
                  <a:gd name="connsiteX7" fmla="*/ 208341 w 212886"/>
                  <a:gd name="connsiteY7" fmla="*/ 95610 h 190764"/>
                  <a:gd name="connsiteX8" fmla="*/ 206674 w 212886"/>
                  <a:gd name="connsiteY8" fmla="*/ 94700 h 190764"/>
                  <a:gd name="connsiteX9" fmla="*/ 205310 w 212886"/>
                  <a:gd name="connsiteY9" fmla="*/ 94094 h 190764"/>
                  <a:gd name="connsiteX10" fmla="*/ 204856 w 212886"/>
                  <a:gd name="connsiteY10" fmla="*/ 92428 h 190764"/>
                  <a:gd name="connsiteX11" fmla="*/ 204856 w 212886"/>
                  <a:gd name="connsiteY11" fmla="*/ 90458 h 190764"/>
                  <a:gd name="connsiteX12" fmla="*/ 205462 w 212886"/>
                  <a:gd name="connsiteY12" fmla="*/ 89397 h 190764"/>
                  <a:gd name="connsiteX13" fmla="*/ 209098 w 212886"/>
                  <a:gd name="connsiteY13" fmla="*/ 87579 h 190764"/>
                  <a:gd name="connsiteX14" fmla="*/ 209856 w 212886"/>
                  <a:gd name="connsiteY14" fmla="*/ 86518 h 190764"/>
                  <a:gd name="connsiteX15" fmla="*/ 210310 w 212886"/>
                  <a:gd name="connsiteY15" fmla="*/ 85458 h 190764"/>
                  <a:gd name="connsiteX16" fmla="*/ 210310 w 212886"/>
                  <a:gd name="connsiteY16" fmla="*/ 83943 h 190764"/>
                  <a:gd name="connsiteX17" fmla="*/ 211371 w 212886"/>
                  <a:gd name="connsiteY17" fmla="*/ 80003 h 190764"/>
                  <a:gd name="connsiteX18" fmla="*/ 212735 w 212886"/>
                  <a:gd name="connsiteY18" fmla="*/ 76215 h 190764"/>
                  <a:gd name="connsiteX19" fmla="*/ 212887 w 212886"/>
                  <a:gd name="connsiteY19" fmla="*/ 74851 h 190764"/>
                  <a:gd name="connsiteX20" fmla="*/ 212432 w 212886"/>
                  <a:gd name="connsiteY20" fmla="*/ 73639 h 190764"/>
                  <a:gd name="connsiteX21" fmla="*/ 211977 w 212886"/>
                  <a:gd name="connsiteY21" fmla="*/ 71518 h 190764"/>
                  <a:gd name="connsiteX22" fmla="*/ 211675 w 212886"/>
                  <a:gd name="connsiteY22" fmla="*/ 68336 h 190764"/>
                  <a:gd name="connsiteX23" fmla="*/ 211675 w 212886"/>
                  <a:gd name="connsiteY23" fmla="*/ 59396 h 190764"/>
                  <a:gd name="connsiteX24" fmla="*/ 212432 w 212886"/>
                  <a:gd name="connsiteY24" fmla="*/ 50153 h 190764"/>
                  <a:gd name="connsiteX25" fmla="*/ 212129 w 212886"/>
                  <a:gd name="connsiteY25" fmla="*/ 45002 h 190764"/>
                  <a:gd name="connsiteX26" fmla="*/ 209856 w 212886"/>
                  <a:gd name="connsiteY26" fmla="*/ 38941 h 190764"/>
                  <a:gd name="connsiteX27" fmla="*/ 209705 w 212886"/>
                  <a:gd name="connsiteY27" fmla="*/ 34698 h 190764"/>
                  <a:gd name="connsiteX28" fmla="*/ 211371 w 212886"/>
                  <a:gd name="connsiteY28" fmla="*/ 31668 h 190764"/>
                  <a:gd name="connsiteX29" fmla="*/ 211675 w 212886"/>
                  <a:gd name="connsiteY29" fmla="*/ 29850 h 190764"/>
                  <a:gd name="connsiteX30" fmla="*/ 210462 w 212886"/>
                  <a:gd name="connsiteY30" fmla="*/ 29698 h 190764"/>
                  <a:gd name="connsiteX31" fmla="*/ 207887 w 212886"/>
                  <a:gd name="connsiteY31" fmla="*/ 29546 h 190764"/>
                  <a:gd name="connsiteX32" fmla="*/ 206068 w 212886"/>
                  <a:gd name="connsiteY32" fmla="*/ 28941 h 190764"/>
                  <a:gd name="connsiteX33" fmla="*/ 203189 w 212886"/>
                  <a:gd name="connsiteY33" fmla="*/ 26516 h 190764"/>
                  <a:gd name="connsiteX34" fmla="*/ 198189 w 212886"/>
                  <a:gd name="connsiteY34" fmla="*/ 24395 h 190764"/>
                  <a:gd name="connsiteX35" fmla="*/ 192431 w 212886"/>
                  <a:gd name="connsiteY35" fmla="*/ 22577 h 190764"/>
                  <a:gd name="connsiteX36" fmla="*/ 184098 w 212886"/>
                  <a:gd name="connsiteY36" fmla="*/ 21970 h 190764"/>
                  <a:gd name="connsiteX37" fmla="*/ 177128 w 212886"/>
                  <a:gd name="connsiteY37" fmla="*/ 15910 h 190764"/>
                  <a:gd name="connsiteX38" fmla="*/ 171673 w 212886"/>
                  <a:gd name="connsiteY38" fmla="*/ 15001 h 190764"/>
                  <a:gd name="connsiteX39" fmla="*/ 170006 w 212886"/>
                  <a:gd name="connsiteY39" fmla="*/ 14243 h 190764"/>
                  <a:gd name="connsiteX40" fmla="*/ 164854 w 212886"/>
                  <a:gd name="connsiteY40" fmla="*/ 10606 h 190764"/>
                  <a:gd name="connsiteX41" fmla="*/ 156672 w 212886"/>
                  <a:gd name="connsiteY41" fmla="*/ 10304 h 190764"/>
                  <a:gd name="connsiteX42" fmla="*/ 148187 w 212886"/>
                  <a:gd name="connsiteY42" fmla="*/ 10000 h 190764"/>
                  <a:gd name="connsiteX43" fmla="*/ 142884 w 212886"/>
                  <a:gd name="connsiteY43" fmla="*/ 9849 h 190764"/>
                  <a:gd name="connsiteX44" fmla="*/ 142126 w 212886"/>
                  <a:gd name="connsiteY44" fmla="*/ 9394 h 190764"/>
                  <a:gd name="connsiteX45" fmla="*/ 141823 w 212886"/>
                  <a:gd name="connsiteY45" fmla="*/ 4394 h 190764"/>
                  <a:gd name="connsiteX46" fmla="*/ 141823 w 212886"/>
                  <a:gd name="connsiteY46" fmla="*/ 0 h 190764"/>
                  <a:gd name="connsiteX47" fmla="*/ 137884 w 212886"/>
                  <a:gd name="connsiteY47" fmla="*/ 0 h 190764"/>
                  <a:gd name="connsiteX48" fmla="*/ 130914 w 212886"/>
                  <a:gd name="connsiteY48" fmla="*/ 0 h 190764"/>
                  <a:gd name="connsiteX49" fmla="*/ 123641 w 212886"/>
                  <a:gd name="connsiteY49" fmla="*/ 0 h 190764"/>
                  <a:gd name="connsiteX50" fmla="*/ 116974 w 212886"/>
                  <a:gd name="connsiteY50" fmla="*/ 1515 h 190764"/>
                  <a:gd name="connsiteX51" fmla="*/ 111519 w 212886"/>
                  <a:gd name="connsiteY51" fmla="*/ 3788 h 190764"/>
                  <a:gd name="connsiteX52" fmla="*/ 105004 w 212886"/>
                  <a:gd name="connsiteY52" fmla="*/ 7273 h 190764"/>
                  <a:gd name="connsiteX53" fmla="*/ 102882 w 212886"/>
                  <a:gd name="connsiteY53" fmla="*/ 8637 h 190764"/>
                  <a:gd name="connsiteX54" fmla="*/ 101216 w 212886"/>
                  <a:gd name="connsiteY54" fmla="*/ 9697 h 190764"/>
                  <a:gd name="connsiteX55" fmla="*/ 100155 w 212886"/>
                  <a:gd name="connsiteY55" fmla="*/ 11061 h 190764"/>
                  <a:gd name="connsiteX56" fmla="*/ 99700 w 212886"/>
                  <a:gd name="connsiteY56" fmla="*/ 14092 h 190764"/>
                  <a:gd name="connsiteX57" fmla="*/ 99700 w 212886"/>
                  <a:gd name="connsiteY57" fmla="*/ 18637 h 190764"/>
                  <a:gd name="connsiteX58" fmla="*/ 99094 w 212886"/>
                  <a:gd name="connsiteY58" fmla="*/ 21970 h 190764"/>
                  <a:gd name="connsiteX59" fmla="*/ 97125 w 212886"/>
                  <a:gd name="connsiteY59" fmla="*/ 25001 h 190764"/>
                  <a:gd name="connsiteX60" fmla="*/ 99700 w 212886"/>
                  <a:gd name="connsiteY60" fmla="*/ 26062 h 190764"/>
                  <a:gd name="connsiteX61" fmla="*/ 100913 w 212886"/>
                  <a:gd name="connsiteY61" fmla="*/ 26062 h 190764"/>
                  <a:gd name="connsiteX62" fmla="*/ 102125 w 212886"/>
                  <a:gd name="connsiteY62" fmla="*/ 26213 h 190764"/>
                  <a:gd name="connsiteX63" fmla="*/ 102731 w 212886"/>
                  <a:gd name="connsiteY63" fmla="*/ 26819 h 190764"/>
                  <a:gd name="connsiteX64" fmla="*/ 103337 w 212886"/>
                  <a:gd name="connsiteY64" fmla="*/ 27122 h 190764"/>
                  <a:gd name="connsiteX65" fmla="*/ 102731 w 212886"/>
                  <a:gd name="connsiteY65" fmla="*/ 27577 h 190764"/>
                  <a:gd name="connsiteX66" fmla="*/ 102125 w 212886"/>
                  <a:gd name="connsiteY66" fmla="*/ 28486 h 190764"/>
                  <a:gd name="connsiteX67" fmla="*/ 101822 w 212886"/>
                  <a:gd name="connsiteY67" fmla="*/ 29395 h 190764"/>
                  <a:gd name="connsiteX68" fmla="*/ 101064 w 212886"/>
                  <a:gd name="connsiteY68" fmla="*/ 29244 h 190764"/>
                  <a:gd name="connsiteX69" fmla="*/ 100155 w 212886"/>
                  <a:gd name="connsiteY69" fmla="*/ 29092 h 190764"/>
                  <a:gd name="connsiteX70" fmla="*/ 99852 w 212886"/>
                  <a:gd name="connsiteY70" fmla="*/ 30456 h 190764"/>
                  <a:gd name="connsiteX71" fmla="*/ 99246 w 212886"/>
                  <a:gd name="connsiteY71" fmla="*/ 31668 h 190764"/>
                  <a:gd name="connsiteX72" fmla="*/ 98185 w 212886"/>
                  <a:gd name="connsiteY72" fmla="*/ 32274 h 190764"/>
                  <a:gd name="connsiteX73" fmla="*/ 97428 w 212886"/>
                  <a:gd name="connsiteY73" fmla="*/ 32729 h 190764"/>
                  <a:gd name="connsiteX74" fmla="*/ 96367 w 212886"/>
                  <a:gd name="connsiteY74" fmla="*/ 32425 h 190764"/>
                  <a:gd name="connsiteX75" fmla="*/ 95610 w 212886"/>
                  <a:gd name="connsiteY75" fmla="*/ 31819 h 190764"/>
                  <a:gd name="connsiteX76" fmla="*/ 95610 w 212886"/>
                  <a:gd name="connsiteY76" fmla="*/ 31062 h 190764"/>
                  <a:gd name="connsiteX77" fmla="*/ 95306 w 212886"/>
                  <a:gd name="connsiteY77" fmla="*/ 30001 h 190764"/>
                  <a:gd name="connsiteX78" fmla="*/ 94397 w 212886"/>
                  <a:gd name="connsiteY78" fmla="*/ 29698 h 190764"/>
                  <a:gd name="connsiteX79" fmla="*/ 93185 w 212886"/>
                  <a:gd name="connsiteY79" fmla="*/ 30153 h 190764"/>
                  <a:gd name="connsiteX80" fmla="*/ 92427 w 212886"/>
                  <a:gd name="connsiteY80" fmla="*/ 30456 h 190764"/>
                  <a:gd name="connsiteX81" fmla="*/ 91518 w 212886"/>
                  <a:gd name="connsiteY81" fmla="*/ 30759 h 190764"/>
                  <a:gd name="connsiteX82" fmla="*/ 90306 w 212886"/>
                  <a:gd name="connsiteY82" fmla="*/ 31365 h 190764"/>
                  <a:gd name="connsiteX83" fmla="*/ 89397 w 212886"/>
                  <a:gd name="connsiteY83" fmla="*/ 32274 h 190764"/>
                  <a:gd name="connsiteX84" fmla="*/ 88943 w 212886"/>
                  <a:gd name="connsiteY84" fmla="*/ 33486 h 190764"/>
                  <a:gd name="connsiteX85" fmla="*/ 88943 w 212886"/>
                  <a:gd name="connsiteY85" fmla="*/ 34395 h 190764"/>
                  <a:gd name="connsiteX86" fmla="*/ 88791 w 212886"/>
                  <a:gd name="connsiteY86" fmla="*/ 34395 h 190764"/>
                  <a:gd name="connsiteX87" fmla="*/ 87882 w 212886"/>
                  <a:gd name="connsiteY87" fmla="*/ 33638 h 190764"/>
                  <a:gd name="connsiteX88" fmla="*/ 86821 w 212886"/>
                  <a:gd name="connsiteY88" fmla="*/ 32425 h 190764"/>
                  <a:gd name="connsiteX89" fmla="*/ 85761 w 212886"/>
                  <a:gd name="connsiteY89" fmla="*/ 32274 h 190764"/>
                  <a:gd name="connsiteX90" fmla="*/ 83033 w 212886"/>
                  <a:gd name="connsiteY90" fmla="*/ 33032 h 190764"/>
                  <a:gd name="connsiteX91" fmla="*/ 80609 w 212886"/>
                  <a:gd name="connsiteY91" fmla="*/ 33638 h 190764"/>
                  <a:gd name="connsiteX92" fmla="*/ 79700 w 212886"/>
                  <a:gd name="connsiteY92" fmla="*/ 34244 h 190764"/>
                  <a:gd name="connsiteX93" fmla="*/ 79245 w 212886"/>
                  <a:gd name="connsiteY93" fmla="*/ 35304 h 190764"/>
                  <a:gd name="connsiteX94" fmla="*/ 78791 w 212886"/>
                  <a:gd name="connsiteY94" fmla="*/ 36668 h 190764"/>
                  <a:gd name="connsiteX95" fmla="*/ 78942 w 212886"/>
                  <a:gd name="connsiteY95" fmla="*/ 37577 h 190764"/>
                  <a:gd name="connsiteX96" fmla="*/ 79245 w 212886"/>
                  <a:gd name="connsiteY96" fmla="*/ 38032 h 190764"/>
                  <a:gd name="connsiteX97" fmla="*/ 79094 w 212886"/>
                  <a:gd name="connsiteY97" fmla="*/ 38638 h 190764"/>
                  <a:gd name="connsiteX98" fmla="*/ 78488 w 212886"/>
                  <a:gd name="connsiteY98" fmla="*/ 39547 h 190764"/>
                  <a:gd name="connsiteX99" fmla="*/ 77730 w 212886"/>
                  <a:gd name="connsiteY99" fmla="*/ 40001 h 190764"/>
                  <a:gd name="connsiteX100" fmla="*/ 76366 w 212886"/>
                  <a:gd name="connsiteY100" fmla="*/ 39547 h 190764"/>
                  <a:gd name="connsiteX101" fmla="*/ 75306 w 212886"/>
                  <a:gd name="connsiteY101" fmla="*/ 39244 h 190764"/>
                  <a:gd name="connsiteX102" fmla="*/ 74851 w 212886"/>
                  <a:gd name="connsiteY102" fmla="*/ 39547 h 190764"/>
                  <a:gd name="connsiteX103" fmla="*/ 74093 w 212886"/>
                  <a:gd name="connsiteY103" fmla="*/ 40305 h 190764"/>
                  <a:gd name="connsiteX104" fmla="*/ 72881 w 212886"/>
                  <a:gd name="connsiteY104" fmla="*/ 41365 h 190764"/>
                  <a:gd name="connsiteX105" fmla="*/ 72124 w 212886"/>
                  <a:gd name="connsiteY105" fmla="*/ 42123 h 190764"/>
                  <a:gd name="connsiteX106" fmla="*/ 71366 w 212886"/>
                  <a:gd name="connsiteY106" fmla="*/ 42426 h 190764"/>
                  <a:gd name="connsiteX107" fmla="*/ 69699 w 212886"/>
                  <a:gd name="connsiteY107" fmla="*/ 42880 h 190764"/>
                  <a:gd name="connsiteX108" fmla="*/ 68487 w 212886"/>
                  <a:gd name="connsiteY108" fmla="*/ 43789 h 190764"/>
                  <a:gd name="connsiteX109" fmla="*/ 67881 w 212886"/>
                  <a:gd name="connsiteY109" fmla="*/ 44396 h 190764"/>
                  <a:gd name="connsiteX110" fmla="*/ 67426 w 212886"/>
                  <a:gd name="connsiteY110" fmla="*/ 45002 h 190764"/>
                  <a:gd name="connsiteX111" fmla="*/ 66972 w 212886"/>
                  <a:gd name="connsiteY111" fmla="*/ 46062 h 190764"/>
                  <a:gd name="connsiteX112" fmla="*/ 65760 w 212886"/>
                  <a:gd name="connsiteY112" fmla="*/ 48487 h 190764"/>
                  <a:gd name="connsiteX113" fmla="*/ 64851 w 212886"/>
                  <a:gd name="connsiteY113" fmla="*/ 50456 h 190764"/>
                  <a:gd name="connsiteX114" fmla="*/ 64548 w 212886"/>
                  <a:gd name="connsiteY114" fmla="*/ 50608 h 190764"/>
                  <a:gd name="connsiteX115" fmla="*/ 64093 w 212886"/>
                  <a:gd name="connsiteY115" fmla="*/ 51062 h 190764"/>
                  <a:gd name="connsiteX116" fmla="*/ 62729 w 212886"/>
                  <a:gd name="connsiteY116" fmla="*/ 51972 h 190764"/>
                  <a:gd name="connsiteX117" fmla="*/ 61517 w 212886"/>
                  <a:gd name="connsiteY117" fmla="*/ 52729 h 190764"/>
                  <a:gd name="connsiteX118" fmla="*/ 61063 w 212886"/>
                  <a:gd name="connsiteY118" fmla="*/ 53335 h 190764"/>
                  <a:gd name="connsiteX119" fmla="*/ 61366 w 212886"/>
                  <a:gd name="connsiteY119" fmla="*/ 53487 h 190764"/>
                  <a:gd name="connsiteX120" fmla="*/ 61669 w 212886"/>
                  <a:gd name="connsiteY120" fmla="*/ 53487 h 190764"/>
                  <a:gd name="connsiteX121" fmla="*/ 61366 w 212886"/>
                  <a:gd name="connsiteY121" fmla="*/ 53790 h 190764"/>
                  <a:gd name="connsiteX122" fmla="*/ 60154 w 212886"/>
                  <a:gd name="connsiteY122" fmla="*/ 54093 h 190764"/>
                  <a:gd name="connsiteX123" fmla="*/ 58638 w 212886"/>
                  <a:gd name="connsiteY123" fmla="*/ 54699 h 190764"/>
                  <a:gd name="connsiteX124" fmla="*/ 56669 w 212886"/>
                  <a:gd name="connsiteY124" fmla="*/ 56820 h 190764"/>
                  <a:gd name="connsiteX125" fmla="*/ 55153 w 212886"/>
                  <a:gd name="connsiteY125" fmla="*/ 58942 h 190764"/>
                  <a:gd name="connsiteX126" fmla="*/ 54244 w 212886"/>
                  <a:gd name="connsiteY126" fmla="*/ 60305 h 190764"/>
                  <a:gd name="connsiteX127" fmla="*/ 53335 w 212886"/>
                  <a:gd name="connsiteY127" fmla="*/ 61517 h 190764"/>
                  <a:gd name="connsiteX128" fmla="*/ 51972 w 212886"/>
                  <a:gd name="connsiteY128" fmla="*/ 63487 h 190764"/>
                  <a:gd name="connsiteX129" fmla="*/ 50911 w 212886"/>
                  <a:gd name="connsiteY129" fmla="*/ 64699 h 190764"/>
                  <a:gd name="connsiteX130" fmla="*/ 50153 w 212886"/>
                  <a:gd name="connsiteY130" fmla="*/ 64851 h 190764"/>
                  <a:gd name="connsiteX131" fmla="*/ 49244 w 212886"/>
                  <a:gd name="connsiteY131" fmla="*/ 64699 h 190764"/>
                  <a:gd name="connsiteX132" fmla="*/ 42729 w 212886"/>
                  <a:gd name="connsiteY132" fmla="*/ 66972 h 190764"/>
                  <a:gd name="connsiteX133" fmla="*/ 37122 w 212886"/>
                  <a:gd name="connsiteY133" fmla="*/ 66366 h 190764"/>
                  <a:gd name="connsiteX134" fmla="*/ 30455 w 212886"/>
                  <a:gd name="connsiteY134" fmla="*/ 63790 h 190764"/>
                  <a:gd name="connsiteX135" fmla="*/ 25153 w 212886"/>
                  <a:gd name="connsiteY135" fmla="*/ 63336 h 190764"/>
                  <a:gd name="connsiteX136" fmla="*/ 21213 w 212886"/>
                  <a:gd name="connsiteY136" fmla="*/ 65003 h 190764"/>
                  <a:gd name="connsiteX137" fmla="*/ 17576 w 212886"/>
                  <a:gd name="connsiteY137" fmla="*/ 64548 h 190764"/>
                  <a:gd name="connsiteX138" fmla="*/ 14243 w 212886"/>
                  <a:gd name="connsiteY138" fmla="*/ 61972 h 190764"/>
                  <a:gd name="connsiteX139" fmla="*/ 11515 w 212886"/>
                  <a:gd name="connsiteY139" fmla="*/ 61063 h 190764"/>
                  <a:gd name="connsiteX140" fmla="*/ 9243 w 212886"/>
                  <a:gd name="connsiteY140" fmla="*/ 61820 h 190764"/>
                  <a:gd name="connsiteX141" fmla="*/ 6364 w 212886"/>
                  <a:gd name="connsiteY141" fmla="*/ 61669 h 190764"/>
                  <a:gd name="connsiteX142" fmla="*/ 1060 w 212886"/>
                  <a:gd name="connsiteY142" fmla="*/ 60154 h 190764"/>
                  <a:gd name="connsiteX143" fmla="*/ 455 w 212886"/>
                  <a:gd name="connsiteY143" fmla="*/ 61517 h 190764"/>
                  <a:gd name="connsiteX144" fmla="*/ 0 w 212886"/>
                  <a:gd name="connsiteY144" fmla="*/ 63487 h 190764"/>
                  <a:gd name="connsiteX145" fmla="*/ 455 w 212886"/>
                  <a:gd name="connsiteY145" fmla="*/ 65003 h 190764"/>
                  <a:gd name="connsiteX146" fmla="*/ 1515 w 212886"/>
                  <a:gd name="connsiteY146" fmla="*/ 66972 h 190764"/>
                  <a:gd name="connsiteX147" fmla="*/ 3030 w 212886"/>
                  <a:gd name="connsiteY147" fmla="*/ 68791 h 190764"/>
                  <a:gd name="connsiteX148" fmla="*/ 4243 w 212886"/>
                  <a:gd name="connsiteY148" fmla="*/ 69851 h 190764"/>
                  <a:gd name="connsiteX149" fmla="*/ 5606 w 212886"/>
                  <a:gd name="connsiteY149" fmla="*/ 72427 h 190764"/>
                  <a:gd name="connsiteX150" fmla="*/ 6970 w 212886"/>
                  <a:gd name="connsiteY150" fmla="*/ 75760 h 190764"/>
                  <a:gd name="connsiteX151" fmla="*/ 8788 w 212886"/>
                  <a:gd name="connsiteY151" fmla="*/ 78336 h 190764"/>
                  <a:gd name="connsiteX152" fmla="*/ 14394 w 212886"/>
                  <a:gd name="connsiteY152" fmla="*/ 84245 h 190764"/>
                  <a:gd name="connsiteX153" fmla="*/ 15000 w 212886"/>
                  <a:gd name="connsiteY153" fmla="*/ 86367 h 190764"/>
                  <a:gd name="connsiteX154" fmla="*/ 15758 w 212886"/>
                  <a:gd name="connsiteY154" fmla="*/ 88488 h 190764"/>
                  <a:gd name="connsiteX155" fmla="*/ 19243 w 212886"/>
                  <a:gd name="connsiteY155" fmla="*/ 92428 h 190764"/>
                  <a:gd name="connsiteX156" fmla="*/ 19849 w 212886"/>
                  <a:gd name="connsiteY156" fmla="*/ 93791 h 190764"/>
                  <a:gd name="connsiteX157" fmla="*/ 19546 w 212886"/>
                  <a:gd name="connsiteY157" fmla="*/ 96519 h 190764"/>
                  <a:gd name="connsiteX158" fmla="*/ 23183 w 212886"/>
                  <a:gd name="connsiteY158" fmla="*/ 104701 h 190764"/>
                  <a:gd name="connsiteX159" fmla="*/ 25607 w 212886"/>
                  <a:gd name="connsiteY159" fmla="*/ 109398 h 190764"/>
                  <a:gd name="connsiteX160" fmla="*/ 27576 w 212886"/>
                  <a:gd name="connsiteY160" fmla="*/ 110307 h 190764"/>
                  <a:gd name="connsiteX161" fmla="*/ 33941 w 212886"/>
                  <a:gd name="connsiteY161" fmla="*/ 115307 h 190764"/>
                  <a:gd name="connsiteX162" fmla="*/ 39547 w 212886"/>
                  <a:gd name="connsiteY162" fmla="*/ 119398 h 190764"/>
                  <a:gd name="connsiteX163" fmla="*/ 46062 w 212886"/>
                  <a:gd name="connsiteY163" fmla="*/ 122126 h 190764"/>
                  <a:gd name="connsiteX164" fmla="*/ 50911 w 212886"/>
                  <a:gd name="connsiteY164" fmla="*/ 123944 h 190764"/>
                  <a:gd name="connsiteX165" fmla="*/ 53335 w 212886"/>
                  <a:gd name="connsiteY165" fmla="*/ 125308 h 190764"/>
                  <a:gd name="connsiteX166" fmla="*/ 54547 w 212886"/>
                  <a:gd name="connsiteY166" fmla="*/ 126520 h 190764"/>
                  <a:gd name="connsiteX167" fmla="*/ 55457 w 212886"/>
                  <a:gd name="connsiteY167" fmla="*/ 128944 h 190764"/>
                  <a:gd name="connsiteX168" fmla="*/ 55911 w 212886"/>
                  <a:gd name="connsiteY168" fmla="*/ 133187 h 190764"/>
                  <a:gd name="connsiteX169" fmla="*/ 56062 w 212886"/>
                  <a:gd name="connsiteY169" fmla="*/ 135914 h 190764"/>
                  <a:gd name="connsiteX170" fmla="*/ 61214 w 212886"/>
                  <a:gd name="connsiteY170" fmla="*/ 135763 h 190764"/>
                  <a:gd name="connsiteX171" fmla="*/ 65457 w 212886"/>
                  <a:gd name="connsiteY171" fmla="*/ 136066 h 190764"/>
                  <a:gd name="connsiteX172" fmla="*/ 66972 w 212886"/>
                  <a:gd name="connsiteY172" fmla="*/ 136672 h 190764"/>
                  <a:gd name="connsiteX173" fmla="*/ 67578 w 212886"/>
                  <a:gd name="connsiteY173" fmla="*/ 137429 h 190764"/>
                  <a:gd name="connsiteX174" fmla="*/ 67426 w 212886"/>
                  <a:gd name="connsiteY174" fmla="*/ 139248 h 190764"/>
                  <a:gd name="connsiteX175" fmla="*/ 67426 w 212886"/>
                  <a:gd name="connsiteY175" fmla="*/ 141975 h 190764"/>
                  <a:gd name="connsiteX176" fmla="*/ 67578 w 212886"/>
                  <a:gd name="connsiteY176" fmla="*/ 144096 h 190764"/>
                  <a:gd name="connsiteX177" fmla="*/ 67124 w 212886"/>
                  <a:gd name="connsiteY177" fmla="*/ 146369 h 190764"/>
                  <a:gd name="connsiteX178" fmla="*/ 66821 w 212886"/>
                  <a:gd name="connsiteY178" fmla="*/ 149096 h 190764"/>
                  <a:gd name="connsiteX179" fmla="*/ 66669 w 212886"/>
                  <a:gd name="connsiteY179" fmla="*/ 152430 h 190764"/>
                  <a:gd name="connsiteX180" fmla="*/ 67275 w 212886"/>
                  <a:gd name="connsiteY180" fmla="*/ 153794 h 190764"/>
                  <a:gd name="connsiteX181" fmla="*/ 71366 w 212886"/>
                  <a:gd name="connsiteY181" fmla="*/ 158036 h 190764"/>
                  <a:gd name="connsiteX182" fmla="*/ 73033 w 212886"/>
                  <a:gd name="connsiteY182" fmla="*/ 160763 h 190764"/>
                  <a:gd name="connsiteX183" fmla="*/ 74851 w 212886"/>
                  <a:gd name="connsiteY183" fmla="*/ 165006 h 190764"/>
                  <a:gd name="connsiteX184" fmla="*/ 75912 w 212886"/>
                  <a:gd name="connsiteY184" fmla="*/ 166370 h 190764"/>
                  <a:gd name="connsiteX185" fmla="*/ 76821 w 212886"/>
                  <a:gd name="connsiteY185" fmla="*/ 166976 h 190764"/>
                  <a:gd name="connsiteX186" fmla="*/ 80609 w 212886"/>
                  <a:gd name="connsiteY186" fmla="*/ 167430 h 190764"/>
                  <a:gd name="connsiteX187" fmla="*/ 90155 w 212886"/>
                  <a:gd name="connsiteY187" fmla="*/ 169249 h 190764"/>
                  <a:gd name="connsiteX188" fmla="*/ 96064 w 212886"/>
                  <a:gd name="connsiteY188" fmla="*/ 170915 h 190764"/>
                  <a:gd name="connsiteX189" fmla="*/ 100761 w 212886"/>
                  <a:gd name="connsiteY189" fmla="*/ 172582 h 190764"/>
                  <a:gd name="connsiteX190" fmla="*/ 102731 w 212886"/>
                  <a:gd name="connsiteY190" fmla="*/ 173037 h 190764"/>
                  <a:gd name="connsiteX191" fmla="*/ 103640 w 212886"/>
                  <a:gd name="connsiteY191" fmla="*/ 173491 h 190764"/>
                  <a:gd name="connsiteX192" fmla="*/ 103943 w 212886"/>
                  <a:gd name="connsiteY192" fmla="*/ 173946 h 190764"/>
                  <a:gd name="connsiteX193" fmla="*/ 103337 w 212886"/>
                  <a:gd name="connsiteY193" fmla="*/ 177582 h 190764"/>
                  <a:gd name="connsiteX194" fmla="*/ 103488 w 212886"/>
                  <a:gd name="connsiteY194" fmla="*/ 178794 h 190764"/>
                  <a:gd name="connsiteX195" fmla="*/ 103943 w 212886"/>
                  <a:gd name="connsiteY195" fmla="*/ 179855 h 190764"/>
                  <a:gd name="connsiteX196" fmla="*/ 104701 w 212886"/>
                  <a:gd name="connsiteY196" fmla="*/ 180613 h 190764"/>
                  <a:gd name="connsiteX197" fmla="*/ 105610 w 212886"/>
                  <a:gd name="connsiteY197" fmla="*/ 181067 h 190764"/>
                  <a:gd name="connsiteX198" fmla="*/ 109246 w 212886"/>
                  <a:gd name="connsiteY198" fmla="*/ 181522 h 190764"/>
                  <a:gd name="connsiteX199" fmla="*/ 111367 w 212886"/>
                  <a:gd name="connsiteY199" fmla="*/ 183795 h 190764"/>
                  <a:gd name="connsiteX200" fmla="*/ 112731 w 212886"/>
                  <a:gd name="connsiteY200" fmla="*/ 184855 h 190764"/>
                  <a:gd name="connsiteX201" fmla="*/ 113034 w 212886"/>
                  <a:gd name="connsiteY201" fmla="*/ 184855 h 190764"/>
                  <a:gd name="connsiteX202" fmla="*/ 120913 w 212886"/>
                  <a:gd name="connsiteY202" fmla="*/ 183492 h 190764"/>
                  <a:gd name="connsiteX203" fmla="*/ 127429 w 212886"/>
                  <a:gd name="connsiteY203" fmla="*/ 184552 h 190764"/>
                  <a:gd name="connsiteX204" fmla="*/ 135308 w 212886"/>
                  <a:gd name="connsiteY204" fmla="*/ 187583 h 190764"/>
                  <a:gd name="connsiteX205" fmla="*/ 142732 w 212886"/>
                  <a:gd name="connsiteY205" fmla="*/ 188643 h 190764"/>
                  <a:gd name="connsiteX206" fmla="*/ 149551 w 212886"/>
                  <a:gd name="connsiteY206" fmla="*/ 187734 h 190764"/>
                  <a:gd name="connsiteX207" fmla="*/ 155157 w 212886"/>
                  <a:gd name="connsiteY207" fmla="*/ 187583 h 190764"/>
                  <a:gd name="connsiteX208" fmla="*/ 159400 w 212886"/>
                  <a:gd name="connsiteY208" fmla="*/ 188037 h 190764"/>
                  <a:gd name="connsiteX209" fmla="*/ 162733 w 212886"/>
                  <a:gd name="connsiteY209" fmla="*/ 189098 h 190764"/>
                  <a:gd name="connsiteX210" fmla="*/ 165158 w 212886"/>
                  <a:gd name="connsiteY210" fmla="*/ 190764 h 190764"/>
                  <a:gd name="connsiteX211" fmla="*/ 169097 w 212886"/>
                  <a:gd name="connsiteY211" fmla="*/ 187886 h 190764"/>
                  <a:gd name="connsiteX212" fmla="*/ 173036 w 212886"/>
                  <a:gd name="connsiteY212" fmla="*/ 183795 h 190764"/>
                  <a:gd name="connsiteX213" fmla="*/ 177582 w 212886"/>
                  <a:gd name="connsiteY213" fmla="*/ 178946 h 190764"/>
                  <a:gd name="connsiteX214" fmla="*/ 181673 w 212886"/>
                  <a:gd name="connsiteY214" fmla="*/ 174552 h 190764"/>
                  <a:gd name="connsiteX215" fmla="*/ 185310 w 212886"/>
                  <a:gd name="connsiteY215" fmla="*/ 170764 h 190764"/>
                  <a:gd name="connsiteX216" fmla="*/ 190158 w 212886"/>
                  <a:gd name="connsiteY216" fmla="*/ 165612 h 190764"/>
                  <a:gd name="connsiteX217" fmla="*/ 195007 w 212886"/>
                  <a:gd name="connsiteY217" fmla="*/ 160460 h 190764"/>
                  <a:gd name="connsiteX218" fmla="*/ 196068 w 212886"/>
                  <a:gd name="connsiteY218" fmla="*/ 159854 h 190764"/>
                  <a:gd name="connsiteX219" fmla="*/ 196522 w 212886"/>
                  <a:gd name="connsiteY219" fmla="*/ 159400 h 190764"/>
                  <a:gd name="connsiteX220" fmla="*/ 194401 w 212886"/>
                  <a:gd name="connsiteY220" fmla="*/ 154854 h 190764"/>
                  <a:gd name="connsiteX221" fmla="*/ 197734 w 212886"/>
                  <a:gd name="connsiteY221" fmla="*/ 149551 h 190764"/>
                  <a:gd name="connsiteX222" fmla="*/ 197886 w 212886"/>
                  <a:gd name="connsiteY222" fmla="*/ 146066 h 190764"/>
                  <a:gd name="connsiteX223" fmla="*/ 197734 w 212886"/>
                  <a:gd name="connsiteY223" fmla="*/ 142732 h 190764"/>
                  <a:gd name="connsiteX224" fmla="*/ 198189 w 212886"/>
                  <a:gd name="connsiteY224" fmla="*/ 141217 h 190764"/>
                  <a:gd name="connsiteX225" fmla="*/ 199250 w 212886"/>
                  <a:gd name="connsiteY225" fmla="*/ 139854 h 190764"/>
                  <a:gd name="connsiteX226" fmla="*/ 203189 w 212886"/>
                  <a:gd name="connsiteY226" fmla="*/ 137126 h 190764"/>
                  <a:gd name="connsiteX227" fmla="*/ 206220 w 212886"/>
                  <a:gd name="connsiteY227" fmla="*/ 132732 h 190764"/>
                  <a:gd name="connsiteX228" fmla="*/ 208644 w 212886"/>
                  <a:gd name="connsiteY228" fmla="*/ 128641 h 190764"/>
                  <a:gd name="connsiteX229" fmla="*/ 211977 w 212886"/>
                  <a:gd name="connsiteY229" fmla="*/ 122126 h 190764"/>
                  <a:gd name="connsiteX230" fmla="*/ 212280 w 212886"/>
                  <a:gd name="connsiteY230" fmla="*/ 120611 h 190764"/>
                  <a:gd name="connsiteX231" fmla="*/ 212280 w 212886"/>
                  <a:gd name="connsiteY231" fmla="*/ 118944 h 190764"/>
                  <a:gd name="connsiteX232" fmla="*/ 212432 w 212886"/>
                  <a:gd name="connsiteY232" fmla="*/ 116368 h 190764"/>
                  <a:gd name="connsiteX233" fmla="*/ 97125 w 212886"/>
                  <a:gd name="connsiteY233" fmla="*/ 24546 h 190764"/>
                  <a:gd name="connsiteX234" fmla="*/ 97125 w 212886"/>
                  <a:gd name="connsiteY234" fmla="*/ 24546 h 190764"/>
                  <a:gd name="connsiteX235" fmla="*/ 97125 w 212886"/>
                  <a:gd name="connsiteY235" fmla="*/ 24546 h 190764"/>
                  <a:gd name="connsiteX236" fmla="*/ 97125 w 212886"/>
                  <a:gd name="connsiteY236" fmla="*/ 24546 h 19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212886" h="190764">
                    <a:moveTo>
                      <a:pt x="212432" y="116368"/>
                    </a:moveTo>
                    <a:lnTo>
                      <a:pt x="210159" y="112731"/>
                    </a:lnTo>
                    <a:lnTo>
                      <a:pt x="208492" y="109701"/>
                    </a:lnTo>
                    <a:lnTo>
                      <a:pt x="206977" y="104852"/>
                    </a:lnTo>
                    <a:lnTo>
                      <a:pt x="208492" y="100761"/>
                    </a:lnTo>
                    <a:lnTo>
                      <a:pt x="208947" y="98185"/>
                    </a:lnTo>
                    <a:lnTo>
                      <a:pt x="208947" y="96822"/>
                    </a:lnTo>
                    <a:lnTo>
                      <a:pt x="208341" y="95610"/>
                    </a:lnTo>
                    <a:lnTo>
                      <a:pt x="206674" y="94700"/>
                    </a:lnTo>
                    <a:lnTo>
                      <a:pt x="205310" y="94094"/>
                    </a:lnTo>
                    <a:lnTo>
                      <a:pt x="204856" y="92428"/>
                    </a:lnTo>
                    <a:lnTo>
                      <a:pt x="204856" y="90458"/>
                    </a:lnTo>
                    <a:lnTo>
                      <a:pt x="205462" y="89397"/>
                    </a:lnTo>
                    <a:lnTo>
                      <a:pt x="209098" y="87579"/>
                    </a:lnTo>
                    <a:lnTo>
                      <a:pt x="209856" y="86518"/>
                    </a:lnTo>
                    <a:lnTo>
                      <a:pt x="210310" y="85458"/>
                    </a:lnTo>
                    <a:lnTo>
                      <a:pt x="210310" y="83943"/>
                    </a:lnTo>
                    <a:lnTo>
                      <a:pt x="211371" y="80003"/>
                    </a:lnTo>
                    <a:lnTo>
                      <a:pt x="212735" y="76215"/>
                    </a:lnTo>
                    <a:lnTo>
                      <a:pt x="212887" y="74851"/>
                    </a:lnTo>
                    <a:lnTo>
                      <a:pt x="212432" y="73639"/>
                    </a:lnTo>
                    <a:lnTo>
                      <a:pt x="211977" y="71518"/>
                    </a:lnTo>
                    <a:lnTo>
                      <a:pt x="211675" y="68336"/>
                    </a:lnTo>
                    <a:lnTo>
                      <a:pt x="211675" y="59396"/>
                    </a:lnTo>
                    <a:lnTo>
                      <a:pt x="212432" y="50153"/>
                    </a:lnTo>
                    <a:lnTo>
                      <a:pt x="212129" y="45002"/>
                    </a:lnTo>
                    <a:lnTo>
                      <a:pt x="209856" y="38941"/>
                    </a:lnTo>
                    <a:lnTo>
                      <a:pt x="209705" y="34698"/>
                    </a:lnTo>
                    <a:lnTo>
                      <a:pt x="211371" y="31668"/>
                    </a:lnTo>
                    <a:lnTo>
                      <a:pt x="211675" y="29850"/>
                    </a:lnTo>
                    <a:lnTo>
                      <a:pt x="210462" y="29698"/>
                    </a:lnTo>
                    <a:lnTo>
                      <a:pt x="207887" y="29546"/>
                    </a:lnTo>
                    <a:lnTo>
                      <a:pt x="206068" y="28941"/>
                    </a:lnTo>
                    <a:lnTo>
                      <a:pt x="203189" y="26516"/>
                    </a:lnTo>
                    <a:lnTo>
                      <a:pt x="198189" y="24395"/>
                    </a:lnTo>
                    <a:lnTo>
                      <a:pt x="192431" y="22577"/>
                    </a:lnTo>
                    <a:lnTo>
                      <a:pt x="184098" y="21970"/>
                    </a:lnTo>
                    <a:lnTo>
                      <a:pt x="177128" y="15910"/>
                    </a:lnTo>
                    <a:lnTo>
                      <a:pt x="171673" y="15001"/>
                    </a:lnTo>
                    <a:lnTo>
                      <a:pt x="170006" y="14243"/>
                    </a:lnTo>
                    <a:lnTo>
                      <a:pt x="164854" y="10606"/>
                    </a:lnTo>
                    <a:lnTo>
                      <a:pt x="156672" y="10304"/>
                    </a:lnTo>
                    <a:lnTo>
                      <a:pt x="148187" y="10000"/>
                    </a:lnTo>
                    <a:lnTo>
                      <a:pt x="142884" y="9849"/>
                    </a:lnTo>
                    <a:lnTo>
                      <a:pt x="142126" y="9394"/>
                    </a:lnTo>
                    <a:lnTo>
                      <a:pt x="141823" y="4394"/>
                    </a:lnTo>
                    <a:lnTo>
                      <a:pt x="141823" y="0"/>
                    </a:lnTo>
                    <a:lnTo>
                      <a:pt x="137884" y="0"/>
                    </a:lnTo>
                    <a:lnTo>
                      <a:pt x="130914" y="0"/>
                    </a:lnTo>
                    <a:lnTo>
                      <a:pt x="123641" y="0"/>
                    </a:lnTo>
                    <a:lnTo>
                      <a:pt x="116974" y="1515"/>
                    </a:lnTo>
                    <a:lnTo>
                      <a:pt x="111519" y="3788"/>
                    </a:lnTo>
                    <a:lnTo>
                      <a:pt x="105004" y="7273"/>
                    </a:lnTo>
                    <a:lnTo>
                      <a:pt x="102882" y="8637"/>
                    </a:lnTo>
                    <a:lnTo>
                      <a:pt x="101216" y="9697"/>
                    </a:lnTo>
                    <a:lnTo>
                      <a:pt x="100155" y="11061"/>
                    </a:lnTo>
                    <a:lnTo>
                      <a:pt x="99700" y="14092"/>
                    </a:lnTo>
                    <a:lnTo>
                      <a:pt x="99700" y="18637"/>
                    </a:lnTo>
                    <a:lnTo>
                      <a:pt x="99094" y="21970"/>
                    </a:lnTo>
                    <a:lnTo>
                      <a:pt x="97125" y="25001"/>
                    </a:lnTo>
                    <a:lnTo>
                      <a:pt x="99700" y="26062"/>
                    </a:lnTo>
                    <a:lnTo>
                      <a:pt x="100913" y="26062"/>
                    </a:lnTo>
                    <a:lnTo>
                      <a:pt x="102125" y="26213"/>
                    </a:lnTo>
                    <a:lnTo>
                      <a:pt x="102731" y="26819"/>
                    </a:lnTo>
                    <a:lnTo>
                      <a:pt x="103337" y="27122"/>
                    </a:lnTo>
                    <a:lnTo>
                      <a:pt x="102731" y="27577"/>
                    </a:lnTo>
                    <a:lnTo>
                      <a:pt x="102125" y="28486"/>
                    </a:lnTo>
                    <a:lnTo>
                      <a:pt x="101822" y="29395"/>
                    </a:lnTo>
                    <a:lnTo>
                      <a:pt x="101064" y="29244"/>
                    </a:lnTo>
                    <a:lnTo>
                      <a:pt x="100155" y="29092"/>
                    </a:lnTo>
                    <a:lnTo>
                      <a:pt x="99852" y="30456"/>
                    </a:lnTo>
                    <a:lnTo>
                      <a:pt x="99246" y="31668"/>
                    </a:lnTo>
                    <a:lnTo>
                      <a:pt x="98185" y="32274"/>
                    </a:lnTo>
                    <a:lnTo>
                      <a:pt x="97428" y="32729"/>
                    </a:lnTo>
                    <a:lnTo>
                      <a:pt x="96367" y="32425"/>
                    </a:lnTo>
                    <a:lnTo>
                      <a:pt x="95610" y="31819"/>
                    </a:lnTo>
                    <a:lnTo>
                      <a:pt x="95610" y="31062"/>
                    </a:lnTo>
                    <a:lnTo>
                      <a:pt x="95306" y="30001"/>
                    </a:lnTo>
                    <a:lnTo>
                      <a:pt x="94397" y="29698"/>
                    </a:lnTo>
                    <a:lnTo>
                      <a:pt x="93185" y="30153"/>
                    </a:lnTo>
                    <a:lnTo>
                      <a:pt x="92427" y="30456"/>
                    </a:lnTo>
                    <a:lnTo>
                      <a:pt x="91518" y="30759"/>
                    </a:lnTo>
                    <a:lnTo>
                      <a:pt x="90306" y="31365"/>
                    </a:lnTo>
                    <a:lnTo>
                      <a:pt x="89397" y="32274"/>
                    </a:lnTo>
                    <a:lnTo>
                      <a:pt x="88943" y="33486"/>
                    </a:lnTo>
                    <a:lnTo>
                      <a:pt x="88943" y="34395"/>
                    </a:lnTo>
                    <a:lnTo>
                      <a:pt x="88791" y="34395"/>
                    </a:lnTo>
                    <a:lnTo>
                      <a:pt x="87882" y="33638"/>
                    </a:lnTo>
                    <a:lnTo>
                      <a:pt x="86821" y="32425"/>
                    </a:lnTo>
                    <a:lnTo>
                      <a:pt x="85761" y="32274"/>
                    </a:lnTo>
                    <a:lnTo>
                      <a:pt x="83033" y="33032"/>
                    </a:lnTo>
                    <a:lnTo>
                      <a:pt x="80609" y="33638"/>
                    </a:lnTo>
                    <a:lnTo>
                      <a:pt x="79700" y="34244"/>
                    </a:lnTo>
                    <a:lnTo>
                      <a:pt x="79245" y="35304"/>
                    </a:lnTo>
                    <a:lnTo>
                      <a:pt x="78791" y="36668"/>
                    </a:lnTo>
                    <a:lnTo>
                      <a:pt x="78942" y="37577"/>
                    </a:lnTo>
                    <a:lnTo>
                      <a:pt x="79245" y="38032"/>
                    </a:lnTo>
                    <a:lnTo>
                      <a:pt x="79094" y="38638"/>
                    </a:lnTo>
                    <a:lnTo>
                      <a:pt x="78488" y="39547"/>
                    </a:lnTo>
                    <a:lnTo>
                      <a:pt x="77730" y="40001"/>
                    </a:lnTo>
                    <a:lnTo>
                      <a:pt x="76366" y="39547"/>
                    </a:lnTo>
                    <a:lnTo>
                      <a:pt x="75306" y="39244"/>
                    </a:lnTo>
                    <a:lnTo>
                      <a:pt x="74851" y="39547"/>
                    </a:lnTo>
                    <a:lnTo>
                      <a:pt x="74093" y="40305"/>
                    </a:lnTo>
                    <a:lnTo>
                      <a:pt x="72881" y="41365"/>
                    </a:lnTo>
                    <a:lnTo>
                      <a:pt x="72124" y="42123"/>
                    </a:lnTo>
                    <a:lnTo>
                      <a:pt x="71366" y="42426"/>
                    </a:lnTo>
                    <a:lnTo>
                      <a:pt x="69699" y="42880"/>
                    </a:lnTo>
                    <a:lnTo>
                      <a:pt x="68487" y="43789"/>
                    </a:lnTo>
                    <a:lnTo>
                      <a:pt x="67881" y="44396"/>
                    </a:lnTo>
                    <a:lnTo>
                      <a:pt x="67426" y="45002"/>
                    </a:lnTo>
                    <a:lnTo>
                      <a:pt x="66972" y="46062"/>
                    </a:lnTo>
                    <a:lnTo>
                      <a:pt x="65760" y="48487"/>
                    </a:lnTo>
                    <a:lnTo>
                      <a:pt x="64851" y="50456"/>
                    </a:lnTo>
                    <a:lnTo>
                      <a:pt x="64548" y="50608"/>
                    </a:lnTo>
                    <a:lnTo>
                      <a:pt x="64093" y="51062"/>
                    </a:lnTo>
                    <a:lnTo>
                      <a:pt x="62729" y="51972"/>
                    </a:lnTo>
                    <a:lnTo>
                      <a:pt x="61517" y="52729"/>
                    </a:lnTo>
                    <a:lnTo>
                      <a:pt x="61063" y="53335"/>
                    </a:lnTo>
                    <a:lnTo>
                      <a:pt x="61366" y="53487"/>
                    </a:lnTo>
                    <a:lnTo>
                      <a:pt x="61669" y="53487"/>
                    </a:lnTo>
                    <a:lnTo>
                      <a:pt x="61366" y="53790"/>
                    </a:lnTo>
                    <a:lnTo>
                      <a:pt x="60154" y="54093"/>
                    </a:lnTo>
                    <a:lnTo>
                      <a:pt x="58638" y="54699"/>
                    </a:lnTo>
                    <a:lnTo>
                      <a:pt x="56669" y="56820"/>
                    </a:lnTo>
                    <a:lnTo>
                      <a:pt x="55153" y="58942"/>
                    </a:lnTo>
                    <a:lnTo>
                      <a:pt x="54244" y="60305"/>
                    </a:lnTo>
                    <a:lnTo>
                      <a:pt x="53335" y="61517"/>
                    </a:lnTo>
                    <a:lnTo>
                      <a:pt x="51972" y="63487"/>
                    </a:lnTo>
                    <a:lnTo>
                      <a:pt x="50911" y="64699"/>
                    </a:lnTo>
                    <a:lnTo>
                      <a:pt x="50153" y="64851"/>
                    </a:lnTo>
                    <a:lnTo>
                      <a:pt x="49244" y="64699"/>
                    </a:lnTo>
                    <a:lnTo>
                      <a:pt x="42729" y="66972"/>
                    </a:lnTo>
                    <a:lnTo>
                      <a:pt x="37122" y="66366"/>
                    </a:lnTo>
                    <a:lnTo>
                      <a:pt x="30455" y="63790"/>
                    </a:lnTo>
                    <a:lnTo>
                      <a:pt x="25153" y="63336"/>
                    </a:lnTo>
                    <a:lnTo>
                      <a:pt x="21213" y="65003"/>
                    </a:lnTo>
                    <a:lnTo>
                      <a:pt x="17576" y="64548"/>
                    </a:lnTo>
                    <a:lnTo>
                      <a:pt x="14243" y="61972"/>
                    </a:lnTo>
                    <a:lnTo>
                      <a:pt x="11515" y="61063"/>
                    </a:lnTo>
                    <a:lnTo>
                      <a:pt x="9243" y="61820"/>
                    </a:lnTo>
                    <a:lnTo>
                      <a:pt x="6364" y="61669"/>
                    </a:lnTo>
                    <a:lnTo>
                      <a:pt x="1060" y="60154"/>
                    </a:lnTo>
                    <a:lnTo>
                      <a:pt x="455" y="61517"/>
                    </a:lnTo>
                    <a:lnTo>
                      <a:pt x="0" y="63487"/>
                    </a:lnTo>
                    <a:lnTo>
                      <a:pt x="455" y="65003"/>
                    </a:lnTo>
                    <a:lnTo>
                      <a:pt x="1515" y="66972"/>
                    </a:lnTo>
                    <a:lnTo>
                      <a:pt x="3030" y="68791"/>
                    </a:lnTo>
                    <a:lnTo>
                      <a:pt x="4243" y="69851"/>
                    </a:lnTo>
                    <a:lnTo>
                      <a:pt x="5606" y="72427"/>
                    </a:lnTo>
                    <a:lnTo>
                      <a:pt x="6970" y="75760"/>
                    </a:lnTo>
                    <a:lnTo>
                      <a:pt x="8788" y="78336"/>
                    </a:lnTo>
                    <a:lnTo>
                      <a:pt x="14394" y="84245"/>
                    </a:lnTo>
                    <a:lnTo>
                      <a:pt x="15000" y="86367"/>
                    </a:lnTo>
                    <a:lnTo>
                      <a:pt x="15758" y="88488"/>
                    </a:lnTo>
                    <a:lnTo>
                      <a:pt x="19243" y="92428"/>
                    </a:lnTo>
                    <a:lnTo>
                      <a:pt x="19849" y="93791"/>
                    </a:lnTo>
                    <a:lnTo>
                      <a:pt x="19546" y="96519"/>
                    </a:lnTo>
                    <a:lnTo>
                      <a:pt x="23183" y="104701"/>
                    </a:lnTo>
                    <a:lnTo>
                      <a:pt x="25607" y="109398"/>
                    </a:lnTo>
                    <a:lnTo>
                      <a:pt x="27576" y="110307"/>
                    </a:lnTo>
                    <a:lnTo>
                      <a:pt x="33941" y="115307"/>
                    </a:lnTo>
                    <a:lnTo>
                      <a:pt x="39547" y="119398"/>
                    </a:lnTo>
                    <a:lnTo>
                      <a:pt x="46062" y="122126"/>
                    </a:lnTo>
                    <a:lnTo>
                      <a:pt x="50911" y="123944"/>
                    </a:lnTo>
                    <a:lnTo>
                      <a:pt x="53335" y="125308"/>
                    </a:lnTo>
                    <a:lnTo>
                      <a:pt x="54547" y="126520"/>
                    </a:lnTo>
                    <a:lnTo>
                      <a:pt x="55457" y="128944"/>
                    </a:lnTo>
                    <a:lnTo>
                      <a:pt x="55911" y="133187"/>
                    </a:lnTo>
                    <a:lnTo>
                      <a:pt x="56062" y="135914"/>
                    </a:lnTo>
                    <a:lnTo>
                      <a:pt x="61214" y="135763"/>
                    </a:lnTo>
                    <a:lnTo>
                      <a:pt x="65457" y="136066"/>
                    </a:lnTo>
                    <a:lnTo>
                      <a:pt x="66972" y="136672"/>
                    </a:lnTo>
                    <a:lnTo>
                      <a:pt x="67578" y="137429"/>
                    </a:lnTo>
                    <a:lnTo>
                      <a:pt x="67426" y="139248"/>
                    </a:lnTo>
                    <a:lnTo>
                      <a:pt x="67426" y="141975"/>
                    </a:lnTo>
                    <a:lnTo>
                      <a:pt x="67578" y="144096"/>
                    </a:lnTo>
                    <a:lnTo>
                      <a:pt x="67124" y="146369"/>
                    </a:lnTo>
                    <a:lnTo>
                      <a:pt x="66821" y="149096"/>
                    </a:lnTo>
                    <a:lnTo>
                      <a:pt x="66669" y="152430"/>
                    </a:lnTo>
                    <a:lnTo>
                      <a:pt x="67275" y="153794"/>
                    </a:lnTo>
                    <a:lnTo>
                      <a:pt x="71366" y="158036"/>
                    </a:lnTo>
                    <a:lnTo>
                      <a:pt x="73033" y="160763"/>
                    </a:lnTo>
                    <a:lnTo>
                      <a:pt x="74851" y="165006"/>
                    </a:lnTo>
                    <a:lnTo>
                      <a:pt x="75912" y="166370"/>
                    </a:lnTo>
                    <a:lnTo>
                      <a:pt x="76821" y="166976"/>
                    </a:lnTo>
                    <a:lnTo>
                      <a:pt x="80609" y="167430"/>
                    </a:lnTo>
                    <a:lnTo>
                      <a:pt x="90155" y="169249"/>
                    </a:lnTo>
                    <a:lnTo>
                      <a:pt x="96064" y="170915"/>
                    </a:lnTo>
                    <a:lnTo>
                      <a:pt x="100761" y="172582"/>
                    </a:lnTo>
                    <a:lnTo>
                      <a:pt x="102731" y="173037"/>
                    </a:lnTo>
                    <a:lnTo>
                      <a:pt x="103640" y="173491"/>
                    </a:lnTo>
                    <a:lnTo>
                      <a:pt x="103943" y="173946"/>
                    </a:lnTo>
                    <a:lnTo>
                      <a:pt x="103337" y="177582"/>
                    </a:lnTo>
                    <a:lnTo>
                      <a:pt x="103488" y="178794"/>
                    </a:lnTo>
                    <a:lnTo>
                      <a:pt x="103943" y="179855"/>
                    </a:lnTo>
                    <a:lnTo>
                      <a:pt x="104701" y="180613"/>
                    </a:lnTo>
                    <a:lnTo>
                      <a:pt x="105610" y="181067"/>
                    </a:lnTo>
                    <a:lnTo>
                      <a:pt x="109246" y="181522"/>
                    </a:lnTo>
                    <a:lnTo>
                      <a:pt x="111367" y="183795"/>
                    </a:lnTo>
                    <a:lnTo>
                      <a:pt x="112731" y="184855"/>
                    </a:lnTo>
                    <a:lnTo>
                      <a:pt x="113034" y="184855"/>
                    </a:lnTo>
                    <a:lnTo>
                      <a:pt x="120913" y="183492"/>
                    </a:lnTo>
                    <a:lnTo>
                      <a:pt x="127429" y="184552"/>
                    </a:lnTo>
                    <a:lnTo>
                      <a:pt x="135308" y="187583"/>
                    </a:lnTo>
                    <a:lnTo>
                      <a:pt x="142732" y="188643"/>
                    </a:lnTo>
                    <a:lnTo>
                      <a:pt x="149551" y="187734"/>
                    </a:lnTo>
                    <a:lnTo>
                      <a:pt x="155157" y="187583"/>
                    </a:lnTo>
                    <a:lnTo>
                      <a:pt x="159400" y="188037"/>
                    </a:lnTo>
                    <a:lnTo>
                      <a:pt x="162733" y="189098"/>
                    </a:lnTo>
                    <a:lnTo>
                      <a:pt x="165158" y="190764"/>
                    </a:lnTo>
                    <a:lnTo>
                      <a:pt x="169097" y="187886"/>
                    </a:lnTo>
                    <a:lnTo>
                      <a:pt x="173036" y="183795"/>
                    </a:lnTo>
                    <a:lnTo>
                      <a:pt x="177582" y="178946"/>
                    </a:lnTo>
                    <a:lnTo>
                      <a:pt x="181673" y="174552"/>
                    </a:lnTo>
                    <a:lnTo>
                      <a:pt x="185310" y="170764"/>
                    </a:lnTo>
                    <a:lnTo>
                      <a:pt x="190158" y="165612"/>
                    </a:lnTo>
                    <a:lnTo>
                      <a:pt x="195007" y="160460"/>
                    </a:lnTo>
                    <a:lnTo>
                      <a:pt x="196068" y="159854"/>
                    </a:lnTo>
                    <a:lnTo>
                      <a:pt x="196522" y="159400"/>
                    </a:lnTo>
                    <a:lnTo>
                      <a:pt x="194401" y="154854"/>
                    </a:lnTo>
                    <a:lnTo>
                      <a:pt x="197734" y="149551"/>
                    </a:lnTo>
                    <a:lnTo>
                      <a:pt x="197886" y="146066"/>
                    </a:lnTo>
                    <a:lnTo>
                      <a:pt x="197734" y="142732"/>
                    </a:lnTo>
                    <a:lnTo>
                      <a:pt x="198189" y="141217"/>
                    </a:lnTo>
                    <a:lnTo>
                      <a:pt x="199250" y="139854"/>
                    </a:lnTo>
                    <a:lnTo>
                      <a:pt x="203189" y="137126"/>
                    </a:lnTo>
                    <a:lnTo>
                      <a:pt x="206220" y="132732"/>
                    </a:lnTo>
                    <a:lnTo>
                      <a:pt x="208644" y="128641"/>
                    </a:lnTo>
                    <a:lnTo>
                      <a:pt x="211977" y="122126"/>
                    </a:lnTo>
                    <a:lnTo>
                      <a:pt x="212280" y="120611"/>
                    </a:lnTo>
                    <a:lnTo>
                      <a:pt x="212280" y="118944"/>
                    </a:lnTo>
                    <a:lnTo>
                      <a:pt x="212432" y="116368"/>
                    </a:lnTo>
                    <a:close/>
                    <a:moveTo>
                      <a:pt x="97125" y="24546"/>
                    </a:moveTo>
                    <a:lnTo>
                      <a:pt x="97125" y="24546"/>
                    </a:lnTo>
                    <a:lnTo>
                      <a:pt x="97125" y="24546"/>
                    </a:lnTo>
                    <a:lnTo>
                      <a:pt x="97125" y="2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A376823-C6F9-45EF-BCA2-1BF5EFB881CB}"/>
                  </a:ext>
                </a:extLst>
              </p:cNvPr>
              <p:cNvSpPr/>
              <p:nvPr/>
            </p:nvSpPr>
            <p:spPr>
              <a:xfrm>
                <a:off x="6377979" y="4786547"/>
                <a:ext cx="320163" cy="273040"/>
              </a:xfrm>
              <a:custGeom>
                <a:avLst/>
                <a:gdLst>
                  <a:gd name="connsiteX0" fmla="*/ 311527 w 320163"/>
                  <a:gd name="connsiteY0" fmla="*/ 70609 h 273040"/>
                  <a:gd name="connsiteX1" fmla="*/ 313194 w 320163"/>
                  <a:gd name="connsiteY1" fmla="*/ 70306 h 273040"/>
                  <a:gd name="connsiteX2" fmla="*/ 314861 w 320163"/>
                  <a:gd name="connsiteY2" fmla="*/ 69851 h 273040"/>
                  <a:gd name="connsiteX3" fmla="*/ 320163 w 320163"/>
                  <a:gd name="connsiteY3" fmla="*/ 64548 h 273040"/>
                  <a:gd name="connsiteX4" fmla="*/ 320163 w 320163"/>
                  <a:gd name="connsiteY4" fmla="*/ 63487 h 273040"/>
                  <a:gd name="connsiteX5" fmla="*/ 319254 w 320163"/>
                  <a:gd name="connsiteY5" fmla="*/ 61669 h 273040"/>
                  <a:gd name="connsiteX6" fmla="*/ 317285 w 320163"/>
                  <a:gd name="connsiteY6" fmla="*/ 58942 h 273040"/>
                  <a:gd name="connsiteX7" fmla="*/ 316830 w 320163"/>
                  <a:gd name="connsiteY7" fmla="*/ 57881 h 273040"/>
                  <a:gd name="connsiteX8" fmla="*/ 316527 w 320163"/>
                  <a:gd name="connsiteY8" fmla="*/ 54699 h 273040"/>
                  <a:gd name="connsiteX9" fmla="*/ 315770 w 320163"/>
                  <a:gd name="connsiteY9" fmla="*/ 53790 h 273040"/>
                  <a:gd name="connsiteX10" fmla="*/ 312891 w 320163"/>
                  <a:gd name="connsiteY10" fmla="*/ 51669 h 273040"/>
                  <a:gd name="connsiteX11" fmla="*/ 310618 w 320163"/>
                  <a:gd name="connsiteY11" fmla="*/ 49396 h 273040"/>
                  <a:gd name="connsiteX12" fmla="*/ 311375 w 320163"/>
                  <a:gd name="connsiteY12" fmla="*/ 47123 h 273040"/>
                  <a:gd name="connsiteX13" fmla="*/ 311830 w 320163"/>
                  <a:gd name="connsiteY13" fmla="*/ 44547 h 273040"/>
                  <a:gd name="connsiteX14" fmla="*/ 310769 w 320163"/>
                  <a:gd name="connsiteY14" fmla="*/ 43183 h 273040"/>
                  <a:gd name="connsiteX15" fmla="*/ 309103 w 320163"/>
                  <a:gd name="connsiteY15" fmla="*/ 41820 h 273040"/>
                  <a:gd name="connsiteX16" fmla="*/ 308042 w 320163"/>
                  <a:gd name="connsiteY16" fmla="*/ 39699 h 273040"/>
                  <a:gd name="connsiteX17" fmla="*/ 307587 w 320163"/>
                  <a:gd name="connsiteY17" fmla="*/ 38183 h 273040"/>
                  <a:gd name="connsiteX18" fmla="*/ 306224 w 320163"/>
                  <a:gd name="connsiteY18" fmla="*/ 37577 h 273040"/>
                  <a:gd name="connsiteX19" fmla="*/ 305011 w 320163"/>
                  <a:gd name="connsiteY19" fmla="*/ 37577 h 273040"/>
                  <a:gd name="connsiteX20" fmla="*/ 304102 w 320163"/>
                  <a:gd name="connsiteY20" fmla="*/ 38486 h 273040"/>
                  <a:gd name="connsiteX21" fmla="*/ 303193 w 320163"/>
                  <a:gd name="connsiteY21" fmla="*/ 38335 h 273040"/>
                  <a:gd name="connsiteX22" fmla="*/ 301981 w 320163"/>
                  <a:gd name="connsiteY22" fmla="*/ 38032 h 273040"/>
                  <a:gd name="connsiteX23" fmla="*/ 301678 w 320163"/>
                  <a:gd name="connsiteY23" fmla="*/ 36668 h 273040"/>
                  <a:gd name="connsiteX24" fmla="*/ 301678 w 320163"/>
                  <a:gd name="connsiteY24" fmla="*/ 35153 h 273040"/>
                  <a:gd name="connsiteX25" fmla="*/ 300921 w 320163"/>
                  <a:gd name="connsiteY25" fmla="*/ 34092 h 273040"/>
                  <a:gd name="connsiteX26" fmla="*/ 300163 w 320163"/>
                  <a:gd name="connsiteY26" fmla="*/ 32729 h 273040"/>
                  <a:gd name="connsiteX27" fmla="*/ 300011 w 320163"/>
                  <a:gd name="connsiteY27" fmla="*/ 31971 h 273040"/>
                  <a:gd name="connsiteX28" fmla="*/ 298496 w 320163"/>
                  <a:gd name="connsiteY28" fmla="*/ 31213 h 273040"/>
                  <a:gd name="connsiteX29" fmla="*/ 295617 w 320163"/>
                  <a:gd name="connsiteY29" fmla="*/ 29547 h 273040"/>
                  <a:gd name="connsiteX30" fmla="*/ 291526 w 320163"/>
                  <a:gd name="connsiteY30" fmla="*/ 28183 h 273040"/>
                  <a:gd name="connsiteX31" fmla="*/ 288193 w 320163"/>
                  <a:gd name="connsiteY31" fmla="*/ 26668 h 273040"/>
                  <a:gd name="connsiteX32" fmla="*/ 286678 w 320163"/>
                  <a:gd name="connsiteY32" fmla="*/ 25152 h 273040"/>
                  <a:gd name="connsiteX33" fmla="*/ 283496 w 320163"/>
                  <a:gd name="connsiteY33" fmla="*/ 24547 h 273040"/>
                  <a:gd name="connsiteX34" fmla="*/ 280768 w 320163"/>
                  <a:gd name="connsiteY34" fmla="*/ 24243 h 273040"/>
                  <a:gd name="connsiteX35" fmla="*/ 278344 w 320163"/>
                  <a:gd name="connsiteY35" fmla="*/ 22880 h 273040"/>
                  <a:gd name="connsiteX36" fmla="*/ 275768 w 320163"/>
                  <a:gd name="connsiteY36" fmla="*/ 22728 h 273040"/>
                  <a:gd name="connsiteX37" fmla="*/ 273192 w 320163"/>
                  <a:gd name="connsiteY37" fmla="*/ 22425 h 273040"/>
                  <a:gd name="connsiteX38" fmla="*/ 272586 w 320163"/>
                  <a:gd name="connsiteY38" fmla="*/ 21516 h 273040"/>
                  <a:gd name="connsiteX39" fmla="*/ 272435 w 320163"/>
                  <a:gd name="connsiteY39" fmla="*/ 19395 h 273040"/>
                  <a:gd name="connsiteX40" fmla="*/ 271525 w 320163"/>
                  <a:gd name="connsiteY40" fmla="*/ 18789 h 273040"/>
                  <a:gd name="connsiteX41" fmla="*/ 269707 w 320163"/>
                  <a:gd name="connsiteY41" fmla="*/ 18183 h 273040"/>
                  <a:gd name="connsiteX42" fmla="*/ 267737 w 320163"/>
                  <a:gd name="connsiteY42" fmla="*/ 18183 h 273040"/>
                  <a:gd name="connsiteX43" fmla="*/ 266525 w 320163"/>
                  <a:gd name="connsiteY43" fmla="*/ 18486 h 273040"/>
                  <a:gd name="connsiteX44" fmla="*/ 265768 w 320163"/>
                  <a:gd name="connsiteY44" fmla="*/ 18334 h 273040"/>
                  <a:gd name="connsiteX45" fmla="*/ 264101 w 320163"/>
                  <a:gd name="connsiteY45" fmla="*/ 17122 h 273040"/>
                  <a:gd name="connsiteX46" fmla="*/ 262586 w 320163"/>
                  <a:gd name="connsiteY46" fmla="*/ 15607 h 273040"/>
                  <a:gd name="connsiteX47" fmla="*/ 261980 w 320163"/>
                  <a:gd name="connsiteY47" fmla="*/ 13031 h 273040"/>
                  <a:gd name="connsiteX48" fmla="*/ 259707 w 320163"/>
                  <a:gd name="connsiteY48" fmla="*/ 11364 h 273040"/>
                  <a:gd name="connsiteX49" fmla="*/ 256980 w 320163"/>
                  <a:gd name="connsiteY49" fmla="*/ 10152 h 273040"/>
                  <a:gd name="connsiteX50" fmla="*/ 252434 w 320163"/>
                  <a:gd name="connsiteY50" fmla="*/ 10304 h 273040"/>
                  <a:gd name="connsiteX51" fmla="*/ 252737 w 320163"/>
                  <a:gd name="connsiteY51" fmla="*/ 11516 h 273040"/>
                  <a:gd name="connsiteX52" fmla="*/ 252434 w 320163"/>
                  <a:gd name="connsiteY52" fmla="*/ 13637 h 273040"/>
                  <a:gd name="connsiteX53" fmla="*/ 252131 w 320163"/>
                  <a:gd name="connsiteY53" fmla="*/ 13940 h 273040"/>
                  <a:gd name="connsiteX54" fmla="*/ 251828 w 320163"/>
                  <a:gd name="connsiteY54" fmla="*/ 13788 h 273040"/>
                  <a:gd name="connsiteX55" fmla="*/ 251373 w 320163"/>
                  <a:gd name="connsiteY55" fmla="*/ 13334 h 273040"/>
                  <a:gd name="connsiteX56" fmla="*/ 250919 w 320163"/>
                  <a:gd name="connsiteY56" fmla="*/ 13486 h 273040"/>
                  <a:gd name="connsiteX57" fmla="*/ 250313 w 320163"/>
                  <a:gd name="connsiteY57" fmla="*/ 14243 h 273040"/>
                  <a:gd name="connsiteX58" fmla="*/ 249555 w 320163"/>
                  <a:gd name="connsiteY58" fmla="*/ 14849 h 273040"/>
                  <a:gd name="connsiteX59" fmla="*/ 248494 w 320163"/>
                  <a:gd name="connsiteY59" fmla="*/ 15304 h 273040"/>
                  <a:gd name="connsiteX60" fmla="*/ 247888 w 320163"/>
                  <a:gd name="connsiteY60" fmla="*/ 15152 h 273040"/>
                  <a:gd name="connsiteX61" fmla="*/ 246525 w 320163"/>
                  <a:gd name="connsiteY61" fmla="*/ 14092 h 273040"/>
                  <a:gd name="connsiteX62" fmla="*/ 241979 w 320163"/>
                  <a:gd name="connsiteY62" fmla="*/ 9546 h 273040"/>
                  <a:gd name="connsiteX63" fmla="*/ 241827 w 320163"/>
                  <a:gd name="connsiteY63" fmla="*/ 9243 h 273040"/>
                  <a:gd name="connsiteX64" fmla="*/ 239403 w 320163"/>
                  <a:gd name="connsiteY64" fmla="*/ 8334 h 273040"/>
                  <a:gd name="connsiteX65" fmla="*/ 238645 w 320163"/>
                  <a:gd name="connsiteY65" fmla="*/ 7728 h 273040"/>
                  <a:gd name="connsiteX66" fmla="*/ 238342 w 320163"/>
                  <a:gd name="connsiteY66" fmla="*/ 7425 h 273040"/>
                  <a:gd name="connsiteX67" fmla="*/ 237888 w 320163"/>
                  <a:gd name="connsiteY67" fmla="*/ 7576 h 273040"/>
                  <a:gd name="connsiteX68" fmla="*/ 236979 w 320163"/>
                  <a:gd name="connsiteY68" fmla="*/ 8637 h 273040"/>
                  <a:gd name="connsiteX69" fmla="*/ 235161 w 320163"/>
                  <a:gd name="connsiteY69" fmla="*/ 9698 h 273040"/>
                  <a:gd name="connsiteX70" fmla="*/ 234554 w 320163"/>
                  <a:gd name="connsiteY70" fmla="*/ 9698 h 273040"/>
                  <a:gd name="connsiteX71" fmla="*/ 235312 w 320163"/>
                  <a:gd name="connsiteY71" fmla="*/ 9091 h 273040"/>
                  <a:gd name="connsiteX72" fmla="*/ 235615 w 320163"/>
                  <a:gd name="connsiteY72" fmla="*/ 8637 h 273040"/>
                  <a:gd name="connsiteX73" fmla="*/ 235615 w 320163"/>
                  <a:gd name="connsiteY73" fmla="*/ 8031 h 273040"/>
                  <a:gd name="connsiteX74" fmla="*/ 235009 w 320163"/>
                  <a:gd name="connsiteY74" fmla="*/ 7728 h 273040"/>
                  <a:gd name="connsiteX75" fmla="*/ 233645 w 320163"/>
                  <a:gd name="connsiteY75" fmla="*/ 7879 h 273040"/>
                  <a:gd name="connsiteX76" fmla="*/ 232888 w 320163"/>
                  <a:gd name="connsiteY76" fmla="*/ 7576 h 273040"/>
                  <a:gd name="connsiteX77" fmla="*/ 232433 w 320163"/>
                  <a:gd name="connsiteY77" fmla="*/ 6212 h 273040"/>
                  <a:gd name="connsiteX78" fmla="*/ 232736 w 320163"/>
                  <a:gd name="connsiteY78" fmla="*/ 4394 h 273040"/>
                  <a:gd name="connsiteX79" fmla="*/ 233191 w 320163"/>
                  <a:gd name="connsiteY79" fmla="*/ 3637 h 273040"/>
                  <a:gd name="connsiteX80" fmla="*/ 233948 w 320163"/>
                  <a:gd name="connsiteY80" fmla="*/ 3031 h 273040"/>
                  <a:gd name="connsiteX81" fmla="*/ 235009 w 320163"/>
                  <a:gd name="connsiteY81" fmla="*/ 2576 h 273040"/>
                  <a:gd name="connsiteX82" fmla="*/ 235615 w 320163"/>
                  <a:gd name="connsiteY82" fmla="*/ 1212 h 273040"/>
                  <a:gd name="connsiteX83" fmla="*/ 235767 w 320163"/>
                  <a:gd name="connsiteY83" fmla="*/ 0 h 273040"/>
                  <a:gd name="connsiteX84" fmla="*/ 228948 w 320163"/>
                  <a:gd name="connsiteY84" fmla="*/ 1061 h 273040"/>
                  <a:gd name="connsiteX85" fmla="*/ 221372 w 320163"/>
                  <a:gd name="connsiteY85" fmla="*/ 2273 h 273040"/>
                  <a:gd name="connsiteX86" fmla="*/ 213644 w 320163"/>
                  <a:gd name="connsiteY86" fmla="*/ 3485 h 273040"/>
                  <a:gd name="connsiteX87" fmla="*/ 205917 w 320163"/>
                  <a:gd name="connsiteY87" fmla="*/ 4697 h 273040"/>
                  <a:gd name="connsiteX88" fmla="*/ 198644 w 320163"/>
                  <a:gd name="connsiteY88" fmla="*/ 5758 h 273040"/>
                  <a:gd name="connsiteX89" fmla="*/ 191977 w 320163"/>
                  <a:gd name="connsiteY89" fmla="*/ 6819 h 273040"/>
                  <a:gd name="connsiteX90" fmla="*/ 190007 w 320163"/>
                  <a:gd name="connsiteY90" fmla="*/ 7425 h 273040"/>
                  <a:gd name="connsiteX91" fmla="*/ 191068 w 320163"/>
                  <a:gd name="connsiteY91" fmla="*/ 10304 h 273040"/>
                  <a:gd name="connsiteX92" fmla="*/ 190613 w 320163"/>
                  <a:gd name="connsiteY92" fmla="*/ 13334 h 273040"/>
                  <a:gd name="connsiteX93" fmla="*/ 189250 w 320163"/>
                  <a:gd name="connsiteY93" fmla="*/ 15607 h 273040"/>
                  <a:gd name="connsiteX94" fmla="*/ 187128 w 320163"/>
                  <a:gd name="connsiteY94" fmla="*/ 18486 h 273040"/>
                  <a:gd name="connsiteX95" fmla="*/ 186219 w 320163"/>
                  <a:gd name="connsiteY95" fmla="*/ 19698 h 273040"/>
                  <a:gd name="connsiteX96" fmla="*/ 184098 w 320163"/>
                  <a:gd name="connsiteY96" fmla="*/ 21971 h 273040"/>
                  <a:gd name="connsiteX97" fmla="*/ 182280 w 320163"/>
                  <a:gd name="connsiteY97" fmla="*/ 23486 h 273040"/>
                  <a:gd name="connsiteX98" fmla="*/ 178643 w 320163"/>
                  <a:gd name="connsiteY98" fmla="*/ 26213 h 273040"/>
                  <a:gd name="connsiteX99" fmla="*/ 176370 w 320163"/>
                  <a:gd name="connsiteY99" fmla="*/ 27728 h 273040"/>
                  <a:gd name="connsiteX100" fmla="*/ 176370 w 320163"/>
                  <a:gd name="connsiteY100" fmla="*/ 29092 h 273040"/>
                  <a:gd name="connsiteX101" fmla="*/ 180158 w 320163"/>
                  <a:gd name="connsiteY101" fmla="*/ 35607 h 273040"/>
                  <a:gd name="connsiteX102" fmla="*/ 181825 w 320163"/>
                  <a:gd name="connsiteY102" fmla="*/ 40305 h 273040"/>
                  <a:gd name="connsiteX103" fmla="*/ 182583 w 320163"/>
                  <a:gd name="connsiteY103" fmla="*/ 44547 h 273040"/>
                  <a:gd name="connsiteX104" fmla="*/ 182583 w 320163"/>
                  <a:gd name="connsiteY104" fmla="*/ 46972 h 273040"/>
                  <a:gd name="connsiteX105" fmla="*/ 182431 w 320163"/>
                  <a:gd name="connsiteY105" fmla="*/ 51972 h 273040"/>
                  <a:gd name="connsiteX106" fmla="*/ 182280 w 320163"/>
                  <a:gd name="connsiteY106" fmla="*/ 57881 h 273040"/>
                  <a:gd name="connsiteX107" fmla="*/ 181977 w 320163"/>
                  <a:gd name="connsiteY107" fmla="*/ 60154 h 273040"/>
                  <a:gd name="connsiteX108" fmla="*/ 183037 w 320163"/>
                  <a:gd name="connsiteY108" fmla="*/ 64396 h 273040"/>
                  <a:gd name="connsiteX109" fmla="*/ 182886 w 320163"/>
                  <a:gd name="connsiteY109" fmla="*/ 67730 h 273040"/>
                  <a:gd name="connsiteX110" fmla="*/ 180310 w 320163"/>
                  <a:gd name="connsiteY110" fmla="*/ 71366 h 273040"/>
                  <a:gd name="connsiteX111" fmla="*/ 179552 w 320163"/>
                  <a:gd name="connsiteY111" fmla="*/ 75003 h 273040"/>
                  <a:gd name="connsiteX112" fmla="*/ 178189 w 320163"/>
                  <a:gd name="connsiteY112" fmla="*/ 79851 h 273040"/>
                  <a:gd name="connsiteX113" fmla="*/ 176370 w 320163"/>
                  <a:gd name="connsiteY113" fmla="*/ 86518 h 273040"/>
                  <a:gd name="connsiteX114" fmla="*/ 175158 w 320163"/>
                  <a:gd name="connsiteY114" fmla="*/ 90003 h 273040"/>
                  <a:gd name="connsiteX115" fmla="*/ 175916 w 320163"/>
                  <a:gd name="connsiteY115" fmla="*/ 92276 h 273040"/>
                  <a:gd name="connsiteX116" fmla="*/ 176522 w 320163"/>
                  <a:gd name="connsiteY116" fmla="*/ 93791 h 273040"/>
                  <a:gd name="connsiteX117" fmla="*/ 177128 w 320163"/>
                  <a:gd name="connsiteY117" fmla="*/ 95913 h 273040"/>
                  <a:gd name="connsiteX118" fmla="*/ 178492 w 320163"/>
                  <a:gd name="connsiteY118" fmla="*/ 99095 h 273040"/>
                  <a:gd name="connsiteX119" fmla="*/ 180158 w 320163"/>
                  <a:gd name="connsiteY119" fmla="*/ 100913 h 273040"/>
                  <a:gd name="connsiteX120" fmla="*/ 181068 w 320163"/>
                  <a:gd name="connsiteY120" fmla="*/ 101670 h 273040"/>
                  <a:gd name="connsiteX121" fmla="*/ 186371 w 320163"/>
                  <a:gd name="connsiteY121" fmla="*/ 105610 h 273040"/>
                  <a:gd name="connsiteX122" fmla="*/ 188644 w 320163"/>
                  <a:gd name="connsiteY122" fmla="*/ 107580 h 273040"/>
                  <a:gd name="connsiteX123" fmla="*/ 191977 w 320163"/>
                  <a:gd name="connsiteY123" fmla="*/ 111368 h 273040"/>
                  <a:gd name="connsiteX124" fmla="*/ 194401 w 320163"/>
                  <a:gd name="connsiteY124" fmla="*/ 113944 h 273040"/>
                  <a:gd name="connsiteX125" fmla="*/ 197887 w 320163"/>
                  <a:gd name="connsiteY125" fmla="*/ 114550 h 273040"/>
                  <a:gd name="connsiteX126" fmla="*/ 202129 w 320163"/>
                  <a:gd name="connsiteY126" fmla="*/ 115459 h 273040"/>
                  <a:gd name="connsiteX127" fmla="*/ 204402 w 320163"/>
                  <a:gd name="connsiteY127" fmla="*/ 116217 h 273040"/>
                  <a:gd name="connsiteX128" fmla="*/ 205917 w 320163"/>
                  <a:gd name="connsiteY128" fmla="*/ 115913 h 273040"/>
                  <a:gd name="connsiteX129" fmla="*/ 206372 w 320163"/>
                  <a:gd name="connsiteY129" fmla="*/ 115004 h 273040"/>
                  <a:gd name="connsiteX130" fmla="*/ 206372 w 320163"/>
                  <a:gd name="connsiteY130" fmla="*/ 113186 h 273040"/>
                  <a:gd name="connsiteX131" fmla="*/ 206068 w 320163"/>
                  <a:gd name="connsiteY131" fmla="*/ 111822 h 273040"/>
                  <a:gd name="connsiteX132" fmla="*/ 206523 w 320163"/>
                  <a:gd name="connsiteY132" fmla="*/ 110762 h 273040"/>
                  <a:gd name="connsiteX133" fmla="*/ 207887 w 320163"/>
                  <a:gd name="connsiteY133" fmla="*/ 110004 h 273040"/>
                  <a:gd name="connsiteX134" fmla="*/ 211523 w 320163"/>
                  <a:gd name="connsiteY134" fmla="*/ 109852 h 273040"/>
                  <a:gd name="connsiteX135" fmla="*/ 213039 w 320163"/>
                  <a:gd name="connsiteY135" fmla="*/ 108943 h 273040"/>
                  <a:gd name="connsiteX136" fmla="*/ 214251 w 320163"/>
                  <a:gd name="connsiteY136" fmla="*/ 108641 h 273040"/>
                  <a:gd name="connsiteX137" fmla="*/ 214251 w 320163"/>
                  <a:gd name="connsiteY137" fmla="*/ 112731 h 273040"/>
                  <a:gd name="connsiteX138" fmla="*/ 214251 w 320163"/>
                  <a:gd name="connsiteY138" fmla="*/ 116671 h 273040"/>
                  <a:gd name="connsiteX139" fmla="*/ 214251 w 320163"/>
                  <a:gd name="connsiteY139" fmla="*/ 121520 h 273040"/>
                  <a:gd name="connsiteX140" fmla="*/ 214251 w 320163"/>
                  <a:gd name="connsiteY140" fmla="*/ 127126 h 273040"/>
                  <a:gd name="connsiteX141" fmla="*/ 214251 w 320163"/>
                  <a:gd name="connsiteY141" fmla="*/ 131672 h 273040"/>
                  <a:gd name="connsiteX142" fmla="*/ 214251 w 320163"/>
                  <a:gd name="connsiteY142" fmla="*/ 136520 h 273040"/>
                  <a:gd name="connsiteX143" fmla="*/ 214251 w 320163"/>
                  <a:gd name="connsiteY143" fmla="*/ 142126 h 273040"/>
                  <a:gd name="connsiteX144" fmla="*/ 214251 w 320163"/>
                  <a:gd name="connsiteY144" fmla="*/ 142733 h 273040"/>
                  <a:gd name="connsiteX145" fmla="*/ 213644 w 320163"/>
                  <a:gd name="connsiteY145" fmla="*/ 143945 h 273040"/>
                  <a:gd name="connsiteX146" fmla="*/ 212281 w 320163"/>
                  <a:gd name="connsiteY146" fmla="*/ 144399 h 273040"/>
                  <a:gd name="connsiteX147" fmla="*/ 210311 w 320163"/>
                  <a:gd name="connsiteY147" fmla="*/ 143339 h 273040"/>
                  <a:gd name="connsiteX148" fmla="*/ 210160 w 320163"/>
                  <a:gd name="connsiteY148" fmla="*/ 142126 h 273040"/>
                  <a:gd name="connsiteX149" fmla="*/ 209705 w 320163"/>
                  <a:gd name="connsiteY149" fmla="*/ 140005 h 273040"/>
                  <a:gd name="connsiteX150" fmla="*/ 208796 w 320163"/>
                  <a:gd name="connsiteY150" fmla="*/ 138945 h 273040"/>
                  <a:gd name="connsiteX151" fmla="*/ 207584 w 320163"/>
                  <a:gd name="connsiteY151" fmla="*/ 138642 h 273040"/>
                  <a:gd name="connsiteX152" fmla="*/ 205614 w 320163"/>
                  <a:gd name="connsiteY152" fmla="*/ 139096 h 273040"/>
                  <a:gd name="connsiteX153" fmla="*/ 202887 w 320163"/>
                  <a:gd name="connsiteY153" fmla="*/ 140611 h 273040"/>
                  <a:gd name="connsiteX154" fmla="*/ 199401 w 320163"/>
                  <a:gd name="connsiteY154" fmla="*/ 141975 h 273040"/>
                  <a:gd name="connsiteX155" fmla="*/ 198038 w 320163"/>
                  <a:gd name="connsiteY155" fmla="*/ 142733 h 273040"/>
                  <a:gd name="connsiteX156" fmla="*/ 195613 w 320163"/>
                  <a:gd name="connsiteY156" fmla="*/ 142581 h 273040"/>
                  <a:gd name="connsiteX157" fmla="*/ 192886 w 320163"/>
                  <a:gd name="connsiteY157" fmla="*/ 141823 h 273040"/>
                  <a:gd name="connsiteX158" fmla="*/ 190916 w 320163"/>
                  <a:gd name="connsiteY158" fmla="*/ 140157 h 273040"/>
                  <a:gd name="connsiteX159" fmla="*/ 190311 w 320163"/>
                  <a:gd name="connsiteY159" fmla="*/ 137581 h 273040"/>
                  <a:gd name="connsiteX160" fmla="*/ 188644 w 320163"/>
                  <a:gd name="connsiteY160" fmla="*/ 135005 h 273040"/>
                  <a:gd name="connsiteX161" fmla="*/ 186371 w 320163"/>
                  <a:gd name="connsiteY161" fmla="*/ 131217 h 273040"/>
                  <a:gd name="connsiteX162" fmla="*/ 185158 w 320163"/>
                  <a:gd name="connsiteY162" fmla="*/ 129702 h 273040"/>
                  <a:gd name="connsiteX163" fmla="*/ 183644 w 320163"/>
                  <a:gd name="connsiteY163" fmla="*/ 127883 h 273040"/>
                  <a:gd name="connsiteX164" fmla="*/ 182128 w 320163"/>
                  <a:gd name="connsiteY164" fmla="*/ 127732 h 273040"/>
                  <a:gd name="connsiteX165" fmla="*/ 180310 w 320163"/>
                  <a:gd name="connsiteY165" fmla="*/ 127278 h 273040"/>
                  <a:gd name="connsiteX166" fmla="*/ 179249 w 320163"/>
                  <a:gd name="connsiteY166" fmla="*/ 124702 h 273040"/>
                  <a:gd name="connsiteX167" fmla="*/ 178189 w 320163"/>
                  <a:gd name="connsiteY167" fmla="*/ 121368 h 273040"/>
                  <a:gd name="connsiteX168" fmla="*/ 177582 w 320163"/>
                  <a:gd name="connsiteY168" fmla="*/ 120156 h 273040"/>
                  <a:gd name="connsiteX169" fmla="*/ 176522 w 320163"/>
                  <a:gd name="connsiteY169" fmla="*/ 118489 h 273040"/>
                  <a:gd name="connsiteX170" fmla="*/ 175007 w 320163"/>
                  <a:gd name="connsiteY170" fmla="*/ 117429 h 273040"/>
                  <a:gd name="connsiteX171" fmla="*/ 171673 w 320163"/>
                  <a:gd name="connsiteY171" fmla="*/ 116065 h 273040"/>
                  <a:gd name="connsiteX172" fmla="*/ 167128 w 320163"/>
                  <a:gd name="connsiteY172" fmla="*/ 114247 h 273040"/>
                  <a:gd name="connsiteX173" fmla="*/ 161370 w 320163"/>
                  <a:gd name="connsiteY173" fmla="*/ 111974 h 273040"/>
                  <a:gd name="connsiteX174" fmla="*/ 158642 w 320163"/>
                  <a:gd name="connsiteY174" fmla="*/ 111822 h 273040"/>
                  <a:gd name="connsiteX175" fmla="*/ 155612 w 320163"/>
                  <a:gd name="connsiteY175" fmla="*/ 111368 h 273040"/>
                  <a:gd name="connsiteX176" fmla="*/ 153642 w 320163"/>
                  <a:gd name="connsiteY176" fmla="*/ 110307 h 273040"/>
                  <a:gd name="connsiteX177" fmla="*/ 152582 w 320163"/>
                  <a:gd name="connsiteY177" fmla="*/ 109398 h 273040"/>
                  <a:gd name="connsiteX178" fmla="*/ 151370 w 320163"/>
                  <a:gd name="connsiteY178" fmla="*/ 106216 h 273040"/>
                  <a:gd name="connsiteX179" fmla="*/ 149703 w 320163"/>
                  <a:gd name="connsiteY179" fmla="*/ 102428 h 273040"/>
                  <a:gd name="connsiteX180" fmla="*/ 144551 w 320163"/>
                  <a:gd name="connsiteY180" fmla="*/ 98034 h 273040"/>
                  <a:gd name="connsiteX181" fmla="*/ 143339 w 320163"/>
                  <a:gd name="connsiteY181" fmla="*/ 93185 h 273040"/>
                  <a:gd name="connsiteX182" fmla="*/ 142278 w 320163"/>
                  <a:gd name="connsiteY182" fmla="*/ 92428 h 273040"/>
                  <a:gd name="connsiteX183" fmla="*/ 140460 w 320163"/>
                  <a:gd name="connsiteY183" fmla="*/ 92882 h 273040"/>
                  <a:gd name="connsiteX184" fmla="*/ 139096 w 320163"/>
                  <a:gd name="connsiteY184" fmla="*/ 93488 h 273040"/>
                  <a:gd name="connsiteX185" fmla="*/ 138490 w 320163"/>
                  <a:gd name="connsiteY185" fmla="*/ 94852 h 273040"/>
                  <a:gd name="connsiteX186" fmla="*/ 137127 w 320163"/>
                  <a:gd name="connsiteY186" fmla="*/ 99246 h 273040"/>
                  <a:gd name="connsiteX187" fmla="*/ 136369 w 320163"/>
                  <a:gd name="connsiteY187" fmla="*/ 101367 h 273040"/>
                  <a:gd name="connsiteX188" fmla="*/ 135914 w 320163"/>
                  <a:gd name="connsiteY188" fmla="*/ 101974 h 273040"/>
                  <a:gd name="connsiteX189" fmla="*/ 134854 w 320163"/>
                  <a:gd name="connsiteY189" fmla="*/ 102580 h 273040"/>
                  <a:gd name="connsiteX190" fmla="*/ 133036 w 320163"/>
                  <a:gd name="connsiteY190" fmla="*/ 103186 h 273040"/>
                  <a:gd name="connsiteX191" fmla="*/ 130460 w 320163"/>
                  <a:gd name="connsiteY191" fmla="*/ 103489 h 273040"/>
                  <a:gd name="connsiteX192" fmla="*/ 126823 w 320163"/>
                  <a:gd name="connsiteY192" fmla="*/ 103337 h 273040"/>
                  <a:gd name="connsiteX193" fmla="*/ 122277 w 320163"/>
                  <a:gd name="connsiteY193" fmla="*/ 102731 h 273040"/>
                  <a:gd name="connsiteX194" fmla="*/ 119853 w 320163"/>
                  <a:gd name="connsiteY194" fmla="*/ 102276 h 273040"/>
                  <a:gd name="connsiteX195" fmla="*/ 113186 w 320163"/>
                  <a:gd name="connsiteY195" fmla="*/ 101519 h 273040"/>
                  <a:gd name="connsiteX196" fmla="*/ 111217 w 320163"/>
                  <a:gd name="connsiteY196" fmla="*/ 101216 h 273040"/>
                  <a:gd name="connsiteX197" fmla="*/ 108489 w 320163"/>
                  <a:gd name="connsiteY197" fmla="*/ 100307 h 273040"/>
                  <a:gd name="connsiteX198" fmla="*/ 106520 w 320163"/>
                  <a:gd name="connsiteY198" fmla="*/ 99398 h 273040"/>
                  <a:gd name="connsiteX199" fmla="*/ 100004 w 320163"/>
                  <a:gd name="connsiteY199" fmla="*/ 97276 h 273040"/>
                  <a:gd name="connsiteX200" fmla="*/ 97125 w 320163"/>
                  <a:gd name="connsiteY200" fmla="*/ 97579 h 273040"/>
                  <a:gd name="connsiteX201" fmla="*/ 95761 w 320163"/>
                  <a:gd name="connsiteY201" fmla="*/ 96064 h 273040"/>
                  <a:gd name="connsiteX202" fmla="*/ 94549 w 320163"/>
                  <a:gd name="connsiteY202" fmla="*/ 95307 h 273040"/>
                  <a:gd name="connsiteX203" fmla="*/ 92731 w 320163"/>
                  <a:gd name="connsiteY203" fmla="*/ 93943 h 273040"/>
                  <a:gd name="connsiteX204" fmla="*/ 91973 w 320163"/>
                  <a:gd name="connsiteY204" fmla="*/ 91973 h 273040"/>
                  <a:gd name="connsiteX205" fmla="*/ 90912 w 320163"/>
                  <a:gd name="connsiteY205" fmla="*/ 87882 h 273040"/>
                  <a:gd name="connsiteX206" fmla="*/ 91216 w 320163"/>
                  <a:gd name="connsiteY206" fmla="*/ 85761 h 273040"/>
                  <a:gd name="connsiteX207" fmla="*/ 91973 w 320163"/>
                  <a:gd name="connsiteY207" fmla="*/ 83336 h 273040"/>
                  <a:gd name="connsiteX208" fmla="*/ 91064 w 320163"/>
                  <a:gd name="connsiteY208" fmla="*/ 82730 h 273040"/>
                  <a:gd name="connsiteX209" fmla="*/ 89852 w 320163"/>
                  <a:gd name="connsiteY209" fmla="*/ 82730 h 273040"/>
                  <a:gd name="connsiteX210" fmla="*/ 88185 w 320163"/>
                  <a:gd name="connsiteY210" fmla="*/ 83639 h 273040"/>
                  <a:gd name="connsiteX211" fmla="*/ 85155 w 320163"/>
                  <a:gd name="connsiteY211" fmla="*/ 84094 h 273040"/>
                  <a:gd name="connsiteX212" fmla="*/ 79700 w 320163"/>
                  <a:gd name="connsiteY212" fmla="*/ 85155 h 273040"/>
                  <a:gd name="connsiteX213" fmla="*/ 77730 w 320163"/>
                  <a:gd name="connsiteY213" fmla="*/ 85761 h 273040"/>
                  <a:gd name="connsiteX214" fmla="*/ 75609 w 320163"/>
                  <a:gd name="connsiteY214" fmla="*/ 86215 h 273040"/>
                  <a:gd name="connsiteX215" fmla="*/ 73942 w 320163"/>
                  <a:gd name="connsiteY215" fmla="*/ 86670 h 273040"/>
                  <a:gd name="connsiteX216" fmla="*/ 69851 w 320163"/>
                  <a:gd name="connsiteY216" fmla="*/ 89094 h 273040"/>
                  <a:gd name="connsiteX217" fmla="*/ 68488 w 320163"/>
                  <a:gd name="connsiteY217" fmla="*/ 89397 h 273040"/>
                  <a:gd name="connsiteX218" fmla="*/ 66063 w 320163"/>
                  <a:gd name="connsiteY218" fmla="*/ 88488 h 273040"/>
                  <a:gd name="connsiteX219" fmla="*/ 64851 w 320163"/>
                  <a:gd name="connsiteY219" fmla="*/ 87276 h 273040"/>
                  <a:gd name="connsiteX220" fmla="*/ 66063 w 320163"/>
                  <a:gd name="connsiteY220" fmla="*/ 85912 h 273040"/>
                  <a:gd name="connsiteX221" fmla="*/ 66518 w 320163"/>
                  <a:gd name="connsiteY221" fmla="*/ 84094 h 273040"/>
                  <a:gd name="connsiteX222" fmla="*/ 65609 w 320163"/>
                  <a:gd name="connsiteY222" fmla="*/ 80609 h 273040"/>
                  <a:gd name="connsiteX223" fmla="*/ 64396 w 320163"/>
                  <a:gd name="connsiteY223" fmla="*/ 78942 h 273040"/>
                  <a:gd name="connsiteX224" fmla="*/ 60760 w 320163"/>
                  <a:gd name="connsiteY224" fmla="*/ 77730 h 273040"/>
                  <a:gd name="connsiteX225" fmla="*/ 59396 w 320163"/>
                  <a:gd name="connsiteY225" fmla="*/ 77579 h 273040"/>
                  <a:gd name="connsiteX226" fmla="*/ 58790 w 320163"/>
                  <a:gd name="connsiteY226" fmla="*/ 75609 h 273040"/>
                  <a:gd name="connsiteX227" fmla="*/ 57730 w 320163"/>
                  <a:gd name="connsiteY227" fmla="*/ 73791 h 273040"/>
                  <a:gd name="connsiteX228" fmla="*/ 55608 w 320163"/>
                  <a:gd name="connsiteY228" fmla="*/ 73488 h 273040"/>
                  <a:gd name="connsiteX229" fmla="*/ 54548 w 320163"/>
                  <a:gd name="connsiteY229" fmla="*/ 73336 h 273040"/>
                  <a:gd name="connsiteX230" fmla="*/ 55154 w 320163"/>
                  <a:gd name="connsiteY230" fmla="*/ 76973 h 273040"/>
                  <a:gd name="connsiteX231" fmla="*/ 55760 w 320163"/>
                  <a:gd name="connsiteY231" fmla="*/ 81973 h 273040"/>
                  <a:gd name="connsiteX232" fmla="*/ 56215 w 320163"/>
                  <a:gd name="connsiteY232" fmla="*/ 85609 h 273040"/>
                  <a:gd name="connsiteX233" fmla="*/ 56669 w 320163"/>
                  <a:gd name="connsiteY233" fmla="*/ 87276 h 273040"/>
                  <a:gd name="connsiteX234" fmla="*/ 56820 w 320163"/>
                  <a:gd name="connsiteY234" fmla="*/ 88185 h 273040"/>
                  <a:gd name="connsiteX235" fmla="*/ 56366 w 320163"/>
                  <a:gd name="connsiteY235" fmla="*/ 89094 h 273040"/>
                  <a:gd name="connsiteX236" fmla="*/ 55911 w 320163"/>
                  <a:gd name="connsiteY236" fmla="*/ 91216 h 273040"/>
                  <a:gd name="connsiteX237" fmla="*/ 55154 w 320163"/>
                  <a:gd name="connsiteY237" fmla="*/ 93185 h 273040"/>
                  <a:gd name="connsiteX238" fmla="*/ 54699 w 320163"/>
                  <a:gd name="connsiteY238" fmla="*/ 94549 h 273040"/>
                  <a:gd name="connsiteX239" fmla="*/ 55002 w 320163"/>
                  <a:gd name="connsiteY239" fmla="*/ 96973 h 273040"/>
                  <a:gd name="connsiteX240" fmla="*/ 54699 w 320163"/>
                  <a:gd name="connsiteY240" fmla="*/ 100458 h 273040"/>
                  <a:gd name="connsiteX241" fmla="*/ 54396 w 320163"/>
                  <a:gd name="connsiteY241" fmla="*/ 104246 h 273040"/>
                  <a:gd name="connsiteX242" fmla="*/ 54245 w 320163"/>
                  <a:gd name="connsiteY242" fmla="*/ 107883 h 273040"/>
                  <a:gd name="connsiteX243" fmla="*/ 55305 w 320163"/>
                  <a:gd name="connsiteY243" fmla="*/ 114247 h 273040"/>
                  <a:gd name="connsiteX244" fmla="*/ 55154 w 320163"/>
                  <a:gd name="connsiteY244" fmla="*/ 116217 h 273040"/>
                  <a:gd name="connsiteX245" fmla="*/ 53942 w 320163"/>
                  <a:gd name="connsiteY245" fmla="*/ 119550 h 273040"/>
                  <a:gd name="connsiteX246" fmla="*/ 53032 w 320163"/>
                  <a:gd name="connsiteY246" fmla="*/ 122126 h 273040"/>
                  <a:gd name="connsiteX247" fmla="*/ 52427 w 320163"/>
                  <a:gd name="connsiteY247" fmla="*/ 125156 h 273040"/>
                  <a:gd name="connsiteX248" fmla="*/ 52275 w 320163"/>
                  <a:gd name="connsiteY248" fmla="*/ 126671 h 273040"/>
                  <a:gd name="connsiteX249" fmla="*/ 54548 w 320163"/>
                  <a:gd name="connsiteY249" fmla="*/ 131066 h 273040"/>
                  <a:gd name="connsiteX250" fmla="*/ 54396 w 320163"/>
                  <a:gd name="connsiteY250" fmla="*/ 131975 h 273040"/>
                  <a:gd name="connsiteX251" fmla="*/ 52578 w 320163"/>
                  <a:gd name="connsiteY251" fmla="*/ 132278 h 273040"/>
                  <a:gd name="connsiteX252" fmla="*/ 51063 w 320163"/>
                  <a:gd name="connsiteY252" fmla="*/ 132429 h 273040"/>
                  <a:gd name="connsiteX253" fmla="*/ 45456 w 320163"/>
                  <a:gd name="connsiteY253" fmla="*/ 132429 h 273040"/>
                  <a:gd name="connsiteX254" fmla="*/ 37274 w 320163"/>
                  <a:gd name="connsiteY254" fmla="*/ 132429 h 273040"/>
                  <a:gd name="connsiteX255" fmla="*/ 29092 w 320163"/>
                  <a:gd name="connsiteY255" fmla="*/ 132429 h 273040"/>
                  <a:gd name="connsiteX256" fmla="*/ 20910 w 320163"/>
                  <a:gd name="connsiteY256" fmla="*/ 132429 h 273040"/>
                  <a:gd name="connsiteX257" fmla="*/ 13486 w 320163"/>
                  <a:gd name="connsiteY257" fmla="*/ 132429 h 273040"/>
                  <a:gd name="connsiteX258" fmla="*/ 6364 w 320163"/>
                  <a:gd name="connsiteY258" fmla="*/ 132429 h 273040"/>
                  <a:gd name="connsiteX259" fmla="*/ 0 w 320163"/>
                  <a:gd name="connsiteY259" fmla="*/ 132429 h 273040"/>
                  <a:gd name="connsiteX260" fmla="*/ 0 w 320163"/>
                  <a:gd name="connsiteY260" fmla="*/ 136672 h 273040"/>
                  <a:gd name="connsiteX261" fmla="*/ 0 w 320163"/>
                  <a:gd name="connsiteY261" fmla="*/ 145611 h 273040"/>
                  <a:gd name="connsiteX262" fmla="*/ 0 w 320163"/>
                  <a:gd name="connsiteY262" fmla="*/ 154551 h 273040"/>
                  <a:gd name="connsiteX263" fmla="*/ 0 w 320163"/>
                  <a:gd name="connsiteY263" fmla="*/ 163491 h 273040"/>
                  <a:gd name="connsiteX264" fmla="*/ 0 w 320163"/>
                  <a:gd name="connsiteY264" fmla="*/ 172431 h 273040"/>
                  <a:gd name="connsiteX265" fmla="*/ 0 w 320163"/>
                  <a:gd name="connsiteY265" fmla="*/ 181370 h 273040"/>
                  <a:gd name="connsiteX266" fmla="*/ 0 w 320163"/>
                  <a:gd name="connsiteY266" fmla="*/ 190310 h 273040"/>
                  <a:gd name="connsiteX267" fmla="*/ 0 w 320163"/>
                  <a:gd name="connsiteY267" fmla="*/ 199250 h 273040"/>
                  <a:gd name="connsiteX268" fmla="*/ 0 w 320163"/>
                  <a:gd name="connsiteY268" fmla="*/ 208190 h 273040"/>
                  <a:gd name="connsiteX269" fmla="*/ 0 w 320163"/>
                  <a:gd name="connsiteY269" fmla="*/ 214705 h 273040"/>
                  <a:gd name="connsiteX270" fmla="*/ 1667 w 320163"/>
                  <a:gd name="connsiteY270" fmla="*/ 223342 h 273040"/>
                  <a:gd name="connsiteX271" fmla="*/ 4698 w 320163"/>
                  <a:gd name="connsiteY271" fmla="*/ 232736 h 273040"/>
                  <a:gd name="connsiteX272" fmla="*/ 5910 w 320163"/>
                  <a:gd name="connsiteY272" fmla="*/ 233645 h 273040"/>
                  <a:gd name="connsiteX273" fmla="*/ 8940 w 320163"/>
                  <a:gd name="connsiteY273" fmla="*/ 235312 h 273040"/>
                  <a:gd name="connsiteX274" fmla="*/ 13183 w 320163"/>
                  <a:gd name="connsiteY274" fmla="*/ 238797 h 273040"/>
                  <a:gd name="connsiteX275" fmla="*/ 15607 w 320163"/>
                  <a:gd name="connsiteY275" fmla="*/ 241524 h 273040"/>
                  <a:gd name="connsiteX276" fmla="*/ 20455 w 320163"/>
                  <a:gd name="connsiteY276" fmla="*/ 246070 h 273040"/>
                  <a:gd name="connsiteX277" fmla="*/ 26819 w 320163"/>
                  <a:gd name="connsiteY277" fmla="*/ 251979 h 273040"/>
                  <a:gd name="connsiteX278" fmla="*/ 33032 w 320163"/>
                  <a:gd name="connsiteY278" fmla="*/ 257282 h 273040"/>
                  <a:gd name="connsiteX279" fmla="*/ 38486 w 320163"/>
                  <a:gd name="connsiteY279" fmla="*/ 261979 h 273040"/>
                  <a:gd name="connsiteX280" fmla="*/ 44396 w 320163"/>
                  <a:gd name="connsiteY280" fmla="*/ 260767 h 273040"/>
                  <a:gd name="connsiteX281" fmla="*/ 50002 w 320163"/>
                  <a:gd name="connsiteY281" fmla="*/ 259707 h 273040"/>
                  <a:gd name="connsiteX282" fmla="*/ 56517 w 320163"/>
                  <a:gd name="connsiteY282" fmla="*/ 258646 h 273040"/>
                  <a:gd name="connsiteX283" fmla="*/ 61669 w 320163"/>
                  <a:gd name="connsiteY283" fmla="*/ 257737 h 273040"/>
                  <a:gd name="connsiteX284" fmla="*/ 63033 w 320163"/>
                  <a:gd name="connsiteY284" fmla="*/ 257434 h 273040"/>
                  <a:gd name="connsiteX285" fmla="*/ 75609 w 320163"/>
                  <a:gd name="connsiteY285" fmla="*/ 258494 h 273040"/>
                  <a:gd name="connsiteX286" fmla="*/ 81064 w 320163"/>
                  <a:gd name="connsiteY286" fmla="*/ 259252 h 273040"/>
                  <a:gd name="connsiteX287" fmla="*/ 83034 w 320163"/>
                  <a:gd name="connsiteY287" fmla="*/ 260010 h 273040"/>
                  <a:gd name="connsiteX288" fmla="*/ 85458 w 320163"/>
                  <a:gd name="connsiteY288" fmla="*/ 261828 h 273040"/>
                  <a:gd name="connsiteX289" fmla="*/ 90003 w 320163"/>
                  <a:gd name="connsiteY289" fmla="*/ 266222 h 273040"/>
                  <a:gd name="connsiteX290" fmla="*/ 95307 w 320163"/>
                  <a:gd name="connsiteY290" fmla="*/ 267737 h 273040"/>
                  <a:gd name="connsiteX291" fmla="*/ 98186 w 320163"/>
                  <a:gd name="connsiteY291" fmla="*/ 267889 h 273040"/>
                  <a:gd name="connsiteX292" fmla="*/ 100458 w 320163"/>
                  <a:gd name="connsiteY292" fmla="*/ 267131 h 273040"/>
                  <a:gd name="connsiteX293" fmla="*/ 103186 w 320163"/>
                  <a:gd name="connsiteY293" fmla="*/ 268040 h 273040"/>
                  <a:gd name="connsiteX294" fmla="*/ 106520 w 320163"/>
                  <a:gd name="connsiteY294" fmla="*/ 270616 h 273040"/>
                  <a:gd name="connsiteX295" fmla="*/ 110156 w 320163"/>
                  <a:gd name="connsiteY295" fmla="*/ 271071 h 273040"/>
                  <a:gd name="connsiteX296" fmla="*/ 114096 w 320163"/>
                  <a:gd name="connsiteY296" fmla="*/ 269404 h 273040"/>
                  <a:gd name="connsiteX297" fmla="*/ 119398 w 320163"/>
                  <a:gd name="connsiteY297" fmla="*/ 269859 h 273040"/>
                  <a:gd name="connsiteX298" fmla="*/ 126065 w 320163"/>
                  <a:gd name="connsiteY298" fmla="*/ 272434 h 273040"/>
                  <a:gd name="connsiteX299" fmla="*/ 131672 w 320163"/>
                  <a:gd name="connsiteY299" fmla="*/ 273040 h 273040"/>
                  <a:gd name="connsiteX300" fmla="*/ 138187 w 320163"/>
                  <a:gd name="connsiteY300" fmla="*/ 270768 h 273040"/>
                  <a:gd name="connsiteX301" fmla="*/ 138187 w 320163"/>
                  <a:gd name="connsiteY301" fmla="*/ 269859 h 273040"/>
                  <a:gd name="connsiteX302" fmla="*/ 138793 w 320163"/>
                  <a:gd name="connsiteY302" fmla="*/ 269252 h 273040"/>
                  <a:gd name="connsiteX303" fmla="*/ 139399 w 320163"/>
                  <a:gd name="connsiteY303" fmla="*/ 268343 h 273040"/>
                  <a:gd name="connsiteX304" fmla="*/ 140157 w 320163"/>
                  <a:gd name="connsiteY304" fmla="*/ 267586 h 273040"/>
                  <a:gd name="connsiteX305" fmla="*/ 140157 w 320163"/>
                  <a:gd name="connsiteY305" fmla="*/ 266525 h 273040"/>
                  <a:gd name="connsiteX306" fmla="*/ 140460 w 320163"/>
                  <a:gd name="connsiteY306" fmla="*/ 265464 h 273040"/>
                  <a:gd name="connsiteX307" fmla="*/ 142278 w 320163"/>
                  <a:gd name="connsiteY307" fmla="*/ 263192 h 273040"/>
                  <a:gd name="connsiteX308" fmla="*/ 144551 w 320163"/>
                  <a:gd name="connsiteY308" fmla="*/ 260919 h 273040"/>
                  <a:gd name="connsiteX309" fmla="*/ 145612 w 320163"/>
                  <a:gd name="connsiteY309" fmla="*/ 260161 h 273040"/>
                  <a:gd name="connsiteX310" fmla="*/ 146369 w 320163"/>
                  <a:gd name="connsiteY310" fmla="*/ 259707 h 273040"/>
                  <a:gd name="connsiteX311" fmla="*/ 146975 w 320163"/>
                  <a:gd name="connsiteY311" fmla="*/ 259404 h 273040"/>
                  <a:gd name="connsiteX312" fmla="*/ 147430 w 320163"/>
                  <a:gd name="connsiteY312" fmla="*/ 258797 h 273040"/>
                  <a:gd name="connsiteX313" fmla="*/ 147884 w 320163"/>
                  <a:gd name="connsiteY313" fmla="*/ 258040 h 273040"/>
                  <a:gd name="connsiteX314" fmla="*/ 147884 w 320163"/>
                  <a:gd name="connsiteY314" fmla="*/ 257282 h 273040"/>
                  <a:gd name="connsiteX315" fmla="*/ 147127 w 320163"/>
                  <a:gd name="connsiteY315" fmla="*/ 256676 h 273040"/>
                  <a:gd name="connsiteX316" fmla="*/ 147884 w 320163"/>
                  <a:gd name="connsiteY316" fmla="*/ 254706 h 273040"/>
                  <a:gd name="connsiteX317" fmla="*/ 149551 w 320163"/>
                  <a:gd name="connsiteY317" fmla="*/ 252282 h 273040"/>
                  <a:gd name="connsiteX318" fmla="*/ 150612 w 320163"/>
                  <a:gd name="connsiteY318" fmla="*/ 250767 h 273040"/>
                  <a:gd name="connsiteX319" fmla="*/ 152733 w 320163"/>
                  <a:gd name="connsiteY319" fmla="*/ 248191 h 273040"/>
                  <a:gd name="connsiteX320" fmla="*/ 154400 w 320163"/>
                  <a:gd name="connsiteY320" fmla="*/ 245918 h 273040"/>
                  <a:gd name="connsiteX321" fmla="*/ 155309 w 320163"/>
                  <a:gd name="connsiteY321" fmla="*/ 245767 h 273040"/>
                  <a:gd name="connsiteX322" fmla="*/ 156067 w 320163"/>
                  <a:gd name="connsiteY322" fmla="*/ 245918 h 273040"/>
                  <a:gd name="connsiteX323" fmla="*/ 156521 w 320163"/>
                  <a:gd name="connsiteY323" fmla="*/ 245615 h 273040"/>
                  <a:gd name="connsiteX324" fmla="*/ 156521 w 320163"/>
                  <a:gd name="connsiteY324" fmla="*/ 244857 h 273040"/>
                  <a:gd name="connsiteX325" fmla="*/ 156976 w 320163"/>
                  <a:gd name="connsiteY325" fmla="*/ 243645 h 273040"/>
                  <a:gd name="connsiteX326" fmla="*/ 157279 w 320163"/>
                  <a:gd name="connsiteY326" fmla="*/ 242585 h 273040"/>
                  <a:gd name="connsiteX327" fmla="*/ 156976 w 320163"/>
                  <a:gd name="connsiteY327" fmla="*/ 241979 h 273040"/>
                  <a:gd name="connsiteX328" fmla="*/ 157279 w 320163"/>
                  <a:gd name="connsiteY328" fmla="*/ 241676 h 273040"/>
                  <a:gd name="connsiteX329" fmla="*/ 158188 w 320163"/>
                  <a:gd name="connsiteY329" fmla="*/ 241524 h 273040"/>
                  <a:gd name="connsiteX330" fmla="*/ 159400 w 320163"/>
                  <a:gd name="connsiteY330" fmla="*/ 241373 h 273040"/>
                  <a:gd name="connsiteX331" fmla="*/ 160309 w 320163"/>
                  <a:gd name="connsiteY331" fmla="*/ 240918 h 273040"/>
                  <a:gd name="connsiteX332" fmla="*/ 160006 w 320163"/>
                  <a:gd name="connsiteY332" fmla="*/ 240009 h 273040"/>
                  <a:gd name="connsiteX333" fmla="*/ 159248 w 320163"/>
                  <a:gd name="connsiteY333" fmla="*/ 239100 h 273040"/>
                  <a:gd name="connsiteX334" fmla="*/ 159400 w 320163"/>
                  <a:gd name="connsiteY334" fmla="*/ 238645 h 273040"/>
                  <a:gd name="connsiteX335" fmla="*/ 160309 w 320163"/>
                  <a:gd name="connsiteY335" fmla="*/ 238342 h 273040"/>
                  <a:gd name="connsiteX336" fmla="*/ 161218 w 320163"/>
                  <a:gd name="connsiteY336" fmla="*/ 237888 h 273040"/>
                  <a:gd name="connsiteX337" fmla="*/ 161673 w 320163"/>
                  <a:gd name="connsiteY337" fmla="*/ 237281 h 273040"/>
                  <a:gd name="connsiteX338" fmla="*/ 162279 w 320163"/>
                  <a:gd name="connsiteY338" fmla="*/ 237130 h 273040"/>
                  <a:gd name="connsiteX339" fmla="*/ 162734 w 320163"/>
                  <a:gd name="connsiteY339" fmla="*/ 237433 h 273040"/>
                  <a:gd name="connsiteX340" fmla="*/ 163340 w 320163"/>
                  <a:gd name="connsiteY340" fmla="*/ 237888 h 273040"/>
                  <a:gd name="connsiteX341" fmla="*/ 164249 w 320163"/>
                  <a:gd name="connsiteY341" fmla="*/ 238494 h 273040"/>
                  <a:gd name="connsiteX342" fmla="*/ 165158 w 320163"/>
                  <a:gd name="connsiteY342" fmla="*/ 238645 h 273040"/>
                  <a:gd name="connsiteX343" fmla="*/ 166067 w 320163"/>
                  <a:gd name="connsiteY343" fmla="*/ 238494 h 273040"/>
                  <a:gd name="connsiteX344" fmla="*/ 166976 w 320163"/>
                  <a:gd name="connsiteY344" fmla="*/ 237736 h 273040"/>
                  <a:gd name="connsiteX345" fmla="*/ 167885 w 320163"/>
                  <a:gd name="connsiteY345" fmla="*/ 236827 h 273040"/>
                  <a:gd name="connsiteX346" fmla="*/ 168643 w 320163"/>
                  <a:gd name="connsiteY346" fmla="*/ 236221 h 273040"/>
                  <a:gd name="connsiteX347" fmla="*/ 169552 w 320163"/>
                  <a:gd name="connsiteY347" fmla="*/ 235463 h 273040"/>
                  <a:gd name="connsiteX348" fmla="*/ 169855 w 320163"/>
                  <a:gd name="connsiteY348" fmla="*/ 234706 h 273040"/>
                  <a:gd name="connsiteX349" fmla="*/ 169703 w 320163"/>
                  <a:gd name="connsiteY349" fmla="*/ 234100 h 273040"/>
                  <a:gd name="connsiteX350" fmla="*/ 170613 w 320163"/>
                  <a:gd name="connsiteY350" fmla="*/ 233797 h 273040"/>
                  <a:gd name="connsiteX351" fmla="*/ 171673 w 320163"/>
                  <a:gd name="connsiteY351" fmla="*/ 233342 h 273040"/>
                  <a:gd name="connsiteX352" fmla="*/ 172734 w 320163"/>
                  <a:gd name="connsiteY352" fmla="*/ 232584 h 273040"/>
                  <a:gd name="connsiteX353" fmla="*/ 173189 w 320163"/>
                  <a:gd name="connsiteY353" fmla="*/ 231675 h 273040"/>
                  <a:gd name="connsiteX354" fmla="*/ 173037 w 320163"/>
                  <a:gd name="connsiteY354" fmla="*/ 230918 h 273040"/>
                  <a:gd name="connsiteX355" fmla="*/ 173643 w 320163"/>
                  <a:gd name="connsiteY355" fmla="*/ 231069 h 273040"/>
                  <a:gd name="connsiteX356" fmla="*/ 174704 w 320163"/>
                  <a:gd name="connsiteY356" fmla="*/ 231372 h 273040"/>
                  <a:gd name="connsiteX357" fmla="*/ 175310 w 320163"/>
                  <a:gd name="connsiteY357" fmla="*/ 231675 h 273040"/>
                  <a:gd name="connsiteX358" fmla="*/ 175916 w 320163"/>
                  <a:gd name="connsiteY358" fmla="*/ 231978 h 273040"/>
                  <a:gd name="connsiteX359" fmla="*/ 177279 w 320163"/>
                  <a:gd name="connsiteY359" fmla="*/ 231221 h 273040"/>
                  <a:gd name="connsiteX360" fmla="*/ 178795 w 320163"/>
                  <a:gd name="connsiteY360" fmla="*/ 230766 h 273040"/>
                  <a:gd name="connsiteX361" fmla="*/ 179704 w 320163"/>
                  <a:gd name="connsiteY361" fmla="*/ 230918 h 273040"/>
                  <a:gd name="connsiteX362" fmla="*/ 180310 w 320163"/>
                  <a:gd name="connsiteY362" fmla="*/ 230614 h 273040"/>
                  <a:gd name="connsiteX363" fmla="*/ 180461 w 320163"/>
                  <a:gd name="connsiteY363" fmla="*/ 230160 h 273040"/>
                  <a:gd name="connsiteX364" fmla="*/ 180916 w 320163"/>
                  <a:gd name="connsiteY364" fmla="*/ 229705 h 273040"/>
                  <a:gd name="connsiteX365" fmla="*/ 182128 w 320163"/>
                  <a:gd name="connsiteY365" fmla="*/ 229403 h 273040"/>
                  <a:gd name="connsiteX366" fmla="*/ 183795 w 320163"/>
                  <a:gd name="connsiteY366" fmla="*/ 229705 h 273040"/>
                  <a:gd name="connsiteX367" fmla="*/ 185916 w 320163"/>
                  <a:gd name="connsiteY367" fmla="*/ 230312 h 273040"/>
                  <a:gd name="connsiteX368" fmla="*/ 185916 w 320163"/>
                  <a:gd name="connsiteY368" fmla="*/ 230312 h 273040"/>
                  <a:gd name="connsiteX369" fmla="*/ 185916 w 320163"/>
                  <a:gd name="connsiteY369" fmla="*/ 230312 h 273040"/>
                  <a:gd name="connsiteX370" fmla="*/ 187886 w 320163"/>
                  <a:gd name="connsiteY370" fmla="*/ 227281 h 273040"/>
                  <a:gd name="connsiteX371" fmla="*/ 188492 w 320163"/>
                  <a:gd name="connsiteY371" fmla="*/ 223948 h 273040"/>
                  <a:gd name="connsiteX372" fmla="*/ 188492 w 320163"/>
                  <a:gd name="connsiteY372" fmla="*/ 219402 h 273040"/>
                  <a:gd name="connsiteX373" fmla="*/ 188946 w 320163"/>
                  <a:gd name="connsiteY373" fmla="*/ 216372 h 273040"/>
                  <a:gd name="connsiteX374" fmla="*/ 190007 w 320163"/>
                  <a:gd name="connsiteY374" fmla="*/ 215008 h 273040"/>
                  <a:gd name="connsiteX375" fmla="*/ 191674 w 320163"/>
                  <a:gd name="connsiteY375" fmla="*/ 213947 h 273040"/>
                  <a:gd name="connsiteX376" fmla="*/ 193795 w 320163"/>
                  <a:gd name="connsiteY376" fmla="*/ 212584 h 273040"/>
                  <a:gd name="connsiteX377" fmla="*/ 200310 w 320163"/>
                  <a:gd name="connsiteY377" fmla="*/ 209099 h 273040"/>
                  <a:gd name="connsiteX378" fmla="*/ 205765 w 320163"/>
                  <a:gd name="connsiteY378" fmla="*/ 206826 h 273040"/>
                  <a:gd name="connsiteX379" fmla="*/ 212432 w 320163"/>
                  <a:gd name="connsiteY379" fmla="*/ 205311 h 273040"/>
                  <a:gd name="connsiteX380" fmla="*/ 219705 w 320163"/>
                  <a:gd name="connsiteY380" fmla="*/ 205311 h 273040"/>
                  <a:gd name="connsiteX381" fmla="*/ 226675 w 320163"/>
                  <a:gd name="connsiteY381" fmla="*/ 205311 h 273040"/>
                  <a:gd name="connsiteX382" fmla="*/ 230615 w 320163"/>
                  <a:gd name="connsiteY382" fmla="*/ 205311 h 273040"/>
                  <a:gd name="connsiteX383" fmla="*/ 230160 w 320163"/>
                  <a:gd name="connsiteY383" fmla="*/ 201523 h 273040"/>
                  <a:gd name="connsiteX384" fmla="*/ 229403 w 320163"/>
                  <a:gd name="connsiteY384" fmla="*/ 197129 h 273040"/>
                  <a:gd name="connsiteX385" fmla="*/ 228191 w 320163"/>
                  <a:gd name="connsiteY385" fmla="*/ 195462 h 273040"/>
                  <a:gd name="connsiteX386" fmla="*/ 226675 w 320163"/>
                  <a:gd name="connsiteY386" fmla="*/ 192583 h 273040"/>
                  <a:gd name="connsiteX387" fmla="*/ 225918 w 320163"/>
                  <a:gd name="connsiteY387" fmla="*/ 189401 h 273040"/>
                  <a:gd name="connsiteX388" fmla="*/ 225766 w 320163"/>
                  <a:gd name="connsiteY388" fmla="*/ 187886 h 273040"/>
                  <a:gd name="connsiteX389" fmla="*/ 226069 w 320163"/>
                  <a:gd name="connsiteY389" fmla="*/ 187280 h 273040"/>
                  <a:gd name="connsiteX390" fmla="*/ 231979 w 320163"/>
                  <a:gd name="connsiteY390" fmla="*/ 185007 h 273040"/>
                  <a:gd name="connsiteX391" fmla="*/ 234554 w 320163"/>
                  <a:gd name="connsiteY391" fmla="*/ 183795 h 273040"/>
                  <a:gd name="connsiteX392" fmla="*/ 238191 w 320163"/>
                  <a:gd name="connsiteY392" fmla="*/ 182431 h 273040"/>
                  <a:gd name="connsiteX393" fmla="*/ 244858 w 320163"/>
                  <a:gd name="connsiteY393" fmla="*/ 180613 h 273040"/>
                  <a:gd name="connsiteX394" fmla="*/ 250767 w 320163"/>
                  <a:gd name="connsiteY394" fmla="*/ 178946 h 273040"/>
                  <a:gd name="connsiteX395" fmla="*/ 256222 w 320163"/>
                  <a:gd name="connsiteY395" fmla="*/ 177431 h 273040"/>
                  <a:gd name="connsiteX396" fmla="*/ 261980 w 320163"/>
                  <a:gd name="connsiteY396" fmla="*/ 175764 h 273040"/>
                  <a:gd name="connsiteX397" fmla="*/ 264252 w 320163"/>
                  <a:gd name="connsiteY397" fmla="*/ 174704 h 273040"/>
                  <a:gd name="connsiteX398" fmla="*/ 267131 w 320163"/>
                  <a:gd name="connsiteY398" fmla="*/ 173643 h 273040"/>
                  <a:gd name="connsiteX399" fmla="*/ 274101 w 320163"/>
                  <a:gd name="connsiteY399" fmla="*/ 171370 h 273040"/>
                  <a:gd name="connsiteX400" fmla="*/ 276071 w 320163"/>
                  <a:gd name="connsiteY400" fmla="*/ 170612 h 273040"/>
                  <a:gd name="connsiteX401" fmla="*/ 280011 w 320163"/>
                  <a:gd name="connsiteY401" fmla="*/ 169400 h 273040"/>
                  <a:gd name="connsiteX402" fmla="*/ 281980 w 320163"/>
                  <a:gd name="connsiteY402" fmla="*/ 168946 h 273040"/>
                  <a:gd name="connsiteX403" fmla="*/ 289708 w 320163"/>
                  <a:gd name="connsiteY403" fmla="*/ 166370 h 273040"/>
                  <a:gd name="connsiteX404" fmla="*/ 298496 w 320163"/>
                  <a:gd name="connsiteY404" fmla="*/ 163340 h 273040"/>
                  <a:gd name="connsiteX405" fmla="*/ 301527 w 320163"/>
                  <a:gd name="connsiteY405" fmla="*/ 162279 h 273040"/>
                  <a:gd name="connsiteX406" fmla="*/ 307436 w 320163"/>
                  <a:gd name="connsiteY406" fmla="*/ 160309 h 273040"/>
                  <a:gd name="connsiteX407" fmla="*/ 305920 w 320163"/>
                  <a:gd name="connsiteY407" fmla="*/ 158339 h 273040"/>
                  <a:gd name="connsiteX408" fmla="*/ 304709 w 320163"/>
                  <a:gd name="connsiteY408" fmla="*/ 158794 h 273040"/>
                  <a:gd name="connsiteX409" fmla="*/ 303042 w 320163"/>
                  <a:gd name="connsiteY409" fmla="*/ 160157 h 273040"/>
                  <a:gd name="connsiteX410" fmla="*/ 302132 w 320163"/>
                  <a:gd name="connsiteY410" fmla="*/ 160612 h 273040"/>
                  <a:gd name="connsiteX411" fmla="*/ 301678 w 320163"/>
                  <a:gd name="connsiteY411" fmla="*/ 160612 h 273040"/>
                  <a:gd name="connsiteX412" fmla="*/ 301375 w 320163"/>
                  <a:gd name="connsiteY412" fmla="*/ 160309 h 273040"/>
                  <a:gd name="connsiteX413" fmla="*/ 301072 w 320163"/>
                  <a:gd name="connsiteY413" fmla="*/ 159400 h 273040"/>
                  <a:gd name="connsiteX414" fmla="*/ 299709 w 320163"/>
                  <a:gd name="connsiteY414" fmla="*/ 156824 h 273040"/>
                  <a:gd name="connsiteX415" fmla="*/ 298193 w 320163"/>
                  <a:gd name="connsiteY415" fmla="*/ 155006 h 273040"/>
                  <a:gd name="connsiteX416" fmla="*/ 296678 w 320163"/>
                  <a:gd name="connsiteY416" fmla="*/ 154248 h 273040"/>
                  <a:gd name="connsiteX417" fmla="*/ 295466 w 320163"/>
                  <a:gd name="connsiteY417" fmla="*/ 153339 h 273040"/>
                  <a:gd name="connsiteX418" fmla="*/ 296072 w 320163"/>
                  <a:gd name="connsiteY418" fmla="*/ 152581 h 273040"/>
                  <a:gd name="connsiteX419" fmla="*/ 296678 w 320163"/>
                  <a:gd name="connsiteY419" fmla="*/ 151975 h 273040"/>
                  <a:gd name="connsiteX420" fmla="*/ 296375 w 320163"/>
                  <a:gd name="connsiteY420" fmla="*/ 151369 h 273040"/>
                  <a:gd name="connsiteX421" fmla="*/ 295617 w 320163"/>
                  <a:gd name="connsiteY421" fmla="*/ 150460 h 273040"/>
                  <a:gd name="connsiteX422" fmla="*/ 292890 w 320163"/>
                  <a:gd name="connsiteY422" fmla="*/ 149248 h 273040"/>
                  <a:gd name="connsiteX423" fmla="*/ 292890 w 320163"/>
                  <a:gd name="connsiteY423" fmla="*/ 148642 h 273040"/>
                  <a:gd name="connsiteX424" fmla="*/ 295314 w 320163"/>
                  <a:gd name="connsiteY424" fmla="*/ 147581 h 273040"/>
                  <a:gd name="connsiteX425" fmla="*/ 296830 w 320163"/>
                  <a:gd name="connsiteY425" fmla="*/ 146218 h 273040"/>
                  <a:gd name="connsiteX426" fmla="*/ 297890 w 320163"/>
                  <a:gd name="connsiteY426" fmla="*/ 145005 h 273040"/>
                  <a:gd name="connsiteX427" fmla="*/ 299254 w 320163"/>
                  <a:gd name="connsiteY427" fmla="*/ 142278 h 273040"/>
                  <a:gd name="connsiteX428" fmla="*/ 300314 w 320163"/>
                  <a:gd name="connsiteY428" fmla="*/ 139551 h 273040"/>
                  <a:gd name="connsiteX429" fmla="*/ 301072 w 320163"/>
                  <a:gd name="connsiteY429" fmla="*/ 138642 h 273040"/>
                  <a:gd name="connsiteX430" fmla="*/ 301375 w 320163"/>
                  <a:gd name="connsiteY430" fmla="*/ 136823 h 273040"/>
                  <a:gd name="connsiteX431" fmla="*/ 301223 w 320163"/>
                  <a:gd name="connsiteY431" fmla="*/ 134702 h 273040"/>
                  <a:gd name="connsiteX432" fmla="*/ 301678 w 320163"/>
                  <a:gd name="connsiteY432" fmla="*/ 132126 h 273040"/>
                  <a:gd name="connsiteX433" fmla="*/ 301981 w 320163"/>
                  <a:gd name="connsiteY433" fmla="*/ 129702 h 273040"/>
                  <a:gd name="connsiteX434" fmla="*/ 301223 w 320163"/>
                  <a:gd name="connsiteY434" fmla="*/ 128793 h 273040"/>
                  <a:gd name="connsiteX435" fmla="*/ 300618 w 320163"/>
                  <a:gd name="connsiteY435" fmla="*/ 127126 h 273040"/>
                  <a:gd name="connsiteX436" fmla="*/ 301375 w 320163"/>
                  <a:gd name="connsiteY436" fmla="*/ 124247 h 273040"/>
                  <a:gd name="connsiteX437" fmla="*/ 302587 w 320163"/>
                  <a:gd name="connsiteY437" fmla="*/ 122277 h 273040"/>
                  <a:gd name="connsiteX438" fmla="*/ 308648 w 320163"/>
                  <a:gd name="connsiteY438" fmla="*/ 120307 h 273040"/>
                  <a:gd name="connsiteX439" fmla="*/ 312891 w 320163"/>
                  <a:gd name="connsiteY439" fmla="*/ 118489 h 273040"/>
                  <a:gd name="connsiteX440" fmla="*/ 313800 w 320163"/>
                  <a:gd name="connsiteY440" fmla="*/ 117732 h 273040"/>
                  <a:gd name="connsiteX441" fmla="*/ 315163 w 320163"/>
                  <a:gd name="connsiteY441" fmla="*/ 116217 h 273040"/>
                  <a:gd name="connsiteX442" fmla="*/ 315921 w 320163"/>
                  <a:gd name="connsiteY442" fmla="*/ 114701 h 273040"/>
                  <a:gd name="connsiteX443" fmla="*/ 315315 w 320163"/>
                  <a:gd name="connsiteY443" fmla="*/ 114247 h 273040"/>
                  <a:gd name="connsiteX444" fmla="*/ 311982 w 320163"/>
                  <a:gd name="connsiteY444" fmla="*/ 114247 h 273040"/>
                  <a:gd name="connsiteX445" fmla="*/ 311224 w 320163"/>
                  <a:gd name="connsiteY445" fmla="*/ 113641 h 273040"/>
                  <a:gd name="connsiteX446" fmla="*/ 308799 w 320163"/>
                  <a:gd name="connsiteY446" fmla="*/ 108186 h 273040"/>
                  <a:gd name="connsiteX447" fmla="*/ 310163 w 320163"/>
                  <a:gd name="connsiteY447" fmla="*/ 101974 h 273040"/>
                  <a:gd name="connsiteX448" fmla="*/ 310315 w 320163"/>
                  <a:gd name="connsiteY448" fmla="*/ 99549 h 273040"/>
                  <a:gd name="connsiteX449" fmla="*/ 310315 w 320163"/>
                  <a:gd name="connsiteY449" fmla="*/ 96519 h 273040"/>
                  <a:gd name="connsiteX450" fmla="*/ 309860 w 320163"/>
                  <a:gd name="connsiteY450" fmla="*/ 94398 h 273040"/>
                  <a:gd name="connsiteX451" fmla="*/ 308799 w 320163"/>
                  <a:gd name="connsiteY451" fmla="*/ 93488 h 273040"/>
                  <a:gd name="connsiteX452" fmla="*/ 308194 w 320163"/>
                  <a:gd name="connsiteY452" fmla="*/ 92276 h 273040"/>
                  <a:gd name="connsiteX453" fmla="*/ 308345 w 320163"/>
                  <a:gd name="connsiteY453" fmla="*/ 89094 h 273040"/>
                  <a:gd name="connsiteX454" fmla="*/ 309254 w 320163"/>
                  <a:gd name="connsiteY454" fmla="*/ 88640 h 273040"/>
                  <a:gd name="connsiteX455" fmla="*/ 311375 w 320163"/>
                  <a:gd name="connsiteY455" fmla="*/ 84397 h 273040"/>
                  <a:gd name="connsiteX456" fmla="*/ 312285 w 320163"/>
                  <a:gd name="connsiteY456" fmla="*/ 81821 h 273040"/>
                  <a:gd name="connsiteX457" fmla="*/ 311224 w 320163"/>
                  <a:gd name="connsiteY457" fmla="*/ 79851 h 273040"/>
                  <a:gd name="connsiteX458" fmla="*/ 310012 w 320163"/>
                  <a:gd name="connsiteY458" fmla="*/ 76973 h 273040"/>
                  <a:gd name="connsiteX459" fmla="*/ 309406 w 320163"/>
                  <a:gd name="connsiteY459" fmla="*/ 75154 h 273040"/>
                  <a:gd name="connsiteX460" fmla="*/ 309103 w 320163"/>
                  <a:gd name="connsiteY460" fmla="*/ 74548 h 273040"/>
                  <a:gd name="connsiteX461" fmla="*/ 310012 w 320163"/>
                  <a:gd name="connsiteY461" fmla="*/ 73488 h 273040"/>
                  <a:gd name="connsiteX462" fmla="*/ 311527 w 320163"/>
                  <a:gd name="connsiteY462" fmla="*/ 70609 h 273040"/>
                  <a:gd name="connsiteX463" fmla="*/ 147127 w 320163"/>
                  <a:gd name="connsiteY463" fmla="*/ 259404 h 273040"/>
                  <a:gd name="connsiteX464" fmla="*/ 145763 w 320163"/>
                  <a:gd name="connsiteY464" fmla="*/ 260919 h 273040"/>
                  <a:gd name="connsiteX465" fmla="*/ 145612 w 320163"/>
                  <a:gd name="connsiteY465" fmla="*/ 261070 h 273040"/>
                  <a:gd name="connsiteX466" fmla="*/ 147582 w 320163"/>
                  <a:gd name="connsiteY466" fmla="*/ 258949 h 273040"/>
                  <a:gd name="connsiteX467" fmla="*/ 147582 w 320163"/>
                  <a:gd name="connsiteY467" fmla="*/ 258949 h 273040"/>
                  <a:gd name="connsiteX468" fmla="*/ 147127 w 320163"/>
                  <a:gd name="connsiteY468" fmla="*/ 259404 h 27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Lst>
                <a:rect l="l" t="t" r="r" b="b"/>
                <a:pathLst>
                  <a:path w="320163" h="273040">
                    <a:moveTo>
                      <a:pt x="311527" y="70609"/>
                    </a:moveTo>
                    <a:lnTo>
                      <a:pt x="313194" y="70306"/>
                    </a:lnTo>
                    <a:lnTo>
                      <a:pt x="314861" y="69851"/>
                    </a:lnTo>
                    <a:lnTo>
                      <a:pt x="320163" y="64548"/>
                    </a:lnTo>
                    <a:lnTo>
                      <a:pt x="320163" y="63487"/>
                    </a:lnTo>
                    <a:lnTo>
                      <a:pt x="319254" y="61669"/>
                    </a:lnTo>
                    <a:lnTo>
                      <a:pt x="317285" y="58942"/>
                    </a:lnTo>
                    <a:lnTo>
                      <a:pt x="316830" y="57881"/>
                    </a:lnTo>
                    <a:lnTo>
                      <a:pt x="316527" y="54699"/>
                    </a:lnTo>
                    <a:lnTo>
                      <a:pt x="315770" y="53790"/>
                    </a:lnTo>
                    <a:lnTo>
                      <a:pt x="312891" y="51669"/>
                    </a:lnTo>
                    <a:lnTo>
                      <a:pt x="310618" y="49396"/>
                    </a:lnTo>
                    <a:lnTo>
                      <a:pt x="311375" y="47123"/>
                    </a:lnTo>
                    <a:lnTo>
                      <a:pt x="311830" y="44547"/>
                    </a:lnTo>
                    <a:lnTo>
                      <a:pt x="310769" y="43183"/>
                    </a:lnTo>
                    <a:lnTo>
                      <a:pt x="309103" y="41820"/>
                    </a:lnTo>
                    <a:lnTo>
                      <a:pt x="308042" y="39699"/>
                    </a:lnTo>
                    <a:lnTo>
                      <a:pt x="307587" y="38183"/>
                    </a:lnTo>
                    <a:lnTo>
                      <a:pt x="306224" y="37577"/>
                    </a:lnTo>
                    <a:lnTo>
                      <a:pt x="305011" y="37577"/>
                    </a:lnTo>
                    <a:lnTo>
                      <a:pt x="304102" y="38486"/>
                    </a:lnTo>
                    <a:lnTo>
                      <a:pt x="303193" y="38335"/>
                    </a:lnTo>
                    <a:lnTo>
                      <a:pt x="301981" y="38032"/>
                    </a:lnTo>
                    <a:lnTo>
                      <a:pt x="301678" y="36668"/>
                    </a:lnTo>
                    <a:lnTo>
                      <a:pt x="301678" y="35153"/>
                    </a:lnTo>
                    <a:lnTo>
                      <a:pt x="300921" y="34092"/>
                    </a:lnTo>
                    <a:lnTo>
                      <a:pt x="300163" y="32729"/>
                    </a:lnTo>
                    <a:lnTo>
                      <a:pt x="300011" y="31971"/>
                    </a:lnTo>
                    <a:lnTo>
                      <a:pt x="298496" y="31213"/>
                    </a:lnTo>
                    <a:lnTo>
                      <a:pt x="295617" y="29547"/>
                    </a:lnTo>
                    <a:lnTo>
                      <a:pt x="291526" y="28183"/>
                    </a:lnTo>
                    <a:lnTo>
                      <a:pt x="288193" y="26668"/>
                    </a:lnTo>
                    <a:lnTo>
                      <a:pt x="286678" y="25152"/>
                    </a:lnTo>
                    <a:lnTo>
                      <a:pt x="283496" y="24547"/>
                    </a:lnTo>
                    <a:lnTo>
                      <a:pt x="280768" y="24243"/>
                    </a:lnTo>
                    <a:lnTo>
                      <a:pt x="278344" y="22880"/>
                    </a:lnTo>
                    <a:lnTo>
                      <a:pt x="275768" y="22728"/>
                    </a:lnTo>
                    <a:lnTo>
                      <a:pt x="273192" y="22425"/>
                    </a:lnTo>
                    <a:lnTo>
                      <a:pt x="272586" y="21516"/>
                    </a:lnTo>
                    <a:lnTo>
                      <a:pt x="272435" y="19395"/>
                    </a:lnTo>
                    <a:lnTo>
                      <a:pt x="271525" y="18789"/>
                    </a:lnTo>
                    <a:lnTo>
                      <a:pt x="269707" y="18183"/>
                    </a:lnTo>
                    <a:lnTo>
                      <a:pt x="267737" y="18183"/>
                    </a:lnTo>
                    <a:lnTo>
                      <a:pt x="266525" y="18486"/>
                    </a:lnTo>
                    <a:lnTo>
                      <a:pt x="265768" y="18334"/>
                    </a:lnTo>
                    <a:lnTo>
                      <a:pt x="264101" y="17122"/>
                    </a:lnTo>
                    <a:lnTo>
                      <a:pt x="262586" y="15607"/>
                    </a:lnTo>
                    <a:lnTo>
                      <a:pt x="261980" y="13031"/>
                    </a:lnTo>
                    <a:lnTo>
                      <a:pt x="259707" y="11364"/>
                    </a:lnTo>
                    <a:lnTo>
                      <a:pt x="256980" y="10152"/>
                    </a:lnTo>
                    <a:lnTo>
                      <a:pt x="252434" y="10304"/>
                    </a:lnTo>
                    <a:lnTo>
                      <a:pt x="252737" y="11516"/>
                    </a:lnTo>
                    <a:lnTo>
                      <a:pt x="252434" y="13637"/>
                    </a:lnTo>
                    <a:lnTo>
                      <a:pt x="252131" y="13940"/>
                    </a:lnTo>
                    <a:lnTo>
                      <a:pt x="251828" y="13788"/>
                    </a:lnTo>
                    <a:lnTo>
                      <a:pt x="251373" y="13334"/>
                    </a:lnTo>
                    <a:lnTo>
                      <a:pt x="250919" y="13486"/>
                    </a:lnTo>
                    <a:lnTo>
                      <a:pt x="250313" y="14243"/>
                    </a:lnTo>
                    <a:lnTo>
                      <a:pt x="249555" y="14849"/>
                    </a:lnTo>
                    <a:lnTo>
                      <a:pt x="248494" y="15304"/>
                    </a:lnTo>
                    <a:lnTo>
                      <a:pt x="247888" y="15152"/>
                    </a:lnTo>
                    <a:lnTo>
                      <a:pt x="246525" y="14092"/>
                    </a:lnTo>
                    <a:lnTo>
                      <a:pt x="241979" y="9546"/>
                    </a:lnTo>
                    <a:lnTo>
                      <a:pt x="241827" y="9243"/>
                    </a:lnTo>
                    <a:lnTo>
                      <a:pt x="239403" y="8334"/>
                    </a:lnTo>
                    <a:lnTo>
                      <a:pt x="238645" y="7728"/>
                    </a:lnTo>
                    <a:lnTo>
                      <a:pt x="238342" y="7425"/>
                    </a:lnTo>
                    <a:lnTo>
                      <a:pt x="237888" y="7576"/>
                    </a:lnTo>
                    <a:lnTo>
                      <a:pt x="236979" y="8637"/>
                    </a:lnTo>
                    <a:lnTo>
                      <a:pt x="235161" y="9698"/>
                    </a:lnTo>
                    <a:lnTo>
                      <a:pt x="234554" y="9698"/>
                    </a:lnTo>
                    <a:lnTo>
                      <a:pt x="235312" y="9091"/>
                    </a:lnTo>
                    <a:lnTo>
                      <a:pt x="235615" y="8637"/>
                    </a:lnTo>
                    <a:lnTo>
                      <a:pt x="235615" y="8031"/>
                    </a:lnTo>
                    <a:lnTo>
                      <a:pt x="235009" y="7728"/>
                    </a:lnTo>
                    <a:lnTo>
                      <a:pt x="233645" y="7879"/>
                    </a:lnTo>
                    <a:lnTo>
                      <a:pt x="232888" y="7576"/>
                    </a:lnTo>
                    <a:lnTo>
                      <a:pt x="232433" y="6212"/>
                    </a:lnTo>
                    <a:lnTo>
                      <a:pt x="232736" y="4394"/>
                    </a:lnTo>
                    <a:lnTo>
                      <a:pt x="233191" y="3637"/>
                    </a:lnTo>
                    <a:lnTo>
                      <a:pt x="233948" y="3031"/>
                    </a:lnTo>
                    <a:lnTo>
                      <a:pt x="235009" y="2576"/>
                    </a:lnTo>
                    <a:lnTo>
                      <a:pt x="235615" y="1212"/>
                    </a:lnTo>
                    <a:lnTo>
                      <a:pt x="235767" y="0"/>
                    </a:lnTo>
                    <a:lnTo>
                      <a:pt x="228948" y="1061"/>
                    </a:lnTo>
                    <a:lnTo>
                      <a:pt x="221372" y="2273"/>
                    </a:lnTo>
                    <a:lnTo>
                      <a:pt x="213644" y="3485"/>
                    </a:lnTo>
                    <a:lnTo>
                      <a:pt x="205917" y="4697"/>
                    </a:lnTo>
                    <a:lnTo>
                      <a:pt x="198644" y="5758"/>
                    </a:lnTo>
                    <a:lnTo>
                      <a:pt x="191977" y="6819"/>
                    </a:lnTo>
                    <a:lnTo>
                      <a:pt x="190007" y="7425"/>
                    </a:lnTo>
                    <a:lnTo>
                      <a:pt x="191068" y="10304"/>
                    </a:lnTo>
                    <a:lnTo>
                      <a:pt x="190613" y="13334"/>
                    </a:lnTo>
                    <a:lnTo>
                      <a:pt x="189250" y="15607"/>
                    </a:lnTo>
                    <a:lnTo>
                      <a:pt x="187128" y="18486"/>
                    </a:lnTo>
                    <a:lnTo>
                      <a:pt x="186219" y="19698"/>
                    </a:lnTo>
                    <a:lnTo>
                      <a:pt x="184098" y="21971"/>
                    </a:lnTo>
                    <a:lnTo>
                      <a:pt x="182280" y="23486"/>
                    </a:lnTo>
                    <a:lnTo>
                      <a:pt x="178643" y="26213"/>
                    </a:lnTo>
                    <a:lnTo>
                      <a:pt x="176370" y="27728"/>
                    </a:lnTo>
                    <a:lnTo>
                      <a:pt x="176370" y="29092"/>
                    </a:lnTo>
                    <a:lnTo>
                      <a:pt x="180158" y="35607"/>
                    </a:lnTo>
                    <a:lnTo>
                      <a:pt x="181825" y="40305"/>
                    </a:lnTo>
                    <a:lnTo>
                      <a:pt x="182583" y="44547"/>
                    </a:lnTo>
                    <a:lnTo>
                      <a:pt x="182583" y="46972"/>
                    </a:lnTo>
                    <a:lnTo>
                      <a:pt x="182431" y="51972"/>
                    </a:lnTo>
                    <a:lnTo>
                      <a:pt x="182280" y="57881"/>
                    </a:lnTo>
                    <a:lnTo>
                      <a:pt x="181977" y="60154"/>
                    </a:lnTo>
                    <a:lnTo>
                      <a:pt x="183037" y="64396"/>
                    </a:lnTo>
                    <a:lnTo>
                      <a:pt x="182886" y="67730"/>
                    </a:lnTo>
                    <a:lnTo>
                      <a:pt x="180310" y="71366"/>
                    </a:lnTo>
                    <a:lnTo>
                      <a:pt x="179552" y="75003"/>
                    </a:lnTo>
                    <a:lnTo>
                      <a:pt x="178189" y="79851"/>
                    </a:lnTo>
                    <a:lnTo>
                      <a:pt x="176370" y="86518"/>
                    </a:lnTo>
                    <a:lnTo>
                      <a:pt x="175158" y="90003"/>
                    </a:lnTo>
                    <a:lnTo>
                      <a:pt x="175916" y="92276"/>
                    </a:lnTo>
                    <a:lnTo>
                      <a:pt x="176522" y="93791"/>
                    </a:lnTo>
                    <a:lnTo>
                      <a:pt x="177128" y="95913"/>
                    </a:lnTo>
                    <a:lnTo>
                      <a:pt x="178492" y="99095"/>
                    </a:lnTo>
                    <a:lnTo>
                      <a:pt x="180158" y="100913"/>
                    </a:lnTo>
                    <a:lnTo>
                      <a:pt x="181068" y="101670"/>
                    </a:lnTo>
                    <a:lnTo>
                      <a:pt x="186371" y="105610"/>
                    </a:lnTo>
                    <a:lnTo>
                      <a:pt x="188644" y="107580"/>
                    </a:lnTo>
                    <a:lnTo>
                      <a:pt x="191977" y="111368"/>
                    </a:lnTo>
                    <a:lnTo>
                      <a:pt x="194401" y="113944"/>
                    </a:lnTo>
                    <a:lnTo>
                      <a:pt x="197887" y="114550"/>
                    </a:lnTo>
                    <a:lnTo>
                      <a:pt x="202129" y="115459"/>
                    </a:lnTo>
                    <a:lnTo>
                      <a:pt x="204402" y="116217"/>
                    </a:lnTo>
                    <a:lnTo>
                      <a:pt x="205917" y="115913"/>
                    </a:lnTo>
                    <a:lnTo>
                      <a:pt x="206372" y="115004"/>
                    </a:lnTo>
                    <a:lnTo>
                      <a:pt x="206372" y="113186"/>
                    </a:lnTo>
                    <a:lnTo>
                      <a:pt x="206068" y="111822"/>
                    </a:lnTo>
                    <a:lnTo>
                      <a:pt x="206523" y="110762"/>
                    </a:lnTo>
                    <a:lnTo>
                      <a:pt x="207887" y="110004"/>
                    </a:lnTo>
                    <a:lnTo>
                      <a:pt x="211523" y="109852"/>
                    </a:lnTo>
                    <a:lnTo>
                      <a:pt x="213039" y="108943"/>
                    </a:lnTo>
                    <a:lnTo>
                      <a:pt x="214251" y="108641"/>
                    </a:lnTo>
                    <a:lnTo>
                      <a:pt x="214251" y="112731"/>
                    </a:lnTo>
                    <a:lnTo>
                      <a:pt x="214251" y="116671"/>
                    </a:lnTo>
                    <a:lnTo>
                      <a:pt x="214251" y="121520"/>
                    </a:lnTo>
                    <a:lnTo>
                      <a:pt x="214251" y="127126"/>
                    </a:lnTo>
                    <a:lnTo>
                      <a:pt x="214251" y="131672"/>
                    </a:lnTo>
                    <a:lnTo>
                      <a:pt x="214251" y="136520"/>
                    </a:lnTo>
                    <a:lnTo>
                      <a:pt x="214251" y="142126"/>
                    </a:lnTo>
                    <a:lnTo>
                      <a:pt x="214251" y="142733"/>
                    </a:lnTo>
                    <a:lnTo>
                      <a:pt x="213644" y="143945"/>
                    </a:lnTo>
                    <a:lnTo>
                      <a:pt x="212281" y="144399"/>
                    </a:lnTo>
                    <a:lnTo>
                      <a:pt x="210311" y="143339"/>
                    </a:lnTo>
                    <a:lnTo>
                      <a:pt x="210160" y="142126"/>
                    </a:lnTo>
                    <a:lnTo>
                      <a:pt x="209705" y="140005"/>
                    </a:lnTo>
                    <a:lnTo>
                      <a:pt x="208796" y="138945"/>
                    </a:lnTo>
                    <a:lnTo>
                      <a:pt x="207584" y="138642"/>
                    </a:lnTo>
                    <a:lnTo>
                      <a:pt x="205614" y="139096"/>
                    </a:lnTo>
                    <a:lnTo>
                      <a:pt x="202887" y="140611"/>
                    </a:lnTo>
                    <a:lnTo>
                      <a:pt x="199401" y="141975"/>
                    </a:lnTo>
                    <a:lnTo>
                      <a:pt x="198038" y="142733"/>
                    </a:lnTo>
                    <a:lnTo>
                      <a:pt x="195613" y="142581"/>
                    </a:lnTo>
                    <a:lnTo>
                      <a:pt x="192886" y="141823"/>
                    </a:lnTo>
                    <a:lnTo>
                      <a:pt x="190916" y="140157"/>
                    </a:lnTo>
                    <a:lnTo>
                      <a:pt x="190311" y="137581"/>
                    </a:lnTo>
                    <a:lnTo>
                      <a:pt x="188644" y="135005"/>
                    </a:lnTo>
                    <a:lnTo>
                      <a:pt x="186371" y="131217"/>
                    </a:lnTo>
                    <a:lnTo>
                      <a:pt x="185158" y="129702"/>
                    </a:lnTo>
                    <a:lnTo>
                      <a:pt x="183644" y="127883"/>
                    </a:lnTo>
                    <a:lnTo>
                      <a:pt x="182128" y="127732"/>
                    </a:lnTo>
                    <a:lnTo>
                      <a:pt x="180310" y="127278"/>
                    </a:lnTo>
                    <a:lnTo>
                      <a:pt x="179249" y="124702"/>
                    </a:lnTo>
                    <a:lnTo>
                      <a:pt x="178189" y="121368"/>
                    </a:lnTo>
                    <a:lnTo>
                      <a:pt x="177582" y="120156"/>
                    </a:lnTo>
                    <a:lnTo>
                      <a:pt x="176522" y="118489"/>
                    </a:lnTo>
                    <a:lnTo>
                      <a:pt x="175007" y="117429"/>
                    </a:lnTo>
                    <a:lnTo>
                      <a:pt x="171673" y="116065"/>
                    </a:lnTo>
                    <a:lnTo>
                      <a:pt x="167128" y="114247"/>
                    </a:lnTo>
                    <a:lnTo>
                      <a:pt x="161370" y="111974"/>
                    </a:lnTo>
                    <a:lnTo>
                      <a:pt x="158642" y="111822"/>
                    </a:lnTo>
                    <a:lnTo>
                      <a:pt x="155612" y="111368"/>
                    </a:lnTo>
                    <a:lnTo>
                      <a:pt x="153642" y="110307"/>
                    </a:lnTo>
                    <a:lnTo>
                      <a:pt x="152582" y="109398"/>
                    </a:lnTo>
                    <a:lnTo>
                      <a:pt x="151370" y="106216"/>
                    </a:lnTo>
                    <a:lnTo>
                      <a:pt x="149703" y="102428"/>
                    </a:lnTo>
                    <a:lnTo>
                      <a:pt x="144551" y="98034"/>
                    </a:lnTo>
                    <a:lnTo>
                      <a:pt x="143339" y="93185"/>
                    </a:lnTo>
                    <a:lnTo>
                      <a:pt x="142278" y="92428"/>
                    </a:lnTo>
                    <a:lnTo>
                      <a:pt x="140460" y="92882"/>
                    </a:lnTo>
                    <a:lnTo>
                      <a:pt x="139096" y="93488"/>
                    </a:lnTo>
                    <a:lnTo>
                      <a:pt x="138490" y="94852"/>
                    </a:lnTo>
                    <a:lnTo>
                      <a:pt x="137127" y="99246"/>
                    </a:lnTo>
                    <a:lnTo>
                      <a:pt x="136369" y="101367"/>
                    </a:lnTo>
                    <a:lnTo>
                      <a:pt x="135914" y="101974"/>
                    </a:lnTo>
                    <a:lnTo>
                      <a:pt x="134854" y="102580"/>
                    </a:lnTo>
                    <a:lnTo>
                      <a:pt x="133036" y="103186"/>
                    </a:lnTo>
                    <a:lnTo>
                      <a:pt x="130460" y="103489"/>
                    </a:lnTo>
                    <a:lnTo>
                      <a:pt x="126823" y="103337"/>
                    </a:lnTo>
                    <a:lnTo>
                      <a:pt x="122277" y="102731"/>
                    </a:lnTo>
                    <a:lnTo>
                      <a:pt x="119853" y="102276"/>
                    </a:lnTo>
                    <a:lnTo>
                      <a:pt x="113186" y="101519"/>
                    </a:lnTo>
                    <a:lnTo>
                      <a:pt x="111217" y="101216"/>
                    </a:lnTo>
                    <a:lnTo>
                      <a:pt x="108489" y="100307"/>
                    </a:lnTo>
                    <a:lnTo>
                      <a:pt x="106520" y="99398"/>
                    </a:lnTo>
                    <a:lnTo>
                      <a:pt x="100004" y="97276"/>
                    </a:lnTo>
                    <a:lnTo>
                      <a:pt x="97125" y="97579"/>
                    </a:lnTo>
                    <a:lnTo>
                      <a:pt x="95761" y="96064"/>
                    </a:lnTo>
                    <a:lnTo>
                      <a:pt x="94549" y="95307"/>
                    </a:lnTo>
                    <a:lnTo>
                      <a:pt x="92731" y="93943"/>
                    </a:lnTo>
                    <a:lnTo>
                      <a:pt x="91973" y="91973"/>
                    </a:lnTo>
                    <a:lnTo>
                      <a:pt x="90912" y="87882"/>
                    </a:lnTo>
                    <a:lnTo>
                      <a:pt x="91216" y="85761"/>
                    </a:lnTo>
                    <a:lnTo>
                      <a:pt x="91973" y="83336"/>
                    </a:lnTo>
                    <a:lnTo>
                      <a:pt x="91064" y="82730"/>
                    </a:lnTo>
                    <a:lnTo>
                      <a:pt x="89852" y="82730"/>
                    </a:lnTo>
                    <a:lnTo>
                      <a:pt x="88185" y="83639"/>
                    </a:lnTo>
                    <a:lnTo>
                      <a:pt x="85155" y="84094"/>
                    </a:lnTo>
                    <a:lnTo>
                      <a:pt x="79700" y="85155"/>
                    </a:lnTo>
                    <a:lnTo>
                      <a:pt x="77730" y="85761"/>
                    </a:lnTo>
                    <a:lnTo>
                      <a:pt x="75609" y="86215"/>
                    </a:lnTo>
                    <a:lnTo>
                      <a:pt x="73942" y="86670"/>
                    </a:lnTo>
                    <a:lnTo>
                      <a:pt x="69851" y="89094"/>
                    </a:lnTo>
                    <a:lnTo>
                      <a:pt x="68488" y="89397"/>
                    </a:lnTo>
                    <a:lnTo>
                      <a:pt x="66063" y="88488"/>
                    </a:lnTo>
                    <a:lnTo>
                      <a:pt x="64851" y="87276"/>
                    </a:lnTo>
                    <a:lnTo>
                      <a:pt x="66063" y="85912"/>
                    </a:lnTo>
                    <a:lnTo>
                      <a:pt x="66518" y="84094"/>
                    </a:lnTo>
                    <a:lnTo>
                      <a:pt x="65609" y="80609"/>
                    </a:lnTo>
                    <a:lnTo>
                      <a:pt x="64396" y="78942"/>
                    </a:lnTo>
                    <a:lnTo>
                      <a:pt x="60760" y="77730"/>
                    </a:lnTo>
                    <a:lnTo>
                      <a:pt x="59396" y="77579"/>
                    </a:lnTo>
                    <a:lnTo>
                      <a:pt x="58790" y="75609"/>
                    </a:lnTo>
                    <a:lnTo>
                      <a:pt x="57730" y="73791"/>
                    </a:lnTo>
                    <a:lnTo>
                      <a:pt x="55608" y="73488"/>
                    </a:lnTo>
                    <a:lnTo>
                      <a:pt x="54548" y="73336"/>
                    </a:lnTo>
                    <a:lnTo>
                      <a:pt x="55154" y="76973"/>
                    </a:lnTo>
                    <a:lnTo>
                      <a:pt x="55760" y="81973"/>
                    </a:lnTo>
                    <a:lnTo>
                      <a:pt x="56215" y="85609"/>
                    </a:lnTo>
                    <a:lnTo>
                      <a:pt x="56669" y="87276"/>
                    </a:lnTo>
                    <a:lnTo>
                      <a:pt x="56820" y="88185"/>
                    </a:lnTo>
                    <a:lnTo>
                      <a:pt x="56366" y="89094"/>
                    </a:lnTo>
                    <a:lnTo>
                      <a:pt x="55911" y="91216"/>
                    </a:lnTo>
                    <a:lnTo>
                      <a:pt x="55154" y="93185"/>
                    </a:lnTo>
                    <a:lnTo>
                      <a:pt x="54699" y="94549"/>
                    </a:lnTo>
                    <a:lnTo>
                      <a:pt x="55002" y="96973"/>
                    </a:lnTo>
                    <a:lnTo>
                      <a:pt x="54699" y="100458"/>
                    </a:lnTo>
                    <a:lnTo>
                      <a:pt x="54396" y="104246"/>
                    </a:lnTo>
                    <a:lnTo>
                      <a:pt x="54245" y="107883"/>
                    </a:lnTo>
                    <a:lnTo>
                      <a:pt x="55305" y="114247"/>
                    </a:lnTo>
                    <a:lnTo>
                      <a:pt x="55154" y="116217"/>
                    </a:lnTo>
                    <a:lnTo>
                      <a:pt x="53942" y="119550"/>
                    </a:lnTo>
                    <a:lnTo>
                      <a:pt x="53032" y="122126"/>
                    </a:lnTo>
                    <a:lnTo>
                      <a:pt x="52427" y="125156"/>
                    </a:lnTo>
                    <a:lnTo>
                      <a:pt x="52275" y="126671"/>
                    </a:lnTo>
                    <a:lnTo>
                      <a:pt x="54548" y="131066"/>
                    </a:lnTo>
                    <a:lnTo>
                      <a:pt x="54396" y="131975"/>
                    </a:lnTo>
                    <a:lnTo>
                      <a:pt x="52578" y="132278"/>
                    </a:lnTo>
                    <a:lnTo>
                      <a:pt x="51063" y="132429"/>
                    </a:lnTo>
                    <a:lnTo>
                      <a:pt x="45456" y="132429"/>
                    </a:lnTo>
                    <a:lnTo>
                      <a:pt x="37274" y="132429"/>
                    </a:lnTo>
                    <a:lnTo>
                      <a:pt x="29092" y="132429"/>
                    </a:lnTo>
                    <a:lnTo>
                      <a:pt x="20910" y="132429"/>
                    </a:lnTo>
                    <a:lnTo>
                      <a:pt x="13486" y="132429"/>
                    </a:lnTo>
                    <a:lnTo>
                      <a:pt x="6364" y="132429"/>
                    </a:lnTo>
                    <a:lnTo>
                      <a:pt x="0" y="132429"/>
                    </a:lnTo>
                    <a:lnTo>
                      <a:pt x="0" y="136672"/>
                    </a:lnTo>
                    <a:lnTo>
                      <a:pt x="0" y="145611"/>
                    </a:lnTo>
                    <a:lnTo>
                      <a:pt x="0" y="154551"/>
                    </a:lnTo>
                    <a:lnTo>
                      <a:pt x="0" y="163491"/>
                    </a:lnTo>
                    <a:lnTo>
                      <a:pt x="0" y="172431"/>
                    </a:lnTo>
                    <a:lnTo>
                      <a:pt x="0" y="181370"/>
                    </a:lnTo>
                    <a:lnTo>
                      <a:pt x="0" y="190310"/>
                    </a:lnTo>
                    <a:lnTo>
                      <a:pt x="0" y="199250"/>
                    </a:lnTo>
                    <a:lnTo>
                      <a:pt x="0" y="208190"/>
                    </a:lnTo>
                    <a:lnTo>
                      <a:pt x="0" y="214705"/>
                    </a:lnTo>
                    <a:lnTo>
                      <a:pt x="1667" y="223342"/>
                    </a:lnTo>
                    <a:lnTo>
                      <a:pt x="4698" y="232736"/>
                    </a:lnTo>
                    <a:lnTo>
                      <a:pt x="5910" y="233645"/>
                    </a:lnTo>
                    <a:lnTo>
                      <a:pt x="8940" y="235312"/>
                    </a:lnTo>
                    <a:lnTo>
                      <a:pt x="13183" y="238797"/>
                    </a:lnTo>
                    <a:lnTo>
                      <a:pt x="15607" y="241524"/>
                    </a:lnTo>
                    <a:lnTo>
                      <a:pt x="20455" y="246070"/>
                    </a:lnTo>
                    <a:lnTo>
                      <a:pt x="26819" y="251979"/>
                    </a:lnTo>
                    <a:lnTo>
                      <a:pt x="33032" y="257282"/>
                    </a:lnTo>
                    <a:lnTo>
                      <a:pt x="38486" y="261979"/>
                    </a:lnTo>
                    <a:lnTo>
                      <a:pt x="44396" y="260767"/>
                    </a:lnTo>
                    <a:lnTo>
                      <a:pt x="50002" y="259707"/>
                    </a:lnTo>
                    <a:lnTo>
                      <a:pt x="56517" y="258646"/>
                    </a:lnTo>
                    <a:lnTo>
                      <a:pt x="61669" y="257737"/>
                    </a:lnTo>
                    <a:lnTo>
                      <a:pt x="63033" y="257434"/>
                    </a:lnTo>
                    <a:lnTo>
                      <a:pt x="75609" y="258494"/>
                    </a:lnTo>
                    <a:lnTo>
                      <a:pt x="81064" y="259252"/>
                    </a:lnTo>
                    <a:lnTo>
                      <a:pt x="83034" y="260010"/>
                    </a:lnTo>
                    <a:lnTo>
                      <a:pt x="85458" y="261828"/>
                    </a:lnTo>
                    <a:lnTo>
                      <a:pt x="90003" y="266222"/>
                    </a:lnTo>
                    <a:lnTo>
                      <a:pt x="95307" y="267737"/>
                    </a:lnTo>
                    <a:lnTo>
                      <a:pt x="98186" y="267889"/>
                    </a:lnTo>
                    <a:lnTo>
                      <a:pt x="100458" y="267131"/>
                    </a:lnTo>
                    <a:lnTo>
                      <a:pt x="103186" y="268040"/>
                    </a:lnTo>
                    <a:lnTo>
                      <a:pt x="106520" y="270616"/>
                    </a:lnTo>
                    <a:lnTo>
                      <a:pt x="110156" y="271071"/>
                    </a:lnTo>
                    <a:lnTo>
                      <a:pt x="114096" y="269404"/>
                    </a:lnTo>
                    <a:lnTo>
                      <a:pt x="119398" y="269859"/>
                    </a:lnTo>
                    <a:lnTo>
                      <a:pt x="126065" y="272434"/>
                    </a:lnTo>
                    <a:lnTo>
                      <a:pt x="131672" y="273040"/>
                    </a:lnTo>
                    <a:lnTo>
                      <a:pt x="138187" y="270768"/>
                    </a:lnTo>
                    <a:lnTo>
                      <a:pt x="138187" y="269859"/>
                    </a:lnTo>
                    <a:lnTo>
                      <a:pt x="138793" y="269252"/>
                    </a:lnTo>
                    <a:lnTo>
                      <a:pt x="139399" y="268343"/>
                    </a:lnTo>
                    <a:lnTo>
                      <a:pt x="140157" y="267586"/>
                    </a:lnTo>
                    <a:lnTo>
                      <a:pt x="140157" y="266525"/>
                    </a:lnTo>
                    <a:lnTo>
                      <a:pt x="140460" y="265464"/>
                    </a:lnTo>
                    <a:lnTo>
                      <a:pt x="142278" y="263192"/>
                    </a:lnTo>
                    <a:lnTo>
                      <a:pt x="144551" y="260919"/>
                    </a:lnTo>
                    <a:lnTo>
                      <a:pt x="145612" y="260161"/>
                    </a:lnTo>
                    <a:lnTo>
                      <a:pt x="146369" y="259707"/>
                    </a:lnTo>
                    <a:lnTo>
                      <a:pt x="146975" y="259404"/>
                    </a:lnTo>
                    <a:lnTo>
                      <a:pt x="147430" y="258797"/>
                    </a:lnTo>
                    <a:lnTo>
                      <a:pt x="147884" y="258040"/>
                    </a:lnTo>
                    <a:lnTo>
                      <a:pt x="147884" y="257282"/>
                    </a:lnTo>
                    <a:lnTo>
                      <a:pt x="147127" y="256676"/>
                    </a:lnTo>
                    <a:lnTo>
                      <a:pt x="147884" y="254706"/>
                    </a:lnTo>
                    <a:lnTo>
                      <a:pt x="149551" y="252282"/>
                    </a:lnTo>
                    <a:lnTo>
                      <a:pt x="150612" y="250767"/>
                    </a:lnTo>
                    <a:lnTo>
                      <a:pt x="152733" y="248191"/>
                    </a:lnTo>
                    <a:lnTo>
                      <a:pt x="154400" y="245918"/>
                    </a:lnTo>
                    <a:lnTo>
                      <a:pt x="155309" y="245767"/>
                    </a:lnTo>
                    <a:lnTo>
                      <a:pt x="156067" y="245918"/>
                    </a:lnTo>
                    <a:lnTo>
                      <a:pt x="156521" y="245615"/>
                    </a:lnTo>
                    <a:lnTo>
                      <a:pt x="156521" y="244857"/>
                    </a:lnTo>
                    <a:lnTo>
                      <a:pt x="156976" y="243645"/>
                    </a:lnTo>
                    <a:lnTo>
                      <a:pt x="157279" y="242585"/>
                    </a:lnTo>
                    <a:lnTo>
                      <a:pt x="156976" y="241979"/>
                    </a:lnTo>
                    <a:lnTo>
                      <a:pt x="157279" y="241676"/>
                    </a:lnTo>
                    <a:lnTo>
                      <a:pt x="158188" y="241524"/>
                    </a:lnTo>
                    <a:lnTo>
                      <a:pt x="159400" y="241373"/>
                    </a:lnTo>
                    <a:lnTo>
                      <a:pt x="160309" y="240918"/>
                    </a:lnTo>
                    <a:lnTo>
                      <a:pt x="160006" y="240009"/>
                    </a:lnTo>
                    <a:lnTo>
                      <a:pt x="159248" y="239100"/>
                    </a:lnTo>
                    <a:lnTo>
                      <a:pt x="159400" y="238645"/>
                    </a:lnTo>
                    <a:lnTo>
                      <a:pt x="160309" y="238342"/>
                    </a:lnTo>
                    <a:lnTo>
                      <a:pt x="161218" y="237888"/>
                    </a:lnTo>
                    <a:lnTo>
                      <a:pt x="161673" y="237281"/>
                    </a:lnTo>
                    <a:lnTo>
                      <a:pt x="162279" y="237130"/>
                    </a:lnTo>
                    <a:lnTo>
                      <a:pt x="162734" y="237433"/>
                    </a:lnTo>
                    <a:lnTo>
                      <a:pt x="163340" y="237888"/>
                    </a:lnTo>
                    <a:lnTo>
                      <a:pt x="164249" y="238494"/>
                    </a:lnTo>
                    <a:lnTo>
                      <a:pt x="165158" y="238645"/>
                    </a:lnTo>
                    <a:lnTo>
                      <a:pt x="166067" y="238494"/>
                    </a:lnTo>
                    <a:lnTo>
                      <a:pt x="166976" y="237736"/>
                    </a:lnTo>
                    <a:lnTo>
                      <a:pt x="167885" y="236827"/>
                    </a:lnTo>
                    <a:lnTo>
                      <a:pt x="168643" y="236221"/>
                    </a:lnTo>
                    <a:lnTo>
                      <a:pt x="169552" y="235463"/>
                    </a:lnTo>
                    <a:lnTo>
                      <a:pt x="169855" y="234706"/>
                    </a:lnTo>
                    <a:lnTo>
                      <a:pt x="169703" y="234100"/>
                    </a:lnTo>
                    <a:lnTo>
                      <a:pt x="170613" y="233797"/>
                    </a:lnTo>
                    <a:lnTo>
                      <a:pt x="171673" y="233342"/>
                    </a:lnTo>
                    <a:lnTo>
                      <a:pt x="172734" y="232584"/>
                    </a:lnTo>
                    <a:lnTo>
                      <a:pt x="173189" y="231675"/>
                    </a:lnTo>
                    <a:lnTo>
                      <a:pt x="173037" y="230918"/>
                    </a:lnTo>
                    <a:lnTo>
                      <a:pt x="173643" y="231069"/>
                    </a:lnTo>
                    <a:lnTo>
                      <a:pt x="174704" y="231372"/>
                    </a:lnTo>
                    <a:lnTo>
                      <a:pt x="175310" y="231675"/>
                    </a:lnTo>
                    <a:lnTo>
                      <a:pt x="175916" y="231978"/>
                    </a:lnTo>
                    <a:lnTo>
                      <a:pt x="177279" y="231221"/>
                    </a:lnTo>
                    <a:lnTo>
                      <a:pt x="178795" y="230766"/>
                    </a:lnTo>
                    <a:lnTo>
                      <a:pt x="179704" y="230918"/>
                    </a:lnTo>
                    <a:lnTo>
                      <a:pt x="180310" y="230614"/>
                    </a:lnTo>
                    <a:lnTo>
                      <a:pt x="180461" y="230160"/>
                    </a:lnTo>
                    <a:lnTo>
                      <a:pt x="180916" y="229705"/>
                    </a:lnTo>
                    <a:lnTo>
                      <a:pt x="182128" y="229403"/>
                    </a:lnTo>
                    <a:lnTo>
                      <a:pt x="183795" y="229705"/>
                    </a:lnTo>
                    <a:lnTo>
                      <a:pt x="185916" y="230312"/>
                    </a:lnTo>
                    <a:lnTo>
                      <a:pt x="185916" y="230312"/>
                    </a:lnTo>
                    <a:lnTo>
                      <a:pt x="185916" y="230312"/>
                    </a:lnTo>
                    <a:lnTo>
                      <a:pt x="187886" y="227281"/>
                    </a:lnTo>
                    <a:lnTo>
                      <a:pt x="188492" y="223948"/>
                    </a:lnTo>
                    <a:lnTo>
                      <a:pt x="188492" y="219402"/>
                    </a:lnTo>
                    <a:lnTo>
                      <a:pt x="188946" y="216372"/>
                    </a:lnTo>
                    <a:lnTo>
                      <a:pt x="190007" y="215008"/>
                    </a:lnTo>
                    <a:lnTo>
                      <a:pt x="191674" y="213947"/>
                    </a:lnTo>
                    <a:lnTo>
                      <a:pt x="193795" y="212584"/>
                    </a:lnTo>
                    <a:lnTo>
                      <a:pt x="200310" y="209099"/>
                    </a:lnTo>
                    <a:lnTo>
                      <a:pt x="205765" y="206826"/>
                    </a:lnTo>
                    <a:lnTo>
                      <a:pt x="212432" y="205311"/>
                    </a:lnTo>
                    <a:lnTo>
                      <a:pt x="219705" y="205311"/>
                    </a:lnTo>
                    <a:lnTo>
                      <a:pt x="226675" y="205311"/>
                    </a:lnTo>
                    <a:lnTo>
                      <a:pt x="230615" y="205311"/>
                    </a:lnTo>
                    <a:lnTo>
                      <a:pt x="230160" y="201523"/>
                    </a:lnTo>
                    <a:lnTo>
                      <a:pt x="229403" y="197129"/>
                    </a:lnTo>
                    <a:lnTo>
                      <a:pt x="228191" y="195462"/>
                    </a:lnTo>
                    <a:lnTo>
                      <a:pt x="226675" y="192583"/>
                    </a:lnTo>
                    <a:lnTo>
                      <a:pt x="225918" y="189401"/>
                    </a:lnTo>
                    <a:lnTo>
                      <a:pt x="225766" y="187886"/>
                    </a:lnTo>
                    <a:lnTo>
                      <a:pt x="226069" y="187280"/>
                    </a:lnTo>
                    <a:lnTo>
                      <a:pt x="231979" y="185007"/>
                    </a:lnTo>
                    <a:lnTo>
                      <a:pt x="234554" y="183795"/>
                    </a:lnTo>
                    <a:lnTo>
                      <a:pt x="238191" y="182431"/>
                    </a:lnTo>
                    <a:lnTo>
                      <a:pt x="244858" y="180613"/>
                    </a:lnTo>
                    <a:lnTo>
                      <a:pt x="250767" y="178946"/>
                    </a:lnTo>
                    <a:lnTo>
                      <a:pt x="256222" y="177431"/>
                    </a:lnTo>
                    <a:lnTo>
                      <a:pt x="261980" y="175764"/>
                    </a:lnTo>
                    <a:lnTo>
                      <a:pt x="264252" y="174704"/>
                    </a:lnTo>
                    <a:lnTo>
                      <a:pt x="267131" y="173643"/>
                    </a:lnTo>
                    <a:lnTo>
                      <a:pt x="274101" y="171370"/>
                    </a:lnTo>
                    <a:lnTo>
                      <a:pt x="276071" y="170612"/>
                    </a:lnTo>
                    <a:lnTo>
                      <a:pt x="280011" y="169400"/>
                    </a:lnTo>
                    <a:lnTo>
                      <a:pt x="281980" y="168946"/>
                    </a:lnTo>
                    <a:lnTo>
                      <a:pt x="289708" y="166370"/>
                    </a:lnTo>
                    <a:lnTo>
                      <a:pt x="298496" y="163340"/>
                    </a:lnTo>
                    <a:lnTo>
                      <a:pt x="301527" y="162279"/>
                    </a:lnTo>
                    <a:lnTo>
                      <a:pt x="307436" y="160309"/>
                    </a:lnTo>
                    <a:lnTo>
                      <a:pt x="305920" y="158339"/>
                    </a:lnTo>
                    <a:lnTo>
                      <a:pt x="304709" y="158794"/>
                    </a:lnTo>
                    <a:lnTo>
                      <a:pt x="303042" y="160157"/>
                    </a:lnTo>
                    <a:lnTo>
                      <a:pt x="302132" y="160612"/>
                    </a:lnTo>
                    <a:lnTo>
                      <a:pt x="301678" y="160612"/>
                    </a:lnTo>
                    <a:lnTo>
                      <a:pt x="301375" y="160309"/>
                    </a:lnTo>
                    <a:lnTo>
                      <a:pt x="301072" y="159400"/>
                    </a:lnTo>
                    <a:lnTo>
                      <a:pt x="299709" y="156824"/>
                    </a:lnTo>
                    <a:lnTo>
                      <a:pt x="298193" y="155006"/>
                    </a:lnTo>
                    <a:lnTo>
                      <a:pt x="296678" y="154248"/>
                    </a:lnTo>
                    <a:lnTo>
                      <a:pt x="295466" y="153339"/>
                    </a:lnTo>
                    <a:lnTo>
                      <a:pt x="296072" y="152581"/>
                    </a:lnTo>
                    <a:lnTo>
                      <a:pt x="296678" y="151975"/>
                    </a:lnTo>
                    <a:lnTo>
                      <a:pt x="296375" y="151369"/>
                    </a:lnTo>
                    <a:lnTo>
                      <a:pt x="295617" y="150460"/>
                    </a:lnTo>
                    <a:lnTo>
                      <a:pt x="292890" y="149248"/>
                    </a:lnTo>
                    <a:lnTo>
                      <a:pt x="292890" y="148642"/>
                    </a:lnTo>
                    <a:lnTo>
                      <a:pt x="295314" y="147581"/>
                    </a:lnTo>
                    <a:lnTo>
                      <a:pt x="296830" y="146218"/>
                    </a:lnTo>
                    <a:lnTo>
                      <a:pt x="297890" y="145005"/>
                    </a:lnTo>
                    <a:lnTo>
                      <a:pt x="299254" y="142278"/>
                    </a:lnTo>
                    <a:lnTo>
                      <a:pt x="300314" y="139551"/>
                    </a:lnTo>
                    <a:lnTo>
                      <a:pt x="301072" y="138642"/>
                    </a:lnTo>
                    <a:lnTo>
                      <a:pt x="301375" y="136823"/>
                    </a:lnTo>
                    <a:lnTo>
                      <a:pt x="301223" y="134702"/>
                    </a:lnTo>
                    <a:lnTo>
                      <a:pt x="301678" y="132126"/>
                    </a:lnTo>
                    <a:lnTo>
                      <a:pt x="301981" y="129702"/>
                    </a:lnTo>
                    <a:lnTo>
                      <a:pt x="301223" y="128793"/>
                    </a:lnTo>
                    <a:lnTo>
                      <a:pt x="300618" y="127126"/>
                    </a:lnTo>
                    <a:lnTo>
                      <a:pt x="301375" y="124247"/>
                    </a:lnTo>
                    <a:lnTo>
                      <a:pt x="302587" y="122277"/>
                    </a:lnTo>
                    <a:lnTo>
                      <a:pt x="308648" y="120307"/>
                    </a:lnTo>
                    <a:lnTo>
                      <a:pt x="312891" y="118489"/>
                    </a:lnTo>
                    <a:lnTo>
                      <a:pt x="313800" y="117732"/>
                    </a:lnTo>
                    <a:lnTo>
                      <a:pt x="315163" y="116217"/>
                    </a:lnTo>
                    <a:lnTo>
                      <a:pt x="315921" y="114701"/>
                    </a:lnTo>
                    <a:lnTo>
                      <a:pt x="315315" y="114247"/>
                    </a:lnTo>
                    <a:lnTo>
                      <a:pt x="311982" y="114247"/>
                    </a:lnTo>
                    <a:lnTo>
                      <a:pt x="311224" y="113641"/>
                    </a:lnTo>
                    <a:lnTo>
                      <a:pt x="308799" y="108186"/>
                    </a:lnTo>
                    <a:lnTo>
                      <a:pt x="310163" y="101974"/>
                    </a:lnTo>
                    <a:lnTo>
                      <a:pt x="310315" y="99549"/>
                    </a:lnTo>
                    <a:lnTo>
                      <a:pt x="310315" y="96519"/>
                    </a:lnTo>
                    <a:lnTo>
                      <a:pt x="309860" y="94398"/>
                    </a:lnTo>
                    <a:lnTo>
                      <a:pt x="308799" y="93488"/>
                    </a:lnTo>
                    <a:lnTo>
                      <a:pt x="308194" y="92276"/>
                    </a:lnTo>
                    <a:lnTo>
                      <a:pt x="308345" y="89094"/>
                    </a:lnTo>
                    <a:lnTo>
                      <a:pt x="309254" y="88640"/>
                    </a:lnTo>
                    <a:lnTo>
                      <a:pt x="311375" y="84397"/>
                    </a:lnTo>
                    <a:lnTo>
                      <a:pt x="312285" y="81821"/>
                    </a:lnTo>
                    <a:lnTo>
                      <a:pt x="311224" y="79851"/>
                    </a:lnTo>
                    <a:lnTo>
                      <a:pt x="310012" y="76973"/>
                    </a:lnTo>
                    <a:lnTo>
                      <a:pt x="309406" y="75154"/>
                    </a:lnTo>
                    <a:lnTo>
                      <a:pt x="309103" y="74548"/>
                    </a:lnTo>
                    <a:lnTo>
                      <a:pt x="310012" y="73488"/>
                    </a:lnTo>
                    <a:lnTo>
                      <a:pt x="311527" y="70609"/>
                    </a:lnTo>
                    <a:close/>
                    <a:moveTo>
                      <a:pt x="147127" y="259404"/>
                    </a:moveTo>
                    <a:lnTo>
                      <a:pt x="145763" y="260919"/>
                    </a:lnTo>
                    <a:lnTo>
                      <a:pt x="145612" y="261070"/>
                    </a:lnTo>
                    <a:lnTo>
                      <a:pt x="147582" y="258949"/>
                    </a:lnTo>
                    <a:lnTo>
                      <a:pt x="147582" y="258949"/>
                    </a:lnTo>
                    <a:lnTo>
                      <a:pt x="147127" y="2594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560F584B-DDE6-4BB0-BB5E-D9365AB3CB62}"/>
                  </a:ext>
                </a:extLst>
              </p:cNvPr>
              <p:cNvSpPr/>
              <p:nvPr/>
            </p:nvSpPr>
            <p:spPr>
              <a:xfrm>
                <a:off x="6227671" y="5174894"/>
                <a:ext cx="586233" cy="768967"/>
              </a:xfrm>
              <a:custGeom>
                <a:avLst/>
                <a:gdLst>
                  <a:gd name="connsiteX0" fmla="*/ 585779 w 586233"/>
                  <a:gd name="connsiteY0" fmla="*/ 766240 h 768967"/>
                  <a:gd name="connsiteX1" fmla="*/ 583507 w 586233"/>
                  <a:gd name="connsiteY1" fmla="*/ 764573 h 768967"/>
                  <a:gd name="connsiteX2" fmla="*/ 580628 w 586233"/>
                  <a:gd name="connsiteY2" fmla="*/ 764119 h 768967"/>
                  <a:gd name="connsiteX3" fmla="*/ 579719 w 586233"/>
                  <a:gd name="connsiteY3" fmla="*/ 765028 h 768967"/>
                  <a:gd name="connsiteX4" fmla="*/ 578052 w 586233"/>
                  <a:gd name="connsiteY4" fmla="*/ 766998 h 768967"/>
                  <a:gd name="connsiteX5" fmla="*/ 578658 w 586233"/>
                  <a:gd name="connsiteY5" fmla="*/ 768361 h 768967"/>
                  <a:gd name="connsiteX6" fmla="*/ 584112 w 586233"/>
                  <a:gd name="connsiteY6" fmla="*/ 768967 h 768967"/>
                  <a:gd name="connsiteX7" fmla="*/ 585325 w 586233"/>
                  <a:gd name="connsiteY7" fmla="*/ 768361 h 768967"/>
                  <a:gd name="connsiteX8" fmla="*/ 586234 w 586233"/>
                  <a:gd name="connsiteY8" fmla="*/ 766846 h 768967"/>
                  <a:gd name="connsiteX9" fmla="*/ 585779 w 586233"/>
                  <a:gd name="connsiteY9" fmla="*/ 766240 h 768967"/>
                  <a:gd name="connsiteX10" fmla="*/ 441228 w 586233"/>
                  <a:gd name="connsiteY10" fmla="*/ 135308 h 768967"/>
                  <a:gd name="connsiteX11" fmla="*/ 438198 w 586233"/>
                  <a:gd name="connsiteY11" fmla="*/ 135460 h 768967"/>
                  <a:gd name="connsiteX12" fmla="*/ 434865 w 586233"/>
                  <a:gd name="connsiteY12" fmla="*/ 135611 h 768967"/>
                  <a:gd name="connsiteX13" fmla="*/ 430622 w 586233"/>
                  <a:gd name="connsiteY13" fmla="*/ 134854 h 768967"/>
                  <a:gd name="connsiteX14" fmla="*/ 428198 w 586233"/>
                  <a:gd name="connsiteY14" fmla="*/ 135005 h 768967"/>
                  <a:gd name="connsiteX15" fmla="*/ 427289 w 586233"/>
                  <a:gd name="connsiteY15" fmla="*/ 134550 h 768967"/>
                  <a:gd name="connsiteX16" fmla="*/ 425773 w 586233"/>
                  <a:gd name="connsiteY16" fmla="*/ 134096 h 768967"/>
                  <a:gd name="connsiteX17" fmla="*/ 425016 w 586233"/>
                  <a:gd name="connsiteY17" fmla="*/ 134247 h 768967"/>
                  <a:gd name="connsiteX18" fmla="*/ 424258 w 586233"/>
                  <a:gd name="connsiteY18" fmla="*/ 138490 h 768967"/>
                  <a:gd name="connsiteX19" fmla="*/ 423652 w 586233"/>
                  <a:gd name="connsiteY19" fmla="*/ 144702 h 768967"/>
                  <a:gd name="connsiteX20" fmla="*/ 423955 w 586233"/>
                  <a:gd name="connsiteY20" fmla="*/ 148642 h 768967"/>
                  <a:gd name="connsiteX21" fmla="*/ 418046 w 586233"/>
                  <a:gd name="connsiteY21" fmla="*/ 148793 h 768967"/>
                  <a:gd name="connsiteX22" fmla="*/ 410621 w 586233"/>
                  <a:gd name="connsiteY22" fmla="*/ 148339 h 768967"/>
                  <a:gd name="connsiteX23" fmla="*/ 405318 w 586233"/>
                  <a:gd name="connsiteY23" fmla="*/ 146672 h 768967"/>
                  <a:gd name="connsiteX24" fmla="*/ 399560 w 586233"/>
                  <a:gd name="connsiteY24" fmla="*/ 143036 h 768967"/>
                  <a:gd name="connsiteX25" fmla="*/ 396075 w 586233"/>
                  <a:gd name="connsiteY25" fmla="*/ 137278 h 768967"/>
                  <a:gd name="connsiteX26" fmla="*/ 394560 w 586233"/>
                  <a:gd name="connsiteY26" fmla="*/ 133641 h 768967"/>
                  <a:gd name="connsiteX27" fmla="*/ 392439 w 586233"/>
                  <a:gd name="connsiteY27" fmla="*/ 133490 h 768967"/>
                  <a:gd name="connsiteX28" fmla="*/ 392136 w 586233"/>
                  <a:gd name="connsiteY28" fmla="*/ 132884 h 768967"/>
                  <a:gd name="connsiteX29" fmla="*/ 391984 w 586233"/>
                  <a:gd name="connsiteY29" fmla="*/ 128489 h 768967"/>
                  <a:gd name="connsiteX30" fmla="*/ 391984 w 586233"/>
                  <a:gd name="connsiteY30" fmla="*/ 123944 h 768967"/>
                  <a:gd name="connsiteX31" fmla="*/ 392439 w 586233"/>
                  <a:gd name="connsiteY31" fmla="*/ 122732 h 768967"/>
                  <a:gd name="connsiteX32" fmla="*/ 396378 w 586233"/>
                  <a:gd name="connsiteY32" fmla="*/ 117125 h 768967"/>
                  <a:gd name="connsiteX33" fmla="*/ 398803 w 586233"/>
                  <a:gd name="connsiteY33" fmla="*/ 113641 h 768967"/>
                  <a:gd name="connsiteX34" fmla="*/ 400318 w 586233"/>
                  <a:gd name="connsiteY34" fmla="*/ 110156 h 768967"/>
                  <a:gd name="connsiteX35" fmla="*/ 403651 w 586233"/>
                  <a:gd name="connsiteY35" fmla="*/ 106216 h 768967"/>
                  <a:gd name="connsiteX36" fmla="*/ 407136 w 586233"/>
                  <a:gd name="connsiteY36" fmla="*/ 103640 h 768967"/>
                  <a:gd name="connsiteX37" fmla="*/ 408500 w 586233"/>
                  <a:gd name="connsiteY37" fmla="*/ 103337 h 768967"/>
                  <a:gd name="connsiteX38" fmla="*/ 409409 w 586233"/>
                  <a:gd name="connsiteY38" fmla="*/ 103489 h 768967"/>
                  <a:gd name="connsiteX39" fmla="*/ 415621 w 586233"/>
                  <a:gd name="connsiteY39" fmla="*/ 106974 h 768967"/>
                  <a:gd name="connsiteX40" fmla="*/ 421985 w 586233"/>
                  <a:gd name="connsiteY40" fmla="*/ 110307 h 768967"/>
                  <a:gd name="connsiteX41" fmla="*/ 423349 w 586233"/>
                  <a:gd name="connsiteY41" fmla="*/ 110004 h 768967"/>
                  <a:gd name="connsiteX42" fmla="*/ 424107 w 586233"/>
                  <a:gd name="connsiteY42" fmla="*/ 109701 h 768967"/>
                  <a:gd name="connsiteX43" fmla="*/ 423501 w 586233"/>
                  <a:gd name="connsiteY43" fmla="*/ 107580 h 768967"/>
                  <a:gd name="connsiteX44" fmla="*/ 423349 w 586233"/>
                  <a:gd name="connsiteY44" fmla="*/ 104398 h 768967"/>
                  <a:gd name="connsiteX45" fmla="*/ 425167 w 586233"/>
                  <a:gd name="connsiteY45" fmla="*/ 100307 h 768967"/>
                  <a:gd name="connsiteX46" fmla="*/ 425016 w 586233"/>
                  <a:gd name="connsiteY46" fmla="*/ 92428 h 768967"/>
                  <a:gd name="connsiteX47" fmla="*/ 425167 w 586233"/>
                  <a:gd name="connsiteY47" fmla="*/ 89700 h 768967"/>
                  <a:gd name="connsiteX48" fmla="*/ 425167 w 586233"/>
                  <a:gd name="connsiteY48" fmla="*/ 84245 h 768967"/>
                  <a:gd name="connsiteX49" fmla="*/ 425167 w 586233"/>
                  <a:gd name="connsiteY49" fmla="*/ 77579 h 768967"/>
                  <a:gd name="connsiteX50" fmla="*/ 425167 w 586233"/>
                  <a:gd name="connsiteY50" fmla="*/ 71669 h 768967"/>
                  <a:gd name="connsiteX51" fmla="*/ 425167 w 586233"/>
                  <a:gd name="connsiteY51" fmla="*/ 66518 h 768967"/>
                  <a:gd name="connsiteX52" fmla="*/ 424713 w 586233"/>
                  <a:gd name="connsiteY52" fmla="*/ 64093 h 768967"/>
                  <a:gd name="connsiteX53" fmla="*/ 424258 w 586233"/>
                  <a:gd name="connsiteY53" fmla="*/ 62730 h 768967"/>
                  <a:gd name="connsiteX54" fmla="*/ 423046 w 586233"/>
                  <a:gd name="connsiteY54" fmla="*/ 60002 h 768967"/>
                  <a:gd name="connsiteX55" fmla="*/ 421682 w 586233"/>
                  <a:gd name="connsiteY55" fmla="*/ 54396 h 768967"/>
                  <a:gd name="connsiteX56" fmla="*/ 420016 w 586233"/>
                  <a:gd name="connsiteY56" fmla="*/ 50153 h 768967"/>
                  <a:gd name="connsiteX57" fmla="*/ 417894 w 586233"/>
                  <a:gd name="connsiteY57" fmla="*/ 47274 h 768967"/>
                  <a:gd name="connsiteX58" fmla="*/ 417288 w 586233"/>
                  <a:gd name="connsiteY58" fmla="*/ 45759 h 768967"/>
                  <a:gd name="connsiteX59" fmla="*/ 416682 w 586233"/>
                  <a:gd name="connsiteY59" fmla="*/ 43789 h 768967"/>
                  <a:gd name="connsiteX60" fmla="*/ 414712 w 586233"/>
                  <a:gd name="connsiteY60" fmla="*/ 40305 h 768967"/>
                  <a:gd name="connsiteX61" fmla="*/ 413046 w 586233"/>
                  <a:gd name="connsiteY61" fmla="*/ 38335 h 768967"/>
                  <a:gd name="connsiteX62" fmla="*/ 412591 w 586233"/>
                  <a:gd name="connsiteY62" fmla="*/ 36668 h 768967"/>
                  <a:gd name="connsiteX63" fmla="*/ 412591 w 586233"/>
                  <a:gd name="connsiteY63" fmla="*/ 32425 h 768967"/>
                  <a:gd name="connsiteX64" fmla="*/ 410773 w 586233"/>
                  <a:gd name="connsiteY64" fmla="*/ 24849 h 768967"/>
                  <a:gd name="connsiteX65" fmla="*/ 409409 w 586233"/>
                  <a:gd name="connsiteY65" fmla="*/ 19395 h 768967"/>
                  <a:gd name="connsiteX66" fmla="*/ 407439 w 586233"/>
                  <a:gd name="connsiteY66" fmla="*/ 13485 h 768967"/>
                  <a:gd name="connsiteX67" fmla="*/ 406075 w 586233"/>
                  <a:gd name="connsiteY67" fmla="*/ 9546 h 768967"/>
                  <a:gd name="connsiteX68" fmla="*/ 405924 w 586233"/>
                  <a:gd name="connsiteY68" fmla="*/ 8788 h 768967"/>
                  <a:gd name="connsiteX69" fmla="*/ 405773 w 586233"/>
                  <a:gd name="connsiteY69" fmla="*/ 7273 h 768967"/>
                  <a:gd name="connsiteX70" fmla="*/ 403348 w 586233"/>
                  <a:gd name="connsiteY70" fmla="*/ 5606 h 768967"/>
                  <a:gd name="connsiteX71" fmla="*/ 400015 w 586233"/>
                  <a:gd name="connsiteY71" fmla="*/ 4546 h 768967"/>
                  <a:gd name="connsiteX72" fmla="*/ 395772 w 586233"/>
                  <a:gd name="connsiteY72" fmla="*/ 4091 h 768967"/>
                  <a:gd name="connsiteX73" fmla="*/ 390166 w 586233"/>
                  <a:gd name="connsiteY73" fmla="*/ 4243 h 768967"/>
                  <a:gd name="connsiteX74" fmla="*/ 383347 w 586233"/>
                  <a:gd name="connsiteY74" fmla="*/ 5152 h 768967"/>
                  <a:gd name="connsiteX75" fmla="*/ 375923 w 586233"/>
                  <a:gd name="connsiteY75" fmla="*/ 4091 h 768967"/>
                  <a:gd name="connsiteX76" fmla="*/ 368044 w 586233"/>
                  <a:gd name="connsiteY76" fmla="*/ 1061 h 768967"/>
                  <a:gd name="connsiteX77" fmla="*/ 361528 w 586233"/>
                  <a:gd name="connsiteY77" fmla="*/ 0 h 768967"/>
                  <a:gd name="connsiteX78" fmla="*/ 353649 w 586233"/>
                  <a:gd name="connsiteY78" fmla="*/ 1364 h 768967"/>
                  <a:gd name="connsiteX79" fmla="*/ 353347 w 586233"/>
                  <a:gd name="connsiteY79" fmla="*/ 1364 h 768967"/>
                  <a:gd name="connsiteX80" fmla="*/ 346982 w 586233"/>
                  <a:gd name="connsiteY80" fmla="*/ 1970 h 768967"/>
                  <a:gd name="connsiteX81" fmla="*/ 343801 w 586233"/>
                  <a:gd name="connsiteY81" fmla="*/ 3788 h 768967"/>
                  <a:gd name="connsiteX82" fmla="*/ 341983 w 586233"/>
                  <a:gd name="connsiteY82" fmla="*/ 7121 h 768967"/>
                  <a:gd name="connsiteX83" fmla="*/ 339104 w 586233"/>
                  <a:gd name="connsiteY83" fmla="*/ 9546 h 768967"/>
                  <a:gd name="connsiteX84" fmla="*/ 335164 w 586233"/>
                  <a:gd name="connsiteY84" fmla="*/ 11061 h 768967"/>
                  <a:gd name="connsiteX85" fmla="*/ 330921 w 586233"/>
                  <a:gd name="connsiteY85" fmla="*/ 12122 h 768967"/>
                  <a:gd name="connsiteX86" fmla="*/ 326527 w 586233"/>
                  <a:gd name="connsiteY86" fmla="*/ 12728 h 768967"/>
                  <a:gd name="connsiteX87" fmla="*/ 321830 w 586233"/>
                  <a:gd name="connsiteY87" fmla="*/ 15607 h 768967"/>
                  <a:gd name="connsiteX88" fmla="*/ 316830 w 586233"/>
                  <a:gd name="connsiteY88" fmla="*/ 20758 h 768967"/>
                  <a:gd name="connsiteX89" fmla="*/ 314254 w 586233"/>
                  <a:gd name="connsiteY89" fmla="*/ 23940 h 768967"/>
                  <a:gd name="connsiteX90" fmla="*/ 314103 w 586233"/>
                  <a:gd name="connsiteY90" fmla="*/ 25304 h 768967"/>
                  <a:gd name="connsiteX91" fmla="*/ 313042 w 586233"/>
                  <a:gd name="connsiteY91" fmla="*/ 26516 h 768967"/>
                  <a:gd name="connsiteX92" fmla="*/ 310920 w 586233"/>
                  <a:gd name="connsiteY92" fmla="*/ 27425 h 768967"/>
                  <a:gd name="connsiteX93" fmla="*/ 309709 w 586233"/>
                  <a:gd name="connsiteY93" fmla="*/ 28637 h 768967"/>
                  <a:gd name="connsiteX94" fmla="*/ 309405 w 586233"/>
                  <a:gd name="connsiteY94" fmla="*/ 30001 h 768967"/>
                  <a:gd name="connsiteX95" fmla="*/ 308345 w 586233"/>
                  <a:gd name="connsiteY95" fmla="*/ 30607 h 768967"/>
                  <a:gd name="connsiteX96" fmla="*/ 306375 w 586233"/>
                  <a:gd name="connsiteY96" fmla="*/ 30607 h 768967"/>
                  <a:gd name="connsiteX97" fmla="*/ 305011 w 586233"/>
                  <a:gd name="connsiteY97" fmla="*/ 31668 h 768967"/>
                  <a:gd name="connsiteX98" fmla="*/ 304254 w 586233"/>
                  <a:gd name="connsiteY98" fmla="*/ 33789 h 768967"/>
                  <a:gd name="connsiteX99" fmla="*/ 302435 w 586233"/>
                  <a:gd name="connsiteY99" fmla="*/ 35001 h 768967"/>
                  <a:gd name="connsiteX100" fmla="*/ 299708 w 586233"/>
                  <a:gd name="connsiteY100" fmla="*/ 35456 h 768967"/>
                  <a:gd name="connsiteX101" fmla="*/ 297435 w 586233"/>
                  <a:gd name="connsiteY101" fmla="*/ 36668 h 768967"/>
                  <a:gd name="connsiteX102" fmla="*/ 295466 w 586233"/>
                  <a:gd name="connsiteY102" fmla="*/ 38486 h 768967"/>
                  <a:gd name="connsiteX103" fmla="*/ 293950 w 586233"/>
                  <a:gd name="connsiteY103" fmla="*/ 39395 h 768967"/>
                  <a:gd name="connsiteX104" fmla="*/ 292889 w 586233"/>
                  <a:gd name="connsiteY104" fmla="*/ 39395 h 768967"/>
                  <a:gd name="connsiteX105" fmla="*/ 291223 w 586233"/>
                  <a:gd name="connsiteY105" fmla="*/ 40911 h 768967"/>
                  <a:gd name="connsiteX106" fmla="*/ 288496 w 586233"/>
                  <a:gd name="connsiteY106" fmla="*/ 44547 h 768967"/>
                  <a:gd name="connsiteX107" fmla="*/ 288041 w 586233"/>
                  <a:gd name="connsiteY107" fmla="*/ 46214 h 768967"/>
                  <a:gd name="connsiteX108" fmla="*/ 284404 w 586233"/>
                  <a:gd name="connsiteY108" fmla="*/ 60002 h 768967"/>
                  <a:gd name="connsiteX109" fmla="*/ 282434 w 586233"/>
                  <a:gd name="connsiteY109" fmla="*/ 61669 h 768967"/>
                  <a:gd name="connsiteX110" fmla="*/ 278495 w 586233"/>
                  <a:gd name="connsiteY110" fmla="*/ 64548 h 768967"/>
                  <a:gd name="connsiteX111" fmla="*/ 275313 w 586233"/>
                  <a:gd name="connsiteY111" fmla="*/ 67881 h 768967"/>
                  <a:gd name="connsiteX112" fmla="*/ 273949 w 586233"/>
                  <a:gd name="connsiteY112" fmla="*/ 69851 h 768967"/>
                  <a:gd name="connsiteX113" fmla="*/ 272435 w 586233"/>
                  <a:gd name="connsiteY113" fmla="*/ 70760 h 768967"/>
                  <a:gd name="connsiteX114" fmla="*/ 265161 w 586233"/>
                  <a:gd name="connsiteY114" fmla="*/ 72427 h 768967"/>
                  <a:gd name="connsiteX115" fmla="*/ 262434 w 586233"/>
                  <a:gd name="connsiteY115" fmla="*/ 73336 h 768967"/>
                  <a:gd name="connsiteX116" fmla="*/ 259101 w 586233"/>
                  <a:gd name="connsiteY116" fmla="*/ 74700 h 768967"/>
                  <a:gd name="connsiteX117" fmla="*/ 258343 w 586233"/>
                  <a:gd name="connsiteY117" fmla="*/ 75912 h 768967"/>
                  <a:gd name="connsiteX118" fmla="*/ 257585 w 586233"/>
                  <a:gd name="connsiteY118" fmla="*/ 80155 h 768967"/>
                  <a:gd name="connsiteX119" fmla="*/ 255313 w 586233"/>
                  <a:gd name="connsiteY119" fmla="*/ 86215 h 768967"/>
                  <a:gd name="connsiteX120" fmla="*/ 253494 w 586233"/>
                  <a:gd name="connsiteY120" fmla="*/ 90761 h 768967"/>
                  <a:gd name="connsiteX121" fmla="*/ 252282 w 586233"/>
                  <a:gd name="connsiteY121" fmla="*/ 94700 h 768967"/>
                  <a:gd name="connsiteX122" fmla="*/ 250161 w 586233"/>
                  <a:gd name="connsiteY122" fmla="*/ 99549 h 768967"/>
                  <a:gd name="connsiteX123" fmla="*/ 248342 w 586233"/>
                  <a:gd name="connsiteY123" fmla="*/ 101216 h 768967"/>
                  <a:gd name="connsiteX124" fmla="*/ 246373 w 586233"/>
                  <a:gd name="connsiteY124" fmla="*/ 102731 h 768967"/>
                  <a:gd name="connsiteX125" fmla="*/ 243645 w 586233"/>
                  <a:gd name="connsiteY125" fmla="*/ 103489 h 768967"/>
                  <a:gd name="connsiteX126" fmla="*/ 240009 w 586233"/>
                  <a:gd name="connsiteY126" fmla="*/ 103943 h 768967"/>
                  <a:gd name="connsiteX127" fmla="*/ 236675 w 586233"/>
                  <a:gd name="connsiteY127" fmla="*/ 103792 h 768967"/>
                  <a:gd name="connsiteX128" fmla="*/ 234100 w 586233"/>
                  <a:gd name="connsiteY128" fmla="*/ 103792 h 768967"/>
                  <a:gd name="connsiteX129" fmla="*/ 230615 w 586233"/>
                  <a:gd name="connsiteY129" fmla="*/ 105458 h 768967"/>
                  <a:gd name="connsiteX130" fmla="*/ 227281 w 586233"/>
                  <a:gd name="connsiteY130" fmla="*/ 105610 h 768967"/>
                  <a:gd name="connsiteX131" fmla="*/ 221978 w 586233"/>
                  <a:gd name="connsiteY131" fmla="*/ 104549 h 768967"/>
                  <a:gd name="connsiteX132" fmla="*/ 217735 w 586233"/>
                  <a:gd name="connsiteY132" fmla="*/ 103640 h 768967"/>
                  <a:gd name="connsiteX133" fmla="*/ 215765 w 586233"/>
                  <a:gd name="connsiteY133" fmla="*/ 103489 h 768967"/>
                  <a:gd name="connsiteX134" fmla="*/ 211977 w 586233"/>
                  <a:gd name="connsiteY134" fmla="*/ 100307 h 768967"/>
                  <a:gd name="connsiteX135" fmla="*/ 209553 w 586233"/>
                  <a:gd name="connsiteY135" fmla="*/ 100307 h 768967"/>
                  <a:gd name="connsiteX136" fmla="*/ 205917 w 586233"/>
                  <a:gd name="connsiteY136" fmla="*/ 100004 h 768967"/>
                  <a:gd name="connsiteX137" fmla="*/ 203796 w 586233"/>
                  <a:gd name="connsiteY137" fmla="*/ 99246 h 768967"/>
                  <a:gd name="connsiteX138" fmla="*/ 201826 w 586233"/>
                  <a:gd name="connsiteY138" fmla="*/ 97579 h 768967"/>
                  <a:gd name="connsiteX139" fmla="*/ 197583 w 586233"/>
                  <a:gd name="connsiteY139" fmla="*/ 94397 h 768967"/>
                  <a:gd name="connsiteX140" fmla="*/ 193492 w 586233"/>
                  <a:gd name="connsiteY140" fmla="*/ 91821 h 768967"/>
                  <a:gd name="connsiteX141" fmla="*/ 189856 w 586233"/>
                  <a:gd name="connsiteY141" fmla="*/ 90306 h 768967"/>
                  <a:gd name="connsiteX142" fmla="*/ 186522 w 586233"/>
                  <a:gd name="connsiteY142" fmla="*/ 89549 h 768967"/>
                  <a:gd name="connsiteX143" fmla="*/ 183340 w 586233"/>
                  <a:gd name="connsiteY143" fmla="*/ 90155 h 768967"/>
                  <a:gd name="connsiteX144" fmla="*/ 180916 w 586233"/>
                  <a:gd name="connsiteY144" fmla="*/ 90912 h 768967"/>
                  <a:gd name="connsiteX145" fmla="*/ 180007 w 586233"/>
                  <a:gd name="connsiteY145" fmla="*/ 91216 h 768967"/>
                  <a:gd name="connsiteX146" fmla="*/ 178037 w 586233"/>
                  <a:gd name="connsiteY146" fmla="*/ 92579 h 768967"/>
                  <a:gd name="connsiteX147" fmla="*/ 176067 w 586233"/>
                  <a:gd name="connsiteY147" fmla="*/ 95155 h 768967"/>
                  <a:gd name="connsiteX148" fmla="*/ 174401 w 586233"/>
                  <a:gd name="connsiteY148" fmla="*/ 99095 h 768967"/>
                  <a:gd name="connsiteX149" fmla="*/ 173794 w 586233"/>
                  <a:gd name="connsiteY149" fmla="*/ 101519 h 768967"/>
                  <a:gd name="connsiteX150" fmla="*/ 171976 w 586233"/>
                  <a:gd name="connsiteY150" fmla="*/ 106671 h 768967"/>
                  <a:gd name="connsiteX151" fmla="*/ 169552 w 586233"/>
                  <a:gd name="connsiteY151" fmla="*/ 112883 h 768967"/>
                  <a:gd name="connsiteX152" fmla="*/ 168339 w 586233"/>
                  <a:gd name="connsiteY152" fmla="*/ 114701 h 768967"/>
                  <a:gd name="connsiteX153" fmla="*/ 166976 w 586233"/>
                  <a:gd name="connsiteY153" fmla="*/ 116065 h 768967"/>
                  <a:gd name="connsiteX154" fmla="*/ 164855 w 586233"/>
                  <a:gd name="connsiteY154" fmla="*/ 117277 h 768967"/>
                  <a:gd name="connsiteX155" fmla="*/ 157884 w 586233"/>
                  <a:gd name="connsiteY155" fmla="*/ 122277 h 768967"/>
                  <a:gd name="connsiteX156" fmla="*/ 154400 w 586233"/>
                  <a:gd name="connsiteY156" fmla="*/ 127883 h 768967"/>
                  <a:gd name="connsiteX157" fmla="*/ 152278 w 586233"/>
                  <a:gd name="connsiteY157" fmla="*/ 129550 h 768967"/>
                  <a:gd name="connsiteX158" fmla="*/ 149703 w 586233"/>
                  <a:gd name="connsiteY158" fmla="*/ 130308 h 768967"/>
                  <a:gd name="connsiteX159" fmla="*/ 147430 w 586233"/>
                  <a:gd name="connsiteY159" fmla="*/ 130762 h 768967"/>
                  <a:gd name="connsiteX160" fmla="*/ 146217 w 586233"/>
                  <a:gd name="connsiteY160" fmla="*/ 131672 h 768967"/>
                  <a:gd name="connsiteX161" fmla="*/ 144854 w 586233"/>
                  <a:gd name="connsiteY161" fmla="*/ 134550 h 768967"/>
                  <a:gd name="connsiteX162" fmla="*/ 143642 w 586233"/>
                  <a:gd name="connsiteY162" fmla="*/ 135611 h 768967"/>
                  <a:gd name="connsiteX163" fmla="*/ 142278 w 586233"/>
                  <a:gd name="connsiteY163" fmla="*/ 136066 h 768967"/>
                  <a:gd name="connsiteX164" fmla="*/ 138339 w 586233"/>
                  <a:gd name="connsiteY164" fmla="*/ 135763 h 768967"/>
                  <a:gd name="connsiteX165" fmla="*/ 137126 w 586233"/>
                  <a:gd name="connsiteY165" fmla="*/ 135460 h 768967"/>
                  <a:gd name="connsiteX166" fmla="*/ 126671 w 586233"/>
                  <a:gd name="connsiteY166" fmla="*/ 136066 h 768967"/>
                  <a:gd name="connsiteX167" fmla="*/ 123489 w 586233"/>
                  <a:gd name="connsiteY167" fmla="*/ 135156 h 768967"/>
                  <a:gd name="connsiteX168" fmla="*/ 121217 w 586233"/>
                  <a:gd name="connsiteY168" fmla="*/ 134854 h 768967"/>
                  <a:gd name="connsiteX169" fmla="*/ 117580 w 586233"/>
                  <a:gd name="connsiteY169" fmla="*/ 136066 h 768967"/>
                  <a:gd name="connsiteX170" fmla="*/ 116065 w 586233"/>
                  <a:gd name="connsiteY170" fmla="*/ 135308 h 768967"/>
                  <a:gd name="connsiteX171" fmla="*/ 114853 w 586233"/>
                  <a:gd name="connsiteY171" fmla="*/ 133035 h 768967"/>
                  <a:gd name="connsiteX172" fmla="*/ 114247 w 586233"/>
                  <a:gd name="connsiteY172" fmla="*/ 128338 h 768967"/>
                  <a:gd name="connsiteX173" fmla="*/ 114398 w 586233"/>
                  <a:gd name="connsiteY173" fmla="*/ 124399 h 768967"/>
                  <a:gd name="connsiteX174" fmla="*/ 116368 w 586233"/>
                  <a:gd name="connsiteY174" fmla="*/ 121368 h 768967"/>
                  <a:gd name="connsiteX175" fmla="*/ 118035 w 586233"/>
                  <a:gd name="connsiteY175" fmla="*/ 119095 h 768967"/>
                  <a:gd name="connsiteX176" fmla="*/ 119550 w 586233"/>
                  <a:gd name="connsiteY176" fmla="*/ 116216 h 768967"/>
                  <a:gd name="connsiteX177" fmla="*/ 119701 w 586233"/>
                  <a:gd name="connsiteY177" fmla="*/ 114853 h 768967"/>
                  <a:gd name="connsiteX178" fmla="*/ 119398 w 586233"/>
                  <a:gd name="connsiteY178" fmla="*/ 113641 h 768967"/>
                  <a:gd name="connsiteX179" fmla="*/ 119095 w 586233"/>
                  <a:gd name="connsiteY179" fmla="*/ 111216 h 768967"/>
                  <a:gd name="connsiteX180" fmla="*/ 118944 w 586233"/>
                  <a:gd name="connsiteY180" fmla="*/ 108792 h 768967"/>
                  <a:gd name="connsiteX181" fmla="*/ 116671 w 586233"/>
                  <a:gd name="connsiteY181" fmla="*/ 103489 h 768967"/>
                  <a:gd name="connsiteX182" fmla="*/ 113943 w 586233"/>
                  <a:gd name="connsiteY182" fmla="*/ 96519 h 768967"/>
                  <a:gd name="connsiteX183" fmla="*/ 110155 w 586233"/>
                  <a:gd name="connsiteY183" fmla="*/ 88640 h 768967"/>
                  <a:gd name="connsiteX184" fmla="*/ 108943 w 586233"/>
                  <a:gd name="connsiteY184" fmla="*/ 86518 h 768967"/>
                  <a:gd name="connsiteX185" fmla="*/ 106671 w 586233"/>
                  <a:gd name="connsiteY185" fmla="*/ 83185 h 768967"/>
                  <a:gd name="connsiteX186" fmla="*/ 98034 w 586233"/>
                  <a:gd name="connsiteY186" fmla="*/ 76669 h 768967"/>
                  <a:gd name="connsiteX187" fmla="*/ 96670 w 586233"/>
                  <a:gd name="connsiteY187" fmla="*/ 75760 h 768967"/>
                  <a:gd name="connsiteX188" fmla="*/ 96670 w 586233"/>
                  <a:gd name="connsiteY188" fmla="*/ 87882 h 768967"/>
                  <a:gd name="connsiteX189" fmla="*/ 96670 w 586233"/>
                  <a:gd name="connsiteY189" fmla="*/ 100761 h 768967"/>
                  <a:gd name="connsiteX190" fmla="*/ 96670 w 586233"/>
                  <a:gd name="connsiteY190" fmla="*/ 112731 h 768967"/>
                  <a:gd name="connsiteX191" fmla="*/ 96670 w 586233"/>
                  <a:gd name="connsiteY191" fmla="*/ 125762 h 768967"/>
                  <a:gd name="connsiteX192" fmla="*/ 96670 w 586233"/>
                  <a:gd name="connsiteY192" fmla="*/ 138793 h 768967"/>
                  <a:gd name="connsiteX193" fmla="*/ 96670 w 586233"/>
                  <a:gd name="connsiteY193" fmla="*/ 151824 h 768967"/>
                  <a:gd name="connsiteX194" fmla="*/ 96670 w 586233"/>
                  <a:gd name="connsiteY194" fmla="*/ 164855 h 768967"/>
                  <a:gd name="connsiteX195" fmla="*/ 96670 w 586233"/>
                  <a:gd name="connsiteY195" fmla="*/ 178037 h 768967"/>
                  <a:gd name="connsiteX196" fmla="*/ 96670 w 586233"/>
                  <a:gd name="connsiteY196" fmla="*/ 182128 h 768967"/>
                  <a:gd name="connsiteX197" fmla="*/ 93791 w 586233"/>
                  <a:gd name="connsiteY197" fmla="*/ 182128 h 768967"/>
                  <a:gd name="connsiteX198" fmla="*/ 88185 w 586233"/>
                  <a:gd name="connsiteY198" fmla="*/ 183795 h 768967"/>
                  <a:gd name="connsiteX199" fmla="*/ 84548 w 586233"/>
                  <a:gd name="connsiteY199" fmla="*/ 185916 h 768967"/>
                  <a:gd name="connsiteX200" fmla="*/ 83034 w 586233"/>
                  <a:gd name="connsiteY200" fmla="*/ 188492 h 768967"/>
                  <a:gd name="connsiteX201" fmla="*/ 80912 w 586233"/>
                  <a:gd name="connsiteY201" fmla="*/ 190007 h 768967"/>
                  <a:gd name="connsiteX202" fmla="*/ 78336 w 586233"/>
                  <a:gd name="connsiteY202" fmla="*/ 190613 h 768967"/>
                  <a:gd name="connsiteX203" fmla="*/ 77124 w 586233"/>
                  <a:gd name="connsiteY203" fmla="*/ 191977 h 768967"/>
                  <a:gd name="connsiteX204" fmla="*/ 77427 w 586233"/>
                  <a:gd name="connsiteY204" fmla="*/ 194098 h 768967"/>
                  <a:gd name="connsiteX205" fmla="*/ 76367 w 586233"/>
                  <a:gd name="connsiteY205" fmla="*/ 195613 h 768967"/>
                  <a:gd name="connsiteX206" fmla="*/ 74093 w 586233"/>
                  <a:gd name="connsiteY206" fmla="*/ 196674 h 768967"/>
                  <a:gd name="connsiteX207" fmla="*/ 70457 w 586233"/>
                  <a:gd name="connsiteY207" fmla="*/ 196371 h 768967"/>
                  <a:gd name="connsiteX208" fmla="*/ 65305 w 586233"/>
                  <a:gd name="connsiteY208" fmla="*/ 194704 h 768967"/>
                  <a:gd name="connsiteX209" fmla="*/ 58790 w 586233"/>
                  <a:gd name="connsiteY209" fmla="*/ 194250 h 768967"/>
                  <a:gd name="connsiteX210" fmla="*/ 50911 w 586233"/>
                  <a:gd name="connsiteY210" fmla="*/ 195159 h 768967"/>
                  <a:gd name="connsiteX211" fmla="*/ 45153 w 586233"/>
                  <a:gd name="connsiteY211" fmla="*/ 194704 h 768967"/>
                  <a:gd name="connsiteX212" fmla="*/ 41668 w 586233"/>
                  <a:gd name="connsiteY212" fmla="*/ 192886 h 768967"/>
                  <a:gd name="connsiteX213" fmla="*/ 38032 w 586233"/>
                  <a:gd name="connsiteY213" fmla="*/ 191825 h 768967"/>
                  <a:gd name="connsiteX214" fmla="*/ 34092 w 586233"/>
                  <a:gd name="connsiteY214" fmla="*/ 191522 h 768967"/>
                  <a:gd name="connsiteX215" fmla="*/ 31819 w 586233"/>
                  <a:gd name="connsiteY215" fmla="*/ 190764 h 768967"/>
                  <a:gd name="connsiteX216" fmla="*/ 27274 w 586233"/>
                  <a:gd name="connsiteY216" fmla="*/ 189401 h 768967"/>
                  <a:gd name="connsiteX217" fmla="*/ 26364 w 586233"/>
                  <a:gd name="connsiteY217" fmla="*/ 187128 h 768967"/>
                  <a:gd name="connsiteX218" fmla="*/ 25759 w 586233"/>
                  <a:gd name="connsiteY218" fmla="*/ 185461 h 768967"/>
                  <a:gd name="connsiteX219" fmla="*/ 24395 w 586233"/>
                  <a:gd name="connsiteY219" fmla="*/ 183643 h 768967"/>
                  <a:gd name="connsiteX220" fmla="*/ 24243 w 586233"/>
                  <a:gd name="connsiteY220" fmla="*/ 182128 h 768967"/>
                  <a:gd name="connsiteX221" fmla="*/ 25304 w 586233"/>
                  <a:gd name="connsiteY221" fmla="*/ 181067 h 768967"/>
                  <a:gd name="connsiteX222" fmla="*/ 25455 w 586233"/>
                  <a:gd name="connsiteY222" fmla="*/ 179249 h 768967"/>
                  <a:gd name="connsiteX223" fmla="*/ 24698 w 586233"/>
                  <a:gd name="connsiteY223" fmla="*/ 176825 h 768967"/>
                  <a:gd name="connsiteX224" fmla="*/ 23486 w 586233"/>
                  <a:gd name="connsiteY224" fmla="*/ 175612 h 768967"/>
                  <a:gd name="connsiteX225" fmla="*/ 21667 w 586233"/>
                  <a:gd name="connsiteY225" fmla="*/ 175612 h 768967"/>
                  <a:gd name="connsiteX226" fmla="*/ 20607 w 586233"/>
                  <a:gd name="connsiteY226" fmla="*/ 174703 h 768967"/>
                  <a:gd name="connsiteX227" fmla="*/ 20152 w 586233"/>
                  <a:gd name="connsiteY227" fmla="*/ 172733 h 768967"/>
                  <a:gd name="connsiteX228" fmla="*/ 19092 w 586233"/>
                  <a:gd name="connsiteY228" fmla="*/ 171218 h 768967"/>
                  <a:gd name="connsiteX229" fmla="*/ 16516 w 586233"/>
                  <a:gd name="connsiteY229" fmla="*/ 169703 h 768967"/>
                  <a:gd name="connsiteX230" fmla="*/ 13182 w 586233"/>
                  <a:gd name="connsiteY230" fmla="*/ 170915 h 768967"/>
                  <a:gd name="connsiteX231" fmla="*/ 11667 w 586233"/>
                  <a:gd name="connsiteY231" fmla="*/ 172582 h 768967"/>
                  <a:gd name="connsiteX232" fmla="*/ 10758 w 586233"/>
                  <a:gd name="connsiteY232" fmla="*/ 175310 h 768967"/>
                  <a:gd name="connsiteX233" fmla="*/ 9849 w 586233"/>
                  <a:gd name="connsiteY233" fmla="*/ 176673 h 768967"/>
                  <a:gd name="connsiteX234" fmla="*/ 9394 w 586233"/>
                  <a:gd name="connsiteY234" fmla="*/ 178946 h 768967"/>
                  <a:gd name="connsiteX235" fmla="*/ 9243 w 586233"/>
                  <a:gd name="connsiteY235" fmla="*/ 180613 h 768967"/>
                  <a:gd name="connsiteX236" fmla="*/ 8333 w 586233"/>
                  <a:gd name="connsiteY236" fmla="*/ 182279 h 768967"/>
                  <a:gd name="connsiteX237" fmla="*/ 7424 w 586233"/>
                  <a:gd name="connsiteY237" fmla="*/ 183037 h 768967"/>
                  <a:gd name="connsiteX238" fmla="*/ 6515 w 586233"/>
                  <a:gd name="connsiteY238" fmla="*/ 182734 h 768967"/>
                  <a:gd name="connsiteX239" fmla="*/ 4849 w 586233"/>
                  <a:gd name="connsiteY239" fmla="*/ 183340 h 768967"/>
                  <a:gd name="connsiteX240" fmla="*/ 1061 w 586233"/>
                  <a:gd name="connsiteY240" fmla="*/ 185916 h 768967"/>
                  <a:gd name="connsiteX241" fmla="*/ 0 w 586233"/>
                  <a:gd name="connsiteY241" fmla="*/ 187280 h 768967"/>
                  <a:gd name="connsiteX242" fmla="*/ 909 w 586233"/>
                  <a:gd name="connsiteY242" fmla="*/ 188037 h 768967"/>
                  <a:gd name="connsiteX243" fmla="*/ 8031 w 586233"/>
                  <a:gd name="connsiteY243" fmla="*/ 198947 h 768967"/>
                  <a:gd name="connsiteX244" fmla="*/ 13788 w 586233"/>
                  <a:gd name="connsiteY244" fmla="*/ 210614 h 768967"/>
                  <a:gd name="connsiteX245" fmla="*/ 20304 w 586233"/>
                  <a:gd name="connsiteY245" fmla="*/ 231372 h 768967"/>
                  <a:gd name="connsiteX246" fmla="*/ 24698 w 586233"/>
                  <a:gd name="connsiteY246" fmla="*/ 241676 h 768967"/>
                  <a:gd name="connsiteX247" fmla="*/ 33789 w 586233"/>
                  <a:gd name="connsiteY247" fmla="*/ 258949 h 768967"/>
                  <a:gd name="connsiteX248" fmla="*/ 40911 w 586233"/>
                  <a:gd name="connsiteY248" fmla="*/ 269858 h 768967"/>
                  <a:gd name="connsiteX249" fmla="*/ 47123 w 586233"/>
                  <a:gd name="connsiteY249" fmla="*/ 278041 h 768967"/>
                  <a:gd name="connsiteX250" fmla="*/ 48487 w 586233"/>
                  <a:gd name="connsiteY250" fmla="*/ 280616 h 768967"/>
                  <a:gd name="connsiteX251" fmla="*/ 51214 w 586233"/>
                  <a:gd name="connsiteY251" fmla="*/ 292132 h 768967"/>
                  <a:gd name="connsiteX252" fmla="*/ 51669 w 586233"/>
                  <a:gd name="connsiteY252" fmla="*/ 296526 h 768967"/>
                  <a:gd name="connsiteX253" fmla="*/ 51517 w 586233"/>
                  <a:gd name="connsiteY253" fmla="*/ 303648 h 768967"/>
                  <a:gd name="connsiteX254" fmla="*/ 49547 w 586233"/>
                  <a:gd name="connsiteY254" fmla="*/ 308042 h 768967"/>
                  <a:gd name="connsiteX255" fmla="*/ 46062 w 586233"/>
                  <a:gd name="connsiteY255" fmla="*/ 310920 h 768967"/>
                  <a:gd name="connsiteX256" fmla="*/ 43638 w 586233"/>
                  <a:gd name="connsiteY256" fmla="*/ 311678 h 768967"/>
                  <a:gd name="connsiteX257" fmla="*/ 41668 w 586233"/>
                  <a:gd name="connsiteY257" fmla="*/ 309708 h 768967"/>
                  <a:gd name="connsiteX258" fmla="*/ 39698 w 586233"/>
                  <a:gd name="connsiteY258" fmla="*/ 310920 h 768967"/>
                  <a:gd name="connsiteX259" fmla="*/ 38486 w 586233"/>
                  <a:gd name="connsiteY259" fmla="*/ 313193 h 768967"/>
                  <a:gd name="connsiteX260" fmla="*/ 39244 w 586233"/>
                  <a:gd name="connsiteY260" fmla="*/ 317284 h 768967"/>
                  <a:gd name="connsiteX261" fmla="*/ 41365 w 586233"/>
                  <a:gd name="connsiteY261" fmla="*/ 319860 h 768967"/>
                  <a:gd name="connsiteX262" fmla="*/ 42274 w 586233"/>
                  <a:gd name="connsiteY262" fmla="*/ 323042 h 768967"/>
                  <a:gd name="connsiteX263" fmla="*/ 44547 w 586233"/>
                  <a:gd name="connsiteY263" fmla="*/ 324709 h 768967"/>
                  <a:gd name="connsiteX264" fmla="*/ 46820 w 586233"/>
                  <a:gd name="connsiteY264" fmla="*/ 329255 h 768967"/>
                  <a:gd name="connsiteX265" fmla="*/ 49699 w 586233"/>
                  <a:gd name="connsiteY265" fmla="*/ 331224 h 768967"/>
                  <a:gd name="connsiteX266" fmla="*/ 51062 w 586233"/>
                  <a:gd name="connsiteY266" fmla="*/ 334103 h 768967"/>
                  <a:gd name="connsiteX267" fmla="*/ 54396 w 586233"/>
                  <a:gd name="connsiteY267" fmla="*/ 340315 h 768967"/>
                  <a:gd name="connsiteX268" fmla="*/ 55002 w 586233"/>
                  <a:gd name="connsiteY268" fmla="*/ 342740 h 768967"/>
                  <a:gd name="connsiteX269" fmla="*/ 55305 w 586233"/>
                  <a:gd name="connsiteY269" fmla="*/ 345467 h 768967"/>
                  <a:gd name="connsiteX270" fmla="*/ 52275 w 586233"/>
                  <a:gd name="connsiteY270" fmla="*/ 346982 h 768967"/>
                  <a:gd name="connsiteX271" fmla="*/ 51669 w 586233"/>
                  <a:gd name="connsiteY271" fmla="*/ 351074 h 768967"/>
                  <a:gd name="connsiteX272" fmla="*/ 52123 w 586233"/>
                  <a:gd name="connsiteY272" fmla="*/ 354558 h 768967"/>
                  <a:gd name="connsiteX273" fmla="*/ 53790 w 586233"/>
                  <a:gd name="connsiteY273" fmla="*/ 357892 h 768967"/>
                  <a:gd name="connsiteX274" fmla="*/ 55153 w 586233"/>
                  <a:gd name="connsiteY274" fmla="*/ 359407 h 768967"/>
                  <a:gd name="connsiteX275" fmla="*/ 55153 w 586233"/>
                  <a:gd name="connsiteY275" fmla="*/ 353953 h 768967"/>
                  <a:gd name="connsiteX276" fmla="*/ 56214 w 586233"/>
                  <a:gd name="connsiteY276" fmla="*/ 352134 h 768967"/>
                  <a:gd name="connsiteX277" fmla="*/ 57123 w 586233"/>
                  <a:gd name="connsiteY277" fmla="*/ 351377 h 768967"/>
                  <a:gd name="connsiteX278" fmla="*/ 59093 w 586233"/>
                  <a:gd name="connsiteY278" fmla="*/ 351074 h 768967"/>
                  <a:gd name="connsiteX279" fmla="*/ 61972 w 586233"/>
                  <a:gd name="connsiteY279" fmla="*/ 350922 h 768967"/>
                  <a:gd name="connsiteX280" fmla="*/ 63184 w 586233"/>
                  <a:gd name="connsiteY280" fmla="*/ 351225 h 768967"/>
                  <a:gd name="connsiteX281" fmla="*/ 64699 w 586233"/>
                  <a:gd name="connsiteY281" fmla="*/ 351983 h 768967"/>
                  <a:gd name="connsiteX282" fmla="*/ 65154 w 586233"/>
                  <a:gd name="connsiteY282" fmla="*/ 354407 h 768967"/>
                  <a:gd name="connsiteX283" fmla="*/ 65305 w 586233"/>
                  <a:gd name="connsiteY283" fmla="*/ 356376 h 768967"/>
                  <a:gd name="connsiteX284" fmla="*/ 65154 w 586233"/>
                  <a:gd name="connsiteY284" fmla="*/ 357741 h 768967"/>
                  <a:gd name="connsiteX285" fmla="*/ 65305 w 586233"/>
                  <a:gd name="connsiteY285" fmla="*/ 359862 h 768967"/>
                  <a:gd name="connsiteX286" fmla="*/ 67275 w 586233"/>
                  <a:gd name="connsiteY286" fmla="*/ 359710 h 768967"/>
                  <a:gd name="connsiteX287" fmla="*/ 68639 w 586233"/>
                  <a:gd name="connsiteY287" fmla="*/ 359255 h 768967"/>
                  <a:gd name="connsiteX288" fmla="*/ 72579 w 586233"/>
                  <a:gd name="connsiteY288" fmla="*/ 359407 h 768967"/>
                  <a:gd name="connsiteX289" fmla="*/ 73942 w 586233"/>
                  <a:gd name="connsiteY289" fmla="*/ 361529 h 768967"/>
                  <a:gd name="connsiteX290" fmla="*/ 76518 w 586233"/>
                  <a:gd name="connsiteY290" fmla="*/ 361377 h 768967"/>
                  <a:gd name="connsiteX291" fmla="*/ 77427 w 586233"/>
                  <a:gd name="connsiteY291" fmla="*/ 362134 h 768967"/>
                  <a:gd name="connsiteX292" fmla="*/ 78791 w 586233"/>
                  <a:gd name="connsiteY292" fmla="*/ 363801 h 768967"/>
                  <a:gd name="connsiteX293" fmla="*/ 78639 w 586233"/>
                  <a:gd name="connsiteY293" fmla="*/ 366226 h 768967"/>
                  <a:gd name="connsiteX294" fmla="*/ 77881 w 586233"/>
                  <a:gd name="connsiteY294" fmla="*/ 367589 h 768967"/>
                  <a:gd name="connsiteX295" fmla="*/ 80457 w 586233"/>
                  <a:gd name="connsiteY295" fmla="*/ 367286 h 768967"/>
                  <a:gd name="connsiteX296" fmla="*/ 87124 w 586233"/>
                  <a:gd name="connsiteY296" fmla="*/ 371832 h 768967"/>
                  <a:gd name="connsiteX297" fmla="*/ 93034 w 586233"/>
                  <a:gd name="connsiteY297" fmla="*/ 371983 h 768967"/>
                  <a:gd name="connsiteX298" fmla="*/ 95155 w 586233"/>
                  <a:gd name="connsiteY298" fmla="*/ 372589 h 768967"/>
                  <a:gd name="connsiteX299" fmla="*/ 97731 w 586233"/>
                  <a:gd name="connsiteY299" fmla="*/ 372893 h 768967"/>
                  <a:gd name="connsiteX300" fmla="*/ 109095 w 586233"/>
                  <a:gd name="connsiteY300" fmla="*/ 364407 h 768967"/>
                  <a:gd name="connsiteX301" fmla="*/ 111671 w 586233"/>
                  <a:gd name="connsiteY301" fmla="*/ 363043 h 768967"/>
                  <a:gd name="connsiteX302" fmla="*/ 118338 w 586233"/>
                  <a:gd name="connsiteY302" fmla="*/ 362286 h 768967"/>
                  <a:gd name="connsiteX303" fmla="*/ 121217 w 586233"/>
                  <a:gd name="connsiteY303" fmla="*/ 360619 h 768967"/>
                  <a:gd name="connsiteX304" fmla="*/ 124096 w 586233"/>
                  <a:gd name="connsiteY304" fmla="*/ 360013 h 768967"/>
                  <a:gd name="connsiteX305" fmla="*/ 126065 w 586233"/>
                  <a:gd name="connsiteY305" fmla="*/ 359862 h 768967"/>
                  <a:gd name="connsiteX306" fmla="*/ 131217 w 586233"/>
                  <a:gd name="connsiteY306" fmla="*/ 361225 h 768967"/>
                  <a:gd name="connsiteX307" fmla="*/ 133944 w 586233"/>
                  <a:gd name="connsiteY307" fmla="*/ 361225 h 768967"/>
                  <a:gd name="connsiteX308" fmla="*/ 139551 w 586233"/>
                  <a:gd name="connsiteY308" fmla="*/ 360164 h 768967"/>
                  <a:gd name="connsiteX309" fmla="*/ 146066 w 586233"/>
                  <a:gd name="connsiteY309" fmla="*/ 360164 h 768967"/>
                  <a:gd name="connsiteX310" fmla="*/ 158491 w 586233"/>
                  <a:gd name="connsiteY310" fmla="*/ 350922 h 768967"/>
                  <a:gd name="connsiteX311" fmla="*/ 163188 w 586233"/>
                  <a:gd name="connsiteY311" fmla="*/ 350467 h 768967"/>
                  <a:gd name="connsiteX312" fmla="*/ 166976 w 586233"/>
                  <a:gd name="connsiteY312" fmla="*/ 349104 h 768967"/>
                  <a:gd name="connsiteX313" fmla="*/ 171976 w 586233"/>
                  <a:gd name="connsiteY313" fmla="*/ 349104 h 768967"/>
                  <a:gd name="connsiteX314" fmla="*/ 177128 w 586233"/>
                  <a:gd name="connsiteY314" fmla="*/ 350770 h 768967"/>
                  <a:gd name="connsiteX315" fmla="*/ 186522 w 586233"/>
                  <a:gd name="connsiteY315" fmla="*/ 351377 h 768967"/>
                  <a:gd name="connsiteX316" fmla="*/ 188795 w 586233"/>
                  <a:gd name="connsiteY316" fmla="*/ 351074 h 768967"/>
                  <a:gd name="connsiteX317" fmla="*/ 195159 w 586233"/>
                  <a:gd name="connsiteY317" fmla="*/ 348498 h 768967"/>
                  <a:gd name="connsiteX318" fmla="*/ 198189 w 586233"/>
                  <a:gd name="connsiteY318" fmla="*/ 348800 h 768967"/>
                  <a:gd name="connsiteX319" fmla="*/ 211523 w 586233"/>
                  <a:gd name="connsiteY319" fmla="*/ 350922 h 768967"/>
                  <a:gd name="connsiteX320" fmla="*/ 222736 w 586233"/>
                  <a:gd name="connsiteY320" fmla="*/ 354407 h 768967"/>
                  <a:gd name="connsiteX321" fmla="*/ 229099 w 586233"/>
                  <a:gd name="connsiteY321" fmla="*/ 354255 h 768967"/>
                  <a:gd name="connsiteX322" fmla="*/ 231221 w 586233"/>
                  <a:gd name="connsiteY322" fmla="*/ 350922 h 768967"/>
                  <a:gd name="connsiteX323" fmla="*/ 233948 w 586233"/>
                  <a:gd name="connsiteY323" fmla="*/ 348346 h 768967"/>
                  <a:gd name="connsiteX324" fmla="*/ 238494 w 586233"/>
                  <a:gd name="connsiteY324" fmla="*/ 347891 h 768967"/>
                  <a:gd name="connsiteX325" fmla="*/ 246979 w 586233"/>
                  <a:gd name="connsiteY325" fmla="*/ 350013 h 768967"/>
                  <a:gd name="connsiteX326" fmla="*/ 249706 w 586233"/>
                  <a:gd name="connsiteY326" fmla="*/ 350165 h 768967"/>
                  <a:gd name="connsiteX327" fmla="*/ 251525 w 586233"/>
                  <a:gd name="connsiteY327" fmla="*/ 349407 h 768967"/>
                  <a:gd name="connsiteX328" fmla="*/ 251979 w 586233"/>
                  <a:gd name="connsiteY328" fmla="*/ 344407 h 768967"/>
                  <a:gd name="connsiteX329" fmla="*/ 256222 w 586233"/>
                  <a:gd name="connsiteY329" fmla="*/ 340922 h 768967"/>
                  <a:gd name="connsiteX330" fmla="*/ 261222 w 586233"/>
                  <a:gd name="connsiteY330" fmla="*/ 340164 h 768967"/>
                  <a:gd name="connsiteX331" fmla="*/ 273192 w 586233"/>
                  <a:gd name="connsiteY331" fmla="*/ 341679 h 768967"/>
                  <a:gd name="connsiteX332" fmla="*/ 278192 w 586233"/>
                  <a:gd name="connsiteY332" fmla="*/ 340012 h 768967"/>
                  <a:gd name="connsiteX333" fmla="*/ 290920 w 586233"/>
                  <a:gd name="connsiteY333" fmla="*/ 334255 h 768967"/>
                  <a:gd name="connsiteX334" fmla="*/ 298799 w 586233"/>
                  <a:gd name="connsiteY334" fmla="*/ 329406 h 768967"/>
                  <a:gd name="connsiteX335" fmla="*/ 309709 w 586233"/>
                  <a:gd name="connsiteY335" fmla="*/ 321375 h 768967"/>
                  <a:gd name="connsiteX336" fmla="*/ 312436 w 586233"/>
                  <a:gd name="connsiteY336" fmla="*/ 320163 h 768967"/>
                  <a:gd name="connsiteX337" fmla="*/ 322133 w 586233"/>
                  <a:gd name="connsiteY337" fmla="*/ 311526 h 768967"/>
                  <a:gd name="connsiteX338" fmla="*/ 328649 w 586233"/>
                  <a:gd name="connsiteY338" fmla="*/ 307132 h 768967"/>
                  <a:gd name="connsiteX339" fmla="*/ 339709 w 586233"/>
                  <a:gd name="connsiteY339" fmla="*/ 297132 h 768967"/>
                  <a:gd name="connsiteX340" fmla="*/ 347134 w 586233"/>
                  <a:gd name="connsiteY340" fmla="*/ 288344 h 768967"/>
                  <a:gd name="connsiteX341" fmla="*/ 356831 w 586233"/>
                  <a:gd name="connsiteY341" fmla="*/ 278495 h 768967"/>
                  <a:gd name="connsiteX342" fmla="*/ 363802 w 586233"/>
                  <a:gd name="connsiteY342" fmla="*/ 272283 h 768967"/>
                  <a:gd name="connsiteX343" fmla="*/ 366377 w 586233"/>
                  <a:gd name="connsiteY343" fmla="*/ 270919 h 768967"/>
                  <a:gd name="connsiteX344" fmla="*/ 370165 w 586233"/>
                  <a:gd name="connsiteY344" fmla="*/ 267888 h 768967"/>
                  <a:gd name="connsiteX345" fmla="*/ 378802 w 586233"/>
                  <a:gd name="connsiteY345" fmla="*/ 257282 h 768967"/>
                  <a:gd name="connsiteX346" fmla="*/ 383802 w 586233"/>
                  <a:gd name="connsiteY346" fmla="*/ 249555 h 768967"/>
                  <a:gd name="connsiteX347" fmla="*/ 389105 w 586233"/>
                  <a:gd name="connsiteY347" fmla="*/ 241221 h 768967"/>
                  <a:gd name="connsiteX348" fmla="*/ 395015 w 586233"/>
                  <a:gd name="connsiteY348" fmla="*/ 230312 h 768967"/>
                  <a:gd name="connsiteX349" fmla="*/ 398954 w 586233"/>
                  <a:gd name="connsiteY349" fmla="*/ 225160 h 768967"/>
                  <a:gd name="connsiteX350" fmla="*/ 402894 w 586233"/>
                  <a:gd name="connsiteY350" fmla="*/ 215917 h 768967"/>
                  <a:gd name="connsiteX351" fmla="*/ 407439 w 586233"/>
                  <a:gd name="connsiteY351" fmla="*/ 209553 h 768967"/>
                  <a:gd name="connsiteX352" fmla="*/ 419561 w 586233"/>
                  <a:gd name="connsiteY352" fmla="*/ 196522 h 768967"/>
                  <a:gd name="connsiteX353" fmla="*/ 422591 w 586233"/>
                  <a:gd name="connsiteY353" fmla="*/ 195765 h 768967"/>
                  <a:gd name="connsiteX354" fmla="*/ 424410 w 586233"/>
                  <a:gd name="connsiteY354" fmla="*/ 194856 h 768967"/>
                  <a:gd name="connsiteX355" fmla="*/ 426379 w 586233"/>
                  <a:gd name="connsiteY355" fmla="*/ 193492 h 768967"/>
                  <a:gd name="connsiteX356" fmla="*/ 433501 w 586233"/>
                  <a:gd name="connsiteY356" fmla="*/ 186976 h 768967"/>
                  <a:gd name="connsiteX357" fmla="*/ 435925 w 586233"/>
                  <a:gd name="connsiteY357" fmla="*/ 183340 h 768967"/>
                  <a:gd name="connsiteX358" fmla="*/ 440319 w 586233"/>
                  <a:gd name="connsiteY358" fmla="*/ 174552 h 768967"/>
                  <a:gd name="connsiteX359" fmla="*/ 443653 w 586233"/>
                  <a:gd name="connsiteY359" fmla="*/ 157127 h 768967"/>
                  <a:gd name="connsiteX360" fmla="*/ 445016 w 586233"/>
                  <a:gd name="connsiteY360" fmla="*/ 152278 h 768967"/>
                  <a:gd name="connsiteX361" fmla="*/ 448956 w 586233"/>
                  <a:gd name="connsiteY361" fmla="*/ 141672 h 768967"/>
                  <a:gd name="connsiteX362" fmla="*/ 450017 w 586233"/>
                  <a:gd name="connsiteY362" fmla="*/ 134854 h 768967"/>
                  <a:gd name="connsiteX363" fmla="*/ 446986 w 586233"/>
                  <a:gd name="connsiteY363" fmla="*/ 134854 h 768967"/>
                  <a:gd name="connsiteX364" fmla="*/ 441228 w 586233"/>
                  <a:gd name="connsiteY364" fmla="*/ 135308 h 768967"/>
                  <a:gd name="connsiteX365" fmla="*/ 353498 w 586233"/>
                  <a:gd name="connsiteY365" fmla="*/ 207886 h 768967"/>
                  <a:gd name="connsiteX366" fmla="*/ 352437 w 586233"/>
                  <a:gd name="connsiteY366" fmla="*/ 211523 h 768967"/>
                  <a:gd name="connsiteX367" fmla="*/ 350922 w 586233"/>
                  <a:gd name="connsiteY367" fmla="*/ 215160 h 768967"/>
                  <a:gd name="connsiteX368" fmla="*/ 349710 w 586233"/>
                  <a:gd name="connsiteY368" fmla="*/ 216674 h 768967"/>
                  <a:gd name="connsiteX369" fmla="*/ 348195 w 586233"/>
                  <a:gd name="connsiteY369" fmla="*/ 217584 h 768967"/>
                  <a:gd name="connsiteX370" fmla="*/ 346680 w 586233"/>
                  <a:gd name="connsiteY370" fmla="*/ 219099 h 768967"/>
                  <a:gd name="connsiteX371" fmla="*/ 346073 w 586233"/>
                  <a:gd name="connsiteY371" fmla="*/ 222129 h 768967"/>
                  <a:gd name="connsiteX372" fmla="*/ 345467 w 586233"/>
                  <a:gd name="connsiteY372" fmla="*/ 225615 h 768967"/>
                  <a:gd name="connsiteX373" fmla="*/ 343649 w 586233"/>
                  <a:gd name="connsiteY373" fmla="*/ 227129 h 768967"/>
                  <a:gd name="connsiteX374" fmla="*/ 342134 w 586233"/>
                  <a:gd name="connsiteY374" fmla="*/ 228038 h 768967"/>
                  <a:gd name="connsiteX375" fmla="*/ 340164 w 586233"/>
                  <a:gd name="connsiteY375" fmla="*/ 229251 h 768967"/>
                  <a:gd name="connsiteX376" fmla="*/ 335618 w 586233"/>
                  <a:gd name="connsiteY376" fmla="*/ 231069 h 768967"/>
                  <a:gd name="connsiteX377" fmla="*/ 333194 w 586233"/>
                  <a:gd name="connsiteY377" fmla="*/ 231826 h 768967"/>
                  <a:gd name="connsiteX378" fmla="*/ 332891 w 586233"/>
                  <a:gd name="connsiteY378" fmla="*/ 231826 h 768967"/>
                  <a:gd name="connsiteX379" fmla="*/ 331376 w 586233"/>
                  <a:gd name="connsiteY379" fmla="*/ 231675 h 768967"/>
                  <a:gd name="connsiteX380" fmla="*/ 329255 w 586233"/>
                  <a:gd name="connsiteY380" fmla="*/ 231826 h 768967"/>
                  <a:gd name="connsiteX381" fmla="*/ 327588 w 586233"/>
                  <a:gd name="connsiteY381" fmla="*/ 232281 h 768967"/>
                  <a:gd name="connsiteX382" fmla="*/ 326376 w 586233"/>
                  <a:gd name="connsiteY382" fmla="*/ 232433 h 768967"/>
                  <a:gd name="connsiteX383" fmla="*/ 324254 w 586233"/>
                  <a:gd name="connsiteY383" fmla="*/ 234554 h 768967"/>
                  <a:gd name="connsiteX384" fmla="*/ 320466 w 586233"/>
                  <a:gd name="connsiteY384" fmla="*/ 240312 h 768967"/>
                  <a:gd name="connsiteX385" fmla="*/ 319406 w 586233"/>
                  <a:gd name="connsiteY385" fmla="*/ 241524 h 768967"/>
                  <a:gd name="connsiteX386" fmla="*/ 319103 w 586233"/>
                  <a:gd name="connsiteY386" fmla="*/ 243797 h 768967"/>
                  <a:gd name="connsiteX387" fmla="*/ 318194 w 586233"/>
                  <a:gd name="connsiteY387" fmla="*/ 245615 h 768967"/>
                  <a:gd name="connsiteX388" fmla="*/ 317133 w 586233"/>
                  <a:gd name="connsiteY388" fmla="*/ 246979 h 768967"/>
                  <a:gd name="connsiteX389" fmla="*/ 316072 w 586233"/>
                  <a:gd name="connsiteY389" fmla="*/ 247282 h 768967"/>
                  <a:gd name="connsiteX390" fmla="*/ 312890 w 586233"/>
                  <a:gd name="connsiteY390" fmla="*/ 246676 h 768967"/>
                  <a:gd name="connsiteX391" fmla="*/ 308799 w 586233"/>
                  <a:gd name="connsiteY391" fmla="*/ 245918 h 768967"/>
                  <a:gd name="connsiteX392" fmla="*/ 306375 w 586233"/>
                  <a:gd name="connsiteY392" fmla="*/ 244251 h 768967"/>
                  <a:gd name="connsiteX393" fmla="*/ 304254 w 586233"/>
                  <a:gd name="connsiteY393" fmla="*/ 241979 h 768967"/>
                  <a:gd name="connsiteX394" fmla="*/ 303193 w 586233"/>
                  <a:gd name="connsiteY394" fmla="*/ 240312 h 768967"/>
                  <a:gd name="connsiteX395" fmla="*/ 301981 w 586233"/>
                  <a:gd name="connsiteY395" fmla="*/ 239402 h 768967"/>
                  <a:gd name="connsiteX396" fmla="*/ 301526 w 586233"/>
                  <a:gd name="connsiteY396" fmla="*/ 238948 h 768967"/>
                  <a:gd name="connsiteX397" fmla="*/ 299860 w 586233"/>
                  <a:gd name="connsiteY397" fmla="*/ 238191 h 768967"/>
                  <a:gd name="connsiteX398" fmla="*/ 299254 w 586233"/>
                  <a:gd name="connsiteY398" fmla="*/ 237736 h 768967"/>
                  <a:gd name="connsiteX399" fmla="*/ 298647 w 586233"/>
                  <a:gd name="connsiteY399" fmla="*/ 237433 h 768967"/>
                  <a:gd name="connsiteX400" fmla="*/ 298041 w 586233"/>
                  <a:gd name="connsiteY400" fmla="*/ 236372 h 768967"/>
                  <a:gd name="connsiteX401" fmla="*/ 297587 w 586233"/>
                  <a:gd name="connsiteY401" fmla="*/ 235463 h 768967"/>
                  <a:gd name="connsiteX402" fmla="*/ 297738 w 586233"/>
                  <a:gd name="connsiteY402" fmla="*/ 232887 h 768967"/>
                  <a:gd name="connsiteX403" fmla="*/ 296526 w 586233"/>
                  <a:gd name="connsiteY403" fmla="*/ 231372 h 768967"/>
                  <a:gd name="connsiteX404" fmla="*/ 294556 w 586233"/>
                  <a:gd name="connsiteY404" fmla="*/ 228645 h 768967"/>
                  <a:gd name="connsiteX405" fmla="*/ 293344 w 586233"/>
                  <a:gd name="connsiteY405" fmla="*/ 226372 h 768967"/>
                  <a:gd name="connsiteX406" fmla="*/ 291677 w 586233"/>
                  <a:gd name="connsiteY406" fmla="*/ 223341 h 768967"/>
                  <a:gd name="connsiteX407" fmla="*/ 290617 w 586233"/>
                  <a:gd name="connsiteY407" fmla="*/ 220766 h 768967"/>
                  <a:gd name="connsiteX408" fmla="*/ 289556 w 586233"/>
                  <a:gd name="connsiteY408" fmla="*/ 218038 h 768967"/>
                  <a:gd name="connsiteX409" fmla="*/ 289708 w 586233"/>
                  <a:gd name="connsiteY409" fmla="*/ 216826 h 768967"/>
                  <a:gd name="connsiteX410" fmla="*/ 290768 w 586233"/>
                  <a:gd name="connsiteY410" fmla="*/ 216069 h 768967"/>
                  <a:gd name="connsiteX411" fmla="*/ 293799 w 586233"/>
                  <a:gd name="connsiteY411" fmla="*/ 214705 h 768967"/>
                  <a:gd name="connsiteX412" fmla="*/ 296223 w 586233"/>
                  <a:gd name="connsiteY412" fmla="*/ 213644 h 768967"/>
                  <a:gd name="connsiteX413" fmla="*/ 297890 w 586233"/>
                  <a:gd name="connsiteY413" fmla="*/ 211674 h 768967"/>
                  <a:gd name="connsiteX414" fmla="*/ 299708 w 586233"/>
                  <a:gd name="connsiteY414" fmla="*/ 208795 h 768967"/>
                  <a:gd name="connsiteX415" fmla="*/ 300617 w 586233"/>
                  <a:gd name="connsiteY415" fmla="*/ 207129 h 768967"/>
                  <a:gd name="connsiteX416" fmla="*/ 301526 w 586233"/>
                  <a:gd name="connsiteY416" fmla="*/ 206371 h 768967"/>
                  <a:gd name="connsiteX417" fmla="*/ 302587 w 586233"/>
                  <a:gd name="connsiteY417" fmla="*/ 205159 h 768967"/>
                  <a:gd name="connsiteX418" fmla="*/ 304254 w 586233"/>
                  <a:gd name="connsiteY418" fmla="*/ 202432 h 768967"/>
                  <a:gd name="connsiteX419" fmla="*/ 306223 w 586233"/>
                  <a:gd name="connsiteY419" fmla="*/ 199553 h 768967"/>
                  <a:gd name="connsiteX420" fmla="*/ 308345 w 586233"/>
                  <a:gd name="connsiteY420" fmla="*/ 196371 h 768967"/>
                  <a:gd name="connsiteX421" fmla="*/ 310920 w 586233"/>
                  <a:gd name="connsiteY421" fmla="*/ 195462 h 768967"/>
                  <a:gd name="connsiteX422" fmla="*/ 314406 w 586233"/>
                  <a:gd name="connsiteY422" fmla="*/ 194401 h 768967"/>
                  <a:gd name="connsiteX423" fmla="*/ 317739 w 586233"/>
                  <a:gd name="connsiteY423" fmla="*/ 191674 h 768967"/>
                  <a:gd name="connsiteX424" fmla="*/ 321830 w 586233"/>
                  <a:gd name="connsiteY424" fmla="*/ 189401 h 768967"/>
                  <a:gd name="connsiteX425" fmla="*/ 328345 w 586233"/>
                  <a:gd name="connsiteY425" fmla="*/ 186825 h 768967"/>
                  <a:gd name="connsiteX426" fmla="*/ 331376 w 586233"/>
                  <a:gd name="connsiteY426" fmla="*/ 186219 h 768967"/>
                  <a:gd name="connsiteX427" fmla="*/ 332588 w 586233"/>
                  <a:gd name="connsiteY427" fmla="*/ 185916 h 768967"/>
                  <a:gd name="connsiteX428" fmla="*/ 333346 w 586233"/>
                  <a:gd name="connsiteY428" fmla="*/ 186370 h 768967"/>
                  <a:gd name="connsiteX429" fmla="*/ 334103 w 586233"/>
                  <a:gd name="connsiteY429" fmla="*/ 187886 h 768967"/>
                  <a:gd name="connsiteX430" fmla="*/ 335164 w 586233"/>
                  <a:gd name="connsiteY430" fmla="*/ 189098 h 768967"/>
                  <a:gd name="connsiteX431" fmla="*/ 337740 w 586233"/>
                  <a:gd name="connsiteY431" fmla="*/ 191219 h 768967"/>
                  <a:gd name="connsiteX432" fmla="*/ 338800 w 586233"/>
                  <a:gd name="connsiteY432" fmla="*/ 191674 h 768967"/>
                  <a:gd name="connsiteX433" fmla="*/ 341528 w 586233"/>
                  <a:gd name="connsiteY433" fmla="*/ 194856 h 768967"/>
                  <a:gd name="connsiteX434" fmla="*/ 344407 w 586233"/>
                  <a:gd name="connsiteY434" fmla="*/ 196977 h 768967"/>
                  <a:gd name="connsiteX435" fmla="*/ 347740 w 586233"/>
                  <a:gd name="connsiteY435" fmla="*/ 199401 h 768967"/>
                  <a:gd name="connsiteX436" fmla="*/ 350013 w 586233"/>
                  <a:gd name="connsiteY436" fmla="*/ 200613 h 768967"/>
                  <a:gd name="connsiteX437" fmla="*/ 351225 w 586233"/>
                  <a:gd name="connsiteY437" fmla="*/ 200917 h 768967"/>
                  <a:gd name="connsiteX438" fmla="*/ 352134 w 586233"/>
                  <a:gd name="connsiteY438" fmla="*/ 203038 h 768967"/>
                  <a:gd name="connsiteX439" fmla="*/ 353043 w 586233"/>
                  <a:gd name="connsiteY439" fmla="*/ 204705 h 768967"/>
                  <a:gd name="connsiteX440" fmla="*/ 353649 w 586233"/>
                  <a:gd name="connsiteY440" fmla="*/ 206220 h 768967"/>
                  <a:gd name="connsiteX441" fmla="*/ 353498 w 586233"/>
                  <a:gd name="connsiteY441" fmla="*/ 207886 h 768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Lst>
                <a:rect l="l" t="t" r="r" b="b"/>
                <a:pathLst>
                  <a:path w="586233" h="768967">
                    <a:moveTo>
                      <a:pt x="585779" y="766240"/>
                    </a:moveTo>
                    <a:lnTo>
                      <a:pt x="583507" y="764573"/>
                    </a:lnTo>
                    <a:lnTo>
                      <a:pt x="580628" y="764119"/>
                    </a:lnTo>
                    <a:lnTo>
                      <a:pt x="579719" y="765028"/>
                    </a:lnTo>
                    <a:lnTo>
                      <a:pt x="578052" y="766998"/>
                    </a:lnTo>
                    <a:lnTo>
                      <a:pt x="578658" y="768361"/>
                    </a:lnTo>
                    <a:lnTo>
                      <a:pt x="584112" y="768967"/>
                    </a:lnTo>
                    <a:lnTo>
                      <a:pt x="585325" y="768361"/>
                    </a:lnTo>
                    <a:lnTo>
                      <a:pt x="586234" y="766846"/>
                    </a:lnTo>
                    <a:lnTo>
                      <a:pt x="585779" y="766240"/>
                    </a:lnTo>
                    <a:close/>
                    <a:moveTo>
                      <a:pt x="441228" y="135308"/>
                    </a:moveTo>
                    <a:lnTo>
                      <a:pt x="438198" y="135460"/>
                    </a:lnTo>
                    <a:lnTo>
                      <a:pt x="434865" y="135611"/>
                    </a:lnTo>
                    <a:lnTo>
                      <a:pt x="430622" y="134854"/>
                    </a:lnTo>
                    <a:lnTo>
                      <a:pt x="428198" y="135005"/>
                    </a:lnTo>
                    <a:lnTo>
                      <a:pt x="427289" y="134550"/>
                    </a:lnTo>
                    <a:lnTo>
                      <a:pt x="425773" y="134096"/>
                    </a:lnTo>
                    <a:lnTo>
                      <a:pt x="425016" y="134247"/>
                    </a:lnTo>
                    <a:lnTo>
                      <a:pt x="424258" y="138490"/>
                    </a:lnTo>
                    <a:lnTo>
                      <a:pt x="423652" y="144702"/>
                    </a:lnTo>
                    <a:lnTo>
                      <a:pt x="423955" y="148642"/>
                    </a:lnTo>
                    <a:lnTo>
                      <a:pt x="418046" y="148793"/>
                    </a:lnTo>
                    <a:lnTo>
                      <a:pt x="410621" y="148339"/>
                    </a:lnTo>
                    <a:lnTo>
                      <a:pt x="405318" y="146672"/>
                    </a:lnTo>
                    <a:lnTo>
                      <a:pt x="399560" y="143036"/>
                    </a:lnTo>
                    <a:lnTo>
                      <a:pt x="396075" y="137278"/>
                    </a:lnTo>
                    <a:lnTo>
                      <a:pt x="394560" y="133641"/>
                    </a:lnTo>
                    <a:lnTo>
                      <a:pt x="392439" y="133490"/>
                    </a:lnTo>
                    <a:lnTo>
                      <a:pt x="392136" y="132884"/>
                    </a:lnTo>
                    <a:lnTo>
                      <a:pt x="391984" y="128489"/>
                    </a:lnTo>
                    <a:lnTo>
                      <a:pt x="391984" y="123944"/>
                    </a:lnTo>
                    <a:lnTo>
                      <a:pt x="392439" y="122732"/>
                    </a:lnTo>
                    <a:lnTo>
                      <a:pt x="396378" y="117125"/>
                    </a:lnTo>
                    <a:lnTo>
                      <a:pt x="398803" y="113641"/>
                    </a:lnTo>
                    <a:lnTo>
                      <a:pt x="400318" y="110156"/>
                    </a:lnTo>
                    <a:lnTo>
                      <a:pt x="403651" y="106216"/>
                    </a:lnTo>
                    <a:lnTo>
                      <a:pt x="407136" y="103640"/>
                    </a:lnTo>
                    <a:lnTo>
                      <a:pt x="408500" y="103337"/>
                    </a:lnTo>
                    <a:lnTo>
                      <a:pt x="409409" y="103489"/>
                    </a:lnTo>
                    <a:lnTo>
                      <a:pt x="415621" y="106974"/>
                    </a:lnTo>
                    <a:lnTo>
                      <a:pt x="421985" y="110307"/>
                    </a:lnTo>
                    <a:lnTo>
                      <a:pt x="423349" y="110004"/>
                    </a:lnTo>
                    <a:lnTo>
                      <a:pt x="424107" y="109701"/>
                    </a:lnTo>
                    <a:lnTo>
                      <a:pt x="423501" y="107580"/>
                    </a:lnTo>
                    <a:lnTo>
                      <a:pt x="423349" y="104398"/>
                    </a:lnTo>
                    <a:lnTo>
                      <a:pt x="425167" y="100307"/>
                    </a:lnTo>
                    <a:lnTo>
                      <a:pt x="425016" y="92428"/>
                    </a:lnTo>
                    <a:lnTo>
                      <a:pt x="425167" y="89700"/>
                    </a:lnTo>
                    <a:lnTo>
                      <a:pt x="425167" y="84245"/>
                    </a:lnTo>
                    <a:lnTo>
                      <a:pt x="425167" y="77579"/>
                    </a:lnTo>
                    <a:lnTo>
                      <a:pt x="425167" y="71669"/>
                    </a:lnTo>
                    <a:lnTo>
                      <a:pt x="425167" y="66518"/>
                    </a:lnTo>
                    <a:lnTo>
                      <a:pt x="424713" y="64093"/>
                    </a:lnTo>
                    <a:lnTo>
                      <a:pt x="424258" y="62730"/>
                    </a:lnTo>
                    <a:lnTo>
                      <a:pt x="423046" y="60002"/>
                    </a:lnTo>
                    <a:lnTo>
                      <a:pt x="421682" y="54396"/>
                    </a:lnTo>
                    <a:lnTo>
                      <a:pt x="420016" y="50153"/>
                    </a:lnTo>
                    <a:lnTo>
                      <a:pt x="417894" y="47274"/>
                    </a:lnTo>
                    <a:lnTo>
                      <a:pt x="417288" y="45759"/>
                    </a:lnTo>
                    <a:lnTo>
                      <a:pt x="416682" y="43789"/>
                    </a:lnTo>
                    <a:lnTo>
                      <a:pt x="414712" y="40305"/>
                    </a:lnTo>
                    <a:lnTo>
                      <a:pt x="413046" y="38335"/>
                    </a:lnTo>
                    <a:lnTo>
                      <a:pt x="412591" y="36668"/>
                    </a:lnTo>
                    <a:lnTo>
                      <a:pt x="412591" y="32425"/>
                    </a:lnTo>
                    <a:lnTo>
                      <a:pt x="410773" y="24849"/>
                    </a:lnTo>
                    <a:lnTo>
                      <a:pt x="409409" y="19395"/>
                    </a:lnTo>
                    <a:lnTo>
                      <a:pt x="407439" y="13485"/>
                    </a:lnTo>
                    <a:lnTo>
                      <a:pt x="406075" y="9546"/>
                    </a:lnTo>
                    <a:lnTo>
                      <a:pt x="405924" y="8788"/>
                    </a:lnTo>
                    <a:lnTo>
                      <a:pt x="405773" y="7273"/>
                    </a:lnTo>
                    <a:lnTo>
                      <a:pt x="403348" y="5606"/>
                    </a:lnTo>
                    <a:lnTo>
                      <a:pt x="400015" y="4546"/>
                    </a:lnTo>
                    <a:lnTo>
                      <a:pt x="395772" y="4091"/>
                    </a:lnTo>
                    <a:lnTo>
                      <a:pt x="390166" y="4243"/>
                    </a:lnTo>
                    <a:lnTo>
                      <a:pt x="383347" y="5152"/>
                    </a:lnTo>
                    <a:lnTo>
                      <a:pt x="375923" y="4091"/>
                    </a:lnTo>
                    <a:lnTo>
                      <a:pt x="368044" y="1061"/>
                    </a:lnTo>
                    <a:lnTo>
                      <a:pt x="361528" y="0"/>
                    </a:lnTo>
                    <a:lnTo>
                      <a:pt x="353649" y="1364"/>
                    </a:lnTo>
                    <a:lnTo>
                      <a:pt x="353347" y="1364"/>
                    </a:lnTo>
                    <a:lnTo>
                      <a:pt x="346982" y="1970"/>
                    </a:lnTo>
                    <a:lnTo>
                      <a:pt x="343801" y="3788"/>
                    </a:lnTo>
                    <a:lnTo>
                      <a:pt x="341983" y="7121"/>
                    </a:lnTo>
                    <a:lnTo>
                      <a:pt x="339104" y="9546"/>
                    </a:lnTo>
                    <a:lnTo>
                      <a:pt x="335164" y="11061"/>
                    </a:lnTo>
                    <a:lnTo>
                      <a:pt x="330921" y="12122"/>
                    </a:lnTo>
                    <a:lnTo>
                      <a:pt x="326527" y="12728"/>
                    </a:lnTo>
                    <a:lnTo>
                      <a:pt x="321830" y="15607"/>
                    </a:lnTo>
                    <a:lnTo>
                      <a:pt x="316830" y="20758"/>
                    </a:lnTo>
                    <a:lnTo>
                      <a:pt x="314254" y="23940"/>
                    </a:lnTo>
                    <a:lnTo>
                      <a:pt x="314103" y="25304"/>
                    </a:lnTo>
                    <a:lnTo>
                      <a:pt x="313042" y="26516"/>
                    </a:lnTo>
                    <a:lnTo>
                      <a:pt x="310920" y="27425"/>
                    </a:lnTo>
                    <a:lnTo>
                      <a:pt x="309709" y="28637"/>
                    </a:lnTo>
                    <a:lnTo>
                      <a:pt x="309405" y="30001"/>
                    </a:lnTo>
                    <a:lnTo>
                      <a:pt x="308345" y="30607"/>
                    </a:lnTo>
                    <a:lnTo>
                      <a:pt x="306375" y="30607"/>
                    </a:lnTo>
                    <a:lnTo>
                      <a:pt x="305011" y="31668"/>
                    </a:lnTo>
                    <a:lnTo>
                      <a:pt x="304254" y="33789"/>
                    </a:lnTo>
                    <a:lnTo>
                      <a:pt x="302435" y="35001"/>
                    </a:lnTo>
                    <a:lnTo>
                      <a:pt x="299708" y="35456"/>
                    </a:lnTo>
                    <a:lnTo>
                      <a:pt x="297435" y="36668"/>
                    </a:lnTo>
                    <a:lnTo>
                      <a:pt x="295466" y="38486"/>
                    </a:lnTo>
                    <a:lnTo>
                      <a:pt x="293950" y="39395"/>
                    </a:lnTo>
                    <a:lnTo>
                      <a:pt x="292889" y="39395"/>
                    </a:lnTo>
                    <a:lnTo>
                      <a:pt x="291223" y="40911"/>
                    </a:lnTo>
                    <a:lnTo>
                      <a:pt x="288496" y="44547"/>
                    </a:lnTo>
                    <a:lnTo>
                      <a:pt x="288041" y="46214"/>
                    </a:lnTo>
                    <a:lnTo>
                      <a:pt x="284404" y="60002"/>
                    </a:lnTo>
                    <a:lnTo>
                      <a:pt x="282434" y="61669"/>
                    </a:lnTo>
                    <a:lnTo>
                      <a:pt x="278495" y="64548"/>
                    </a:lnTo>
                    <a:lnTo>
                      <a:pt x="275313" y="67881"/>
                    </a:lnTo>
                    <a:lnTo>
                      <a:pt x="273949" y="69851"/>
                    </a:lnTo>
                    <a:lnTo>
                      <a:pt x="272435" y="70760"/>
                    </a:lnTo>
                    <a:lnTo>
                      <a:pt x="265161" y="72427"/>
                    </a:lnTo>
                    <a:lnTo>
                      <a:pt x="262434" y="73336"/>
                    </a:lnTo>
                    <a:lnTo>
                      <a:pt x="259101" y="74700"/>
                    </a:lnTo>
                    <a:lnTo>
                      <a:pt x="258343" y="75912"/>
                    </a:lnTo>
                    <a:lnTo>
                      <a:pt x="257585" y="80155"/>
                    </a:lnTo>
                    <a:lnTo>
                      <a:pt x="255313" y="86215"/>
                    </a:lnTo>
                    <a:lnTo>
                      <a:pt x="253494" y="90761"/>
                    </a:lnTo>
                    <a:lnTo>
                      <a:pt x="252282" y="94700"/>
                    </a:lnTo>
                    <a:lnTo>
                      <a:pt x="250161" y="99549"/>
                    </a:lnTo>
                    <a:lnTo>
                      <a:pt x="248342" y="101216"/>
                    </a:lnTo>
                    <a:lnTo>
                      <a:pt x="246373" y="102731"/>
                    </a:lnTo>
                    <a:lnTo>
                      <a:pt x="243645" y="103489"/>
                    </a:lnTo>
                    <a:lnTo>
                      <a:pt x="240009" y="103943"/>
                    </a:lnTo>
                    <a:lnTo>
                      <a:pt x="236675" y="103792"/>
                    </a:lnTo>
                    <a:lnTo>
                      <a:pt x="234100" y="103792"/>
                    </a:lnTo>
                    <a:lnTo>
                      <a:pt x="230615" y="105458"/>
                    </a:lnTo>
                    <a:lnTo>
                      <a:pt x="227281" y="105610"/>
                    </a:lnTo>
                    <a:lnTo>
                      <a:pt x="221978" y="104549"/>
                    </a:lnTo>
                    <a:lnTo>
                      <a:pt x="217735" y="103640"/>
                    </a:lnTo>
                    <a:lnTo>
                      <a:pt x="215765" y="103489"/>
                    </a:lnTo>
                    <a:lnTo>
                      <a:pt x="211977" y="100307"/>
                    </a:lnTo>
                    <a:lnTo>
                      <a:pt x="209553" y="100307"/>
                    </a:lnTo>
                    <a:lnTo>
                      <a:pt x="205917" y="100004"/>
                    </a:lnTo>
                    <a:lnTo>
                      <a:pt x="203796" y="99246"/>
                    </a:lnTo>
                    <a:lnTo>
                      <a:pt x="201826" y="97579"/>
                    </a:lnTo>
                    <a:lnTo>
                      <a:pt x="197583" y="94397"/>
                    </a:lnTo>
                    <a:lnTo>
                      <a:pt x="193492" y="91821"/>
                    </a:lnTo>
                    <a:lnTo>
                      <a:pt x="189856" y="90306"/>
                    </a:lnTo>
                    <a:lnTo>
                      <a:pt x="186522" y="89549"/>
                    </a:lnTo>
                    <a:lnTo>
                      <a:pt x="183340" y="90155"/>
                    </a:lnTo>
                    <a:lnTo>
                      <a:pt x="180916" y="90912"/>
                    </a:lnTo>
                    <a:lnTo>
                      <a:pt x="180007" y="91216"/>
                    </a:lnTo>
                    <a:lnTo>
                      <a:pt x="178037" y="92579"/>
                    </a:lnTo>
                    <a:lnTo>
                      <a:pt x="176067" y="95155"/>
                    </a:lnTo>
                    <a:lnTo>
                      <a:pt x="174401" y="99095"/>
                    </a:lnTo>
                    <a:lnTo>
                      <a:pt x="173794" y="101519"/>
                    </a:lnTo>
                    <a:lnTo>
                      <a:pt x="171976" y="106671"/>
                    </a:lnTo>
                    <a:lnTo>
                      <a:pt x="169552" y="112883"/>
                    </a:lnTo>
                    <a:lnTo>
                      <a:pt x="168339" y="114701"/>
                    </a:lnTo>
                    <a:lnTo>
                      <a:pt x="166976" y="116065"/>
                    </a:lnTo>
                    <a:lnTo>
                      <a:pt x="164855" y="117277"/>
                    </a:lnTo>
                    <a:lnTo>
                      <a:pt x="157884" y="122277"/>
                    </a:lnTo>
                    <a:lnTo>
                      <a:pt x="154400" y="127883"/>
                    </a:lnTo>
                    <a:lnTo>
                      <a:pt x="152278" y="129550"/>
                    </a:lnTo>
                    <a:lnTo>
                      <a:pt x="149703" y="130308"/>
                    </a:lnTo>
                    <a:lnTo>
                      <a:pt x="147430" y="130762"/>
                    </a:lnTo>
                    <a:lnTo>
                      <a:pt x="146217" y="131672"/>
                    </a:lnTo>
                    <a:lnTo>
                      <a:pt x="144854" y="134550"/>
                    </a:lnTo>
                    <a:lnTo>
                      <a:pt x="143642" y="135611"/>
                    </a:lnTo>
                    <a:lnTo>
                      <a:pt x="142278" y="136066"/>
                    </a:lnTo>
                    <a:lnTo>
                      <a:pt x="138339" y="135763"/>
                    </a:lnTo>
                    <a:lnTo>
                      <a:pt x="137126" y="135460"/>
                    </a:lnTo>
                    <a:lnTo>
                      <a:pt x="126671" y="136066"/>
                    </a:lnTo>
                    <a:lnTo>
                      <a:pt x="123489" y="135156"/>
                    </a:lnTo>
                    <a:lnTo>
                      <a:pt x="121217" y="134854"/>
                    </a:lnTo>
                    <a:lnTo>
                      <a:pt x="117580" y="136066"/>
                    </a:lnTo>
                    <a:lnTo>
                      <a:pt x="116065" y="135308"/>
                    </a:lnTo>
                    <a:lnTo>
                      <a:pt x="114853" y="133035"/>
                    </a:lnTo>
                    <a:lnTo>
                      <a:pt x="114247" y="128338"/>
                    </a:lnTo>
                    <a:lnTo>
                      <a:pt x="114398" y="124399"/>
                    </a:lnTo>
                    <a:lnTo>
                      <a:pt x="116368" y="121368"/>
                    </a:lnTo>
                    <a:lnTo>
                      <a:pt x="118035" y="119095"/>
                    </a:lnTo>
                    <a:lnTo>
                      <a:pt x="119550" y="116216"/>
                    </a:lnTo>
                    <a:lnTo>
                      <a:pt x="119701" y="114853"/>
                    </a:lnTo>
                    <a:lnTo>
                      <a:pt x="119398" y="113641"/>
                    </a:lnTo>
                    <a:lnTo>
                      <a:pt x="119095" y="111216"/>
                    </a:lnTo>
                    <a:lnTo>
                      <a:pt x="118944" y="108792"/>
                    </a:lnTo>
                    <a:lnTo>
                      <a:pt x="116671" y="103489"/>
                    </a:lnTo>
                    <a:lnTo>
                      <a:pt x="113943" y="96519"/>
                    </a:lnTo>
                    <a:lnTo>
                      <a:pt x="110155" y="88640"/>
                    </a:lnTo>
                    <a:lnTo>
                      <a:pt x="108943" y="86518"/>
                    </a:lnTo>
                    <a:lnTo>
                      <a:pt x="106671" y="83185"/>
                    </a:lnTo>
                    <a:lnTo>
                      <a:pt x="98034" y="76669"/>
                    </a:lnTo>
                    <a:lnTo>
                      <a:pt x="96670" y="75760"/>
                    </a:lnTo>
                    <a:lnTo>
                      <a:pt x="96670" y="87882"/>
                    </a:lnTo>
                    <a:lnTo>
                      <a:pt x="96670" y="100761"/>
                    </a:lnTo>
                    <a:lnTo>
                      <a:pt x="96670" y="112731"/>
                    </a:lnTo>
                    <a:lnTo>
                      <a:pt x="96670" y="125762"/>
                    </a:lnTo>
                    <a:lnTo>
                      <a:pt x="96670" y="138793"/>
                    </a:lnTo>
                    <a:lnTo>
                      <a:pt x="96670" y="151824"/>
                    </a:lnTo>
                    <a:lnTo>
                      <a:pt x="96670" y="164855"/>
                    </a:lnTo>
                    <a:lnTo>
                      <a:pt x="96670" y="178037"/>
                    </a:lnTo>
                    <a:lnTo>
                      <a:pt x="96670" y="182128"/>
                    </a:lnTo>
                    <a:lnTo>
                      <a:pt x="93791" y="182128"/>
                    </a:lnTo>
                    <a:lnTo>
                      <a:pt x="88185" y="183795"/>
                    </a:lnTo>
                    <a:lnTo>
                      <a:pt x="84548" y="185916"/>
                    </a:lnTo>
                    <a:lnTo>
                      <a:pt x="83034" y="188492"/>
                    </a:lnTo>
                    <a:lnTo>
                      <a:pt x="80912" y="190007"/>
                    </a:lnTo>
                    <a:lnTo>
                      <a:pt x="78336" y="190613"/>
                    </a:lnTo>
                    <a:lnTo>
                      <a:pt x="77124" y="191977"/>
                    </a:lnTo>
                    <a:lnTo>
                      <a:pt x="77427" y="194098"/>
                    </a:lnTo>
                    <a:lnTo>
                      <a:pt x="76367" y="195613"/>
                    </a:lnTo>
                    <a:lnTo>
                      <a:pt x="74093" y="196674"/>
                    </a:lnTo>
                    <a:lnTo>
                      <a:pt x="70457" y="196371"/>
                    </a:lnTo>
                    <a:lnTo>
                      <a:pt x="65305" y="194704"/>
                    </a:lnTo>
                    <a:lnTo>
                      <a:pt x="58790" y="194250"/>
                    </a:lnTo>
                    <a:lnTo>
                      <a:pt x="50911" y="195159"/>
                    </a:lnTo>
                    <a:lnTo>
                      <a:pt x="45153" y="194704"/>
                    </a:lnTo>
                    <a:lnTo>
                      <a:pt x="41668" y="192886"/>
                    </a:lnTo>
                    <a:lnTo>
                      <a:pt x="38032" y="191825"/>
                    </a:lnTo>
                    <a:lnTo>
                      <a:pt x="34092" y="191522"/>
                    </a:lnTo>
                    <a:lnTo>
                      <a:pt x="31819" y="190764"/>
                    </a:lnTo>
                    <a:lnTo>
                      <a:pt x="27274" y="189401"/>
                    </a:lnTo>
                    <a:lnTo>
                      <a:pt x="26364" y="187128"/>
                    </a:lnTo>
                    <a:lnTo>
                      <a:pt x="25759" y="185461"/>
                    </a:lnTo>
                    <a:lnTo>
                      <a:pt x="24395" y="183643"/>
                    </a:lnTo>
                    <a:lnTo>
                      <a:pt x="24243" y="182128"/>
                    </a:lnTo>
                    <a:lnTo>
                      <a:pt x="25304" y="181067"/>
                    </a:lnTo>
                    <a:lnTo>
                      <a:pt x="25455" y="179249"/>
                    </a:lnTo>
                    <a:lnTo>
                      <a:pt x="24698" y="176825"/>
                    </a:lnTo>
                    <a:lnTo>
                      <a:pt x="23486" y="175612"/>
                    </a:lnTo>
                    <a:lnTo>
                      <a:pt x="21667" y="175612"/>
                    </a:lnTo>
                    <a:lnTo>
                      <a:pt x="20607" y="174703"/>
                    </a:lnTo>
                    <a:lnTo>
                      <a:pt x="20152" y="172733"/>
                    </a:lnTo>
                    <a:lnTo>
                      <a:pt x="19092" y="171218"/>
                    </a:lnTo>
                    <a:lnTo>
                      <a:pt x="16516" y="169703"/>
                    </a:lnTo>
                    <a:lnTo>
                      <a:pt x="13182" y="170915"/>
                    </a:lnTo>
                    <a:lnTo>
                      <a:pt x="11667" y="172582"/>
                    </a:lnTo>
                    <a:lnTo>
                      <a:pt x="10758" y="175310"/>
                    </a:lnTo>
                    <a:lnTo>
                      <a:pt x="9849" y="176673"/>
                    </a:lnTo>
                    <a:lnTo>
                      <a:pt x="9394" y="178946"/>
                    </a:lnTo>
                    <a:lnTo>
                      <a:pt x="9243" y="180613"/>
                    </a:lnTo>
                    <a:lnTo>
                      <a:pt x="8333" y="182279"/>
                    </a:lnTo>
                    <a:lnTo>
                      <a:pt x="7424" y="183037"/>
                    </a:lnTo>
                    <a:lnTo>
                      <a:pt x="6515" y="182734"/>
                    </a:lnTo>
                    <a:lnTo>
                      <a:pt x="4849" y="183340"/>
                    </a:lnTo>
                    <a:lnTo>
                      <a:pt x="1061" y="185916"/>
                    </a:lnTo>
                    <a:lnTo>
                      <a:pt x="0" y="187280"/>
                    </a:lnTo>
                    <a:lnTo>
                      <a:pt x="909" y="188037"/>
                    </a:lnTo>
                    <a:lnTo>
                      <a:pt x="8031" y="198947"/>
                    </a:lnTo>
                    <a:lnTo>
                      <a:pt x="13788" y="210614"/>
                    </a:lnTo>
                    <a:lnTo>
                      <a:pt x="20304" y="231372"/>
                    </a:lnTo>
                    <a:lnTo>
                      <a:pt x="24698" y="241676"/>
                    </a:lnTo>
                    <a:lnTo>
                      <a:pt x="33789" y="258949"/>
                    </a:lnTo>
                    <a:lnTo>
                      <a:pt x="40911" y="269858"/>
                    </a:lnTo>
                    <a:lnTo>
                      <a:pt x="47123" y="278041"/>
                    </a:lnTo>
                    <a:lnTo>
                      <a:pt x="48487" y="280616"/>
                    </a:lnTo>
                    <a:lnTo>
                      <a:pt x="51214" y="292132"/>
                    </a:lnTo>
                    <a:lnTo>
                      <a:pt x="51669" y="296526"/>
                    </a:lnTo>
                    <a:lnTo>
                      <a:pt x="51517" y="303648"/>
                    </a:lnTo>
                    <a:lnTo>
                      <a:pt x="49547" y="308042"/>
                    </a:lnTo>
                    <a:lnTo>
                      <a:pt x="46062" y="310920"/>
                    </a:lnTo>
                    <a:lnTo>
                      <a:pt x="43638" y="311678"/>
                    </a:lnTo>
                    <a:lnTo>
                      <a:pt x="41668" y="309708"/>
                    </a:lnTo>
                    <a:lnTo>
                      <a:pt x="39698" y="310920"/>
                    </a:lnTo>
                    <a:lnTo>
                      <a:pt x="38486" y="313193"/>
                    </a:lnTo>
                    <a:lnTo>
                      <a:pt x="39244" y="317284"/>
                    </a:lnTo>
                    <a:lnTo>
                      <a:pt x="41365" y="319860"/>
                    </a:lnTo>
                    <a:lnTo>
                      <a:pt x="42274" y="323042"/>
                    </a:lnTo>
                    <a:lnTo>
                      <a:pt x="44547" y="324709"/>
                    </a:lnTo>
                    <a:lnTo>
                      <a:pt x="46820" y="329255"/>
                    </a:lnTo>
                    <a:lnTo>
                      <a:pt x="49699" y="331224"/>
                    </a:lnTo>
                    <a:lnTo>
                      <a:pt x="51062" y="334103"/>
                    </a:lnTo>
                    <a:lnTo>
                      <a:pt x="54396" y="340315"/>
                    </a:lnTo>
                    <a:lnTo>
                      <a:pt x="55002" y="342740"/>
                    </a:lnTo>
                    <a:lnTo>
                      <a:pt x="55305" y="345467"/>
                    </a:lnTo>
                    <a:lnTo>
                      <a:pt x="52275" y="346982"/>
                    </a:lnTo>
                    <a:lnTo>
                      <a:pt x="51669" y="351074"/>
                    </a:lnTo>
                    <a:lnTo>
                      <a:pt x="52123" y="354558"/>
                    </a:lnTo>
                    <a:lnTo>
                      <a:pt x="53790" y="357892"/>
                    </a:lnTo>
                    <a:lnTo>
                      <a:pt x="55153" y="359407"/>
                    </a:lnTo>
                    <a:lnTo>
                      <a:pt x="55153" y="353953"/>
                    </a:lnTo>
                    <a:lnTo>
                      <a:pt x="56214" y="352134"/>
                    </a:lnTo>
                    <a:lnTo>
                      <a:pt x="57123" y="351377"/>
                    </a:lnTo>
                    <a:lnTo>
                      <a:pt x="59093" y="351074"/>
                    </a:lnTo>
                    <a:lnTo>
                      <a:pt x="61972" y="350922"/>
                    </a:lnTo>
                    <a:lnTo>
                      <a:pt x="63184" y="351225"/>
                    </a:lnTo>
                    <a:lnTo>
                      <a:pt x="64699" y="351983"/>
                    </a:lnTo>
                    <a:lnTo>
                      <a:pt x="65154" y="354407"/>
                    </a:lnTo>
                    <a:lnTo>
                      <a:pt x="65305" y="356376"/>
                    </a:lnTo>
                    <a:lnTo>
                      <a:pt x="65154" y="357741"/>
                    </a:lnTo>
                    <a:lnTo>
                      <a:pt x="65305" y="359862"/>
                    </a:lnTo>
                    <a:lnTo>
                      <a:pt x="67275" y="359710"/>
                    </a:lnTo>
                    <a:lnTo>
                      <a:pt x="68639" y="359255"/>
                    </a:lnTo>
                    <a:lnTo>
                      <a:pt x="72579" y="359407"/>
                    </a:lnTo>
                    <a:lnTo>
                      <a:pt x="73942" y="361529"/>
                    </a:lnTo>
                    <a:lnTo>
                      <a:pt x="76518" y="361377"/>
                    </a:lnTo>
                    <a:lnTo>
                      <a:pt x="77427" y="362134"/>
                    </a:lnTo>
                    <a:lnTo>
                      <a:pt x="78791" y="363801"/>
                    </a:lnTo>
                    <a:lnTo>
                      <a:pt x="78639" y="366226"/>
                    </a:lnTo>
                    <a:lnTo>
                      <a:pt x="77881" y="367589"/>
                    </a:lnTo>
                    <a:lnTo>
                      <a:pt x="80457" y="367286"/>
                    </a:lnTo>
                    <a:lnTo>
                      <a:pt x="87124" y="371832"/>
                    </a:lnTo>
                    <a:lnTo>
                      <a:pt x="93034" y="371983"/>
                    </a:lnTo>
                    <a:lnTo>
                      <a:pt x="95155" y="372589"/>
                    </a:lnTo>
                    <a:lnTo>
                      <a:pt x="97731" y="372893"/>
                    </a:lnTo>
                    <a:lnTo>
                      <a:pt x="109095" y="364407"/>
                    </a:lnTo>
                    <a:lnTo>
                      <a:pt x="111671" y="363043"/>
                    </a:lnTo>
                    <a:lnTo>
                      <a:pt x="118338" y="362286"/>
                    </a:lnTo>
                    <a:lnTo>
                      <a:pt x="121217" y="360619"/>
                    </a:lnTo>
                    <a:lnTo>
                      <a:pt x="124096" y="360013"/>
                    </a:lnTo>
                    <a:lnTo>
                      <a:pt x="126065" y="359862"/>
                    </a:lnTo>
                    <a:lnTo>
                      <a:pt x="131217" y="361225"/>
                    </a:lnTo>
                    <a:lnTo>
                      <a:pt x="133944" y="361225"/>
                    </a:lnTo>
                    <a:lnTo>
                      <a:pt x="139551" y="360164"/>
                    </a:lnTo>
                    <a:lnTo>
                      <a:pt x="146066" y="360164"/>
                    </a:lnTo>
                    <a:lnTo>
                      <a:pt x="158491" y="350922"/>
                    </a:lnTo>
                    <a:lnTo>
                      <a:pt x="163188" y="350467"/>
                    </a:lnTo>
                    <a:lnTo>
                      <a:pt x="166976" y="349104"/>
                    </a:lnTo>
                    <a:lnTo>
                      <a:pt x="171976" y="349104"/>
                    </a:lnTo>
                    <a:lnTo>
                      <a:pt x="177128" y="350770"/>
                    </a:lnTo>
                    <a:lnTo>
                      <a:pt x="186522" y="351377"/>
                    </a:lnTo>
                    <a:lnTo>
                      <a:pt x="188795" y="351074"/>
                    </a:lnTo>
                    <a:lnTo>
                      <a:pt x="195159" y="348498"/>
                    </a:lnTo>
                    <a:lnTo>
                      <a:pt x="198189" y="348800"/>
                    </a:lnTo>
                    <a:lnTo>
                      <a:pt x="211523" y="350922"/>
                    </a:lnTo>
                    <a:lnTo>
                      <a:pt x="222736" y="354407"/>
                    </a:lnTo>
                    <a:lnTo>
                      <a:pt x="229099" y="354255"/>
                    </a:lnTo>
                    <a:lnTo>
                      <a:pt x="231221" y="350922"/>
                    </a:lnTo>
                    <a:lnTo>
                      <a:pt x="233948" y="348346"/>
                    </a:lnTo>
                    <a:lnTo>
                      <a:pt x="238494" y="347891"/>
                    </a:lnTo>
                    <a:lnTo>
                      <a:pt x="246979" y="350013"/>
                    </a:lnTo>
                    <a:lnTo>
                      <a:pt x="249706" y="350165"/>
                    </a:lnTo>
                    <a:lnTo>
                      <a:pt x="251525" y="349407"/>
                    </a:lnTo>
                    <a:lnTo>
                      <a:pt x="251979" y="344407"/>
                    </a:lnTo>
                    <a:lnTo>
                      <a:pt x="256222" y="340922"/>
                    </a:lnTo>
                    <a:lnTo>
                      <a:pt x="261222" y="340164"/>
                    </a:lnTo>
                    <a:lnTo>
                      <a:pt x="273192" y="341679"/>
                    </a:lnTo>
                    <a:lnTo>
                      <a:pt x="278192" y="340012"/>
                    </a:lnTo>
                    <a:lnTo>
                      <a:pt x="290920" y="334255"/>
                    </a:lnTo>
                    <a:lnTo>
                      <a:pt x="298799" y="329406"/>
                    </a:lnTo>
                    <a:lnTo>
                      <a:pt x="309709" y="321375"/>
                    </a:lnTo>
                    <a:lnTo>
                      <a:pt x="312436" y="320163"/>
                    </a:lnTo>
                    <a:lnTo>
                      <a:pt x="322133" y="311526"/>
                    </a:lnTo>
                    <a:lnTo>
                      <a:pt x="328649" y="307132"/>
                    </a:lnTo>
                    <a:lnTo>
                      <a:pt x="339709" y="297132"/>
                    </a:lnTo>
                    <a:lnTo>
                      <a:pt x="347134" y="288344"/>
                    </a:lnTo>
                    <a:lnTo>
                      <a:pt x="356831" y="278495"/>
                    </a:lnTo>
                    <a:lnTo>
                      <a:pt x="363802" y="272283"/>
                    </a:lnTo>
                    <a:lnTo>
                      <a:pt x="366377" y="270919"/>
                    </a:lnTo>
                    <a:lnTo>
                      <a:pt x="370165" y="267888"/>
                    </a:lnTo>
                    <a:lnTo>
                      <a:pt x="378802" y="257282"/>
                    </a:lnTo>
                    <a:lnTo>
                      <a:pt x="383802" y="249555"/>
                    </a:lnTo>
                    <a:lnTo>
                      <a:pt x="389105" y="241221"/>
                    </a:lnTo>
                    <a:lnTo>
                      <a:pt x="395015" y="230312"/>
                    </a:lnTo>
                    <a:lnTo>
                      <a:pt x="398954" y="225160"/>
                    </a:lnTo>
                    <a:lnTo>
                      <a:pt x="402894" y="215917"/>
                    </a:lnTo>
                    <a:lnTo>
                      <a:pt x="407439" y="209553"/>
                    </a:lnTo>
                    <a:lnTo>
                      <a:pt x="419561" y="196522"/>
                    </a:lnTo>
                    <a:lnTo>
                      <a:pt x="422591" y="195765"/>
                    </a:lnTo>
                    <a:lnTo>
                      <a:pt x="424410" y="194856"/>
                    </a:lnTo>
                    <a:lnTo>
                      <a:pt x="426379" y="193492"/>
                    </a:lnTo>
                    <a:lnTo>
                      <a:pt x="433501" y="186976"/>
                    </a:lnTo>
                    <a:lnTo>
                      <a:pt x="435925" y="183340"/>
                    </a:lnTo>
                    <a:lnTo>
                      <a:pt x="440319" y="174552"/>
                    </a:lnTo>
                    <a:lnTo>
                      <a:pt x="443653" y="157127"/>
                    </a:lnTo>
                    <a:lnTo>
                      <a:pt x="445016" y="152278"/>
                    </a:lnTo>
                    <a:lnTo>
                      <a:pt x="448956" y="141672"/>
                    </a:lnTo>
                    <a:lnTo>
                      <a:pt x="450017" y="134854"/>
                    </a:lnTo>
                    <a:lnTo>
                      <a:pt x="446986" y="134854"/>
                    </a:lnTo>
                    <a:lnTo>
                      <a:pt x="441228" y="135308"/>
                    </a:lnTo>
                    <a:close/>
                    <a:moveTo>
                      <a:pt x="353498" y="207886"/>
                    </a:moveTo>
                    <a:lnTo>
                      <a:pt x="352437" y="211523"/>
                    </a:lnTo>
                    <a:lnTo>
                      <a:pt x="350922" y="215160"/>
                    </a:lnTo>
                    <a:lnTo>
                      <a:pt x="349710" y="216674"/>
                    </a:lnTo>
                    <a:lnTo>
                      <a:pt x="348195" y="217584"/>
                    </a:lnTo>
                    <a:lnTo>
                      <a:pt x="346680" y="219099"/>
                    </a:lnTo>
                    <a:lnTo>
                      <a:pt x="346073" y="222129"/>
                    </a:lnTo>
                    <a:lnTo>
                      <a:pt x="345467" y="225615"/>
                    </a:lnTo>
                    <a:lnTo>
                      <a:pt x="343649" y="227129"/>
                    </a:lnTo>
                    <a:lnTo>
                      <a:pt x="342134" y="228038"/>
                    </a:lnTo>
                    <a:lnTo>
                      <a:pt x="340164" y="229251"/>
                    </a:lnTo>
                    <a:lnTo>
                      <a:pt x="335618" y="231069"/>
                    </a:lnTo>
                    <a:lnTo>
                      <a:pt x="333194" y="231826"/>
                    </a:lnTo>
                    <a:lnTo>
                      <a:pt x="332891" y="231826"/>
                    </a:lnTo>
                    <a:lnTo>
                      <a:pt x="331376" y="231675"/>
                    </a:lnTo>
                    <a:lnTo>
                      <a:pt x="329255" y="231826"/>
                    </a:lnTo>
                    <a:lnTo>
                      <a:pt x="327588" y="232281"/>
                    </a:lnTo>
                    <a:lnTo>
                      <a:pt x="326376" y="232433"/>
                    </a:lnTo>
                    <a:lnTo>
                      <a:pt x="324254" y="234554"/>
                    </a:lnTo>
                    <a:lnTo>
                      <a:pt x="320466" y="240312"/>
                    </a:lnTo>
                    <a:lnTo>
                      <a:pt x="319406" y="241524"/>
                    </a:lnTo>
                    <a:lnTo>
                      <a:pt x="319103" y="243797"/>
                    </a:lnTo>
                    <a:lnTo>
                      <a:pt x="318194" y="245615"/>
                    </a:lnTo>
                    <a:lnTo>
                      <a:pt x="317133" y="246979"/>
                    </a:lnTo>
                    <a:lnTo>
                      <a:pt x="316072" y="247282"/>
                    </a:lnTo>
                    <a:lnTo>
                      <a:pt x="312890" y="246676"/>
                    </a:lnTo>
                    <a:lnTo>
                      <a:pt x="308799" y="245918"/>
                    </a:lnTo>
                    <a:lnTo>
                      <a:pt x="306375" y="244251"/>
                    </a:lnTo>
                    <a:lnTo>
                      <a:pt x="304254" y="241979"/>
                    </a:lnTo>
                    <a:lnTo>
                      <a:pt x="303193" y="240312"/>
                    </a:lnTo>
                    <a:lnTo>
                      <a:pt x="301981" y="239402"/>
                    </a:lnTo>
                    <a:lnTo>
                      <a:pt x="301526" y="238948"/>
                    </a:lnTo>
                    <a:lnTo>
                      <a:pt x="299860" y="238191"/>
                    </a:lnTo>
                    <a:lnTo>
                      <a:pt x="299254" y="237736"/>
                    </a:lnTo>
                    <a:lnTo>
                      <a:pt x="298647" y="237433"/>
                    </a:lnTo>
                    <a:lnTo>
                      <a:pt x="298041" y="236372"/>
                    </a:lnTo>
                    <a:lnTo>
                      <a:pt x="297587" y="235463"/>
                    </a:lnTo>
                    <a:lnTo>
                      <a:pt x="297738" y="232887"/>
                    </a:lnTo>
                    <a:lnTo>
                      <a:pt x="296526" y="231372"/>
                    </a:lnTo>
                    <a:lnTo>
                      <a:pt x="294556" y="228645"/>
                    </a:lnTo>
                    <a:lnTo>
                      <a:pt x="293344" y="226372"/>
                    </a:lnTo>
                    <a:lnTo>
                      <a:pt x="291677" y="223341"/>
                    </a:lnTo>
                    <a:lnTo>
                      <a:pt x="290617" y="220766"/>
                    </a:lnTo>
                    <a:lnTo>
                      <a:pt x="289556" y="218038"/>
                    </a:lnTo>
                    <a:lnTo>
                      <a:pt x="289708" y="216826"/>
                    </a:lnTo>
                    <a:lnTo>
                      <a:pt x="290768" y="216069"/>
                    </a:lnTo>
                    <a:lnTo>
                      <a:pt x="293799" y="214705"/>
                    </a:lnTo>
                    <a:lnTo>
                      <a:pt x="296223" y="213644"/>
                    </a:lnTo>
                    <a:lnTo>
                      <a:pt x="297890" y="211674"/>
                    </a:lnTo>
                    <a:lnTo>
                      <a:pt x="299708" y="208795"/>
                    </a:lnTo>
                    <a:lnTo>
                      <a:pt x="300617" y="207129"/>
                    </a:lnTo>
                    <a:lnTo>
                      <a:pt x="301526" y="206371"/>
                    </a:lnTo>
                    <a:lnTo>
                      <a:pt x="302587" y="205159"/>
                    </a:lnTo>
                    <a:lnTo>
                      <a:pt x="304254" y="202432"/>
                    </a:lnTo>
                    <a:lnTo>
                      <a:pt x="306223" y="199553"/>
                    </a:lnTo>
                    <a:lnTo>
                      <a:pt x="308345" y="196371"/>
                    </a:lnTo>
                    <a:lnTo>
                      <a:pt x="310920" y="195462"/>
                    </a:lnTo>
                    <a:lnTo>
                      <a:pt x="314406" y="194401"/>
                    </a:lnTo>
                    <a:lnTo>
                      <a:pt x="317739" y="191674"/>
                    </a:lnTo>
                    <a:lnTo>
                      <a:pt x="321830" y="189401"/>
                    </a:lnTo>
                    <a:lnTo>
                      <a:pt x="328345" y="186825"/>
                    </a:lnTo>
                    <a:lnTo>
                      <a:pt x="331376" y="186219"/>
                    </a:lnTo>
                    <a:lnTo>
                      <a:pt x="332588" y="185916"/>
                    </a:lnTo>
                    <a:lnTo>
                      <a:pt x="333346" y="186370"/>
                    </a:lnTo>
                    <a:lnTo>
                      <a:pt x="334103" y="187886"/>
                    </a:lnTo>
                    <a:lnTo>
                      <a:pt x="335164" y="189098"/>
                    </a:lnTo>
                    <a:lnTo>
                      <a:pt x="337740" y="191219"/>
                    </a:lnTo>
                    <a:lnTo>
                      <a:pt x="338800" y="191674"/>
                    </a:lnTo>
                    <a:lnTo>
                      <a:pt x="341528" y="194856"/>
                    </a:lnTo>
                    <a:lnTo>
                      <a:pt x="344407" y="196977"/>
                    </a:lnTo>
                    <a:lnTo>
                      <a:pt x="347740" y="199401"/>
                    </a:lnTo>
                    <a:lnTo>
                      <a:pt x="350013" y="200613"/>
                    </a:lnTo>
                    <a:lnTo>
                      <a:pt x="351225" y="200917"/>
                    </a:lnTo>
                    <a:lnTo>
                      <a:pt x="352134" y="203038"/>
                    </a:lnTo>
                    <a:lnTo>
                      <a:pt x="353043" y="204705"/>
                    </a:lnTo>
                    <a:lnTo>
                      <a:pt x="353649" y="206220"/>
                    </a:lnTo>
                    <a:lnTo>
                      <a:pt x="353498" y="20788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78D99E9E-14EE-4213-B27A-84A48C0AF817}"/>
                  </a:ext>
                </a:extLst>
              </p:cNvPr>
              <p:cNvSpPr/>
              <p:nvPr/>
            </p:nvSpPr>
            <p:spPr>
              <a:xfrm>
                <a:off x="7009518" y="4907763"/>
                <a:ext cx="4999" cy="9242"/>
              </a:xfrm>
              <a:custGeom>
                <a:avLst/>
                <a:gdLst>
                  <a:gd name="connsiteX0" fmla="*/ 3182 w 4999"/>
                  <a:gd name="connsiteY0" fmla="*/ 1667 h 9242"/>
                  <a:gd name="connsiteX1" fmla="*/ 2576 w 4999"/>
                  <a:gd name="connsiteY1" fmla="*/ 1667 h 9242"/>
                  <a:gd name="connsiteX2" fmla="*/ 1364 w 4999"/>
                  <a:gd name="connsiteY2" fmla="*/ 0 h 9242"/>
                  <a:gd name="connsiteX3" fmla="*/ 0 w 4999"/>
                  <a:gd name="connsiteY3" fmla="*/ 1364 h 9242"/>
                  <a:gd name="connsiteX4" fmla="*/ 1515 w 4999"/>
                  <a:gd name="connsiteY4" fmla="*/ 3788 h 9242"/>
                  <a:gd name="connsiteX5" fmla="*/ 1364 w 4999"/>
                  <a:gd name="connsiteY5" fmla="*/ 5000 h 9242"/>
                  <a:gd name="connsiteX6" fmla="*/ 757 w 4999"/>
                  <a:gd name="connsiteY6" fmla="*/ 6819 h 9242"/>
                  <a:gd name="connsiteX7" fmla="*/ 1364 w 4999"/>
                  <a:gd name="connsiteY7" fmla="*/ 8485 h 9242"/>
                  <a:gd name="connsiteX8" fmla="*/ 2121 w 4999"/>
                  <a:gd name="connsiteY8" fmla="*/ 9243 h 9242"/>
                  <a:gd name="connsiteX9" fmla="*/ 3788 w 4999"/>
                  <a:gd name="connsiteY9" fmla="*/ 8940 h 9242"/>
                  <a:gd name="connsiteX10" fmla="*/ 3788 w 4999"/>
                  <a:gd name="connsiteY10" fmla="*/ 7425 h 9242"/>
                  <a:gd name="connsiteX11" fmla="*/ 4545 w 4999"/>
                  <a:gd name="connsiteY11" fmla="*/ 5455 h 9242"/>
                  <a:gd name="connsiteX12" fmla="*/ 4545 w 4999"/>
                  <a:gd name="connsiteY12" fmla="*/ 4849 h 9242"/>
                  <a:gd name="connsiteX13" fmla="*/ 5000 w 4999"/>
                  <a:gd name="connsiteY13" fmla="*/ 2727 h 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9" h="9242">
                    <a:moveTo>
                      <a:pt x="3182" y="1667"/>
                    </a:moveTo>
                    <a:lnTo>
                      <a:pt x="2576" y="1667"/>
                    </a:lnTo>
                    <a:lnTo>
                      <a:pt x="1364" y="0"/>
                    </a:lnTo>
                    <a:lnTo>
                      <a:pt x="0" y="1364"/>
                    </a:lnTo>
                    <a:lnTo>
                      <a:pt x="1515" y="3788"/>
                    </a:lnTo>
                    <a:lnTo>
                      <a:pt x="1364" y="5000"/>
                    </a:lnTo>
                    <a:lnTo>
                      <a:pt x="757" y="6819"/>
                    </a:lnTo>
                    <a:lnTo>
                      <a:pt x="1364" y="8485"/>
                    </a:lnTo>
                    <a:lnTo>
                      <a:pt x="2121" y="9243"/>
                    </a:lnTo>
                    <a:lnTo>
                      <a:pt x="3788" y="8940"/>
                    </a:lnTo>
                    <a:lnTo>
                      <a:pt x="3788" y="7425"/>
                    </a:lnTo>
                    <a:lnTo>
                      <a:pt x="4545" y="5455"/>
                    </a:lnTo>
                    <a:lnTo>
                      <a:pt x="4545" y="4849"/>
                    </a:lnTo>
                    <a:lnTo>
                      <a:pt x="5000"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8166FD1-22FC-40B5-A18F-C4AFE525B607}"/>
                  </a:ext>
                </a:extLst>
              </p:cNvPr>
              <p:cNvSpPr/>
              <p:nvPr/>
            </p:nvSpPr>
            <p:spPr>
              <a:xfrm>
                <a:off x="6941334" y="4039095"/>
                <a:ext cx="327284" cy="186673"/>
              </a:xfrm>
              <a:custGeom>
                <a:avLst/>
                <a:gdLst>
                  <a:gd name="connsiteX0" fmla="*/ 5152 w 327284"/>
                  <a:gd name="connsiteY0" fmla="*/ 146823 h 186673"/>
                  <a:gd name="connsiteX1" fmla="*/ 3939 w 327284"/>
                  <a:gd name="connsiteY1" fmla="*/ 149096 h 186673"/>
                  <a:gd name="connsiteX2" fmla="*/ 5758 w 327284"/>
                  <a:gd name="connsiteY2" fmla="*/ 148187 h 186673"/>
                  <a:gd name="connsiteX3" fmla="*/ 6818 w 327284"/>
                  <a:gd name="connsiteY3" fmla="*/ 146520 h 186673"/>
                  <a:gd name="connsiteX4" fmla="*/ 6515 w 327284"/>
                  <a:gd name="connsiteY4" fmla="*/ 146369 h 186673"/>
                  <a:gd name="connsiteX5" fmla="*/ 5152 w 327284"/>
                  <a:gd name="connsiteY5" fmla="*/ 146823 h 186673"/>
                  <a:gd name="connsiteX6" fmla="*/ 606 w 327284"/>
                  <a:gd name="connsiteY6" fmla="*/ 100913 h 186673"/>
                  <a:gd name="connsiteX7" fmla="*/ 0 w 327284"/>
                  <a:gd name="connsiteY7" fmla="*/ 103337 h 186673"/>
                  <a:gd name="connsiteX8" fmla="*/ 303 w 327284"/>
                  <a:gd name="connsiteY8" fmla="*/ 104398 h 186673"/>
                  <a:gd name="connsiteX9" fmla="*/ 1212 w 327284"/>
                  <a:gd name="connsiteY9" fmla="*/ 103792 h 186673"/>
                  <a:gd name="connsiteX10" fmla="*/ 1818 w 327284"/>
                  <a:gd name="connsiteY10" fmla="*/ 103034 h 186673"/>
                  <a:gd name="connsiteX11" fmla="*/ 2273 w 327284"/>
                  <a:gd name="connsiteY11" fmla="*/ 101973 h 186673"/>
                  <a:gd name="connsiteX12" fmla="*/ 1667 w 327284"/>
                  <a:gd name="connsiteY12" fmla="*/ 100155 h 186673"/>
                  <a:gd name="connsiteX13" fmla="*/ 606 w 327284"/>
                  <a:gd name="connsiteY13" fmla="*/ 100913 h 186673"/>
                  <a:gd name="connsiteX14" fmla="*/ 3939 w 327284"/>
                  <a:gd name="connsiteY14" fmla="*/ 139702 h 186673"/>
                  <a:gd name="connsiteX15" fmla="*/ 5606 w 327284"/>
                  <a:gd name="connsiteY15" fmla="*/ 141217 h 186673"/>
                  <a:gd name="connsiteX16" fmla="*/ 6061 w 327284"/>
                  <a:gd name="connsiteY16" fmla="*/ 141369 h 186673"/>
                  <a:gd name="connsiteX17" fmla="*/ 6364 w 327284"/>
                  <a:gd name="connsiteY17" fmla="*/ 140763 h 186673"/>
                  <a:gd name="connsiteX18" fmla="*/ 6667 w 327284"/>
                  <a:gd name="connsiteY18" fmla="*/ 139702 h 186673"/>
                  <a:gd name="connsiteX19" fmla="*/ 5606 w 327284"/>
                  <a:gd name="connsiteY19" fmla="*/ 138187 h 186673"/>
                  <a:gd name="connsiteX20" fmla="*/ 3939 w 327284"/>
                  <a:gd name="connsiteY20" fmla="*/ 139702 h 186673"/>
                  <a:gd name="connsiteX21" fmla="*/ 285011 w 327284"/>
                  <a:gd name="connsiteY21" fmla="*/ 58942 h 186673"/>
                  <a:gd name="connsiteX22" fmla="*/ 283344 w 327284"/>
                  <a:gd name="connsiteY22" fmla="*/ 55305 h 186673"/>
                  <a:gd name="connsiteX23" fmla="*/ 281677 w 327284"/>
                  <a:gd name="connsiteY23" fmla="*/ 51668 h 186673"/>
                  <a:gd name="connsiteX24" fmla="*/ 280465 w 327284"/>
                  <a:gd name="connsiteY24" fmla="*/ 49093 h 186673"/>
                  <a:gd name="connsiteX25" fmla="*/ 278495 w 327284"/>
                  <a:gd name="connsiteY25" fmla="*/ 48183 h 186673"/>
                  <a:gd name="connsiteX26" fmla="*/ 277283 w 327284"/>
                  <a:gd name="connsiteY26" fmla="*/ 45456 h 186673"/>
                  <a:gd name="connsiteX27" fmla="*/ 276071 w 327284"/>
                  <a:gd name="connsiteY27" fmla="*/ 42729 h 186673"/>
                  <a:gd name="connsiteX28" fmla="*/ 274858 w 327284"/>
                  <a:gd name="connsiteY28" fmla="*/ 40001 h 186673"/>
                  <a:gd name="connsiteX29" fmla="*/ 273646 w 327284"/>
                  <a:gd name="connsiteY29" fmla="*/ 37274 h 186673"/>
                  <a:gd name="connsiteX30" fmla="*/ 272434 w 327284"/>
                  <a:gd name="connsiteY30" fmla="*/ 34547 h 186673"/>
                  <a:gd name="connsiteX31" fmla="*/ 271222 w 327284"/>
                  <a:gd name="connsiteY31" fmla="*/ 31668 h 186673"/>
                  <a:gd name="connsiteX32" fmla="*/ 270010 w 327284"/>
                  <a:gd name="connsiteY32" fmla="*/ 28789 h 186673"/>
                  <a:gd name="connsiteX33" fmla="*/ 268798 w 327284"/>
                  <a:gd name="connsiteY33" fmla="*/ 25910 h 186673"/>
                  <a:gd name="connsiteX34" fmla="*/ 267586 w 327284"/>
                  <a:gd name="connsiteY34" fmla="*/ 23031 h 186673"/>
                  <a:gd name="connsiteX35" fmla="*/ 266373 w 327284"/>
                  <a:gd name="connsiteY35" fmla="*/ 20152 h 186673"/>
                  <a:gd name="connsiteX36" fmla="*/ 265161 w 327284"/>
                  <a:gd name="connsiteY36" fmla="*/ 17273 h 186673"/>
                  <a:gd name="connsiteX37" fmla="*/ 263949 w 327284"/>
                  <a:gd name="connsiteY37" fmla="*/ 14394 h 186673"/>
                  <a:gd name="connsiteX38" fmla="*/ 262737 w 327284"/>
                  <a:gd name="connsiteY38" fmla="*/ 11515 h 186673"/>
                  <a:gd name="connsiteX39" fmla="*/ 261525 w 327284"/>
                  <a:gd name="connsiteY39" fmla="*/ 8637 h 186673"/>
                  <a:gd name="connsiteX40" fmla="*/ 260313 w 327284"/>
                  <a:gd name="connsiteY40" fmla="*/ 5758 h 186673"/>
                  <a:gd name="connsiteX41" fmla="*/ 259101 w 327284"/>
                  <a:gd name="connsiteY41" fmla="*/ 2879 h 186673"/>
                  <a:gd name="connsiteX42" fmla="*/ 257888 w 327284"/>
                  <a:gd name="connsiteY42" fmla="*/ 0 h 186673"/>
                  <a:gd name="connsiteX43" fmla="*/ 251525 w 327284"/>
                  <a:gd name="connsiteY43" fmla="*/ 909 h 186673"/>
                  <a:gd name="connsiteX44" fmla="*/ 245312 w 327284"/>
                  <a:gd name="connsiteY44" fmla="*/ 1818 h 186673"/>
                  <a:gd name="connsiteX45" fmla="*/ 238342 w 327284"/>
                  <a:gd name="connsiteY45" fmla="*/ 2727 h 186673"/>
                  <a:gd name="connsiteX46" fmla="*/ 229857 w 327284"/>
                  <a:gd name="connsiteY46" fmla="*/ 3939 h 186673"/>
                  <a:gd name="connsiteX47" fmla="*/ 223190 w 327284"/>
                  <a:gd name="connsiteY47" fmla="*/ 4849 h 186673"/>
                  <a:gd name="connsiteX48" fmla="*/ 213493 w 327284"/>
                  <a:gd name="connsiteY48" fmla="*/ 6212 h 186673"/>
                  <a:gd name="connsiteX49" fmla="*/ 204856 w 327284"/>
                  <a:gd name="connsiteY49" fmla="*/ 7424 h 186673"/>
                  <a:gd name="connsiteX50" fmla="*/ 196674 w 327284"/>
                  <a:gd name="connsiteY50" fmla="*/ 8485 h 186673"/>
                  <a:gd name="connsiteX51" fmla="*/ 188492 w 327284"/>
                  <a:gd name="connsiteY51" fmla="*/ 9546 h 186673"/>
                  <a:gd name="connsiteX52" fmla="*/ 181522 w 327284"/>
                  <a:gd name="connsiteY52" fmla="*/ 10455 h 186673"/>
                  <a:gd name="connsiteX53" fmla="*/ 177431 w 327284"/>
                  <a:gd name="connsiteY53" fmla="*/ 11515 h 186673"/>
                  <a:gd name="connsiteX54" fmla="*/ 172582 w 327284"/>
                  <a:gd name="connsiteY54" fmla="*/ 13940 h 186673"/>
                  <a:gd name="connsiteX55" fmla="*/ 165158 w 327284"/>
                  <a:gd name="connsiteY55" fmla="*/ 17728 h 186673"/>
                  <a:gd name="connsiteX56" fmla="*/ 157582 w 327284"/>
                  <a:gd name="connsiteY56" fmla="*/ 21516 h 186673"/>
                  <a:gd name="connsiteX57" fmla="*/ 153642 w 327284"/>
                  <a:gd name="connsiteY57" fmla="*/ 23486 h 186673"/>
                  <a:gd name="connsiteX58" fmla="*/ 149551 w 327284"/>
                  <a:gd name="connsiteY58" fmla="*/ 28486 h 186673"/>
                  <a:gd name="connsiteX59" fmla="*/ 147429 w 327284"/>
                  <a:gd name="connsiteY59" fmla="*/ 31062 h 186673"/>
                  <a:gd name="connsiteX60" fmla="*/ 143641 w 327284"/>
                  <a:gd name="connsiteY60" fmla="*/ 35759 h 186673"/>
                  <a:gd name="connsiteX61" fmla="*/ 140762 w 327284"/>
                  <a:gd name="connsiteY61" fmla="*/ 39244 h 186673"/>
                  <a:gd name="connsiteX62" fmla="*/ 137429 w 327284"/>
                  <a:gd name="connsiteY62" fmla="*/ 43335 h 186673"/>
                  <a:gd name="connsiteX63" fmla="*/ 135914 w 327284"/>
                  <a:gd name="connsiteY63" fmla="*/ 46971 h 186673"/>
                  <a:gd name="connsiteX64" fmla="*/ 133641 w 327284"/>
                  <a:gd name="connsiteY64" fmla="*/ 52729 h 186673"/>
                  <a:gd name="connsiteX65" fmla="*/ 131672 w 327284"/>
                  <a:gd name="connsiteY65" fmla="*/ 54244 h 186673"/>
                  <a:gd name="connsiteX66" fmla="*/ 128489 w 327284"/>
                  <a:gd name="connsiteY66" fmla="*/ 56063 h 186673"/>
                  <a:gd name="connsiteX67" fmla="*/ 125610 w 327284"/>
                  <a:gd name="connsiteY67" fmla="*/ 57426 h 186673"/>
                  <a:gd name="connsiteX68" fmla="*/ 121065 w 327284"/>
                  <a:gd name="connsiteY68" fmla="*/ 57275 h 186673"/>
                  <a:gd name="connsiteX69" fmla="*/ 118489 w 327284"/>
                  <a:gd name="connsiteY69" fmla="*/ 53790 h 186673"/>
                  <a:gd name="connsiteX70" fmla="*/ 115762 w 327284"/>
                  <a:gd name="connsiteY70" fmla="*/ 50002 h 186673"/>
                  <a:gd name="connsiteX71" fmla="*/ 114398 w 327284"/>
                  <a:gd name="connsiteY71" fmla="*/ 48487 h 186673"/>
                  <a:gd name="connsiteX72" fmla="*/ 113186 w 327284"/>
                  <a:gd name="connsiteY72" fmla="*/ 48335 h 186673"/>
                  <a:gd name="connsiteX73" fmla="*/ 108640 w 327284"/>
                  <a:gd name="connsiteY73" fmla="*/ 48790 h 186673"/>
                  <a:gd name="connsiteX74" fmla="*/ 103034 w 327284"/>
                  <a:gd name="connsiteY74" fmla="*/ 49396 h 186673"/>
                  <a:gd name="connsiteX75" fmla="*/ 96519 w 327284"/>
                  <a:gd name="connsiteY75" fmla="*/ 48790 h 186673"/>
                  <a:gd name="connsiteX76" fmla="*/ 88943 w 327284"/>
                  <a:gd name="connsiteY76" fmla="*/ 48032 h 186673"/>
                  <a:gd name="connsiteX77" fmla="*/ 81821 w 327284"/>
                  <a:gd name="connsiteY77" fmla="*/ 47426 h 186673"/>
                  <a:gd name="connsiteX78" fmla="*/ 78336 w 327284"/>
                  <a:gd name="connsiteY78" fmla="*/ 46971 h 186673"/>
                  <a:gd name="connsiteX79" fmla="*/ 73639 w 327284"/>
                  <a:gd name="connsiteY79" fmla="*/ 44547 h 186673"/>
                  <a:gd name="connsiteX80" fmla="*/ 72427 w 327284"/>
                  <a:gd name="connsiteY80" fmla="*/ 44092 h 186673"/>
                  <a:gd name="connsiteX81" fmla="*/ 71214 w 327284"/>
                  <a:gd name="connsiteY81" fmla="*/ 43941 h 186673"/>
                  <a:gd name="connsiteX82" fmla="*/ 65760 w 327284"/>
                  <a:gd name="connsiteY82" fmla="*/ 43941 h 186673"/>
                  <a:gd name="connsiteX83" fmla="*/ 60305 w 327284"/>
                  <a:gd name="connsiteY83" fmla="*/ 43941 h 186673"/>
                  <a:gd name="connsiteX84" fmla="*/ 54850 w 327284"/>
                  <a:gd name="connsiteY84" fmla="*/ 44699 h 186673"/>
                  <a:gd name="connsiteX85" fmla="*/ 49547 w 327284"/>
                  <a:gd name="connsiteY85" fmla="*/ 44395 h 186673"/>
                  <a:gd name="connsiteX86" fmla="*/ 44093 w 327284"/>
                  <a:gd name="connsiteY86" fmla="*/ 44850 h 186673"/>
                  <a:gd name="connsiteX87" fmla="*/ 42123 w 327284"/>
                  <a:gd name="connsiteY87" fmla="*/ 45759 h 186673"/>
                  <a:gd name="connsiteX88" fmla="*/ 40001 w 327284"/>
                  <a:gd name="connsiteY88" fmla="*/ 45759 h 186673"/>
                  <a:gd name="connsiteX89" fmla="*/ 38638 w 327284"/>
                  <a:gd name="connsiteY89" fmla="*/ 46517 h 186673"/>
                  <a:gd name="connsiteX90" fmla="*/ 37426 w 327284"/>
                  <a:gd name="connsiteY90" fmla="*/ 46971 h 186673"/>
                  <a:gd name="connsiteX91" fmla="*/ 36062 w 327284"/>
                  <a:gd name="connsiteY91" fmla="*/ 46214 h 186673"/>
                  <a:gd name="connsiteX92" fmla="*/ 34395 w 327284"/>
                  <a:gd name="connsiteY92" fmla="*/ 46365 h 186673"/>
                  <a:gd name="connsiteX93" fmla="*/ 31971 w 327284"/>
                  <a:gd name="connsiteY93" fmla="*/ 45759 h 186673"/>
                  <a:gd name="connsiteX94" fmla="*/ 30304 w 327284"/>
                  <a:gd name="connsiteY94" fmla="*/ 44244 h 186673"/>
                  <a:gd name="connsiteX95" fmla="*/ 28789 w 327284"/>
                  <a:gd name="connsiteY95" fmla="*/ 42880 h 186673"/>
                  <a:gd name="connsiteX96" fmla="*/ 27274 w 327284"/>
                  <a:gd name="connsiteY96" fmla="*/ 42123 h 186673"/>
                  <a:gd name="connsiteX97" fmla="*/ 25455 w 327284"/>
                  <a:gd name="connsiteY97" fmla="*/ 41668 h 186673"/>
                  <a:gd name="connsiteX98" fmla="*/ 23940 w 327284"/>
                  <a:gd name="connsiteY98" fmla="*/ 41668 h 186673"/>
                  <a:gd name="connsiteX99" fmla="*/ 21970 w 327284"/>
                  <a:gd name="connsiteY99" fmla="*/ 42577 h 186673"/>
                  <a:gd name="connsiteX100" fmla="*/ 20758 w 327284"/>
                  <a:gd name="connsiteY100" fmla="*/ 43335 h 186673"/>
                  <a:gd name="connsiteX101" fmla="*/ 17728 w 327284"/>
                  <a:gd name="connsiteY101" fmla="*/ 46062 h 186673"/>
                  <a:gd name="connsiteX102" fmla="*/ 17576 w 327284"/>
                  <a:gd name="connsiteY102" fmla="*/ 46971 h 186673"/>
                  <a:gd name="connsiteX103" fmla="*/ 18940 w 327284"/>
                  <a:gd name="connsiteY103" fmla="*/ 48638 h 186673"/>
                  <a:gd name="connsiteX104" fmla="*/ 18486 w 327284"/>
                  <a:gd name="connsiteY104" fmla="*/ 49396 h 186673"/>
                  <a:gd name="connsiteX105" fmla="*/ 16667 w 327284"/>
                  <a:gd name="connsiteY105" fmla="*/ 50305 h 186673"/>
                  <a:gd name="connsiteX106" fmla="*/ 16061 w 327284"/>
                  <a:gd name="connsiteY106" fmla="*/ 52881 h 186673"/>
                  <a:gd name="connsiteX107" fmla="*/ 15758 w 327284"/>
                  <a:gd name="connsiteY107" fmla="*/ 54244 h 186673"/>
                  <a:gd name="connsiteX108" fmla="*/ 15455 w 327284"/>
                  <a:gd name="connsiteY108" fmla="*/ 57578 h 186673"/>
                  <a:gd name="connsiteX109" fmla="*/ 16212 w 327284"/>
                  <a:gd name="connsiteY109" fmla="*/ 60305 h 186673"/>
                  <a:gd name="connsiteX110" fmla="*/ 17273 w 327284"/>
                  <a:gd name="connsiteY110" fmla="*/ 61214 h 186673"/>
                  <a:gd name="connsiteX111" fmla="*/ 17273 w 327284"/>
                  <a:gd name="connsiteY111" fmla="*/ 62426 h 186673"/>
                  <a:gd name="connsiteX112" fmla="*/ 16667 w 327284"/>
                  <a:gd name="connsiteY112" fmla="*/ 64699 h 186673"/>
                  <a:gd name="connsiteX113" fmla="*/ 15000 w 327284"/>
                  <a:gd name="connsiteY113" fmla="*/ 65457 h 186673"/>
                  <a:gd name="connsiteX114" fmla="*/ 13788 w 327284"/>
                  <a:gd name="connsiteY114" fmla="*/ 67578 h 186673"/>
                  <a:gd name="connsiteX115" fmla="*/ 13031 w 327284"/>
                  <a:gd name="connsiteY115" fmla="*/ 68639 h 186673"/>
                  <a:gd name="connsiteX116" fmla="*/ 11667 w 327284"/>
                  <a:gd name="connsiteY116" fmla="*/ 69851 h 186673"/>
                  <a:gd name="connsiteX117" fmla="*/ 6515 w 327284"/>
                  <a:gd name="connsiteY117" fmla="*/ 73639 h 186673"/>
                  <a:gd name="connsiteX118" fmla="*/ 7576 w 327284"/>
                  <a:gd name="connsiteY118" fmla="*/ 83185 h 186673"/>
                  <a:gd name="connsiteX119" fmla="*/ 4243 w 327284"/>
                  <a:gd name="connsiteY119" fmla="*/ 93640 h 186673"/>
                  <a:gd name="connsiteX120" fmla="*/ 6515 w 327284"/>
                  <a:gd name="connsiteY120" fmla="*/ 101519 h 186673"/>
                  <a:gd name="connsiteX121" fmla="*/ 6515 w 327284"/>
                  <a:gd name="connsiteY121" fmla="*/ 102731 h 186673"/>
                  <a:gd name="connsiteX122" fmla="*/ 6212 w 327284"/>
                  <a:gd name="connsiteY122" fmla="*/ 104398 h 186673"/>
                  <a:gd name="connsiteX123" fmla="*/ 4848 w 327284"/>
                  <a:gd name="connsiteY123" fmla="*/ 103640 h 186673"/>
                  <a:gd name="connsiteX124" fmla="*/ 3788 w 327284"/>
                  <a:gd name="connsiteY124" fmla="*/ 102731 h 186673"/>
                  <a:gd name="connsiteX125" fmla="*/ 2727 w 327284"/>
                  <a:gd name="connsiteY125" fmla="*/ 105307 h 186673"/>
                  <a:gd name="connsiteX126" fmla="*/ 8182 w 327284"/>
                  <a:gd name="connsiteY126" fmla="*/ 108034 h 186673"/>
                  <a:gd name="connsiteX127" fmla="*/ 9243 w 327284"/>
                  <a:gd name="connsiteY127" fmla="*/ 111519 h 186673"/>
                  <a:gd name="connsiteX128" fmla="*/ 10303 w 327284"/>
                  <a:gd name="connsiteY128" fmla="*/ 113337 h 186673"/>
                  <a:gd name="connsiteX129" fmla="*/ 10303 w 327284"/>
                  <a:gd name="connsiteY129" fmla="*/ 114398 h 186673"/>
                  <a:gd name="connsiteX130" fmla="*/ 9697 w 327284"/>
                  <a:gd name="connsiteY130" fmla="*/ 115307 h 186673"/>
                  <a:gd name="connsiteX131" fmla="*/ 10000 w 327284"/>
                  <a:gd name="connsiteY131" fmla="*/ 116519 h 186673"/>
                  <a:gd name="connsiteX132" fmla="*/ 10606 w 327284"/>
                  <a:gd name="connsiteY132" fmla="*/ 117731 h 186673"/>
                  <a:gd name="connsiteX133" fmla="*/ 12576 w 327284"/>
                  <a:gd name="connsiteY133" fmla="*/ 123792 h 186673"/>
                  <a:gd name="connsiteX134" fmla="*/ 12576 w 327284"/>
                  <a:gd name="connsiteY134" fmla="*/ 124701 h 186673"/>
                  <a:gd name="connsiteX135" fmla="*/ 12273 w 327284"/>
                  <a:gd name="connsiteY135" fmla="*/ 125762 h 186673"/>
                  <a:gd name="connsiteX136" fmla="*/ 13334 w 327284"/>
                  <a:gd name="connsiteY136" fmla="*/ 129702 h 186673"/>
                  <a:gd name="connsiteX137" fmla="*/ 14698 w 327284"/>
                  <a:gd name="connsiteY137" fmla="*/ 133490 h 186673"/>
                  <a:gd name="connsiteX138" fmla="*/ 14546 w 327284"/>
                  <a:gd name="connsiteY138" fmla="*/ 138793 h 186673"/>
                  <a:gd name="connsiteX139" fmla="*/ 18486 w 327284"/>
                  <a:gd name="connsiteY139" fmla="*/ 143035 h 186673"/>
                  <a:gd name="connsiteX140" fmla="*/ 19849 w 327284"/>
                  <a:gd name="connsiteY140" fmla="*/ 147581 h 186673"/>
                  <a:gd name="connsiteX141" fmla="*/ 19849 w 327284"/>
                  <a:gd name="connsiteY141" fmla="*/ 149096 h 186673"/>
                  <a:gd name="connsiteX142" fmla="*/ 18486 w 327284"/>
                  <a:gd name="connsiteY142" fmla="*/ 159400 h 186673"/>
                  <a:gd name="connsiteX143" fmla="*/ 25153 w 327284"/>
                  <a:gd name="connsiteY143" fmla="*/ 171218 h 186673"/>
                  <a:gd name="connsiteX144" fmla="*/ 25455 w 327284"/>
                  <a:gd name="connsiteY144" fmla="*/ 175158 h 186673"/>
                  <a:gd name="connsiteX145" fmla="*/ 29546 w 327284"/>
                  <a:gd name="connsiteY145" fmla="*/ 173946 h 186673"/>
                  <a:gd name="connsiteX146" fmla="*/ 35001 w 327284"/>
                  <a:gd name="connsiteY146" fmla="*/ 175916 h 186673"/>
                  <a:gd name="connsiteX147" fmla="*/ 37577 w 327284"/>
                  <a:gd name="connsiteY147" fmla="*/ 177582 h 186673"/>
                  <a:gd name="connsiteX148" fmla="*/ 39698 w 327284"/>
                  <a:gd name="connsiteY148" fmla="*/ 177885 h 186673"/>
                  <a:gd name="connsiteX149" fmla="*/ 42577 w 327284"/>
                  <a:gd name="connsiteY149" fmla="*/ 176976 h 186673"/>
                  <a:gd name="connsiteX150" fmla="*/ 46668 w 327284"/>
                  <a:gd name="connsiteY150" fmla="*/ 176825 h 186673"/>
                  <a:gd name="connsiteX151" fmla="*/ 49395 w 327284"/>
                  <a:gd name="connsiteY151" fmla="*/ 176218 h 186673"/>
                  <a:gd name="connsiteX152" fmla="*/ 56517 w 327284"/>
                  <a:gd name="connsiteY152" fmla="*/ 172128 h 186673"/>
                  <a:gd name="connsiteX153" fmla="*/ 60305 w 327284"/>
                  <a:gd name="connsiteY153" fmla="*/ 173643 h 186673"/>
                  <a:gd name="connsiteX154" fmla="*/ 63942 w 327284"/>
                  <a:gd name="connsiteY154" fmla="*/ 173037 h 186673"/>
                  <a:gd name="connsiteX155" fmla="*/ 68033 w 327284"/>
                  <a:gd name="connsiteY155" fmla="*/ 172128 h 186673"/>
                  <a:gd name="connsiteX156" fmla="*/ 70003 w 327284"/>
                  <a:gd name="connsiteY156" fmla="*/ 168794 h 186673"/>
                  <a:gd name="connsiteX157" fmla="*/ 71518 w 327284"/>
                  <a:gd name="connsiteY157" fmla="*/ 167127 h 186673"/>
                  <a:gd name="connsiteX158" fmla="*/ 77730 w 327284"/>
                  <a:gd name="connsiteY158" fmla="*/ 165157 h 186673"/>
                  <a:gd name="connsiteX159" fmla="*/ 81518 w 327284"/>
                  <a:gd name="connsiteY159" fmla="*/ 160612 h 186673"/>
                  <a:gd name="connsiteX160" fmla="*/ 84852 w 327284"/>
                  <a:gd name="connsiteY160" fmla="*/ 157733 h 186673"/>
                  <a:gd name="connsiteX161" fmla="*/ 91973 w 327284"/>
                  <a:gd name="connsiteY161" fmla="*/ 156218 h 186673"/>
                  <a:gd name="connsiteX162" fmla="*/ 99700 w 327284"/>
                  <a:gd name="connsiteY162" fmla="*/ 155460 h 186673"/>
                  <a:gd name="connsiteX163" fmla="*/ 107883 w 327284"/>
                  <a:gd name="connsiteY163" fmla="*/ 155763 h 186673"/>
                  <a:gd name="connsiteX164" fmla="*/ 112277 w 327284"/>
                  <a:gd name="connsiteY164" fmla="*/ 155309 h 186673"/>
                  <a:gd name="connsiteX165" fmla="*/ 115762 w 327284"/>
                  <a:gd name="connsiteY165" fmla="*/ 154399 h 186673"/>
                  <a:gd name="connsiteX166" fmla="*/ 120913 w 327284"/>
                  <a:gd name="connsiteY166" fmla="*/ 152127 h 186673"/>
                  <a:gd name="connsiteX167" fmla="*/ 128186 w 327284"/>
                  <a:gd name="connsiteY167" fmla="*/ 150460 h 186673"/>
                  <a:gd name="connsiteX168" fmla="*/ 132732 w 327284"/>
                  <a:gd name="connsiteY168" fmla="*/ 148945 h 186673"/>
                  <a:gd name="connsiteX169" fmla="*/ 138944 w 327284"/>
                  <a:gd name="connsiteY169" fmla="*/ 143490 h 186673"/>
                  <a:gd name="connsiteX170" fmla="*/ 145005 w 327284"/>
                  <a:gd name="connsiteY170" fmla="*/ 140763 h 186673"/>
                  <a:gd name="connsiteX171" fmla="*/ 146672 w 327284"/>
                  <a:gd name="connsiteY171" fmla="*/ 139247 h 186673"/>
                  <a:gd name="connsiteX172" fmla="*/ 148642 w 327284"/>
                  <a:gd name="connsiteY172" fmla="*/ 138338 h 186673"/>
                  <a:gd name="connsiteX173" fmla="*/ 156521 w 327284"/>
                  <a:gd name="connsiteY173" fmla="*/ 139702 h 186673"/>
                  <a:gd name="connsiteX174" fmla="*/ 161218 w 327284"/>
                  <a:gd name="connsiteY174" fmla="*/ 139399 h 186673"/>
                  <a:gd name="connsiteX175" fmla="*/ 165158 w 327284"/>
                  <a:gd name="connsiteY175" fmla="*/ 138338 h 186673"/>
                  <a:gd name="connsiteX176" fmla="*/ 167127 w 327284"/>
                  <a:gd name="connsiteY176" fmla="*/ 138187 h 186673"/>
                  <a:gd name="connsiteX177" fmla="*/ 170158 w 327284"/>
                  <a:gd name="connsiteY177" fmla="*/ 136217 h 186673"/>
                  <a:gd name="connsiteX178" fmla="*/ 174249 w 327284"/>
                  <a:gd name="connsiteY178" fmla="*/ 132277 h 186673"/>
                  <a:gd name="connsiteX179" fmla="*/ 176370 w 327284"/>
                  <a:gd name="connsiteY179" fmla="*/ 129853 h 186673"/>
                  <a:gd name="connsiteX180" fmla="*/ 177582 w 327284"/>
                  <a:gd name="connsiteY180" fmla="*/ 126974 h 186673"/>
                  <a:gd name="connsiteX181" fmla="*/ 179097 w 327284"/>
                  <a:gd name="connsiteY181" fmla="*/ 125762 h 186673"/>
                  <a:gd name="connsiteX182" fmla="*/ 185916 w 327284"/>
                  <a:gd name="connsiteY182" fmla="*/ 121974 h 186673"/>
                  <a:gd name="connsiteX183" fmla="*/ 191371 w 327284"/>
                  <a:gd name="connsiteY183" fmla="*/ 119550 h 186673"/>
                  <a:gd name="connsiteX184" fmla="*/ 201220 w 327284"/>
                  <a:gd name="connsiteY184" fmla="*/ 116671 h 186673"/>
                  <a:gd name="connsiteX185" fmla="*/ 208341 w 327284"/>
                  <a:gd name="connsiteY185" fmla="*/ 116065 h 186673"/>
                  <a:gd name="connsiteX186" fmla="*/ 213038 w 327284"/>
                  <a:gd name="connsiteY186" fmla="*/ 113943 h 186673"/>
                  <a:gd name="connsiteX187" fmla="*/ 218190 w 327284"/>
                  <a:gd name="connsiteY187" fmla="*/ 110913 h 186673"/>
                  <a:gd name="connsiteX188" fmla="*/ 231524 w 327284"/>
                  <a:gd name="connsiteY188" fmla="*/ 108034 h 186673"/>
                  <a:gd name="connsiteX189" fmla="*/ 239857 w 327284"/>
                  <a:gd name="connsiteY189" fmla="*/ 105610 h 186673"/>
                  <a:gd name="connsiteX190" fmla="*/ 247585 w 327284"/>
                  <a:gd name="connsiteY190" fmla="*/ 102579 h 186673"/>
                  <a:gd name="connsiteX191" fmla="*/ 249706 w 327284"/>
                  <a:gd name="connsiteY191" fmla="*/ 101367 h 186673"/>
                  <a:gd name="connsiteX192" fmla="*/ 251525 w 327284"/>
                  <a:gd name="connsiteY192" fmla="*/ 99700 h 186673"/>
                  <a:gd name="connsiteX193" fmla="*/ 253797 w 327284"/>
                  <a:gd name="connsiteY193" fmla="*/ 99094 h 186673"/>
                  <a:gd name="connsiteX194" fmla="*/ 257434 w 327284"/>
                  <a:gd name="connsiteY194" fmla="*/ 96973 h 186673"/>
                  <a:gd name="connsiteX195" fmla="*/ 260767 w 327284"/>
                  <a:gd name="connsiteY195" fmla="*/ 95610 h 186673"/>
                  <a:gd name="connsiteX196" fmla="*/ 264403 w 327284"/>
                  <a:gd name="connsiteY196" fmla="*/ 93640 h 186673"/>
                  <a:gd name="connsiteX197" fmla="*/ 264555 w 327284"/>
                  <a:gd name="connsiteY197" fmla="*/ 90761 h 186673"/>
                  <a:gd name="connsiteX198" fmla="*/ 263192 w 327284"/>
                  <a:gd name="connsiteY198" fmla="*/ 85306 h 186673"/>
                  <a:gd name="connsiteX199" fmla="*/ 264858 w 327284"/>
                  <a:gd name="connsiteY199" fmla="*/ 79245 h 186673"/>
                  <a:gd name="connsiteX200" fmla="*/ 267282 w 327284"/>
                  <a:gd name="connsiteY200" fmla="*/ 75760 h 186673"/>
                  <a:gd name="connsiteX201" fmla="*/ 270616 w 327284"/>
                  <a:gd name="connsiteY201" fmla="*/ 73033 h 186673"/>
                  <a:gd name="connsiteX202" fmla="*/ 274253 w 327284"/>
                  <a:gd name="connsiteY202" fmla="*/ 70760 h 186673"/>
                  <a:gd name="connsiteX203" fmla="*/ 288041 w 327284"/>
                  <a:gd name="connsiteY203" fmla="*/ 65760 h 186673"/>
                  <a:gd name="connsiteX204" fmla="*/ 286374 w 327284"/>
                  <a:gd name="connsiteY204" fmla="*/ 62123 h 186673"/>
                  <a:gd name="connsiteX205" fmla="*/ 285011 w 327284"/>
                  <a:gd name="connsiteY205" fmla="*/ 58942 h 186673"/>
                  <a:gd name="connsiteX206" fmla="*/ 318497 w 327284"/>
                  <a:gd name="connsiteY206" fmla="*/ 176976 h 186673"/>
                  <a:gd name="connsiteX207" fmla="*/ 311072 w 327284"/>
                  <a:gd name="connsiteY207" fmla="*/ 177127 h 186673"/>
                  <a:gd name="connsiteX208" fmla="*/ 308496 w 327284"/>
                  <a:gd name="connsiteY208" fmla="*/ 178037 h 186673"/>
                  <a:gd name="connsiteX209" fmla="*/ 306830 w 327284"/>
                  <a:gd name="connsiteY209" fmla="*/ 177734 h 186673"/>
                  <a:gd name="connsiteX210" fmla="*/ 303344 w 327284"/>
                  <a:gd name="connsiteY210" fmla="*/ 175764 h 186673"/>
                  <a:gd name="connsiteX211" fmla="*/ 300465 w 327284"/>
                  <a:gd name="connsiteY211" fmla="*/ 175461 h 186673"/>
                  <a:gd name="connsiteX212" fmla="*/ 297587 w 327284"/>
                  <a:gd name="connsiteY212" fmla="*/ 176976 h 186673"/>
                  <a:gd name="connsiteX213" fmla="*/ 296829 w 327284"/>
                  <a:gd name="connsiteY213" fmla="*/ 177885 h 186673"/>
                  <a:gd name="connsiteX214" fmla="*/ 296375 w 327284"/>
                  <a:gd name="connsiteY214" fmla="*/ 178794 h 186673"/>
                  <a:gd name="connsiteX215" fmla="*/ 294405 w 327284"/>
                  <a:gd name="connsiteY215" fmla="*/ 180764 h 186673"/>
                  <a:gd name="connsiteX216" fmla="*/ 299405 w 327284"/>
                  <a:gd name="connsiteY216" fmla="*/ 183794 h 186673"/>
                  <a:gd name="connsiteX217" fmla="*/ 302132 w 327284"/>
                  <a:gd name="connsiteY217" fmla="*/ 186067 h 186673"/>
                  <a:gd name="connsiteX218" fmla="*/ 305466 w 327284"/>
                  <a:gd name="connsiteY218" fmla="*/ 186673 h 186673"/>
                  <a:gd name="connsiteX219" fmla="*/ 316678 w 327284"/>
                  <a:gd name="connsiteY219" fmla="*/ 185461 h 186673"/>
                  <a:gd name="connsiteX220" fmla="*/ 320618 w 327284"/>
                  <a:gd name="connsiteY220" fmla="*/ 183037 h 186673"/>
                  <a:gd name="connsiteX221" fmla="*/ 324557 w 327284"/>
                  <a:gd name="connsiteY221" fmla="*/ 181976 h 186673"/>
                  <a:gd name="connsiteX222" fmla="*/ 325618 w 327284"/>
                  <a:gd name="connsiteY222" fmla="*/ 180916 h 186673"/>
                  <a:gd name="connsiteX223" fmla="*/ 327285 w 327284"/>
                  <a:gd name="connsiteY223" fmla="*/ 180158 h 186673"/>
                  <a:gd name="connsiteX224" fmla="*/ 318497 w 327284"/>
                  <a:gd name="connsiteY224" fmla="*/ 176976 h 18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327284" h="186673">
                    <a:moveTo>
                      <a:pt x="5152" y="146823"/>
                    </a:moveTo>
                    <a:lnTo>
                      <a:pt x="3939" y="149096"/>
                    </a:lnTo>
                    <a:lnTo>
                      <a:pt x="5758" y="148187"/>
                    </a:lnTo>
                    <a:lnTo>
                      <a:pt x="6818" y="146520"/>
                    </a:lnTo>
                    <a:lnTo>
                      <a:pt x="6515" y="146369"/>
                    </a:lnTo>
                    <a:lnTo>
                      <a:pt x="5152" y="146823"/>
                    </a:lnTo>
                    <a:close/>
                    <a:moveTo>
                      <a:pt x="606" y="100913"/>
                    </a:moveTo>
                    <a:lnTo>
                      <a:pt x="0" y="103337"/>
                    </a:lnTo>
                    <a:lnTo>
                      <a:pt x="303" y="104398"/>
                    </a:lnTo>
                    <a:lnTo>
                      <a:pt x="1212" y="103792"/>
                    </a:lnTo>
                    <a:lnTo>
                      <a:pt x="1818" y="103034"/>
                    </a:lnTo>
                    <a:lnTo>
                      <a:pt x="2273" y="101973"/>
                    </a:lnTo>
                    <a:lnTo>
                      <a:pt x="1667" y="100155"/>
                    </a:lnTo>
                    <a:lnTo>
                      <a:pt x="606" y="100913"/>
                    </a:lnTo>
                    <a:close/>
                    <a:moveTo>
                      <a:pt x="3939" y="139702"/>
                    </a:moveTo>
                    <a:lnTo>
                      <a:pt x="5606" y="141217"/>
                    </a:lnTo>
                    <a:lnTo>
                      <a:pt x="6061" y="141369"/>
                    </a:lnTo>
                    <a:lnTo>
                      <a:pt x="6364" y="140763"/>
                    </a:lnTo>
                    <a:lnTo>
                      <a:pt x="6667" y="139702"/>
                    </a:lnTo>
                    <a:lnTo>
                      <a:pt x="5606" y="138187"/>
                    </a:lnTo>
                    <a:lnTo>
                      <a:pt x="3939" y="139702"/>
                    </a:lnTo>
                    <a:close/>
                    <a:moveTo>
                      <a:pt x="285011" y="58942"/>
                    </a:moveTo>
                    <a:lnTo>
                      <a:pt x="283344" y="55305"/>
                    </a:lnTo>
                    <a:lnTo>
                      <a:pt x="281677" y="51668"/>
                    </a:lnTo>
                    <a:lnTo>
                      <a:pt x="280465" y="49093"/>
                    </a:lnTo>
                    <a:lnTo>
                      <a:pt x="278495" y="48183"/>
                    </a:lnTo>
                    <a:lnTo>
                      <a:pt x="277283" y="45456"/>
                    </a:lnTo>
                    <a:lnTo>
                      <a:pt x="276071" y="42729"/>
                    </a:lnTo>
                    <a:lnTo>
                      <a:pt x="274858" y="40001"/>
                    </a:lnTo>
                    <a:lnTo>
                      <a:pt x="273646" y="37274"/>
                    </a:lnTo>
                    <a:lnTo>
                      <a:pt x="272434" y="34547"/>
                    </a:lnTo>
                    <a:lnTo>
                      <a:pt x="271222" y="31668"/>
                    </a:lnTo>
                    <a:lnTo>
                      <a:pt x="270010" y="28789"/>
                    </a:lnTo>
                    <a:lnTo>
                      <a:pt x="268798" y="25910"/>
                    </a:lnTo>
                    <a:lnTo>
                      <a:pt x="267586" y="23031"/>
                    </a:lnTo>
                    <a:lnTo>
                      <a:pt x="266373" y="20152"/>
                    </a:lnTo>
                    <a:lnTo>
                      <a:pt x="265161" y="17273"/>
                    </a:lnTo>
                    <a:lnTo>
                      <a:pt x="263949" y="14394"/>
                    </a:lnTo>
                    <a:lnTo>
                      <a:pt x="262737" y="11515"/>
                    </a:lnTo>
                    <a:lnTo>
                      <a:pt x="261525" y="8637"/>
                    </a:lnTo>
                    <a:lnTo>
                      <a:pt x="260313" y="5758"/>
                    </a:lnTo>
                    <a:lnTo>
                      <a:pt x="259101" y="2879"/>
                    </a:lnTo>
                    <a:lnTo>
                      <a:pt x="257888" y="0"/>
                    </a:lnTo>
                    <a:lnTo>
                      <a:pt x="251525" y="909"/>
                    </a:lnTo>
                    <a:lnTo>
                      <a:pt x="245312" y="1818"/>
                    </a:lnTo>
                    <a:lnTo>
                      <a:pt x="238342" y="2727"/>
                    </a:lnTo>
                    <a:lnTo>
                      <a:pt x="229857" y="3939"/>
                    </a:lnTo>
                    <a:lnTo>
                      <a:pt x="223190" y="4849"/>
                    </a:lnTo>
                    <a:lnTo>
                      <a:pt x="213493" y="6212"/>
                    </a:lnTo>
                    <a:lnTo>
                      <a:pt x="204856" y="7424"/>
                    </a:lnTo>
                    <a:lnTo>
                      <a:pt x="196674" y="8485"/>
                    </a:lnTo>
                    <a:lnTo>
                      <a:pt x="188492" y="9546"/>
                    </a:lnTo>
                    <a:lnTo>
                      <a:pt x="181522" y="10455"/>
                    </a:lnTo>
                    <a:lnTo>
                      <a:pt x="177431" y="11515"/>
                    </a:lnTo>
                    <a:lnTo>
                      <a:pt x="172582" y="13940"/>
                    </a:lnTo>
                    <a:lnTo>
                      <a:pt x="165158" y="17728"/>
                    </a:lnTo>
                    <a:lnTo>
                      <a:pt x="157582" y="21516"/>
                    </a:lnTo>
                    <a:lnTo>
                      <a:pt x="153642" y="23486"/>
                    </a:lnTo>
                    <a:lnTo>
                      <a:pt x="149551" y="28486"/>
                    </a:lnTo>
                    <a:lnTo>
                      <a:pt x="147429" y="31062"/>
                    </a:lnTo>
                    <a:lnTo>
                      <a:pt x="143641" y="35759"/>
                    </a:lnTo>
                    <a:lnTo>
                      <a:pt x="140762" y="39244"/>
                    </a:lnTo>
                    <a:lnTo>
                      <a:pt x="137429" y="43335"/>
                    </a:lnTo>
                    <a:lnTo>
                      <a:pt x="135914" y="46971"/>
                    </a:lnTo>
                    <a:lnTo>
                      <a:pt x="133641" y="52729"/>
                    </a:lnTo>
                    <a:lnTo>
                      <a:pt x="131672" y="54244"/>
                    </a:lnTo>
                    <a:lnTo>
                      <a:pt x="128489" y="56063"/>
                    </a:lnTo>
                    <a:lnTo>
                      <a:pt x="125610" y="57426"/>
                    </a:lnTo>
                    <a:lnTo>
                      <a:pt x="121065" y="57275"/>
                    </a:lnTo>
                    <a:lnTo>
                      <a:pt x="118489" y="53790"/>
                    </a:lnTo>
                    <a:lnTo>
                      <a:pt x="115762" y="50002"/>
                    </a:lnTo>
                    <a:lnTo>
                      <a:pt x="114398" y="48487"/>
                    </a:lnTo>
                    <a:lnTo>
                      <a:pt x="113186" y="48335"/>
                    </a:lnTo>
                    <a:lnTo>
                      <a:pt x="108640" y="48790"/>
                    </a:lnTo>
                    <a:lnTo>
                      <a:pt x="103034" y="49396"/>
                    </a:lnTo>
                    <a:lnTo>
                      <a:pt x="96519" y="48790"/>
                    </a:lnTo>
                    <a:lnTo>
                      <a:pt x="88943" y="48032"/>
                    </a:lnTo>
                    <a:lnTo>
                      <a:pt x="81821" y="47426"/>
                    </a:lnTo>
                    <a:lnTo>
                      <a:pt x="78336" y="46971"/>
                    </a:lnTo>
                    <a:lnTo>
                      <a:pt x="73639" y="44547"/>
                    </a:lnTo>
                    <a:lnTo>
                      <a:pt x="72427" y="44092"/>
                    </a:lnTo>
                    <a:lnTo>
                      <a:pt x="71214" y="43941"/>
                    </a:lnTo>
                    <a:lnTo>
                      <a:pt x="65760" y="43941"/>
                    </a:lnTo>
                    <a:lnTo>
                      <a:pt x="60305" y="43941"/>
                    </a:lnTo>
                    <a:lnTo>
                      <a:pt x="54850" y="44699"/>
                    </a:lnTo>
                    <a:lnTo>
                      <a:pt x="49547" y="44395"/>
                    </a:lnTo>
                    <a:lnTo>
                      <a:pt x="44093" y="44850"/>
                    </a:lnTo>
                    <a:lnTo>
                      <a:pt x="42123" y="45759"/>
                    </a:lnTo>
                    <a:lnTo>
                      <a:pt x="40001" y="45759"/>
                    </a:lnTo>
                    <a:lnTo>
                      <a:pt x="38638" y="46517"/>
                    </a:lnTo>
                    <a:lnTo>
                      <a:pt x="37426" y="46971"/>
                    </a:lnTo>
                    <a:lnTo>
                      <a:pt x="36062" y="46214"/>
                    </a:lnTo>
                    <a:lnTo>
                      <a:pt x="34395" y="46365"/>
                    </a:lnTo>
                    <a:lnTo>
                      <a:pt x="31971" y="45759"/>
                    </a:lnTo>
                    <a:lnTo>
                      <a:pt x="30304" y="44244"/>
                    </a:lnTo>
                    <a:lnTo>
                      <a:pt x="28789" y="42880"/>
                    </a:lnTo>
                    <a:lnTo>
                      <a:pt x="27274" y="42123"/>
                    </a:lnTo>
                    <a:lnTo>
                      <a:pt x="25455" y="41668"/>
                    </a:lnTo>
                    <a:lnTo>
                      <a:pt x="23940" y="41668"/>
                    </a:lnTo>
                    <a:lnTo>
                      <a:pt x="21970" y="42577"/>
                    </a:lnTo>
                    <a:lnTo>
                      <a:pt x="20758" y="43335"/>
                    </a:lnTo>
                    <a:lnTo>
                      <a:pt x="17728" y="46062"/>
                    </a:lnTo>
                    <a:lnTo>
                      <a:pt x="17576" y="46971"/>
                    </a:lnTo>
                    <a:lnTo>
                      <a:pt x="18940" y="48638"/>
                    </a:lnTo>
                    <a:lnTo>
                      <a:pt x="18486" y="49396"/>
                    </a:lnTo>
                    <a:lnTo>
                      <a:pt x="16667" y="50305"/>
                    </a:lnTo>
                    <a:lnTo>
                      <a:pt x="16061" y="52881"/>
                    </a:lnTo>
                    <a:lnTo>
                      <a:pt x="15758" y="54244"/>
                    </a:lnTo>
                    <a:lnTo>
                      <a:pt x="15455" y="57578"/>
                    </a:lnTo>
                    <a:lnTo>
                      <a:pt x="16212" y="60305"/>
                    </a:lnTo>
                    <a:lnTo>
                      <a:pt x="17273" y="61214"/>
                    </a:lnTo>
                    <a:lnTo>
                      <a:pt x="17273" y="62426"/>
                    </a:lnTo>
                    <a:lnTo>
                      <a:pt x="16667" y="64699"/>
                    </a:lnTo>
                    <a:lnTo>
                      <a:pt x="15000" y="65457"/>
                    </a:lnTo>
                    <a:lnTo>
                      <a:pt x="13788" y="67578"/>
                    </a:lnTo>
                    <a:lnTo>
                      <a:pt x="13031" y="68639"/>
                    </a:lnTo>
                    <a:lnTo>
                      <a:pt x="11667" y="69851"/>
                    </a:lnTo>
                    <a:lnTo>
                      <a:pt x="6515" y="73639"/>
                    </a:lnTo>
                    <a:lnTo>
                      <a:pt x="7576" y="83185"/>
                    </a:lnTo>
                    <a:lnTo>
                      <a:pt x="4243" y="93640"/>
                    </a:lnTo>
                    <a:lnTo>
                      <a:pt x="6515" y="101519"/>
                    </a:lnTo>
                    <a:lnTo>
                      <a:pt x="6515" y="102731"/>
                    </a:lnTo>
                    <a:lnTo>
                      <a:pt x="6212" y="104398"/>
                    </a:lnTo>
                    <a:lnTo>
                      <a:pt x="4848" y="103640"/>
                    </a:lnTo>
                    <a:lnTo>
                      <a:pt x="3788" y="102731"/>
                    </a:lnTo>
                    <a:lnTo>
                      <a:pt x="2727" y="105307"/>
                    </a:lnTo>
                    <a:lnTo>
                      <a:pt x="8182" y="108034"/>
                    </a:lnTo>
                    <a:lnTo>
                      <a:pt x="9243" y="111519"/>
                    </a:lnTo>
                    <a:lnTo>
                      <a:pt x="10303" y="113337"/>
                    </a:lnTo>
                    <a:lnTo>
                      <a:pt x="10303" y="114398"/>
                    </a:lnTo>
                    <a:lnTo>
                      <a:pt x="9697" y="115307"/>
                    </a:lnTo>
                    <a:lnTo>
                      <a:pt x="10000" y="116519"/>
                    </a:lnTo>
                    <a:lnTo>
                      <a:pt x="10606" y="117731"/>
                    </a:lnTo>
                    <a:lnTo>
                      <a:pt x="12576" y="123792"/>
                    </a:lnTo>
                    <a:lnTo>
                      <a:pt x="12576" y="124701"/>
                    </a:lnTo>
                    <a:lnTo>
                      <a:pt x="12273" y="125762"/>
                    </a:lnTo>
                    <a:lnTo>
                      <a:pt x="13334" y="129702"/>
                    </a:lnTo>
                    <a:lnTo>
                      <a:pt x="14698" y="133490"/>
                    </a:lnTo>
                    <a:lnTo>
                      <a:pt x="14546" y="138793"/>
                    </a:lnTo>
                    <a:lnTo>
                      <a:pt x="18486" y="143035"/>
                    </a:lnTo>
                    <a:lnTo>
                      <a:pt x="19849" y="147581"/>
                    </a:lnTo>
                    <a:lnTo>
                      <a:pt x="19849" y="149096"/>
                    </a:lnTo>
                    <a:lnTo>
                      <a:pt x="18486" y="159400"/>
                    </a:lnTo>
                    <a:lnTo>
                      <a:pt x="25153" y="171218"/>
                    </a:lnTo>
                    <a:lnTo>
                      <a:pt x="25455" y="175158"/>
                    </a:lnTo>
                    <a:lnTo>
                      <a:pt x="29546" y="173946"/>
                    </a:lnTo>
                    <a:lnTo>
                      <a:pt x="35001" y="175916"/>
                    </a:lnTo>
                    <a:lnTo>
                      <a:pt x="37577" y="177582"/>
                    </a:lnTo>
                    <a:lnTo>
                      <a:pt x="39698" y="177885"/>
                    </a:lnTo>
                    <a:lnTo>
                      <a:pt x="42577" y="176976"/>
                    </a:lnTo>
                    <a:lnTo>
                      <a:pt x="46668" y="176825"/>
                    </a:lnTo>
                    <a:lnTo>
                      <a:pt x="49395" y="176218"/>
                    </a:lnTo>
                    <a:lnTo>
                      <a:pt x="56517" y="172128"/>
                    </a:lnTo>
                    <a:lnTo>
                      <a:pt x="60305" y="173643"/>
                    </a:lnTo>
                    <a:lnTo>
                      <a:pt x="63942" y="173037"/>
                    </a:lnTo>
                    <a:lnTo>
                      <a:pt x="68033" y="172128"/>
                    </a:lnTo>
                    <a:lnTo>
                      <a:pt x="70003" y="168794"/>
                    </a:lnTo>
                    <a:lnTo>
                      <a:pt x="71518" y="167127"/>
                    </a:lnTo>
                    <a:lnTo>
                      <a:pt x="77730" y="165157"/>
                    </a:lnTo>
                    <a:lnTo>
                      <a:pt x="81518" y="160612"/>
                    </a:lnTo>
                    <a:lnTo>
                      <a:pt x="84852" y="157733"/>
                    </a:lnTo>
                    <a:lnTo>
                      <a:pt x="91973" y="156218"/>
                    </a:lnTo>
                    <a:lnTo>
                      <a:pt x="99700" y="155460"/>
                    </a:lnTo>
                    <a:lnTo>
                      <a:pt x="107883" y="155763"/>
                    </a:lnTo>
                    <a:lnTo>
                      <a:pt x="112277" y="155309"/>
                    </a:lnTo>
                    <a:lnTo>
                      <a:pt x="115762" y="154399"/>
                    </a:lnTo>
                    <a:lnTo>
                      <a:pt x="120913" y="152127"/>
                    </a:lnTo>
                    <a:lnTo>
                      <a:pt x="128186" y="150460"/>
                    </a:lnTo>
                    <a:lnTo>
                      <a:pt x="132732" y="148945"/>
                    </a:lnTo>
                    <a:lnTo>
                      <a:pt x="138944" y="143490"/>
                    </a:lnTo>
                    <a:lnTo>
                      <a:pt x="145005" y="140763"/>
                    </a:lnTo>
                    <a:lnTo>
                      <a:pt x="146672" y="139247"/>
                    </a:lnTo>
                    <a:lnTo>
                      <a:pt x="148642" y="138338"/>
                    </a:lnTo>
                    <a:lnTo>
                      <a:pt x="156521" y="139702"/>
                    </a:lnTo>
                    <a:lnTo>
                      <a:pt x="161218" y="139399"/>
                    </a:lnTo>
                    <a:lnTo>
                      <a:pt x="165158" y="138338"/>
                    </a:lnTo>
                    <a:lnTo>
                      <a:pt x="167127" y="138187"/>
                    </a:lnTo>
                    <a:lnTo>
                      <a:pt x="170158" y="136217"/>
                    </a:lnTo>
                    <a:lnTo>
                      <a:pt x="174249" y="132277"/>
                    </a:lnTo>
                    <a:lnTo>
                      <a:pt x="176370" y="129853"/>
                    </a:lnTo>
                    <a:lnTo>
                      <a:pt x="177582" y="126974"/>
                    </a:lnTo>
                    <a:lnTo>
                      <a:pt x="179097" y="125762"/>
                    </a:lnTo>
                    <a:lnTo>
                      <a:pt x="185916" y="121974"/>
                    </a:lnTo>
                    <a:lnTo>
                      <a:pt x="191371" y="119550"/>
                    </a:lnTo>
                    <a:lnTo>
                      <a:pt x="201220" y="116671"/>
                    </a:lnTo>
                    <a:lnTo>
                      <a:pt x="208341" y="116065"/>
                    </a:lnTo>
                    <a:lnTo>
                      <a:pt x="213038" y="113943"/>
                    </a:lnTo>
                    <a:lnTo>
                      <a:pt x="218190" y="110913"/>
                    </a:lnTo>
                    <a:lnTo>
                      <a:pt x="231524" y="108034"/>
                    </a:lnTo>
                    <a:lnTo>
                      <a:pt x="239857" y="105610"/>
                    </a:lnTo>
                    <a:lnTo>
                      <a:pt x="247585" y="102579"/>
                    </a:lnTo>
                    <a:lnTo>
                      <a:pt x="249706" y="101367"/>
                    </a:lnTo>
                    <a:lnTo>
                      <a:pt x="251525" y="99700"/>
                    </a:lnTo>
                    <a:lnTo>
                      <a:pt x="253797" y="99094"/>
                    </a:lnTo>
                    <a:lnTo>
                      <a:pt x="257434" y="96973"/>
                    </a:lnTo>
                    <a:lnTo>
                      <a:pt x="260767" y="95610"/>
                    </a:lnTo>
                    <a:lnTo>
                      <a:pt x="264403" y="93640"/>
                    </a:lnTo>
                    <a:lnTo>
                      <a:pt x="264555" y="90761"/>
                    </a:lnTo>
                    <a:lnTo>
                      <a:pt x="263192" y="85306"/>
                    </a:lnTo>
                    <a:lnTo>
                      <a:pt x="264858" y="79245"/>
                    </a:lnTo>
                    <a:lnTo>
                      <a:pt x="267282" y="75760"/>
                    </a:lnTo>
                    <a:lnTo>
                      <a:pt x="270616" y="73033"/>
                    </a:lnTo>
                    <a:lnTo>
                      <a:pt x="274253" y="70760"/>
                    </a:lnTo>
                    <a:lnTo>
                      <a:pt x="288041" y="65760"/>
                    </a:lnTo>
                    <a:lnTo>
                      <a:pt x="286374" y="62123"/>
                    </a:lnTo>
                    <a:lnTo>
                      <a:pt x="285011" y="58942"/>
                    </a:lnTo>
                    <a:close/>
                    <a:moveTo>
                      <a:pt x="318497" y="176976"/>
                    </a:moveTo>
                    <a:lnTo>
                      <a:pt x="311072" y="177127"/>
                    </a:lnTo>
                    <a:lnTo>
                      <a:pt x="308496" y="178037"/>
                    </a:lnTo>
                    <a:lnTo>
                      <a:pt x="306830" y="177734"/>
                    </a:lnTo>
                    <a:lnTo>
                      <a:pt x="303344" y="175764"/>
                    </a:lnTo>
                    <a:lnTo>
                      <a:pt x="300465" y="175461"/>
                    </a:lnTo>
                    <a:lnTo>
                      <a:pt x="297587" y="176976"/>
                    </a:lnTo>
                    <a:lnTo>
                      <a:pt x="296829" y="177885"/>
                    </a:lnTo>
                    <a:lnTo>
                      <a:pt x="296375" y="178794"/>
                    </a:lnTo>
                    <a:lnTo>
                      <a:pt x="294405" y="180764"/>
                    </a:lnTo>
                    <a:lnTo>
                      <a:pt x="299405" y="183794"/>
                    </a:lnTo>
                    <a:lnTo>
                      <a:pt x="302132" y="186067"/>
                    </a:lnTo>
                    <a:lnTo>
                      <a:pt x="305466" y="186673"/>
                    </a:lnTo>
                    <a:lnTo>
                      <a:pt x="316678" y="185461"/>
                    </a:lnTo>
                    <a:lnTo>
                      <a:pt x="320618" y="183037"/>
                    </a:lnTo>
                    <a:lnTo>
                      <a:pt x="324557" y="181976"/>
                    </a:lnTo>
                    <a:lnTo>
                      <a:pt x="325618" y="180916"/>
                    </a:lnTo>
                    <a:lnTo>
                      <a:pt x="327285" y="180158"/>
                    </a:lnTo>
                    <a:lnTo>
                      <a:pt x="318497" y="1769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C671D0A9-B014-4D09-A64C-81C291D92C14}"/>
                  </a:ext>
                </a:extLst>
              </p:cNvPr>
              <p:cNvSpPr/>
              <p:nvPr/>
            </p:nvSpPr>
            <p:spPr>
              <a:xfrm>
                <a:off x="6325250" y="3305432"/>
                <a:ext cx="47122" cy="46365"/>
              </a:xfrm>
              <a:custGeom>
                <a:avLst/>
                <a:gdLst>
                  <a:gd name="connsiteX0" fmla="*/ 46365 w 47122"/>
                  <a:gd name="connsiteY0" fmla="*/ 19243 h 46365"/>
                  <a:gd name="connsiteX1" fmla="*/ 44698 w 47122"/>
                  <a:gd name="connsiteY1" fmla="*/ 19243 h 46365"/>
                  <a:gd name="connsiteX2" fmla="*/ 37274 w 47122"/>
                  <a:gd name="connsiteY2" fmla="*/ 16970 h 46365"/>
                  <a:gd name="connsiteX3" fmla="*/ 37577 w 47122"/>
                  <a:gd name="connsiteY3" fmla="*/ 14243 h 46365"/>
                  <a:gd name="connsiteX4" fmla="*/ 35304 w 47122"/>
                  <a:gd name="connsiteY4" fmla="*/ 12879 h 46365"/>
                  <a:gd name="connsiteX5" fmla="*/ 33031 w 47122"/>
                  <a:gd name="connsiteY5" fmla="*/ 11516 h 46365"/>
                  <a:gd name="connsiteX6" fmla="*/ 32577 w 47122"/>
                  <a:gd name="connsiteY6" fmla="*/ 10152 h 46365"/>
                  <a:gd name="connsiteX7" fmla="*/ 30001 w 47122"/>
                  <a:gd name="connsiteY7" fmla="*/ 7273 h 46365"/>
                  <a:gd name="connsiteX8" fmla="*/ 28031 w 47122"/>
                  <a:gd name="connsiteY8" fmla="*/ 5606 h 46365"/>
                  <a:gd name="connsiteX9" fmla="*/ 25607 w 47122"/>
                  <a:gd name="connsiteY9" fmla="*/ 4849 h 46365"/>
                  <a:gd name="connsiteX10" fmla="*/ 23486 w 47122"/>
                  <a:gd name="connsiteY10" fmla="*/ 3636 h 46365"/>
                  <a:gd name="connsiteX11" fmla="*/ 22274 w 47122"/>
                  <a:gd name="connsiteY11" fmla="*/ 2879 h 46365"/>
                  <a:gd name="connsiteX12" fmla="*/ 21667 w 47122"/>
                  <a:gd name="connsiteY12" fmla="*/ 1667 h 46365"/>
                  <a:gd name="connsiteX13" fmla="*/ 21667 w 47122"/>
                  <a:gd name="connsiteY13" fmla="*/ 758 h 46365"/>
                  <a:gd name="connsiteX14" fmla="*/ 21061 w 47122"/>
                  <a:gd name="connsiteY14" fmla="*/ 0 h 46365"/>
                  <a:gd name="connsiteX15" fmla="*/ 20001 w 47122"/>
                  <a:gd name="connsiteY15" fmla="*/ 152 h 46365"/>
                  <a:gd name="connsiteX16" fmla="*/ 18334 w 47122"/>
                  <a:gd name="connsiteY16" fmla="*/ 1212 h 46365"/>
                  <a:gd name="connsiteX17" fmla="*/ 16213 w 47122"/>
                  <a:gd name="connsiteY17" fmla="*/ 2121 h 46365"/>
                  <a:gd name="connsiteX18" fmla="*/ 15909 w 47122"/>
                  <a:gd name="connsiteY18" fmla="*/ 2727 h 46365"/>
                  <a:gd name="connsiteX19" fmla="*/ 16667 w 47122"/>
                  <a:gd name="connsiteY19" fmla="*/ 4394 h 46365"/>
                  <a:gd name="connsiteX20" fmla="*/ 17122 w 47122"/>
                  <a:gd name="connsiteY20" fmla="*/ 5303 h 46365"/>
                  <a:gd name="connsiteX21" fmla="*/ 16970 w 47122"/>
                  <a:gd name="connsiteY21" fmla="*/ 6364 h 46365"/>
                  <a:gd name="connsiteX22" fmla="*/ 16213 w 47122"/>
                  <a:gd name="connsiteY22" fmla="*/ 7576 h 46365"/>
                  <a:gd name="connsiteX23" fmla="*/ 12121 w 47122"/>
                  <a:gd name="connsiteY23" fmla="*/ 10303 h 46365"/>
                  <a:gd name="connsiteX24" fmla="*/ 11667 w 47122"/>
                  <a:gd name="connsiteY24" fmla="*/ 11212 h 46365"/>
                  <a:gd name="connsiteX25" fmla="*/ 12425 w 47122"/>
                  <a:gd name="connsiteY25" fmla="*/ 12728 h 46365"/>
                  <a:gd name="connsiteX26" fmla="*/ 11970 w 47122"/>
                  <a:gd name="connsiteY26" fmla="*/ 13334 h 46365"/>
                  <a:gd name="connsiteX27" fmla="*/ 8637 w 47122"/>
                  <a:gd name="connsiteY27" fmla="*/ 14394 h 46365"/>
                  <a:gd name="connsiteX28" fmla="*/ 5000 w 47122"/>
                  <a:gd name="connsiteY28" fmla="*/ 15304 h 46365"/>
                  <a:gd name="connsiteX29" fmla="*/ 4394 w 47122"/>
                  <a:gd name="connsiteY29" fmla="*/ 16819 h 46365"/>
                  <a:gd name="connsiteX30" fmla="*/ 2727 w 47122"/>
                  <a:gd name="connsiteY30" fmla="*/ 16667 h 46365"/>
                  <a:gd name="connsiteX31" fmla="*/ 606 w 47122"/>
                  <a:gd name="connsiteY31" fmla="*/ 16667 h 46365"/>
                  <a:gd name="connsiteX32" fmla="*/ 0 w 47122"/>
                  <a:gd name="connsiteY32" fmla="*/ 17576 h 46365"/>
                  <a:gd name="connsiteX33" fmla="*/ 909 w 47122"/>
                  <a:gd name="connsiteY33" fmla="*/ 19092 h 46365"/>
                  <a:gd name="connsiteX34" fmla="*/ 1667 w 47122"/>
                  <a:gd name="connsiteY34" fmla="*/ 20910 h 46365"/>
                  <a:gd name="connsiteX35" fmla="*/ 1061 w 47122"/>
                  <a:gd name="connsiteY35" fmla="*/ 23334 h 46365"/>
                  <a:gd name="connsiteX36" fmla="*/ 909 w 47122"/>
                  <a:gd name="connsiteY36" fmla="*/ 23637 h 46365"/>
                  <a:gd name="connsiteX37" fmla="*/ 1970 w 47122"/>
                  <a:gd name="connsiteY37" fmla="*/ 24395 h 46365"/>
                  <a:gd name="connsiteX38" fmla="*/ 4243 w 47122"/>
                  <a:gd name="connsiteY38" fmla="*/ 27577 h 46365"/>
                  <a:gd name="connsiteX39" fmla="*/ 5758 w 47122"/>
                  <a:gd name="connsiteY39" fmla="*/ 30456 h 46365"/>
                  <a:gd name="connsiteX40" fmla="*/ 8637 w 47122"/>
                  <a:gd name="connsiteY40" fmla="*/ 31516 h 46365"/>
                  <a:gd name="connsiteX41" fmla="*/ 10303 w 47122"/>
                  <a:gd name="connsiteY41" fmla="*/ 32577 h 46365"/>
                  <a:gd name="connsiteX42" fmla="*/ 12425 w 47122"/>
                  <a:gd name="connsiteY42" fmla="*/ 34244 h 46365"/>
                  <a:gd name="connsiteX43" fmla="*/ 13485 w 47122"/>
                  <a:gd name="connsiteY43" fmla="*/ 35910 h 46365"/>
                  <a:gd name="connsiteX44" fmla="*/ 14849 w 47122"/>
                  <a:gd name="connsiteY44" fmla="*/ 41214 h 46365"/>
                  <a:gd name="connsiteX45" fmla="*/ 15000 w 47122"/>
                  <a:gd name="connsiteY45" fmla="*/ 44244 h 46365"/>
                  <a:gd name="connsiteX46" fmla="*/ 14698 w 47122"/>
                  <a:gd name="connsiteY46" fmla="*/ 45759 h 46365"/>
                  <a:gd name="connsiteX47" fmla="*/ 15000 w 47122"/>
                  <a:gd name="connsiteY47" fmla="*/ 45911 h 46365"/>
                  <a:gd name="connsiteX48" fmla="*/ 18182 w 47122"/>
                  <a:gd name="connsiteY48" fmla="*/ 46365 h 46365"/>
                  <a:gd name="connsiteX49" fmla="*/ 18940 w 47122"/>
                  <a:gd name="connsiteY49" fmla="*/ 45759 h 46365"/>
                  <a:gd name="connsiteX50" fmla="*/ 19546 w 47122"/>
                  <a:gd name="connsiteY50" fmla="*/ 44699 h 46365"/>
                  <a:gd name="connsiteX51" fmla="*/ 19698 w 47122"/>
                  <a:gd name="connsiteY51" fmla="*/ 41062 h 46365"/>
                  <a:gd name="connsiteX52" fmla="*/ 20455 w 47122"/>
                  <a:gd name="connsiteY52" fmla="*/ 39244 h 46365"/>
                  <a:gd name="connsiteX53" fmla="*/ 28183 w 47122"/>
                  <a:gd name="connsiteY53" fmla="*/ 36062 h 46365"/>
                  <a:gd name="connsiteX54" fmla="*/ 30456 w 47122"/>
                  <a:gd name="connsiteY54" fmla="*/ 35910 h 46365"/>
                  <a:gd name="connsiteX55" fmla="*/ 32122 w 47122"/>
                  <a:gd name="connsiteY55" fmla="*/ 37426 h 46365"/>
                  <a:gd name="connsiteX56" fmla="*/ 33486 w 47122"/>
                  <a:gd name="connsiteY56" fmla="*/ 38335 h 46365"/>
                  <a:gd name="connsiteX57" fmla="*/ 34395 w 47122"/>
                  <a:gd name="connsiteY57" fmla="*/ 38335 h 46365"/>
                  <a:gd name="connsiteX58" fmla="*/ 34698 w 47122"/>
                  <a:gd name="connsiteY58" fmla="*/ 37274 h 46365"/>
                  <a:gd name="connsiteX59" fmla="*/ 35607 w 47122"/>
                  <a:gd name="connsiteY59" fmla="*/ 35456 h 46365"/>
                  <a:gd name="connsiteX60" fmla="*/ 37122 w 47122"/>
                  <a:gd name="connsiteY60" fmla="*/ 34395 h 46365"/>
                  <a:gd name="connsiteX61" fmla="*/ 41820 w 47122"/>
                  <a:gd name="connsiteY61" fmla="*/ 33486 h 46365"/>
                  <a:gd name="connsiteX62" fmla="*/ 41971 w 47122"/>
                  <a:gd name="connsiteY62" fmla="*/ 33486 h 46365"/>
                  <a:gd name="connsiteX63" fmla="*/ 41365 w 47122"/>
                  <a:gd name="connsiteY63" fmla="*/ 32425 h 46365"/>
                  <a:gd name="connsiteX64" fmla="*/ 40759 w 47122"/>
                  <a:gd name="connsiteY64" fmla="*/ 30759 h 46365"/>
                  <a:gd name="connsiteX65" fmla="*/ 41062 w 47122"/>
                  <a:gd name="connsiteY65" fmla="*/ 30153 h 46365"/>
                  <a:gd name="connsiteX66" fmla="*/ 43184 w 47122"/>
                  <a:gd name="connsiteY66" fmla="*/ 28940 h 46365"/>
                  <a:gd name="connsiteX67" fmla="*/ 43486 w 47122"/>
                  <a:gd name="connsiteY67" fmla="*/ 27728 h 46365"/>
                  <a:gd name="connsiteX68" fmla="*/ 46517 w 47122"/>
                  <a:gd name="connsiteY68" fmla="*/ 21970 h 46365"/>
                  <a:gd name="connsiteX69" fmla="*/ 47123 w 47122"/>
                  <a:gd name="connsiteY69" fmla="*/ 20152 h 46365"/>
                  <a:gd name="connsiteX70" fmla="*/ 47123 w 47122"/>
                  <a:gd name="connsiteY70" fmla="*/ 19546 h 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7122" h="46365">
                    <a:moveTo>
                      <a:pt x="46365" y="19243"/>
                    </a:moveTo>
                    <a:lnTo>
                      <a:pt x="44698" y="19243"/>
                    </a:lnTo>
                    <a:lnTo>
                      <a:pt x="37274" y="16970"/>
                    </a:lnTo>
                    <a:lnTo>
                      <a:pt x="37577" y="14243"/>
                    </a:lnTo>
                    <a:lnTo>
                      <a:pt x="35304" y="12879"/>
                    </a:lnTo>
                    <a:lnTo>
                      <a:pt x="33031" y="11516"/>
                    </a:lnTo>
                    <a:lnTo>
                      <a:pt x="32577" y="10152"/>
                    </a:lnTo>
                    <a:lnTo>
                      <a:pt x="30001" y="7273"/>
                    </a:lnTo>
                    <a:lnTo>
                      <a:pt x="28031" y="5606"/>
                    </a:lnTo>
                    <a:lnTo>
                      <a:pt x="25607" y="4849"/>
                    </a:lnTo>
                    <a:lnTo>
                      <a:pt x="23486" y="3636"/>
                    </a:lnTo>
                    <a:lnTo>
                      <a:pt x="22274" y="2879"/>
                    </a:lnTo>
                    <a:lnTo>
                      <a:pt x="21667" y="1667"/>
                    </a:lnTo>
                    <a:lnTo>
                      <a:pt x="21667" y="758"/>
                    </a:lnTo>
                    <a:lnTo>
                      <a:pt x="21061" y="0"/>
                    </a:lnTo>
                    <a:lnTo>
                      <a:pt x="20001" y="152"/>
                    </a:lnTo>
                    <a:lnTo>
                      <a:pt x="18334" y="1212"/>
                    </a:lnTo>
                    <a:lnTo>
                      <a:pt x="16213" y="2121"/>
                    </a:lnTo>
                    <a:lnTo>
                      <a:pt x="15909" y="2727"/>
                    </a:lnTo>
                    <a:lnTo>
                      <a:pt x="16667" y="4394"/>
                    </a:lnTo>
                    <a:lnTo>
                      <a:pt x="17122" y="5303"/>
                    </a:lnTo>
                    <a:lnTo>
                      <a:pt x="16970" y="6364"/>
                    </a:lnTo>
                    <a:lnTo>
                      <a:pt x="16213" y="7576"/>
                    </a:lnTo>
                    <a:lnTo>
                      <a:pt x="12121" y="10303"/>
                    </a:lnTo>
                    <a:lnTo>
                      <a:pt x="11667" y="11212"/>
                    </a:lnTo>
                    <a:lnTo>
                      <a:pt x="12425" y="12728"/>
                    </a:lnTo>
                    <a:lnTo>
                      <a:pt x="11970" y="13334"/>
                    </a:lnTo>
                    <a:lnTo>
                      <a:pt x="8637" y="14394"/>
                    </a:lnTo>
                    <a:lnTo>
                      <a:pt x="5000" y="15304"/>
                    </a:lnTo>
                    <a:lnTo>
                      <a:pt x="4394" y="16819"/>
                    </a:lnTo>
                    <a:lnTo>
                      <a:pt x="2727" y="16667"/>
                    </a:lnTo>
                    <a:lnTo>
                      <a:pt x="606" y="16667"/>
                    </a:lnTo>
                    <a:lnTo>
                      <a:pt x="0" y="17576"/>
                    </a:lnTo>
                    <a:lnTo>
                      <a:pt x="909" y="19092"/>
                    </a:lnTo>
                    <a:lnTo>
                      <a:pt x="1667" y="20910"/>
                    </a:lnTo>
                    <a:lnTo>
                      <a:pt x="1061" y="23334"/>
                    </a:lnTo>
                    <a:lnTo>
                      <a:pt x="909" y="23637"/>
                    </a:lnTo>
                    <a:lnTo>
                      <a:pt x="1970" y="24395"/>
                    </a:lnTo>
                    <a:lnTo>
                      <a:pt x="4243" y="27577"/>
                    </a:lnTo>
                    <a:lnTo>
                      <a:pt x="5758" y="30456"/>
                    </a:lnTo>
                    <a:lnTo>
                      <a:pt x="8637" y="31516"/>
                    </a:lnTo>
                    <a:lnTo>
                      <a:pt x="10303" y="32577"/>
                    </a:lnTo>
                    <a:lnTo>
                      <a:pt x="12425" y="34244"/>
                    </a:lnTo>
                    <a:lnTo>
                      <a:pt x="13485" y="35910"/>
                    </a:lnTo>
                    <a:lnTo>
                      <a:pt x="14849" y="41214"/>
                    </a:lnTo>
                    <a:lnTo>
                      <a:pt x="15000" y="44244"/>
                    </a:lnTo>
                    <a:lnTo>
                      <a:pt x="14698" y="45759"/>
                    </a:lnTo>
                    <a:lnTo>
                      <a:pt x="15000" y="45911"/>
                    </a:lnTo>
                    <a:lnTo>
                      <a:pt x="18182" y="46365"/>
                    </a:lnTo>
                    <a:lnTo>
                      <a:pt x="18940" y="45759"/>
                    </a:lnTo>
                    <a:lnTo>
                      <a:pt x="19546" y="44699"/>
                    </a:lnTo>
                    <a:lnTo>
                      <a:pt x="19698" y="41062"/>
                    </a:lnTo>
                    <a:lnTo>
                      <a:pt x="20455" y="39244"/>
                    </a:lnTo>
                    <a:lnTo>
                      <a:pt x="28183" y="36062"/>
                    </a:lnTo>
                    <a:lnTo>
                      <a:pt x="30456" y="35910"/>
                    </a:lnTo>
                    <a:lnTo>
                      <a:pt x="32122" y="37426"/>
                    </a:lnTo>
                    <a:lnTo>
                      <a:pt x="33486" y="38335"/>
                    </a:lnTo>
                    <a:lnTo>
                      <a:pt x="34395" y="38335"/>
                    </a:lnTo>
                    <a:lnTo>
                      <a:pt x="34698" y="37274"/>
                    </a:lnTo>
                    <a:lnTo>
                      <a:pt x="35607" y="35456"/>
                    </a:lnTo>
                    <a:lnTo>
                      <a:pt x="37122" y="34395"/>
                    </a:lnTo>
                    <a:lnTo>
                      <a:pt x="41820" y="33486"/>
                    </a:lnTo>
                    <a:lnTo>
                      <a:pt x="41971" y="33486"/>
                    </a:lnTo>
                    <a:lnTo>
                      <a:pt x="41365" y="32425"/>
                    </a:lnTo>
                    <a:lnTo>
                      <a:pt x="40759" y="30759"/>
                    </a:lnTo>
                    <a:lnTo>
                      <a:pt x="41062" y="30153"/>
                    </a:lnTo>
                    <a:lnTo>
                      <a:pt x="43184" y="28940"/>
                    </a:lnTo>
                    <a:lnTo>
                      <a:pt x="43486" y="27728"/>
                    </a:lnTo>
                    <a:lnTo>
                      <a:pt x="46517" y="21970"/>
                    </a:lnTo>
                    <a:lnTo>
                      <a:pt x="47123" y="20152"/>
                    </a:lnTo>
                    <a:lnTo>
                      <a:pt x="47123"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F6B1B14-F0C8-4A04-B32B-A85558E4C7DD}"/>
                  </a:ext>
                </a:extLst>
              </p:cNvPr>
              <p:cNvSpPr/>
              <p:nvPr/>
            </p:nvSpPr>
            <p:spPr>
              <a:xfrm>
                <a:off x="10899663" y="4930188"/>
                <a:ext cx="36212" cy="16061"/>
              </a:xfrm>
              <a:custGeom>
                <a:avLst/>
                <a:gdLst>
                  <a:gd name="connsiteX0" fmla="*/ 12273 w 36212"/>
                  <a:gd name="connsiteY0" fmla="*/ 0 h 16061"/>
                  <a:gd name="connsiteX1" fmla="*/ 7424 w 36212"/>
                  <a:gd name="connsiteY1" fmla="*/ 455 h 16061"/>
                  <a:gd name="connsiteX2" fmla="*/ 3030 w 36212"/>
                  <a:gd name="connsiteY2" fmla="*/ 1515 h 16061"/>
                  <a:gd name="connsiteX3" fmla="*/ 0 w 36212"/>
                  <a:gd name="connsiteY3" fmla="*/ 1364 h 16061"/>
                  <a:gd name="connsiteX4" fmla="*/ 909 w 36212"/>
                  <a:gd name="connsiteY4" fmla="*/ 3030 h 16061"/>
                  <a:gd name="connsiteX5" fmla="*/ 3181 w 36212"/>
                  <a:gd name="connsiteY5" fmla="*/ 4849 h 16061"/>
                  <a:gd name="connsiteX6" fmla="*/ 6515 w 36212"/>
                  <a:gd name="connsiteY6" fmla="*/ 8940 h 16061"/>
                  <a:gd name="connsiteX7" fmla="*/ 7878 w 36212"/>
                  <a:gd name="connsiteY7" fmla="*/ 9243 h 16061"/>
                  <a:gd name="connsiteX8" fmla="*/ 12121 w 36212"/>
                  <a:gd name="connsiteY8" fmla="*/ 8485 h 16061"/>
                  <a:gd name="connsiteX9" fmla="*/ 15000 w 36212"/>
                  <a:gd name="connsiteY9" fmla="*/ 9243 h 16061"/>
                  <a:gd name="connsiteX10" fmla="*/ 16364 w 36212"/>
                  <a:gd name="connsiteY10" fmla="*/ 5909 h 16061"/>
                  <a:gd name="connsiteX11" fmla="*/ 15152 w 36212"/>
                  <a:gd name="connsiteY11" fmla="*/ 2424 h 16061"/>
                  <a:gd name="connsiteX12" fmla="*/ 12273 w 36212"/>
                  <a:gd name="connsiteY12" fmla="*/ 0 h 16061"/>
                  <a:gd name="connsiteX13" fmla="*/ 36061 w 36212"/>
                  <a:gd name="connsiteY13" fmla="*/ 14243 h 16061"/>
                  <a:gd name="connsiteX14" fmla="*/ 34850 w 36212"/>
                  <a:gd name="connsiteY14" fmla="*/ 13485 h 16061"/>
                  <a:gd name="connsiteX15" fmla="*/ 33182 w 36212"/>
                  <a:gd name="connsiteY15" fmla="*/ 13334 h 16061"/>
                  <a:gd name="connsiteX16" fmla="*/ 32122 w 36212"/>
                  <a:gd name="connsiteY16" fmla="*/ 11515 h 16061"/>
                  <a:gd name="connsiteX17" fmla="*/ 25152 w 36212"/>
                  <a:gd name="connsiteY17" fmla="*/ 9546 h 16061"/>
                  <a:gd name="connsiteX18" fmla="*/ 21667 w 36212"/>
                  <a:gd name="connsiteY18" fmla="*/ 10000 h 16061"/>
                  <a:gd name="connsiteX19" fmla="*/ 20000 w 36212"/>
                  <a:gd name="connsiteY19" fmla="*/ 10910 h 16061"/>
                  <a:gd name="connsiteX20" fmla="*/ 20455 w 36212"/>
                  <a:gd name="connsiteY20" fmla="*/ 12273 h 16061"/>
                  <a:gd name="connsiteX21" fmla="*/ 23637 w 36212"/>
                  <a:gd name="connsiteY21" fmla="*/ 14849 h 16061"/>
                  <a:gd name="connsiteX22" fmla="*/ 25000 w 36212"/>
                  <a:gd name="connsiteY22" fmla="*/ 14849 h 16061"/>
                  <a:gd name="connsiteX23" fmla="*/ 28637 w 36212"/>
                  <a:gd name="connsiteY23" fmla="*/ 16061 h 16061"/>
                  <a:gd name="connsiteX24" fmla="*/ 36061 w 36212"/>
                  <a:gd name="connsiteY24" fmla="*/ 16061 h 16061"/>
                  <a:gd name="connsiteX25" fmla="*/ 36213 w 36212"/>
                  <a:gd name="connsiteY25" fmla="*/ 15455 h 16061"/>
                  <a:gd name="connsiteX26" fmla="*/ 36061 w 36212"/>
                  <a:gd name="connsiteY26" fmla="*/ 14243 h 1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212" h="16061">
                    <a:moveTo>
                      <a:pt x="12273" y="0"/>
                    </a:moveTo>
                    <a:lnTo>
                      <a:pt x="7424" y="455"/>
                    </a:lnTo>
                    <a:lnTo>
                      <a:pt x="3030" y="1515"/>
                    </a:lnTo>
                    <a:lnTo>
                      <a:pt x="0" y="1364"/>
                    </a:lnTo>
                    <a:lnTo>
                      <a:pt x="909" y="3030"/>
                    </a:lnTo>
                    <a:lnTo>
                      <a:pt x="3181" y="4849"/>
                    </a:lnTo>
                    <a:lnTo>
                      <a:pt x="6515" y="8940"/>
                    </a:lnTo>
                    <a:lnTo>
                      <a:pt x="7878" y="9243"/>
                    </a:lnTo>
                    <a:lnTo>
                      <a:pt x="12121" y="8485"/>
                    </a:lnTo>
                    <a:lnTo>
                      <a:pt x="15000" y="9243"/>
                    </a:lnTo>
                    <a:lnTo>
                      <a:pt x="16364" y="5909"/>
                    </a:lnTo>
                    <a:lnTo>
                      <a:pt x="15152" y="2424"/>
                    </a:lnTo>
                    <a:lnTo>
                      <a:pt x="12273" y="0"/>
                    </a:lnTo>
                    <a:close/>
                    <a:moveTo>
                      <a:pt x="36061" y="14243"/>
                    </a:moveTo>
                    <a:lnTo>
                      <a:pt x="34850" y="13485"/>
                    </a:lnTo>
                    <a:lnTo>
                      <a:pt x="33182" y="13334"/>
                    </a:lnTo>
                    <a:lnTo>
                      <a:pt x="32122" y="11515"/>
                    </a:lnTo>
                    <a:lnTo>
                      <a:pt x="25152" y="9546"/>
                    </a:lnTo>
                    <a:lnTo>
                      <a:pt x="21667" y="10000"/>
                    </a:lnTo>
                    <a:lnTo>
                      <a:pt x="20000" y="10910"/>
                    </a:lnTo>
                    <a:lnTo>
                      <a:pt x="20455" y="12273"/>
                    </a:lnTo>
                    <a:lnTo>
                      <a:pt x="23637" y="14849"/>
                    </a:lnTo>
                    <a:lnTo>
                      <a:pt x="25000" y="14849"/>
                    </a:lnTo>
                    <a:lnTo>
                      <a:pt x="28637" y="16061"/>
                    </a:lnTo>
                    <a:lnTo>
                      <a:pt x="36061" y="16061"/>
                    </a:lnTo>
                    <a:lnTo>
                      <a:pt x="36213" y="15455"/>
                    </a:lnTo>
                    <a:lnTo>
                      <a:pt x="36061" y="1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25F2EDF9-AFA0-4DCA-95E6-3A0F0D181947}"/>
                  </a:ext>
                </a:extLst>
              </p:cNvPr>
              <p:cNvSpPr/>
              <p:nvPr/>
            </p:nvSpPr>
            <p:spPr>
              <a:xfrm>
                <a:off x="10751627" y="4923521"/>
                <a:ext cx="56516" cy="30455"/>
              </a:xfrm>
              <a:custGeom>
                <a:avLst/>
                <a:gdLst>
                  <a:gd name="connsiteX0" fmla="*/ 1363 w 56516"/>
                  <a:gd name="connsiteY0" fmla="*/ 28334 h 30455"/>
                  <a:gd name="connsiteX1" fmla="*/ 454 w 56516"/>
                  <a:gd name="connsiteY1" fmla="*/ 28031 h 30455"/>
                  <a:gd name="connsiteX2" fmla="*/ 0 w 56516"/>
                  <a:gd name="connsiteY2" fmla="*/ 28637 h 30455"/>
                  <a:gd name="connsiteX3" fmla="*/ 909 w 56516"/>
                  <a:gd name="connsiteY3" fmla="*/ 30153 h 30455"/>
                  <a:gd name="connsiteX4" fmla="*/ 2424 w 56516"/>
                  <a:gd name="connsiteY4" fmla="*/ 30456 h 30455"/>
                  <a:gd name="connsiteX5" fmla="*/ 3940 w 56516"/>
                  <a:gd name="connsiteY5" fmla="*/ 30304 h 30455"/>
                  <a:gd name="connsiteX6" fmla="*/ 4091 w 56516"/>
                  <a:gd name="connsiteY6" fmla="*/ 29850 h 30455"/>
                  <a:gd name="connsiteX7" fmla="*/ 2424 w 56516"/>
                  <a:gd name="connsiteY7" fmla="*/ 29395 h 30455"/>
                  <a:gd name="connsiteX8" fmla="*/ 1363 w 56516"/>
                  <a:gd name="connsiteY8" fmla="*/ 28334 h 30455"/>
                  <a:gd name="connsiteX9" fmla="*/ 55911 w 56516"/>
                  <a:gd name="connsiteY9" fmla="*/ 0 h 30455"/>
                  <a:gd name="connsiteX10" fmla="*/ 55305 w 56516"/>
                  <a:gd name="connsiteY10" fmla="*/ 606 h 30455"/>
                  <a:gd name="connsiteX11" fmla="*/ 54699 w 56516"/>
                  <a:gd name="connsiteY11" fmla="*/ 2273 h 30455"/>
                  <a:gd name="connsiteX12" fmla="*/ 55154 w 56516"/>
                  <a:gd name="connsiteY12" fmla="*/ 3333 h 30455"/>
                  <a:gd name="connsiteX13" fmla="*/ 55608 w 56516"/>
                  <a:gd name="connsiteY13" fmla="*/ 3182 h 30455"/>
                  <a:gd name="connsiteX14" fmla="*/ 56517 w 56516"/>
                  <a:gd name="connsiteY14" fmla="*/ 1364 h 30455"/>
                  <a:gd name="connsiteX15" fmla="*/ 55911 w 56516"/>
                  <a:gd name="connsiteY15" fmla="*/ 0 h 3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516" h="30455">
                    <a:moveTo>
                      <a:pt x="1363" y="28334"/>
                    </a:moveTo>
                    <a:lnTo>
                      <a:pt x="454" y="28031"/>
                    </a:lnTo>
                    <a:lnTo>
                      <a:pt x="0" y="28637"/>
                    </a:lnTo>
                    <a:lnTo>
                      <a:pt x="909" y="30153"/>
                    </a:lnTo>
                    <a:lnTo>
                      <a:pt x="2424" y="30456"/>
                    </a:lnTo>
                    <a:lnTo>
                      <a:pt x="3940" y="30304"/>
                    </a:lnTo>
                    <a:lnTo>
                      <a:pt x="4091" y="29850"/>
                    </a:lnTo>
                    <a:lnTo>
                      <a:pt x="2424" y="29395"/>
                    </a:lnTo>
                    <a:lnTo>
                      <a:pt x="1363" y="28334"/>
                    </a:lnTo>
                    <a:close/>
                    <a:moveTo>
                      <a:pt x="55911" y="0"/>
                    </a:moveTo>
                    <a:lnTo>
                      <a:pt x="55305" y="606"/>
                    </a:lnTo>
                    <a:lnTo>
                      <a:pt x="54699" y="2273"/>
                    </a:lnTo>
                    <a:lnTo>
                      <a:pt x="55154" y="3333"/>
                    </a:lnTo>
                    <a:lnTo>
                      <a:pt x="55608" y="3182"/>
                    </a:lnTo>
                    <a:lnTo>
                      <a:pt x="56517" y="1364"/>
                    </a:lnTo>
                    <a:lnTo>
                      <a:pt x="55911"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C417FB3E-417F-4656-B076-368BA3030323}"/>
                  </a:ext>
                </a:extLst>
              </p:cNvPr>
              <p:cNvSpPr/>
              <p:nvPr/>
            </p:nvSpPr>
            <p:spPr>
              <a:xfrm>
                <a:off x="10333278" y="4937007"/>
                <a:ext cx="92578" cy="182733"/>
              </a:xfrm>
              <a:custGeom>
                <a:avLst/>
                <a:gdLst>
                  <a:gd name="connsiteX0" fmla="*/ 18637 w 92578"/>
                  <a:gd name="connsiteY0" fmla="*/ 48183 h 182733"/>
                  <a:gd name="connsiteX1" fmla="*/ 18182 w 92578"/>
                  <a:gd name="connsiteY1" fmla="*/ 46668 h 182733"/>
                  <a:gd name="connsiteX2" fmla="*/ 16819 w 92578"/>
                  <a:gd name="connsiteY2" fmla="*/ 39547 h 182733"/>
                  <a:gd name="connsiteX3" fmla="*/ 16061 w 92578"/>
                  <a:gd name="connsiteY3" fmla="*/ 39244 h 182733"/>
                  <a:gd name="connsiteX4" fmla="*/ 15000 w 92578"/>
                  <a:gd name="connsiteY4" fmla="*/ 37729 h 182733"/>
                  <a:gd name="connsiteX5" fmla="*/ 14545 w 92578"/>
                  <a:gd name="connsiteY5" fmla="*/ 35001 h 182733"/>
                  <a:gd name="connsiteX6" fmla="*/ 15152 w 92578"/>
                  <a:gd name="connsiteY6" fmla="*/ 33941 h 182733"/>
                  <a:gd name="connsiteX7" fmla="*/ 13788 w 92578"/>
                  <a:gd name="connsiteY7" fmla="*/ 33638 h 182733"/>
                  <a:gd name="connsiteX8" fmla="*/ 12727 w 92578"/>
                  <a:gd name="connsiteY8" fmla="*/ 34092 h 182733"/>
                  <a:gd name="connsiteX9" fmla="*/ 12121 w 92578"/>
                  <a:gd name="connsiteY9" fmla="*/ 37426 h 182733"/>
                  <a:gd name="connsiteX10" fmla="*/ 10909 w 92578"/>
                  <a:gd name="connsiteY10" fmla="*/ 39547 h 182733"/>
                  <a:gd name="connsiteX11" fmla="*/ 9848 w 92578"/>
                  <a:gd name="connsiteY11" fmla="*/ 40001 h 182733"/>
                  <a:gd name="connsiteX12" fmla="*/ 7727 w 92578"/>
                  <a:gd name="connsiteY12" fmla="*/ 40001 h 182733"/>
                  <a:gd name="connsiteX13" fmla="*/ 5909 w 92578"/>
                  <a:gd name="connsiteY13" fmla="*/ 30759 h 182733"/>
                  <a:gd name="connsiteX14" fmla="*/ 3636 w 92578"/>
                  <a:gd name="connsiteY14" fmla="*/ 28183 h 182733"/>
                  <a:gd name="connsiteX15" fmla="*/ 2121 w 92578"/>
                  <a:gd name="connsiteY15" fmla="*/ 25455 h 182733"/>
                  <a:gd name="connsiteX16" fmla="*/ 1060 w 92578"/>
                  <a:gd name="connsiteY16" fmla="*/ 25607 h 182733"/>
                  <a:gd name="connsiteX17" fmla="*/ 0 w 92578"/>
                  <a:gd name="connsiteY17" fmla="*/ 28941 h 182733"/>
                  <a:gd name="connsiteX18" fmla="*/ 0 w 92578"/>
                  <a:gd name="connsiteY18" fmla="*/ 31516 h 182733"/>
                  <a:gd name="connsiteX19" fmla="*/ 3333 w 92578"/>
                  <a:gd name="connsiteY19" fmla="*/ 41517 h 182733"/>
                  <a:gd name="connsiteX20" fmla="*/ 2879 w 92578"/>
                  <a:gd name="connsiteY20" fmla="*/ 46972 h 182733"/>
                  <a:gd name="connsiteX21" fmla="*/ 4697 w 92578"/>
                  <a:gd name="connsiteY21" fmla="*/ 50002 h 182733"/>
                  <a:gd name="connsiteX22" fmla="*/ 6364 w 92578"/>
                  <a:gd name="connsiteY22" fmla="*/ 51366 h 182733"/>
                  <a:gd name="connsiteX23" fmla="*/ 6364 w 92578"/>
                  <a:gd name="connsiteY23" fmla="*/ 53184 h 182733"/>
                  <a:gd name="connsiteX24" fmla="*/ 8182 w 92578"/>
                  <a:gd name="connsiteY24" fmla="*/ 53335 h 182733"/>
                  <a:gd name="connsiteX25" fmla="*/ 11212 w 92578"/>
                  <a:gd name="connsiteY25" fmla="*/ 51820 h 182733"/>
                  <a:gd name="connsiteX26" fmla="*/ 15454 w 92578"/>
                  <a:gd name="connsiteY26" fmla="*/ 51971 h 182733"/>
                  <a:gd name="connsiteX27" fmla="*/ 18333 w 92578"/>
                  <a:gd name="connsiteY27" fmla="*/ 49396 h 182733"/>
                  <a:gd name="connsiteX28" fmla="*/ 18637 w 92578"/>
                  <a:gd name="connsiteY28" fmla="*/ 48183 h 182733"/>
                  <a:gd name="connsiteX29" fmla="*/ 25152 w 92578"/>
                  <a:gd name="connsiteY29" fmla="*/ 12728 h 182733"/>
                  <a:gd name="connsiteX30" fmla="*/ 24395 w 92578"/>
                  <a:gd name="connsiteY30" fmla="*/ 13485 h 182733"/>
                  <a:gd name="connsiteX31" fmla="*/ 24243 w 92578"/>
                  <a:gd name="connsiteY31" fmla="*/ 15758 h 182733"/>
                  <a:gd name="connsiteX32" fmla="*/ 25000 w 92578"/>
                  <a:gd name="connsiteY32" fmla="*/ 16061 h 182733"/>
                  <a:gd name="connsiteX33" fmla="*/ 28031 w 92578"/>
                  <a:gd name="connsiteY33" fmla="*/ 16516 h 182733"/>
                  <a:gd name="connsiteX34" fmla="*/ 29243 w 92578"/>
                  <a:gd name="connsiteY34" fmla="*/ 15152 h 182733"/>
                  <a:gd name="connsiteX35" fmla="*/ 29697 w 92578"/>
                  <a:gd name="connsiteY35" fmla="*/ 13031 h 182733"/>
                  <a:gd name="connsiteX36" fmla="*/ 27122 w 92578"/>
                  <a:gd name="connsiteY36" fmla="*/ 11819 h 182733"/>
                  <a:gd name="connsiteX37" fmla="*/ 25152 w 92578"/>
                  <a:gd name="connsiteY37" fmla="*/ 12728 h 182733"/>
                  <a:gd name="connsiteX38" fmla="*/ 19091 w 92578"/>
                  <a:gd name="connsiteY38" fmla="*/ 55911 h 182733"/>
                  <a:gd name="connsiteX39" fmla="*/ 19546 w 92578"/>
                  <a:gd name="connsiteY39" fmla="*/ 53638 h 182733"/>
                  <a:gd name="connsiteX40" fmla="*/ 16364 w 92578"/>
                  <a:gd name="connsiteY40" fmla="*/ 53032 h 182733"/>
                  <a:gd name="connsiteX41" fmla="*/ 15758 w 92578"/>
                  <a:gd name="connsiteY41" fmla="*/ 54850 h 182733"/>
                  <a:gd name="connsiteX42" fmla="*/ 18637 w 92578"/>
                  <a:gd name="connsiteY42" fmla="*/ 56669 h 182733"/>
                  <a:gd name="connsiteX43" fmla="*/ 19091 w 92578"/>
                  <a:gd name="connsiteY43" fmla="*/ 55911 h 182733"/>
                  <a:gd name="connsiteX44" fmla="*/ 45153 w 92578"/>
                  <a:gd name="connsiteY44" fmla="*/ 46668 h 182733"/>
                  <a:gd name="connsiteX45" fmla="*/ 45607 w 92578"/>
                  <a:gd name="connsiteY45" fmla="*/ 45002 h 182733"/>
                  <a:gd name="connsiteX46" fmla="*/ 45607 w 92578"/>
                  <a:gd name="connsiteY46" fmla="*/ 41365 h 182733"/>
                  <a:gd name="connsiteX47" fmla="*/ 44244 w 92578"/>
                  <a:gd name="connsiteY47" fmla="*/ 35456 h 182733"/>
                  <a:gd name="connsiteX48" fmla="*/ 43638 w 92578"/>
                  <a:gd name="connsiteY48" fmla="*/ 35456 h 182733"/>
                  <a:gd name="connsiteX49" fmla="*/ 43335 w 92578"/>
                  <a:gd name="connsiteY49" fmla="*/ 36213 h 182733"/>
                  <a:gd name="connsiteX50" fmla="*/ 44092 w 92578"/>
                  <a:gd name="connsiteY50" fmla="*/ 44699 h 182733"/>
                  <a:gd name="connsiteX51" fmla="*/ 45153 w 92578"/>
                  <a:gd name="connsiteY51" fmla="*/ 46668 h 182733"/>
                  <a:gd name="connsiteX52" fmla="*/ 26061 w 92578"/>
                  <a:gd name="connsiteY52" fmla="*/ 5758 h 182733"/>
                  <a:gd name="connsiteX53" fmla="*/ 26516 w 92578"/>
                  <a:gd name="connsiteY53" fmla="*/ 5455 h 182733"/>
                  <a:gd name="connsiteX54" fmla="*/ 26819 w 92578"/>
                  <a:gd name="connsiteY54" fmla="*/ 4849 h 182733"/>
                  <a:gd name="connsiteX55" fmla="*/ 28031 w 92578"/>
                  <a:gd name="connsiteY55" fmla="*/ 4546 h 182733"/>
                  <a:gd name="connsiteX56" fmla="*/ 28334 w 92578"/>
                  <a:gd name="connsiteY56" fmla="*/ 3788 h 182733"/>
                  <a:gd name="connsiteX57" fmla="*/ 28334 w 92578"/>
                  <a:gd name="connsiteY57" fmla="*/ 2879 h 182733"/>
                  <a:gd name="connsiteX58" fmla="*/ 28183 w 92578"/>
                  <a:gd name="connsiteY58" fmla="*/ 1818 h 182733"/>
                  <a:gd name="connsiteX59" fmla="*/ 26364 w 92578"/>
                  <a:gd name="connsiteY59" fmla="*/ 0 h 182733"/>
                  <a:gd name="connsiteX60" fmla="*/ 24395 w 92578"/>
                  <a:gd name="connsiteY60" fmla="*/ 1061 h 182733"/>
                  <a:gd name="connsiteX61" fmla="*/ 23940 w 92578"/>
                  <a:gd name="connsiteY61" fmla="*/ 2121 h 182733"/>
                  <a:gd name="connsiteX62" fmla="*/ 25607 w 92578"/>
                  <a:gd name="connsiteY62" fmla="*/ 5455 h 182733"/>
                  <a:gd name="connsiteX63" fmla="*/ 26061 w 92578"/>
                  <a:gd name="connsiteY63" fmla="*/ 5758 h 182733"/>
                  <a:gd name="connsiteX64" fmla="*/ 44850 w 92578"/>
                  <a:gd name="connsiteY64" fmla="*/ 48638 h 182733"/>
                  <a:gd name="connsiteX65" fmla="*/ 43789 w 92578"/>
                  <a:gd name="connsiteY65" fmla="*/ 54699 h 182733"/>
                  <a:gd name="connsiteX66" fmla="*/ 45305 w 92578"/>
                  <a:gd name="connsiteY66" fmla="*/ 61517 h 182733"/>
                  <a:gd name="connsiteX67" fmla="*/ 45759 w 92578"/>
                  <a:gd name="connsiteY67" fmla="*/ 62730 h 182733"/>
                  <a:gd name="connsiteX68" fmla="*/ 46214 w 92578"/>
                  <a:gd name="connsiteY68" fmla="*/ 62730 h 182733"/>
                  <a:gd name="connsiteX69" fmla="*/ 47426 w 92578"/>
                  <a:gd name="connsiteY69" fmla="*/ 62275 h 182733"/>
                  <a:gd name="connsiteX70" fmla="*/ 47728 w 92578"/>
                  <a:gd name="connsiteY70" fmla="*/ 60457 h 182733"/>
                  <a:gd name="connsiteX71" fmla="*/ 45456 w 92578"/>
                  <a:gd name="connsiteY71" fmla="*/ 49699 h 182733"/>
                  <a:gd name="connsiteX72" fmla="*/ 44850 w 92578"/>
                  <a:gd name="connsiteY72" fmla="*/ 48638 h 182733"/>
                  <a:gd name="connsiteX73" fmla="*/ 34395 w 92578"/>
                  <a:gd name="connsiteY73" fmla="*/ 73185 h 182733"/>
                  <a:gd name="connsiteX74" fmla="*/ 32728 w 92578"/>
                  <a:gd name="connsiteY74" fmla="*/ 72427 h 182733"/>
                  <a:gd name="connsiteX75" fmla="*/ 31819 w 92578"/>
                  <a:gd name="connsiteY75" fmla="*/ 70912 h 182733"/>
                  <a:gd name="connsiteX76" fmla="*/ 30758 w 92578"/>
                  <a:gd name="connsiteY76" fmla="*/ 71063 h 182733"/>
                  <a:gd name="connsiteX77" fmla="*/ 26819 w 92578"/>
                  <a:gd name="connsiteY77" fmla="*/ 68336 h 182733"/>
                  <a:gd name="connsiteX78" fmla="*/ 26364 w 92578"/>
                  <a:gd name="connsiteY78" fmla="*/ 66972 h 182733"/>
                  <a:gd name="connsiteX79" fmla="*/ 25607 w 92578"/>
                  <a:gd name="connsiteY79" fmla="*/ 66972 h 182733"/>
                  <a:gd name="connsiteX80" fmla="*/ 24395 w 92578"/>
                  <a:gd name="connsiteY80" fmla="*/ 66366 h 182733"/>
                  <a:gd name="connsiteX81" fmla="*/ 22273 w 92578"/>
                  <a:gd name="connsiteY81" fmla="*/ 61366 h 182733"/>
                  <a:gd name="connsiteX82" fmla="*/ 20000 w 92578"/>
                  <a:gd name="connsiteY82" fmla="*/ 60305 h 182733"/>
                  <a:gd name="connsiteX83" fmla="*/ 18485 w 92578"/>
                  <a:gd name="connsiteY83" fmla="*/ 60608 h 182733"/>
                  <a:gd name="connsiteX84" fmla="*/ 18031 w 92578"/>
                  <a:gd name="connsiteY84" fmla="*/ 61820 h 182733"/>
                  <a:gd name="connsiteX85" fmla="*/ 17122 w 92578"/>
                  <a:gd name="connsiteY85" fmla="*/ 66063 h 182733"/>
                  <a:gd name="connsiteX86" fmla="*/ 18940 w 92578"/>
                  <a:gd name="connsiteY86" fmla="*/ 68184 h 182733"/>
                  <a:gd name="connsiteX87" fmla="*/ 19698 w 92578"/>
                  <a:gd name="connsiteY87" fmla="*/ 68033 h 182733"/>
                  <a:gd name="connsiteX88" fmla="*/ 21667 w 92578"/>
                  <a:gd name="connsiteY88" fmla="*/ 67124 h 182733"/>
                  <a:gd name="connsiteX89" fmla="*/ 22576 w 92578"/>
                  <a:gd name="connsiteY89" fmla="*/ 68184 h 182733"/>
                  <a:gd name="connsiteX90" fmla="*/ 23486 w 92578"/>
                  <a:gd name="connsiteY90" fmla="*/ 70760 h 182733"/>
                  <a:gd name="connsiteX91" fmla="*/ 24091 w 92578"/>
                  <a:gd name="connsiteY91" fmla="*/ 75154 h 182733"/>
                  <a:gd name="connsiteX92" fmla="*/ 25304 w 92578"/>
                  <a:gd name="connsiteY92" fmla="*/ 78033 h 182733"/>
                  <a:gd name="connsiteX93" fmla="*/ 25000 w 92578"/>
                  <a:gd name="connsiteY93" fmla="*/ 78336 h 182733"/>
                  <a:gd name="connsiteX94" fmla="*/ 25304 w 92578"/>
                  <a:gd name="connsiteY94" fmla="*/ 79397 h 182733"/>
                  <a:gd name="connsiteX95" fmla="*/ 27425 w 92578"/>
                  <a:gd name="connsiteY95" fmla="*/ 80003 h 182733"/>
                  <a:gd name="connsiteX96" fmla="*/ 29697 w 92578"/>
                  <a:gd name="connsiteY96" fmla="*/ 77882 h 182733"/>
                  <a:gd name="connsiteX97" fmla="*/ 33789 w 92578"/>
                  <a:gd name="connsiteY97" fmla="*/ 78336 h 182733"/>
                  <a:gd name="connsiteX98" fmla="*/ 35910 w 92578"/>
                  <a:gd name="connsiteY98" fmla="*/ 76518 h 182733"/>
                  <a:gd name="connsiteX99" fmla="*/ 34698 w 92578"/>
                  <a:gd name="connsiteY99" fmla="*/ 75003 h 182733"/>
                  <a:gd name="connsiteX100" fmla="*/ 34395 w 92578"/>
                  <a:gd name="connsiteY100" fmla="*/ 73185 h 182733"/>
                  <a:gd name="connsiteX101" fmla="*/ 74700 w 92578"/>
                  <a:gd name="connsiteY101" fmla="*/ 147278 h 182733"/>
                  <a:gd name="connsiteX102" fmla="*/ 75760 w 92578"/>
                  <a:gd name="connsiteY102" fmla="*/ 147430 h 182733"/>
                  <a:gd name="connsiteX103" fmla="*/ 76972 w 92578"/>
                  <a:gd name="connsiteY103" fmla="*/ 146066 h 182733"/>
                  <a:gd name="connsiteX104" fmla="*/ 75911 w 92578"/>
                  <a:gd name="connsiteY104" fmla="*/ 143945 h 182733"/>
                  <a:gd name="connsiteX105" fmla="*/ 73336 w 92578"/>
                  <a:gd name="connsiteY105" fmla="*/ 141975 h 182733"/>
                  <a:gd name="connsiteX106" fmla="*/ 74851 w 92578"/>
                  <a:gd name="connsiteY106" fmla="*/ 141066 h 182733"/>
                  <a:gd name="connsiteX107" fmla="*/ 72730 w 92578"/>
                  <a:gd name="connsiteY107" fmla="*/ 140005 h 182733"/>
                  <a:gd name="connsiteX108" fmla="*/ 71821 w 92578"/>
                  <a:gd name="connsiteY108" fmla="*/ 137429 h 182733"/>
                  <a:gd name="connsiteX109" fmla="*/ 70305 w 92578"/>
                  <a:gd name="connsiteY109" fmla="*/ 136975 h 182733"/>
                  <a:gd name="connsiteX110" fmla="*/ 68335 w 92578"/>
                  <a:gd name="connsiteY110" fmla="*/ 137732 h 182733"/>
                  <a:gd name="connsiteX111" fmla="*/ 67578 w 92578"/>
                  <a:gd name="connsiteY111" fmla="*/ 139551 h 182733"/>
                  <a:gd name="connsiteX112" fmla="*/ 67881 w 92578"/>
                  <a:gd name="connsiteY112" fmla="*/ 142884 h 182733"/>
                  <a:gd name="connsiteX113" fmla="*/ 67578 w 92578"/>
                  <a:gd name="connsiteY113" fmla="*/ 144248 h 182733"/>
                  <a:gd name="connsiteX114" fmla="*/ 74700 w 92578"/>
                  <a:gd name="connsiteY114" fmla="*/ 147278 h 182733"/>
                  <a:gd name="connsiteX115" fmla="*/ 35759 w 92578"/>
                  <a:gd name="connsiteY115" fmla="*/ 44547 h 182733"/>
                  <a:gd name="connsiteX116" fmla="*/ 31667 w 92578"/>
                  <a:gd name="connsiteY116" fmla="*/ 48487 h 182733"/>
                  <a:gd name="connsiteX117" fmla="*/ 32880 w 92578"/>
                  <a:gd name="connsiteY117" fmla="*/ 49244 h 182733"/>
                  <a:gd name="connsiteX118" fmla="*/ 36213 w 92578"/>
                  <a:gd name="connsiteY118" fmla="*/ 49396 h 182733"/>
                  <a:gd name="connsiteX119" fmla="*/ 38031 w 92578"/>
                  <a:gd name="connsiteY119" fmla="*/ 48183 h 182733"/>
                  <a:gd name="connsiteX120" fmla="*/ 40456 w 92578"/>
                  <a:gd name="connsiteY120" fmla="*/ 43941 h 182733"/>
                  <a:gd name="connsiteX121" fmla="*/ 35759 w 92578"/>
                  <a:gd name="connsiteY121" fmla="*/ 44547 h 182733"/>
                  <a:gd name="connsiteX122" fmla="*/ 91215 w 92578"/>
                  <a:gd name="connsiteY122" fmla="*/ 180158 h 182733"/>
                  <a:gd name="connsiteX123" fmla="*/ 90609 w 92578"/>
                  <a:gd name="connsiteY123" fmla="*/ 180007 h 182733"/>
                  <a:gd name="connsiteX124" fmla="*/ 88488 w 92578"/>
                  <a:gd name="connsiteY124" fmla="*/ 180310 h 182733"/>
                  <a:gd name="connsiteX125" fmla="*/ 88184 w 92578"/>
                  <a:gd name="connsiteY125" fmla="*/ 181673 h 182733"/>
                  <a:gd name="connsiteX126" fmla="*/ 90154 w 92578"/>
                  <a:gd name="connsiteY126" fmla="*/ 182734 h 182733"/>
                  <a:gd name="connsiteX127" fmla="*/ 91670 w 92578"/>
                  <a:gd name="connsiteY127" fmla="*/ 182734 h 182733"/>
                  <a:gd name="connsiteX128" fmla="*/ 92579 w 92578"/>
                  <a:gd name="connsiteY128" fmla="*/ 181219 h 182733"/>
                  <a:gd name="connsiteX129" fmla="*/ 91215 w 92578"/>
                  <a:gd name="connsiteY129" fmla="*/ 180158 h 182733"/>
                  <a:gd name="connsiteX130" fmla="*/ 77124 w 92578"/>
                  <a:gd name="connsiteY130" fmla="*/ 157127 h 182733"/>
                  <a:gd name="connsiteX131" fmla="*/ 75911 w 92578"/>
                  <a:gd name="connsiteY131" fmla="*/ 156975 h 182733"/>
                  <a:gd name="connsiteX132" fmla="*/ 74700 w 92578"/>
                  <a:gd name="connsiteY132" fmla="*/ 157581 h 182733"/>
                  <a:gd name="connsiteX133" fmla="*/ 73942 w 92578"/>
                  <a:gd name="connsiteY133" fmla="*/ 161369 h 182733"/>
                  <a:gd name="connsiteX134" fmla="*/ 75154 w 92578"/>
                  <a:gd name="connsiteY134" fmla="*/ 163339 h 182733"/>
                  <a:gd name="connsiteX135" fmla="*/ 77427 w 92578"/>
                  <a:gd name="connsiteY135" fmla="*/ 165612 h 182733"/>
                  <a:gd name="connsiteX136" fmla="*/ 79851 w 92578"/>
                  <a:gd name="connsiteY136" fmla="*/ 166370 h 182733"/>
                  <a:gd name="connsiteX137" fmla="*/ 81367 w 92578"/>
                  <a:gd name="connsiteY137" fmla="*/ 163339 h 182733"/>
                  <a:gd name="connsiteX138" fmla="*/ 77730 w 92578"/>
                  <a:gd name="connsiteY138" fmla="*/ 161067 h 182733"/>
                  <a:gd name="connsiteX139" fmla="*/ 77124 w 92578"/>
                  <a:gd name="connsiteY139" fmla="*/ 157127 h 182733"/>
                  <a:gd name="connsiteX140" fmla="*/ 48638 w 92578"/>
                  <a:gd name="connsiteY140" fmla="*/ 73033 h 182733"/>
                  <a:gd name="connsiteX141" fmla="*/ 48638 w 92578"/>
                  <a:gd name="connsiteY141" fmla="*/ 71972 h 182733"/>
                  <a:gd name="connsiteX142" fmla="*/ 48032 w 92578"/>
                  <a:gd name="connsiteY142" fmla="*/ 71063 h 182733"/>
                  <a:gd name="connsiteX143" fmla="*/ 46971 w 92578"/>
                  <a:gd name="connsiteY143" fmla="*/ 70154 h 182733"/>
                  <a:gd name="connsiteX144" fmla="*/ 45910 w 92578"/>
                  <a:gd name="connsiteY144" fmla="*/ 66972 h 182733"/>
                  <a:gd name="connsiteX145" fmla="*/ 45001 w 92578"/>
                  <a:gd name="connsiteY145" fmla="*/ 65912 h 182733"/>
                  <a:gd name="connsiteX146" fmla="*/ 42274 w 92578"/>
                  <a:gd name="connsiteY146" fmla="*/ 68639 h 182733"/>
                  <a:gd name="connsiteX147" fmla="*/ 40152 w 92578"/>
                  <a:gd name="connsiteY147" fmla="*/ 69093 h 182733"/>
                  <a:gd name="connsiteX148" fmla="*/ 38638 w 92578"/>
                  <a:gd name="connsiteY148" fmla="*/ 70002 h 182733"/>
                  <a:gd name="connsiteX149" fmla="*/ 39395 w 92578"/>
                  <a:gd name="connsiteY149" fmla="*/ 71215 h 182733"/>
                  <a:gd name="connsiteX150" fmla="*/ 41213 w 92578"/>
                  <a:gd name="connsiteY150" fmla="*/ 72427 h 182733"/>
                  <a:gd name="connsiteX151" fmla="*/ 45607 w 92578"/>
                  <a:gd name="connsiteY151" fmla="*/ 73336 h 182733"/>
                  <a:gd name="connsiteX152" fmla="*/ 48638 w 92578"/>
                  <a:gd name="connsiteY152" fmla="*/ 73033 h 182733"/>
                  <a:gd name="connsiteX153" fmla="*/ 46365 w 92578"/>
                  <a:gd name="connsiteY153" fmla="*/ 86215 h 182733"/>
                  <a:gd name="connsiteX154" fmla="*/ 49395 w 92578"/>
                  <a:gd name="connsiteY154" fmla="*/ 85761 h 182733"/>
                  <a:gd name="connsiteX155" fmla="*/ 53183 w 92578"/>
                  <a:gd name="connsiteY155" fmla="*/ 87124 h 182733"/>
                  <a:gd name="connsiteX156" fmla="*/ 53638 w 92578"/>
                  <a:gd name="connsiteY156" fmla="*/ 85912 h 182733"/>
                  <a:gd name="connsiteX157" fmla="*/ 52881 w 92578"/>
                  <a:gd name="connsiteY157" fmla="*/ 85458 h 182733"/>
                  <a:gd name="connsiteX158" fmla="*/ 50607 w 92578"/>
                  <a:gd name="connsiteY158" fmla="*/ 84852 h 182733"/>
                  <a:gd name="connsiteX159" fmla="*/ 48638 w 92578"/>
                  <a:gd name="connsiteY159" fmla="*/ 82730 h 182733"/>
                  <a:gd name="connsiteX160" fmla="*/ 47728 w 92578"/>
                  <a:gd name="connsiteY160" fmla="*/ 82427 h 182733"/>
                  <a:gd name="connsiteX161" fmla="*/ 46819 w 92578"/>
                  <a:gd name="connsiteY161" fmla="*/ 81518 h 182733"/>
                  <a:gd name="connsiteX162" fmla="*/ 45910 w 92578"/>
                  <a:gd name="connsiteY162" fmla="*/ 80306 h 182733"/>
                  <a:gd name="connsiteX163" fmla="*/ 45456 w 92578"/>
                  <a:gd name="connsiteY163" fmla="*/ 80457 h 182733"/>
                  <a:gd name="connsiteX164" fmla="*/ 44244 w 92578"/>
                  <a:gd name="connsiteY164" fmla="*/ 81518 h 182733"/>
                  <a:gd name="connsiteX165" fmla="*/ 43940 w 92578"/>
                  <a:gd name="connsiteY165" fmla="*/ 83033 h 182733"/>
                  <a:gd name="connsiteX166" fmla="*/ 44547 w 92578"/>
                  <a:gd name="connsiteY166" fmla="*/ 85155 h 182733"/>
                  <a:gd name="connsiteX167" fmla="*/ 45456 w 92578"/>
                  <a:gd name="connsiteY167" fmla="*/ 86215 h 182733"/>
                  <a:gd name="connsiteX168" fmla="*/ 46365 w 92578"/>
                  <a:gd name="connsiteY168" fmla="*/ 86215 h 182733"/>
                  <a:gd name="connsiteX169" fmla="*/ 52729 w 92578"/>
                  <a:gd name="connsiteY169" fmla="*/ 106822 h 182733"/>
                  <a:gd name="connsiteX170" fmla="*/ 49850 w 92578"/>
                  <a:gd name="connsiteY170" fmla="*/ 107125 h 182733"/>
                  <a:gd name="connsiteX171" fmla="*/ 49244 w 92578"/>
                  <a:gd name="connsiteY171" fmla="*/ 106822 h 182733"/>
                  <a:gd name="connsiteX172" fmla="*/ 48638 w 92578"/>
                  <a:gd name="connsiteY172" fmla="*/ 106822 h 182733"/>
                  <a:gd name="connsiteX173" fmla="*/ 48032 w 92578"/>
                  <a:gd name="connsiteY173" fmla="*/ 106974 h 182733"/>
                  <a:gd name="connsiteX174" fmla="*/ 45759 w 92578"/>
                  <a:gd name="connsiteY174" fmla="*/ 109549 h 182733"/>
                  <a:gd name="connsiteX175" fmla="*/ 44850 w 92578"/>
                  <a:gd name="connsiteY175" fmla="*/ 111368 h 182733"/>
                  <a:gd name="connsiteX176" fmla="*/ 45456 w 92578"/>
                  <a:gd name="connsiteY176" fmla="*/ 111519 h 182733"/>
                  <a:gd name="connsiteX177" fmla="*/ 46819 w 92578"/>
                  <a:gd name="connsiteY177" fmla="*/ 110913 h 182733"/>
                  <a:gd name="connsiteX178" fmla="*/ 48032 w 92578"/>
                  <a:gd name="connsiteY178" fmla="*/ 111065 h 182733"/>
                  <a:gd name="connsiteX179" fmla="*/ 48789 w 92578"/>
                  <a:gd name="connsiteY179" fmla="*/ 112125 h 182733"/>
                  <a:gd name="connsiteX180" fmla="*/ 47274 w 92578"/>
                  <a:gd name="connsiteY180" fmla="*/ 113035 h 182733"/>
                  <a:gd name="connsiteX181" fmla="*/ 51365 w 92578"/>
                  <a:gd name="connsiteY181" fmla="*/ 113792 h 182733"/>
                  <a:gd name="connsiteX182" fmla="*/ 54850 w 92578"/>
                  <a:gd name="connsiteY182" fmla="*/ 113489 h 182733"/>
                  <a:gd name="connsiteX183" fmla="*/ 56517 w 92578"/>
                  <a:gd name="connsiteY183" fmla="*/ 110610 h 182733"/>
                  <a:gd name="connsiteX184" fmla="*/ 55456 w 92578"/>
                  <a:gd name="connsiteY184" fmla="*/ 110307 h 182733"/>
                  <a:gd name="connsiteX185" fmla="*/ 52729 w 92578"/>
                  <a:gd name="connsiteY185" fmla="*/ 106822 h 1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92578" h="182733">
                    <a:moveTo>
                      <a:pt x="18637" y="48183"/>
                    </a:moveTo>
                    <a:lnTo>
                      <a:pt x="18182" y="46668"/>
                    </a:lnTo>
                    <a:lnTo>
                      <a:pt x="16819" y="39547"/>
                    </a:lnTo>
                    <a:lnTo>
                      <a:pt x="16061" y="39244"/>
                    </a:lnTo>
                    <a:lnTo>
                      <a:pt x="15000" y="37729"/>
                    </a:lnTo>
                    <a:lnTo>
                      <a:pt x="14545" y="35001"/>
                    </a:lnTo>
                    <a:lnTo>
                      <a:pt x="15152" y="33941"/>
                    </a:lnTo>
                    <a:lnTo>
                      <a:pt x="13788" y="33638"/>
                    </a:lnTo>
                    <a:lnTo>
                      <a:pt x="12727" y="34092"/>
                    </a:lnTo>
                    <a:lnTo>
                      <a:pt x="12121" y="37426"/>
                    </a:lnTo>
                    <a:lnTo>
                      <a:pt x="10909" y="39547"/>
                    </a:lnTo>
                    <a:lnTo>
                      <a:pt x="9848" y="40001"/>
                    </a:lnTo>
                    <a:lnTo>
                      <a:pt x="7727" y="40001"/>
                    </a:lnTo>
                    <a:lnTo>
                      <a:pt x="5909" y="30759"/>
                    </a:lnTo>
                    <a:lnTo>
                      <a:pt x="3636" y="28183"/>
                    </a:lnTo>
                    <a:lnTo>
                      <a:pt x="2121" y="25455"/>
                    </a:lnTo>
                    <a:lnTo>
                      <a:pt x="1060" y="25607"/>
                    </a:lnTo>
                    <a:lnTo>
                      <a:pt x="0" y="28941"/>
                    </a:lnTo>
                    <a:lnTo>
                      <a:pt x="0" y="31516"/>
                    </a:lnTo>
                    <a:lnTo>
                      <a:pt x="3333" y="41517"/>
                    </a:lnTo>
                    <a:lnTo>
                      <a:pt x="2879" y="46972"/>
                    </a:lnTo>
                    <a:lnTo>
                      <a:pt x="4697" y="50002"/>
                    </a:lnTo>
                    <a:lnTo>
                      <a:pt x="6364" y="51366"/>
                    </a:lnTo>
                    <a:lnTo>
                      <a:pt x="6364" y="53184"/>
                    </a:lnTo>
                    <a:lnTo>
                      <a:pt x="8182" y="53335"/>
                    </a:lnTo>
                    <a:lnTo>
                      <a:pt x="11212" y="51820"/>
                    </a:lnTo>
                    <a:lnTo>
                      <a:pt x="15454" y="51971"/>
                    </a:lnTo>
                    <a:lnTo>
                      <a:pt x="18333" y="49396"/>
                    </a:lnTo>
                    <a:lnTo>
                      <a:pt x="18637" y="48183"/>
                    </a:lnTo>
                    <a:close/>
                    <a:moveTo>
                      <a:pt x="25152" y="12728"/>
                    </a:moveTo>
                    <a:lnTo>
                      <a:pt x="24395" y="13485"/>
                    </a:lnTo>
                    <a:lnTo>
                      <a:pt x="24243" y="15758"/>
                    </a:lnTo>
                    <a:lnTo>
                      <a:pt x="25000" y="16061"/>
                    </a:lnTo>
                    <a:lnTo>
                      <a:pt x="28031" y="16516"/>
                    </a:lnTo>
                    <a:lnTo>
                      <a:pt x="29243" y="15152"/>
                    </a:lnTo>
                    <a:lnTo>
                      <a:pt x="29697" y="13031"/>
                    </a:lnTo>
                    <a:lnTo>
                      <a:pt x="27122" y="11819"/>
                    </a:lnTo>
                    <a:lnTo>
                      <a:pt x="25152" y="12728"/>
                    </a:lnTo>
                    <a:close/>
                    <a:moveTo>
                      <a:pt x="19091" y="55911"/>
                    </a:moveTo>
                    <a:lnTo>
                      <a:pt x="19546" y="53638"/>
                    </a:lnTo>
                    <a:lnTo>
                      <a:pt x="16364" y="53032"/>
                    </a:lnTo>
                    <a:lnTo>
                      <a:pt x="15758" y="54850"/>
                    </a:lnTo>
                    <a:lnTo>
                      <a:pt x="18637" y="56669"/>
                    </a:lnTo>
                    <a:lnTo>
                      <a:pt x="19091" y="55911"/>
                    </a:lnTo>
                    <a:close/>
                    <a:moveTo>
                      <a:pt x="45153" y="46668"/>
                    </a:moveTo>
                    <a:lnTo>
                      <a:pt x="45607" y="45002"/>
                    </a:lnTo>
                    <a:lnTo>
                      <a:pt x="45607" y="41365"/>
                    </a:lnTo>
                    <a:lnTo>
                      <a:pt x="44244" y="35456"/>
                    </a:lnTo>
                    <a:lnTo>
                      <a:pt x="43638" y="35456"/>
                    </a:lnTo>
                    <a:lnTo>
                      <a:pt x="43335" y="36213"/>
                    </a:lnTo>
                    <a:lnTo>
                      <a:pt x="44092" y="44699"/>
                    </a:lnTo>
                    <a:lnTo>
                      <a:pt x="45153" y="46668"/>
                    </a:lnTo>
                    <a:close/>
                    <a:moveTo>
                      <a:pt x="26061" y="5758"/>
                    </a:moveTo>
                    <a:lnTo>
                      <a:pt x="26516" y="5455"/>
                    </a:lnTo>
                    <a:lnTo>
                      <a:pt x="26819" y="4849"/>
                    </a:lnTo>
                    <a:lnTo>
                      <a:pt x="28031" y="4546"/>
                    </a:lnTo>
                    <a:lnTo>
                      <a:pt x="28334" y="3788"/>
                    </a:lnTo>
                    <a:lnTo>
                      <a:pt x="28334" y="2879"/>
                    </a:lnTo>
                    <a:lnTo>
                      <a:pt x="28183" y="1818"/>
                    </a:lnTo>
                    <a:lnTo>
                      <a:pt x="26364" y="0"/>
                    </a:lnTo>
                    <a:lnTo>
                      <a:pt x="24395" y="1061"/>
                    </a:lnTo>
                    <a:lnTo>
                      <a:pt x="23940" y="2121"/>
                    </a:lnTo>
                    <a:lnTo>
                      <a:pt x="25607" y="5455"/>
                    </a:lnTo>
                    <a:lnTo>
                      <a:pt x="26061" y="5758"/>
                    </a:lnTo>
                    <a:close/>
                    <a:moveTo>
                      <a:pt x="44850" y="48638"/>
                    </a:moveTo>
                    <a:lnTo>
                      <a:pt x="43789" y="54699"/>
                    </a:lnTo>
                    <a:lnTo>
                      <a:pt x="45305" y="61517"/>
                    </a:lnTo>
                    <a:lnTo>
                      <a:pt x="45759" y="62730"/>
                    </a:lnTo>
                    <a:lnTo>
                      <a:pt x="46214" y="62730"/>
                    </a:lnTo>
                    <a:lnTo>
                      <a:pt x="47426" y="62275"/>
                    </a:lnTo>
                    <a:lnTo>
                      <a:pt x="47728" y="60457"/>
                    </a:lnTo>
                    <a:lnTo>
                      <a:pt x="45456" y="49699"/>
                    </a:lnTo>
                    <a:lnTo>
                      <a:pt x="44850" y="48638"/>
                    </a:lnTo>
                    <a:close/>
                    <a:moveTo>
                      <a:pt x="34395" y="73185"/>
                    </a:moveTo>
                    <a:lnTo>
                      <a:pt x="32728" y="72427"/>
                    </a:lnTo>
                    <a:lnTo>
                      <a:pt x="31819" y="70912"/>
                    </a:lnTo>
                    <a:lnTo>
                      <a:pt x="30758" y="71063"/>
                    </a:lnTo>
                    <a:lnTo>
                      <a:pt x="26819" y="68336"/>
                    </a:lnTo>
                    <a:lnTo>
                      <a:pt x="26364" y="66972"/>
                    </a:lnTo>
                    <a:lnTo>
                      <a:pt x="25607" y="66972"/>
                    </a:lnTo>
                    <a:lnTo>
                      <a:pt x="24395" y="66366"/>
                    </a:lnTo>
                    <a:lnTo>
                      <a:pt x="22273" y="61366"/>
                    </a:lnTo>
                    <a:lnTo>
                      <a:pt x="20000" y="60305"/>
                    </a:lnTo>
                    <a:lnTo>
                      <a:pt x="18485" y="60608"/>
                    </a:lnTo>
                    <a:lnTo>
                      <a:pt x="18031" y="61820"/>
                    </a:lnTo>
                    <a:lnTo>
                      <a:pt x="17122" y="66063"/>
                    </a:lnTo>
                    <a:lnTo>
                      <a:pt x="18940" y="68184"/>
                    </a:lnTo>
                    <a:lnTo>
                      <a:pt x="19698" y="68033"/>
                    </a:lnTo>
                    <a:lnTo>
                      <a:pt x="21667" y="67124"/>
                    </a:lnTo>
                    <a:lnTo>
                      <a:pt x="22576" y="68184"/>
                    </a:lnTo>
                    <a:lnTo>
                      <a:pt x="23486" y="70760"/>
                    </a:lnTo>
                    <a:lnTo>
                      <a:pt x="24091" y="75154"/>
                    </a:lnTo>
                    <a:lnTo>
                      <a:pt x="25304" y="78033"/>
                    </a:lnTo>
                    <a:lnTo>
                      <a:pt x="25000" y="78336"/>
                    </a:lnTo>
                    <a:lnTo>
                      <a:pt x="25304" y="79397"/>
                    </a:lnTo>
                    <a:lnTo>
                      <a:pt x="27425" y="80003"/>
                    </a:lnTo>
                    <a:lnTo>
                      <a:pt x="29697" y="77882"/>
                    </a:lnTo>
                    <a:lnTo>
                      <a:pt x="33789" y="78336"/>
                    </a:lnTo>
                    <a:lnTo>
                      <a:pt x="35910" y="76518"/>
                    </a:lnTo>
                    <a:lnTo>
                      <a:pt x="34698" y="75003"/>
                    </a:lnTo>
                    <a:lnTo>
                      <a:pt x="34395" y="73185"/>
                    </a:lnTo>
                    <a:close/>
                    <a:moveTo>
                      <a:pt x="74700" y="147278"/>
                    </a:moveTo>
                    <a:lnTo>
                      <a:pt x="75760" y="147430"/>
                    </a:lnTo>
                    <a:lnTo>
                      <a:pt x="76972" y="146066"/>
                    </a:lnTo>
                    <a:lnTo>
                      <a:pt x="75911" y="143945"/>
                    </a:lnTo>
                    <a:lnTo>
                      <a:pt x="73336" y="141975"/>
                    </a:lnTo>
                    <a:lnTo>
                      <a:pt x="74851" y="141066"/>
                    </a:lnTo>
                    <a:lnTo>
                      <a:pt x="72730" y="140005"/>
                    </a:lnTo>
                    <a:lnTo>
                      <a:pt x="71821" y="137429"/>
                    </a:lnTo>
                    <a:lnTo>
                      <a:pt x="70305" y="136975"/>
                    </a:lnTo>
                    <a:lnTo>
                      <a:pt x="68335" y="137732"/>
                    </a:lnTo>
                    <a:lnTo>
                      <a:pt x="67578" y="139551"/>
                    </a:lnTo>
                    <a:lnTo>
                      <a:pt x="67881" y="142884"/>
                    </a:lnTo>
                    <a:lnTo>
                      <a:pt x="67578" y="144248"/>
                    </a:lnTo>
                    <a:lnTo>
                      <a:pt x="74700" y="147278"/>
                    </a:lnTo>
                    <a:close/>
                    <a:moveTo>
                      <a:pt x="35759" y="44547"/>
                    </a:moveTo>
                    <a:lnTo>
                      <a:pt x="31667" y="48487"/>
                    </a:lnTo>
                    <a:lnTo>
                      <a:pt x="32880" y="49244"/>
                    </a:lnTo>
                    <a:lnTo>
                      <a:pt x="36213" y="49396"/>
                    </a:lnTo>
                    <a:lnTo>
                      <a:pt x="38031" y="48183"/>
                    </a:lnTo>
                    <a:lnTo>
                      <a:pt x="40456" y="43941"/>
                    </a:lnTo>
                    <a:lnTo>
                      <a:pt x="35759" y="44547"/>
                    </a:lnTo>
                    <a:close/>
                    <a:moveTo>
                      <a:pt x="91215" y="180158"/>
                    </a:moveTo>
                    <a:lnTo>
                      <a:pt x="90609" y="180007"/>
                    </a:lnTo>
                    <a:lnTo>
                      <a:pt x="88488" y="180310"/>
                    </a:lnTo>
                    <a:lnTo>
                      <a:pt x="88184" y="181673"/>
                    </a:lnTo>
                    <a:lnTo>
                      <a:pt x="90154" y="182734"/>
                    </a:lnTo>
                    <a:lnTo>
                      <a:pt x="91670" y="182734"/>
                    </a:lnTo>
                    <a:lnTo>
                      <a:pt x="92579" y="181219"/>
                    </a:lnTo>
                    <a:lnTo>
                      <a:pt x="91215" y="180158"/>
                    </a:lnTo>
                    <a:close/>
                    <a:moveTo>
                      <a:pt x="77124" y="157127"/>
                    </a:moveTo>
                    <a:lnTo>
                      <a:pt x="75911" y="156975"/>
                    </a:lnTo>
                    <a:lnTo>
                      <a:pt x="74700" y="157581"/>
                    </a:lnTo>
                    <a:lnTo>
                      <a:pt x="73942" y="161369"/>
                    </a:lnTo>
                    <a:lnTo>
                      <a:pt x="75154" y="163339"/>
                    </a:lnTo>
                    <a:lnTo>
                      <a:pt x="77427" y="165612"/>
                    </a:lnTo>
                    <a:lnTo>
                      <a:pt x="79851" y="166370"/>
                    </a:lnTo>
                    <a:lnTo>
                      <a:pt x="81367" y="163339"/>
                    </a:lnTo>
                    <a:lnTo>
                      <a:pt x="77730" y="161067"/>
                    </a:lnTo>
                    <a:lnTo>
                      <a:pt x="77124" y="157127"/>
                    </a:lnTo>
                    <a:close/>
                    <a:moveTo>
                      <a:pt x="48638" y="73033"/>
                    </a:moveTo>
                    <a:lnTo>
                      <a:pt x="48638" y="71972"/>
                    </a:lnTo>
                    <a:lnTo>
                      <a:pt x="48032" y="71063"/>
                    </a:lnTo>
                    <a:lnTo>
                      <a:pt x="46971" y="70154"/>
                    </a:lnTo>
                    <a:lnTo>
                      <a:pt x="45910" y="66972"/>
                    </a:lnTo>
                    <a:lnTo>
                      <a:pt x="45001" y="65912"/>
                    </a:lnTo>
                    <a:lnTo>
                      <a:pt x="42274" y="68639"/>
                    </a:lnTo>
                    <a:lnTo>
                      <a:pt x="40152" y="69093"/>
                    </a:lnTo>
                    <a:lnTo>
                      <a:pt x="38638" y="70002"/>
                    </a:lnTo>
                    <a:lnTo>
                      <a:pt x="39395" y="71215"/>
                    </a:lnTo>
                    <a:lnTo>
                      <a:pt x="41213" y="72427"/>
                    </a:lnTo>
                    <a:lnTo>
                      <a:pt x="45607" y="73336"/>
                    </a:lnTo>
                    <a:lnTo>
                      <a:pt x="48638" y="73033"/>
                    </a:lnTo>
                    <a:close/>
                    <a:moveTo>
                      <a:pt x="46365" y="86215"/>
                    </a:moveTo>
                    <a:lnTo>
                      <a:pt x="49395" y="85761"/>
                    </a:lnTo>
                    <a:lnTo>
                      <a:pt x="53183" y="87124"/>
                    </a:lnTo>
                    <a:lnTo>
                      <a:pt x="53638" y="85912"/>
                    </a:lnTo>
                    <a:lnTo>
                      <a:pt x="52881" y="85458"/>
                    </a:lnTo>
                    <a:lnTo>
                      <a:pt x="50607" y="84852"/>
                    </a:lnTo>
                    <a:lnTo>
                      <a:pt x="48638" y="82730"/>
                    </a:lnTo>
                    <a:lnTo>
                      <a:pt x="47728" y="82427"/>
                    </a:lnTo>
                    <a:lnTo>
                      <a:pt x="46819" y="81518"/>
                    </a:lnTo>
                    <a:lnTo>
                      <a:pt x="45910" y="80306"/>
                    </a:lnTo>
                    <a:lnTo>
                      <a:pt x="45456" y="80457"/>
                    </a:lnTo>
                    <a:lnTo>
                      <a:pt x="44244" y="81518"/>
                    </a:lnTo>
                    <a:lnTo>
                      <a:pt x="43940" y="83033"/>
                    </a:lnTo>
                    <a:lnTo>
                      <a:pt x="44547" y="85155"/>
                    </a:lnTo>
                    <a:lnTo>
                      <a:pt x="45456" y="86215"/>
                    </a:lnTo>
                    <a:lnTo>
                      <a:pt x="46365" y="86215"/>
                    </a:lnTo>
                    <a:close/>
                    <a:moveTo>
                      <a:pt x="52729" y="106822"/>
                    </a:moveTo>
                    <a:lnTo>
                      <a:pt x="49850" y="107125"/>
                    </a:lnTo>
                    <a:lnTo>
                      <a:pt x="49244" y="106822"/>
                    </a:lnTo>
                    <a:lnTo>
                      <a:pt x="48638" y="106822"/>
                    </a:lnTo>
                    <a:lnTo>
                      <a:pt x="48032" y="106974"/>
                    </a:lnTo>
                    <a:lnTo>
                      <a:pt x="45759" y="109549"/>
                    </a:lnTo>
                    <a:lnTo>
                      <a:pt x="44850" y="111368"/>
                    </a:lnTo>
                    <a:lnTo>
                      <a:pt x="45456" y="111519"/>
                    </a:lnTo>
                    <a:lnTo>
                      <a:pt x="46819" y="110913"/>
                    </a:lnTo>
                    <a:lnTo>
                      <a:pt x="48032" y="111065"/>
                    </a:lnTo>
                    <a:lnTo>
                      <a:pt x="48789" y="112125"/>
                    </a:lnTo>
                    <a:lnTo>
                      <a:pt x="47274" y="113035"/>
                    </a:lnTo>
                    <a:lnTo>
                      <a:pt x="51365" y="113792"/>
                    </a:lnTo>
                    <a:lnTo>
                      <a:pt x="54850" y="113489"/>
                    </a:lnTo>
                    <a:lnTo>
                      <a:pt x="56517" y="110610"/>
                    </a:lnTo>
                    <a:lnTo>
                      <a:pt x="55456" y="110307"/>
                    </a:lnTo>
                    <a:lnTo>
                      <a:pt x="52729" y="10682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1B898BB-9EB7-4BCC-AD67-5B69154AC4F3}"/>
                  </a:ext>
                </a:extLst>
              </p:cNvPr>
              <p:cNvSpPr/>
              <p:nvPr/>
            </p:nvSpPr>
            <p:spPr>
              <a:xfrm>
                <a:off x="8570485" y="3915758"/>
                <a:ext cx="200613" cy="411529"/>
              </a:xfrm>
              <a:custGeom>
                <a:avLst/>
                <a:gdLst>
                  <a:gd name="connsiteX0" fmla="*/ 200462 w 200613"/>
                  <a:gd name="connsiteY0" fmla="*/ 298799 h 411529"/>
                  <a:gd name="connsiteX1" fmla="*/ 200613 w 200613"/>
                  <a:gd name="connsiteY1" fmla="*/ 292283 h 411529"/>
                  <a:gd name="connsiteX2" fmla="*/ 199250 w 200613"/>
                  <a:gd name="connsiteY2" fmla="*/ 290313 h 411529"/>
                  <a:gd name="connsiteX3" fmla="*/ 197432 w 200613"/>
                  <a:gd name="connsiteY3" fmla="*/ 285010 h 411529"/>
                  <a:gd name="connsiteX4" fmla="*/ 196371 w 200613"/>
                  <a:gd name="connsiteY4" fmla="*/ 283344 h 411529"/>
                  <a:gd name="connsiteX5" fmla="*/ 196825 w 200613"/>
                  <a:gd name="connsiteY5" fmla="*/ 278647 h 411529"/>
                  <a:gd name="connsiteX6" fmla="*/ 195765 w 200613"/>
                  <a:gd name="connsiteY6" fmla="*/ 274707 h 411529"/>
                  <a:gd name="connsiteX7" fmla="*/ 195613 w 200613"/>
                  <a:gd name="connsiteY7" fmla="*/ 267434 h 411529"/>
                  <a:gd name="connsiteX8" fmla="*/ 196674 w 200613"/>
                  <a:gd name="connsiteY8" fmla="*/ 269858 h 411529"/>
                  <a:gd name="connsiteX9" fmla="*/ 197129 w 200613"/>
                  <a:gd name="connsiteY9" fmla="*/ 267282 h 411529"/>
                  <a:gd name="connsiteX10" fmla="*/ 195462 w 200613"/>
                  <a:gd name="connsiteY10" fmla="*/ 261828 h 411529"/>
                  <a:gd name="connsiteX11" fmla="*/ 194856 w 200613"/>
                  <a:gd name="connsiteY11" fmla="*/ 260616 h 411529"/>
                  <a:gd name="connsiteX12" fmla="*/ 194401 w 200613"/>
                  <a:gd name="connsiteY12" fmla="*/ 258949 h 411529"/>
                  <a:gd name="connsiteX13" fmla="*/ 193946 w 200613"/>
                  <a:gd name="connsiteY13" fmla="*/ 255767 h 411529"/>
                  <a:gd name="connsiteX14" fmla="*/ 192432 w 200613"/>
                  <a:gd name="connsiteY14" fmla="*/ 252585 h 411529"/>
                  <a:gd name="connsiteX15" fmla="*/ 191068 w 200613"/>
                  <a:gd name="connsiteY15" fmla="*/ 247888 h 411529"/>
                  <a:gd name="connsiteX16" fmla="*/ 191068 w 200613"/>
                  <a:gd name="connsiteY16" fmla="*/ 243342 h 411529"/>
                  <a:gd name="connsiteX17" fmla="*/ 189401 w 200613"/>
                  <a:gd name="connsiteY17" fmla="*/ 240918 h 411529"/>
                  <a:gd name="connsiteX18" fmla="*/ 187128 w 200613"/>
                  <a:gd name="connsiteY18" fmla="*/ 235463 h 411529"/>
                  <a:gd name="connsiteX19" fmla="*/ 185916 w 200613"/>
                  <a:gd name="connsiteY19" fmla="*/ 230463 h 411529"/>
                  <a:gd name="connsiteX20" fmla="*/ 183795 w 200613"/>
                  <a:gd name="connsiteY20" fmla="*/ 225008 h 411529"/>
                  <a:gd name="connsiteX21" fmla="*/ 181673 w 200613"/>
                  <a:gd name="connsiteY21" fmla="*/ 223644 h 411529"/>
                  <a:gd name="connsiteX22" fmla="*/ 179855 w 200613"/>
                  <a:gd name="connsiteY22" fmla="*/ 222129 h 411529"/>
                  <a:gd name="connsiteX23" fmla="*/ 177279 w 200613"/>
                  <a:gd name="connsiteY23" fmla="*/ 219250 h 411529"/>
                  <a:gd name="connsiteX24" fmla="*/ 173643 w 200613"/>
                  <a:gd name="connsiteY24" fmla="*/ 214250 h 411529"/>
                  <a:gd name="connsiteX25" fmla="*/ 172279 w 200613"/>
                  <a:gd name="connsiteY25" fmla="*/ 211220 h 411529"/>
                  <a:gd name="connsiteX26" fmla="*/ 169249 w 200613"/>
                  <a:gd name="connsiteY26" fmla="*/ 208038 h 411529"/>
                  <a:gd name="connsiteX27" fmla="*/ 168946 w 200613"/>
                  <a:gd name="connsiteY27" fmla="*/ 206977 h 411529"/>
                  <a:gd name="connsiteX28" fmla="*/ 168794 w 200613"/>
                  <a:gd name="connsiteY28" fmla="*/ 205310 h 411529"/>
                  <a:gd name="connsiteX29" fmla="*/ 168036 w 200613"/>
                  <a:gd name="connsiteY29" fmla="*/ 205007 h 411529"/>
                  <a:gd name="connsiteX30" fmla="*/ 167127 w 200613"/>
                  <a:gd name="connsiteY30" fmla="*/ 205310 h 411529"/>
                  <a:gd name="connsiteX31" fmla="*/ 166067 w 200613"/>
                  <a:gd name="connsiteY31" fmla="*/ 203341 h 411529"/>
                  <a:gd name="connsiteX32" fmla="*/ 163794 w 200613"/>
                  <a:gd name="connsiteY32" fmla="*/ 201068 h 411529"/>
                  <a:gd name="connsiteX33" fmla="*/ 162127 w 200613"/>
                  <a:gd name="connsiteY33" fmla="*/ 198644 h 411529"/>
                  <a:gd name="connsiteX34" fmla="*/ 161067 w 200613"/>
                  <a:gd name="connsiteY34" fmla="*/ 198492 h 411529"/>
                  <a:gd name="connsiteX35" fmla="*/ 159551 w 200613"/>
                  <a:gd name="connsiteY35" fmla="*/ 198644 h 411529"/>
                  <a:gd name="connsiteX36" fmla="*/ 158036 w 200613"/>
                  <a:gd name="connsiteY36" fmla="*/ 199250 h 411529"/>
                  <a:gd name="connsiteX37" fmla="*/ 156672 w 200613"/>
                  <a:gd name="connsiteY37" fmla="*/ 198946 h 411529"/>
                  <a:gd name="connsiteX38" fmla="*/ 155763 w 200613"/>
                  <a:gd name="connsiteY38" fmla="*/ 196674 h 411529"/>
                  <a:gd name="connsiteX39" fmla="*/ 153642 w 200613"/>
                  <a:gd name="connsiteY39" fmla="*/ 194249 h 411529"/>
                  <a:gd name="connsiteX40" fmla="*/ 150005 w 200613"/>
                  <a:gd name="connsiteY40" fmla="*/ 191977 h 411529"/>
                  <a:gd name="connsiteX41" fmla="*/ 148490 w 200613"/>
                  <a:gd name="connsiteY41" fmla="*/ 190916 h 411529"/>
                  <a:gd name="connsiteX42" fmla="*/ 148794 w 200613"/>
                  <a:gd name="connsiteY42" fmla="*/ 190007 h 411529"/>
                  <a:gd name="connsiteX43" fmla="*/ 143490 w 200613"/>
                  <a:gd name="connsiteY43" fmla="*/ 185764 h 411529"/>
                  <a:gd name="connsiteX44" fmla="*/ 138641 w 200613"/>
                  <a:gd name="connsiteY44" fmla="*/ 182885 h 411529"/>
                  <a:gd name="connsiteX45" fmla="*/ 136975 w 200613"/>
                  <a:gd name="connsiteY45" fmla="*/ 178491 h 411529"/>
                  <a:gd name="connsiteX46" fmla="*/ 131672 w 200613"/>
                  <a:gd name="connsiteY46" fmla="*/ 173794 h 411529"/>
                  <a:gd name="connsiteX47" fmla="*/ 126520 w 200613"/>
                  <a:gd name="connsiteY47" fmla="*/ 169703 h 411529"/>
                  <a:gd name="connsiteX48" fmla="*/ 120459 w 200613"/>
                  <a:gd name="connsiteY48" fmla="*/ 161369 h 411529"/>
                  <a:gd name="connsiteX49" fmla="*/ 116520 w 200613"/>
                  <a:gd name="connsiteY49" fmla="*/ 158945 h 411529"/>
                  <a:gd name="connsiteX50" fmla="*/ 116065 w 200613"/>
                  <a:gd name="connsiteY50" fmla="*/ 158491 h 411529"/>
                  <a:gd name="connsiteX51" fmla="*/ 119398 w 200613"/>
                  <a:gd name="connsiteY51" fmla="*/ 159703 h 411529"/>
                  <a:gd name="connsiteX52" fmla="*/ 118792 w 200613"/>
                  <a:gd name="connsiteY52" fmla="*/ 155309 h 411529"/>
                  <a:gd name="connsiteX53" fmla="*/ 119853 w 200613"/>
                  <a:gd name="connsiteY53" fmla="*/ 153339 h 411529"/>
                  <a:gd name="connsiteX54" fmla="*/ 117429 w 200613"/>
                  <a:gd name="connsiteY54" fmla="*/ 150308 h 411529"/>
                  <a:gd name="connsiteX55" fmla="*/ 112731 w 200613"/>
                  <a:gd name="connsiteY55" fmla="*/ 145611 h 411529"/>
                  <a:gd name="connsiteX56" fmla="*/ 110155 w 200613"/>
                  <a:gd name="connsiteY56" fmla="*/ 144551 h 411529"/>
                  <a:gd name="connsiteX57" fmla="*/ 108034 w 200613"/>
                  <a:gd name="connsiteY57" fmla="*/ 142884 h 411529"/>
                  <a:gd name="connsiteX58" fmla="*/ 103186 w 200613"/>
                  <a:gd name="connsiteY58" fmla="*/ 137581 h 411529"/>
                  <a:gd name="connsiteX59" fmla="*/ 101822 w 200613"/>
                  <a:gd name="connsiteY59" fmla="*/ 135611 h 411529"/>
                  <a:gd name="connsiteX60" fmla="*/ 100913 w 200613"/>
                  <a:gd name="connsiteY60" fmla="*/ 133641 h 411529"/>
                  <a:gd name="connsiteX61" fmla="*/ 99095 w 200613"/>
                  <a:gd name="connsiteY61" fmla="*/ 130762 h 411529"/>
                  <a:gd name="connsiteX62" fmla="*/ 98791 w 200613"/>
                  <a:gd name="connsiteY62" fmla="*/ 129853 h 411529"/>
                  <a:gd name="connsiteX63" fmla="*/ 95761 w 200613"/>
                  <a:gd name="connsiteY63" fmla="*/ 124550 h 411529"/>
                  <a:gd name="connsiteX64" fmla="*/ 96216 w 200613"/>
                  <a:gd name="connsiteY64" fmla="*/ 121974 h 411529"/>
                  <a:gd name="connsiteX65" fmla="*/ 98337 w 200613"/>
                  <a:gd name="connsiteY65" fmla="*/ 120004 h 411529"/>
                  <a:gd name="connsiteX66" fmla="*/ 100307 w 200613"/>
                  <a:gd name="connsiteY66" fmla="*/ 115307 h 411529"/>
                  <a:gd name="connsiteX67" fmla="*/ 100155 w 200613"/>
                  <a:gd name="connsiteY67" fmla="*/ 112883 h 411529"/>
                  <a:gd name="connsiteX68" fmla="*/ 100913 w 200613"/>
                  <a:gd name="connsiteY68" fmla="*/ 110458 h 411529"/>
                  <a:gd name="connsiteX69" fmla="*/ 100913 w 200613"/>
                  <a:gd name="connsiteY69" fmla="*/ 107125 h 411529"/>
                  <a:gd name="connsiteX70" fmla="*/ 105610 w 200613"/>
                  <a:gd name="connsiteY70" fmla="*/ 97125 h 411529"/>
                  <a:gd name="connsiteX71" fmla="*/ 107732 w 200613"/>
                  <a:gd name="connsiteY71" fmla="*/ 95761 h 411529"/>
                  <a:gd name="connsiteX72" fmla="*/ 110610 w 200613"/>
                  <a:gd name="connsiteY72" fmla="*/ 95610 h 411529"/>
                  <a:gd name="connsiteX73" fmla="*/ 116822 w 200613"/>
                  <a:gd name="connsiteY73" fmla="*/ 89549 h 411529"/>
                  <a:gd name="connsiteX74" fmla="*/ 120156 w 200613"/>
                  <a:gd name="connsiteY74" fmla="*/ 87124 h 411529"/>
                  <a:gd name="connsiteX75" fmla="*/ 121671 w 200613"/>
                  <a:gd name="connsiteY75" fmla="*/ 84245 h 411529"/>
                  <a:gd name="connsiteX76" fmla="*/ 121065 w 200613"/>
                  <a:gd name="connsiteY76" fmla="*/ 80457 h 411529"/>
                  <a:gd name="connsiteX77" fmla="*/ 126672 w 200613"/>
                  <a:gd name="connsiteY77" fmla="*/ 74548 h 411529"/>
                  <a:gd name="connsiteX78" fmla="*/ 126217 w 200613"/>
                  <a:gd name="connsiteY78" fmla="*/ 72578 h 411529"/>
                  <a:gd name="connsiteX79" fmla="*/ 124550 w 200613"/>
                  <a:gd name="connsiteY79" fmla="*/ 68184 h 411529"/>
                  <a:gd name="connsiteX80" fmla="*/ 124702 w 200613"/>
                  <a:gd name="connsiteY80" fmla="*/ 67124 h 411529"/>
                  <a:gd name="connsiteX81" fmla="*/ 125914 w 200613"/>
                  <a:gd name="connsiteY81" fmla="*/ 67124 h 411529"/>
                  <a:gd name="connsiteX82" fmla="*/ 126823 w 200613"/>
                  <a:gd name="connsiteY82" fmla="*/ 67427 h 411529"/>
                  <a:gd name="connsiteX83" fmla="*/ 128490 w 200613"/>
                  <a:gd name="connsiteY83" fmla="*/ 68336 h 411529"/>
                  <a:gd name="connsiteX84" fmla="*/ 130308 w 200613"/>
                  <a:gd name="connsiteY84" fmla="*/ 68487 h 411529"/>
                  <a:gd name="connsiteX85" fmla="*/ 131672 w 200613"/>
                  <a:gd name="connsiteY85" fmla="*/ 67730 h 411529"/>
                  <a:gd name="connsiteX86" fmla="*/ 132884 w 200613"/>
                  <a:gd name="connsiteY86" fmla="*/ 67881 h 411529"/>
                  <a:gd name="connsiteX87" fmla="*/ 133944 w 200613"/>
                  <a:gd name="connsiteY87" fmla="*/ 67275 h 411529"/>
                  <a:gd name="connsiteX88" fmla="*/ 135460 w 200613"/>
                  <a:gd name="connsiteY88" fmla="*/ 66972 h 411529"/>
                  <a:gd name="connsiteX89" fmla="*/ 136520 w 200613"/>
                  <a:gd name="connsiteY89" fmla="*/ 68033 h 411529"/>
                  <a:gd name="connsiteX90" fmla="*/ 138036 w 200613"/>
                  <a:gd name="connsiteY90" fmla="*/ 68336 h 411529"/>
                  <a:gd name="connsiteX91" fmla="*/ 143187 w 200613"/>
                  <a:gd name="connsiteY91" fmla="*/ 65305 h 411529"/>
                  <a:gd name="connsiteX92" fmla="*/ 143642 w 200613"/>
                  <a:gd name="connsiteY92" fmla="*/ 63184 h 411529"/>
                  <a:gd name="connsiteX93" fmla="*/ 143793 w 200613"/>
                  <a:gd name="connsiteY93" fmla="*/ 61366 h 411529"/>
                  <a:gd name="connsiteX94" fmla="*/ 144702 w 200613"/>
                  <a:gd name="connsiteY94" fmla="*/ 58790 h 411529"/>
                  <a:gd name="connsiteX95" fmla="*/ 147884 w 200613"/>
                  <a:gd name="connsiteY95" fmla="*/ 57275 h 411529"/>
                  <a:gd name="connsiteX96" fmla="*/ 150915 w 200613"/>
                  <a:gd name="connsiteY96" fmla="*/ 56365 h 411529"/>
                  <a:gd name="connsiteX97" fmla="*/ 152884 w 200613"/>
                  <a:gd name="connsiteY97" fmla="*/ 55305 h 411529"/>
                  <a:gd name="connsiteX98" fmla="*/ 155612 w 200613"/>
                  <a:gd name="connsiteY98" fmla="*/ 52729 h 411529"/>
                  <a:gd name="connsiteX99" fmla="*/ 158794 w 200613"/>
                  <a:gd name="connsiteY99" fmla="*/ 52729 h 411529"/>
                  <a:gd name="connsiteX100" fmla="*/ 160006 w 200613"/>
                  <a:gd name="connsiteY100" fmla="*/ 52426 h 411529"/>
                  <a:gd name="connsiteX101" fmla="*/ 158188 w 200613"/>
                  <a:gd name="connsiteY101" fmla="*/ 50911 h 411529"/>
                  <a:gd name="connsiteX102" fmla="*/ 155309 w 200613"/>
                  <a:gd name="connsiteY102" fmla="*/ 48487 h 411529"/>
                  <a:gd name="connsiteX103" fmla="*/ 154097 w 200613"/>
                  <a:gd name="connsiteY103" fmla="*/ 48183 h 411529"/>
                  <a:gd name="connsiteX104" fmla="*/ 150915 w 200613"/>
                  <a:gd name="connsiteY104" fmla="*/ 49396 h 411529"/>
                  <a:gd name="connsiteX105" fmla="*/ 146217 w 200613"/>
                  <a:gd name="connsiteY105" fmla="*/ 49850 h 411529"/>
                  <a:gd name="connsiteX106" fmla="*/ 145157 w 200613"/>
                  <a:gd name="connsiteY106" fmla="*/ 48638 h 411529"/>
                  <a:gd name="connsiteX107" fmla="*/ 142884 w 200613"/>
                  <a:gd name="connsiteY107" fmla="*/ 49547 h 411529"/>
                  <a:gd name="connsiteX108" fmla="*/ 140763 w 200613"/>
                  <a:gd name="connsiteY108" fmla="*/ 46668 h 411529"/>
                  <a:gd name="connsiteX109" fmla="*/ 138187 w 200613"/>
                  <a:gd name="connsiteY109" fmla="*/ 46517 h 411529"/>
                  <a:gd name="connsiteX110" fmla="*/ 135005 w 200613"/>
                  <a:gd name="connsiteY110" fmla="*/ 44244 h 411529"/>
                  <a:gd name="connsiteX111" fmla="*/ 133793 w 200613"/>
                  <a:gd name="connsiteY111" fmla="*/ 43032 h 411529"/>
                  <a:gd name="connsiteX112" fmla="*/ 133490 w 200613"/>
                  <a:gd name="connsiteY112" fmla="*/ 41365 h 411529"/>
                  <a:gd name="connsiteX113" fmla="*/ 132581 w 200613"/>
                  <a:gd name="connsiteY113" fmla="*/ 40456 h 411529"/>
                  <a:gd name="connsiteX114" fmla="*/ 131369 w 200613"/>
                  <a:gd name="connsiteY114" fmla="*/ 40607 h 411529"/>
                  <a:gd name="connsiteX115" fmla="*/ 130005 w 200613"/>
                  <a:gd name="connsiteY115" fmla="*/ 39698 h 411529"/>
                  <a:gd name="connsiteX116" fmla="*/ 127732 w 200613"/>
                  <a:gd name="connsiteY116" fmla="*/ 38789 h 411529"/>
                  <a:gd name="connsiteX117" fmla="*/ 125914 w 200613"/>
                  <a:gd name="connsiteY117" fmla="*/ 38335 h 411529"/>
                  <a:gd name="connsiteX118" fmla="*/ 125005 w 200613"/>
                  <a:gd name="connsiteY118" fmla="*/ 38789 h 411529"/>
                  <a:gd name="connsiteX119" fmla="*/ 124096 w 200613"/>
                  <a:gd name="connsiteY119" fmla="*/ 38941 h 411529"/>
                  <a:gd name="connsiteX120" fmla="*/ 123944 w 200613"/>
                  <a:gd name="connsiteY120" fmla="*/ 37880 h 411529"/>
                  <a:gd name="connsiteX121" fmla="*/ 123944 w 200613"/>
                  <a:gd name="connsiteY121" fmla="*/ 34547 h 411529"/>
                  <a:gd name="connsiteX122" fmla="*/ 123793 w 200613"/>
                  <a:gd name="connsiteY122" fmla="*/ 31516 h 411529"/>
                  <a:gd name="connsiteX123" fmla="*/ 123338 w 200613"/>
                  <a:gd name="connsiteY123" fmla="*/ 30152 h 411529"/>
                  <a:gd name="connsiteX124" fmla="*/ 122126 w 200613"/>
                  <a:gd name="connsiteY124" fmla="*/ 29092 h 411529"/>
                  <a:gd name="connsiteX125" fmla="*/ 121065 w 200613"/>
                  <a:gd name="connsiteY125" fmla="*/ 28637 h 411529"/>
                  <a:gd name="connsiteX126" fmla="*/ 120610 w 200613"/>
                  <a:gd name="connsiteY126" fmla="*/ 27122 h 411529"/>
                  <a:gd name="connsiteX127" fmla="*/ 121065 w 200613"/>
                  <a:gd name="connsiteY127" fmla="*/ 24092 h 411529"/>
                  <a:gd name="connsiteX128" fmla="*/ 121974 w 200613"/>
                  <a:gd name="connsiteY128" fmla="*/ 21970 h 411529"/>
                  <a:gd name="connsiteX129" fmla="*/ 123338 w 200613"/>
                  <a:gd name="connsiteY129" fmla="*/ 21667 h 411529"/>
                  <a:gd name="connsiteX130" fmla="*/ 125156 w 200613"/>
                  <a:gd name="connsiteY130" fmla="*/ 20152 h 411529"/>
                  <a:gd name="connsiteX131" fmla="*/ 126065 w 200613"/>
                  <a:gd name="connsiteY131" fmla="*/ 18031 h 411529"/>
                  <a:gd name="connsiteX132" fmla="*/ 127277 w 200613"/>
                  <a:gd name="connsiteY132" fmla="*/ 16061 h 411529"/>
                  <a:gd name="connsiteX133" fmla="*/ 123035 w 200613"/>
                  <a:gd name="connsiteY133" fmla="*/ 13334 h 411529"/>
                  <a:gd name="connsiteX134" fmla="*/ 120762 w 200613"/>
                  <a:gd name="connsiteY134" fmla="*/ 12425 h 411529"/>
                  <a:gd name="connsiteX135" fmla="*/ 118338 w 200613"/>
                  <a:gd name="connsiteY135" fmla="*/ 12879 h 411529"/>
                  <a:gd name="connsiteX136" fmla="*/ 115308 w 200613"/>
                  <a:gd name="connsiteY136" fmla="*/ 13788 h 411529"/>
                  <a:gd name="connsiteX137" fmla="*/ 113641 w 200613"/>
                  <a:gd name="connsiteY137" fmla="*/ 13940 h 411529"/>
                  <a:gd name="connsiteX138" fmla="*/ 112883 w 200613"/>
                  <a:gd name="connsiteY138" fmla="*/ 13637 h 411529"/>
                  <a:gd name="connsiteX139" fmla="*/ 111065 w 200613"/>
                  <a:gd name="connsiteY139" fmla="*/ 11212 h 411529"/>
                  <a:gd name="connsiteX140" fmla="*/ 110155 w 200613"/>
                  <a:gd name="connsiteY140" fmla="*/ 10758 h 411529"/>
                  <a:gd name="connsiteX141" fmla="*/ 108034 w 200613"/>
                  <a:gd name="connsiteY141" fmla="*/ 10606 h 411529"/>
                  <a:gd name="connsiteX142" fmla="*/ 106216 w 200613"/>
                  <a:gd name="connsiteY142" fmla="*/ 10606 h 411529"/>
                  <a:gd name="connsiteX143" fmla="*/ 105155 w 200613"/>
                  <a:gd name="connsiteY143" fmla="*/ 11667 h 411529"/>
                  <a:gd name="connsiteX144" fmla="*/ 103489 w 200613"/>
                  <a:gd name="connsiteY144" fmla="*/ 11970 h 411529"/>
                  <a:gd name="connsiteX145" fmla="*/ 101822 w 200613"/>
                  <a:gd name="connsiteY145" fmla="*/ 11970 h 411529"/>
                  <a:gd name="connsiteX146" fmla="*/ 100155 w 200613"/>
                  <a:gd name="connsiteY146" fmla="*/ 10606 h 411529"/>
                  <a:gd name="connsiteX147" fmla="*/ 97731 w 200613"/>
                  <a:gd name="connsiteY147" fmla="*/ 8940 h 411529"/>
                  <a:gd name="connsiteX148" fmla="*/ 93791 w 200613"/>
                  <a:gd name="connsiteY148" fmla="*/ 7727 h 411529"/>
                  <a:gd name="connsiteX149" fmla="*/ 93337 w 200613"/>
                  <a:gd name="connsiteY149" fmla="*/ 6364 h 411529"/>
                  <a:gd name="connsiteX150" fmla="*/ 92276 w 200613"/>
                  <a:gd name="connsiteY150" fmla="*/ 4697 h 411529"/>
                  <a:gd name="connsiteX151" fmla="*/ 90761 w 200613"/>
                  <a:gd name="connsiteY151" fmla="*/ 3182 h 411529"/>
                  <a:gd name="connsiteX152" fmla="*/ 88337 w 200613"/>
                  <a:gd name="connsiteY152" fmla="*/ 1061 h 411529"/>
                  <a:gd name="connsiteX153" fmla="*/ 86215 w 200613"/>
                  <a:gd name="connsiteY153" fmla="*/ 0 h 411529"/>
                  <a:gd name="connsiteX154" fmla="*/ 85155 w 200613"/>
                  <a:gd name="connsiteY154" fmla="*/ 606 h 411529"/>
                  <a:gd name="connsiteX155" fmla="*/ 83791 w 200613"/>
                  <a:gd name="connsiteY155" fmla="*/ 1818 h 411529"/>
                  <a:gd name="connsiteX156" fmla="*/ 78488 w 200613"/>
                  <a:gd name="connsiteY156" fmla="*/ 4243 h 411529"/>
                  <a:gd name="connsiteX157" fmla="*/ 76215 w 200613"/>
                  <a:gd name="connsiteY157" fmla="*/ 5152 h 411529"/>
                  <a:gd name="connsiteX158" fmla="*/ 75003 w 200613"/>
                  <a:gd name="connsiteY158" fmla="*/ 5909 h 411529"/>
                  <a:gd name="connsiteX159" fmla="*/ 73942 w 200613"/>
                  <a:gd name="connsiteY159" fmla="*/ 6970 h 411529"/>
                  <a:gd name="connsiteX160" fmla="*/ 73639 w 200613"/>
                  <a:gd name="connsiteY160" fmla="*/ 9546 h 411529"/>
                  <a:gd name="connsiteX161" fmla="*/ 73185 w 200613"/>
                  <a:gd name="connsiteY161" fmla="*/ 12425 h 411529"/>
                  <a:gd name="connsiteX162" fmla="*/ 71669 w 200613"/>
                  <a:gd name="connsiteY162" fmla="*/ 13940 h 411529"/>
                  <a:gd name="connsiteX163" fmla="*/ 70154 w 200613"/>
                  <a:gd name="connsiteY163" fmla="*/ 15000 h 411529"/>
                  <a:gd name="connsiteX164" fmla="*/ 68639 w 200613"/>
                  <a:gd name="connsiteY164" fmla="*/ 15152 h 411529"/>
                  <a:gd name="connsiteX165" fmla="*/ 67124 w 200613"/>
                  <a:gd name="connsiteY165" fmla="*/ 15152 h 411529"/>
                  <a:gd name="connsiteX166" fmla="*/ 65760 w 200613"/>
                  <a:gd name="connsiteY166" fmla="*/ 15607 h 411529"/>
                  <a:gd name="connsiteX167" fmla="*/ 61517 w 200613"/>
                  <a:gd name="connsiteY167" fmla="*/ 18485 h 411529"/>
                  <a:gd name="connsiteX168" fmla="*/ 59548 w 200613"/>
                  <a:gd name="connsiteY168" fmla="*/ 18182 h 411529"/>
                  <a:gd name="connsiteX169" fmla="*/ 57881 w 200613"/>
                  <a:gd name="connsiteY169" fmla="*/ 16516 h 411529"/>
                  <a:gd name="connsiteX170" fmla="*/ 57123 w 200613"/>
                  <a:gd name="connsiteY170" fmla="*/ 15304 h 411529"/>
                  <a:gd name="connsiteX171" fmla="*/ 55154 w 200613"/>
                  <a:gd name="connsiteY171" fmla="*/ 15607 h 411529"/>
                  <a:gd name="connsiteX172" fmla="*/ 52729 w 200613"/>
                  <a:gd name="connsiteY172" fmla="*/ 16970 h 411529"/>
                  <a:gd name="connsiteX173" fmla="*/ 51669 w 200613"/>
                  <a:gd name="connsiteY173" fmla="*/ 19395 h 411529"/>
                  <a:gd name="connsiteX174" fmla="*/ 51062 w 200613"/>
                  <a:gd name="connsiteY174" fmla="*/ 21667 h 411529"/>
                  <a:gd name="connsiteX175" fmla="*/ 50457 w 200613"/>
                  <a:gd name="connsiteY175" fmla="*/ 22728 h 411529"/>
                  <a:gd name="connsiteX176" fmla="*/ 49699 w 200613"/>
                  <a:gd name="connsiteY176" fmla="*/ 23031 h 411529"/>
                  <a:gd name="connsiteX177" fmla="*/ 48941 w 200613"/>
                  <a:gd name="connsiteY177" fmla="*/ 23031 h 411529"/>
                  <a:gd name="connsiteX178" fmla="*/ 41365 w 200613"/>
                  <a:gd name="connsiteY178" fmla="*/ 16364 h 411529"/>
                  <a:gd name="connsiteX179" fmla="*/ 40911 w 200613"/>
                  <a:gd name="connsiteY179" fmla="*/ 16061 h 411529"/>
                  <a:gd name="connsiteX180" fmla="*/ 39547 w 200613"/>
                  <a:gd name="connsiteY180" fmla="*/ 17425 h 411529"/>
                  <a:gd name="connsiteX181" fmla="*/ 38335 w 200613"/>
                  <a:gd name="connsiteY181" fmla="*/ 20910 h 411529"/>
                  <a:gd name="connsiteX182" fmla="*/ 37426 w 200613"/>
                  <a:gd name="connsiteY182" fmla="*/ 21516 h 411529"/>
                  <a:gd name="connsiteX183" fmla="*/ 36819 w 200613"/>
                  <a:gd name="connsiteY183" fmla="*/ 21213 h 411529"/>
                  <a:gd name="connsiteX184" fmla="*/ 33638 w 200613"/>
                  <a:gd name="connsiteY184" fmla="*/ 16667 h 411529"/>
                  <a:gd name="connsiteX185" fmla="*/ 32880 w 200613"/>
                  <a:gd name="connsiteY185" fmla="*/ 16213 h 411529"/>
                  <a:gd name="connsiteX186" fmla="*/ 32122 w 200613"/>
                  <a:gd name="connsiteY186" fmla="*/ 16364 h 411529"/>
                  <a:gd name="connsiteX187" fmla="*/ 31213 w 200613"/>
                  <a:gd name="connsiteY187" fmla="*/ 17879 h 411529"/>
                  <a:gd name="connsiteX188" fmla="*/ 29243 w 200613"/>
                  <a:gd name="connsiteY188" fmla="*/ 20001 h 411529"/>
                  <a:gd name="connsiteX189" fmla="*/ 27729 w 200613"/>
                  <a:gd name="connsiteY189" fmla="*/ 21364 h 411529"/>
                  <a:gd name="connsiteX190" fmla="*/ 27729 w 200613"/>
                  <a:gd name="connsiteY190" fmla="*/ 22880 h 411529"/>
                  <a:gd name="connsiteX191" fmla="*/ 26062 w 200613"/>
                  <a:gd name="connsiteY191" fmla="*/ 24092 h 411529"/>
                  <a:gd name="connsiteX192" fmla="*/ 24092 w 200613"/>
                  <a:gd name="connsiteY192" fmla="*/ 25304 h 411529"/>
                  <a:gd name="connsiteX193" fmla="*/ 23486 w 200613"/>
                  <a:gd name="connsiteY193" fmla="*/ 25455 h 411529"/>
                  <a:gd name="connsiteX194" fmla="*/ 22274 w 200613"/>
                  <a:gd name="connsiteY194" fmla="*/ 25001 h 411529"/>
                  <a:gd name="connsiteX195" fmla="*/ 20607 w 200613"/>
                  <a:gd name="connsiteY195" fmla="*/ 23334 h 411529"/>
                  <a:gd name="connsiteX196" fmla="*/ 19395 w 200613"/>
                  <a:gd name="connsiteY196" fmla="*/ 21516 h 411529"/>
                  <a:gd name="connsiteX197" fmla="*/ 16365 w 200613"/>
                  <a:gd name="connsiteY197" fmla="*/ 19698 h 411529"/>
                  <a:gd name="connsiteX198" fmla="*/ 13031 w 200613"/>
                  <a:gd name="connsiteY198" fmla="*/ 18182 h 411529"/>
                  <a:gd name="connsiteX199" fmla="*/ 10758 w 200613"/>
                  <a:gd name="connsiteY199" fmla="*/ 16970 h 411529"/>
                  <a:gd name="connsiteX200" fmla="*/ 9546 w 200613"/>
                  <a:gd name="connsiteY200" fmla="*/ 16667 h 411529"/>
                  <a:gd name="connsiteX201" fmla="*/ 8333 w 200613"/>
                  <a:gd name="connsiteY201" fmla="*/ 17122 h 411529"/>
                  <a:gd name="connsiteX202" fmla="*/ 7728 w 200613"/>
                  <a:gd name="connsiteY202" fmla="*/ 17879 h 411529"/>
                  <a:gd name="connsiteX203" fmla="*/ 6819 w 200613"/>
                  <a:gd name="connsiteY203" fmla="*/ 19698 h 411529"/>
                  <a:gd name="connsiteX204" fmla="*/ 4849 w 200613"/>
                  <a:gd name="connsiteY204" fmla="*/ 22576 h 411529"/>
                  <a:gd name="connsiteX205" fmla="*/ 3031 w 200613"/>
                  <a:gd name="connsiteY205" fmla="*/ 24849 h 411529"/>
                  <a:gd name="connsiteX206" fmla="*/ 1364 w 200613"/>
                  <a:gd name="connsiteY206" fmla="*/ 26364 h 411529"/>
                  <a:gd name="connsiteX207" fmla="*/ 0 w 200613"/>
                  <a:gd name="connsiteY207" fmla="*/ 27425 h 411529"/>
                  <a:gd name="connsiteX208" fmla="*/ 1515 w 200613"/>
                  <a:gd name="connsiteY208" fmla="*/ 30152 h 411529"/>
                  <a:gd name="connsiteX209" fmla="*/ 4697 w 200613"/>
                  <a:gd name="connsiteY209" fmla="*/ 33183 h 411529"/>
                  <a:gd name="connsiteX210" fmla="*/ 8637 w 200613"/>
                  <a:gd name="connsiteY210" fmla="*/ 37425 h 411529"/>
                  <a:gd name="connsiteX211" fmla="*/ 9849 w 200613"/>
                  <a:gd name="connsiteY211" fmla="*/ 39395 h 411529"/>
                  <a:gd name="connsiteX212" fmla="*/ 12425 w 200613"/>
                  <a:gd name="connsiteY212" fmla="*/ 40911 h 411529"/>
                  <a:gd name="connsiteX213" fmla="*/ 13182 w 200613"/>
                  <a:gd name="connsiteY213" fmla="*/ 42426 h 411529"/>
                  <a:gd name="connsiteX214" fmla="*/ 13788 w 200613"/>
                  <a:gd name="connsiteY214" fmla="*/ 44699 h 411529"/>
                  <a:gd name="connsiteX215" fmla="*/ 14091 w 200613"/>
                  <a:gd name="connsiteY215" fmla="*/ 46365 h 411529"/>
                  <a:gd name="connsiteX216" fmla="*/ 14698 w 200613"/>
                  <a:gd name="connsiteY216" fmla="*/ 47426 h 411529"/>
                  <a:gd name="connsiteX217" fmla="*/ 15607 w 200613"/>
                  <a:gd name="connsiteY217" fmla="*/ 47880 h 411529"/>
                  <a:gd name="connsiteX218" fmla="*/ 16819 w 200613"/>
                  <a:gd name="connsiteY218" fmla="*/ 47426 h 411529"/>
                  <a:gd name="connsiteX219" fmla="*/ 17728 w 200613"/>
                  <a:gd name="connsiteY219" fmla="*/ 46517 h 411529"/>
                  <a:gd name="connsiteX220" fmla="*/ 18486 w 200613"/>
                  <a:gd name="connsiteY220" fmla="*/ 43941 h 411529"/>
                  <a:gd name="connsiteX221" fmla="*/ 18940 w 200613"/>
                  <a:gd name="connsiteY221" fmla="*/ 43638 h 411529"/>
                  <a:gd name="connsiteX222" fmla="*/ 19698 w 200613"/>
                  <a:gd name="connsiteY222" fmla="*/ 45759 h 411529"/>
                  <a:gd name="connsiteX223" fmla="*/ 20607 w 200613"/>
                  <a:gd name="connsiteY223" fmla="*/ 46062 h 411529"/>
                  <a:gd name="connsiteX224" fmla="*/ 21667 w 200613"/>
                  <a:gd name="connsiteY224" fmla="*/ 46365 h 411529"/>
                  <a:gd name="connsiteX225" fmla="*/ 22576 w 200613"/>
                  <a:gd name="connsiteY225" fmla="*/ 47274 h 411529"/>
                  <a:gd name="connsiteX226" fmla="*/ 22880 w 200613"/>
                  <a:gd name="connsiteY226" fmla="*/ 48789 h 411529"/>
                  <a:gd name="connsiteX227" fmla="*/ 22576 w 200613"/>
                  <a:gd name="connsiteY227" fmla="*/ 50456 h 411529"/>
                  <a:gd name="connsiteX228" fmla="*/ 21516 w 200613"/>
                  <a:gd name="connsiteY228" fmla="*/ 52275 h 411529"/>
                  <a:gd name="connsiteX229" fmla="*/ 20910 w 200613"/>
                  <a:gd name="connsiteY229" fmla="*/ 54093 h 411529"/>
                  <a:gd name="connsiteX230" fmla="*/ 20455 w 200613"/>
                  <a:gd name="connsiteY230" fmla="*/ 56972 h 411529"/>
                  <a:gd name="connsiteX231" fmla="*/ 19849 w 200613"/>
                  <a:gd name="connsiteY231" fmla="*/ 58942 h 411529"/>
                  <a:gd name="connsiteX232" fmla="*/ 20758 w 200613"/>
                  <a:gd name="connsiteY232" fmla="*/ 60760 h 411529"/>
                  <a:gd name="connsiteX233" fmla="*/ 26819 w 200613"/>
                  <a:gd name="connsiteY233" fmla="*/ 69548 h 411529"/>
                  <a:gd name="connsiteX234" fmla="*/ 29698 w 200613"/>
                  <a:gd name="connsiteY234" fmla="*/ 71063 h 411529"/>
                  <a:gd name="connsiteX235" fmla="*/ 36668 w 200613"/>
                  <a:gd name="connsiteY235" fmla="*/ 72730 h 411529"/>
                  <a:gd name="connsiteX236" fmla="*/ 39093 w 200613"/>
                  <a:gd name="connsiteY236" fmla="*/ 73942 h 411529"/>
                  <a:gd name="connsiteX237" fmla="*/ 41365 w 200613"/>
                  <a:gd name="connsiteY237" fmla="*/ 75154 h 411529"/>
                  <a:gd name="connsiteX238" fmla="*/ 43486 w 200613"/>
                  <a:gd name="connsiteY238" fmla="*/ 74548 h 411529"/>
                  <a:gd name="connsiteX239" fmla="*/ 45608 w 200613"/>
                  <a:gd name="connsiteY239" fmla="*/ 71972 h 411529"/>
                  <a:gd name="connsiteX240" fmla="*/ 48183 w 200613"/>
                  <a:gd name="connsiteY240" fmla="*/ 70457 h 411529"/>
                  <a:gd name="connsiteX241" fmla="*/ 52881 w 200613"/>
                  <a:gd name="connsiteY241" fmla="*/ 68184 h 411529"/>
                  <a:gd name="connsiteX242" fmla="*/ 54245 w 200613"/>
                  <a:gd name="connsiteY242" fmla="*/ 68033 h 411529"/>
                  <a:gd name="connsiteX243" fmla="*/ 56820 w 200613"/>
                  <a:gd name="connsiteY243" fmla="*/ 68942 h 411529"/>
                  <a:gd name="connsiteX244" fmla="*/ 61063 w 200613"/>
                  <a:gd name="connsiteY244" fmla="*/ 71518 h 411529"/>
                  <a:gd name="connsiteX245" fmla="*/ 64093 w 200613"/>
                  <a:gd name="connsiteY245" fmla="*/ 73942 h 411529"/>
                  <a:gd name="connsiteX246" fmla="*/ 65912 w 200613"/>
                  <a:gd name="connsiteY246" fmla="*/ 75306 h 411529"/>
                  <a:gd name="connsiteX247" fmla="*/ 67427 w 200613"/>
                  <a:gd name="connsiteY247" fmla="*/ 76518 h 411529"/>
                  <a:gd name="connsiteX248" fmla="*/ 67275 w 200613"/>
                  <a:gd name="connsiteY248" fmla="*/ 77882 h 411529"/>
                  <a:gd name="connsiteX249" fmla="*/ 66063 w 200613"/>
                  <a:gd name="connsiteY249" fmla="*/ 79094 h 411529"/>
                  <a:gd name="connsiteX250" fmla="*/ 64548 w 200613"/>
                  <a:gd name="connsiteY250" fmla="*/ 79851 h 411529"/>
                  <a:gd name="connsiteX251" fmla="*/ 62578 w 200613"/>
                  <a:gd name="connsiteY251" fmla="*/ 81063 h 411529"/>
                  <a:gd name="connsiteX252" fmla="*/ 61517 w 200613"/>
                  <a:gd name="connsiteY252" fmla="*/ 82276 h 411529"/>
                  <a:gd name="connsiteX253" fmla="*/ 62124 w 200613"/>
                  <a:gd name="connsiteY253" fmla="*/ 82730 h 411529"/>
                  <a:gd name="connsiteX254" fmla="*/ 65003 w 200613"/>
                  <a:gd name="connsiteY254" fmla="*/ 83033 h 411529"/>
                  <a:gd name="connsiteX255" fmla="*/ 68336 w 200613"/>
                  <a:gd name="connsiteY255" fmla="*/ 84094 h 411529"/>
                  <a:gd name="connsiteX256" fmla="*/ 69397 w 200613"/>
                  <a:gd name="connsiteY256" fmla="*/ 85458 h 411529"/>
                  <a:gd name="connsiteX257" fmla="*/ 69548 w 200613"/>
                  <a:gd name="connsiteY257" fmla="*/ 86518 h 411529"/>
                  <a:gd name="connsiteX258" fmla="*/ 70003 w 200613"/>
                  <a:gd name="connsiteY258" fmla="*/ 88336 h 411529"/>
                  <a:gd name="connsiteX259" fmla="*/ 70609 w 200613"/>
                  <a:gd name="connsiteY259" fmla="*/ 88943 h 411529"/>
                  <a:gd name="connsiteX260" fmla="*/ 73791 w 200613"/>
                  <a:gd name="connsiteY260" fmla="*/ 88639 h 411529"/>
                  <a:gd name="connsiteX261" fmla="*/ 74700 w 200613"/>
                  <a:gd name="connsiteY261" fmla="*/ 89094 h 411529"/>
                  <a:gd name="connsiteX262" fmla="*/ 75760 w 200613"/>
                  <a:gd name="connsiteY262" fmla="*/ 90003 h 411529"/>
                  <a:gd name="connsiteX263" fmla="*/ 76821 w 200613"/>
                  <a:gd name="connsiteY263" fmla="*/ 92427 h 411529"/>
                  <a:gd name="connsiteX264" fmla="*/ 76821 w 200613"/>
                  <a:gd name="connsiteY264" fmla="*/ 94246 h 411529"/>
                  <a:gd name="connsiteX265" fmla="*/ 74548 w 200613"/>
                  <a:gd name="connsiteY265" fmla="*/ 96215 h 411529"/>
                  <a:gd name="connsiteX266" fmla="*/ 73639 w 200613"/>
                  <a:gd name="connsiteY266" fmla="*/ 97428 h 411529"/>
                  <a:gd name="connsiteX267" fmla="*/ 73336 w 200613"/>
                  <a:gd name="connsiteY267" fmla="*/ 99398 h 411529"/>
                  <a:gd name="connsiteX268" fmla="*/ 71669 w 200613"/>
                  <a:gd name="connsiteY268" fmla="*/ 101670 h 411529"/>
                  <a:gd name="connsiteX269" fmla="*/ 67427 w 200613"/>
                  <a:gd name="connsiteY269" fmla="*/ 105458 h 411529"/>
                  <a:gd name="connsiteX270" fmla="*/ 66215 w 200613"/>
                  <a:gd name="connsiteY270" fmla="*/ 105761 h 411529"/>
                  <a:gd name="connsiteX271" fmla="*/ 58336 w 200613"/>
                  <a:gd name="connsiteY271" fmla="*/ 103640 h 411529"/>
                  <a:gd name="connsiteX272" fmla="*/ 54699 w 200613"/>
                  <a:gd name="connsiteY272" fmla="*/ 103792 h 411529"/>
                  <a:gd name="connsiteX273" fmla="*/ 52881 w 200613"/>
                  <a:gd name="connsiteY273" fmla="*/ 103792 h 411529"/>
                  <a:gd name="connsiteX274" fmla="*/ 51972 w 200613"/>
                  <a:gd name="connsiteY274" fmla="*/ 103943 h 411529"/>
                  <a:gd name="connsiteX275" fmla="*/ 51517 w 200613"/>
                  <a:gd name="connsiteY275" fmla="*/ 104701 h 411529"/>
                  <a:gd name="connsiteX276" fmla="*/ 52578 w 200613"/>
                  <a:gd name="connsiteY276" fmla="*/ 106974 h 411529"/>
                  <a:gd name="connsiteX277" fmla="*/ 52881 w 200613"/>
                  <a:gd name="connsiteY277" fmla="*/ 109246 h 411529"/>
                  <a:gd name="connsiteX278" fmla="*/ 51972 w 200613"/>
                  <a:gd name="connsiteY278" fmla="*/ 111064 h 411529"/>
                  <a:gd name="connsiteX279" fmla="*/ 49396 w 200613"/>
                  <a:gd name="connsiteY279" fmla="*/ 112580 h 411529"/>
                  <a:gd name="connsiteX280" fmla="*/ 48487 w 200613"/>
                  <a:gd name="connsiteY280" fmla="*/ 113337 h 411529"/>
                  <a:gd name="connsiteX281" fmla="*/ 48335 w 200613"/>
                  <a:gd name="connsiteY281" fmla="*/ 114398 h 411529"/>
                  <a:gd name="connsiteX282" fmla="*/ 49093 w 200613"/>
                  <a:gd name="connsiteY282" fmla="*/ 115459 h 411529"/>
                  <a:gd name="connsiteX283" fmla="*/ 51517 w 200613"/>
                  <a:gd name="connsiteY283" fmla="*/ 116519 h 411529"/>
                  <a:gd name="connsiteX284" fmla="*/ 54245 w 200613"/>
                  <a:gd name="connsiteY284" fmla="*/ 117580 h 411529"/>
                  <a:gd name="connsiteX285" fmla="*/ 63487 w 200613"/>
                  <a:gd name="connsiteY285" fmla="*/ 123489 h 411529"/>
                  <a:gd name="connsiteX286" fmla="*/ 65457 w 200613"/>
                  <a:gd name="connsiteY286" fmla="*/ 124853 h 411529"/>
                  <a:gd name="connsiteX287" fmla="*/ 68033 w 200613"/>
                  <a:gd name="connsiteY287" fmla="*/ 126974 h 411529"/>
                  <a:gd name="connsiteX288" fmla="*/ 70912 w 200613"/>
                  <a:gd name="connsiteY288" fmla="*/ 128641 h 411529"/>
                  <a:gd name="connsiteX289" fmla="*/ 78488 w 200613"/>
                  <a:gd name="connsiteY289" fmla="*/ 130762 h 411529"/>
                  <a:gd name="connsiteX290" fmla="*/ 81821 w 200613"/>
                  <a:gd name="connsiteY290" fmla="*/ 132126 h 411529"/>
                  <a:gd name="connsiteX291" fmla="*/ 82730 w 200613"/>
                  <a:gd name="connsiteY291" fmla="*/ 132883 h 411529"/>
                  <a:gd name="connsiteX292" fmla="*/ 82730 w 200613"/>
                  <a:gd name="connsiteY292" fmla="*/ 133793 h 411529"/>
                  <a:gd name="connsiteX293" fmla="*/ 81821 w 200613"/>
                  <a:gd name="connsiteY293" fmla="*/ 135005 h 411529"/>
                  <a:gd name="connsiteX294" fmla="*/ 81064 w 200613"/>
                  <a:gd name="connsiteY294" fmla="*/ 137126 h 411529"/>
                  <a:gd name="connsiteX295" fmla="*/ 81064 w 200613"/>
                  <a:gd name="connsiteY295" fmla="*/ 138490 h 411529"/>
                  <a:gd name="connsiteX296" fmla="*/ 81821 w 200613"/>
                  <a:gd name="connsiteY296" fmla="*/ 139702 h 411529"/>
                  <a:gd name="connsiteX297" fmla="*/ 83185 w 200613"/>
                  <a:gd name="connsiteY297" fmla="*/ 141520 h 411529"/>
                  <a:gd name="connsiteX298" fmla="*/ 86215 w 200613"/>
                  <a:gd name="connsiteY298" fmla="*/ 144399 h 411529"/>
                  <a:gd name="connsiteX299" fmla="*/ 87882 w 200613"/>
                  <a:gd name="connsiteY299" fmla="*/ 145611 h 411529"/>
                  <a:gd name="connsiteX300" fmla="*/ 89701 w 200613"/>
                  <a:gd name="connsiteY300" fmla="*/ 145914 h 411529"/>
                  <a:gd name="connsiteX301" fmla="*/ 91367 w 200613"/>
                  <a:gd name="connsiteY301" fmla="*/ 146672 h 411529"/>
                  <a:gd name="connsiteX302" fmla="*/ 93034 w 200613"/>
                  <a:gd name="connsiteY302" fmla="*/ 148793 h 411529"/>
                  <a:gd name="connsiteX303" fmla="*/ 95003 w 200613"/>
                  <a:gd name="connsiteY303" fmla="*/ 151369 h 411529"/>
                  <a:gd name="connsiteX304" fmla="*/ 95307 w 200613"/>
                  <a:gd name="connsiteY304" fmla="*/ 153187 h 411529"/>
                  <a:gd name="connsiteX305" fmla="*/ 96064 w 200613"/>
                  <a:gd name="connsiteY305" fmla="*/ 155612 h 411529"/>
                  <a:gd name="connsiteX306" fmla="*/ 97882 w 200613"/>
                  <a:gd name="connsiteY306" fmla="*/ 158339 h 411529"/>
                  <a:gd name="connsiteX307" fmla="*/ 100307 w 200613"/>
                  <a:gd name="connsiteY307" fmla="*/ 160915 h 411529"/>
                  <a:gd name="connsiteX308" fmla="*/ 103640 w 200613"/>
                  <a:gd name="connsiteY308" fmla="*/ 164097 h 411529"/>
                  <a:gd name="connsiteX309" fmla="*/ 105610 w 200613"/>
                  <a:gd name="connsiteY309" fmla="*/ 166370 h 411529"/>
                  <a:gd name="connsiteX310" fmla="*/ 106519 w 200613"/>
                  <a:gd name="connsiteY310" fmla="*/ 167279 h 411529"/>
                  <a:gd name="connsiteX311" fmla="*/ 113792 w 200613"/>
                  <a:gd name="connsiteY311" fmla="*/ 172885 h 411529"/>
                  <a:gd name="connsiteX312" fmla="*/ 115610 w 200613"/>
                  <a:gd name="connsiteY312" fmla="*/ 175006 h 411529"/>
                  <a:gd name="connsiteX313" fmla="*/ 118186 w 200613"/>
                  <a:gd name="connsiteY313" fmla="*/ 178946 h 411529"/>
                  <a:gd name="connsiteX314" fmla="*/ 119247 w 200613"/>
                  <a:gd name="connsiteY314" fmla="*/ 179552 h 411529"/>
                  <a:gd name="connsiteX315" fmla="*/ 120308 w 200613"/>
                  <a:gd name="connsiteY315" fmla="*/ 180310 h 411529"/>
                  <a:gd name="connsiteX316" fmla="*/ 120914 w 200613"/>
                  <a:gd name="connsiteY316" fmla="*/ 182431 h 411529"/>
                  <a:gd name="connsiteX317" fmla="*/ 121065 w 200613"/>
                  <a:gd name="connsiteY317" fmla="*/ 183946 h 411529"/>
                  <a:gd name="connsiteX318" fmla="*/ 121368 w 200613"/>
                  <a:gd name="connsiteY318" fmla="*/ 188643 h 411529"/>
                  <a:gd name="connsiteX319" fmla="*/ 122732 w 200613"/>
                  <a:gd name="connsiteY319" fmla="*/ 190007 h 411529"/>
                  <a:gd name="connsiteX320" fmla="*/ 123944 w 200613"/>
                  <a:gd name="connsiteY320" fmla="*/ 191674 h 411529"/>
                  <a:gd name="connsiteX321" fmla="*/ 124398 w 200613"/>
                  <a:gd name="connsiteY321" fmla="*/ 192886 h 411529"/>
                  <a:gd name="connsiteX322" fmla="*/ 125459 w 200613"/>
                  <a:gd name="connsiteY322" fmla="*/ 193795 h 411529"/>
                  <a:gd name="connsiteX323" fmla="*/ 126672 w 200613"/>
                  <a:gd name="connsiteY323" fmla="*/ 193946 h 411529"/>
                  <a:gd name="connsiteX324" fmla="*/ 128035 w 200613"/>
                  <a:gd name="connsiteY324" fmla="*/ 192886 h 411529"/>
                  <a:gd name="connsiteX325" fmla="*/ 129096 w 200613"/>
                  <a:gd name="connsiteY325" fmla="*/ 191825 h 411529"/>
                  <a:gd name="connsiteX326" fmla="*/ 129550 w 200613"/>
                  <a:gd name="connsiteY326" fmla="*/ 192128 h 411529"/>
                  <a:gd name="connsiteX327" fmla="*/ 130763 w 200613"/>
                  <a:gd name="connsiteY327" fmla="*/ 195462 h 411529"/>
                  <a:gd name="connsiteX328" fmla="*/ 131823 w 200613"/>
                  <a:gd name="connsiteY328" fmla="*/ 196674 h 411529"/>
                  <a:gd name="connsiteX329" fmla="*/ 133793 w 200613"/>
                  <a:gd name="connsiteY329" fmla="*/ 197886 h 411529"/>
                  <a:gd name="connsiteX330" fmla="*/ 135611 w 200613"/>
                  <a:gd name="connsiteY330" fmla="*/ 198795 h 411529"/>
                  <a:gd name="connsiteX331" fmla="*/ 139702 w 200613"/>
                  <a:gd name="connsiteY331" fmla="*/ 202735 h 411529"/>
                  <a:gd name="connsiteX332" fmla="*/ 141824 w 200613"/>
                  <a:gd name="connsiteY332" fmla="*/ 204250 h 411529"/>
                  <a:gd name="connsiteX333" fmla="*/ 143339 w 200613"/>
                  <a:gd name="connsiteY333" fmla="*/ 204704 h 411529"/>
                  <a:gd name="connsiteX334" fmla="*/ 144551 w 200613"/>
                  <a:gd name="connsiteY334" fmla="*/ 205310 h 411529"/>
                  <a:gd name="connsiteX335" fmla="*/ 144854 w 200613"/>
                  <a:gd name="connsiteY335" fmla="*/ 206523 h 411529"/>
                  <a:gd name="connsiteX336" fmla="*/ 144399 w 200613"/>
                  <a:gd name="connsiteY336" fmla="*/ 207886 h 411529"/>
                  <a:gd name="connsiteX337" fmla="*/ 143490 w 200613"/>
                  <a:gd name="connsiteY337" fmla="*/ 208795 h 411529"/>
                  <a:gd name="connsiteX338" fmla="*/ 138793 w 200613"/>
                  <a:gd name="connsiteY338" fmla="*/ 211068 h 411529"/>
                  <a:gd name="connsiteX339" fmla="*/ 138187 w 200613"/>
                  <a:gd name="connsiteY339" fmla="*/ 212129 h 411529"/>
                  <a:gd name="connsiteX340" fmla="*/ 138793 w 200613"/>
                  <a:gd name="connsiteY340" fmla="*/ 213644 h 411529"/>
                  <a:gd name="connsiteX341" fmla="*/ 140005 w 200613"/>
                  <a:gd name="connsiteY341" fmla="*/ 215614 h 411529"/>
                  <a:gd name="connsiteX342" fmla="*/ 141217 w 200613"/>
                  <a:gd name="connsiteY342" fmla="*/ 217281 h 411529"/>
                  <a:gd name="connsiteX343" fmla="*/ 142884 w 200613"/>
                  <a:gd name="connsiteY343" fmla="*/ 218947 h 411529"/>
                  <a:gd name="connsiteX344" fmla="*/ 146217 w 200613"/>
                  <a:gd name="connsiteY344" fmla="*/ 221523 h 411529"/>
                  <a:gd name="connsiteX345" fmla="*/ 149096 w 200613"/>
                  <a:gd name="connsiteY345" fmla="*/ 223644 h 411529"/>
                  <a:gd name="connsiteX346" fmla="*/ 150612 w 200613"/>
                  <a:gd name="connsiteY346" fmla="*/ 225917 h 411529"/>
                  <a:gd name="connsiteX347" fmla="*/ 151521 w 200613"/>
                  <a:gd name="connsiteY347" fmla="*/ 227432 h 411529"/>
                  <a:gd name="connsiteX348" fmla="*/ 150915 w 200613"/>
                  <a:gd name="connsiteY348" fmla="*/ 229251 h 411529"/>
                  <a:gd name="connsiteX349" fmla="*/ 149703 w 200613"/>
                  <a:gd name="connsiteY349" fmla="*/ 231220 h 411529"/>
                  <a:gd name="connsiteX350" fmla="*/ 148794 w 200613"/>
                  <a:gd name="connsiteY350" fmla="*/ 232887 h 411529"/>
                  <a:gd name="connsiteX351" fmla="*/ 147127 w 200613"/>
                  <a:gd name="connsiteY351" fmla="*/ 233948 h 411529"/>
                  <a:gd name="connsiteX352" fmla="*/ 146672 w 200613"/>
                  <a:gd name="connsiteY352" fmla="*/ 235160 h 411529"/>
                  <a:gd name="connsiteX353" fmla="*/ 147278 w 200613"/>
                  <a:gd name="connsiteY353" fmla="*/ 236978 h 411529"/>
                  <a:gd name="connsiteX354" fmla="*/ 147884 w 200613"/>
                  <a:gd name="connsiteY354" fmla="*/ 238190 h 411529"/>
                  <a:gd name="connsiteX355" fmla="*/ 147581 w 200613"/>
                  <a:gd name="connsiteY355" fmla="*/ 239706 h 411529"/>
                  <a:gd name="connsiteX356" fmla="*/ 147733 w 200613"/>
                  <a:gd name="connsiteY356" fmla="*/ 242888 h 411529"/>
                  <a:gd name="connsiteX357" fmla="*/ 148187 w 200613"/>
                  <a:gd name="connsiteY357" fmla="*/ 244403 h 411529"/>
                  <a:gd name="connsiteX358" fmla="*/ 146975 w 200613"/>
                  <a:gd name="connsiteY358" fmla="*/ 247282 h 411529"/>
                  <a:gd name="connsiteX359" fmla="*/ 145763 w 200613"/>
                  <a:gd name="connsiteY359" fmla="*/ 249857 h 411529"/>
                  <a:gd name="connsiteX360" fmla="*/ 143490 w 200613"/>
                  <a:gd name="connsiteY360" fmla="*/ 252130 h 411529"/>
                  <a:gd name="connsiteX361" fmla="*/ 143339 w 200613"/>
                  <a:gd name="connsiteY361" fmla="*/ 253797 h 411529"/>
                  <a:gd name="connsiteX362" fmla="*/ 142581 w 200613"/>
                  <a:gd name="connsiteY362" fmla="*/ 258797 h 411529"/>
                  <a:gd name="connsiteX363" fmla="*/ 142884 w 200613"/>
                  <a:gd name="connsiteY363" fmla="*/ 260464 h 411529"/>
                  <a:gd name="connsiteX364" fmla="*/ 143490 w 200613"/>
                  <a:gd name="connsiteY364" fmla="*/ 261828 h 411529"/>
                  <a:gd name="connsiteX365" fmla="*/ 144248 w 200613"/>
                  <a:gd name="connsiteY365" fmla="*/ 262585 h 411529"/>
                  <a:gd name="connsiteX366" fmla="*/ 146217 w 200613"/>
                  <a:gd name="connsiteY366" fmla="*/ 267434 h 411529"/>
                  <a:gd name="connsiteX367" fmla="*/ 148036 w 200613"/>
                  <a:gd name="connsiteY367" fmla="*/ 271980 h 411529"/>
                  <a:gd name="connsiteX368" fmla="*/ 149854 w 200613"/>
                  <a:gd name="connsiteY368" fmla="*/ 275616 h 411529"/>
                  <a:gd name="connsiteX369" fmla="*/ 150157 w 200613"/>
                  <a:gd name="connsiteY369" fmla="*/ 277889 h 411529"/>
                  <a:gd name="connsiteX370" fmla="*/ 148490 w 200613"/>
                  <a:gd name="connsiteY370" fmla="*/ 283798 h 411529"/>
                  <a:gd name="connsiteX371" fmla="*/ 146521 w 200613"/>
                  <a:gd name="connsiteY371" fmla="*/ 289253 h 411529"/>
                  <a:gd name="connsiteX372" fmla="*/ 146672 w 200613"/>
                  <a:gd name="connsiteY372" fmla="*/ 291980 h 411529"/>
                  <a:gd name="connsiteX373" fmla="*/ 147430 w 200613"/>
                  <a:gd name="connsiteY373" fmla="*/ 294708 h 411529"/>
                  <a:gd name="connsiteX374" fmla="*/ 148339 w 200613"/>
                  <a:gd name="connsiteY374" fmla="*/ 298344 h 411529"/>
                  <a:gd name="connsiteX375" fmla="*/ 148642 w 200613"/>
                  <a:gd name="connsiteY375" fmla="*/ 302890 h 411529"/>
                  <a:gd name="connsiteX376" fmla="*/ 148187 w 200613"/>
                  <a:gd name="connsiteY376" fmla="*/ 305920 h 411529"/>
                  <a:gd name="connsiteX377" fmla="*/ 147278 w 200613"/>
                  <a:gd name="connsiteY377" fmla="*/ 307738 h 411529"/>
                  <a:gd name="connsiteX378" fmla="*/ 145612 w 200613"/>
                  <a:gd name="connsiteY378" fmla="*/ 309708 h 411529"/>
                  <a:gd name="connsiteX379" fmla="*/ 144096 w 200613"/>
                  <a:gd name="connsiteY379" fmla="*/ 310617 h 411529"/>
                  <a:gd name="connsiteX380" fmla="*/ 142429 w 200613"/>
                  <a:gd name="connsiteY380" fmla="*/ 308951 h 411529"/>
                  <a:gd name="connsiteX381" fmla="*/ 141066 w 200613"/>
                  <a:gd name="connsiteY381" fmla="*/ 308951 h 411529"/>
                  <a:gd name="connsiteX382" fmla="*/ 139248 w 200613"/>
                  <a:gd name="connsiteY382" fmla="*/ 309405 h 411529"/>
                  <a:gd name="connsiteX383" fmla="*/ 137732 w 200613"/>
                  <a:gd name="connsiteY383" fmla="*/ 310163 h 411529"/>
                  <a:gd name="connsiteX384" fmla="*/ 134702 w 200613"/>
                  <a:gd name="connsiteY384" fmla="*/ 312890 h 411529"/>
                  <a:gd name="connsiteX385" fmla="*/ 131369 w 200613"/>
                  <a:gd name="connsiteY385" fmla="*/ 315617 h 411529"/>
                  <a:gd name="connsiteX386" fmla="*/ 126823 w 200613"/>
                  <a:gd name="connsiteY386" fmla="*/ 316375 h 411529"/>
                  <a:gd name="connsiteX387" fmla="*/ 125005 w 200613"/>
                  <a:gd name="connsiteY387" fmla="*/ 318345 h 411529"/>
                  <a:gd name="connsiteX388" fmla="*/ 123186 w 200613"/>
                  <a:gd name="connsiteY388" fmla="*/ 318648 h 411529"/>
                  <a:gd name="connsiteX389" fmla="*/ 119550 w 200613"/>
                  <a:gd name="connsiteY389" fmla="*/ 318799 h 411529"/>
                  <a:gd name="connsiteX390" fmla="*/ 117277 w 200613"/>
                  <a:gd name="connsiteY390" fmla="*/ 319254 h 411529"/>
                  <a:gd name="connsiteX391" fmla="*/ 117429 w 200613"/>
                  <a:gd name="connsiteY391" fmla="*/ 320315 h 411529"/>
                  <a:gd name="connsiteX392" fmla="*/ 117277 w 200613"/>
                  <a:gd name="connsiteY392" fmla="*/ 325163 h 411529"/>
                  <a:gd name="connsiteX393" fmla="*/ 117277 w 200613"/>
                  <a:gd name="connsiteY393" fmla="*/ 326224 h 411529"/>
                  <a:gd name="connsiteX394" fmla="*/ 116974 w 200613"/>
                  <a:gd name="connsiteY394" fmla="*/ 326527 h 411529"/>
                  <a:gd name="connsiteX395" fmla="*/ 115308 w 200613"/>
                  <a:gd name="connsiteY395" fmla="*/ 326679 h 411529"/>
                  <a:gd name="connsiteX396" fmla="*/ 112580 w 200613"/>
                  <a:gd name="connsiteY396" fmla="*/ 325921 h 411529"/>
                  <a:gd name="connsiteX397" fmla="*/ 108792 w 200613"/>
                  <a:gd name="connsiteY397" fmla="*/ 324709 h 411529"/>
                  <a:gd name="connsiteX398" fmla="*/ 106216 w 200613"/>
                  <a:gd name="connsiteY398" fmla="*/ 324557 h 411529"/>
                  <a:gd name="connsiteX399" fmla="*/ 104853 w 200613"/>
                  <a:gd name="connsiteY399" fmla="*/ 326679 h 411529"/>
                  <a:gd name="connsiteX400" fmla="*/ 104095 w 200613"/>
                  <a:gd name="connsiteY400" fmla="*/ 327436 h 411529"/>
                  <a:gd name="connsiteX401" fmla="*/ 103034 w 200613"/>
                  <a:gd name="connsiteY401" fmla="*/ 327588 h 411529"/>
                  <a:gd name="connsiteX402" fmla="*/ 101974 w 200613"/>
                  <a:gd name="connsiteY402" fmla="*/ 327891 h 411529"/>
                  <a:gd name="connsiteX403" fmla="*/ 101670 w 200613"/>
                  <a:gd name="connsiteY403" fmla="*/ 328800 h 411529"/>
                  <a:gd name="connsiteX404" fmla="*/ 101519 w 200613"/>
                  <a:gd name="connsiteY404" fmla="*/ 330012 h 411529"/>
                  <a:gd name="connsiteX405" fmla="*/ 101974 w 200613"/>
                  <a:gd name="connsiteY405" fmla="*/ 331982 h 411529"/>
                  <a:gd name="connsiteX406" fmla="*/ 102125 w 200613"/>
                  <a:gd name="connsiteY406" fmla="*/ 335164 h 411529"/>
                  <a:gd name="connsiteX407" fmla="*/ 101974 w 200613"/>
                  <a:gd name="connsiteY407" fmla="*/ 337285 h 411529"/>
                  <a:gd name="connsiteX408" fmla="*/ 102883 w 200613"/>
                  <a:gd name="connsiteY408" fmla="*/ 338649 h 411529"/>
                  <a:gd name="connsiteX409" fmla="*/ 108641 w 200613"/>
                  <a:gd name="connsiteY409" fmla="*/ 343194 h 411529"/>
                  <a:gd name="connsiteX410" fmla="*/ 110307 w 200613"/>
                  <a:gd name="connsiteY410" fmla="*/ 344406 h 411529"/>
                  <a:gd name="connsiteX411" fmla="*/ 110459 w 200613"/>
                  <a:gd name="connsiteY411" fmla="*/ 345164 h 411529"/>
                  <a:gd name="connsiteX412" fmla="*/ 109398 w 200613"/>
                  <a:gd name="connsiteY412" fmla="*/ 347588 h 411529"/>
                  <a:gd name="connsiteX413" fmla="*/ 110307 w 200613"/>
                  <a:gd name="connsiteY413" fmla="*/ 351073 h 411529"/>
                  <a:gd name="connsiteX414" fmla="*/ 108489 w 200613"/>
                  <a:gd name="connsiteY414" fmla="*/ 351073 h 411529"/>
                  <a:gd name="connsiteX415" fmla="*/ 105458 w 200613"/>
                  <a:gd name="connsiteY415" fmla="*/ 349558 h 411529"/>
                  <a:gd name="connsiteX416" fmla="*/ 104095 w 200613"/>
                  <a:gd name="connsiteY416" fmla="*/ 348649 h 411529"/>
                  <a:gd name="connsiteX417" fmla="*/ 102428 w 200613"/>
                  <a:gd name="connsiteY417" fmla="*/ 349407 h 411529"/>
                  <a:gd name="connsiteX418" fmla="*/ 101822 w 200613"/>
                  <a:gd name="connsiteY418" fmla="*/ 349255 h 411529"/>
                  <a:gd name="connsiteX419" fmla="*/ 100610 w 200613"/>
                  <a:gd name="connsiteY419" fmla="*/ 347588 h 411529"/>
                  <a:gd name="connsiteX420" fmla="*/ 99095 w 200613"/>
                  <a:gd name="connsiteY420" fmla="*/ 345770 h 411529"/>
                  <a:gd name="connsiteX421" fmla="*/ 97579 w 200613"/>
                  <a:gd name="connsiteY421" fmla="*/ 345619 h 411529"/>
                  <a:gd name="connsiteX422" fmla="*/ 94246 w 200613"/>
                  <a:gd name="connsiteY422" fmla="*/ 346376 h 411529"/>
                  <a:gd name="connsiteX423" fmla="*/ 90912 w 200613"/>
                  <a:gd name="connsiteY423" fmla="*/ 346831 h 411529"/>
                  <a:gd name="connsiteX424" fmla="*/ 89701 w 200613"/>
                  <a:gd name="connsiteY424" fmla="*/ 346831 h 411529"/>
                  <a:gd name="connsiteX425" fmla="*/ 89246 w 200613"/>
                  <a:gd name="connsiteY425" fmla="*/ 347134 h 411529"/>
                  <a:gd name="connsiteX426" fmla="*/ 87276 w 200613"/>
                  <a:gd name="connsiteY426" fmla="*/ 349710 h 411529"/>
                  <a:gd name="connsiteX427" fmla="*/ 86518 w 200613"/>
                  <a:gd name="connsiteY427" fmla="*/ 349255 h 411529"/>
                  <a:gd name="connsiteX428" fmla="*/ 83034 w 200613"/>
                  <a:gd name="connsiteY428" fmla="*/ 348194 h 411529"/>
                  <a:gd name="connsiteX429" fmla="*/ 79851 w 200613"/>
                  <a:gd name="connsiteY429" fmla="*/ 347740 h 411529"/>
                  <a:gd name="connsiteX430" fmla="*/ 79246 w 200613"/>
                  <a:gd name="connsiteY430" fmla="*/ 348346 h 411529"/>
                  <a:gd name="connsiteX431" fmla="*/ 79700 w 200613"/>
                  <a:gd name="connsiteY431" fmla="*/ 350467 h 411529"/>
                  <a:gd name="connsiteX432" fmla="*/ 80457 w 200613"/>
                  <a:gd name="connsiteY432" fmla="*/ 352588 h 411529"/>
                  <a:gd name="connsiteX433" fmla="*/ 80003 w 200613"/>
                  <a:gd name="connsiteY433" fmla="*/ 353498 h 411529"/>
                  <a:gd name="connsiteX434" fmla="*/ 78336 w 200613"/>
                  <a:gd name="connsiteY434" fmla="*/ 354558 h 411529"/>
                  <a:gd name="connsiteX435" fmla="*/ 76063 w 200613"/>
                  <a:gd name="connsiteY435" fmla="*/ 356528 h 411529"/>
                  <a:gd name="connsiteX436" fmla="*/ 74700 w 200613"/>
                  <a:gd name="connsiteY436" fmla="*/ 358043 h 411529"/>
                  <a:gd name="connsiteX437" fmla="*/ 73791 w 200613"/>
                  <a:gd name="connsiteY437" fmla="*/ 358346 h 411529"/>
                  <a:gd name="connsiteX438" fmla="*/ 70306 w 200613"/>
                  <a:gd name="connsiteY438" fmla="*/ 358346 h 411529"/>
                  <a:gd name="connsiteX439" fmla="*/ 66821 w 200613"/>
                  <a:gd name="connsiteY439" fmla="*/ 358498 h 411529"/>
                  <a:gd name="connsiteX440" fmla="*/ 65457 w 200613"/>
                  <a:gd name="connsiteY440" fmla="*/ 360013 h 411529"/>
                  <a:gd name="connsiteX441" fmla="*/ 64093 w 200613"/>
                  <a:gd name="connsiteY441" fmla="*/ 361074 h 411529"/>
                  <a:gd name="connsiteX442" fmla="*/ 63033 w 200613"/>
                  <a:gd name="connsiteY442" fmla="*/ 361377 h 411529"/>
                  <a:gd name="connsiteX443" fmla="*/ 65457 w 200613"/>
                  <a:gd name="connsiteY443" fmla="*/ 363347 h 411529"/>
                  <a:gd name="connsiteX444" fmla="*/ 67578 w 200613"/>
                  <a:gd name="connsiteY444" fmla="*/ 365316 h 411529"/>
                  <a:gd name="connsiteX445" fmla="*/ 68033 w 200613"/>
                  <a:gd name="connsiteY445" fmla="*/ 366983 h 411529"/>
                  <a:gd name="connsiteX446" fmla="*/ 69397 w 200613"/>
                  <a:gd name="connsiteY446" fmla="*/ 368044 h 411529"/>
                  <a:gd name="connsiteX447" fmla="*/ 71669 w 200613"/>
                  <a:gd name="connsiteY447" fmla="*/ 367286 h 411529"/>
                  <a:gd name="connsiteX448" fmla="*/ 73185 w 200613"/>
                  <a:gd name="connsiteY448" fmla="*/ 367135 h 411529"/>
                  <a:gd name="connsiteX449" fmla="*/ 75154 w 200613"/>
                  <a:gd name="connsiteY449" fmla="*/ 369559 h 411529"/>
                  <a:gd name="connsiteX450" fmla="*/ 77730 w 200613"/>
                  <a:gd name="connsiteY450" fmla="*/ 370013 h 411529"/>
                  <a:gd name="connsiteX451" fmla="*/ 79397 w 200613"/>
                  <a:gd name="connsiteY451" fmla="*/ 370923 h 411529"/>
                  <a:gd name="connsiteX452" fmla="*/ 80912 w 200613"/>
                  <a:gd name="connsiteY452" fmla="*/ 372892 h 411529"/>
                  <a:gd name="connsiteX453" fmla="*/ 81215 w 200613"/>
                  <a:gd name="connsiteY453" fmla="*/ 374256 h 411529"/>
                  <a:gd name="connsiteX454" fmla="*/ 81215 w 200613"/>
                  <a:gd name="connsiteY454" fmla="*/ 375468 h 411529"/>
                  <a:gd name="connsiteX455" fmla="*/ 78336 w 200613"/>
                  <a:gd name="connsiteY455" fmla="*/ 376377 h 411529"/>
                  <a:gd name="connsiteX456" fmla="*/ 76063 w 200613"/>
                  <a:gd name="connsiteY456" fmla="*/ 377741 h 411529"/>
                  <a:gd name="connsiteX457" fmla="*/ 74548 w 200613"/>
                  <a:gd name="connsiteY457" fmla="*/ 383499 h 411529"/>
                  <a:gd name="connsiteX458" fmla="*/ 73639 w 200613"/>
                  <a:gd name="connsiteY458" fmla="*/ 395014 h 411529"/>
                  <a:gd name="connsiteX459" fmla="*/ 73791 w 200613"/>
                  <a:gd name="connsiteY459" fmla="*/ 405469 h 411529"/>
                  <a:gd name="connsiteX460" fmla="*/ 75912 w 200613"/>
                  <a:gd name="connsiteY460" fmla="*/ 406985 h 411529"/>
                  <a:gd name="connsiteX461" fmla="*/ 72427 w 200613"/>
                  <a:gd name="connsiteY461" fmla="*/ 411075 h 411529"/>
                  <a:gd name="connsiteX462" fmla="*/ 75760 w 200613"/>
                  <a:gd name="connsiteY462" fmla="*/ 411530 h 411529"/>
                  <a:gd name="connsiteX463" fmla="*/ 81821 w 200613"/>
                  <a:gd name="connsiteY463" fmla="*/ 410318 h 411529"/>
                  <a:gd name="connsiteX464" fmla="*/ 83943 w 200613"/>
                  <a:gd name="connsiteY464" fmla="*/ 408045 h 411529"/>
                  <a:gd name="connsiteX465" fmla="*/ 87579 w 200613"/>
                  <a:gd name="connsiteY465" fmla="*/ 405621 h 411529"/>
                  <a:gd name="connsiteX466" fmla="*/ 89701 w 200613"/>
                  <a:gd name="connsiteY466" fmla="*/ 401227 h 411529"/>
                  <a:gd name="connsiteX467" fmla="*/ 92428 w 200613"/>
                  <a:gd name="connsiteY467" fmla="*/ 397590 h 411529"/>
                  <a:gd name="connsiteX468" fmla="*/ 110762 w 200613"/>
                  <a:gd name="connsiteY468" fmla="*/ 389256 h 411529"/>
                  <a:gd name="connsiteX469" fmla="*/ 111368 w 200613"/>
                  <a:gd name="connsiteY469" fmla="*/ 387893 h 411529"/>
                  <a:gd name="connsiteX470" fmla="*/ 111671 w 200613"/>
                  <a:gd name="connsiteY470" fmla="*/ 386378 h 411529"/>
                  <a:gd name="connsiteX471" fmla="*/ 110307 w 200613"/>
                  <a:gd name="connsiteY471" fmla="*/ 383802 h 411529"/>
                  <a:gd name="connsiteX472" fmla="*/ 109095 w 200613"/>
                  <a:gd name="connsiteY472" fmla="*/ 381680 h 411529"/>
                  <a:gd name="connsiteX473" fmla="*/ 101367 w 200613"/>
                  <a:gd name="connsiteY473" fmla="*/ 372741 h 411529"/>
                  <a:gd name="connsiteX474" fmla="*/ 103943 w 200613"/>
                  <a:gd name="connsiteY474" fmla="*/ 373801 h 411529"/>
                  <a:gd name="connsiteX475" fmla="*/ 111520 w 200613"/>
                  <a:gd name="connsiteY475" fmla="*/ 381680 h 411529"/>
                  <a:gd name="connsiteX476" fmla="*/ 116217 w 200613"/>
                  <a:gd name="connsiteY476" fmla="*/ 385014 h 411529"/>
                  <a:gd name="connsiteX477" fmla="*/ 119096 w 200613"/>
                  <a:gd name="connsiteY477" fmla="*/ 384862 h 411529"/>
                  <a:gd name="connsiteX478" fmla="*/ 120610 w 200613"/>
                  <a:gd name="connsiteY478" fmla="*/ 383650 h 411529"/>
                  <a:gd name="connsiteX479" fmla="*/ 121519 w 200613"/>
                  <a:gd name="connsiteY479" fmla="*/ 382590 h 411529"/>
                  <a:gd name="connsiteX480" fmla="*/ 121368 w 200613"/>
                  <a:gd name="connsiteY480" fmla="*/ 380620 h 411529"/>
                  <a:gd name="connsiteX481" fmla="*/ 119853 w 200613"/>
                  <a:gd name="connsiteY481" fmla="*/ 377741 h 411529"/>
                  <a:gd name="connsiteX482" fmla="*/ 111065 w 200613"/>
                  <a:gd name="connsiteY482" fmla="*/ 368953 h 411529"/>
                  <a:gd name="connsiteX483" fmla="*/ 109701 w 200613"/>
                  <a:gd name="connsiteY483" fmla="*/ 366831 h 411529"/>
                  <a:gd name="connsiteX484" fmla="*/ 118186 w 200613"/>
                  <a:gd name="connsiteY484" fmla="*/ 374559 h 411529"/>
                  <a:gd name="connsiteX485" fmla="*/ 121217 w 200613"/>
                  <a:gd name="connsiteY485" fmla="*/ 376529 h 411529"/>
                  <a:gd name="connsiteX486" fmla="*/ 122277 w 200613"/>
                  <a:gd name="connsiteY486" fmla="*/ 376680 h 411529"/>
                  <a:gd name="connsiteX487" fmla="*/ 123944 w 200613"/>
                  <a:gd name="connsiteY487" fmla="*/ 375620 h 411529"/>
                  <a:gd name="connsiteX488" fmla="*/ 123944 w 200613"/>
                  <a:gd name="connsiteY488" fmla="*/ 374256 h 411529"/>
                  <a:gd name="connsiteX489" fmla="*/ 123944 w 200613"/>
                  <a:gd name="connsiteY489" fmla="*/ 373044 h 411529"/>
                  <a:gd name="connsiteX490" fmla="*/ 125459 w 200613"/>
                  <a:gd name="connsiteY490" fmla="*/ 371226 h 411529"/>
                  <a:gd name="connsiteX491" fmla="*/ 127429 w 200613"/>
                  <a:gd name="connsiteY491" fmla="*/ 369710 h 411529"/>
                  <a:gd name="connsiteX492" fmla="*/ 127429 w 200613"/>
                  <a:gd name="connsiteY492" fmla="*/ 368801 h 411529"/>
                  <a:gd name="connsiteX493" fmla="*/ 125914 w 200613"/>
                  <a:gd name="connsiteY493" fmla="*/ 367589 h 411529"/>
                  <a:gd name="connsiteX494" fmla="*/ 122429 w 200613"/>
                  <a:gd name="connsiteY494" fmla="*/ 366528 h 411529"/>
                  <a:gd name="connsiteX495" fmla="*/ 118641 w 200613"/>
                  <a:gd name="connsiteY495" fmla="*/ 364710 h 411529"/>
                  <a:gd name="connsiteX496" fmla="*/ 119398 w 200613"/>
                  <a:gd name="connsiteY496" fmla="*/ 364559 h 411529"/>
                  <a:gd name="connsiteX497" fmla="*/ 123489 w 200613"/>
                  <a:gd name="connsiteY497" fmla="*/ 365013 h 411529"/>
                  <a:gd name="connsiteX498" fmla="*/ 126672 w 200613"/>
                  <a:gd name="connsiteY498" fmla="*/ 364862 h 411529"/>
                  <a:gd name="connsiteX499" fmla="*/ 127126 w 200613"/>
                  <a:gd name="connsiteY499" fmla="*/ 363650 h 411529"/>
                  <a:gd name="connsiteX500" fmla="*/ 127126 w 200613"/>
                  <a:gd name="connsiteY500" fmla="*/ 362589 h 411529"/>
                  <a:gd name="connsiteX501" fmla="*/ 126065 w 200613"/>
                  <a:gd name="connsiteY501" fmla="*/ 360771 h 411529"/>
                  <a:gd name="connsiteX502" fmla="*/ 124853 w 200613"/>
                  <a:gd name="connsiteY502" fmla="*/ 360316 h 411529"/>
                  <a:gd name="connsiteX503" fmla="*/ 123338 w 200613"/>
                  <a:gd name="connsiteY503" fmla="*/ 360468 h 411529"/>
                  <a:gd name="connsiteX504" fmla="*/ 122277 w 200613"/>
                  <a:gd name="connsiteY504" fmla="*/ 360164 h 411529"/>
                  <a:gd name="connsiteX505" fmla="*/ 125611 w 200613"/>
                  <a:gd name="connsiteY505" fmla="*/ 358195 h 411529"/>
                  <a:gd name="connsiteX506" fmla="*/ 127884 w 200613"/>
                  <a:gd name="connsiteY506" fmla="*/ 361074 h 411529"/>
                  <a:gd name="connsiteX507" fmla="*/ 130308 w 200613"/>
                  <a:gd name="connsiteY507" fmla="*/ 362437 h 411529"/>
                  <a:gd name="connsiteX508" fmla="*/ 131520 w 200613"/>
                  <a:gd name="connsiteY508" fmla="*/ 361983 h 411529"/>
                  <a:gd name="connsiteX509" fmla="*/ 131974 w 200613"/>
                  <a:gd name="connsiteY509" fmla="*/ 360922 h 411529"/>
                  <a:gd name="connsiteX510" fmla="*/ 132429 w 200613"/>
                  <a:gd name="connsiteY510" fmla="*/ 356074 h 411529"/>
                  <a:gd name="connsiteX511" fmla="*/ 133035 w 200613"/>
                  <a:gd name="connsiteY511" fmla="*/ 354861 h 411529"/>
                  <a:gd name="connsiteX512" fmla="*/ 133490 w 200613"/>
                  <a:gd name="connsiteY512" fmla="*/ 355619 h 411529"/>
                  <a:gd name="connsiteX513" fmla="*/ 133944 w 200613"/>
                  <a:gd name="connsiteY513" fmla="*/ 357740 h 411529"/>
                  <a:gd name="connsiteX514" fmla="*/ 135308 w 200613"/>
                  <a:gd name="connsiteY514" fmla="*/ 359407 h 411529"/>
                  <a:gd name="connsiteX515" fmla="*/ 138187 w 200613"/>
                  <a:gd name="connsiteY515" fmla="*/ 360164 h 411529"/>
                  <a:gd name="connsiteX516" fmla="*/ 139248 w 200613"/>
                  <a:gd name="connsiteY516" fmla="*/ 361528 h 411529"/>
                  <a:gd name="connsiteX517" fmla="*/ 140005 w 200613"/>
                  <a:gd name="connsiteY517" fmla="*/ 362134 h 411529"/>
                  <a:gd name="connsiteX518" fmla="*/ 143339 w 200613"/>
                  <a:gd name="connsiteY518" fmla="*/ 360468 h 411529"/>
                  <a:gd name="connsiteX519" fmla="*/ 145763 w 200613"/>
                  <a:gd name="connsiteY519" fmla="*/ 359710 h 411529"/>
                  <a:gd name="connsiteX520" fmla="*/ 148339 w 200613"/>
                  <a:gd name="connsiteY520" fmla="*/ 357740 h 411529"/>
                  <a:gd name="connsiteX521" fmla="*/ 156066 w 200613"/>
                  <a:gd name="connsiteY521" fmla="*/ 353801 h 411529"/>
                  <a:gd name="connsiteX522" fmla="*/ 160309 w 200613"/>
                  <a:gd name="connsiteY522" fmla="*/ 353195 h 411529"/>
                  <a:gd name="connsiteX523" fmla="*/ 162885 w 200613"/>
                  <a:gd name="connsiteY523" fmla="*/ 348346 h 411529"/>
                  <a:gd name="connsiteX524" fmla="*/ 165158 w 200613"/>
                  <a:gd name="connsiteY524" fmla="*/ 347740 h 411529"/>
                  <a:gd name="connsiteX525" fmla="*/ 167734 w 200613"/>
                  <a:gd name="connsiteY525" fmla="*/ 347285 h 411529"/>
                  <a:gd name="connsiteX526" fmla="*/ 171825 w 200613"/>
                  <a:gd name="connsiteY526" fmla="*/ 344406 h 411529"/>
                  <a:gd name="connsiteX527" fmla="*/ 175461 w 200613"/>
                  <a:gd name="connsiteY527" fmla="*/ 341224 h 411529"/>
                  <a:gd name="connsiteX528" fmla="*/ 179552 w 200613"/>
                  <a:gd name="connsiteY528" fmla="*/ 340012 h 411529"/>
                  <a:gd name="connsiteX529" fmla="*/ 182886 w 200613"/>
                  <a:gd name="connsiteY529" fmla="*/ 336830 h 411529"/>
                  <a:gd name="connsiteX530" fmla="*/ 187431 w 200613"/>
                  <a:gd name="connsiteY530" fmla="*/ 336224 h 411529"/>
                  <a:gd name="connsiteX531" fmla="*/ 188340 w 200613"/>
                  <a:gd name="connsiteY531" fmla="*/ 332588 h 411529"/>
                  <a:gd name="connsiteX532" fmla="*/ 188946 w 200613"/>
                  <a:gd name="connsiteY532" fmla="*/ 329103 h 411529"/>
                  <a:gd name="connsiteX533" fmla="*/ 191522 w 200613"/>
                  <a:gd name="connsiteY533" fmla="*/ 328800 h 411529"/>
                  <a:gd name="connsiteX534" fmla="*/ 192583 w 200613"/>
                  <a:gd name="connsiteY534" fmla="*/ 326981 h 411529"/>
                  <a:gd name="connsiteX535" fmla="*/ 193341 w 200613"/>
                  <a:gd name="connsiteY535" fmla="*/ 325315 h 411529"/>
                  <a:gd name="connsiteX536" fmla="*/ 193189 w 200613"/>
                  <a:gd name="connsiteY536" fmla="*/ 323951 h 411529"/>
                  <a:gd name="connsiteX537" fmla="*/ 192280 w 200613"/>
                  <a:gd name="connsiteY537" fmla="*/ 322133 h 411529"/>
                  <a:gd name="connsiteX538" fmla="*/ 192583 w 200613"/>
                  <a:gd name="connsiteY538" fmla="*/ 320012 h 411529"/>
                  <a:gd name="connsiteX539" fmla="*/ 193492 w 200613"/>
                  <a:gd name="connsiteY539" fmla="*/ 318345 h 411529"/>
                  <a:gd name="connsiteX540" fmla="*/ 193492 w 200613"/>
                  <a:gd name="connsiteY540" fmla="*/ 317587 h 411529"/>
                  <a:gd name="connsiteX541" fmla="*/ 193946 w 200613"/>
                  <a:gd name="connsiteY541" fmla="*/ 317284 h 411529"/>
                  <a:gd name="connsiteX542" fmla="*/ 194098 w 200613"/>
                  <a:gd name="connsiteY542" fmla="*/ 318648 h 411529"/>
                  <a:gd name="connsiteX543" fmla="*/ 194856 w 200613"/>
                  <a:gd name="connsiteY543" fmla="*/ 320012 h 411529"/>
                  <a:gd name="connsiteX544" fmla="*/ 195159 w 200613"/>
                  <a:gd name="connsiteY544" fmla="*/ 318799 h 411529"/>
                  <a:gd name="connsiteX545" fmla="*/ 195007 w 200613"/>
                  <a:gd name="connsiteY545" fmla="*/ 317739 h 411529"/>
                  <a:gd name="connsiteX546" fmla="*/ 193946 w 200613"/>
                  <a:gd name="connsiteY546" fmla="*/ 315466 h 411529"/>
                  <a:gd name="connsiteX547" fmla="*/ 193644 w 200613"/>
                  <a:gd name="connsiteY547" fmla="*/ 306072 h 411529"/>
                  <a:gd name="connsiteX548" fmla="*/ 196371 w 200613"/>
                  <a:gd name="connsiteY548" fmla="*/ 306678 h 411529"/>
                  <a:gd name="connsiteX549" fmla="*/ 194098 w 200613"/>
                  <a:gd name="connsiteY549" fmla="*/ 299708 h 411529"/>
                  <a:gd name="connsiteX550" fmla="*/ 195613 w 200613"/>
                  <a:gd name="connsiteY550" fmla="*/ 297889 h 411529"/>
                  <a:gd name="connsiteX551" fmla="*/ 197280 w 200613"/>
                  <a:gd name="connsiteY551" fmla="*/ 296677 h 411529"/>
                  <a:gd name="connsiteX552" fmla="*/ 198492 w 200613"/>
                  <a:gd name="connsiteY552" fmla="*/ 298950 h 411529"/>
                  <a:gd name="connsiteX553" fmla="*/ 200159 w 200613"/>
                  <a:gd name="connsiteY553" fmla="*/ 300920 h 411529"/>
                  <a:gd name="connsiteX554" fmla="*/ 200462 w 200613"/>
                  <a:gd name="connsiteY554" fmla="*/ 298799 h 411529"/>
                  <a:gd name="connsiteX555" fmla="*/ 122429 w 200613"/>
                  <a:gd name="connsiteY555" fmla="*/ 409257 h 411529"/>
                  <a:gd name="connsiteX556" fmla="*/ 123035 w 200613"/>
                  <a:gd name="connsiteY556" fmla="*/ 409863 h 411529"/>
                  <a:gd name="connsiteX557" fmla="*/ 123793 w 200613"/>
                  <a:gd name="connsiteY557" fmla="*/ 409863 h 411529"/>
                  <a:gd name="connsiteX558" fmla="*/ 124702 w 200613"/>
                  <a:gd name="connsiteY558" fmla="*/ 409409 h 411529"/>
                  <a:gd name="connsiteX559" fmla="*/ 124550 w 200613"/>
                  <a:gd name="connsiteY559" fmla="*/ 408803 h 411529"/>
                  <a:gd name="connsiteX560" fmla="*/ 124853 w 200613"/>
                  <a:gd name="connsiteY560" fmla="*/ 407591 h 411529"/>
                  <a:gd name="connsiteX561" fmla="*/ 122429 w 200613"/>
                  <a:gd name="connsiteY561" fmla="*/ 409257 h 411529"/>
                  <a:gd name="connsiteX562" fmla="*/ 138490 w 200613"/>
                  <a:gd name="connsiteY562" fmla="*/ 362134 h 411529"/>
                  <a:gd name="connsiteX563" fmla="*/ 136520 w 200613"/>
                  <a:gd name="connsiteY563" fmla="*/ 363043 h 411529"/>
                  <a:gd name="connsiteX564" fmla="*/ 136672 w 200613"/>
                  <a:gd name="connsiteY564" fmla="*/ 364407 h 411529"/>
                  <a:gd name="connsiteX565" fmla="*/ 138945 w 200613"/>
                  <a:gd name="connsiteY565" fmla="*/ 362740 h 411529"/>
                  <a:gd name="connsiteX566" fmla="*/ 139702 w 200613"/>
                  <a:gd name="connsiteY566" fmla="*/ 361377 h 411529"/>
                  <a:gd name="connsiteX567" fmla="*/ 139248 w 200613"/>
                  <a:gd name="connsiteY567" fmla="*/ 361377 h 411529"/>
                  <a:gd name="connsiteX568" fmla="*/ 138490 w 200613"/>
                  <a:gd name="connsiteY568" fmla="*/ 362134 h 411529"/>
                  <a:gd name="connsiteX569" fmla="*/ 53032 w 200613"/>
                  <a:gd name="connsiteY569" fmla="*/ 361831 h 411529"/>
                  <a:gd name="connsiteX570" fmla="*/ 51820 w 200613"/>
                  <a:gd name="connsiteY570" fmla="*/ 361831 h 411529"/>
                  <a:gd name="connsiteX571" fmla="*/ 49396 w 200613"/>
                  <a:gd name="connsiteY571" fmla="*/ 363498 h 411529"/>
                  <a:gd name="connsiteX572" fmla="*/ 48032 w 200613"/>
                  <a:gd name="connsiteY572" fmla="*/ 363498 h 411529"/>
                  <a:gd name="connsiteX573" fmla="*/ 48487 w 200613"/>
                  <a:gd name="connsiteY573" fmla="*/ 364407 h 411529"/>
                  <a:gd name="connsiteX574" fmla="*/ 50760 w 200613"/>
                  <a:gd name="connsiteY574" fmla="*/ 366983 h 411529"/>
                  <a:gd name="connsiteX575" fmla="*/ 52578 w 200613"/>
                  <a:gd name="connsiteY575" fmla="*/ 372892 h 411529"/>
                  <a:gd name="connsiteX576" fmla="*/ 53335 w 200613"/>
                  <a:gd name="connsiteY576" fmla="*/ 371983 h 411529"/>
                  <a:gd name="connsiteX577" fmla="*/ 53032 w 200613"/>
                  <a:gd name="connsiteY577" fmla="*/ 370619 h 411529"/>
                  <a:gd name="connsiteX578" fmla="*/ 54093 w 200613"/>
                  <a:gd name="connsiteY578" fmla="*/ 367438 h 411529"/>
                  <a:gd name="connsiteX579" fmla="*/ 54245 w 200613"/>
                  <a:gd name="connsiteY579" fmla="*/ 364256 h 411529"/>
                  <a:gd name="connsiteX580" fmla="*/ 53790 w 200613"/>
                  <a:gd name="connsiteY580" fmla="*/ 362892 h 411529"/>
                  <a:gd name="connsiteX581" fmla="*/ 53032 w 200613"/>
                  <a:gd name="connsiteY581" fmla="*/ 361831 h 411529"/>
                  <a:gd name="connsiteX582" fmla="*/ 145157 w 200613"/>
                  <a:gd name="connsiteY582" fmla="*/ 69699 h 411529"/>
                  <a:gd name="connsiteX583" fmla="*/ 146975 w 200613"/>
                  <a:gd name="connsiteY583" fmla="*/ 69851 h 411529"/>
                  <a:gd name="connsiteX584" fmla="*/ 148490 w 200613"/>
                  <a:gd name="connsiteY584" fmla="*/ 69093 h 411529"/>
                  <a:gd name="connsiteX585" fmla="*/ 149248 w 200613"/>
                  <a:gd name="connsiteY585" fmla="*/ 67578 h 411529"/>
                  <a:gd name="connsiteX586" fmla="*/ 149248 w 200613"/>
                  <a:gd name="connsiteY586" fmla="*/ 66063 h 411529"/>
                  <a:gd name="connsiteX587" fmla="*/ 148339 w 200613"/>
                  <a:gd name="connsiteY587" fmla="*/ 66669 h 411529"/>
                  <a:gd name="connsiteX588" fmla="*/ 147278 w 200613"/>
                  <a:gd name="connsiteY588" fmla="*/ 68336 h 411529"/>
                  <a:gd name="connsiteX589" fmla="*/ 145157 w 200613"/>
                  <a:gd name="connsiteY589" fmla="*/ 69699 h 411529"/>
                  <a:gd name="connsiteX590" fmla="*/ 131823 w 200613"/>
                  <a:gd name="connsiteY590" fmla="*/ 71972 h 411529"/>
                  <a:gd name="connsiteX591" fmla="*/ 133944 w 200613"/>
                  <a:gd name="connsiteY591" fmla="*/ 74245 h 411529"/>
                  <a:gd name="connsiteX592" fmla="*/ 135005 w 200613"/>
                  <a:gd name="connsiteY592" fmla="*/ 74094 h 411529"/>
                  <a:gd name="connsiteX593" fmla="*/ 135308 w 200613"/>
                  <a:gd name="connsiteY593" fmla="*/ 73639 h 411529"/>
                  <a:gd name="connsiteX594" fmla="*/ 135914 w 200613"/>
                  <a:gd name="connsiteY594" fmla="*/ 72578 h 411529"/>
                  <a:gd name="connsiteX595" fmla="*/ 135914 w 200613"/>
                  <a:gd name="connsiteY595" fmla="*/ 72124 h 411529"/>
                  <a:gd name="connsiteX596" fmla="*/ 135308 w 200613"/>
                  <a:gd name="connsiteY596" fmla="*/ 71518 h 411529"/>
                  <a:gd name="connsiteX597" fmla="*/ 132884 w 200613"/>
                  <a:gd name="connsiteY597" fmla="*/ 70608 h 411529"/>
                  <a:gd name="connsiteX598" fmla="*/ 131823 w 200613"/>
                  <a:gd name="connsiteY598" fmla="*/ 71972 h 411529"/>
                  <a:gd name="connsiteX599" fmla="*/ 149703 w 200613"/>
                  <a:gd name="connsiteY599" fmla="*/ 60760 h 411529"/>
                  <a:gd name="connsiteX600" fmla="*/ 147278 w 200613"/>
                  <a:gd name="connsiteY600" fmla="*/ 59396 h 411529"/>
                  <a:gd name="connsiteX601" fmla="*/ 146672 w 200613"/>
                  <a:gd name="connsiteY601" fmla="*/ 60305 h 411529"/>
                  <a:gd name="connsiteX602" fmla="*/ 145308 w 200613"/>
                  <a:gd name="connsiteY602" fmla="*/ 64396 h 411529"/>
                  <a:gd name="connsiteX603" fmla="*/ 146824 w 200613"/>
                  <a:gd name="connsiteY603" fmla="*/ 64396 h 411529"/>
                  <a:gd name="connsiteX604" fmla="*/ 150763 w 200613"/>
                  <a:gd name="connsiteY604" fmla="*/ 60911 h 411529"/>
                  <a:gd name="connsiteX605" fmla="*/ 149703 w 200613"/>
                  <a:gd name="connsiteY605" fmla="*/ 60760 h 411529"/>
                  <a:gd name="connsiteX606" fmla="*/ 128035 w 200613"/>
                  <a:gd name="connsiteY606" fmla="*/ 70912 h 411529"/>
                  <a:gd name="connsiteX607" fmla="*/ 128944 w 200613"/>
                  <a:gd name="connsiteY607" fmla="*/ 71518 h 411529"/>
                  <a:gd name="connsiteX608" fmla="*/ 130308 w 200613"/>
                  <a:gd name="connsiteY608" fmla="*/ 72881 h 411529"/>
                  <a:gd name="connsiteX609" fmla="*/ 130611 w 200613"/>
                  <a:gd name="connsiteY609" fmla="*/ 72275 h 411529"/>
                  <a:gd name="connsiteX610" fmla="*/ 130308 w 200613"/>
                  <a:gd name="connsiteY610" fmla="*/ 71063 h 411529"/>
                  <a:gd name="connsiteX611" fmla="*/ 128641 w 200613"/>
                  <a:gd name="connsiteY611" fmla="*/ 69093 h 411529"/>
                  <a:gd name="connsiteX612" fmla="*/ 128035 w 200613"/>
                  <a:gd name="connsiteY612" fmla="*/ 70912 h 41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Lst>
                <a:rect l="l" t="t" r="r" b="b"/>
                <a:pathLst>
                  <a:path w="200613" h="411529">
                    <a:moveTo>
                      <a:pt x="200462" y="298799"/>
                    </a:moveTo>
                    <a:lnTo>
                      <a:pt x="200613" y="292283"/>
                    </a:lnTo>
                    <a:lnTo>
                      <a:pt x="199250" y="290313"/>
                    </a:lnTo>
                    <a:lnTo>
                      <a:pt x="197432" y="285010"/>
                    </a:lnTo>
                    <a:lnTo>
                      <a:pt x="196371" y="283344"/>
                    </a:lnTo>
                    <a:lnTo>
                      <a:pt x="196825" y="278647"/>
                    </a:lnTo>
                    <a:lnTo>
                      <a:pt x="195765" y="274707"/>
                    </a:lnTo>
                    <a:lnTo>
                      <a:pt x="195613" y="267434"/>
                    </a:lnTo>
                    <a:lnTo>
                      <a:pt x="196674" y="269858"/>
                    </a:lnTo>
                    <a:lnTo>
                      <a:pt x="197129" y="267282"/>
                    </a:lnTo>
                    <a:lnTo>
                      <a:pt x="195462" y="261828"/>
                    </a:lnTo>
                    <a:lnTo>
                      <a:pt x="194856" y="260616"/>
                    </a:lnTo>
                    <a:lnTo>
                      <a:pt x="194401" y="258949"/>
                    </a:lnTo>
                    <a:lnTo>
                      <a:pt x="193946" y="255767"/>
                    </a:lnTo>
                    <a:lnTo>
                      <a:pt x="192432" y="252585"/>
                    </a:lnTo>
                    <a:lnTo>
                      <a:pt x="191068" y="247888"/>
                    </a:lnTo>
                    <a:lnTo>
                      <a:pt x="191068" y="243342"/>
                    </a:lnTo>
                    <a:lnTo>
                      <a:pt x="189401" y="240918"/>
                    </a:lnTo>
                    <a:lnTo>
                      <a:pt x="187128" y="235463"/>
                    </a:lnTo>
                    <a:lnTo>
                      <a:pt x="185916" y="230463"/>
                    </a:lnTo>
                    <a:lnTo>
                      <a:pt x="183795" y="225008"/>
                    </a:lnTo>
                    <a:lnTo>
                      <a:pt x="181673" y="223644"/>
                    </a:lnTo>
                    <a:lnTo>
                      <a:pt x="179855" y="222129"/>
                    </a:lnTo>
                    <a:lnTo>
                      <a:pt x="177279" y="219250"/>
                    </a:lnTo>
                    <a:lnTo>
                      <a:pt x="173643" y="214250"/>
                    </a:lnTo>
                    <a:lnTo>
                      <a:pt x="172279" y="211220"/>
                    </a:lnTo>
                    <a:lnTo>
                      <a:pt x="169249" y="208038"/>
                    </a:lnTo>
                    <a:lnTo>
                      <a:pt x="168946" y="206977"/>
                    </a:lnTo>
                    <a:lnTo>
                      <a:pt x="168794" y="205310"/>
                    </a:lnTo>
                    <a:lnTo>
                      <a:pt x="168036" y="205007"/>
                    </a:lnTo>
                    <a:lnTo>
                      <a:pt x="167127" y="205310"/>
                    </a:lnTo>
                    <a:lnTo>
                      <a:pt x="166067" y="203341"/>
                    </a:lnTo>
                    <a:lnTo>
                      <a:pt x="163794" y="201068"/>
                    </a:lnTo>
                    <a:lnTo>
                      <a:pt x="162127" y="198644"/>
                    </a:lnTo>
                    <a:lnTo>
                      <a:pt x="161067" y="198492"/>
                    </a:lnTo>
                    <a:lnTo>
                      <a:pt x="159551" y="198644"/>
                    </a:lnTo>
                    <a:lnTo>
                      <a:pt x="158036" y="199250"/>
                    </a:lnTo>
                    <a:lnTo>
                      <a:pt x="156672" y="198946"/>
                    </a:lnTo>
                    <a:lnTo>
                      <a:pt x="155763" y="196674"/>
                    </a:lnTo>
                    <a:lnTo>
                      <a:pt x="153642" y="194249"/>
                    </a:lnTo>
                    <a:lnTo>
                      <a:pt x="150005" y="191977"/>
                    </a:lnTo>
                    <a:lnTo>
                      <a:pt x="148490" y="190916"/>
                    </a:lnTo>
                    <a:lnTo>
                      <a:pt x="148794" y="190007"/>
                    </a:lnTo>
                    <a:lnTo>
                      <a:pt x="143490" y="185764"/>
                    </a:lnTo>
                    <a:lnTo>
                      <a:pt x="138641" y="182885"/>
                    </a:lnTo>
                    <a:lnTo>
                      <a:pt x="136975" y="178491"/>
                    </a:lnTo>
                    <a:lnTo>
                      <a:pt x="131672" y="173794"/>
                    </a:lnTo>
                    <a:lnTo>
                      <a:pt x="126520" y="169703"/>
                    </a:lnTo>
                    <a:lnTo>
                      <a:pt x="120459" y="161369"/>
                    </a:lnTo>
                    <a:lnTo>
                      <a:pt x="116520" y="158945"/>
                    </a:lnTo>
                    <a:lnTo>
                      <a:pt x="116065" y="158491"/>
                    </a:lnTo>
                    <a:lnTo>
                      <a:pt x="119398" y="159703"/>
                    </a:lnTo>
                    <a:lnTo>
                      <a:pt x="118792" y="155309"/>
                    </a:lnTo>
                    <a:lnTo>
                      <a:pt x="119853" y="153339"/>
                    </a:lnTo>
                    <a:lnTo>
                      <a:pt x="117429" y="150308"/>
                    </a:lnTo>
                    <a:lnTo>
                      <a:pt x="112731" y="145611"/>
                    </a:lnTo>
                    <a:lnTo>
                      <a:pt x="110155" y="144551"/>
                    </a:lnTo>
                    <a:lnTo>
                      <a:pt x="108034" y="142884"/>
                    </a:lnTo>
                    <a:lnTo>
                      <a:pt x="103186" y="137581"/>
                    </a:lnTo>
                    <a:lnTo>
                      <a:pt x="101822" y="135611"/>
                    </a:lnTo>
                    <a:lnTo>
                      <a:pt x="100913" y="133641"/>
                    </a:lnTo>
                    <a:lnTo>
                      <a:pt x="99095" y="130762"/>
                    </a:lnTo>
                    <a:lnTo>
                      <a:pt x="98791" y="129853"/>
                    </a:lnTo>
                    <a:lnTo>
                      <a:pt x="95761" y="124550"/>
                    </a:lnTo>
                    <a:lnTo>
                      <a:pt x="96216" y="121974"/>
                    </a:lnTo>
                    <a:lnTo>
                      <a:pt x="98337" y="120004"/>
                    </a:lnTo>
                    <a:lnTo>
                      <a:pt x="100307" y="115307"/>
                    </a:lnTo>
                    <a:lnTo>
                      <a:pt x="100155" y="112883"/>
                    </a:lnTo>
                    <a:lnTo>
                      <a:pt x="100913" y="110458"/>
                    </a:lnTo>
                    <a:lnTo>
                      <a:pt x="100913" y="107125"/>
                    </a:lnTo>
                    <a:lnTo>
                      <a:pt x="105610" y="97125"/>
                    </a:lnTo>
                    <a:lnTo>
                      <a:pt x="107732" y="95761"/>
                    </a:lnTo>
                    <a:lnTo>
                      <a:pt x="110610" y="95610"/>
                    </a:lnTo>
                    <a:lnTo>
                      <a:pt x="116822" y="89549"/>
                    </a:lnTo>
                    <a:lnTo>
                      <a:pt x="120156" y="87124"/>
                    </a:lnTo>
                    <a:lnTo>
                      <a:pt x="121671" y="84245"/>
                    </a:lnTo>
                    <a:lnTo>
                      <a:pt x="121065" y="80457"/>
                    </a:lnTo>
                    <a:lnTo>
                      <a:pt x="126672" y="74548"/>
                    </a:lnTo>
                    <a:lnTo>
                      <a:pt x="126217" y="72578"/>
                    </a:lnTo>
                    <a:lnTo>
                      <a:pt x="124550" y="68184"/>
                    </a:lnTo>
                    <a:lnTo>
                      <a:pt x="124702" y="67124"/>
                    </a:lnTo>
                    <a:lnTo>
                      <a:pt x="125914" y="67124"/>
                    </a:lnTo>
                    <a:lnTo>
                      <a:pt x="126823" y="67427"/>
                    </a:lnTo>
                    <a:lnTo>
                      <a:pt x="128490" y="68336"/>
                    </a:lnTo>
                    <a:lnTo>
                      <a:pt x="130308" y="68487"/>
                    </a:lnTo>
                    <a:lnTo>
                      <a:pt x="131672" y="67730"/>
                    </a:lnTo>
                    <a:lnTo>
                      <a:pt x="132884" y="67881"/>
                    </a:lnTo>
                    <a:lnTo>
                      <a:pt x="133944" y="67275"/>
                    </a:lnTo>
                    <a:lnTo>
                      <a:pt x="135460" y="66972"/>
                    </a:lnTo>
                    <a:lnTo>
                      <a:pt x="136520" y="68033"/>
                    </a:lnTo>
                    <a:lnTo>
                      <a:pt x="138036" y="68336"/>
                    </a:lnTo>
                    <a:lnTo>
                      <a:pt x="143187" y="65305"/>
                    </a:lnTo>
                    <a:lnTo>
                      <a:pt x="143642" y="63184"/>
                    </a:lnTo>
                    <a:lnTo>
                      <a:pt x="143793" y="61366"/>
                    </a:lnTo>
                    <a:lnTo>
                      <a:pt x="144702" y="58790"/>
                    </a:lnTo>
                    <a:lnTo>
                      <a:pt x="147884" y="57275"/>
                    </a:lnTo>
                    <a:lnTo>
                      <a:pt x="150915" y="56365"/>
                    </a:lnTo>
                    <a:lnTo>
                      <a:pt x="152884" y="55305"/>
                    </a:lnTo>
                    <a:lnTo>
                      <a:pt x="155612" y="52729"/>
                    </a:lnTo>
                    <a:lnTo>
                      <a:pt x="158794" y="52729"/>
                    </a:lnTo>
                    <a:lnTo>
                      <a:pt x="160006" y="52426"/>
                    </a:lnTo>
                    <a:lnTo>
                      <a:pt x="158188" y="50911"/>
                    </a:lnTo>
                    <a:lnTo>
                      <a:pt x="155309" y="48487"/>
                    </a:lnTo>
                    <a:lnTo>
                      <a:pt x="154097" y="48183"/>
                    </a:lnTo>
                    <a:lnTo>
                      <a:pt x="150915" y="49396"/>
                    </a:lnTo>
                    <a:lnTo>
                      <a:pt x="146217" y="49850"/>
                    </a:lnTo>
                    <a:lnTo>
                      <a:pt x="145157" y="48638"/>
                    </a:lnTo>
                    <a:lnTo>
                      <a:pt x="142884" y="49547"/>
                    </a:lnTo>
                    <a:lnTo>
                      <a:pt x="140763" y="46668"/>
                    </a:lnTo>
                    <a:lnTo>
                      <a:pt x="138187" y="46517"/>
                    </a:lnTo>
                    <a:lnTo>
                      <a:pt x="135005" y="44244"/>
                    </a:lnTo>
                    <a:lnTo>
                      <a:pt x="133793" y="43032"/>
                    </a:lnTo>
                    <a:lnTo>
                      <a:pt x="133490" y="41365"/>
                    </a:lnTo>
                    <a:lnTo>
                      <a:pt x="132581" y="40456"/>
                    </a:lnTo>
                    <a:lnTo>
                      <a:pt x="131369" y="40607"/>
                    </a:lnTo>
                    <a:lnTo>
                      <a:pt x="130005" y="39698"/>
                    </a:lnTo>
                    <a:lnTo>
                      <a:pt x="127732" y="38789"/>
                    </a:lnTo>
                    <a:lnTo>
                      <a:pt x="125914" y="38335"/>
                    </a:lnTo>
                    <a:lnTo>
                      <a:pt x="125005" y="38789"/>
                    </a:lnTo>
                    <a:lnTo>
                      <a:pt x="124096" y="38941"/>
                    </a:lnTo>
                    <a:lnTo>
                      <a:pt x="123944" y="37880"/>
                    </a:lnTo>
                    <a:lnTo>
                      <a:pt x="123944" y="34547"/>
                    </a:lnTo>
                    <a:lnTo>
                      <a:pt x="123793" y="31516"/>
                    </a:lnTo>
                    <a:lnTo>
                      <a:pt x="123338" y="30152"/>
                    </a:lnTo>
                    <a:lnTo>
                      <a:pt x="122126" y="29092"/>
                    </a:lnTo>
                    <a:lnTo>
                      <a:pt x="121065" y="28637"/>
                    </a:lnTo>
                    <a:lnTo>
                      <a:pt x="120610" y="27122"/>
                    </a:lnTo>
                    <a:lnTo>
                      <a:pt x="121065" y="24092"/>
                    </a:lnTo>
                    <a:lnTo>
                      <a:pt x="121974" y="21970"/>
                    </a:lnTo>
                    <a:lnTo>
                      <a:pt x="123338" y="21667"/>
                    </a:lnTo>
                    <a:lnTo>
                      <a:pt x="125156" y="20152"/>
                    </a:lnTo>
                    <a:lnTo>
                      <a:pt x="126065" y="18031"/>
                    </a:lnTo>
                    <a:lnTo>
                      <a:pt x="127277" y="16061"/>
                    </a:lnTo>
                    <a:lnTo>
                      <a:pt x="123035" y="13334"/>
                    </a:lnTo>
                    <a:lnTo>
                      <a:pt x="120762" y="12425"/>
                    </a:lnTo>
                    <a:lnTo>
                      <a:pt x="118338" y="12879"/>
                    </a:lnTo>
                    <a:lnTo>
                      <a:pt x="115308" y="13788"/>
                    </a:lnTo>
                    <a:lnTo>
                      <a:pt x="113641" y="13940"/>
                    </a:lnTo>
                    <a:lnTo>
                      <a:pt x="112883" y="13637"/>
                    </a:lnTo>
                    <a:lnTo>
                      <a:pt x="111065" y="11212"/>
                    </a:lnTo>
                    <a:lnTo>
                      <a:pt x="110155" y="10758"/>
                    </a:lnTo>
                    <a:lnTo>
                      <a:pt x="108034" y="10606"/>
                    </a:lnTo>
                    <a:lnTo>
                      <a:pt x="106216" y="10606"/>
                    </a:lnTo>
                    <a:lnTo>
                      <a:pt x="105155" y="11667"/>
                    </a:lnTo>
                    <a:lnTo>
                      <a:pt x="103489" y="11970"/>
                    </a:lnTo>
                    <a:lnTo>
                      <a:pt x="101822" y="11970"/>
                    </a:lnTo>
                    <a:lnTo>
                      <a:pt x="100155" y="10606"/>
                    </a:lnTo>
                    <a:lnTo>
                      <a:pt x="97731" y="8940"/>
                    </a:lnTo>
                    <a:lnTo>
                      <a:pt x="93791" y="7727"/>
                    </a:lnTo>
                    <a:lnTo>
                      <a:pt x="93337" y="6364"/>
                    </a:lnTo>
                    <a:lnTo>
                      <a:pt x="92276" y="4697"/>
                    </a:lnTo>
                    <a:lnTo>
                      <a:pt x="90761" y="3182"/>
                    </a:lnTo>
                    <a:lnTo>
                      <a:pt x="88337" y="1061"/>
                    </a:lnTo>
                    <a:lnTo>
                      <a:pt x="86215" y="0"/>
                    </a:lnTo>
                    <a:lnTo>
                      <a:pt x="85155" y="606"/>
                    </a:lnTo>
                    <a:lnTo>
                      <a:pt x="83791" y="1818"/>
                    </a:lnTo>
                    <a:lnTo>
                      <a:pt x="78488" y="4243"/>
                    </a:lnTo>
                    <a:lnTo>
                      <a:pt x="76215" y="5152"/>
                    </a:lnTo>
                    <a:lnTo>
                      <a:pt x="75003" y="5909"/>
                    </a:lnTo>
                    <a:lnTo>
                      <a:pt x="73942" y="6970"/>
                    </a:lnTo>
                    <a:lnTo>
                      <a:pt x="73639" y="9546"/>
                    </a:lnTo>
                    <a:lnTo>
                      <a:pt x="73185" y="12425"/>
                    </a:lnTo>
                    <a:lnTo>
                      <a:pt x="71669" y="13940"/>
                    </a:lnTo>
                    <a:lnTo>
                      <a:pt x="70154" y="15000"/>
                    </a:lnTo>
                    <a:lnTo>
                      <a:pt x="68639" y="15152"/>
                    </a:lnTo>
                    <a:lnTo>
                      <a:pt x="67124" y="15152"/>
                    </a:lnTo>
                    <a:lnTo>
                      <a:pt x="65760" y="15607"/>
                    </a:lnTo>
                    <a:lnTo>
                      <a:pt x="61517" y="18485"/>
                    </a:lnTo>
                    <a:lnTo>
                      <a:pt x="59548" y="18182"/>
                    </a:lnTo>
                    <a:lnTo>
                      <a:pt x="57881" y="16516"/>
                    </a:lnTo>
                    <a:lnTo>
                      <a:pt x="57123" y="15304"/>
                    </a:lnTo>
                    <a:lnTo>
                      <a:pt x="55154" y="15607"/>
                    </a:lnTo>
                    <a:lnTo>
                      <a:pt x="52729" y="16970"/>
                    </a:lnTo>
                    <a:lnTo>
                      <a:pt x="51669" y="19395"/>
                    </a:lnTo>
                    <a:lnTo>
                      <a:pt x="51062" y="21667"/>
                    </a:lnTo>
                    <a:lnTo>
                      <a:pt x="50457" y="22728"/>
                    </a:lnTo>
                    <a:lnTo>
                      <a:pt x="49699" y="23031"/>
                    </a:lnTo>
                    <a:lnTo>
                      <a:pt x="48941" y="23031"/>
                    </a:lnTo>
                    <a:lnTo>
                      <a:pt x="41365" y="16364"/>
                    </a:lnTo>
                    <a:lnTo>
                      <a:pt x="40911" y="16061"/>
                    </a:lnTo>
                    <a:lnTo>
                      <a:pt x="39547" y="17425"/>
                    </a:lnTo>
                    <a:lnTo>
                      <a:pt x="38335" y="20910"/>
                    </a:lnTo>
                    <a:lnTo>
                      <a:pt x="37426" y="21516"/>
                    </a:lnTo>
                    <a:lnTo>
                      <a:pt x="36819" y="21213"/>
                    </a:lnTo>
                    <a:lnTo>
                      <a:pt x="33638" y="16667"/>
                    </a:lnTo>
                    <a:lnTo>
                      <a:pt x="32880" y="16213"/>
                    </a:lnTo>
                    <a:lnTo>
                      <a:pt x="32122" y="16364"/>
                    </a:lnTo>
                    <a:lnTo>
                      <a:pt x="31213" y="17879"/>
                    </a:lnTo>
                    <a:lnTo>
                      <a:pt x="29243" y="20001"/>
                    </a:lnTo>
                    <a:lnTo>
                      <a:pt x="27729" y="21364"/>
                    </a:lnTo>
                    <a:lnTo>
                      <a:pt x="27729" y="22880"/>
                    </a:lnTo>
                    <a:lnTo>
                      <a:pt x="26062" y="24092"/>
                    </a:lnTo>
                    <a:lnTo>
                      <a:pt x="24092" y="25304"/>
                    </a:lnTo>
                    <a:lnTo>
                      <a:pt x="23486" y="25455"/>
                    </a:lnTo>
                    <a:lnTo>
                      <a:pt x="22274" y="25001"/>
                    </a:lnTo>
                    <a:lnTo>
                      <a:pt x="20607" y="23334"/>
                    </a:lnTo>
                    <a:lnTo>
                      <a:pt x="19395" y="21516"/>
                    </a:lnTo>
                    <a:lnTo>
                      <a:pt x="16365" y="19698"/>
                    </a:lnTo>
                    <a:lnTo>
                      <a:pt x="13031" y="18182"/>
                    </a:lnTo>
                    <a:lnTo>
                      <a:pt x="10758" y="16970"/>
                    </a:lnTo>
                    <a:lnTo>
                      <a:pt x="9546" y="16667"/>
                    </a:lnTo>
                    <a:lnTo>
                      <a:pt x="8333" y="17122"/>
                    </a:lnTo>
                    <a:lnTo>
                      <a:pt x="7728" y="17879"/>
                    </a:lnTo>
                    <a:lnTo>
                      <a:pt x="6819" y="19698"/>
                    </a:lnTo>
                    <a:lnTo>
                      <a:pt x="4849" y="22576"/>
                    </a:lnTo>
                    <a:lnTo>
                      <a:pt x="3031" y="24849"/>
                    </a:lnTo>
                    <a:lnTo>
                      <a:pt x="1364" y="26364"/>
                    </a:lnTo>
                    <a:lnTo>
                      <a:pt x="0" y="27425"/>
                    </a:lnTo>
                    <a:lnTo>
                      <a:pt x="1515" y="30152"/>
                    </a:lnTo>
                    <a:lnTo>
                      <a:pt x="4697" y="33183"/>
                    </a:lnTo>
                    <a:lnTo>
                      <a:pt x="8637" y="37425"/>
                    </a:lnTo>
                    <a:lnTo>
                      <a:pt x="9849" y="39395"/>
                    </a:lnTo>
                    <a:lnTo>
                      <a:pt x="12425" y="40911"/>
                    </a:lnTo>
                    <a:lnTo>
                      <a:pt x="13182" y="42426"/>
                    </a:lnTo>
                    <a:lnTo>
                      <a:pt x="13788" y="44699"/>
                    </a:lnTo>
                    <a:lnTo>
                      <a:pt x="14091" y="46365"/>
                    </a:lnTo>
                    <a:lnTo>
                      <a:pt x="14698" y="47426"/>
                    </a:lnTo>
                    <a:lnTo>
                      <a:pt x="15607" y="47880"/>
                    </a:lnTo>
                    <a:lnTo>
                      <a:pt x="16819" y="47426"/>
                    </a:lnTo>
                    <a:lnTo>
                      <a:pt x="17728" y="46517"/>
                    </a:lnTo>
                    <a:lnTo>
                      <a:pt x="18486" y="43941"/>
                    </a:lnTo>
                    <a:lnTo>
                      <a:pt x="18940" y="43638"/>
                    </a:lnTo>
                    <a:lnTo>
                      <a:pt x="19698" y="45759"/>
                    </a:lnTo>
                    <a:lnTo>
                      <a:pt x="20607" y="46062"/>
                    </a:lnTo>
                    <a:lnTo>
                      <a:pt x="21667" y="46365"/>
                    </a:lnTo>
                    <a:lnTo>
                      <a:pt x="22576" y="47274"/>
                    </a:lnTo>
                    <a:lnTo>
                      <a:pt x="22880" y="48789"/>
                    </a:lnTo>
                    <a:lnTo>
                      <a:pt x="22576" y="50456"/>
                    </a:lnTo>
                    <a:lnTo>
                      <a:pt x="21516" y="52275"/>
                    </a:lnTo>
                    <a:lnTo>
                      <a:pt x="20910" y="54093"/>
                    </a:lnTo>
                    <a:lnTo>
                      <a:pt x="20455" y="56972"/>
                    </a:lnTo>
                    <a:lnTo>
                      <a:pt x="19849" y="58942"/>
                    </a:lnTo>
                    <a:lnTo>
                      <a:pt x="20758" y="60760"/>
                    </a:lnTo>
                    <a:lnTo>
                      <a:pt x="26819" y="69548"/>
                    </a:lnTo>
                    <a:lnTo>
                      <a:pt x="29698" y="71063"/>
                    </a:lnTo>
                    <a:lnTo>
                      <a:pt x="36668" y="72730"/>
                    </a:lnTo>
                    <a:lnTo>
                      <a:pt x="39093" y="73942"/>
                    </a:lnTo>
                    <a:lnTo>
                      <a:pt x="41365" y="75154"/>
                    </a:lnTo>
                    <a:lnTo>
                      <a:pt x="43486" y="74548"/>
                    </a:lnTo>
                    <a:lnTo>
                      <a:pt x="45608" y="71972"/>
                    </a:lnTo>
                    <a:lnTo>
                      <a:pt x="48183" y="70457"/>
                    </a:lnTo>
                    <a:lnTo>
                      <a:pt x="52881" y="68184"/>
                    </a:lnTo>
                    <a:lnTo>
                      <a:pt x="54245" y="68033"/>
                    </a:lnTo>
                    <a:lnTo>
                      <a:pt x="56820" y="68942"/>
                    </a:lnTo>
                    <a:lnTo>
                      <a:pt x="61063" y="71518"/>
                    </a:lnTo>
                    <a:lnTo>
                      <a:pt x="64093" y="73942"/>
                    </a:lnTo>
                    <a:lnTo>
                      <a:pt x="65912" y="75306"/>
                    </a:lnTo>
                    <a:lnTo>
                      <a:pt x="67427" y="76518"/>
                    </a:lnTo>
                    <a:lnTo>
                      <a:pt x="67275" y="77882"/>
                    </a:lnTo>
                    <a:lnTo>
                      <a:pt x="66063" y="79094"/>
                    </a:lnTo>
                    <a:lnTo>
                      <a:pt x="64548" y="79851"/>
                    </a:lnTo>
                    <a:lnTo>
                      <a:pt x="62578" y="81063"/>
                    </a:lnTo>
                    <a:lnTo>
                      <a:pt x="61517" y="82276"/>
                    </a:lnTo>
                    <a:lnTo>
                      <a:pt x="62124" y="82730"/>
                    </a:lnTo>
                    <a:lnTo>
                      <a:pt x="65003" y="83033"/>
                    </a:lnTo>
                    <a:lnTo>
                      <a:pt x="68336" y="84094"/>
                    </a:lnTo>
                    <a:lnTo>
                      <a:pt x="69397" y="85458"/>
                    </a:lnTo>
                    <a:lnTo>
                      <a:pt x="69548" y="86518"/>
                    </a:lnTo>
                    <a:lnTo>
                      <a:pt x="70003" y="88336"/>
                    </a:lnTo>
                    <a:lnTo>
                      <a:pt x="70609" y="88943"/>
                    </a:lnTo>
                    <a:lnTo>
                      <a:pt x="73791" y="88639"/>
                    </a:lnTo>
                    <a:lnTo>
                      <a:pt x="74700" y="89094"/>
                    </a:lnTo>
                    <a:lnTo>
                      <a:pt x="75760" y="90003"/>
                    </a:lnTo>
                    <a:lnTo>
                      <a:pt x="76821" y="92427"/>
                    </a:lnTo>
                    <a:lnTo>
                      <a:pt x="76821" y="94246"/>
                    </a:lnTo>
                    <a:lnTo>
                      <a:pt x="74548" y="96215"/>
                    </a:lnTo>
                    <a:lnTo>
                      <a:pt x="73639" y="97428"/>
                    </a:lnTo>
                    <a:lnTo>
                      <a:pt x="73336" y="99398"/>
                    </a:lnTo>
                    <a:lnTo>
                      <a:pt x="71669" y="101670"/>
                    </a:lnTo>
                    <a:lnTo>
                      <a:pt x="67427" y="105458"/>
                    </a:lnTo>
                    <a:lnTo>
                      <a:pt x="66215" y="105761"/>
                    </a:lnTo>
                    <a:lnTo>
                      <a:pt x="58336" y="103640"/>
                    </a:lnTo>
                    <a:lnTo>
                      <a:pt x="54699" y="103792"/>
                    </a:lnTo>
                    <a:lnTo>
                      <a:pt x="52881" y="103792"/>
                    </a:lnTo>
                    <a:lnTo>
                      <a:pt x="51972" y="103943"/>
                    </a:lnTo>
                    <a:lnTo>
                      <a:pt x="51517" y="104701"/>
                    </a:lnTo>
                    <a:lnTo>
                      <a:pt x="52578" y="106974"/>
                    </a:lnTo>
                    <a:lnTo>
                      <a:pt x="52881" y="109246"/>
                    </a:lnTo>
                    <a:lnTo>
                      <a:pt x="51972" y="111064"/>
                    </a:lnTo>
                    <a:lnTo>
                      <a:pt x="49396" y="112580"/>
                    </a:lnTo>
                    <a:lnTo>
                      <a:pt x="48487" y="113337"/>
                    </a:lnTo>
                    <a:lnTo>
                      <a:pt x="48335" y="114398"/>
                    </a:lnTo>
                    <a:lnTo>
                      <a:pt x="49093" y="115459"/>
                    </a:lnTo>
                    <a:lnTo>
                      <a:pt x="51517" y="116519"/>
                    </a:lnTo>
                    <a:lnTo>
                      <a:pt x="54245" y="117580"/>
                    </a:lnTo>
                    <a:lnTo>
                      <a:pt x="63487" y="123489"/>
                    </a:lnTo>
                    <a:lnTo>
                      <a:pt x="65457" y="124853"/>
                    </a:lnTo>
                    <a:lnTo>
                      <a:pt x="68033" y="126974"/>
                    </a:lnTo>
                    <a:lnTo>
                      <a:pt x="70912" y="128641"/>
                    </a:lnTo>
                    <a:lnTo>
                      <a:pt x="78488" y="130762"/>
                    </a:lnTo>
                    <a:lnTo>
                      <a:pt x="81821" y="132126"/>
                    </a:lnTo>
                    <a:lnTo>
                      <a:pt x="82730" y="132883"/>
                    </a:lnTo>
                    <a:lnTo>
                      <a:pt x="82730" y="133793"/>
                    </a:lnTo>
                    <a:lnTo>
                      <a:pt x="81821" y="135005"/>
                    </a:lnTo>
                    <a:lnTo>
                      <a:pt x="81064" y="137126"/>
                    </a:lnTo>
                    <a:lnTo>
                      <a:pt x="81064" y="138490"/>
                    </a:lnTo>
                    <a:lnTo>
                      <a:pt x="81821" y="139702"/>
                    </a:lnTo>
                    <a:lnTo>
                      <a:pt x="83185" y="141520"/>
                    </a:lnTo>
                    <a:lnTo>
                      <a:pt x="86215" y="144399"/>
                    </a:lnTo>
                    <a:lnTo>
                      <a:pt x="87882" y="145611"/>
                    </a:lnTo>
                    <a:lnTo>
                      <a:pt x="89701" y="145914"/>
                    </a:lnTo>
                    <a:lnTo>
                      <a:pt x="91367" y="146672"/>
                    </a:lnTo>
                    <a:lnTo>
                      <a:pt x="93034" y="148793"/>
                    </a:lnTo>
                    <a:lnTo>
                      <a:pt x="95003" y="151369"/>
                    </a:lnTo>
                    <a:lnTo>
                      <a:pt x="95307" y="153187"/>
                    </a:lnTo>
                    <a:lnTo>
                      <a:pt x="96064" y="155612"/>
                    </a:lnTo>
                    <a:lnTo>
                      <a:pt x="97882" y="158339"/>
                    </a:lnTo>
                    <a:lnTo>
                      <a:pt x="100307" y="160915"/>
                    </a:lnTo>
                    <a:lnTo>
                      <a:pt x="103640" y="164097"/>
                    </a:lnTo>
                    <a:lnTo>
                      <a:pt x="105610" y="166370"/>
                    </a:lnTo>
                    <a:lnTo>
                      <a:pt x="106519" y="167279"/>
                    </a:lnTo>
                    <a:lnTo>
                      <a:pt x="113792" y="172885"/>
                    </a:lnTo>
                    <a:lnTo>
                      <a:pt x="115610" y="175006"/>
                    </a:lnTo>
                    <a:lnTo>
                      <a:pt x="118186" y="178946"/>
                    </a:lnTo>
                    <a:lnTo>
                      <a:pt x="119247" y="179552"/>
                    </a:lnTo>
                    <a:lnTo>
                      <a:pt x="120308" y="180310"/>
                    </a:lnTo>
                    <a:lnTo>
                      <a:pt x="120914" y="182431"/>
                    </a:lnTo>
                    <a:lnTo>
                      <a:pt x="121065" y="183946"/>
                    </a:lnTo>
                    <a:lnTo>
                      <a:pt x="121368" y="188643"/>
                    </a:lnTo>
                    <a:lnTo>
                      <a:pt x="122732" y="190007"/>
                    </a:lnTo>
                    <a:lnTo>
                      <a:pt x="123944" y="191674"/>
                    </a:lnTo>
                    <a:lnTo>
                      <a:pt x="124398" y="192886"/>
                    </a:lnTo>
                    <a:lnTo>
                      <a:pt x="125459" y="193795"/>
                    </a:lnTo>
                    <a:lnTo>
                      <a:pt x="126672" y="193946"/>
                    </a:lnTo>
                    <a:lnTo>
                      <a:pt x="128035" y="192886"/>
                    </a:lnTo>
                    <a:lnTo>
                      <a:pt x="129096" y="191825"/>
                    </a:lnTo>
                    <a:lnTo>
                      <a:pt x="129550" y="192128"/>
                    </a:lnTo>
                    <a:lnTo>
                      <a:pt x="130763" y="195462"/>
                    </a:lnTo>
                    <a:lnTo>
                      <a:pt x="131823" y="196674"/>
                    </a:lnTo>
                    <a:lnTo>
                      <a:pt x="133793" y="197886"/>
                    </a:lnTo>
                    <a:lnTo>
                      <a:pt x="135611" y="198795"/>
                    </a:lnTo>
                    <a:lnTo>
                      <a:pt x="139702" y="202735"/>
                    </a:lnTo>
                    <a:lnTo>
                      <a:pt x="141824" y="204250"/>
                    </a:lnTo>
                    <a:lnTo>
                      <a:pt x="143339" y="204704"/>
                    </a:lnTo>
                    <a:lnTo>
                      <a:pt x="144551" y="205310"/>
                    </a:lnTo>
                    <a:lnTo>
                      <a:pt x="144854" y="206523"/>
                    </a:lnTo>
                    <a:lnTo>
                      <a:pt x="144399" y="207886"/>
                    </a:lnTo>
                    <a:lnTo>
                      <a:pt x="143490" y="208795"/>
                    </a:lnTo>
                    <a:lnTo>
                      <a:pt x="138793" y="211068"/>
                    </a:lnTo>
                    <a:lnTo>
                      <a:pt x="138187" y="212129"/>
                    </a:lnTo>
                    <a:lnTo>
                      <a:pt x="138793" y="213644"/>
                    </a:lnTo>
                    <a:lnTo>
                      <a:pt x="140005" y="215614"/>
                    </a:lnTo>
                    <a:lnTo>
                      <a:pt x="141217" y="217281"/>
                    </a:lnTo>
                    <a:lnTo>
                      <a:pt x="142884" y="218947"/>
                    </a:lnTo>
                    <a:lnTo>
                      <a:pt x="146217" y="221523"/>
                    </a:lnTo>
                    <a:lnTo>
                      <a:pt x="149096" y="223644"/>
                    </a:lnTo>
                    <a:lnTo>
                      <a:pt x="150612" y="225917"/>
                    </a:lnTo>
                    <a:lnTo>
                      <a:pt x="151521" y="227432"/>
                    </a:lnTo>
                    <a:lnTo>
                      <a:pt x="150915" y="229251"/>
                    </a:lnTo>
                    <a:lnTo>
                      <a:pt x="149703" y="231220"/>
                    </a:lnTo>
                    <a:lnTo>
                      <a:pt x="148794" y="232887"/>
                    </a:lnTo>
                    <a:lnTo>
                      <a:pt x="147127" y="233948"/>
                    </a:lnTo>
                    <a:lnTo>
                      <a:pt x="146672" y="235160"/>
                    </a:lnTo>
                    <a:lnTo>
                      <a:pt x="147278" y="236978"/>
                    </a:lnTo>
                    <a:lnTo>
                      <a:pt x="147884" y="238190"/>
                    </a:lnTo>
                    <a:lnTo>
                      <a:pt x="147581" y="239706"/>
                    </a:lnTo>
                    <a:lnTo>
                      <a:pt x="147733" y="242888"/>
                    </a:lnTo>
                    <a:lnTo>
                      <a:pt x="148187" y="244403"/>
                    </a:lnTo>
                    <a:lnTo>
                      <a:pt x="146975" y="247282"/>
                    </a:lnTo>
                    <a:lnTo>
                      <a:pt x="145763" y="249857"/>
                    </a:lnTo>
                    <a:lnTo>
                      <a:pt x="143490" y="252130"/>
                    </a:lnTo>
                    <a:lnTo>
                      <a:pt x="143339" y="253797"/>
                    </a:lnTo>
                    <a:lnTo>
                      <a:pt x="142581" y="258797"/>
                    </a:lnTo>
                    <a:lnTo>
                      <a:pt x="142884" y="260464"/>
                    </a:lnTo>
                    <a:lnTo>
                      <a:pt x="143490" y="261828"/>
                    </a:lnTo>
                    <a:lnTo>
                      <a:pt x="144248" y="262585"/>
                    </a:lnTo>
                    <a:lnTo>
                      <a:pt x="146217" y="267434"/>
                    </a:lnTo>
                    <a:lnTo>
                      <a:pt x="148036" y="271980"/>
                    </a:lnTo>
                    <a:lnTo>
                      <a:pt x="149854" y="275616"/>
                    </a:lnTo>
                    <a:lnTo>
                      <a:pt x="150157" y="277889"/>
                    </a:lnTo>
                    <a:lnTo>
                      <a:pt x="148490" y="283798"/>
                    </a:lnTo>
                    <a:lnTo>
                      <a:pt x="146521" y="289253"/>
                    </a:lnTo>
                    <a:lnTo>
                      <a:pt x="146672" y="291980"/>
                    </a:lnTo>
                    <a:lnTo>
                      <a:pt x="147430" y="294708"/>
                    </a:lnTo>
                    <a:lnTo>
                      <a:pt x="148339" y="298344"/>
                    </a:lnTo>
                    <a:lnTo>
                      <a:pt x="148642" y="302890"/>
                    </a:lnTo>
                    <a:lnTo>
                      <a:pt x="148187" y="305920"/>
                    </a:lnTo>
                    <a:lnTo>
                      <a:pt x="147278" y="307738"/>
                    </a:lnTo>
                    <a:lnTo>
                      <a:pt x="145612" y="309708"/>
                    </a:lnTo>
                    <a:lnTo>
                      <a:pt x="144096" y="310617"/>
                    </a:lnTo>
                    <a:lnTo>
                      <a:pt x="142429" y="308951"/>
                    </a:lnTo>
                    <a:lnTo>
                      <a:pt x="141066" y="308951"/>
                    </a:lnTo>
                    <a:lnTo>
                      <a:pt x="139248" y="309405"/>
                    </a:lnTo>
                    <a:lnTo>
                      <a:pt x="137732" y="310163"/>
                    </a:lnTo>
                    <a:lnTo>
                      <a:pt x="134702" y="312890"/>
                    </a:lnTo>
                    <a:lnTo>
                      <a:pt x="131369" y="315617"/>
                    </a:lnTo>
                    <a:lnTo>
                      <a:pt x="126823" y="316375"/>
                    </a:lnTo>
                    <a:lnTo>
                      <a:pt x="125005" y="318345"/>
                    </a:lnTo>
                    <a:lnTo>
                      <a:pt x="123186" y="318648"/>
                    </a:lnTo>
                    <a:lnTo>
                      <a:pt x="119550" y="318799"/>
                    </a:lnTo>
                    <a:lnTo>
                      <a:pt x="117277" y="319254"/>
                    </a:lnTo>
                    <a:lnTo>
                      <a:pt x="117429" y="320315"/>
                    </a:lnTo>
                    <a:lnTo>
                      <a:pt x="117277" y="325163"/>
                    </a:lnTo>
                    <a:lnTo>
                      <a:pt x="117277" y="326224"/>
                    </a:lnTo>
                    <a:lnTo>
                      <a:pt x="116974" y="326527"/>
                    </a:lnTo>
                    <a:lnTo>
                      <a:pt x="115308" y="326679"/>
                    </a:lnTo>
                    <a:lnTo>
                      <a:pt x="112580" y="325921"/>
                    </a:lnTo>
                    <a:lnTo>
                      <a:pt x="108792" y="324709"/>
                    </a:lnTo>
                    <a:lnTo>
                      <a:pt x="106216" y="324557"/>
                    </a:lnTo>
                    <a:lnTo>
                      <a:pt x="104853" y="326679"/>
                    </a:lnTo>
                    <a:lnTo>
                      <a:pt x="104095" y="327436"/>
                    </a:lnTo>
                    <a:lnTo>
                      <a:pt x="103034" y="327588"/>
                    </a:lnTo>
                    <a:lnTo>
                      <a:pt x="101974" y="327891"/>
                    </a:lnTo>
                    <a:lnTo>
                      <a:pt x="101670" y="328800"/>
                    </a:lnTo>
                    <a:lnTo>
                      <a:pt x="101519" y="330012"/>
                    </a:lnTo>
                    <a:lnTo>
                      <a:pt x="101974" y="331982"/>
                    </a:lnTo>
                    <a:lnTo>
                      <a:pt x="102125" y="335164"/>
                    </a:lnTo>
                    <a:lnTo>
                      <a:pt x="101974" y="337285"/>
                    </a:lnTo>
                    <a:lnTo>
                      <a:pt x="102883" y="338649"/>
                    </a:lnTo>
                    <a:lnTo>
                      <a:pt x="108641" y="343194"/>
                    </a:lnTo>
                    <a:lnTo>
                      <a:pt x="110307" y="344406"/>
                    </a:lnTo>
                    <a:lnTo>
                      <a:pt x="110459" y="345164"/>
                    </a:lnTo>
                    <a:lnTo>
                      <a:pt x="109398" y="347588"/>
                    </a:lnTo>
                    <a:lnTo>
                      <a:pt x="110307" y="351073"/>
                    </a:lnTo>
                    <a:lnTo>
                      <a:pt x="108489" y="351073"/>
                    </a:lnTo>
                    <a:lnTo>
                      <a:pt x="105458" y="349558"/>
                    </a:lnTo>
                    <a:lnTo>
                      <a:pt x="104095" y="348649"/>
                    </a:lnTo>
                    <a:lnTo>
                      <a:pt x="102428" y="349407"/>
                    </a:lnTo>
                    <a:lnTo>
                      <a:pt x="101822" y="349255"/>
                    </a:lnTo>
                    <a:lnTo>
                      <a:pt x="100610" y="347588"/>
                    </a:lnTo>
                    <a:lnTo>
                      <a:pt x="99095" y="345770"/>
                    </a:lnTo>
                    <a:lnTo>
                      <a:pt x="97579" y="345619"/>
                    </a:lnTo>
                    <a:lnTo>
                      <a:pt x="94246" y="346376"/>
                    </a:lnTo>
                    <a:lnTo>
                      <a:pt x="90912" y="346831"/>
                    </a:lnTo>
                    <a:lnTo>
                      <a:pt x="89701" y="346831"/>
                    </a:lnTo>
                    <a:lnTo>
                      <a:pt x="89246" y="347134"/>
                    </a:lnTo>
                    <a:lnTo>
                      <a:pt x="87276" y="349710"/>
                    </a:lnTo>
                    <a:lnTo>
                      <a:pt x="86518" y="349255"/>
                    </a:lnTo>
                    <a:lnTo>
                      <a:pt x="83034" y="348194"/>
                    </a:lnTo>
                    <a:lnTo>
                      <a:pt x="79851" y="347740"/>
                    </a:lnTo>
                    <a:lnTo>
                      <a:pt x="79246" y="348346"/>
                    </a:lnTo>
                    <a:lnTo>
                      <a:pt x="79700" y="350467"/>
                    </a:lnTo>
                    <a:lnTo>
                      <a:pt x="80457" y="352588"/>
                    </a:lnTo>
                    <a:lnTo>
                      <a:pt x="80003" y="353498"/>
                    </a:lnTo>
                    <a:lnTo>
                      <a:pt x="78336" y="354558"/>
                    </a:lnTo>
                    <a:lnTo>
                      <a:pt x="76063" y="356528"/>
                    </a:lnTo>
                    <a:lnTo>
                      <a:pt x="74700" y="358043"/>
                    </a:lnTo>
                    <a:lnTo>
                      <a:pt x="73791" y="358346"/>
                    </a:lnTo>
                    <a:lnTo>
                      <a:pt x="70306" y="358346"/>
                    </a:lnTo>
                    <a:lnTo>
                      <a:pt x="66821" y="358498"/>
                    </a:lnTo>
                    <a:lnTo>
                      <a:pt x="65457" y="360013"/>
                    </a:lnTo>
                    <a:lnTo>
                      <a:pt x="64093" y="361074"/>
                    </a:lnTo>
                    <a:lnTo>
                      <a:pt x="63033" y="361377"/>
                    </a:lnTo>
                    <a:lnTo>
                      <a:pt x="65457" y="363347"/>
                    </a:lnTo>
                    <a:lnTo>
                      <a:pt x="67578" y="365316"/>
                    </a:lnTo>
                    <a:lnTo>
                      <a:pt x="68033" y="366983"/>
                    </a:lnTo>
                    <a:lnTo>
                      <a:pt x="69397" y="368044"/>
                    </a:lnTo>
                    <a:lnTo>
                      <a:pt x="71669" y="367286"/>
                    </a:lnTo>
                    <a:lnTo>
                      <a:pt x="73185" y="367135"/>
                    </a:lnTo>
                    <a:lnTo>
                      <a:pt x="75154" y="369559"/>
                    </a:lnTo>
                    <a:lnTo>
                      <a:pt x="77730" y="370013"/>
                    </a:lnTo>
                    <a:lnTo>
                      <a:pt x="79397" y="370923"/>
                    </a:lnTo>
                    <a:lnTo>
                      <a:pt x="80912" y="372892"/>
                    </a:lnTo>
                    <a:lnTo>
                      <a:pt x="81215" y="374256"/>
                    </a:lnTo>
                    <a:lnTo>
                      <a:pt x="81215" y="375468"/>
                    </a:lnTo>
                    <a:lnTo>
                      <a:pt x="78336" y="376377"/>
                    </a:lnTo>
                    <a:lnTo>
                      <a:pt x="76063" y="377741"/>
                    </a:lnTo>
                    <a:lnTo>
                      <a:pt x="74548" y="383499"/>
                    </a:lnTo>
                    <a:lnTo>
                      <a:pt x="73639" y="395014"/>
                    </a:lnTo>
                    <a:lnTo>
                      <a:pt x="73791" y="405469"/>
                    </a:lnTo>
                    <a:lnTo>
                      <a:pt x="75912" y="406985"/>
                    </a:lnTo>
                    <a:lnTo>
                      <a:pt x="72427" y="411075"/>
                    </a:lnTo>
                    <a:lnTo>
                      <a:pt x="75760" y="411530"/>
                    </a:lnTo>
                    <a:lnTo>
                      <a:pt x="81821" y="410318"/>
                    </a:lnTo>
                    <a:lnTo>
                      <a:pt x="83943" y="408045"/>
                    </a:lnTo>
                    <a:lnTo>
                      <a:pt x="87579" y="405621"/>
                    </a:lnTo>
                    <a:lnTo>
                      <a:pt x="89701" y="401227"/>
                    </a:lnTo>
                    <a:lnTo>
                      <a:pt x="92428" y="397590"/>
                    </a:lnTo>
                    <a:lnTo>
                      <a:pt x="110762" y="389256"/>
                    </a:lnTo>
                    <a:lnTo>
                      <a:pt x="111368" y="387893"/>
                    </a:lnTo>
                    <a:lnTo>
                      <a:pt x="111671" y="386378"/>
                    </a:lnTo>
                    <a:lnTo>
                      <a:pt x="110307" y="383802"/>
                    </a:lnTo>
                    <a:lnTo>
                      <a:pt x="109095" y="381680"/>
                    </a:lnTo>
                    <a:lnTo>
                      <a:pt x="101367" y="372741"/>
                    </a:lnTo>
                    <a:lnTo>
                      <a:pt x="103943" y="373801"/>
                    </a:lnTo>
                    <a:lnTo>
                      <a:pt x="111520" y="381680"/>
                    </a:lnTo>
                    <a:lnTo>
                      <a:pt x="116217" y="385014"/>
                    </a:lnTo>
                    <a:lnTo>
                      <a:pt x="119096" y="384862"/>
                    </a:lnTo>
                    <a:lnTo>
                      <a:pt x="120610" y="383650"/>
                    </a:lnTo>
                    <a:lnTo>
                      <a:pt x="121519" y="382590"/>
                    </a:lnTo>
                    <a:lnTo>
                      <a:pt x="121368" y="380620"/>
                    </a:lnTo>
                    <a:lnTo>
                      <a:pt x="119853" y="377741"/>
                    </a:lnTo>
                    <a:lnTo>
                      <a:pt x="111065" y="368953"/>
                    </a:lnTo>
                    <a:lnTo>
                      <a:pt x="109701" y="366831"/>
                    </a:lnTo>
                    <a:lnTo>
                      <a:pt x="118186" y="374559"/>
                    </a:lnTo>
                    <a:lnTo>
                      <a:pt x="121217" y="376529"/>
                    </a:lnTo>
                    <a:lnTo>
                      <a:pt x="122277" y="376680"/>
                    </a:lnTo>
                    <a:lnTo>
                      <a:pt x="123944" y="375620"/>
                    </a:lnTo>
                    <a:lnTo>
                      <a:pt x="123944" y="374256"/>
                    </a:lnTo>
                    <a:lnTo>
                      <a:pt x="123944" y="373044"/>
                    </a:lnTo>
                    <a:lnTo>
                      <a:pt x="125459" y="371226"/>
                    </a:lnTo>
                    <a:lnTo>
                      <a:pt x="127429" y="369710"/>
                    </a:lnTo>
                    <a:lnTo>
                      <a:pt x="127429" y="368801"/>
                    </a:lnTo>
                    <a:lnTo>
                      <a:pt x="125914" y="367589"/>
                    </a:lnTo>
                    <a:lnTo>
                      <a:pt x="122429" y="366528"/>
                    </a:lnTo>
                    <a:lnTo>
                      <a:pt x="118641" y="364710"/>
                    </a:lnTo>
                    <a:lnTo>
                      <a:pt x="119398" y="364559"/>
                    </a:lnTo>
                    <a:lnTo>
                      <a:pt x="123489" y="365013"/>
                    </a:lnTo>
                    <a:lnTo>
                      <a:pt x="126672" y="364862"/>
                    </a:lnTo>
                    <a:lnTo>
                      <a:pt x="127126" y="363650"/>
                    </a:lnTo>
                    <a:lnTo>
                      <a:pt x="127126" y="362589"/>
                    </a:lnTo>
                    <a:lnTo>
                      <a:pt x="126065" y="360771"/>
                    </a:lnTo>
                    <a:lnTo>
                      <a:pt x="124853" y="360316"/>
                    </a:lnTo>
                    <a:lnTo>
                      <a:pt x="123338" y="360468"/>
                    </a:lnTo>
                    <a:lnTo>
                      <a:pt x="122277" y="360164"/>
                    </a:lnTo>
                    <a:lnTo>
                      <a:pt x="125611" y="358195"/>
                    </a:lnTo>
                    <a:lnTo>
                      <a:pt x="127884" y="361074"/>
                    </a:lnTo>
                    <a:lnTo>
                      <a:pt x="130308" y="362437"/>
                    </a:lnTo>
                    <a:lnTo>
                      <a:pt x="131520" y="361983"/>
                    </a:lnTo>
                    <a:lnTo>
                      <a:pt x="131974" y="360922"/>
                    </a:lnTo>
                    <a:lnTo>
                      <a:pt x="132429" y="356074"/>
                    </a:lnTo>
                    <a:lnTo>
                      <a:pt x="133035" y="354861"/>
                    </a:lnTo>
                    <a:lnTo>
                      <a:pt x="133490" y="355619"/>
                    </a:lnTo>
                    <a:lnTo>
                      <a:pt x="133944" y="357740"/>
                    </a:lnTo>
                    <a:lnTo>
                      <a:pt x="135308" y="359407"/>
                    </a:lnTo>
                    <a:lnTo>
                      <a:pt x="138187" y="360164"/>
                    </a:lnTo>
                    <a:lnTo>
                      <a:pt x="139248" y="361528"/>
                    </a:lnTo>
                    <a:lnTo>
                      <a:pt x="140005" y="362134"/>
                    </a:lnTo>
                    <a:lnTo>
                      <a:pt x="143339" y="360468"/>
                    </a:lnTo>
                    <a:lnTo>
                      <a:pt x="145763" y="359710"/>
                    </a:lnTo>
                    <a:lnTo>
                      <a:pt x="148339" y="357740"/>
                    </a:lnTo>
                    <a:lnTo>
                      <a:pt x="156066" y="353801"/>
                    </a:lnTo>
                    <a:lnTo>
                      <a:pt x="160309" y="353195"/>
                    </a:lnTo>
                    <a:lnTo>
                      <a:pt x="162885" y="348346"/>
                    </a:lnTo>
                    <a:lnTo>
                      <a:pt x="165158" y="347740"/>
                    </a:lnTo>
                    <a:lnTo>
                      <a:pt x="167734" y="347285"/>
                    </a:lnTo>
                    <a:lnTo>
                      <a:pt x="171825" y="344406"/>
                    </a:lnTo>
                    <a:lnTo>
                      <a:pt x="175461" y="341224"/>
                    </a:lnTo>
                    <a:lnTo>
                      <a:pt x="179552" y="340012"/>
                    </a:lnTo>
                    <a:lnTo>
                      <a:pt x="182886" y="336830"/>
                    </a:lnTo>
                    <a:lnTo>
                      <a:pt x="187431" y="336224"/>
                    </a:lnTo>
                    <a:lnTo>
                      <a:pt x="188340" y="332588"/>
                    </a:lnTo>
                    <a:lnTo>
                      <a:pt x="188946" y="329103"/>
                    </a:lnTo>
                    <a:lnTo>
                      <a:pt x="191522" y="328800"/>
                    </a:lnTo>
                    <a:lnTo>
                      <a:pt x="192583" y="326981"/>
                    </a:lnTo>
                    <a:lnTo>
                      <a:pt x="193341" y="325315"/>
                    </a:lnTo>
                    <a:lnTo>
                      <a:pt x="193189" y="323951"/>
                    </a:lnTo>
                    <a:lnTo>
                      <a:pt x="192280" y="322133"/>
                    </a:lnTo>
                    <a:lnTo>
                      <a:pt x="192583" y="320012"/>
                    </a:lnTo>
                    <a:lnTo>
                      <a:pt x="193492" y="318345"/>
                    </a:lnTo>
                    <a:lnTo>
                      <a:pt x="193492" y="317587"/>
                    </a:lnTo>
                    <a:lnTo>
                      <a:pt x="193946" y="317284"/>
                    </a:lnTo>
                    <a:lnTo>
                      <a:pt x="194098" y="318648"/>
                    </a:lnTo>
                    <a:lnTo>
                      <a:pt x="194856" y="320012"/>
                    </a:lnTo>
                    <a:lnTo>
                      <a:pt x="195159" y="318799"/>
                    </a:lnTo>
                    <a:lnTo>
                      <a:pt x="195007" y="317739"/>
                    </a:lnTo>
                    <a:lnTo>
                      <a:pt x="193946" y="315466"/>
                    </a:lnTo>
                    <a:lnTo>
                      <a:pt x="193644" y="306072"/>
                    </a:lnTo>
                    <a:lnTo>
                      <a:pt x="196371" y="306678"/>
                    </a:lnTo>
                    <a:lnTo>
                      <a:pt x="194098" y="299708"/>
                    </a:lnTo>
                    <a:lnTo>
                      <a:pt x="195613" y="297889"/>
                    </a:lnTo>
                    <a:lnTo>
                      <a:pt x="197280" y="296677"/>
                    </a:lnTo>
                    <a:lnTo>
                      <a:pt x="198492" y="298950"/>
                    </a:lnTo>
                    <a:lnTo>
                      <a:pt x="200159" y="300920"/>
                    </a:lnTo>
                    <a:lnTo>
                      <a:pt x="200462" y="298799"/>
                    </a:lnTo>
                    <a:close/>
                    <a:moveTo>
                      <a:pt x="122429" y="409257"/>
                    </a:moveTo>
                    <a:lnTo>
                      <a:pt x="123035" y="409863"/>
                    </a:lnTo>
                    <a:lnTo>
                      <a:pt x="123793" y="409863"/>
                    </a:lnTo>
                    <a:lnTo>
                      <a:pt x="124702" y="409409"/>
                    </a:lnTo>
                    <a:lnTo>
                      <a:pt x="124550" y="408803"/>
                    </a:lnTo>
                    <a:lnTo>
                      <a:pt x="124853" y="407591"/>
                    </a:lnTo>
                    <a:lnTo>
                      <a:pt x="122429" y="409257"/>
                    </a:lnTo>
                    <a:close/>
                    <a:moveTo>
                      <a:pt x="138490" y="362134"/>
                    </a:moveTo>
                    <a:lnTo>
                      <a:pt x="136520" y="363043"/>
                    </a:lnTo>
                    <a:lnTo>
                      <a:pt x="136672" y="364407"/>
                    </a:lnTo>
                    <a:lnTo>
                      <a:pt x="138945" y="362740"/>
                    </a:lnTo>
                    <a:lnTo>
                      <a:pt x="139702" y="361377"/>
                    </a:lnTo>
                    <a:lnTo>
                      <a:pt x="139248" y="361377"/>
                    </a:lnTo>
                    <a:lnTo>
                      <a:pt x="138490" y="362134"/>
                    </a:lnTo>
                    <a:close/>
                    <a:moveTo>
                      <a:pt x="53032" y="361831"/>
                    </a:moveTo>
                    <a:lnTo>
                      <a:pt x="51820" y="361831"/>
                    </a:lnTo>
                    <a:lnTo>
                      <a:pt x="49396" y="363498"/>
                    </a:lnTo>
                    <a:lnTo>
                      <a:pt x="48032" y="363498"/>
                    </a:lnTo>
                    <a:lnTo>
                      <a:pt x="48487" y="364407"/>
                    </a:lnTo>
                    <a:lnTo>
                      <a:pt x="50760" y="366983"/>
                    </a:lnTo>
                    <a:lnTo>
                      <a:pt x="52578" y="372892"/>
                    </a:lnTo>
                    <a:lnTo>
                      <a:pt x="53335" y="371983"/>
                    </a:lnTo>
                    <a:lnTo>
                      <a:pt x="53032" y="370619"/>
                    </a:lnTo>
                    <a:lnTo>
                      <a:pt x="54093" y="367438"/>
                    </a:lnTo>
                    <a:lnTo>
                      <a:pt x="54245" y="364256"/>
                    </a:lnTo>
                    <a:lnTo>
                      <a:pt x="53790" y="362892"/>
                    </a:lnTo>
                    <a:lnTo>
                      <a:pt x="53032" y="361831"/>
                    </a:lnTo>
                    <a:close/>
                    <a:moveTo>
                      <a:pt x="145157" y="69699"/>
                    </a:moveTo>
                    <a:lnTo>
                      <a:pt x="146975" y="69851"/>
                    </a:lnTo>
                    <a:lnTo>
                      <a:pt x="148490" y="69093"/>
                    </a:lnTo>
                    <a:lnTo>
                      <a:pt x="149248" y="67578"/>
                    </a:lnTo>
                    <a:lnTo>
                      <a:pt x="149248" y="66063"/>
                    </a:lnTo>
                    <a:lnTo>
                      <a:pt x="148339" y="66669"/>
                    </a:lnTo>
                    <a:lnTo>
                      <a:pt x="147278" y="68336"/>
                    </a:lnTo>
                    <a:lnTo>
                      <a:pt x="145157" y="69699"/>
                    </a:lnTo>
                    <a:close/>
                    <a:moveTo>
                      <a:pt x="131823" y="71972"/>
                    </a:moveTo>
                    <a:lnTo>
                      <a:pt x="133944" y="74245"/>
                    </a:lnTo>
                    <a:lnTo>
                      <a:pt x="135005" y="74094"/>
                    </a:lnTo>
                    <a:lnTo>
                      <a:pt x="135308" y="73639"/>
                    </a:lnTo>
                    <a:lnTo>
                      <a:pt x="135914" y="72578"/>
                    </a:lnTo>
                    <a:lnTo>
                      <a:pt x="135914" y="72124"/>
                    </a:lnTo>
                    <a:lnTo>
                      <a:pt x="135308" y="71518"/>
                    </a:lnTo>
                    <a:lnTo>
                      <a:pt x="132884" y="70608"/>
                    </a:lnTo>
                    <a:lnTo>
                      <a:pt x="131823" y="71972"/>
                    </a:lnTo>
                    <a:close/>
                    <a:moveTo>
                      <a:pt x="149703" y="60760"/>
                    </a:moveTo>
                    <a:lnTo>
                      <a:pt x="147278" y="59396"/>
                    </a:lnTo>
                    <a:lnTo>
                      <a:pt x="146672" y="60305"/>
                    </a:lnTo>
                    <a:lnTo>
                      <a:pt x="145308" y="64396"/>
                    </a:lnTo>
                    <a:lnTo>
                      <a:pt x="146824" y="64396"/>
                    </a:lnTo>
                    <a:lnTo>
                      <a:pt x="150763" y="60911"/>
                    </a:lnTo>
                    <a:lnTo>
                      <a:pt x="149703" y="60760"/>
                    </a:lnTo>
                    <a:close/>
                    <a:moveTo>
                      <a:pt x="128035" y="70912"/>
                    </a:moveTo>
                    <a:lnTo>
                      <a:pt x="128944" y="71518"/>
                    </a:lnTo>
                    <a:lnTo>
                      <a:pt x="130308" y="72881"/>
                    </a:lnTo>
                    <a:lnTo>
                      <a:pt x="130611" y="72275"/>
                    </a:lnTo>
                    <a:lnTo>
                      <a:pt x="130308" y="71063"/>
                    </a:lnTo>
                    <a:lnTo>
                      <a:pt x="128641" y="69093"/>
                    </a:lnTo>
                    <a:lnTo>
                      <a:pt x="128035" y="709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F138463B-443E-4A1C-AD04-3CDA83ED774F}"/>
                  </a:ext>
                </a:extLst>
              </p:cNvPr>
              <p:cNvSpPr/>
              <p:nvPr/>
            </p:nvSpPr>
            <p:spPr>
              <a:xfrm>
                <a:off x="3998043" y="4056672"/>
                <a:ext cx="12121" cy="19243"/>
              </a:xfrm>
              <a:custGeom>
                <a:avLst/>
                <a:gdLst>
                  <a:gd name="connsiteX0" fmla="*/ 8182 w 12121"/>
                  <a:gd name="connsiteY0" fmla="*/ 1667 h 19243"/>
                  <a:gd name="connsiteX1" fmla="*/ 10000 w 12121"/>
                  <a:gd name="connsiteY1" fmla="*/ 909 h 19243"/>
                  <a:gd name="connsiteX2" fmla="*/ 7425 w 12121"/>
                  <a:gd name="connsiteY2" fmla="*/ 455 h 19243"/>
                  <a:gd name="connsiteX3" fmla="*/ 6516 w 12121"/>
                  <a:gd name="connsiteY3" fmla="*/ 1364 h 19243"/>
                  <a:gd name="connsiteX4" fmla="*/ 6970 w 12121"/>
                  <a:gd name="connsiteY4" fmla="*/ 1667 h 19243"/>
                  <a:gd name="connsiteX5" fmla="*/ 8182 w 12121"/>
                  <a:gd name="connsiteY5" fmla="*/ 1667 h 19243"/>
                  <a:gd name="connsiteX6" fmla="*/ 9394 w 12121"/>
                  <a:gd name="connsiteY6" fmla="*/ 17880 h 19243"/>
                  <a:gd name="connsiteX7" fmla="*/ 7121 w 12121"/>
                  <a:gd name="connsiteY7" fmla="*/ 16667 h 19243"/>
                  <a:gd name="connsiteX8" fmla="*/ 3788 w 12121"/>
                  <a:gd name="connsiteY8" fmla="*/ 17273 h 19243"/>
                  <a:gd name="connsiteX9" fmla="*/ 3637 w 12121"/>
                  <a:gd name="connsiteY9" fmla="*/ 19243 h 19243"/>
                  <a:gd name="connsiteX10" fmla="*/ 9243 w 12121"/>
                  <a:gd name="connsiteY10" fmla="*/ 19092 h 19243"/>
                  <a:gd name="connsiteX11" fmla="*/ 12122 w 12121"/>
                  <a:gd name="connsiteY11" fmla="*/ 17880 h 19243"/>
                  <a:gd name="connsiteX12" fmla="*/ 9394 w 12121"/>
                  <a:gd name="connsiteY12" fmla="*/ 17880 h 19243"/>
                  <a:gd name="connsiteX13" fmla="*/ 3788 w 12121"/>
                  <a:gd name="connsiteY13" fmla="*/ 303 h 19243"/>
                  <a:gd name="connsiteX14" fmla="*/ 2273 w 12121"/>
                  <a:gd name="connsiteY14" fmla="*/ 0 h 19243"/>
                  <a:gd name="connsiteX15" fmla="*/ 0 w 12121"/>
                  <a:gd name="connsiteY15" fmla="*/ 455 h 19243"/>
                  <a:gd name="connsiteX16" fmla="*/ 2879 w 12121"/>
                  <a:gd name="connsiteY16" fmla="*/ 1818 h 19243"/>
                  <a:gd name="connsiteX17" fmla="*/ 5000 w 12121"/>
                  <a:gd name="connsiteY17" fmla="*/ 1515 h 19243"/>
                  <a:gd name="connsiteX18" fmla="*/ 3788 w 12121"/>
                  <a:gd name="connsiteY18" fmla="*/ 303 h 1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21" h="19243">
                    <a:moveTo>
                      <a:pt x="8182" y="1667"/>
                    </a:moveTo>
                    <a:lnTo>
                      <a:pt x="10000" y="909"/>
                    </a:lnTo>
                    <a:lnTo>
                      <a:pt x="7425" y="455"/>
                    </a:lnTo>
                    <a:lnTo>
                      <a:pt x="6516" y="1364"/>
                    </a:lnTo>
                    <a:lnTo>
                      <a:pt x="6970" y="1667"/>
                    </a:lnTo>
                    <a:lnTo>
                      <a:pt x="8182" y="1667"/>
                    </a:lnTo>
                    <a:close/>
                    <a:moveTo>
                      <a:pt x="9394" y="17880"/>
                    </a:moveTo>
                    <a:lnTo>
                      <a:pt x="7121" y="16667"/>
                    </a:lnTo>
                    <a:lnTo>
                      <a:pt x="3788" y="17273"/>
                    </a:lnTo>
                    <a:lnTo>
                      <a:pt x="3637" y="19243"/>
                    </a:lnTo>
                    <a:lnTo>
                      <a:pt x="9243" y="19092"/>
                    </a:lnTo>
                    <a:lnTo>
                      <a:pt x="12122" y="17880"/>
                    </a:lnTo>
                    <a:lnTo>
                      <a:pt x="9394" y="17880"/>
                    </a:lnTo>
                    <a:close/>
                    <a:moveTo>
                      <a:pt x="3788" y="303"/>
                    </a:moveTo>
                    <a:lnTo>
                      <a:pt x="2273" y="0"/>
                    </a:lnTo>
                    <a:lnTo>
                      <a:pt x="0" y="455"/>
                    </a:lnTo>
                    <a:lnTo>
                      <a:pt x="2879" y="1818"/>
                    </a:lnTo>
                    <a:lnTo>
                      <a:pt x="5000" y="1515"/>
                    </a:lnTo>
                    <a:lnTo>
                      <a:pt x="3788"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4B77D333-4AF6-4044-A4D8-3C42F6965A49}"/>
                  </a:ext>
                </a:extLst>
              </p:cNvPr>
              <p:cNvSpPr/>
              <p:nvPr/>
            </p:nvSpPr>
            <p:spPr>
              <a:xfrm>
                <a:off x="4007134" y="4046368"/>
                <a:ext cx="11515" cy="9848"/>
              </a:xfrm>
              <a:custGeom>
                <a:avLst/>
                <a:gdLst>
                  <a:gd name="connsiteX0" fmla="*/ 1212 w 11515"/>
                  <a:gd name="connsiteY0" fmla="*/ 8637 h 9848"/>
                  <a:gd name="connsiteX1" fmla="*/ 0 w 11515"/>
                  <a:gd name="connsiteY1" fmla="*/ 9546 h 9848"/>
                  <a:gd name="connsiteX2" fmla="*/ 606 w 11515"/>
                  <a:gd name="connsiteY2" fmla="*/ 9849 h 9848"/>
                  <a:gd name="connsiteX3" fmla="*/ 2727 w 11515"/>
                  <a:gd name="connsiteY3" fmla="*/ 9697 h 9848"/>
                  <a:gd name="connsiteX4" fmla="*/ 4091 w 11515"/>
                  <a:gd name="connsiteY4" fmla="*/ 8637 h 9848"/>
                  <a:gd name="connsiteX5" fmla="*/ 3485 w 11515"/>
                  <a:gd name="connsiteY5" fmla="*/ 8334 h 9848"/>
                  <a:gd name="connsiteX6" fmla="*/ 1212 w 11515"/>
                  <a:gd name="connsiteY6" fmla="*/ 8637 h 9848"/>
                  <a:gd name="connsiteX7" fmla="*/ 11061 w 11515"/>
                  <a:gd name="connsiteY7" fmla="*/ 303 h 9848"/>
                  <a:gd name="connsiteX8" fmla="*/ 10152 w 11515"/>
                  <a:gd name="connsiteY8" fmla="*/ 0 h 9848"/>
                  <a:gd name="connsiteX9" fmla="*/ 7727 w 11515"/>
                  <a:gd name="connsiteY9" fmla="*/ 0 h 9848"/>
                  <a:gd name="connsiteX10" fmla="*/ 8031 w 11515"/>
                  <a:gd name="connsiteY10" fmla="*/ 303 h 9848"/>
                  <a:gd name="connsiteX11" fmla="*/ 8485 w 11515"/>
                  <a:gd name="connsiteY11" fmla="*/ 455 h 9848"/>
                  <a:gd name="connsiteX12" fmla="*/ 9697 w 11515"/>
                  <a:gd name="connsiteY12" fmla="*/ 455 h 9848"/>
                  <a:gd name="connsiteX13" fmla="*/ 11213 w 11515"/>
                  <a:gd name="connsiteY13" fmla="*/ 1061 h 9848"/>
                  <a:gd name="connsiteX14" fmla="*/ 11515 w 11515"/>
                  <a:gd name="connsiteY14" fmla="*/ 1061 h 9848"/>
                  <a:gd name="connsiteX15" fmla="*/ 11061 w 11515"/>
                  <a:gd name="connsiteY15" fmla="*/ 303 h 9848"/>
                  <a:gd name="connsiteX16" fmla="*/ 6818 w 11515"/>
                  <a:gd name="connsiteY16" fmla="*/ 7879 h 9848"/>
                  <a:gd name="connsiteX17" fmla="*/ 6970 w 11515"/>
                  <a:gd name="connsiteY17" fmla="*/ 8334 h 9848"/>
                  <a:gd name="connsiteX18" fmla="*/ 7425 w 11515"/>
                  <a:gd name="connsiteY18" fmla="*/ 8334 h 9848"/>
                  <a:gd name="connsiteX19" fmla="*/ 8182 w 11515"/>
                  <a:gd name="connsiteY19" fmla="*/ 8182 h 9848"/>
                  <a:gd name="connsiteX20" fmla="*/ 10152 w 11515"/>
                  <a:gd name="connsiteY20" fmla="*/ 6667 h 9848"/>
                  <a:gd name="connsiteX21" fmla="*/ 7425 w 11515"/>
                  <a:gd name="connsiteY21" fmla="*/ 6818 h 9848"/>
                  <a:gd name="connsiteX22" fmla="*/ 6818 w 11515"/>
                  <a:gd name="connsiteY22" fmla="*/ 7879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515" h="9848">
                    <a:moveTo>
                      <a:pt x="1212" y="8637"/>
                    </a:moveTo>
                    <a:lnTo>
                      <a:pt x="0" y="9546"/>
                    </a:lnTo>
                    <a:lnTo>
                      <a:pt x="606" y="9849"/>
                    </a:lnTo>
                    <a:lnTo>
                      <a:pt x="2727" y="9697"/>
                    </a:lnTo>
                    <a:lnTo>
                      <a:pt x="4091" y="8637"/>
                    </a:lnTo>
                    <a:lnTo>
                      <a:pt x="3485" y="8334"/>
                    </a:lnTo>
                    <a:lnTo>
                      <a:pt x="1212" y="8637"/>
                    </a:lnTo>
                    <a:close/>
                    <a:moveTo>
                      <a:pt x="11061" y="303"/>
                    </a:moveTo>
                    <a:lnTo>
                      <a:pt x="10152" y="0"/>
                    </a:lnTo>
                    <a:lnTo>
                      <a:pt x="7727" y="0"/>
                    </a:lnTo>
                    <a:lnTo>
                      <a:pt x="8031" y="303"/>
                    </a:lnTo>
                    <a:lnTo>
                      <a:pt x="8485" y="455"/>
                    </a:lnTo>
                    <a:lnTo>
                      <a:pt x="9697" y="455"/>
                    </a:lnTo>
                    <a:lnTo>
                      <a:pt x="11213" y="1061"/>
                    </a:lnTo>
                    <a:lnTo>
                      <a:pt x="11515" y="1061"/>
                    </a:lnTo>
                    <a:lnTo>
                      <a:pt x="11061" y="303"/>
                    </a:lnTo>
                    <a:close/>
                    <a:moveTo>
                      <a:pt x="6818" y="7879"/>
                    </a:moveTo>
                    <a:lnTo>
                      <a:pt x="6970" y="8334"/>
                    </a:lnTo>
                    <a:lnTo>
                      <a:pt x="7425" y="8334"/>
                    </a:lnTo>
                    <a:lnTo>
                      <a:pt x="8182" y="8182"/>
                    </a:lnTo>
                    <a:lnTo>
                      <a:pt x="10152" y="6667"/>
                    </a:lnTo>
                    <a:lnTo>
                      <a:pt x="7425" y="6818"/>
                    </a:lnTo>
                    <a:lnTo>
                      <a:pt x="6818" y="7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D7DCDA0D-5F6A-4DCB-9683-7AE80191C9E0}"/>
                  </a:ext>
                </a:extLst>
              </p:cNvPr>
              <p:cNvSpPr/>
              <p:nvPr/>
            </p:nvSpPr>
            <p:spPr>
              <a:xfrm>
                <a:off x="3769398" y="4228648"/>
                <a:ext cx="370771" cy="313950"/>
              </a:xfrm>
              <a:custGeom>
                <a:avLst/>
                <a:gdLst>
                  <a:gd name="connsiteX0" fmla="*/ 250767 w 370771"/>
                  <a:gd name="connsiteY0" fmla="*/ 34850 h 313950"/>
                  <a:gd name="connsiteX1" fmla="*/ 252282 w 370771"/>
                  <a:gd name="connsiteY1" fmla="*/ 34395 h 313950"/>
                  <a:gd name="connsiteX2" fmla="*/ 253949 w 370771"/>
                  <a:gd name="connsiteY2" fmla="*/ 35910 h 313950"/>
                  <a:gd name="connsiteX3" fmla="*/ 255161 w 370771"/>
                  <a:gd name="connsiteY3" fmla="*/ 36365 h 313950"/>
                  <a:gd name="connsiteX4" fmla="*/ 256828 w 370771"/>
                  <a:gd name="connsiteY4" fmla="*/ 36517 h 313950"/>
                  <a:gd name="connsiteX5" fmla="*/ 258949 w 370771"/>
                  <a:gd name="connsiteY5" fmla="*/ 36365 h 313950"/>
                  <a:gd name="connsiteX6" fmla="*/ 261373 w 370771"/>
                  <a:gd name="connsiteY6" fmla="*/ 33941 h 313950"/>
                  <a:gd name="connsiteX7" fmla="*/ 261676 w 370771"/>
                  <a:gd name="connsiteY7" fmla="*/ 33335 h 313950"/>
                  <a:gd name="connsiteX8" fmla="*/ 260767 w 370771"/>
                  <a:gd name="connsiteY8" fmla="*/ 29698 h 313950"/>
                  <a:gd name="connsiteX9" fmla="*/ 259555 w 370771"/>
                  <a:gd name="connsiteY9" fmla="*/ 28637 h 313950"/>
                  <a:gd name="connsiteX10" fmla="*/ 256373 w 370771"/>
                  <a:gd name="connsiteY10" fmla="*/ 31365 h 313950"/>
                  <a:gd name="connsiteX11" fmla="*/ 255767 w 370771"/>
                  <a:gd name="connsiteY11" fmla="*/ 33183 h 313950"/>
                  <a:gd name="connsiteX12" fmla="*/ 253494 w 370771"/>
                  <a:gd name="connsiteY12" fmla="*/ 33031 h 313950"/>
                  <a:gd name="connsiteX13" fmla="*/ 251525 w 370771"/>
                  <a:gd name="connsiteY13" fmla="*/ 31971 h 313950"/>
                  <a:gd name="connsiteX14" fmla="*/ 250767 w 370771"/>
                  <a:gd name="connsiteY14" fmla="*/ 30759 h 313950"/>
                  <a:gd name="connsiteX15" fmla="*/ 249706 w 370771"/>
                  <a:gd name="connsiteY15" fmla="*/ 30910 h 313950"/>
                  <a:gd name="connsiteX16" fmla="*/ 246979 w 370771"/>
                  <a:gd name="connsiteY16" fmla="*/ 31668 h 313950"/>
                  <a:gd name="connsiteX17" fmla="*/ 245464 w 370771"/>
                  <a:gd name="connsiteY17" fmla="*/ 33638 h 313950"/>
                  <a:gd name="connsiteX18" fmla="*/ 246524 w 370771"/>
                  <a:gd name="connsiteY18" fmla="*/ 34244 h 313950"/>
                  <a:gd name="connsiteX19" fmla="*/ 250767 w 370771"/>
                  <a:gd name="connsiteY19" fmla="*/ 34850 h 313950"/>
                  <a:gd name="connsiteX20" fmla="*/ 341073 w 370771"/>
                  <a:gd name="connsiteY20" fmla="*/ 86215 h 313950"/>
                  <a:gd name="connsiteX21" fmla="*/ 340316 w 370771"/>
                  <a:gd name="connsiteY21" fmla="*/ 86670 h 313950"/>
                  <a:gd name="connsiteX22" fmla="*/ 337437 w 370771"/>
                  <a:gd name="connsiteY22" fmla="*/ 88943 h 313950"/>
                  <a:gd name="connsiteX23" fmla="*/ 336982 w 370771"/>
                  <a:gd name="connsiteY23" fmla="*/ 89700 h 313950"/>
                  <a:gd name="connsiteX24" fmla="*/ 337285 w 370771"/>
                  <a:gd name="connsiteY24" fmla="*/ 92428 h 313950"/>
                  <a:gd name="connsiteX25" fmla="*/ 338952 w 370771"/>
                  <a:gd name="connsiteY25" fmla="*/ 91821 h 313950"/>
                  <a:gd name="connsiteX26" fmla="*/ 341225 w 370771"/>
                  <a:gd name="connsiteY26" fmla="*/ 90912 h 313950"/>
                  <a:gd name="connsiteX27" fmla="*/ 342740 w 370771"/>
                  <a:gd name="connsiteY27" fmla="*/ 89549 h 313950"/>
                  <a:gd name="connsiteX28" fmla="*/ 343043 w 370771"/>
                  <a:gd name="connsiteY28" fmla="*/ 88337 h 313950"/>
                  <a:gd name="connsiteX29" fmla="*/ 341679 w 370771"/>
                  <a:gd name="connsiteY29" fmla="*/ 87276 h 313950"/>
                  <a:gd name="connsiteX30" fmla="*/ 341831 w 370771"/>
                  <a:gd name="connsiteY30" fmla="*/ 86670 h 313950"/>
                  <a:gd name="connsiteX31" fmla="*/ 341073 w 370771"/>
                  <a:gd name="connsiteY31" fmla="*/ 86215 h 313950"/>
                  <a:gd name="connsiteX32" fmla="*/ 343043 w 370771"/>
                  <a:gd name="connsiteY32" fmla="*/ 82882 h 313950"/>
                  <a:gd name="connsiteX33" fmla="*/ 341376 w 370771"/>
                  <a:gd name="connsiteY33" fmla="*/ 83185 h 313950"/>
                  <a:gd name="connsiteX34" fmla="*/ 340467 w 370771"/>
                  <a:gd name="connsiteY34" fmla="*/ 84397 h 313950"/>
                  <a:gd name="connsiteX35" fmla="*/ 340467 w 370771"/>
                  <a:gd name="connsiteY35" fmla="*/ 85155 h 313950"/>
                  <a:gd name="connsiteX36" fmla="*/ 343801 w 370771"/>
                  <a:gd name="connsiteY36" fmla="*/ 84245 h 313950"/>
                  <a:gd name="connsiteX37" fmla="*/ 344710 w 370771"/>
                  <a:gd name="connsiteY37" fmla="*/ 83185 h 313950"/>
                  <a:gd name="connsiteX38" fmla="*/ 346225 w 370771"/>
                  <a:gd name="connsiteY38" fmla="*/ 82427 h 313950"/>
                  <a:gd name="connsiteX39" fmla="*/ 345619 w 370771"/>
                  <a:gd name="connsiteY39" fmla="*/ 82124 h 313950"/>
                  <a:gd name="connsiteX40" fmla="*/ 345013 w 370771"/>
                  <a:gd name="connsiteY40" fmla="*/ 82124 h 313950"/>
                  <a:gd name="connsiteX41" fmla="*/ 343952 w 370771"/>
                  <a:gd name="connsiteY41" fmla="*/ 82427 h 313950"/>
                  <a:gd name="connsiteX42" fmla="*/ 343043 w 370771"/>
                  <a:gd name="connsiteY42" fmla="*/ 82882 h 313950"/>
                  <a:gd name="connsiteX43" fmla="*/ 221978 w 370771"/>
                  <a:gd name="connsiteY43" fmla="*/ 36517 h 313950"/>
                  <a:gd name="connsiteX44" fmla="*/ 223493 w 370771"/>
                  <a:gd name="connsiteY44" fmla="*/ 35910 h 313950"/>
                  <a:gd name="connsiteX45" fmla="*/ 223039 w 370771"/>
                  <a:gd name="connsiteY45" fmla="*/ 35304 h 313950"/>
                  <a:gd name="connsiteX46" fmla="*/ 220917 w 370771"/>
                  <a:gd name="connsiteY46" fmla="*/ 34092 h 313950"/>
                  <a:gd name="connsiteX47" fmla="*/ 218645 w 370771"/>
                  <a:gd name="connsiteY47" fmla="*/ 34092 h 313950"/>
                  <a:gd name="connsiteX48" fmla="*/ 217736 w 370771"/>
                  <a:gd name="connsiteY48" fmla="*/ 35153 h 313950"/>
                  <a:gd name="connsiteX49" fmla="*/ 219099 w 370771"/>
                  <a:gd name="connsiteY49" fmla="*/ 36062 h 313950"/>
                  <a:gd name="connsiteX50" fmla="*/ 221978 w 370771"/>
                  <a:gd name="connsiteY50" fmla="*/ 36517 h 313950"/>
                  <a:gd name="connsiteX51" fmla="*/ 370771 w 370771"/>
                  <a:gd name="connsiteY51" fmla="*/ 107125 h 313950"/>
                  <a:gd name="connsiteX52" fmla="*/ 365620 w 370771"/>
                  <a:gd name="connsiteY52" fmla="*/ 100458 h 313950"/>
                  <a:gd name="connsiteX53" fmla="*/ 361529 w 370771"/>
                  <a:gd name="connsiteY53" fmla="*/ 98640 h 313950"/>
                  <a:gd name="connsiteX54" fmla="*/ 356831 w 370771"/>
                  <a:gd name="connsiteY54" fmla="*/ 98337 h 313950"/>
                  <a:gd name="connsiteX55" fmla="*/ 355013 w 370771"/>
                  <a:gd name="connsiteY55" fmla="*/ 98792 h 313950"/>
                  <a:gd name="connsiteX56" fmla="*/ 352892 w 370771"/>
                  <a:gd name="connsiteY56" fmla="*/ 100458 h 313950"/>
                  <a:gd name="connsiteX57" fmla="*/ 344104 w 370771"/>
                  <a:gd name="connsiteY57" fmla="*/ 99246 h 313950"/>
                  <a:gd name="connsiteX58" fmla="*/ 342285 w 370771"/>
                  <a:gd name="connsiteY58" fmla="*/ 99549 h 313950"/>
                  <a:gd name="connsiteX59" fmla="*/ 337588 w 370771"/>
                  <a:gd name="connsiteY59" fmla="*/ 101822 h 313950"/>
                  <a:gd name="connsiteX60" fmla="*/ 333346 w 370771"/>
                  <a:gd name="connsiteY60" fmla="*/ 101973 h 313950"/>
                  <a:gd name="connsiteX61" fmla="*/ 330315 w 370771"/>
                  <a:gd name="connsiteY61" fmla="*/ 104095 h 313950"/>
                  <a:gd name="connsiteX62" fmla="*/ 326527 w 370771"/>
                  <a:gd name="connsiteY62" fmla="*/ 101367 h 313950"/>
                  <a:gd name="connsiteX63" fmla="*/ 324255 w 370771"/>
                  <a:gd name="connsiteY63" fmla="*/ 100307 h 313950"/>
                  <a:gd name="connsiteX64" fmla="*/ 321679 w 370771"/>
                  <a:gd name="connsiteY64" fmla="*/ 98943 h 313950"/>
                  <a:gd name="connsiteX65" fmla="*/ 331831 w 370771"/>
                  <a:gd name="connsiteY65" fmla="*/ 98792 h 313950"/>
                  <a:gd name="connsiteX66" fmla="*/ 333800 w 370771"/>
                  <a:gd name="connsiteY66" fmla="*/ 95306 h 313950"/>
                  <a:gd name="connsiteX67" fmla="*/ 335316 w 370771"/>
                  <a:gd name="connsiteY67" fmla="*/ 92125 h 313950"/>
                  <a:gd name="connsiteX68" fmla="*/ 335922 w 370771"/>
                  <a:gd name="connsiteY68" fmla="*/ 89397 h 313950"/>
                  <a:gd name="connsiteX69" fmla="*/ 336073 w 370771"/>
                  <a:gd name="connsiteY69" fmla="*/ 88791 h 313950"/>
                  <a:gd name="connsiteX70" fmla="*/ 337134 w 370771"/>
                  <a:gd name="connsiteY70" fmla="*/ 86821 h 313950"/>
                  <a:gd name="connsiteX71" fmla="*/ 337134 w 370771"/>
                  <a:gd name="connsiteY71" fmla="*/ 85155 h 313950"/>
                  <a:gd name="connsiteX72" fmla="*/ 337891 w 370771"/>
                  <a:gd name="connsiteY72" fmla="*/ 83488 h 313950"/>
                  <a:gd name="connsiteX73" fmla="*/ 339255 w 370771"/>
                  <a:gd name="connsiteY73" fmla="*/ 81821 h 313950"/>
                  <a:gd name="connsiteX74" fmla="*/ 342740 w 370771"/>
                  <a:gd name="connsiteY74" fmla="*/ 80457 h 313950"/>
                  <a:gd name="connsiteX75" fmla="*/ 344104 w 370771"/>
                  <a:gd name="connsiteY75" fmla="*/ 77730 h 313950"/>
                  <a:gd name="connsiteX76" fmla="*/ 341831 w 370771"/>
                  <a:gd name="connsiteY76" fmla="*/ 75154 h 313950"/>
                  <a:gd name="connsiteX77" fmla="*/ 338043 w 370771"/>
                  <a:gd name="connsiteY77" fmla="*/ 72275 h 313950"/>
                  <a:gd name="connsiteX78" fmla="*/ 331982 w 370771"/>
                  <a:gd name="connsiteY78" fmla="*/ 71215 h 313950"/>
                  <a:gd name="connsiteX79" fmla="*/ 329861 w 370771"/>
                  <a:gd name="connsiteY79" fmla="*/ 70306 h 313950"/>
                  <a:gd name="connsiteX80" fmla="*/ 324255 w 370771"/>
                  <a:gd name="connsiteY80" fmla="*/ 64396 h 313950"/>
                  <a:gd name="connsiteX81" fmla="*/ 322133 w 370771"/>
                  <a:gd name="connsiteY81" fmla="*/ 63033 h 313950"/>
                  <a:gd name="connsiteX82" fmla="*/ 321073 w 370771"/>
                  <a:gd name="connsiteY82" fmla="*/ 65154 h 313950"/>
                  <a:gd name="connsiteX83" fmla="*/ 317285 w 370771"/>
                  <a:gd name="connsiteY83" fmla="*/ 65154 h 313950"/>
                  <a:gd name="connsiteX84" fmla="*/ 317436 w 370771"/>
                  <a:gd name="connsiteY84" fmla="*/ 66821 h 313950"/>
                  <a:gd name="connsiteX85" fmla="*/ 318194 w 370771"/>
                  <a:gd name="connsiteY85" fmla="*/ 68184 h 313950"/>
                  <a:gd name="connsiteX86" fmla="*/ 318042 w 370771"/>
                  <a:gd name="connsiteY86" fmla="*/ 70154 h 313950"/>
                  <a:gd name="connsiteX87" fmla="*/ 317436 w 370771"/>
                  <a:gd name="connsiteY87" fmla="*/ 68942 h 313950"/>
                  <a:gd name="connsiteX88" fmla="*/ 316224 w 370771"/>
                  <a:gd name="connsiteY88" fmla="*/ 68184 h 313950"/>
                  <a:gd name="connsiteX89" fmla="*/ 315466 w 370771"/>
                  <a:gd name="connsiteY89" fmla="*/ 67427 h 313950"/>
                  <a:gd name="connsiteX90" fmla="*/ 315315 w 370771"/>
                  <a:gd name="connsiteY90" fmla="*/ 66063 h 313950"/>
                  <a:gd name="connsiteX91" fmla="*/ 313345 w 370771"/>
                  <a:gd name="connsiteY91" fmla="*/ 63639 h 313950"/>
                  <a:gd name="connsiteX92" fmla="*/ 310466 w 370771"/>
                  <a:gd name="connsiteY92" fmla="*/ 61366 h 313950"/>
                  <a:gd name="connsiteX93" fmla="*/ 308799 w 370771"/>
                  <a:gd name="connsiteY93" fmla="*/ 60760 h 313950"/>
                  <a:gd name="connsiteX94" fmla="*/ 307587 w 370771"/>
                  <a:gd name="connsiteY94" fmla="*/ 60457 h 313950"/>
                  <a:gd name="connsiteX95" fmla="*/ 306678 w 370771"/>
                  <a:gd name="connsiteY95" fmla="*/ 60608 h 313950"/>
                  <a:gd name="connsiteX96" fmla="*/ 306830 w 370771"/>
                  <a:gd name="connsiteY96" fmla="*/ 61366 h 313950"/>
                  <a:gd name="connsiteX97" fmla="*/ 306224 w 370771"/>
                  <a:gd name="connsiteY97" fmla="*/ 63336 h 313950"/>
                  <a:gd name="connsiteX98" fmla="*/ 306678 w 370771"/>
                  <a:gd name="connsiteY98" fmla="*/ 64851 h 313950"/>
                  <a:gd name="connsiteX99" fmla="*/ 306224 w 370771"/>
                  <a:gd name="connsiteY99" fmla="*/ 64699 h 313950"/>
                  <a:gd name="connsiteX100" fmla="*/ 305769 w 370771"/>
                  <a:gd name="connsiteY100" fmla="*/ 64245 h 313950"/>
                  <a:gd name="connsiteX101" fmla="*/ 304860 w 370771"/>
                  <a:gd name="connsiteY101" fmla="*/ 63184 h 313950"/>
                  <a:gd name="connsiteX102" fmla="*/ 303951 w 370771"/>
                  <a:gd name="connsiteY102" fmla="*/ 65002 h 313950"/>
                  <a:gd name="connsiteX103" fmla="*/ 303345 w 370771"/>
                  <a:gd name="connsiteY103" fmla="*/ 65760 h 313950"/>
                  <a:gd name="connsiteX104" fmla="*/ 302890 w 370771"/>
                  <a:gd name="connsiteY104" fmla="*/ 65912 h 313950"/>
                  <a:gd name="connsiteX105" fmla="*/ 302284 w 370771"/>
                  <a:gd name="connsiteY105" fmla="*/ 66063 h 313950"/>
                  <a:gd name="connsiteX106" fmla="*/ 300011 w 370771"/>
                  <a:gd name="connsiteY106" fmla="*/ 62275 h 313950"/>
                  <a:gd name="connsiteX107" fmla="*/ 296829 w 370771"/>
                  <a:gd name="connsiteY107" fmla="*/ 55154 h 313950"/>
                  <a:gd name="connsiteX108" fmla="*/ 295920 w 370771"/>
                  <a:gd name="connsiteY108" fmla="*/ 54548 h 313950"/>
                  <a:gd name="connsiteX109" fmla="*/ 294556 w 370771"/>
                  <a:gd name="connsiteY109" fmla="*/ 54093 h 313950"/>
                  <a:gd name="connsiteX110" fmla="*/ 294405 w 370771"/>
                  <a:gd name="connsiteY110" fmla="*/ 55608 h 313950"/>
                  <a:gd name="connsiteX111" fmla="*/ 294556 w 370771"/>
                  <a:gd name="connsiteY111" fmla="*/ 56820 h 313950"/>
                  <a:gd name="connsiteX112" fmla="*/ 293193 w 370771"/>
                  <a:gd name="connsiteY112" fmla="*/ 58032 h 313950"/>
                  <a:gd name="connsiteX113" fmla="*/ 290768 w 370771"/>
                  <a:gd name="connsiteY113" fmla="*/ 58487 h 313950"/>
                  <a:gd name="connsiteX114" fmla="*/ 291981 w 370771"/>
                  <a:gd name="connsiteY114" fmla="*/ 57275 h 313950"/>
                  <a:gd name="connsiteX115" fmla="*/ 292890 w 370771"/>
                  <a:gd name="connsiteY115" fmla="*/ 54548 h 313950"/>
                  <a:gd name="connsiteX116" fmla="*/ 292284 w 370771"/>
                  <a:gd name="connsiteY116" fmla="*/ 51971 h 313950"/>
                  <a:gd name="connsiteX117" fmla="*/ 291677 w 370771"/>
                  <a:gd name="connsiteY117" fmla="*/ 50760 h 313950"/>
                  <a:gd name="connsiteX118" fmla="*/ 289556 w 370771"/>
                  <a:gd name="connsiteY118" fmla="*/ 48941 h 313950"/>
                  <a:gd name="connsiteX119" fmla="*/ 288647 w 370771"/>
                  <a:gd name="connsiteY119" fmla="*/ 48941 h 313950"/>
                  <a:gd name="connsiteX120" fmla="*/ 287889 w 370771"/>
                  <a:gd name="connsiteY120" fmla="*/ 48487 h 313950"/>
                  <a:gd name="connsiteX121" fmla="*/ 287889 w 370771"/>
                  <a:gd name="connsiteY121" fmla="*/ 46062 h 313950"/>
                  <a:gd name="connsiteX122" fmla="*/ 285920 w 370771"/>
                  <a:gd name="connsiteY122" fmla="*/ 45456 h 313950"/>
                  <a:gd name="connsiteX123" fmla="*/ 291981 w 370771"/>
                  <a:gd name="connsiteY123" fmla="*/ 44547 h 313950"/>
                  <a:gd name="connsiteX124" fmla="*/ 300617 w 370771"/>
                  <a:gd name="connsiteY124" fmla="*/ 45002 h 313950"/>
                  <a:gd name="connsiteX125" fmla="*/ 304708 w 370771"/>
                  <a:gd name="connsiteY125" fmla="*/ 42577 h 313950"/>
                  <a:gd name="connsiteX126" fmla="*/ 310012 w 370771"/>
                  <a:gd name="connsiteY126" fmla="*/ 42274 h 313950"/>
                  <a:gd name="connsiteX127" fmla="*/ 313193 w 370771"/>
                  <a:gd name="connsiteY127" fmla="*/ 41214 h 313950"/>
                  <a:gd name="connsiteX128" fmla="*/ 314406 w 370771"/>
                  <a:gd name="connsiteY128" fmla="*/ 39547 h 313950"/>
                  <a:gd name="connsiteX129" fmla="*/ 304405 w 370771"/>
                  <a:gd name="connsiteY129" fmla="*/ 40759 h 313950"/>
                  <a:gd name="connsiteX130" fmla="*/ 291829 w 370771"/>
                  <a:gd name="connsiteY130" fmla="*/ 39395 h 313950"/>
                  <a:gd name="connsiteX131" fmla="*/ 285162 w 370771"/>
                  <a:gd name="connsiteY131" fmla="*/ 40607 h 313950"/>
                  <a:gd name="connsiteX132" fmla="*/ 282738 w 370771"/>
                  <a:gd name="connsiteY132" fmla="*/ 40305 h 313950"/>
                  <a:gd name="connsiteX133" fmla="*/ 278495 w 370771"/>
                  <a:gd name="connsiteY133" fmla="*/ 40607 h 313950"/>
                  <a:gd name="connsiteX134" fmla="*/ 270162 w 370771"/>
                  <a:gd name="connsiteY134" fmla="*/ 42426 h 313950"/>
                  <a:gd name="connsiteX135" fmla="*/ 259858 w 370771"/>
                  <a:gd name="connsiteY135" fmla="*/ 41820 h 313950"/>
                  <a:gd name="connsiteX136" fmla="*/ 250918 w 370771"/>
                  <a:gd name="connsiteY136" fmla="*/ 42729 h 313950"/>
                  <a:gd name="connsiteX137" fmla="*/ 248343 w 370771"/>
                  <a:gd name="connsiteY137" fmla="*/ 42729 h 313950"/>
                  <a:gd name="connsiteX138" fmla="*/ 249706 w 370771"/>
                  <a:gd name="connsiteY138" fmla="*/ 45305 h 313950"/>
                  <a:gd name="connsiteX139" fmla="*/ 252131 w 370771"/>
                  <a:gd name="connsiteY139" fmla="*/ 44244 h 313950"/>
                  <a:gd name="connsiteX140" fmla="*/ 260161 w 370771"/>
                  <a:gd name="connsiteY140" fmla="*/ 44850 h 313950"/>
                  <a:gd name="connsiteX141" fmla="*/ 263798 w 370771"/>
                  <a:gd name="connsiteY141" fmla="*/ 46365 h 313950"/>
                  <a:gd name="connsiteX142" fmla="*/ 262434 w 370771"/>
                  <a:gd name="connsiteY142" fmla="*/ 47274 h 313950"/>
                  <a:gd name="connsiteX143" fmla="*/ 260919 w 370771"/>
                  <a:gd name="connsiteY143" fmla="*/ 47881 h 313950"/>
                  <a:gd name="connsiteX144" fmla="*/ 251221 w 370771"/>
                  <a:gd name="connsiteY144" fmla="*/ 47577 h 313950"/>
                  <a:gd name="connsiteX145" fmla="*/ 233039 w 370771"/>
                  <a:gd name="connsiteY145" fmla="*/ 57426 h 313950"/>
                  <a:gd name="connsiteX146" fmla="*/ 230463 w 370771"/>
                  <a:gd name="connsiteY146" fmla="*/ 57578 h 313950"/>
                  <a:gd name="connsiteX147" fmla="*/ 228342 w 370771"/>
                  <a:gd name="connsiteY147" fmla="*/ 58032 h 313950"/>
                  <a:gd name="connsiteX148" fmla="*/ 225463 w 370771"/>
                  <a:gd name="connsiteY148" fmla="*/ 58184 h 313950"/>
                  <a:gd name="connsiteX149" fmla="*/ 220311 w 370771"/>
                  <a:gd name="connsiteY149" fmla="*/ 56820 h 313950"/>
                  <a:gd name="connsiteX150" fmla="*/ 215614 w 370771"/>
                  <a:gd name="connsiteY150" fmla="*/ 55760 h 313950"/>
                  <a:gd name="connsiteX151" fmla="*/ 211069 w 370771"/>
                  <a:gd name="connsiteY151" fmla="*/ 53790 h 313950"/>
                  <a:gd name="connsiteX152" fmla="*/ 205765 w 370771"/>
                  <a:gd name="connsiteY152" fmla="*/ 53032 h 313950"/>
                  <a:gd name="connsiteX153" fmla="*/ 199250 w 370771"/>
                  <a:gd name="connsiteY153" fmla="*/ 47123 h 313950"/>
                  <a:gd name="connsiteX154" fmla="*/ 199250 w 370771"/>
                  <a:gd name="connsiteY154" fmla="*/ 45911 h 313950"/>
                  <a:gd name="connsiteX155" fmla="*/ 198947 w 370771"/>
                  <a:gd name="connsiteY155" fmla="*/ 44395 h 313950"/>
                  <a:gd name="connsiteX156" fmla="*/ 195007 w 370771"/>
                  <a:gd name="connsiteY156" fmla="*/ 42880 h 313950"/>
                  <a:gd name="connsiteX157" fmla="*/ 174703 w 370771"/>
                  <a:gd name="connsiteY157" fmla="*/ 43486 h 313950"/>
                  <a:gd name="connsiteX158" fmla="*/ 170764 w 370771"/>
                  <a:gd name="connsiteY158" fmla="*/ 44547 h 313950"/>
                  <a:gd name="connsiteX159" fmla="*/ 158491 w 370771"/>
                  <a:gd name="connsiteY159" fmla="*/ 45759 h 313950"/>
                  <a:gd name="connsiteX160" fmla="*/ 150612 w 370771"/>
                  <a:gd name="connsiteY160" fmla="*/ 47123 h 313950"/>
                  <a:gd name="connsiteX161" fmla="*/ 143339 w 370771"/>
                  <a:gd name="connsiteY161" fmla="*/ 46517 h 313950"/>
                  <a:gd name="connsiteX162" fmla="*/ 140763 w 370771"/>
                  <a:gd name="connsiteY162" fmla="*/ 44395 h 313950"/>
                  <a:gd name="connsiteX163" fmla="*/ 139096 w 370771"/>
                  <a:gd name="connsiteY163" fmla="*/ 41062 h 313950"/>
                  <a:gd name="connsiteX164" fmla="*/ 138339 w 370771"/>
                  <a:gd name="connsiteY164" fmla="*/ 37729 h 313950"/>
                  <a:gd name="connsiteX165" fmla="*/ 139854 w 370771"/>
                  <a:gd name="connsiteY165" fmla="*/ 35759 h 313950"/>
                  <a:gd name="connsiteX166" fmla="*/ 138339 w 370771"/>
                  <a:gd name="connsiteY166" fmla="*/ 33789 h 313950"/>
                  <a:gd name="connsiteX167" fmla="*/ 137884 w 370771"/>
                  <a:gd name="connsiteY167" fmla="*/ 30910 h 313950"/>
                  <a:gd name="connsiteX168" fmla="*/ 136369 w 370771"/>
                  <a:gd name="connsiteY168" fmla="*/ 27880 h 313950"/>
                  <a:gd name="connsiteX169" fmla="*/ 130459 w 370771"/>
                  <a:gd name="connsiteY169" fmla="*/ 23789 h 313950"/>
                  <a:gd name="connsiteX170" fmla="*/ 124702 w 370771"/>
                  <a:gd name="connsiteY170" fmla="*/ 20455 h 313950"/>
                  <a:gd name="connsiteX171" fmla="*/ 118489 w 370771"/>
                  <a:gd name="connsiteY171" fmla="*/ 19698 h 313950"/>
                  <a:gd name="connsiteX172" fmla="*/ 113641 w 370771"/>
                  <a:gd name="connsiteY172" fmla="*/ 18182 h 313950"/>
                  <a:gd name="connsiteX173" fmla="*/ 105610 w 370771"/>
                  <a:gd name="connsiteY173" fmla="*/ 18637 h 313950"/>
                  <a:gd name="connsiteX174" fmla="*/ 104398 w 370771"/>
                  <a:gd name="connsiteY174" fmla="*/ 19092 h 313950"/>
                  <a:gd name="connsiteX175" fmla="*/ 102731 w 370771"/>
                  <a:gd name="connsiteY175" fmla="*/ 19243 h 313950"/>
                  <a:gd name="connsiteX176" fmla="*/ 100458 w 370771"/>
                  <a:gd name="connsiteY176" fmla="*/ 16970 h 313950"/>
                  <a:gd name="connsiteX177" fmla="*/ 99095 w 370771"/>
                  <a:gd name="connsiteY177" fmla="*/ 13940 h 313950"/>
                  <a:gd name="connsiteX178" fmla="*/ 97731 w 370771"/>
                  <a:gd name="connsiteY178" fmla="*/ 9546 h 313950"/>
                  <a:gd name="connsiteX179" fmla="*/ 97125 w 370771"/>
                  <a:gd name="connsiteY179" fmla="*/ 5152 h 313950"/>
                  <a:gd name="connsiteX180" fmla="*/ 96367 w 370771"/>
                  <a:gd name="connsiteY180" fmla="*/ 3485 h 313950"/>
                  <a:gd name="connsiteX181" fmla="*/ 94852 w 370771"/>
                  <a:gd name="connsiteY181" fmla="*/ 1818 h 313950"/>
                  <a:gd name="connsiteX182" fmla="*/ 92428 w 370771"/>
                  <a:gd name="connsiteY182" fmla="*/ 0 h 313950"/>
                  <a:gd name="connsiteX183" fmla="*/ 89246 w 370771"/>
                  <a:gd name="connsiteY183" fmla="*/ 1212 h 313950"/>
                  <a:gd name="connsiteX184" fmla="*/ 86973 w 370771"/>
                  <a:gd name="connsiteY184" fmla="*/ 2273 h 313950"/>
                  <a:gd name="connsiteX185" fmla="*/ 85761 w 370771"/>
                  <a:gd name="connsiteY185" fmla="*/ 4849 h 313950"/>
                  <a:gd name="connsiteX186" fmla="*/ 84700 w 370771"/>
                  <a:gd name="connsiteY186" fmla="*/ 8031 h 313950"/>
                  <a:gd name="connsiteX187" fmla="*/ 86518 w 370771"/>
                  <a:gd name="connsiteY187" fmla="*/ 12273 h 313950"/>
                  <a:gd name="connsiteX188" fmla="*/ 86518 w 370771"/>
                  <a:gd name="connsiteY188" fmla="*/ 13637 h 313950"/>
                  <a:gd name="connsiteX189" fmla="*/ 87276 w 370771"/>
                  <a:gd name="connsiteY189" fmla="*/ 15152 h 313950"/>
                  <a:gd name="connsiteX190" fmla="*/ 95004 w 370771"/>
                  <a:gd name="connsiteY190" fmla="*/ 13788 h 313950"/>
                  <a:gd name="connsiteX191" fmla="*/ 97579 w 370771"/>
                  <a:gd name="connsiteY191" fmla="*/ 13788 h 313950"/>
                  <a:gd name="connsiteX192" fmla="*/ 98792 w 370771"/>
                  <a:gd name="connsiteY192" fmla="*/ 17425 h 313950"/>
                  <a:gd name="connsiteX193" fmla="*/ 97883 w 370771"/>
                  <a:gd name="connsiteY193" fmla="*/ 19243 h 313950"/>
                  <a:gd name="connsiteX194" fmla="*/ 95610 w 370771"/>
                  <a:gd name="connsiteY194" fmla="*/ 20001 h 313950"/>
                  <a:gd name="connsiteX195" fmla="*/ 91216 w 370771"/>
                  <a:gd name="connsiteY195" fmla="*/ 17576 h 313950"/>
                  <a:gd name="connsiteX196" fmla="*/ 89852 w 370771"/>
                  <a:gd name="connsiteY196" fmla="*/ 17879 h 313950"/>
                  <a:gd name="connsiteX197" fmla="*/ 88185 w 370771"/>
                  <a:gd name="connsiteY197" fmla="*/ 20455 h 313950"/>
                  <a:gd name="connsiteX198" fmla="*/ 86215 w 370771"/>
                  <a:gd name="connsiteY198" fmla="*/ 21970 h 313950"/>
                  <a:gd name="connsiteX199" fmla="*/ 77579 w 370771"/>
                  <a:gd name="connsiteY199" fmla="*/ 25001 h 313950"/>
                  <a:gd name="connsiteX200" fmla="*/ 70003 w 370771"/>
                  <a:gd name="connsiteY200" fmla="*/ 26516 h 313950"/>
                  <a:gd name="connsiteX201" fmla="*/ 57881 w 370771"/>
                  <a:gd name="connsiteY201" fmla="*/ 32274 h 313950"/>
                  <a:gd name="connsiteX202" fmla="*/ 52275 w 370771"/>
                  <a:gd name="connsiteY202" fmla="*/ 33183 h 313950"/>
                  <a:gd name="connsiteX203" fmla="*/ 52578 w 370771"/>
                  <a:gd name="connsiteY203" fmla="*/ 36668 h 313950"/>
                  <a:gd name="connsiteX204" fmla="*/ 50305 w 370771"/>
                  <a:gd name="connsiteY204" fmla="*/ 38183 h 313950"/>
                  <a:gd name="connsiteX205" fmla="*/ 51063 w 370771"/>
                  <a:gd name="connsiteY205" fmla="*/ 42426 h 313950"/>
                  <a:gd name="connsiteX206" fmla="*/ 51669 w 370771"/>
                  <a:gd name="connsiteY206" fmla="*/ 44850 h 313950"/>
                  <a:gd name="connsiteX207" fmla="*/ 52578 w 370771"/>
                  <a:gd name="connsiteY207" fmla="*/ 46668 h 313950"/>
                  <a:gd name="connsiteX208" fmla="*/ 54699 w 370771"/>
                  <a:gd name="connsiteY208" fmla="*/ 52275 h 313950"/>
                  <a:gd name="connsiteX209" fmla="*/ 58032 w 370771"/>
                  <a:gd name="connsiteY209" fmla="*/ 55608 h 313950"/>
                  <a:gd name="connsiteX210" fmla="*/ 59548 w 370771"/>
                  <a:gd name="connsiteY210" fmla="*/ 59093 h 313950"/>
                  <a:gd name="connsiteX211" fmla="*/ 63033 w 370771"/>
                  <a:gd name="connsiteY211" fmla="*/ 64093 h 313950"/>
                  <a:gd name="connsiteX212" fmla="*/ 63790 w 370771"/>
                  <a:gd name="connsiteY212" fmla="*/ 67578 h 313950"/>
                  <a:gd name="connsiteX213" fmla="*/ 63033 w 370771"/>
                  <a:gd name="connsiteY213" fmla="*/ 72881 h 313950"/>
                  <a:gd name="connsiteX214" fmla="*/ 62881 w 370771"/>
                  <a:gd name="connsiteY214" fmla="*/ 77276 h 313950"/>
                  <a:gd name="connsiteX215" fmla="*/ 59548 w 370771"/>
                  <a:gd name="connsiteY215" fmla="*/ 80761 h 313950"/>
                  <a:gd name="connsiteX216" fmla="*/ 58487 w 370771"/>
                  <a:gd name="connsiteY216" fmla="*/ 82427 h 313950"/>
                  <a:gd name="connsiteX217" fmla="*/ 56972 w 370771"/>
                  <a:gd name="connsiteY217" fmla="*/ 83336 h 313950"/>
                  <a:gd name="connsiteX218" fmla="*/ 50456 w 370771"/>
                  <a:gd name="connsiteY218" fmla="*/ 85458 h 313950"/>
                  <a:gd name="connsiteX219" fmla="*/ 48184 w 370771"/>
                  <a:gd name="connsiteY219" fmla="*/ 85458 h 313950"/>
                  <a:gd name="connsiteX220" fmla="*/ 46365 w 370771"/>
                  <a:gd name="connsiteY220" fmla="*/ 84852 h 313950"/>
                  <a:gd name="connsiteX221" fmla="*/ 44850 w 370771"/>
                  <a:gd name="connsiteY221" fmla="*/ 83185 h 313950"/>
                  <a:gd name="connsiteX222" fmla="*/ 43789 w 370771"/>
                  <a:gd name="connsiteY222" fmla="*/ 80003 h 313950"/>
                  <a:gd name="connsiteX223" fmla="*/ 44396 w 370771"/>
                  <a:gd name="connsiteY223" fmla="*/ 77579 h 313950"/>
                  <a:gd name="connsiteX224" fmla="*/ 43184 w 370771"/>
                  <a:gd name="connsiteY224" fmla="*/ 76215 h 313950"/>
                  <a:gd name="connsiteX225" fmla="*/ 41365 w 370771"/>
                  <a:gd name="connsiteY225" fmla="*/ 75154 h 313950"/>
                  <a:gd name="connsiteX226" fmla="*/ 38486 w 370771"/>
                  <a:gd name="connsiteY226" fmla="*/ 71669 h 313950"/>
                  <a:gd name="connsiteX227" fmla="*/ 38032 w 370771"/>
                  <a:gd name="connsiteY227" fmla="*/ 69245 h 313950"/>
                  <a:gd name="connsiteX228" fmla="*/ 34698 w 370771"/>
                  <a:gd name="connsiteY228" fmla="*/ 64396 h 313950"/>
                  <a:gd name="connsiteX229" fmla="*/ 38941 w 370771"/>
                  <a:gd name="connsiteY229" fmla="*/ 56366 h 313950"/>
                  <a:gd name="connsiteX230" fmla="*/ 40911 w 370771"/>
                  <a:gd name="connsiteY230" fmla="*/ 54699 h 313950"/>
                  <a:gd name="connsiteX231" fmla="*/ 43335 w 370771"/>
                  <a:gd name="connsiteY231" fmla="*/ 50608 h 313950"/>
                  <a:gd name="connsiteX232" fmla="*/ 46820 w 370771"/>
                  <a:gd name="connsiteY232" fmla="*/ 47123 h 313950"/>
                  <a:gd name="connsiteX233" fmla="*/ 48790 w 370771"/>
                  <a:gd name="connsiteY233" fmla="*/ 41214 h 313950"/>
                  <a:gd name="connsiteX234" fmla="*/ 48638 w 370771"/>
                  <a:gd name="connsiteY234" fmla="*/ 39395 h 313950"/>
                  <a:gd name="connsiteX235" fmla="*/ 46062 w 370771"/>
                  <a:gd name="connsiteY235" fmla="*/ 36365 h 313950"/>
                  <a:gd name="connsiteX236" fmla="*/ 45002 w 370771"/>
                  <a:gd name="connsiteY236" fmla="*/ 31971 h 313950"/>
                  <a:gd name="connsiteX237" fmla="*/ 46517 w 370771"/>
                  <a:gd name="connsiteY237" fmla="*/ 31971 h 313950"/>
                  <a:gd name="connsiteX238" fmla="*/ 47426 w 370771"/>
                  <a:gd name="connsiteY238" fmla="*/ 31516 h 313950"/>
                  <a:gd name="connsiteX239" fmla="*/ 43335 w 370771"/>
                  <a:gd name="connsiteY239" fmla="*/ 28183 h 313950"/>
                  <a:gd name="connsiteX240" fmla="*/ 42123 w 370771"/>
                  <a:gd name="connsiteY240" fmla="*/ 26668 h 313950"/>
                  <a:gd name="connsiteX241" fmla="*/ 39092 w 370771"/>
                  <a:gd name="connsiteY241" fmla="*/ 20455 h 313950"/>
                  <a:gd name="connsiteX242" fmla="*/ 38789 w 370771"/>
                  <a:gd name="connsiteY242" fmla="*/ 18637 h 313950"/>
                  <a:gd name="connsiteX243" fmla="*/ 38789 w 370771"/>
                  <a:gd name="connsiteY243" fmla="*/ 16213 h 313950"/>
                  <a:gd name="connsiteX244" fmla="*/ 40153 w 370771"/>
                  <a:gd name="connsiteY244" fmla="*/ 15152 h 313950"/>
                  <a:gd name="connsiteX245" fmla="*/ 41214 w 370771"/>
                  <a:gd name="connsiteY245" fmla="*/ 14546 h 313950"/>
                  <a:gd name="connsiteX246" fmla="*/ 51669 w 370771"/>
                  <a:gd name="connsiteY246" fmla="*/ 11970 h 313950"/>
                  <a:gd name="connsiteX247" fmla="*/ 53638 w 370771"/>
                  <a:gd name="connsiteY247" fmla="*/ 10910 h 313950"/>
                  <a:gd name="connsiteX248" fmla="*/ 55457 w 370771"/>
                  <a:gd name="connsiteY248" fmla="*/ 9243 h 313950"/>
                  <a:gd name="connsiteX249" fmla="*/ 56214 w 370771"/>
                  <a:gd name="connsiteY249" fmla="*/ 7879 h 313950"/>
                  <a:gd name="connsiteX250" fmla="*/ 55305 w 370771"/>
                  <a:gd name="connsiteY250" fmla="*/ 8182 h 313950"/>
                  <a:gd name="connsiteX251" fmla="*/ 54093 w 370771"/>
                  <a:gd name="connsiteY251" fmla="*/ 8940 h 313950"/>
                  <a:gd name="connsiteX252" fmla="*/ 50305 w 370771"/>
                  <a:gd name="connsiteY252" fmla="*/ 10303 h 313950"/>
                  <a:gd name="connsiteX253" fmla="*/ 45305 w 370771"/>
                  <a:gd name="connsiteY253" fmla="*/ 11667 h 313950"/>
                  <a:gd name="connsiteX254" fmla="*/ 38789 w 370771"/>
                  <a:gd name="connsiteY254" fmla="*/ 13334 h 313950"/>
                  <a:gd name="connsiteX255" fmla="*/ 37274 w 370771"/>
                  <a:gd name="connsiteY255" fmla="*/ 15152 h 313950"/>
                  <a:gd name="connsiteX256" fmla="*/ 30759 w 370771"/>
                  <a:gd name="connsiteY256" fmla="*/ 26365 h 313950"/>
                  <a:gd name="connsiteX257" fmla="*/ 25304 w 370771"/>
                  <a:gd name="connsiteY257" fmla="*/ 28637 h 313950"/>
                  <a:gd name="connsiteX258" fmla="*/ 23334 w 370771"/>
                  <a:gd name="connsiteY258" fmla="*/ 30304 h 313950"/>
                  <a:gd name="connsiteX259" fmla="*/ 21819 w 370771"/>
                  <a:gd name="connsiteY259" fmla="*/ 32425 h 313950"/>
                  <a:gd name="connsiteX260" fmla="*/ 18637 w 370771"/>
                  <a:gd name="connsiteY260" fmla="*/ 36365 h 313950"/>
                  <a:gd name="connsiteX261" fmla="*/ 17273 w 370771"/>
                  <a:gd name="connsiteY261" fmla="*/ 39395 h 313950"/>
                  <a:gd name="connsiteX262" fmla="*/ 13637 w 370771"/>
                  <a:gd name="connsiteY262" fmla="*/ 45911 h 313950"/>
                  <a:gd name="connsiteX263" fmla="*/ 11667 w 370771"/>
                  <a:gd name="connsiteY263" fmla="*/ 54093 h 313950"/>
                  <a:gd name="connsiteX264" fmla="*/ 10910 w 370771"/>
                  <a:gd name="connsiteY264" fmla="*/ 58638 h 313950"/>
                  <a:gd name="connsiteX265" fmla="*/ 9849 w 370771"/>
                  <a:gd name="connsiteY265" fmla="*/ 65305 h 313950"/>
                  <a:gd name="connsiteX266" fmla="*/ 8334 w 370771"/>
                  <a:gd name="connsiteY266" fmla="*/ 68639 h 313950"/>
                  <a:gd name="connsiteX267" fmla="*/ 6212 w 370771"/>
                  <a:gd name="connsiteY267" fmla="*/ 71821 h 313950"/>
                  <a:gd name="connsiteX268" fmla="*/ 3940 w 370771"/>
                  <a:gd name="connsiteY268" fmla="*/ 74851 h 313950"/>
                  <a:gd name="connsiteX269" fmla="*/ 1970 w 370771"/>
                  <a:gd name="connsiteY269" fmla="*/ 78185 h 313950"/>
                  <a:gd name="connsiteX270" fmla="*/ 303 w 370771"/>
                  <a:gd name="connsiteY270" fmla="*/ 80761 h 313950"/>
                  <a:gd name="connsiteX271" fmla="*/ 0 w 370771"/>
                  <a:gd name="connsiteY271" fmla="*/ 81670 h 313950"/>
                  <a:gd name="connsiteX272" fmla="*/ 758 w 370771"/>
                  <a:gd name="connsiteY272" fmla="*/ 82427 h 313950"/>
                  <a:gd name="connsiteX273" fmla="*/ 4697 w 370771"/>
                  <a:gd name="connsiteY273" fmla="*/ 81670 h 313950"/>
                  <a:gd name="connsiteX274" fmla="*/ 6212 w 370771"/>
                  <a:gd name="connsiteY274" fmla="*/ 80912 h 313950"/>
                  <a:gd name="connsiteX275" fmla="*/ 8334 w 370771"/>
                  <a:gd name="connsiteY275" fmla="*/ 79851 h 313950"/>
                  <a:gd name="connsiteX276" fmla="*/ 9697 w 370771"/>
                  <a:gd name="connsiteY276" fmla="*/ 80457 h 313950"/>
                  <a:gd name="connsiteX277" fmla="*/ 11061 w 370771"/>
                  <a:gd name="connsiteY277" fmla="*/ 83336 h 313950"/>
                  <a:gd name="connsiteX278" fmla="*/ 12576 w 370771"/>
                  <a:gd name="connsiteY278" fmla="*/ 83639 h 313950"/>
                  <a:gd name="connsiteX279" fmla="*/ 13940 w 370771"/>
                  <a:gd name="connsiteY279" fmla="*/ 83336 h 313950"/>
                  <a:gd name="connsiteX280" fmla="*/ 15455 w 370771"/>
                  <a:gd name="connsiteY280" fmla="*/ 84094 h 313950"/>
                  <a:gd name="connsiteX281" fmla="*/ 17425 w 370771"/>
                  <a:gd name="connsiteY281" fmla="*/ 91216 h 313950"/>
                  <a:gd name="connsiteX282" fmla="*/ 19092 w 370771"/>
                  <a:gd name="connsiteY282" fmla="*/ 97276 h 313950"/>
                  <a:gd name="connsiteX283" fmla="*/ 22880 w 370771"/>
                  <a:gd name="connsiteY283" fmla="*/ 101064 h 313950"/>
                  <a:gd name="connsiteX284" fmla="*/ 25910 w 370771"/>
                  <a:gd name="connsiteY284" fmla="*/ 103943 h 313950"/>
                  <a:gd name="connsiteX285" fmla="*/ 26668 w 370771"/>
                  <a:gd name="connsiteY285" fmla="*/ 106519 h 313950"/>
                  <a:gd name="connsiteX286" fmla="*/ 27425 w 370771"/>
                  <a:gd name="connsiteY286" fmla="*/ 110156 h 313950"/>
                  <a:gd name="connsiteX287" fmla="*/ 27577 w 370771"/>
                  <a:gd name="connsiteY287" fmla="*/ 111974 h 313950"/>
                  <a:gd name="connsiteX288" fmla="*/ 26668 w 370771"/>
                  <a:gd name="connsiteY288" fmla="*/ 113035 h 313950"/>
                  <a:gd name="connsiteX289" fmla="*/ 25153 w 370771"/>
                  <a:gd name="connsiteY289" fmla="*/ 115307 h 313950"/>
                  <a:gd name="connsiteX290" fmla="*/ 24849 w 370771"/>
                  <a:gd name="connsiteY290" fmla="*/ 119550 h 313950"/>
                  <a:gd name="connsiteX291" fmla="*/ 24547 w 370771"/>
                  <a:gd name="connsiteY291" fmla="*/ 120913 h 313950"/>
                  <a:gd name="connsiteX292" fmla="*/ 24243 w 370771"/>
                  <a:gd name="connsiteY292" fmla="*/ 124853 h 313950"/>
                  <a:gd name="connsiteX293" fmla="*/ 24395 w 370771"/>
                  <a:gd name="connsiteY293" fmla="*/ 127277 h 313950"/>
                  <a:gd name="connsiteX294" fmla="*/ 25153 w 370771"/>
                  <a:gd name="connsiteY294" fmla="*/ 129247 h 313950"/>
                  <a:gd name="connsiteX295" fmla="*/ 26516 w 370771"/>
                  <a:gd name="connsiteY295" fmla="*/ 130308 h 313950"/>
                  <a:gd name="connsiteX296" fmla="*/ 29244 w 370771"/>
                  <a:gd name="connsiteY296" fmla="*/ 130914 h 313950"/>
                  <a:gd name="connsiteX297" fmla="*/ 31668 w 370771"/>
                  <a:gd name="connsiteY297" fmla="*/ 131520 h 313950"/>
                  <a:gd name="connsiteX298" fmla="*/ 33032 w 370771"/>
                  <a:gd name="connsiteY298" fmla="*/ 134853 h 313950"/>
                  <a:gd name="connsiteX299" fmla="*/ 35001 w 370771"/>
                  <a:gd name="connsiteY299" fmla="*/ 139096 h 313950"/>
                  <a:gd name="connsiteX300" fmla="*/ 37123 w 370771"/>
                  <a:gd name="connsiteY300" fmla="*/ 140914 h 313950"/>
                  <a:gd name="connsiteX301" fmla="*/ 40305 w 370771"/>
                  <a:gd name="connsiteY301" fmla="*/ 142126 h 313950"/>
                  <a:gd name="connsiteX302" fmla="*/ 42577 w 370771"/>
                  <a:gd name="connsiteY302" fmla="*/ 141672 h 313950"/>
                  <a:gd name="connsiteX303" fmla="*/ 47729 w 370771"/>
                  <a:gd name="connsiteY303" fmla="*/ 140914 h 313950"/>
                  <a:gd name="connsiteX304" fmla="*/ 52275 w 370771"/>
                  <a:gd name="connsiteY304" fmla="*/ 141066 h 313950"/>
                  <a:gd name="connsiteX305" fmla="*/ 58790 w 370771"/>
                  <a:gd name="connsiteY305" fmla="*/ 142126 h 313950"/>
                  <a:gd name="connsiteX306" fmla="*/ 61215 w 370771"/>
                  <a:gd name="connsiteY306" fmla="*/ 142126 h 313950"/>
                  <a:gd name="connsiteX307" fmla="*/ 64396 w 370771"/>
                  <a:gd name="connsiteY307" fmla="*/ 141975 h 313950"/>
                  <a:gd name="connsiteX308" fmla="*/ 70003 w 370771"/>
                  <a:gd name="connsiteY308" fmla="*/ 139702 h 313950"/>
                  <a:gd name="connsiteX309" fmla="*/ 71972 w 370771"/>
                  <a:gd name="connsiteY309" fmla="*/ 139399 h 313950"/>
                  <a:gd name="connsiteX310" fmla="*/ 74245 w 370771"/>
                  <a:gd name="connsiteY310" fmla="*/ 139551 h 313950"/>
                  <a:gd name="connsiteX311" fmla="*/ 77579 w 370771"/>
                  <a:gd name="connsiteY311" fmla="*/ 140763 h 313950"/>
                  <a:gd name="connsiteX312" fmla="*/ 79397 w 370771"/>
                  <a:gd name="connsiteY312" fmla="*/ 141672 h 313950"/>
                  <a:gd name="connsiteX313" fmla="*/ 81670 w 370771"/>
                  <a:gd name="connsiteY313" fmla="*/ 142581 h 313950"/>
                  <a:gd name="connsiteX314" fmla="*/ 85003 w 370771"/>
                  <a:gd name="connsiteY314" fmla="*/ 143187 h 313950"/>
                  <a:gd name="connsiteX315" fmla="*/ 87124 w 370771"/>
                  <a:gd name="connsiteY315" fmla="*/ 143036 h 313950"/>
                  <a:gd name="connsiteX316" fmla="*/ 88791 w 370771"/>
                  <a:gd name="connsiteY316" fmla="*/ 143036 h 313950"/>
                  <a:gd name="connsiteX317" fmla="*/ 89700 w 370771"/>
                  <a:gd name="connsiteY317" fmla="*/ 143490 h 313950"/>
                  <a:gd name="connsiteX318" fmla="*/ 94852 w 370771"/>
                  <a:gd name="connsiteY318" fmla="*/ 150005 h 313950"/>
                  <a:gd name="connsiteX319" fmla="*/ 99398 w 370771"/>
                  <a:gd name="connsiteY319" fmla="*/ 155612 h 313950"/>
                  <a:gd name="connsiteX320" fmla="*/ 103337 w 370771"/>
                  <a:gd name="connsiteY320" fmla="*/ 160309 h 313950"/>
                  <a:gd name="connsiteX321" fmla="*/ 107580 w 370771"/>
                  <a:gd name="connsiteY321" fmla="*/ 165461 h 313950"/>
                  <a:gd name="connsiteX322" fmla="*/ 107883 w 370771"/>
                  <a:gd name="connsiteY322" fmla="*/ 165764 h 313950"/>
                  <a:gd name="connsiteX323" fmla="*/ 109853 w 370771"/>
                  <a:gd name="connsiteY323" fmla="*/ 165157 h 313950"/>
                  <a:gd name="connsiteX324" fmla="*/ 111065 w 370771"/>
                  <a:gd name="connsiteY324" fmla="*/ 165461 h 313950"/>
                  <a:gd name="connsiteX325" fmla="*/ 112277 w 370771"/>
                  <a:gd name="connsiteY325" fmla="*/ 166521 h 313950"/>
                  <a:gd name="connsiteX326" fmla="*/ 114247 w 370771"/>
                  <a:gd name="connsiteY326" fmla="*/ 166067 h 313950"/>
                  <a:gd name="connsiteX327" fmla="*/ 117125 w 370771"/>
                  <a:gd name="connsiteY327" fmla="*/ 164248 h 313950"/>
                  <a:gd name="connsiteX328" fmla="*/ 121368 w 370771"/>
                  <a:gd name="connsiteY328" fmla="*/ 163945 h 313950"/>
                  <a:gd name="connsiteX329" fmla="*/ 126823 w 370771"/>
                  <a:gd name="connsiteY329" fmla="*/ 165006 h 313950"/>
                  <a:gd name="connsiteX330" fmla="*/ 134096 w 370771"/>
                  <a:gd name="connsiteY330" fmla="*/ 165006 h 313950"/>
                  <a:gd name="connsiteX331" fmla="*/ 143036 w 370771"/>
                  <a:gd name="connsiteY331" fmla="*/ 163945 h 313950"/>
                  <a:gd name="connsiteX332" fmla="*/ 148642 w 370771"/>
                  <a:gd name="connsiteY332" fmla="*/ 162733 h 313950"/>
                  <a:gd name="connsiteX333" fmla="*/ 150763 w 370771"/>
                  <a:gd name="connsiteY333" fmla="*/ 161369 h 313950"/>
                  <a:gd name="connsiteX334" fmla="*/ 154400 w 370771"/>
                  <a:gd name="connsiteY334" fmla="*/ 161521 h 313950"/>
                  <a:gd name="connsiteX335" fmla="*/ 158794 w 370771"/>
                  <a:gd name="connsiteY335" fmla="*/ 162733 h 313950"/>
                  <a:gd name="connsiteX336" fmla="*/ 161218 w 370771"/>
                  <a:gd name="connsiteY336" fmla="*/ 164400 h 313950"/>
                  <a:gd name="connsiteX337" fmla="*/ 161521 w 370771"/>
                  <a:gd name="connsiteY337" fmla="*/ 166067 h 313950"/>
                  <a:gd name="connsiteX338" fmla="*/ 162430 w 370771"/>
                  <a:gd name="connsiteY338" fmla="*/ 168643 h 313950"/>
                  <a:gd name="connsiteX339" fmla="*/ 161521 w 370771"/>
                  <a:gd name="connsiteY339" fmla="*/ 171218 h 313950"/>
                  <a:gd name="connsiteX340" fmla="*/ 158794 w 370771"/>
                  <a:gd name="connsiteY340" fmla="*/ 173794 h 313950"/>
                  <a:gd name="connsiteX341" fmla="*/ 157279 w 370771"/>
                  <a:gd name="connsiteY341" fmla="*/ 177128 h 313950"/>
                  <a:gd name="connsiteX342" fmla="*/ 156976 w 370771"/>
                  <a:gd name="connsiteY342" fmla="*/ 181219 h 313950"/>
                  <a:gd name="connsiteX343" fmla="*/ 155612 w 370771"/>
                  <a:gd name="connsiteY343" fmla="*/ 184249 h 313950"/>
                  <a:gd name="connsiteX344" fmla="*/ 153036 w 370771"/>
                  <a:gd name="connsiteY344" fmla="*/ 186219 h 313950"/>
                  <a:gd name="connsiteX345" fmla="*/ 151975 w 370771"/>
                  <a:gd name="connsiteY345" fmla="*/ 189098 h 313950"/>
                  <a:gd name="connsiteX346" fmla="*/ 152582 w 370771"/>
                  <a:gd name="connsiteY346" fmla="*/ 192886 h 313950"/>
                  <a:gd name="connsiteX347" fmla="*/ 152278 w 370771"/>
                  <a:gd name="connsiteY347" fmla="*/ 198341 h 313950"/>
                  <a:gd name="connsiteX348" fmla="*/ 151218 w 370771"/>
                  <a:gd name="connsiteY348" fmla="*/ 205613 h 313950"/>
                  <a:gd name="connsiteX349" fmla="*/ 151218 w 370771"/>
                  <a:gd name="connsiteY349" fmla="*/ 210008 h 313950"/>
                  <a:gd name="connsiteX350" fmla="*/ 152278 w 370771"/>
                  <a:gd name="connsiteY350" fmla="*/ 211371 h 313950"/>
                  <a:gd name="connsiteX351" fmla="*/ 152733 w 370771"/>
                  <a:gd name="connsiteY351" fmla="*/ 213341 h 313950"/>
                  <a:gd name="connsiteX352" fmla="*/ 152582 w 370771"/>
                  <a:gd name="connsiteY352" fmla="*/ 215917 h 313950"/>
                  <a:gd name="connsiteX353" fmla="*/ 153036 w 370771"/>
                  <a:gd name="connsiteY353" fmla="*/ 218190 h 313950"/>
                  <a:gd name="connsiteX354" fmla="*/ 154400 w 370771"/>
                  <a:gd name="connsiteY354" fmla="*/ 221220 h 313950"/>
                  <a:gd name="connsiteX355" fmla="*/ 156370 w 370771"/>
                  <a:gd name="connsiteY355" fmla="*/ 227281 h 313950"/>
                  <a:gd name="connsiteX356" fmla="*/ 158036 w 370771"/>
                  <a:gd name="connsiteY356" fmla="*/ 229857 h 313950"/>
                  <a:gd name="connsiteX357" fmla="*/ 159400 w 370771"/>
                  <a:gd name="connsiteY357" fmla="*/ 230766 h 313950"/>
                  <a:gd name="connsiteX358" fmla="*/ 160764 w 370771"/>
                  <a:gd name="connsiteY358" fmla="*/ 231978 h 313950"/>
                  <a:gd name="connsiteX359" fmla="*/ 164855 w 370771"/>
                  <a:gd name="connsiteY359" fmla="*/ 238191 h 313950"/>
                  <a:gd name="connsiteX360" fmla="*/ 165915 w 370771"/>
                  <a:gd name="connsiteY360" fmla="*/ 239554 h 313950"/>
                  <a:gd name="connsiteX361" fmla="*/ 165612 w 370771"/>
                  <a:gd name="connsiteY361" fmla="*/ 240766 h 313950"/>
                  <a:gd name="connsiteX362" fmla="*/ 165158 w 370771"/>
                  <a:gd name="connsiteY362" fmla="*/ 241675 h 313950"/>
                  <a:gd name="connsiteX363" fmla="*/ 164703 w 370771"/>
                  <a:gd name="connsiteY363" fmla="*/ 242282 h 313950"/>
                  <a:gd name="connsiteX364" fmla="*/ 160309 w 370771"/>
                  <a:gd name="connsiteY364" fmla="*/ 245918 h 313950"/>
                  <a:gd name="connsiteX365" fmla="*/ 151521 w 370771"/>
                  <a:gd name="connsiteY365" fmla="*/ 253949 h 313950"/>
                  <a:gd name="connsiteX366" fmla="*/ 150763 w 370771"/>
                  <a:gd name="connsiteY366" fmla="*/ 255009 h 313950"/>
                  <a:gd name="connsiteX367" fmla="*/ 150763 w 370771"/>
                  <a:gd name="connsiteY367" fmla="*/ 256676 h 313950"/>
                  <a:gd name="connsiteX368" fmla="*/ 153339 w 370771"/>
                  <a:gd name="connsiteY368" fmla="*/ 255615 h 313950"/>
                  <a:gd name="connsiteX369" fmla="*/ 156066 w 370771"/>
                  <a:gd name="connsiteY369" fmla="*/ 256524 h 313950"/>
                  <a:gd name="connsiteX370" fmla="*/ 157430 w 370771"/>
                  <a:gd name="connsiteY370" fmla="*/ 256676 h 313950"/>
                  <a:gd name="connsiteX371" fmla="*/ 158036 w 370771"/>
                  <a:gd name="connsiteY371" fmla="*/ 257282 h 313950"/>
                  <a:gd name="connsiteX372" fmla="*/ 158794 w 370771"/>
                  <a:gd name="connsiteY372" fmla="*/ 259403 h 313950"/>
                  <a:gd name="connsiteX373" fmla="*/ 159703 w 370771"/>
                  <a:gd name="connsiteY373" fmla="*/ 259706 h 313950"/>
                  <a:gd name="connsiteX374" fmla="*/ 161067 w 370771"/>
                  <a:gd name="connsiteY374" fmla="*/ 260616 h 313950"/>
                  <a:gd name="connsiteX375" fmla="*/ 163642 w 370771"/>
                  <a:gd name="connsiteY375" fmla="*/ 262888 h 313950"/>
                  <a:gd name="connsiteX376" fmla="*/ 165764 w 370771"/>
                  <a:gd name="connsiteY376" fmla="*/ 265313 h 313950"/>
                  <a:gd name="connsiteX377" fmla="*/ 167431 w 370771"/>
                  <a:gd name="connsiteY377" fmla="*/ 266525 h 313950"/>
                  <a:gd name="connsiteX378" fmla="*/ 168643 w 370771"/>
                  <a:gd name="connsiteY378" fmla="*/ 267586 h 313950"/>
                  <a:gd name="connsiteX379" fmla="*/ 168946 w 370771"/>
                  <a:gd name="connsiteY379" fmla="*/ 269101 h 313950"/>
                  <a:gd name="connsiteX380" fmla="*/ 168491 w 370771"/>
                  <a:gd name="connsiteY380" fmla="*/ 270616 h 313950"/>
                  <a:gd name="connsiteX381" fmla="*/ 169855 w 370771"/>
                  <a:gd name="connsiteY381" fmla="*/ 274253 h 313950"/>
                  <a:gd name="connsiteX382" fmla="*/ 170764 w 370771"/>
                  <a:gd name="connsiteY382" fmla="*/ 275313 h 313950"/>
                  <a:gd name="connsiteX383" fmla="*/ 171219 w 370771"/>
                  <a:gd name="connsiteY383" fmla="*/ 276677 h 313950"/>
                  <a:gd name="connsiteX384" fmla="*/ 170764 w 370771"/>
                  <a:gd name="connsiteY384" fmla="*/ 278041 h 313950"/>
                  <a:gd name="connsiteX385" fmla="*/ 171976 w 370771"/>
                  <a:gd name="connsiteY385" fmla="*/ 279707 h 313950"/>
                  <a:gd name="connsiteX386" fmla="*/ 173188 w 370771"/>
                  <a:gd name="connsiteY386" fmla="*/ 282889 h 313950"/>
                  <a:gd name="connsiteX387" fmla="*/ 174703 w 370771"/>
                  <a:gd name="connsiteY387" fmla="*/ 286829 h 313950"/>
                  <a:gd name="connsiteX388" fmla="*/ 174855 w 370771"/>
                  <a:gd name="connsiteY388" fmla="*/ 288950 h 313950"/>
                  <a:gd name="connsiteX389" fmla="*/ 175461 w 370771"/>
                  <a:gd name="connsiteY389" fmla="*/ 290011 h 313950"/>
                  <a:gd name="connsiteX390" fmla="*/ 176219 w 370771"/>
                  <a:gd name="connsiteY390" fmla="*/ 292890 h 313950"/>
                  <a:gd name="connsiteX391" fmla="*/ 177431 w 370771"/>
                  <a:gd name="connsiteY391" fmla="*/ 295617 h 313950"/>
                  <a:gd name="connsiteX392" fmla="*/ 177128 w 370771"/>
                  <a:gd name="connsiteY392" fmla="*/ 297435 h 313950"/>
                  <a:gd name="connsiteX393" fmla="*/ 177734 w 370771"/>
                  <a:gd name="connsiteY393" fmla="*/ 299253 h 313950"/>
                  <a:gd name="connsiteX394" fmla="*/ 184704 w 370771"/>
                  <a:gd name="connsiteY394" fmla="*/ 305466 h 313950"/>
                  <a:gd name="connsiteX395" fmla="*/ 189856 w 370771"/>
                  <a:gd name="connsiteY395" fmla="*/ 310163 h 313950"/>
                  <a:gd name="connsiteX396" fmla="*/ 192128 w 370771"/>
                  <a:gd name="connsiteY396" fmla="*/ 311678 h 313950"/>
                  <a:gd name="connsiteX397" fmla="*/ 193341 w 370771"/>
                  <a:gd name="connsiteY397" fmla="*/ 312133 h 313950"/>
                  <a:gd name="connsiteX398" fmla="*/ 196371 w 370771"/>
                  <a:gd name="connsiteY398" fmla="*/ 311830 h 313950"/>
                  <a:gd name="connsiteX399" fmla="*/ 200007 w 370771"/>
                  <a:gd name="connsiteY399" fmla="*/ 311223 h 313950"/>
                  <a:gd name="connsiteX400" fmla="*/ 201674 w 370771"/>
                  <a:gd name="connsiteY400" fmla="*/ 310617 h 313950"/>
                  <a:gd name="connsiteX401" fmla="*/ 203644 w 370771"/>
                  <a:gd name="connsiteY401" fmla="*/ 309102 h 313950"/>
                  <a:gd name="connsiteX402" fmla="*/ 206826 w 370771"/>
                  <a:gd name="connsiteY402" fmla="*/ 307132 h 313950"/>
                  <a:gd name="connsiteX403" fmla="*/ 209402 w 370771"/>
                  <a:gd name="connsiteY403" fmla="*/ 306072 h 313950"/>
                  <a:gd name="connsiteX404" fmla="*/ 210462 w 370771"/>
                  <a:gd name="connsiteY404" fmla="*/ 305920 h 313950"/>
                  <a:gd name="connsiteX405" fmla="*/ 211523 w 370771"/>
                  <a:gd name="connsiteY405" fmla="*/ 306223 h 313950"/>
                  <a:gd name="connsiteX406" fmla="*/ 213644 w 370771"/>
                  <a:gd name="connsiteY406" fmla="*/ 307435 h 313950"/>
                  <a:gd name="connsiteX407" fmla="*/ 214857 w 370771"/>
                  <a:gd name="connsiteY407" fmla="*/ 309708 h 313950"/>
                  <a:gd name="connsiteX408" fmla="*/ 213796 w 370771"/>
                  <a:gd name="connsiteY408" fmla="*/ 312284 h 313950"/>
                  <a:gd name="connsiteX409" fmla="*/ 213947 w 370771"/>
                  <a:gd name="connsiteY409" fmla="*/ 313951 h 313950"/>
                  <a:gd name="connsiteX410" fmla="*/ 216220 w 370771"/>
                  <a:gd name="connsiteY410" fmla="*/ 313799 h 313950"/>
                  <a:gd name="connsiteX411" fmla="*/ 218038 w 370771"/>
                  <a:gd name="connsiteY411" fmla="*/ 311072 h 313950"/>
                  <a:gd name="connsiteX412" fmla="*/ 219251 w 370771"/>
                  <a:gd name="connsiteY412" fmla="*/ 308951 h 313950"/>
                  <a:gd name="connsiteX413" fmla="*/ 221826 w 370771"/>
                  <a:gd name="connsiteY413" fmla="*/ 307284 h 313950"/>
                  <a:gd name="connsiteX414" fmla="*/ 224402 w 370771"/>
                  <a:gd name="connsiteY414" fmla="*/ 304860 h 313950"/>
                  <a:gd name="connsiteX415" fmla="*/ 226221 w 370771"/>
                  <a:gd name="connsiteY415" fmla="*/ 302587 h 313950"/>
                  <a:gd name="connsiteX416" fmla="*/ 228342 w 370771"/>
                  <a:gd name="connsiteY416" fmla="*/ 301223 h 313950"/>
                  <a:gd name="connsiteX417" fmla="*/ 231524 w 370771"/>
                  <a:gd name="connsiteY417" fmla="*/ 299556 h 313950"/>
                  <a:gd name="connsiteX418" fmla="*/ 234100 w 370771"/>
                  <a:gd name="connsiteY418" fmla="*/ 298496 h 313950"/>
                  <a:gd name="connsiteX419" fmla="*/ 236524 w 370771"/>
                  <a:gd name="connsiteY419" fmla="*/ 298647 h 313950"/>
                  <a:gd name="connsiteX420" fmla="*/ 238342 w 370771"/>
                  <a:gd name="connsiteY420" fmla="*/ 297587 h 313950"/>
                  <a:gd name="connsiteX421" fmla="*/ 240615 w 370771"/>
                  <a:gd name="connsiteY421" fmla="*/ 295465 h 313950"/>
                  <a:gd name="connsiteX422" fmla="*/ 242130 w 370771"/>
                  <a:gd name="connsiteY422" fmla="*/ 293799 h 313950"/>
                  <a:gd name="connsiteX423" fmla="*/ 243191 w 370771"/>
                  <a:gd name="connsiteY423" fmla="*/ 293193 h 313950"/>
                  <a:gd name="connsiteX424" fmla="*/ 245464 w 370771"/>
                  <a:gd name="connsiteY424" fmla="*/ 293344 h 313950"/>
                  <a:gd name="connsiteX425" fmla="*/ 248191 w 370771"/>
                  <a:gd name="connsiteY425" fmla="*/ 293041 h 313950"/>
                  <a:gd name="connsiteX426" fmla="*/ 250918 w 370771"/>
                  <a:gd name="connsiteY426" fmla="*/ 291071 h 313950"/>
                  <a:gd name="connsiteX427" fmla="*/ 253343 w 370771"/>
                  <a:gd name="connsiteY427" fmla="*/ 288647 h 313950"/>
                  <a:gd name="connsiteX428" fmla="*/ 254706 w 370771"/>
                  <a:gd name="connsiteY428" fmla="*/ 284556 h 313950"/>
                  <a:gd name="connsiteX429" fmla="*/ 255616 w 370771"/>
                  <a:gd name="connsiteY429" fmla="*/ 280919 h 313950"/>
                  <a:gd name="connsiteX430" fmla="*/ 256373 w 370771"/>
                  <a:gd name="connsiteY430" fmla="*/ 280162 h 313950"/>
                  <a:gd name="connsiteX431" fmla="*/ 257282 w 370771"/>
                  <a:gd name="connsiteY431" fmla="*/ 279556 h 313950"/>
                  <a:gd name="connsiteX432" fmla="*/ 258343 w 370771"/>
                  <a:gd name="connsiteY432" fmla="*/ 279101 h 313950"/>
                  <a:gd name="connsiteX433" fmla="*/ 260919 w 370771"/>
                  <a:gd name="connsiteY433" fmla="*/ 278798 h 313950"/>
                  <a:gd name="connsiteX434" fmla="*/ 265313 w 370771"/>
                  <a:gd name="connsiteY434" fmla="*/ 276828 h 313950"/>
                  <a:gd name="connsiteX435" fmla="*/ 268343 w 370771"/>
                  <a:gd name="connsiteY435" fmla="*/ 274859 h 313950"/>
                  <a:gd name="connsiteX436" fmla="*/ 271222 w 370771"/>
                  <a:gd name="connsiteY436" fmla="*/ 274404 h 313950"/>
                  <a:gd name="connsiteX437" fmla="*/ 272131 w 370771"/>
                  <a:gd name="connsiteY437" fmla="*/ 273798 h 313950"/>
                  <a:gd name="connsiteX438" fmla="*/ 273192 w 370771"/>
                  <a:gd name="connsiteY438" fmla="*/ 271980 h 313950"/>
                  <a:gd name="connsiteX439" fmla="*/ 273646 w 370771"/>
                  <a:gd name="connsiteY439" fmla="*/ 268798 h 313950"/>
                  <a:gd name="connsiteX440" fmla="*/ 273192 w 370771"/>
                  <a:gd name="connsiteY440" fmla="*/ 266828 h 313950"/>
                  <a:gd name="connsiteX441" fmla="*/ 267889 w 370771"/>
                  <a:gd name="connsiteY441" fmla="*/ 266222 h 313950"/>
                  <a:gd name="connsiteX442" fmla="*/ 264404 w 370771"/>
                  <a:gd name="connsiteY442" fmla="*/ 266222 h 313950"/>
                  <a:gd name="connsiteX443" fmla="*/ 258646 w 370771"/>
                  <a:gd name="connsiteY443" fmla="*/ 265767 h 313950"/>
                  <a:gd name="connsiteX444" fmla="*/ 255919 w 370771"/>
                  <a:gd name="connsiteY444" fmla="*/ 265010 h 313950"/>
                  <a:gd name="connsiteX445" fmla="*/ 255313 w 370771"/>
                  <a:gd name="connsiteY445" fmla="*/ 264404 h 313950"/>
                  <a:gd name="connsiteX446" fmla="*/ 255313 w 370771"/>
                  <a:gd name="connsiteY446" fmla="*/ 263798 h 313950"/>
                  <a:gd name="connsiteX447" fmla="*/ 255919 w 370771"/>
                  <a:gd name="connsiteY447" fmla="*/ 262434 h 313950"/>
                  <a:gd name="connsiteX448" fmla="*/ 256525 w 370771"/>
                  <a:gd name="connsiteY448" fmla="*/ 259858 h 313950"/>
                  <a:gd name="connsiteX449" fmla="*/ 255767 w 370771"/>
                  <a:gd name="connsiteY449" fmla="*/ 256373 h 313950"/>
                  <a:gd name="connsiteX450" fmla="*/ 252888 w 370771"/>
                  <a:gd name="connsiteY450" fmla="*/ 250767 h 313950"/>
                  <a:gd name="connsiteX451" fmla="*/ 250767 w 370771"/>
                  <a:gd name="connsiteY451" fmla="*/ 245312 h 313950"/>
                  <a:gd name="connsiteX452" fmla="*/ 250464 w 370771"/>
                  <a:gd name="connsiteY452" fmla="*/ 241524 h 313950"/>
                  <a:gd name="connsiteX453" fmla="*/ 250464 w 370771"/>
                  <a:gd name="connsiteY453" fmla="*/ 237584 h 313950"/>
                  <a:gd name="connsiteX454" fmla="*/ 250615 w 370771"/>
                  <a:gd name="connsiteY454" fmla="*/ 235008 h 313950"/>
                  <a:gd name="connsiteX455" fmla="*/ 249100 w 370771"/>
                  <a:gd name="connsiteY455" fmla="*/ 232887 h 313950"/>
                  <a:gd name="connsiteX456" fmla="*/ 241070 w 370771"/>
                  <a:gd name="connsiteY456" fmla="*/ 226372 h 313950"/>
                  <a:gd name="connsiteX457" fmla="*/ 238342 w 370771"/>
                  <a:gd name="connsiteY457" fmla="*/ 223342 h 313950"/>
                  <a:gd name="connsiteX458" fmla="*/ 237433 w 370771"/>
                  <a:gd name="connsiteY458" fmla="*/ 221220 h 313950"/>
                  <a:gd name="connsiteX459" fmla="*/ 234251 w 370771"/>
                  <a:gd name="connsiteY459" fmla="*/ 217281 h 313950"/>
                  <a:gd name="connsiteX460" fmla="*/ 235009 w 370771"/>
                  <a:gd name="connsiteY460" fmla="*/ 216068 h 313950"/>
                  <a:gd name="connsiteX461" fmla="*/ 236827 w 370771"/>
                  <a:gd name="connsiteY461" fmla="*/ 216068 h 313950"/>
                  <a:gd name="connsiteX462" fmla="*/ 238342 w 370771"/>
                  <a:gd name="connsiteY462" fmla="*/ 217129 h 313950"/>
                  <a:gd name="connsiteX463" fmla="*/ 239706 w 370771"/>
                  <a:gd name="connsiteY463" fmla="*/ 219250 h 313950"/>
                  <a:gd name="connsiteX464" fmla="*/ 240767 w 370771"/>
                  <a:gd name="connsiteY464" fmla="*/ 219705 h 313950"/>
                  <a:gd name="connsiteX465" fmla="*/ 242130 w 370771"/>
                  <a:gd name="connsiteY465" fmla="*/ 219705 h 313950"/>
                  <a:gd name="connsiteX466" fmla="*/ 249555 w 370771"/>
                  <a:gd name="connsiteY466" fmla="*/ 219705 h 313950"/>
                  <a:gd name="connsiteX467" fmla="*/ 251221 w 370771"/>
                  <a:gd name="connsiteY467" fmla="*/ 220008 h 313950"/>
                  <a:gd name="connsiteX468" fmla="*/ 252282 w 370771"/>
                  <a:gd name="connsiteY468" fmla="*/ 220766 h 313950"/>
                  <a:gd name="connsiteX469" fmla="*/ 253191 w 370771"/>
                  <a:gd name="connsiteY469" fmla="*/ 221675 h 313950"/>
                  <a:gd name="connsiteX470" fmla="*/ 254555 w 370771"/>
                  <a:gd name="connsiteY470" fmla="*/ 224251 h 313950"/>
                  <a:gd name="connsiteX471" fmla="*/ 255919 w 370771"/>
                  <a:gd name="connsiteY471" fmla="*/ 225463 h 313950"/>
                  <a:gd name="connsiteX472" fmla="*/ 258798 w 370771"/>
                  <a:gd name="connsiteY472" fmla="*/ 225463 h 313950"/>
                  <a:gd name="connsiteX473" fmla="*/ 263343 w 370771"/>
                  <a:gd name="connsiteY473" fmla="*/ 225463 h 313950"/>
                  <a:gd name="connsiteX474" fmla="*/ 265919 w 370771"/>
                  <a:gd name="connsiteY474" fmla="*/ 225311 h 313950"/>
                  <a:gd name="connsiteX475" fmla="*/ 267434 w 370771"/>
                  <a:gd name="connsiteY475" fmla="*/ 226069 h 313950"/>
                  <a:gd name="connsiteX476" fmla="*/ 269404 w 370771"/>
                  <a:gd name="connsiteY476" fmla="*/ 226675 h 313950"/>
                  <a:gd name="connsiteX477" fmla="*/ 273495 w 370771"/>
                  <a:gd name="connsiteY477" fmla="*/ 225311 h 313950"/>
                  <a:gd name="connsiteX478" fmla="*/ 274556 w 370771"/>
                  <a:gd name="connsiteY478" fmla="*/ 225311 h 313950"/>
                  <a:gd name="connsiteX479" fmla="*/ 275768 w 370771"/>
                  <a:gd name="connsiteY479" fmla="*/ 225917 h 313950"/>
                  <a:gd name="connsiteX480" fmla="*/ 280162 w 370771"/>
                  <a:gd name="connsiteY480" fmla="*/ 230463 h 313950"/>
                  <a:gd name="connsiteX481" fmla="*/ 282586 w 370771"/>
                  <a:gd name="connsiteY481" fmla="*/ 232433 h 313950"/>
                  <a:gd name="connsiteX482" fmla="*/ 284708 w 370771"/>
                  <a:gd name="connsiteY482" fmla="*/ 235008 h 313950"/>
                  <a:gd name="connsiteX483" fmla="*/ 287738 w 370771"/>
                  <a:gd name="connsiteY483" fmla="*/ 235008 h 313950"/>
                  <a:gd name="connsiteX484" fmla="*/ 290314 w 370771"/>
                  <a:gd name="connsiteY484" fmla="*/ 232887 h 313950"/>
                  <a:gd name="connsiteX485" fmla="*/ 290920 w 370771"/>
                  <a:gd name="connsiteY485" fmla="*/ 225614 h 313950"/>
                  <a:gd name="connsiteX486" fmla="*/ 291677 w 370771"/>
                  <a:gd name="connsiteY486" fmla="*/ 223493 h 313950"/>
                  <a:gd name="connsiteX487" fmla="*/ 292890 w 370771"/>
                  <a:gd name="connsiteY487" fmla="*/ 222887 h 313950"/>
                  <a:gd name="connsiteX488" fmla="*/ 294405 w 370771"/>
                  <a:gd name="connsiteY488" fmla="*/ 222887 h 313950"/>
                  <a:gd name="connsiteX489" fmla="*/ 296223 w 370771"/>
                  <a:gd name="connsiteY489" fmla="*/ 221675 h 313950"/>
                  <a:gd name="connsiteX490" fmla="*/ 298193 w 370771"/>
                  <a:gd name="connsiteY490" fmla="*/ 220160 h 313950"/>
                  <a:gd name="connsiteX491" fmla="*/ 299860 w 370771"/>
                  <a:gd name="connsiteY491" fmla="*/ 219705 h 313950"/>
                  <a:gd name="connsiteX492" fmla="*/ 306981 w 370771"/>
                  <a:gd name="connsiteY492" fmla="*/ 221220 h 313950"/>
                  <a:gd name="connsiteX493" fmla="*/ 308951 w 370771"/>
                  <a:gd name="connsiteY493" fmla="*/ 220463 h 313950"/>
                  <a:gd name="connsiteX494" fmla="*/ 316072 w 370771"/>
                  <a:gd name="connsiteY494" fmla="*/ 218493 h 313950"/>
                  <a:gd name="connsiteX495" fmla="*/ 323345 w 370771"/>
                  <a:gd name="connsiteY495" fmla="*/ 216068 h 313950"/>
                  <a:gd name="connsiteX496" fmla="*/ 325467 w 370771"/>
                  <a:gd name="connsiteY496" fmla="*/ 212887 h 313950"/>
                  <a:gd name="connsiteX497" fmla="*/ 328497 w 370771"/>
                  <a:gd name="connsiteY497" fmla="*/ 211978 h 313950"/>
                  <a:gd name="connsiteX498" fmla="*/ 330921 w 370771"/>
                  <a:gd name="connsiteY498" fmla="*/ 209705 h 313950"/>
                  <a:gd name="connsiteX499" fmla="*/ 332891 w 370771"/>
                  <a:gd name="connsiteY499" fmla="*/ 210008 h 313950"/>
                  <a:gd name="connsiteX500" fmla="*/ 335770 w 370771"/>
                  <a:gd name="connsiteY500" fmla="*/ 210159 h 313950"/>
                  <a:gd name="connsiteX501" fmla="*/ 337588 w 370771"/>
                  <a:gd name="connsiteY501" fmla="*/ 209705 h 313950"/>
                  <a:gd name="connsiteX502" fmla="*/ 338497 w 370771"/>
                  <a:gd name="connsiteY502" fmla="*/ 209250 h 313950"/>
                  <a:gd name="connsiteX503" fmla="*/ 339558 w 370771"/>
                  <a:gd name="connsiteY503" fmla="*/ 208190 h 313950"/>
                  <a:gd name="connsiteX504" fmla="*/ 341225 w 370771"/>
                  <a:gd name="connsiteY504" fmla="*/ 205159 h 313950"/>
                  <a:gd name="connsiteX505" fmla="*/ 343195 w 370771"/>
                  <a:gd name="connsiteY505" fmla="*/ 203947 h 313950"/>
                  <a:gd name="connsiteX506" fmla="*/ 345771 w 370771"/>
                  <a:gd name="connsiteY506" fmla="*/ 202735 h 313950"/>
                  <a:gd name="connsiteX507" fmla="*/ 347437 w 370771"/>
                  <a:gd name="connsiteY507" fmla="*/ 201219 h 313950"/>
                  <a:gd name="connsiteX508" fmla="*/ 348801 w 370771"/>
                  <a:gd name="connsiteY508" fmla="*/ 199401 h 313950"/>
                  <a:gd name="connsiteX509" fmla="*/ 349407 w 370771"/>
                  <a:gd name="connsiteY509" fmla="*/ 197886 h 313950"/>
                  <a:gd name="connsiteX510" fmla="*/ 349407 w 370771"/>
                  <a:gd name="connsiteY510" fmla="*/ 196674 h 313950"/>
                  <a:gd name="connsiteX511" fmla="*/ 348498 w 370771"/>
                  <a:gd name="connsiteY511" fmla="*/ 194249 h 313950"/>
                  <a:gd name="connsiteX512" fmla="*/ 347437 w 370771"/>
                  <a:gd name="connsiteY512" fmla="*/ 191977 h 313950"/>
                  <a:gd name="connsiteX513" fmla="*/ 346377 w 370771"/>
                  <a:gd name="connsiteY513" fmla="*/ 191219 h 313950"/>
                  <a:gd name="connsiteX514" fmla="*/ 345619 w 370771"/>
                  <a:gd name="connsiteY514" fmla="*/ 190916 h 313950"/>
                  <a:gd name="connsiteX515" fmla="*/ 339861 w 370771"/>
                  <a:gd name="connsiteY515" fmla="*/ 184552 h 313950"/>
                  <a:gd name="connsiteX516" fmla="*/ 333952 w 370771"/>
                  <a:gd name="connsiteY516" fmla="*/ 178037 h 313950"/>
                  <a:gd name="connsiteX517" fmla="*/ 328194 w 370771"/>
                  <a:gd name="connsiteY517" fmla="*/ 171673 h 313950"/>
                  <a:gd name="connsiteX518" fmla="*/ 327740 w 370771"/>
                  <a:gd name="connsiteY518" fmla="*/ 170764 h 313950"/>
                  <a:gd name="connsiteX519" fmla="*/ 330164 w 370771"/>
                  <a:gd name="connsiteY519" fmla="*/ 167733 h 313950"/>
                  <a:gd name="connsiteX520" fmla="*/ 332285 w 370771"/>
                  <a:gd name="connsiteY520" fmla="*/ 165612 h 313950"/>
                  <a:gd name="connsiteX521" fmla="*/ 334103 w 370771"/>
                  <a:gd name="connsiteY521" fmla="*/ 164400 h 313950"/>
                  <a:gd name="connsiteX522" fmla="*/ 335012 w 370771"/>
                  <a:gd name="connsiteY522" fmla="*/ 163339 h 313950"/>
                  <a:gd name="connsiteX523" fmla="*/ 334406 w 370771"/>
                  <a:gd name="connsiteY523" fmla="*/ 158642 h 313950"/>
                  <a:gd name="connsiteX524" fmla="*/ 334406 w 370771"/>
                  <a:gd name="connsiteY524" fmla="*/ 156975 h 313950"/>
                  <a:gd name="connsiteX525" fmla="*/ 333497 w 370771"/>
                  <a:gd name="connsiteY525" fmla="*/ 155157 h 313950"/>
                  <a:gd name="connsiteX526" fmla="*/ 332891 w 370771"/>
                  <a:gd name="connsiteY526" fmla="*/ 153036 h 313950"/>
                  <a:gd name="connsiteX527" fmla="*/ 333649 w 370771"/>
                  <a:gd name="connsiteY527" fmla="*/ 151369 h 313950"/>
                  <a:gd name="connsiteX528" fmla="*/ 334558 w 370771"/>
                  <a:gd name="connsiteY528" fmla="*/ 150157 h 313950"/>
                  <a:gd name="connsiteX529" fmla="*/ 335619 w 370771"/>
                  <a:gd name="connsiteY529" fmla="*/ 149703 h 313950"/>
                  <a:gd name="connsiteX530" fmla="*/ 338346 w 370771"/>
                  <a:gd name="connsiteY530" fmla="*/ 149248 h 313950"/>
                  <a:gd name="connsiteX531" fmla="*/ 340164 w 370771"/>
                  <a:gd name="connsiteY531" fmla="*/ 149096 h 313950"/>
                  <a:gd name="connsiteX532" fmla="*/ 340770 w 370771"/>
                  <a:gd name="connsiteY532" fmla="*/ 148339 h 313950"/>
                  <a:gd name="connsiteX533" fmla="*/ 341831 w 370771"/>
                  <a:gd name="connsiteY533" fmla="*/ 147581 h 313950"/>
                  <a:gd name="connsiteX534" fmla="*/ 343195 w 370771"/>
                  <a:gd name="connsiteY534" fmla="*/ 147581 h 313950"/>
                  <a:gd name="connsiteX535" fmla="*/ 346073 w 370771"/>
                  <a:gd name="connsiteY535" fmla="*/ 148187 h 313950"/>
                  <a:gd name="connsiteX536" fmla="*/ 347286 w 370771"/>
                  <a:gd name="connsiteY536" fmla="*/ 147127 h 313950"/>
                  <a:gd name="connsiteX537" fmla="*/ 349559 w 370771"/>
                  <a:gd name="connsiteY537" fmla="*/ 145763 h 313950"/>
                  <a:gd name="connsiteX538" fmla="*/ 354710 w 370771"/>
                  <a:gd name="connsiteY538" fmla="*/ 143339 h 313950"/>
                  <a:gd name="connsiteX539" fmla="*/ 355922 w 370771"/>
                  <a:gd name="connsiteY539" fmla="*/ 141823 h 313950"/>
                  <a:gd name="connsiteX540" fmla="*/ 356680 w 370771"/>
                  <a:gd name="connsiteY540" fmla="*/ 139399 h 313950"/>
                  <a:gd name="connsiteX541" fmla="*/ 356528 w 370771"/>
                  <a:gd name="connsiteY541" fmla="*/ 138187 h 313950"/>
                  <a:gd name="connsiteX542" fmla="*/ 355922 w 370771"/>
                  <a:gd name="connsiteY542" fmla="*/ 137732 h 313950"/>
                  <a:gd name="connsiteX543" fmla="*/ 354559 w 370771"/>
                  <a:gd name="connsiteY543" fmla="*/ 137278 h 313950"/>
                  <a:gd name="connsiteX544" fmla="*/ 352589 w 370771"/>
                  <a:gd name="connsiteY544" fmla="*/ 137278 h 313950"/>
                  <a:gd name="connsiteX545" fmla="*/ 350922 w 370771"/>
                  <a:gd name="connsiteY545" fmla="*/ 137884 h 313950"/>
                  <a:gd name="connsiteX546" fmla="*/ 349255 w 370771"/>
                  <a:gd name="connsiteY546" fmla="*/ 137581 h 313950"/>
                  <a:gd name="connsiteX547" fmla="*/ 347892 w 370771"/>
                  <a:gd name="connsiteY547" fmla="*/ 136066 h 313950"/>
                  <a:gd name="connsiteX548" fmla="*/ 347740 w 370771"/>
                  <a:gd name="connsiteY548" fmla="*/ 134853 h 313950"/>
                  <a:gd name="connsiteX549" fmla="*/ 348498 w 370771"/>
                  <a:gd name="connsiteY549" fmla="*/ 133035 h 313950"/>
                  <a:gd name="connsiteX550" fmla="*/ 348043 w 370771"/>
                  <a:gd name="connsiteY550" fmla="*/ 131823 h 313950"/>
                  <a:gd name="connsiteX551" fmla="*/ 345467 w 370771"/>
                  <a:gd name="connsiteY551" fmla="*/ 128187 h 313950"/>
                  <a:gd name="connsiteX552" fmla="*/ 345467 w 370771"/>
                  <a:gd name="connsiteY552" fmla="*/ 127126 h 313950"/>
                  <a:gd name="connsiteX553" fmla="*/ 347286 w 370771"/>
                  <a:gd name="connsiteY553" fmla="*/ 125459 h 313950"/>
                  <a:gd name="connsiteX554" fmla="*/ 348346 w 370771"/>
                  <a:gd name="connsiteY554" fmla="*/ 124095 h 313950"/>
                  <a:gd name="connsiteX555" fmla="*/ 349861 w 370771"/>
                  <a:gd name="connsiteY555" fmla="*/ 120762 h 313950"/>
                  <a:gd name="connsiteX556" fmla="*/ 351074 w 370771"/>
                  <a:gd name="connsiteY556" fmla="*/ 119701 h 313950"/>
                  <a:gd name="connsiteX557" fmla="*/ 354710 w 370771"/>
                  <a:gd name="connsiteY557" fmla="*/ 119247 h 313950"/>
                  <a:gd name="connsiteX558" fmla="*/ 355619 w 370771"/>
                  <a:gd name="connsiteY558" fmla="*/ 118489 h 313950"/>
                  <a:gd name="connsiteX559" fmla="*/ 357437 w 370771"/>
                  <a:gd name="connsiteY559" fmla="*/ 116671 h 313950"/>
                  <a:gd name="connsiteX560" fmla="*/ 360165 w 370771"/>
                  <a:gd name="connsiteY560" fmla="*/ 114701 h 313950"/>
                  <a:gd name="connsiteX561" fmla="*/ 364104 w 370771"/>
                  <a:gd name="connsiteY561" fmla="*/ 113035 h 313950"/>
                  <a:gd name="connsiteX562" fmla="*/ 365317 w 370771"/>
                  <a:gd name="connsiteY562" fmla="*/ 110004 h 313950"/>
                  <a:gd name="connsiteX563" fmla="*/ 366074 w 370771"/>
                  <a:gd name="connsiteY563" fmla="*/ 109247 h 313950"/>
                  <a:gd name="connsiteX564" fmla="*/ 369256 w 370771"/>
                  <a:gd name="connsiteY564" fmla="*/ 107731 h 313950"/>
                  <a:gd name="connsiteX565" fmla="*/ 369862 w 370771"/>
                  <a:gd name="connsiteY565" fmla="*/ 106822 h 313950"/>
                  <a:gd name="connsiteX566" fmla="*/ 370771 w 370771"/>
                  <a:gd name="connsiteY566" fmla="*/ 107125 h 31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Lst>
                <a:rect l="l" t="t" r="r" b="b"/>
                <a:pathLst>
                  <a:path w="370771" h="313950">
                    <a:moveTo>
                      <a:pt x="250767" y="34850"/>
                    </a:moveTo>
                    <a:lnTo>
                      <a:pt x="252282" y="34395"/>
                    </a:lnTo>
                    <a:lnTo>
                      <a:pt x="253949" y="35910"/>
                    </a:lnTo>
                    <a:lnTo>
                      <a:pt x="255161" y="36365"/>
                    </a:lnTo>
                    <a:lnTo>
                      <a:pt x="256828" y="36517"/>
                    </a:lnTo>
                    <a:lnTo>
                      <a:pt x="258949" y="36365"/>
                    </a:lnTo>
                    <a:lnTo>
                      <a:pt x="261373" y="33941"/>
                    </a:lnTo>
                    <a:lnTo>
                      <a:pt x="261676" y="33335"/>
                    </a:lnTo>
                    <a:lnTo>
                      <a:pt x="260767" y="29698"/>
                    </a:lnTo>
                    <a:lnTo>
                      <a:pt x="259555" y="28637"/>
                    </a:lnTo>
                    <a:lnTo>
                      <a:pt x="256373" y="31365"/>
                    </a:lnTo>
                    <a:lnTo>
                      <a:pt x="255767" y="33183"/>
                    </a:lnTo>
                    <a:lnTo>
                      <a:pt x="253494" y="33031"/>
                    </a:lnTo>
                    <a:lnTo>
                      <a:pt x="251525" y="31971"/>
                    </a:lnTo>
                    <a:lnTo>
                      <a:pt x="250767" y="30759"/>
                    </a:lnTo>
                    <a:lnTo>
                      <a:pt x="249706" y="30910"/>
                    </a:lnTo>
                    <a:lnTo>
                      <a:pt x="246979" y="31668"/>
                    </a:lnTo>
                    <a:lnTo>
                      <a:pt x="245464" y="33638"/>
                    </a:lnTo>
                    <a:lnTo>
                      <a:pt x="246524" y="34244"/>
                    </a:lnTo>
                    <a:lnTo>
                      <a:pt x="250767" y="34850"/>
                    </a:lnTo>
                    <a:close/>
                    <a:moveTo>
                      <a:pt x="341073" y="86215"/>
                    </a:moveTo>
                    <a:lnTo>
                      <a:pt x="340316" y="86670"/>
                    </a:lnTo>
                    <a:lnTo>
                      <a:pt x="337437" y="88943"/>
                    </a:lnTo>
                    <a:lnTo>
                      <a:pt x="336982" y="89700"/>
                    </a:lnTo>
                    <a:lnTo>
                      <a:pt x="337285" y="92428"/>
                    </a:lnTo>
                    <a:lnTo>
                      <a:pt x="338952" y="91821"/>
                    </a:lnTo>
                    <a:lnTo>
                      <a:pt x="341225" y="90912"/>
                    </a:lnTo>
                    <a:lnTo>
                      <a:pt x="342740" y="89549"/>
                    </a:lnTo>
                    <a:lnTo>
                      <a:pt x="343043" y="88337"/>
                    </a:lnTo>
                    <a:lnTo>
                      <a:pt x="341679" y="87276"/>
                    </a:lnTo>
                    <a:lnTo>
                      <a:pt x="341831" y="86670"/>
                    </a:lnTo>
                    <a:lnTo>
                      <a:pt x="341073" y="86215"/>
                    </a:lnTo>
                    <a:close/>
                    <a:moveTo>
                      <a:pt x="343043" y="82882"/>
                    </a:moveTo>
                    <a:lnTo>
                      <a:pt x="341376" y="83185"/>
                    </a:lnTo>
                    <a:lnTo>
                      <a:pt x="340467" y="84397"/>
                    </a:lnTo>
                    <a:lnTo>
                      <a:pt x="340467" y="85155"/>
                    </a:lnTo>
                    <a:lnTo>
                      <a:pt x="343801" y="84245"/>
                    </a:lnTo>
                    <a:lnTo>
                      <a:pt x="344710" y="83185"/>
                    </a:lnTo>
                    <a:lnTo>
                      <a:pt x="346225" y="82427"/>
                    </a:lnTo>
                    <a:lnTo>
                      <a:pt x="345619" y="82124"/>
                    </a:lnTo>
                    <a:lnTo>
                      <a:pt x="345013" y="82124"/>
                    </a:lnTo>
                    <a:lnTo>
                      <a:pt x="343952" y="82427"/>
                    </a:lnTo>
                    <a:lnTo>
                      <a:pt x="343043" y="82882"/>
                    </a:lnTo>
                    <a:close/>
                    <a:moveTo>
                      <a:pt x="221978" y="36517"/>
                    </a:moveTo>
                    <a:lnTo>
                      <a:pt x="223493" y="35910"/>
                    </a:lnTo>
                    <a:lnTo>
                      <a:pt x="223039" y="35304"/>
                    </a:lnTo>
                    <a:lnTo>
                      <a:pt x="220917" y="34092"/>
                    </a:lnTo>
                    <a:lnTo>
                      <a:pt x="218645" y="34092"/>
                    </a:lnTo>
                    <a:lnTo>
                      <a:pt x="217736" y="35153"/>
                    </a:lnTo>
                    <a:lnTo>
                      <a:pt x="219099" y="36062"/>
                    </a:lnTo>
                    <a:lnTo>
                      <a:pt x="221978" y="36517"/>
                    </a:lnTo>
                    <a:close/>
                    <a:moveTo>
                      <a:pt x="370771" y="107125"/>
                    </a:moveTo>
                    <a:lnTo>
                      <a:pt x="365620" y="100458"/>
                    </a:lnTo>
                    <a:lnTo>
                      <a:pt x="361529" y="98640"/>
                    </a:lnTo>
                    <a:lnTo>
                      <a:pt x="356831" y="98337"/>
                    </a:lnTo>
                    <a:lnTo>
                      <a:pt x="355013" y="98792"/>
                    </a:lnTo>
                    <a:lnTo>
                      <a:pt x="352892" y="100458"/>
                    </a:lnTo>
                    <a:lnTo>
                      <a:pt x="344104" y="99246"/>
                    </a:lnTo>
                    <a:lnTo>
                      <a:pt x="342285" y="99549"/>
                    </a:lnTo>
                    <a:lnTo>
                      <a:pt x="337588" y="101822"/>
                    </a:lnTo>
                    <a:lnTo>
                      <a:pt x="333346" y="101973"/>
                    </a:lnTo>
                    <a:lnTo>
                      <a:pt x="330315" y="104095"/>
                    </a:lnTo>
                    <a:lnTo>
                      <a:pt x="326527" y="101367"/>
                    </a:lnTo>
                    <a:lnTo>
                      <a:pt x="324255" y="100307"/>
                    </a:lnTo>
                    <a:lnTo>
                      <a:pt x="321679" y="98943"/>
                    </a:lnTo>
                    <a:lnTo>
                      <a:pt x="331831" y="98792"/>
                    </a:lnTo>
                    <a:lnTo>
                      <a:pt x="333800" y="95306"/>
                    </a:lnTo>
                    <a:lnTo>
                      <a:pt x="335316" y="92125"/>
                    </a:lnTo>
                    <a:lnTo>
                      <a:pt x="335922" y="89397"/>
                    </a:lnTo>
                    <a:lnTo>
                      <a:pt x="336073" y="88791"/>
                    </a:lnTo>
                    <a:lnTo>
                      <a:pt x="337134" y="86821"/>
                    </a:lnTo>
                    <a:lnTo>
                      <a:pt x="337134" y="85155"/>
                    </a:lnTo>
                    <a:lnTo>
                      <a:pt x="337891" y="83488"/>
                    </a:lnTo>
                    <a:lnTo>
                      <a:pt x="339255" y="81821"/>
                    </a:lnTo>
                    <a:lnTo>
                      <a:pt x="342740" y="80457"/>
                    </a:lnTo>
                    <a:lnTo>
                      <a:pt x="344104" y="77730"/>
                    </a:lnTo>
                    <a:lnTo>
                      <a:pt x="341831" y="75154"/>
                    </a:lnTo>
                    <a:lnTo>
                      <a:pt x="338043" y="72275"/>
                    </a:lnTo>
                    <a:lnTo>
                      <a:pt x="331982" y="71215"/>
                    </a:lnTo>
                    <a:lnTo>
                      <a:pt x="329861" y="70306"/>
                    </a:lnTo>
                    <a:lnTo>
                      <a:pt x="324255" y="64396"/>
                    </a:lnTo>
                    <a:lnTo>
                      <a:pt x="322133" y="63033"/>
                    </a:lnTo>
                    <a:lnTo>
                      <a:pt x="321073" y="65154"/>
                    </a:lnTo>
                    <a:lnTo>
                      <a:pt x="317285" y="65154"/>
                    </a:lnTo>
                    <a:lnTo>
                      <a:pt x="317436" y="66821"/>
                    </a:lnTo>
                    <a:lnTo>
                      <a:pt x="318194" y="68184"/>
                    </a:lnTo>
                    <a:lnTo>
                      <a:pt x="318042" y="70154"/>
                    </a:lnTo>
                    <a:lnTo>
                      <a:pt x="317436" y="68942"/>
                    </a:lnTo>
                    <a:lnTo>
                      <a:pt x="316224" y="68184"/>
                    </a:lnTo>
                    <a:lnTo>
                      <a:pt x="315466" y="67427"/>
                    </a:lnTo>
                    <a:lnTo>
                      <a:pt x="315315" y="66063"/>
                    </a:lnTo>
                    <a:lnTo>
                      <a:pt x="313345" y="63639"/>
                    </a:lnTo>
                    <a:lnTo>
                      <a:pt x="310466" y="61366"/>
                    </a:lnTo>
                    <a:lnTo>
                      <a:pt x="308799" y="60760"/>
                    </a:lnTo>
                    <a:lnTo>
                      <a:pt x="307587" y="60457"/>
                    </a:lnTo>
                    <a:lnTo>
                      <a:pt x="306678" y="60608"/>
                    </a:lnTo>
                    <a:lnTo>
                      <a:pt x="306830" y="61366"/>
                    </a:lnTo>
                    <a:lnTo>
                      <a:pt x="306224" y="63336"/>
                    </a:lnTo>
                    <a:lnTo>
                      <a:pt x="306678" y="64851"/>
                    </a:lnTo>
                    <a:lnTo>
                      <a:pt x="306224" y="64699"/>
                    </a:lnTo>
                    <a:lnTo>
                      <a:pt x="305769" y="64245"/>
                    </a:lnTo>
                    <a:lnTo>
                      <a:pt x="304860" y="63184"/>
                    </a:lnTo>
                    <a:lnTo>
                      <a:pt x="303951" y="65002"/>
                    </a:lnTo>
                    <a:lnTo>
                      <a:pt x="303345" y="65760"/>
                    </a:lnTo>
                    <a:lnTo>
                      <a:pt x="302890" y="65912"/>
                    </a:lnTo>
                    <a:lnTo>
                      <a:pt x="302284" y="66063"/>
                    </a:lnTo>
                    <a:lnTo>
                      <a:pt x="300011" y="62275"/>
                    </a:lnTo>
                    <a:lnTo>
                      <a:pt x="296829" y="55154"/>
                    </a:lnTo>
                    <a:lnTo>
                      <a:pt x="295920" y="54548"/>
                    </a:lnTo>
                    <a:lnTo>
                      <a:pt x="294556" y="54093"/>
                    </a:lnTo>
                    <a:lnTo>
                      <a:pt x="294405" y="55608"/>
                    </a:lnTo>
                    <a:lnTo>
                      <a:pt x="294556" y="56820"/>
                    </a:lnTo>
                    <a:lnTo>
                      <a:pt x="293193" y="58032"/>
                    </a:lnTo>
                    <a:lnTo>
                      <a:pt x="290768" y="58487"/>
                    </a:lnTo>
                    <a:lnTo>
                      <a:pt x="291981" y="57275"/>
                    </a:lnTo>
                    <a:lnTo>
                      <a:pt x="292890" y="54548"/>
                    </a:lnTo>
                    <a:lnTo>
                      <a:pt x="292284" y="51971"/>
                    </a:lnTo>
                    <a:lnTo>
                      <a:pt x="291677" y="50760"/>
                    </a:lnTo>
                    <a:lnTo>
                      <a:pt x="289556" y="48941"/>
                    </a:lnTo>
                    <a:lnTo>
                      <a:pt x="288647" y="48941"/>
                    </a:lnTo>
                    <a:lnTo>
                      <a:pt x="287889" y="48487"/>
                    </a:lnTo>
                    <a:lnTo>
                      <a:pt x="287889" y="46062"/>
                    </a:lnTo>
                    <a:lnTo>
                      <a:pt x="285920" y="45456"/>
                    </a:lnTo>
                    <a:lnTo>
                      <a:pt x="291981" y="44547"/>
                    </a:lnTo>
                    <a:lnTo>
                      <a:pt x="300617" y="45002"/>
                    </a:lnTo>
                    <a:lnTo>
                      <a:pt x="304708" y="42577"/>
                    </a:lnTo>
                    <a:lnTo>
                      <a:pt x="310012" y="42274"/>
                    </a:lnTo>
                    <a:lnTo>
                      <a:pt x="313193" y="41214"/>
                    </a:lnTo>
                    <a:lnTo>
                      <a:pt x="314406" y="39547"/>
                    </a:lnTo>
                    <a:lnTo>
                      <a:pt x="304405" y="40759"/>
                    </a:lnTo>
                    <a:lnTo>
                      <a:pt x="291829" y="39395"/>
                    </a:lnTo>
                    <a:lnTo>
                      <a:pt x="285162" y="40607"/>
                    </a:lnTo>
                    <a:lnTo>
                      <a:pt x="282738" y="40305"/>
                    </a:lnTo>
                    <a:lnTo>
                      <a:pt x="278495" y="40607"/>
                    </a:lnTo>
                    <a:lnTo>
                      <a:pt x="270162" y="42426"/>
                    </a:lnTo>
                    <a:lnTo>
                      <a:pt x="259858" y="41820"/>
                    </a:lnTo>
                    <a:lnTo>
                      <a:pt x="250918" y="42729"/>
                    </a:lnTo>
                    <a:lnTo>
                      <a:pt x="248343" y="42729"/>
                    </a:lnTo>
                    <a:lnTo>
                      <a:pt x="249706" y="45305"/>
                    </a:lnTo>
                    <a:lnTo>
                      <a:pt x="252131" y="44244"/>
                    </a:lnTo>
                    <a:lnTo>
                      <a:pt x="260161" y="44850"/>
                    </a:lnTo>
                    <a:lnTo>
                      <a:pt x="263798" y="46365"/>
                    </a:lnTo>
                    <a:lnTo>
                      <a:pt x="262434" y="47274"/>
                    </a:lnTo>
                    <a:lnTo>
                      <a:pt x="260919" y="47881"/>
                    </a:lnTo>
                    <a:lnTo>
                      <a:pt x="251221" y="47577"/>
                    </a:lnTo>
                    <a:lnTo>
                      <a:pt x="233039" y="57426"/>
                    </a:lnTo>
                    <a:lnTo>
                      <a:pt x="230463" y="57578"/>
                    </a:lnTo>
                    <a:lnTo>
                      <a:pt x="228342" y="58032"/>
                    </a:lnTo>
                    <a:lnTo>
                      <a:pt x="225463" y="58184"/>
                    </a:lnTo>
                    <a:lnTo>
                      <a:pt x="220311" y="56820"/>
                    </a:lnTo>
                    <a:lnTo>
                      <a:pt x="215614" y="55760"/>
                    </a:lnTo>
                    <a:lnTo>
                      <a:pt x="211069" y="53790"/>
                    </a:lnTo>
                    <a:lnTo>
                      <a:pt x="205765" y="53032"/>
                    </a:lnTo>
                    <a:lnTo>
                      <a:pt x="199250" y="47123"/>
                    </a:lnTo>
                    <a:lnTo>
                      <a:pt x="199250" y="45911"/>
                    </a:lnTo>
                    <a:lnTo>
                      <a:pt x="198947" y="44395"/>
                    </a:lnTo>
                    <a:lnTo>
                      <a:pt x="195007" y="42880"/>
                    </a:lnTo>
                    <a:lnTo>
                      <a:pt x="174703" y="43486"/>
                    </a:lnTo>
                    <a:lnTo>
                      <a:pt x="170764" y="44547"/>
                    </a:lnTo>
                    <a:lnTo>
                      <a:pt x="158491" y="45759"/>
                    </a:lnTo>
                    <a:lnTo>
                      <a:pt x="150612" y="47123"/>
                    </a:lnTo>
                    <a:lnTo>
                      <a:pt x="143339" y="46517"/>
                    </a:lnTo>
                    <a:lnTo>
                      <a:pt x="140763" y="44395"/>
                    </a:lnTo>
                    <a:lnTo>
                      <a:pt x="139096" y="41062"/>
                    </a:lnTo>
                    <a:lnTo>
                      <a:pt x="138339" y="37729"/>
                    </a:lnTo>
                    <a:lnTo>
                      <a:pt x="139854" y="35759"/>
                    </a:lnTo>
                    <a:lnTo>
                      <a:pt x="138339" y="33789"/>
                    </a:lnTo>
                    <a:lnTo>
                      <a:pt x="137884" y="30910"/>
                    </a:lnTo>
                    <a:lnTo>
                      <a:pt x="136369" y="27880"/>
                    </a:lnTo>
                    <a:lnTo>
                      <a:pt x="130459" y="23789"/>
                    </a:lnTo>
                    <a:lnTo>
                      <a:pt x="124702" y="20455"/>
                    </a:lnTo>
                    <a:lnTo>
                      <a:pt x="118489" y="19698"/>
                    </a:lnTo>
                    <a:lnTo>
                      <a:pt x="113641" y="18182"/>
                    </a:lnTo>
                    <a:lnTo>
                      <a:pt x="105610" y="18637"/>
                    </a:lnTo>
                    <a:lnTo>
                      <a:pt x="104398" y="19092"/>
                    </a:lnTo>
                    <a:lnTo>
                      <a:pt x="102731" y="19243"/>
                    </a:lnTo>
                    <a:lnTo>
                      <a:pt x="100458" y="16970"/>
                    </a:lnTo>
                    <a:lnTo>
                      <a:pt x="99095" y="13940"/>
                    </a:lnTo>
                    <a:lnTo>
                      <a:pt x="97731" y="9546"/>
                    </a:lnTo>
                    <a:lnTo>
                      <a:pt x="97125" y="5152"/>
                    </a:lnTo>
                    <a:lnTo>
                      <a:pt x="96367" y="3485"/>
                    </a:lnTo>
                    <a:lnTo>
                      <a:pt x="94852" y="1818"/>
                    </a:lnTo>
                    <a:lnTo>
                      <a:pt x="92428" y="0"/>
                    </a:lnTo>
                    <a:lnTo>
                      <a:pt x="89246" y="1212"/>
                    </a:lnTo>
                    <a:lnTo>
                      <a:pt x="86973" y="2273"/>
                    </a:lnTo>
                    <a:lnTo>
                      <a:pt x="85761" y="4849"/>
                    </a:lnTo>
                    <a:lnTo>
                      <a:pt x="84700" y="8031"/>
                    </a:lnTo>
                    <a:lnTo>
                      <a:pt x="86518" y="12273"/>
                    </a:lnTo>
                    <a:lnTo>
                      <a:pt x="86518" y="13637"/>
                    </a:lnTo>
                    <a:lnTo>
                      <a:pt x="87276" y="15152"/>
                    </a:lnTo>
                    <a:lnTo>
                      <a:pt x="95004" y="13788"/>
                    </a:lnTo>
                    <a:lnTo>
                      <a:pt x="97579" y="13788"/>
                    </a:lnTo>
                    <a:lnTo>
                      <a:pt x="98792" y="17425"/>
                    </a:lnTo>
                    <a:lnTo>
                      <a:pt x="97883" y="19243"/>
                    </a:lnTo>
                    <a:lnTo>
                      <a:pt x="95610" y="20001"/>
                    </a:lnTo>
                    <a:lnTo>
                      <a:pt x="91216" y="17576"/>
                    </a:lnTo>
                    <a:lnTo>
                      <a:pt x="89852" y="17879"/>
                    </a:lnTo>
                    <a:lnTo>
                      <a:pt x="88185" y="20455"/>
                    </a:lnTo>
                    <a:lnTo>
                      <a:pt x="86215" y="21970"/>
                    </a:lnTo>
                    <a:lnTo>
                      <a:pt x="77579" y="25001"/>
                    </a:lnTo>
                    <a:lnTo>
                      <a:pt x="70003" y="26516"/>
                    </a:lnTo>
                    <a:lnTo>
                      <a:pt x="57881" y="32274"/>
                    </a:lnTo>
                    <a:lnTo>
                      <a:pt x="52275" y="33183"/>
                    </a:lnTo>
                    <a:lnTo>
                      <a:pt x="52578" y="36668"/>
                    </a:lnTo>
                    <a:lnTo>
                      <a:pt x="50305" y="38183"/>
                    </a:lnTo>
                    <a:lnTo>
                      <a:pt x="51063" y="42426"/>
                    </a:lnTo>
                    <a:lnTo>
                      <a:pt x="51669" y="44850"/>
                    </a:lnTo>
                    <a:lnTo>
                      <a:pt x="52578" y="46668"/>
                    </a:lnTo>
                    <a:lnTo>
                      <a:pt x="54699" y="52275"/>
                    </a:lnTo>
                    <a:lnTo>
                      <a:pt x="58032" y="55608"/>
                    </a:lnTo>
                    <a:lnTo>
                      <a:pt x="59548" y="59093"/>
                    </a:lnTo>
                    <a:lnTo>
                      <a:pt x="63033" y="64093"/>
                    </a:lnTo>
                    <a:lnTo>
                      <a:pt x="63790" y="67578"/>
                    </a:lnTo>
                    <a:lnTo>
                      <a:pt x="63033" y="72881"/>
                    </a:lnTo>
                    <a:lnTo>
                      <a:pt x="62881" y="77276"/>
                    </a:lnTo>
                    <a:lnTo>
                      <a:pt x="59548" y="80761"/>
                    </a:lnTo>
                    <a:lnTo>
                      <a:pt x="58487" y="82427"/>
                    </a:lnTo>
                    <a:lnTo>
                      <a:pt x="56972" y="83336"/>
                    </a:lnTo>
                    <a:lnTo>
                      <a:pt x="50456" y="85458"/>
                    </a:lnTo>
                    <a:lnTo>
                      <a:pt x="48184" y="85458"/>
                    </a:lnTo>
                    <a:lnTo>
                      <a:pt x="46365" y="84852"/>
                    </a:lnTo>
                    <a:lnTo>
                      <a:pt x="44850" y="83185"/>
                    </a:lnTo>
                    <a:lnTo>
                      <a:pt x="43789" y="80003"/>
                    </a:lnTo>
                    <a:lnTo>
                      <a:pt x="44396" y="77579"/>
                    </a:lnTo>
                    <a:lnTo>
                      <a:pt x="43184" y="76215"/>
                    </a:lnTo>
                    <a:lnTo>
                      <a:pt x="41365" y="75154"/>
                    </a:lnTo>
                    <a:lnTo>
                      <a:pt x="38486" y="71669"/>
                    </a:lnTo>
                    <a:lnTo>
                      <a:pt x="38032" y="69245"/>
                    </a:lnTo>
                    <a:lnTo>
                      <a:pt x="34698" y="64396"/>
                    </a:lnTo>
                    <a:lnTo>
                      <a:pt x="38941" y="56366"/>
                    </a:lnTo>
                    <a:lnTo>
                      <a:pt x="40911" y="54699"/>
                    </a:lnTo>
                    <a:lnTo>
                      <a:pt x="43335" y="50608"/>
                    </a:lnTo>
                    <a:lnTo>
                      <a:pt x="46820" y="47123"/>
                    </a:lnTo>
                    <a:lnTo>
                      <a:pt x="48790" y="41214"/>
                    </a:lnTo>
                    <a:lnTo>
                      <a:pt x="48638" y="39395"/>
                    </a:lnTo>
                    <a:lnTo>
                      <a:pt x="46062" y="36365"/>
                    </a:lnTo>
                    <a:lnTo>
                      <a:pt x="45002" y="31971"/>
                    </a:lnTo>
                    <a:lnTo>
                      <a:pt x="46517" y="31971"/>
                    </a:lnTo>
                    <a:lnTo>
                      <a:pt x="47426" y="31516"/>
                    </a:lnTo>
                    <a:lnTo>
                      <a:pt x="43335" y="28183"/>
                    </a:lnTo>
                    <a:lnTo>
                      <a:pt x="42123" y="26668"/>
                    </a:lnTo>
                    <a:lnTo>
                      <a:pt x="39092" y="20455"/>
                    </a:lnTo>
                    <a:lnTo>
                      <a:pt x="38789" y="18637"/>
                    </a:lnTo>
                    <a:lnTo>
                      <a:pt x="38789" y="16213"/>
                    </a:lnTo>
                    <a:lnTo>
                      <a:pt x="40153" y="15152"/>
                    </a:lnTo>
                    <a:lnTo>
                      <a:pt x="41214" y="14546"/>
                    </a:lnTo>
                    <a:lnTo>
                      <a:pt x="51669" y="11970"/>
                    </a:lnTo>
                    <a:lnTo>
                      <a:pt x="53638" y="10910"/>
                    </a:lnTo>
                    <a:lnTo>
                      <a:pt x="55457" y="9243"/>
                    </a:lnTo>
                    <a:lnTo>
                      <a:pt x="56214" y="7879"/>
                    </a:lnTo>
                    <a:lnTo>
                      <a:pt x="55305" y="8182"/>
                    </a:lnTo>
                    <a:lnTo>
                      <a:pt x="54093" y="8940"/>
                    </a:lnTo>
                    <a:lnTo>
                      <a:pt x="50305" y="10303"/>
                    </a:lnTo>
                    <a:lnTo>
                      <a:pt x="45305" y="11667"/>
                    </a:lnTo>
                    <a:lnTo>
                      <a:pt x="38789" y="13334"/>
                    </a:lnTo>
                    <a:lnTo>
                      <a:pt x="37274" y="15152"/>
                    </a:lnTo>
                    <a:lnTo>
                      <a:pt x="30759" y="26365"/>
                    </a:lnTo>
                    <a:lnTo>
                      <a:pt x="25304" y="28637"/>
                    </a:lnTo>
                    <a:lnTo>
                      <a:pt x="23334" y="30304"/>
                    </a:lnTo>
                    <a:lnTo>
                      <a:pt x="21819" y="32425"/>
                    </a:lnTo>
                    <a:lnTo>
                      <a:pt x="18637" y="36365"/>
                    </a:lnTo>
                    <a:lnTo>
                      <a:pt x="17273" y="39395"/>
                    </a:lnTo>
                    <a:lnTo>
                      <a:pt x="13637" y="45911"/>
                    </a:lnTo>
                    <a:lnTo>
                      <a:pt x="11667" y="54093"/>
                    </a:lnTo>
                    <a:lnTo>
                      <a:pt x="10910" y="58638"/>
                    </a:lnTo>
                    <a:lnTo>
                      <a:pt x="9849" y="65305"/>
                    </a:lnTo>
                    <a:lnTo>
                      <a:pt x="8334" y="68639"/>
                    </a:lnTo>
                    <a:lnTo>
                      <a:pt x="6212" y="71821"/>
                    </a:lnTo>
                    <a:lnTo>
                      <a:pt x="3940" y="74851"/>
                    </a:lnTo>
                    <a:lnTo>
                      <a:pt x="1970" y="78185"/>
                    </a:lnTo>
                    <a:lnTo>
                      <a:pt x="303" y="80761"/>
                    </a:lnTo>
                    <a:lnTo>
                      <a:pt x="0" y="81670"/>
                    </a:lnTo>
                    <a:lnTo>
                      <a:pt x="758" y="82427"/>
                    </a:lnTo>
                    <a:lnTo>
                      <a:pt x="4697" y="81670"/>
                    </a:lnTo>
                    <a:lnTo>
                      <a:pt x="6212" y="80912"/>
                    </a:lnTo>
                    <a:lnTo>
                      <a:pt x="8334" y="79851"/>
                    </a:lnTo>
                    <a:lnTo>
                      <a:pt x="9697" y="80457"/>
                    </a:lnTo>
                    <a:lnTo>
                      <a:pt x="11061" y="83336"/>
                    </a:lnTo>
                    <a:lnTo>
                      <a:pt x="12576" y="83639"/>
                    </a:lnTo>
                    <a:lnTo>
                      <a:pt x="13940" y="83336"/>
                    </a:lnTo>
                    <a:lnTo>
                      <a:pt x="15455" y="84094"/>
                    </a:lnTo>
                    <a:lnTo>
                      <a:pt x="17425" y="91216"/>
                    </a:lnTo>
                    <a:lnTo>
                      <a:pt x="19092" y="97276"/>
                    </a:lnTo>
                    <a:lnTo>
                      <a:pt x="22880" y="101064"/>
                    </a:lnTo>
                    <a:lnTo>
                      <a:pt x="25910" y="103943"/>
                    </a:lnTo>
                    <a:lnTo>
                      <a:pt x="26668" y="106519"/>
                    </a:lnTo>
                    <a:lnTo>
                      <a:pt x="27425" y="110156"/>
                    </a:lnTo>
                    <a:lnTo>
                      <a:pt x="27577" y="111974"/>
                    </a:lnTo>
                    <a:lnTo>
                      <a:pt x="26668" y="113035"/>
                    </a:lnTo>
                    <a:lnTo>
                      <a:pt x="25153" y="115307"/>
                    </a:lnTo>
                    <a:lnTo>
                      <a:pt x="24849" y="119550"/>
                    </a:lnTo>
                    <a:lnTo>
                      <a:pt x="24547" y="120913"/>
                    </a:lnTo>
                    <a:lnTo>
                      <a:pt x="24243" y="124853"/>
                    </a:lnTo>
                    <a:lnTo>
                      <a:pt x="24395" y="127277"/>
                    </a:lnTo>
                    <a:lnTo>
                      <a:pt x="25153" y="129247"/>
                    </a:lnTo>
                    <a:lnTo>
                      <a:pt x="26516" y="130308"/>
                    </a:lnTo>
                    <a:lnTo>
                      <a:pt x="29244" y="130914"/>
                    </a:lnTo>
                    <a:lnTo>
                      <a:pt x="31668" y="131520"/>
                    </a:lnTo>
                    <a:lnTo>
                      <a:pt x="33032" y="134853"/>
                    </a:lnTo>
                    <a:lnTo>
                      <a:pt x="35001" y="139096"/>
                    </a:lnTo>
                    <a:lnTo>
                      <a:pt x="37123" y="140914"/>
                    </a:lnTo>
                    <a:lnTo>
                      <a:pt x="40305" y="142126"/>
                    </a:lnTo>
                    <a:lnTo>
                      <a:pt x="42577" y="141672"/>
                    </a:lnTo>
                    <a:lnTo>
                      <a:pt x="47729" y="140914"/>
                    </a:lnTo>
                    <a:lnTo>
                      <a:pt x="52275" y="141066"/>
                    </a:lnTo>
                    <a:lnTo>
                      <a:pt x="58790" y="142126"/>
                    </a:lnTo>
                    <a:lnTo>
                      <a:pt x="61215" y="142126"/>
                    </a:lnTo>
                    <a:lnTo>
                      <a:pt x="64396" y="141975"/>
                    </a:lnTo>
                    <a:lnTo>
                      <a:pt x="70003" y="139702"/>
                    </a:lnTo>
                    <a:lnTo>
                      <a:pt x="71972" y="139399"/>
                    </a:lnTo>
                    <a:lnTo>
                      <a:pt x="74245" y="139551"/>
                    </a:lnTo>
                    <a:lnTo>
                      <a:pt x="77579" y="140763"/>
                    </a:lnTo>
                    <a:lnTo>
                      <a:pt x="79397" y="141672"/>
                    </a:lnTo>
                    <a:lnTo>
                      <a:pt x="81670" y="142581"/>
                    </a:lnTo>
                    <a:lnTo>
                      <a:pt x="85003" y="143187"/>
                    </a:lnTo>
                    <a:lnTo>
                      <a:pt x="87124" y="143036"/>
                    </a:lnTo>
                    <a:lnTo>
                      <a:pt x="88791" y="143036"/>
                    </a:lnTo>
                    <a:lnTo>
                      <a:pt x="89700" y="143490"/>
                    </a:lnTo>
                    <a:lnTo>
                      <a:pt x="94852" y="150005"/>
                    </a:lnTo>
                    <a:lnTo>
                      <a:pt x="99398" y="155612"/>
                    </a:lnTo>
                    <a:lnTo>
                      <a:pt x="103337" y="160309"/>
                    </a:lnTo>
                    <a:lnTo>
                      <a:pt x="107580" y="165461"/>
                    </a:lnTo>
                    <a:lnTo>
                      <a:pt x="107883" y="165764"/>
                    </a:lnTo>
                    <a:lnTo>
                      <a:pt x="109853" y="165157"/>
                    </a:lnTo>
                    <a:lnTo>
                      <a:pt x="111065" y="165461"/>
                    </a:lnTo>
                    <a:lnTo>
                      <a:pt x="112277" y="166521"/>
                    </a:lnTo>
                    <a:lnTo>
                      <a:pt x="114247" y="166067"/>
                    </a:lnTo>
                    <a:lnTo>
                      <a:pt x="117125" y="164248"/>
                    </a:lnTo>
                    <a:lnTo>
                      <a:pt x="121368" y="163945"/>
                    </a:lnTo>
                    <a:lnTo>
                      <a:pt x="126823" y="165006"/>
                    </a:lnTo>
                    <a:lnTo>
                      <a:pt x="134096" y="165006"/>
                    </a:lnTo>
                    <a:lnTo>
                      <a:pt x="143036" y="163945"/>
                    </a:lnTo>
                    <a:lnTo>
                      <a:pt x="148642" y="162733"/>
                    </a:lnTo>
                    <a:lnTo>
                      <a:pt x="150763" y="161369"/>
                    </a:lnTo>
                    <a:lnTo>
                      <a:pt x="154400" y="161521"/>
                    </a:lnTo>
                    <a:lnTo>
                      <a:pt x="158794" y="162733"/>
                    </a:lnTo>
                    <a:lnTo>
                      <a:pt x="161218" y="164400"/>
                    </a:lnTo>
                    <a:lnTo>
                      <a:pt x="161521" y="166067"/>
                    </a:lnTo>
                    <a:lnTo>
                      <a:pt x="162430" y="168643"/>
                    </a:lnTo>
                    <a:lnTo>
                      <a:pt x="161521" y="171218"/>
                    </a:lnTo>
                    <a:lnTo>
                      <a:pt x="158794" y="173794"/>
                    </a:lnTo>
                    <a:lnTo>
                      <a:pt x="157279" y="177128"/>
                    </a:lnTo>
                    <a:lnTo>
                      <a:pt x="156976" y="181219"/>
                    </a:lnTo>
                    <a:lnTo>
                      <a:pt x="155612" y="184249"/>
                    </a:lnTo>
                    <a:lnTo>
                      <a:pt x="153036" y="186219"/>
                    </a:lnTo>
                    <a:lnTo>
                      <a:pt x="151975" y="189098"/>
                    </a:lnTo>
                    <a:lnTo>
                      <a:pt x="152582" y="192886"/>
                    </a:lnTo>
                    <a:lnTo>
                      <a:pt x="152278" y="198341"/>
                    </a:lnTo>
                    <a:lnTo>
                      <a:pt x="151218" y="205613"/>
                    </a:lnTo>
                    <a:lnTo>
                      <a:pt x="151218" y="210008"/>
                    </a:lnTo>
                    <a:lnTo>
                      <a:pt x="152278" y="211371"/>
                    </a:lnTo>
                    <a:lnTo>
                      <a:pt x="152733" y="213341"/>
                    </a:lnTo>
                    <a:lnTo>
                      <a:pt x="152582" y="215917"/>
                    </a:lnTo>
                    <a:lnTo>
                      <a:pt x="153036" y="218190"/>
                    </a:lnTo>
                    <a:lnTo>
                      <a:pt x="154400" y="221220"/>
                    </a:lnTo>
                    <a:lnTo>
                      <a:pt x="156370" y="227281"/>
                    </a:lnTo>
                    <a:lnTo>
                      <a:pt x="158036" y="229857"/>
                    </a:lnTo>
                    <a:lnTo>
                      <a:pt x="159400" y="230766"/>
                    </a:lnTo>
                    <a:lnTo>
                      <a:pt x="160764" y="231978"/>
                    </a:lnTo>
                    <a:lnTo>
                      <a:pt x="164855" y="238191"/>
                    </a:lnTo>
                    <a:lnTo>
                      <a:pt x="165915" y="239554"/>
                    </a:lnTo>
                    <a:lnTo>
                      <a:pt x="165612" y="240766"/>
                    </a:lnTo>
                    <a:lnTo>
                      <a:pt x="165158" y="241675"/>
                    </a:lnTo>
                    <a:lnTo>
                      <a:pt x="164703" y="242282"/>
                    </a:lnTo>
                    <a:lnTo>
                      <a:pt x="160309" y="245918"/>
                    </a:lnTo>
                    <a:lnTo>
                      <a:pt x="151521" y="253949"/>
                    </a:lnTo>
                    <a:lnTo>
                      <a:pt x="150763" y="255009"/>
                    </a:lnTo>
                    <a:lnTo>
                      <a:pt x="150763" y="256676"/>
                    </a:lnTo>
                    <a:lnTo>
                      <a:pt x="153339" y="255615"/>
                    </a:lnTo>
                    <a:lnTo>
                      <a:pt x="156066" y="256524"/>
                    </a:lnTo>
                    <a:lnTo>
                      <a:pt x="157430" y="256676"/>
                    </a:lnTo>
                    <a:lnTo>
                      <a:pt x="158036" y="257282"/>
                    </a:lnTo>
                    <a:lnTo>
                      <a:pt x="158794" y="259403"/>
                    </a:lnTo>
                    <a:lnTo>
                      <a:pt x="159703" y="259706"/>
                    </a:lnTo>
                    <a:lnTo>
                      <a:pt x="161067" y="260616"/>
                    </a:lnTo>
                    <a:lnTo>
                      <a:pt x="163642" y="262888"/>
                    </a:lnTo>
                    <a:lnTo>
                      <a:pt x="165764" y="265313"/>
                    </a:lnTo>
                    <a:lnTo>
                      <a:pt x="167431" y="266525"/>
                    </a:lnTo>
                    <a:lnTo>
                      <a:pt x="168643" y="267586"/>
                    </a:lnTo>
                    <a:lnTo>
                      <a:pt x="168946" y="269101"/>
                    </a:lnTo>
                    <a:lnTo>
                      <a:pt x="168491" y="270616"/>
                    </a:lnTo>
                    <a:lnTo>
                      <a:pt x="169855" y="274253"/>
                    </a:lnTo>
                    <a:lnTo>
                      <a:pt x="170764" y="275313"/>
                    </a:lnTo>
                    <a:lnTo>
                      <a:pt x="171219" y="276677"/>
                    </a:lnTo>
                    <a:lnTo>
                      <a:pt x="170764" y="278041"/>
                    </a:lnTo>
                    <a:lnTo>
                      <a:pt x="171976" y="279707"/>
                    </a:lnTo>
                    <a:lnTo>
                      <a:pt x="173188" y="282889"/>
                    </a:lnTo>
                    <a:lnTo>
                      <a:pt x="174703" y="286829"/>
                    </a:lnTo>
                    <a:lnTo>
                      <a:pt x="174855" y="288950"/>
                    </a:lnTo>
                    <a:lnTo>
                      <a:pt x="175461" y="290011"/>
                    </a:lnTo>
                    <a:lnTo>
                      <a:pt x="176219" y="292890"/>
                    </a:lnTo>
                    <a:lnTo>
                      <a:pt x="177431" y="295617"/>
                    </a:lnTo>
                    <a:lnTo>
                      <a:pt x="177128" y="297435"/>
                    </a:lnTo>
                    <a:lnTo>
                      <a:pt x="177734" y="299253"/>
                    </a:lnTo>
                    <a:lnTo>
                      <a:pt x="184704" y="305466"/>
                    </a:lnTo>
                    <a:lnTo>
                      <a:pt x="189856" y="310163"/>
                    </a:lnTo>
                    <a:lnTo>
                      <a:pt x="192128" y="311678"/>
                    </a:lnTo>
                    <a:lnTo>
                      <a:pt x="193341" y="312133"/>
                    </a:lnTo>
                    <a:lnTo>
                      <a:pt x="196371" y="311830"/>
                    </a:lnTo>
                    <a:lnTo>
                      <a:pt x="200007" y="311223"/>
                    </a:lnTo>
                    <a:lnTo>
                      <a:pt x="201674" y="310617"/>
                    </a:lnTo>
                    <a:lnTo>
                      <a:pt x="203644" y="309102"/>
                    </a:lnTo>
                    <a:lnTo>
                      <a:pt x="206826" y="307132"/>
                    </a:lnTo>
                    <a:lnTo>
                      <a:pt x="209402" y="306072"/>
                    </a:lnTo>
                    <a:lnTo>
                      <a:pt x="210462" y="305920"/>
                    </a:lnTo>
                    <a:lnTo>
                      <a:pt x="211523" y="306223"/>
                    </a:lnTo>
                    <a:lnTo>
                      <a:pt x="213644" y="307435"/>
                    </a:lnTo>
                    <a:lnTo>
                      <a:pt x="214857" y="309708"/>
                    </a:lnTo>
                    <a:lnTo>
                      <a:pt x="213796" y="312284"/>
                    </a:lnTo>
                    <a:lnTo>
                      <a:pt x="213947" y="313951"/>
                    </a:lnTo>
                    <a:lnTo>
                      <a:pt x="216220" y="313799"/>
                    </a:lnTo>
                    <a:lnTo>
                      <a:pt x="218038" y="311072"/>
                    </a:lnTo>
                    <a:lnTo>
                      <a:pt x="219251" y="308951"/>
                    </a:lnTo>
                    <a:lnTo>
                      <a:pt x="221826" y="307284"/>
                    </a:lnTo>
                    <a:lnTo>
                      <a:pt x="224402" y="304860"/>
                    </a:lnTo>
                    <a:lnTo>
                      <a:pt x="226221" y="302587"/>
                    </a:lnTo>
                    <a:lnTo>
                      <a:pt x="228342" y="301223"/>
                    </a:lnTo>
                    <a:lnTo>
                      <a:pt x="231524" y="299556"/>
                    </a:lnTo>
                    <a:lnTo>
                      <a:pt x="234100" y="298496"/>
                    </a:lnTo>
                    <a:lnTo>
                      <a:pt x="236524" y="298647"/>
                    </a:lnTo>
                    <a:lnTo>
                      <a:pt x="238342" y="297587"/>
                    </a:lnTo>
                    <a:lnTo>
                      <a:pt x="240615" y="295465"/>
                    </a:lnTo>
                    <a:lnTo>
                      <a:pt x="242130" y="293799"/>
                    </a:lnTo>
                    <a:lnTo>
                      <a:pt x="243191" y="293193"/>
                    </a:lnTo>
                    <a:lnTo>
                      <a:pt x="245464" y="293344"/>
                    </a:lnTo>
                    <a:lnTo>
                      <a:pt x="248191" y="293041"/>
                    </a:lnTo>
                    <a:lnTo>
                      <a:pt x="250918" y="291071"/>
                    </a:lnTo>
                    <a:lnTo>
                      <a:pt x="253343" y="288647"/>
                    </a:lnTo>
                    <a:lnTo>
                      <a:pt x="254706" y="284556"/>
                    </a:lnTo>
                    <a:lnTo>
                      <a:pt x="255616" y="280919"/>
                    </a:lnTo>
                    <a:lnTo>
                      <a:pt x="256373" y="280162"/>
                    </a:lnTo>
                    <a:lnTo>
                      <a:pt x="257282" y="279556"/>
                    </a:lnTo>
                    <a:lnTo>
                      <a:pt x="258343" y="279101"/>
                    </a:lnTo>
                    <a:lnTo>
                      <a:pt x="260919" y="278798"/>
                    </a:lnTo>
                    <a:lnTo>
                      <a:pt x="265313" y="276828"/>
                    </a:lnTo>
                    <a:lnTo>
                      <a:pt x="268343" y="274859"/>
                    </a:lnTo>
                    <a:lnTo>
                      <a:pt x="271222" y="274404"/>
                    </a:lnTo>
                    <a:lnTo>
                      <a:pt x="272131" y="273798"/>
                    </a:lnTo>
                    <a:lnTo>
                      <a:pt x="273192" y="271980"/>
                    </a:lnTo>
                    <a:lnTo>
                      <a:pt x="273646" y="268798"/>
                    </a:lnTo>
                    <a:lnTo>
                      <a:pt x="273192" y="266828"/>
                    </a:lnTo>
                    <a:lnTo>
                      <a:pt x="267889" y="266222"/>
                    </a:lnTo>
                    <a:lnTo>
                      <a:pt x="264404" y="266222"/>
                    </a:lnTo>
                    <a:lnTo>
                      <a:pt x="258646" y="265767"/>
                    </a:lnTo>
                    <a:lnTo>
                      <a:pt x="255919" y="265010"/>
                    </a:lnTo>
                    <a:lnTo>
                      <a:pt x="255313" y="264404"/>
                    </a:lnTo>
                    <a:lnTo>
                      <a:pt x="255313" y="263798"/>
                    </a:lnTo>
                    <a:lnTo>
                      <a:pt x="255919" y="262434"/>
                    </a:lnTo>
                    <a:lnTo>
                      <a:pt x="256525" y="259858"/>
                    </a:lnTo>
                    <a:lnTo>
                      <a:pt x="255767" y="256373"/>
                    </a:lnTo>
                    <a:lnTo>
                      <a:pt x="252888" y="250767"/>
                    </a:lnTo>
                    <a:lnTo>
                      <a:pt x="250767" y="245312"/>
                    </a:lnTo>
                    <a:lnTo>
                      <a:pt x="250464" y="241524"/>
                    </a:lnTo>
                    <a:lnTo>
                      <a:pt x="250464" y="237584"/>
                    </a:lnTo>
                    <a:lnTo>
                      <a:pt x="250615" y="235008"/>
                    </a:lnTo>
                    <a:lnTo>
                      <a:pt x="249100" y="232887"/>
                    </a:lnTo>
                    <a:lnTo>
                      <a:pt x="241070" y="226372"/>
                    </a:lnTo>
                    <a:lnTo>
                      <a:pt x="238342" y="223342"/>
                    </a:lnTo>
                    <a:lnTo>
                      <a:pt x="237433" y="221220"/>
                    </a:lnTo>
                    <a:lnTo>
                      <a:pt x="234251" y="217281"/>
                    </a:lnTo>
                    <a:lnTo>
                      <a:pt x="235009" y="216068"/>
                    </a:lnTo>
                    <a:lnTo>
                      <a:pt x="236827" y="216068"/>
                    </a:lnTo>
                    <a:lnTo>
                      <a:pt x="238342" y="217129"/>
                    </a:lnTo>
                    <a:lnTo>
                      <a:pt x="239706" y="219250"/>
                    </a:lnTo>
                    <a:lnTo>
                      <a:pt x="240767" y="219705"/>
                    </a:lnTo>
                    <a:lnTo>
                      <a:pt x="242130" y="219705"/>
                    </a:lnTo>
                    <a:lnTo>
                      <a:pt x="249555" y="219705"/>
                    </a:lnTo>
                    <a:lnTo>
                      <a:pt x="251221" y="220008"/>
                    </a:lnTo>
                    <a:lnTo>
                      <a:pt x="252282" y="220766"/>
                    </a:lnTo>
                    <a:lnTo>
                      <a:pt x="253191" y="221675"/>
                    </a:lnTo>
                    <a:lnTo>
                      <a:pt x="254555" y="224251"/>
                    </a:lnTo>
                    <a:lnTo>
                      <a:pt x="255919" y="225463"/>
                    </a:lnTo>
                    <a:lnTo>
                      <a:pt x="258798" y="225463"/>
                    </a:lnTo>
                    <a:lnTo>
                      <a:pt x="263343" y="225463"/>
                    </a:lnTo>
                    <a:lnTo>
                      <a:pt x="265919" y="225311"/>
                    </a:lnTo>
                    <a:lnTo>
                      <a:pt x="267434" y="226069"/>
                    </a:lnTo>
                    <a:lnTo>
                      <a:pt x="269404" y="226675"/>
                    </a:lnTo>
                    <a:lnTo>
                      <a:pt x="273495" y="225311"/>
                    </a:lnTo>
                    <a:lnTo>
                      <a:pt x="274556" y="225311"/>
                    </a:lnTo>
                    <a:lnTo>
                      <a:pt x="275768" y="225917"/>
                    </a:lnTo>
                    <a:lnTo>
                      <a:pt x="280162" y="230463"/>
                    </a:lnTo>
                    <a:lnTo>
                      <a:pt x="282586" y="232433"/>
                    </a:lnTo>
                    <a:lnTo>
                      <a:pt x="284708" y="235008"/>
                    </a:lnTo>
                    <a:lnTo>
                      <a:pt x="287738" y="235008"/>
                    </a:lnTo>
                    <a:lnTo>
                      <a:pt x="290314" y="232887"/>
                    </a:lnTo>
                    <a:lnTo>
                      <a:pt x="290920" y="225614"/>
                    </a:lnTo>
                    <a:lnTo>
                      <a:pt x="291677" y="223493"/>
                    </a:lnTo>
                    <a:lnTo>
                      <a:pt x="292890" y="222887"/>
                    </a:lnTo>
                    <a:lnTo>
                      <a:pt x="294405" y="222887"/>
                    </a:lnTo>
                    <a:lnTo>
                      <a:pt x="296223" y="221675"/>
                    </a:lnTo>
                    <a:lnTo>
                      <a:pt x="298193" y="220160"/>
                    </a:lnTo>
                    <a:lnTo>
                      <a:pt x="299860" y="219705"/>
                    </a:lnTo>
                    <a:lnTo>
                      <a:pt x="306981" y="221220"/>
                    </a:lnTo>
                    <a:lnTo>
                      <a:pt x="308951" y="220463"/>
                    </a:lnTo>
                    <a:lnTo>
                      <a:pt x="316072" y="218493"/>
                    </a:lnTo>
                    <a:lnTo>
                      <a:pt x="323345" y="216068"/>
                    </a:lnTo>
                    <a:lnTo>
                      <a:pt x="325467" y="212887"/>
                    </a:lnTo>
                    <a:lnTo>
                      <a:pt x="328497" y="211978"/>
                    </a:lnTo>
                    <a:lnTo>
                      <a:pt x="330921" y="209705"/>
                    </a:lnTo>
                    <a:lnTo>
                      <a:pt x="332891" y="210008"/>
                    </a:lnTo>
                    <a:lnTo>
                      <a:pt x="335770" y="210159"/>
                    </a:lnTo>
                    <a:lnTo>
                      <a:pt x="337588" y="209705"/>
                    </a:lnTo>
                    <a:lnTo>
                      <a:pt x="338497" y="209250"/>
                    </a:lnTo>
                    <a:lnTo>
                      <a:pt x="339558" y="208190"/>
                    </a:lnTo>
                    <a:lnTo>
                      <a:pt x="341225" y="205159"/>
                    </a:lnTo>
                    <a:lnTo>
                      <a:pt x="343195" y="203947"/>
                    </a:lnTo>
                    <a:lnTo>
                      <a:pt x="345771" y="202735"/>
                    </a:lnTo>
                    <a:lnTo>
                      <a:pt x="347437" y="201219"/>
                    </a:lnTo>
                    <a:lnTo>
                      <a:pt x="348801" y="199401"/>
                    </a:lnTo>
                    <a:lnTo>
                      <a:pt x="349407" y="197886"/>
                    </a:lnTo>
                    <a:lnTo>
                      <a:pt x="349407" y="196674"/>
                    </a:lnTo>
                    <a:lnTo>
                      <a:pt x="348498" y="194249"/>
                    </a:lnTo>
                    <a:lnTo>
                      <a:pt x="347437" y="191977"/>
                    </a:lnTo>
                    <a:lnTo>
                      <a:pt x="346377" y="191219"/>
                    </a:lnTo>
                    <a:lnTo>
                      <a:pt x="345619" y="190916"/>
                    </a:lnTo>
                    <a:lnTo>
                      <a:pt x="339861" y="184552"/>
                    </a:lnTo>
                    <a:lnTo>
                      <a:pt x="333952" y="178037"/>
                    </a:lnTo>
                    <a:lnTo>
                      <a:pt x="328194" y="171673"/>
                    </a:lnTo>
                    <a:lnTo>
                      <a:pt x="327740" y="170764"/>
                    </a:lnTo>
                    <a:lnTo>
                      <a:pt x="330164" y="167733"/>
                    </a:lnTo>
                    <a:lnTo>
                      <a:pt x="332285" y="165612"/>
                    </a:lnTo>
                    <a:lnTo>
                      <a:pt x="334103" y="164400"/>
                    </a:lnTo>
                    <a:lnTo>
                      <a:pt x="335012" y="163339"/>
                    </a:lnTo>
                    <a:lnTo>
                      <a:pt x="334406" y="158642"/>
                    </a:lnTo>
                    <a:lnTo>
                      <a:pt x="334406" y="156975"/>
                    </a:lnTo>
                    <a:lnTo>
                      <a:pt x="333497" y="155157"/>
                    </a:lnTo>
                    <a:lnTo>
                      <a:pt x="332891" y="153036"/>
                    </a:lnTo>
                    <a:lnTo>
                      <a:pt x="333649" y="151369"/>
                    </a:lnTo>
                    <a:lnTo>
                      <a:pt x="334558" y="150157"/>
                    </a:lnTo>
                    <a:lnTo>
                      <a:pt x="335619" y="149703"/>
                    </a:lnTo>
                    <a:lnTo>
                      <a:pt x="338346" y="149248"/>
                    </a:lnTo>
                    <a:lnTo>
                      <a:pt x="340164" y="149096"/>
                    </a:lnTo>
                    <a:lnTo>
                      <a:pt x="340770" y="148339"/>
                    </a:lnTo>
                    <a:lnTo>
                      <a:pt x="341831" y="147581"/>
                    </a:lnTo>
                    <a:lnTo>
                      <a:pt x="343195" y="147581"/>
                    </a:lnTo>
                    <a:lnTo>
                      <a:pt x="346073" y="148187"/>
                    </a:lnTo>
                    <a:lnTo>
                      <a:pt x="347286" y="147127"/>
                    </a:lnTo>
                    <a:lnTo>
                      <a:pt x="349559" y="145763"/>
                    </a:lnTo>
                    <a:lnTo>
                      <a:pt x="354710" y="143339"/>
                    </a:lnTo>
                    <a:lnTo>
                      <a:pt x="355922" y="141823"/>
                    </a:lnTo>
                    <a:lnTo>
                      <a:pt x="356680" y="139399"/>
                    </a:lnTo>
                    <a:lnTo>
                      <a:pt x="356528" y="138187"/>
                    </a:lnTo>
                    <a:lnTo>
                      <a:pt x="355922" y="137732"/>
                    </a:lnTo>
                    <a:lnTo>
                      <a:pt x="354559" y="137278"/>
                    </a:lnTo>
                    <a:lnTo>
                      <a:pt x="352589" y="137278"/>
                    </a:lnTo>
                    <a:lnTo>
                      <a:pt x="350922" y="137884"/>
                    </a:lnTo>
                    <a:lnTo>
                      <a:pt x="349255" y="137581"/>
                    </a:lnTo>
                    <a:lnTo>
                      <a:pt x="347892" y="136066"/>
                    </a:lnTo>
                    <a:lnTo>
                      <a:pt x="347740" y="134853"/>
                    </a:lnTo>
                    <a:lnTo>
                      <a:pt x="348498" y="133035"/>
                    </a:lnTo>
                    <a:lnTo>
                      <a:pt x="348043" y="131823"/>
                    </a:lnTo>
                    <a:lnTo>
                      <a:pt x="345467" y="128187"/>
                    </a:lnTo>
                    <a:lnTo>
                      <a:pt x="345467" y="127126"/>
                    </a:lnTo>
                    <a:lnTo>
                      <a:pt x="347286" y="125459"/>
                    </a:lnTo>
                    <a:lnTo>
                      <a:pt x="348346" y="124095"/>
                    </a:lnTo>
                    <a:lnTo>
                      <a:pt x="349861" y="120762"/>
                    </a:lnTo>
                    <a:lnTo>
                      <a:pt x="351074" y="119701"/>
                    </a:lnTo>
                    <a:lnTo>
                      <a:pt x="354710" y="119247"/>
                    </a:lnTo>
                    <a:lnTo>
                      <a:pt x="355619" y="118489"/>
                    </a:lnTo>
                    <a:lnTo>
                      <a:pt x="357437" y="116671"/>
                    </a:lnTo>
                    <a:lnTo>
                      <a:pt x="360165" y="114701"/>
                    </a:lnTo>
                    <a:lnTo>
                      <a:pt x="364104" y="113035"/>
                    </a:lnTo>
                    <a:lnTo>
                      <a:pt x="365317" y="110004"/>
                    </a:lnTo>
                    <a:lnTo>
                      <a:pt x="366074" y="109247"/>
                    </a:lnTo>
                    <a:lnTo>
                      <a:pt x="369256" y="107731"/>
                    </a:lnTo>
                    <a:lnTo>
                      <a:pt x="369862" y="106822"/>
                    </a:lnTo>
                    <a:lnTo>
                      <a:pt x="370771" y="1071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83217A6D-2489-43C1-AC76-989743BFC1B0}"/>
                  </a:ext>
                </a:extLst>
              </p:cNvPr>
              <p:cNvSpPr/>
              <p:nvPr/>
            </p:nvSpPr>
            <p:spPr>
              <a:xfrm>
                <a:off x="4098501" y="4196828"/>
                <a:ext cx="6060" cy="18485"/>
              </a:xfrm>
              <a:custGeom>
                <a:avLst/>
                <a:gdLst>
                  <a:gd name="connsiteX0" fmla="*/ 4243 w 6060"/>
                  <a:gd name="connsiteY0" fmla="*/ 8637 h 18485"/>
                  <a:gd name="connsiteX1" fmla="*/ 4243 w 6060"/>
                  <a:gd name="connsiteY1" fmla="*/ 8637 h 18485"/>
                  <a:gd name="connsiteX2" fmla="*/ 4243 w 6060"/>
                  <a:gd name="connsiteY2" fmla="*/ 8485 h 18485"/>
                  <a:gd name="connsiteX3" fmla="*/ 3939 w 6060"/>
                  <a:gd name="connsiteY3" fmla="*/ 8788 h 18485"/>
                  <a:gd name="connsiteX4" fmla="*/ 3182 w 6060"/>
                  <a:gd name="connsiteY4" fmla="*/ 9243 h 18485"/>
                  <a:gd name="connsiteX5" fmla="*/ 2879 w 6060"/>
                  <a:gd name="connsiteY5" fmla="*/ 9394 h 18485"/>
                  <a:gd name="connsiteX6" fmla="*/ 3030 w 6060"/>
                  <a:gd name="connsiteY6" fmla="*/ 9546 h 18485"/>
                  <a:gd name="connsiteX7" fmla="*/ 3182 w 6060"/>
                  <a:gd name="connsiteY7" fmla="*/ 9697 h 18485"/>
                  <a:gd name="connsiteX8" fmla="*/ 3182 w 6060"/>
                  <a:gd name="connsiteY8" fmla="*/ 9849 h 18485"/>
                  <a:gd name="connsiteX9" fmla="*/ 2576 w 6060"/>
                  <a:gd name="connsiteY9" fmla="*/ 10000 h 18485"/>
                  <a:gd name="connsiteX10" fmla="*/ 2121 w 6060"/>
                  <a:gd name="connsiteY10" fmla="*/ 9849 h 18485"/>
                  <a:gd name="connsiteX11" fmla="*/ 2121 w 6060"/>
                  <a:gd name="connsiteY11" fmla="*/ 10000 h 18485"/>
                  <a:gd name="connsiteX12" fmla="*/ 2424 w 6060"/>
                  <a:gd name="connsiteY12" fmla="*/ 10000 h 18485"/>
                  <a:gd name="connsiteX13" fmla="*/ 2727 w 6060"/>
                  <a:gd name="connsiteY13" fmla="*/ 10000 h 18485"/>
                  <a:gd name="connsiteX14" fmla="*/ 2879 w 6060"/>
                  <a:gd name="connsiteY14" fmla="*/ 10152 h 18485"/>
                  <a:gd name="connsiteX15" fmla="*/ 3030 w 6060"/>
                  <a:gd name="connsiteY15" fmla="*/ 10304 h 18485"/>
                  <a:gd name="connsiteX16" fmla="*/ 3182 w 6060"/>
                  <a:gd name="connsiteY16" fmla="*/ 10152 h 18485"/>
                  <a:gd name="connsiteX17" fmla="*/ 3030 w 6060"/>
                  <a:gd name="connsiteY17" fmla="*/ 10152 h 18485"/>
                  <a:gd name="connsiteX18" fmla="*/ 3485 w 6060"/>
                  <a:gd name="connsiteY18" fmla="*/ 9849 h 18485"/>
                  <a:gd name="connsiteX19" fmla="*/ 3939 w 6060"/>
                  <a:gd name="connsiteY19" fmla="*/ 9091 h 18485"/>
                  <a:gd name="connsiteX20" fmla="*/ 4394 w 6060"/>
                  <a:gd name="connsiteY20" fmla="*/ 8788 h 18485"/>
                  <a:gd name="connsiteX21" fmla="*/ 4243 w 6060"/>
                  <a:gd name="connsiteY21" fmla="*/ 8637 h 18485"/>
                  <a:gd name="connsiteX22" fmla="*/ 4243 w 6060"/>
                  <a:gd name="connsiteY22" fmla="*/ 8637 h 18485"/>
                  <a:gd name="connsiteX23" fmla="*/ 909 w 6060"/>
                  <a:gd name="connsiteY23" fmla="*/ 17273 h 18485"/>
                  <a:gd name="connsiteX24" fmla="*/ 758 w 6060"/>
                  <a:gd name="connsiteY24" fmla="*/ 17273 h 18485"/>
                  <a:gd name="connsiteX25" fmla="*/ 455 w 6060"/>
                  <a:gd name="connsiteY25" fmla="*/ 17425 h 18485"/>
                  <a:gd name="connsiteX26" fmla="*/ 455 w 6060"/>
                  <a:gd name="connsiteY26" fmla="*/ 17728 h 18485"/>
                  <a:gd name="connsiteX27" fmla="*/ 455 w 6060"/>
                  <a:gd name="connsiteY27" fmla="*/ 18031 h 18485"/>
                  <a:gd name="connsiteX28" fmla="*/ 303 w 6060"/>
                  <a:gd name="connsiteY28" fmla="*/ 18183 h 18485"/>
                  <a:gd name="connsiteX29" fmla="*/ 0 w 6060"/>
                  <a:gd name="connsiteY29" fmla="*/ 18183 h 18485"/>
                  <a:gd name="connsiteX30" fmla="*/ 0 w 6060"/>
                  <a:gd name="connsiteY30" fmla="*/ 18334 h 18485"/>
                  <a:gd name="connsiteX31" fmla="*/ 303 w 6060"/>
                  <a:gd name="connsiteY31" fmla="*/ 18486 h 18485"/>
                  <a:gd name="connsiteX32" fmla="*/ 606 w 6060"/>
                  <a:gd name="connsiteY32" fmla="*/ 18486 h 18485"/>
                  <a:gd name="connsiteX33" fmla="*/ 758 w 6060"/>
                  <a:gd name="connsiteY33" fmla="*/ 18334 h 18485"/>
                  <a:gd name="connsiteX34" fmla="*/ 909 w 6060"/>
                  <a:gd name="connsiteY34" fmla="*/ 18031 h 18485"/>
                  <a:gd name="connsiteX35" fmla="*/ 1061 w 6060"/>
                  <a:gd name="connsiteY35" fmla="*/ 17880 h 18485"/>
                  <a:gd name="connsiteX36" fmla="*/ 1212 w 6060"/>
                  <a:gd name="connsiteY36" fmla="*/ 17728 h 18485"/>
                  <a:gd name="connsiteX37" fmla="*/ 909 w 6060"/>
                  <a:gd name="connsiteY37" fmla="*/ 17273 h 18485"/>
                  <a:gd name="connsiteX38" fmla="*/ 909 w 6060"/>
                  <a:gd name="connsiteY38" fmla="*/ 17273 h 18485"/>
                  <a:gd name="connsiteX39" fmla="*/ 5909 w 6060"/>
                  <a:gd name="connsiteY39" fmla="*/ 0 h 18485"/>
                  <a:gd name="connsiteX40" fmla="*/ 4697 w 6060"/>
                  <a:gd name="connsiteY40" fmla="*/ 152 h 18485"/>
                  <a:gd name="connsiteX41" fmla="*/ 3485 w 6060"/>
                  <a:gd name="connsiteY41" fmla="*/ 909 h 18485"/>
                  <a:gd name="connsiteX42" fmla="*/ 2273 w 6060"/>
                  <a:gd name="connsiteY42" fmla="*/ 2121 h 18485"/>
                  <a:gd name="connsiteX43" fmla="*/ 1970 w 6060"/>
                  <a:gd name="connsiteY43" fmla="*/ 4243 h 18485"/>
                  <a:gd name="connsiteX44" fmla="*/ 3939 w 6060"/>
                  <a:gd name="connsiteY44" fmla="*/ 6061 h 18485"/>
                  <a:gd name="connsiteX45" fmla="*/ 4697 w 6060"/>
                  <a:gd name="connsiteY45" fmla="*/ 5606 h 18485"/>
                  <a:gd name="connsiteX46" fmla="*/ 5758 w 6060"/>
                  <a:gd name="connsiteY46" fmla="*/ 4394 h 18485"/>
                  <a:gd name="connsiteX47" fmla="*/ 6061 w 6060"/>
                  <a:gd name="connsiteY47" fmla="*/ 1818 h 18485"/>
                  <a:gd name="connsiteX48" fmla="*/ 5909 w 6060"/>
                  <a:gd name="connsiteY48" fmla="*/ 0 h 1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60" h="18485">
                    <a:moveTo>
                      <a:pt x="4243" y="8637"/>
                    </a:moveTo>
                    <a:lnTo>
                      <a:pt x="4243" y="8637"/>
                    </a:lnTo>
                    <a:lnTo>
                      <a:pt x="4243" y="8485"/>
                    </a:lnTo>
                    <a:lnTo>
                      <a:pt x="3939" y="8788"/>
                    </a:lnTo>
                    <a:lnTo>
                      <a:pt x="3182" y="9243"/>
                    </a:lnTo>
                    <a:lnTo>
                      <a:pt x="2879" y="9394"/>
                    </a:lnTo>
                    <a:lnTo>
                      <a:pt x="3030" y="9546"/>
                    </a:lnTo>
                    <a:lnTo>
                      <a:pt x="3182" y="9697"/>
                    </a:lnTo>
                    <a:lnTo>
                      <a:pt x="3182" y="9849"/>
                    </a:lnTo>
                    <a:lnTo>
                      <a:pt x="2576" y="10000"/>
                    </a:lnTo>
                    <a:lnTo>
                      <a:pt x="2121" y="9849"/>
                    </a:lnTo>
                    <a:lnTo>
                      <a:pt x="2121" y="10000"/>
                    </a:lnTo>
                    <a:lnTo>
                      <a:pt x="2424" y="10000"/>
                    </a:lnTo>
                    <a:lnTo>
                      <a:pt x="2727" y="10000"/>
                    </a:lnTo>
                    <a:lnTo>
                      <a:pt x="2879" y="10152"/>
                    </a:lnTo>
                    <a:lnTo>
                      <a:pt x="3030" y="10304"/>
                    </a:lnTo>
                    <a:lnTo>
                      <a:pt x="3182" y="10152"/>
                    </a:lnTo>
                    <a:lnTo>
                      <a:pt x="3030" y="10152"/>
                    </a:lnTo>
                    <a:lnTo>
                      <a:pt x="3485" y="9849"/>
                    </a:lnTo>
                    <a:lnTo>
                      <a:pt x="3939" y="9091"/>
                    </a:lnTo>
                    <a:lnTo>
                      <a:pt x="4394" y="8788"/>
                    </a:lnTo>
                    <a:lnTo>
                      <a:pt x="4243" y="8637"/>
                    </a:lnTo>
                    <a:lnTo>
                      <a:pt x="4243" y="8637"/>
                    </a:lnTo>
                    <a:close/>
                    <a:moveTo>
                      <a:pt x="909" y="17273"/>
                    </a:moveTo>
                    <a:lnTo>
                      <a:pt x="758" y="17273"/>
                    </a:lnTo>
                    <a:lnTo>
                      <a:pt x="455" y="17425"/>
                    </a:lnTo>
                    <a:lnTo>
                      <a:pt x="455" y="17728"/>
                    </a:lnTo>
                    <a:lnTo>
                      <a:pt x="455" y="18031"/>
                    </a:lnTo>
                    <a:lnTo>
                      <a:pt x="303" y="18183"/>
                    </a:lnTo>
                    <a:lnTo>
                      <a:pt x="0" y="18183"/>
                    </a:lnTo>
                    <a:lnTo>
                      <a:pt x="0" y="18334"/>
                    </a:lnTo>
                    <a:lnTo>
                      <a:pt x="303" y="18486"/>
                    </a:lnTo>
                    <a:lnTo>
                      <a:pt x="606" y="18486"/>
                    </a:lnTo>
                    <a:lnTo>
                      <a:pt x="758" y="18334"/>
                    </a:lnTo>
                    <a:lnTo>
                      <a:pt x="909" y="18031"/>
                    </a:lnTo>
                    <a:lnTo>
                      <a:pt x="1061" y="17880"/>
                    </a:lnTo>
                    <a:lnTo>
                      <a:pt x="1212" y="17728"/>
                    </a:lnTo>
                    <a:lnTo>
                      <a:pt x="909" y="17273"/>
                    </a:lnTo>
                    <a:lnTo>
                      <a:pt x="909" y="17273"/>
                    </a:lnTo>
                    <a:close/>
                    <a:moveTo>
                      <a:pt x="5909" y="0"/>
                    </a:moveTo>
                    <a:lnTo>
                      <a:pt x="4697" y="152"/>
                    </a:lnTo>
                    <a:lnTo>
                      <a:pt x="3485" y="909"/>
                    </a:lnTo>
                    <a:lnTo>
                      <a:pt x="2273" y="2121"/>
                    </a:lnTo>
                    <a:lnTo>
                      <a:pt x="1970" y="4243"/>
                    </a:lnTo>
                    <a:lnTo>
                      <a:pt x="3939" y="6061"/>
                    </a:lnTo>
                    <a:lnTo>
                      <a:pt x="4697" y="5606"/>
                    </a:lnTo>
                    <a:lnTo>
                      <a:pt x="5758" y="4394"/>
                    </a:lnTo>
                    <a:lnTo>
                      <a:pt x="6061" y="1818"/>
                    </a:lnTo>
                    <a:lnTo>
                      <a:pt x="5909"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C06C9B3E-D57B-4B32-9BD1-3542155F59EE}"/>
                  </a:ext>
                </a:extLst>
              </p:cNvPr>
              <p:cNvSpPr/>
              <p:nvPr/>
            </p:nvSpPr>
            <p:spPr>
              <a:xfrm>
                <a:off x="6117212" y="3350131"/>
                <a:ext cx="303" cy="303"/>
              </a:xfrm>
              <a:custGeom>
                <a:avLst/>
                <a:gdLst>
                  <a:gd name="connsiteX0" fmla="*/ 303 w 303"/>
                  <a:gd name="connsiteY0" fmla="*/ 0 h 303"/>
                  <a:gd name="connsiteX1" fmla="*/ 152 w 303"/>
                  <a:gd name="connsiteY1" fmla="*/ 0 h 303"/>
                  <a:gd name="connsiteX2" fmla="*/ 0 w 303"/>
                  <a:gd name="connsiteY2" fmla="*/ 152 h 303"/>
                  <a:gd name="connsiteX3" fmla="*/ 152 w 303"/>
                  <a:gd name="connsiteY3" fmla="*/ 303 h 303"/>
                  <a:gd name="connsiteX4" fmla="*/ 303 w 303"/>
                  <a:gd name="connsiteY4" fmla="*/ 303 h 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 h="303">
                    <a:moveTo>
                      <a:pt x="303" y="0"/>
                    </a:moveTo>
                    <a:lnTo>
                      <a:pt x="152" y="0"/>
                    </a:lnTo>
                    <a:lnTo>
                      <a:pt x="0" y="152"/>
                    </a:lnTo>
                    <a:lnTo>
                      <a:pt x="152" y="303"/>
                    </a:lnTo>
                    <a:lnTo>
                      <a:pt x="303"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4EE13C50-36C6-4E57-B630-080C567AEFD0}"/>
                  </a:ext>
                </a:extLst>
              </p:cNvPr>
              <p:cNvSpPr/>
              <p:nvPr/>
            </p:nvSpPr>
            <p:spPr>
              <a:xfrm>
                <a:off x="7308469" y="3228308"/>
                <a:ext cx="471381" cy="274100"/>
              </a:xfrm>
              <a:custGeom>
                <a:avLst/>
                <a:gdLst>
                  <a:gd name="connsiteX0" fmla="*/ 469714 w 471381"/>
                  <a:gd name="connsiteY0" fmla="*/ 156975 h 274100"/>
                  <a:gd name="connsiteX1" fmla="*/ 465775 w 471381"/>
                  <a:gd name="connsiteY1" fmla="*/ 155915 h 274100"/>
                  <a:gd name="connsiteX2" fmla="*/ 463957 w 471381"/>
                  <a:gd name="connsiteY2" fmla="*/ 156521 h 274100"/>
                  <a:gd name="connsiteX3" fmla="*/ 462290 w 471381"/>
                  <a:gd name="connsiteY3" fmla="*/ 156521 h 274100"/>
                  <a:gd name="connsiteX4" fmla="*/ 461381 w 471381"/>
                  <a:gd name="connsiteY4" fmla="*/ 155915 h 274100"/>
                  <a:gd name="connsiteX5" fmla="*/ 456684 w 471381"/>
                  <a:gd name="connsiteY5" fmla="*/ 155612 h 274100"/>
                  <a:gd name="connsiteX6" fmla="*/ 455623 w 471381"/>
                  <a:gd name="connsiteY6" fmla="*/ 155157 h 274100"/>
                  <a:gd name="connsiteX7" fmla="*/ 452441 w 471381"/>
                  <a:gd name="connsiteY7" fmla="*/ 151975 h 274100"/>
                  <a:gd name="connsiteX8" fmla="*/ 450320 w 471381"/>
                  <a:gd name="connsiteY8" fmla="*/ 150763 h 274100"/>
                  <a:gd name="connsiteX9" fmla="*/ 448653 w 471381"/>
                  <a:gd name="connsiteY9" fmla="*/ 150006 h 274100"/>
                  <a:gd name="connsiteX10" fmla="*/ 446835 w 471381"/>
                  <a:gd name="connsiteY10" fmla="*/ 150157 h 274100"/>
                  <a:gd name="connsiteX11" fmla="*/ 444562 w 471381"/>
                  <a:gd name="connsiteY11" fmla="*/ 150915 h 274100"/>
                  <a:gd name="connsiteX12" fmla="*/ 443804 w 471381"/>
                  <a:gd name="connsiteY12" fmla="*/ 150612 h 274100"/>
                  <a:gd name="connsiteX13" fmla="*/ 443653 w 471381"/>
                  <a:gd name="connsiteY13" fmla="*/ 149248 h 274100"/>
                  <a:gd name="connsiteX14" fmla="*/ 443653 w 471381"/>
                  <a:gd name="connsiteY14" fmla="*/ 147581 h 274100"/>
                  <a:gd name="connsiteX15" fmla="*/ 443198 w 471381"/>
                  <a:gd name="connsiteY15" fmla="*/ 145763 h 274100"/>
                  <a:gd name="connsiteX16" fmla="*/ 441835 w 471381"/>
                  <a:gd name="connsiteY16" fmla="*/ 145308 h 274100"/>
                  <a:gd name="connsiteX17" fmla="*/ 440168 w 471381"/>
                  <a:gd name="connsiteY17" fmla="*/ 146066 h 274100"/>
                  <a:gd name="connsiteX18" fmla="*/ 437592 w 471381"/>
                  <a:gd name="connsiteY18" fmla="*/ 145308 h 274100"/>
                  <a:gd name="connsiteX19" fmla="*/ 435471 w 471381"/>
                  <a:gd name="connsiteY19" fmla="*/ 145005 h 274100"/>
                  <a:gd name="connsiteX20" fmla="*/ 434865 w 471381"/>
                  <a:gd name="connsiteY20" fmla="*/ 141217 h 274100"/>
                  <a:gd name="connsiteX21" fmla="*/ 433956 w 471381"/>
                  <a:gd name="connsiteY21" fmla="*/ 139551 h 274100"/>
                  <a:gd name="connsiteX22" fmla="*/ 433047 w 471381"/>
                  <a:gd name="connsiteY22" fmla="*/ 137884 h 274100"/>
                  <a:gd name="connsiteX23" fmla="*/ 432138 w 471381"/>
                  <a:gd name="connsiteY23" fmla="*/ 137429 h 274100"/>
                  <a:gd name="connsiteX24" fmla="*/ 430622 w 471381"/>
                  <a:gd name="connsiteY24" fmla="*/ 136520 h 274100"/>
                  <a:gd name="connsiteX25" fmla="*/ 430471 w 471381"/>
                  <a:gd name="connsiteY25" fmla="*/ 134550 h 274100"/>
                  <a:gd name="connsiteX26" fmla="*/ 430168 w 471381"/>
                  <a:gd name="connsiteY26" fmla="*/ 133944 h 274100"/>
                  <a:gd name="connsiteX27" fmla="*/ 429561 w 471381"/>
                  <a:gd name="connsiteY27" fmla="*/ 133641 h 274100"/>
                  <a:gd name="connsiteX28" fmla="*/ 428804 w 471381"/>
                  <a:gd name="connsiteY28" fmla="*/ 133944 h 274100"/>
                  <a:gd name="connsiteX29" fmla="*/ 427895 w 471381"/>
                  <a:gd name="connsiteY29" fmla="*/ 135005 h 274100"/>
                  <a:gd name="connsiteX30" fmla="*/ 428350 w 471381"/>
                  <a:gd name="connsiteY30" fmla="*/ 137278 h 274100"/>
                  <a:gd name="connsiteX31" fmla="*/ 428046 w 471381"/>
                  <a:gd name="connsiteY31" fmla="*/ 139551 h 274100"/>
                  <a:gd name="connsiteX32" fmla="*/ 427440 w 471381"/>
                  <a:gd name="connsiteY32" fmla="*/ 140611 h 274100"/>
                  <a:gd name="connsiteX33" fmla="*/ 426380 w 471381"/>
                  <a:gd name="connsiteY33" fmla="*/ 141369 h 274100"/>
                  <a:gd name="connsiteX34" fmla="*/ 425167 w 471381"/>
                  <a:gd name="connsiteY34" fmla="*/ 141369 h 274100"/>
                  <a:gd name="connsiteX35" fmla="*/ 423046 w 471381"/>
                  <a:gd name="connsiteY35" fmla="*/ 140308 h 274100"/>
                  <a:gd name="connsiteX36" fmla="*/ 422743 w 471381"/>
                  <a:gd name="connsiteY36" fmla="*/ 146975 h 274100"/>
                  <a:gd name="connsiteX37" fmla="*/ 422289 w 471381"/>
                  <a:gd name="connsiteY37" fmla="*/ 147430 h 274100"/>
                  <a:gd name="connsiteX38" fmla="*/ 419713 w 471381"/>
                  <a:gd name="connsiteY38" fmla="*/ 146521 h 274100"/>
                  <a:gd name="connsiteX39" fmla="*/ 417591 w 471381"/>
                  <a:gd name="connsiteY39" fmla="*/ 146975 h 274100"/>
                  <a:gd name="connsiteX40" fmla="*/ 414561 w 471381"/>
                  <a:gd name="connsiteY40" fmla="*/ 146521 h 274100"/>
                  <a:gd name="connsiteX41" fmla="*/ 412288 w 471381"/>
                  <a:gd name="connsiteY41" fmla="*/ 145460 h 274100"/>
                  <a:gd name="connsiteX42" fmla="*/ 410621 w 471381"/>
                  <a:gd name="connsiteY42" fmla="*/ 145157 h 274100"/>
                  <a:gd name="connsiteX43" fmla="*/ 407894 w 471381"/>
                  <a:gd name="connsiteY43" fmla="*/ 144248 h 274100"/>
                  <a:gd name="connsiteX44" fmla="*/ 405773 w 471381"/>
                  <a:gd name="connsiteY44" fmla="*/ 143036 h 274100"/>
                  <a:gd name="connsiteX45" fmla="*/ 404409 w 471381"/>
                  <a:gd name="connsiteY45" fmla="*/ 138490 h 274100"/>
                  <a:gd name="connsiteX46" fmla="*/ 403197 w 471381"/>
                  <a:gd name="connsiteY46" fmla="*/ 136823 h 274100"/>
                  <a:gd name="connsiteX47" fmla="*/ 401985 w 471381"/>
                  <a:gd name="connsiteY47" fmla="*/ 136520 h 274100"/>
                  <a:gd name="connsiteX48" fmla="*/ 397136 w 471381"/>
                  <a:gd name="connsiteY48" fmla="*/ 138035 h 274100"/>
                  <a:gd name="connsiteX49" fmla="*/ 395469 w 471381"/>
                  <a:gd name="connsiteY49" fmla="*/ 136823 h 274100"/>
                  <a:gd name="connsiteX50" fmla="*/ 392288 w 471381"/>
                  <a:gd name="connsiteY50" fmla="*/ 135308 h 274100"/>
                  <a:gd name="connsiteX51" fmla="*/ 389863 w 471381"/>
                  <a:gd name="connsiteY51" fmla="*/ 134702 h 274100"/>
                  <a:gd name="connsiteX52" fmla="*/ 389257 w 471381"/>
                  <a:gd name="connsiteY52" fmla="*/ 133944 h 274100"/>
                  <a:gd name="connsiteX53" fmla="*/ 389409 w 471381"/>
                  <a:gd name="connsiteY53" fmla="*/ 132884 h 274100"/>
                  <a:gd name="connsiteX54" fmla="*/ 396833 w 471381"/>
                  <a:gd name="connsiteY54" fmla="*/ 127883 h 274100"/>
                  <a:gd name="connsiteX55" fmla="*/ 399712 w 471381"/>
                  <a:gd name="connsiteY55" fmla="*/ 124399 h 274100"/>
                  <a:gd name="connsiteX56" fmla="*/ 401530 w 471381"/>
                  <a:gd name="connsiteY56" fmla="*/ 122883 h 274100"/>
                  <a:gd name="connsiteX57" fmla="*/ 404106 w 471381"/>
                  <a:gd name="connsiteY57" fmla="*/ 121974 h 274100"/>
                  <a:gd name="connsiteX58" fmla="*/ 406227 w 471381"/>
                  <a:gd name="connsiteY58" fmla="*/ 121368 h 274100"/>
                  <a:gd name="connsiteX59" fmla="*/ 407288 w 471381"/>
                  <a:gd name="connsiteY59" fmla="*/ 118186 h 274100"/>
                  <a:gd name="connsiteX60" fmla="*/ 407742 w 471381"/>
                  <a:gd name="connsiteY60" fmla="*/ 117883 h 274100"/>
                  <a:gd name="connsiteX61" fmla="*/ 409258 w 471381"/>
                  <a:gd name="connsiteY61" fmla="*/ 117580 h 274100"/>
                  <a:gd name="connsiteX62" fmla="*/ 412591 w 471381"/>
                  <a:gd name="connsiteY62" fmla="*/ 116216 h 274100"/>
                  <a:gd name="connsiteX63" fmla="*/ 417895 w 471381"/>
                  <a:gd name="connsiteY63" fmla="*/ 113489 h 274100"/>
                  <a:gd name="connsiteX64" fmla="*/ 418046 w 471381"/>
                  <a:gd name="connsiteY64" fmla="*/ 112731 h 274100"/>
                  <a:gd name="connsiteX65" fmla="*/ 417440 w 471381"/>
                  <a:gd name="connsiteY65" fmla="*/ 112125 h 274100"/>
                  <a:gd name="connsiteX66" fmla="*/ 415167 w 471381"/>
                  <a:gd name="connsiteY66" fmla="*/ 110762 h 274100"/>
                  <a:gd name="connsiteX67" fmla="*/ 412591 w 471381"/>
                  <a:gd name="connsiteY67" fmla="*/ 109550 h 274100"/>
                  <a:gd name="connsiteX68" fmla="*/ 411076 w 471381"/>
                  <a:gd name="connsiteY68" fmla="*/ 110156 h 274100"/>
                  <a:gd name="connsiteX69" fmla="*/ 410167 w 471381"/>
                  <a:gd name="connsiteY69" fmla="*/ 110762 h 274100"/>
                  <a:gd name="connsiteX70" fmla="*/ 407742 w 471381"/>
                  <a:gd name="connsiteY70" fmla="*/ 112125 h 274100"/>
                  <a:gd name="connsiteX71" fmla="*/ 405167 w 471381"/>
                  <a:gd name="connsiteY71" fmla="*/ 112580 h 274100"/>
                  <a:gd name="connsiteX72" fmla="*/ 403803 w 471381"/>
                  <a:gd name="connsiteY72" fmla="*/ 113489 h 274100"/>
                  <a:gd name="connsiteX73" fmla="*/ 402288 w 471381"/>
                  <a:gd name="connsiteY73" fmla="*/ 115459 h 274100"/>
                  <a:gd name="connsiteX74" fmla="*/ 400924 w 471381"/>
                  <a:gd name="connsiteY74" fmla="*/ 117126 h 274100"/>
                  <a:gd name="connsiteX75" fmla="*/ 400166 w 471381"/>
                  <a:gd name="connsiteY75" fmla="*/ 117732 h 274100"/>
                  <a:gd name="connsiteX76" fmla="*/ 398954 w 471381"/>
                  <a:gd name="connsiteY76" fmla="*/ 117580 h 274100"/>
                  <a:gd name="connsiteX77" fmla="*/ 397591 w 471381"/>
                  <a:gd name="connsiteY77" fmla="*/ 116216 h 274100"/>
                  <a:gd name="connsiteX78" fmla="*/ 395621 w 471381"/>
                  <a:gd name="connsiteY78" fmla="*/ 116216 h 274100"/>
                  <a:gd name="connsiteX79" fmla="*/ 393197 w 471381"/>
                  <a:gd name="connsiteY79" fmla="*/ 117883 h 274100"/>
                  <a:gd name="connsiteX80" fmla="*/ 390318 w 471381"/>
                  <a:gd name="connsiteY80" fmla="*/ 120611 h 274100"/>
                  <a:gd name="connsiteX81" fmla="*/ 386681 w 471381"/>
                  <a:gd name="connsiteY81" fmla="*/ 124702 h 274100"/>
                  <a:gd name="connsiteX82" fmla="*/ 382893 w 471381"/>
                  <a:gd name="connsiteY82" fmla="*/ 126823 h 274100"/>
                  <a:gd name="connsiteX83" fmla="*/ 378196 w 471381"/>
                  <a:gd name="connsiteY83" fmla="*/ 128641 h 274100"/>
                  <a:gd name="connsiteX84" fmla="*/ 374863 w 471381"/>
                  <a:gd name="connsiteY84" fmla="*/ 129399 h 274100"/>
                  <a:gd name="connsiteX85" fmla="*/ 372135 w 471381"/>
                  <a:gd name="connsiteY85" fmla="*/ 130762 h 274100"/>
                  <a:gd name="connsiteX86" fmla="*/ 367590 w 471381"/>
                  <a:gd name="connsiteY86" fmla="*/ 133641 h 274100"/>
                  <a:gd name="connsiteX87" fmla="*/ 366680 w 471381"/>
                  <a:gd name="connsiteY87" fmla="*/ 135308 h 274100"/>
                  <a:gd name="connsiteX88" fmla="*/ 363347 w 471381"/>
                  <a:gd name="connsiteY88" fmla="*/ 136369 h 274100"/>
                  <a:gd name="connsiteX89" fmla="*/ 360771 w 471381"/>
                  <a:gd name="connsiteY89" fmla="*/ 137581 h 274100"/>
                  <a:gd name="connsiteX90" fmla="*/ 358347 w 471381"/>
                  <a:gd name="connsiteY90" fmla="*/ 139551 h 274100"/>
                  <a:gd name="connsiteX91" fmla="*/ 357741 w 471381"/>
                  <a:gd name="connsiteY91" fmla="*/ 142884 h 274100"/>
                  <a:gd name="connsiteX92" fmla="*/ 356225 w 471381"/>
                  <a:gd name="connsiteY92" fmla="*/ 144854 h 274100"/>
                  <a:gd name="connsiteX93" fmla="*/ 352437 w 471381"/>
                  <a:gd name="connsiteY93" fmla="*/ 147430 h 274100"/>
                  <a:gd name="connsiteX94" fmla="*/ 349256 w 471381"/>
                  <a:gd name="connsiteY94" fmla="*/ 150157 h 274100"/>
                  <a:gd name="connsiteX95" fmla="*/ 347286 w 471381"/>
                  <a:gd name="connsiteY95" fmla="*/ 152733 h 274100"/>
                  <a:gd name="connsiteX96" fmla="*/ 345164 w 471381"/>
                  <a:gd name="connsiteY96" fmla="*/ 155460 h 274100"/>
                  <a:gd name="connsiteX97" fmla="*/ 344559 w 471381"/>
                  <a:gd name="connsiteY97" fmla="*/ 156975 h 274100"/>
                  <a:gd name="connsiteX98" fmla="*/ 344559 w 471381"/>
                  <a:gd name="connsiteY98" fmla="*/ 159097 h 274100"/>
                  <a:gd name="connsiteX99" fmla="*/ 345619 w 471381"/>
                  <a:gd name="connsiteY99" fmla="*/ 160915 h 274100"/>
                  <a:gd name="connsiteX100" fmla="*/ 345771 w 471381"/>
                  <a:gd name="connsiteY100" fmla="*/ 162582 h 274100"/>
                  <a:gd name="connsiteX101" fmla="*/ 345013 w 471381"/>
                  <a:gd name="connsiteY101" fmla="*/ 163794 h 274100"/>
                  <a:gd name="connsiteX102" fmla="*/ 342892 w 471381"/>
                  <a:gd name="connsiteY102" fmla="*/ 164248 h 274100"/>
                  <a:gd name="connsiteX103" fmla="*/ 340619 w 471381"/>
                  <a:gd name="connsiteY103" fmla="*/ 163945 h 274100"/>
                  <a:gd name="connsiteX104" fmla="*/ 337285 w 471381"/>
                  <a:gd name="connsiteY104" fmla="*/ 162733 h 274100"/>
                  <a:gd name="connsiteX105" fmla="*/ 333649 w 471381"/>
                  <a:gd name="connsiteY105" fmla="*/ 160612 h 274100"/>
                  <a:gd name="connsiteX106" fmla="*/ 332285 w 471381"/>
                  <a:gd name="connsiteY106" fmla="*/ 159551 h 274100"/>
                  <a:gd name="connsiteX107" fmla="*/ 330467 w 471381"/>
                  <a:gd name="connsiteY107" fmla="*/ 157733 h 274100"/>
                  <a:gd name="connsiteX108" fmla="*/ 330770 w 471381"/>
                  <a:gd name="connsiteY108" fmla="*/ 156066 h 274100"/>
                  <a:gd name="connsiteX109" fmla="*/ 331679 w 471381"/>
                  <a:gd name="connsiteY109" fmla="*/ 152884 h 274100"/>
                  <a:gd name="connsiteX110" fmla="*/ 332285 w 471381"/>
                  <a:gd name="connsiteY110" fmla="*/ 150612 h 274100"/>
                  <a:gd name="connsiteX111" fmla="*/ 330770 w 471381"/>
                  <a:gd name="connsiteY111" fmla="*/ 149551 h 274100"/>
                  <a:gd name="connsiteX112" fmla="*/ 329709 w 471381"/>
                  <a:gd name="connsiteY112" fmla="*/ 148490 h 274100"/>
                  <a:gd name="connsiteX113" fmla="*/ 328952 w 471381"/>
                  <a:gd name="connsiteY113" fmla="*/ 147430 h 274100"/>
                  <a:gd name="connsiteX114" fmla="*/ 327437 w 471381"/>
                  <a:gd name="connsiteY114" fmla="*/ 145308 h 274100"/>
                  <a:gd name="connsiteX115" fmla="*/ 325467 w 471381"/>
                  <a:gd name="connsiteY115" fmla="*/ 145914 h 274100"/>
                  <a:gd name="connsiteX116" fmla="*/ 323800 w 471381"/>
                  <a:gd name="connsiteY116" fmla="*/ 146521 h 274100"/>
                  <a:gd name="connsiteX117" fmla="*/ 321830 w 471381"/>
                  <a:gd name="connsiteY117" fmla="*/ 145763 h 274100"/>
                  <a:gd name="connsiteX118" fmla="*/ 316224 w 471381"/>
                  <a:gd name="connsiteY118" fmla="*/ 146066 h 274100"/>
                  <a:gd name="connsiteX119" fmla="*/ 311981 w 471381"/>
                  <a:gd name="connsiteY119" fmla="*/ 146369 h 274100"/>
                  <a:gd name="connsiteX120" fmla="*/ 308042 w 471381"/>
                  <a:gd name="connsiteY120" fmla="*/ 146672 h 274100"/>
                  <a:gd name="connsiteX121" fmla="*/ 302890 w 471381"/>
                  <a:gd name="connsiteY121" fmla="*/ 146975 h 274100"/>
                  <a:gd name="connsiteX122" fmla="*/ 296678 w 471381"/>
                  <a:gd name="connsiteY122" fmla="*/ 147278 h 274100"/>
                  <a:gd name="connsiteX123" fmla="*/ 294860 w 471381"/>
                  <a:gd name="connsiteY123" fmla="*/ 146824 h 274100"/>
                  <a:gd name="connsiteX124" fmla="*/ 293799 w 471381"/>
                  <a:gd name="connsiteY124" fmla="*/ 146066 h 274100"/>
                  <a:gd name="connsiteX125" fmla="*/ 292738 w 471381"/>
                  <a:gd name="connsiteY125" fmla="*/ 143036 h 274100"/>
                  <a:gd name="connsiteX126" fmla="*/ 292132 w 471381"/>
                  <a:gd name="connsiteY126" fmla="*/ 140460 h 274100"/>
                  <a:gd name="connsiteX127" fmla="*/ 290920 w 471381"/>
                  <a:gd name="connsiteY127" fmla="*/ 135763 h 274100"/>
                  <a:gd name="connsiteX128" fmla="*/ 290163 w 471381"/>
                  <a:gd name="connsiteY128" fmla="*/ 132126 h 274100"/>
                  <a:gd name="connsiteX129" fmla="*/ 289253 w 471381"/>
                  <a:gd name="connsiteY129" fmla="*/ 127732 h 274100"/>
                  <a:gd name="connsiteX130" fmla="*/ 288647 w 471381"/>
                  <a:gd name="connsiteY130" fmla="*/ 122883 h 274100"/>
                  <a:gd name="connsiteX131" fmla="*/ 288193 w 471381"/>
                  <a:gd name="connsiteY131" fmla="*/ 119398 h 274100"/>
                  <a:gd name="connsiteX132" fmla="*/ 283496 w 471381"/>
                  <a:gd name="connsiteY132" fmla="*/ 119247 h 274100"/>
                  <a:gd name="connsiteX133" fmla="*/ 279859 w 471381"/>
                  <a:gd name="connsiteY133" fmla="*/ 119095 h 274100"/>
                  <a:gd name="connsiteX134" fmla="*/ 274859 w 471381"/>
                  <a:gd name="connsiteY134" fmla="*/ 118944 h 274100"/>
                  <a:gd name="connsiteX135" fmla="*/ 274859 w 471381"/>
                  <a:gd name="connsiteY135" fmla="*/ 116216 h 274100"/>
                  <a:gd name="connsiteX136" fmla="*/ 274859 w 471381"/>
                  <a:gd name="connsiteY136" fmla="*/ 112731 h 274100"/>
                  <a:gd name="connsiteX137" fmla="*/ 274859 w 471381"/>
                  <a:gd name="connsiteY137" fmla="*/ 108792 h 274100"/>
                  <a:gd name="connsiteX138" fmla="*/ 275768 w 471381"/>
                  <a:gd name="connsiteY138" fmla="*/ 103640 h 274100"/>
                  <a:gd name="connsiteX139" fmla="*/ 276071 w 471381"/>
                  <a:gd name="connsiteY139" fmla="*/ 99246 h 274100"/>
                  <a:gd name="connsiteX140" fmla="*/ 276525 w 471381"/>
                  <a:gd name="connsiteY140" fmla="*/ 93943 h 274100"/>
                  <a:gd name="connsiteX141" fmla="*/ 276829 w 471381"/>
                  <a:gd name="connsiteY141" fmla="*/ 90458 h 274100"/>
                  <a:gd name="connsiteX142" fmla="*/ 277132 w 471381"/>
                  <a:gd name="connsiteY142" fmla="*/ 86518 h 274100"/>
                  <a:gd name="connsiteX143" fmla="*/ 274556 w 471381"/>
                  <a:gd name="connsiteY143" fmla="*/ 87730 h 274100"/>
                  <a:gd name="connsiteX144" fmla="*/ 271677 w 471381"/>
                  <a:gd name="connsiteY144" fmla="*/ 89094 h 274100"/>
                  <a:gd name="connsiteX145" fmla="*/ 268949 w 471381"/>
                  <a:gd name="connsiteY145" fmla="*/ 90306 h 274100"/>
                  <a:gd name="connsiteX146" fmla="*/ 267131 w 471381"/>
                  <a:gd name="connsiteY146" fmla="*/ 87124 h 274100"/>
                  <a:gd name="connsiteX147" fmla="*/ 265313 w 471381"/>
                  <a:gd name="connsiteY147" fmla="*/ 84094 h 274100"/>
                  <a:gd name="connsiteX148" fmla="*/ 262586 w 471381"/>
                  <a:gd name="connsiteY148" fmla="*/ 79397 h 274100"/>
                  <a:gd name="connsiteX149" fmla="*/ 260616 w 471381"/>
                  <a:gd name="connsiteY149" fmla="*/ 75912 h 274100"/>
                  <a:gd name="connsiteX150" fmla="*/ 257131 w 471381"/>
                  <a:gd name="connsiteY150" fmla="*/ 73942 h 274100"/>
                  <a:gd name="connsiteX151" fmla="*/ 254555 w 471381"/>
                  <a:gd name="connsiteY151" fmla="*/ 72427 h 274100"/>
                  <a:gd name="connsiteX152" fmla="*/ 251828 w 471381"/>
                  <a:gd name="connsiteY152" fmla="*/ 69851 h 274100"/>
                  <a:gd name="connsiteX153" fmla="*/ 249404 w 471381"/>
                  <a:gd name="connsiteY153" fmla="*/ 67275 h 274100"/>
                  <a:gd name="connsiteX154" fmla="*/ 247130 w 471381"/>
                  <a:gd name="connsiteY154" fmla="*/ 64699 h 274100"/>
                  <a:gd name="connsiteX155" fmla="*/ 244403 w 471381"/>
                  <a:gd name="connsiteY155" fmla="*/ 62578 h 274100"/>
                  <a:gd name="connsiteX156" fmla="*/ 241827 w 471381"/>
                  <a:gd name="connsiteY156" fmla="*/ 63336 h 274100"/>
                  <a:gd name="connsiteX157" fmla="*/ 238949 w 471381"/>
                  <a:gd name="connsiteY157" fmla="*/ 64699 h 274100"/>
                  <a:gd name="connsiteX158" fmla="*/ 236221 w 471381"/>
                  <a:gd name="connsiteY158" fmla="*/ 66063 h 274100"/>
                  <a:gd name="connsiteX159" fmla="*/ 233191 w 471381"/>
                  <a:gd name="connsiteY159" fmla="*/ 67427 h 274100"/>
                  <a:gd name="connsiteX160" fmla="*/ 231675 w 471381"/>
                  <a:gd name="connsiteY160" fmla="*/ 68033 h 274100"/>
                  <a:gd name="connsiteX161" fmla="*/ 228190 w 471381"/>
                  <a:gd name="connsiteY161" fmla="*/ 67730 h 274100"/>
                  <a:gd name="connsiteX162" fmla="*/ 225160 w 471381"/>
                  <a:gd name="connsiteY162" fmla="*/ 67578 h 274100"/>
                  <a:gd name="connsiteX163" fmla="*/ 219857 w 471381"/>
                  <a:gd name="connsiteY163" fmla="*/ 67124 h 274100"/>
                  <a:gd name="connsiteX164" fmla="*/ 215311 w 471381"/>
                  <a:gd name="connsiteY164" fmla="*/ 66821 h 274100"/>
                  <a:gd name="connsiteX165" fmla="*/ 210765 w 471381"/>
                  <a:gd name="connsiteY165" fmla="*/ 66518 h 274100"/>
                  <a:gd name="connsiteX166" fmla="*/ 204402 w 471381"/>
                  <a:gd name="connsiteY166" fmla="*/ 66063 h 274100"/>
                  <a:gd name="connsiteX167" fmla="*/ 197886 w 471381"/>
                  <a:gd name="connsiteY167" fmla="*/ 65608 h 274100"/>
                  <a:gd name="connsiteX168" fmla="*/ 193492 w 471381"/>
                  <a:gd name="connsiteY168" fmla="*/ 66215 h 274100"/>
                  <a:gd name="connsiteX169" fmla="*/ 188037 w 471381"/>
                  <a:gd name="connsiteY169" fmla="*/ 66972 h 274100"/>
                  <a:gd name="connsiteX170" fmla="*/ 182279 w 471381"/>
                  <a:gd name="connsiteY170" fmla="*/ 67881 h 274100"/>
                  <a:gd name="connsiteX171" fmla="*/ 177431 w 471381"/>
                  <a:gd name="connsiteY171" fmla="*/ 68639 h 274100"/>
                  <a:gd name="connsiteX172" fmla="*/ 171370 w 471381"/>
                  <a:gd name="connsiteY172" fmla="*/ 69548 h 274100"/>
                  <a:gd name="connsiteX173" fmla="*/ 166825 w 471381"/>
                  <a:gd name="connsiteY173" fmla="*/ 70154 h 274100"/>
                  <a:gd name="connsiteX174" fmla="*/ 164552 w 471381"/>
                  <a:gd name="connsiteY174" fmla="*/ 70003 h 274100"/>
                  <a:gd name="connsiteX175" fmla="*/ 161673 w 471381"/>
                  <a:gd name="connsiteY175" fmla="*/ 67124 h 274100"/>
                  <a:gd name="connsiteX176" fmla="*/ 157127 w 471381"/>
                  <a:gd name="connsiteY176" fmla="*/ 62578 h 274100"/>
                  <a:gd name="connsiteX177" fmla="*/ 154400 w 471381"/>
                  <a:gd name="connsiteY177" fmla="*/ 59851 h 274100"/>
                  <a:gd name="connsiteX178" fmla="*/ 151672 w 471381"/>
                  <a:gd name="connsiteY178" fmla="*/ 57123 h 274100"/>
                  <a:gd name="connsiteX179" fmla="*/ 147884 w 471381"/>
                  <a:gd name="connsiteY179" fmla="*/ 53184 h 274100"/>
                  <a:gd name="connsiteX180" fmla="*/ 144703 w 471381"/>
                  <a:gd name="connsiteY180" fmla="*/ 50305 h 274100"/>
                  <a:gd name="connsiteX181" fmla="*/ 141672 w 471381"/>
                  <a:gd name="connsiteY181" fmla="*/ 47426 h 274100"/>
                  <a:gd name="connsiteX182" fmla="*/ 140006 w 471381"/>
                  <a:gd name="connsiteY182" fmla="*/ 44699 h 274100"/>
                  <a:gd name="connsiteX183" fmla="*/ 139096 w 471381"/>
                  <a:gd name="connsiteY183" fmla="*/ 41365 h 274100"/>
                  <a:gd name="connsiteX184" fmla="*/ 137581 w 471381"/>
                  <a:gd name="connsiteY184" fmla="*/ 39850 h 274100"/>
                  <a:gd name="connsiteX185" fmla="*/ 134096 w 471381"/>
                  <a:gd name="connsiteY185" fmla="*/ 37729 h 274100"/>
                  <a:gd name="connsiteX186" fmla="*/ 130308 w 471381"/>
                  <a:gd name="connsiteY186" fmla="*/ 35456 h 274100"/>
                  <a:gd name="connsiteX187" fmla="*/ 126520 w 471381"/>
                  <a:gd name="connsiteY187" fmla="*/ 33183 h 274100"/>
                  <a:gd name="connsiteX188" fmla="*/ 122732 w 471381"/>
                  <a:gd name="connsiteY188" fmla="*/ 30910 h 274100"/>
                  <a:gd name="connsiteX189" fmla="*/ 118944 w 471381"/>
                  <a:gd name="connsiteY189" fmla="*/ 28638 h 274100"/>
                  <a:gd name="connsiteX190" fmla="*/ 115156 w 471381"/>
                  <a:gd name="connsiteY190" fmla="*/ 26365 h 274100"/>
                  <a:gd name="connsiteX191" fmla="*/ 111520 w 471381"/>
                  <a:gd name="connsiteY191" fmla="*/ 24243 h 274100"/>
                  <a:gd name="connsiteX192" fmla="*/ 111520 w 471381"/>
                  <a:gd name="connsiteY192" fmla="*/ 24395 h 274100"/>
                  <a:gd name="connsiteX193" fmla="*/ 111065 w 471381"/>
                  <a:gd name="connsiteY193" fmla="*/ 28638 h 274100"/>
                  <a:gd name="connsiteX194" fmla="*/ 110004 w 471381"/>
                  <a:gd name="connsiteY194" fmla="*/ 30153 h 274100"/>
                  <a:gd name="connsiteX195" fmla="*/ 110004 w 471381"/>
                  <a:gd name="connsiteY195" fmla="*/ 32729 h 274100"/>
                  <a:gd name="connsiteX196" fmla="*/ 110913 w 471381"/>
                  <a:gd name="connsiteY196" fmla="*/ 36365 h 274100"/>
                  <a:gd name="connsiteX197" fmla="*/ 111065 w 471381"/>
                  <a:gd name="connsiteY197" fmla="*/ 38941 h 274100"/>
                  <a:gd name="connsiteX198" fmla="*/ 110459 w 471381"/>
                  <a:gd name="connsiteY198" fmla="*/ 40456 h 274100"/>
                  <a:gd name="connsiteX199" fmla="*/ 109398 w 471381"/>
                  <a:gd name="connsiteY199" fmla="*/ 41365 h 274100"/>
                  <a:gd name="connsiteX200" fmla="*/ 107883 w 471381"/>
                  <a:gd name="connsiteY200" fmla="*/ 41668 h 274100"/>
                  <a:gd name="connsiteX201" fmla="*/ 107125 w 471381"/>
                  <a:gd name="connsiteY201" fmla="*/ 42123 h 274100"/>
                  <a:gd name="connsiteX202" fmla="*/ 106974 w 471381"/>
                  <a:gd name="connsiteY202" fmla="*/ 42729 h 274100"/>
                  <a:gd name="connsiteX203" fmla="*/ 107277 w 471381"/>
                  <a:gd name="connsiteY203" fmla="*/ 43335 h 274100"/>
                  <a:gd name="connsiteX204" fmla="*/ 108034 w 471381"/>
                  <a:gd name="connsiteY204" fmla="*/ 43790 h 274100"/>
                  <a:gd name="connsiteX205" fmla="*/ 108186 w 471381"/>
                  <a:gd name="connsiteY205" fmla="*/ 44244 h 274100"/>
                  <a:gd name="connsiteX206" fmla="*/ 107732 w 471381"/>
                  <a:gd name="connsiteY206" fmla="*/ 44850 h 274100"/>
                  <a:gd name="connsiteX207" fmla="*/ 104701 w 471381"/>
                  <a:gd name="connsiteY207" fmla="*/ 46668 h 274100"/>
                  <a:gd name="connsiteX208" fmla="*/ 102125 w 471381"/>
                  <a:gd name="connsiteY208" fmla="*/ 47274 h 274100"/>
                  <a:gd name="connsiteX209" fmla="*/ 97277 w 471381"/>
                  <a:gd name="connsiteY209" fmla="*/ 47729 h 274100"/>
                  <a:gd name="connsiteX210" fmla="*/ 96974 w 471381"/>
                  <a:gd name="connsiteY210" fmla="*/ 46972 h 274100"/>
                  <a:gd name="connsiteX211" fmla="*/ 97277 w 471381"/>
                  <a:gd name="connsiteY211" fmla="*/ 46062 h 274100"/>
                  <a:gd name="connsiteX212" fmla="*/ 98034 w 471381"/>
                  <a:gd name="connsiteY212" fmla="*/ 44547 h 274100"/>
                  <a:gd name="connsiteX213" fmla="*/ 100307 w 471381"/>
                  <a:gd name="connsiteY213" fmla="*/ 41971 h 274100"/>
                  <a:gd name="connsiteX214" fmla="*/ 100307 w 471381"/>
                  <a:gd name="connsiteY214" fmla="*/ 41214 h 274100"/>
                  <a:gd name="connsiteX215" fmla="*/ 91064 w 471381"/>
                  <a:gd name="connsiteY215" fmla="*/ 33032 h 274100"/>
                  <a:gd name="connsiteX216" fmla="*/ 89094 w 471381"/>
                  <a:gd name="connsiteY216" fmla="*/ 30759 h 274100"/>
                  <a:gd name="connsiteX217" fmla="*/ 88185 w 471381"/>
                  <a:gd name="connsiteY217" fmla="*/ 28941 h 274100"/>
                  <a:gd name="connsiteX218" fmla="*/ 88185 w 471381"/>
                  <a:gd name="connsiteY218" fmla="*/ 27728 h 274100"/>
                  <a:gd name="connsiteX219" fmla="*/ 89852 w 471381"/>
                  <a:gd name="connsiteY219" fmla="*/ 23940 h 274100"/>
                  <a:gd name="connsiteX220" fmla="*/ 93186 w 471381"/>
                  <a:gd name="connsiteY220" fmla="*/ 17728 h 274100"/>
                  <a:gd name="connsiteX221" fmla="*/ 94700 w 471381"/>
                  <a:gd name="connsiteY221" fmla="*/ 14243 h 274100"/>
                  <a:gd name="connsiteX222" fmla="*/ 92579 w 471381"/>
                  <a:gd name="connsiteY222" fmla="*/ 13031 h 274100"/>
                  <a:gd name="connsiteX223" fmla="*/ 88791 w 471381"/>
                  <a:gd name="connsiteY223" fmla="*/ 10758 h 274100"/>
                  <a:gd name="connsiteX224" fmla="*/ 85003 w 471381"/>
                  <a:gd name="connsiteY224" fmla="*/ 8485 h 274100"/>
                  <a:gd name="connsiteX225" fmla="*/ 81215 w 471381"/>
                  <a:gd name="connsiteY225" fmla="*/ 6212 h 274100"/>
                  <a:gd name="connsiteX226" fmla="*/ 77427 w 471381"/>
                  <a:gd name="connsiteY226" fmla="*/ 3940 h 274100"/>
                  <a:gd name="connsiteX227" fmla="*/ 75760 w 471381"/>
                  <a:gd name="connsiteY227" fmla="*/ 3030 h 274100"/>
                  <a:gd name="connsiteX228" fmla="*/ 75003 w 471381"/>
                  <a:gd name="connsiteY228" fmla="*/ 4546 h 274100"/>
                  <a:gd name="connsiteX229" fmla="*/ 74700 w 471381"/>
                  <a:gd name="connsiteY229" fmla="*/ 6970 h 274100"/>
                  <a:gd name="connsiteX230" fmla="*/ 75155 w 471381"/>
                  <a:gd name="connsiteY230" fmla="*/ 9697 h 274100"/>
                  <a:gd name="connsiteX231" fmla="*/ 75912 w 471381"/>
                  <a:gd name="connsiteY231" fmla="*/ 11516 h 274100"/>
                  <a:gd name="connsiteX232" fmla="*/ 76821 w 471381"/>
                  <a:gd name="connsiteY232" fmla="*/ 12273 h 274100"/>
                  <a:gd name="connsiteX233" fmla="*/ 76518 w 471381"/>
                  <a:gd name="connsiteY233" fmla="*/ 13485 h 274100"/>
                  <a:gd name="connsiteX234" fmla="*/ 74851 w 471381"/>
                  <a:gd name="connsiteY234" fmla="*/ 15001 h 274100"/>
                  <a:gd name="connsiteX235" fmla="*/ 73639 w 471381"/>
                  <a:gd name="connsiteY235" fmla="*/ 16667 h 274100"/>
                  <a:gd name="connsiteX236" fmla="*/ 73033 w 471381"/>
                  <a:gd name="connsiteY236" fmla="*/ 18334 h 274100"/>
                  <a:gd name="connsiteX237" fmla="*/ 72881 w 471381"/>
                  <a:gd name="connsiteY237" fmla="*/ 19243 h 274100"/>
                  <a:gd name="connsiteX238" fmla="*/ 73336 w 471381"/>
                  <a:gd name="connsiteY238" fmla="*/ 19546 h 274100"/>
                  <a:gd name="connsiteX239" fmla="*/ 77124 w 471381"/>
                  <a:gd name="connsiteY239" fmla="*/ 17425 h 274100"/>
                  <a:gd name="connsiteX240" fmla="*/ 77427 w 471381"/>
                  <a:gd name="connsiteY240" fmla="*/ 17576 h 274100"/>
                  <a:gd name="connsiteX241" fmla="*/ 76821 w 471381"/>
                  <a:gd name="connsiteY241" fmla="*/ 20001 h 274100"/>
                  <a:gd name="connsiteX242" fmla="*/ 76215 w 471381"/>
                  <a:gd name="connsiteY242" fmla="*/ 20910 h 274100"/>
                  <a:gd name="connsiteX243" fmla="*/ 75609 w 471381"/>
                  <a:gd name="connsiteY243" fmla="*/ 21061 h 274100"/>
                  <a:gd name="connsiteX244" fmla="*/ 75306 w 471381"/>
                  <a:gd name="connsiteY244" fmla="*/ 22274 h 274100"/>
                  <a:gd name="connsiteX245" fmla="*/ 75458 w 471381"/>
                  <a:gd name="connsiteY245" fmla="*/ 24546 h 274100"/>
                  <a:gd name="connsiteX246" fmla="*/ 75760 w 471381"/>
                  <a:gd name="connsiteY246" fmla="*/ 26062 h 274100"/>
                  <a:gd name="connsiteX247" fmla="*/ 76367 w 471381"/>
                  <a:gd name="connsiteY247" fmla="*/ 26971 h 274100"/>
                  <a:gd name="connsiteX248" fmla="*/ 76215 w 471381"/>
                  <a:gd name="connsiteY248" fmla="*/ 27577 h 274100"/>
                  <a:gd name="connsiteX249" fmla="*/ 75306 w 471381"/>
                  <a:gd name="connsiteY249" fmla="*/ 27880 h 274100"/>
                  <a:gd name="connsiteX250" fmla="*/ 74700 w 471381"/>
                  <a:gd name="connsiteY250" fmla="*/ 27728 h 274100"/>
                  <a:gd name="connsiteX251" fmla="*/ 74397 w 471381"/>
                  <a:gd name="connsiteY251" fmla="*/ 26971 h 274100"/>
                  <a:gd name="connsiteX252" fmla="*/ 73791 w 471381"/>
                  <a:gd name="connsiteY252" fmla="*/ 26668 h 274100"/>
                  <a:gd name="connsiteX253" fmla="*/ 73033 w 471381"/>
                  <a:gd name="connsiteY253" fmla="*/ 26819 h 274100"/>
                  <a:gd name="connsiteX254" fmla="*/ 72427 w 471381"/>
                  <a:gd name="connsiteY254" fmla="*/ 27425 h 274100"/>
                  <a:gd name="connsiteX255" fmla="*/ 71972 w 471381"/>
                  <a:gd name="connsiteY255" fmla="*/ 28486 h 274100"/>
                  <a:gd name="connsiteX256" fmla="*/ 72276 w 471381"/>
                  <a:gd name="connsiteY256" fmla="*/ 29092 h 274100"/>
                  <a:gd name="connsiteX257" fmla="*/ 74094 w 471381"/>
                  <a:gd name="connsiteY257" fmla="*/ 29395 h 274100"/>
                  <a:gd name="connsiteX258" fmla="*/ 74246 w 471381"/>
                  <a:gd name="connsiteY258" fmla="*/ 29850 h 274100"/>
                  <a:gd name="connsiteX259" fmla="*/ 71063 w 471381"/>
                  <a:gd name="connsiteY259" fmla="*/ 34244 h 274100"/>
                  <a:gd name="connsiteX260" fmla="*/ 69245 w 471381"/>
                  <a:gd name="connsiteY260" fmla="*/ 36062 h 274100"/>
                  <a:gd name="connsiteX261" fmla="*/ 67881 w 471381"/>
                  <a:gd name="connsiteY261" fmla="*/ 37123 h 274100"/>
                  <a:gd name="connsiteX262" fmla="*/ 65305 w 471381"/>
                  <a:gd name="connsiteY262" fmla="*/ 38183 h 274100"/>
                  <a:gd name="connsiteX263" fmla="*/ 63791 w 471381"/>
                  <a:gd name="connsiteY263" fmla="*/ 38335 h 274100"/>
                  <a:gd name="connsiteX264" fmla="*/ 62730 w 471381"/>
                  <a:gd name="connsiteY264" fmla="*/ 37577 h 274100"/>
                  <a:gd name="connsiteX265" fmla="*/ 62124 w 471381"/>
                  <a:gd name="connsiteY265" fmla="*/ 36517 h 274100"/>
                  <a:gd name="connsiteX266" fmla="*/ 61821 w 471381"/>
                  <a:gd name="connsiteY266" fmla="*/ 35001 h 274100"/>
                  <a:gd name="connsiteX267" fmla="*/ 62275 w 471381"/>
                  <a:gd name="connsiteY267" fmla="*/ 33183 h 274100"/>
                  <a:gd name="connsiteX268" fmla="*/ 63336 w 471381"/>
                  <a:gd name="connsiteY268" fmla="*/ 31062 h 274100"/>
                  <a:gd name="connsiteX269" fmla="*/ 63336 w 471381"/>
                  <a:gd name="connsiteY269" fmla="*/ 28638 h 274100"/>
                  <a:gd name="connsiteX270" fmla="*/ 62124 w 471381"/>
                  <a:gd name="connsiteY270" fmla="*/ 26062 h 274100"/>
                  <a:gd name="connsiteX271" fmla="*/ 61669 w 471381"/>
                  <a:gd name="connsiteY271" fmla="*/ 23940 h 274100"/>
                  <a:gd name="connsiteX272" fmla="*/ 61821 w 471381"/>
                  <a:gd name="connsiteY272" fmla="*/ 22122 h 274100"/>
                  <a:gd name="connsiteX273" fmla="*/ 62730 w 471381"/>
                  <a:gd name="connsiteY273" fmla="*/ 19546 h 274100"/>
                  <a:gd name="connsiteX274" fmla="*/ 65609 w 471381"/>
                  <a:gd name="connsiteY274" fmla="*/ 12879 h 274100"/>
                  <a:gd name="connsiteX275" fmla="*/ 66366 w 471381"/>
                  <a:gd name="connsiteY275" fmla="*/ 10303 h 274100"/>
                  <a:gd name="connsiteX276" fmla="*/ 67579 w 471381"/>
                  <a:gd name="connsiteY276" fmla="*/ 7879 h 274100"/>
                  <a:gd name="connsiteX277" fmla="*/ 69397 w 471381"/>
                  <a:gd name="connsiteY277" fmla="*/ 5758 h 274100"/>
                  <a:gd name="connsiteX278" fmla="*/ 70609 w 471381"/>
                  <a:gd name="connsiteY278" fmla="*/ 3333 h 274100"/>
                  <a:gd name="connsiteX279" fmla="*/ 71367 w 471381"/>
                  <a:gd name="connsiteY279" fmla="*/ 606 h 274100"/>
                  <a:gd name="connsiteX280" fmla="*/ 71367 w 471381"/>
                  <a:gd name="connsiteY280" fmla="*/ 455 h 274100"/>
                  <a:gd name="connsiteX281" fmla="*/ 70458 w 471381"/>
                  <a:gd name="connsiteY281" fmla="*/ 0 h 274100"/>
                  <a:gd name="connsiteX282" fmla="*/ 67579 w 471381"/>
                  <a:gd name="connsiteY282" fmla="*/ 455 h 274100"/>
                  <a:gd name="connsiteX283" fmla="*/ 63184 w 471381"/>
                  <a:gd name="connsiteY283" fmla="*/ 1667 h 274100"/>
                  <a:gd name="connsiteX284" fmla="*/ 58639 w 471381"/>
                  <a:gd name="connsiteY284" fmla="*/ 2879 h 274100"/>
                  <a:gd name="connsiteX285" fmla="*/ 54093 w 471381"/>
                  <a:gd name="connsiteY285" fmla="*/ 4091 h 274100"/>
                  <a:gd name="connsiteX286" fmla="*/ 46062 w 471381"/>
                  <a:gd name="connsiteY286" fmla="*/ 6212 h 274100"/>
                  <a:gd name="connsiteX287" fmla="*/ 40911 w 471381"/>
                  <a:gd name="connsiteY287" fmla="*/ 7576 h 274100"/>
                  <a:gd name="connsiteX288" fmla="*/ 36820 w 471381"/>
                  <a:gd name="connsiteY288" fmla="*/ 8788 h 274100"/>
                  <a:gd name="connsiteX289" fmla="*/ 32577 w 471381"/>
                  <a:gd name="connsiteY289" fmla="*/ 10000 h 274100"/>
                  <a:gd name="connsiteX290" fmla="*/ 26971 w 471381"/>
                  <a:gd name="connsiteY290" fmla="*/ 11667 h 274100"/>
                  <a:gd name="connsiteX291" fmla="*/ 22274 w 471381"/>
                  <a:gd name="connsiteY291" fmla="*/ 13031 h 274100"/>
                  <a:gd name="connsiteX292" fmla="*/ 16667 w 471381"/>
                  <a:gd name="connsiteY292" fmla="*/ 14546 h 274100"/>
                  <a:gd name="connsiteX293" fmla="*/ 11819 w 471381"/>
                  <a:gd name="connsiteY293" fmla="*/ 15910 h 274100"/>
                  <a:gd name="connsiteX294" fmla="*/ 7728 w 471381"/>
                  <a:gd name="connsiteY294" fmla="*/ 17122 h 274100"/>
                  <a:gd name="connsiteX295" fmla="*/ 3485 w 471381"/>
                  <a:gd name="connsiteY295" fmla="*/ 18334 h 274100"/>
                  <a:gd name="connsiteX296" fmla="*/ 0 w 471381"/>
                  <a:gd name="connsiteY296" fmla="*/ 19243 h 274100"/>
                  <a:gd name="connsiteX297" fmla="*/ 0 w 471381"/>
                  <a:gd name="connsiteY297" fmla="*/ 26971 h 274100"/>
                  <a:gd name="connsiteX298" fmla="*/ 0 w 471381"/>
                  <a:gd name="connsiteY298" fmla="*/ 34698 h 274100"/>
                  <a:gd name="connsiteX299" fmla="*/ 0 w 471381"/>
                  <a:gd name="connsiteY299" fmla="*/ 42426 h 274100"/>
                  <a:gd name="connsiteX300" fmla="*/ 0 w 471381"/>
                  <a:gd name="connsiteY300" fmla="*/ 50153 h 274100"/>
                  <a:gd name="connsiteX301" fmla="*/ 0 w 471381"/>
                  <a:gd name="connsiteY301" fmla="*/ 57881 h 274100"/>
                  <a:gd name="connsiteX302" fmla="*/ 0 w 471381"/>
                  <a:gd name="connsiteY302" fmla="*/ 65457 h 274100"/>
                  <a:gd name="connsiteX303" fmla="*/ 0 w 471381"/>
                  <a:gd name="connsiteY303" fmla="*/ 73033 h 274100"/>
                  <a:gd name="connsiteX304" fmla="*/ 0 w 471381"/>
                  <a:gd name="connsiteY304" fmla="*/ 80609 h 274100"/>
                  <a:gd name="connsiteX305" fmla="*/ 0 w 471381"/>
                  <a:gd name="connsiteY305" fmla="*/ 88185 h 274100"/>
                  <a:gd name="connsiteX306" fmla="*/ 0 w 471381"/>
                  <a:gd name="connsiteY306" fmla="*/ 95761 h 274100"/>
                  <a:gd name="connsiteX307" fmla="*/ 0 w 471381"/>
                  <a:gd name="connsiteY307" fmla="*/ 103337 h 274100"/>
                  <a:gd name="connsiteX308" fmla="*/ 0 w 471381"/>
                  <a:gd name="connsiteY308" fmla="*/ 110913 h 274100"/>
                  <a:gd name="connsiteX309" fmla="*/ 0 w 471381"/>
                  <a:gd name="connsiteY309" fmla="*/ 118489 h 274100"/>
                  <a:gd name="connsiteX310" fmla="*/ 0 w 471381"/>
                  <a:gd name="connsiteY310" fmla="*/ 126065 h 274100"/>
                  <a:gd name="connsiteX311" fmla="*/ 0 w 471381"/>
                  <a:gd name="connsiteY311" fmla="*/ 133490 h 274100"/>
                  <a:gd name="connsiteX312" fmla="*/ 0 w 471381"/>
                  <a:gd name="connsiteY312" fmla="*/ 140914 h 274100"/>
                  <a:gd name="connsiteX313" fmla="*/ 7273 w 471381"/>
                  <a:gd name="connsiteY313" fmla="*/ 141217 h 274100"/>
                  <a:gd name="connsiteX314" fmla="*/ 13788 w 471381"/>
                  <a:gd name="connsiteY314" fmla="*/ 141520 h 274100"/>
                  <a:gd name="connsiteX315" fmla="*/ 21819 w 471381"/>
                  <a:gd name="connsiteY315" fmla="*/ 141975 h 274100"/>
                  <a:gd name="connsiteX316" fmla="*/ 24243 w 471381"/>
                  <a:gd name="connsiteY316" fmla="*/ 142429 h 274100"/>
                  <a:gd name="connsiteX317" fmla="*/ 27122 w 471381"/>
                  <a:gd name="connsiteY317" fmla="*/ 142733 h 274100"/>
                  <a:gd name="connsiteX318" fmla="*/ 28486 w 471381"/>
                  <a:gd name="connsiteY318" fmla="*/ 142733 h 274100"/>
                  <a:gd name="connsiteX319" fmla="*/ 29698 w 471381"/>
                  <a:gd name="connsiteY319" fmla="*/ 141369 h 274100"/>
                  <a:gd name="connsiteX320" fmla="*/ 30607 w 471381"/>
                  <a:gd name="connsiteY320" fmla="*/ 140611 h 274100"/>
                  <a:gd name="connsiteX321" fmla="*/ 31213 w 471381"/>
                  <a:gd name="connsiteY321" fmla="*/ 140005 h 274100"/>
                  <a:gd name="connsiteX322" fmla="*/ 31062 w 471381"/>
                  <a:gd name="connsiteY322" fmla="*/ 139248 h 274100"/>
                  <a:gd name="connsiteX323" fmla="*/ 30001 w 471381"/>
                  <a:gd name="connsiteY323" fmla="*/ 138641 h 274100"/>
                  <a:gd name="connsiteX324" fmla="*/ 28335 w 471381"/>
                  <a:gd name="connsiteY324" fmla="*/ 136672 h 274100"/>
                  <a:gd name="connsiteX325" fmla="*/ 27425 w 471381"/>
                  <a:gd name="connsiteY325" fmla="*/ 129550 h 274100"/>
                  <a:gd name="connsiteX326" fmla="*/ 26819 w 471381"/>
                  <a:gd name="connsiteY326" fmla="*/ 123489 h 274100"/>
                  <a:gd name="connsiteX327" fmla="*/ 28789 w 471381"/>
                  <a:gd name="connsiteY327" fmla="*/ 121520 h 274100"/>
                  <a:gd name="connsiteX328" fmla="*/ 30304 w 471381"/>
                  <a:gd name="connsiteY328" fmla="*/ 120611 h 274100"/>
                  <a:gd name="connsiteX329" fmla="*/ 30456 w 471381"/>
                  <a:gd name="connsiteY329" fmla="*/ 119853 h 274100"/>
                  <a:gd name="connsiteX330" fmla="*/ 32880 w 471381"/>
                  <a:gd name="connsiteY330" fmla="*/ 112731 h 274100"/>
                  <a:gd name="connsiteX331" fmla="*/ 35305 w 471381"/>
                  <a:gd name="connsiteY331" fmla="*/ 108792 h 274100"/>
                  <a:gd name="connsiteX332" fmla="*/ 38638 w 471381"/>
                  <a:gd name="connsiteY332" fmla="*/ 107731 h 274100"/>
                  <a:gd name="connsiteX333" fmla="*/ 42881 w 471381"/>
                  <a:gd name="connsiteY333" fmla="*/ 110156 h 274100"/>
                  <a:gd name="connsiteX334" fmla="*/ 44699 w 471381"/>
                  <a:gd name="connsiteY334" fmla="*/ 113338 h 274100"/>
                  <a:gd name="connsiteX335" fmla="*/ 46517 w 471381"/>
                  <a:gd name="connsiteY335" fmla="*/ 113338 h 274100"/>
                  <a:gd name="connsiteX336" fmla="*/ 50002 w 471381"/>
                  <a:gd name="connsiteY336" fmla="*/ 112580 h 274100"/>
                  <a:gd name="connsiteX337" fmla="*/ 51214 w 471381"/>
                  <a:gd name="connsiteY337" fmla="*/ 111216 h 274100"/>
                  <a:gd name="connsiteX338" fmla="*/ 53032 w 471381"/>
                  <a:gd name="connsiteY338" fmla="*/ 107731 h 274100"/>
                  <a:gd name="connsiteX339" fmla="*/ 53638 w 471381"/>
                  <a:gd name="connsiteY339" fmla="*/ 105004 h 274100"/>
                  <a:gd name="connsiteX340" fmla="*/ 54699 w 471381"/>
                  <a:gd name="connsiteY340" fmla="*/ 103792 h 274100"/>
                  <a:gd name="connsiteX341" fmla="*/ 55911 w 471381"/>
                  <a:gd name="connsiteY341" fmla="*/ 102883 h 274100"/>
                  <a:gd name="connsiteX342" fmla="*/ 57124 w 471381"/>
                  <a:gd name="connsiteY342" fmla="*/ 102883 h 274100"/>
                  <a:gd name="connsiteX343" fmla="*/ 59548 w 471381"/>
                  <a:gd name="connsiteY343" fmla="*/ 103640 h 274100"/>
                  <a:gd name="connsiteX344" fmla="*/ 61366 w 471381"/>
                  <a:gd name="connsiteY344" fmla="*/ 104095 h 274100"/>
                  <a:gd name="connsiteX345" fmla="*/ 62730 w 471381"/>
                  <a:gd name="connsiteY345" fmla="*/ 104701 h 274100"/>
                  <a:gd name="connsiteX346" fmla="*/ 63942 w 471381"/>
                  <a:gd name="connsiteY346" fmla="*/ 105761 h 274100"/>
                  <a:gd name="connsiteX347" fmla="*/ 65154 w 471381"/>
                  <a:gd name="connsiteY347" fmla="*/ 107428 h 274100"/>
                  <a:gd name="connsiteX348" fmla="*/ 65305 w 471381"/>
                  <a:gd name="connsiteY348" fmla="*/ 108489 h 274100"/>
                  <a:gd name="connsiteX349" fmla="*/ 65912 w 471381"/>
                  <a:gd name="connsiteY349" fmla="*/ 109095 h 274100"/>
                  <a:gd name="connsiteX350" fmla="*/ 66821 w 471381"/>
                  <a:gd name="connsiteY350" fmla="*/ 109095 h 274100"/>
                  <a:gd name="connsiteX351" fmla="*/ 67579 w 471381"/>
                  <a:gd name="connsiteY351" fmla="*/ 109095 h 274100"/>
                  <a:gd name="connsiteX352" fmla="*/ 68033 w 471381"/>
                  <a:gd name="connsiteY352" fmla="*/ 108792 h 274100"/>
                  <a:gd name="connsiteX353" fmla="*/ 68336 w 471381"/>
                  <a:gd name="connsiteY353" fmla="*/ 108186 h 274100"/>
                  <a:gd name="connsiteX354" fmla="*/ 68033 w 471381"/>
                  <a:gd name="connsiteY354" fmla="*/ 107428 h 274100"/>
                  <a:gd name="connsiteX355" fmla="*/ 66366 w 471381"/>
                  <a:gd name="connsiteY355" fmla="*/ 105307 h 274100"/>
                  <a:gd name="connsiteX356" fmla="*/ 62881 w 471381"/>
                  <a:gd name="connsiteY356" fmla="*/ 101367 h 274100"/>
                  <a:gd name="connsiteX357" fmla="*/ 60608 w 471381"/>
                  <a:gd name="connsiteY357" fmla="*/ 99701 h 274100"/>
                  <a:gd name="connsiteX358" fmla="*/ 59396 w 471381"/>
                  <a:gd name="connsiteY358" fmla="*/ 98792 h 274100"/>
                  <a:gd name="connsiteX359" fmla="*/ 59093 w 471381"/>
                  <a:gd name="connsiteY359" fmla="*/ 98034 h 274100"/>
                  <a:gd name="connsiteX360" fmla="*/ 60608 w 471381"/>
                  <a:gd name="connsiteY360" fmla="*/ 96822 h 274100"/>
                  <a:gd name="connsiteX361" fmla="*/ 62124 w 471381"/>
                  <a:gd name="connsiteY361" fmla="*/ 96064 h 274100"/>
                  <a:gd name="connsiteX362" fmla="*/ 64700 w 471381"/>
                  <a:gd name="connsiteY362" fmla="*/ 96670 h 274100"/>
                  <a:gd name="connsiteX363" fmla="*/ 68033 w 471381"/>
                  <a:gd name="connsiteY363" fmla="*/ 96973 h 274100"/>
                  <a:gd name="connsiteX364" fmla="*/ 69548 w 471381"/>
                  <a:gd name="connsiteY364" fmla="*/ 96367 h 274100"/>
                  <a:gd name="connsiteX365" fmla="*/ 71063 w 471381"/>
                  <a:gd name="connsiteY365" fmla="*/ 93185 h 274100"/>
                  <a:gd name="connsiteX366" fmla="*/ 74851 w 471381"/>
                  <a:gd name="connsiteY366" fmla="*/ 96519 h 274100"/>
                  <a:gd name="connsiteX367" fmla="*/ 78943 w 471381"/>
                  <a:gd name="connsiteY367" fmla="*/ 100307 h 274100"/>
                  <a:gd name="connsiteX368" fmla="*/ 80457 w 471381"/>
                  <a:gd name="connsiteY368" fmla="*/ 101064 h 274100"/>
                  <a:gd name="connsiteX369" fmla="*/ 83336 w 471381"/>
                  <a:gd name="connsiteY369" fmla="*/ 101519 h 274100"/>
                  <a:gd name="connsiteX370" fmla="*/ 85761 w 471381"/>
                  <a:gd name="connsiteY370" fmla="*/ 101670 h 274100"/>
                  <a:gd name="connsiteX371" fmla="*/ 86822 w 471381"/>
                  <a:gd name="connsiteY371" fmla="*/ 102125 h 274100"/>
                  <a:gd name="connsiteX372" fmla="*/ 87882 w 471381"/>
                  <a:gd name="connsiteY372" fmla="*/ 103034 h 274100"/>
                  <a:gd name="connsiteX373" fmla="*/ 90003 w 471381"/>
                  <a:gd name="connsiteY373" fmla="*/ 107125 h 274100"/>
                  <a:gd name="connsiteX374" fmla="*/ 92125 w 471381"/>
                  <a:gd name="connsiteY374" fmla="*/ 108186 h 274100"/>
                  <a:gd name="connsiteX375" fmla="*/ 94700 w 471381"/>
                  <a:gd name="connsiteY375" fmla="*/ 108943 h 274100"/>
                  <a:gd name="connsiteX376" fmla="*/ 103186 w 471381"/>
                  <a:gd name="connsiteY376" fmla="*/ 108943 h 274100"/>
                  <a:gd name="connsiteX377" fmla="*/ 105762 w 471381"/>
                  <a:gd name="connsiteY377" fmla="*/ 109095 h 274100"/>
                  <a:gd name="connsiteX378" fmla="*/ 107883 w 471381"/>
                  <a:gd name="connsiteY378" fmla="*/ 111065 h 274100"/>
                  <a:gd name="connsiteX379" fmla="*/ 109247 w 471381"/>
                  <a:gd name="connsiteY379" fmla="*/ 111822 h 274100"/>
                  <a:gd name="connsiteX380" fmla="*/ 109853 w 471381"/>
                  <a:gd name="connsiteY380" fmla="*/ 112580 h 274100"/>
                  <a:gd name="connsiteX381" fmla="*/ 109701 w 471381"/>
                  <a:gd name="connsiteY381" fmla="*/ 113489 h 274100"/>
                  <a:gd name="connsiteX382" fmla="*/ 109247 w 471381"/>
                  <a:gd name="connsiteY382" fmla="*/ 114550 h 274100"/>
                  <a:gd name="connsiteX383" fmla="*/ 109247 w 471381"/>
                  <a:gd name="connsiteY383" fmla="*/ 116671 h 274100"/>
                  <a:gd name="connsiteX384" fmla="*/ 109095 w 471381"/>
                  <a:gd name="connsiteY384" fmla="*/ 118338 h 274100"/>
                  <a:gd name="connsiteX385" fmla="*/ 108489 w 471381"/>
                  <a:gd name="connsiteY385" fmla="*/ 119095 h 274100"/>
                  <a:gd name="connsiteX386" fmla="*/ 108338 w 471381"/>
                  <a:gd name="connsiteY386" fmla="*/ 119853 h 274100"/>
                  <a:gd name="connsiteX387" fmla="*/ 108943 w 471381"/>
                  <a:gd name="connsiteY387" fmla="*/ 120459 h 274100"/>
                  <a:gd name="connsiteX388" fmla="*/ 112883 w 471381"/>
                  <a:gd name="connsiteY388" fmla="*/ 121974 h 274100"/>
                  <a:gd name="connsiteX389" fmla="*/ 114247 w 471381"/>
                  <a:gd name="connsiteY389" fmla="*/ 123641 h 274100"/>
                  <a:gd name="connsiteX390" fmla="*/ 115308 w 471381"/>
                  <a:gd name="connsiteY390" fmla="*/ 124399 h 274100"/>
                  <a:gd name="connsiteX391" fmla="*/ 115610 w 471381"/>
                  <a:gd name="connsiteY391" fmla="*/ 125459 h 274100"/>
                  <a:gd name="connsiteX392" fmla="*/ 115004 w 471381"/>
                  <a:gd name="connsiteY392" fmla="*/ 126065 h 274100"/>
                  <a:gd name="connsiteX393" fmla="*/ 113186 w 471381"/>
                  <a:gd name="connsiteY393" fmla="*/ 125762 h 274100"/>
                  <a:gd name="connsiteX394" fmla="*/ 112277 w 471381"/>
                  <a:gd name="connsiteY394" fmla="*/ 126823 h 274100"/>
                  <a:gd name="connsiteX395" fmla="*/ 112277 w 471381"/>
                  <a:gd name="connsiteY395" fmla="*/ 128793 h 274100"/>
                  <a:gd name="connsiteX396" fmla="*/ 113641 w 471381"/>
                  <a:gd name="connsiteY396" fmla="*/ 130611 h 274100"/>
                  <a:gd name="connsiteX397" fmla="*/ 114095 w 471381"/>
                  <a:gd name="connsiteY397" fmla="*/ 132278 h 274100"/>
                  <a:gd name="connsiteX398" fmla="*/ 113186 w 471381"/>
                  <a:gd name="connsiteY398" fmla="*/ 133944 h 274100"/>
                  <a:gd name="connsiteX399" fmla="*/ 112126 w 471381"/>
                  <a:gd name="connsiteY399" fmla="*/ 136217 h 274100"/>
                  <a:gd name="connsiteX400" fmla="*/ 112126 w 471381"/>
                  <a:gd name="connsiteY400" fmla="*/ 137884 h 274100"/>
                  <a:gd name="connsiteX401" fmla="*/ 112731 w 471381"/>
                  <a:gd name="connsiteY401" fmla="*/ 138793 h 274100"/>
                  <a:gd name="connsiteX402" fmla="*/ 115762 w 471381"/>
                  <a:gd name="connsiteY402" fmla="*/ 140460 h 274100"/>
                  <a:gd name="connsiteX403" fmla="*/ 122732 w 471381"/>
                  <a:gd name="connsiteY403" fmla="*/ 144551 h 274100"/>
                  <a:gd name="connsiteX404" fmla="*/ 124399 w 471381"/>
                  <a:gd name="connsiteY404" fmla="*/ 144702 h 274100"/>
                  <a:gd name="connsiteX405" fmla="*/ 131066 w 471381"/>
                  <a:gd name="connsiteY405" fmla="*/ 143793 h 274100"/>
                  <a:gd name="connsiteX406" fmla="*/ 134096 w 471381"/>
                  <a:gd name="connsiteY406" fmla="*/ 143642 h 274100"/>
                  <a:gd name="connsiteX407" fmla="*/ 135914 w 471381"/>
                  <a:gd name="connsiteY407" fmla="*/ 144248 h 274100"/>
                  <a:gd name="connsiteX408" fmla="*/ 141066 w 471381"/>
                  <a:gd name="connsiteY408" fmla="*/ 144854 h 274100"/>
                  <a:gd name="connsiteX409" fmla="*/ 142733 w 471381"/>
                  <a:gd name="connsiteY409" fmla="*/ 145460 h 274100"/>
                  <a:gd name="connsiteX410" fmla="*/ 144399 w 471381"/>
                  <a:gd name="connsiteY410" fmla="*/ 145460 h 274100"/>
                  <a:gd name="connsiteX411" fmla="*/ 146824 w 471381"/>
                  <a:gd name="connsiteY411" fmla="*/ 145308 h 274100"/>
                  <a:gd name="connsiteX412" fmla="*/ 148491 w 471381"/>
                  <a:gd name="connsiteY412" fmla="*/ 143490 h 274100"/>
                  <a:gd name="connsiteX413" fmla="*/ 149248 w 471381"/>
                  <a:gd name="connsiteY413" fmla="*/ 143036 h 274100"/>
                  <a:gd name="connsiteX414" fmla="*/ 150006 w 471381"/>
                  <a:gd name="connsiteY414" fmla="*/ 142733 h 274100"/>
                  <a:gd name="connsiteX415" fmla="*/ 151521 w 471381"/>
                  <a:gd name="connsiteY415" fmla="*/ 142733 h 274100"/>
                  <a:gd name="connsiteX416" fmla="*/ 155612 w 471381"/>
                  <a:gd name="connsiteY416" fmla="*/ 143945 h 274100"/>
                  <a:gd name="connsiteX417" fmla="*/ 159855 w 471381"/>
                  <a:gd name="connsiteY417" fmla="*/ 146369 h 274100"/>
                  <a:gd name="connsiteX418" fmla="*/ 162734 w 471381"/>
                  <a:gd name="connsiteY418" fmla="*/ 148642 h 274100"/>
                  <a:gd name="connsiteX419" fmla="*/ 164097 w 471381"/>
                  <a:gd name="connsiteY419" fmla="*/ 150763 h 274100"/>
                  <a:gd name="connsiteX420" fmla="*/ 165915 w 471381"/>
                  <a:gd name="connsiteY420" fmla="*/ 155157 h 274100"/>
                  <a:gd name="connsiteX421" fmla="*/ 168036 w 471381"/>
                  <a:gd name="connsiteY421" fmla="*/ 161976 h 274100"/>
                  <a:gd name="connsiteX422" fmla="*/ 170613 w 471381"/>
                  <a:gd name="connsiteY422" fmla="*/ 166521 h 274100"/>
                  <a:gd name="connsiteX423" fmla="*/ 173643 w 471381"/>
                  <a:gd name="connsiteY423" fmla="*/ 168946 h 274100"/>
                  <a:gd name="connsiteX424" fmla="*/ 175764 w 471381"/>
                  <a:gd name="connsiteY424" fmla="*/ 173340 h 274100"/>
                  <a:gd name="connsiteX425" fmla="*/ 177582 w 471381"/>
                  <a:gd name="connsiteY425" fmla="*/ 182886 h 274100"/>
                  <a:gd name="connsiteX426" fmla="*/ 178795 w 471381"/>
                  <a:gd name="connsiteY426" fmla="*/ 184855 h 274100"/>
                  <a:gd name="connsiteX427" fmla="*/ 180007 w 471381"/>
                  <a:gd name="connsiteY427" fmla="*/ 185916 h 274100"/>
                  <a:gd name="connsiteX428" fmla="*/ 183492 w 471381"/>
                  <a:gd name="connsiteY428" fmla="*/ 188643 h 274100"/>
                  <a:gd name="connsiteX429" fmla="*/ 190462 w 471381"/>
                  <a:gd name="connsiteY429" fmla="*/ 193189 h 274100"/>
                  <a:gd name="connsiteX430" fmla="*/ 194553 w 471381"/>
                  <a:gd name="connsiteY430" fmla="*/ 195916 h 274100"/>
                  <a:gd name="connsiteX431" fmla="*/ 200917 w 471381"/>
                  <a:gd name="connsiteY431" fmla="*/ 200159 h 274100"/>
                  <a:gd name="connsiteX432" fmla="*/ 206826 w 471381"/>
                  <a:gd name="connsiteY432" fmla="*/ 204098 h 274100"/>
                  <a:gd name="connsiteX433" fmla="*/ 212735 w 471381"/>
                  <a:gd name="connsiteY433" fmla="*/ 210159 h 274100"/>
                  <a:gd name="connsiteX434" fmla="*/ 213948 w 471381"/>
                  <a:gd name="connsiteY434" fmla="*/ 211068 h 274100"/>
                  <a:gd name="connsiteX435" fmla="*/ 219099 w 471381"/>
                  <a:gd name="connsiteY435" fmla="*/ 214402 h 274100"/>
                  <a:gd name="connsiteX436" fmla="*/ 224857 w 471381"/>
                  <a:gd name="connsiteY436" fmla="*/ 217735 h 274100"/>
                  <a:gd name="connsiteX437" fmla="*/ 228948 w 471381"/>
                  <a:gd name="connsiteY437" fmla="*/ 216978 h 274100"/>
                  <a:gd name="connsiteX438" fmla="*/ 235009 w 471381"/>
                  <a:gd name="connsiteY438" fmla="*/ 222129 h 274100"/>
                  <a:gd name="connsiteX439" fmla="*/ 237433 w 471381"/>
                  <a:gd name="connsiteY439" fmla="*/ 224099 h 274100"/>
                  <a:gd name="connsiteX440" fmla="*/ 238494 w 471381"/>
                  <a:gd name="connsiteY440" fmla="*/ 224705 h 274100"/>
                  <a:gd name="connsiteX441" fmla="*/ 242888 w 471381"/>
                  <a:gd name="connsiteY441" fmla="*/ 226675 h 274100"/>
                  <a:gd name="connsiteX442" fmla="*/ 249858 w 471381"/>
                  <a:gd name="connsiteY442" fmla="*/ 230918 h 274100"/>
                  <a:gd name="connsiteX443" fmla="*/ 258646 w 471381"/>
                  <a:gd name="connsiteY443" fmla="*/ 236978 h 274100"/>
                  <a:gd name="connsiteX444" fmla="*/ 264556 w 471381"/>
                  <a:gd name="connsiteY444" fmla="*/ 240463 h 274100"/>
                  <a:gd name="connsiteX445" fmla="*/ 266070 w 471381"/>
                  <a:gd name="connsiteY445" fmla="*/ 240918 h 274100"/>
                  <a:gd name="connsiteX446" fmla="*/ 267586 w 471381"/>
                  <a:gd name="connsiteY446" fmla="*/ 240918 h 274100"/>
                  <a:gd name="connsiteX447" fmla="*/ 269253 w 471381"/>
                  <a:gd name="connsiteY447" fmla="*/ 240160 h 274100"/>
                  <a:gd name="connsiteX448" fmla="*/ 271071 w 471381"/>
                  <a:gd name="connsiteY448" fmla="*/ 239554 h 274100"/>
                  <a:gd name="connsiteX449" fmla="*/ 274253 w 471381"/>
                  <a:gd name="connsiteY449" fmla="*/ 240312 h 274100"/>
                  <a:gd name="connsiteX450" fmla="*/ 277586 w 471381"/>
                  <a:gd name="connsiteY450" fmla="*/ 241675 h 274100"/>
                  <a:gd name="connsiteX451" fmla="*/ 279708 w 471381"/>
                  <a:gd name="connsiteY451" fmla="*/ 242736 h 274100"/>
                  <a:gd name="connsiteX452" fmla="*/ 282132 w 471381"/>
                  <a:gd name="connsiteY452" fmla="*/ 244251 h 274100"/>
                  <a:gd name="connsiteX453" fmla="*/ 284101 w 471381"/>
                  <a:gd name="connsiteY453" fmla="*/ 245767 h 274100"/>
                  <a:gd name="connsiteX454" fmla="*/ 285617 w 471381"/>
                  <a:gd name="connsiteY454" fmla="*/ 246373 h 274100"/>
                  <a:gd name="connsiteX455" fmla="*/ 290617 w 471381"/>
                  <a:gd name="connsiteY455" fmla="*/ 247585 h 274100"/>
                  <a:gd name="connsiteX456" fmla="*/ 291526 w 471381"/>
                  <a:gd name="connsiteY456" fmla="*/ 248342 h 274100"/>
                  <a:gd name="connsiteX457" fmla="*/ 292132 w 471381"/>
                  <a:gd name="connsiteY457" fmla="*/ 249251 h 274100"/>
                  <a:gd name="connsiteX458" fmla="*/ 292284 w 471381"/>
                  <a:gd name="connsiteY458" fmla="*/ 250161 h 274100"/>
                  <a:gd name="connsiteX459" fmla="*/ 289405 w 471381"/>
                  <a:gd name="connsiteY459" fmla="*/ 254706 h 274100"/>
                  <a:gd name="connsiteX460" fmla="*/ 288950 w 471381"/>
                  <a:gd name="connsiteY460" fmla="*/ 260616 h 274100"/>
                  <a:gd name="connsiteX461" fmla="*/ 288950 w 471381"/>
                  <a:gd name="connsiteY461" fmla="*/ 265010 h 274100"/>
                  <a:gd name="connsiteX462" fmla="*/ 289253 w 471381"/>
                  <a:gd name="connsiteY462" fmla="*/ 268495 h 274100"/>
                  <a:gd name="connsiteX463" fmla="*/ 297587 w 471381"/>
                  <a:gd name="connsiteY463" fmla="*/ 267737 h 274100"/>
                  <a:gd name="connsiteX464" fmla="*/ 304254 w 471381"/>
                  <a:gd name="connsiteY464" fmla="*/ 268949 h 274100"/>
                  <a:gd name="connsiteX465" fmla="*/ 307739 w 471381"/>
                  <a:gd name="connsiteY465" fmla="*/ 272131 h 274100"/>
                  <a:gd name="connsiteX466" fmla="*/ 311072 w 471381"/>
                  <a:gd name="connsiteY466" fmla="*/ 272889 h 274100"/>
                  <a:gd name="connsiteX467" fmla="*/ 314406 w 471381"/>
                  <a:gd name="connsiteY467" fmla="*/ 271374 h 274100"/>
                  <a:gd name="connsiteX468" fmla="*/ 316527 w 471381"/>
                  <a:gd name="connsiteY468" fmla="*/ 271070 h 274100"/>
                  <a:gd name="connsiteX469" fmla="*/ 317285 w 471381"/>
                  <a:gd name="connsiteY469" fmla="*/ 271980 h 274100"/>
                  <a:gd name="connsiteX470" fmla="*/ 318952 w 471381"/>
                  <a:gd name="connsiteY470" fmla="*/ 272434 h 274100"/>
                  <a:gd name="connsiteX471" fmla="*/ 321527 w 471381"/>
                  <a:gd name="connsiteY471" fmla="*/ 272283 h 274100"/>
                  <a:gd name="connsiteX472" fmla="*/ 323042 w 471381"/>
                  <a:gd name="connsiteY472" fmla="*/ 273192 h 274100"/>
                  <a:gd name="connsiteX473" fmla="*/ 323194 w 471381"/>
                  <a:gd name="connsiteY473" fmla="*/ 274101 h 274100"/>
                  <a:gd name="connsiteX474" fmla="*/ 324255 w 471381"/>
                  <a:gd name="connsiteY474" fmla="*/ 271828 h 274100"/>
                  <a:gd name="connsiteX475" fmla="*/ 324709 w 471381"/>
                  <a:gd name="connsiteY475" fmla="*/ 264252 h 274100"/>
                  <a:gd name="connsiteX476" fmla="*/ 326073 w 471381"/>
                  <a:gd name="connsiteY476" fmla="*/ 261676 h 274100"/>
                  <a:gd name="connsiteX477" fmla="*/ 330164 w 471381"/>
                  <a:gd name="connsiteY477" fmla="*/ 256979 h 274100"/>
                  <a:gd name="connsiteX478" fmla="*/ 332285 w 471381"/>
                  <a:gd name="connsiteY478" fmla="*/ 253343 h 274100"/>
                  <a:gd name="connsiteX479" fmla="*/ 334709 w 471381"/>
                  <a:gd name="connsiteY479" fmla="*/ 250464 h 274100"/>
                  <a:gd name="connsiteX480" fmla="*/ 336376 w 471381"/>
                  <a:gd name="connsiteY480" fmla="*/ 249403 h 274100"/>
                  <a:gd name="connsiteX481" fmla="*/ 337892 w 471381"/>
                  <a:gd name="connsiteY481" fmla="*/ 247130 h 274100"/>
                  <a:gd name="connsiteX482" fmla="*/ 339255 w 471381"/>
                  <a:gd name="connsiteY482" fmla="*/ 244403 h 274100"/>
                  <a:gd name="connsiteX483" fmla="*/ 339558 w 471381"/>
                  <a:gd name="connsiteY483" fmla="*/ 242736 h 274100"/>
                  <a:gd name="connsiteX484" fmla="*/ 339407 w 471381"/>
                  <a:gd name="connsiteY484" fmla="*/ 241373 h 274100"/>
                  <a:gd name="connsiteX485" fmla="*/ 338952 w 471381"/>
                  <a:gd name="connsiteY485" fmla="*/ 240463 h 274100"/>
                  <a:gd name="connsiteX486" fmla="*/ 336679 w 471381"/>
                  <a:gd name="connsiteY486" fmla="*/ 238645 h 274100"/>
                  <a:gd name="connsiteX487" fmla="*/ 333800 w 471381"/>
                  <a:gd name="connsiteY487" fmla="*/ 235766 h 274100"/>
                  <a:gd name="connsiteX488" fmla="*/ 332285 w 471381"/>
                  <a:gd name="connsiteY488" fmla="*/ 232887 h 274100"/>
                  <a:gd name="connsiteX489" fmla="*/ 331376 w 471381"/>
                  <a:gd name="connsiteY489" fmla="*/ 229251 h 274100"/>
                  <a:gd name="connsiteX490" fmla="*/ 331225 w 471381"/>
                  <a:gd name="connsiteY490" fmla="*/ 226675 h 274100"/>
                  <a:gd name="connsiteX491" fmla="*/ 333952 w 471381"/>
                  <a:gd name="connsiteY491" fmla="*/ 219554 h 274100"/>
                  <a:gd name="connsiteX492" fmla="*/ 333497 w 471381"/>
                  <a:gd name="connsiteY492" fmla="*/ 218341 h 274100"/>
                  <a:gd name="connsiteX493" fmla="*/ 332740 w 471381"/>
                  <a:gd name="connsiteY493" fmla="*/ 217281 h 274100"/>
                  <a:gd name="connsiteX494" fmla="*/ 331073 w 471381"/>
                  <a:gd name="connsiteY494" fmla="*/ 216523 h 274100"/>
                  <a:gd name="connsiteX495" fmla="*/ 328800 w 471381"/>
                  <a:gd name="connsiteY495" fmla="*/ 216220 h 274100"/>
                  <a:gd name="connsiteX496" fmla="*/ 326528 w 471381"/>
                  <a:gd name="connsiteY496" fmla="*/ 216523 h 274100"/>
                  <a:gd name="connsiteX497" fmla="*/ 323649 w 471381"/>
                  <a:gd name="connsiteY497" fmla="*/ 216523 h 274100"/>
                  <a:gd name="connsiteX498" fmla="*/ 321679 w 471381"/>
                  <a:gd name="connsiteY498" fmla="*/ 216069 h 274100"/>
                  <a:gd name="connsiteX499" fmla="*/ 321224 w 471381"/>
                  <a:gd name="connsiteY499" fmla="*/ 215614 h 274100"/>
                  <a:gd name="connsiteX500" fmla="*/ 320921 w 471381"/>
                  <a:gd name="connsiteY500" fmla="*/ 212432 h 274100"/>
                  <a:gd name="connsiteX501" fmla="*/ 320467 w 471381"/>
                  <a:gd name="connsiteY501" fmla="*/ 211674 h 274100"/>
                  <a:gd name="connsiteX502" fmla="*/ 319557 w 471381"/>
                  <a:gd name="connsiteY502" fmla="*/ 211068 h 274100"/>
                  <a:gd name="connsiteX503" fmla="*/ 313648 w 471381"/>
                  <a:gd name="connsiteY503" fmla="*/ 209553 h 274100"/>
                  <a:gd name="connsiteX504" fmla="*/ 312436 w 471381"/>
                  <a:gd name="connsiteY504" fmla="*/ 208947 h 274100"/>
                  <a:gd name="connsiteX505" fmla="*/ 312285 w 471381"/>
                  <a:gd name="connsiteY505" fmla="*/ 208190 h 274100"/>
                  <a:gd name="connsiteX506" fmla="*/ 314406 w 471381"/>
                  <a:gd name="connsiteY506" fmla="*/ 201068 h 274100"/>
                  <a:gd name="connsiteX507" fmla="*/ 315315 w 471381"/>
                  <a:gd name="connsiteY507" fmla="*/ 200462 h 274100"/>
                  <a:gd name="connsiteX508" fmla="*/ 316224 w 471381"/>
                  <a:gd name="connsiteY508" fmla="*/ 199250 h 274100"/>
                  <a:gd name="connsiteX509" fmla="*/ 317588 w 471381"/>
                  <a:gd name="connsiteY509" fmla="*/ 198038 h 274100"/>
                  <a:gd name="connsiteX510" fmla="*/ 322436 w 471381"/>
                  <a:gd name="connsiteY510" fmla="*/ 196068 h 274100"/>
                  <a:gd name="connsiteX511" fmla="*/ 327588 w 471381"/>
                  <a:gd name="connsiteY511" fmla="*/ 196977 h 274100"/>
                  <a:gd name="connsiteX512" fmla="*/ 332134 w 471381"/>
                  <a:gd name="connsiteY512" fmla="*/ 197886 h 274100"/>
                  <a:gd name="connsiteX513" fmla="*/ 336679 w 471381"/>
                  <a:gd name="connsiteY513" fmla="*/ 198341 h 274100"/>
                  <a:gd name="connsiteX514" fmla="*/ 338194 w 471381"/>
                  <a:gd name="connsiteY514" fmla="*/ 198644 h 274100"/>
                  <a:gd name="connsiteX515" fmla="*/ 340771 w 471381"/>
                  <a:gd name="connsiteY515" fmla="*/ 198947 h 274100"/>
                  <a:gd name="connsiteX516" fmla="*/ 342589 w 471381"/>
                  <a:gd name="connsiteY516" fmla="*/ 198644 h 274100"/>
                  <a:gd name="connsiteX517" fmla="*/ 343801 w 471381"/>
                  <a:gd name="connsiteY517" fmla="*/ 197735 h 274100"/>
                  <a:gd name="connsiteX518" fmla="*/ 345922 w 471381"/>
                  <a:gd name="connsiteY518" fmla="*/ 195462 h 274100"/>
                  <a:gd name="connsiteX519" fmla="*/ 346528 w 471381"/>
                  <a:gd name="connsiteY519" fmla="*/ 191977 h 274100"/>
                  <a:gd name="connsiteX520" fmla="*/ 347286 w 471381"/>
                  <a:gd name="connsiteY520" fmla="*/ 188946 h 274100"/>
                  <a:gd name="connsiteX521" fmla="*/ 348649 w 471381"/>
                  <a:gd name="connsiteY521" fmla="*/ 188643 h 274100"/>
                  <a:gd name="connsiteX522" fmla="*/ 350013 w 471381"/>
                  <a:gd name="connsiteY522" fmla="*/ 188946 h 274100"/>
                  <a:gd name="connsiteX523" fmla="*/ 350619 w 471381"/>
                  <a:gd name="connsiteY523" fmla="*/ 188340 h 274100"/>
                  <a:gd name="connsiteX524" fmla="*/ 350922 w 471381"/>
                  <a:gd name="connsiteY524" fmla="*/ 187431 h 274100"/>
                  <a:gd name="connsiteX525" fmla="*/ 351226 w 471381"/>
                  <a:gd name="connsiteY525" fmla="*/ 186674 h 274100"/>
                  <a:gd name="connsiteX526" fmla="*/ 351831 w 471381"/>
                  <a:gd name="connsiteY526" fmla="*/ 186522 h 274100"/>
                  <a:gd name="connsiteX527" fmla="*/ 352740 w 471381"/>
                  <a:gd name="connsiteY527" fmla="*/ 187280 h 274100"/>
                  <a:gd name="connsiteX528" fmla="*/ 353347 w 471381"/>
                  <a:gd name="connsiteY528" fmla="*/ 187128 h 274100"/>
                  <a:gd name="connsiteX529" fmla="*/ 353801 w 471381"/>
                  <a:gd name="connsiteY529" fmla="*/ 186674 h 274100"/>
                  <a:gd name="connsiteX530" fmla="*/ 353649 w 471381"/>
                  <a:gd name="connsiteY530" fmla="*/ 186067 h 274100"/>
                  <a:gd name="connsiteX531" fmla="*/ 352589 w 471381"/>
                  <a:gd name="connsiteY531" fmla="*/ 185007 h 274100"/>
                  <a:gd name="connsiteX532" fmla="*/ 351680 w 471381"/>
                  <a:gd name="connsiteY532" fmla="*/ 183340 h 274100"/>
                  <a:gd name="connsiteX533" fmla="*/ 351831 w 471381"/>
                  <a:gd name="connsiteY533" fmla="*/ 182734 h 274100"/>
                  <a:gd name="connsiteX534" fmla="*/ 352135 w 471381"/>
                  <a:gd name="connsiteY534" fmla="*/ 182128 h 274100"/>
                  <a:gd name="connsiteX535" fmla="*/ 355014 w 471381"/>
                  <a:gd name="connsiteY535" fmla="*/ 181522 h 274100"/>
                  <a:gd name="connsiteX536" fmla="*/ 356377 w 471381"/>
                  <a:gd name="connsiteY536" fmla="*/ 181370 h 274100"/>
                  <a:gd name="connsiteX537" fmla="*/ 356832 w 471381"/>
                  <a:gd name="connsiteY537" fmla="*/ 180764 h 274100"/>
                  <a:gd name="connsiteX538" fmla="*/ 356680 w 471381"/>
                  <a:gd name="connsiteY538" fmla="*/ 179855 h 274100"/>
                  <a:gd name="connsiteX539" fmla="*/ 355619 w 471381"/>
                  <a:gd name="connsiteY539" fmla="*/ 179249 h 274100"/>
                  <a:gd name="connsiteX540" fmla="*/ 351680 w 471381"/>
                  <a:gd name="connsiteY540" fmla="*/ 179552 h 274100"/>
                  <a:gd name="connsiteX541" fmla="*/ 347740 w 471381"/>
                  <a:gd name="connsiteY541" fmla="*/ 179552 h 274100"/>
                  <a:gd name="connsiteX542" fmla="*/ 347286 w 471381"/>
                  <a:gd name="connsiteY542" fmla="*/ 178946 h 274100"/>
                  <a:gd name="connsiteX543" fmla="*/ 347437 w 471381"/>
                  <a:gd name="connsiteY543" fmla="*/ 178340 h 274100"/>
                  <a:gd name="connsiteX544" fmla="*/ 348043 w 471381"/>
                  <a:gd name="connsiteY544" fmla="*/ 177885 h 274100"/>
                  <a:gd name="connsiteX545" fmla="*/ 356225 w 471381"/>
                  <a:gd name="connsiteY545" fmla="*/ 176673 h 274100"/>
                  <a:gd name="connsiteX546" fmla="*/ 360620 w 471381"/>
                  <a:gd name="connsiteY546" fmla="*/ 177128 h 274100"/>
                  <a:gd name="connsiteX547" fmla="*/ 363802 w 471381"/>
                  <a:gd name="connsiteY547" fmla="*/ 177734 h 274100"/>
                  <a:gd name="connsiteX548" fmla="*/ 365013 w 471381"/>
                  <a:gd name="connsiteY548" fmla="*/ 177431 h 274100"/>
                  <a:gd name="connsiteX549" fmla="*/ 363499 w 471381"/>
                  <a:gd name="connsiteY549" fmla="*/ 174552 h 274100"/>
                  <a:gd name="connsiteX550" fmla="*/ 365620 w 471381"/>
                  <a:gd name="connsiteY550" fmla="*/ 174249 h 274100"/>
                  <a:gd name="connsiteX551" fmla="*/ 365923 w 471381"/>
                  <a:gd name="connsiteY551" fmla="*/ 173188 h 274100"/>
                  <a:gd name="connsiteX552" fmla="*/ 363195 w 471381"/>
                  <a:gd name="connsiteY552" fmla="*/ 165461 h 274100"/>
                  <a:gd name="connsiteX553" fmla="*/ 364711 w 471381"/>
                  <a:gd name="connsiteY553" fmla="*/ 164855 h 274100"/>
                  <a:gd name="connsiteX554" fmla="*/ 366226 w 471381"/>
                  <a:gd name="connsiteY554" fmla="*/ 163339 h 274100"/>
                  <a:gd name="connsiteX555" fmla="*/ 366074 w 471381"/>
                  <a:gd name="connsiteY555" fmla="*/ 160460 h 274100"/>
                  <a:gd name="connsiteX556" fmla="*/ 367438 w 471381"/>
                  <a:gd name="connsiteY556" fmla="*/ 159097 h 274100"/>
                  <a:gd name="connsiteX557" fmla="*/ 368953 w 471381"/>
                  <a:gd name="connsiteY557" fmla="*/ 158188 h 274100"/>
                  <a:gd name="connsiteX558" fmla="*/ 371226 w 471381"/>
                  <a:gd name="connsiteY558" fmla="*/ 159097 h 274100"/>
                  <a:gd name="connsiteX559" fmla="*/ 374863 w 471381"/>
                  <a:gd name="connsiteY559" fmla="*/ 161976 h 274100"/>
                  <a:gd name="connsiteX560" fmla="*/ 376075 w 471381"/>
                  <a:gd name="connsiteY560" fmla="*/ 162582 h 274100"/>
                  <a:gd name="connsiteX561" fmla="*/ 377287 w 471381"/>
                  <a:gd name="connsiteY561" fmla="*/ 162733 h 274100"/>
                  <a:gd name="connsiteX562" fmla="*/ 378954 w 471381"/>
                  <a:gd name="connsiteY562" fmla="*/ 161824 h 274100"/>
                  <a:gd name="connsiteX563" fmla="*/ 385318 w 471381"/>
                  <a:gd name="connsiteY563" fmla="*/ 158945 h 274100"/>
                  <a:gd name="connsiteX564" fmla="*/ 388954 w 471381"/>
                  <a:gd name="connsiteY564" fmla="*/ 157430 h 274100"/>
                  <a:gd name="connsiteX565" fmla="*/ 393197 w 471381"/>
                  <a:gd name="connsiteY565" fmla="*/ 155157 h 274100"/>
                  <a:gd name="connsiteX566" fmla="*/ 393954 w 471381"/>
                  <a:gd name="connsiteY566" fmla="*/ 154248 h 274100"/>
                  <a:gd name="connsiteX567" fmla="*/ 395469 w 471381"/>
                  <a:gd name="connsiteY567" fmla="*/ 150763 h 274100"/>
                  <a:gd name="connsiteX568" fmla="*/ 396227 w 471381"/>
                  <a:gd name="connsiteY568" fmla="*/ 150460 h 274100"/>
                  <a:gd name="connsiteX569" fmla="*/ 397287 w 471381"/>
                  <a:gd name="connsiteY569" fmla="*/ 150763 h 274100"/>
                  <a:gd name="connsiteX570" fmla="*/ 401076 w 471381"/>
                  <a:gd name="connsiteY570" fmla="*/ 154400 h 274100"/>
                  <a:gd name="connsiteX571" fmla="*/ 403197 w 471381"/>
                  <a:gd name="connsiteY571" fmla="*/ 156672 h 274100"/>
                  <a:gd name="connsiteX572" fmla="*/ 403197 w 471381"/>
                  <a:gd name="connsiteY572" fmla="*/ 157430 h 274100"/>
                  <a:gd name="connsiteX573" fmla="*/ 402591 w 471381"/>
                  <a:gd name="connsiteY573" fmla="*/ 158036 h 274100"/>
                  <a:gd name="connsiteX574" fmla="*/ 402742 w 471381"/>
                  <a:gd name="connsiteY574" fmla="*/ 158642 h 274100"/>
                  <a:gd name="connsiteX575" fmla="*/ 405773 w 471381"/>
                  <a:gd name="connsiteY575" fmla="*/ 159854 h 274100"/>
                  <a:gd name="connsiteX576" fmla="*/ 405773 w 471381"/>
                  <a:gd name="connsiteY576" fmla="*/ 160460 h 274100"/>
                  <a:gd name="connsiteX577" fmla="*/ 405015 w 471381"/>
                  <a:gd name="connsiteY577" fmla="*/ 161521 h 274100"/>
                  <a:gd name="connsiteX578" fmla="*/ 404712 w 471381"/>
                  <a:gd name="connsiteY578" fmla="*/ 162127 h 274100"/>
                  <a:gd name="connsiteX579" fmla="*/ 404409 w 471381"/>
                  <a:gd name="connsiteY579" fmla="*/ 162430 h 274100"/>
                  <a:gd name="connsiteX580" fmla="*/ 400318 w 471381"/>
                  <a:gd name="connsiteY580" fmla="*/ 165612 h 274100"/>
                  <a:gd name="connsiteX581" fmla="*/ 395773 w 471381"/>
                  <a:gd name="connsiteY581" fmla="*/ 169097 h 274100"/>
                  <a:gd name="connsiteX582" fmla="*/ 395621 w 471381"/>
                  <a:gd name="connsiteY582" fmla="*/ 169552 h 274100"/>
                  <a:gd name="connsiteX583" fmla="*/ 395469 w 471381"/>
                  <a:gd name="connsiteY583" fmla="*/ 170461 h 274100"/>
                  <a:gd name="connsiteX584" fmla="*/ 395469 w 471381"/>
                  <a:gd name="connsiteY584" fmla="*/ 171370 h 274100"/>
                  <a:gd name="connsiteX585" fmla="*/ 396227 w 471381"/>
                  <a:gd name="connsiteY585" fmla="*/ 172128 h 274100"/>
                  <a:gd name="connsiteX586" fmla="*/ 398197 w 471381"/>
                  <a:gd name="connsiteY586" fmla="*/ 172582 h 274100"/>
                  <a:gd name="connsiteX587" fmla="*/ 399864 w 471381"/>
                  <a:gd name="connsiteY587" fmla="*/ 173188 h 274100"/>
                  <a:gd name="connsiteX588" fmla="*/ 400773 w 471381"/>
                  <a:gd name="connsiteY588" fmla="*/ 175006 h 274100"/>
                  <a:gd name="connsiteX589" fmla="*/ 401833 w 471381"/>
                  <a:gd name="connsiteY589" fmla="*/ 176673 h 274100"/>
                  <a:gd name="connsiteX590" fmla="*/ 403197 w 471381"/>
                  <a:gd name="connsiteY590" fmla="*/ 177128 h 274100"/>
                  <a:gd name="connsiteX591" fmla="*/ 409864 w 471381"/>
                  <a:gd name="connsiteY591" fmla="*/ 176067 h 274100"/>
                  <a:gd name="connsiteX592" fmla="*/ 411530 w 471381"/>
                  <a:gd name="connsiteY592" fmla="*/ 175916 h 274100"/>
                  <a:gd name="connsiteX593" fmla="*/ 412440 w 471381"/>
                  <a:gd name="connsiteY593" fmla="*/ 175461 h 274100"/>
                  <a:gd name="connsiteX594" fmla="*/ 415318 w 471381"/>
                  <a:gd name="connsiteY594" fmla="*/ 175006 h 274100"/>
                  <a:gd name="connsiteX595" fmla="*/ 421076 w 471381"/>
                  <a:gd name="connsiteY595" fmla="*/ 174552 h 274100"/>
                  <a:gd name="connsiteX596" fmla="*/ 423046 w 471381"/>
                  <a:gd name="connsiteY596" fmla="*/ 174855 h 274100"/>
                  <a:gd name="connsiteX597" fmla="*/ 425319 w 471381"/>
                  <a:gd name="connsiteY597" fmla="*/ 175916 h 274100"/>
                  <a:gd name="connsiteX598" fmla="*/ 426986 w 471381"/>
                  <a:gd name="connsiteY598" fmla="*/ 176976 h 274100"/>
                  <a:gd name="connsiteX599" fmla="*/ 428652 w 471381"/>
                  <a:gd name="connsiteY599" fmla="*/ 176976 h 274100"/>
                  <a:gd name="connsiteX600" fmla="*/ 430016 w 471381"/>
                  <a:gd name="connsiteY600" fmla="*/ 176825 h 274100"/>
                  <a:gd name="connsiteX601" fmla="*/ 430622 w 471381"/>
                  <a:gd name="connsiteY601" fmla="*/ 177128 h 274100"/>
                  <a:gd name="connsiteX602" fmla="*/ 431077 w 471381"/>
                  <a:gd name="connsiteY602" fmla="*/ 178037 h 274100"/>
                  <a:gd name="connsiteX603" fmla="*/ 431834 w 471381"/>
                  <a:gd name="connsiteY603" fmla="*/ 178946 h 274100"/>
                  <a:gd name="connsiteX604" fmla="*/ 433956 w 471381"/>
                  <a:gd name="connsiteY604" fmla="*/ 177734 h 274100"/>
                  <a:gd name="connsiteX605" fmla="*/ 435926 w 471381"/>
                  <a:gd name="connsiteY605" fmla="*/ 176219 h 274100"/>
                  <a:gd name="connsiteX606" fmla="*/ 437441 w 471381"/>
                  <a:gd name="connsiteY606" fmla="*/ 176067 h 274100"/>
                  <a:gd name="connsiteX607" fmla="*/ 438956 w 471381"/>
                  <a:gd name="connsiteY607" fmla="*/ 175461 h 274100"/>
                  <a:gd name="connsiteX608" fmla="*/ 439410 w 471381"/>
                  <a:gd name="connsiteY608" fmla="*/ 174400 h 274100"/>
                  <a:gd name="connsiteX609" fmla="*/ 440623 w 471381"/>
                  <a:gd name="connsiteY609" fmla="*/ 172734 h 274100"/>
                  <a:gd name="connsiteX610" fmla="*/ 443804 w 471381"/>
                  <a:gd name="connsiteY610" fmla="*/ 169552 h 274100"/>
                  <a:gd name="connsiteX611" fmla="*/ 445471 w 471381"/>
                  <a:gd name="connsiteY611" fmla="*/ 169097 h 274100"/>
                  <a:gd name="connsiteX612" fmla="*/ 446532 w 471381"/>
                  <a:gd name="connsiteY612" fmla="*/ 169097 h 274100"/>
                  <a:gd name="connsiteX613" fmla="*/ 446532 w 471381"/>
                  <a:gd name="connsiteY613" fmla="*/ 169552 h 274100"/>
                  <a:gd name="connsiteX614" fmla="*/ 446986 w 471381"/>
                  <a:gd name="connsiteY614" fmla="*/ 170006 h 274100"/>
                  <a:gd name="connsiteX615" fmla="*/ 449865 w 471381"/>
                  <a:gd name="connsiteY615" fmla="*/ 170764 h 274100"/>
                  <a:gd name="connsiteX616" fmla="*/ 450774 w 471381"/>
                  <a:gd name="connsiteY616" fmla="*/ 170006 h 274100"/>
                  <a:gd name="connsiteX617" fmla="*/ 451229 w 471381"/>
                  <a:gd name="connsiteY617" fmla="*/ 168794 h 274100"/>
                  <a:gd name="connsiteX618" fmla="*/ 450169 w 471381"/>
                  <a:gd name="connsiteY618" fmla="*/ 166976 h 274100"/>
                  <a:gd name="connsiteX619" fmla="*/ 450169 w 471381"/>
                  <a:gd name="connsiteY619" fmla="*/ 166218 h 274100"/>
                  <a:gd name="connsiteX620" fmla="*/ 450471 w 471381"/>
                  <a:gd name="connsiteY620" fmla="*/ 165461 h 274100"/>
                  <a:gd name="connsiteX621" fmla="*/ 451078 w 471381"/>
                  <a:gd name="connsiteY621" fmla="*/ 165006 h 274100"/>
                  <a:gd name="connsiteX622" fmla="*/ 455623 w 471381"/>
                  <a:gd name="connsiteY622" fmla="*/ 166673 h 274100"/>
                  <a:gd name="connsiteX623" fmla="*/ 456684 w 471381"/>
                  <a:gd name="connsiteY623" fmla="*/ 166673 h 274100"/>
                  <a:gd name="connsiteX624" fmla="*/ 458805 w 471381"/>
                  <a:gd name="connsiteY624" fmla="*/ 165764 h 274100"/>
                  <a:gd name="connsiteX625" fmla="*/ 460775 w 471381"/>
                  <a:gd name="connsiteY625" fmla="*/ 164097 h 274100"/>
                  <a:gd name="connsiteX626" fmla="*/ 461533 w 471381"/>
                  <a:gd name="connsiteY626" fmla="*/ 162733 h 274100"/>
                  <a:gd name="connsiteX627" fmla="*/ 470775 w 471381"/>
                  <a:gd name="connsiteY627" fmla="*/ 158339 h 274100"/>
                  <a:gd name="connsiteX628" fmla="*/ 471381 w 471381"/>
                  <a:gd name="connsiteY628" fmla="*/ 157582 h 274100"/>
                  <a:gd name="connsiteX629" fmla="*/ 469714 w 471381"/>
                  <a:gd name="connsiteY629" fmla="*/ 156975 h 274100"/>
                  <a:gd name="connsiteX630" fmla="*/ 401076 w 471381"/>
                  <a:gd name="connsiteY630" fmla="*/ 153491 h 274100"/>
                  <a:gd name="connsiteX631" fmla="*/ 399561 w 471381"/>
                  <a:gd name="connsiteY631" fmla="*/ 151975 h 274100"/>
                  <a:gd name="connsiteX632" fmla="*/ 399106 w 471381"/>
                  <a:gd name="connsiteY632" fmla="*/ 150915 h 274100"/>
                  <a:gd name="connsiteX633" fmla="*/ 399712 w 471381"/>
                  <a:gd name="connsiteY633" fmla="*/ 150612 h 274100"/>
                  <a:gd name="connsiteX634" fmla="*/ 400924 w 471381"/>
                  <a:gd name="connsiteY634" fmla="*/ 151369 h 274100"/>
                  <a:gd name="connsiteX635" fmla="*/ 401833 w 471381"/>
                  <a:gd name="connsiteY635" fmla="*/ 152733 h 274100"/>
                  <a:gd name="connsiteX636" fmla="*/ 401985 w 471381"/>
                  <a:gd name="connsiteY636" fmla="*/ 153491 h 274100"/>
                  <a:gd name="connsiteX637" fmla="*/ 401076 w 471381"/>
                  <a:gd name="connsiteY637" fmla="*/ 153491 h 274100"/>
                  <a:gd name="connsiteX638" fmla="*/ 414864 w 471381"/>
                  <a:gd name="connsiteY638" fmla="*/ 181673 h 274100"/>
                  <a:gd name="connsiteX639" fmla="*/ 413500 w 471381"/>
                  <a:gd name="connsiteY639" fmla="*/ 181067 h 274100"/>
                  <a:gd name="connsiteX640" fmla="*/ 411985 w 471381"/>
                  <a:gd name="connsiteY640" fmla="*/ 178794 h 274100"/>
                  <a:gd name="connsiteX641" fmla="*/ 411530 w 471381"/>
                  <a:gd name="connsiteY641" fmla="*/ 178643 h 274100"/>
                  <a:gd name="connsiteX642" fmla="*/ 410773 w 471381"/>
                  <a:gd name="connsiteY642" fmla="*/ 179249 h 274100"/>
                  <a:gd name="connsiteX643" fmla="*/ 410319 w 471381"/>
                  <a:gd name="connsiteY643" fmla="*/ 180764 h 274100"/>
                  <a:gd name="connsiteX644" fmla="*/ 410621 w 471381"/>
                  <a:gd name="connsiteY644" fmla="*/ 182279 h 274100"/>
                  <a:gd name="connsiteX645" fmla="*/ 411682 w 471381"/>
                  <a:gd name="connsiteY645" fmla="*/ 183340 h 274100"/>
                  <a:gd name="connsiteX646" fmla="*/ 412440 w 471381"/>
                  <a:gd name="connsiteY646" fmla="*/ 183643 h 274100"/>
                  <a:gd name="connsiteX647" fmla="*/ 412591 w 471381"/>
                  <a:gd name="connsiteY647" fmla="*/ 183795 h 274100"/>
                  <a:gd name="connsiteX648" fmla="*/ 412591 w 471381"/>
                  <a:gd name="connsiteY648" fmla="*/ 184249 h 274100"/>
                  <a:gd name="connsiteX649" fmla="*/ 411682 w 471381"/>
                  <a:gd name="connsiteY649" fmla="*/ 186825 h 274100"/>
                  <a:gd name="connsiteX650" fmla="*/ 413046 w 471381"/>
                  <a:gd name="connsiteY650" fmla="*/ 187128 h 274100"/>
                  <a:gd name="connsiteX651" fmla="*/ 415622 w 471381"/>
                  <a:gd name="connsiteY651" fmla="*/ 187128 h 274100"/>
                  <a:gd name="connsiteX652" fmla="*/ 416985 w 471381"/>
                  <a:gd name="connsiteY652" fmla="*/ 186825 h 274100"/>
                  <a:gd name="connsiteX653" fmla="*/ 417288 w 471381"/>
                  <a:gd name="connsiteY653" fmla="*/ 186370 h 274100"/>
                  <a:gd name="connsiteX654" fmla="*/ 416228 w 471381"/>
                  <a:gd name="connsiteY654" fmla="*/ 183946 h 274100"/>
                  <a:gd name="connsiteX655" fmla="*/ 417591 w 471381"/>
                  <a:gd name="connsiteY655" fmla="*/ 181673 h 274100"/>
                  <a:gd name="connsiteX656" fmla="*/ 414864 w 471381"/>
                  <a:gd name="connsiteY656" fmla="*/ 181673 h 274100"/>
                  <a:gd name="connsiteX657" fmla="*/ 431531 w 471381"/>
                  <a:gd name="connsiteY657" fmla="*/ 184249 h 274100"/>
                  <a:gd name="connsiteX658" fmla="*/ 430016 w 471381"/>
                  <a:gd name="connsiteY658" fmla="*/ 184704 h 274100"/>
                  <a:gd name="connsiteX659" fmla="*/ 429713 w 471381"/>
                  <a:gd name="connsiteY659" fmla="*/ 185461 h 274100"/>
                  <a:gd name="connsiteX660" fmla="*/ 430774 w 471381"/>
                  <a:gd name="connsiteY660" fmla="*/ 186370 h 274100"/>
                  <a:gd name="connsiteX661" fmla="*/ 432138 w 471381"/>
                  <a:gd name="connsiteY661" fmla="*/ 186674 h 274100"/>
                  <a:gd name="connsiteX662" fmla="*/ 432895 w 471381"/>
                  <a:gd name="connsiteY662" fmla="*/ 185310 h 274100"/>
                  <a:gd name="connsiteX663" fmla="*/ 433198 w 471381"/>
                  <a:gd name="connsiteY663" fmla="*/ 183795 h 274100"/>
                  <a:gd name="connsiteX664" fmla="*/ 432592 w 471381"/>
                  <a:gd name="connsiteY664" fmla="*/ 183795 h 274100"/>
                  <a:gd name="connsiteX665" fmla="*/ 431531 w 471381"/>
                  <a:gd name="connsiteY665" fmla="*/ 184249 h 27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Lst>
                <a:rect l="l" t="t" r="r" b="b"/>
                <a:pathLst>
                  <a:path w="471381" h="274100">
                    <a:moveTo>
                      <a:pt x="469714" y="156975"/>
                    </a:moveTo>
                    <a:lnTo>
                      <a:pt x="465775" y="155915"/>
                    </a:lnTo>
                    <a:lnTo>
                      <a:pt x="463957" y="156521"/>
                    </a:lnTo>
                    <a:lnTo>
                      <a:pt x="462290" y="156521"/>
                    </a:lnTo>
                    <a:lnTo>
                      <a:pt x="461381" y="155915"/>
                    </a:lnTo>
                    <a:lnTo>
                      <a:pt x="456684" y="155612"/>
                    </a:lnTo>
                    <a:lnTo>
                      <a:pt x="455623" y="155157"/>
                    </a:lnTo>
                    <a:lnTo>
                      <a:pt x="452441" y="151975"/>
                    </a:lnTo>
                    <a:lnTo>
                      <a:pt x="450320" y="150763"/>
                    </a:lnTo>
                    <a:lnTo>
                      <a:pt x="448653" y="150006"/>
                    </a:lnTo>
                    <a:lnTo>
                      <a:pt x="446835" y="150157"/>
                    </a:lnTo>
                    <a:lnTo>
                      <a:pt x="444562" y="150915"/>
                    </a:lnTo>
                    <a:lnTo>
                      <a:pt x="443804" y="150612"/>
                    </a:lnTo>
                    <a:lnTo>
                      <a:pt x="443653" y="149248"/>
                    </a:lnTo>
                    <a:lnTo>
                      <a:pt x="443653" y="147581"/>
                    </a:lnTo>
                    <a:lnTo>
                      <a:pt x="443198" y="145763"/>
                    </a:lnTo>
                    <a:lnTo>
                      <a:pt x="441835" y="145308"/>
                    </a:lnTo>
                    <a:lnTo>
                      <a:pt x="440168" y="146066"/>
                    </a:lnTo>
                    <a:lnTo>
                      <a:pt x="437592" y="145308"/>
                    </a:lnTo>
                    <a:lnTo>
                      <a:pt x="435471" y="145005"/>
                    </a:lnTo>
                    <a:lnTo>
                      <a:pt x="434865" y="141217"/>
                    </a:lnTo>
                    <a:lnTo>
                      <a:pt x="433956" y="139551"/>
                    </a:lnTo>
                    <a:lnTo>
                      <a:pt x="433047" y="137884"/>
                    </a:lnTo>
                    <a:lnTo>
                      <a:pt x="432138" y="137429"/>
                    </a:lnTo>
                    <a:lnTo>
                      <a:pt x="430622" y="136520"/>
                    </a:lnTo>
                    <a:lnTo>
                      <a:pt x="430471" y="134550"/>
                    </a:lnTo>
                    <a:lnTo>
                      <a:pt x="430168" y="133944"/>
                    </a:lnTo>
                    <a:lnTo>
                      <a:pt x="429561" y="133641"/>
                    </a:lnTo>
                    <a:lnTo>
                      <a:pt x="428804" y="133944"/>
                    </a:lnTo>
                    <a:lnTo>
                      <a:pt x="427895" y="135005"/>
                    </a:lnTo>
                    <a:lnTo>
                      <a:pt x="428350" y="137278"/>
                    </a:lnTo>
                    <a:lnTo>
                      <a:pt x="428046" y="139551"/>
                    </a:lnTo>
                    <a:lnTo>
                      <a:pt x="427440" y="140611"/>
                    </a:lnTo>
                    <a:lnTo>
                      <a:pt x="426380" y="141369"/>
                    </a:lnTo>
                    <a:lnTo>
                      <a:pt x="425167" y="141369"/>
                    </a:lnTo>
                    <a:lnTo>
                      <a:pt x="423046" y="140308"/>
                    </a:lnTo>
                    <a:lnTo>
                      <a:pt x="422743" y="146975"/>
                    </a:lnTo>
                    <a:lnTo>
                      <a:pt x="422289" y="147430"/>
                    </a:lnTo>
                    <a:lnTo>
                      <a:pt x="419713" y="146521"/>
                    </a:lnTo>
                    <a:lnTo>
                      <a:pt x="417591" y="146975"/>
                    </a:lnTo>
                    <a:lnTo>
                      <a:pt x="414561" y="146521"/>
                    </a:lnTo>
                    <a:lnTo>
                      <a:pt x="412288" y="145460"/>
                    </a:lnTo>
                    <a:lnTo>
                      <a:pt x="410621" y="145157"/>
                    </a:lnTo>
                    <a:lnTo>
                      <a:pt x="407894" y="144248"/>
                    </a:lnTo>
                    <a:lnTo>
                      <a:pt x="405773" y="143036"/>
                    </a:lnTo>
                    <a:lnTo>
                      <a:pt x="404409" y="138490"/>
                    </a:lnTo>
                    <a:lnTo>
                      <a:pt x="403197" y="136823"/>
                    </a:lnTo>
                    <a:lnTo>
                      <a:pt x="401985" y="136520"/>
                    </a:lnTo>
                    <a:lnTo>
                      <a:pt x="397136" y="138035"/>
                    </a:lnTo>
                    <a:lnTo>
                      <a:pt x="395469" y="136823"/>
                    </a:lnTo>
                    <a:lnTo>
                      <a:pt x="392288" y="135308"/>
                    </a:lnTo>
                    <a:lnTo>
                      <a:pt x="389863" y="134702"/>
                    </a:lnTo>
                    <a:lnTo>
                      <a:pt x="389257" y="133944"/>
                    </a:lnTo>
                    <a:lnTo>
                      <a:pt x="389409" y="132884"/>
                    </a:lnTo>
                    <a:lnTo>
                      <a:pt x="396833" y="127883"/>
                    </a:lnTo>
                    <a:lnTo>
                      <a:pt x="399712" y="124399"/>
                    </a:lnTo>
                    <a:lnTo>
                      <a:pt x="401530" y="122883"/>
                    </a:lnTo>
                    <a:lnTo>
                      <a:pt x="404106" y="121974"/>
                    </a:lnTo>
                    <a:lnTo>
                      <a:pt x="406227" y="121368"/>
                    </a:lnTo>
                    <a:lnTo>
                      <a:pt x="407288" y="118186"/>
                    </a:lnTo>
                    <a:lnTo>
                      <a:pt x="407742" y="117883"/>
                    </a:lnTo>
                    <a:lnTo>
                      <a:pt x="409258" y="117580"/>
                    </a:lnTo>
                    <a:lnTo>
                      <a:pt x="412591" y="116216"/>
                    </a:lnTo>
                    <a:lnTo>
                      <a:pt x="417895" y="113489"/>
                    </a:lnTo>
                    <a:lnTo>
                      <a:pt x="418046" y="112731"/>
                    </a:lnTo>
                    <a:lnTo>
                      <a:pt x="417440" y="112125"/>
                    </a:lnTo>
                    <a:lnTo>
                      <a:pt x="415167" y="110762"/>
                    </a:lnTo>
                    <a:lnTo>
                      <a:pt x="412591" y="109550"/>
                    </a:lnTo>
                    <a:lnTo>
                      <a:pt x="411076" y="110156"/>
                    </a:lnTo>
                    <a:lnTo>
                      <a:pt x="410167" y="110762"/>
                    </a:lnTo>
                    <a:lnTo>
                      <a:pt x="407742" y="112125"/>
                    </a:lnTo>
                    <a:lnTo>
                      <a:pt x="405167" y="112580"/>
                    </a:lnTo>
                    <a:lnTo>
                      <a:pt x="403803" y="113489"/>
                    </a:lnTo>
                    <a:lnTo>
                      <a:pt x="402288" y="115459"/>
                    </a:lnTo>
                    <a:lnTo>
                      <a:pt x="400924" y="117126"/>
                    </a:lnTo>
                    <a:lnTo>
                      <a:pt x="400166" y="117732"/>
                    </a:lnTo>
                    <a:lnTo>
                      <a:pt x="398954" y="117580"/>
                    </a:lnTo>
                    <a:lnTo>
                      <a:pt x="397591" y="116216"/>
                    </a:lnTo>
                    <a:lnTo>
                      <a:pt x="395621" y="116216"/>
                    </a:lnTo>
                    <a:lnTo>
                      <a:pt x="393197" y="117883"/>
                    </a:lnTo>
                    <a:lnTo>
                      <a:pt x="390318" y="120611"/>
                    </a:lnTo>
                    <a:lnTo>
                      <a:pt x="386681" y="124702"/>
                    </a:lnTo>
                    <a:lnTo>
                      <a:pt x="382893" y="126823"/>
                    </a:lnTo>
                    <a:lnTo>
                      <a:pt x="378196" y="128641"/>
                    </a:lnTo>
                    <a:lnTo>
                      <a:pt x="374863" y="129399"/>
                    </a:lnTo>
                    <a:lnTo>
                      <a:pt x="372135" y="130762"/>
                    </a:lnTo>
                    <a:lnTo>
                      <a:pt x="367590" y="133641"/>
                    </a:lnTo>
                    <a:lnTo>
                      <a:pt x="366680" y="135308"/>
                    </a:lnTo>
                    <a:lnTo>
                      <a:pt x="363347" y="136369"/>
                    </a:lnTo>
                    <a:lnTo>
                      <a:pt x="360771" y="137581"/>
                    </a:lnTo>
                    <a:lnTo>
                      <a:pt x="358347" y="139551"/>
                    </a:lnTo>
                    <a:lnTo>
                      <a:pt x="357741" y="142884"/>
                    </a:lnTo>
                    <a:lnTo>
                      <a:pt x="356225" y="144854"/>
                    </a:lnTo>
                    <a:lnTo>
                      <a:pt x="352437" y="147430"/>
                    </a:lnTo>
                    <a:lnTo>
                      <a:pt x="349256" y="150157"/>
                    </a:lnTo>
                    <a:lnTo>
                      <a:pt x="347286" y="152733"/>
                    </a:lnTo>
                    <a:lnTo>
                      <a:pt x="345164" y="155460"/>
                    </a:lnTo>
                    <a:lnTo>
                      <a:pt x="344559" y="156975"/>
                    </a:lnTo>
                    <a:lnTo>
                      <a:pt x="344559" y="159097"/>
                    </a:lnTo>
                    <a:lnTo>
                      <a:pt x="345619" y="160915"/>
                    </a:lnTo>
                    <a:lnTo>
                      <a:pt x="345771" y="162582"/>
                    </a:lnTo>
                    <a:lnTo>
                      <a:pt x="345013" y="163794"/>
                    </a:lnTo>
                    <a:lnTo>
                      <a:pt x="342892" y="164248"/>
                    </a:lnTo>
                    <a:lnTo>
                      <a:pt x="340619" y="163945"/>
                    </a:lnTo>
                    <a:lnTo>
                      <a:pt x="337285" y="162733"/>
                    </a:lnTo>
                    <a:lnTo>
                      <a:pt x="333649" y="160612"/>
                    </a:lnTo>
                    <a:lnTo>
                      <a:pt x="332285" y="159551"/>
                    </a:lnTo>
                    <a:lnTo>
                      <a:pt x="330467" y="157733"/>
                    </a:lnTo>
                    <a:lnTo>
                      <a:pt x="330770" y="156066"/>
                    </a:lnTo>
                    <a:lnTo>
                      <a:pt x="331679" y="152884"/>
                    </a:lnTo>
                    <a:lnTo>
                      <a:pt x="332285" y="150612"/>
                    </a:lnTo>
                    <a:lnTo>
                      <a:pt x="330770" y="149551"/>
                    </a:lnTo>
                    <a:lnTo>
                      <a:pt x="329709" y="148490"/>
                    </a:lnTo>
                    <a:lnTo>
                      <a:pt x="328952" y="147430"/>
                    </a:lnTo>
                    <a:lnTo>
                      <a:pt x="327437" y="145308"/>
                    </a:lnTo>
                    <a:lnTo>
                      <a:pt x="325467" y="145914"/>
                    </a:lnTo>
                    <a:lnTo>
                      <a:pt x="323800" y="146521"/>
                    </a:lnTo>
                    <a:lnTo>
                      <a:pt x="321830" y="145763"/>
                    </a:lnTo>
                    <a:lnTo>
                      <a:pt x="316224" y="146066"/>
                    </a:lnTo>
                    <a:lnTo>
                      <a:pt x="311981" y="146369"/>
                    </a:lnTo>
                    <a:lnTo>
                      <a:pt x="308042" y="146672"/>
                    </a:lnTo>
                    <a:lnTo>
                      <a:pt x="302890" y="146975"/>
                    </a:lnTo>
                    <a:lnTo>
                      <a:pt x="296678" y="147278"/>
                    </a:lnTo>
                    <a:lnTo>
                      <a:pt x="294860" y="146824"/>
                    </a:lnTo>
                    <a:lnTo>
                      <a:pt x="293799" y="146066"/>
                    </a:lnTo>
                    <a:lnTo>
                      <a:pt x="292738" y="143036"/>
                    </a:lnTo>
                    <a:lnTo>
                      <a:pt x="292132" y="140460"/>
                    </a:lnTo>
                    <a:lnTo>
                      <a:pt x="290920" y="135763"/>
                    </a:lnTo>
                    <a:lnTo>
                      <a:pt x="290163" y="132126"/>
                    </a:lnTo>
                    <a:lnTo>
                      <a:pt x="289253" y="127732"/>
                    </a:lnTo>
                    <a:lnTo>
                      <a:pt x="288647" y="122883"/>
                    </a:lnTo>
                    <a:lnTo>
                      <a:pt x="288193" y="119398"/>
                    </a:lnTo>
                    <a:lnTo>
                      <a:pt x="283496" y="119247"/>
                    </a:lnTo>
                    <a:lnTo>
                      <a:pt x="279859" y="119095"/>
                    </a:lnTo>
                    <a:lnTo>
                      <a:pt x="274859" y="118944"/>
                    </a:lnTo>
                    <a:lnTo>
                      <a:pt x="274859" y="116216"/>
                    </a:lnTo>
                    <a:lnTo>
                      <a:pt x="274859" y="112731"/>
                    </a:lnTo>
                    <a:lnTo>
                      <a:pt x="274859" y="108792"/>
                    </a:lnTo>
                    <a:lnTo>
                      <a:pt x="275768" y="103640"/>
                    </a:lnTo>
                    <a:lnTo>
                      <a:pt x="276071" y="99246"/>
                    </a:lnTo>
                    <a:lnTo>
                      <a:pt x="276525" y="93943"/>
                    </a:lnTo>
                    <a:lnTo>
                      <a:pt x="276829" y="90458"/>
                    </a:lnTo>
                    <a:lnTo>
                      <a:pt x="277132" y="86518"/>
                    </a:lnTo>
                    <a:lnTo>
                      <a:pt x="274556" y="87730"/>
                    </a:lnTo>
                    <a:lnTo>
                      <a:pt x="271677" y="89094"/>
                    </a:lnTo>
                    <a:lnTo>
                      <a:pt x="268949" y="90306"/>
                    </a:lnTo>
                    <a:lnTo>
                      <a:pt x="267131" y="87124"/>
                    </a:lnTo>
                    <a:lnTo>
                      <a:pt x="265313" y="84094"/>
                    </a:lnTo>
                    <a:lnTo>
                      <a:pt x="262586" y="79397"/>
                    </a:lnTo>
                    <a:lnTo>
                      <a:pt x="260616" y="75912"/>
                    </a:lnTo>
                    <a:lnTo>
                      <a:pt x="257131" y="73942"/>
                    </a:lnTo>
                    <a:lnTo>
                      <a:pt x="254555" y="72427"/>
                    </a:lnTo>
                    <a:lnTo>
                      <a:pt x="251828" y="69851"/>
                    </a:lnTo>
                    <a:lnTo>
                      <a:pt x="249404" y="67275"/>
                    </a:lnTo>
                    <a:lnTo>
                      <a:pt x="247130" y="64699"/>
                    </a:lnTo>
                    <a:lnTo>
                      <a:pt x="244403" y="62578"/>
                    </a:lnTo>
                    <a:lnTo>
                      <a:pt x="241827" y="63336"/>
                    </a:lnTo>
                    <a:lnTo>
                      <a:pt x="238949" y="64699"/>
                    </a:lnTo>
                    <a:lnTo>
                      <a:pt x="236221" y="66063"/>
                    </a:lnTo>
                    <a:lnTo>
                      <a:pt x="233191" y="67427"/>
                    </a:lnTo>
                    <a:lnTo>
                      <a:pt x="231675" y="68033"/>
                    </a:lnTo>
                    <a:lnTo>
                      <a:pt x="228190" y="67730"/>
                    </a:lnTo>
                    <a:lnTo>
                      <a:pt x="225160" y="67578"/>
                    </a:lnTo>
                    <a:lnTo>
                      <a:pt x="219857" y="67124"/>
                    </a:lnTo>
                    <a:lnTo>
                      <a:pt x="215311" y="66821"/>
                    </a:lnTo>
                    <a:lnTo>
                      <a:pt x="210765" y="66518"/>
                    </a:lnTo>
                    <a:lnTo>
                      <a:pt x="204402" y="66063"/>
                    </a:lnTo>
                    <a:lnTo>
                      <a:pt x="197886" y="65608"/>
                    </a:lnTo>
                    <a:lnTo>
                      <a:pt x="193492" y="66215"/>
                    </a:lnTo>
                    <a:lnTo>
                      <a:pt x="188037" y="66972"/>
                    </a:lnTo>
                    <a:lnTo>
                      <a:pt x="182279" y="67881"/>
                    </a:lnTo>
                    <a:lnTo>
                      <a:pt x="177431" y="68639"/>
                    </a:lnTo>
                    <a:lnTo>
                      <a:pt x="171370" y="69548"/>
                    </a:lnTo>
                    <a:lnTo>
                      <a:pt x="166825" y="70154"/>
                    </a:lnTo>
                    <a:lnTo>
                      <a:pt x="164552" y="70003"/>
                    </a:lnTo>
                    <a:lnTo>
                      <a:pt x="161673" y="67124"/>
                    </a:lnTo>
                    <a:lnTo>
                      <a:pt x="157127" y="62578"/>
                    </a:lnTo>
                    <a:lnTo>
                      <a:pt x="154400" y="59851"/>
                    </a:lnTo>
                    <a:lnTo>
                      <a:pt x="151672" y="57123"/>
                    </a:lnTo>
                    <a:lnTo>
                      <a:pt x="147884" y="53184"/>
                    </a:lnTo>
                    <a:lnTo>
                      <a:pt x="144703" y="50305"/>
                    </a:lnTo>
                    <a:lnTo>
                      <a:pt x="141672" y="47426"/>
                    </a:lnTo>
                    <a:lnTo>
                      <a:pt x="140006" y="44699"/>
                    </a:lnTo>
                    <a:lnTo>
                      <a:pt x="139096" y="41365"/>
                    </a:lnTo>
                    <a:lnTo>
                      <a:pt x="137581" y="39850"/>
                    </a:lnTo>
                    <a:lnTo>
                      <a:pt x="134096" y="37729"/>
                    </a:lnTo>
                    <a:lnTo>
                      <a:pt x="130308" y="35456"/>
                    </a:lnTo>
                    <a:lnTo>
                      <a:pt x="126520" y="33183"/>
                    </a:lnTo>
                    <a:lnTo>
                      <a:pt x="122732" y="30910"/>
                    </a:lnTo>
                    <a:lnTo>
                      <a:pt x="118944" y="28638"/>
                    </a:lnTo>
                    <a:lnTo>
                      <a:pt x="115156" y="26365"/>
                    </a:lnTo>
                    <a:lnTo>
                      <a:pt x="111520" y="24243"/>
                    </a:lnTo>
                    <a:lnTo>
                      <a:pt x="111520" y="24395"/>
                    </a:lnTo>
                    <a:lnTo>
                      <a:pt x="111065" y="28638"/>
                    </a:lnTo>
                    <a:lnTo>
                      <a:pt x="110004" y="30153"/>
                    </a:lnTo>
                    <a:lnTo>
                      <a:pt x="110004" y="32729"/>
                    </a:lnTo>
                    <a:lnTo>
                      <a:pt x="110913" y="36365"/>
                    </a:lnTo>
                    <a:lnTo>
                      <a:pt x="111065" y="38941"/>
                    </a:lnTo>
                    <a:lnTo>
                      <a:pt x="110459" y="40456"/>
                    </a:lnTo>
                    <a:lnTo>
                      <a:pt x="109398" y="41365"/>
                    </a:lnTo>
                    <a:lnTo>
                      <a:pt x="107883" y="41668"/>
                    </a:lnTo>
                    <a:lnTo>
                      <a:pt x="107125" y="42123"/>
                    </a:lnTo>
                    <a:lnTo>
                      <a:pt x="106974" y="42729"/>
                    </a:lnTo>
                    <a:lnTo>
                      <a:pt x="107277" y="43335"/>
                    </a:lnTo>
                    <a:lnTo>
                      <a:pt x="108034" y="43790"/>
                    </a:lnTo>
                    <a:lnTo>
                      <a:pt x="108186" y="44244"/>
                    </a:lnTo>
                    <a:lnTo>
                      <a:pt x="107732" y="44850"/>
                    </a:lnTo>
                    <a:lnTo>
                      <a:pt x="104701" y="46668"/>
                    </a:lnTo>
                    <a:lnTo>
                      <a:pt x="102125" y="47274"/>
                    </a:lnTo>
                    <a:lnTo>
                      <a:pt x="97277" y="47729"/>
                    </a:lnTo>
                    <a:lnTo>
                      <a:pt x="96974" y="46972"/>
                    </a:lnTo>
                    <a:lnTo>
                      <a:pt x="97277" y="46062"/>
                    </a:lnTo>
                    <a:lnTo>
                      <a:pt x="98034" y="44547"/>
                    </a:lnTo>
                    <a:lnTo>
                      <a:pt x="100307" y="41971"/>
                    </a:lnTo>
                    <a:lnTo>
                      <a:pt x="100307" y="41214"/>
                    </a:lnTo>
                    <a:lnTo>
                      <a:pt x="91064" y="33032"/>
                    </a:lnTo>
                    <a:lnTo>
                      <a:pt x="89094" y="30759"/>
                    </a:lnTo>
                    <a:lnTo>
                      <a:pt x="88185" y="28941"/>
                    </a:lnTo>
                    <a:lnTo>
                      <a:pt x="88185" y="27728"/>
                    </a:lnTo>
                    <a:lnTo>
                      <a:pt x="89852" y="23940"/>
                    </a:lnTo>
                    <a:lnTo>
                      <a:pt x="93186" y="17728"/>
                    </a:lnTo>
                    <a:lnTo>
                      <a:pt x="94700" y="14243"/>
                    </a:lnTo>
                    <a:lnTo>
                      <a:pt x="92579" y="13031"/>
                    </a:lnTo>
                    <a:lnTo>
                      <a:pt x="88791" y="10758"/>
                    </a:lnTo>
                    <a:lnTo>
                      <a:pt x="85003" y="8485"/>
                    </a:lnTo>
                    <a:lnTo>
                      <a:pt x="81215" y="6212"/>
                    </a:lnTo>
                    <a:lnTo>
                      <a:pt x="77427" y="3940"/>
                    </a:lnTo>
                    <a:lnTo>
                      <a:pt x="75760" y="3030"/>
                    </a:lnTo>
                    <a:lnTo>
                      <a:pt x="75003" y="4546"/>
                    </a:lnTo>
                    <a:lnTo>
                      <a:pt x="74700" y="6970"/>
                    </a:lnTo>
                    <a:lnTo>
                      <a:pt x="75155" y="9697"/>
                    </a:lnTo>
                    <a:lnTo>
                      <a:pt x="75912" y="11516"/>
                    </a:lnTo>
                    <a:lnTo>
                      <a:pt x="76821" y="12273"/>
                    </a:lnTo>
                    <a:lnTo>
                      <a:pt x="76518" y="13485"/>
                    </a:lnTo>
                    <a:lnTo>
                      <a:pt x="74851" y="15001"/>
                    </a:lnTo>
                    <a:lnTo>
                      <a:pt x="73639" y="16667"/>
                    </a:lnTo>
                    <a:lnTo>
                      <a:pt x="73033" y="18334"/>
                    </a:lnTo>
                    <a:lnTo>
                      <a:pt x="72881" y="19243"/>
                    </a:lnTo>
                    <a:lnTo>
                      <a:pt x="73336" y="19546"/>
                    </a:lnTo>
                    <a:lnTo>
                      <a:pt x="77124" y="17425"/>
                    </a:lnTo>
                    <a:lnTo>
                      <a:pt x="77427" y="17576"/>
                    </a:lnTo>
                    <a:lnTo>
                      <a:pt x="76821" y="20001"/>
                    </a:lnTo>
                    <a:lnTo>
                      <a:pt x="76215" y="20910"/>
                    </a:lnTo>
                    <a:lnTo>
                      <a:pt x="75609" y="21061"/>
                    </a:lnTo>
                    <a:lnTo>
                      <a:pt x="75306" y="22274"/>
                    </a:lnTo>
                    <a:lnTo>
                      <a:pt x="75458" y="24546"/>
                    </a:lnTo>
                    <a:lnTo>
                      <a:pt x="75760" y="26062"/>
                    </a:lnTo>
                    <a:lnTo>
                      <a:pt x="76367" y="26971"/>
                    </a:lnTo>
                    <a:lnTo>
                      <a:pt x="76215" y="27577"/>
                    </a:lnTo>
                    <a:lnTo>
                      <a:pt x="75306" y="27880"/>
                    </a:lnTo>
                    <a:lnTo>
                      <a:pt x="74700" y="27728"/>
                    </a:lnTo>
                    <a:lnTo>
                      <a:pt x="74397" y="26971"/>
                    </a:lnTo>
                    <a:lnTo>
                      <a:pt x="73791" y="26668"/>
                    </a:lnTo>
                    <a:lnTo>
                      <a:pt x="73033" y="26819"/>
                    </a:lnTo>
                    <a:lnTo>
                      <a:pt x="72427" y="27425"/>
                    </a:lnTo>
                    <a:lnTo>
                      <a:pt x="71972" y="28486"/>
                    </a:lnTo>
                    <a:lnTo>
                      <a:pt x="72276" y="29092"/>
                    </a:lnTo>
                    <a:lnTo>
                      <a:pt x="74094" y="29395"/>
                    </a:lnTo>
                    <a:lnTo>
                      <a:pt x="74246" y="29850"/>
                    </a:lnTo>
                    <a:lnTo>
                      <a:pt x="71063" y="34244"/>
                    </a:lnTo>
                    <a:lnTo>
                      <a:pt x="69245" y="36062"/>
                    </a:lnTo>
                    <a:lnTo>
                      <a:pt x="67881" y="37123"/>
                    </a:lnTo>
                    <a:lnTo>
                      <a:pt x="65305" y="38183"/>
                    </a:lnTo>
                    <a:lnTo>
                      <a:pt x="63791" y="38335"/>
                    </a:lnTo>
                    <a:lnTo>
                      <a:pt x="62730" y="37577"/>
                    </a:lnTo>
                    <a:lnTo>
                      <a:pt x="62124" y="36517"/>
                    </a:lnTo>
                    <a:lnTo>
                      <a:pt x="61821" y="35001"/>
                    </a:lnTo>
                    <a:lnTo>
                      <a:pt x="62275" y="33183"/>
                    </a:lnTo>
                    <a:lnTo>
                      <a:pt x="63336" y="31062"/>
                    </a:lnTo>
                    <a:lnTo>
                      <a:pt x="63336" y="28638"/>
                    </a:lnTo>
                    <a:lnTo>
                      <a:pt x="62124" y="26062"/>
                    </a:lnTo>
                    <a:lnTo>
                      <a:pt x="61669" y="23940"/>
                    </a:lnTo>
                    <a:lnTo>
                      <a:pt x="61821" y="22122"/>
                    </a:lnTo>
                    <a:lnTo>
                      <a:pt x="62730" y="19546"/>
                    </a:lnTo>
                    <a:lnTo>
                      <a:pt x="65609" y="12879"/>
                    </a:lnTo>
                    <a:lnTo>
                      <a:pt x="66366" y="10303"/>
                    </a:lnTo>
                    <a:lnTo>
                      <a:pt x="67579" y="7879"/>
                    </a:lnTo>
                    <a:lnTo>
                      <a:pt x="69397" y="5758"/>
                    </a:lnTo>
                    <a:lnTo>
                      <a:pt x="70609" y="3333"/>
                    </a:lnTo>
                    <a:lnTo>
                      <a:pt x="71367" y="606"/>
                    </a:lnTo>
                    <a:lnTo>
                      <a:pt x="71367" y="455"/>
                    </a:lnTo>
                    <a:lnTo>
                      <a:pt x="70458" y="0"/>
                    </a:lnTo>
                    <a:lnTo>
                      <a:pt x="67579" y="455"/>
                    </a:lnTo>
                    <a:lnTo>
                      <a:pt x="63184" y="1667"/>
                    </a:lnTo>
                    <a:lnTo>
                      <a:pt x="58639" y="2879"/>
                    </a:lnTo>
                    <a:lnTo>
                      <a:pt x="54093" y="4091"/>
                    </a:lnTo>
                    <a:lnTo>
                      <a:pt x="46062" y="6212"/>
                    </a:lnTo>
                    <a:lnTo>
                      <a:pt x="40911" y="7576"/>
                    </a:lnTo>
                    <a:lnTo>
                      <a:pt x="36820" y="8788"/>
                    </a:lnTo>
                    <a:lnTo>
                      <a:pt x="32577" y="10000"/>
                    </a:lnTo>
                    <a:lnTo>
                      <a:pt x="26971" y="11667"/>
                    </a:lnTo>
                    <a:lnTo>
                      <a:pt x="22274" y="13031"/>
                    </a:lnTo>
                    <a:lnTo>
                      <a:pt x="16667" y="14546"/>
                    </a:lnTo>
                    <a:lnTo>
                      <a:pt x="11819" y="15910"/>
                    </a:lnTo>
                    <a:lnTo>
                      <a:pt x="7728" y="17122"/>
                    </a:lnTo>
                    <a:lnTo>
                      <a:pt x="3485" y="18334"/>
                    </a:lnTo>
                    <a:lnTo>
                      <a:pt x="0" y="19243"/>
                    </a:lnTo>
                    <a:lnTo>
                      <a:pt x="0" y="26971"/>
                    </a:lnTo>
                    <a:lnTo>
                      <a:pt x="0" y="34698"/>
                    </a:lnTo>
                    <a:lnTo>
                      <a:pt x="0" y="42426"/>
                    </a:lnTo>
                    <a:lnTo>
                      <a:pt x="0" y="50153"/>
                    </a:lnTo>
                    <a:lnTo>
                      <a:pt x="0" y="57881"/>
                    </a:lnTo>
                    <a:lnTo>
                      <a:pt x="0" y="65457"/>
                    </a:lnTo>
                    <a:lnTo>
                      <a:pt x="0" y="73033"/>
                    </a:lnTo>
                    <a:lnTo>
                      <a:pt x="0" y="80609"/>
                    </a:lnTo>
                    <a:lnTo>
                      <a:pt x="0" y="88185"/>
                    </a:lnTo>
                    <a:lnTo>
                      <a:pt x="0" y="95761"/>
                    </a:lnTo>
                    <a:lnTo>
                      <a:pt x="0" y="103337"/>
                    </a:lnTo>
                    <a:lnTo>
                      <a:pt x="0" y="110913"/>
                    </a:lnTo>
                    <a:lnTo>
                      <a:pt x="0" y="118489"/>
                    </a:lnTo>
                    <a:lnTo>
                      <a:pt x="0" y="126065"/>
                    </a:lnTo>
                    <a:lnTo>
                      <a:pt x="0" y="133490"/>
                    </a:lnTo>
                    <a:lnTo>
                      <a:pt x="0" y="140914"/>
                    </a:lnTo>
                    <a:lnTo>
                      <a:pt x="7273" y="141217"/>
                    </a:lnTo>
                    <a:lnTo>
                      <a:pt x="13788" y="141520"/>
                    </a:lnTo>
                    <a:lnTo>
                      <a:pt x="21819" y="141975"/>
                    </a:lnTo>
                    <a:lnTo>
                      <a:pt x="24243" y="142429"/>
                    </a:lnTo>
                    <a:lnTo>
                      <a:pt x="27122" y="142733"/>
                    </a:lnTo>
                    <a:lnTo>
                      <a:pt x="28486" y="142733"/>
                    </a:lnTo>
                    <a:lnTo>
                      <a:pt x="29698" y="141369"/>
                    </a:lnTo>
                    <a:lnTo>
                      <a:pt x="30607" y="140611"/>
                    </a:lnTo>
                    <a:lnTo>
                      <a:pt x="31213" y="140005"/>
                    </a:lnTo>
                    <a:lnTo>
                      <a:pt x="31062" y="139248"/>
                    </a:lnTo>
                    <a:lnTo>
                      <a:pt x="30001" y="138641"/>
                    </a:lnTo>
                    <a:lnTo>
                      <a:pt x="28335" y="136672"/>
                    </a:lnTo>
                    <a:lnTo>
                      <a:pt x="27425" y="129550"/>
                    </a:lnTo>
                    <a:lnTo>
                      <a:pt x="26819" y="123489"/>
                    </a:lnTo>
                    <a:lnTo>
                      <a:pt x="28789" y="121520"/>
                    </a:lnTo>
                    <a:lnTo>
                      <a:pt x="30304" y="120611"/>
                    </a:lnTo>
                    <a:lnTo>
                      <a:pt x="30456" y="119853"/>
                    </a:lnTo>
                    <a:lnTo>
                      <a:pt x="32880" y="112731"/>
                    </a:lnTo>
                    <a:lnTo>
                      <a:pt x="35305" y="108792"/>
                    </a:lnTo>
                    <a:lnTo>
                      <a:pt x="38638" y="107731"/>
                    </a:lnTo>
                    <a:lnTo>
                      <a:pt x="42881" y="110156"/>
                    </a:lnTo>
                    <a:lnTo>
                      <a:pt x="44699" y="113338"/>
                    </a:lnTo>
                    <a:lnTo>
                      <a:pt x="46517" y="113338"/>
                    </a:lnTo>
                    <a:lnTo>
                      <a:pt x="50002" y="112580"/>
                    </a:lnTo>
                    <a:lnTo>
                      <a:pt x="51214" y="111216"/>
                    </a:lnTo>
                    <a:lnTo>
                      <a:pt x="53032" y="107731"/>
                    </a:lnTo>
                    <a:lnTo>
                      <a:pt x="53638" y="105004"/>
                    </a:lnTo>
                    <a:lnTo>
                      <a:pt x="54699" y="103792"/>
                    </a:lnTo>
                    <a:lnTo>
                      <a:pt x="55911" y="102883"/>
                    </a:lnTo>
                    <a:lnTo>
                      <a:pt x="57124" y="102883"/>
                    </a:lnTo>
                    <a:lnTo>
                      <a:pt x="59548" y="103640"/>
                    </a:lnTo>
                    <a:lnTo>
                      <a:pt x="61366" y="104095"/>
                    </a:lnTo>
                    <a:lnTo>
                      <a:pt x="62730" y="104701"/>
                    </a:lnTo>
                    <a:lnTo>
                      <a:pt x="63942" y="105761"/>
                    </a:lnTo>
                    <a:lnTo>
                      <a:pt x="65154" y="107428"/>
                    </a:lnTo>
                    <a:lnTo>
                      <a:pt x="65305" y="108489"/>
                    </a:lnTo>
                    <a:lnTo>
                      <a:pt x="65912" y="109095"/>
                    </a:lnTo>
                    <a:lnTo>
                      <a:pt x="66821" y="109095"/>
                    </a:lnTo>
                    <a:lnTo>
                      <a:pt x="67579" y="109095"/>
                    </a:lnTo>
                    <a:lnTo>
                      <a:pt x="68033" y="108792"/>
                    </a:lnTo>
                    <a:lnTo>
                      <a:pt x="68336" y="108186"/>
                    </a:lnTo>
                    <a:lnTo>
                      <a:pt x="68033" y="107428"/>
                    </a:lnTo>
                    <a:lnTo>
                      <a:pt x="66366" y="105307"/>
                    </a:lnTo>
                    <a:lnTo>
                      <a:pt x="62881" y="101367"/>
                    </a:lnTo>
                    <a:lnTo>
                      <a:pt x="60608" y="99701"/>
                    </a:lnTo>
                    <a:lnTo>
                      <a:pt x="59396" y="98792"/>
                    </a:lnTo>
                    <a:lnTo>
                      <a:pt x="59093" y="98034"/>
                    </a:lnTo>
                    <a:lnTo>
                      <a:pt x="60608" y="96822"/>
                    </a:lnTo>
                    <a:lnTo>
                      <a:pt x="62124" y="96064"/>
                    </a:lnTo>
                    <a:lnTo>
                      <a:pt x="64700" y="96670"/>
                    </a:lnTo>
                    <a:lnTo>
                      <a:pt x="68033" y="96973"/>
                    </a:lnTo>
                    <a:lnTo>
                      <a:pt x="69548" y="96367"/>
                    </a:lnTo>
                    <a:lnTo>
                      <a:pt x="71063" y="93185"/>
                    </a:lnTo>
                    <a:lnTo>
                      <a:pt x="74851" y="96519"/>
                    </a:lnTo>
                    <a:lnTo>
                      <a:pt x="78943" y="100307"/>
                    </a:lnTo>
                    <a:lnTo>
                      <a:pt x="80457" y="101064"/>
                    </a:lnTo>
                    <a:lnTo>
                      <a:pt x="83336" y="101519"/>
                    </a:lnTo>
                    <a:lnTo>
                      <a:pt x="85761" y="101670"/>
                    </a:lnTo>
                    <a:lnTo>
                      <a:pt x="86822" y="102125"/>
                    </a:lnTo>
                    <a:lnTo>
                      <a:pt x="87882" y="103034"/>
                    </a:lnTo>
                    <a:lnTo>
                      <a:pt x="90003" y="107125"/>
                    </a:lnTo>
                    <a:lnTo>
                      <a:pt x="92125" y="108186"/>
                    </a:lnTo>
                    <a:lnTo>
                      <a:pt x="94700" y="108943"/>
                    </a:lnTo>
                    <a:lnTo>
                      <a:pt x="103186" y="108943"/>
                    </a:lnTo>
                    <a:lnTo>
                      <a:pt x="105762" y="109095"/>
                    </a:lnTo>
                    <a:lnTo>
                      <a:pt x="107883" y="111065"/>
                    </a:lnTo>
                    <a:lnTo>
                      <a:pt x="109247" y="111822"/>
                    </a:lnTo>
                    <a:lnTo>
                      <a:pt x="109853" y="112580"/>
                    </a:lnTo>
                    <a:lnTo>
                      <a:pt x="109701" y="113489"/>
                    </a:lnTo>
                    <a:lnTo>
                      <a:pt x="109247" y="114550"/>
                    </a:lnTo>
                    <a:lnTo>
                      <a:pt x="109247" y="116671"/>
                    </a:lnTo>
                    <a:lnTo>
                      <a:pt x="109095" y="118338"/>
                    </a:lnTo>
                    <a:lnTo>
                      <a:pt x="108489" y="119095"/>
                    </a:lnTo>
                    <a:lnTo>
                      <a:pt x="108338" y="119853"/>
                    </a:lnTo>
                    <a:lnTo>
                      <a:pt x="108943" y="120459"/>
                    </a:lnTo>
                    <a:lnTo>
                      <a:pt x="112883" y="121974"/>
                    </a:lnTo>
                    <a:lnTo>
                      <a:pt x="114247" y="123641"/>
                    </a:lnTo>
                    <a:lnTo>
                      <a:pt x="115308" y="124399"/>
                    </a:lnTo>
                    <a:lnTo>
                      <a:pt x="115610" y="125459"/>
                    </a:lnTo>
                    <a:lnTo>
                      <a:pt x="115004" y="126065"/>
                    </a:lnTo>
                    <a:lnTo>
                      <a:pt x="113186" y="125762"/>
                    </a:lnTo>
                    <a:lnTo>
                      <a:pt x="112277" y="126823"/>
                    </a:lnTo>
                    <a:lnTo>
                      <a:pt x="112277" y="128793"/>
                    </a:lnTo>
                    <a:lnTo>
                      <a:pt x="113641" y="130611"/>
                    </a:lnTo>
                    <a:lnTo>
                      <a:pt x="114095" y="132278"/>
                    </a:lnTo>
                    <a:lnTo>
                      <a:pt x="113186" y="133944"/>
                    </a:lnTo>
                    <a:lnTo>
                      <a:pt x="112126" y="136217"/>
                    </a:lnTo>
                    <a:lnTo>
                      <a:pt x="112126" y="137884"/>
                    </a:lnTo>
                    <a:lnTo>
                      <a:pt x="112731" y="138793"/>
                    </a:lnTo>
                    <a:lnTo>
                      <a:pt x="115762" y="140460"/>
                    </a:lnTo>
                    <a:lnTo>
                      <a:pt x="122732" y="144551"/>
                    </a:lnTo>
                    <a:lnTo>
                      <a:pt x="124399" y="144702"/>
                    </a:lnTo>
                    <a:lnTo>
                      <a:pt x="131066" y="143793"/>
                    </a:lnTo>
                    <a:lnTo>
                      <a:pt x="134096" y="143642"/>
                    </a:lnTo>
                    <a:lnTo>
                      <a:pt x="135914" y="144248"/>
                    </a:lnTo>
                    <a:lnTo>
                      <a:pt x="141066" y="144854"/>
                    </a:lnTo>
                    <a:lnTo>
                      <a:pt x="142733" y="145460"/>
                    </a:lnTo>
                    <a:lnTo>
                      <a:pt x="144399" y="145460"/>
                    </a:lnTo>
                    <a:lnTo>
                      <a:pt x="146824" y="145308"/>
                    </a:lnTo>
                    <a:lnTo>
                      <a:pt x="148491" y="143490"/>
                    </a:lnTo>
                    <a:lnTo>
                      <a:pt x="149248" y="143036"/>
                    </a:lnTo>
                    <a:lnTo>
                      <a:pt x="150006" y="142733"/>
                    </a:lnTo>
                    <a:lnTo>
                      <a:pt x="151521" y="142733"/>
                    </a:lnTo>
                    <a:lnTo>
                      <a:pt x="155612" y="143945"/>
                    </a:lnTo>
                    <a:lnTo>
                      <a:pt x="159855" y="146369"/>
                    </a:lnTo>
                    <a:lnTo>
                      <a:pt x="162734" y="148642"/>
                    </a:lnTo>
                    <a:lnTo>
                      <a:pt x="164097" y="150763"/>
                    </a:lnTo>
                    <a:lnTo>
                      <a:pt x="165915" y="155157"/>
                    </a:lnTo>
                    <a:lnTo>
                      <a:pt x="168036" y="161976"/>
                    </a:lnTo>
                    <a:lnTo>
                      <a:pt x="170613" y="166521"/>
                    </a:lnTo>
                    <a:lnTo>
                      <a:pt x="173643" y="168946"/>
                    </a:lnTo>
                    <a:lnTo>
                      <a:pt x="175764" y="173340"/>
                    </a:lnTo>
                    <a:lnTo>
                      <a:pt x="177582" y="182886"/>
                    </a:lnTo>
                    <a:lnTo>
                      <a:pt x="178795" y="184855"/>
                    </a:lnTo>
                    <a:lnTo>
                      <a:pt x="180007" y="185916"/>
                    </a:lnTo>
                    <a:lnTo>
                      <a:pt x="183492" y="188643"/>
                    </a:lnTo>
                    <a:lnTo>
                      <a:pt x="190462" y="193189"/>
                    </a:lnTo>
                    <a:lnTo>
                      <a:pt x="194553" y="195916"/>
                    </a:lnTo>
                    <a:lnTo>
                      <a:pt x="200917" y="200159"/>
                    </a:lnTo>
                    <a:lnTo>
                      <a:pt x="206826" y="204098"/>
                    </a:lnTo>
                    <a:lnTo>
                      <a:pt x="212735" y="210159"/>
                    </a:lnTo>
                    <a:lnTo>
                      <a:pt x="213948" y="211068"/>
                    </a:lnTo>
                    <a:lnTo>
                      <a:pt x="219099" y="214402"/>
                    </a:lnTo>
                    <a:lnTo>
                      <a:pt x="224857" y="217735"/>
                    </a:lnTo>
                    <a:lnTo>
                      <a:pt x="228948" y="216978"/>
                    </a:lnTo>
                    <a:lnTo>
                      <a:pt x="235009" y="222129"/>
                    </a:lnTo>
                    <a:lnTo>
                      <a:pt x="237433" y="224099"/>
                    </a:lnTo>
                    <a:lnTo>
                      <a:pt x="238494" y="224705"/>
                    </a:lnTo>
                    <a:lnTo>
                      <a:pt x="242888" y="226675"/>
                    </a:lnTo>
                    <a:lnTo>
                      <a:pt x="249858" y="230918"/>
                    </a:lnTo>
                    <a:lnTo>
                      <a:pt x="258646" y="236978"/>
                    </a:lnTo>
                    <a:lnTo>
                      <a:pt x="264556" y="240463"/>
                    </a:lnTo>
                    <a:lnTo>
                      <a:pt x="266070" y="240918"/>
                    </a:lnTo>
                    <a:lnTo>
                      <a:pt x="267586" y="240918"/>
                    </a:lnTo>
                    <a:lnTo>
                      <a:pt x="269253" y="240160"/>
                    </a:lnTo>
                    <a:lnTo>
                      <a:pt x="271071" y="239554"/>
                    </a:lnTo>
                    <a:lnTo>
                      <a:pt x="274253" y="240312"/>
                    </a:lnTo>
                    <a:lnTo>
                      <a:pt x="277586" y="241675"/>
                    </a:lnTo>
                    <a:lnTo>
                      <a:pt x="279708" y="242736"/>
                    </a:lnTo>
                    <a:lnTo>
                      <a:pt x="282132" y="244251"/>
                    </a:lnTo>
                    <a:lnTo>
                      <a:pt x="284101" y="245767"/>
                    </a:lnTo>
                    <a:lnTo>
                      <a:pt x="285617" y="246373"/>
                    </a:lnTo>
                    <a:lnTo>
                      <a:pt x="290617" y="247585"/>
                    </a:lnTo>
                    <a:lnTo>
                      <a:pt x="291526" y="248342"/>
                    </a:lnTo>
                    <a:lnTo>
                      <a:pt x="292132" y="249251"/>
                    </a:lnTo>
                    <a:lnTo>
                      <a:pt x="292284" y="250161"/>
                    </a:lnTo>
                    <a:lnTo>
                      <a:pt x="289405" y="254706"/>
                    </a:lnTo>
                    <a:lnTo>
                      <a:pt x="288950" y="260616"/>
                    </a:lnTo>
                    <a:lnTo>
                      <a:pt x="288950" y="265010"/>
                    </a:lnTo>
                    <a:lnTo>
                      <a:pt x="289253" y="268495"/>
                    </a:lnTo>
                    <a:lnTo>
                      <a:pt x="297587" y="267737"/>
                    </a:lnTo>
                    <a:lnTo>
                      <a:pt x="304254" y="268949"/>
                    </a:lnTo>
                    <a:lnTo>
                      <a:pt x="307739" y="272131"/>
                    </a:lnTo>
                    <a:lnTo>
                      <a:pt x="311072" y="272889"/>
                    </a:lnTo>
                    <a:lnTo>
                      <a:pt x="314406" y="271374"/>
                    </a:lnTo>
                    <a:lnTo>
                      <a:pt x="316527" y="271070"/>
                    </a:lnTo>
                    <a:lnTo>
                      <a:pt x="317285" y="271980"/>
                    </a:lnTo>
                    <a:lnTo>
                      <a:pt x="318952" y="272434"/>
                    </a:lnTo>
                    <a:lnTo>
                      <a:pt x="321527" y="272283"/>
                    </a:lnTo>
                    <a:lnTo>
                      <a:pt x="323042" y="273192"/>
                    </a:lnTo>
                    <a:lnTo>
                      <a:pt x="323194" y="274101"/>
                    </a:lnTo>
                    <a:lnTo>
                      <a:pt x="324255" y="271828"/>
                    </a:lnTo>
                    <a:lnTo>
                      <a:pt x="324709" y="264252"/>
                    </a:lnTo>
                    <a:lnTo>
                      <a:pt x="326073" y="261676"/>
                    </a:lnTo>
                    <a:lnTo>
                      <a:pt x="330164" y="256979"/>
                    </a:lnTo>
                    <a:lnTo>
                      <a:pt x="332285" y="253343"/>
                    </a:lnTo>
                    <a:lnTo>
                      <a:pt x="334709" y="250464"/>
                    </a:lnTo>
                    <a:lnTo>
                      <a:pt x="336376" y="249403"/>
                    </a:lnTo>
                    <a:lnTo>
                      <a:pt x="337892" y="247130"/>
                    </a:lnTo>
                    <a:lnTo>
                      <a:pt x="339255" y="244403"/>
                    </a:lnTo>
                    <a:lnTo>
                      <a:pt x="339558" y="242736"/>
                    </a:lnTo>
                    <a:lnTo>
                      <a:pt x="339407" y="241373"/>
                    </a:lnTo>
                    <a:lnTo>
                      <a:pt x="338952" y="240463"/>
                    </a:lnTo>
                    <a:lnTo>
                      <a:pt x="336679" y="238645"/>
                    </a:lnTo>
                    <a:lnTo>
                      <a:pt x="333800" y="235766"/>
                    </a:lnTo>
                    <a:lnTo>
                      <a:pt x="332285" y="232887"/>
                    </a:lnTo>
                    <a:lnTo>
                      <a:pt x="331376" y="229251"/>
                    </a:lnTo>
                    <a:lnTo>
                      <a:pt x="331225" y="226675"/>
                    </a:lnTo>
                    <a:lnTo>
                      <a:pt x="333952" y="219554"/>
                    </a:lnTo>
                    <a:lnTo>
                      <a:pt x="333497" y="218341"/>
                    </a:lnTo>
                    <a:lnTo>
                      <a:pt x="332740" y="217281"/>
                    </a:lnTo>
                    <a:lnTo>
                      <a:pt x="331073" y="216523"/>
                    </a:lnTo>
                    <a:lnTo>
                      <a:pt x="328800" y="216220"/>
                    </a:lnTo>
                    <a:lnTo>
                      <a:pt x="326528" y="216523"/>
                    </a:lnTo>
                    <a:lnTo>
                      <a:pt x="323649" y="216523"/>
                    </a:lnTo>
                    <a:lnTo>
                      <a:pt x="321679" y="216069"/>
                    </a:lnTo>
                    <a:lnTo>
                      <a:pt x="321224" y="215614"/>
                    </a:lnTo>
                    <a:lnTo>
                      <a:pt x="320921" y="212432"/>
                    </a:lnTo>
                    <a:lnTo>
                      <a:pt x="320467" y="211674"/>
                    </a:lnTo>
                    <a:lnTo>
                      <a:pt x="319557" y="211068"/>
                    </a:lnTo>
                    <a:lnTo>
                      <a:pt x="313648" y="209553"/>
                    </a:lnTo>
                    <a:lnTo>
                      <a:pt x="312436" y="208947"/>
                    </a:lnTo>
                    <a:lnTo>
                      <a:pt x="312285" y="208190"/>
                    </a:lnTo>
                    <a:lnTo>
                      <a:pt x="314406" y="201068"/>
                    </a:lnTo>
                    <a:lnTo>
                      <a:pt x="315315" y="200462"/>
                    </a:lnTo>
                    <a:lnTo>
                      <a:pt x="316224" y="199250"/>
                    </a:lnTo>
                    <a:lnTo>
                      <a:pt x="317588" y="198038"/>
                    </a:lnTo>
                    <a:lnTo>
                      <a:pt x="322436" y="196068"/>
                    </a:lnTo>
                    <a:lnTo>
                      <a:pt x="327588" y="196977"/>
                    </a:lnTo>
                    <a:lnTo>
                      <a:pt x="332134" y="197886"/>
                    </a:lnTo>
                    <a:lnTo>
                      <a:pt x="336679" y="198341"/>
                    </a:lnTo>
                    <a:lnTo>
                      <a:pt x="338194" y="198644"/>
                    </a:lnTo>
                    <a:lnTo>
                      <a:pt x="340771" y="198947"/>
                    </a:lnTo>
                    <a:lnTo>
                      <a:pt x="342589" y="198644"/>
                    </a:lnTo>
                    <a:lnTo>
                      <a:pt x="343801" y="197735"/>
                    </a:lnTo>
                    <a:lnTo>
                      <a:pt x="345922" y="195462"/>
                    </a:lnTo>
                    <a:lnTo>
                      <a:pt x="346528" y="191977"/>
                    </a:lnTo>
                    <a:lnTo>
                      <a:pt x="347286" y="188946"/>
                    </a:lnTo>
                    <a:lnTo>
                      <a:pt x="348649" y="188643"/>
                    </a:lnTo>
                    <a:lnTo>
                      <a:pt x="350013" y="188946"/>
                    </a:lnTo>
                    <a:lnTo>
                      <a:pt x="350619" y="188340"/>
                    </a:lnTo>
                    <a:lnTo>
                      <a:pt x="350922" y="187431"/>
                    </a:lnTo>
                    <a:lnTo>
                      <a:pt x="351226" y="186674"/>
                    </a:lnTo>
                    <a:lnTo>
                      <a:pt x="351831" y="186522"/>
                    </a:lnTo>
                    <a:lnTo>
                      <a:pt x="352740" y="187280"/>
                    </a:lnTo>
                    <a:lnTo>
                      <a:pt x="353347" y="187128"/>
                    </a:lnTo>
                    <a:lnTo>
                      <a:pt x="353801" y="186674"/>
                    </a:lnTo>
                    <a:lnTo>
                      <a:pt x="353649" y="186067"/>
                    </a:lnTo>
                    <a:lnTo>
                      <a:pt x="352589" y="185007"/>
                    </a:lnTo>
                    <a:lnTo>
                      <a:pt x="351680" y="183340"/>
                    </a:lnTo>
                    <a:lnTo>
                      <a:pt x="351831" y="182734"/>
                    </a:lnTo>
                    <a:lnTo>
                      <a:pt x="352135" y="182128"/>
                    </a:lnTo>
                    <a:lnTo>
                      <a:pt x="355014" y="181522"/>
                    </a:lnTo>
                    <a:lnTo>
                      <a:pt x="356377" y="181370"/>
                    </a:lnTo>
                    <a:lnTo>
                      <a:pt x="356832" y="180764"/>
                    </a:lnTo>
                    <a:lnTo>
                      <a:pt x="356680" y="179855"/>
                    </a:lnTo>
                    <a:lnTo>
                      <a:pt x="355619" y="179249"/>
                    </a:lnTo>
                    <a:lnTo>
                      <a:pt x="351680" y="179552"/>
                    </a:lnTo>
                    <a:lnTo>
                      <a:pt x="347740" y="179552"/>
                    </a:lnTo>
                    <a:lnTo>
                      <a:pt x="347286" y="178946"/>
                    </a:lnTo>
                    <a:lnTo>
                      <a:pt x="347437" y="178340"/>
                    </a:lnTo>
                    <a:lnTo>
                      <a:pt x="348043" y="177885"/>
                    </a:lnTo>
                    <a:lnTo>
                      <a:pt x="356225" y="176673"/>
                    </a:lnTo>
                    <a:lnTo>
                      <a:pt x="360620" y="177128"/>
                    </a:lnTo>
                    <a:lnTo>
                      <a:pt x="363802" y="177734"/>
                    </a:lnTo>
                    <a:lnTo>
                      <a:pt x="365013" y="177431"/>
                    </a:lnTo>
                    <a:lnTo>
                      <a:pt x="363499" y="174552"/>
                    </a:lnTo>
                    <a:lnTo>
                      <a:pt x="365620" y="174249"/>
                    </a:lnTo>
                    <a:lnTo>
                      <a:pt x="365923" y="173188"/>
                    </a:lnTo>
                    <a:lnTo>
                      <a:pt x="363195" y="165461"/>
                    </a:lnTo>
                    <a:lnTo>
                      <a:pt x="364711" y="164855"/>
                    </a:lnTo>
                    <a:lnTo>
                      <a:pt x="366226" y="163339"/>
                    </a:lnTo>
                    <a:lnTo>
                      <a:pt x="366074" y="160460"/>
                    </a:lnTo>
                    <a:lnTo>
                      <a:pt x="367438" y="159097"/>
                    </a:lnTo>
                    <a:lnTo>
                      <a:pt x="368953" y="158188"/>
                    </a:lnTo>
                    <a:lnTo>
                      <a:pt x="371226" y="159097"/>
                    </a:lnTo>
                    <a:lnTo>
                      <a:pt x="374863" y="161976"/>
                    </a:lnTo>
                    <a:lnTo>
                      <a:pt x="376075" y="162582"/>
                    </a:lnTo>
                    <a:lnTo>
                      <a:pt x="377287" y="162733"/>
                    </a:lnTo>
                    <a:lnTo>
                      <a:pt x="378954" y="161824"/>
                    </a:lnTo>
                    <a:lnTo>
                      <a:pt x="385318" y="158945"/>
                    </a:lnTo>
                    <a:lnTo>
                      <a:pt x="388954" y="157430"/>
                    </a:lnTo>
                    <a:lnTo>
                      <a:pt x="393197" y="155157"/>
                    </a:lnTo>
                    <a:lnTo>
                      <a:pt x="393954" y="154248"/>
                    </a:lnTo>
                    <a:lnTo>
                      <a:pt x="395469" y="150763"/>
                    </a:lnTo>
                    <a:lnTo>
                      <a:pt x="396227" y="150460"/>
                    </a:lnTo>
                    <a:lnTo>
                      <a:pt x="397287" y="150763"/>
                    </a:lnTo>
                    <a:lnTo>
                      <a:pt x="401076" y="154400"/>
                    </a:lnTo>
                    <a:lnTo>
                      <a:pt x="403197" y="156672"/>
                    </a:lnTo>
                    <a:lnTo>
                      <a:pt x="403197" y="157430"/>
                    </a:lnTo>
                    <a:lnTo>
                      <a:pt x="402591" y="158036"/>
                    </a:lnTo>
                    <a:lnTo>
                      <a:pt x="402742" y="158642"/>
                    </a:lnTo>
                    <a:lnTo>
                      <a:pt x="405773" y="159854"/>
                    </a:lnTo>
                    <a:lnTo>
                      <a:pt x="405773" y="160460"/>
                    </a:lnTo>
                    <a:lnTo>
                      <a:pt x="405015" y="161521"/>
                    </a:lnTo>
                    <a:lnTo>
                      <a:pt x="404712" y="162127"/>
                    </a:lnTo>
                    <a:lnTo>
                      <a:pt x="404409" y="162430"/>
                    </a:lnTo>
                    <a:lnTo>
                      <a:pt x="400318" y="165612"/>
                    </a:lnTo>
                    <a:lnTo>
                      <a:pt x="395773" y="169097"/>
                    </a:lnTo>
                    <a:lnTo>
                      <a:pt x="395621" y="169552"/>
                    </a:lnTo>
                    <a:lnTo>
                      <a:pt x="395469" y="170461"/>
                    </a:lnTo>
                    <a:lnTo>
                      <a:pt x="395469" y="171370"/>
                    </a:lnTo>
                    <a:lnTo>
                      <a:pt x="396227" y="172128"/>
                    </a:lnTo>
                    <a:lnTo>
                      <a:pt x="398197" y="172582"/>
                    </a:lnTo>
                    <a:lnTo>
                      <a:pt x="399864" y="173188"/>
                    </a:lnTo>
                    <a:lnTo>
                      <a:pt x="400773" y="175006"/>
                    </a:lnTo>
                    <a:lnTo>
                      <a:pt x="401833" y="176673"/>
                    </a:lnTo>
                    <a:lnTo>
                      <a:pt x="403197" y="177128"/>
                    </a:lnTo>
                    <a:lnTo>
                      <a:pt x="409864" y="176067"/>
                    </a:lnTo>
                    <a:lnTo>
                      <a:pt x="411530" y="175916"/>
                    </a:lnTo>
                    <a:lnTo>
                      <a:pt x="412440" y="175461"/>
                    </a:lnTo>
                    <a:lnTo>
                      <a:pt x="415318" y="175006"/>
                    </a:lnTo>
                    <a:lnTo>
                      <a:pt x="421076" y="174552"/>
                    </a:lnTo>
                    <a:lnTo>
                      <a:pt x="423046" y="174855"/>
                    </a:lnTo>
                    <a:lnTo>
                      <a:pt x="425319" y="175916"/>
                    </a:lnTo>
                    <a:lnTo>
                      <a:pt x="426986" y="176976"/>
                    </a:lnTo>
                    <a:lnTo>
                      <a:pt x="428652" y="176976"/>
                    </a:lnTo>
                    <a:lnTo>
                      <a:pt x="430016" y="176825"/>
                    </a:lnTo>
                    <a:lnTo>
                      <a:pt x="430622" y="177128"/>
                    </a:lnTo>
                    <a:lnTo>
                      <a:pt x="431077" y="178037"/>
                    </a:lnTo>
                    <a:lnTo>
                      <a:pt x="431834" y="178946"/>
                    </a:lnTo>
                    <a:lnTo>
                      <a:pt x="433956" y="177734"/>
                    </a:lnTo>
                    <a:lnTo>
                      <a:pt x="435926" y="176219"/>
                    </a:lnTo>
                    <a:lnTo>
                      <a:pt x="437441" y="176067"/>
                    </a:lnTo>
                    <a:lnTo>
                      <a:pt x="438956" y="175461"/>
                    </a:lnTo>
                    <a:lnTo>
                      <a:pt x="439410" y="174400"/>
                    </a:lnTo>
                    <a:lnTo>
                      <a:pt x="440623" y="172734"/>
                    </a:lnTo>
                    <a:lnTo>
                      <a:pt x="443804" y="169552"/>
                    </a:lnTo>
                    <a:lnTo>
                      <a:pt x="445471" y="169097"/>
                    </a:lnTo>
                    <a:lnTo>
                      <a:pt x="446532" y="169097"/>
                    </a:lnTo>
                    <a:lnTo>
                      <a:pt x="446532" y="169552"/>
                    </a:lnTo>
                    <a:lnTo>
                      <a:pt x="446986" y="170006"/>
                    </a:lnTo>
                    <a:lnTo>
                      <a:pt x="449865" y="170764"/>
                    </a:lnTo>
                    <a:lnTo>
                      <a:pt x="450774" y="170006"/>
                    </a:lnTo>
                    <a:lnTo>
                      <a:pt x="451229" y="168794"/>
                    </a:lnTo>
                    <a:lnTo>
                      <a:pt x="450169" y="166976"/>
                    </a:lnTo>
                    <a:lnTo>
                      <a:pt x="450169" y="166218"/>
                    </a:lnTo>
                    <a:lnTo>
                      <a:pt x="450471" y="165461"/>
                    </a:lnTo>
                    <a:lnTo>
                      <a:pt x="451078" y="165006"/>
                    </a:lnTo>
                    <a:lnTo>
                      <a:pt x="455623" y="166673"/>
                    </a:lnTo>
                    <a:lnTo>
                      <a:pt x="456684" y="166673"/>
                    </a:lnTo>
                    <a:lnTo>
                      <a:pt x="458805" y="165764"/>
                    </a:lnTo>
                    <a:lnTo>
                      <a:pt x="460775" y="164097"/>
                    </a:lnTo>
                    <a:lnTo>
                      <a:pt x="461533" y="162733"/>
                    </a:lnTo>
                    <a:lnTo>
                      <a:pt x="470775" y="158339"/>
                    </a:lnTo>
                    <a:lnTo>
                      <a:pt x="471381" y="157582"/>
                    </a:lnTo>
                    <a:lnTo>
                      <a:pt x="469714" y="156975"/>
                    </a:lnTo>
                    <a:close/>
                    <a:moveTo>
                      <a:pt x="401076" y="153491"/>
                    </a:moveTo>
                    <a:lnTo>
                      <a:pt x="399561" y="151975"/>
                    </a:lnTo>
                    <a:lnTo>
                      <a:pt x="399106" y="150915"/>
                    </a:lnTo>
                    <a:lnTo>
                      <a:pt x="399712" y="150612"/>
                    </a:lnTo>
                    <a:lnTo>
                      <a:pt x="400924" y="151369"/>
                    </a:lnTo>
                    <a:lnTo>
                      <a:pt x="401833" y="152733"/>
                    </a:lnTo>
                    <a:lnTo>
                      <a:pt x="401985" y="153491"/>
                    </a:lnTo>
                    <a:lnTo>
                      <a:pt x="401076" y="153491"/>
                    </a:lnTo>
                    <a:close/>
                    <a:moveTo>
                      <a:pt x="414864" y="181673"/>
                    </a:moveTo>
                    <a:lnTo>
                      <a:pt x="413500" y="181067"/>
                    </a:lnTo>
                    <a:lnTo>
                      <a:pt x="411985" y="178794"/>
                    </a:lnTo>
                    <a:lnTo>
                      <a:pt x="411530" y="178643"/>
                    </a:lnTo>
                    <a:lnTo>
                      <a:pt x="410773" y="179249"/>
                    </a:lnTo>
                    <a:lnTo>
                      <a:pt x="410319" y="180764"/>
                    </a:lnTo>
                    <a:lnTo>
                      <a:pt x="410621" y="182279"/>
                    </a:lnTo>
                    <a:lnTo>
                      <a:pt x="411682" y="183340"/>
                    </a:lnTo>
                    <a:lnTo>
                      <a:pt x="412440" y="183643"/>
                    </a:lnTo>
                    <a:lnTo>
                      <a:pt x="412591" y="183795"/>
                    </a:lnTo>
                    <a:lnTo>
                      <a:pt x="412591" y="184249"/>
                    </a:lnTo>
                    <a:lnTo>
                      <a:pt x="411682" y="186825"/>
                    </a:lnTo>
                    <a:lnTo>
                      <a:pt x="413046" y="187128"/>
                    </a:lnTo>
                    <a:lnTo>
                      <a:pt x="415622" y="187128"/>
                    </a:lnTo>
                    <a:lnTo>
                      <a:pt x="416985" y="186825"/>
                    </a:lnTo>
                    <a:lnTo>
                      <a:pt x="417288" y="186370"/>
                    </a:lnTo>
                    <a:lnTo>
                      <a:pt x="416228" y="183946"/>
                    </a:lnTo>
                    <a:lnTo>
                      <a:pt x="417591" y="181673"/>
                    </a:lnTo>
                    <a:lnTo>
                      <a:pt x="414864" y="181673"/>
                    </a:lnTo>
                    <a:close/>
                    <a:moveTo>
                      <a:pt x="431531" y="184249"/>
                    </a:moveTo>
                    <a:lnTo>
                      <a:pt x="430016" y="184704"/>
                    </a:lnTo>
                    <a:lnTo>
                      <a:pt x="429713" y="185461"/>
                    </a:lnTo>
                    <a:lnTo>
                      <a:pt x="430774" y="186370"/>
                    </a:lnTo>
                    <a:lnTo>
                      <a:pt x="432138" y="186674"/>
                    </a:lnTo>
                    <a:lnTo>
                      <a:pt x="432895" y="185310"/>
                    </a:lnTo>
                    <a:lnTo>
                      <a:pt x="433198" y="183795"/>
                    </a:lnTo>
                    <a:lnTo>
                      <a:pt x="432592" y="183795"/>
                    </a:lnTo>
                    <a:lnTo>
                      <a:pt x="431531" y="1842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ADDA6AC-C0DF-42DF-AD56-3E42B83F7DD2}"/>
                  </a:ext>
                </a:extLst>
              </p:cNvPr>
              <p:cNvSpPr/>
              <p:nvPr/>
            </p:nvSpPr>
            <p:spPr>
              <a:xfrm>
                <a:off x="4178353" y="5406115"/>
                <a:ext cx="144096" cy="146520"/>
              </a:xfrm>
              <a:custGeom>
                <a:avLst/>
                <a:gdLst>
                  <a:gd name="connsiteX0" fmla="*/ 142429 w 144096"/>
                  <a:gd name="connsiteY0" fmla="*/ 75912 h 146520"/>
                  <a:gd name="connsiteX1" fmla="*/ 138793 w 144096"/>
                  <a:gd name="connsiteY1" fmla="*/ 74548 h 146520"/>
                  <a:gd name="connsiteX2" fmla="*/ 135308 w 144096"/>
                  <a:gd name="connsiteY2" fmla="*/ 72124 h 146520"/>
                  <a:gd name="connsiteX3" fmla="*/ 132278 w 144096"/>
                  <a:gd name="connsiteY3" fmla="*/ 69093 h 146520"/>
                  <a:gd name="connsiteX4" fmla="*/ 130763 w 144096"/>
                  <a:gd name="connsiteY4" fmla="*/ 65912 h 146520"/>
                  <a:gd name="connsiteX5" fmla="*/ 129550 w 144096"/>
                  <a:gd name="connsiteY5" fmla="*/ 62578 h 146520"/>
                  <a:gd name="connsiteX6" fmla="*/ 128338 w 144096"/>
                  <a:gd name="connsiteY6" fmla="*/ 59850 h 146520"/>
                  <a:gd name="connsiteX7" fmla="*/ 127884 w 144096"/>
                  <a:gd name="connsiteY7" fmla="*/ 58638 h 146520"/>
                  <a:gd name="connsiteX8" fmla="*/ 126671 w 144096"/>
                  <a:gd name="connsiteY8" fmla="*/ 58184 h 146520"/>
                  <a:gd name="connsiteX9" fmla="*/ 124702 w 144096"/>
                  <a:gd name="connsiteY9" fmla="*/ 56820 h 146520"/>
                  <a:gd name="connsiteX10" fmla="*/ 123489 w 144096"/>
                  <a:gd name="connsiteY10" fmla="*/ 55457 h 146520"/>
                  <a:gd name="connsiteX11" fmla="*/ 121823 w 144096"/>
                  <a:gd name="connsiteY11" fmla="*/ 54699 h 146520"/>
                  <a:gd name="connsiteX12" fmla="*/ 118641 w 144096"/>
                  <a:gd name="connsiteY12" fmla="*/ 53941 h 146520"/>
                  <a:gd name="connsiteX13" fmla="*/ 115307 w 144096"/>
                  <a:gd name="connsiteY13" fmla="*/ 52578 h 146520"/>
                  <a:gd name="connsiteX14" fmla="*/ 111216 w 144096"/>
                  <a:gd name="connsiteY14" fmla="*/ 49244 h 146520"/>
                  <a:gd name="connsiteX15" fmla="*/ 108337 w 144096"/>
                  <a:gd name="connsiteY15" fmla="*/ 45607 h 146520"/>
                  <a:gd name="connsiteX16" fmla="*/ 106822 w 144096"/>
                  <a:gd name="connsiteY16" fmla="*/ 43183 h 146520"/>
                  <a:gd name="connsiteX17" fmla="*/ 105307 w 144096"/>
                  <a:gd name="connsiteY17" fmla="*/ 41365 h 146520"/>
                  <a:gd name="connsiteX18" fmla="*/ 96822 w 144096"/>
                  <a:gd name="connsiteY18" fmla="*/ 38638 h 146520"/>
                  <a:gd name="connsiteX19" fmla="*/ 93034 w 144096"/>
                  <a:gd name="connsiteY19" fmla="*/ 35153 h 146520"/>
                  <a:gd name="connsiteX20" fmla="*/ 91518 w 144096"/>
                  <a:gd name="connsiteY20" fmla="*/ 36213 h 146520"/>
                  <a:gd name="connsiteX21" fmla="*/ 89246 w 144096"/>
                  <a:gd name="connsiteY21" fmla="*/ 35153 h 146520"/>
                  <a:gd name="connsiteX22" fmla="*/ 86973 w 144096"/>
                  <a:gd name="connsiteY22" fmla="*/ 33638 h 146520"/>
                  <a:gd name="connsiteX23" fmla="*/ 86367 w 144096"/>
                  <a:gd name="connsiteY23" fmla="*/ 32425 h 146520"/>
                  <a:gd name="connsiteX24" fmla="*/ 85458 w 144096"/>
                  <a:gd name="connsiteY24" fmla="*/ 31062 h 146520"/>
                  <a:gd name="connsiteX25" fmla="*/ 84549 w 144096"/>
                  <a:gd name="connsiteY25" fmla="*/ 29546 h 146520"/>
                  <a:gd name="connsiteX26" fmla="*/ 83942 w 144096"/>
                  <a:gd name="connsiteY26" fmla="*/ 28183 h 146520"/>
                  <a:gd name="connsiteX27" fmla="*/ 81670 w 144096"/>
                  <a:gd name="connsiteY27" fmla="*/ 25758 h 146520"/>
                  <a:gd name="connsiteX28" fmla="*/ 78791 w 144096"/>
                  <a:gd name="connsiteY28" fmla="*/ 23183 h 146520"/>
                  <a:gd name="connsiteX29" fmla="*/ 77427 w 144096"/>
                  <a:gd name="connsiteY29" fmla="*/ 22425 h 146520"/>
                  <a:gd name="connsiteX30" fmla="*/ 76821 w 144096"/>
                  <a:gd name="connsiteY30" fmla="*/ 22576 h 146520"/>
                  <a:gd name="connsiteX31" fmla="*/ 76215 w 144096"/>
                  <a:gd name="connsiteY31" fmla="*/ 23637 h 146520"/>
                  <a:gd name="connsiteX32" fmla="*/ 75760 w 144096"/>
                  <a:gd name="connsiteY32" fmla="*/ 24546 h 146520"/>
                  <a:gd name="connsiteX33" fmla="*/ 74700 w 144096"/>
                  <a:gd name="connsiteY33" fmla="*/ 25152 h 146520"/>
                  <a:gd name="connsiteX34" fmla="*/ 73336 w 144096"/>
                  <a:gd name="connsiteY34" fmla="*/ 26516 h 146520"/>
                  <a:gd name="connsiteX35" fmla="*/ 71821 w 144096"/>
                  <a:gd name="connsiteY35" fmla="*/ 27880 h 146520"/>
                  <a:gd name="connsiteX36" fmla="*/ 70154 w 144096"/>
                  <a:gd name="connsiteY36" fmla="*/ 28941 h 146520"/>
                  <a:gd name="connsiteX37" fmla="*/ 67881 w 144096"/>
                  <a:gd name="connsiteY37" fmla="*/ 29243 h 146520"/>
                  <a:gd name="connsiteX38" fmla="*/ 66518 w 144096"/>
                  <a:gd name="connsiteY38" fmla="*/ 29243 h 146520"/>
                  <a:gd name="connsiteX39" fmla="*/ 66215 w 144096"/>
                  <a:gd name="connsiteY39" fmla="*/ 28637 h 146520"/>
                  <a:gd name="connsiteX40" fmla="*/ 66063 w 144096"/>
                  <a:gd name="connsiteY40" fmla="*/ 26516 h 146520"/>
                  <a:gd name="connsiteX41" fmla="*/ 66669 w 144096"/>
                  <a:gd name="connsiteY41" fmla="*/ 21970 h 146520"/>
                  <a:gd name="connsiteX42" fmla="*/ 65457 w 144096"/>
                  <a:gd name="connsiteY42" fmla="*/ 20152 h 146520"/>
                  <a:gd name="connsiteX43" fmla="*/ 63790 w 144096"/>
                  <a:gd name="connsiteY43" fmla="*/ 18182 h 146520"/>
                  <a:gd name="connsiteX44" fmla="*/ 61821 w 144096"/>
                  <a:gd name="connsiteY44" fmla="*/ 15758 h 146520"/>
                  <a:gd name="connsiteX45" fmla="*/ 55457 w 144096"/>
                  <a:gd name="connsiteY45" fmla="*/ 10303 h 146520"/>
                  <a:gd name="connsiteX46" fmla="*/ 46820 w 144096"/>
                  <a:gd name="connsiteY46" fmla="*/ 2424 h 146520"/>
                  <a:gd name="connsiteX47" fmla="*/ 43789 w 144096"/>
                  <a:gd name="connsiteY47" fmla="*/ 151 h 146520"/>
                  <a:gd name="connsiteX48" fmla="*/ 41062 w 144096"/>
                  <a:gd name="connsiteY48" fmla="*/ 0 h 146520"/>
                  <a:gd name="connsiteX49" fmla="*/ 38335 w 144096"/>
                  <a:gd name="connsiteY49" fmla="*/ 151 h 146520"/>
                  <a:gd name="connsiteX50" fmla="*/ 35910 w 144096"/>
                  <a:gd name="connsiteY50" fmla="*/ 1212 h 146520"/>
                  <a:gd name="connsiteX51" fmla="*/ 34092 w 144096"/>
                  <a:gd name="connsiteY51" fmla="*/ 4849 h 146520"/>
                  <a:gd name="connsiteX52" fmla="*/ 33335 w 144096"/>
                  <a:gd name="connsiteY52" fmla="*/ 5303 h 146520"/>
                  <a:gd name="connsiteX53" fmla="*/ 28789 w 144096"/>
                  <a:gd name="connsiteY53" fmla="*/ 5303 h 146520"/>
                  <a:gd name="connsiteX54" fmla="*/ 24092 w 144096"/>
                  <a:gd name="connsiteY54" fmla="*/ 4697 h 146520"/>
                  <a:gd name="connsiteX55" fmla="*/ 22576 w 144096"/>
                  <a:gd name="connsiteY55" fmla="*/ 2576 h 146520"/>
                  <a:gd name="connsiteX56" fmla="*/ 21667 w 144096"/>
                  <a:gd name="connsiteY56" fmla="*/ 3636 h 146520"/>
                  <a:gd name="connsiteX57" fmla="*/ 21516 w 144096"/>
                  <a:gd name="connsiteY57" fmla="*/ 5758 h 146520"/>
                  <a:gd name="connsiteX58" fmla="*/ 19698 w 144096"/>
                  <a:gd name="connsiteY58" fmla="*/ 8333 h 146520"/>
                  <a:gd name="connsiteX59" fmla="*/ 16516 w 144096"/>
                  <a:gd name="connsiteY59" fmla="*/ 11667 h 146520"/>
                  <a:gd name="connsiteX60" fmla="*/ 15455 w 144096"/>
                  <a:gd name="connsiteY60" fmla="*/ 14546 h 146520"/>
                  <a:gd name="connsiteX61" fmla="*/ 16819 w 144096"/>
                  <a:gd name="connsiteY61" fmla="*/ 18182 h 146520"/>
                  <a:gd name="connsiteX62" fmla="*/ 17122 w 144096"/>
                  <a:gd name="connsiteY62" fmla="*/ 22576 h 146520"/>
                  <a:gd name="connsiteX63" fmla="*/ 16516 w 144096"/>
                  <a:gd name="connsiteY63" fmla="*/ 24395 h 146520"/>
                  <a:gd name="connsiteX64" fmla="*/ 15000 w 144096"/>
                  <a:gd name="connsiteY64" fmla="*/ 25001 h 146520"/>
                  <a:gd name="connsiteX65" fmla="*/ 14698 w 144096"/>
                  <a:gd name="connsiteY65" fmla="*/ 26062 h 146520"/>
                  <a:gd name="connsiteX66" fmla="*/ 15455 w 144096"/>
                  <a:gd name="connsiteY66" fmla="*/ 27728 h 146520"/>
                  <a:gd name="connsiteX67" fmla="*/ 15455 w 144096"/>
                  <a:gd name="connsiteY67" fmla="*/ 30001 h 146520"/>
                  <a:gd name="connsiteX68" fmla="*/ 14849 w 144096"/>
                  <a:gd name="connsiteY68" fmla="*/ 32729 h 146520"/>
                  <a:gd name="connsiteX69" fmla="*/ 13334 w 144096"/>
                  <a:gd name="connsiteY69" fmla="*/ 35759 h 146520"/>
                  <a:gd name="connsiteX70" fmla="*/ 11061 w 144096"/>
                  <a:gd name="connsiteY70" fmla="*/ 39395 h 146520"/>
                  <a:gd name="connsiteX71" fmla="*/ 10455 w 144096"/>
                  <a:gd name="connsiteY71" fmla="*/ 41668 h 146520"/>
                  <a:gd name="connsiteX72" fmla="*/ 11667 w 144096"/>
                  <a:gd name="connsiteY72" fmla="*/ 42880 h 146520"/>
                  <a:gd name="connsiteX73" fmla="*/ 12273 w 144096"/>
                  <a:gd name="connsiteY73" fmla="*/ 44093 h 146520"/>
                  <a:gd name="connsiteX74" fmla="*/ 12273 w 144096"/>
                  <a:gd name="connsiteY74" fmla="*/ 45456 h 146520"/>
                  <a:gd name="connsiteX75" fmla="*/ 11667 w 144096"/>
                  <a:gd name="connsiteY75" fmla="*/ 47426 h 146520"/>
                  <a:gd name="connsiteX76" fmla="*/ 10758 w 144096"/>
                  <a:gd name="connsiteY76" fmla="*/ 50002 h 146520"/>
                  <a:gd name="connsiteX77" fmla="*/ 9243 w 144096"/>
                  <a:gd name="connsiteY77" fmla="*/ 51820 h 146520"/>
                  <a:gd name="connsiteX78" fmla="*/ 7273 w 144096"/>
                  <a:gd name="connsiteY78" fmla="*/ 53032 h 146520"/>
                  <a:gd name="connsiteX79" fmla="*/ 6667 w 144096"/>
                  <a:gd name="connsiteY79" fmla="*/ 54699 h 146520"/>
                  <a:gd name="connsiteX80" fmla="*/ 7576 w 144096"/>
                  <a:gd name="connsiteY80" fmla="*/ 56517 h 146520"/>
                  <a:gd name="connsiteX81" fmla="*/ 7576 w 144096"/>
                  <a:gd name="connsiteY81" fmla="*/ 58487 h 146520"/>
                  <a:gd name="connsiteX82" fmla="*/ 7121 w 144096"/>
                  <a:gd name="connsiteY82" fmla="*/ 60608 h 146520"/>
                  <a:gd name="connsiteX83" fmla="*/ 7424 w 144096"/>
                  <a:gd name="connsiteY83" fmla="*/ 62578 h 146520"/>
                  <a:gd name="connsiteX84" fmla="*/ 8637 w 144096"/>
                  <a:gd name="connsiteY84" fmla="*/ 64396 h 146520"/>
                  <a:gd name="connsiteX85" fmla="*/ 8485 w 144096"/>
                  <a:gd name="connsiteY85" fmla="*/ 66669 h 146520"/>
                  <a:gd name="connsiteX86" fmla="*/ 6364 w 144096"/>
                  <a:gd name="connsiteY86" fmla="*/ 71214 h 146520"/>
                  <a:gd name="connsiteX87" fmla="*/ 7424 w 144096"/>
                  <a:gd name="connsiteY87" fmla="*/ 74093 h 146520"/>
                  <a:gd name="connsiteX88" fmla="*/ 8334 w 144096"/>
                  <a:gd name="connsiteY88" fmla="*/ 79851 h 146520"/>
                  <a:gd name="connsiteX89" fmla="*/ 9697 w 144096"/>
                  <a:gd name="connsiteY89" fmla="*/ 84094 h 146520"/>
                  <a:gd name="connsiteX90" fmla="*/ 9394 w 144096"/>
                  <a:gd name="connsiteY90" fmla="*/ 86215 h 146520"/>
                  <a:gd name="connsiteX91" fmla="*/ 7727 w 144096"/>
                  <a:gd name="connsiteY91" fmla="*/ 89245 h 146520"/>
                  <a:gd name="connsiteX92" fmla="*/ 5909 w 144096"/>
                  <a:gd name="connsiteY92" fmla="*/ 91215 h 146520"/>
                  <a:gd name="connsiteX93" fmla="*/ 3939 w 144096"/>
                  <a:gd name="connsiteY93" fmla="*/ 91518 h 146520"/>
                  <a:gd name="connsiteX94" fmla="*/ 1970 w 144096"/>
                  <a:gd name="connsiteY94" fmla="*/ 92882 h 146520"/>
                  <a:gd name="connsiteX95" fmla="*/ 2273 w 144096"/>
                  <a:gd name="connsiteY95" fmla="*/ 95155 h 146520"/>
                  <a:gd name="connsiteX96" fmla="*/ 606 w 144096"/>
                  <a:gd name="connsiteY96" fmla="*/ 102731 h 146520"/>
                  <a:gd name="connsiteX97" fmla="*/ 0 w 144096"/>
                  <a:gd name="connsiteY97" fmla="*/ 109246 h 146520"/>
                  <a:gd name="connsiteX98" fmla="*/ 909 w 144096"/>
                  <a:gd name="connsiteY98" fmla="*/ 115156 h 146520"/>
                  <a:gd name="connsiteX99" fmla="*/ 6212 w 144096"/>
                  <a:gd name="connsiteY99" fmla="*/ 121065 h 146520"/>
                  <a:gd name="connsiteX100" fmla="*/ 13031 w 144096"/>
                  <a:gd name="connsiteY100" fmla="*/ 127277 h 146520"/>
                  <a:gd name="connsiteX101" fmla="*/ 14546 w 144096"/>
                  <a:gd name="connsiteY101" fmla="*/ 129702 h 146520"/>
                  <a:gd name="connsiteX102" fmla="*/ 15455 w 144096"/>
                  <a:gd name="connsiteY102" fmla="*/ 131520 h 146520"/>
                  <a:gd name="connsiteX103" fmla="*/ 16516 w 144096"/>
                  <a:gd name="connsiteY103" fmla="*/ 132429 h 146520"/>
                  <a:gd name="connsiteX104" fmla="*/ 24395 w 144096"/>
                  <a:gd name="connsiteY104" fmla="*/ 131520 h 146520"/>
                  <a:gd name="connsiteX105" fmla="*/ 34547 w 144096"/>
                  <a:gd name="connsiteY105" fmla="*/ 131672 h 146520"/>
                  <a:gd name="connsiteX106" fmla="*/ 43183 w 144096"/>
                  <a:gd name="connsiteY106" fmla="*/ 138641 h 146520"/>
                  <a:gd name="connsiteX107" fmla="*/ 53941 w 144096"/>
                  <a:gd name="connsiteY107" fmla="*/ 141672 h 146520"/>
                  <a:gd name="connsiteX108" fmla="*/ 56063 w 144096"/>
                  <a:gd name="connsiteY108" fmla="*/ 144248 h 146520"/>
                  <a:gd name="connsiteX109" fmla="*/ 59851 w 144096"/>
                  <a:gd name="connsiteY109" fmla="*/ 145460 h 146520"/>
                  <a:gd name="connsiteX110" fmla="*/ 61366 w 144096"/>
                  <a:gd name="connsiteY110" fmla="*/ 145611 h 146520"/>
                  <a:gd name="connsiteX111" fmla="*/ 63336 w 144096"/>
                  <a:gd name="connsiteY111" fmla="*/ 145763 h 146520"/>
                  <a:gd name="connsiteX112" fmla="*/ 70457 w 144096"/>
                  <a:gd name="connsiteY112" fmla="*/ 142732 h 146520"/>
                  <a:gd name="connsiteX113" fmla="*/ 75609 w 144096"/>
                  <a:gd name="connsiteY113" fmla="*/ 141672 h 146520"/>
                  <a:gd name="connsiteX114" fmla="*/ 83791 w 144096"/>
                  <a:gd name="connsiteY114" fmla="*/ 142581 h 146520"/>
                  <a:gd name="connsiteX115" fmla="*/ 87428 w 144096"/>
                  <a:gd name="connsiteY115" fmla="*/ 145308 h 146520"/>
                  <a:gd name="connsiteX116" fmla="*/ 91367 w 144096"/>
                  <a:gd name="connsiteY116" fmla="*/ 145308 h 146520"/>
                  <a:gd name="connsiteX117" fmla="*/ 96670 w 144096"/>
                  <a:gd name="connsiteY117" fmla="*/ 146520 h 146520"/>
                  <a:gd name="connsiteX118" fmla="*/ 111368 w 144096"/>
                  <a:gd name="connsiteY118" fmla="*/ 140308 h 146520"/>
                  <a:gd name="connsiteX119" fmla="*/ 113944 w 144096"/>
                  <a:gd name="connsiteY119" fmla="*/ 138338 h 146520"/>
                  <a:gd name="connsiteX120" fmla="*/ 116671 w 144096"/>
                  <a:gd name="connsiteY120" fmla="*/ 138338 h 146520"/>
                  <a:gd name="connsiteX121" fmla="*/ 121065 w 144096"/>
                  <a:gd name="connsiteY121" fmla="*/ 133641 h 146520"/>
                  <a:gd name="connsiteX122" fmla="*/ 127277 w 144096"/>
                  <a:gd name="connsiteY122" fmla="*/ 129398 h 146520"/>
                  <a:gd name="connsiteX123" fmla="*/ 128338 w 144096"/>
                  <a:gd name="connsiteY123" fmla="*/ 125459 h 146520"/>
                  <a:gd name="connsiteX124" fmla="*/ 134096 w 144096"/>
                  <a:gd name="connsiteY124" fmla="*/ 118338 h 146520"/>
                  <a:gd name="connsiteX125" fmla="*/ 135762 w 144096"/>
                  <a:gd name="connsiteY125" fmla="*/ 113186 h 146520"/>
                  <a:gd name="connsiteX126" fmla="*/ 137278 w 144096"/>
                  <a:gd name="connsiteY126" fmla="*/ 111064 h 146520"/>
                  <a:gd name="connsiteX127" fmla="*/ 138641 w 144096"/>
                  <a:gd name="connsiteY127" fmla="*/ 109852 h 146520"/>
                  <a:gd name="connsiteX128" fmla="*/ 137884 w 144096"/>
                  <a:gd name="connsiteY128" fmla="*/ 109701 h 146520"/>
                  <a:gd name="connsiteX129" fmla="*/ 136066 w 144096"/>
                  <a:gd name="connsiteY129" fmla="*/ 108943 h 146520"/>
                  <a:gd name="connsiteX130" fmla="*/ 134551 w 144096"/>
                  <a:gd name="connsiteY130" fmla="*/ 107883 h 146520"/>
                  <a:gd name="connsiteX131" fmla="*/ 134247 w 144096"/>
                  <a:gd name="connsiteY131" fmla="*/ 107276 h 146520"/>
                  <a:gd name="connsiteX132" fmla="*/ 133944 w 144096"/>
                  <a:gd name="connsiteY132" fmla="*/ 106216 h 146520"/>
                  <a:gd name="connsiteX133" fmla="*/ 134096 w 144096"/>
                  <a:gd name="connsiteY133" fmla="*/ 103943 h 146520"/>
                  <a:gd name="connsiteX134" fmla="*/ 133793 w 144096"/>
                  <a:gd name="connsiteY134" fmla="*/ 103640 h 146520"/>
                  <a:gd name="connsiteX135" fmla="*/ 133490 w 144096"/>
                  <a:gd name="connsiteY135" fmla="*/ 102882 h 146520"/>
                  <a:gd name="connsiteX136" fmla="*/ 133187 w 144096"/>
                  <a:gd name="connsiteY136" fmla="*/ 101973 h 146520"/>
                  <a:gd name="connsiteX137" fmla="*/ 133035 w 144096"/>
                  <a:gd name="connsiteY137" fmla="*/ 100458 h 146520"/>
                  <a:gd name="connsiteX138" fmla="*/ 132884 w 144096"/>
                  <a:gd name="connsiteY138" fmla="*/ 98488 h 146520"/>
                  <a:gd name="connsiteX139" fmla="*/ 132732 w 144096"/>
                  <a:gd name="connsiteY139" fmla="*/ 96367 h 146520"/>
                  <a:gd name="connsiteX140" fmla="*/ 132126 w 144096"/>
                  <a:gd name="connsiteY140" fmla="*/ 94700 h 146520"/>
                  <a:gd name="connsiteX141" fmla="*/ 131823 w 144096"/>
                  <a:gd name="connsiteY141" fmla="*/ 93033 h 146520"/>
                  <a:gd name="connsiteX142" fmla="*/ 131672 w 144096"/>
                  <a:gd name="connsiteY142" fmla="*/ 91367 h 146520"/>
                  <a:gd name="connsiteX143" fmla="*/ 132278 w 144096"/>
                  <a:gd name="connsiteY143" fmla="*/ 89700 h 146520"/>
                  <a:gd name="connsiteX144" fmla="*/ 133793 w 144096"/>
                  <a:gd name="connsiteY144" fmla="*/ 88033 h 146520"/>
                  <a:gd name="connsiteX145" fmla="*/ 135762 w 144096"/>
                  <a:gd name="connsiteY145" fmla="*/ 86064 h 146520"/>
                  <a:gd name="connsiteX146" fmla="*/ 137581 w 144096"/>
                  <a:gd name="connsiteY146" fmla="*/ 85912 h 146520"/>
                  <a:gd name="connsiteX147" fmla="*/ 138945 w 144096"/>
                  <a:gd name="connsiteY147" fmla="*/ 85003 h 146520"/>
                  <a:gd name="connsiteX148" fmla="*/ 139854 w 144096"/>
                  <a:gd name="connsiteY148" fmla="*/ 83639 h 146520"/>
                  <a:gd name="connsiteX149" fmla="*/ 140157 w 144096"/>
                  <a:gd name="connsiteY149" fmla="*/ 82276 h 146520"/>
                  <a:gd name="connsiteX150" fmla="*/ 140157 w 144096"/>
                  <a:gd name="connsiteY150" fmla="*/ 80912 h 146520"/>
                  <a:gd name="connsiteX151" fmla="*/ 140460 w 144096"/>
                  <a:gd name="connsiteY151" fmla="*/ 80003 h 146520"/>
                  <a:gd name="connsiteX152" fmla="*/ 141520 w 144096"/>
                  <a:gd name="connsiteY152" fmla="*/ 79094 h 146520"/>
                  <a:gd name="connsiteX153" fmla="*/ 142733 w 144096"/>
                  <a:gd name="connsiteY153" fmla="*/ 78336 h 146520"/>
                  <a:gd name="connsiteX154" fmla="*/ 143793 w 144096"/>
                  <a:gd name="connsiteY154" fmla="*/ 77427 h 146520"/>
                  <a:gd name="connsiteX155" fmla="*/ 144096 w 144096"/>
                  <a:gd name="connsiteY155" fmla="*/ 77276 h 14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44096" h="146520">
                    <a:moveTo>
                      <a:pt x="142429" y="75912"/>
                    </a:moveTo>
                    <a:lnTo>
                      <a:pt x="138793" y="74548"/>
                    </a:lnTo>
                    <a:lnTo>
                      <a:pt x="135308" y="72124"/>
                    </a:lnTo>
                    <a:lnTo>
                      <a:pt x="132278" y="69093"/>
                    </a:lnTo>
                    <a:lnTo>
                      <a:pt x="130763" y="65912"/>
                    </a:lnTo>
                    <a:lnTo>
                      <a:pt x="129550" y="62578"/>
                    </a:lnTo>
                    <a:lnTo>
                      <a:pt x="128338" y="59850"/>
                    </a:lnTo>
                    <a:lnTo>
                      <a:pt x="127884" y="58638"/>
                    </a:lnTo>
                    <a:lnTo>
                      <a:pt x="126671" y="58184"/>
                    </a:lnTo>
                    <a:lnTo>
                      <a:pt x="124702" y="56820"/>
                    </a:lnTo>
                    <a:lnTo>
                      <a:pt x="123489" y="55457"/>
                    </a:lnTo>
                    <a:lnTo>
                      <a:pt x="121823" y="54699"/>
                    </a:lnTo>
                    <a:lnTo>
                      <a:pt x="118641" y="53941"/>
                    </a:lnTo>
                    <a:lnTo>
                      <a:pt x="115307" y="52578"/>
                    </a:lnTo>
                    <a:lnTo>
                      <a:pt x="111216" y="49244"/>
                    </a:lnTo>
                    <a:lnTo>
                      <a:pt x="108337" y="45607"/>
                    </a:lnTo>
                    <a:lnTo>
                      <a:pt x="106822" y="43183"/>
                    </a:lnTo>
                    <a:lnTo>
                      <a:pt x="105307" y="41365"/>
                    </a:lnTo>
                    <a:lnTo>
                      <a:pt x="96822" y="38638"/>
                    </a:lnTo>
                    <a:lnTo>
                      <a:pt x="93034" y="35153"/>
                    </a:lnTo>
                    <a:lnTo>
                      <a:pt x="91518" y="36213"/>
                    </a:lnTo>
                    <a:lnTo>
                      <a:pt x="89246" y="35153"/>
                    </a:lnTo>
                    <a:lnTo>
                      <a:pt x="86973" y="33638"/>
                    </a:lnTo>
                    <a:lnTo>
                      <a:pt x="86367" y="32425"/>
                    </a:lnTo>
                    <a:lnTo>
                      <a:pt x="85458" y="31062"/>
                    </a:lnTo>
                    <a:lnTo>
                      <a:pt x="84549" y="29546"/>
                    </a:lnTo>
                    <a:lnTo>
                      <a:pt x="83942" y="28183"/>
                    </a:lnTo>
                    <a:lnTo>
                      <a:pt x="81670" y="25758"/>
                    </a:lnTo>
                    <a:lnTo>
                      <a:pt x="78791" y="23183"/>
                    </a:lnTo>
                    <a:lnTo>
                      <a:pt x="77427" y="22425"/>
                    </a:lnTo>
                    <a:lnTo>
                      <a:pt x="76821" y="22576"/>
                    </a:lnTo>
                    <a:lnTo>
                      <a:pt x="76215" y="23637"/>
                    </a:lnTo>
                    <a:lnTo>
                      <a:pt x="75760" y="24546"/>
                    </a:lnTo>
                    <a:lnTo>
                      <a:pt x="74700" y="25152"/>
                    </a:lnTo>
                    <a:lnTo>
                      <a:pt x="73336" y="26516"/>
                    </a:lnTo>
                    <a:lnTo>
                      <a:pt x="71821" y="27880"/>
                    </a:lnTo>
                    <a:lnTo>
                      <a:pt x="70154" y="28941"/>
                    </a:lnTo>
                    <a:lnTo>
                      <a:pt x="67881" y="29243"/>
                    </a:lnTo>
                    <a:lnTo>
                      <a:pt x="66518" y="29243"/>
                    </a:lnTo>
                    <a:lnTo>
                      <a:pt x="66215" y="28637"/>
                    </a:lnTo>
                    <a:lnTo>
                      <a:pt x="66063" y="26516"/>
                    </a:lnTo>
                    <a:lnTo>
                      <a:pt x="66669" y="21970"/>
                    </a:lnTo>
                    <a:lnTo>
                      <a:pt x="65457" y="20152"/>
                    </a:lnTo>
                    <a:lnTo>
                      <a:pt x="63790" y="18182"/>
                    </a:lnTo>
                    <a:lnTo>
                      <a:pt x="61821" y="15758"/>
                    </a:lnTo>
                    <a:lnTo>
                      <a:pt x="55457" y="10303"/>
                    </a:lnTo>
                    <a:lnTo>
                      <a:pt x="46820" y="2424"/>
                    </a:lnTo>
                    <a:lnTo>
                      <a:pt x="43789" y="151"/>
                    </a:lnTo>
                    <a:lnTo>
                      <a:pt x="41062" y="0"/>
                    </a:lnTo>
                    <a:lnTo>
                      <a:pt x="38335" y="151"/>
                    </a:lnTo>
                    <a:lnTo>
                      <a:pt x="35910" y="1212"/>
                    </a:lnTo>
                    <a:lnTo>
                      <a:pt x="34092" y="4849"/>
                    </a:lnTo>
                    <a:lnTo>
                      <a:pt x="33335" y="5303"/>
                    </a:lnTo>
                    <a:lnTo>
                      <a:pt x="28789" y="5303"/>
                    </a:lnTo>
                    <a:lnTo>
                      <a:pt x="24092" y="4697"/>
                    </a:lnTo>
                    <a:lnTo>
                      <a:pt x="22576" y="2576"/>
                    </a:lnTo>
                    <a:lnTo>
                      <a:pt x="21667" y="3636"/>
                    </a:lnTo>
                    <a:lnTo>
                      <a:pt x="21516" y="5758"/>
                    </a:lnTo>
                    <a:lnTo>
                      <a:pt x="19698" y="8333"/>
                    </a:lnTo>
                    <a:lnTo>
                      <a:pt x="16516" y="11667"/>
                    </a:lnTo>
                    <a:lnTo>
                      <a:pt x="15455" y="14546"/>
                    </a:lnTo>
                    <a:lnTo>
                      <a:pt x="16819" y="18182"/>
                    </a:lnTo>
                    <a:lnTo>
                      <a:pt x="17122" y="22576"/>
                    </a:lnTo>
                    <a:lnTo>
                      <a:pt x="16516" y="24395"/>
                    </a:lnTo>
                    <a:lnTo>
                      <a:pt x="15000" y="25001"/>
                    </a:lnTo>
                    <a:lnTo>
                      <a:pt x="14698" y="26062"/>
                    </a:lnTo>
                    <a:lnTo>
                      <a:pt x="15455" y="27728"/>
                    </a:lnTo>
                    <a:lnTo>
                      <a:pt x="15455" y="30001"/>
                    </a:lnTo>
                    <a:lnTo>
                      <a:pt x="14849" y="32729"/>
                    </a:lnTo>
                    <a:lnTo>
                      <a:pt x="13334" y="35759"/>
                    </a:lnTo>
                    <a:lnTo>
                      <a:pt x="11061" y="39395"/>
                    </a:lnTo>
                    <a:lnTo>
                      <a:pt x="10455" y="41668"/>
                    </a:lnTo>
                    <a:lnTo>
                      <a:pt x="11667" y="42880"/>
                    </a:lnTo>
                    <a:lnTo>
                      <a:pt x="12273" y="44093"/>
                    </a:lnTo>
                    <a:lnTo>
                      <a:pt x="12273" y="45456"/>
                    </a:lnTo>
                    <a:lnTo>
                      <a:pt x="11667" y="47426"/>
                    </a:lnTo>
                    <a:lnTo>
                      <a:pt x="10758" y="50002"/>
                    </a:lnTo>
                    <a:lnTo>
                      <a:pt x="9243" y="51820"/>
                    </a:lnTo>
                    <a:lnTo>
                      <a:pt x="7273" y="53032"/>
                    </a:lnTo>
                    <a:lnTo>
                      <a:pt x="6667" y="54699"/>
                    </a:lnTo>
                    <a:lnTo>
                      <a:pt x="7576" y="56517"/>
                    </a:lnTo>
                    <a:lnTo>
                      <a:pt x="7576" y="58487"/>
                    </a:lnTo>
                    <a:lnTo>
                      <a:pt x="7121" y="60608"/>
                    </a:lnTo>
                    <a:lnTo>
                      <a:pt x="7424" y="62578"/>
                    </a:lnTo>
                    <a:lnTo>
                      <a:pt x="8637" y="64396"/>
                    </a:lnTo>
                    <a:lnTo>
                      <a:pt x="8485" y="66669"/>
                    </a:lnTo>
                    <a:lnTo>
                      <a:pt x="6364" y="71214"/>
                    </a:lnTo>
                    <a:lnTo>
                      <a:pt x="7424" y="74093"/>
                    </a:lnTo>
                    <a:lnTo>
                      <a:pt x="8334" y="79851"/>
                    </a:lnTo>
                    <a:lnTo>
                      <a:pt x="9697" y="84094"/>
                    </a:lnTo>
                    <a:lnTo>
                      <a:pt x="9394" y="86215"/>
                    </a:lnTo>
                    <a:lnTo>
                      <a:pt x="7727" y="89245"/>
                    </a:lnTo>
                    <a:lnTo>
                      <a:pt x="5909" y="91215"/>
                    </a:lnTo>
                    <a:lnTo>
                      <a:pt x="3939" y="91518"/>
                    </a:lnTo>
                    <a:lnTo>
                      <a:pt x="1970" y="92882"/>
                    </a:lnTo>
                    <a:lnTo>
                      <a:pt x="2273" y="95155"/>
                    </a:lnTo>
                    <a:lnTo>
                      <a:pt x="606" y="102731"/>
                    </a:lnTo>
                    <a:lnTo>
                      <a:pt x="0" y="109246"/>
                    </a:lnTo>
                    <a:lnTo>
                      <a:pt x="909" y="115156"/>
                    </a:lnTo>
                    <a:lnTo>
                      <a:pt x="6212" y="121065"/>
                    </a:lnTo>
                    <a:lnTo>
                      <a:pt x="13031" y="127277"/>
                    </a:lnTo>
                    <a:lnTo>
                      <a:pt x="14546" y="129702"/>
                    </a:lnTo>
                    <a:lnTo>
                      <a:pt x="15455" y="131520"/>
                    </a:lnTo>
                    <a:lnTo>
                      <a:pt x="16516" y="132429"/>
                    </a:lnTo>
                    <a:lnTo>
                      <a:pt x="24395" y="131520"/>
                    </a:lnTo>
                    <a:lnTo>
                      <a:pt x="34547" y="131672"/>
                    </a:lnTo>
                    <a:lnTo>
                      <a:pt x="43183" y="138641"/>
                    </a:lnTo>
                    <a:lnTo>
                      <a:pt x="53941" y="141672"/>
                    </a:lnTo>
                    <a:lnTo>
                      <a:pt x="56063" y="144248"/>
                    </a:lnTo>
                    <a:lnTo>
                      <a:pt x="59851" y="145460"/>
                    </a:lnTo>
                    <a:lnTo>
                      <a:pt x="61366" y="145611"/>
                    </a:lnTo>
                    <a:lnTo>
                      <a:pt x="63336" y="145763"/>
                    </a:lnTo>
                    <a:lnTo>
                      <a:pt x="70457" y="142732"/>
                    </a:lnTo>
                    <a:lnTo>
                      <a:pt x="75609" y="141672"/>
                    </a:lnTo>
                    <a:lnTo>
                      <a:pt x="83791" y="142581"/>
                    </a:lnTo>
                    <a:lnTo>
                      <a:pt x="87428" y="145308"/>
                    </a:lnTo>
                    <a:lnTo>
                      <a:pt x="91367" y="145308"/>
                    </a:lnTo>
                    <a:lnTo>
                      <a:pt x="96670" y="146520"/>
                    </a:lnTo>
                    <a:lnTo>
                      <a:pt x="111368" y="140308"/>
                    </a:lnTo>
                    <a:lnTo>
                      <a:pt x="113944" y="138338"/>
                    </a:lnTo>
                    <a:lnTo>
                      <a:pt x="116671" y="138338"/>
                    </a:lnTo>
                    <a:lnTo>
                      <a:pt x="121065" y="133641"/>
                    </a:lnTo>
                    <a:lnTo>
                      <a:pt x="127277" y="129398"/>
                    </a:lnTo>
                    <a:lnTo>
                      <a:pt x="128338" y="125459"/>
                    </a:lnTo>
                    <a:lnTo>
                      <a:pt x="134096" y="118338"/>
                    </a:lnTo>
                    <a:lnTo>
                      <a:pt x="135762" y="113186"/>
                    </a:lnTo>
                    <a:lnTo>
                      <a:pt x="137278" y="111064"/>
                    </a:lnTo>
                    <a:lnTo>
                      <a:pt x="138641" y="109852"/>
                    </a:lnTo>
                    <a:lnTo>
                      <a:pt x="137884" y="109701"/>
                    </a:lnTo>
                    <a:lnTo>
                      <a:pt x="136066" y="108943"/>
                    </a:lnTo>
                    <a:lnTo>
                      <a:pt x="134551" y="107883"/>
                    </a:lnTo>
                    <a:lnTo>
                      <a:pt x="134247" y="107276"/>
                    </a:lnTo>
                    <a:lnTo>
                      <a:pt x="133944" y="106216"/>
                    </a:lnTo>
                    <a:lnTo>
                      <a:pt x="134096" y="103943"/>
                    </a:lnTo>
                    <a:lnTo>
                      <a:pt x="133793" y="103640"/>
                    </a:lnTo>
                    <a:lnTo>
                      <a:pt x="133490" y="102882"/>
                    </a:lnTo>
                    <a:lnTo>
                      <a:pt x="133187" y="101973"/>
                    </a:lnTo>
                    <a:lnTo>
                      <a:pt x="133035" y="100458"/>
                    </a:lnTo>
                    <a:lnTo>
                      <a:pt x="132884" y="98488"/>
                    </a:lnTo>
                    <a:lnTo>
                      <a:pt x="132732" y="96367"/>
                    </a:lnTo>
                    <a:lnTo>
                      <a:pt x="132126" y="94700"/>
                    </a:lnTo>
                    <a:lnTo>
                      <a:pt x="131823" y="93033"/>
                    </a:lnTo>
                    <a:lnTo>
                      <a:pt x="131672" y="91367"/>
                    </a:lnTo>
                    <a:lnTo>
                      <a:pt x="132278" y="89700"/>
                    </a:lnTo>
                    <a:lnTo>
                      <a:pt x="133793" y="88033"/>
                    </a:lnTo>
                    <a:lnTo>
                      <a:pt x="135762" y="86064"/>
                    </a:lnTo>
                    <a:lnTo>
                      <a:pt x="137581" y="85912"/>
                    </a:lnTo>
                    <a:lnTo>
                      <a:pt x="138945" y="85003"/>
                    </a:lnTo>
                    <a:lnTo>
                      <a:pt x="139854" y="83639"/>
                    </a:lnTo>
                    <a:lnTo>
                      <a:pt x="140157" y="82276"/>
                    </a:lnTo>
                    <a:lnTo>
                      <a:pt x="140157" y="80912"/>
                    </a:lnTo>
                    <a:lnTo>
                      <a:pt x="140460" y="80003"/>
                    </a:lnTo>
                    <a:lnTo>
                      <a:pt x="141520" y="79094"/>
                    </a:lnTo>
                    <a:lnTo>
                      <a:pt x="142733" y="78336"/>
                    </a:lnTo>
                    <a:lnTo>
                      <a:pt x="143793" y="77427"/>
                    </a:lnTo>
                    <a:lnTo>
                      <a:pt x="144096" y="772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AB064F6-BFD2-44E4-8993-179990F78EBC}"/>
                  </a:ext>
                </a:extLst>
              </p:cNvPr>
              <p:cNvSpPr/>
              <p:nvPr/>
            </p:nvSpPr>
            <p:spPr>
              <a:xfrm>
                <a:off x="1172635" y="2175694"/>
                <a:ext cx="9847941" cy="1864765"/>
              </a:xfrm>
              <a:custGeom>
                <a:avLst/>
                <a:gdLst>
                  <a:gd name="connsiteX0" fmla="*/ 652448 w 9847941"/>
                  <a:gd name="connsiteY0" fmla="*/ 518958 h 1864765"/>
                  <a:gd name="connsiteX1" fmla="*/ 649873 w 9847941"/>
                  <a:gd name="connsiteY1" fmla="*/ 521989 h 1864765"/>
                  <a:gd name="connsiteX2" fmla="*/ 647903 w 9847941"/>
                  <a:gd name="connsiteY2" fmla="*/ 524716 h 1864765"/>
                  <a:gd name="connsiteX3" fmla="*/ 649266 w 9847941"/>
                  <a:gd name="connsiteY3" fmla="*/ 524413 h 1864765"/>
                  <a:gd name="connsiteX4" fmla="*/ 653661 w 9847941"/>
                  <a:gd name="connsiteY4" fmla="*/ 520170 h 1864765"/>
                  <a:gd name="connsiteX5" fmla="*/ 657903 w 9847941"/>
                  <a:gd name="connsiteY5" fmla="*/ 517746 h 1864765"/>
                  <a:gd name="connsiteX6" fmla="*/ 658206 w 9847941"/>
                  <a:gd name="connsiteY6" fmla="*/ 516382 h 1864765"/>
                  <a:gd name="connsiteX7" fmla="*/ 655024 w 9847941"/>
                  <a:gd name="connsiteY7" fmla="*/ 517140 h 1864765"/>
                  <a:gd name="connsiteX8" fmla="*/ 652448 w 9847941"/>
                  <a:gd name="connsiteY8" fmla="*/ 518958 h 1864765"/>
                  <a:gd name="connsiteX9" fmla="*/ 920792 w 9847941"/>
                  <a:gd name="connsiteY9" fmla="*/ 646236 h 1864765"/>
                  <a:gd name="connsiteX10" fmla="*/ 919580 w 9847941"/>
                  <a:gd name="connsiteY10" fmla="*/ 643054 h 1864765"/>
                  <a:gd name="connsiteX11" fmla="*/ 917004 w 9847941"/>
                  <a:gd name="connsiteY11" fmla="*/ 634720 h 1864765"/>
                  <a:gd name="connsiteX12" fmla="*/ 915489 w 9847941"/>
                  <a:gd name="connsiteY12" fmla="*/ 630781 h 1864765"/>
                  <a:gd name="connsiteX13" fmla="*/ 913822 w 9847941"/>
                  <a:gd name="connsiteY13" fmla="*/ 627447 h 1864765"/>
                  <a:gd name="connsiteX14" fmla="*/ 911549 w 9847941"/>
                  <a:gd name="connsiteY14" fmla="*/ 623205 h 1864765"/>
                  <a:gd name="connsiteX15" fmla="*/ 908973 w 9847941"/>
                  <a:gd name="connsiteY15" fmla="*/ 620629 h 1864765"/>
                  <a:gd name="connsiteX16" fmla="*/ 907155 w 9847941"/>
                  <a:gd name="connsiteY16" fmla="*/ 620023 h 1864765"/>
                  <a:gd name="connsiteX17" fmla="*/ 901246 w 9847941"/>
                  <a:gd name="connsiteY17" fmla="*/ 616083 h 1864765"/>
                  <a:gd name="connsiteX18" fmla="*/ 898518 w 9847941"/>
                  <a:gd name="connsiteY18" fmla="*/ 616083 h 1864765"/>
                  <a:gd name="connsiteX19" fmla="*/ 897458 w 9847941"/>
                  <a:gd name="connsiteY19" fmla="*/ 616841 h 1864765"/>
                  <a:gd name="connsiteX20" fmla="*/ 895185 w 9847941"/>
                  <a:gd name="connsiteY20" fmla="*/ 620477 h 1864765"/>
                  <a:gd name="connsiteX21" fmla="*/ 894882 w 9847941"/>
                  <a:gd name="connsiteY21" fmla="*/ 621841 h 1864765"/>
                  <a:gd name="connsiteX22" fmla="*/ 893670 w 9847941"/>
                  <a:gd name="connsiteY22" fmla="*/ 623205 h 1864765"/>
                  <a:gd name="connsiteX23" fmla="*/ 892154 w 9847941"/>
                  <a:gd name="connsiteY23" fmla="*/ 624114 h 1864765"/>
                  <a:gd name="connsiteX24" fmla="*/ 889275 w 9847941"/>
                  <a:gd name="connsiteY24" fmla="*/ 624720 h 1864765"/>
                  <a:gd name="connsiteX25" fmla="*/ 888366 w 9847941"/>
                  <a:gd name="connsiteY25" fmla="*/ 626235 h 1864765"/>
                  <a:gd name="connsiteX26" fmla="*/ 888366 w 9847941"/>
                  <a:gd name="connsiteY26" fmla="*/ 628205 h 1864765"/>
                  <a:gd name="connsiteX27" fmla="*/ 889881 w 9847941"/>
                  <a:gd name="connsiteY27" fmla="*/ 633356 h 1864765"/>
                  <a:gd name="connsiteX28" fmla="*/ 889427 w 9847941"/>
                  <a:gd name="connsiteY28" fmla="*/ 635023 h 1864765"/>
                  <a:gd name="connsiteX29" fmla="*/ 888518 w 9847941"/>
                  <a:gd name="connsiteY29" fmla="*/ 636841 h 1864765"/>
                  <a:gd name="connsiteX30" fmla="*/ 892609 w 9847941"/>
                  <a:gd name="connsiteY30" fmla="*/ 635932 h 1864765"/>
                  <a:gd name="connsiteX31" fmla="*/ 894124 w 9847941"/>
                  <a:gd name="connsiteY31" fmla="*/ 634417 h 1864765"/>
                  <a:gd name="connsiteX32" fmla="*/ 897003 w 9847941"/>
                  <a:gd name="connsiteY32" fmla="*/ 627599 h 1864765"/>
                  <a:gd name="connsiteX33" fmla="*/ 898215 w 9847941"/>
                  <a:gd name="connsiteY33" fmla="*/ 627447 h 1864765"/>
                  <a:gd name="connsiteX34" fmla="*/ 900336 w 9847941"/>
                  <a:gd name="connsiteY34" fmla="*/ 629872 h 1864765"/>
                  <a:gd name="connsiteX35" fmla="*/ 901246 w 9847941"/>
                  <a:gd name="connsiteY35" fmla="*/ 634114 h 1864765"/>
                  <a:gd name="connsiteX36" fmla="*/ 903215 w 9847941"/>
                  <a:gd name="connsiteY36" fmla="*/ 635326 h 1864765"/>
                  <a:gd name="connsiteX37" fmla="*/ 904731 w 9847941"/>
                  <a:gd name="connsiteY37" fmla="*/ 635478 h 1864765"/>
                  <a:gd name="connsiteX38" fmla="*/ 905034 w 9847941"/>
                  <a:gd name="connsiteY38" fmla="*/ 636235 h 1864765"/>
                  <a:gd name="connsiteX39" fmla="*/ 901852 w 9847941"/>
                  <a:gd name="connsiteY39" fmla="*/ 640023 h 1864765"/>
                  <a:gd name="connsiteX40" fmla="*/ 901246 w 9847941"/>
                  <a:gd name="connsiteY40" fmla="*/ 641539 h 1864765"/>
                  <a:gd name="connsiteX41" fmla="*/ 901246 w 9847941"/>
                  <a:gd name="connsiteY41" fmla="*/ 643205 h 1864765"/>
                  <a:gd name="connsiteX42" fmla="*/ 901549 w 9847941"/>
                  <a:gd name="connsiteY42" fmla="*/ 644266 h 1864765"/>
                  <a:gd name="connsiteX43" fmla="*/ 902761 w 9847941"/>
                  <a:gd name="connsiteY43" fmla="*/ 645175 h 1864765"/>
                  <a:gd name="connsiteX44" fmla="*/ 906094 w 9847941"/>
                  <a:gd name="connsiteY44" fmla="*/ 644266 h 1864765"/>
                  <a:gd name="connsiteX45" fmla="*/ 906549 w 9847941"/>
                  <a:gd name="connsiteY45" fmla="*/ 645175 h 1864765"/>
                  <a:gd name="connsiteX46" fmla="*/ 906246 w 9847941"/>
                  <a:gd name="connsiteY46" fmla="*/ 648206 h 1864765"/>
                  <a:gd name="connsiteX47" fmla="*/ 907913 w 9847941"/>
                  <a:gd name="connsiteY47" fmla="*/ 649115 h 1864765"/>
                  <a:gd name="connsiteX48" fmla="*/ 910034 w 9847941"/>
                  <a:gd name="connsiteY48" fmla="*/ 650781 h 1864765"/>
                  <a:gd name="connsiteX49" fmla="*/ 912458 w 9847941"/>
                  <a:gd name="connsiteY49" fmla="*/ 650478 h 1864765"/>
                  <a:gd name="connsiteX50" fmla="*/ 913670 w 9847941"/>
                  <a:gd name="connsiteY50" fmla="*/ 650024 h 1864765"/>
                  <a:gd name="connsiteX51" fmla="*/ 913973 w 9847941"/>
                  <a:gd name="connsiteY51" fmla="*/ 650327 h 1864765"/>
                  <a:gd name="connsiteX52" fmla="*/ 912458 w 9847941"/>
                  <a:gd name="connsiteY52" fmla="*/ 652448 h 1864765"/>
                  <a:gd name="connsiteX53" fmla="*/ 911549 w 9847941"/>
                  <a:gd name="connsiteY53" fmla="*/ 653206 h 1864765"/>
                  <a:gd name="connsiteX54" fmla="*/ 911094 w 9847941"/>
                  <a:gd name="connsiteY54" fmla="*/ 654418 h 1864765"/>
                  <a:gd name="connsiteX55" fmla="*/ 911094 w 9847941"/>
                  <a:gd name="connsiteY55" fmla="*/ 656085 h 1864765"/>
                  <a:gd name="connsiteX56" fmla="*/ 911852 w 9847941"/>
                  <a:gd name="connsiteY56" fmla="*/ 658509 h 1864765"/>
                  <a:gd name="connsiteX57" fmla="*/ 914579 w 9847941"/>
                  <a:gd name="connsiteY57" fmla="*/ 663661 h 1864765"/>
                  <a:gd name="connsiteX58" fmla="*/ 915792 w 9847941"/>
                  <a:gd name="connsiteY58" fmla="*/ 665327 h 1864765"/>
                  <a:gd name="connsiteX59" fmla="*/ 917307 w 9847941"/>
                  <a:gd name="connsiteY59" fmla="*/ 666843 h 1864765"/>
                  <a:gd name="connsiteX60" fmla="*/ 919125 w 9847941"/>
                  <a:gd name="connsiteY60" fmla="*/ 667752 h 1864765"/>
                  <a:gd name="connsiteX61" fmla="*/ 919883 w 9847941"/>
                  <a:gd name="connsiteY61" fmla="*/ 667297 h 1864765"/>
                  <a:gd name="connsiteX62" fmla="*/ 920489 w 9847941"/>
                  <a:gd name="connsiteY62" fmla="*/ 664418 h 1864765"/>
                  <a:gd name="connsiteX63" fmla="*/ 920489 w 9847941"/>
                  <a:gd name="connsiteY63" fmla="*/ 659266 h 1864765"/>
                  <a:gd name="connsiteX64" fmla="*/ 919731 w 9847941"/>
                  <a:gd name="connsiteY64" fmla="*/ 655933 h 1864765"/>
                  <a:gd name="connsiteX65" fmla="*/ 919883 w 9847941"/>
                  <a:gd name="connsiteY65" fmla="*/ 654721 h 1864765"/>
                  <a:gd name="connsiteX66" fmla="*/ 920640 w 9847941"/>
                  <a:gd name="connsiteY66" fmla="*/ 653812 h 1864765"/>
                  <a:gd name="connsiteX67" fmla="*/ 920943 w 9847941"/>
                  <a:gd name="connsiteY67" fmla="*/ 652903 h 1864765"/>
                  <a:gd name="connsiteX68" fmla="*/ 920640 w 9847941"/>
                  <a:gd name="connsiteY68" fmla="*/ 648357 h 1864765"/>
                  <a:gd name="connsiteX69" fmla="*/ 920792 w 9847941"/>
                  <a:gd name="connsiteY69" fmla="*/ 646236 h 1864765"/>
                  <a:gd name="connsiteX70" fmla="*/ 935489 w 9847941"/>
                  <a:gd name="connsiteY70" fmla="*/ 625174 h 1864765"/>
                  <a:gd name="connsiteX71" fmla="*/ 940338 w 9847941"/>
                  <a:gd name="connsiteY71" fmla="*/ 623659 h 1864765"/>
                  <a:gd name="connsiteX72" fmla="*/ 940792 w 9847941"/>
                  <a:gd name="connsiteY72" fmla="*/ 623053 h 1864765"/>
                  <a:gd name="connsiteX73" fmla="*/ 940792 w 9847941"/>
                  <a:gd name="connsiteY73" fmla="*/ 622447 h 1864765"/>
                  <a:gd name="connsiteX74" fmla="*/ 938974 w 9847941"/>
                  <a:gd name="connsiteY74" fmla="*/ 619265 h 1864765"/>
                  <a:gd name="connsiteX75" fmla="*/ 940489 w 9847941"/>
                  <a:gd name="connsiteY75" fmla="*/ 617598 h 1864765"/>
                  <a:gd name="connsiteX76" fmla="*/ 940035 w 9847941"/>
                  <a:gd name="connsiteY76" fmla="*/ 614113 h 1864765"/>
                  <a:gd name="connsiteX77" fmla="*/ 939429 w 9847941"/>
                  <a:gd name="connsiteY77" fmla="*/ 612901 h 1864765"/>
                  <a:gd name="connsiteX78" fmla="*/ 936095 w 9847941"/>
                  <a:gd name="connsiteY78" fmla="*/ 608962 h 1864765"/>
                  <a:gd name="connsiteX79" fmla="*/ 931095 w 9847941"/>
                  <a:gd name="connsiteY79" fmla="*/ 602143 h 1864765"/>
                  <a:gd name="connsiteX80" fmla="*/ 930186 w 9847941"/>
                  <a:gd name="connsiteY80" fmla="*/ 598961 h 1864765"/>
                  <a:gd name="connsiteX81" fmla="*/ 930035 w 9847941"/>
                  <a:gd name="connsiteY81" fmla="*/ 596082 h 1864765"/>
                  <a:gd name="connsiteX82" fmla="*/ 930489 w 9847941"/>
                  <a:gd name="connsiteY82" fmla="*/ 595628 h 1864765"/>
                  <a:gd name="connsiteX83" fmla="*/ 931701 w 9847941"/>
                  <a:gd name="connsiteY83" fmla="*/ 595476 h 1864765"/>
                  <a:gd name="connsiteX84" fmla="*/ 932762 w 9847941"/>
                  <a:gd name="connsiteY84" fmla="*/ 595931 h 1864765"/>
                  <a:gd name="connsiteX85" fmla="*/ 933671 w 9847941"/>
                  <a:gd name="connsiteY85" fmla="*/ 596991 h 1864765"/>
                  <a:gd name="connsiteX86" fmla="*/ 933671 w 9847941"/>
                  <a:gd name="connsiteY86" fmla="*/ 598204 h 1864765"/>
                  <a:gd name="connsiteX87" fmla="*/ 935641 w 9847941"/>
                  <a:gd name="connsiteY87" fmla="*/ 602295 h 1864765"/>
                  <a:gd name="connsiteX88" fmla="*/ 936701 w 9847941"/>
                  <a:gd name="connsiteY88" fmla="*/ 603810 h 1864765"/>
                  <a:gd name="connsiteX89" fmla="*/ 937611 w 9847941"/>
                  <a:gd name="connsiteY89" fmla="*/ 604567 h 1864765"/>
                  <a:gd name="connsiteX90" fmla="*/ 938368 w 9847941"/>
                  <a:gd name="connsiteY90" fmla="*/ 606386 h 1864765"/>
                  <a:gd name="connsiteX91" fmla="*/ 940338 w 9847941"/>
                  <a:gd name="connsiteY91" fmla="*/ 610628 h 1864765"/>
                  <a:gd name="connsiteX92" fmla="*/ 943065 w 9847941"/>
                  <a:gd name="connsiteY92" fmla="*/ 612750 h 1864765"/>
                  <a:gd name="connsiteX93" fmla="*/ 943217 w 9847941"/>
                  <a:gd name="connsiteY93" fmla="*/ 612295 h 1864765"/>
                  <a:gd name="connsiteX94" fmla="*/ 942005 w 9847941"/>
                  <a:gd name="connsiteY94" fmla="*/ 609113 h 1864765"/>
                  <a:gd name="connsiteX95" fmla="*/ 941096 w 9847941"/>
                  <a:gd name="connsiteY95" fmla="*/ 605931 h 1864765"/>
                  <a:gd name="connsiteX96" fmla="*/ 939429 w 9847941"/>
                  <a:gd name="connsiteY96" fmla="*/ 602598 h 1864765"/>
                  <a:gd name="connsiteX97" fmla="*/ 936550 w 9847941"/>
                  <a:gd name="connsiteY97" fmla="*/ 597749 h 1864765"/>
                  <a:gd name="connsiteX98" fmla="*/ 931853 w 9847941"/>
                  <a:gd name="connsiteY98" fmla="*/ 591840 h 1864765"/>
                  <a:gd name="connsiteX99" fmla="*/ 926701 w 9847941"/>
                  <a:gd name="connsiteY99" fmla="*/ 591991 h 1864765"/>
                  <a:gd name="connsiteX100" fmla="*/ 919731 w 9847941"/>
                  <a:gd name="connsiteY100" fmla="*/ 591082 h 1864765"/>
                  <a:gd name="connsiteX101" fmla="*/ 918216 w 9847941"/>
                  <a:gd name="connsiteY101" fmla="*/ 588506 h 1864765"/>
                  <a:gd name="connsiteX102" fmla="*/ 915337 w 9847941"/>
                  <a:gd name="connsiteY102" fmla="*/ 584718 h 1864765"/>
                  <a:gd name="connsiteX103" fmla="*/ 912913 w 9847941"/>
                  <a:gd name="connsiteY103" fmla="*/ 583355 h 1864765"/>
                  <a:gd name="connsiteX104" fmla="*/ 912610 w 9847941"/>
                  <a:gd name="connsiteY104" fmla="*/ 584415 h 1864765"/>
                  <a:gd name="connsiteX105" fmla="*/ 913367 w 9847941"/>
                  <a:gd name="connsiteY105" fmla="*/ 586991 h 1864765"/>
                  <a:gd name="connsiteX106" fmla="*/ 914428 w 9847941"/>
                  <a:gd name="connsiteY106" fmla="*/ 589415 h 1864765"/>
                  <a:gd name="connsiteX107" fmla="*/ 915792 w 9847941"/>
                  <a:gd name="connsiteY107" fmla="*/ 591688 h 1864765"/>
                  <a:gd name="connsiteX108" fmla="*/ 916852 w 9847941"/>
                  <a:gd name="connsiteY108" fmla="*/ 594416 h 1864765"/>
                  <a:gd name="connsiteX109" fmla="*/ 917610 w 9847941"/>
                  <a:gd name="connsiteY109" fmla="*/ 597749 h 1864765"/>
                  <a:gd name="connsiteX110" fmla="*/ 919277 w 9847941"/>
                  <a:gd name="connsiteY110" fmla="*/ 608053 h 1864765"/>
                  <a:gd name="connsiteX111" fmla="*/ 920186 w 9847941"/>
                  <a:gd name="connsiteY111" fmla="*/ 611841 h 1864765"/>
                  <a:gd name="connsiteX112" fmla="*/ 922004 w 9847941"/>
                  <a:gd name="connsiteY112" fmla="*/ 614568 h 1864765"/>
                  <a:gd name="connsiteX113" fmla="*/ 925034 w 9847941"/>
                  <a:gd name="connsiteY113" fmla="*/ 617901 h 1864765"/>
                  <a:gd name="connsiteX114" fmla="*/ 925034 w 9847941"/>
                  <a:gd name="connsiteY114" fmla="*/ 620326 h 1864765"/>
                  <a:gd name="connsiteX115" fmla="*/ 922610 w 9847941"/>
                  <a:gd name="connsiteY115" fmla="*/ 627750 h 1864765"/>
                  <a:gd name="connsiteX116" fmla="*/ 921398 w 9847941"/>
                  <a:gd name="connsiteY116" fmla="*/ 629114 h 1864765"/>
                  <a:gd name="connsiteX117" fmla="*/ 921549 w 9847941"/>
                  <a:gd name="connsiteY117" fmla="*/ 631387 h 1864765"/>
                  <a:gd name="connsiteX118" fmla="*/ 922155 w 9847941"/>
                  <a:gd name="connsiteY118" fmla="*/ 633205 h 1864765"/>
                  <a:gd name="connsiteX119" fmla="*/ 923216 w 9847941"/>
                  <a:gd name="connsiteY119" fmla="*/ 634569 h 1864765"/>
                  <a:gd name="connsiteX120" fmla="*/ 924277 w 9847941"/>
                  <a:gd name="connsiteY120" fmla="*/ 635175 h 1864765"/>
                  <a:gd name="connsiteX121" fmla="*/ 926550 w 9847941"/>
                  <a:gd name="connsiteY121" fmla="*/ 634569 h 1864765"/>
                  <a:gd name="connsiteX122" fmla="*/ 931398 w 9847941"/>
                  <a:gd name="connsiteY122" fmla="*/ 631084 h 1864765"/>
                  <a:gd name="connsiteX123" fmla="*/ 935489 w 9847941"/>
                  <a:gd name="connsiteY123" fmla="*/ 625174 h 1864765"/>
                  <a:gd name="connsiteX124" fmla="*/ 893973 w 9847941"/>
                  <a:gd name="connsiteY124" fmla="*/ 618053 h 1864765"/>
                  <a:gd name="connsiteX125" fmla="*/ 893821 w 9847941"/>
                  <a:gd name="connsiteY125" fmla="*/ 613507 h 1864765"/>
                  <a:gd name="connsiteX126" fmla="*/ 894124 w 9847941"/>
                  <a:gd name="connsiteY126" fmla="*/ 611386 h 1864765"/>
                  <a:gd name="connsiteX127" fmla="*/ 895336 w 9847941"/>
                  <a:gd name="connsiteY127" fmla="*/ 610780 h 1864765"/>
                  <a:gd name="connsiteX128" fmla="*/ 897154 w 9847941"/>
                  <a:gd name="connsiteY128" fmla="*/ 610931 h 1864765"/>
                  <a:gd name="connsiteX129" fmla="*/ 904731 w 9847941"/>
                  <a:gd name="connsiteY129" fmla="*/ 614416 h 1864765"/>
                  <a:gd name="connsiteX130" fmla="*/ 908367 w 9847941"/>
                  <a:gd name="connsiteY130" fmla="*/ 616841 h 1864765"/>
                  <a:gd name="connsiteX131" fmla="*/ 912610 w 9847941"/>
                  <a:gd name="connsiteY131" fmla="*/ 618053 h 1864765"/>
                  <a:gd name="connsiteX132" fmla="*/ 914276 w 9847941"/>
                  <a:gd name="connsiteY132" fmla="*/ 613810 h 1864765"/>
                  <a:gd name="connsiteX133" fmla="*/ 913670 w 9847941"/>
                  <a:gd name="connsiteY133" fmla="*/ 611538 h 1864765"/>
                  <a:gd name="connsiteX134" fmla="*/ 911397 w 9847941"/>
                  <a:gd name="connsiteY134" fmla="*/ 608507 h 1864765"/>
                  <a:gd name="connsiteX135" fmla="*/ 903973 w 9847941"/>
                  <a:gd name="connsiteY135" fmla="*/ 608204 h 1864765"/>
                  <a:gd name="connsiteX136" fmla="*/ 901549 w 9847941"/>
                  <a:gd name="connsiteY136" fmla="*/ 606840 h 1864765"/>
                  <a:gd name="connsiteX137" fmla="*/ 904427 w 9847941"/>
                  <a:gd name="connsiteY137" fmla="*/ 605022 h 1864765"/>
                  <a:gd name="connsiteX138" fmla="*/ 906246 w 9847941"/>
                  <a:gd name="connsiteY138" fmla="*/ 605780 h 1864765"/>
                  <a:gd name="connsiteX139" fmla="*/ 908064 w 9847941"/>
                  <a:gd name="connsiteY139" fmla="*/ 605780 h 1864765"/>
                  <a:gd name="connsiteX140" fmla="*/ 911701 w 9847941"/>
                  <a:gd name="connsiteY140" fmla="*/ 604871 h 1864765"/>
                  <a:gd name="connsiteX141" fmla="*/ 912913 w 9847941"/>
                  <a:gd name="connsiteY141" fmla="*/ 599567 h 1864765"/>
                  <a:gd name="connsiteX142" fmla="*/ 912155 w 9847941"/>
                  <a:gd name="connsiteY142" fmla="*/ 597143 h 1864765"/>
                  <a:gd name="connsiteX143" fmla="*/ 910791 w 9847941"/>
                  <a:gd name="connsiteY143" fmla="*/ 595779 h 1864765"/>
                  <a:gd name="connsiteX144" fmla="*/ 906397 w 9847941"/>
                  <a:gd name="connsiteY144" fmla="*/ 593961 h 1864765"/>
                  <a:gd name="connsiteX145" fmla="*/ 901397 w 9847941"/>
                  <a:gd name="connsiteY145" fmla="*/ 592900 h 1864765"/>
                  <a:gd name="connsiteX146" fmla="*/ 900639 w 9847941"/>
                  <a:gd name="connsiteY146" fmla="*/ 593052 h 1864765"/>
                  <a:gd name="connsiteX147" fmla="*/ 899427 w 9847941"/>
                  <a:gd name="connsiteY147" fmla="*/ 593810 h 1864765"/>
                  <a:gd name="connsiteX148" fmla="*/ 895336 w 9847941"/>
                  <a:gd name="connsiteY148" fmla="*/ 597598 h 1864765"/>
                  <a:gd name="connsiteX149" fmla="*/ 894276 w 9847941"/>
                  <a:gd name="connsiteY149" fmla="*/ 598204 h 1864765"/>
                  <a:gd name="connsiteX150" fmla="*/ 892760 w 9847941"/>
                  <a:gd name="connsiteY150" fmla="*/ 597446 h 1864765"/>
                  <a:gd name="connsiteX151" fmla="*/ 892154 w 9847941"/>
                  <a:gd name="connsiteY151" fmla="*/ 596385 h 1864765"/>
                  <a:gd name="connsiteX152" fmla="*/ 894276 w 9847941"/>
                  <a:gd name="connsiteY152" fmla="*/ 595628 h 1864765"/>
                  <a:gd name="connsiteX153" fmla="*/ 895033 w 9847941"/>
                  <a:gd name="connsiteY153" fmla="*/ 592900 h 1864765"/>
                  <a:gd name="connsiteX154" fmla="*/ 895033 w 9847941"/>
                  <a:gd name="connsiteY154" fmla="*/ 591991 h 1864765"/>
                  <a:gd name="connsiteX155" fmla="*/ 891094 w 9847941"/>
                  <a:gd name="connsiteY155" fmla="*/ 588052 h 1864765"/>
                  <a:gd name="connsiteX156" fmla="*/ 889578 w 9847941"/>
                  <a:gd name="connsiteY156" fmla="*/ 587143 h 1864765"/>
                  <a:gd name="connsiteX157" fmla="*/ 887003 w 9847941"/>
                  <a:gd name="connsiteY157" fmla="*/ 588052 h 1864765"/>
                  <a:gd name="connsiteX158" fmla="*/ 885184 w 9847941"/>
                  <a:gd name="connsiteY158" fmla="*/ 589719 h 1864765"/>
                  <a:gd name="connsiteX159" fmla="*/ 883972 w 9847941"/>
                  <a:gd name="connsiteY159" fmla="*/ 590022 h 1864765"/>
                  <a:gd name="connsiteX160" fmla="*/ 881245 w 9847941"/>
                  <a:gd name="connsiteY160" fmla="*/ 590022 h 1864765"/>
                  <a:gd name="connsiteX161" fmla="*/ 879881 w 9847941"/>
                  <a:gd name="connsiteY161" fmla="*/ 591840 h 1864765"/>
                  <a:gd name="connsiteX162" fmla="*/ 879881 w 9847941"/>
                  <a:gd name="connsiteY162" fmla="*/ 594113 h 1864765"/>
                  <a:gd name="connsiteX163" fmla="*/ 877154 w 9847941"/>
                  <a:gd name="connsiteY163" fmla="*/ 591840 h 1864765"/>
                  <a:gd name="connsiteX164" fmla="*/ 875032 w 9847941"/>
                  <a:gd name="connsiteY164" fmla="*/ 589415 h 1864765"/>
                  <a:gd name="connsiteX165" fmla="*/ 873669 w 9847941"/>
                  <a:gd name="connsiteY165" fmla="*/ 592446 h 1864765"/>
                  <a:gd name="connsiteX166" fmla="*/ 871396 w 9847941"/>
                  <a:gd name="connsiteY166" fmla="*/ 593810 h 1864765"/>
                  <a:gd name="connsiteX167" fmla="*/ 869881 w 9847941"/>
                  <a:gd name="connsiteY167" fmla="*/ 594264 h 1864765"/>
                  <a:gd name="connsiteX168" fmla="*/ 869578 w 9847941"/>
                  <a:gd name="connsiteY168" fmla="*/ 596082 h 1864765"/>
                  <a:gd name="connsiteX169" fmla="*/ 868366 w 9847941"/>
                  <a:gd name="connsiteY169" fmla="*/ 599264 h 1864765"/>
                  <a:gd name="connsiteX170" fmla="*/ 871396 w 9847941"/>
                  <a:gd name="connsiteY170" fmla="*/ 603204 h 1864765"/>
                  <a:gd name="connsiteX171" fmla="*/ 873669 w 9847941"/>
                  <a:gd name="connsiteY171" fmla="*/ 604567 h 1864765"/>
                  <a:gd name="connsiteX172" fmla="*/ 881851 w 9847941"/>
                  <a:gd name="connsiteY172" fmla="*/ 611083 h 1864765"/>
                  <a:gd name="connsiteX173" fmla="*/ 883972 w 9847941"/>
                  <a:gd name="connsiteY173" fmla="*/ 616538 h 1864765"/>
                  <a:gd name="connsiteX174" fmla="*/ 886397 w 9847941"/>
                  <a:gd name="connsiteY174" fmla="*/ 620023 h 1864765"/>
                  <a:gd name="connsiteX175" fmla="*/ 892457 w 9847941"/>
                  <a:gd name="connsiteY175" fmla="*/ 621083 h 1864765"/>
                  <a:gd name="connsiteX176" fmla="*/ 893973 w 9847941"/>
                  <a:gd name="connsiteY176" fmla="*/ 618053 h 1864765"/>
                  <a:gd name="connsiteX177" fmla="*/ 966854 w 9847941"/>
                  <a:gd name="connsiteY177" fmla="*/ 641690 h 1864765"/>
                  <a:gd name="connsiteX178" fmla="*/ 965642 w 9847941"/>
                  <a:gd name="connsiteY178" fmla="*/ 639720 h 1864765"/>
                  <a:gd name="connsiteX179" fmla="*/ 963672 w 9847941"/>
                  <a:gd name="connsiteY179" fmla="*/ 638054 h 1864765"/>
                  <a:gd name="connsiteX180" fmla="*/ 960187 w 9847941"/>
                  <a:gd name="connsiteY180" fmla="*/ 636841 h 1864765"/>
                  <a:gd name="connsiteX181" fmla="*/ 958369 w 9847941"/>
                  <a:gd name="connsiteY181" fmla="*/ 636841 h 1864765"/>
                  <a:gd name="connsiteX182" fmla="*/ 957308 w 9847941"/>
                  <a:gd name="connsiteY182" fmla="*/ 638054 h 1864765"/>
                  <a:gd name="connsiteX183" fmla="*/ 955490 w 9847941"/>
                  <a:gd name="connsiteY183" fmla="*/ 636841 h 1864765"/>
                  <a:gd name="connsiteX184" fmla="*/ 946096 w 9847941"/>
                  <a:gd name="connsiteY184" fmla="*/ 634569 h 1864765"/>
                  <a:gd name="connsiteX185" fmla="*/ 941702 w 9847941"/>
                  <a:gd name="connsiteY185" fmla="*/ 634266 h 1864765"/>
                  <a:gd name="connsiteX186" fmla="*/ 939126 w 9847941"/>
                  <a:gd name="connsiteY186" fmla="*/ 635326 h 1864765"/>
                  <a:gd name="connsiteX187" fmla="*/ 938671 w 9847941"/>
                  <a:gd name="connsiteY187" fmla="*/ 636690 h 1864765"/>
                  <a:gd name="connsiteX188" fmla="*/ 940338 w 9847941"/>
                  <a:gd name="connsiteY188" fmla="*/ 638357 h 1864765"/>
                  <a:gd name="connsiteX189" fmla="*/ 942914 w 9847941"/>
                  <a:gd name="connsiteY189" fmla="*/ 640023 h 1864765"/>
                  <a:gd name="connsiteX190" fmla="*/ 944732 w 9847941"/>
                  <a:gd name="connsiteY190" fmla="*/ 641842 h 1864765"/>
                  <a:gd name="connsiteX191" fmla="*/ 946853 w 9847941"/>
                  <a:gd name="connsiteY191" fmla="*/ 644872 h 1864765"/>
                  <a:gd name="connsiteX192" fmla="*/ 946702 w 9847941"/>
                  <a:gd name="connsiteY192" fmla="*/ 648357 h 1864765"/>
                  <a:gd name="connsiteX193" fmla="*/ 947459 w 9847941"/>
                  <a:gd name="connsiteY193" fmla="*/ 652751 h 1864765"/>
                  <a:gd name="connsiteX194" fmla="*/ 947762 w 9847941"/>
                  <a:gd name="connsiteY194" fmla="*/ 655782 h 1864765"/>
                  <a:gd name="connsiteX195" fmla="*/ 948217 w 9847941"/>
                  <a:gd name="connsiteY195" fmla="*/ 656994 h 1864765"/>
                  <a:gd name="connsiteX196" fmla="*/ 948975 w 9847941"/>
                  <a:gd name="connsiteY196" fmla="*/ 657751 h 1864765"/>
                  <a:gd name="connsiteX197" fmla="*/ 952157 w 9847941"/>
                  <a:gd name="connsiteY197" fmla="*/ 658206 h 1864765"/>
                  <a:gd name="connsiteX198" fmla="*/ 954884 w 9847941"/>
                  <a:gd name="connsiteY198" fmla="*/ 657297 h 1864765"/>
                  <a:gd name="connsiteX199" fmla="*/ 959581 w 9847941"/>
                  <a:gd name="connsiteY199" fmla="*/ 657600 h 1864765"/>
                  <a:gd name="connsiteX200" fmla="*/ 960490 w 9847941"/>
                  <a:gd name="connsiteY200" fmla="*/ 657297 h 1864765"/>
                  <a:gd name="connsiteX201" fmla="*/ 961096 w 9847941"/>
                  <a:gd name="connsiteY201" fmla="*/ 656539 h 1864765"/>
                  <a:gd name="connsiteX202" fmla="*/ 961399 w 9847941"/>
                  <a:gd name="connsiteY202" fmla="*/ 655327 h 1864765"/>
                  <a:gd name="connsiteX203" fmla="*/ 961399 w 9847941"/>
                  <a:gd name="connsiteY203" fmla="*/ 653812 h 1864765"/>
                  <a:gd name="connsiteX204" fmla="*/ 961096 w 9847941"/>
                  <a:gd name="connsiteY204" fmla="*/ 652145 h 1864765"/>
                  <a:gd name="connsiteX205" fmla="*/ 960490 w 9847941"/>
                  <a:gd name="connsiteY205" fmla="*/ 650781 h 1864765"/>
                  <a:gd name="connsiteX206" fmla="*/ 959126 w 9847941"/>
                  <a:gd name="connsiteY206" fmla="*/ 649115 h 1864765"/>
                  <a:gd name="connsiteX207" fmla="*/ 958823 w 9847941"/>
                  <a:gd name="connsiteY207" fmla="*/ 647751 h 1864765"/>
                  <a:gd name="connsiteX208" fmla="*/ 956854 w 9847941"/>
                  <a:gd name="connsiteY208" fmla="*/ 645327 h 1864765"/>
                  <a:gd name="connsiteX209" fmla="*/ 956248 w 9847941"/>
                  <a:gd name="connsiteY209" fmla="*/ 644114 h 1864765"/>
                  <a:gd name="connsiteX210" fmla="*/ 956399 w 9847941"/>
                  <a:gd name="connsiteY210" fmla="*/ 643660 h 1864765"/>
                  <a:gd name="connsiteX211" fmla="*/ 958672 w 9847941"/>
                  <a:gd name="connsiteY211" fmla="*/ 645024 h 1864765"/>
                  <a:gd name="connsiteX212" fmla="*/ 961702 w 9847941"/>
                  <a:gd name="connsiteY212" fmla="*/ 649418 h 1864765"/>
                  <a:gd name="connsiteX213" fmla="*/ 964430 w 9847941"/>
                  <a:gd name="connsiteY213" fmla="*/ 651842 h 1864765"/>
                  <a:gd name="connsiteX214" fmla="*/ 965339 w 9847941"/>
                  <a:gd name="connsiteY214" fmla="*/ 651690 h 1864765"/>
                  <a:gd name="connsiteX215" fmla="*/ 966096 w 9847941"/>
                  <a:gd name="connsiteY215" fmla="*/ 650781 h 1864765"/>
                  <a:gd name="connsiteX216" fmla="*/ 966551 w 9847941"/>
                  <a:gd name="connsiteY216" fmla="*/ 649569 h 1864765"/>
                  <a:gd name="connsiteX217" fmla="*/ 966703 w 9847941"/>
                  <a:gd name="connsiteY217" fmla="*/ 648206 h 1864765"/>
                  <a:gd name="connsiteX218" fmla="*/ 966399 w 9847941"/>
                  <a:gd name="connsiteY218" fmla="*/ 645478 h 1864765"/>
                  <a:gd name="connsiteX219" fmla="*/ 966703 w 9847941"/>
                  <a:gd name="connsiteY219" fmla="*/ 642902 h 1864765"/>
                  <a:gd name="connsiteX220" fmla="*/ 966854 w 9847941"/>
                  <a:gd name="connsiteY220" fmla="*/ 641690 h 1864765"/>
                  <a:gd name="connsiteX221" fmla="*/ 975036 w 9847941"/>
                  <a:gd name="connsiteY221" fmla="*/ 649266 h 1864765"/>
                  <a:gd name="connsiteX222" fmla="*/ 969885 w 9847941"/>
                  <a:gd name="connsiteY222" fmla="*/ 645024 h 1864765"/>
                  <a:gd name="connsiteX223" fmla="*/ 969127 w 9847941"/>
                  <a:gd name="connsiteY223" fmla="*/ 648812 h 1864765"/>
                  <a:gd name="connsiteX224" fmla="*/ 968218 w 9847941"/>
                  <a:gd name="connsiteY224" fmla="*/ 651084 h 1864765"/>
                  <a:gd name="connsiteX225" fmla="*/ 967460 w 9847941"/>
                  <a:gd name="connsiteY225" fmla="*/ 652297 h 1864765"/>
                  <a:gd name="connsiteX226" fmla="*/ 967157 w 9847941"/>
                  <a:gd name="connsiteY226" fmla="*/ 653812 h 1864765"/>
                  <a:gd name="connsiteX227" fmla="*/ 967612 w 9847941"/>
                  <a:gd name="connsiteY227" fmla="*/ 655478 h 1864765"/>
                  <a:gd name="connsiteX228" fmla="*/ 968672 w 9847941"/>
                  <a:gd name="connsiteY228" fmla="*/ 655933 h 1864765"/>
                  <a:gd name="connsiteX229" fmla="*/ 972157 w 9847941"/>
                  <a:gd name="connsiteY229" fmla="*/ 655933 h 1864765"/>
                  <a:gd name="connsiteX230" fmla="*/ 972460 w 9847941"/>
                  <a:gd name="connsiteY230" fmla="*/ 655327 h 1864765"/>
                  <a:gd name="connsiteX231" fmla="*/ 973369 w 9847941"/>
                  <a:gd name="connsiteY231" fmla="*/ 654721 h 1864765"/>
                  <a:gd name="connsiteX232" fmla="*/ 975491 w 9847941"/>
                  <a:gd name="connsiteY232" fmla="*/ 654266 h 1864765"/>
                  <a:gd name="connsiteX233" fmla="*/ 977309 w 9847941"/>
                  <a:gd name="connsiteY233" fmla="*/ 653357 h 1864765"/>
                  <a:gd name="connsiteX234" fmla="*/ 976400 w 9847941"/>
                  <a:gd name="connsiteY234" fmla="*/ 651084 h 1864765"/>
                  <a:gd name="connsiteX235" fmla="*/ 975036 w 9847941"/>
                  <a:gd name="connsiteY235" fmla="*/ 649266 h 1864765"/>
                  <a:gd name="connsiteX236" fmla="*/ 929428 w 9847941"/>
                  <a:gd name="connsiteY236" fmla="*/ 589415 h 1864765"/>
                  <a:gd name="connsiteX237" fmla="*/ 929580 w 9847941"/>
                  <a:gd name="connsiteY237" fmla="*/ 588355 h 1864765"/>
                  <a:gd name="connsiteX238" fmla="*/ 927156 w 9847941"/>
                  <a:gd name="connsiteY238" fmla="*/ 586082 h 1864765"/>
                  <a:gd name="connsiteX239" fmla="*/ 923822 w 9847941"/>
                  <a:gd name="connsiteY239" fmla="*/ 584264 h 1864765"/>
                  <a:gd name="connsiteX240" fmla="*/ 920337 w 9847941"/>
                  <a:gd name="connsiteY240" fmla="*/ 585021 h 1864765"/>
                  <a:gd name="connsiteX241" fmla="*/ 920034 w 9847941"/>
                  <a:gd name="connsiteY241" fmla="*/ 585931 h 1864765"/>
                  <a:gd name="connsiteX242" fmla="*/ 921852 w 9847941"/>
                  <a:gd name="connsiteY242" fmla="*/ 587900 h 1864765"/>
                  <a:gd name="connsiteX243" fmla="*/ 925640 w 9847941"/>
                  <a:gd name="connsiteY243" fmla="*/ 589415 h 1864765"/>
                  <a:gd name="connsiteX244" fmla="*/ 929428 w 9847941"/>
                  <a:gd name="connsiteY244" fmla="*/ 589415 h 1864765"/>
                  <a:gd name="connsiteX245" fmla="*/ 981855 w 9847941"/>
                  <a:gd name="connsiteY245" fmla="*/ 677449 h 1864765"/>
                  <a:gd name="connsiteX246" fmla="*/ 982915 w 9847941"/>
                  <a:gd name="connsiteY246" fmla="*/ 678207 h 1864765"/>
                  <a:gd name="connsiteX247" fmla="*/ 985188 w 9847941"/>
                  <a:gd name="connsiteY247" fmla="*/ 678661 h 1864765"/>
                  <a:gd name="connsiteX248" fmla="*/ 987309 w 9847941"/>
                  <a:gd name="connsiteY248" fmla="*/ 677752 h 1864765"/>
                  <a:gd name="connsiteX249" fmla="*/ 988370 w 9847941"/>
                  <a:gd name="connsiteY249" fmla="*/ 677752 h 1864765"/>
                  <a:gd name="connsiteX250" fmla="*/ 989431 w 9847941"/>
                  <a:gd name="connsiteY250" fmla="*/ 678055 h 1864765"/>
                  <a:gd name="connsiteX251" fmla="*/ 990037 w 9847941"/>
                  <a:gd name="connsiteY251" fmla="*/ 671691 h 1864765"/>
                  <a:gd name="connsiteX252" fmla="*/ 991249 w 9847941"/>
                  <a:gd name="connsiteY252" fmla="*/ 666540 h 1864765"/>
                  <a:gd name="connsiteX253" fmla="*/ 987461 w 9847941"/>
                  <a:gd name="connsiteY253" fmla="*/ 660933 h 1864765"/>
                  <a:gd name="connsiteX254" fmla="*/ 984430 w 9847941"/>
                  <a:gd name="connsiteY254" fmla="*/ 657145 h 1864765"/>
                  <a:gd name="connsiteX255" fmla="*/ 982764 w 9847941"/>
                  <a:gd name="connsiteY255" fmla="*/ 656691 h 1864765"/>
                  <a:gd name="connsiteX256" fmla="*/ 979279 w 9847941"/>
                  <a:gd name="connsiteY256" fmla="*/ 663054 h 1864765"/>
                  <a:gd name="connsiteX257" fmla="*/ 978370 w 9847941"/>
                  <a:gd name="connsiteY257" fmla="*/ 663509 h 1864765"/>
                  <a:gd name="connsiteX258" fmla="*/ 976703 w 9847941"/>
                  <a:gd name="connsiteY258" fmla="*/ 666691 h 1864765"/>
                  <a:gd name="connsiteX259" fmla="*/ 974582 w 9847941"/>
                  <a:gd name="connsiteY259" fmla="*/ 667449 h 1864765"/>
                  <a:gd name="connsiteX260" fmla="*/ 973976 w 9847941"/>
                  <a:gd name="connsiteY260" fmla="*/ 668358 h 1864765"/>
                  <a:gd name="connsiteX261" fmla="*/ 974127 w 9847941"/>
                  <a:gd name="connsiteY261" fmla="*/ 670934 h 1864765"/>
                  <a:gd name="connsiteX262" fmla="*/ 975036 w 9847941"/>
                  <a:gd name="connsiteY262" fmla="*/ 672903 h 1864765"/>
                  <a:gd name="connsiteX263" fmla="*/ 976551 w 9847941"/>
                  <a:gd name="connsiteY263" fmla="*/ 673358 h 1864765"/>
                  <a:gd name="connsiteX264" fmla="*/ 980642 w 9847941"/>
                  <a:gd name="connsiteY264" fmla="*/ 673812 h 1864765"/>
                  <a:gd name="connsiteX265" fmla="*/ 981855 w 9847941"/>
                  <a:gd name="connsiteY265" fmla="*/ 674873 h 1864765"/>
                  <a:gd name="connsiteX266" fmla="*/ 981400 w 9847941"/>
                  <a:gd name="connsiteY266" fmla="*/ 676843 h 1864765"/>
                  <a:gd name="connsiteX267" fmla="*/ 981855 w 9847941"/>
                  <a:gd name="connsiteY267" fmla="*/ 677449 h 1864765"/>
                  <a:gd name="connsiteX268" fmla="*/ 964581 w 9847941"/>
                  <a:gd name="connsiteY268" fmla="*/ 661691 h 1864765"/>
                  <a:gd name="connsiteX269" fmla="*/ 964581 w 9847941"/>
                  <a:gd name="connsiteY269" fmla="*/ 662600 h 1864765"/>
                  <a:gd name="connsiteX270" fmla="*/ 968521 w 9847941"/>
                  <a:gd name="connsiteY270" fmla="*/ 665782 h 1864765"/>
                  <a:gd name="connsiteX271" fmla="*/ 970187 w 9847941"/>
                  <a:gd name="connsiteY271" fmla="*/ 666388 h 1864765"/>
                  <a:gd name="connsiteX272" fmla="*/ 971551 w 9847941"/>
                  <a:gd name="connsiteY272" fmla="*/ 666236 h 1864765"/>
                  <a:gd name="connsiteX273" fmla="*/ 974582 w 9847941"/>
                  <a:gd name="connsiteY273" fmla="*/ 664721 h 1864765"/>
                  <a:gd name="connsiteX274" fmla="*/ 975188 w 9847941"/>
                  <a:gd name="connsiteY274" fmla="*/ 663661 h 1864765"/>
                  <a:gd name="connsiteX275" fmla="*/ 974885 w 9847941"/>
                  <a:gd name="connsiteY275" fmla="*/ 662600 h 1864765"/>
                  <a:gd name="connsiteX276" fmla="*/ 975036 w 9847941"/>
                  <a:gd name="connsiteY276" fmla="*/ 661691 h 1864765"/>
                  <a:gd name="connsiteX277" fmla="*/ 975642 w 9847941"/>
                  <a:gd name="connsiteY277" fmla="*/ 660782 h 1864765"/>
                  <a:gd name="connsiteX278" fmla="*/ 975794 w 9847941"/>
                  <a:gd name="connsiteY278" fmla="*/ 659873 h 1864765"/>
                  <a:gd name="connsiteX279" fmla="*/ 975339 w 9847941"/>
                  <a:gd name="connsiteY279" fmla="*/ 658963 h 1864765"/>
                  <a:gd name="connsiteX280" fmla="*/ 973673 w 9847941"/>
                  <a:gd name="connsiteY280" fmla="*/ 658509 h 1864765"/>
                  <a:gd name="connsiteX281" fmla="*/ 968369 w 9847941"/>
                  <a:gd name="connsiteY281" fmla="*/ 658357 h 1864765"/>
                  <a:gd name="connsiteX282" fmla="*/ 967460 w 9847941"/>
                  <a:gd name="connsiteY282" fmla="*/ 658812 h 1864765"/>
                  <a:gd name="connsiteX283" fmla="*/ 965187 w 9847941"/>
                  <a:gd name="connsiteY283" fmla="*/ 660782 h 1864765"/>
                  <a:gd name="connsiteX284" fmla="*/ 964581 w 9847941"/>
                  <a:gd name="connsiteY284" fmla="*/ 661691 h 1864765"/>
                  <a:gd name="connsiteX285" fmla="*/ 446077 w 9847941"/>
                  <a:gd name="connsiteY285" fmla="*/ 501685 h 1864765"/>
                  <a:gd name="connsiteX286" fmla="*/ 448805 w 9847941"/>
                  <a:gd name="connsiteY286" fmla="*/ 497594 h 1864765"/>
                  <a:gd name="connsiteX287" fmla="*/ 448501 w 9847941"/>
                  <a:gd name="connsiteY287" fmla="*/ 496836 h 1864765"/>
                  <a:gd name="connsiteX288" fmla="*/ 446835 w 9847941"/>
                  <a:gd name="connsiteY288" fmla="*/ 496230 h 1864765"/>
                  <a:gd name="connsiteX289" fmla="*/ 445623 w 9847941"/>
                  <a:gd name="connsiteY289" fmla="*/ 500170 h 1864765"/>
                  <a:gd name="connsiteX290" fmla="*/ 443804 w 9847941"/>
                  <a:gd name="connsiteY290" fmla="*/ 502140 h 1864765"/>
                  <a:gd name="connsiteX291" fmla="*/ 445168 w 9847941"/>
                  <a:gd name="connsiteY291" fmla="*/ 501988 h 1864765"/>
                  <a:gd name="connsiteX292" fmla="*/ 446077 w 9847941"/>
                  <a:gd name="connsiteY292" fmla="*/ 501685 h 1864765"/>
                  <a:gd name="connsiteX293" fmla="*/ 548808 w 9847941"/>
                  <a:gd name="connsiteY293" fmla="*/ 512291 h 1864765"/>
                  <a:gd name="connsiteX294" fmla="*/ 547748 w 9847941"/>
                  <a:gd name="connsiteY294" fmla="*/ 514716 h 1864765"/>
                  <a:gd name="connsiteX295" fmla="*/ 553202 w 9847941"/>
                  <a:gd name="connsiteY295" fmla="*/ 515473 h 1864765"/>
                  <a:gd name="connsiteX296" fmla="*/ 554566 w 9847941"/>
                  <a:gd name="connsiteY296" fmla="*/ 514261 h 1864765"/>
                  <a:gd name="connsiteX297" fmla="*/ 557445 w 9847941"/>
                  <a:gd name="connsiteY297" fmla="*/ 513201 h 1864765"/>
                  <a:gd name="connsiteX298" fmla="*/ 552899 w 9847941"/>
                  <a:gd name="connsiteY298" fmla="*/ 510776 h 1864765"/>
                  <a:gd name="connsiteX299" fmla="*/ 548808 w 9847941"/>
                  <a:gd name="connsiteY299" fmla="*/ 512291 h 1864765"/>
                  <a:gd name="connsiteX300" fmla="*/ 551990 w 9847941"/>
                  <a:gd name="connsiteY300" fmla="*/ 482745 h 1864765"/>
                  <a:gd name="connsiteX301" fmla="*/ 553505 w 9847941"/>
                  <a:gd name="connsiteY301" fmla="*/ 483200 h 1864765"/>
                  <a:gd name="connsiteX302" fmla="*/ 556990 w 9847941"/>
                  <a:gd name="connsiteY302" fmla="*/ 482896 h 1864765"/>
                  <a:gd name="connsiteX303" fmla="*/ 556687 w 9847941"/>
                  <a:gd name="connsiteY303" fmla="*/ 480927 h 1864765"/>
                  <a:gd name="connsiteX304" fmla="*/ 556081 w 9847941"/>
                  <a:gd name="connsiteY304" fmla="*/ 479866 h 1864765"/>
                  <a:gd name="connsiteX305" fmla="*/ 554111 w 9847941"/>
                  <a:gd name="connsiteY305" fmla="*/ 478805 h 1864765"/>
                  <a:gd name="connsiteX306" fmla="*/ 552293 w 9847941"/>
                  <a:gd name="connsiteY306" fmla="*/ 479108 h 1864765"/>
                  <a:gd name="connsiteX307" fmla="*/ 552293 w 9847941"/>
                  <a:gd name="connsiteY307" fmla="*/ 480018 h 1864765"/>
                  <a:gd name="connsiteX308" fmla="*/ 551687 w 9847941"/>
                  <a:gd name="connsiteY308" fmla="*/ 482139 h 1864765"/>
                  <a:gd name="connsiteX309" fmla="*/ 551990 w 9847941"/>
                  <a:gd name="connsiteY309" fmla="*/ 482745 h 1864765"/>
                  <a:gd name="connsiteX310" fmla="*/ 629417 w 9847941"/>
                  <a:gd name="connsiteY310" fmla="*/ 503200 h 1864765"/>
                  <a:gd name="connsiteX311" fmla="*/ 630629 w 9847941"/>
                  <a:gd name="connsiteY311" fmla="*/ 503806 h 1864765"/>
                  <a:gd name="connsiteX312" fmla="*/ 633054 w 9847941"/>
                  <a:gd name="connsiteY312" fmla="*/ 504109 h 1864765"/>
                  <a:gd name="connsiteX313" fmla="*/ 633963 w 9847941"/>
                  <a:gd name="connsiteY313" fmla="*/ 503049 h 1864765"/>
                  <a:gd name="connsiteX314" fmla="*/ 634417 w 9847941"/>
                  <a:gd name="connsiteY314" fmla="*/ 500927 h 1864765"/>
                  <a:gd name="connsiteX315" fmla="*/ 633660 w 9847941"/>
                  <a:gd name="connsiteY315" fmla="*/ 500321 h 1864765"/>
                  <a:gd name="connsiteX316" fmla="*/ 629417 w 9847941"/>
                  <a:gd name="connsiteY316" fmla="*/ 503200 h 1864765"/>
                  <a:gd name="connsiteX317" fmla="*/ 431683 w 9847941"/>
                  <a:gd name="connsiteY317" fmla="*/ 578506 h 1864765"/>
                  <a:gd name="connsiteX318" fmla="*/ 432440 w 9847941"/>
                  <a:gd name="connsiteY318" fmla="*/ 578203 h 1864765"/>
                  <a:gd name="connsiteX319" fmla="*/ 435016 w 9847941"/>
                  <a:gd name="connsiteY319" fmla="*/ 575930 h 1864765"/>
                  <a:gd name="connsiteX320" fmla="*/ 435925 w 9847941"/>
                  <a:gd name="connsiteY320" fmla="*/ 574718 h 1864765"/>
                  <a:gd name="connsiteX321" fmla="*/ 436077 w 9847941"/>
                  <a:gd name="connsiteY321" fmla="*/ 573809 h 1864765"/>
                  <a:gd name="connsiteX322" fmla="*/ 435774 w 9847941"/>
                  <a:gd name="connsiteY322" fmla="*/ 573203 h 1864765"/>
                  <a:gd name="connsiteX323" fmla="*/ 435016 w 9847941"/>
                  <a:gd name="connsiteY323" fmla="*/ 572900 h 1864765"/>
                  <a:gd name="connsiteX324" fmla="*/ 433198 w 9847941"/>
                  <a:gd name="connsiteY324" fmla="*/ 572900 h 1864765"/>
                  <a:gd name="connsiteX325" fmla="*/ 429258 w 9847941"/>
                  <a:gd name="connsiteY325" fmla="*/ 575021 h 1864765"/>
                  <a:gd name="connsiteX326" fmla="*/ 428349 w 9847941"/>
                  <a:gd name="connsiteY326" fmla="*/ 576082 h 1864765"/>
                  <a:gd name="connsiteX327" fmla="*/ 429713 w 9847941"/>
                  <a:gd name="connsiteY327" fmla="*/ 577445 h 1864765"/>
                  <a:gd name="connsiteX328" fmla="*/ 431683 w 9847941"/>
                  <a:gd name="connsiteY328" fmla="*/ 578506 h 1864765"/>
                  <a:gd name="connsiteX329" fmla="*/ 605022 w 9847941"/>
                  <a:gd name="connsiteY329" fmla="*/ 499412 h 1864765"/>
                  <a:gd name="connsiteX330" fmla="*/ 599719 w 9847941"/>
                  <a:gd name="connsiteY330" fmla="*/ 499715 h 1864765"/>
                  <a:gd name="connsiteX331" fmla="*/ 599113 w 9847941"/>
                  <a:gd name="connsiteY331" fmla="*/ 498655 h 1864765"/>
                  <a:gd name="connsiteX332" fmla="*/ 594568 w 9847941"/>
                  <a:gd name="connsiteY332" fmla="*/ 497442 h 1864765"/>
                  <a:gd name="connsiteX333" fmla="*/ 593355 w 9847941"/>
                  <a:gd name="connsiteY333" fmla="*/ 497897 h 1864765"/>
                  <a:gd name="connsiteX334" fmla="*/ 591537 w 9847941"/>
                  <a:gd name="connsiteY334" fmla="*/ 499412 h 1864765"/>
                  <a:gd name="connsiteX335" fmla="*/ 590628 w 9847941"/>
                  <a:gd name="connsiteY335" fmla="*/ 500473 h 1864765"/>
                  <a:gd name="connsiteX336" fmla="*/ 590628 w 9847941"/>
                  <a:gd name="connsiteY336" fmla="*/ 501079 h 1864765"/>
                  <a:gd name="connsiteX337" fmla="*/ 591234 w 9847941"/>
                  <a:gd name="connsiteY337" fmla="*/ 502443 h 1864765"/>
                  <a:gd name="connsiteX338" fmla="*/ 592143 w 9847941"/>
                  <a:gd name="connsiteY338" fmla="*/ 503503 h 1864765"/>
                  <a:gd name="connsiteX339" fmla="*/ 592901 w 9847941"/>
                  <a:gd name="connsiteY339" fmla="*/ 505776 h 1864765"/>
                  <a:gd name="connsiteX340" fmla="*/ 593507 w 9847941"/>
                  <a:gd name="connsiteY340" fmla="*/ 505928 h 1864765"/>
                  <a:gd name="connsiteX341" fmla="*/ 598356 w 9847941"/>
                  <a:gd name="connsiteY341" fmla="*/ 503655 h 1864765"/>
                  <a:gd name="connsiteX342" fmla="*/ 604265 w 9847941"/>
                  <a:gd name="connsiteY342" fmla="*/ 501836 h 1864765"/>
                  <a:gd name="connsiteX343" fmla="*/ 606235 w 9847941"/>
                  <a:gd name="connsiteY343" fmla="*/ 500776 h 1864765"/>
                  <a:gd name="connsiteX344" fmla="*/ 606992 w 9847941"/>
                  <a:gd name="connsiteY344" fmla="*/ 500018 h 1864765"/>
                  <a:gd name="connsiteX345" fmla="*/ 606386 w 9847941"/>
                  <a:gd name="connsiteY345" fmla="*/ 499564 h 1864765"/>
                  <a:gd name="connsiteX346" fmla="*/ 605022 w 9847941"/>
                  <a:gd name="connsiteY346" fmla="*/ 499412 h 1864765"/>
                  <a:gd name="connsiteX347" fmla="*/ 564566 w 9847941"/>
                  <a:gd name="connsiteY347" fmla="*/ 498503 h 1864765"/>
                  <a:gd name="connsiteX348" fmla="*/ 563809 w 9847941"/>
                  <a:gd name="connsiteY348" fmla="*/ 496836 h 1864765"/>
                  <a:gd name="connsiteX349" fmla="*/ 563354 w 9847941"/>
                  <a:gd name="connsiteY349" fmla="*/ 496988 h 1864765"/>
                  <a:gd name="connsiteX350" fmla="*/ 562445 w 9847941"/>
                  <a:gd name="connsiteY350" fmla="*/ 498655 h 1864765"/>
                  <a:gd name="connsiteX351" fmla="*/ 561839 w 9847941"/>
                  <a:gd name="connsiteY351" fmla="*/ 498958 h 1864765"/>
                  <a:gd name="connsiteX352" fmla="*/ 561384 w 9847941"/>
                  <a:gd name="connsiteY352" fmla="*/ 498655 h 1864765"/>
                  <a:gd name="connsiteX353" fmla="*/ 561233 w 9847941"/>
                  <a:gd name="connsiteY353" fmla="*/ 497745 h 1864765"/>
                  <a:gd name="connsiteX354" fmla="*/ 560778 w 9847941"/>
                  <a:gd name="connsiteY354" fmla="*/ 498048 h 1864765"/>
                  <a:gd name="connsiteX355" fmla="*/ 559566 w 9847941"/>
                  <a:gd name="connsiteY355" fmla="*/ 501685 h 1864765"/>
                  <a:gd name="connsiteX356" fmla="*/ 559566 w 9847941"/>
                  <a:gd name="connsiteY356" fmla="*/ 502594 h 1864765"/>
                  <a:gd name="connsiteX357" fmla="*/ 559263 w 9847941"/>
                  <a:gd name="connsiteY357" fmla="*/ 503806 h 1864765"/>
                  <a:gd name="connsiteX358" fmla="*/ 558203 w 9847941"/>
                  <a:gd name="connsiteY358" fmla="*/ 504715 h 1864765"/>
                  <a:gd name="connsiteX359" fmla="*/ 558809 w 9847941"/>
                  <a:gd name="connsiteY359" fmla="*/ 507594 h 1864765"/>
                  <a:gd name="connsiteX360" fmla="*/ 560627 w 9847941"/>
                  <a:gd name="connsiteY360" fmla="*/ 507594 h 1864765"/>
                  <a:gd name="connsiteX361" fmla="*/ 560172 w 9847941"/>
                  <a:gd name="connsiteY361" fmla="*/ 508806 h 1864765"/>
                  <a:gd name="connsiteX362" fmla="*/ 560324 w 9847941"/>
                  <a:gd name="connsiteY362" fmla="*/ 509564 h 1864765"/>
                  <a:gd name="connsiteX363" fmla="*/ 561081 w 9847941"/>
                  <a:gd name="connsiteY363" fmla="*/ 509867 h 1864765"/>
                  <a:gd name="connsiteX364" fmla="*/ 561839 w 9847941"/>
                  <a:gd name="connsiteY364" fmla="*/ 509413 h 1864765"/>
                  <a:gd name="connsiteX365" fmla="*/ 562597 w 9847941"/>
                  <a:gd name="connsiteY365" fmla="*/ 508049 h 1864765"/>
                  <a:gd name="connsiteX366" fmla="*/ 563051 w 9847941"/>
                  <a:gd name="connsiteY366" fmla="*/ 505776 h 1864765"/>
                  <a:gd name="connsiteX367" fmla="*/ 564415 w 9847941"/>
                  <a:gd name="connsiteY367" fmla="*/ 502443 h 1864765"/>
                  <a:gd name="connsiteX368" fmla="*/ 563657 w 9847941"/>
                  <a:gd name="connsiteY368" fmla="*/ 500473 h 1864765"/>
                  <a:gd name="connsiteX369" fmla="*/ 564566 w 9847941"/>
                  <a:gd name="connsiteY369" fmla="*/ 499412 h 1864765"/>
                  <a:gd name="connsiteX370" fmla="*/ 564566 w 9847941"/>
                  <a:gd name="connsiteY370" fmla="*/ 498503 h 1864765"/>
                  <a:gd name="connsiteX371" fmla="*/ 579264 w 9847941"/>
                  <a:gd name="connsiteY371" fmla="*/ 502140 h 1864765"/>
                  <a:gd name="connsiteX372" fmla="*/ 577597 w 9847941"/>
                  <a:gd name="connsiteY372" fmla="*/ 502291 h 1864765"/>
                  <a:gd name="connsiteX373" fmla="*/ 576991 w 9847941"/>
                  <a:gd name="connsiteY373" fmla="*/ 504261 h 1864765"/>
                  <a:gd name="connsiteX374" fmla="*/ 573355 w 9847941"/>
                  <a:gd name="connsiteY374" fmla="*/ 509413 h 1864765"/>
                  <a:gd name="connsiteX375" fmla="*/ 569870 w 9847941"/>
                  <a:gd name="connsiteY375" fmla="*/ 513049 h 1864765"/>
                  <a:gd name="connsiteX376" fmla="*/ 566082 w 9847941"/>
                  <a:gd name="connsiteY376" fmla="*/ 515473 h 1864765"/>
                  <a:gd name="connsiteX377" fmla="*/ 562597 w 9847941"/>
                  <a:gd name="connsiteY377" fmla="*/ 518807 h 1864765"/>
                  <a:gd name="connsiteX378" fmla="*/ 561688 w 9847941"/>
                  <a:gd name="connsiteY378" fmla="*/ 519261 h 1864765"/>
                  <a:gd name="connsiteX379" fmla="*/ 560172 w 9847941"/>
                  <a:gd name="connsiteY379" fmla="*/ 520928 h 1864765"/>
                  <a:gd name="connsiteX380" fmla="*/ 558657 w 9847941"/>
                  <a:gd name="connsiteY380" fmla="*/ 523958 h 1864765"/>
                  <a:gd name="connsiteX381" fmla="*/ 559415 w 9847941"/>
                  <a:gd name="connsiteY381" fmla="*/ 525171 h 1864765"/>
                  <a:gd name="connsiteX382" fmla="*/ 562445 w 9847941"/>
                  <a:gd name="connsiteY382" fmla="*/ 524565 h 1864765"/>
                  <a:gd name="connsiteX383" fmla="*/ 564263 w 9847941"/>
                  <a:gd name="connsiteY383" fmla="*/ 523807 h 1864765"/>
                  <a:gd name="connsiteX384" fmla="*/ 564869 w 9847941"/>
                  <a:gd name="connsiteY384" fmla="*/ 522898 h 1864765"/>
                  <a:gd name="connsiteX385" fmla="*/ 566082 w 9847941"/>
                  <a:gd name="connsiteY385" fmla="*/ 522443 h 1864765"/>
                  <a:gd name="connsiteX386" fmla="*/ 567748 w 9847941"/>
                  <a:gd name="connsiteY386" fmla="*/ 522292 h 1864765"/>
                  <a:gd name="connsiteX387" fmla="*/ 568809 w 9847941"/>
                  <a:gd name="connsiteY387" fmla="*/ 521383 h 1864765"/>
                  <a:gd name="connsiteX388" fmla="*/ 569415 w 9847941"/>
                  <a:gd name="connsiteY388" fmla="*/ 519564 h 1864765"/>
                  <a:gd name="connsiteX389" fmla="*/ 570324 w 9847941"/>
                  <a:gd name="connsiteY389" fmla="*/ 518504 h 1864765"/>
                  <a:gd name="connsiteX390" fmla="*/ 571536 w 9847941"/>
                  <a:gd name="connsiteY390" fmla="*/ 518049 h 1864765"/>
                  <a:gd name="connsiteX391" fmla="*/ 572294 w 9847941"/>
                  <a:gd name="connsiteY391" fmla="*/ 517140 h 1864765"/>
                  <a:gd name="connsiteX392" fmla="*/ 573052 w 9847941"/>
                  <a:gd name="connsiteY392" fmla="*/ 514716 h 1864765"/>
                  <a:gd name="connsiteX393" fmla="*/ 573809 w 9847941"/>
                  <a:gd name="connsiteY393" fmla="*/ 513807 h 1864765"/>
                  <a:gd name="connsiteX394" fmla="*/ 582900 w 9847941"/>
                  <a:gd name="connsiteY394" fmla="*/ 506534 h 1864765"/>
                  <a:gd name="connsiteX395" fmla="*/ 583658 w 9847941"/>
                  <a:gd name="connsiteY395" fmla="*/ 505170 h 1864765"/>
                  <a:gd name="connsiteX396" fmla="*/ 581991 w 9847941"/>
                  <a:gd name="connsiteY396" fmla="*/ 503352 h 1864765"/>
                  <a:gd name="connsiteX397" fmla="*/ 579264 w 9847941"/>
                  <a:gd name="connsiteY397" fmla="*/ 502140 h 1864765"/>
                  <a:gd name="connsiteX398" fmla="*/ 1010947 w 9847941"/>
                  <a:gd name="connsiteY398" fmla="*/ 711087 h 1864765"/>
                  <a:gd name="connsiteX399" fmla="*/ 1009128 w 9847941"/>
                  <a:gd name="connsiteY399" fmla="*/ 705935 h 1864765"/>
                  <a:gd name="connsiteX400" fmla="*/ 1006098 w 9847941"/>
                  <a:gd name="connsiteY400" fmla="*/ 704117 h 1864765"/>
                  <a:gd name="connsiteX401" fmla="*/ 1004583 w 9847941"/>
                  <a:gd name="connsiteY401" fmla="*/ 704117 h 1864765"/>
                  <a:gd name="connsiteX402" fmla="*/ 1004280 w 9847941"/>
                  <a:gd name="connsiteY402" fmla="*/ 704723 h 1864765"/>
                  <a:gd name="connsiteX403" fmla="*/ 1004280 w 9847941"/>
                  <a:gd name="connsiteY403" fmla="*/ 706541 h 1864765"/>
                  <a:gd name="connsiteX404" fmla="*/ 1004886 w 9847941"/>
                  <a:gd name="connsiteY404" fmla="*/ 708965 h 1864765"/>
                  <a:gd name="connsiteX405" fmla="*/ 1003825 w 9847941"/>
                  <a:gd name="connsiteY405" fmla="*/ 710784 h 1864765"/>
                  <a:gd name="connsiteX406" fmla="*/ 1003977 w 9847941"/>
                  <a:gd name="connsiteY406" fmla="*/ 713208 h 1864765"/>
                  <a:gd name="connsiteX407" fmla="*/ 1005340 w 9847941"/>
                  <a:gd name="connsiteY407" fmla="*/ 712299 h 1864765"/>
                  <a:gd name="connsiteX408" fmla="*/ 1007007 w 9847941"/>
                  <a:gd name="connsiteY408" fmla="*/ 712753 h 1864765"/>
                  <a:gd name="connsiteX409" fmla="*/ 1008371 w 9847941"/>
                  <a:gd name="connsiteY409" fmla="*/ 714269 h 1864765"/>
                  <a:gd name="connsiteX410" fmla="*/ 1007765 w 9847941"/>
                  <a:gd name="connsiteY410" fmla="*/ 716844 h 1864765"/>
                  <a:gd name="connsiteX411" fmla="*/ 1008068 w 9847941"/>
                  <a:gd name="connsiteY411" fmla="*/ 717602 h 1864765"/>
                  <a:gd name="connsiteX412" fmla="*/ 1009128 w 9847941"/>
                  <a:gd name="connsiteY412" fmla="*/ 718208 h 1864765"/>
                  <a:gd name="connsiteX413" fmla="*/ 1011250 w 9847941"/>
                  <a:gd name="connsiteY413" fmla="*/ 718511 h 1864765"/>
                  <a:gd name="connsiteX414" fmla="*/ 1013977 w 9847941"/>
                  <a:gd name="connsiteY414" fmla="*/ 717905 h 1864765"/>
                  <a:gd name="connsiteX415" fmla="*/ 1013826 w 9847941"/>
                  <a:gd name="connsiteY415" fmla="*/ 716238 h 1864765"/>
                  <a:gd name="connsiteX416" fmla="*/ 1010947 w 9847941"/>
                  <a:gd name="connsiteY416" fmla="*/ 711087 h 1864765"/>
                  <a:gd name="connsiteX417" fmla="*/ 1362172 w 9847941"/>
                  <a:gd name="connsiteY417" fmla="*/ 1456265 h 1864765"/>
                  <a:gd name="connsiteX418" fmla="*/ 1360808 w 9847941"/>
                  <a:gd name="connsiteY418" fmla="*/ 1453993 h 1864765"/>
                  <a:gd name="connsiteX419" fmla="*/ 1359899 w 9847941"/>
                  <a:gd name="connsiteY419" fmla="*/ 1454599 h 1864765"/>
                  <a:gd name="connsiteX420" fmla="*/ 1361566 w 9847941"/>
                  <a:gd name="connsiteY420" fmla="*/ 1456871 h 1864765"/>
                  <a:gd name="connsiteX421" fmla="*/ 1363081 w 9847941"/>
                  <a:gd name="connsiteY421" fmla="*/ 1459750 h 1864765"/>
                  <a:gd name="connsiteX422" fmla="*/ 1364899 w 9847941"/>
                  <a:gd name="connsiteY422" fmla="*/ 1460356 h 1864765"/>
                  <a:gd name="connsiteX423" fmla="*/ 1366566 w 9847941"/>
                  <a:gd name="connsiteY423" fmla="*/ 1460053 h 1864765"/>
                  <a:gd name="connsiteX424" fmla="*/ 1365657 w 9847941"/>
                  <a:gd name="connsiteY424" fmla="*/ 1459447 h 1864765"/>
                  <a:gd name="connsiteX425" fmla="*/ 1362172 w 9847941"/>
                  <a:gd name="connsiteY425" fmla="*/ 1456265 h 1864765"/>
                  <a:gd name="connsiteX426" fmla="*/ 1965527 w 9847941"/>
                  <a:gd name="connsiteY426" fmla="*/ 1594604 h 1864765"/>
                  <a:gd name="connsiteX427" fmla="*/ 1963709 w 9847941"/>
                  <a:gd name="connsiteY427" fmla="*/ 1594755 h 1864765"/>
                  <a:gd name="connsiteX428" fmla="*/ 1959315 w 9847941"/>
                  <a:gd name="connsiteY428" fmla="*/ 1597786 h 1864765"/>
                  <a:gd name="connsiteX429" fmla="*/ 1957345 w 9847941"/>
                  <a:gd name="connsiteY429" fmla="*/ 1598543 h 1864765"/>
                  <a:gd name="connsiteX430" fmla="*/ 1956133 w 9847941"/>
                  <a:gd name="connsiteY430" fmla="*/ 1600210 h 1864765"/>
                  <a:gd name="connsiteX431" fmla="*/ 1957194 w 9847941"/>
                  <a:gd name="connsiteY431" fmla="*/ 1600058 h 1864765"/>
                  <a:gd name="connsiteX432" fmla="*/ 1963255 w 9847941"/>
                  <a:gd name="connsiteY432" fmla="*/ 1596422 h 1864765"/>
                  <a:gd name="connsiteX433" fmla="*/ 1966891 w 9847941"/>
                  <a:gd name="connsiteY433" fmla="*/ 1594604 h 1864765"/>
                  <a:gd name="connsiteX434" fmla="*/ 1967194 w 9847941"/>
                  <a:gd name="connsiteY434" fmla="*/ 1593240 h 1864765"/>
                  <a:gd name="connsiteX435" fmla="*/ 1966740 w 9847941"/>
                  <a:gd name="connsiteY435" fmla="*/ 1593391 h 1864765"/>
                  <a:gd name="connsiteX436" fmla="*/ 1965527 w 9847941"/>
                  <a:gd name="connsiteY436" fmla="*/ 1594604 h 1864765"/>
                  <a:gd name="connsiteX437" fmla="*/ 944277 w 9847941"/>
                  <a:gd name="connsiteY437" fmla="*/ 647599 h 1864765"/>
                  <a:gd name="connsiteX438" fmla="*/ 942762 w 9847941"/>
                  <a:gd name="connsiteY438" fmla="*/ 645630 h 1864765"/>
                  <a:gd name="connsiteX439" fmla="*/ 940186 w 9847941"/>
                  <a:gd name="connsiteY439" fmla="*/ 645781 h 1864765"/>
                  <a:gd name="connsiteX440" fmla="*/ 938368 w 9847941"/>
                  <a:gd name="connsiteY440" fmla="*/ 643054 h 1864765"/>
                  <a:gd name="connsiteX441" fmla="*/ 938217 w 9847941"/>
                  <a:gd name="connsiteY441" fmla="*/ 642145 h 1864765"/>
                  <a:gd name="connsiteX442" fmla="*/ 936853 w 9847941"/>
                  <a:gd name="connsiteY442" fmla="*/ 641084 h 1864765"/>
                  <a:gd name="connsiteX443" fmla="*/ 934277 w 9847941"/>
                  <a:gd name="connsiteY443" fmla="*/ 639720 h 1864765"/>
                  <a:gd name="connsiteX444" fmla="*/ 930641 w 9847941"/>
                  <a:gd name="connsiteY444" fmla="*/ 640326 h 1864765"/>
                  <a:gd name="connsiteX445" fmla="*/ 927913 w 9847941"/>
                  <a:gd name="connsiteY445" fmla="*/ 643357 h 1864765"/>
                  <a:gd name="connsiteX446" fmla="*/ 927459 w 9847941"/>
                  <a:gd name="connsiteY446" fmla="*/ 646842 h 1864765"/>
                  <a:gd name="connsiteX447" fmla="*/ 927610 w 9847941"/>
                  <a:gd name="connsiteY447" fmla="*/ 647902 h 1864765"/>
                  <a:gd name="connsiteX448" fmla="*/ 930489 w 9847941"/>
                  <a:gd name="connsiteY448" fmla="*/ 651994 h 1864765"/>
                  <a:gd name="connsiteX449" fmla="*/ 930186 w 9847941"/>
                  <a:gd name="connsiteY449" fmla="*/ 653509 h 1864765"/>
                  <a:gd name="connsiteX450" fmla="*/ 933974 w 9847941"/>
                  <a:gd name="connsiteY450" fmla="*/ 656085 h 1864765"/>
                  <a:gd name="connsiteX451" fmla="*/ 935792 w 9847941"/>
                  <a:gd name="connsiteY451" fmla="*/ 658357 h 1864765"/>
                  <a:gd name="connsiteX452" fmla="*/ 932762 w 9847941"/>
                  <a:gd name="connsiteY452" fmla="*/ 660024 h 1864765"/>
                  <a:gd name="connsiteX453" fmla="*/ 931398 w 9847941"/>
                  <a:gd name="connsiteY453" fmla="*/ 668206 h 1864765"/>
                  <a:gd name="connsiteX454" fmla="*/ 932913 w 9847941"/>
                  <a:gd name="connsiteY454" fmla="*/ 673055 h 1864765"/>
                  <a:gd name="connsiteX455" fmla="*/ 934732 w 9847941"/>
                  <a:gd name="connsiteY455" fmla="*/ 673055 h 1864765"/>
                  <a:gd name="connsiteX456" fmla="*/ 936247 w 9847941"/>
                  <a:gd name="connsiteY456" fmla="*/ 670934 h 1864765"/>
                  <a:gd name="connsiteX457" fmla="*/ 937459 w 9847941"/>
                  <a:gd name="connsiteY457" fmla="*/ 671540 h 1864765"/>
                  <a:gd name="connsiteX458" fmla="*/ 938368 w 9847941"/>
                  <a:gd name="connsiteY458" fmla="*/ 671843 h 1864765"/>
                  <a:gd name="connsiteX459" fmla="*/ 938974 w 9847941"/>
                  <a:gd name="connsiteY459" fmla="*/ 671540 h 1864765"/>
                  <a:gd name="connsiteX460" fmla="*/ 939580 w 9847941"/>
                  <a:gd name="connsiteY460" fmla="*/ 670782 h 1864765"/>
                  <a:gd name="connsiteX461" fmla="*/ 939883 w 9847941"/>
                  <a:gd name="connsiteY461" fmla="*/ 668206 h 1864765"/>
                  <a:gd name="connsiteX462" fmla="*/ 941399 w 9847941"/>
                  <a:gd name="connsiteY462" fmla="*/ 664418 h 1864765"/>
                  <a:gd name="connsiteX463" fmla="*/ 941853 w 9847941"/>
                  <a:gd name="connsiteY463" fmla="*/ 660630 h 1864765"/>
                  <a:gd name="connsiteX464" fmla="*/ 941550 w 9847941"/>
                  <a:gd name="connsiteY464" fmla="*/ 656842 h 1864765"/>
                  <a:gd name="connsiteX465" fmla="*/ 942308 w 9847941"/>
                  <a:gd name="connsiteY465" fmla="*/ 653054 h 1864765"/>
                  <a:gd name="connsiteX466" fmla="*/ 943520 w 9847941"/>
                  <a:gd name="connsiteY466" fmla="*/ 651994 h 1864765"/>
                  <a:gd name="connsiteX467" fmla="*/ 944732 w 9847941"/>
                  <a:gd name="connsiteY467" fmla="*/ 652448 h 1864765"/>
                  <a:gd name="connsiteX468" fmla="*/ 945490 w 9847941"/>
                  <a:gd name="connsiteY468" fmla="*/ 650478 h 1864765"/>
                  <a:gd name="connsiteX469" fmla="*/ 944277 w 9847941"/>
                  <a:gd name="connsiteY469" fmla="*/ 647599 h 1864765"/>
                  <a:gd name="connsiteX470" fmla="*/ 1365202 w 9847941"/>
                  <a:gd name="connsiteY470" fmla="*/ 1442477 h 1864765"/>
                  <a:gd name="connsiteX471" fmla="*/ 1360808 w 9847941"/>
                  <a:gd name="connsiteY471" fmla="*/ 1440659 h 1864765"/>
                  <a:gd name="connsiteX472" fmla="*/ 1360354 w 9847941"/>
                  <a:gd name="connsiteY472" fmla="*/ 1441113 h 1864765"/>
                  <a:gd name="connsiteX473" fmla="*/ 1360505 w 9847941"/>
                  <a:gd name="connsiteY473" fmla="*/ 1441871 h 1864765"/>
                  <a:gd name="connsiteX474" fmla="*/ 1360657 w 9847941"/>
                  <a:gd name="connsiteY474" fmla="*/ 1442022 h 1864765"/>
                  <a:gd name="connsiteX475" fmla="*/ 1362020 w 9847941"/>
                  <a:gd name="connsiteY475" fmla="*/ 1442174 h 1864765"/>
                  <a:gd name="connsiteX476" fmla="*/ 1362475 w 9847941"/>
                  <a:gd name="connsiteY476" fmla="*/ 1442628 h 1864765"/>
                  <a:gd name="connsiteX477" fmla="*/ 1363081 w 9847941"/>
                  <a:gd name="connsiteY477" fmla="*/ 1444295 h 1864765"/>
                  <a:gd name="connsiteX478" fmla="*/ 1363687 w 9847941"/>
                  <a:gd name="connsiteY478" fmla="*/ 1445507 h 1864765"/>
                  <a:gd name="connsiteX479" fmla="*/ 1365808 w 9847941"/>
                  <a:gd name="connsiteY479" fmla="*/ 1445356 h 1864765"/>
                  <a:gd name="connsiteX480" fmla="*/ 1367778 w 9847941"/>
                  <a:gd name="connsiteY480" fmla="*/ 1445659 h 1864765"/>
                  <a:gd name="connsiteX481" fmla="*/ 1366414 w 9847941"/>
                  <a:gd name="connsiteY481" fmla="*/ 1443386 h 1864765"/>
                  <a:gd name="connsiteX482" fmla="*/ 1365202 w 9847941"/>
                  <a:gd name="connsiteY482" fmla="*/ 1442477 h 1864765"/>
                  <a:gd name="connsiteX483" fmla="*/ 1947042 w 9847941"/>
                  <a:gd name="connsiteY483" fmla="*/ 1611119 h 1864765"/>
                  <a:gd name="connsiteX484" fmla="*/ 1942496 w 9847941"/>
                  <a:gd name="connsiteY484" fmla="*/ 1618695 h 1864765"/>
                  <a:gd name="connsiteX485" fmla="*/ 1940223 w 9847941"/>
                  <a:gd name="connsiteY485" fmla="*/ 1624453 h 1864765"/>
                  <a:gd name="connsiteX486" fmla="*/ 1939921 w 9847941"/>
                  <a:gd name="connsiteY486" fmla="*/ 1627029 h 1864765"/>
                  <a:gd name="connsiteX487" fmla="*/ 1940830 w 9847941"/>
                  <a:gd name="connsiteY487" fmla="*/ 1625362 h 1864765"/>
                  <a:gd name="connsiteX488" fmla="*/ 1943709 w 9847941"/>
                  <a:gd name="connsiteY488" fmla="*/ 1618241 h 1864765"/>
                  <a:gd name="connsiteX489" fmla="*/ 1948860 w 9847941"/>
                  <a:gd name="connsiteY489" fmla="*/ 1610059 h 1864765"/>
                  <a:gd name="connsiteX490" fmla="*/ 1947042 w 9847941"/>
                  <a:gd name="connsiteY490" fmla="*/ 1611119 h 1864765"/>
                  <a:gd name="connsiteX491" fmla="*/ 1953254 w 9847941"/>
                  <a:gd name="connsiteY491" fmla="*/ 1601271 h 1864765"/>
                  <a:gd name="connsiteX492" fmla="*/ 1951133 w 9847941"/>
                  <a:gd name="connsiteY492" fmla="*/ 1604301 h 1864765"/>
                  <a:gd name="connsiteX493" fmla="*/ 1950830 w 9847941"/>
                  <a:gd name="connsiteY493" fmla="*/ 1605210 h 1864765"/>
                  <a:gd name="connsiteX494" fmla="*/ 1949466 w 9847941"/>
                  <a:gd name="connsiteY494" fmla="*/ 1607634 h 1864765"/>
                  <a:gd name="connsiteX495" fmla="*/ 1950072 w 9847941"/>
                  <a:gd name="connsiteY495" fmla="*/ 1607634 h 1864765"/>
                  <a:gd name="connsiteX496" fmla="*/ 1952648 w 9847941"/>
                  <a:gd name="connsiteY496" fmla="*/ 1604301 h 1864765"/>
                  <a:gd name="connsiteX497" fmla="*/ 1954921 w 9847941"/>
                  <a:gd name="connsiteY497" fmla="*/ 1602180 h 1864765"/>
                  <a:gd name="connsiteX498" fmla="*/ 1954466 w 9847941"/>
                  <a:gd name="connsiteY498" fmla="*/ 1600816 h 1864765"/>
                  <a:gd name="connsiteX499" fmla="*/ 1953254 w 9847941"/>
                  <a:gd name="connsiteY499" fmla="*/ 1601271 h 1864765"/>
                  <a:gd name="connsiteX500" fmla="*/ 1940072 w 9847941"/>
                  <a:gd name="connsiteY500" fmla="*/ 1628241 h 1864765"/>
                  <a:gd name="connsiteX501" fmla="*/ 1939466 w 9847941"/>
                  <a:gd name="connsiteY501" fmla="*/ 1631120 h 1864765"/>
                  <a:gd name="connsiteX502" fmla="*/ 1939617 w 9847941"/>
                  <a:gd name="connsiteY502" fmla="*/ 1639302 h 1864765"/>
                  <a:gd name="connsiteX503" fmla="*/ 1943254 w 9847941"/>
                  <a:gd name="connsiteY503" fmla="*/ 1653697 h 1864765"/>
                  <a:gd name="connsiteX504" fmla="*/ 1945527 w 9847941"/>
                  <a:gd name="connsiteY504" fmla="*/ 1660061 h 1864765"/>
                  <a:gd name="connsiteX505" fmla="*/ 1945830 w 9847941"/>
                  <a:gd name="connsiteY505" fmla="*/ 1658697 h 1864765"/>
                  <a:gd name="connsiteX506" fmla="*/ 1944921 w 9847941"/>
                  <a:gd name="connsiteY506" fmla="*/ 1654606 h 1864765"/>
                  <a:gd name="connsiteX507" fmla="*/ 1940830 w 9847941"/>
                  <a:gd name="connsiteY507" fmla="*/ 1639908 h 1864765"/>
                  <a:gd name="connsiteX508" fmla="*/ 1940072 w 9847941"/>
                  <a:gd name="connsiteY508" fmla="*/ 1628241 h 1864765"/>
                  <a:gd name="connsiteX509" fmla="*/ 1311261 w 9847941"/>
                  <a:gd name="connsiteY509" fmla="*/ 1422325 h 1864765"/>
                  <a:gd name="connsiteX510" fmla="*/ 1310049 w 9847941"/>
                  <a:gd name="connsiteY510" fmla="*/ 1422779 h 1864765"/>
                  <a:gd name="connsiteX511" fmla="*/ 1309291 w 9847941"/>
                  <a:gd name="connsiteY511" fmla="*/ 1423537 h 1864765"/>
                  <a:gd name="connsiteX512" fmla="*/ 1311564 w 9847941"/>
                  <a:gd name="connsiteY512" fmla="*/ 1423840 h 1864765"/>
                  <a:gd name="connsiteX513" fmla="*/ 1313079 w 9847941"/>
                  <a:gd name="connsiteY513" fmla="*/ 1423688 h 1864765"/>
                  <a:gd name="connsiteX514" fmla="*/ 1311867 w 9847941"/>
                  <a:gd name="connsiteY514" fmla="*/ 1422628 h 1864765"/>
                  <a:gd name="connsiteX515" fmla="*/ 1311261 w 9847941"/>
                  <a:gd name="connsiteY515" fmla="*/ 1422325 h 1864765"/>
                  <a:gd name="connsiteX516" fmla="*/ 1319291 w 9847941"/>
                  <a:gd name="connsiteY516" fmla="*/ 1423688 h 1864765"/>
                  <a:gd name="connsiteX517" fmla="*/ 1314291 w 9847941"/>
                  <a:gd name="connsiteY517" fmla="*/ 1424143 h 1864765"/>
                  <a:gd name="connsiteX518" fmla="*/ 1316564 w 9847941"/>
                  <a:gd name="connsiteY518" fmla="*/ 1427022 h 1864765"/>
                  <a:gd name="connsiteX519" fmla="*/ 1318079 w 9847941"/>
                  <a:gd name="connsiteY519" fmla="*/ 1427476 h 1864765"/>
                  <a:gd name="connsiteX520" fmla="*/ 1320049 w 9847941"/>
                  <a:gd name="connsiteY520" fmla="*/ 1427022 h 1864765"/>
                  <a:gd name="connsiteX521" fmla="*/ 1321716 w 9847941"/>
                  <a:gd name="connsiteY521" fmla="*/ 1425355 h 1864765"/>
                  <a:gd name="connsiteX522" fmla="*/ 1321413 w 9847941"/>
                  <a:gd name="connsiteY522" fmla="*/ 1425052 h 1864765"/>
                  <a:gd name="connsiteX523" fmla="*/ 1319291 w 9847941"/>
                  <a:gd name="connsiteY523" fmla="*/ 1423688 h 1864765"/>
                  <a:gd name="connsiteX524" fmla="*/ 992764 w 9847941"/>
                  <a:gd name="connsiteY524" fmla="*/ 705329 h 1864765"/>
                  <a:gd name="connsiteX525" fmla="*/ 988370 w 9847941"/>
                  <a:gd name="connsiteY525" fmla="*/ 705783 h 1864765"/>
                  <a:gd name="connsiteX526" fmla="*/ 987309 w 9847941"/>
                  <a:gd name="connsiteY526" fmla="*/ 705480 h 1864765"/>
                  <a:gd name="connsiteX527" fmla="*/ 987158 w 9847941"/>
                  <a:gd name="connsiteY527" fmla="*/ 705026 h 1864765"/>
                  <a:gd name="connsiteX528" fmla="*/ 987764 w 9847941"/>
                  <a:gd name="connsiteY528" fmla="*/ 704268 h 1864765"/>
                  <a:gd name="connsiteX529" fmla="*/ 988673 w 9847941"/>
                  <a:gd name="connsiteY529" fmla="*/ 702601 h 1864765"/>
                  <a:gd name="connsiteX530" fmla="*/ 988673 w 9847941"/>
                  <a:gd name="connsiteY530" fmla="*/ 701692 h 1864765"/>
                  <a:gd name="connsiteX531" fmla="*/ 987158 w 9847941"/>
                  <a:gd name="connsiteY531" fmla="*/ 699419 h 1864765"/>
                  <a:gd name="connsiteX532" fmla="*/ 985643 w 9847941"/>
                  <a:gd name="connsiteY532" fmla="*/ 698813 h 1864765"/>
                  <a:gd name="connsiteX533" fmla="*/ 981703 w 9847941"/>
                  <a:gd name="connsiteY533" fmla="*/ 695631 h 1864765"/>
                  <a:gd name="connsiteX534" fmla="*/ 977006 w 9847941"/>
                  <a:gd name="connsiteY534" fmla="*/ 696389 h 1864765"/>
                  <a:gd name="connsiteX535" fmla="*/ 975945 w 9847941"/>
                  <a:gd name="connsiteY535" fmla="*/ 696086 h 1864765"/>
                  <a:gd name="connsiteX536" fmla="*/ 977309 w 9847941"/>
                  <a:gd name="connsiteY536" fmla="*/ 695025 h 1864765"/>
                  <a:gd name="connsiteX537" fmla="*/ 978218 w 9847941"/>
                  <a:gd name="connsiteY537" fmla="*/ 693510 h 1864765"/>
                  <a:gd name="connsiteX538" fmla="*/ 978824 w 9847941"/>
                  <a:gd name="connsiteY538" fmla="*/ 691692 h 1864765"/>
                  <a:gd name="connsiteX539" fmla="*/ 979279 w 9847941"/>
                  <a:gd name="connsiteY539" fmla="*/ 691540 h 1864765"/>
                  <a:gd name="connsiteX540" fmla="*/ 985188 w 9847941"/>
                  <a:gd name="connsiteY540" fmla="*/ 694874 h 1864765"/>
                  <a:gd name="connsiteX541" fmla="*/ 987915 w 9847941"/>
                  <a:gd name="connsiteY541" fmla="*/ 695935 h 1864765"/>
                  <a:gd name="connsiteX542" fmla="*/ 988521 w 9847941"/>
                  <a:gd name="connsiteY542" fmla="*/ 695935 h 1864765"/>
                  <a:gd name="connsiteX543" fmla="*/ 987309 w 9847941"/>
                  <a:gd name="connsiteY543" fmla="*/ 694419 h 1864765"/>
                  <a:gd name="connsiteX544" fmla="*/ 985340 w 9847941"/>
                  <a:gd name="connsiteY544" fmla="*/ 692904 h 1864765"/>
                  <a:gd name="connsiteX545" fmla="*/ 981400 w 9847941"/>
                  <a:gd name="connsiteY545" fmla="*/ 687904 h 1864765"/>
                  <a:gd name="connsiteX546" fmla="*/ 979582 w 9847941"/>
                  <a:gd name="connsiteY546" fmla="*/ 683661 h 1864765"/>
                  <a:gd name="connsiteX547" fmla="*/ 978521 w 9847941"/>
                  <a:gd name="connsiteY547" fmla="*/ 681995 h 1864765"/>
                  <a:gd name="connsiteX548" fmla="*/ 976703 w 9847941"/>
                  <a:gd name="connsiteY548" fmla="*/ 680025 h 1864765"/>
                  <a:gd name="connsiteX549" fmla="*/ 972309 w 9847941"/>
                  <a:gd name="connsiteY549" fmla="*/ 676237 h 1864765"/>
                  <a:gd name="connsiteX550" fmla="*/ 963066 w 9847941"/>
                  <a:gd name="connsiteY550" fmla="*/ 672600 h 1864765"/>
                  <a:gd name="connsiteX551" fmla="*/ 962915 w 9847941"/>
                  <a:gd name="connsiteY551" fmla="*/ 672297 h 1864765"/>
                  <a:gd name="connsiteX552" fmla="*/ 963521 w 9847941"/>
                  <a:gd name="connsiteY552" fmla="*/ 671237 h 1864765"/>
                  <a:gd name="connsiteX553" fmla="*/ 963672 w 9847941"/>
                  <a:gd name="connsiteY553" fmla="*/ 670176 h 1864765"/>
                  <a:gd name="connsiteX554" fmla="*/ 963521 w 9847941"/>
                  <a:gd name="connsiteY554" fmla="*/ 668661 h 1864765"/>
                  <a:gd name="connsiteX555" fmla="*/ 962915 w 9847941"/>
                  <a:gd name="connsiteY555" fmla="*/ 667146 h 1864765"/>
                  <a:gd name="connsiteX556" fmla="*/ 961854 w 9847941"/>
                  <a:gd name="connsiteY556" fmla="*/ 665479 h 1864765"/>
                  <a:gd name="connsiteX557" fmla="*/ 960187 w 9847941"/>
                  <a:gd name="connsiteY557" fmla="*/ 663812 h 1864765"/>
                  <a:gd name="connsiteX558" fmla="*/ 955490 w 9847941"/>
                  <a:gd name="connsiteY558" fmla="*/ 663964 h 1864765"/>
                  <a:gd name="connsiteX559" fmla="*/ 950338 w 9847941"/>
                  <a:gd name="connsiteY559" fmla="*/ 663206 h 1864765"/>
                  <a:gd name="connsiteX560" fmla="*/ 949429 w 9847941"/>
                  <a:gd name="connsiteY560" fmla="*/ 664115 h 1864765"/>
                  <a:gd name="connsiteX561" fmla="*/ 949581 w 9847941"/>
                  <a:gd name="connsiteY561" fmla="*/ 668055 h 1864765"/>
                  <a:gd name="connsiteX562" fmla="*/ 950944 w 9847941"/>
                  <a:gd name="connsiteY562" fmla="*/ 669570 h 1864765"/>
                  <a:gd name="connsiteX563" fmla="*/ 951247 w 9847941"/>
                  <a:gd name="connsiteY563" fmla="*/ 670782 h 1864765"/>
                  <a:gd name="connsiteX564" fmla="*/ 949429 w 9847941"/>
                  <a:gd name="connsiteY564" fmla="*/ 672752 h 1864765"/>
                  <a:gd name="connsiteX565" fmla="*/ 945187 w 9847941"/>
                  <a:gd name="connsiteY565" fmla="*/ 676388 h 1864765"/>
                  <a:gd name="connsiteX566" fmla="*/ 945490 w 9847941"/>
                  <a:gd name="connsiteY566" fmla="*/ 677752 h 1864765"/>
                  <a:gd name="connsiteX567" fmla="*/ 947156 w 9847941"/>
                  <a:gd name="connsiteY567" fmla="*/ 678661 h 1864765"/>
                  <a:gd name="connsiteX568" fmla="*/ 951096 w 9847941"/>
                  <a:gd name="connsiteY568" fmla="*/ 676540 h 1864765"/>
                  <a:gd name="connsiteX569" fmla="*/ 955642 w 9847941"/>
                  <a:gd name="connsiteY569" fmla="*/ 675176 h 1864765"/>
                  <a:gd name="connsiteX570" fmla="*/ 957914 w 9847941"/>
                  <a:gd name="connsiteY570" fmla="*/ 675782 h 1864765"/>
                  <a:gd name="connsiteX571" fmla="*/ 958975 w 9847941"/>
                  <a:gd name="connsiteY571" fmla="*/ 678207 h 1864765"/>
                  <a:gd name="connsiteX572" fmla="*/ 959278 w 9847941"/>
                  <a:gd name="connsiteY572" fmla="*/ 679570 h 1864765"/>
                  <a:gd name="connsiteX573" fmla="*/ 957460 w 9847941"/>
                  <a:gd name="connsiteY573" fmla="*/ 680934 h 1864765"/>
                  <a:gd name="connsiteX574" fmla="*/ 957157 w 9847941"/>
                  <a:gd name="connsiteY574" fmla="*/ 682601 h 1864765"/>
                  <a:gd name="connsiteX575" fmla="*/ 954732 w 9847941"/>
                  <a:gd name="connsiteY575" fmla="*/ 684419 h 1864765"/>
                  <a:gd name="connsiteX576" fmla="*/ 953823 w 9847941"/>
                  <a:gd name="connsiteY576" fmla="*/ 684419 h 1864765"/>
                  <a:gd name="connsiteX577" fmla="*/ 951399 w 9847941"/>
                  <a:gd name="connsiteY577" fmla="*/ 683055 h 1864765"/>
                  <a:gd name="connsiteX578" fmla="*/ 950187 w 9847941"/>
                  <a:gd name="connsiteY578" fmla="*/ 682904 h 1864765"/>
                  <a:gd name="connsiteX579" fmla="*/ 947914 w 9847941"/>
                  <a:gd name="connsiteY579" fmla="*/ 684116 h 1864765"/>
                  <a:gd name="connsiteX580" fmla="*/ 947459 w 9847941"/>
                  <a:gd name="connsiteY580" fmla="*/ 684874 h 1864765"/>
                  <a:gd name="connsiteX581" fmla="*/ 948520 w 9847941"/>
                  <a:gd name="connsiteY581" fmla="*/ 686237 h 1864765"/>
                  <a:gd name="connsiteX582" fmla="*/ 950944 w 9847941"/>
                  <a:gd name="connsiteY582" fmla="*/ 688510 h 1864765"/>
                  <a:gd name="connsiteX583" fmla="*/ 952308 w 9847941"/>
                  <a:gd name="connsiteY583" fmla="*/ 688359 h 1864765"/>
                  <a:gd name="connsiteX584" fmla="*/ 955945 w 9847941"/>
                  <a:gd name="connsiteY584" fmla="*/ 688662 h 1864765"/>
                  <a:gd name="connsiteX585" fmla="*/ 956702 w 9847941"/>
                  <a:gd name="connsiteY585" fmla="*/ 690177 h 1864765"/>
                  <a:gd name="connsiteX586" fmla="*/ 957914 w 9847941"/>
                  <a:gd name="connsiteY586" fmla="*/ 691843 h 1864765"/>
                  <a:gd name="connsiteX587" fmla="*/ 959430 w 9847941"/>
                  <a:gd name="connsiteY587" fmla="*/ 692298 h 1864765"/>
                  <a:gd name="connsiteX588" fmla="*/ 963672 w 9847941"/>
                  <a:gd name="connsiteY588" fmla="*/ 691692 h 1864765"/>
                  <a:gd name="connsiteX589" fmla="*/ 965187 w 9847941"/>
                  <a:gd name="connsiteY589" fmla="*/ 692601 h 1864765"/>
                  <a:gd name="connsiteX590" fmla="*/ 963975 w 9847941"/>
                  <a:gd name="connsiteY590" fmla="*/ 694722 h 1864765"/>
                  <a:gd name="connsiteX591" fmla="*/ 963824 w 9847941"/>
                  <a:gd name="connsiteY591" fmla="*/ 695935 h 1864765"/>
                  <a:gd name="connsiteX592" fmla="*/ 967157 w 9847941"/>
                  <a:gd name="connsiteY592" fmla="*/ 700026 h 1864765"/>
                  <a:gd name="connsiteX593" fmla="*/ 966854 w 9847941"/>
                  <a:gd name="connsiteY593" fmla="*/ 700783 h 1864765"/>
                  <a:gd name="connsiteX594" fmla="*/ 965187 w 9847941"/>
                  <a:gd name="connsiteY594" fmla="*/ 700783 h 1864765"/>
                  <a:gd name="connsiteX595" fmla="*/ 963218 w 9847941"/>
                  <a:gd name="connsiteY595" fmla="*/ 701389 h 1864765"/>
                  <a:gd name="connsiteX596" fmla="*/ 962763 w 9847941"/>
                  <a:gd name="connsiteY596" fmla="*/ 702601 h 1864765"/>
                  <a:gd name="connsiteX597" fmla="*/ 964278 w 9847941"/>
                  <a:gd name="connsiteY597" fmla="*/ 703662 h 1864765"/>
                  <a:gd name="connsiteX598" fmla="*/ 968369 w 9847941"/>
                  <a:gd name="connsiteY598" fmla="*/ 707905 h 1864765"/>
                  <a:gd name="connsiteX599" fmla="*/ 972006 w 9847941"/>
                  <a:gd name="connsiteY599" fmla="*/ 713208 h 1864765"/>
                  <a:gd name="connsiteX600" fmla="*/ 974127 w 9847941"/>
                  <a:gd name="connsiteY600" fmla="*/ 713965 h 1864765"/>
                  <a:gd name="connsiteX601" fmla="*/ 974733 w 9847941"/>
                  <a:gd name="connsiteY601" fmla="*/ 712299 h 1864765"/>
                  <a:gd name="connsiteX602" fmla="*/ 974279 w 9847941"/>
                  <a:gd name="connsiteY602" fmla="*/ 710177 h 1864765"/>
                  <a:gd name="connsiteX603" fmla="*/ 975339 w 9847941"/>
                  <a:gd name="connsiteY603" fmla="*/ 709571 h 1864765"/>
                  <a:gd name="connsiteX604" fmla="*/ 976551 w 9847941"/>
                  <a:gd name="connsiteY604" fmla="*/ 710026 h 1864765"/>
                  <a:gd name="connsiteX605" fmla="*/ 976400 w 9847941"/>
                  <a:gd name="connsiteY605" fmla="*/ 711087 h 1864765"/>
                  <a:gd name="connsiteX606" fmla="*/ 977461 w 9847941"/>
                  <a:gd name="connsiteY606" fmla="*/ 713359 h 1864765"/>
                  <a:gd name="connsiteX607" fmla="*/ 977309 w 9847941"/>
                  <a:gd name="connsiteY607" fmla="*/ 715481 h 1864765"/>
                  <a:gd name="connsiteX608" fmla="*/ 978521 w 9847941"/>
                  <a:gd name="connsiteY608" fmla="*/ 717147 h 1864765"/>
                  <a:gd name="connsiteX609" fmla="*/ 980188 w 9847941"/>
                  <a:gd name="connsiteY609" fmla="*/ 717299 h 1864765"/>
                  <a:gd name="connsiteX610" fmla="*/ 980642 w 9847941"/>
                  <a:gd name="connsiteY610" fmla="*/ 717753 h 1864765"/>
                  <a:gd name="connsiteX611" fmla="*/ 983370 w 9847941"/>
                  <a:gd name="connsiteY611" fmla="*/ 718360 h 1864765"/>
                  <a:gd name="connsiteX612" fmla="*/ 984127 w 9847941"/>
                  <a:gd name="connsiteY612" fmla="*/ 718966 h 1864765"/>
                  <a:gd name="connsiteX613" fmla="*/ 986249 w 9847941"/>
                  <a:gd name="connsiteY613" fmla="*/ 722905 h 1864765"/>
                  <a:gd name="connsiteX614" fmla="*/ 988370 w 9847941"/>
                  <a:gd name="connsiteY614" fmla="*/ 725481 h 1864765"/>
                  <a:gd name="connsiteX615" fmla="*/ 989885 w 9847941"/>
                  <a:gd name="connsiteY615" fmla="*/ 726390 h 1864765"/>
                  <a:gd name="connsiteX616" fmla="*/ 991855 w 9847941"/>
                  <a:gd name="connsiteY616" fmla="*/ 726390 h 1864765"/>
                  <a:gd name="connsiteX617" fmla="*/ 993067 w 9847941"/>
                  <a:gd name="connsiteY617" fmla="*/ 725936 h 1864765"/>
                  <a:gd name="connsiteX618" fmla="*/ 994128 w 9847941"/>
                  <a:gd name="connsiteY618" fmla="*/ 722905 h 1864765"/>
                  <a:gd name="connsiteX619" fmla="*/ 994128 w 9847941"/>
                  <a:gd name="connsiteY619" fmla="*/ 721693 h 1864765"/>
                  <a:gd name="connsiteX620" fmla="*/ 993673 w 9847941"/>
                  <a:gd name="connsiteY620" fmla="*/ 720481 h 1864765"/>
                  <a:gd name="connsiteX621" fmla="*/ 993673 w 9847941"/>
                  <a:gd name="connsiteY621" fmla="*/ 719269 h 1864765"/>
                  <a:gd name="connsiteX622" fmla="*/ 994128 w 9847941"/>
                  <a:gd name="connsiteY622" fmla="*/ 717753 h 1864765"/>
                  <a:gd name="connsiteX623" fmla="*/ 994128 w 9847941"/>
                  <a:gd name="connsiteY623" fmla="*/ 716693 h 1864765"/>
                  <a:gd name="connsiteX624" fmla="*/ 993522 w 9847941"/>
                  <a:gd name="connsiteY624" fmla="*/ 714269 h 1864765"/>
                  <a:gd name="connsiteX625" fmla="*/ 994128 w 9847941"/>
                  <a:gd name="connsiteY625" fmla="*/ 707602 h 1864765"/>
                  <a:gd name="connsiteX626" fmla="*/ 992764 w 9847941"/>
                  <a:gd name="connsiteY626" fmla="*/ 705329 h 1864765"/>
                  <a:gd name="connsiteX627" fmla="*/ 444713 w 9847941"/>
                  <a:gd name="connsiteY627" fmla="*/ 585324 h 1864765"/>
                  <a:gd name="connsiteX628" fmla="*/ 443501 w 9847941"/>
                  <a:gd name="connsiteY628" fmla="*/ 585173 h 1864765"/>
                  <a:gd name="connsiteX629" fmla="*/ 442289 w 9847941"/>
                  <a:gd name="connsiteY629" fmla="*/ 582749 h 1864765"/>
                  <a:gd name="connsiteX630" fmla="*/ 440319 w 9847941"/>
                  <a:gd name="connsiteY630" fmla="*/ 583203 h 1864765"/>
                  <a:gd name="connsiteX631" fmla="*/ 437137 w 9847941"/>
                  <a:gd name="connsiteY631" fmla="*/ 581233 h 1864765"/>
                  <a:gd name="connsiteX632" fmla="*/ 436380 w 9847941"/>
                  <a:gd name="connsiteY632" fmla="*/ 581233 h 1864765"/>
                  <a:gd name="connsiteX633" fmla="*/ 435319 w 9847941"/>
                  <a:gd name="connsiteY633" fmla="*/ 583658 h 1864765"/>
                  <a:gd name="connsiteX634" fmla="*/ 434259 w 9847941"/>
                  <a:gd name="connsiteY634" fmla="*/ 583355 h 1864765"/>
                  <a:gd name="connsiteX635" fmla="*/ 432592 w 9847941"/>
                  <a:gd name="connsiteY635" fmla="*/ 581839 h 1864765"/>
                  <a:gd name="connsiteX636" fmla="*/ 430774 w 9847941"/>
                  <a:gd name="connsiteY636" fmla="*/ 580627 h 1864765"/>
                  <a:gd name="connsiteX637" fmla="*/ 428955 w 9847941"/>
                  <a:gd name="connsiteY637" fmla="*/ 579870 h 1864765"/>
                  <a:gd name="connsiteX638" fmla="*/ 427289 w 9847941"/>
                  <a:gd name="connsiteY638" fmla="*/ 579718 h 1864765"/>
                  <a:gd name="connsiteX639" fmla="*/ 422743 w 9847941"/>
                  <a:gd name="connsiteY639" fmla="*/ 581082 h 1864765"/>
                  <a:gd name="connsiteX640" fmla="*/ 422591 w 9847941"/>
                  <a:gd name="connsiteY640" fmla="*/ 581839 h 1864765"/>
                  <a:gd name="connsiteX641" fmla="*/ 424713 w 9847941"/>
                  <a:gd name="connsiteY641" fmla="*/ 583809 h 1864765"/>
                  <a:gd name="connsiteX642" fmla="*/ 424561 w 9847941"/>
                  <a:gd name="connsiteY642" fmla="*/ 586537 h 1864765"/>
                  <a:gd name="connsiteX643" fmla="*/ 423349 w 9847941"/>
                  <a:gd name="connsiteY643" fmla="*/ 586688 h 1864765"/>
                  <a:gd name="connsiteX644" fmla="*/ 421076 w 9847941"/>
                  <a:gd name="connsiteY644" fmla="*/ 585931 h 1864765"/>
                  <a:gd name="connsiteX645" fmla="*/ 418803 w 9847941"/>
                  <a:gd name="connsiteY645" fmla="*/ 585779 h 1864765"/>
                  <a:gd name="connsiteX646" fmla="*/ 415015 w 9847941"/>
                  <a:gd name="connsiteY646" fmla="*/ 588052 h 1864765"/>
                  <a:gd name="connsiteX647" fmla="*/ 407742 w 9847941"/>
                  <a:gd name="connsiteY647" fmla="*/ 594113 h 1864765"/>
                  <a:gd name="connsiteX648" fmla="*/ 409864 w 9847941"/>
                  <a:gd name="connsiteY648" fmla="*/ 595022 h 1864765"/>
                  <a:gd name="connsiteX649" fmla="*/ 418652 w 9847941"/>
                  <a:gd name="connsiteY649" fmla="*/ 597598 h 1864765"/>
                  <a:gd name="connsiteX650" fmla="*/ 420167 w 9847941"/>
                  <a:gd name="connsiteY650" fmla="*/ 597749 h 1864765"/>
                  <a:gd name="connsiteX651" fmla="*/ 422591 w 9847941"/>
                  <a:gd name="connsiteY651" fmla="*/ 596991 h 1864765"/>
                  <a:gd name="connsiteX652" fmla="*/ 424258 w 9847941"/>
                  <a:gd name="connsiteY652" fmla="*/ 596840 h 1864765"/>
                  <a:gd name="connsiteX653" fmla="*/ 424713 w 9847941"/>
                  <a:gd name="connsiteY653" fmla="*/ 596234 h 1864765"/>
                  <a:gd name="connsiteX654" fmla="*/ 426986 w 9847941"/>
                  <a:gd name="connsiteY654" fmla="*/ 595022 h 1864765"/>
                  <a:gd name="connsiteX655" fmla="*/ 428198 w 9847941"/>
                  <a:gd name="connsiteY655" fmla="*/ 593507 h 1864765"/>
                  <a:gd name="connsiteX656" fmla="*/ 429258 w 9847941"/>
                  <a:gd name="connsiteY656" fmla="*/ 591082 h 1864765"/>
                  <a:gd name="connsiteX657" fmla="*/ 430016 w 9847941"/>
                  <a:gd name="connsiteY657" fmla="*/ 590931 h 1864765"/>
                  <a:gd name="connsiteX658" fmla="*/ 430319 w 9847941"/>
                  <a:gd name="connsiteY658" fmla="*/ 592900 h 1864765"/>
                  <a:gd name="connsiteX659" fmla="*/ 430925 w 9847941"/>
                  <a:gd name="connsiteY659" fmla="*/ 593658 h 1864765"/>
                  <a:gd name="connsiteX660" fmla="*/ 433349 w 9847941"/>
                  <a:gd name="connsiteY660" fmla="*/ 592597 h 1864765"/>
                  <a:gd name="connsiteX661" fmla="*/ 435319 w 9847941"/>
                  <a:gd name="connsiteY661" fmla="*/ 592749 h 1864765"/>
                  <a:gd name="connsiteX662" fmla="*/ 437289 w 9847941"/>
                  <a:gd name="connsiteY662" fmla="*/ 592294 h 1864765"/>
                  <a:gd name="connsiteX663" fmla="*/ 437440 w 9847941"/>
                  <a:gd name="connsiteY663" fmla="*/ 591537 h 1864765"/>
                  <a:gd name="connsiteX664" fmla="*/ 436683 w 9847941"/>
                  <a:gd name="connsiteY664" fmla="*/ 590173 h 1864765"/>
                  <a:gd name="connsiteX665" fmla="*/ 436683 w 9847941"/>
                  <a:gd name="connsiteY665" fmla="*/ 589264 h 1864765"/>
                  <a:gd name="connsiteX666" fmla="*/ 438350 w 9847941"/>
                  <a:gd name="connsiteY666" fmla="*/ 587597 h 1864765"/>
                  <a:gd name="connsiteX667" fmla="*/ 438804 w 9847941"/>
                  <a:gd name="connsiteY667" fmla="*/ 587597 h 1864765"/>
                  <a:gd name="connsiteX668" fmla="*/ 439562 w 9847941"/>
                  <a:gd name="connsiteY668" fmla="*/ 589112 h 1864765"/>
                  <a:gd name="connsiteX669" fmla="*/ 440622 w 9847941"/>
                  <a:gd name="connsiteY669" fmla="*/ 590325 h 1864765"/>
                  <a:gd name="connsiteX670" fmla="*/ 441229 w 9847941"/>
                  <a:gd name="connsiteY670" fmla="*/ 590628 h 1864765"/>
                  <a:gd name="connsiteX671" fmla="*/ 442744 w 9847941"/>
                  <a:gd name="connsiteY671" fmla="*/ 591385 h 1864765"/>
                  <a:gd name="connsiteX672" fmla="*/ 443804 w 9847941"/>
                  <a:gd name="connsiteY672" fmla="*/ 590779 h 1864765"/>
                  <a:gd name="connsiteX673" fmla="*/ 446229 w 9847941"/>
                  <a:gd name="connsiteY673" fmla="*/ 588203 h 1864765"/>
                  <a:gd name="connsiteX674" fmla="*/ 446380 w 9847941"/>
                  <a:gd name="connsiteY674" fmla="*/ 585627 h 1864765"/>
                  <a:gd name="connsiteX675" fmla="*/ 445774 w 9847941"/>
                  <a:gd name="connsiteY675" fmla="*/ 585476 h 1864765"/>
                  <a:gd name="connsiteX676" fmla="*/ 444713 w 9847941"/>
                  <a:gd name="connsiteY676" fmla="*/ 585324 h 1864765"/>
                  <a:gd name="connsiteX677" fmla="*/ 973824 w 9847941"/>
                  <a:gd name="connsiteY677" fmla="*/ 717147 h 1864765"/>
                  <a:gd name="connsiteX678" fmla="*/ 971854 w 9847941"/>
                  <a:gd name="connsiteY678" fmla="*/ 716844 h 1864765"/>
                  <a:gd name="connsiteX679" fmla="*/ 970794 w 9847941"/>
                  <a:gd name="connsiteY679" fmla="*/ 718208 h 1864765"/>
                  <a:gd name="connsiteX680" fmla="*/ 970187 w 9847941"/>
                  <a:gd name="connsiteY680" fmla="*/ 718511 h 1864765"/>
                  <a:gd name="connsiteX681" fmla="*/ 969581 w 9847941"/>
                  <a:gd name="connsiteY681" fmla="*/ 718057 h 1864765"/>
                  <a:gd name="connsiteX682" fmla="*/ 967309 w 9847941"/>
                  <a:gd name="connsiteY682" fmla="*/ 713965 h 1864765"/>
                  <a:gd name="connsiteX683" fmla="*/ 966248 w 9847941"/>
                  <a:gd name="connsiteY683" fmla="*/ 712753 h 1864765"/>
                  <a:gd name="connsiteX684" fmla="*/ 965945 w 9847941"/>
                  <a:gd name="connsiteY684" fmla="*/ 709874 h 1864765"/>
                  <a:gd name="connsiteX685" fmla="*/ 963975 w 9847941"/>
                  <a:gd name="connsiteY685" fmla="*/ 707753 h 1864765"/>
                  <a:gd name="connsiteX686" fmla="*/ 963218 w 9847941"/>
                  <a:gd name="connsiteY686" fmla="*/ 705935 h 1864765"/>
                  <a:gd name="connsiteX687" fmla="*/ 957763 w 9847941"/>
                  <a:gd name="connsiteY687" fmla="*/ 701692 h 1864765"/>
                  <a:gd name="connsiteX688" fmla="*/ 954126 w 9847941"/>
                  <a:gd name="connsiteY688" fmla="*/ 702601 h 1864765"/>
                  <a:gd name="connsiteX689" fmla="*/ 953520 w 9847941"/>
                  <a:gd name="connsiteY689" fmla="*/ 704268 h 1864765"/>
                  <a:gd name="connsiteX690" fmla="*/ 954429 w 9847941"/>
                  <a:gd name="connsiteY690" fmla="*/ 706238 h 1864765"/>
                  <a:gd name="connsiteX691" fmla="*/ 957005 w 9847941"/>
                  <a:gd name="connsiteY691" fmla="*/ 707147 h 1864765"/>
                  <a:gd name="connsiteX692" fmla="*/ 958975 w 9847941"/>
                  <a:gd name="connsiteY692" fmla="*/ 707602 h 1864765"/>
                  <a:gd name="connsiteX693" fmla="*/ 960187 w 9847941"/>
                  <a:gd name="connsiteY693" fmla="*/ 711087 h 1864765"/>
                  <a:gd name="connsiteX694" fmla="*/ 962460 w 9847941"/>
                  <a:gd name="connsiteY694" fmla="*/ 715481 h 1864765"/>
                  <a:gd name="connsiteX695" fmla="*/ 963672 w 9847941"/>
                  <a:gd name="connsiteY695" fmla="*/ 716238 h 1864765"/>
                  <a:gd name="connsiteX696" fmla="*/ 963824 w 9847941"/>
                  <a:gd name="connsiteY696" fmla="*/ 717299 h 1864765"/>
                  <a:gd name="connsiteX697" fmla="*/ 965642 w 9847941"/>
                  <a:gd name="connsiteY697" fmla="*/ 719875 h 1864765"/>
                  <a:gd name="connsiteX698" fmla="*/ 968975 w 9847941"/>
                  <a:gd name="connsiteY698" fmla="*/ 723360 h 1864765"/>
                  <a:gd name="connsiteX699" fmla="*/ 971248 w 9847941"/>
                  <a:gd name="connsiteY699" fmla="*/ 725329 h 1864765"/>
                  <a:gd name="connsiteX700" fmla="*/ 973976 w 9847941"/>
                  <a:gd name="connsiteY700" fmla="*/ 726239 h 1864765"/>
                  <a:gd name="connsiteX701" fmla="*/ 974733 w 9847941"/>
                  <a:gd name="connsiteY701" fmla="*/ 724572 h 1864765"/>
                  <a:gd name="connsiteX702" fmla="*/ 975491 w 9847941"/>
                  <a:gd name="connsiteY702" fmla="*/ 723511 h 1864765"/>
                  <a:gd name="connsiteX703" fmla="*/ 975794 w 9847941"/>
                  <a:gd name="connsiteY703" fmla="*/ 720329 h 1864765"/>
                  <a:gd name="connsiteX704" fmla="*/ 976248 w 9847941"/>
                  <a:gd name="connsiteY704" fmla="*/ 718360 h 1864765"/>
                  <a:gd name="connsiteX705" fmla="*/ 975339 w 9847941"/>
                  <a:gd name="connsiteY705" fmla="*/ 717753 h 1864765"/>
                  <a:gd name="connsiteX706" fmla="*/ 973824 w 9847941"/>
                  <a:gd name="connsiteY706" fmla="*/ 717147 h 1864765"/>
                  <a:gd name="connsiteX707" fmla="*/ 953975 w 9847941"/>
                  <a:gd name="connsiteY707" fmla="*/ 697601 h 1864765"/>
                  <a:gd name="connsiteX708" fmla="*/ 957914 w 9847941"/>
                  <a:gd name="connsiteY708" fmla="*/ 695025 h 1864765"/>
                  <a:gd name="connsiteX709" fmla="*/ 957914 w 9847941"/>
                  <a:gd name="connsiteY709" fmla="*/ 694419 h 1864765"/>
                  <a:gd name="connsiteX710" fmla="*/ 957308 w 9847941"/>
                  <a:gd name="connsiteY710" fmla="*/ 693359 h 1864765"/>
                  <a:gd name="connsiteX711" fmla="*/ 956248 w 9847941"/>
                  <a:gd name="connsiteY711" fmla="*/ 692753 h 1864765"/>
                  <a:gd name="connsiteX712" fmla="*/ 953217 w 9847941"/>
                  <a:gd name="connsiteY712" fmla="*/ 694116 h 1864765"/>
                  <a:gd name="connsiteX713" fmla="*/ 950187 w 9847941"/>
                  <a:gd name="connsiteY713" fmla="*/ 693965 h 1864765"/>
                  <a:gd name="connsiteX714" fmla="*/ 948369 w 9847941"/>
                  <a:gd name="connsiteY714" fmla="*/ 693510 h 1864765"/>
                  <a:gd name="connsiteX715" fmla="*/ 945490 w 9847941"/>
                  <a:gd name="connsiteY715" fmla="*/ 695177 h 1864765"/>
                  <a:gd name="connsiteX716" fmla="*/ 948217 w 9847941"/>
                  <a:gd name="connsiteY716" fmla="*/ 698359 h 1864765"/>
                  <a:gd name="connsiteX717" fmla="*/ 947762 w 9847941"/>
                  <a:gd name="connsiteY717" fmla="*/ 703814 h 1864765"/>
                  <a:gd name="connsiteX718" fmla="*/ 950641 w 9847941"/>
                  <a:gd name="connsiteY718" fmla="*/ 701995 h 1864765"/>
                  <a:gd name="connsiteX719" fmla="*/ 952157 w 9847941"/>
                  <a:gd name="connsiteY719" fmla="*/ 700329 h 1864765"/>
                  <a:gd name="connsiteX720" fmla="*/ 952914 w 9847941"/>
                  <a:gd name="connsiteY720" fmla="*/ 699723 h 1864765"/>
                  <a:gd name="connsiteX721" fmla="*/ 953823 w 9847941"/>
                  <a:gd name="connsiteY721" fmla="*/ 698207 h 1864765"/>
                  <a:gd name="connsiteX722" fmla="*/ 953975 w 9847941"/>
                  <a:gd name="connsiteY722" fmla="*/ 697601 h 1864765"/>
                  <a:gd name="connsiteX723" fmla="*/ 1046099 w 9847941"/>
                  <a:gd name="connsiteY723" fmla="*/ 673358 h 1864765"/>
                  <a:gd name="connsiteX724" fmla="*/ 1044887 w 9847941"/>
                  <a:gd name="connsiteY724" fmla="*/ 671691 h 1864765"/>
                  <a:gd name="connsiteX725" fmla="*/ 1041705 w 9847941"/>
                  <a:gd name="connsiteY725" fmla="*/ 672752 h 1864765"/>
                  <a:gd name="connsiteX726" fmla="*/ 1036251 w 9847941"/>
                  <a:gd name="connsiteY726" fmla="*/ 671237 h 1864765"/>
                  <a:gd name="connsiteX727" fmla="*/ 1034432 w 9847941"/>
                  <a:gd name="connsiteY727" fmla="*/ 666994 h 1864765"/>
                  <a:gd name="connsiteX728" fmla="*/ 1029735 w 9847941"/>
                  <a:gd name="connsiteY728" fmla="*/ 665782 h 1864765"/>
                  <a:gd name="connsiteX729" fmla="*/ 1027159 w 9847941"/>
                  <a:gd name="connsiteY729" fmla="*/ 662751 h 1864765"/>
                  <a:gd name="connsiteX730" fmla="*/ 1022008 w 9847941"/>
                  <a:gd name="connsiteY730" fmla="*/ 661236 h 1864765"/>
                  <a:gd name="connsiteX731" fmla="*/ 1017765 w 9847941"/>
                  <a:gd name="connsiteY731" fmla="*/ 660176 h 1864765"/>
                  <a:gd name="connsiteX732" fmla="*/ 1014583 w 9847941"/>
                  <a:gd name="connsiteY732" fmla="*/ 658509 h 1864765"/>
                  <a:gd name="connsiteX733" fmla="*/ 1010795 w 9847941"/>
                  <a:gd name="connsiteY733" fmla="*/ 656539 h 1864765"/>
                  <a:gd name="connsiteX734" fmla="*/ 1007007 w 9847941"/>
                  <a:gd name="connsiteY734" fmla="*/ 654418 h 1864765"/>
                  <a:gd name="connsiteX735" fmla="*/ 1004128 w 9847941"/>
                  <a:gd name="connsiteY735" fmla="*/ 652751 h 1864765"/>
                  <a:gd name="connsiteX736" fmla="*/ 1002007 w 9847941"/>
                  <a:gd name="connsiteY736" fmla="*/ 652903 h 1864765"/>
                  <a:gd name="connsiteX737" fmla="*/ 997310 w 9847941"/>
                  <a:gd name="connsiteY737" fmla="*/ 653206 h 1864765"/>
                  <a:gd name="connsiteX738" fmla="*/ 997007 w 9847941"/>
                  <a:gd name="connsiteY738" fmla="*/ 649569 h 1864765"/>
                  <a:gd name="connsiteX739" fmla="*/ 995491 w 9847941"/>
                  <a:gd name="connsiteY739" fmla="*/ 647296 h 1864765"/>
                  <a:gd name="connsiteX740" fmla="*/ 996098 w 9847941"/>
                  <a:gd name="connsiteY740" fmla="*/ 645327 h 1864765"/>
                  <a:gd name="connsiteX741" fmla="*/ 993522 w 9847941"/>
                  <a:gd name="connsiteY741" fmla="*/ 644266 h 1864765"/>
                  <a:gd name="connsiteX742" fmla="*/ 989582 w 9847941"/>
                  <a:gd name="connsiteY742" fmla="*/ 642751 h 1864765"/>
                  <a:gd name="connsiteX743" fmla="*/ 990643 w 9847941"/>
                  <a:gd name="connsiteY743" fmla="*/ 638963 h 1864765"/>
                  <a:gd name="connsiteX744" fmla="*/ 991552 w 9847941"/>
                  <a:gd name="connsiteY744" fmla="*/ 636084 h 1864765"/>
                  <a:gd name="connsiteX745" fmla="*/ 988067 w 9847941"/>
                  <a:gd name="connsiteY745" fmla="*/ 635175 h 1864765"/>
                  <a:gd name="connsiteX746" fmla="*/ 983067 w 9847941"/>
                  <a:gd name="connsiteY746" fmla="*/ 633963 h 1864765"/>
                  <a:gd name="connsiteX747" fmla="*/ 984733 w 9847941"/>
                  <a:gd name="connsiteY747" fmla="*/ 631387 h 1864765"/>
                  <a:gd name="connsiteX748" fmla="*/ 986097 w 9847941"/>
                  <a:gd name="connsiteY748" fmla="*/ 629265 h 1864765"/>
                  <a:gd name="connsiteX749" fmla="*/ 984127 w 9847941"/>
                  <a:gd name="connsiteY749" fmla="*/ 626235 h 1864765"/>
                  <a:gd name="connsiteX750" fmla="*/ 980339 w 9847941"/>
                  <a:gd name="connsiteY750" fmla="*/ 621083 h 1864765"/>
                  <a:gd name="connsiteX751" fmla="*/ 977461 w 9847941"/>
                  <a:gd name="connsiteY751" fmla="*/ 617447 h 1864765"/>
                  <a:gd name="connsiteX752" fmla="*/ 973673 w 9847941"/>
                  <a:gd name="connsiteY752" fmla="*/ 611689 h 1864765"/>
                  <a:gd name="connsiteX753" fmla="*/ 970339 w 9847941"/>
                  <a:gd name="connsiteY753" fmla="*/ 606689 h 1864765"/>
                  <a:gd name="connsiteX754" fmla="*/ 967612 w 9847941"/>
                  <a:gd name="connsiteY754" fmla="*/ 602598 h 1864765"/>
                  <a:gd name="connsiteX755" fmla="*/ 965339 w 9847941"/>
                  <a:gd name="connsiteY755" fmla="*/ 599719 h 1864765"/>
                  <a:gd name="connsiteX756" fmla="*/ 962157 w 9847941"/>
                  <a:gd name="connsiteY756" fmla="*/ 594567 h 1864765"/>
                  <a:gd name="connsiteX757" fmla="*/ 957914 w 9847941"/>
                  <a:gd name="connsiteY757" fmla="*/ 588809 h 1864765"/>
                  <a:gd name="connsiteX758" fmla="*/ 953823 w 9847941"/>
                  <a:gd name="connsiteY758" fmla="*/ 584264 h 1864765"/>
                  <a:gd name="connsiteX759" fmla="*/ 954429 w 9847941"/>
                  <a:gd name="connsiteY759" fmla="*/ 581385 h 1864765"/>
                  <a:gd name="connsiteX760" fmla="*/ 950490 w 9847941"/>
                  <a:gd name="connsiteY760" fmla="*/ 577748 h 1864765"/>
                  <a:gd name="connsiteX761" fmla="*/ 947005 w 9847941"/>
                  <a:gd name="connsiteY761" fmla="*/ 573960 h 1864765"/>
                  <a:gd name="connsiteX762" fmla="*/ 942914 w 9847941"/>
                  <a:gd name="connsiteY762" fmla="*/ 569566 h 1864765"/>
                  <a:gd name="connsiteX763" fmla="*/ 938974 w 9847941"/>
                  <a:gd name="connsiteY763" fmla="*/ 567445 h 1864765"/>
                  <a:gd name="connsiteX764" fmla="*/ 936095 w 9847941"/>
                  <a:gd name="connsiteY764" fmla="*/ 565930 h 1864765"/>
                  <a:gd name="connsiteX765" fmla="*/ 932004 w 9847941"/>
                  <a:gd name="connsiteY765" fmla="*/ 563809 h 1864765"/>
                  <a:gd name="connsiteX766" fmla="*/ 929883 w 9847941"/>
                  <a:gd name="connsiteY766" fmla="*/ 561839 h 1864765"/>
                  <a:gd name="connsiteX767" fmla="*/ 928974 w 9847941"/>
                  <a:gd name="connsiteY767" fmla="*/ 560172 h 1864765"/>
                  <a:gd name="connsiteX768" fmla="*/ 928065 w 9847941"/>
                  <a:gd name="connsiteY768" fmla="*/ 558960 h 1864765"/>
                  <a:gd name="connsiteX769" fmla="*/ 927307 w 9847941"/>
                  <a:gd name="connsiteY769" fmla="*/ 557293 h 1864765"/>
                  <a:gd name="connsiteX770" fmla="*/ 926853 w 9847941"/>
                  <a:gd name="connsiteY770" fmla="*/ 555323 h 1864765"/>
                  <a:gd name="connsiteX771" fmla="*/ 925943 w 9847941"/>
                  <a:gd name="connsiteY771" fmla="*/ 554111 h 1864765"/>
                  <a:gd name="connsiteX772" fmla="*/ 920943 w 9847941"/>
                  <a:gd name="connsiteY772" fmla="*/ 551232 h 1864765"/>
                  <a:gd name="connsiteX773" fmla="*/ 919428 w 9847941"/>
                  <a:gd name="connsiteY773" fmla="*/ 549414 h 1864765"/>
                  <a:gd name="connsiteX774" fmla="*/ 915943 w 9847941"/>
                  <a:gd name="connsiteY774" fmla="*/ 547293 h 1864765"/>
                  <a:gd name="connsiteX775" fmla="*/ 913064 w 9847941"/>
                  <a:gd name="connsiteY775" fmla="*/ 546384 h 1864765"/>
                  <a:gd name="connsiteX776" fmla="*/ 912004 w 9847941"/>
                  <a:gd name="connsiteY776" fmla="*/ 545626 h 1864765"/>
                  <a:gd name="connsiteX777" fmla="*/ 908519 w 9847941"/>
                  <a:gd name="connsiteY777" fmla="*/ 539414 h 1864765"/>
                  <a:gd name="connsiteX778" fmla="*/ 909125 w 9847941"/>
                  <a:gd name="connsiteY778" fmla="*/ 537141 h 1864765"/>
                  <a:gd name="connsiteX779" fmla="*/ 909579 w 9847941"/>
                  <a:gd name="connsiteY779" fmla="*/ 534868 h 1864765"/>
                  <a:gd name="connsiteX780" fmla="*/ 909125 w 9847941"/>
                  <a:gd name="connsiteY780" fmla="*/ 533656 h 1864765"/>
                  <a:gd name="connsiteX781" fmla="*/ 903367 w 9847941"/>
                  <a:gd name="connsiteY781" fmla="*/ 528959 h 1864765"/>
                  <a:gd name="connsiteX782" fmla="*/ 900488 w 9847941"/>
                  <a:gd name="connsiteY782" fmla="*/ 526989 h 1864765"/>
                  <a:gd name="connsiteX783" fmla="*/ 897458 w 9847941"/>
                  <a:gd name="connsiteY783" fmla="*/ 525019 h 1864765"/>
                  <a:gd name="connsiteX784" fmla="*/ 891245 w 9847941"/>
                  <a:gd name="connsiteY784" fmla="*/ 527595 h 1864765"/>
                  <a:gd name="connsiteX785" fmla="*/ 884881 w 9847941"/>
                  <a:gd name="connsiteY785" fmla="*/ 530322 h 1864765"/>
                  <a:gd name="connsiteX786" fmla="*/ 880487 w 9847941"/>
                  <a:gd name="connsiteY786" fmla="*/ 531383 h 1864765"/>
                  <a:gd name="connsiteX787" fmla="*/ 874729 w 9847941"/>
                  <a:gd name="connsiteY787" fmla="*/ 533050 h 1864765"/>
                  <a:gd name="connsiteX788" fmla="*/ 876699 w 9847941"/>
                  <a:gd name="connsiteY788" fmla="*/ 536080 h 1864765"/>
                  <a:gd name="connsiteX789" fmla="*/ 875790 w 9847941"/>
                  <a:gd name="connsiteY789" fmla="*/ 538201 h 1864765"/>
                  <a:gd name="connsiteX790" fmla="*/ 873820 w 9847941"/>
                  <a:gd name="connsiteY790" fmla="*/ 539111 h 1864765"/>
                  <a:gd name="connsiteX791" fmla="*/ 870638 w 9847941"/>
                  <a:gd name="connsiteY791" fmla="*/ 538959 h 1864765"/>
                  <a:gd name="connsiteX792" fmla="*/ 870638 w 9847941"/>
                  <a:gd name="connsiteY792" fmla="*/ 546232 h 1864765"/>
                  <a:gd name="connsiteX793" fmla="*/ 867608 w 9847941"/>
                  <a:gd name="connsiteY793" fmla="*/ 551384 h 1864765"/>
                  <a:gd name="connsiteX794" fmla="*/ 861244 w 9847941"/>
                  <a:gd name="connsiteY794" fmla="*/ 551535 h 1864765"/>
                  <a:gd name="connsiteX795" fmla="*/ 857759 w 9847941"/>
                  <a:gd name="connsiteY795" fmla="*/ 553354 h 1864765"/>
                  <a:gd name="connsiteX796" fmla="*/ 852607 w 9847941"/>
                  <a:gd name="connsiteY796" fmla="*/ 555929 h 1864765"/>
                  <a:gd name="connsiteX797" fmla="*/ 848516 w 9847941"/>
                  <a:gd name="connsiteY797" fmla="*/ 558051 h 1864765"/>
                  <a:gd name="connsiteX798" fmla="*/ 844122 w 9847941"/>
                  <a:gd name="connsiteY798" fmla="*/ 561536 h 1864765"/>
                  <a:gd name="connsiteX799" fmla="*/ 841849 w 9847941"/>
                  <a:gd name="connsiteY799" fmla="*/ 561081 h 1864765"/>
                  <a:gd name="connsiteX800" fmla="*/ 842910 w 9847941"/>
                  <a:gd name="connsiteY800" fmla="*/ 558051 h 1864765"/>
                  <a:gd name="connsiteX801" fmla="*/ 841243 w 9847941"/>
                  <a:gd name="connsiteY801" fmla="*/ 552899 h 1864765"/>
                  <a:gd name="connsiteX802" fmla="*/ 839880 w 9847941"/>
                  <a:gd name="connsiteY802" fmla="*/ 548656 h 1864765"/>
                  <a:gd name="connsiteX803" fmla="*/ 837001 w 9847941"/>
                  <a:gd name="connsiteY803" fmla="*/ 546384 h 1864765"/>
                  <a:gd name="connsiteX804" fmla="*/ 832304 w 9847941"/>
                  <a:gd name="connsiteY804" fmla="*/ 542444 h 1864765"/>
                  <a:gd name="connsiteX805" fmla="*/ 828667 w 9847941"/>
                  <a:gd name="connsiteY805" fmla="*/ 539565 h 1864765"/>
                  <a:gd name="connsiteX806" fmla="*/ 823515 w 9847941"/>
                  <a:gd name="connsiteY806" fmla="*/ 535474 h 1864765"/>
                  <a:gd name="connsiteX807" fmla="*/ 819879 w 9847941"/>
                  <a:gd name="connsiteY807" fmla="*/ 532595 h 1864765"/>
                  <a:gd name="connsiteX808" fmla="*/ 816091 w 9847941"/>
                  <a:gd name="connsiteY808" fmla="*/ 529716 h 1864765"/>
                  <a:gd name="connsiteX809" fmla="*/ 811242 w 9847941"/>
                  <a:gd name="connsiteY809" fmla="*/ 525777 h 1864765"/>
                  <a:gd name="connsiteX810" fmla="*/ 809272 w 9847941"/>
                  <a:gd name="connsiteY810" fmla="*/ 520777 h 1864765"/>
                  <a:gd name="connsiteX811" fmla="*/ 804878 w 9847941"/>
                  <a:gd name="connsiteY811" fmla="*/ 518958 h 1864765"/>
                  <a:gd name="connsiteX812" fmla="*/ 800030 w 9847941"/>
                  <a:gd name="connsiteY812" fmla="*/ 516989 h 1864765"/>
                  <a:gd name="connsiteX813" fmla="*/ 796090 w 9847941"/>
                  <a:gd name="connsiteY813" fmla="*/ 513352 h 1864765"/>
                  <a:gd name="connsiteX814" fmla="*/ 797454 w 9847941"/>
                  <a:gd name="connsiteY814" fmla="*/ 509716 h 1864765"/>
                  <a:gd name="connsiteX815" fmla="*/ 798969 w 9847941"/>
                  <a:gd name="connsiteY815" fmla="*/ 505322 h 1864765"/>
                  <a:gd name="connsiteX816" fmla="*/ 798969 w 9847941"/>
                  <a:gd name="connsiteY816" fmla="*/ 502746 h 1864765"/>
                  <a:gd name="connsiteX817" fmla="*/ 794726 w 9847941"/>
                  <a:gd name="connsiteY817" fmla="*/ 502897 h 1864765"/>
                  <a:gd name="connsiteX818" fmla="*/ 788363 w 9847941"/>
                  <a:gd name="connsiteY818" fmla="*/ 503200 h 1864765"/>
                  <a:gd name="connsiteX819" fmla="*/ 782605 w 9847941"/>
                  <a:gd name="connsiteY819" fmla="*/ 503352 h 1864765"/>
                  <a:gd name="connsiteX820" fmla="*/ 778362 w 9847941"/>
                  <a:gd name="connsiteY820" fmla="*/ 506382 h 1864765"/>
                  <a:gd name="connsiteX821" fmla="*/ 774423 w 9847941"/>
                  <a:gd name="connsiteY821" fmla="*/ 509261 h 1864765"/>
                  <a:gd name="connsiteX822" fmla="*/ 768362 w 9847941"/>
                  <a:gd name="connsiteY822" fmla="*/ 506988 h 1864765"/>
                  <a:gd name="connsiteX823" fmla="*/ 761392 w 9847941"/>
                  <a:gd name="connsiteY823" fmla="*/ 504412 h 1864765"/>
                  <a:gd name="connsiteX824" fmla="*/ 759422 w 9847941"/>
                  <a:gd name="connsiteY824" fmla="*/ 507746 h 1864765"/>
                  <a:gd name="connsiteX825" fmla="*/ 752907 w 9847941"/>
                  <a:gd name="connsiteY825" fmla="*/ 506079 h 1864765"/>
                  <a:gd name="connsiteX826" fmla="*/ 746391 w 9847941"/>
                  <a:gd name="connsiteY826" fmla="*/ 504412 h 1864765"/>
                  <a:gd name="connsiteX827" fmla="*/ 746391 w 9847941"/>
                  <a:gd name="connsiteY827" fmla="*/ 492442 h 1864765"/>
                  <a:gd name="connsiteX828" fmla="*/ 746391 w 9847941"/>
                  <a:gd name="connsiteY828" fmla="*/ 480321 h 1864765"/>
                  <a:gd name="connsiteX829" fmla="*/ 746391 w 9847941"/>
                  <a:gd name="connsiteY829" fmla="*/ 468199 h 1864765"/>
                  <a:gd name="connsiteX830" fmla="*/ 746391 w 9847941"/>
                  <a:gd name="connsiteY830" fmla="*/ 455926 h 1864765"/>
                  <a:gd name="connsiteX831" fmla="*/ 746391 w 9847941"/>
                  <a:gd name="connsiteY831" fmla="*/ 443653 h 1864765"/>
                  <a:gd name="connsiteX832" fmla="*/ 746391 w 9847941"/>
                  <a:gd name="connsiteY832" fmla="*/ 431531 h 1864765"/>
                  <a:gd name="connsiteX833" fmla="*/ 746391 w 9847941"/>
                  <a:gd name="connsiteY833" fmla="*/ 419106 h 1864765"/>
                  <a:gd name="connsiteX834" fmla="*/ 746391 w 9847941"/>
                  <a:gd name="connsiteY834" fmla="*/ 406682 h 1864765"/>
                  <a:gd name="connsiteX835" fmla="*/ 746391 w 9847941"/>
                  <a:gd name="connsiteY835" fmla="*/ 394105 h 1864765"/>
                  <a:gd name="connsiteX836" fmla="*/ 746391 w 9847941"/>
                  <a:gd name="connsiteY836" fmla="*/ 381529 h 1864765"/>
                  <a:gd name="connsiteX837" fmla="*/ 746391 w 9847941"/>
                  <a:gd name="connsiteY837" fmla="*/ 368953 h 1864765"/>
                  <a:gd name="connsiteX838" fmla="*/ 746391 w 9847941"/>
                  <a:gd name="connsiteY838" fmla="*/ 356225 h 1864765"/>
                  <a:gd name="connsiteX839" fmla="*/ 746391 w 9847941"/>
                  <a:gd name="connsiteY839" fmla="*/ 343497 h 1864765"/>
                  <a:gd name="connsiteX840" fmla="*/ 746391 w 9847941"/>
                  <a:gd name="connsiteY840" fmla="*/ 330618 h 1864765"/>
                  <a:gd name="connsiteX841" fmla="*/ 746391 w 9847941"/>
                  <a:gd name="connsiteY841" fmla="*/ 317739 h 1864765"/>
                  <a:gd name="connsiteX842" fmla="*/ 746391 w 9847941"/>
                  <a:gd name="connsiteY842" fmla="*/ 304708 h 1864765"/>
                  <a:gd name="connsiteX843" fmla="*/ 746391 w 9847941"/>
                  <a:gd name="connsiteY843" fmla="*/ 291677 h 1864765"/>
                  <a:gd name="connsiteX844" fmla="*/ 746391 w 9847941"/>
                  <a:gd name="connsiteY844" fmla="*/ 278647 h 1864765"/>
                  <a:gd name="connsiteX845" fmla="*/ 746391 w 9847941"/>
                  <a:gd name="connsiteY845" fmla="*/ 265464 h 1864765"/>
                  <a:gd name="connsiteX846" fmla="*/ 746391 w 9847941"/>
                  <a:gd name="connsiteY846" fmla="*/ 252282 h 1864765"/>
                  <a:gd name="connsiteX847" fmla="*/ 746391 w 9847941"/>
                  <a:gd name="connsiteY847" fmla="*/ 238948 h 1864765"/>
                  <a:gd name="connsiteX848" fmla="*/ 746391 w 9847941"/>
                  <a:gd name="connsiteY848" fmla="*/ 225463 h 1864765"/>
                  <a:gd name="connsiteX849" fmla="*/ 746391 w 9847941"/>
                  <a:gd name="connsiteY849" fmla="*/ 211977 h 1864765"/>
                  <a:gd name="connsiteX850" fmla="*/ 746391 w 9847941"/>
                  <a:gd name="connsiteY850" fmla="*/ 198492 h 1864765"/>
                  <a:gd name="connsiteX851" fmla="*/ 746391 w 9847941"/>
                  <a:gd name="connsiteY851" fmla="*/ 184855 h 1864765"/>
                  <a:gd name="connsiteX852" fmla="*/ 746391 w 9847941"/>
                  <a:gd name="connsiteY852" fmla="*/ 171218 h 1864765"/>
                  <a:gd name="connsiteX853" fmla="*/ 746391 w 9847941"/>
                  <a:gd name="connsiteY853" fmla="*/ 157430 h 1864765"/>
                  <a:gd name="connsiteX854" fmla="*/ 746391 w 9847941"/>
                  <a:gd name="connsiteY854" fmla="*/ 143642 h 1864765"/>
                  <a:gd name="connsiteX855" fmla="*/ 746391 w 9847941"/>
                  <a:gd name="connsiteY855" fmla="*/ 129702 h 1864765"/>
                  <a:gd name="connsiteX856" fmla="*/ 746391 w 9847941"/>
                  <a:gd name="connsiteY856" fmla="*/ 115610 h 1864765"/>
                  <a:gd name="connsiteX857" fmla="*/ 746391 w 9847941"/>
                  <a:gd name="connsiteY857" fmla="*/ 101519 h 1864765"/>
                  <a:gd name="connsiteX858" fmla="*/ 746391 w 9847941"/>
                  <a:gd name="connsiteY858" fmla="*/ 87276 h 1864765"/>
                  <a:gd name="connsiteX859" fmla="*/ 744270 w 9847941"/>
                  <a:gd name="connsiteY859" fmla="*/ 86821 h 1864765"/>
                  <a:gd name="connsiteX860" fmla="*/ 738512 w 9847941"/>
                  <a:gd name="connsiteY860" fmla="*/ 86518 h 1864765"/>
                  <a:gd name="connsiteX861" fmla="*/ 737149 w 9847941"/>
                  <a:gd name="connsiteY861" fmla="*/ 87427 h 1864765"/>
                  <a:gd name="connsiteX862" fmla="*/ 735179 w 9847941"/>
                  <a:gd name="connsiteY862" fmla="*/ 87124 h 1864765"/>
                  <a:gd name="connsiteX863" fmla="*/ 731997 w 9847941"/>
                  <a:gd name="connsiteY863" fmla="*/ 84094 h 1864765"/>
                  <a:gd name="connsiteX864" fmla="*/ 727603 w 9847941"/>
                  <a:gd name="connsiteY864" fmla="*/ 81518 h 1864765"/>
                  <a:gd name="connsiteX865" fmla="*/ 711238 w 9847941"/>
                  <a:gd name="connsiteY865" fmla="*/ 76669 h 1864765"/>
                  <a:gd name="connsiteX866" fmla="*/ 707754 w 9847941"/>
                  <a:gd name="connsiteY866" fmla="*/ 73336 h 1864765"/>
                  <a:gd name="connsiteX867" fmla="*/ 699874 w 9847941"/>
                  <a:gd name="connsiteY867" fmla="*/ 68639 h 1864765"/>
                  <a:gd name="connsiteX868" fmla="*/ 685935 w 9847941"/>
                  <a:gd name="connsiteY868" fmla="*/ 64548 h 1864765"/>
                  <a:gd name="connsiteX869" fmla="*/ 684419 w 9847941"/>
                  <a:gd name="connsiteY869" fmla="*/ 65608 h 1864765"/>
                  <a:gd name="connsiteX870" fmla="*/ 682147 w 9847941"/>
                  <a:gd name="connsiteY870" fmla="*/ 65912 h 1864765"/>
                  <a:gd name="connsiteX871" fmla="*/ 676389 w 9847941"/>
                  <a:gd name="connsiteY871" fmla="*/ 65305 h 1864765"/>
                  <a:gd name="connsiteX872" fmla="*/ 671389 w 9847941"/>
                  <a:gd name="connsiteY872" fmla="*/ 65305 h 1864765"/>
                  <a:gd name="connsiteX873" fmla="*/ 662752 w 9847941"/>
                  <a:gd name="connsiteY873" fmla="*/ 67730 h 1864765"/>
                  <a:gd name="connsiteX874" fmla="*/ 653055 w 9847941"/>
                  <a:gd name="connsiteY874" fmla="*/ 68487 h 1864765"/>
                  <a:gd name="connsiteX875" fmla="*/ 647448 w 9847941"/>
                  <a:gd name="connsiteY875" fmla="*/ 71215 h 1864765"/>
                  <a:gd name="connsiteX876" fmla="*/ 631690 w 9847941"/>
                  <a:gd name="connsiteY876" fmla="*/ 69851 h 1864765"/>
                  <a:gd name="connsiteX877" fmla="*/ 630629 w 9847941"/>
                  <a:gd name="connsiteY877" fmla="*/ 68639 h 1864765"/>
                  <a:gd name="connsiteX878" fmla="*/ 625023 w 9847941"/>
                  <a:gd name="connsiteY878" fmla="*/ 67730 h 1864765"/>
                  <a:gd name="connsiteX879" fmla="*/ 614568 w 9847941"/>
                  <a:gd name="connsiteY879" fmla="*/ 62427 h 1864765"/>
                  <a:gd name="connsiteX880" fmla="*/ 608204 w 9847941"/>
                  <a:gd name="connsiteY880" fmla="*/ 62578 h 1864765"/>
                  <a:gd name="connsiteX881" fmla="*/ 602144 w 9847941"/>
                  <a:gd name="connsiteY881" fmla="*/ 61063 h 1864765"/>
                  <a:gd name="connsiteX882" fmla="*/ 589416 w 9847941"/>
                  <a:gd name="connsiteY882" fmla="*/ 60760 h 1864765"/>
                  <a:gd name="connsiteX883" fmla="*/ 580779 w 9847941"/>
                  <a:gd name="connsiteY883" fmla="*/ 61820 h 1864765"/>
                  <a:gd name="connsiteX884" fmla="*/ 563203 w 9847941"/>
                  <a:gd name="connsiteY884" fmla="*/ 59548 h 1864765"/>
                  <a:gd name="connsiteX885" fmla="*/ 560930 w 9847941"/>
                  <a:gd name="connsiteY885" fmla="*/ 58487 h 1864765"/>
                  <a:gd name="connsiteX886" fmla="*/ 558809 w 9847941"/>
                  <a:gd name="connsiteY886" fmla="*/ 55305 h 1864765"/>
                  <a:gd name="connsiteX887" fmla="*/ 554111 w 9847941"/>
                  <a:gd name="connsiteY887" fmla="*/ 54699 h 1864765"/>
                  <a:gd name="connsiteX888" fmla="*/ 551233 w 9847941"/>
                  <a:gd name="connsiteY888" fmla="*/ 52729 h 1864765"/>
                  <a:gd name="connsiteX889" fmla="*/ 548354 w 9847941"/>
                  <a:gd name="connsiteY889" fmla="*/ 52729 h 1864765"/>
                  <a:gd name="connsiteX890" fmla="*/ 545020 w 9847941"/>
                  <a:gd name="connsiteY890" fmla="*/ 54851 h 1864765"/>
                  <a:gd name="connsiteX891" fmla="*/ 541990 w 9847941"/>
                  <a:gd name="connsiteY891" fmla="*/ 54699 h 1864765"/>
                  <a:gd name="connsiteX892" fmla="*/ 536232 w 9847941"/>
                  <a:gd name="connsiteY892" fmla="*/ 49850 h 1864765"/>
                  <a:gd name="connsiteX893" fmla="*/ 531989 w 9847941"/>
                  <a:gd name="connsiteY893" fmla="*/ 49396 h 1864765"/>
                  <a:gd name="connsiteX894" fmla="*/ 520322 w 9847941"/>
                  <a:gd name="connsiteY894" fmla="*/ 45608 h 1864765"/>
                  <a:gd name="connsiteX895" fmla="*/ 516534 w 9847941"/>
                  <a:gd name="connsiteY895" fmla="*/ 46062 h 1864765"/>
                  <a:gd name="connsiteX896" fmla="*/ 512898 w 9847941"/>
                  <a:gd name="connsiteY896" fmla="*/ 45002 h 1864765"/>
                  <a:gd name="connsiteX897" fmla="*/ 503958 w 9847941"/>
                  <a:gd name="connsiteY897" fmla="*/ 45153 h 1864765"/>
                  <a:gd name="connsiteX898" fmla="*/ 496231 w 9847941"/>
                  <a:gd name="connsiteY898" fmla="*/ 48487 h 1864765"/>
                  <a:gd name="connsiteX899" fmla="*/ 492897 w 9847941"/>
                  <a:gd name="connsiteY899" fmla="*/ 48941 h 1864765"/>
                  <a:gd name="connsiteX900" fmla="*/ 489412 w 9847941"/>
                  <a:gd name="connsiteY900" fmla="*/ 48487 h 1864765"/>
                  <a:gd name="connsiteX901" fmla="*/ 485624 w 9847941"/>
                  <a:gd name="connsiteY901" fmla="*/ 46214 h 1864765"/>
                  <a:gd name="connsiteX902" fmla="*/ 482291 w 9847941"/>
                  <a:gd name="connsiteY902" fmla="*/ 45153 h 1864765"/>
                  <a:gd name="connsiteX903" fmla="*/ 473654 w 9847941"/>
                  <a:gd name="connsiteY903" fmla="*/ 47426 h 1864765"/>
                  <a:gd name="connsiteX904" fmla="*/ 469563 w 9847941"/>
                  <a:gd name="connsiteY904" fmla="*/ 48032 h 1864765"/>
                  <a:gd name="connsiteX905" fmla="*/ 466987 w 9847941"/>
                  <a:gd name="connsiteY905" fmla="*/ 49699 h 1864765"/>
                  <a:gd name="connsiteX906" fmla="*/ 447289 w 9847941"/>
                  <a:gd name="connsiteY906" fmla="*/ 48032 h 1864765"/>
                  <a:gd name="connsiteX907" fmla="*/ 450774 w 9847941"/>
                  <a:gd name="connsiteY907" fmla="*/ 45153 h 1864765"/>
                  <a:gd name="connsiteX908" fmla="*/ 451380 w 9847941"/>
                  <a:gd name="connsiteY908" fmla="*/ 43789 h 1864765"/>
                  <a:gd name="connsiteX909" fmla="*/ 452290 w 9847941"/>
                  <a:gd name="connsiteY909" fmla="*/ 42729 h 1864765"/>
                  <a:gd name="connsiteX910" fmla="*/ 441229 w 9847941"/>
                  <a:gd name="connsiteY910" fmla="*/ 42880 h 1864765"/>
                  <a:gd name="connsiteX911" fmla="*/ 438956 w 9847941"/>
                  <a:gd name="connsiteY911" fmla="*/ 42274 h 1864765"/>
                  <a:gd name="connsiteX912" fmla="*/ 438350 w 9847941"/>
                  <a:gd name="connsiteY912" fmla="*/ 39850 h 1864765"/>
                  <a:gd name="connsiteX913" fmla="*/ 434865 w 9847941"/>
                  <a:gd name="connsiteY913" fmla="*/ 39547 h 1864765"/>
                  <a:gd name="connsiteX914" fmla="*/ 432895 w 9847941"/>
                  <a:gd name="connsiteY914" fmla="*/ 37880 h 1864765"/>
                  <a:gd name="connsiteX915" fmla="*/ 433804 w 9847941"/>
                  <a:gd name="connsiteY915" fmla="*/ 33941 h 1864765"/>
                  <a:gd name="connsiteX916" fmla="*/ 439410 w 9847941"/>
                  <a:gd name="connsiteY916" fmla="*/ 30153 h 1864765"/>
                  <a:gd name="connsiteX917" fmla="*/ 437592 w 9847941"/>
                  <a:gd name="connsiteY917" fmla="*/ 28334 h 1864765"/>
                  <a:gd name="connsiteX918" fmla="*/ 432440 w 9847941"/>
                  <a:gd name="connsiteY918" fmla="*/ 26668 h 1864765"/>
                  <a:gd name="connsiteX919" fmla="*/ 427592 w 9847941"/>
                  <a:gd name="connsiteY919" fmla="*/ 26213 h 1864765"/>
                  <a:gd name="connsiteX920" fmla="*/ 424410 w 9847941"/>
                  <a:gd name="connsiteY920" fmla="*/ 26971 h 1864765"/>
                  <a:gd name="connsiteX921" fmla="*/ 412137 w 9847941"/>
                  <a:gd name="connsiteY921" fmla="*/ 24092 h 1864765"/>
                  <a:gd name="connsiteX922" fmla="*/ 404864 w 9847941"/>
                  <a:gd name="connsiteY922" fmla="*/ 26213 h 1864765"/>
                  <a:gd name="connsiteX923" fmla="*/ 399257 w 9847941"/>
                  <a:gd name="connsiteY923" fmla="*/ 26062 h 1864765"/>
                  <a:gd name="connsiteX924" fmla="*/ 393348 w 9847941"/>
                  <a:gd name="connsiteY924" fmla="*/ 26819 h 1864765"/>
                  <a:gd name="connsiteX925" fmla="*/ 385772 w 9847941"/>
                  <a:gd name="connsiteY925" fmla="*/ 30607 h 1864765"/>
                  <a:gd name="connsiteX926" fmla="*/ 380317 w 9847941"/>
                  <a:gd name="connsiteY926" fmla="*/ 28789 h 1864765"/>
                  <a:gd name="connsiteX927" fmla="*/ 374711 w 9847941"/>
                  <a:gd name="connsiteY927" fmla="*/ 28334 h 1864765"/>
                  <a:gd name="connsiteX928" fmla="*/ 369559 w 9847941"/>
                  <a:gd name="connsiteY928" fmla="*/ 26062 h 1864765"/>
                  <a:gd name="connsiteX929" fmla="*/ 371226 w 9847941"/>
                  <a:gd name="connsiteY929" fmla="*/ 24395 h 1864765"/>
                  <a:gd name="connsiteX930" fmla="*/ 372741 w 9847941"/>
                  <a:gd name="connsiteY930" fmla="*/ 21364 h 1864765"/>
                  <a:gd name="connsiteX931" fmla="*/ 368802 w 9847941"/>
                  <a:gd name="connsiteY931" fmla="*/ 18334 h 1864765"/>
                  <a:gd name="connsiteX932" fmla="*/ 365317 w 9847941"/>
                  <a:gd name="connsiteY932" fmla="*/ 16667 h 1864765"/>
                  <a:gd name="connsiteX933" fmla="*/ 359256 w 9847941"/>
                  <a:gd name="connsiteY933" fmla="*/ 15910 h 1864765"/>
                  <a:gd name="connsiteX934" fmla="*/ 357589 w 9847941"/>
                  <a:gd name="connsiteY934" fmla="*/ 16819 h 1864765"/>
                  <a:gd name="connsiteX935" fmla="*/ 355316 w 9847941"/>
                  <a:gd name="connsiteY935" fmla="*/ 20152 h 1864765"/>
                  <a:gd name="connsiteX936" fmla="*/ 348043 w 9847941"/>
                  <a:gd name="connsiteY936" fmla="*/ 26213 h 1864765"/>
                  <a:gd name="connsiteX937" fmla="*/ 344558 w 9847941"/>
                  <a:gd name="connsiteY937" fmla="*/ 28031 h 1864765"/>
                  <a:gd name="connsiteX938" fmla="*/ 340013 w 9847941"/>
                  <a:gd name="connsiteY938" fmla="*/ 29092 h 1864765"/>
                  <a:gd name="connsiteX939" fmla="*/ 337285 w 9847941"/>
                  <a:gd name="connsiteY939" fmla="*/ 28789 h 1864765"/>
                  <a:gd name="connsiteX940" fmla="*/ 335467 w 9847941"/>
                  <a:gd name="connsiteY940" fmla="*/ 25759 h 1864765"/>
                  <a:gd name="connsiteX941" fmla="*/ 332285 w 9847941"/>
                  <a:gd name="connsiteY941" fmla="*/ 24243 h 1864765"/>
                  <a:gd name="connsiteX942" fmla="*/ 341679 w 9847941"/>
                  <a:gd name="connsiteY942" fmla="*/ 20910 h 1864765"/>
                  <a:gd name="connsiteX943" fmla="*/ 346376 w 9847941"/>
                  <a:gd name="connsiteY943" fmla="*/ 17576 h 1864765"/>
                  <a:gd name="connsiteX944" fmla="*/ 347892 w 9847941"/>
                  <a:gd name="connsiteY944" fmla="*/ 14546 h 1864765"/>
                  <a:gd name="connsiteX945" fmla="*/ 346073 w 9847941"/>
                  <a:gd name="connsiteY945" fmla="*/ 11516 h 1864765"/>
                  <a:gd name="connsiteX946" fmla="*/ 341528 w 9847941"/>
                  <a:gd name="connsiteY946" fmla="*/ 11213 h 1864765"/>
                  <a:gd name="connsiteX947" fmla="*/ 323497 w 9847941"/>
                  <a:gd name="connsiteY947" fmla="*/ 6061 h 1864765"/>
                  <a:gd name="connsiteX948" fmla="*/ 320769 w 9847941"/>
                  <a:gd name="connsiteY948" fmla="*/ 3485 h 1864765"/>
                  <a:gd name="connsiteX949" fmla="*/ 322739 w 9847941"/>
                  <a:gd name="connsiteY949" fmla="*/ 1515 h 1864765"/>
                  <a:gd name="connsiteX950" fmla="*/ 325467 w 9847941"/>
                  <a:gd name="connsiteY950" fmla="*/ 606 h 1864765"/>
                  <a:gd name="connsiteX951" fmla="*/ 323345 w 9847941"/>
                  <a:gd name="connsiteY951" fmla="*/ 0 h 1864765"/>
                  <a:gd name="connsiteX952" fmla="*/ 314709 w 9847941"/>
                  <a:gd name="connsiteY952" fmla="*/ 4546 h 1864765"/>
                  <a:gd name="connsiteX953" fmla="*/ 309557 w 9847941"/>
                  <a:gd name="connsiteY953" fmla="*/ 9091 h 1864765"/>
                  <a:gd name="connsiteX954" fmla="*/ 303496 w 9847941"/>
                  <a:gd name="connsiteY954" fmla="*/ 15910 h 1864765"/>
                  <a:gd name="connsiteX955" fmla="*/ 300011 w 9847941"/>
                  <a:gd name="connsiteY955" fmla="*/ 18637 h 1864765"/>
                  <a:gd name="connsiteX956" fmla="*/ 292284 w 9847941"/>
                  <a:gd name="connsiteY956" fmla="*/ 23637 h 1864765"/>
                  <a:gd name="connsiteX957" fmla="*/ 283950 w 9847941"/>
                  <a:gd name="connsiteY957" fmla="*/ 27728 h 1864765"/>
                  <a:gd name="connsiteX958" fmla="*/ 281526 w 9847941"/>
                  <a:gd name="connsiteY958" fmla="*/ 28486 h 1864765"/>
                  <a:gd name="connsiteX959" fmla="*/ 268192 w 9847941"/>
                  <a:gd name="connsiteY959" fmla="*/ 28637 h 1864765"/>
                  <a:gd name="connsiteX960" fmla="*/ 267434 w 9847941"/>
                  <a:gd name="connsiteY960" fmla="*/ 29698 h 1864765"/>
                  <a:gd name="connsiteX961" fmla="*/ 264404 w 9847941"/>
                  <a:gd name="connsiteY961" fmla="*/ 30759 h 1864765"/>
                  <a:gd name="connsiteX962" fmla="*/ 254100 w 9847941"/>
                  <a:gd name="connsiteY962" fmla="*/ 30607 h 1864765"/>
                  <a:gd name="connsiteX963" fmla="*/ 251979 w 9847941"/>
                  <a:gd name="connsiteY963" fmla="*/ 32122 h 1864765"/>
                  <a:gd name="connsiteX964" fmla="*/ 247130 w 9847941"/>
                  <a:gd name="connsiteY964" fmla="*/ 33335 h 1864765"/>
                  <a:gd name="connsiteX965" fmla="*/ 245615 w 9847941"/>
                  <a:gd name="connsiteY965" fmla="*/ 33183 h 1864765"/>
                  <a:gd name="connsiteX966" fmla="*/ 244706 w 9847941"/>
                  <a:gd name="connsiteY966" fmla="*/ 31819 h 1864765"/>
                  <a:gd name="connsiteX967" fmla="*/ 246827 w 9847941"/>
                  <a:gd name="connsiteY967" fmla="*/ 30153 h 1864765"/>
                  <a:gd name="connsiteX968" fmla="*/ 248949 w 9847941"/>
                  <a:gd name="connsiteY968" fmla="*/ 29243 h 1864765"/>
                  <a:gd name="connsiteX969" fmla="*/ 248646 w 9847941"/>
                  <a:gd name="connsiteY969" fmla="*/ 27880 h 1864765"/>
                  <a:gd name="connsiteX970" fmla="*/ 247585 w 9847941"/>
                  <a:gd name="connsiteY970" fmla="*/ 26971 h 1864765"/>
                  <a:gd name="connsiteX971" fmla="*/ 245312 w 9847941"/>
                  <a:gd name="connsiteY971" fmla="*/ 26819 h 1864765"/>
                  <a:gd name="connsiteX972" fmla="*/ 235312 w 9847941"/>
                  <a:gd name="connsiteY972" fmla="*/ 31365 h 1864765"/>
                  <a:gd name="connsiteX973" fmla="*/ 224402 w 9847941"/>
                  <a:gd name="connsiteY973" fmla="*/ 38941 h 1864765"/>
                  <a:gd name="connsiteX974" fmla="*/ 227736 w 9847941"/>
                  <a:gd name="connsiteY974" fmla="*/ 38941 h 1864765"/>
                  <a:gd name="connsiteX975" fmla="*/ 233645 w 9847941"/>
                  <a:gd name="connsiteY975" fmla="*/ 44093 h 1864765"/>
                  <a:gd name="connsiteX976" fmla="*/ 243494 w 9847941"/>
                  <a:gd name="connsiteY976" fmla="*/ 44396 h 1864765"/>
                  <a:gd name="connsiteX977" fmla="*/ 235312 w 9847941"/>
                  <a:gd name="connsiteY977" fmla="*/ 46668 h 1864765"/>
                  <a:gd name="connsiteX978" fmla="*/ 231675 w 9847941"/>
                  <a:gd name="connsiteY978" fmla="*/ 45608 h 1864765"/>
                  <a:gd name="connsiteX979" fmla="*/ 230918 w 9847941"/>
                  <a:gd name="connsiteY979" fmla="*/ 47729 h 1864765"/>
                  <a:gd name="connsiteX980" fmla="*/ 230463 w 9847941"/>
                  <a:gd name="connsiteY980" fmla="*/ 50911 h 1864765"/>
                  <a:gd name="connsiteX981" fmla="*/ 230463 w 9847941"/>
                  <a:gd name="connsiteY981" fmla="*/ 54093 h 1864765"/>
                  <a:gd name="connsiteX982" fmla="*/ 230160 w 9847941"/>
                  <a:gd name="connsiteY982" fmla="*/ 56366 h 1864765"/>
                  <a:gd name="connsiteX983" fmla="*/ 228948 w 9847941"/>
                  <a:gd name="connsiteY983" fmla="*/ 53790 h 1864765"/>
                  <a:gd name="connsiteX984" fmla="*/ 223796 w 9847941"/>
                  <a:gd name="connsiteY984" fmla="*/ 53638 h 1864765"/>
                  <a:gd name="connsiteX985" fmla="*/ 226221 w 9847941"/>
                  <a:gd name="connsiteY985" fmla="*/ 48032 h 1864765"/>
                  <a:gd name="connsiteX986" fmla="*/ 223493 w 9847941"/>
                  <a:gd name="connsiteY986" fmla="*/ 46820 h 1864765"/>
                  <a:gd name="connsiteX987" fmla="*/ 227433 w 9847941"/>
                  <a:gd name="connsiteY987" fmla="*/ 42123 h 1864765"/>
                  <a:gd name="connsiteX988" fmla="*/ 225160 w 9847941"/>
                  <a:gd name="connsiteY988" fmla="*/ 41214 h 1864765"/>
                  <a:gd name="connsiteX989" fmla="*/ 223190 w 9847941"/>
                  <a:gd name="connsiteY989" fmla="*/ 40911 h 1864765"/>
                  <a:gd name="connsiteX990" fmla="*/ 209553 w 9847941"/>
                  <a:gd name="connsiteY990" fmla="*/ 48184 h 1864765"/>
                  <a:gd name="connsiteX991" fmla="*/ 209250 w 9847941"/>
                  <a:gd name="connsiteY991" fmla="*/ 49396 h 1864765"/>
                  <a:gd name="connsiteX992" fmla="*/ 199704 w 9847941"/>
                  <a:gd name="connsiteY992" fmla="*/ 55154 h 1864765"/>
                  <a:gd name="connsiteX993" fmla="*/ 182128 w 9847941"/>
                  <a:gd name="connsiteY993" fmla="*/ 58639 h 1864765"/>
                  <a:gd name="connsiteX994" fmla="*/ 178643 w 9847941"/>
                  <a:gd name="connsiteY994" fmla="*/ 60457 h 1864765"/>
                  <a:gd name="connsiteX995" fmla="*/ 172431 w 9847941"/>
                  <a:gd name="connsiteY995" fmla="*/ 61972 h 1864765"/>
                  <a:gd name="connsiteX996" fmla="*/ 170309 w 9847941"/>
                  <a:gd name="connsiteY996" fmla="*/ 62124 h 1864765"/>
                  <a:gd name="connsiteX997" fmla="*/ 171218 w 9847941"/>
                  <a:gd name="connsiteY997" fmla="*/ 61366 h 1864765"/>
                  <a:gd name="connsiteX998" fmla="*/ 174855 w 9847941"/>
                  <a:gd name="connsiteY998" fmla="*/ 60002 h 1864765"/>
                  <a:gd name="connsiteX999" fmla="*/ 177431 w 9847941"/>
                  <a:gd name="connsiteY999" fmla="*/ 57881 h 1864765"/>
                  <a:gd name="connsiteX1000" fmla="*/ 178946 w 9847941"/>
                  <a:gd name="connsiteY1000" fmla="*/ 57426 h 1864765"/>
                  <a:gd name="connsiteX1001" fmla="*/ 178491 w 9847941"/>
                  <a:gd name="connsiteY1001" fmla="*/ 56517 h 1864765"/>
                  <a:gd name="connsiteX1002" fmla="*/ 177582 w 9847941"/>
                  <a:gd name="connsiteY1002" fmla="*/ 55911 h 1864765"/>
                  <a:gd name="connsiteX1003" fmla="*/ 175764 w 9847941"/>
                  <a:gd name="connsiteY1003" fmla="*/ 53790 h 1864765"/>
                  <a:gd name="connsiteX1004" fmla="*/ 173037 w 9847941"/>
                  <a:gd name="connsiteY1004" fmla="*/ 55911 h 1864765"/>
                  <a:gd name="connsiteX1005" fmla="*/ 170461 w 9847941"/>
                  <a:gd name="connsiteY1005" fmla="*/ 58942 h 1864765"/>
                  <a:gd name="connsiteX1006" fmla="*/ 162885 w 9847941"/>
                  <a:gd name="connsiteY1006" fmla="*/ 65457 h 1864765"/>
                  <a:gd name="connsiteX1007" fmla="*/ 146369 w 9847941"/>
                  <a:gd name="connsiteY1007" fmla="*/ 81973 h 1864765"/>
                  <a:gd name="connsiteX1008" fmla="*/ 142430 w 9847941"/>
                  <a:gd name="connsiteY1008" fmla="*/ 89094 h 1864765"/>
                  <a:gd name="connsiteX1009" fmla="*/ 141369 w 9847941"/>
                  <a:gd name="connsiteY1009" fmla="*/ 96670 h 1864765"/>
                  <a:gd name="connsiteX1010" fmla="*/ 140460 w 9847941"/>
                  <a:gd name="connsiteY1010" fmla="*/ 99852 h 1864765"/>
                  <a:gd name="connsiteX1011" fmla="*/ 139702 w 9847941"/>
                  <a:gd name="connsiteY1011" fmla="*/ 100155 h 1864765"/>
                  <a:gd name="connsiteX1012" fmla="*/ 139248 w 9847941"/>
                  <a:gd name="connsiteY1012" fmla="*/ 99549 h 1864765"/>
                  <a:gd name="connsiteX1013" fmla="*/ 138035 w 9847941"/>
                  <a:gd name="connsiteY1013" fmla="*/ 101822 h 1864765"/>
                  <a:gd name="connsiteX1014" fmla="*/ 130308 w 9847941"/>
                  <a:gd name="connsiteY1014" fmla="*/ 110307 h 1864765"/>
                  <a:gd name="connsiteX1015" fmla="*/ 121217 w 9847941"/>
                  <a:gd name="connsiteY1015" fmla="*/ 116671 h 1864765"/>
                  <a:gd name="connsiteX1016" fmla="*/ 113489 w 9847941"/>
                  <a:gd name="connsiteY1016" fmla="*/ 120307 h 1864765"/>
                  <a:gd name="connsiteX1017" fmla="*/ 109398 w 9847941"/>
                  <a:gd name="connsiteY1017" fmla="*/ 121520 h 1864765"/>
                  <a:gd name="connsiteX1018" fmla="*/ 93337 w 9847941"/>
                  <a:gd name="connsiteY1018" fmla="*/ 123186 h 1864765"/>
                  <a:gd name="connsiteX1019" fmla="*/ 89094 w 9847941"/>
                  <a:gd name="connsiteY1019" fmla="*/ 124095 h 1864765"/>
                  <a:gd name="connsiteX1020" fmla="*/ 76366 w 9847941"/>
                  <a:gd name="connsiteY1020" fmla="*/ 124853 h 1864765"/>
                  <a:gd name="connsiteX1021" fmla="*/ 57275 w 9847941"/>
                  <a:gd name="connsiteY1021" fmla="*/ 123944 h 1864765"/>
                  <a:gd name="connsiteX1022" fmla="*/ 58032 w 9847941"/>
                  <a:gd name="connsiteY1022" fmla="*/ 128187 h 1864765"/>
                  <a:gd name="connsiteX1023" fmla="*/ 55002 w 9847941"/>
                  <a:gd name="connsiteY1023" fmla="*/ 139248 h 1864765"/>
                  <a:gd name="connsiteX1024" fmla="*/ 52275 w 9847941"/>
                  <a:gd name="connsiteY1024" fmla="*/ 146369 h 1864765"/>
                  <a:gd name="connsiteX1025" fmla="*/ 50456 w 9847941"/>
                  <a:gd name="connsiteY1025" fmla="*/ 147884 h 1864765"/>
                  <a:gd name="connsiteX1026" fmla="*/ 47123 w 9847941"/>
                  <a:gd name="connsiteY1026" fmla="*/ 149248 h 1864765"/>
                  <a:gd name="connsiteX1027" fmla="*/ 45002 w 9847941"/>
                  <a:gd name="connsiteY1027" fmla="*/ 148642 h 1864765"/>
                  <a:gd name="connsiteX1028" fmla="*/ 47729 w 9847941"/>
                  <a:gd name="connsiteY1028" fmla="*/ 146217 h 1864765"/>
                  <a:gd name="connsiteX1029" fmla="*/ 45002 w 9847941"/>
                  <a:gd name="connsiteY1029" fmla="*/ 146975 h 1864765"/>
                  <a:gd name="connsiteX1030" fmla="*/ 41062 w 9847941"/>
                  <a:gd name="connsiteY1030" fmla="*/ 149248 h 1864765"/>
                  <a:gd name="connsiteX1031" fmla="*/ 46820 w 9847941"/>
                  <a:gd name="connsiteY1031" fmla="*/ 151066 h 1864765"/>
                  <a:gd name="connsiteX1032" fmla="*/ 51366 w 9847941"/>
                  <a:gd name="connsiteY1032" fmla="*/ 151672 h 1864765"/>
                  <a:gd name="connsiteX1033" fmla="*/ 56063 w 9847941"/>
                  <a:gd name="connsiteY1033" fmla="*/ 153036 h 1864765"/>
                  <a:gd name="connsiteX1034" fmla="*/ 63639 w 9847941"/>
                  <a:gd name="connsiteY1034" fmla="*/ 158794 h 1864765"/>
                  <a:gd name="connsiteX1035" fmla="*/ 79397 w 9847941"/>
                  <a:gd name="connsiteY1035" fmla="*/ 163945 h 1864765"/>
                  <a:gd name="connsiteX1036" fmla="*/ 113944 w 9847941"/>
                  <a:gd name="connsiteY1036" fmla="*/ 184552 h 1864765"/>
                  <a:gd name="connsiteX1037" fmla="*/ 118944 w 9847941"/>
                  <a:gd name="connsiteY1037" fmla="*/ 190613 h 1864765"/>
                  <a:gd name="connsiteX1038" fmla="*/ 122883 w 9847941"/>
                  <a:gd name="connsiteY1038" fmla="*/ 200159 h 1864765"/>
                  <a:gd name="connsiteX1039" fmla="*/ 125005 w 9847941"/>
                  <a:gd name="connsiteY1039" fmla="*/ 203644 h 1864765"/>
                  <a:gd name="connsiteX1040" fmla="*/ 130156 w 9847941"/>
                  <a:gd name="connsiteY1040" fmla="*/ 207886 h 1864765"/>
                  <a:gd name="connsiteX1041" fmla="*/ 144702 w 9847941"/>
                  <a:gd name="connsiteY1041" fmla="*/ 211371 h 1864765"/>
                  <a:gd name="connsiteX1042" fmla="*/ 151218 w 9847941"/>
                  <a:gd name="connsiteY1042" fmla="*/ 210917 h 1864765"/>
                  <a:gd name="connsiteX1043" fmla="*/ 156066 w 9847941"/>
                  <a:gd name="connsiteY1043" fmla="*/ 211674 h 1864765"/>
                  <a:gd name="connsiteX1044" fmla="*/ 160764 w 9847941"/>
                  <a:gd name="connsiteY1044" fmla="*/ 207735 h 1864765"/>
                  <a:gd name="connsiteX1045" fmla="*/ 160764 w 9847941"/>
                  <a:gd name="connsiteY1045" fmla="*/ 209705 h 1864765"/>
                  <a:gd name="connsiteX1046" fmla="*/ 161370 w 9847941"/>
                  <a:gd name="connsiteY1046" fmla="*/ 211523 h 1864765"/>
                  <a:gd name="connsiteX1047" fmla="*/ 173037 w 9847941"/>
                  <a:gd name="connsiteY1047" fmla="*/ 210159 h 1864765"/>
                  <a:gd name="connsiteX1048" fmla="*/ 179704 w 9847941"/>
                  <a:gd name="connsiteY1048" fmla="*/ 211523 h 1864765"/>
                  <a:gd name="connsiteX1049" fmla="*/ 182431 w 9847941"/>
                  <a:gd name="connsiteY1049" fmla="*/ 213493 h 1864765"/>
                  <a:gd name="connsiteX1050" fmla="*/ 179401 w 9847941"/>
                  <a:gd name="connsiteY1050" fmla="*/ 216069 h 1864765"/>
                  <a:gd name="connsiteX1051" fmla="*/ 175310 w 9847941"/>
                  <a:gd name="connsiteY1051" fmla="*/ 221523 h 1864765"/>
                  <a:gd name="connsiteX1052" fmla="*/ 175916 w 9847941"/>
                  <a:gd name="connsiteY1052" fmla="*/ 226220 h 1864765"/>
                  <a:gd name="connsiteX1053" fmla="*/ 180764 w 9847941"/>
                  <a:gd name="connsiteY1053" fmla="*/ 228796 h 1864765"/>
                  <a:gd name="connsiteX1054" fmla="*/ 183795 w 9847941"/>
                  <a:gd name="connsiteY1054" fmla="*/ 231221 h 1864765"/>
                  <a:gd name="connsiteX1055" fmla="*/ 188492 w 9847941"/>
                  <a:gd name="connsiteY1055" fmla="*/ 233039 h 1864765"/>
                  <a:gd name="connsiteX1056" fmla="*/ 198038 w 9847941"/>
                  <a:gd name="connsiteY1056" fmla="*/ 228342 h 1864765"/>
                  <a:gd name="connsiteX1057" fmla="*/ 203189 w 9847941"/>
                  <a:gd name="connsiteY1057" fmla="*/ 227584 h 1864765"/>
                  <a:gd name="connsiteX1058" fmla="*/ 209250 w 9847941"/>
                  <a:gd name="connsiteY1058" fmla="*/ 230614 h 1864765"/>
                  <a:gd name="connsiteX1059" fmla="*/ 216978 w 9847941"/>
                  <a:gd name="connsiteY1059" fmla="*/ 230311 h 1864765"/>
                  <a:gd name="connsiteX1060" fmla="*/ 219705 w 9847941"/>
                  <a:gd name="connsiteY1060" fmla="*/ 232130 h 1864765"/>
                  <a:gd name="connsiteX1061" fmla="*/ 220614 w 9847941"/>
                  <a:gd name="connsiteY1061" fmla="*/ 235009 h 1864765"/>
                  <a:gd name="connsiteX1062" fmla="*/ 220463 w 9847941"/>
                  <a:gd name="connsiteY1062" fmla="*/ 239100 h 1864765"/>
                  <a:gd name="connsiteX1063" fmla="*/ 208947 w 9847941"/>
                  <a:gd name="connsiteY1063" fmla="*/ 241221 h 1864765"/>
                  <a:gd name="connsiteX1064" fmla="*/ 205311 w 9847941"/>
                  <a:gd name="connsiteY1064" fmla="*/ 240766 h 1864765"/>
                  <a:gd name="connsiteX1065" fmla="*/ 198038 w 9847941"/>
                  <a:gd name="connsiteY1065" fmla="*/ 236675 h 1864765"/>
                  <a:gd name="connsiteX1066" fmla="*/ 195159 w 9847941"/>
                  <a:gd name="connsiteY1066" fmla="*/ 235766 h 1864765"/>
                  <a:gd name="connsiteX1067" fmla="*/ 190159 w 9847941"/>
                  <a:gd name="connsiteY1067" fmla="*/ 235766 h 1864765"/>
                  <a:gd name="connsiteX1068" fmla="*/ 183189 w 9847941"/>
                  <a:gd name="connsiteY1068" fmla="*/ 237433 h 1864765"/>
                  <a:gd name="connsiteX1069" fmla="*/ 174400 w 9847941"/>
                  <a:gd name="connsiteY1069" fmla="*/ 232887 h 1864765"/>
                  <a:gd name="connsiteX1070" fmla="*/ 170612 w 9847941"/>
                  <a:gd name="connsiteY1070" fmla="*/ 227887 h 1864765"/>
                  <a:gd name="connsiteX1071" fmla="*/ 171522 w 9847941"/>
                  <a:gd name="connsiteY1071" fmla="*/ 222584 h 1864765"/>
                  <a:gd name="connsiteX1072" fmla="*/ 168340 w 9847941"/>
                  <a:gd name="connsiteY1072" fmla="*/ 221826 h 1864765"/>
                  <a:gd name="connsiteX1073" fmla="*/ 165006 w 9847941"/>
                  <a:gd name="connsiteY1073" fmla="*/ 216372 h 1864765"/>
                  <a:gd name="connsiteX1074" fmla="*/ 161976 w 9847941"/>
                  <a:gd name="connsiteY1074" fmla="*/ 215008 h 1864765"/>
                  <a:gd name="connsiteX1075" fmla="*/ 158794 w 9847941"/>
                  <a:gd name="connsiteY1075" fmla="*/ 215765 h 1864765"/>
                  <a:gd name="connsiteX1076" fmla="*/ 155460 w 9847941"/>
                  <a:gd name="connsiteY1076" fmla="*/ 217887 h 1864765"/>
                  <a:gd name="connsiteX1077" fmla="*/ 157279 w 9847941"/>
                  <a:gd name="connsiteY1077" fmla="*/ 221978 h 1864765"/>
                  <a:gd name="connsiteX1078" fmla="*/ 159400 w 9847941"/>
                  <a:gd name="connsiteY1078" fmla="*/ 225160 h 1864765"/>
                  <a:gd name="connsiteX1079" fmla="*/ 163491 w 9847941"/>
                  <a:gd name="connsiteY1079" fmla="*/ 225311 h 1864765"/>
                  <a:gd name="connsiteX1080" fmla="*/ 166976 w 9847941"/>
                  <a:gd name="connsiteY1080" fmla="*/ 227130 h 1864765"/>
                  <a:gd name="connsiteX1081" fmla="*/ 175310 w 9847941"/>
                  <a:gd name="connsiteY1081" fmla="*/ 236372 h 1864765"/>
                  <a:gd name="connsiteX1082" fmla="*/ 174552 w 9847941"/>
                  <a:gd name="connsiteY1082" fmla="*/ 240160 h 1864765"/>
                  <a:gd name="connsiteX1083" fmla="*/ 176976 w 9847941"/>
                  <a:gd name="connsiteY1083" fmla="*/ 241979 h 1864765"/>
                  <a:gd name="connsiteX1084" fmla="*/ 184704 w 9847941"/>
                  <a:gd name="connsiteY1084" fmla="*/ 240312 h 1864765"/>
                  <a:gd name="connsiteX1085" fmla="*/ 196371 w 9847941"/>
                  <a:gd name="connsiteY1085" fmla="*/ 243645 h 1864765"/>
                  <a:gd name="connsiteX1086" fmla="*/ 197735 w 9847941"/>
                  <a:gd name="connsiteY1086" fmla="*/ 245464 h 1864765"/>
                  <a:gd name="connsiteX1087" fmla="*/ 198644 w 9847941"/>
                  <a:gd name="connsiteY1087" fmla="*/ 250312 h 1864765"/>
                  <a:gd name="connsiteX1088" fmla="*/ 196522 w 9847941"/>
                  <a:gd name="connsiteY1088" fmla="*/ 248039 h 1864765"/>
                  <a:gd name="connsiteX1089" fmla="*/ 193947 w 9847941"/>
                  <a:gd name="connsiteY1089" fmla="*/ 248949 h 1864765"/>
                  <a:gd name="connsiteX1090" fmla="*/ 190007 w 9847941"/>
                  <a:gd name="connsiteY1090" fmla="*/ 247736 h 1864765"/>
                  <a:gd name="connsiteX1091" fmla="*/ 186977 w 9847941"/>
                  <a:gd name="connsiteY1091" fmla="*/ 246221 h 1864765"/>
                  <a:gd name="connsiteX1092" fmla="*/ 184249 w 9847941"/>
                  <a:gd name="connsiteY1092" fmla="*/ 247585 h 1864765"/>
                  <a:gd name="connsiteX1093" fmla="*/ 177128 w 9847941"/>
                  <a:gd name="connsiteY1093" fmla="*/ 256525 h 1864765"/>
                  <a:gd name="connsiteX1094" fmla="*/ 173946 w 9847941"/>
                  <a:gd name="connsiteY1094" fmla="*/ 256979 h 1864765"/>
                  <a:gd name="connsiteX1095" fmla="*/ 166218 w 9847941"/>
                  <a:gd name="connsiteY1095" fmla="*/ 255767 h 1864765"/>
                  <a:gd name="connsiteX1096" fmla="*/ 156066 w 9847941"/>
                  <a:gd name="connsiteY1096" fmla="*/ 256676 h 1864765"/>
                  <a:gd name="connsiteX1097" fmla="*/ 152430 w 9847941"/>
                  <a:gd name="connsiteY1097" fmla="*/ 256221 h 1864765"/>
                  <a:gd name="connsiteX1098" fmla="*/ 147884 w 9847941"/>
                  <a:gd name="connsiteY1098" fmla="*/ 254403 h 1864765"/>
                  <a:gd name="connsiteX1099" fmla="*/ 140157 w 9847941"/>
                  <a:gd name="connsiteY1099" fmla="*/ 255464 h 1864765"/>
                  <a:gd name="connsiteX1100" fmla="*/ 125762 w 9847941"/>
                  <a:gd name="connsiteY1100" fmla="*/ 255009 h 1864765"/>
                  <a:gd name="connsiteX1101" fmla="*/ 116519 w 9847941"/>
                  <a:gd name="connsiteY1101" fmla="*/ 248949 h 1864765"/>
                  <a:gd name="connsiteX1102" fmla="*/ 118338 w 9847941"/>
                  <a:gd name="connsiteY1102" fmla="*/ 246979 h 1864765"/>
                  <a:gd name="connsiteX1103" fmla="*/ 120307 w 9847941"/>
                  <a:gd name="connsiteY1103" fmla="*/ 245615 h 1864765"/>
                  <a:gd name="connsiteX1104" fmla="*/ 120004 w 9847941"/>
                  <a:gd name="connsiteY1104" fmla="*/ 241372 h 1864765"/>
                  <a:gd name="connsiteX1105" fmla="*/ 123035 w 9847941"/>
                  <a:gd name="connsiteY1105" fmla="*/ 236221 h 1864765"/>
                  <a:gd name="connsiteX1106" fmla="*/ 123489 w 9847941"/>
                  <a:gd name="connsiteY1106" fmla="*/ 234403 h 1864765"/>
                  <a:gd name="connsiteX1107" fmla="*/ 121823 w 9847941"/>
                  <a:gd name="connsiteY1107" fmla="*/ 233039 h 1864765"/>
                  <a:gd name="connsiteX1108" fmla="*/ 120307 w 9847941"/>
                  <a:gd name="connsiteY1108" fmla="*/ 232433 h 1864765"/>
                  <a:gd name="connsiteX1109" fmla="*/ 122429 w 9847941"/>
                  <a:gd name="connsiteY1109" fmla="*/ 232130 h 1864765"/>
                  <a:gd name="connsiteX1110" fmla="*/ 127277 w 9847941"/>
                  <a:gd name="connsiteY1110" fmla="*/ 232584 h 1864765"/>
                  <a:gd name="connsiteX1111" fmla="*/ 124853 w 9847941"/>
                  <a:gd name="connsiteY1111" fmla="*/ 230614 h 1864765"/>
                  <a:gd name="connsiteX1112" fmla="*/ 115762 w 9847941"/>
                  <a:gd name="connsiteY1112" fmla="*/ 230918 h 1864765"/>
                  <a:gd name="connsiteX1113" fmla="*/ 104701 w 9847941"/>
                  <a:gd name="connsiteY1113" fmla="*/ 231978 h 1864765"/>
                  <a:gd name="connsiteX1114" fmla="*/ 98792 w 9847941"/>
                  <a:gd name="connsiteY1114" fmla="*/ 233493 h 1864765"/>
                  <a:gd name="connsiteX1115" fmla="*/ 88185 w 9847941"/>
                  <a:gd name="connsiteY1115" fmla="*/ 238797 h 1864765"/>
                  <a:gd name="connsiteX1116" fmla="*/ 84549 w 9847941"/>
                  <a:gd name="connsiteY1116" fmla="*/ 238645 h 1864765"/>
                  <a:gd name="connsiteX1117" fmla="*/ 77730 w 9847941"/>
                  <a:gd name="connsiteY1117" fmla="*/ 240160 h 1864765"/>
                  <a:gd name="connsiteX1118" fmla="*/ 68790 w 9847941"/>
                  <a:gd name="connsiteY1118" fmla="*/ 244251 h 1864765"/>
                  <a:gd name="connsiteX1119" fmla="*/ 67881 w 9847941"/>
                  <a:gd name="connsiteY1119" fmla="*/ 245615 h 1864765"/>
                  <a:gd name="connsiteX1120" fmla="*/ 67124 w 9847941"/>
                  <a:gd name="connsiteY1120" fmla="*/ 247585 h 1864765"/>
                  <a:gd name="connsiteX1121" fmla="*/ 74700 w 9847941"/>
                  <a:gd name="connsiteY1121" fmla="*/ 251221 h 1864765"/>
                  <a:gd name="connsiteX1122" fmla="*/ 73942 w 9847941"/>
                  <a:gd name="connsiteY1122" fmla="*/ 252282 h 1864765"/>
                  <a:gd name="connsiteX1123" fmla="*/ 72881 w 9847941"/>
                  <a:gd name="connsiteY1123" fmla="*/ 252888 h 1864765"/>
                  <a:gd name="connsiteX1124" fmla="*/ 70154 w 9847941"/>
                  <a:gd name="connsiteY1124" fmla="*/ 253646 h 1864765"/>
                  <a:gd name="connsiteX1125" fmla="*/ 62275 w 9847941"/>
                  <a:gd name="connsiteY1125" fmla="*/ 253191 h 1864765"/>
                  <a:gd name="connsiteX1126" fmla="*/ 61063 w 9847941"/>
                  <a:gd name="connsiteY1126" fmla="*/ 253040 h 1864765"/>
                  <a:gd name="connsiteX1127" fmla="*/ 56820 w 9847941"/>
                  <a:gd name="connsiteY1127" fmla="*/ 251070 h 1864765"/>
                  <a:gd name="connsiteX1128" fmla="*/ 51820 w 9847941"/>
                  <a:gd name="connsiteY1128" fmla="*/ 252282 h 1864765"/>
                  <a:gd name="connsiteX1129" fmla="*/ 47881 w 9847941"/>
                  <a:gd name="connsiteY1129" fmla="*/ 254252 h 1864765"/>
                  <a:gd name="connsiteX1130" fmla="*/ 42274 w 9847941"/>
                  <a:gd name="connsiteY1130" fmla="*/ 256525 h 1864765"/>
                  <a:gd name="connsiteX1131" fmla="*/ 38183 w 9847941"/>
                  <a:gd name="connsiteY1131" fmla="*/ 260767 h 1864765"/>
                  <a:gd name="connsiteX1132" fmla="*/ 35304 w 9847941"/>
                  <a:gd name="connsiteY1132" fmla="*/ 263191 h 1864765"/>
                  <a:gd name="connsiteX1133" fmla="*/ 33183 w 9847941"/>
                  <a:gd name="connsiteY1133" fmla="*/ 264404 h 1864765"/>
                  <a:gd name="connsiteX1134" fmla="*/ 24092 w 9847941"/>
                  <a:gd name="connsiteY1134" fmla="*/ 265161 h 1864765"/>
                  <a:gd name="connsiteX1135" fmla="*/ 19243 w 9847941"/>
                  <a:gd name="connsiteY1135" fmla="*/ 269707 h 1864765"/>
                  <a:gd name="connsiteX1136" fmla="*/ 10152 w 9847941"/>
                  <a:gd name="connsiteY1136" fmla="*/ 273192 h 1864765"/>
                  <a:gd name="connsiteX1137" fmla="*/ 9849 w 9847941"/>
                  <a:gd name="connsiteY1137" fmla="*/ 271677 h 1864765"/>
                  <a:gd name="connsiteX1138" fmla="*/ 9697 w 9847941"/>
                  <a:gd name="connsiteY1138" fmla="*/ 270161 h 1864765"/>
                  <a:gd name="connsiteX1139" fmla="*/ 7576 w 9847941"/>
                  <a:gd name="connsiteY1139" fmla="*/ 271525 h 1864765"/>
                  <a:gd name="connsiteX1140" fmla="*/ 5455 w 9847941"/>
                  <a:gd name="connsiteY1140" fmla="*/ 274252 h 1864765"/>
                  <a:gd name="connsiteX1141" fmla="*/ 6970 w 9847941"/>
                  <a:gd name="connsiteY1141" fmla="*/ 276980 h 1864765"/>
                  <a:gd name="connsiteX1142" fmla="*/ 8334 w 9847941"/>
                  <a:gd name="connsiteY1142" fmla="*/ 278192 h 1864765"/>
                  <a:gd name="connsiteX1143" fmla="*/ 24243 w 9847941"/>
                  <a:gd name="connsiteY1143" fmla="*/ 284707 h 1864765"/>
                  <a:gd name="connsiteX1144" fmla="*/ 44396 w 9847941"/>
                  <a:gd name="connsiteY1144" fmla="*/ 288647 h 1864765"/>
                  <a:gd name="connsiteX1145" fmla="*/ 45911 w 9847941"/>
                  <a:gd name="connsiteY1145" fmla="*/ 288041 h 1864765"/>
                  <a:gd name="connsiteX1146" fmla="*/ 57123 w 9847941"/>
                  <a:gd name="connsiteY1146" fmla="*/ 290162 h 1864765"/>
                  <a:gd name="connsiteX1147" fmla="*/ 58184 w 9847941"/>
                  <a:gd name="connsiteY1147" fmla="*/ 291071 h 1864765"/>
                  <a:gd name="connsiteX1148" fmla="*/ 59093 w 9847941"/>
                  <a:gd name="connsiteY1148" fmla="*/ 292132 h 1864765"/>
                  <a:gd name="connsiteX1149" fmla="*/ 55002 w 9847941"/>
                  <a:gd name="connsiteY1149" fmla="*/ 291526 h 1864765"/>
                  <a:gd name="connsiteX1150" fmla="*/ 50305 w 9847941"/>
                  <a:gd name="connsiteY1150" fmla="*/ 292738 h 1864765"/>
                  <a:gd name="connsiteX1151" fmla="*/ 48184 w 9847941"/>
                  <a:gd name="connsiteY1151" fmla="*/ 296829 h 1864765"/>
                  <a:gd name="connsiteX1152" fmla="*/ 41820 w 9847941"/>
                  <a:gd name="connsiteY1152" fmla="*/ 297738 h 1864765"/>
                  <a:gd name="connsiteX1153" fmla="*/ 39244 w 9847941"/>
                  <a:gd name="connsiteY1153" fmla="*/ 297132 h 1864765"/>
                  <a:gd name="connsiteX1154" fmla="*/ 37880 w 9847941"/>
                  <a:gd name="connsiteY1154" fmla="*/ 296374 h 1864765"/>
                  <a:gd name="connsiteX1155" fmla="*/ 37274 w 9847941"/>
                  <a:gd name="connsiteY1155" fmla="*/ 296677 h 1864765"/>
                  <a:gd name="connsiteX1156" fmla="*/ 40001 w 9847941"/>
                  <a:gd name="connsiteY1156" fmla="*/ 299405 h 1864765"/>
                  <a:gd name="connsiteX1157" fmla="*/ 47578 w 9847941"/>
                  <a:gd name="connsiteY1157" fmla="*/ 305769 h 1864765"/>
                  <a:gd name="connsiteX1158" fmla="*/ 51214 w 9847941"/>
                  <a:gd name="connsiteY1158" fmla="*/ 306981 h 1864765"/>
                  <a:gd name="connsiteX1159" fmla="*/ 51366 w 9847941"/>
                  <a:gd name="connsiteY1159" fmla="*/ 311375 h 1864765"/>
                  <a:gd name="connsiteX1160" fmla="*/ 49396 w 9847941"/>
                  <a:gd name="connsiteY1160" fmla="*/ 312739 h 1864765"/>
                  <a:gd name="connsiteX1161" fmla="*/ 49244 w 9847941"/>
                  <a:gd name="connsiteY1161" fmla="*/ 315769 h 1864765"/>
                  <a:gd name="connsiteX1162" fmla="*/ 53487 w 9847941"/>
                  <a:gd name="connsiteY1162" fmla="*/ 320315 h 1864765"/>
                  <a:gd name="connsiteX1163" fmla="*/ 58487 w 9847941"/>
                  <a:gd name="connsiteY1163" fmla="*/ 322285 h 1864765"/>
                  <a:gd name="connsiteX1164" fmla="*/ 77579 w 9847941"/>
                  <a:gd name="connsiteY1164" fmla="*/ 325315 h 1864765"/>
                  <a:gd name="connsiteX1165" fmla="*/ 86064 w 9847941"/>
                  <a:gd name="connsiteY1165" fmla="*/ 327436 h 1864765"/>
                  <a:gd name="connsiteX1166" fmla="*/ 90458 w 9847941"/>
                  <a:gd name="connsiteY1166" fmla="*/ 327891 h 1864765"/>
                  <a:gd name="connsiteX1167" fmla="*/ 92579 w 9847941"/>
                  <a:gd name="connsiteY1167" fmla="*/ 327588 h 1864765"/>
                  <a:gd name="connsiteX1168" fmla="*/ 93791 w 9847941"/>
                  <a:gd name="connsiteY1168" fmla="*/ 326679 h 1864765"/>
                  <a:gd name="connsiteX1169" fmla="*/ 94549 w 9847941"/>
                  <a:gd name="connsiteY1169" fmla="*/ 325315 h 1864765"/>
                  <a:gd name="connsiteX1170" fmla="*/ 96367 w 9847941"/>
                  <a:gd name="connsiteY1170" fmla="*/ 324557 h 1864765"/>
                  <a:gd name="connsiteX1171" fmla="*/ 97428 w 9847941"/>
                  <a:gd name="connsiteY1171" fmla="*/ 324860 h 1864765"/>
                  <a:gd name="connsiteX1172" fmla="*/ 98337 w 9847941"/>
                  <a:gd name="connsiteY1172" fmla="*/ 325618 h 1864765"/>
                  <a:gd name="connsiteX1173" fmla="*/ 108943 w 9847941"/>
                  <a:gd name="connsiteY1173" fmla="*/ 322285 h 1864765"/>
                  <a:gd name="connsiteX1174" fmla="*/ 125156 w 9847941"/>
                  <a:gd name="connsiteY1174" fmla="*/ 322133 h 1864765"/>
                  <a:gd name="connsiteX1175" fmla="*/ 131369 w 9847941"/>
                  <a:gd name="connsiteY1175" fmla="*/ 323800 h 1864765"/>
                  <a:gd name="connsiteX1176" fmla="*/ 137429 w 9847941"/>
                  <a:gd name="connsiteY1176" fmla="*/ 327133 h 1864765"/>
                  <a:gd name="connsiteX1177" fmla="*/ 140763 w 9847941"/>
                  <a:gd name="connsiteY1177" fmla="*/ 329406 h 1864765"/>
                  <a:gd name="connsiteX1178" fmla="*/ 141823 w 9847941"/>
                  <a:gd name="connsiteY1178" fmla="*/ 326982 h 1864765"/>
                  <a:gd name="connsiteX1179" fmla="*/ 143339 w 9847941"/>
                  <a:gd name="connsiteY1179" fmla="*/ 325163 h 1864765"/>
                  <a:gd name="connsiteX1180" fmla="*/ 140005 w 9847941"/>
                  <a:gd name="connsiteY1180" fmla="*/ 324557 h 1864765"/>
                  <a:gd name="connsiteX1181" fmla="*/ 138035 w 9847941"/>
                  <a:gd name="connsiteY1181" fmla="*/ 323194 h 1864765"/>
                  <a:gd name="connsiteX1182" fmla="*/ 136520 w 9847941"/>
                  <a:gd name="connsiteY1182" fmla="*/ 321375 h 1864765"/>
                  <a:gd name="connsiteX1183" fmla="*/ 139248 w 9847941"/>
                  <a:gd name="connsiteY1183" fmla="*/ 319406 h 1864765"/>
                  <a:gd name="connsiteX1184" fmla="*/ 148187 w 9847941"/>
                  <a:gd name="connsiteY1184" fmla="*/ 325466 h 1864765"/>
                  <a:gd name="connsiteX1185" fmla="*/ 150157 w 9847941"/>
                  <a:gd name="connsiteY1185" fmla="*/ 331679 h 1864765"/>
                  <a:gd name="connsiteX1186" fmla="*/ 152733 w 9847941"/>
                  <a:gd name="connsiteY1186" fmla="*/ 331527 h 1864765"/>
                  <a:gd name="connsiteX1187" fmla="*/ 154854 w 9847941"/>
                  <a:gd name="connsiteY1187" fmla="*/ 328345 h 1864765"/>
                  <a:gd name="connsiteX1188" fmla="*/ 163036 w 9847941"/>
                  <a:gd name="connsiteY1188" fmla="*/ 321224 h 1864765"/>
                  <a:gd name="connsiteX1189" fmla="*/ 167430 w 9847941"/>
                  <a:gd name="connsiteY1189" fmla="*/ 318345 h 1864765"/>
                  <a:gd name="connsiteX1190" fmla="*/ 175764 w 9847941"/>
                  <a:gd name="connsiteY1190" fmla="*/ 315466 h 1864765"/>
                  <a:gd name="connsiteX1191" fmla="*/ 178795 w 9847941"/>
                  <a:gd name="connsiteY1191" fmla="*/ 312133 h 1864765"/>
                  <a:gd name="connsiteX1192" fmla="*/ 182279 w 9847941"/>
                  <a:gd name="connsiteY1192" fmla="*/ 313193 h 1864765"/>
                  <a:gd name="connsiteX1193" fmla="*/ 186825 w 9847941"/>
                  <a:gd name="connsiteY1193" fmla="*/ 313042 h 1864765"/>
                  <a:gd name="connsiteX1194" fmla="*/ 194401 w 9847941"/>
                  <a:gd name="connsiteY1194" fmla="*/ 307284 h 1864765"/>
                  <a:gd name="connsiteX1195" fmla="*/ 195916 w 9847941"/>
                  <a:gd name="connsiteY1195" fmla="*/ 307284 h 1864765"/>
                  <a:gd name="connsiteX1196" fmla="*/ 197735 w 9847941"/>
                  <a:gd name="connsiteY1196" fmla="*/ 308193 h 1864765"/>
                  <a:gd name="connsiteX1197" fmla="*/ 200310 w 9847941"/>
                  <a:gd name="connsiteY1197" fmla="*/ 311072 h 1864765"/>
                  <a:gd name="connsiteX1198" fmla="*/ 202583 w 9847941"/>
                  <a:gd name="connsiteY1198" fmla="*/ 313042 h 1864765"/>
                  <a:gd name="connsiteX1199" fmla="*/ 203492 w 9847941"/>
                  <a:gd name="connsiteY1199" fmla="*/ 314860 h 1864765"/>
                  <a:gd name="connsiteX1200" fmla="*/ 204098 w 9847941"/>
                  <a:gd name="connsiteY1200" fmla="*/ 318193 h 1864765"/>
                  <a:gd name="connsiteX1201" fmla="*/ 202583 w 9847941"/>
                  <a:gd name="connsiteY1201" fmla="*/ 321224 h 1864765"/>
                  <a:gd name="connsiteX1202" fmla="*/ 201523 w 9847941"/>
                  <a:gd name="connsiteY1202" fmla="*/ 322739 h 1864765"/>
                  <a:gd name="connsiteX1203" fmla="*/ 198341 w 9847941"/>
                  <a:gd name="connsiteY1203" fmla="*/ 324709 h 1864765"/>
                  <a:gd name="connsiteX1204" fmla="*/ 194401 w 9847941"/>
                  <a:gd name="connsiteY1204" fmla="*/ 325466 h 1864765"/>
                  <a:gd name="connsiteX1205" fmla="*/ 188340 w 9847941"/>
                  <a:gd name="connsiteY1205" fmla="*/ 325012 h 1864765"/>
                  <a:gd name="connsiteX1206" fmla="*/ 186219 w 9847941"/>
                  <a:gd name="connsiteY1206" fmla="*/ 329103 h 1864765"/>
                  <a:gd name="connsiteX1207" fmla="*/ 189098 w 9847941"/>
                  <a:gd name="connsiteY1207" fmla="*/ 328800 h 1864765"/>
                  <a:gd name="connsiteX1208" fmla="*/ 193644 w 9847941"/>
                  <a:gd name="connsiteY1208" fmla="*/ 330770 h 1864765"/>
                  <a:gd name="connsiteX1209" fmla="*/ 200007 w 9847941"/>
                  <a:gd name="connsiteY1209" fmla="*/ 337134 h 1864765"/>
                  <a:gd name="connsiteX1210" fmla="*/ 202280 w 9847941"/>
                  <a:gd name="connsiteY1210" fmla="*/ 346831 h 1864765"/>
                  <a:gd name="connsiteX1211" fmla="*/ 203947 w 9847941"/>
                  <a:gd name="connsiteY1211" fmla="*/ 351073 h 1864765"/>
                  <a:gd name="connsiteX1212" fmla="*/ 205614 w 9847941"/>
                  <a:gd name="connsiteY1212" fmla="*/ 356074 h 1864765"/>
                  <a:gd name="connsiteX1213" fmla="*/ 204250 w 9847941"/>
                  <a:gd name="connsiteY1213" fmla="*/ 360013 h 1864765"/>
                  <a:gd name="connsiteX1214" fmla="*/ 201523 w 9847941"/>
                  <a:gd name="connsiteY1214" fmla="*/ 363044 h 1864765"/>
                  <a:gd name="connsiteX1215" fmla="*/ 196825 w 9847941"/>
                  <a:gd name="connsiteY1215" fmla="*/ 367438 h 1864765"/>
                  <a:gd name="connsiteX1216" fmla="*/ 192280 w 9847941"/>
                  <a:gd name="connsiteY1216" fmla="*/ 370014 h 1864765"/>
                  <a:gd name="connsiteX1217" fmla="*/ 185764 w 9847941"/>
                  <a:gd name="connsiteY1217" fmla="*/ 371226 h 1864765"/>
                  <a:gd name="connsiteX1218" fmla="*/ 172885 w 9847941"/>
                  <a:gd name="connsiteY1218" fmla="*/ 371832 h 1864765"/>
                  <a:gd name="connsiteX1219" fmla="*/ 170612 w 9847941"/>
                  <a:gd name="connsiteY1219" fmla="*/ 371074 h 1864765"/>
                  <a:gd name="connsiteX1220" fmla="*/ 169097 w 9847941"/>
                  <a:gd name="connsiteY1220" fmla="*/ 368347 h 1864765"/>
                  <a:gd name="connsiteX1221" fmla="*/ 166824 w 9847941"/>
                  <a:gd name="connsiteY1221" fmla="*/ 368044 h 1864765"/>
                  <a:gd name="connsiteX1222" fmla="*/ 164400 w 9847941"/>
                  <a:gd name="connsiteY1222" fmla="*/ 368498 h 1864765"/>
                  <a:gd name="connsiteX1223" fmla="*/ 162279 w 9847941"/>
                  <a:gd name="connsiteY1223" fmla="*/ 371832 h 1864765"/>
                  <a:gd name="connsiteX1224" fmla="*/ 155157 w 9847941"/>
                  <a:gd name="connsiteY1224" fmla="*/ 379862 h 1864765"/>
                  <a:gd name="connsiteX1225" fmla="*/ 150006 w 9847941"/>
                  <a:gd name="connsiteY1225" fmla="*/ 382438 h 1864765"/>
                  <a:gd name="connsiteX1226" fmla="*/ 146218 w 9847941"/>
                  <a:gd name="connsiteY1226" fmla="*/ 386378 h 1864765"/>
                  <a:gd name="connsiteX1227" fmla="*/ 143036 w 9847941"/>
                  <a:gd name="connsiteY1227" fmla="*/ 387893 h 1864765"/>
                  <a:gd name="connsiteX1228" fmla="*/ 136823 w 9847941"/>
                  <a:gd name="connsiteY1228" fmla="*/ 389257 h 1864765"/>
                  <a:gd name="connsiteX1229" fmla="*/ 134853 w 9847941"/>
                  <a:gd name="connsiteY1229" fmla="*/ 389257 h 1864765"/>
                  <a:gd name="connsiteX1230" fmla="*/ 133187 w 9847941"/>
                  <a:gd name="connsiteY1230" fmla="*/ 387590 h 1864765"/>
                  <a:gd name="connsiteX1231" fmla="*/ 130914 w 9847941"/>
                  <a:gd name="connsiteY1231" fmla="*/ 386681 h 1864765"/>
                  <a:gd name="connsiteX1232" fmla="*/ 126974 w 9847941"/>
                  <a:gd name="connsiteY1232" fmla="*/ 388802 h 1864765"/>
                  <a:gd name="connsiteX1233" fmla="*/ 124550 w 9847941"/>
                  <a:gd name="connsiteY1233" fmla="*/ 390469 h 1864765"/>
                  <a:gd name="connsiteX1234" fmla="*/ 124247 w 9847941"/>
                  <a:gd name="connsiteY1234" fmla="*/ 389863 h 1864765"/>
                  <a:gd name="connsiteX1235" fmla="*/ 124853 w 9847941"/>
                  <a:gd name="connsiteY1235" fmla="*/ 389105 h 1864765"/>
                  <a:gd name="connsiteX1236" fmla="*/ 126520 w 9847941"/>
                  <a:gd name="connsiteY1236" fmla="*/ 388196 h 1864765"/>
                  <a:gd name="connsiteX1237" fmla="*/ 127277 w 9847941"/>
                  <a:gd name="connsiteY1237" fmla="*/ 387287 h 1864765"/>
                  <a:gd name="connsiteX1238" fmla="*/ 127732 w 9847941"/>
                  <a:gd name="connsiteY1238" fmla="*/ 385772 h 1864765"/>
                  <a:gd name="connsiteX1239" fmla="*/ 124399 w 9847941"/>
                  <a:gd name="connsiteY1239" fmla="*/ 382893 h 1864765"/>
                  <a:gd name="connsiteX1240" fmla="*/ 118792 w 9847941"/>
                  <a:gd name="connsiteY1240" fmla="*/ 380620 h 1864765"/>
                  <a:gd name="connsiteX1241" fmla="*/ 114247 w 9847941"/>
                  <a:gd name="connsiteY1241" fmla="*/ 380014 h 1864765"/>
                  <a:gd name="connsiteX1242" fmla="*/ 106065 w 9847941"/>
                  <a:gd name="connsiteY1242" fmla="*/ 381984 h 1864765"/>
                  <a:gd name="connsiteX1243" fmla="*/ 104549 w 9847941"/>
                  <a:gd name="connsiteY1243" fmla="*/ 383196 h 1864765"/>
                  <a:gd name="connsiteX1244" fmla="*/ 102883 w 9847941"/>
                  <a:gd name="connsiteY1244" fmla="*/ 385620 h 1864765"/>
                  <a:gd name="connsiteX1245" fmla="*/ 106974 w 9847941"/>
                  <a:gd name="connsiteY1245" fmla="*/ 388802 h 1864765"/>
                  <a:gd name="connsiteX1246" fmla="*/ 106671 w 9847941"/>
                  <a:gd name="connsiteY1246" fmla="*/ 389863 h 1864765"/>
                  <a:gd name="connsiteX1247" fmla="*/ 105458 w 9847941"/>
                  <a:gd name="connsiteY1247" fmla="*/ 389408 h 1864765"/>
                  <a:gd name="connsiteX1248" fmla="*/ 98640 w 9847941"/>
                  <a:gd name="connsiteY1248" fmla="*/ 390317 h 1864765"/>
                  <a:gd name="connsiteX1249" fmla="*/ 96216 w 9847941"/>
                  <a:gd name="connsiteY1249" fmla="*/ 392439 h 1864765"/>
                  <a:gd name="connsiteX1250" fmla="*/ 95307 w 9847941"/>
                  <a:gd name="connsiteY1250" fmla="*/ 394711 h 1864765"/>
                  <a:gd name="connsiteX1251" fmla="*/ 94246 w 9847941"/>
                  <a:gd name="connsiteY1251" fmla="*/ 399712 h 1864765"/>
                  <a:gd name="connsiteX1252" fmla="*/ 95004 w 9847941"/>
                  <a:gd name="connsiteY1252" fmla="*/ 405015 h 1864765"/>
                  <a:gd name="connsiteX1253" fmla="*/ 95761 w 9847941"/>
                  <a:gd name="connsiteY1253" fmla="*/ 407288 h 1864765"/>
                  <a:gd name="connsiteX1254" fmla="*/ 98640 w 9847941"/>
                  <a:gd name="connsiteY1254" fmla="*/ 405015 h 1864765"/>
                  <a:gd name="connsiteX1255" fmla="*/ 101367 w 9847941"/>
                  <a:gd name="connsiteY1255" fmla="*/ 403651 h 1864765"/>
                  <a:gd name="connsiteX1256" fmla="*/ 101216 w 9847941"/>
                  <a:gd name="connsiteY1256" fmla="*/ 404560 h 1864765"/>
                  <a:gd name="connsiteX1257" fmla="*/ 98640 w 9847941"/>
                  <a:gd name="connsiteY1257" fmla="*/ 407894 h 1864765"/>
                  <a:gd name="connsiteX1258" fmla="*/ 94397 w 9847941"/>
                  <a:gd name="connsiteY1258" fmla="*/ 409106 h 1864765"/>
                  <a:gd name="connsiteX1259" fmla="*/ 95761 w 9847941"/>
                  <a:gd name="connsiteY1259" fmla="*/ 412136 h 1864765"/>
                  <a:gd name="connsiteX1260" fmla="*/ 96822 w 9847941"/>
                  <a:gd name="connsiteY1260" fmla="*/ 412742 h 1864765"/>
                  <a:gd name="connsiteX1261" fmla="*/ 96064 w 9847941"/>
                  <a:gd name="connsiteY1261" fmla="*/ 413348 h 1864765"/>
                  <a:gd name="connsiteX1262" fmla="*/ 93034 w 9847941"/>
                  <a:gd name="connsiteY1262" fmla="*/ 411833 h 1864765"/>
                  <a:gd name="connsiteX1263" fmla="*/ 90155 w 9847941"/>
                  <a:gd name="connsiteY1263" fmla="*/ 411076 h 1864765"/>
                  <a:gd name="connsiteX1264" fmla="*/ 86821 w 9847941"/>
                  <a:gd name="connsiteY1264" fmla="*/ 411985 h 1864765"/>
                  <a:gd name="connsiteX1265" fmla="*/ 84700 w 9847941"/>
                  <a:gd name="connsiteY1265" fmla="*/ 413651 h 1864765"/>
                  <a:gd name="connsiteX1266" fmla="*/ 77730 w 9847941"/>
                  <a:gd name="connsiteY1266" fmla="*/ 420924 h 1864765"/>
                  <a:gd name="connsiteX1267" fmla="*/ 70609 w 9847941"/>
                  <a:gd name="connsiteY1267" fmla="*/ 429561 h 1864765"/>
                  <a:gd name="connsiteX1268" fmla="*/ 69548 w 9847941"/>
                  <a:gd name="connsiteY1268" fmla="*/ 433349 h 1864765"/>
                  <a:gd name="connsiteX1269" fmla="*/ 70003 w 9847941"/>
                  <a:gd name="connsiteY1269" fmla="*/ 435622 h 1864765"/>
                  <a:gd name="connsiteX1270" fmla="*/ 70609 w 9847941"/>
                  <a:gd name="connsiteY1270" fmla="*/ 436986 h 1864765"/>
                  <a:gd name="connsiteX1271" fmla="*/ 73185 w 9847941"/>
                  <a:gd name="connsiteY1271" fmla="*/ 439410 h 1864765"/>
                  <a:gd name="connsiteX1272" fmla="*/ 67124 w 9847941"/>
                  <a:gd name="connsiteY1272" fmla="*/ 440774 h 1864765"/>
                  <a:gd name="connsiteX1273" fmla="*/ 62881 w 9847941"/>
                  <a:gd name="connsiteY1273" fmla="*/ 440925 h 1864765"/>
                  <a:gd name="connsiteX1274" fmla="*/ 60457 w 9847941"/>
                  <a:gd name="connsiteY1274" fmla="*/ 442137 h 1864765"/>
                  <a:gd name="connsiteX1275" fmla="*/ 62124 w 9847941"/>
                  <a:gd name="connsiteY1275" fmla="*/ 444410 h 1864765"/>
                  <a:gd name="connsiteX1276" fmla="*/ 67881 w 9847941"/>
                  <a:gd name="connsiteY1276" fmla="*/ 446531 h 1864765"/>
                  <a:gd name="connsiteX1277" fmla="*/ 67124 w 9847941"/>
                  <a:gd name="connsiteY1277" fmla="*/ 447289 h 1864765"/>
                  <a:gd name="connsiteX1278" fmla="*/ 59851 w 9847941"/>
                  <a:gd name="connsiteY1278" fmla="*/ 448804 h 1864765"/>
                  <a:gd name="connsiteX1279" fmla="*/ 59093 w 9847941"/>
                  <a:gd name="connsiteY1279" fmla="*/ 448198 h 1864765"/>
                  <a:gd name="connsiteX1280" fmla="*/ 58032 w 9847941"/>
                  <a:gd name="connsiteY1280" fmla="*/ 448501 h 1864765"/>
                  <a:gd name="connsiteX1281" fmla="*/ 58184 w 9847941"/>
                  <a:gd name="connsiteY1281" fmla="*/ 451077 h 1864765"/>
                  <a:gd name="connsiteX1282" fmla="*/ 58487 w 9847941"/>
                  <a:gd name="connsiteY1282" fmla="*/ 452895 h 1864765"/>
                  <a:gd name="connsiteX1283" fmla="*/ 60154 w 9847941"/>
                  <a:gd name="connsiteY1283" fmla="*/ 454562 h 1864765"/>
                  <a:gd name="connsiteX1284" fmla="*/ 63790 w 9847941"/>
                  <a:gd name="connsiteY1284" fmla="*/ 452744 h 1864765"/>
                  <a:gd name="connsiteX1285" fmla="*/ 66972 w 9847941"/>
                  <a:gd name="connsiteY1285" fmla="*/ 453350 h 1864765"/>
                  <a:gd name="connsiteX1286" fmla="*/ 68336 w 9847941"/>
                  <a:gd name="connsiteY1286" fmla="*/ 455168 h 1864765"/>
                  <a:gd name="connsiteX1287" fmla="*/ 65305 w 9847941"/>
                  <a:gd name="connsiteY1287" fmla="*/ 458805 h 1864765"/>
                  <a:gd name="connsiteX1288" fmla="*/ 66518 w 9847941"/>
                  <a:gd name="connsiteY1288" fmla="*/ 461683 h 1864765"/>
                  <a:gd name="connsiteX1289" fmla="*/ 71215 w 9847941"/>
                  <a:gd name="connsiteY1289" fmla="*/ 463199 h 1864765"/>
                  <a:gd name="connsiteX1290" fmla="*/ 73033 w 9847941"/>
                  <a:gd name="connsiteY1290" fmla="*/ 468805 h 1864765"/>
                  <a:gd name="connsiteX1291" fmla="*/ 74700 w 9847941"/>
                  <a:gd name="connsiteY1291" fmla="*/ 471381 h 1864765"/>
                  <a:gd name="connsiteX1292" fmla="*/ 76973 w 9847941"/>
                  <a:gd name="connsiteY1292" fmla="*/ 471684 h 1864765"/>
                  <a:gd name="connsiteX1293" fmla="*/ 79700 w 9847941"/>
                  <a:gd name="connsiteY1293" fmla="*/ 471229 h 1864765"/>
                  <a:gd name="connsiteX1294" fmla="*/ 79700 w 9847941"/>
                  <a:gd name="connsiteY1294" fmla="*/ 468654 h 1864765"/>
                  <a:gd name="connsiteX1295" fmla="*/ 79245 w 9847941"/>
                  <a:gd name="connsiteY1295" fmla="*/ 466835 h 1864765"/>
                  <a:gd name="connsiteX1296" fmla="*/ 80912 w 9847941"/>
                  <a:gd name="connsiteY1296" fmla="*/ 464562 h 1864765"/>
                  <a:gd name="connsiteX1297" fmla="*/ 82579 w 9847941"/>
                  <a:gd name="connsiteY1297" fmla="*/ 464259 h 1864765"/>
                  <a:gd name="connsiteX1298" fmla="*/ 83336 w 9847941"/>
                  <a:gd name="connsiteY1298" fmla="*/ 464562 h 1864765"/>
                  <a:gd name="connsiteX1299" fmla="*/ 81518 w 9847941"/>
                  <a:gd name="connsiteY1299" fmla="*/ 466229 h 1864765"/>
                  <a:gd name="connsiteX1300" fmla="*/ 80609 w 9847941"/>
                  <a:gd name="connsiteY1300" fmla="*/ 467441 h 1864765"/>
                  <a:gd name="connsiteX1301" fmla="*/ 82427 w 9847941"/>
                  <a:gd name="connsiteY1301" fmla="*/ 468654 h 1864765"/>
                  <a:gd name="connsiteX1302" fmla="*/ 84549 w 9847941"/>
                  <a:gd name="connsiteY1302" fmla="*/ 469411 h 1864765"/>
                  <a:gd name="connsiteX1303" fmla="*/ 86064 w 9847941"/>
                  <a:gd name="connsiteY1303" fmla="*/ 468047 h 1864765"/>
                  <a:gd name="connsiteX1304" fmla="*/ 86670 w 9847941"/>
                  <a:gd name="connsiteY1304" fmla="*/ 467744 h 1864765"/>
                  <a:gd name="connsiteX1305" fmla="*/ 86367 w 9847941"/>
                  <a:gd name="connsiteY1305" fmla="*/ 470320 h 1864765"/>
                  <a:gd name="connsiteX1306" fmla="*/ 88034 w 9847941"/>
                  <a:gd name="connsiteY1306" fmla="*/ 471835 h 1864765"/>
                  <a:gd name="connsiteX1307" fmla="*/ 91822 w 9847941"/>
                  <a:gd name="connsiteY1307" fmla="*/ 470926 h 1864765"/>
                  <a:gd name="connsiteX1308" fmla="*/ 93791 w 9847941"/>
                  <a:gd name="connsiteY1308" fmla="*/ 471078 h 1864765"/>
                  <a:gd name="connsiteX1309" fmla="*/ 93640 w 9847941"/>
                  <a:gd name="connsiteY1309" fmla="*/ 472138 h 1864765"/>
                  <a:gd name="connsiteX1310" fmla="*/ 90003 w 9847941"/>
                  <a:gd name="connsiteY1310" fmla="*/ 473957 h 1864765"/>
                  <a:gd name="connsiteX1311" fmla="*/ 85155 w 9847941"/>
                  <a:gd name="connsiteY1311" fmla="*/ 477139 h 1864765"/>
                  <a:gd name="connsiteX1312" fmla="*/ 86821 w 9847941"/>
                  <a:gd name="connsiteY1312" fmla="*/ 478502 h 1864765"/>
                  <a:gd name="connsiteX1313" fmla="*/ 88185 w 9847941"/>
                  <a:gd name="connsiteY1313" fmla="*/ 478957 h 1864765"/>
                  <a:gd name="connsiteX1314" fmla="*/ 96670 w 9847941"/>
                  <a:gd name="connsiteY1314" fmla="*/ 478502 h 1864765"/>
                  <a:gd name="connsiteX1315" fmla="*/ 105155 w 9847941"/>
                  <a:gd name="connsiteY1315" fmla="*/ 481078 h 1864765"/>
                  <a:gd name="connsiteX1316" fmla="*/ 117429 w 9847941"/>
                  <a:gd name="connsiteY1316" fmla="*/ 481230 h 1864765"/>
                  <a:gd name="connsiteX1317" fmla="*/ 124096 w 9847941"/>
                  <a:gd name="connsiteY1317" fmla="*/ 476836 h 1864765"/>
                  <a:gd name="connsiteX1318" fmla="*/ 126520 w 9847941"/>
                  <a:gd name="connsiteY1318" fmla="*/ 478199 h 1864765"/>
                  <a:gd name="connsiteX1319" fmla="*/ 128490 w 9847941"/>
                  <a:gd name="connsiteY1319" fmla="*/ 479714 h 1864765"/>
                  <a:gd name="connsiteX1320" fmla="*/ 126671 w 9847941"/>
                  <a:gd name="connsiteY1320" fmla="*/ 480775 h 1864765"/>
                  <a:gd name="connsiteX1321" fmla="*/ 121671 w 9847941"/>
                  <a:gd name="connsiteY1321" fmla="*/ 480624 h 1864765"/>
                  <a:gd name="connsiteX1322" fmla="*/ 119853 w 9847941"/>
                  <a:gd name="connsiteY1322" fmla="*/ 481684 h 1864765"/>
                  <a:gd name="connsiteX1323" fmla="*/ 127732 w 9847941"/>
                  <a:gd name="connsiteY1323" fmla="*/ 483048 h 1864765"/>
                  <a:gd name="connsiteX1324" fmla="*/ 130762 w 9847941"/>
                  <a:gd name="connsiteY1324" fmla="*/ 484109 h 1864765"/>
                  <a:gd name="connsiteX1325" fmla="*/ 133187 w 9847941"/>
                  <a:gd name="connsiteY1325" fmla="*/ 485775 h 1864765"/>
                  <a:gd name="connsiteX1326" fmla="*/ 130308 w 9847941"/>
                  <a:gd name="connsiteY1326" fmla="*/ 489563 h 1864765"/>
                  <a:gd name="connsiteX1327" fmla="*/ 124853 w 9847941"/>
                  <a:gd name="connsiteY1327" fmla="*/ 492594 h 1864765"/>
                  <a:gd name="connsiteX1328" fmla="*/ 122277 w 9847941"/>
                  <a:gd name="connsiteY1328" fmla="*/ 489412 h 1864765"/>
                  <a:gd name="connsiteX1329" fmla="*/ 120307 w 9847941"/>
                  <a:gd name="connsiteY1329" fmla="*/ 486230 h 1864765"/>
                  <a:gd name="connsiteX1330" fmla="*/ 119247 w 9847941"/>
                  <a:gd name="connsiteY1330" fmla="*/ 485624 h 1864765"/>
                  <a:gd name="connsiteX1331" fmla="*/ 117580 w 9847941"/>
                  <a:gd name="connsiteY1331" fmla="*/ 485321 h 1864765"/>
                  <a:gd name="connsiteX1332" fmla="*/ 113944 w 9847941"/>
                  <a:gd name="connsiteY1332" fmla="*/ 488351 h 1864765"/>
                  <a:gd name="connsiteX1333" fmla="*/ 109095 w 9847941"/>
                  <a:gd name="connsiteY1333" fmla="*/ 491836 h 1864765"/>
                  <a:gd name="connsiteX1334" fmla="*/ 107428 w 9847941"/>
                  <a:gd name="connsiteY1334" fmla="*/ 492442 h 1864765"/>
                  <a:gd name="connsiteX1335" fmla="*/ 108792 w 9847941"/>
                  <a:gd name="connsiteY1335" fmla="*/ 490169 h 1864765"/>
                  <a:gd name="connsiteX1336" fmla="*/ 110307 w 9847941"/>
                  <a:gd name="connsiteY1336" fmla="*/ 486988 h 1864765"/>
                  <a:gd name="connsiteX1337" fmla="*/ 108792 w 9847941"/>
                  <a:gd name="connsiteY1337" fmla="*/ 485018 h 1864765"/>
                  <a:gd name="connsiteX1338" fmla="*/ 107428 w 9847941"/>
                  <a:gd name="connsiteY1338" fmla="*/ 483957 h 1864765"/>
                  <a:gd name="connsiteX1339" fmla="*/ 103489 w 9847941"/>
                  <a:gd name="connsiteY1339" fmla="*/ 483048 h 1864765"/>
                  <a:gd name="connsiteX1340" fmla="*/ 98792 w 9847941"/>
                  <a:gd name="connsiteY1340" fmla="*/ 480927 h 1864765"/>
                  <a:gd name="connsiteX1341" fmla="*/ 95458 w 9847941"/>
                  <a:gd name="connsiteY1341" fmla="*/ 480018 h 1864765"/>
                  <a:gd name="connsiteX1342" fmla="*/ 92882 w 9847941"/>
                  <a:gd name="connsiteY1342" fmla="*/ 480775 h 1864765"/>
                  <a:gd name="connsiteX1343" fmla="*/ 89700 w 9847941"/>
                  <a:gd name="connsiteY1343" fmla="*/ 486230 h 1864765"/>
                  <a:gd name="connsiteX1344" fmla="*/ 80458 w 9847941"/>
                  <a:gd name="connsiteY1344" fmla="*/ 494412 h 1864765"/>
                  <a:gd name="connsiteX1345" fmla="*/ 83943 w 9847941"/>
                  <a:gd name="connsiteY1345" fmla="*/ 495170 h 1864765"/>
                  <a:gd name="connsiteX1346" fmla="*/ 86973 w 9847941"/>
                  <a:gd name="connsiteY1346" fmla="*/ 495018 h 1864765"/>
                  <a:gd name="connsiteX1347" fmla="*/ 89397 w 9847941"/>
                  <a:gd name="connsiteY1347" fmla="*/ 496079 h 1864765"/>
                  <a:gd name="connsiteX1348" fmla="*/ 88791 w 9847941"/>
                  <a:gd name="connsiteY1348" fmla="*/ 497594 h 1864765"/>
                  <a:gd name="connsiteX1349" fmla="*/ 88337 w 9847941"/>
                  <a:gd name="connsiteY1349" fmla="*/ 500018 h 1864765"/>
                  <a:gd name="connsiteX1350" fmla="*/ 92276 w 9847941"/>
                  <a:gd name="connsiteY1350" fmla="*/ 502594 h 1864765"/>
                  <a:gd name="connsiteX1351" fmla="*/ 95610 w 9847941"/>
                  <a:gd name="connsiteY1351" fmla="*/ 504261 h 1864765"/>
                  <a:gd name="connsiteX1352" fmla="*/ 99398 w 9847941"/>
                  <a:gd name="connsiteY1352" fmla="*/ 504412 h 1864765"/>
                  <a:gd name="connsiteX1353" fmla="*/ 104701 w 9847941"/>
                  <a:gd name="connsiteY1353" fmla="*/ 510776 h 1864765"/>
                  <a:gd name="connsiteX1354" fmla="*/ 113944 w 9847941"/>
                  <a:gd name="connsiteY1354" fmla="*/ 517140 h 1864765"/>
                  <a:gd name="connsiteX1355" fmla="*/ 113641 w 9847941"/>
                  <a:gd name="connsiteY1355" fmla="*/ 518958 h 1864765"/>
                  <a:gd name="connsiteX1356" fmla="*/ 113641 w 9847941"/>
                  <a:gd name="connsiteY1356" fmla="*/ 521080 h 1864765"/>
                  <a:gd name="connsiteX1357" fmla="*/ 120156 w 9847941"/>
                  <a:gd name="connsiteY1357" fmla="*/ 524716 h 1864765"/>
                  <a:gd name="connsiteX1358" fmla="*/ 126368 w 9847941"/>
                  <a:gd name="connsiteY1358" fmla="*/ 524868 h 1864765"/>
                  <a:gd name="connsiteX1359" fmla="*/ 138945 w 9847941"/>
                  <a:gd name="connsiteY1359" fmla="*/ 523049 h 1864765"/>
                  <a:gd name="connsiteX1360" fmla="*/ 148339 w 9847941"/>
                  <a:gd name="connsiteY1360" fmla="*/ 519867 h 1864765"/>
                  <a:gd name="connsiteX1361" fmla="*/ 152278 w 9847941"/>
                  <a:gd name="connsiteY1361" fmla="*/ 516989 h 1864765"/>
                  <a:gd name="connsiteX1362" fmla="*/ 156672 w 9847941"/>
                  <a:gd name="connsiteY1362" fmla="*/ 517140 h 1864765"/>
                  <a:gd name="connsiteX1363" fmla="*/ 157582 w 9847941"/>
                  <a:gd name="connsiteY1363" fmla="*/ 515170 h 1864765"/>
                  <a:gd name="connsiteX1364" fmla="*/ 158491 w 9847941"/>
                  <a:gd name="connsiteY1364" fmla="*/ 511534 h 1864765"/>
                  <a:gd name="connsiteX1365" fmla="*/ 157733 w 9847941"/>
                  <a:gd name="connsiteY1365" fmla="*/ 508503 h 1864765"/>
                  <a:gd name="connsiteX1366" fmla="*/ 157127 w 9847941"/>
                  <a:gd name="connsiteY1366" fmla="*/ 507140 h 1864765"/>
                  <a:gd name="connsiteX1367" fmla="*/ 153339 w 9847941"/>
                  <a:gd name="connsiteY1367" fmla="*/ 505624 h 1864765"/>
                  <a:gd name="connsiteX1368" fmla="*/ 155612 w 9847941"/>
                  <a:gd name="connsiteY1368" fmla="*/ 504412 h 1864765"/>
                  <a:gd name="connsiteX1369" fmla="*/ 159248 w 9847941"/>
                  <a:gd name="connsiteY1369" fmla="*/ 500321 h 1864765"/>
                  <a:gd name="connsiteX1370" fmla="*/ 164855 w 9847941"/>
                  <a:gd name="connsiteY1370" fmla="*/ 491988 h 1864765"/>
                  <a:gd name="connsiteX1371" fmla="*/ 166673 w 9847941"/>
                  <a:gd name="connsiteY1371" fmla="*/ 490321 h 1864765"/>
                  <a:gd name="connsiteX1372" fmla="*/ 168340 w 9847941"/>
                  <a:gd name="connsiteY1372" fmla="*/ 488200 h 1864765"/>
                  <a:gd name="connsiteX1373" fmla="*/ 170309 w 9847941"/>
                  <a:gd name="connsiteY1373" fmla="*/ 487745 h 1864765"/>
                  <a:gd name="connsiteX1374" fmla="*/ 173188 w 9847941"/>
                  <a:gd name="connsiteY1374" fmla="*/ 487745 h 1864765"/>
                  <a:gd name="connsiteX1375" fmla="*/ 173643 w 9847941"/>
                  <a:gd name="connsiteY1375" fmla="*/ 488200 h 1864765"/>
                  <a:gd name="connsiteX1376" fmla="*/ 168340 w 9847941"/>
                  <a:gd name="connsiteY1376" fmla="*/ 491079 h 1864765"/>
                  <a:gd name="connsiteX1377" fmla="*/ 164249 w 9847941"/>
                  <a:gd name="connsiteY1377" fmla="*/ 497594 h 1864765"/>
                  <a:gd name="connsiteX1378" fmla="*/ 160612 w 9847941"/>
                  <a:gd name="connsiteY1378" fmla="*/ 504715 h 1864765"/>
                  <a:gd name="connsiteX1379" fmla="*/ 165461 w 9847941"/>
                  <a:gd name="connsiteY1379" fmla="*/ 509110 h 1864765"/>
                  <a:gd name="connsiteX1380" fmla="*/ 168340 w 9847941"/>
                  <a:gd name="connsiteY1380" fmla="*/ 517292 h 1864765"/>
                  <a:gd name="connsiteX1381" fmla="*/ 174552 w 9847941"/>
                  <a:gd name="connsiteY1381" fmla="*/ 528201 h 1864765"/>
                  <a:gd name="connsiteX1382" fmla="*/ 176673 w 9847941"/>
                  <a:gd name="connsiteY1382" fmla="*/ 533353 h 1864765"/>
                  <a:gd name="connsiteX1383" fmla="*/ 176522 w 9847941"/>
                  <a:gd name="connsiteY1383" fmla="*/ 536383 h 1864765"/>
                  <a:gd name="connsiteX1384" fmla="*/ 175461 w 9847941"/>
                  <a:gd name="connsiteY1384" fmla="*/ 539868 h 1864765"/>
                  <a:gd name="connsiteX1385" fmla="*/ 174097 w 9847941"/>
                  <a:gd name="connsiteY1385" fmla="*/ 542444 h 1864765"/>
                  <a:gd name="connsiteX1386" fmla="*/ 171218 w 9847941"/>
                  <a:gd name="connsiteY1386" fmla="*/ 545778 h 1864765"/>
                  <a:gd name="connsiteX1387" fmla="*/ 172431 w 9847941"/>
                  <a:gd name="connsiteY1387" fmla="*/ 551384 h 1864765"/>
                  <a:gd name="connsiteX1388" fmla="*/ 174855 w 9847941"/>
                  <a:gd name="connsiteY1388" fmla="*/ 554263 h 1864765"/>
                  <a:gd name="connsiteX1389" fmla="*/ 177431 w 9847941"/>
                  <a:gd name="connsiteY1389" fmla="*/ 552899 h 1864765"/>
                  <a:gd name="connsiteX1390" fmla="*/ 181522 w 9847941"/>
                  <a:gd name="connsiteY1390" fmla="*/ 552899 h 1864765"/>
                  <a:gd name="connsiteX1391" fmla="*/ 177582 w 9847941"/>
                  <a:gd name="connsiteY1391" fmla="*/ 556687 h 1864765"/>
                  <a:gd name="connsiteX1392" fmla="*/ 177582 w 9847941"/>
                  <a:gd name="connsiteY1392" fmla="*/ 559414 h 1864765"/>
                  <a:gd name="connsiteX1393" fmla="*/ 177885 w 9847941"/>
                  <a:gd name="connsiteY1393" fmla="*/ 561536 h 1864765"/>
                  <a:gd name="connsiteX1394" fmla="*/ 179401 w 9847941"/>
                  <a:gd name="connsiteY1394" fmla="*/ 565627 h 1864765"/>
                  <a:gd name="connsiteX1395" fmla="*/ 175764 w 9847941"/>
                  <a:gd name="connsiteY1395" fmla="*/ 568657 h 1864765"/>
                  <a:gd name="connsiteX1396" fmla="*/ 171673 w 9847941"/>
                  <a:gd name="connsiteY1396" fmla="*/ 569869 h 1864765"/>
                  <a:gd name="connsiteX1397" fmla="*/ 167885 w 9847941"/>
                  <a:gd name="connsiteY1397" fmla="*/ 571536 h 1864765"/>
                  <a:gd name="connsiteX1398" fmla="*/ 178491 w 9847941"/>
                  <a:gd name="connsiteY1398" fmla="*/ 572900 h 1864765"/>
                  <a:gd name="connsiteX1399" fmla="*/ 189249 w 9847941"/>
                  <a:gd name="connsiteY1399" fmla="*/ 570627 h 1864765"/>
                  <a:gd name="connsiteX1400" fmla="*/ 190159 w 9847941"/>
                  <a:gd name="connsiteY1400" fmla="*/ 567597 h 1864765"/>
                  <a:gd name="connsiteX1401" fmla="*/ 191219 w 9847941"/>
                  <a:gd name="connsiteY1401" fmla="*/ 566839 h 1864765"/>
                  <a:gd name="connsiteX1402" fmla="*/ 192280 w 9847941"/>
                  <a:gd name="connsiteY1402" fmla="*/ 565324 h 1864765"/>
                  <a:gd name="connsiteX1403" fmla="*/ 193189 w 9847941"/>
                  <a:gd name="connsiteY1403" fmla="*/ 565324 h 1864765"/>
                  <a:gd name="connsiteX1404" fmla="*/ 201220 w 9847941"/>
                  <a:gd name="connsiteY1404" fmla="*/ 562445 h 1864765"/>
                  <a:gd name="connsiteX1405" fmla="*/ 204098 w 9847941"/>
                  <a:gd name="connsiteY1405" fmla="*/ 562445 h 1864765"/>
                  <a:gd name="connsiteX1406" fmla="*/ 208493 w 9847941"/>
                  <a:gd name="connsiteY1406" fmla="*/ 559111 h 1864765"/>
                  <a:gd name="connsiteX1407" fmla="*/ 212281 w 9847941"/>
                  <a:gd name="connsiteY1407" fmla="*/ 556990 h 1864765"/>
                  <a:gd name="connsiteX1408" fmla="*/ 216523 w 9847941"/>
                  <a:gd name="connsiteY1408" fmla="*/ 555172 h 1864765"/>
                  <a:gd name="connsiteX1409" fmla="*/ 219251 w 9847941"/>
                  <a:gd name="connsiteY1409" fmla="*/ 558354 h 1864765"/>
                  <a:gd name="connsiteX1410" fmla="*/ 222281 w 9847941"/>
                  <a:gd name="connsiteY1410" fmla="*/ 560930 h 1864765"/>
                  <a:gd name="connsiteX1411" fmla="*/ 228645 w 9847941"/>
                  <a:gd name="connsiteY1411" fmla="*/ 564415 h 1864765"/>
                  <a:gd name="connsiteX1412" fmla="*/ 231069 w 9847941"/>
                  <a:gd name="connsiteY1412" fmla="*/ 563809 h 1864765"/>
                  <a:gd name="connsiteX1413" fmla="*/ 233494 w 9847941"/>
                  <a:gd name="connsiteY1413" fmla="*/ 561536 h 1864765"/>
                  <a:gd name="connsiteX1414" fmla="*/ 235463 w 9847941"/>
                  <a:gd name="connsiteY1414" fmla="*/ 560930 h 1864765"/>
                  <a:gd name="connsiteX1415" fmla="*/ 241373 w 9847941"/>
                  <a:gd name="connsiteY1415" fmla="*/ 565627 h 1864765"/>
                  <a:gd name="connsiteX1416" fmla="*/ 243948 w 9847941"/>
                  <a:gd name="connsiteY1416" fmla="*/ 568506 h 1864765"/>
                  <a:gd name="connsiteX1417" fmla="*/ 251524 w 9847941"/>
                  <a:gd name="connsiteY1417" fmla="*/ 578506 h 1864765"/>
                  <a:gd name="connsiteX1418" fmla="*/ 255616 w 9847941"/>
                  <a:gd name="connsiteY1418" fmla="*/ 581536 h 1864765"/>
                  <a:gd name="connsiteX1419" fmla="*/ 260010 w 9847941"/>
                  <a:gd name="connsiteY1419" fmla="*/ 580021 h 1864765"/>
                  <a:gd name="connsiteX1420" fmla="*/ 260464 w 9847941"/>
                  <a:gd name="connsiteY1420" fmla="*/ 576839 h 1864765"/>
                  <a:gd name="connsiteX1421" fmla="*/ 258040 w 9847941"/>
                  <a:gd name="connsiteY1421" fmla="*/ 568960 h 1864765"/>
                  <a:gd name="connsiteX1422" fmla="*/ 258646 w 9847941"/>
                  <a:gd name="connsiteY1422" fmla="*/ 565930 h 1864765"/>
                  <a:gd name="connsiteX1423" fmla="*/ 260313 w 9847941"/>
                  <a:gd name="connsiteY1423" fmla="*/ 561536 h 1864765"/>
                  <a:gd name="connsiteX1424" fmla="*/ 259404 w 9847941"/>
                  <a:gd name="connsiteY1424" fmla="*/ 558657 h 1864765"/>
                  <a:gd name="connsiteX1425" fmla="*/ 260767 w 9847941"/>
                  <a:gd name="connsiteY1425" fmla="*/ 559566 h 1864765"/>
                  <a:gd name="connsiteX1426" fmla="*/ 263040 w 9847941"/>
                  <a:gd name="connsiteY1426" fmla="*/ 560475 h 1864765"/>
                  <a:gd name="connsiteX1427" fmla="*/ 265616 w 9847941"/>
                  <a:gd name="connsiteY1427" fmla="*/ 558051 h 1864765"/>
                  <a:gd name="connsiteX1428" fmla="*/ 267586 w 9847941"/>
                  <a:gd name="connsiteY1428" fmla="*/ 554566 h 1864765"/>
                  <a:gd name="connsiteX1429" fmla="*/ 270162 w 9847941"/>
                  <a:gd name="connsiteY1429" fmla="*/ 553808 h 1864765"/>
                  <a:gd name="connsiteX1430" fmla="*/ 275768 w 9847941"/>
                  <a:gd name="connsiteY1430" fmla="*/ 555929 h 1864765"/>
                  <a:gd name="connsiteX1431" fmla="*/ 279556 w 9847941"/>
                  <a:gd name="connsiteY1431" fmla="*/ 558354 h 1864765"/>
                  <a:gd name="connsiteX1432" fmla="*/ 276525 w 9847941"/>
                  <a:gd name="connsiteY1432" fmla="*/ 558202 h 1864765"/>
                  <a:gd name="connsiteX1433" fmla="*/ 273040 w 9847941"/>
                  <a:gd name="connsiteY1433" fmla="*/ 556990 h 1864765"/>
                  <a:gd name="connsiteX1434" fmla="*/ 270010 w 9847941"/>
                  <a:gd name="connsiteY1434" fmla="*/ 557445 h 1864765"/>
                  <a:gd name="connsiteX1435" fmla="*/ 268646 w 9847941"/>
                  <a:gd name="connsiteY1435" fmla="*/ 559869 h 1864765"/>
                  <a:gd name="connsiteX1436" fmla="*/ 267889 w 9847941"/>
                  <a:gd name="connsiteY1436" fmla="*/ 563354 h 1864765"/>
                  <a:gd name="connsiteX1437" fmla="*/ 269555 w 9847941"/>
                  <a:gd name="connsiteY1437" fmla="*/ 566384 h 1864765"/>
                  <a:gd name="connsiteX1438" fmla="*/ 270919 w 9847941"/>
                  <a:gd name="connsiteY1438" fmla="*/ 567900 h 1864765"/>
                  <a:gd name="connsiteX1439" fmla="*/ 273343 w 9847941"/>
                  <a:gd name="connsiteY1439" fmla="*/ 571991 h 1864765"/>
                  <a:gd name="connsiteX1440" fmla="*/ 276374 w 9847941"/>
                  <a:gd name="connsiteY1440" fmla="*/ 573051 h 1864765"/>
                  <a:gd name="connsiteX1441" fmla="*/ 281071 w 9847941"/>
                  <a:gd name="connsiteY1441" fmla="*/ 571991 h 1864765"/>
                  <a:gd name="connsiteX1442" fmla="*/ 290768 w 9847941"/>
                  <a:gd name="connsiteY1442" fmla="*/ 567597 h 1864765"/>
                  <a:gd name="connsiteX1443" fmla="*/ 305163 w 9847941"/>
                  <a:gd name="connsiteY1443" fmla="*/ 562445 h 1864765"/>
                  <a:gd name="connsiteX1444" fmla="*/ 310012 w 9847941"/>
                  <a:gd name="connsiteY1444" fmla="*/ 557899 h 1864765"/>
                  <a:gd name="connsiteX1445" fmla="*/ 314254 w 9847941"/>
                  <a:gd name="connsiteY1445" fmla="*/ 551990 h 1864765"/>
                  <a:gd name="connsiteX1446" fmla="*/ 311072 w 9847941"/>
                  <a:gd name="connsiteY1446" fmla="*/ 558808 h 1864765"/>
                  <a:gd name="connsiteX1447" fmla="*/ 307890 w 9847941"/>
                  <a:gd name="connsiteY1447" fmla="*/ 566536 h 1864765"/>
                  <a:gd name="connsiteX1448" fmla="*/ 308799 w 9847941"/>
                  <a:gd name="connsiteY1448" fmla="*/ 567748 h 1864765"/>
                  <a:gd name="connsiteX1449" fmla="*/ 309708 w 9847941"/>
                  <a:gd name="connsiteY1449" fmla="*/ 568051 h 1864765"/>
                  <a:gd name="connsiteX1450" fmla="*/ 302739 w 9847941"/>
                  <a:gd name="connsiteY1450" fmla="*/ 571839 h 1864765"/>
                  <a:gd name="connsiteX1451" fmla="*/ 296375 w 9847941"/>
                  <a:gd name="connsiteY1451" fmla="*/ 577294 h 1864765"/>
                  <a:gd name="connsiteX1452" fmla="*/ 294708 w 9847941"/>
                  <a:gd name="connsiteY1452" fmla="*/ 580627 h 1864765"/>
                  <a:gd name="connsiteX1453" fmla="*/ 294708 w 9847941"/>
                  <a:gd name="connsiteY1453" fmla="*/ 583506 h 1864765"/>
                  <a:gd name="connsiteX1454" fmla="*/ 295769 w 9847941"/>
                  <a:gd name="connsiteY1454" fmla="*/ 587446 h 1864765"/>
                  <a:gd name="connsiteX1455" fmla="*/ 298344 w 9847941"/>
                  <a:gd name="connsiteY1455" fmla="*/ 588203 h 1864765"/>
                  <a:gd name="connsiteX1456" fmla="*/ 299860 w 9847941"/>
                  <a:gd name="connsiteY1456" fmla="*/ 588203 h 1864765"/>
                  <a:gd name="connsiteX1457" fmla="*/ 303799 w 9847941"/>
                  <a:gd name="connsiteY1457" fmla="*/ 589870 h 1864765"/>
                  <a:gd name="connsiteX1458" fmla="*/ 296981 w 9847941"/>
                  <a:gd name="connsiteY1458" fmla="*/ 590779 h 1864765"/>
                  <a:gd name="connsiteX1459" fmla="*/ 293950 w 9847941"/>
                  <a:gd name="connsiteY1459" fmla="*/ 591991 h 1864765"/>
                  <a:gd name="connsiteX1460" fmla="*/ 292435 w 9847941"/>
                  <a:gd name="connsiteY1460" fmla="*/ 595476 h 1864765"/>
                  <a:gd name="connsiteX1461" fmla="*/ 292132 w 9847941"/>
                  <a:gd name="connsiteY1461" fmla="*/ 601689 h 1864765"/>
                  <a:gd name="connsiteX1462" fmla="*/ 290465 w 9847941"/>
                  <a:gd name="connsiteY1462" fmla="*/ 607750 h 1864765"/>
                  <a:gd name="connsiteX1463" fmla="*/ 289859 w 9847941"/>
                  <a:gd name="connsiteY1463" fmla="*/ 610325 h 1864765"/>
                  <a:gd name="connsiteX1464" fmla="*/ 290314 w 9847941"/>
                  <a:gd name="connsiteY1464" fmla="*/ 611841 h 1864765"/>
                  <a:gd name="connsiteX1465" fmla="*/ 292284 w 9847941"/>
                  <a:gd name="connsiteY1465" fmla="*/ 613356 h 1864765"/>
                  <a:gd name="connsiteX1466" fmla="*/ 293193 w 9847941"/>
                  <a:gd name="connsiteY1466" fmla="*/ 615780 h 1864765"/>
                  <a:gd name="connsiteX1467" fmla="*/ 294253 w 9847941"/>
                  <a:gd name="connsiteY1467" fmla="*/ 616386 h 1864765"/>
                  <a:gd name="connsiteX1468" fmla="*/ 295920 w 9847941"/>
                  <a:gd name="connsiteY1468" fmla="*/ 616689 h 1864765"/>
                  <a:gd name="connsiteX1469" fmla="*/ 296223 w 9847941"/>
                  <a:gd name="connsiteY1469" fmla="*/ 617144 h 1864765"/>
                  <a:gd name="connsiteX1470" fmla="*/ 294253 w 9847941"/>
                  <a:gd name="connsiteY1470" fmla="*/ 618053 h 1864765"/>
                  <a:gd name="connsiteX1471" fmla="*/ 291223 w 9847941"/>
                  <a:gd name="connsiteY1471" fmla="*/ 617447 h 1864765"/>
                  <a:gd name="connsiteX1472" fmla="*/ 290465 w 9847941"/>
                  <a:gd name="connsiteY1472" fmla="*/ 616841 h 1864765"/>
                  <a:gd name="connsiteX1473" fmla="*/ 289859 w 9847941"/>
                  <a:gd name="connsiteY1473" fmla="*/ 615780 h 1864765"/>
                  <a:gd name="connsiteX1474" fmla="*/ 288799 w 9847941"/>
                  <a:gd name="connsiteY1474" fmla="*/ 615477 h 1864765"/>
                  <a:gd name="connsiteX1475" fmla="*/ 285768 w 9847941"/>
                  <a:gd name="connsiteY1475" fmla="*/ 616235 h 1864765"/>
                  <a:gd name="connsiteX1476" fmla="*/ 284405 w 9847941"/>
                  <a:gd name="connsiteY1476" fmla="*/ 616841 h 1864765"/>
                  <a:gd name="connsiteX1477" fmla="*/ 280313 w 9847941"/>
                  <a:gd name="connsiteY1477" fmla="*/ 620780 h 1864765"/>
                  <a:gd name="connsiteX1478" fmla="*/ 277889 w 9847941"/>
                  <a:gd name="connsiteY1478" fmla="*/ 622447 h 1864765"/>
                  <a:gd name="connsiteX1479" fmla="*/ 275465 w 9847941"/>
                  <a:gd name="connsiteY1479" fmla="*/ 623356 h 1864765"/>
                  <a:gd name="connsiteX1480" fmla="*/ 272889 w 9847941"/>
                  <a:gd name="connsiteY1480" fmla="*/ 625174 h 1864765"/>
                  <a:gd name="connsiteX1481" fmla="*/ 268646 w 9847941"/>
                  <a:gd name="connsiteY1481" fmla="*/ 629114 h 1864765"/>
                  <a:gd name="connsiteX1482" fmla="*/ 265616 w 9847941"/>
                  <a:gd name="connsiteY1482" fmla="*/ 632447 h 1864765"/>
                  <a:gd name="connsiteX1483" fmla="*/ 263495 w 9847941"/>
                  <a:gd name="connsiteY1483" fmla="*/ 635326 h 1864765"/>
                  <a:gd name="connsiteX1484" fmla="*/ 263040 w 9847941"/>
                  <a:gd name="connsiteY1484" fmla="*/ 636993 h 1864765"/>
                  <a:gd name="connsiteX1485" fmla="*/ 262889 w 9847941"/>
                  <a:gd name="connsiteY1485" fmla="*/ 639114 h 1864765"/>
                  <a:gd name="connsiteX1486" fmla="*/ 263040 w 9847941"/>
                  <a:gd name="connsiteY1486" fmla="*/ 641387 h 1864765"/>
                  <a:gd name="connsiteX1487" fmla="*/ 263495 w 9847941"/>
                  <a:gd name="connsiteY1487" fmla="*/ 643660 h 1864765"/>
                  <a:gd name="connsiteX1488" fmla="*/ 263192 w 9847941"/>
                  <a:gd name="connsiteY1488" fmla="*/ 645024 h 1864765"/>
                  <a:gd name="connsiteX1489" fmla="*/ 262282 w 9847941"/>
                  <a:gd name="connsiteY1489" fmla="*/ 645327 h 1864765"/>
                  <a:gd name="connsiteX1490" fmla="*/ 260313 w 9847941"/>
                  <a:gd name="connsiteY1490" fmla="*/ 645024 h 1864765"/>
                  <a:gd name="connsiteX1491" fmla="*/ 257282 w 9847941"/>
                  <a:gd name="connsiteY1491" fmla="*/ 644266 h 1864765"/>
                  <a:gd name="connsiteX1492" fmla="*/ 256676 w 9847941"/>
                  <a:gd name="connsiteY1492" fmla="*/ 643054 h 1864765"/>
                  <a:gd name="connsiteX1493" fmla="*/ 256676 w 9847941"/>
                  <a:gd name="connsiteY1493" fmla="*/ 641690 h 1864765"/>
                  <a:gd name="connsiteX1494" fmla="*/ 254706 w 9847941"/>
                  <a:gd name="connsiteY1494" fmla="*/ 642599 h 1864765"/>
                  <a:gd name="connsiteX1495" fmla="*/ 250161 w 9847941"/>
                  <a:gd name="connsiteY1495" fmla="*/ 646084 h 1864765"/>
                  <a:gd name="connsiteX1496" fmla="*/ 246827 w 9847941"/>
                  <a:gd name="connsiteY1496" fmla="*/ 649266 h 1864765"/>
                  <a:gd name="connsiteX1497" fmla="*/ 233039 w 9847941"/>
                  <a:gd name="connsiteY1497" fmla="*/ 654266 h 1864765"/>
                  <a:gd name="connsiteX1498" fmla="*/ 225917 w 9847941"/>
                  <a:gd name="connsiteY1498" fmla="*/ 659115 h 1864765"/>
                  <a:gd name="connsiteX1499" fmla="*/ 223039 w 9847941"/>
                  <a:gd name="connsiteY1499" fmla="*/ 660630 h 1864765"/>
                  <a:gd name="connsiteX1500" fmla="*/ 218796 w 9847941"/>
                  <a:gd name="connsiteY1500" fmla="*/ 663812 h 1864765"/>
                  <a:gd name="connsiteX1501" fmla="*/ 216675 w 9847941"/>
                  <a:gd name="connsiteY1501" fmla="*/ 666691 h 1864765"/>
                  <a:gd name="connsiteX1502" fmla="*/ 214402 w 9847941"/>
                  <a:gd name="connsiteY1502" fmla="*/ 670782 h 1864765"/>
                  <a:gd name="connsiteX1503" fmla="*/ 212887 w 9847941"/>
                  <a:gd name="connsiteY1503" fmla="*/ 673812 h 1864765"/>
                  <a:gd name="connsiteX1504" fmla="*/ 212281 w 9847941"/>
                  <a:gd name="connsiteY1504" fmla="*/ 675782 h 1864765"/>
                  <a:gd name="connsiteX1505" fmla="*/ 212584 w 9847941"/>
                  <a:gd name="connsiteY1505" fmla="*/ 677297 h 1864765"/>
                  <a:gd name="connsiteX1506" fmla="*/ 213947 w 9847941"/>
                  <a:gd name="connsiteY1506" fmla="*/ 678510 h 1864765"/>
                  <a:gd name="connsiteX1507" fmla="*/ 218644 w 9847941"/>
                  <a:gd name="connsiteY1507" fmla="*/ 681237 h 1864765"/>
                  <a:gd name="connsiteX1508" fmla="*/ 219705 w 9847941"/>
                  <a:gd name="connsiteY1508" fmla="*/ 682449 h 1864765"/>
                  <a:gd name="connsiteX1509" fmla="*/ 219099 w 9847941"/>
                  <a:gd name="connsiteY1509" fmla="*/ 683510 h 1864765"/>
                  <a:gd name="connsiteX1510" fmla="*/ 217584 w 9847941"/>
                  <a:gd name="connsiteY1510" fmla="*/ 683661 h 1864765"/>
                  <a:gd name="connsiteX1511" fmla="*/ 215160 w 9847941"/>
                  <a:gd name="connsiteY1511" fmla="*/ 683055 h 1864765"/>
                  <a:gd name="connsiteX1512" fmla="*/ 213493 w 9847941"/>
                  <a:gd name="connsiteY1512" fmla="*/ 682298 h 1864765"/>
                  <a:gd name="connsiteX1513" fmla="*/ 212584 w 9847941"/>
                  <a:gd name="connsiteY1513" fmla="*/ 681388 h 1864765"/>
                  <a:gd name="connsiteX1514" fmla="*/ 210614 w 9847941"/>
                  <a:gd name="connsiteY1514" fmla="*/ 680934 h 1864765"/>
                  <a:gd name="connsiteX1515" fmla="*/ 207735 w 9847941"/>
                  <a:gd name="connsiteY1515" fmla="*/ 681085 h 1864765"/>
                  <a:gd name="connsiteX1516" fmla="*/ 206371 w 9847941"/>
                  <a:gd name="connsiteY1516" fmla="*/ 681692 h 1864765"/>
                  <a:gd name="connsiteX1517" fmla="*/ 206674 w 9847941"/>
                  <a:gd name="connsiteY1517" fmla="*/ 684874 h 1864765"/>
                  <a:gd name="connsiteX1518" fmla="*/ 206220 w 9847941"/>
                  <a:gd name="connsiteY1518" fmla="*/ 685480 h 1864765"/>
                  <a:gd name="connsiteX1519" fmla="*/ 205159 w 9847941"/>
                  <a:gd name="connsiteY1519" fmla="*/ 685631 h 1864765"/>
                  <a:gd name="connsiteX1520" fmla="*/ 203492 w 9847941"/>
                  <a:gd name="connsiteY1520" fmla="*/ 684571 h 1864765"/>
                  <a:gd name="connsiteX1521" fmla="*/ 199250 w 9847941"/>
                  <a:gd name="connsiteY1521" fmla="*/ 680176 h 1864765"/>
                  <a:gd name="connsiteX1522" fmla="*/ 199098 w 9847941"/>
                  <a:gd name="connsiteY1522" fmla="*/ 679267 h 1864765"/>
                  <a:gd name="connsiteX1523" fmla="*/ 201977 w 9847941"/>
                  <a:gd name="connsiteY1523" fmla="*/ 678055 h 1864765"/>
                  <a:gd name="connsiteX1524" fmla="*/ 202583 w 9847941"/>
                  <a:gd name="connsiteY1524" fmla="*/ 676994 h 1864765"/>
                  <a:gd name="connsiteX1525" fmla="*/ 201977 w 9847941"/>
                  <a:gd name="connsiteY1525" fmla="*/ 676085 h 1864765"/>
                  <a:gd name="connsiteX1526" fmla="*/ 200007 w 9847941"/>
                  <a:gd name="connsiteY1526" fmla="*/ 676994 h 1864765"/>
                  <a:gd name="connsiteX1527" fmla="*/ 195159 w 9847941"/>
                  <a:gd name="connsiteY1527" fmla="*/ 677752 h 1864765"/>
                  <a:gd name="connsiteX1528" fmla="*/ 193795 w 9847941"/>
                  <a:gd name="connsiteY1528" fmla="*/ 677600 h 1864765"/>
                  <a:gd name="connsiteX1529" fmla="*/ 193037 w 9847941"/>
                  <a:gd name="connsiteY1529" fmla="*/ 676691 h 1864765"/>
                  <a:gd name="connsiteX1530" fmla="*/ 194250 w 9847941"/>
                  <a:gd name="connsiteY1530" fmla="*/ 675328 h 1864765"/>
                  <a:gd name="connsiteX1531" fmla="*/ 193189 w 9847941"/>
                  <a:gd name="connsiteY1531" fmla="*/ 675025 h 1864765"/>
                  <a:gd name="connsiteX1532" fmla="*/ 180007 w 9847941"/>
                  <a:gd name="connsiteY1532" fmla="*/ 679419 h 1864765"/>
                  <a:gd name="connsiteX1533" fmla="*/ 173491 w 9847941"/>
                  <a:gd name="connsiteY1533" fmla="*/ 682601 h 1864765"/>
                  <a:gd name="connsiteX1534" fmla="*/ 167430 w 9847941"/>
                  <a:gd name="connsiteY1534" fmla="*/ 686692 h 1864765"/>
                  <a:gd name="connsiteX1535" fmla="*/ 162127 w 9847941"/>
                  <a:gd name="connsiteY1535" fmla="*/ 691540 h 1864765"/>
                  <a:gd name="connsiteX1536" fmla="*/ 157582 w 9847941"/>
                  <a:gd name="connsiteY1536" fmla="*/ 697147 h 1864765"/>
                  <a:gd name="connsiteX1537" fmla="*/ 153642 w 9847941"/>
                  <a:gd name="connsiteY1537" fmla="*/ 700935 h 1864765"/>
                  <a:gd name="connsiteX1538" fmla="*/ 150612 w 9847941"/>
                  <a:gd name="connsiteY1538" fmla="*/ 702753 h 1864765"/>
                  <a:gd name="connsiteX1539" fmla="*/ 148642 w 9847941"/>
                  <a:gd name="connsiteY1539" fmla="*/ 704420 h 1864765"/>
                  <a:gd name="connsiteX1540" fmla="*/ 148339 w 9847941"/>
                  <a:gd name="connsiteY1540" fmla="*/ 705783 h 1864765"/>
                  <a:gd name="connsiteX1541" fmla="*/ 147430 w 9847941"/>
                  <a:gd name="connsiteY1541" fmla="*/ 706693 h 1864765"/>
                  <a:gd name="connsiteX1542" fmla="*/ 145915 w 9847941"/>
                  <a:gd name="connsiteY1542" fmla="*/ 707147 h 1864765"/>
                  <a:gd name="connsiteX1543" fmla="*/ 144702 w 9847941"/>
                  <a:gd name="connsiteY1543" fmla="*/ 706996 h 1864765"/>
                  <a:gd name="connsiteX1544" fmla="*/ 143642 w 9847941"/>
                  <a:gd name="connsiteY1544" fmla="*/ 706389 h 1864765"/>
                  <a:gd name="connsiteX1545" fmla="*/ 141823 w 9847941"/>
                  <a:gd name="connsiteY1545" fmla="*/ 706844 h 1864765"/>
                  <a:gd name="connsiteX1546" fmla="*/ 137278 w 9847941"/>
                  <a:gd name="connsiteY1546" fmla="*/ 709571 h 1864765"/>
                  <a:gd name="connsiteX1547" fmla="*/ 136672 w 9847941"/>
                  <a:gd name="connsiteY1547" fmla="*/ 710632 h 1864765"/>
                  <a:gd name="connsiteX1548" fmla="*/ 136672 w 9847941"/>
                  <a:gd name="connsiteY1548" fmla="*/ 711996 h 1864765"/>
                  <a:gd name="connsiteX1549" fmla="*/ 137278 w 9847941"/>
                  <a:gd name="connsiteY1549" fmla="*/ 713814 h 1864765"/>
                  <a:gd name="connsiteX1550" fmla="*/ 136975 w 9847941"/>
                  <a:gd name="connsiteY1550" fmla="*/ 716087 h 1864765"/>
                  <a:gd name="connsiteX1551" fmla="*/ 135763 w 9847941"/>
                  <a:gd name="connsiteY1551" fmla="*/ 718814 h 1864765"/>
                  <a:gd name="connsiteX1552" fmla="*/ 135763 w 9847941"/>
                  <a:gd name="connsiteY1552" fmla="*/ 720178 h 1864765"/>
                  <a:gd name="connsiteX1553" fmla="*/ 136975 w 9847941"/>
                  <a:gd name="connsiteY1553" fmla="*/ 720178 h 1864765"/>
                  <a:gd name="connsiteX1554" fmla="*/ 138793 w 9847941"/>
                  <a:gd name="connsiteY1554" fmla="*/ 719269 h 1864765"/>
                  <a:gd name="connsiteX1555" fmla="*/ 141217 w 9847941"/>
                  <a:gd name="connsiteY1555" fmla="*/ 717299 h 1864765"/>
                  <a:gd name="connsiteX1556" fmla="*/ 142126 w 9847941"/>
                  <a:gd name="connsiteY1556" fmla="*/ 715178 h 1864765"/>
                  <a:gd name="connsiteX1557" fmla="*/ 141369 w 9847941"/>
                  <a:gd name="connsiteY1557" fmla="*/ 712905 h 1864765"/>
                  <a:gd name="connsiteX1558" fmla="*/ 141520 w 9847941"/>
                  <a:gd name="connsiteY1558" fmla="*/ 711693 h 1864765"/>
                  <a:gd name="connsiteX1559" fmla="*/ 144854 w 9847941"/>
                  <a:gd name="connsiteY1559" fmla="*/ 712450 h 1864765"/>
                  <a:gd name="connsiteX1560" fmla="*/ 148490 w 9847941"/>
                  <a:gd name="connsiteY1560" fmla="*/ 715935 h 1864765"/>
                  <a:gd name="connsiteX1561" fmla="*/ 149703 w 9847941"/>
                  <a:gd name="connsiteY1561" fmla="*/ 716087 h 1864765"/>
                  <a:gd name="connsiteX1562" fmla="*/ 153642 w 9847941"/>
                  <a:gd name="connsiteY1562" fmla="*/ 714269 h 1864765"/>
                  <a:gd name="connsiteX1563" fmla="*/ 155157 w 9847941"/>
                  <a:gd name="connsiteY1563" fmla="*/ 712602 h 1864765"/>
                  <a:gd name="connsiteX1564" fmla="*/ 155309 w 9847941"/>
                  <a:gd name="connsiteY1564" fmla="*/ 711390 h 1864765"/>
                  <a:gd name="connsiteX1565" fmla="*/ 154551 w 9847941"/>
                  <a:gd name="connsiteY1565" fmla="*/ 705783 h 1864765"/>
                  <a:gd name="connsiteX1566" fmla="*/ 154854 w 9847941"/>
                  <a:gd name="connsiteY1566" fmla="*/ 704723 h 1864765"/>
                  <a:gd name="connsiteX1567" fmla="*/ 157279 w 9847941"/>
                  <a:gd name="connsiteY1567" fmla="*/ 704874 h 1864765"/>
                  <a:gd name="connsiteX1568" fmla="*/ 158491 w 9847941"/>
                  <a:gd name="connsiteY1568" fmla="*/ 706238 h 1864765"/>
                  <a:gd name="connsiteX1569" fmla="*/ 160309 w 9847941"/>
                  <a:gd name="connsiteY1569" fmla="*/ 708662 h 1864765"/>
                  <a:gd name="connsiteX1570" fmla="*/ 160764 w 9847941"/>
                  <a:gd name="connsiteY1570" fmla="*/ 710177 h 1864765"/>
                  <a:gd name="connsiteX1571" fmla="*/ 159703 w 9847941"/>
                  <a:gd name="connsiteY1571" fmla="*/ 710784 h 1864765"/>
                  <a:gd name="connsiteX1572" fmla="*/ 159551 w 9847941"/>
                  <a:gd name="connsiteY1572" fmla="*/ 711390 h 1864765"/>
                  <a:gd name="connsiteX1573" fmla="*/ 160309 w 9847941"/>
                  <a:gd name="connsiteY1573" fmla="*/ 711996 h 1864765"/>
                  <a:gd name="connsiteX1574" fmla="*/ 161521 w 9847941"/>
                  <a:gd name="connsiteY1574" fmla="*/ 712299 h 1864765"/>
                  <a:gd name="connsiteX1575" fmla="*/ 163036 w 9847941"/>
                  <a:gd name="connsiteY1575" fmla="*/ 712450 h 1864765"/>
                  <a:gd name="connsiteX1576" fmla="*/ 164703 w 9847941"/>
                  <a:gd name="connsiteY1576" fmla="*/ 711541 h 1864765"/>
                  <a:gd name="connsiteX1577" fmla="*/ 166370 w 9847941"/>
                  <a:gd name="connsiteY1577" fmla="*/ 709723 h 1864765"/>
                  <a:gd name="connsiteX1578" fmla="*/ 167582 w 9847941"/>
                  <a:gd name="connsiteY1578" fmla="*/ 708814 h 1864765"/>
                  <a:gd name="connsiteX1579" fmla="*/ 170158 w 9847941"/>
                  <a:gd name="connsiteY1579" fmla="*/ 708965 h 1864765"/>
                  <a:gd name="connsiteX1580" fmla="*/ 172734 w 9847941"/>
                  <a:gd name="connsiteY1580" fmla="*/ 706693 h 1864765"/>
                  <a:gd name="connsiteX1581" fmla="*/ 179249 w 9847941"/>
                  <a:gd name="connsiteY1581" fmla="*/ 699268 h 1864765"/>
                  <a:gd name="connsiteX1582" fmla="*/ 179855 w 9847941"/>
                  <a:gd name="connsiteY1582" fmla="*/ 698207 h 1864765"/>
                  <a:gd name="connsiteX1583" fmla="*/ 180764 w 9847941"/>
                  <a:gd name="connsiteY1583" fmla="*/ 693813 h 1864765"/>
                  <a:gd name="connsiteX1584" fmla="*/ 181522 w 9847941"/>
                  <a:gd name="connsiteY1584" fmla="*/ 692601 h 1864765"/>
                  <a:gd name="connsiteX1585" fmla="*/ 183037 w 9847941"/>
                  <a:gd name="connsiteY1585" fmla="*/ 691540 h 1864765"/>
                  <a:gd name="connsiteX1586" fmla="*/ 185310 w 9847941"/>
                  <a:gd name="connsiteY1586" fmla="*/ 690631 h 1864765"/>
                  <a:gd name="connsiteX1587" fmla="*/ 186977 w 9847941"/>
                  <a:gd name="connsiteY1587" fmla="*/ 690177 h 1864765"/>
                  <a:gd name="connsiteX1588" fmla="*/ 189704 w 9847941"/>
                  <a:gd name="connsiteY1588" fmla="*/ 690783 h 1864765"/>
                  <a:gd name="connsiteX1589" fmla="*/ 192431 w 9847941"/>
                  <a:gd name="connsiteY1589" fmla="*/ 691995 h 1864765"/>
                  <a:gd name="connsiteX1590" fmla="*/ 193492 w 9847941"/>
                  <a:gd name="connsiteY1590" fmla="*/ 692753 h 1864765"/>
                  <a:gd name="connsiteX1591" fmla="*/ 193795 w 9847941"/>
                  <a:gd name="connsiteY1591" fmla="*/ 693359 h 1864765"/>
                  <a:gd name="connsiteX1592" fmla="*/ 190765 w 9847941"/>
                  <a:gd name="connsiteY1592" fmla="*/ 692753 h 1864765"/>
                  <a:gd name="connsiteX1593" fmla="*/ 189098 w 9847941"/>
                  <a:gd name="connsiteY1593" fmla="*/ 692904 h 1864765"/>
                  <a:gd name="connsiteX1594" fmla="*/ 188037 w 9847941"/>
                  <a:gd name="connsiteY1594" fmla="*/ 693662 h 1864765"/>
                  <a:gd name="connsiteX1595" fmla="*/ 187128 w 9847941"/>
                  <a:gd name="connsiteY1595" fmla="*/ 694571 h 1864765"/>
                  <a:gd name="connsiteX1596" fmla="*/ 186219 w 9847941"/>
                  <a:gd name="connsiteY1596" fmla="*/ 696389 h 1864765"/>
                  <a:gd name="connsiteX1597" fmla="*/ 186068 w 9847941"/>
                  <a:gd name="connsiteY1597" fmla="*/ 698965 h 1864765"/>
                  <a:gd name="connsiteX1598" fmla="*/ 186522 w 9847941"/>
                  <a:gd name="connsiteY1598" fmla="*/ 699571 h 1864765"/>
                  <a:gd name="connsiteX1599" fmla="*/ 188795 w 9847941"/>
                  <a:gd name="connsiteY1599" fmla="*/ 700026 h 1864765"/>
                  <a:gd name="connsiteX1600" fmla="*/ 194401 w 9847941"/>
                  <a:gd name="connsiteY1600" fmla="*/ 699419 h 1864765"/>
                  <a:gd name="connsiteX1601" fmla="*/ 196522 w 9847941"/>
                  <a:gd name="connsiteY1601" fmla="*/ 698813 h 1864765"/>
                  <a:gd name="connsiteX1602" fmla="*/ 198644 w 9847941"/>
                  <a:gd name="connsiteY1602" fmla="*/ 697450 h 1864765"/>
                  <a:gd name="connsiteX1603" fmla="*/ 200614 w 9847941"/>
                  <a:gd name="connsiteY1603" fmla="*/ 695480 h 1864765"/>
                  <a:gd name="connsiteX1604" fmla="*/ 202129 w 9847941"/>
                  <a:gd name="connsiteY1604" fmla="*/ 694722 h 1864765"/>
                  <a:gd name="connsiteX1605" fmla="*/ 205614 w 9847941"/>
                  <a:gd name="connsiteY1605" fmla="*/ 695935 h 1864765"/>
                  <a:gd name="connsiteX1606" fmla="*/ 206826 w 9847941"/>
                  <a:gd name="connsiteY1606" fmla="*/ 695328 h 1864765"/>
                  <a:gd name="connsiteX1607" fmla="*/ 208038 w 9847941"/>
                  <a:gd name="connsiteY1607" fmla="*/ 693813 h 1864765"/>
                  <a:gd name="connsiteX1608" fmla="*/ 209553 w 9847941"/>
                  <a:gd name="connsiteY1608" fmla="*/ 693359 h 1864765"/>
                  <a:gd name="connsiteX1609" fmla="*/ 211523 w 9847941"/>
                  <a:gd name="connsiteY1609" fmla="*/ 693965 h 1864765"/>
                  <a:gd name="connsiteX1610" fmla="*/ 213038 w 9847941"/>
                  <a:gd name="connsiteY1610" fmla="*/ 693965 h 1864765"/>
                  <a:gd name="connsiteX1611" fmla="*/ 214099 w 9847941"/>
                  <a:gd name="connsiteY1611" fmla="*/ 693207 h 1864765"/>
                  <a:gd name="connsiteX1612" fmla="*/ 215614 w 9847941"/>
                  <a:gd name="connsiteY1612" fmla="*/ 691086 h 1864765"/>
                  <a:gd name="connsiteX1613" fmla="*/ 216523 w 9847941"/>
                  <a:gd name="connsiteY1613" fmla="*/ 690328 h 1864765"/>
                  <a:gd name="connsiteX1614" fmla="*/ 220008 w 9847941"/>
                  <a:gd name="connsiteY1614" fmla="*/ 689419 h 1864765"/>
                  <a:gd name="connsiteX1615" fmla="*/ 225463 w 9847941"/>
                  <a:gd name="connsiteY1615" fmla="*/ 685480 h 1864765"/>
                  <a:gd name="connsiteX1616" fmla="*/ 227736 w 9847941"/>
                  <a:gd name="connsiteY1616" fmla="*/ 684267 h 1864765"/>
                  <a:gd name="connsiteX1617" fmla="*/ 229099 w 9847941"/>
                  <a:gd name="connsiteY1617" fmla="*/ 684419 h 1864765"/>
                  <a:gd name="connsiteX1618" fmla="*/ 230160 w 9847941"/>
                  <a:gd name="connsiteY1618" fmla="*/ 684116 h 1864765"/>
                  <a:gd name="connsiteX1619" fmla="*/ 231978 w 9847941"/>
                  <a:gd name="connsiteY1619" fmla="*/ 682904 h 1864765"/>
                  <a:gd name="connsiteX1620" fmla="*/ 233039 w 9847941"/>
                  <a:gd name="connsiteY1620" fmla="*/ 682601 h 1864765"/>
                  <a:gd name="connsiteX1621" fmla="*/ 233797 w 9847941"/>
                  <a:gd name="connsiteY1621" fmla="*/ 682449 h 1864765"/>
                  <a:gd name="connsiteX1622" fmla="*/ 235615 w 9847941"/>
                  <a:gd name="connsiteY1622" fmla="*/ 683207 h 1864765"/>
                  <a:gd name="connsiteX1623" fmla="*/ 235918 w 9847941"/>
                  <a:gd name="connsiteY1623" fmla="*/ 684419 h 1864765"/>
                  <a:gd name="connsiteX1624" fmla="*/ 235766 w 9847941"/>
                  <a:gd name="connsiteY1624" fmla="*/ 690177 h 1864765"/>
                  <a:gd name="connsiteX1625" fmla="*/ 236069 w 9847941"/>
                  <a:gd name="connsiteY1625" fmla="*/ 690934 h 1864765"/>
                  <a:gd name="connsiteX1626" fmla="*/ 237433 w 9847941"/>
                  <a:gd name="connsiteY1626" fmla="*/ 689874 h 1864765"/>
                  <a:gd name="connsiteX1627" fmla="*/ 238645 w 9847941"/>
                  <a:gd name="connsiteY1627" fmla="*/ 687601 h 1864765"/>
                  <a:gd name="connsiteX1628" fmla="*/ 239403 w 9847941"/>
                  <a:gd name="connsiteY1628" fmla="*/ 685480 h 1864765"/>
                  <a:gd name="connsiteX1629" fmla="*/ 239857 w 9847941"/>
                  <a:gd name="connsiteY1629" fmla="*/ 683055 h 1864765"/>
                  <a:gd name="connsiteX1630" fmla="*/ 242433 w 9847941"/>
                  <a:gd name="connsiteY1630" fmla="*/ 681843 h 1864765"/>
                  <a:gd name="connsiteX1631" fmla="*/ 259858 w 9847941"/>
                  <a:gd name="connsiteY1631" fmla="*/ 676237 h 1864765"/>
                  <a:gd name="connsiteX1632" fmla="*/ 262131 w 9847941"/>
                  <a:gd name="connsiteY1632" fmla="*/ 674116 h 1864765"/>
                  <a:gd name="connsiteX1633" fmla="*/ 264252 w 9847941"/>
                  <a:gd name="connsiteY1633" fmla="*/ 669873 h 1864765"/>
                  <a:gd name="connsiteX1634" fmla="*/ 265161 w 9847941"/>
                  <a:gd name="connsiteY1634" fmla="*/ 668661 h 1864765"/>
                  <a:gd name="connsiteX1635" fmla="*/ 266222 w 9847941"/>
                  <a:gd name="connsiteY1635" fmla="*/ 668661 h 1864765"/>
                  <a:gd name="connsiteX1636" fmla="*/ 266525 w 9847941"/>
                  <a:gd name="connsiteY1636" fmla="*/ 669267 h 1864765"/>
                  <a:gd name="connsiteX1637" fmla="*/ 266980 w 9847941"/>
                  <a:gd name="connsiteY1637" fmla="*/ 672903 h 1864765"/>
                  <a:gd name="connsiteX1638" fmla="*/ 267434 w 9847941"/>
                  <a:gd name="connsiteY1638" fmla="*/ 673358 h 1864765"/>
                  <a:gd name="connsiteX1639" fmla="*/ 268192 w 9847941"/>
                  <a:gd name="connsiteY1639" fmla="*/ 672903 h 1864765"/>
                  <a:gd name="connsiteX1640" fmla="*/ 269404 w 9847941"/>
                  <a:gd name="connsiteY1640" fmla="*/ 671540 h 1864765"/>
                  <a:gd name="connsiteX1641" fmla="*/ 273647 w 9847941"/>
                  <a:gd name="connsiteY1641" fmla="*/ 668206 h 1864765"/>
                  <a:gd name="connsiteX1642" fmla="*/ 273192 w 9847941"/>
                  <a:gd name="connsiteY1642" fmla="*/ 667903 h 1864765"/>
                  <a:gd name="connsiteX1643" fmla="*/ 272434 w 9847941"/>
                  <a:gd name="connsiteY1643" fmla="*/ 665933 h 1864765"/>
                  <a:gd name="connsiteX1644" fmla="*/ 271677 w 9847941"/>
                  <a:gd name="connsiteY1644" fmla="*/ 664873 h 1864765"/>
                  <a:gd name="connsiteX1645" fmla="*/ 270465 w 9847941"/>
                  <a:gd name="connsiteY1645" fmla="*/ 664115 h 1864765"/>
                  <a:gd name="connsiteX1646" fmla="*/ 268192 w 9847941"/>
                  <a:gd name="connsiteY1646" fmla="*/ 663509 h 1864765"/>
                  <a:gd name="connsiteX1647" fmla="*/ 266374 w 9847941"/>
                  <a:gd name="connsiteY1647" fmla="*/ 663964 h 1864765"/>
                  <a:gd name="connsiteX1648" fmla="*/ 265919 w 9847941"/>
                  <a:gd name="connsiteY1648" fmla="*/ 663812 h 1864765"/>
                  <a:gd name="connsiteX1649" fmla="*/ 266374 w 9847941"/>
                  <a:gd name="connsiteY1649" fmla="*/ 662903 h 1864765"/>
                  <a:gd name="connsiteX1650" fmla="*/ 269707 w 9847941"/>
                  <a:gd name="connsiteY1650" fmla="*/ 658963 h 1864765"/>
                  <a:gd name="connsiteX1651" fmla="*/ 271374 w 9847941"/>
                  <a:gd name="connsiteY1651" fmla="*/ 658206 h 1864765"/>
                  <a:gd name="connsiteX1652" fmla="*/ 276374 w 9847941"/>
                  <a:gd name="connsiteY1652" fmla="*/ 657297 h 1864765"/>
                  <a:gd name="connsiteX1653" fmla="*/ 278192 w 9847941"/>
                  <a:gd name="connsiteY1653" fmla="*/ 656388 h 1864765"/>
                  <a:gd name="connsiteX1654" fmla="*/ 279707 w 9847941"/>
                  <a:gd name="connsiteY1654" fmla="*/ 656085 h 1864765"/>
                  <a:gd name="connsiteX1655" fmla="*/ 282132 w 9847941"/>
                  <a:gd name="connsiteY1655" fmla="*/ 656085 h 1864765"/>
                  <a:gd name="connsiteX1656" fmla="*/ 283495 w 9847941"/>
                  <a:gd name="connsiteY1656" fmla="*/ 655630 h 1864765"/>
                  <a:gd name="connsiteX1657" fmla="*/ 283495 w 9847941"/>
                  <a:gd name="connsiteY1657" fmla="*/ 655175 h 1864765"/>
                  <a:gd name="connsiteX1658" fmla="*/ 282132 w 9847941"/>
                  <a:gd name="connsiteY1658" fmla="*/ 654721 h 1864765"/>
                  <a:gd name="connsiteX1659" fmla="*/ 279404 w 9847941"/>
                  <a:gd name="connsiteY1659" fmla="*/ 654418 h 1864765"/>
                  <a:gd name="connsiteX1660" fmla="*/ 280768 w 9847941"/>
                  <a:gd name="connsiteY1660" fmla="*/ 652903 h 1864765"/>
                  <a:gd name="connsiteX1661" fmla="*/ 285162 w 9847941"/>
                  <a:gd name="connsiteY1661" fmla="*/ 650781 h 1864765"/>
                  <a:gd name="connsiteX1662" fmla="*/ 287889 w 9847941"/>
                  <a:gd name="connsiteY1662" fmla="*/ 650478 h 1864765"/>
                  <a:gd name="connsiteX1663" fmla="*/ 290465 w 9847941"/>
                  <a:gd name="connsiteY1663" fmla="*/ 651236 h 1864765"/>
                  <a:gd name="connsiteX1664" fmla="*/ 292284 w 9847941"/>
                  <a:gd name="connsiteY1664" fmla="*/ 651387 h 1864765"/>
                  <a:gd name="connsiteX1665" fmla="*/ 293193 w 9847941"/>
                  <a:gd name="connsiteY1665" fmla="*/ 651084 h 1864765"/>
                  <a:gd name="connsiteX1666" fmla="*/ 294556 w 9847941"/>
                  <a:gd name="connsiteY1666" fmla="*/ 649569 h 1864765"/>
                  <a:gd name="connsiteX1667" fmla="*/ 295617 w 9847941"/>
                  <a:gd name="connsiteY1667" fmla="*/ 646236 h 1864765"/>
                  <a:gd name="connsiteX1668" fmla="*/ 296981 w 9847941"/>
                  <a:gd name="connsiteY1668" fmla="*/ 645024 h 1864765"/>
                  <a:gd name="connsiteX1669" fmla="*/ 298344 w 9847941"/>
                  <a:gd name="connsiteY1669" fmla="*/ 644266 h 1864765"/>
                  <a:gd name="connsiteX1670" fmla="*/ 299860 w 9847941"/>
                  <a:gd name="connsiteY1670" fmla="*/ 643963 h 1864765"/>
                  <a:gd name="connsiteX1671" fmla="*/ 301526 w 9847941"/>
                  <a:gd name="connsiteY1671" fmla="*/ 644266 h 1864765"/>
                  <a:gd name="connsiteX1672" fmla="*/ 303345 w 9847941"/>
                  <a:gd name="connsiteY1672" fmla="*/ 644114 h 1864765"/>
                  <a:gd name="connsiteX1673" fmla="*/ 305163 w 9847941"/>
                  <a:gd name="connsiteY1673" fmla="*/ 643508 h 1864765"/>
                  <a:gd name="connsiteX1674" fmla="*/ 307133 w 9847941"/>
                  <a:gd name="connsiteY1674" fmla="*/ 642145 h 1864765"/>
                  <a:gd name="connsiteX1675" fmla="*/ 309254 w 9847941"/>
                  <a:gd name="connsiteY1675" fmla="*/ 640023 h 1864765"/>
                  <a:gd name="connsiteX1676" fmla="*/ 311072 w 9847941"/>
                  <a:gd name="connsiteY1676" fmla="*/ 638811 h 1864765"/>
                  <a:gd name="connsiteX1677" fmla="*/ 312436 w 9847941"/>
                  <a:gd name="connsiteY1677" fmla="*/ 638660 h 1864765"/>
                  <a:gd name="connsiteX1678" fmla="*/ 313800 w 9847941"/>
                  <a:gd name="connsiteY1678" fmla="*/ 637902 h 1864765"/>
                  <a:gd name="connsiteX1679" fmla="*/ 315012 w 9847941"/>
                  <a:gd name="connsiteY1679" fmla="*/ 636538 h 1864765"/>
                  <a:gd name="connsiteX1680" fmla="*/ 316830 w 9847941"/>
                  <a:gd name="connsiteY1680" fmla="*/ 636084 h 1864765"/>
                  <a:gd name="connsiteX1681" fmla="*/ 319103 w 9847941"/>
                  <a:gd name="connsiteY1681" fmla="*/ 636387 h 1864765"/>
                  <a:gd name="connsiteX1682" fmla="*/ 320163 w 9847941"/>
                  <a:gd name="connsiteY1682" fmla="*/ 634266 h 1864765"/>
                  <a:gd name="connsiteX1683" fmla="*/ 322588 w 9847941"/>
                  <a:gd name="connsiteY1683" fmla="*/ 633356 h 1864765"/>
                  <a:gd name="connsiteX1684" fmla="*/ 323345 w 9847941"/>
                  <a:gd name="connsiteY1684" fmla="*/ 632750 h 1864765"/>
                  <a:gd name="connsiteX1685" fmla="*/ 325315 w 9847941"/>
                  <a:gd name="connsiteY1685" fmla="*/ 628811 h 1864765"/>
                  <a:gd name="connsiteX1686" fmla="*/ 325467 w 9847941"/>
                  <a:gd name="connsiteY1686" fmla="*/ 627447 h 1864765"/>
                  <a:gd name="connsiteX1687" fmla="*/ 324254 w 9847941"/>
                  <a:gd name="connsiteY1687" fmla="*/ 625326 h 1864765"/>
                  <a:gd name="connsiteX1688" fmla="*/ 323497 w 9847941"/>
                  <a:gd name="connsiteY1688" fmla="*/ 624720 h 1864765"/>
                  <a:gd name="connsiteX1689" fmla="*/ 323345 w 9847941"/>
                  <a:gd name="connsiteY1689" fmla="*/ 624114 h 1864765"/>
                  <a:gd name="connsiteX1690" fmla="*/ 324557 w 9847941"/>
                  <a:gd name="connsiteY1690" fmla="*/ 622902 h 1864765"/>
                  <a:gd name="connsiteX1691" fmla="*/ 329861 w 9847941"/>
                  <a:gd name="connsiteY1691" fmla="*/ 619417 h 1864765"/>
                  <a:gd name="connsiteX1692" fmla="*/ 332285 w 9847941"/>
                  <a:gd name="connsiteY1692" fmla="*/ 618810 h 1864765"/>
                  <a:gd name="connsiteX1693" fmla="*/ 334103 w 9847941"/>
                  <a:gd name="connsiteY1693" fmla="*/ 619568 h 1864765"/>
                  <a:gd name="connsiteX1694" fmla="*/ 335012 w 9847941"/>
                  <a:gd name="connsiteY1694" fmla="*/ 619417 h 1864765"/>
                  <a:gd name="connsiteX1695" fmla="*/ 335467 w 9847941"/>
                  <a:gd name="connsiteY1695" fmla="*/ 616235 h 1864765"/>
                  <a:gd name="connsiteX1696" fmla="*/ 336528 w 9847941"/>
                  <a:gd name="connsiteY1696" fmla="*/ 615477 h 1864765"/>
                  <a:gd name="connsiteX1697" fmla="*/ 341679 w 9847941"/>
                  <a:gd name="connsiteY1697" fmla="*/ 614871 h 1864765"/>
                  <a:gd name="connsiteX1698" fmla="*/ 342588 w 9847941"/>
                  <a:gd name="connsiteY1698" fmla="*/ 614568 h 1864765"/>
                  <a:gd name="connsiteX1699" fmla="*/ 343952 w 9847941"/>
                  <a:gd name="connsiteY1699" fmla="*/ 612295 h 1864765"/>
                  <a:gd name="connsiteX1700" fmla="*/ 346680 w 9847941"/>
                  <a:gd name="connsiteY1700" fmla="*/ 610477 h 1864765"/>
                  <a:gd name="connsiteX1701" fmla="*/ 347589 w 9847941"/>
                  <a:gd name="connsiteY1701" fmla="*/ 609416 h 1864765"/>
                  <a:gd name="connsiteX1702" fmla="*/ 347437 w 9847941"/>
                  <a:gd name="connsiteY1702" fmla="*/ 608053 h 1864765"/>
                  <a:gd name="connsiteX1703" fmla="*/ 349104 w 9847941"/>
                  <a:gd name="connsiteY1703" fmla="*/ 606992 h 1864765"/>
                  <a:gd name="connsiteX1704" fmla="*/ 352286 w 9847941"/>
                  <a:gd name="connsiteY1704" fmla="*/ 606234 h 1864765"/>
                  <a:gd name="connsiteX1705" fmla="*/ 355013 w 9847941"/>
                  <a:gd name="connsiteY1705" fmla="*/ 605022 h 1864765"/>
                  <a:gd name="connsiteX1706" fmla="*/ 359559 w 9847941"/>
                  <a:gd name="connsiteY1706" fmla="*/ 601992 h 1864765"/>
                  <a:gd name="connsiteX1707" fmla="*/ 360922 w 9847941"/>
                  <a:gd name="connsiteY1707" fmla="*/ 600779 h 1864765"/>
                  <a:gd name="connsiteX1708" fmla="*/ 363498 w 9847941"/>
                  <a:gd name="connsiteY1708" fmla="*/ 596688 h 1864765"/>
                  <a:gd name="connsiteX1709" fmla="*/ 375014 w 9847941"/>
                  <a:gd name="connsiteY1709" fmla="*/ 595173 h 1864765"/>
                  <a:gd name="connsiteX1710" fmla="*/ 375165 w 9847941"/>
                  <a:gd name="connsiteY1710" fmla="*/ 593052 h 1864765"/>
                  <a:gd name="connsiteX1711" fmla="*/ 375468 w 9847941"/>
                  <a:gd name="connsiteY1711" fmla="*/ 592749 h 1864765"/>
                  <a:gd name="connsiteX1712" fmla="*/ 379863 w 9847941"/>
                  <a:gd name="connsiteY1712" fmla="*/ 591537 h 1864765"/>
                  <a:gd name="connsiteX1713" fmla="*/ 383348 w 9847941"/>
                  <a:gd name="connsiteY1713" fmla="*/ 591537 h 1864765"/>
                  <a:gd name="connsiteX1714" fmla="*/ 384257 w 9847941"/>
                  <a:gd name="connsiteY1714" fmla="*/ 591082 h 1864765"/>
                  <a:gd name="connsiteX1715" fmla="*/ 384560 w 9847941"/>
                  <a:gd name="connsiteY1715" fmla="*/ 588052 h 1864765"/>
                  <a:gd name="connsiteX1716" fmla="*/ 385317 w 9847941"/>
                  <a:gd name="connsiteY1716" fmla="*/ 585931 h 1864765"/>
                  <a:gd name="connsiteX1717" fmla="*/ 383348 w 9847941"/>
                  <a:gd name="connsiteY1717" fmla="*/ 585779 h 1864765"/>
                  <a:gd name="connsiteX1718" fmla="*/ 383196 w 9847941"/>
                  <a:gd name="connsiteY1718" fmla="*/ 585324 h 1864765"/>
                  <a:gd name="connsiteX1719" fmla="*/ 388802 w 9847941"/>
                  <a:gd name="connsiteY1719" fmla="*/ 582900 h 1864765"/>
                  <a:gd name="connsiteX1720" fmla="*/ 389560 w 9847941"/>
                  <a:gd name="connsiteY1720" fmla="*/ 581688 h 1864765"/>
                  <a:gd name="connsiteX1721" fmla="*/ 389408 w 9847941"/>
                  <a:gd name="connsiteY1721" fmla="*/ 579870 h 1864765"/>
                  <a:gd name="connsiteX1722" fmla="*/ 390621 w 9847941"/>
                  <a:gd name="connsiteY1722" fmla="*/ 577748 h 1864765"/>
                  <a:gd name="connsiteX1723" fmla="*/ 395015 w 9847941"/>
                  <a:gd name="connsiteY1723" fmla="*/ 573960 h 1864765"/>
                  <a:gd name="connsiteX1724" fmla="*/ 396075 w 9847941"/>
                  <a:gd name="connsiteY1724" fmla="*/ 573354 h 1864765"/>
                  <a:gd name="connsiteX1725" fmla="*/ 399409 w 9847941"/>
                  <a:gd name="connsiteY1725" fmla="*/ 572445 h 1864765"/>
                  <a:gd name="connsiteX1726" fmla="*/ 401682 w 9847941"/>
                  <a:gd name="connsiteY1726" fmla="*/ 571233 h 1864765"/>
                  <a:gd name="connsiteX1727" fmla="*/ 406530 w 9847941"/>
                  <a:gd name="connsiteY1727" fmla="*/ 567293 h 1864765"/>
                  <a:gd name="connsiteX1728" fmla="*/ 408500 w 9847941"/>
                  <a:gd name="connsiteY1728" fmla="*/ 564566 h 1864765"/>
                  <a:gd name="connsiteX1729" fmla="*/ 409258 w 9847941"/>
                  <a:gd name="connsiteY1729" fmla="*/ 563202 h 1864765"/>
                  <a:gd name="connsiteX1730" fmla="*/ 409409 w 9847941"/>
                  <a:gd name="connsiteY1730" fmla="*/ 562142 h 1864765"/>
                  <a:gd name="connsiteX1731" fmla="*/ 409106 w 9847941"/>
                  <a:gd name="connsiteY1731" fmla="*/ 561233 h 1864765"/>
                  <a:gd name="connsiteX1732" fmla="*/ 406985 w 9847941"/>
                  <a:gd name="connsiteY1732" fmla="*/ 559111 h 1864765"/>
                  <a:gd name="connsiteX1733" fmla="*/ 400469 w 9847941"/>
                  <a:gd name="connsiteY1733" fmla="*/ 555929 h 1864765"/>
                  <a:gd name="connsiteX1734" fmla="*/ 396833 w 9847941"/>
                  <a:gd name="connsiteY1734" fmla="*/ 554717 h 1864765"/>
                  <a:gd name="connsiteX1735" fmla="*/ 393802 w 9847941"/>
                  <a:gd name="connsiteY1735" fmla="*/ 554263 h 1864765"/>
                  <a:gd name="connsiteX1736" fmla="*/ 387439 w 9847941"/>
                  <a:gd name="connsiteY1736" fmla="*/ 552596 h 1864765"/>
                  <a:gd name="connsiteX1737" fmla="*/ 386075 w 9847941"/>
                  <a:gd name="connsiteY1737" fmla="*/ 551232 h 1864765"/>
                  <a:gd name="connsiteX1738" fmla="*/ 387136 w 9847941"/>
                  <a:gd name="connsiteY1738" fmla="*/ 547747 h 1864765"/>
                  <a:gd name="connsiteX1739" fmla="*/ 389105 w 9847941"/>
                  <a:gd name="connsiteY1739" fmla="*/ 543808 h 1864765"/>
                  <a:gd name="connsiteX1740" fmla="*/ 388499 w 9847941"/>
                  <a:gd name="connsiteY1740" fmla="*/ 542747 h 1864765"/>
                  <a:gd name="connsiteX1741" fmla="*/ 396075 w 9847941"/>
                  <a:gd name="connsiteY1741" fmla="*/ 538201 h 1864765"/>
                  <a:gd name="connsiteX1742" fmla="*/ 397742 w 9847941"/>
                  <a:gd name="connsiteY1742" fmla="*/ 536686 h 1864765"/>
                  <a:gd name="connsiteX1743" fmla="*/ 398803 w 9847941"/>
                  <a:gd name="connsiteY1743" fmla="*/ 535323 h 1864765"/>
                  <a:gd name="connsiteX1744" fmla="*/ 401379 w 9847941"/>
                  <a:gd name="connsiteY1744" fmla="*/ 533201 h 1864765"/>
                  <a:gd name="connsiteX1745" fmla="*/ 401682 w 9847941"/>
                  <a:gd name="connsiteY1745" fmla="*/ 532595 h 1864765"/>
                  <a:gd name="connsiteX1746" fmla="*/ 400015 w 9847941"/>
                  <a:gd name="connsiteY1746" fmla="*/ 531838 h 1864765"/>
                  <a:gd name="connsiteX1747" fmla="*/ 400469 w 9847941"/>
                  <a:gd name="connsiteY1747" fmla="*/ 531383 h 1864765"/>
                  <a:gd name="connsiteX1748" fmla="*/ 405167 w 9847941"/>
                  <a:gd name="connsiteY1748" fmla="*/ 528353 h 1864765"/>
                  <a:gd name="connsiteX1749" fmla="*/ 406985 w 9847941"/>
                  <a:gd name="connsiteY1749" fmla="*/ 527595 h 1864765"/>
                  <a:gd name="connsiteX1750" fmla="*/ 408348 w 9847941"/>
                  <a:gd name="connsiteY1750" fmla="*/ 528050 h 1864765"/>
                  <a:gd name="connsiteX1751" fmla="*/ 408500 w 9847941"/>
                  <a:gd name="connsiteY1751" fmla="*/ 528504 h 1864765"/>
                  <a:gd name="connsiteX1752" fmla="*/ 407894 w 9847941"/>
                  <a:gd name="connsiteY1752" fmla="*/ 530625 h 1864765"/>
                  <a:gd name="connsiteX1753" fmla="*/ 408500 w 9847941"/>
                  <a:gd name="connsiteY1753" fmla="*/ 530929 h 1864765"/>
                  <a:gd name="connsiteX1754" fmla="*/ 411985 w 9847941"/>
                  <a:gd name="connsiteY1754" fmla="*/ 530474 h 1864765"/>
                  <a:gd name="connsiteX1755" fmla="*/ 415925 w 9847941"/>
                  <a:gd name="connsiteY1755" fmla="*/ 528959 h 1864765"/>
                  <a:gd name="connsiteX1756" fmla="*/ 417137 w 9847941"/>
                  <a:gd name="connsiteY1756" fmla="*/ 528050 h 1864765"/>
                  <a:gd name="connsiteX1757" fmla="*/ 417743 w 9847941"/>
                  <a:gd name="connsiteY1757" fmla="*/ 525474 h 1864765"/>
                  <a:gd name="connsiteX1758" fmla="*/ 417288 w 9847941"/>
                  <a:gd name="connsiteY1758" fmla="*/ 524868 h 1864765"/>
                  <a:gd name="connsiteX1759" fmla="*/ 412591 w 9847941"/>
                  <a:gd name="connsiteY1759" fmla="*/ 523504 h 1864765"/>
                  <a:gd name="connsiteX1760" fmla="*/ 413197 w 9847941"/>
                  <a:gd name="connsiteY1760" fmla="*/ 522898 h 1864765"/>
                  <a:gd name="connsiteX1761" fmla="*/ 415470 w 9847941"/>
                  <a:gd name="connsiteY1761" fmla="*/ 522140 h 1864765"/>
                  <a:gd name="connsiteX1762" fmla="*/ 422288 w 9847941"/>
                  <a:gd name="connsiteY1762" fmla="*/ 521231 h 1864765"/>
                  <a:gd name="connsiteX1763" fmla="*/ 425016 w 9847941"/>
                  <a:gd name="connsiteY1763" fmla="*/ 520322 h 1864765"/>
                  <a:gd name="connsiteX1764" fmla="*/ 427743 w 9847941"/>
                  <a:gd name="connsiteY1764" fmla="*/ 517140 h 1864765"/>
                  <a:gd name="connsiteX1765" fmla="*/ 428652 w 9847941"/>
                  <a:gd name="connsiteY1765" fmla="*/ 515322 h 1864765"/>
                  <a:gd name="connsiteX1766" fmla="*/ 428652 w 9847941"/>
                  <a:gd name="connsiteY1766" fmla="*/ 513504 h 1864765"/>
                  <a:gd name="connsiteX1767" fmla="*/ 427743 w 9847941"/>
                  <a:gd name="connsiteY1767" fmla="*/ 511837 h 1864765"/>
                  <a:gd name="connsiteX1768" fmla="*/ 425319 w 9847941"/>
                  <a:gd name="connsiteY1768" fmla="*/ 509716 h 1864765"/>
                  <a:gd name="connsiteX1769" fmla="*/ 421531 w 9847941"/>
                  <a:gd name="connsiteY1769" fmla="*/ 507140 h 1864765"/>
                  <a:gd name="connsiteX1770" fmla="*/ 417743 w 9847941"/>
                  <a:gd name="connsiteY1770" fmla="*/ 505170 h 1864765"/>
                  <a:gd name="connsiteX1771" fmla="*/ 417894 w 9847941"/>
                  <a:gd name="connsiteY1771" fmla="*/ 504867 h 1864765"/>
                  <a:gd name="connsiteX1772" fmla="*/ 420622 w 9847941"/>
                  <a:gd name="connsiteY1772" fmla="*/ 505018 h 1864765"/>
                  <a:gd name="connsiteX1773" fmla="*/ 424107 w 9847941"/>
                  <a:gd name="connsiteY1773" fmla="*/ 506837 h 1864765"/>
                  <a:gd name="connsiteX1774" fmla="*/ 426076 w 9847941"/>
                  <a:gd name="connsiteY1774" fmla="*/ 507291 h 1864765"/>
                  <a:gd name="connsiteX1775" fmla="*/ 428046 w 9847941"/>
                  <a:gd name="connsiteY1775" fmla="*/ 507291 h 1864765"/>
                  <a:gd name="connsiteX1776" fmla="*/ 431077 w 9847941"/>
                  <a:gd name="connsiteY1776" fmla="*/ 506231 h 1864765"/>
                  <a:gd name="connsiteX1777" fmla="*/ 435774 w 9847941"/>
                  <a:gd name="connsiteY1777" fmla="*/ 503352 h 1864765"/>
                  <a:gd name="connsiteX1778" fmla="*/ 437895 w 9847941"/>
                  <a:gd name="connsiteY1778" fmla="*/ 501533 h 1864765"/>
                  <a:gd name="connsiteX1779" fmla="*/ 438804 w 9847941"/>
                  <a:gd name="connsiteY1779" fmla="*/ 500321 h 1864765"/>
                  <a:gd name="connsiteX1780" fmla="*/ 437592 w 9847941"/>
                  <a:gd name="connsiteY1780" fmla="*/ 498503 h 1864765"/>
                  <a:gd name="connsiteX1781" fmla="*/ 437592 w 9847941"/>
                  <a:gd name="connsiteY1781" fmla="*/ 497745 h 1864765"/>
                  <a:gd name="connsiteX1782" fmla="*/ 438350 w 9847941"/>
                  <a:gd name="connsiteY1782" fmla="*/ 495321 h 1864765"/>
                  <a:gd name="connsiteX1783" fmla="*/ 445926 w 9847941"/>
                  <a:gd name="connsiteY1783" fmla="*/ 488957 h 1864765"/>
                  <a:gd name="connsiteX1784" fmla="*/ 449411 w 9847941"/>
                  <a:gd name="connsiteY1784" fmla="*/ 486836 h 1864765"/>
                  <a:gd name="connsiteX1785" fmla="*/ 451683 w 9847941"/>
                  <a:gd name="connsiteY1785" fmla="*/ 486533 h 1864765"/>
                  <a:gd name="connsiteX1786" fmla="*/ 452593 w 9847941"/>
                  <a:gd name="connsiteY1786" fmla="*/ 485927 h 1864765"/>
                  <a:gd name="connsiteX1787" fmla="*/ 451683 w 9847941"/>
                  <a:gd name="connsiteY1787" fmla="*/ 482745 h 1864765"/>
                  <a:gd name="connsiteX1788" fmla="*/ 451835 w 9847941"/>
                  <a:gd name="connsiteY1788" fmla="*/ 481684 h 1864765"/>
                  <a:gd name="connsiteX1789" fmla="*/ 453199 w 9847941"/>
                  <a:gd name="connsiteY1789" fmla="*/ 479563 h 1864765"/>
                  <a:gd name="connsiteX1790" fmla="*/ 456987 w 9847941"/>
                  <a:gd name="connsiteY1790" fmla="*/ 476684 h 1864765"/>
                  <a:gd name="connsiteX1791" fmla="*/ 460623 w 9847941"/>
                  <a:gd name="connsiteY1791" fmla="*/ 475320 h 1864765"/>
                  <a:gd name="connsiteX1792" fmla="*/ 465472 w 9847941"/>
                  <a:gd name="connsiteY1792" fmla="*/ 474108 h 1864765"/>
                  <a:gd name="connsiteX1793" fmla="*/ 469108 w 9847941"/>
                  <a:gd name="connsiteY1793" fmla="*/ 472290 h 1864765"/>
                  <a:gd name="connsiteX1794" fmla="*/ 471381 w 9847941"/>
                  <a:gd name="connsiteY1794" fmla="*/ 469866 h 1864765"/>
                  <a:gd name="connsiteX1795" fmla="*/ 474715 w 9847941"/>
                  <a:gd name="connsiteY1795" fmla="*/ 467744 h 1864765"/>
                  <a:gd name="connsiteX1796" fmla="*/ 483806 w 9847941"/>
                  <a:gd name="connsiteY1796" fmla="*/ 463502 h 1864765"/>
                  <a:gd name="connsiteX1797" fmla="*/ 485018 w 9847941"/>
                  <a:gd name="connsiteY1797" fmla="*/ 463199 h 1864765"/>
                  <a:gd name="connsiteX1798" fmla="*/ 485927 w 9847941"/>
                  <a:gd name="connsiteY1798" fmla="*/ 463502 h 1864765"/>
                  <a:gd name="connsiteX1799" fmla="*/ 487594 w 9847941"/>
                  <a:gd name="connsiteY1799" fmla="*/ 465169 h 1864765"/>
                  <a:gd name="connsiteX1800" fmla="*/ 497594 w 9847941"/>
                  <a:gd name="connsiteY1800" fmla="*/ 464866 h 1864765"/>
                  <a:gd name="connsiteX1801" fmla="*/ 501231 w 9847941"/>
                  <a:gd name="connsiteY1801" fmla="*/ 464411 h 1864765"/>
                  <a:gd name="connsiteX1802" fmla="*/ 502140 w 9847941"/>
                  <a:gd name="connsiteY1802" fmla="*/ 463805 h 1864765"/>
                  <a:gd name="connsiteX1803" fmla="*/ 504110 w 9847941"/>
                  <a:gd name="connsiteY1803" fmla="*/ 460471 h 1864765"/>
                  <a:gd name="connsiteX1804" fmla="*/ 505473 w 9847941"/>
                  <a:gd name="connsiteY1804" fmla="*/ 458805 h 1864765"/>
                  <a:gd name="connsiteX1805" fmla="*/ 508958 w 9847941"/>
                  <a:gd name="connsiteY1805" fmla="*/ 456380 h 1864765"/>
                  <a:gd name="connsiteX1806" fmla="*/ 510928 w 9847941"/>
                  <a:gd name="connsiteY1806" fmla="*/ 455774 h 1864765"/>
                  <a:gd name="connsiteX1807" fmla="*/ 516231 w 9847941"/>
                  <a:gd name="connsiteY1807" fmla="*/ 455168 h 1864765"/>
                  <a:gd name="connsiteX1808" fmla="*/ 519110 w 9847941"/>
                  <a:gd name="connsiteY1808" fmla="*/ 455320 h 1864765"/>
                  <a:gd name="connsiteX1809" fmla="*/ 511837 w 9847941"/>
                  <a:gd name="connsiteY1809" fmla="*/ 458653 h 1864765"/>
                  <a:gd name="connsiteX1810" fmla="*/ 508049 w 9847941"/>
                  <a:gd name="connsiteY1810" fmla="*/ 460926 h 1864765"/>
                  <a:gd name="connsiteX1811" fmla="*/ 505473 w 9847941"/>
                  <a:gd name="connsiteY1811" fmla="*/ 463199 h 1864765"/>
                  <a:gd name="connsiteX1812" fmla="*/ 503958 w 9847941"/>
                  <a:gd name="connsiteY1812" fmla="*/ 465017 h 1864765"/>
                  <a:gd name="connsiteX1813" fmla="*/ 503655 w 9847941"/>
                  <a:gd name="connsiteY1813" fmla="*/ 466381 h 1864765"/>
                  <a:gd name="connsiteX1814" fmla="*/ 502746 w 9847941"/>
                  <a:gd name="connsiteY1814" fmla="*/ 467138 h 1864765"/>
                  <a:gd name="connsiteX1815" fmla="*/ 500170 w 9847941"/>
                  <a:gd name="connsiteY1815" fmla="*/ 467896 h 1864765"/>
                  <a:gd name="connsiteX1816" fmla="*/ 498958 w 9847941"/>
                  <a:gd name="connsiteY1816" fmla="*/ 468654 h 1864765"/>
                  <a:gd name="connsiteX1817" fmla="*/ 501231 w 9847941"/>
                  <a:gd name="connsiteY1817" fmla="*/ 470775 h 1864765"/>
                  <a:gd name="connsiteX1818" fmla="*/ 511534 w 9847941"/>
                  <a:gd name="connsiteY1818" fmla="*/ 476078 h 1864765"/>
                  <a:gd name="connsiteX1819" fmla="*/ 515171 w 9847941"/>
                  <a:gd name="connsiteY1819" fmla="*/ 477290 h 1864765"/>
                  <a:gd name="connsiteX1820" fmla="*/ 523807 w 9847941"/>
                  <a:gd name="connsiteY1820" fmla="*/ 478502 h 1864765"/>
                  <a:gd name="connsiteX1821" fmla="*/ 525777 w 9847941"/>
                  <a:gd name="connsiteY1821" fmla="*/ 480624 h 1864765"/>
                  <a:gd name="connsiteX1822" fmla="*/ 525626 w 9847941"/>
                  <a:gd name="connsiteY1822" fmla="*/ 481078 h 1864765"/>
                  <a:gd name="connsiteX1823" fmla="*/ 522898 w 9847941"/>
                  <a:gd name="connsiteY1823" fmla="*/ 480927 h 1864765"/>
                  <a:gd name="connsiteX1824" fmla="*/ 510322 w 9847941"/>
                  <a:gd name="connsiteY1824" fmla="*/ 477896 h 1864765"/>
                  <a:gd name="connsiteX1825" fmla="*/ 504261 w 9847941"/>
                  <a:gd name="connsiteY1825" fmla="*/ 477442 h 1864765"/>
                  <a:gd name="connsiteX1826" fmla="*/ 500322 w 9847941"/>
                  <a:gd name="connsiteY1826" fmla="*/ 478502 h 1864765"/>
                  <a:gd name="connsiteX1827" fmla="*/ 497140 w 9847941"/>
                  <a:gd name="connsiteY1827" fmla="*/ 478654 h 1864765"/>
                  <a:gd name="connsiteX1828" fmla="*/ 494715 w 9847941"/>
                  <a:gd name="connsiteY1828" fmla="*/ 477745 h 1864765"/>
                  <a:gd name="connsiteX1829" fmla="*/ 492594 w 9847941"/>
                  <a:gd name="connsiteY1829" fmla="*/ 476533 h 1864765"/>
                  <a:gd name="connsiteX1830" fmla="*/ 490776 w 9847941"/>
                  <a:gd name="connsiteY1830" fmla="*/ 475017 h 1864765"/>
                  <a:gd name="connsiteX1831" fmla="*/ 488200 w 9847941"/>
                  <a:gd name="connsiteY1831" fmla="*/ 475017 h 1864765"/>
                  <a:gd name="connsiteX1832" fmla="*/ 478957 w 9847941"/>
                  <a:gd name="connsiteY1832" fmla="*/ 479563 h 1864765"/>
                  <a:gd name="connsiteX1833" fmla="*/ 474260 w 9847941"/>
                  <a:gd name="connsiteY1833" fmla="*/ 482593 h 1864765"/>
                  <a:gd name="connsiteX1834" fmla="*/ 464260 w 9847941"/>
                  <a:gd name="connsiteY1834" fmla="*/ 486684 h 1864765"/>
                  <a:gd name="connsiteX1835" fmla="*/ 463351 w 9847941"/>
                  <a:gd name="connsiteY1835" fmla="*/ 487442 h 1864765"/>
                  <a:gd name="connsiteX1836" fmla="*/ 463351 w 9847941"/>
                  <a:gd name="connsiteY1836" fmla="*/ 490018 h 1864765"/>
                  <a:gd name="connsiteX1837" fmla="*/ 464411 w 9847941"/>
                  <a:gd name="connsiteY1837" fmla="*/ 494412 h 1864765"/>
                  <a:gd name="connsiteX1838" fmla="*/ 464563 w 9847941"/>
                  <a:gd name="connsiteY1838" fmla="*/ 498048 h 1864765"/>
                  <a:gd name="connsiteX1839" fmla="*/ 462290 w 9847941"/>
                  <a:gd name="connsiteY1839" fmla="*/ 505776 h 1864765"/>
                  <a:gd name="connsiteX1840" fmla="*/ 460775 w 9847941"/>
                  <a:gd name="connsiteY1840" fmla="*/ 508655 h 1864765"/>
                  <a:gd name="connsiteX1841" fmla="*/ 456381 w 9847941"/>
                  <a:gd name="connsiteY1841" fmla="*/ 513201 h 1864765"/>
                  <a:gd name="connsiteX1842" fmla="*/ 453047 w 9847941"/>
                  <a:gd name="connsiteY1842" fmla="*/ 517443 h 1864765"/>
                  <a:gd name="connsiteX1843" fmla="*/ 451683 w 9847941"/>
                  <a:gd name="connsiteY1843" fmla="*/ 520170 h 1864765"/>
                  <a:gd name="connsiteX1844" fmla="*/ 449714 w 9847941"/>
                  <a:gd name="connsiteY1844" fmla="*/ 525777 h 1864765"/>
                  <a:gd name="connsiteX1845" fmla="*/ 450774 w 9847941"/>
                  <a:gd name="connsiteY1845" fmla="*/ 528201 h 1864765"/>
                  <a:gd name="connsiteX1846" fmla="*/ 452290 w 9847941"/>
                  <a:gd name="connsiteY1846" fmla="*/ 529110 h 1864765"/>
                  <a:gd name="connsiteX1847" fmla="*/ 459108 w 9847941"/>
                  <a:gd name="connsiteY1847" fmla="*/ 531080 h 1864765"/>
                  <a:gd name="connsiteX1848" fmla="*/ 460775 w 9847941"/>
                  <a:gd name="connsiteY1848" fmla="*/ 531080 h 1864765"/>
                  <a:gd name="connsiteX1849" fmla="*/ 461987 w 9847941"/>
                  <a:gd name="connsiteY1849" fmla="*/ 530625 h 1864765"/>
                  <a:gd name="connsiteX1850" fmla="*/ 470624 w 9847941"/>
                  <a:gd name="connsiteY1850" fmla="*/ 525474 h 1864765"/>
                  <a:gd name="connsiteX1851" fmla="*/ 471533 w 9847941"/>
                  <a:gd name="connsiteY1851" fmla="*/ 525777 h 1864765"/>
                  <a:gd name="connsiteX1852" fmla="*/ 471836 w 9847941"/>
                  <a:gd name="connsiteY1852" fmla="*/ 526231 h 1864765"/>
                  <a:gd name="connsiteX1853" fmla="*/ 467896 w 9847941"/>
                  <a:gd name="connsiteY1853" fmla="*/ 531686 h 1864765"/>
                  <a:gd name="connsiteX1854" fmla="*/ 465926 w 9847941"/>
                  <a:gd name="connsiteY1854" fmla="*/ 533807 h 1864765"/>
                  <a:gd name="connsiteX1855" fmla="*/ 462138 w 9847941"/>
                  <a:gd name="connsiteY1855" fmla="*/ 536686 h 1864765"/>
                  <a:gd name="connsiteX1856" fmla="*/ 459108 w 9847941"/>
                  <a:gd name="connsiteY1856" fmla="*/ 538050 h 1864765"/>
                  <a:gd name="connsiteX1857" fmla="*/ 454259 w 9847941"/>
                  <a:gd name="connsiteY1857" fmla="*/ 538808 h 1864765"/>
                  <a:gd name="connsiteX1858" fmla="*/ 450017 w 9847941"/>
                  <a:gd name="connsiteY1858" fmla="*/ 541080 h 1864765"/>
                  <a:gd name="connsiteX1859" fmla="*/ 449108 w 9847941"/>
                  <a:gd name="connsiteY1859" fmla="*/ 541838 h 1864765"/>
                  <a:gd name="connsiteX1860" fmla="*/ 447744 w 9847941"/>
                  <a:gd name="connsiteY1860" fmla="*/ 543656 h 1864765"/>
                  <a:gd name="connsiteX1861" fmla="*/ 446835 w 9847941"/>
                  <a:gd name="connsiteY1861" fmla="*/ 545929 h 1864765"/>
                  <a:gd name="connsiteX1862" fmla="*/ 447289 w 9847941"/>
                  <a:gd name="connsiteY1862" fmla="*/ 546687 h 1864765"/>
                  <a:gd name="connsiteX1863" fmla="*/ 448501 w 9847941"/>
                  <a:gd name="connsiteY1863" fmla="*/ 546838 h 1864765"/>
                  <a:gd name="connsiteX1864" fmla="*/ 453047 w 9847941"/>
                  <a:gd name="connsiteY1864" fmla="*/ 549717 h 1864765"/>
                  <a:gd name="connsiteX1865" fmla="*/ 456229 w 9847941"/>
                  <a:gd name="connsiteY1865" fmla="*/ 549717 h 1864765"/>
                  <a:gd name="connsiteX1866" fmla="*/ 460169 w 9847941"/>
                  <a:gd name="connsiteY1866" fmla="*/ 547899 h 1864765"/>
                  <a:gd name="connsiteX1867" fmla="*/ 463199 w 9847941"/>
                  <a:gd name="connsiteY1867" fmla="*/ 547293 h 1864765"/>
                  <a:gd name="connsiteX1868" fmla="*/ 465320 w 9847941"/>
                  <a:gd name="connsiteY1868" fmla="*/ 547899 h 1864765"/>
                  <a:gd name="connsiteX1869" fmla="*/ 467139 w 9847941"/>
                  <a:gd name="connsiteY1869" fmla="*/ 548050 h 1864765"/>
                  <a:gd name="connsiteX1870" fmla="*/ 468502 w 9847941"/>
                  <a:gd name="connsiteY1870" fmla="*/ 547747 h 1864765"/>
                  <a:gd name="connsiteX1871" fmla="*/ 468654 w 9847941"/>
                  <a:gd name="connsiteY1871" fmla="*/ 547141 h 1864765"/>
                  <a:gd name="connsiteX1872" fmla="*/ 467593 w 9847941"/>
                  <a:gd name="connsiteY1872" fmla="*/ 545778 h 1864765"/>
                  <a:gd name="connsiteX1873" fmla="*/ 468048 w 9847941"/>
                  <a:gd name="connsiteY1873" fmla="*/ 545323 h 1864765"/>
                  <a:gd name="connsiteX1874" fmla="*/ 471381 w 9847941"/>
                  <a:gd name="connsiteY1874" fmla="*/ 546232 h 1864765"/>
                  <a:gd name="connsiteX1875" fmla="*/ 474260 w 9847941"/>
                  <a:gd name="connsiteY1875" fmla="*/ 547596 h 1864765"/>
                  <a:gd name="connsiteX1876" fmla="*/ 475018 w 9847941"/>
                  <a:gd name="connsiteY1876" fmla="*/ 547444 h 1864765"/>
                  <a:gd name="connsiteX1877" fmla="*/ 475927 w 9847941"/>
                  <a:gd name="connsiteY1877" fmla="*/ 545323 h 1864765"/>
                  <a:gd name="connsiteX1878" fmla="*/ 477139 w 9847941"/>
                  <a:gd name="connsiteY1878" fmla="*/ 543808 h 1864765"/>
                  <a:gd name="connsiteX1879" fmla="*/ 481988 w 9847941"/>
                  <a:gd name="connsiteY1879" fmla="*/ 540323 h 1864765"/>
                  <a:gd name="connsiteX1880" fmla="*/ 483503 w 9847941"/>
                  <a:gd name="connsiteY1880" fmla="*/ 538201 h 1864765"/>
                  <a:gd name="connsiteX1881" fmla="*/ 483503 w 9847941"/>
                  <a:gd name="connsiteY1881" fmla="*/ 535929 h 1864765"/>
                  <a:gd name="connsiteX1882" fmla="*/ 483806 w 9847941"/>
                  <a:gd name="connsiteY1882" fmla="*/ 534717 h 1864765"/>
                  <a:gd name="connsiteX1883" fmla="*/ 484563 w 9847941"/>
                  <a:gd name="connsiteY1883" fmla="*/ 534717 h 1864765"/>
                  <a:gd name="connsiteX1884" fmla="*/ 486079 w 9847941"/>
                  <a:gd name="connsiteY1884" fmla="*/ 535777 h 1864765"/>
                  <a:gd name="connsiteX1885" fmla="*/ 487139 w 9847941"/>
                  <a:gd name="connsiteY1885" fmla="*/ 535929 h 1864765"/>
                  <a:gd name="connsiteX1886" fmla="*/ 491230 w 9847941"/>
                  <a:gd name="connsiteY1886" fmla="*/ 534110 h 1864765"/>
                  <a:gd name="connsiteX1887" fmla="*/ 492443 w 9847941"/>
                  <a:gd name="connsiteY1887" fmla="*/ 533959 h 1864765"/>
                  <a:gd name="connsiteX1888" fmla="*/ 493503 w 9847941"/>
                  <a:gd name="connsiteY1888" fmla="*/ 534413 h 1864765"/>
                  <a:gd name="connsiteX1889" fmla="*/ 495170 w 9847941"/>
                  <a:gd name="connsiteY1889" fmla="*/ 534565 h 1864765"/>
                  <a:gd name="connsiteX1890" fmla="*/ 501534 w 9847941"/>
                  <a:gd name="connsiteY1890" fmla="*/ 529565 h 1864765"/>
                  <a:gd name="connsiteX1891" fmla="*/ 501685 w 9847941"/>
                  <a:gd name="connsiteY1891" fmla="*/ 528656 h 1864765"/>
                  <a:gd name="connsiteX1892" fmla="*/ 500170 w 9847941"/>
                  <a:gd name="connsiteY1892" fmla="*/ 526080 h 1864765"/>
                  <a:gd name="connsiteX1893" fmla="*/ 500473 w 9847941"/>
                  <a:gd name="connsiteY1893" fmla="*/ 525777 h 1864765"/>
                  <a:gd name="connsiteX1894" fmla="*/ 501534 w 9847941"/>
                  <a:gd name="connsiteY1894" fmla="*/ 525928 h 1864765"/>
                  <a:gd name="connsiteX1895" fmla="*/ 506079 w 9847941"/>
                  <a:gd name="connsiteY1895" fmla="*/ 527747 h 1864765"/>
                  <a:gd name="connsiteX1896" fmla="*/ 506534 w 9847941"/>
                  <a:gd name="connsiteY1896" fmla="*/ 527292 h 1864765"/>
                  <a:gd name="connsiteX1897" fmla="*/ 505928 w 9847941"/>
                  <a:gd name="connsiteY1897" fmla="*/ 523958 h 1864765"/>
                  <a:gd name="connsiteX1898" fmla="*/ 506231 w 9847941"/>
                  <a:gd name="connsiteY1898" fmla="*/ 523049 h 1864765"/>
                  <a:gd name="connsiteX1899" fmla="*/ 508504 w 9847941"/>
                  <a:gd name="connsiteY1899" fmla="*/ 520474 h 1864765"/>
                  <a:gd name="connsiteX1900" fmla="*/ 509261 w 9847941"/>
                  <a:gd name="connsiteY1900" fmla="*/ 521534 h 1864765"/>
                  <a:gd name="connsiteX1901" fmla="*/ 510777 w 9847941"/>
                  <a:gd name="connsiteY1901" fmla="*/ 526080 h 1864765"/>
                  <a:gd name="connsiteX1902" fmla="*/ 511231 w 9847941"/>
                  <a:gd name="connsiteY1902" fmla="*/ 526837 h 1864765"/>
                  <a:gd name="connsiteX1903" fmla="*/ 511686 w 9847941"/>
                  <a:gd name="connsiteY1903" fmla="*/ 526686 h 1864765"/>
                  <a:gd name="connsiteX1904" fmla="*/ 513049 w 9847941"/>
                  <a:gd name="connsiteY1904" fmla="*/ 521686 h 1864765"/>
                  <a:gd name="connsiteX1905" fmla="*/ 515474 w 9847941"/>
                  <a:gd name="connsiteY1905" fmla="*/ 518807 h 1864765"/>
                  <a:gd name="connsiteX1906" fmla="*/ 516231 w 9847941"/>
                  <a:gd name="connsiteY1906" fmla="*/ 517443 h 1864765"/>
                  <a:gd name="connsiteX1907" fmla="*/ 516686 w 9847941"/>
                  <a:gd name="connsiteY1907" fmla="*/ 513352 h 1864765"/>
                  <a:gd name="connsiteX1908" fmla="*/ 517292 w 9847941"/>
                  <a:gd name="connsiteY1908" fmla="*/ 513201 h 1864765"/>
                  <a:gd name="connsiteX1909" fmla="*/ 519716 w 9847941"/>
                  <a:gd name="connsiteY1909" fmla="*/ 516989 h 1864765"/>
                  <a:gd name="connsiteX1910" fmla="*/ 520777 w 9847941"/>
                  <a:gd name="connsiteY1910" fmla="*/ 517595 h 1864765"/>
                  <a:gd name="connsiteX1911" fmla="*/ 524716 w 9847941"/>
                  <a:gd name="connsiteY1911" fmla="*/ 516079 h 1864765"/>
                  <a:gd name="connsiteX1912" fmla="*/ 526080 w 9847941"/>
                  <a:gd name="connsiteY1912" fmla="*/ 517443 h 1864765"/>
                  <a:gd name="connsiteX1913" fmla="*/ 527898 w 9847941"/>
                  <a:gd name="connsiteY1913" fmla="*/ 518201 h 1864765"/>
                  <a:gd name="connsiteX1914" fmla="*/ 532293 w 9847941"/>
                  <a:gd name="connsiteY1914" fmla="*/ 519413 h 1864765"/>
                  <a:gd name="connsiteX1915" fmla="*/ 534868 w 9847941"/>
                  <a:gd name="connsiteY1915" fmla="*/ 519564 h 1864765"/>
                  <a:gd name="connsiteX1916" fmla="*/ 537747 w 9847941"/>
                  <a:gd name="connsiteY1916" fmla="*/ 519261 h 1864765"/>
                  <a:gd name="connsiteX1917" fmla="*/ 539717 w 9847941"/>
                  <a:gd name="connsiteY1917" fmla="*/ 518655 h 1864765"/>
                  <a:gd name="connsiteX1918" fmla="*/ 540626 w 9847941"/>
                  <a:gd name="connsiteY1918" fmla="*/ 517898 h 1864765"/>
                  <a:gd name="connsiteX1919" fmla="*/ 541687 w 9847941"/>
                  <a:gd name="connsiteY1919" fmla="*/ 517898 h 1864765"/>
                  <a:gd name="connsiteX1920" fmla="*/ 542747 w 9847941"/>
                  <a:gd name="connsiteY1920" fmla="*/ 518504 h 1864765"/>
                  <a:gd name="connsiteX1921" fmla="*/ 543657 w 9847941"/>
                  <a:gd name="connsiteY1921" fmla="*/ 517898 h 1864765"/>
                  <a:gd name="connsiteX1922" fmla="*/ 546384 w 9847941"/>
                  <a:gd name="connsiteY1922" fmla="*/ 512443 h 1864765"/>
                  <a:gd name="connsiteX1923" fmla="*/ 547596 w 9847941"/>
                  <a:gd name="connsiteY1923" fmla="*/ 511534 h 1864765"/>
                  <a:gd name="connsiteX1924" fmla="*/ 548808 w 9847941"/>
                  <a:gd name="connsiteY1924" fmla="*/ 511534 h 1864765"/>
                  <a:gd name="connsiteX1925" fmla="*/ 549717 w 9847941"/>
                  <a:gd name="connsiteY1925" fmla="*/ 511231 h 1864765"/>
                  <a:gd name="connsiteX1926" fmla="*/ 550172 w 9847941"/>
                  <a:gd name="connsiteY1926" fmla="*/ 510625 h 1864765"/>
                  <a:gd name="connsiteX1927" fmla="*/ 549566 w 9847941"/>
                  <a:gd name="connsiteY1927" fmla="*/ 506534 h 1864765"/>
                  <a:gd name="connsiteX1928" fmla="*/ 549717 w 9847941"/>
                  <a:gd name="connsiteY1928" fmla="*/ 504261 h 1864765"/>
                  <a:gd name="connsiteX1929" fmla="*/ 550020 w 9847941"/>
                  <a:gd name="connsiteY1929" fmla="*/ 502594 h 1864765"/>
                  <a:gd name="connsiteX1930" fmla="*/ 550627 w 9847941"/>
                  <a:gd name="connsiteY1930" fmla="*/ 501382 h 1864765"/>
                  <a:gd name="connsiteX1931" fmla="*/ 551990 w 9847941"/>
                  <a:gd name="connsiteY1931" fmla="*/ 500473 h 1864765"/>
                  <a:gd name="connsiteX1932" fmla="*/ 554263 w 9847941"/>
                  <a:gd name="connsiteY1932" fmla="*/ 499867 h 1864765"/>
                  <a:gd name="connsiteX1933" fmla="*/ 555778 w 9847941"/>
                  <a:gd name="connsiteY1933" fmla="*/ 498958 h 1864765"/>
                  <a:gd name="connsiteX1934" fmla="*/ 556536 w 9847941"/>
                  <a:gd name="connsiteY1934" fmla="*/ 497594 h 1864765"/>
                  <a:gd name="connsiteX1935" fmla="*/ 555930 w 9847941"/>
                  <a:gd name="connsiteY1935" fmla="*/ 496079 h 1864765"/>
                  <a:gd name="connsiteX1936" fmla="*/ 554111 w 9847941"/>
                  <a:gd name="connsiteY1936" fmla="*/ 494260 h 1864765"/>
                  <a:gd name="connsiteX1937" fmla="*/ 552293 w 9847941"/>
                  <a:gd name="connsiteY1937" fmla="*/ 493957 h 1864765"/>
                  <a:gd name="connsiteX1938" fmla="*/ 550323 w 9847941"/>
                  <a:gd name="connsiteY1938" fmla="*/ 495170 h 1864765"/>
                  <a:gd name="connsiteX1939" fmla="*/ 547445 w 9847941"/>
                  <a:gd name="connsiteY1939" fmla="*/ 495776 h 1864765"/>
                  <a:gd name="connsiteX1940" fmla="*/ 543505 w 9847941"/>
                  <a:gd name="connsiteY1940" fmla="*/ 495927 h 1864765"/>
                  <a:gd name="connsiteX1941" fmla="*/ 540475 w 9847941"/>
                  <a:gd name="connsiteY1941" fmla="*/ 496533 h 1864765"/>
                  <a:gd name="connsiteX1942" fmla="*/ 538353 w 9847941"/>
                  <a:gd name="connsiteY1942" fmla="*/ 497745 h 1864765"/>
                  <a:gd name="connsiteX1943" fmla="*/ 537899 w 9847941"/>
                  <a:gd name="connsiteY1943" fmla="*/ 497594 h 1864765"/>
                  <a:gd name="connsiteX1944" fmla="*/ 539111 w 9847941"/>
                  <a:gd name="connsiteY1944" fmla="*/ 496230 h 1864765"/>
                  <a:gd name="connsiteX1945" fmla="*/ 541535 w 9847941"/>
                  <a:gd name="connsiteY1945" fmla="*/ 494564 h 1864765"/>
                  <a:gd name="connsiteX1946" fmla="*/ 542747 w 9847941"/>
                  <a:gd name="connsiteY1946" fmla="*/ 494260 h 1864765"/>
                  <a:gd name="connsiteX1947" fmla="*/ 546232 w 9847941"/>
                  <a:gd name="connsiteY1947" fmla="*/ 494412 h 1864765"/>
                  <a:gd name="connsiteX1948" fmla="*/ 547142 w 9847941"/>
                  <a:gd name="connsiteY1948" fmla="*/ 493806 h 1864765"/>
                  <a:gd name="connsiteX1949" fmla="*/ 547748 w 9847941"/>
                  <a:gd name="connsiteY1949" fmla="*/ 492745 h 1864765"/>
                  <a:gd name="connsiteX1950" fmla="*/ 548505 w 9847941"/>
                  <a:gd name="connsiteY1950" fmla="*/ 490018 h 1864765"/>
                  <a:gd name="connsiteX1951" fmla="*/ 548202 w 9847941"/>
                  <a:gd name="connsiteY1951" fmla="*/ 488957 h 1864765"/>
                  <a:gd name="connsiteX1952" fmla="*/ 546232 w 9847941"/>
                  <a:gd name="connsiteY1952" fmla="*/ 487897 h 1864765"/>
                  <a:gd name="connsiteX1953" fmla="*/ 544717 w 9847941"/>
                  <a:gd name="connsiteY1953" fmla="*/ 487442 h 1864765"/>
                  <a:gd name="connsiteX1954" fmla="*/ 540323 w 9847941"/>
                  <a:gd name="connsiteY1954" fmla="*/ 484563 h 1864765"/>
                  <a:gd name="connsiteX1955" fmla="*/ 540323 w 9847941"/>
                  <a:gd name="connsiteY1955" fmla="*/ 483502 h 1864765"/>
                  <a:gd name="connsiteX1956" fmla="*/ 542596 w 9847941"/>
                  <a:gd name="connsiteY1956" fmla="*/ 483200 h 1864765"/>
                  <a:gd name="connsiteX1957" fmla="*/ 544414 w 9847941"/>
                  <a:gd name="connsiteY1957" fmla="*/ 482745 h 1864765"/>
                  <a:gd name="connsiteX1958" fmla="*/ 545778 w 9847941"/>
                  <a:gd name="connsiteY1958" fmla="*/ 481836 h 1864765"/>
                  <a:gd name="connsiteX1959" fmla="*/ 547142 w 9847941"/>
                  <a:gd name="connsiteY1959" fmla="*/ 478199 h 1864765"/>
                  <a:gd name="connsiteX1960" fmla="*/ 549414 w 9847941"/>
                  <a:gd name="connsiteY1960" fmla="*/ 474411 h 1864765"/>
                  <a:gd name="connsiteX1961" fmla="*/ 548960 w 9847941"/>
                  <a:gd name="connsiteY1961" fmla="*/ 473957 h 1864765"/>
                  <a:gd name="connsiteX1962" fmla="*/ 547293 w 9847941"/>
                  <a:gd name="connsiteY1962" fmla="*/ 474260 h 1864765"/>
                  <a:gd name="connsiteX1963" fmla="*/ 544263 w 9847941"/>
                  <a:gd name="connsiteY1963" fmla="*/ 475472 h 1864765"/>
                  <a:gd name="connsiteX1964" fmla="*/ 543808 w 9847941"/>
                  <a:gd name="connsiteY1964" fmla="*/ 475320 h 1864765"/>
                  <a:gd name="connsiteX1965" fmla="*/ 544414 w 9847941"/>
                  <a:gd name="connsiteY1965" fmla="*/ 474260 h 1864765"/>
                  <a:gd name="connsiteX1966" fmla="*/ 545626 w 9847941"/>
                  <a:gd name="connsiteY1966" fmla="*/ 473351 h 1864765"/>
                  <a:gd name="connsiteX1967" fmla="*/ 547596 w 9847941"/>
                  <a:gd name="connsiteY1967" fmla="*/ 472442 h 1864765"/>
                  <a:gd name="connsiteX1968" fmla="*/ 549263 w 9847941"/>
                  <a:gd name="connsiteY1968" fmla="*/ 472138 h 1864765"/>
                  <a:gd name="connsiteX1969" fmla="*/ 550627 w 9847941"/>
                  <a:gd name="connsiteY1969" fmla="*/ 472442 h 1864765"/>
                  <a:gd name="connsiteX1970" fmla="*/ 553657 w 9847941"/>
                  <a:gd name="connsiteY1970" fmla="*/ 472290 h 1864765"/>
                  <a:gd name="connsiteX1971" fmla="*/ 555324 w 9847941"/>
                  <a:gd name="connsiteY1971" fmla="*/ 471229 h 1864765"/>
                  <a:gd name="connsiteX1972" fmla="*/ 559263 w 9847941"/>
                  <a:gd name="connsiteY1972" fmla="*/ 467896 h 1864765"/>
                  <a:gd name="connsiteX1973" fmla="*/ 561233 w 9847941"/>
                  <a:gd name="connsiteY1973" fmla="*/ 466532 h 1864765"/>
                  <a:gd name="connsiteX1974" fmla="*/ 561839 w 9847941"/>
                  <a:gd name="connsiteY1974" fmla="*/ 466532 h 1864765"/>
                  <a:gd name="connsiteX1975" fmla="*/ 555778 w 9847941"/>
                  <a:gd name="connsiteY1975" fmla="*/ 474866 h 1864765"/>
                  <a:gd name="connsiteX1976" fmla="*/ 555021 w 9847941"/>
                  <a:gd name="connsiteY1976" fmla="*/ 476987 h 1864765"/>
                  <a:gd name="connsiteX1977" fmla="*/ 555475 w 9847941"/>
                  <a:gd name="connsiteY1977" fmla="*/ 477896 h 1864765"/>
                  <a:gd name="connsiteX1978" fmla="*/ 558203 w 9847941"/>
                  <a:gd name="connsiteY1978" fmla="*/ 480321 h 1864765"/>
                  <a:gd name="connsiteX1979" fmla="*/ 560475 w 9847941"/>
                  <a:gd name="connsiteY1979" fmla="*/ 480472 h 1864765"/>
                  <a:gd name="connsiteX1980" fmla="*/ 564566 w 9847941"/>
                  <a:gd name="connsiteY1980" fmla="*/ 479411 h 1864765"/>
                  <a:gd name="connsiteX1981" fmla="*/ 565476 w 9847941"/>
                  <a:gd name="connsiteY1981" fmla="*/ 478502 h 1864765"/>
                  <a:gd name="connsiteX1982" fmla="*/ 566385 w 9847941"/>
                  <a:gd name="connsiteY1982" fmla="*/ 476533 h 1864765"/>
                  <a:gd name="connsiteX1983" fmla="*/ 567142 w 9847941"/>
                  <a:gd name="connsiteY1983" fmla="*/ 475926 h 1864765"/>
                  <a:gd name="connsiteX1984" fmla="*/ 568354 w 9847941"/>
                  <a:gd name="connsiteY1984" fmla="*/ 476987 h 1864765"/>
                  <a:gd name="connsiteX1985" fmla="*/ 570779 w 9847941"/>
                  <a:gd name="connsiteY1985" fmla="*/ 477745 h 1864765"/>
                  <a:gd name="connsiteX1986" fmla="*/ 571991 w 9847941"/>
                  <a:gd name="connsiteY1986" fmla="*/ 479108 h 1864765"/>
                  <a:gd name="connsiteX1987" fmla="*/ 572749 w 9847941"/>
                  <a:gd name="connsiteY1987" fmla="*/ 479260 h 1864765"/>
                  <a:gd name="connsiteX1988" fmla="*/ 573809 w 9847941"/>
                  <a:gd name="connsiteY1988" fmla="*/ 478805 h 1864765"/>
                  <a:gd name="connsiteX1989" fmla="*/ 574718 w 9847941"/>
                  <a:gd name="connsiteY1989" fmla="*/ 477896 h 1864765"/>
                  <a:gd name="connsiteX1990" fmla="*/ 575627 w 9847941"/>
                  <a:gd name="connsiteY1990" fmla="*/ 476533 h 1864765"/>
                  <a:gd name="connsiteX1991" fmla="*/ 577294 w 9847941"/>
                  <a:gd name="connsiteY1991" fmla="*/ 475775 h 1864765"/>
                  <a:gd name="connsiteX1992" fmla="*/ 579719 w 9847941"/>
                  <a:gd name="connsiteY1992" fmla="*/ 475472 h 1864765"/>
                  <a:gd name="connsiteX1993" fmla="*/ 581688 w 9847941"/>
                  <a:gd name="connsiteY1993" fmla="*/ 475775 h 1864765"/>
                  <a:gd name="connsiteX1994" fmla="*/ 583203 w 9847941"/>
                  <a:gd name="connsiteY1994" fmla="*/ 476533 h 1864765"/>
                  <a:gd name="connsiteX1995" fmla="*/ 585931 w 9847941"/>
                  <a:gd name="connsiteY1995" fmla="*/ 475472 h 1864765"/>
                  <a:gd name="connsiteX1996" fmla="*/ 590325 w 9847941"/>
                  <a:gd name="connsiteY1996" fmla="*/ 472442 h 1864765"/>
                  <a:gd name="connsiteX1997" fmla="*/ 593961 w 9847941"/>
                  <a:gd name="connsiteY1997" fmla="*/ 470320 h 1864765"/>
                  <a:gd name="connsiteX1998" fmla="*/ 599416 w 9847941"/>
                  <a:gd name="connsiteY1998" fmla="*/ 470017 h 1864765"/>
                  <a:gd name="connsiteX1999" fmla="*/ 602144 w 9847941"/>
                  <a:gd name="connsiteY1999" fmla="*/ 470926 h 1864765"/>
                  <a:gd name="connsiteX2000" fmla="*/ 593507 w 9847941"/>
                  <a:gd name="connsiteY2000" fmla="*/ 473351 h 1864765"/>
                  <a:gd name="connsiteX2001" fmla="*/ 592446 w 9847941"/>
                  <a:gd name="connsiteY2001" fmla="*/ 475926 h 1864765"/>
                  <a:gd name="connsiteX2002" fmla="*/ 592446 w 9847941"/>
                  <a:gd name="connsiteY2002" fmla="*/ 479866 h 1864765"/>
                  <a:gd name="connsiteX2003" fmla="*/ 593355 w 9847941"/>
                  <a:gd name="connsiteY2003" fmla="*/ 480927 h 1864765"/>
                  <a:gd name="connsiteX2004" fmla="*/ 595325 w 9847941"/>
                  <a:gd name="connsiteY2004" fmla="*/ 482290 h 1864765"/>
                  <a:gd name="connsiteX2005" fmla="*/ 599113 w 9847941"/>
                  <a:gd name="connsiteY2005" fmla="*/ 483502 h 1864765"/>
                  <a:gd name="connsiteX2006" fmla="*/ 596234 w 9847941"/>
                  <a:gd name="connsiteY2006" fmla="*/ 485775 h 1864765"/>
                  <a:gd name="connsiteX2007" fmla="*/ 594871 w 9847941"/>
                  <a:gd name="connsiteY2007" fmla="*/ 486230 h 1864765"/>
                  <a:gd name="connsiteX2008" fmla="*/ 594265 w 9847941"/>
                  <a:gd name="connsiteY2008" fmla="*/ 486836 h 1864765"/>
                  <a:gd name="connsiteX2009" fmla="*/ 596083 w 9847941"/>
                  <a:gd name="connsiteY2009" fmla="*/ 488048 h 1864765"/>
                  <a:gd name="connsiteX2010" fmla="*/ 600325 w 9847941"/>
                  <a:gd name="connsiteY2010" fmla="*/ 486533 h 1864765"/>
                  <a:gd name="connsiteX2011" fmla="*/ 602901 w 9847941"/>
                  <a:gd name="connsiteY2011" fmla="*/ 486078 h 1864765"/>
                  <a:gd name="connsiteX2012" fmla="*/ 604719 w 9847941"/>
                  <a:gd name="connsiteY2012" fmla="*/ 486684 h 1864765"/>
                  <a:gd name="connsiteX2013" fmla="*/ 605174 w 9847941"/>
                  <a:gd name="connsiteY2013" fmla="*/ 487442 h 1864765"/>
                  <a:gd name="connsiteX2014" fmla="*/ 605174 w 9847941"/>
                  <a:gd name="connsiteY2014" fmla="*/ 488351 h 1864765"/>
                  <a:gd name="connsiteX2015" fmla="*/ 605629 w 9847941"/>
                  <a:gd name="connsiteY2015" fmla="*/ 489715 h 1864765"/>
                  <a:gd name="connsiteX2016" fmla="*/ 618659 w 9847941"/>
                  <a:gd name="connsiteY2016" fmla="*/ 490169 h 1864765"/>
                  <a:gd name="connsiteX2017" fmla="*/ 618205 w 9847941"/>
                  <a:gd name="connsiteY2017" fmla="*/ 491382 h 1864765"/>
                  <a:gd name="connsiteX2018" fmla="*/ 616235 w 9847941"/>
                  <a:gd name="connsiteY2018" fmla="*/ 493806 h 1864765"/>
                  <a:gd name="connsiteX2019" fmla="*/ 614871 w 9847941"/>
                  <a:gd name="connsiteY2019" fmla="*/ 495321 h 1864765"/>
                  <a:gd name="connsiteX2020" fmla="*/ 612447 w 9847941"/>
                  <a:gd name="connsiteY2020" fmla="*/ 497291 h 1864765"/>
                  <a:gd name="connsiteX2021" fmla="*/ 613811 w 9847941"/>
                  <a:gd name="connsiteY2021" fmla="*/ 497594 h 1864765"/>
                  <a:gd name="connsiteX2022" fmla="*/ 617296 w 9847941"/>
                  <a:gd name="connsiteY2022" fmla="*/ 497594 h 1864765"/>
                  <a:gd name="connsiteX2023" fmla="*/ 621538 w 9847941"/>
                  <a:gd name="connsiteY2023" fmla="*/ 498655 h 1864765"/>
                  <a:gd name="connsiteX2024" fmla="*/ 626538 w 9847941"/>
                  <a:gd name="connsiteY2024" fmla="*/ 500776 h 1864765"/>
                  <a:gd name="connsiteX2025" fmla="*/ 630175 w 9847941"/>
                  <a:gd name="connsiteY2025" fmla="*/ 501079 h 1864765"/>
                  <a:gd name="connsiteX2026" fmla="*/ 632448 w 9847941"/>
                  <a:gd name="connsiteY2026" fmla="*/ 499564 h 1864765"/>
                  <a:gd name="connsiteX2027" fmla="*/ 634266 w 9847941"/>
                  <a:gd name="connsiteY2027" fmla="*/ 498048 h 1864765"/>
                  <a:gd name="connsiteX2028" fmla="*/ 637296 w 9847941"/>
                  <a:gd name="connsiteY2028" fmla="*/ 494564 h 1864765"/>
                  <a:gd name="connsiteX2029" fmla="*/ 640630 w 9847941"/>
                  <a:gd name="connsiteY2029" fmla="*/ 491988 h 1864765"/>
                  <a:gd name="connsiteX2030" fmla="*/ 644418 w 9847941"/>
                  <a:gd name="connsiteY2030" fmla="*/ 489412 h 1864765"/>
                  <a:gd name="connsiteX2031" fmla="*/ 645327 w 9847941"/>
                  <a:gd name="connsiteY2031" fmla="*/ 489109 h 1864765"/>
                  <a:gd name="connsiteX2032" fmla="*/ 642751 w 9847941"/>
                  <a:gd name="connsiteY2032" fmla="*/ 492594 h 1864765"/>
                  <a:gd name="connsiteX2033" fmla="*/ 641690 w 9847941"/>
                  <a:gd name="connsiteY2033" fmla="*/ 494715 h 1864765"/>
                  <a:gd name="connsiteX2034" fmla="*/ 640630 w 9847941"/>
                  <a:gd name="connsiteY2034" fmla="*/ 497745 h 1864765"/>
                  <a:gd name="connsiteX2035" fmla="*/ 639569 w 9847941"/>
                  <a:gd name="connsiteY2035" fmla="*/ 502897 h 1864765"/>
                  <a:gd name="connsiteX2036" fmla="*/ 640933 w 9847941"/>
                  <a:gd name="connsiteY2036" fmla="*/ 504564 h 1864765"/>
                  <a:gd name="connsiteX2037" fmla="*/ 643963 w 9847941"/>
                  <a:gd name="connsiteY2037" fmla="*/ 505473 h 1864765"/>
                  <a:gd name="connsiteX2038" fmla="*/ 645933 w 9847941"/>
                  <a:gd name="connsiteY2038" fmla="*/ 506382 h 1864765"/>
                  <a:gd name="connsiteX2039" fmla="*/ 646691 w 9847941"/>
                  <a:gd name="connsiteY2039" fmla="*/ 507443 h 1864765"/>
                  <a:gd name="connsiteX2040" fmla="*/ 649721 w 9847941"/>
                  <a:gd name="connsiteY2040" fmla="*/ 508200 h 1864765"/>
                  <a:gd name="connsiteX2041" fmla="*/ 655176 w 9847941"/>
                  <a:gd name="connsiteY2041" fmla="*/ 508806 h 1864765"/>
                  <a:gd name="connsiteX2042" fmla="*/ 659267 w 9847941"/>
                  <a:gd name="connsiteY2042" fmla="*/ 510473 h 1864765"/>
                  <a:gd name="connsiteX2043" fmla="*/ 661994 w 9847941"/>
                  <a:gd name="connsiteY2043" fmla="*/ 513201 h 1864765"/>
                  <a:gd name="connsiteX2044" fmla="*/ 662146 w 9847941"/>
                  <a:gd name="connsiteY2044" fmla="*/ 514110 h 1864765"/>
                  <a:gd name="connsiteX2045" fmla="*/ 660025 w 9847941"/>
                  <a:gd name="connsiteY2045" fmla="*/ 514867 h 1864765"/>
                  <a:gd name="connsiteX2046" fmla="*/ 660328 w 9847941"/>
                  <a:gd name="connsiteY2046" fmla="*/ 516079 h 1864765"/>
                  <a:gd name="connsiteX2047" fmla="*/ 664873 w 9847941"/>
                  <a:gd name="connsiteY2047" fmla="*/ 516382 h 1864765"/>
                  <a:gd name="connsiteX2048" fmla="*/ 669570 w 9847941"/>
                  <a:gd name="connsiteY2048" fmla="*/ 516231 h 1864765"/>
                  <a:gd name="connsiteX2049" fmla="*/ 677752 w 9847941"/>
                  <a:gd name="connsiteY2049" fmla="*/ 514564 h 1864765"/>
                  <a:gd name="connsiteX2050" fmla="*/ 693056 w 9847941"/>
                  <a:gd name="connsiteY2050" fmla="*/ 512898 h 1864765"/>
                  <a:gd name="connsiteX2051" fmla="*/ 703966 w 9847941"/>
                  <a:gd name="connsiteY2051" fmla="*/ 513352 h 1864765"/>
                  <a:gd name="connsiteX2052" fmla="*/ 716087 w 9847941"/>
                  <a:gd name="connsiteY2052" fmla="*/ 515473 h 1864765"/>
                  <a:gd name="connsiteX2053" fmla="*/ 727906 w 9847941"/>
                  <a:gd name="connsiteY2053" fmla="*/ 518049 h 1864765"/>
                  <a:gd name="connsiteX2054" fmla="*/ 731694 w 9847941"/>
                  <a:gd name="connsiteY2054" fmla="*/ 516989 h 1864765"/>
                  <a:gd name="connsiteX2055" fmla="*/ 733967 w 9847941"/>
                  <a:gd name="connsiteY2055" fmla="*/ 515928 h 1864765"/>
                  <a:gd name="connsiteX2056" fmla="*/ 735027 w 9847941"/>
                  <a:gd name="connsiteY2056" fmla="*/ 515019 h 1864765"/>
                  <a:gd name="connsiteX2057" fmla="*/ 734724 w 9847941"/>
                  <a:gd name="connsiteY2057" fmla="*/ 513201 h 1864765"/>
                  <a:gd name="connsiteX2058" fmla="*/ 734724 w 9847941"/>
                  <a:gd name="connsiteY2058" fmla="*/ 512291 h 1864765"/>
                  <a:gd name="connsiteX2059" fmla="*/ 735027 w 9847941"/>
                  <a:gd name="connsiteY2059" fmla="*/ 511988 h 1864765"/>
                  <a:gd name="connsiteX2060" fmla="*/ 736239 w 9847941"/>
                  <a:gd name="connsiteY2060" fmla="*/ 512443 h 1864765"/>
                  <a:gd name="connsiteX2061" fmla="*/ 737149 w 9847941"/>
                  <a:gd name="connsiteY2061" fmla="*/ 513352 h 1864765"/>
                  <a:gd name="connsiteX2062" fmla="*/ 738209 w 9847941"/>
                  <a:gd name="connsiteY2062" fmla="*/ 516534 h 1864765"/>
                  <a:gd name="connsiteX2063" fmla="*/ 738058 w 9847941"/>
                  <a:gd name="connsiteY2063" fmla="*/ 517595 h 1864765"/>
                  <a:gd name="connsiteX2064" fmla="*/ 735482 w 9847941"/>
                  <a:gd name="connsiteY2064" fmla="*/ 520928 h 1864765"/>
                  <a:gd name="connsiteX2065" fmla="*/ 737603 w 9847941"/>
                  <a:gd name="connsiteY2065" fmla="*/ 522140 h 1864765"/>
                  <a:gd name="connsiteX2066" fmla="*/ 750937 w 9847941"/>
                  <a:gd name="connsiteY2066" fmla="*/ 527292 h 1864765"/>
                  <a:gd name="connsiteX2067" fmla="*/ 756240 w 9847941"/>
                  <a:gd name="connsiteY2067" fmla="*/ 528353 h 1864765"/>
                  <a:gd name="connsiteX2068" fmla="*/ 762453 w 9847941"/>
                  <a:gd name="connsiteY2068" fmla="*/ 528807 h 1864765"/>
                  <a:gd name="connsiteX2069" fmla="*/ 768059 w 9847941"/>
                  <a:gd name="connsiteY2069" fmla="*/ 528201 h 1864765"/>
                  <a:gd name="connsiteX2070" fmla="*/ 776241 w 9847941"/>
                  <a:gd name="connsiteY2070" fmla="*/ 525019 h 1864765"/>
                  <a:gd name="connsiteX2071" fmla="*/ 778059 w 9847941"/>
                  <a:gd name="connsiteY2071" fmla="*/ 523958 h 1864765"/>
                  <a:gd name="connsiteX2072" fmla="*/ 784575 w 9847941"/>
                  <a:gd name="connsiteY2072" fmla="*/ 518201 h 1864765"/>
                  <a:gd name="connsiteX2073" fmla="*/ 787150 w 9847941"/>
                  <a:gd name="connsiteY2073" fmla="*/ 516382 h 1864765"/>
                  <a:gd name="connsiteX2074" fmla="*/ 789575 w 9847941"/>
                  <a:gd name="connsiteY2074" fmla="*/ 516534 h 1864765"/>
                  <a:gd name="connsiteX2075" fmla="*/ 790332 w 9847941"/>
                  <a:gd name="connsiteY2075" fmla="*/ 516989 h 1864765"/>
                  <a:gd name="connsiteX2076" fmla="*/ 794726 w 9847941"/>
                  <a:gd name="connsiteY2076" fmla="*/ 521383 h 1864765"/>
                  <a:gd name="connsiteX2077" fmla="*/ 801696 w 9847941"/>
                  <a:gd name="connsiteY2077" fmla="*/ 523807 h 1864765"/>
                  <a:gd name="connsiteX2078" fmla="*/ 800030 w 9847941"/>
                  <a:gd name="connsiteY2078" fmla="*/ 524110 h 1864765"/>
                  <a:gd name="connsiteX2079" fmla="*/ 796393 w 9847941"/>
                  <a:gd name="connsiteY2079" fmla="*/ 523655 h 1864765"/>
                  <a:gd name="connsiteX2080" fmla="*/ 795181 w 9847941"/>
                  <a:gd name="connsiteY2080" fmla="*/ 524413 h 1864765"/>
                  <a:gd name="connsiteX2081" fmla="*/ 794575 w 9847941"/>
                  <a:gd name="connsiteY2081" fmla="*/ 525928 h 1864765"/>
                  <a:gd name="connsiteX2082" fmla="*/ 794272 w 9847941"/>
                  <a:gd name="connsiteY2082" fmla="*/ 527444 h 1864765"/>
                  <a:gd name="connsiteX2083" fmla="*/ 794120 w 9847941"/>
                  <a:gd name="connsiteY2083" fmla="*/ 530777 h 1864765"/>
                  <a:gd name="connsiteX2084" fmla="*/ 793817 w 9847941"/>
                  <a:gd name="connsiteY2084" fmla="*/ 532444 h 1864765"/>
                  <a:gd name="connsiteX2085" fmla="*/ 793514 w 9847941"/>
                  <a:gd name="connsiteY2085" fmla="*/ 532898 h 1864765"/>
                  <a:gd name="connsiteX2086" fmla="*/ 792605 w 9847941"/>
                  <a:gd name="connsiteY2086" fmla="*/ 527747 h 1864765"/>
                  <a:gd name="connsiteX2087" fmla="*/ 792757 w 9847941"/>
                  <a:gd name="connsiteY2087" fmla="*/ 523353 h 1864765"/>
                  <a:gd name="connsiteX2088" fmla="*/ 792302 w 9847941"/>
                  <a:gd name="connsiteY2088" fmla="*/ 522140 h 1864765"/>
                  <a:gd name="connsiteX2089" fmla="*/ 789120 w 9847941"/>
                  <a:gd name="connsiteY2089" fmla="*/ 518807 h 1864765"/>
                  <a:gd name="connsiteX2090" fmla="*/ 788060 w 9847941"/>
                  <a:gd name="connsiteY2090" fmla="*/ 518504 h 1864765"/>
                  <a:gd name="connsiteX2091" fmla="*/ 787302 w 9847941"/>
                  <a:gd name="connsiteY2091" fmla="*/ 518958 h 1864765"/>
                  <a:gd name="connsiteX2092" fmla="*/ 786090 w 9847941"/>
                  <a:gd name="connsiteY2092" fmla="*/ 519716 h 1864765"/>
                  <a:gd name="connsiteX2093" fmla="*/ 785635 w 9847941"/>
                  <a:gd name="connsiteY2093" fmla="*/ 520625 h 1864765"/>
                  <a:gd name="connsiteX2094" fmla="*/ 785332 w 9847941"/>
                  <a:gd name="connsiteY2094" fmla="*/ 521989 h 1864765"/>
                  <a:gd name="connsiteX2095" fmla="*/ 785332 w 9847941"/>
                  <a:gd name="connsiteY2095" fmla="*/ 523353 h 1864765"/>
                  <a:gd name="connsiteX2096" fmla="*/ 785938 w 9847941"/>
                  <a:gd name="connsiteY2096" fmla="*/ 525777 h 1864765"/>
                  <a:gd name="connsiteX2097" fmla="*/ 787453 w 9847941"/>
                  <a:gd name="connsiteY2097" fmla="*/ 528353 h 1864765"/>
                  <a:gd name="connsiteX2098" fmla="*/ 787302 w 9847941"/>
                  <a:gd name="connsiteY2098" fmla="*/ 529565 h 1864765"/>
                  <a:gd name="connsiteX2099" fmla="*/ 784575 w 9847941"/>
                  <a:gd name="connsiteY2099" fmla="*/ 533201 h 1864765"/>
                  <a:gd name="connsiteX2100" fmla="*/ 782908 w 9847941"/>
                  <a:gd name="connsiteY2100" fmla="*/ 534110 h 1864765"/>
                  <a:gd name="connsiteX2101" fmla="*/ 780332 w 9847941"/>
                  <a:gd name="connsiteY2101" fmla="*/ 535020 h 1864765"/>
                  <a:gd name="connsiteX2102" fmla="*/ 779423 w 9847941"/>
                  <a:gd name="connsiteY2102" fmla="*/ 535777 h 1864765"/>
                  <a:gd name="connsiteX2103" fmla="*/ 780180 w 9847941"/>
                  <a:gd name="connsiteY2103" fmla="*/ 536535 h 1864765"/>
                  <a:gd name="connsiteX2104" fmla="*/ 781847 w 9847941"/>
                  <a:gd name="connsiteY2104" fmla="*/ 537444 h 1864765"/>
                  <a:gd name="connsiteX2105" fmla="*/ 785635 w 9847941"/>
                  <a:gd name="connsiteY2105" fmla="*/ 539111 h 1864765"/>
                  <a:gd name="connsiteX2106" fmla="*/ 792151 w 9847941"/>
                  <a:gd name="connsiteY2106" fmla="*/ 542596 h 1864765"/>
                  <a:gd name="connsiteX2107" fmla="*/ 804575 w 9847941"/>
                  <a:gd name="connsiteY2107" fmla="*/ 548202 h 1864765"/>
                  <a:gd name="connsiteX2108" fmla="*/ 809576 w 9847941"/>
                  <a:gd name="connsiteY2108" fmla="*/ 550172 h 1864765"/>
                  <a:gd name="connsiteX2109" fmla="*/ 814727 w 9847941"/>
                  <a:gd name="connsiteY2109" fmla="*/ 551081 h 1864765"/>
                  <a:gd name="connsiteX2110" fmla="*/ 814576 w 9847941"/>
                  <a:gd name="connsiteY2110" fmla="*/ 551687 h 1864765"/>
                  <a:gd name="connsiteX2111" fmla="*/ 813515 w 9847941"/>
                  <a:gd name="connsiteY2111" fmla="*/ 552596 h 1864765"/>
                  <a:gd name="connsiteX2112" fmla="*/ 814121 w 9847941"/>
                  <a:gd name="connsiteY2112" fmla="*/ 553202 h 1864765"/>
                  <a:gd name="connsiteX2113" fmla="*/ 816545 w 9847941"/>
                  <a:gd name="connsiteY2113" fmla="*/ 553354 h 1864765"/>
                  <a:gd name="connsiteX2114" fmla="*/ 819273 w 9847941"/>
                  <a:gd name="connsiteY2114" fmla="*/ 554263 h 1864765"/>
                  <a:gd name="connsiteX2115" fmla="*/ 822303 w 9847941"/>
                  <a:gd name="connsiteY2115" fmla="*/ 555929 h 1864765"/>
                  <a:gd name="connsiteX2116" fmla="*/ 828213 w 9847941"/>
                  <a:gd name="connsiteY2116" fmla="*/ 560172 h 1864765"/>
                  <a:gd name="connsiteX2117" fmla="*/ 830031 w 9847941"/>
                  <a:gd name="connsiteY2117" fmla="*/ 562142 h 1864765"/>
                  <a:gd name="connsiteX2118" fmla="*/ 830788 w 9847941"/>
                  <a:gd name="connsiteY2118" fmla="*/ 563960 h 1864765"/>
                  <a:gd name="connsiteX2119" fmla="*/ 832758 w 9847941"/>
                  <a:gd name="connsiteY2119" fmla="*/ 566384 h 1864765"/>
                  <a:gd name="connsiteX2120" fmla="*/ 835940 w 9847941"/>
                  <a:gd name="connsiteY2120" fmla="*/ 569566 h 1864765"/>
                  <a:gd name="connsiteX2121" fmla="*/ 838364 w 9847941"/>
                  <a:gd name="connsiteY2121" fmla="*/ 571385 h 1864765"/>
                  <a:gd name="connsiteX2122" fmla="*/ 840183 w 9847941"/>
                  <a:gd name="connsiteY2122" fmla="*/ 571991 h 1864765"/>
                  <a:gd name="connsiteX2123" fmla="*/ 841092 w 9847941"/>
                  <a:gd name="connsiteY2123" fmla="*/ 572748 h 1864765"/>
                  <a:gd name="connsiteX2124" fmla="*/ 841243 w 9847941"/>
                  <a:gd name="connsiteY2124" fmla="*/ 574112 h 1864765"/>
                  <a:gd name="connsiteX2125" fmla="*/ 841546 w 9847941"/>
                  <a:gd name="connsiteY2125" fmla="*/ 574415 h 1864765"/>
                  <a:gd name="connsiteX2126" fmla="*/ 854426 w 9847941"/>
                  <a:gd name="connsiteY2126" fmla="*/ 581839 h 1864765"/>
                  <a:gd name="connsiteX2127" fmla="*/ 860032 w 9847941"/>
                  <a:gd name="connsiteY2127" fmla="*/ 584415 h 1864765"/>
                  <a:gd name="connsiteX2128" fmla="*/ 864578 w 9847941"/>
                  <a:gd name="connsiteY2128" fmla="*/ 586991 h 1864765"/>
                  <a:gd name="connsiteX2129" fmla="*/ 867153 w 9847941"/>
                  <a:gd name="connsiteY2129" fmla="*/ 587900 h 1864765"/>
                  <a:gd name="connsiteX2130" fmla="*/ 867759 w 9847941"/>
                  <a:gd name="connsiteY2130" fmla="*/ 587900 h 1864765"/>
                  <a:gd name="connsiteX2131" fmla="*/ 871093 w 9847941"/>
                  <a:gd name="connsiteY2131" fmla="*/ 584567 h 1864765"/>
                  <a:gd name="connsiteX2132" fmla="*/ 880184 w 9847941"/>
                  <a:gd name="connsiteY2132" fmla="*/ 583658 h 1864765"/>
                  <a:gd name="connsiteX2133" fmla="*/ 881548 w 9847941"/>
                  <a:gd name="connsiteY2133" fmla="*/ 583052 h 1864765"/>
                  <a:gd name="connsiteX2134" fmla="*/ 882305 w 9847941"/>
                  <a:gd name="connsiteY2134" fmla="*/ 582294 h 1864765"/>
                  <a:gd name="connsiteX2135" fmla="*/ 882154 w 9847941"/>
                  <a:gd name="connsiteY2135" fmla="*/ 579567 h 1864765"/>
                  <a:gd name="connsiteX2136" fmla="*/ 881093 w 9847941"/>
                  <a:gd name="connsiteY2136" fmla="*/ 577445 h 1864765"/>
                  <a:gd name="connsiteX2137" fmla="*/ 877760 w 9847941"/>
                  <a:gd name="connsiteY2137" fmla="*/ 573657 h 1864765"/>
                  <a:gd name="connsiteX2138" fmla="*/ 875184 w 9847941"/>
                  <a:gd name="connsiteY2138" fmla="*/ 572748 h 1864765"/>
                  <a:gd name="connsiteX2139" fmla="*/ 870638 w 9847941"/>
                  <a:gd name="connsiteY2139" fmla="*/ 573051 h 1864765"/>
                  <a:gd name="connsiteX2140" fmla="*/ 872760 w 9847941"/>
                  <a:gd name="connsiteY2140" fmla="*/ 570627 h 1864765"/>
                  <a:gd name="connsiteX2141" fmla="*/ 872608 w 9847941"/>
                  <a:gd name="connsiteY2141" fmla="*/ 569718 h 1864765"/>
                  <a:gd name="connsiteX2142" fmla="*/ 869275 w 9847941"/>
                  <a:gd name="connsiteY2142" fmla="*/ 568203 h 1864765"/>
                  <a:gd name="connsiteX2143" fmla="*/ 868820 w 9847941"/>
                  <a:gd name="connsiteY2143" fmla="*/ 567748 h 1864765"/>
                  <a:gd name="connsiteX2144" fmla="*/ 868366 w 9847941"/>
                  <a:gd name="connsiteY2144" fmla="*/ 566384 h 1864765"/>
                  <a:gd name="connsiteX2145" fmla="*/ 867153 w 9847941"/>
                  <a:gd name="connsiteY2145" fmla="*/ 565475 h 1864765"/>
                  <a:gd name="connsiteX2146" fmla="*/ 863668 w 9847941"/>
                  <a:gd name="connsiteY2146" fmla="*/ 563809 h 1864765"/>
                  <a:gd name="connsiteX2147" fmla="*/ 859880 w 9847941"/>
                  <a:gd name="connsiteY2147" fmla="*/ 562596 h 1864765"/>
                  <a:gd name="connsiteX2148" fmla="*/ 857608 w 9847941"/>
                  <a:gd name="connsiteY2148" fmla="*/ 562445 h 1864765"/>
                  <a:gd name="connsiteX2149" fmla="*/ 855486 w 9847941"/>
                  <a:gd name="connsiteY2149" fmla="*/ 563051 h 1864765"/>
                  <a:gd name="connsiteX2150" fmla="*/ 854880 w 9847941"/>
                  <a:gd name="connsiteY2150" fmla="*/ 562748 h 1864765"/>
                  <a:gd name="connsiteX2151" fmla="*/ 856850 w 9847941"/>
                  <a:gd name="connsiteY2151" fmla="*/ 560627 h 1864765"/>
                  <a:gd name="connsiteX2152" fmla="*/ 857911 w 9847941"/>
                  <a:gd name="connsiteY2152" fmla="*/ 560172 h 1864765"/>
                  <a:gd name="connsiteX2153" fmla="*/ 857759 w 9847941"/>
                  <a:gd name="connsiteY2153" fmla="*/ 558808 h 1864765"/>
                  <a:gd name="connsiteX2154" fmla="*/ 856395 w 9847941"/>
                  <a:gd name="connsiteY2154" fmla="*/ 556687 h 1864765"/>
                  <a:gd name="connsiteX2155" fmla="*/ 856698 w 9847941"/>
                  <a:gd name="connsiteY2155" fmla="*/ 556081 h 1864765"/>
                  <a:gd name="connsiteX2156" fmla="*/ 861093 w 9847941"/>
                  <a:gd name="connsiteY2156" fmla="*/ 558051 h 1864765"/>
                  <a:gd name="connsiteX2157" fmla="*/ 868366 w 9847941"/>
                  <a:gd name="connsiteY2157" fmla="*/ 559717 h 1864765"/>
                  <a:gd name="connsiteX2158" fmla="*/ 869881 w 9847941"/>
                  <a:gd name="connsiteY2158" fmla="*/ 561081 h 1864765"/>
                  <a:gd name="connsiteX2159" fmla="*/ 870790 w 9847941"/>
                  <a:gd name="connsiteY2159" fmla="*/ 562899 h 1864765"/>
                  <a:gd name="connsiteX2160" fmla="*/ 871547 w 9847941"/>
                  <a:gd name="connsiteY2160" fmla="*/ 563505 h 1864765"/>
                  <a:gd name="connsiteX2161" fmla="*/ 873517 w 9847941"/>
                  <a:gd name="connsiteY2161" fmla="*/ 564263 h 1864765"/>
                  <a:gd name="connsiteX2162" fmla="*/ 875790 w 9847941"/>
                  <a:gd name="connsiteY2162" fmla="*/ 565930 h 1864765"/>
                  <a:gd name="connsiteX2163" fmla="*/ 877760 w 9847941"/>
                  <a:gd name="connsiteY2163" fmla="*/ 566839 h 1864765"/>
                  <a:gd name="connsiteX2164" fmla="*/ 878820 w 9847941"/>
                  <a:gd name="connsiteY2164" fmla="*/ 566687 h 1864765"/>
                  <a:gd name="connsiteX2165" fmla="*/ 879881 w 9847941"/>
                  <a:gd name="connsiteY2165" fmla="*/ 565930 h 1864765"/>
                  <a:gd name="connsiteX2166" fmla="*/ 880487 w 9847941"/>
                  <a:gd name="connsiteY2166" fmla="*/ 564718 h 1864765"/>
                  <a:gd name="connsiteX2167" fmla="*/ 880639 w 9847941"/>
                  <a:gd name="connsiteY2167" fmla="*/ 563051 h 1864765"/>
                  <a:gd name="connsiteX2168" fmla="*/ 880487 w 9847941"/>
                  <a:gd name="connsiteY2168" fmla="*/ 561839 h 1864765"/>
                  <a:gd name="connsiteX2169" fmla="*/ 879578 w 9847941"/>
                  <a:gd name="connsiteY2169" fmla="*/ 559717 h 1864765"/>
                  <a:gd name="connsiteX2170" fmla="*/ 879881 w 9847941"/>
                  <a:gd name="connsiteY2170" fmla="*/ 555626 h 1864765"/>
                  <a:gd name="connsiteX2171" fmla="*/ 880336 w 9847941"/>
                  <a:gd name="connsiteY2171" fmla="*/ 555929 h 1864765"/>
                  <a:gd name="connsiteX2172" fmla="*/ 881245 w 9847941"/>
                  <a:gd name="connsiteY2172" fmla="*/ 557596 h 1864765"/>
                  <a:gd name="connsiteX2173" fmla="*/ 882609 w 9847941"/>
                  <a:gd name="connsiteY2173" fmla="*/ 561839 h 1864765"/>
                  <a:gd name="connsiteX2174" fmla="*/ 883518 w 9847941"/>
                  <a:gd name="connsiteY2174" fmla="*/ 562596 h 1864765"/>
                  <a:gd name="connsiteX2175" fmla="*/ 885790 w 9847941"/>
                  <a:gd name="connsiteY2175" fmla="*/ 561384 h 1864765"/>
                  <a:gd name="connsiteX2176" fmla="*/ 888669 w 9847941"/>
                  <a:gd name="connsiteY2176" fmla="*/ 561687 h 1864765"/>
                  <a:gd name="connsiteX2177" fmla="*/ 882760 w 9847941"/>
                  <a:gd name="connsiteY2177" fmla="*/ 564718 h 1864765"/>
                  <a:gd name="connsiteX2178" fmla="*/ 882760 w 9847941"/>
                  <a:gd name="connsiteY2178" fmla="*/ 566081 h 1864765"/>
                  <a:gd name="connsiteX2179" fmla="*/ 887003 w 9847941"/>
                  <a:gd name="connsiteY2179" fmla="*/ 572748 h 1864765"/>
                  <a:gd name="connsiteX2180" fmla="*/ 887760 w 9847941"/>
                  <a:gd name="connsiteY2180" fmla="*/ 574566 h 1864765"/>
                  <a:gd name="connsiteX2181" fmla="*/ 886851 w 9847941"/>
                  <a:gd name="connsiteY2181" fmla="*/ 579112 h 1864765"/>
                  <a:gd name="connsiteX2182" fmla="*/ 886851 w 9847941"/>
                  <a:gd name="connsiteY2182" fmla="*/ 581688 h 1864765"/>
                  <a:gd name="connsiteX2183" fmla="*/ 887457 w 9847941"/>
                  <a:gd name="connsiteY2183" fmla="*/ 581991 h 1864765"/>
                  <a:gd name="connsiteX2184" fmla="*/ 895639 w 9847941"/>
                  <a:gd name="connsiteY2184" fmla="*/ 581233 h 1864765"/>
                  <a:gd name="connsiteX2185" fmla="*/ 898973 w 9847941"/>
                  <a:gd name="connsiteY2185" fmla="*/ 582597 h 1864765"/>
                  <a:gd name="connsiteX2186" fmla="*/ 901397 w 9847941"/>
                  <a:gd name="connsiteY2186" fmla="*/ 585627 h 1864765"/>
                  <a:gd name="connsiteX2187" fmla="*/ 903064 w 9847941"/>
                  <a:gd name="connsiteY2187" fmla="*/ 587294 h 1864765"/>
                  <a:gd name="connsiteX2188" fmla="*/ 907458 w 9847941"/>
                  <a:gd name="connsiteY2188" fmla="*/ 588203 h 1864765"/>
                  <a:gd name="connsiteX2189" fmla="*/ 908822 w 9847941"/>
                  <a:gd name="connsiteY2189" fmla="*/ 587749 h 1864765"/>
                  <a:gd name="connsiteX2190" fmla="*/ 909579 w 9847941"/>
                  <a:gd name="connsiteY2190" fmla="*/ 586385 h 1864765"/>
                  <a:gd name="connsiteX2191" fmla="*/ 909882 w 9847941"/>
                  <a:gd name="connsiteY2191" fmla="*/ 585324 h 1864765"/>
                  <a:gd name="connsiteX2192" fmla="*/ 909579 w 9847941"/>
                  <a:gd name="connsiteY2192" fmla="*/ 583961 h 1864765"/>
                  <a:gd name="connsiteX2193" fmla="*/ 907155 w 9847941"/>
                  <a:gd name="connsiteY2193" fmla="*/ 577142 h 1864765"/>
                  <a:gd name="connsiteX2194" fmla="*/ 906246 w 9847941"/>
                  <a:gd name="connsiteY2194" fmla="*/ 574112 h 1864765"/>
                  <a:gd name="connsiteX2195" fmla="*/ 905640 w 9847941"/>
                  <a:gd name="connsiteY2195" fmla="*/ 570930 h 1864765"/>
                  <a:gd name="connsiteX2196" fmla="*/ 904276 w 9847941"/>
                  <a:gd name="connsiteY2196" fmla="*/ 566687 h 1864765"/>
                  <a:gd name="connsiteX2197" fmla="*/ 902155 w 9847941"/>
                  <a:gd name="connsiteY2197" fmla="*/ 561384 h 1864765"/>
                  <a:gd name="connsiteX2198" fmla="*/ 900791 w 9847941"/>
                  <a:gd name="connsiteY2198" fmla="*/ 554263 h 1864765"/>
                  <a:gd name="connsiteX2199" fmla="*/ 897609 w 9847941"/>
                  <a:gd name="connsiteY2199" fmla="*/ 549566 h 1864765"/>
                  <a:gd name="connsiteX2200" fmla="*/ 899427 w 9847941"/>
                  <a:gd name="connsiteY2200" fmla="*/ 549263 h 1864765"/>
                  <a:gd name="connsiteX2201" fmla="*/ 900336 w 9847941"/>
                  <a:gd name="connsiteY2201" fmla="*/ 549414 h 1864765"/>
                  <a:gd name="connsiteX2202" fmla="*/ 899882 w 9847941"/>
                  <a:gd name="connsiteY2202" fmla="*/ 548050 h 1864765"/>
                  <a:gd name="connsiteX2203" fmla="*/ 898064 w 9847941"/>
                  <a:gd name="connsiteY2203" fmla="*/ 545323 h 1864765"/>
                  <a:gd name="connsiteX2204" fmla="*/ 900033 w 9847941"/>
                  <a:gd name="connsiteY2204" fmla="*/ 544868 h 1864765"/>
                  <a:gd name="connsiteX2205" fmla="*/ 900336 w 9847941"/>
                  <a:gd name="connsiteY2205" fmla="*/ 543505 h 1864765"/>
                  <a:gd name="connsiteX2206" fmla="*/ 901397 w 9847941"/>
                  <a:gd name="connsiteY2206" fmla="*/ 540777 h 1864765"/>
                  <a:gd name="connsiteX2207" fmla="*/ 901852 w 9847941"/>
                  <a:gd name="connsiteY2207" fmla="*/ 541232 h 1864765"/>
                  <a:gd name="connsiteX2208" fmla="*/ 901549 w 9847941"/>
                  <a:gd name="connsiteY2208" fmla="*/ 544717 h 1864765"/>
                  <a:gd name="connsiteX2209" fmla="*/ 902306 w 9847941"/>
                  <a:gd name="connsiteY2209" fmla="*/ 548202 h 1864765"/>
                  <a:gd name="connsiteX2210" fmla="*/ 905337 w 9847941"/>
                  <a:gd name="connsiteY2210" fmla="*/ 554717 h 1864765"/>
                  <a:gd name="connsiteX2211" fmla="*/ 907609 w 9847941"/>
                  <a:gd name="connsiteY2211" fmla="*/ 564112 h 1864765"/>
                  <a:gd name="connsiteX2212" fmla="*/ 909125 w 9847941"/>
                  <a:gd name="connsiteY2212" fmla="*/ 565930 h 1864765"/>
                  <a:gd name="connsiteX2213" fmla="*/ 911549 w 9847941"/>
                  <a:gd name="connsiteY2213" fmla="*/ 567142 h 1864765"/>
                  <a:gd name="connsiteX2214" fmla="*/ 912155 w 9847941"/>
                  <a:gd name="connsiteY2214" fmla="*/ 568051 h 1864765"/>
                  <a:gd name="connsiteX2215" fmla="*/ 912761 w 9847941"/>
                  <a:gd name="connsiteY2215" fmla="*/ 571839 h 1864765"/>
                  <a:gd name="connsiteX2216" fmla="*/ 917307 w 9847941"/>
                  <a:gd name="connsiteY2216" fmla="*/ 579567 h 1864765"/>
                  <a:gd name="connsiteX2217" fmla="*/ 920337 w 9847941"/>
                  <a:gd name="connsiteY2217" fmla="*/ 582294 h 1864765"/>
                  <a:gd name="connsiteX2218" fmla="*/ 925186 w 9847941"/>
                  <a:gd name="connsiteY2218" fmla="*/ 583052 h 1864765"/>
                  <a:gd name="connsiteX2219" fmla="*/ 929428 w 9847941"/>
                  <a:gd name="connsiteY2219" fmla="*/ 585779 h 1864765"/>
                  <a:gd name="connsiteX2220" fmla="*/ 931398 w 9847941"/>
                  <a:gd name="connsiteY2220" fmla="*/ 588052 h 1864765"/>
                  <a:gd name="connsiteX2221" fmla="*/ 932762 w 9847941"/>
                  <a:gd name="connsiteY2221" fmla="*/ 588506 h 1864765"/>
                  <a:gd name="connsiteX2222" fmla="*/ 934883 w 9847941"/>
                  <a:gd name="connsiteY2222" fmla="*/ 586688 h 1864765"/>
                  <a:gd name="connsiteX2223" fmla="*/ 937459 w 9847941"/>
                  <a:gd name="connsiteY2223" fmla="*/ 581233 h 1864765"/>
                  <a:gd name="connsiteX2224" fmla="*/ 940035 w 9847941"/>
                  <a:gd name="connsiteY2224" fmla="*/ 577900 h 1864765"/>
                  <a:gd name="connsiteX2225" fmla="*/ 940944 w 9847941"/>
                  <a:gd name="connsiteY2225" fmla="*/ 577294 h 1864765"/>
                  <a:gd name="connsiteX2226" fmla="*/ 941853 w 9847941"/>
                  <a:gd name="connsiteY2226" fmla="*/ 577142 h 1864765"/>
                  <a:gd name="connsiteX2227" fmla="*/ 941550 w 9847941"/>
                  <a:gd name="connsiteY2227" fmla="*/ 577900 h 1864765"/>
                  <a:gd name="connsiteX2228" fmla="*/ 940338 w 9847941"/>
                  <a:gd name="connsiteY2228" fmla="*/ 579112 h 1864765"/>
                  <a:gd name="connsiteX2229" fmla="*/ 937308 w 9847941"/>
                  <a:gd name="connsiteY2229" fmla="*/ 586234 h 1864765"/>
                  <a:gd name="connsiteX2230" fmla="*/ 936853 w 9847941"/>
                  <a:gd name="connsiteY2230" fmla="*/ 589415 h 1864765"/>
                  <a:gd name="connsiteX2231" fmla="*/ 937004 w 9847941"/>
                  <a:gd name="connsiteY2231" fmla="*/ 592749 h 1864765"/>
                  <a:gd name="connsiteX2232" fmla="*/ 937762 w 9847941"/>
                  <a:gd name="connsiteY2232" fmla="*/ 595022 h 1864765"/>
                  <a:gd name="connsiteX2233" fmla="*/ 941550 w 9847941"/>
                  <a:gd name="connsiteY2233" fmla="*/ 598204 h 1864765"/>
                  <a:gd name="connsiteX2234" fmla="*/ 943520 w 9847941"/>
                  <a:gd name="connsiteY2234" fmla="*/ 600476 h 1864765"/>
                  <a:gd name="connsiteX2235" fmla="*/ 945641 w 9847941"/>
                  <a:gd name="connsiteY2235" fmla="*/ 603658 h 1864765"/>
                  <a:gd name="connsiteX2236" fmla="*/ 946247 w 9847941"/>
                  <a:gd name="connsiteY2236" fmla="*/ 604113 h 1864765"/>
                  <a:gd name="connsiteX2237" fmla="*/ 948065 w 9847941"/>
                  <a:gd name="connsiteY2237" fmla="*/ 604265 h 1864765"/>
                  <a:gd name="connsiteX2238" fmla="*/ 948975 w 9847941"/>
                  <a:gd name="connsiteY2238" fmla="*/ 603658 h 1864765"/>
                  <a:gd name="connsiteX2239" fmla="*/ 950793 w 9847941"/>
                  <a:gd name="connsiteY2239" fmla="*/ 600931 h 1864765"/>
                  <a:gd name="connsiteX2240" fmla="*/ 952460 w 9847941"/>
                  <a:gd name="connsiteY2240" fmla="*/ 600931 h 1864765"/>
                  <a:gd name="connsiteX2241" fmla="*/ 960793 w 9847941"/>
                  <a:gd name="connsiteY2241" fmla="*/ 602749 h 1864765"/>
                  <a:gd name="connsiteX2242" fmla="*/ 960339 w 9847941"/>
                  <a:gd name="connsiteY2242" fmla="*/ 603204 h 1864765"/>
                  <a:gd name="connsiteX2243" fmla="*/ 952157 w 9847941"/>
                  <a:gd name="connsiteY2243" fmla="*/ 602598 h 1864765"/>
                  <a:gd name="connsiteX2244" fmla="*/ 951399 w 9847941"/>
                  <a:gd name="connsiteY2244" fmla="*/ 603204 h 1864765"/>
                  <a:gd name="connsiteX2245" fmla="*/ 951399 w 9847941"/>
                  <a:gd name="connsiteY2245" fmla="*/ 604416 h 1864765"/>
                  <a:gd name="connsiteX2246" fmla="*/ 952005 w 9847941"/>
                  <a:gd name="connsiteY2246" fmla="*/ 606689 h 1864765"/>
                  <a:gd name="connsiteX2247" fmla="*/ 954126 w 9847941"/>
                  <a:gd name="connsiteY2247" fmla="*/ 608659 h 1864765"/>
                  <a:gd name="connsiteX2248" fmla="*/ 962915 w 9847941"/>
                  <a:gd name="connsiteY2248" fmla="*/ 615022 h 1864765"/>
                  <a:gd name="connsiteX2249" fmla="*/ 962157 w 9847941"/>
                  <a:gd name="connsiteY2249" fmla="*/ 615477 h 1864765"/>
                  <a:gd name="connsiteX2250" fmla="*/ 956702 w 9847941"/>
                  <a:gd name="connsiteY2250" fmla="*/ 612447 h 1864765"/>
                  <a:gd name="connsiteX2251" fmla="*/ 950944 w 9847941"/>
                  <a:gd name="connsiteY2251" fmla="*/ 609871 h 1864765"/>
                  <a:gd name="connsiteX2252" fmla="*/ 949581 w 9847941"/>
                  <a:gd name="connsiteY2252" fmla="*/ 609871 h 1864765"/>
                  <a:gd name="connsiteX2253" fmla="*/ 948975 w 9847941"/>
                  <a:gd name="connsiteY2253" fmla="*/ 610628 h 1864765"/>
                  <a:gd name="connsiteX2254" fmla="*/ 948369 w 9847941"/>
                  <a:gd name="connsiteY2254" fmla="*/ 611992 h 1864765"/>
                  <a:gd name="connsiteX2255" fmla="*/ 951399 w 9847941"/>
                  <a:gd name="connsiteY2255" fmla="*/ 615477 h 1864765"/>
                  <a:gd name="connsiteX2256" fmla="*/ 954126 w 9847941"/>
                  <a:gd name="connsiteY2256" fmla="*/ 623962 h 1864765"/>
                  <a:gd name="connsiteX2257" fmla="*/ 953369 w 9847941"/>
                  <a:gd name="connsiteY2257" fmla="*/ 630478 h 1864765"/>
                  <a:gd name="connsiteX2258" fmla="*/ 968521 w 9847941"/>
                  <a:gd name="connsiteY2258" fmla="*/ 635326 h 1864765"/>
                  <a:gd name="connsiteX2259" fmla="*/ 970945 w 9847941"/>
                  <a:gd name="connsiteY2259" fmla="*/ 635023 h 1864765"/>
                  <a:gd name="connsiteX2260" fmla="*/ 971248 w 9847941"/>
                  <a:gd name="connsiteY2260" fmla="*/ 635629 h 1864765"/>
                  <a:gd name="connsiteX2261" fmla="*/ 970642 w 9847941"/>
                  <a:gd name="connsiteY2261" fmla="*/ 638811 h 1864765"/>
                  <a:gd name="connsiteX2262" fmla="*/ 970945 w 9847941"/>
                  <a:gd name="connsiteY2262" fmla="*/ 640023 h 1864765"/>
                  <a:gd name="connsiteX2263" fmla="*/ 971703 w 9847941"/>
                  <a:gd name="connsiteY2263" fmla="*/ 641387 h 1864765"/>
                  <a:gd name="connsiteX2264" fmla="*/ 974430 w 9847941"/>
                  <a:gd name="connsiteY2264" fmla="*/ 644266 h 1864765"/>
                  <a:gd name="connsiteX2265" fmla="*/ 976097 w 9847941"/>
                  <a:gd name="connsiteY2265" fmla="*/ 645327 h 1864765"/>
                  <a:gd name="connsiteX2266" fmla="*/ 980339 w 9847941"/>
                  <a:gd name="connsiteY2266" fmla="*/ 646539 h 1864765"/>
                  <a:gd name="connsiteX2267" fmla="*/ 980642 w 9847941"/>
                  <a:gd name="connsiteY2267" fmla="*/ 651084 h 1864765"/>
                  <a:gd name="connsiteX2268" fmla="*/ 981703 w 9847941"/>
                  <a:gd name="connsiteY2268" fmla="*/ 651690 h 1864765"/>
                  <a:gd name="connsiteX2269" fmla="*/ 983824 w 9847941"/>
                  <a:gd name="connsiteY2269" fmla="*/ 651994 h 1864765"/>
                  <a:gd name="connsiteX2270" fmla="*/ 984430 w 9847941"/>
                  <a:gd name="connsiteY2270" fmla="*/ 652903 h 1864765"/>
                  <a:gd name="connsiteX2271" fmla="*/ 983824 w 9847941"/>
                  <a:gd name="connsiteY2271" fmla="*/ 654266 h 1864765"/>
                  <a:gd name="connsiteX2272" fmla="*/ 984582 w 9847941"/>
                  <a:gd name="connsiteY2272" fmla="*/ 655782 h 1864765"/>
                  <a:gd name="connsiteX2273" fmla="*/ 985946 w 9847941"/>
                  <a:gd name="connsiteY2273" fmla="*/ 656994 h 1864765"/>
                  <a:gd name="connsiteX2274" fmla="*/ 987915 w 9847941"/>
                  <a:gd name="connsiteY2274" fmla="*/ 659721 h 1864765"/>
                  <a:gd name="connsiteX2275" fmla="*/ 989279 w 9847941"/>
                  <a:gd name="connsiteY2275" fmla="*/ 660479 h 1864765"/>
                  <a:gd name="connsiteX2276" fmla="*/ 992310 w 9847941"/>
                  <a:gd name="connsiteY2276" fmla="*/ 661236 h 1864765"/>
                  <a:gd name="connsiteX2277" fmla="*/ 993976 w 9847941"/>
                  <a:gd name="connsiteY2277" fmla="*/ 663358 h 1864765"/>
                  <a:gd name="connsiteX2278" fmla="*/ 994885 w 9847941"/>
                  <a:gd name="connsiteY2278" fmla="*/ 665327 h 1864765"/>
                  <a:gd name="connsiteX2279" fmla="*/ 995946 w 9847941"/>
                  <a:gd name="connsiteY2279" fmla="*/ 666540 h 1864765"/>
                  <a:gd name="connsiteX2280" fmla="*/ 997158 w 9847941"/>
                  <a:gd name="connsiteY2280" fmla="*/ 666994 h 1864765"/>
                  <a:gd name="connsiteX2281" fmla="*/ 1005189 w 9847941"/>
                  <a:gd name="connsiteY2281" fmla="*/ 667903 h 1864765"/>
                  <a:gd name="connsiteX2282" fmla="*/ 1000037 w 9847941"/>
                  <a:gd name="connsiteY2282" fmla="*/ 669721 h 1864765"/>
                  <a:gd name="connsiteX2283" fmla="*/ 997158 w 9847941"/>
                  <a:gd name="connsiteY2283" fmla="*/ 669721 h 1864765"/>
                  <a:gd name="connsiteX2284" fmla="*/ 992764 w 9847941"/>
                  <a:gd name="connsiteY2284" fmla="*/ 678661 h 1864765"/>
                  <a:gd name="connsiteX2285" fmla="*/ 990491 w 9847941"/>
                  <a:gd name="connsiteY2285" fmla="*/ 682146 h 1864765"/>
                  <a:gd name="connsiteX2286" fmla="*/ 988673 w 9847941"/>
                  <a:gd name="connsiteY2286" fmla="*/ 684419 h 1864765"/>
                  <a:gd name="connsiteX2287" fmla="*/ 987309 w 9847941"/>
                  <a:gd name="connsiteY2287" fmla="*/ 685480 h 1864765"/>
                  <a:gd name="connsiteX2288" fmla="*/ 986855 w 9847941"/>
                  <a:gd name="connsiteY2288" fmla="*/ 686692 h 1864765"/>
                  <a:gd name="connsiteX2289" fmla="*/ 988673 w 9847941"/>
                  <a:gd name="connsiteY2289" fmla="*/ 691389 h 1864765"/>
                  <a:gd name="connsiteX2290" fmla="*/ 989734 w 9847941"/>
                  <a:gd name="connsiteY2290" fmla="*/ 692601 h 1864765"/>
                  <a:gd name="connsiteX2291" fmla="*/ 993370 w 9847941"/>
                  <a:gd name="connsiteY2291" fmla="*/ 693965 h 1864765"/>
                  <a:gd name="connsiteX2292" fmla="*/ 994431 w 9847941"/>
                  <a:gd name="connsiteY2292" fmla="*/ 693207 h 1864765"/>
                  <a:gd name="connsiteX2293" fmla="*/ 996552 w 9847941"/>
                  <a:gd name="connsiteY2293" fmla="*/ 689571 h 1864765"/>
                  <a:gd name="connsiteX2294" fmla="*/ 997461 w 9847941"/>
                  <a:gd name="connsiteY2294" fmla="*/ 686237 h 1864765"/>
                  <a:gd name="connsiteX2295" fmla="*/ 998219 w 9847941"/>
                  <a:gd name="connsiteY2295" fmla="*/ 685025 h 1864765"/>
                  <a:gd name="connsiteX2296" fmla="*/ 998370 w 9847941"/>
                  <a:gd name="connsiteY2296" fmla="*/ 684419 h 1864765"/>
                  <a:gd name="connsiteX2297" fmla="*/ 997613 w 9847941"/>
                  <a:gd name="connsiteY2297" fmla="*/ 682449 h 1864765"/>
                  <a:gd name="connsiteX2298" fmla="*/ 997916 w 9847941"/>
                  <a:gd name="connsiteY2298" fmla="*/ 681692 h 1864765"/>
                  <a:gd name="connsiteX2299" fmla="*/ 998825 w 9847941"/>
                  <a:gd name="connsiteY2299" fmla="*/ 680782 h 1864765"/>
                  <a:gd name="connsiteX2300" fmla="*/ 1002916 w 9847941"/>
                  <a:gd name="connsiteY2300" fmla="*/ 678661 h 1864765"/>
                  <a:gd name="connsiteX2301" fmla="*/ 1012462 w 9847941"/>
                  <a:gd name="connsiteY2301" fmla="*/ 675631 h 1864765"/>
                  <a:gd name="connsiteX2302" fmla="*/ 1019432 w 9847941"/>
                  <a:gd name="connsiteY2302" fmla="*/ 672449 h 1864765"/>
                  <a:gd name="connsiteX2303" fmla="*/ 1018371 w 9847941"/>
                  <a:gd name="connsiteY2303" fmla="*/ 674116 h 1864765"/>
                  <a:gd name="connsiteX2304" fmla="*/ 1016553 w 9847941"/>
                  <a:gd name="connsiteY2304" fmla="*/ 675934 h 1864765"/>
                  <a:gd name="connsiteX2305" fmla="*/ 1016856 w 9847941"/>
                  <a:gd name="connsiteY2305" fmla="*/ 677297 h 1864765"/>
                  <a:gd name="connsiteX2306" fmla="*/ 1020947 w 9847941"/>
                  <a:gd name="connsiteY2306" fmla="*/ 683055 h 1864765"/>
                  <a:gd name="connsiteX2307" fmla="*/ 1022614 w 9847941"/>
                  <a:gd name="connsiteY2307" fmla="*/ 685934 h 1864765"/>
                  <a:gd name="connsiteX2308" fmla="*/ 1023674 w 9847941"/>
                  <a:gd name="connsiteY2308" fmla="*/ 690631 h 1864765"/>
                  <a:gd name="connsiteX2309" fmla="*/ 1023826 w 9847941"/>
                  <a:gd name="connsiteY2309" fmla="*/ 692904 h 1864765"/>
                  <a:gd name="connsiteX2310" fmla="*/ 1023674 w 9847941"/>
                  <a:gd name="connsiteY2310" fmla="*/ 696389 h 1864765"/>
                  <a:gd name="connsiteX2311" fmla="*/ 1024280 w 9847941"/>
                  <a:gd name="connsiteY2311" fmla="*/ 700329 h 1864765"/>
                  <a:gd name="connsiteX2312" fmla="*/ 1024887 w 9847941"/>
                  <a:gd name="connsiteY2312" fmla="*/ 701238 h 1864765"/>
                  <a:gd name="connsiteX2313" fmla="*/ 1027311 w 9847941"/>
                  <a:gd name="connsiteY2313" fmla="*/ 701844 h 1864765"/>
                  <a:gd name="connsiteX2314" fmla="*/ 1027311 w 9847941"/>
                  <a:gd name="connsiteY2314" fmla="*/ 702601 h 1864765"/>
                  <a:gd name="connsiteX2315" fmla="*/ 1020947 w 9847941"/>
                  <a:gd name="connsiteY2315" fmla="*/ 704571 h 1864765"/>
                  <a:gd name="connsiteX2316" fmla="*/ 1019280 w 9847941"/>
                  <a:gd name="connsiteY2316" fmla="*/ 706996 h 1864765"/>
                  <a:gd name="connsiteX2317" fmla="*/ 1019280 w 9847941"/>
                  <a:gd name="connsiteY2317" fmla="*/ 707905 h 1864765"/>
                  <a:gd name="connsiteX2318" fmla="*/ 1021098 w 9847941"/>
                  <a:gd name="connsiteY2318" fmla="*/ 711541 h 1864765"/>
                  <a:gd name="connsiteX2319" fmla="*/ 1022311 w 9847941"/>
                  <a:gd name="connsiteY2319" fmla="*/ 715784 h 1864765"/>
                  <a:gd name="connsiteX2320" fmla="*/ 1024584 w 9847941"/>
                  <a:gd name="connsiteY2320" fmla="*/ 721238 h 1864765"/>
                  <a:gd name="connsiteX2321" fmla="*/ 1030947 w 9847941"/>
                  <a:gd name="connsiteY2321" fmla="*/ 721845 h 1864765"/>
                  <a:gd name="connsiteX2322" fmla="*/ 1032008 w 9847941"/>
                  <a:gd name="connsiteY2322" fmla="*/ 722602 h 1864765"/>
                  <a:gd name="connsiteX2323" fmla="*/ 1034281 w 9847941"/>
                  <a:gd name="connsiteY2323" fmla="*/ 720178 h 1864765"/>
                  <a:gd name="connsiteX2324" fmla="*/ 1039281 w 9847941"/>
                  <a:gd name="connsiteY2324" fmla="*/ 715935 h 1864765"/>
                  <a:gd name="connsiteX2325" fmla="*/ 1042008 w 9847941"/>
                  <a:gd name="connsiteY2325" fmla="*/ 712905 h 1864765"/>
                  <a:gd name="connsiteX2326" fmla="*/ 1041857 w 9847941"/>
                  <a:gd name="connsiteY2326" fmla="*/ 711541 h 1864765"/>
                  <a:gd name="connsiteX2327" fmla="*/ 1043069 w 9847941"/>
                  <a:gd name="connsiteY2327" fmla="*/ 708662 h 1864765"/>
                  <a:gd name="connsiteX2328" fmla="*/ 1046706 w 9847941"/>
                  <a:gd name="connsiteY2328" fmla="*/ 702753 h 1864765"/>
                  <a:gd name="connsiteX2329" fmla="*/ 1046706 w 9847941"/>
                  <a:gd name="connsiteY2329" fmla="*/ 700935 h 1864765"/>
                  <a:gd name="connsiteX2330" fmla="*/ 1046099 w 9847941"/>
                  <a:gd name="connsiteY2330" fmla="*/ 698359 h 1864765"/>
                  <a:gd name="connsiteX2331" fmla="*/ 1044433 w 9847941"/>
                  <a:gd name="connsiteY2331" fmla="*/ 694116 h 1864765"/>
                  <a:gd name="connsiteX2332" fmla="*/ 1043827 w 9847941"/>
                  <a:gd name="connsiteY2332" fmla="*/ 691843 h 1864765"/>
                  <a:gd name="connsiteX2333" fmla="*/ 1043675 w 9847941"/>
                  <a:gd name="connsiteY2333" fmla="*/ 689116 h 1864765"/>
                  <a:gd name="connsiteX2334" fmla="*/ 1043978 w 9847941"/>
                  <a:gd name="connsiteY2334" fmla="*/ 686692 h 1864765"/>
                  <a:gd name="connsiteX2335" fmla="*/ 1044736 w 9847941"/>
                  <a:gd name="connsiteY2335" fmla="*/ 684419 h 1864765"/>
                  <a:gd name="connsiteX2336" fmla="*/ 1045796 w 9847941"/>
                  <a:gd name="connsiteY2336" fmla="*/ 682298 h 1864765"/>
                  <a:gd name="connsiteX2337" fmla="*/ 1047160 w 9847941"/>
                  <a:gd name="connsiteY2337" fmla="*/ 680328 h 1864765"/>
                  <a:gd name="connsiteX2338" fmla="*/ 1047463 w 9847941"/>
                  <a:gd name="connsiteY2338" fmla="*/ 677904 h 1864765"/>
                  <a:gd name="connsiteX2339" fmla="*/ 1047160 w 9847941"/>
                  <a:gd name="connsiteY2339" fmla="*/ 675479 h 1864765"/>
                  <a:gd name="connsiteX2340" fmla="*/ 1046099 w 9847941"/>
                  <a:gd name="connsiteY2340" fmla="*/ 673358 h 1864765"/>
                  <a:gd name="connsiteX2341" fmla="*/ 201674 w 9847941"/>
                  <a:gd name="connsiteY2341" fmla="*/ 574566 h 1864765"/>
                  <a:gd name="connsiteX2342" fmla="*/ 207280 w 9847941"/>
                  <a:gd name="connsiteY2342" fmla="*/ 565778 h 1864765"/>
                  <a:gd name="connsiteX2343" fmla="*/ 205765 w 9847941"/>
                  <a:gd name="connsiteY2343" fmla="*/ 566081 h 1864765"/>
                  <a:gd name="connsiteX2344" fmla="*/ 199856 w 9847941"/>
                  <a:gd name="connsiteY2344" fmla="*/ 568203 h 1864765"/>
                  <a:gd name="connsiteX2345" fmla="*/ 197129 w 9847941"/>
                  <a:gd name="connsiteY2345" fmla="*/ 570778 h 1864765"/>
                  <a:gd name="connsiteX2346" fmla="*/ 195916 w 9847941"/>
                  <a:gd name="connsiteY2346" fmla="*/ 570930 h 1864765"/>
                  <a:gd name="connsiteX2347" fmla="*/ 197583 w 9847941"/>
                  <a:gd name="connsiteY2347" fmla="*/ 574869 h 1864765"/>
                  <a:gd name="connsiteX2348" fmla="*/ 199704 w 9847941"/>
                  <a:gd name="connsiteY2348" fmla="*/ 575173 h 1864765"/>
                  <a:gd name="connsiteX2349" fmla="*/ 201674 w 9847941"/>
                  <a:gd name="connsiteY2349" fmla="*/ 574566 h 1864765"/>
                  <a:gd name="connsiteX2350" fmla="*/ 1020795 w 9847941"/>
                  <a:gd name="connsiteY2350" fmla="*/ 695480 h 1864765"/>
                  <a:gd name="connsiteX2351" fmla="*/ 1021250 w 9847941"/>
                  <a:gd name="connsiteY2351" fmla="*/ 692450 h 1864765"/>
                  <a:gd name="connsiteX2352" fmla="*/ 1021250 w 9847941"/>
                  <a:gd name="connsiteY2352" fmla="*/ 688510 h 1864765"/>
                  <a:gd name="connsiteX2353" fmla="*/ 1020341 w 9847941"/>
                  <a:gd name="connsiteY2353" fmla="*/ 686237 h 1864765"/>
                  <a:gd name="connsiteX2354" fmla="*/ 1017007 w 9847941"/>
                  <a:gd name="connsiteY2354" fmla="*/ 681237 h 1864765"/>
                  <a:gd name="connsiteX2355" fmla="*/ 1013826 w 9847941"/>
                  <a:gd name="connsiteY2355" fmla="*/ 677752 h 1864765"/>
                  <a:gd name="connsiteX2356" fmla="*/ 1012916 w 9847941"/>
                  <a:gd name="connsiteY2356" fmla="*/ 677449 h 1864765"/>
                  <a:gd name="connsiteX2357" fmla="*/ 1003219 w 9847941"/>
                  <a:gd name="connsiteY2357" fmla="*/ 682146 h 1864765"/>
                  <a:gd name="connsiteX2358" fmla="*/ 1002613 w 9847941"/>
                  <a:gd name="connsiteY2358" fmla="*/ 691540 h 1864765"/>
                  <a:gd name="connsiteX2359" fmla="*/ 999583 w 9847941"/>
                  <a:gd name="connsiteY2359" fmla="*/ 694722 h 1864765"/>
                  <a:gd name="connsiteX2360" fmla="*/ 997158 w 9847941"/>
                  <a:gd name="connsiteY2360" fmla="*/ 698056 h 1864765"/>
                  <a:gd name="connsiteX2361" fmla="*/ 997310 w 9847941"/>
                  <a:gd name="connsiteY2361" fmla="*/ 700329 h 1864765"/>
                  <a:gd name="connsiteX2362" fmla="*/ 998219 w 9847941"/>
                  <a:gd name="connsiteY2362" fmla="*/ 705480 h 1864765"/>
                  <a:gd name="connsiteX2363" fmla="*/ 999583 w 9847941"/>
                  <a:gd name="connsiteY2363" fmla="*/ 707602 h 1864765"/>
                  <a:gd name="connsiteX2364" fmla="*/ 1000643 w 9847941"/>
                  <a:gd name="connsiteY2364" fmla="*/ 705632 h 1864765"/>
                  <a:gd name="connsiteX2365" fmla="*/ 1002916 w 9847941"/>
                  <a:gd name="connsiteY2365" fmla="*/ 702601 h 1864765"/>
                  <a:gd name="connsiteX2366" fmla="*/ 1006250 w 9847941"/>
                  <a:gd name="connsiteY2366" fmla="*/ 700935 h 1864765"/>
                  <a:gd name="connsiteX2367" fmla="*/ 1007613 w 9847941"/>
                  <a:gd name="connsiteY2367" fmla="*/ 699723 h 1864765"/>
                  <a:gd name="connsiteX2368" fmla="*/ 1008371 w 9847941"/>
                  <a:gd name="connsiteY2368" fmla="*/ 698359 h 1864765"/>
                  <a:gd name="connsiteX2369" fmla="*/ 1009128 w 9847941"/>
                  <a:gd name="connsiteY2369" fmla="*/ 699874 h 1864765"/>
                  <a:gd name="connsiteX2370" fmla="*/ 1008371 w 9847941"/>
                  <a:gd name="connsiteY2370" fmla="*/ 701844 h 1864765"/>
                  <a:gd name="connsiteX2371" fmla="*/ 1009128 w 9847941"/>
                  <a:gd name="connsiteY2371" fmla="*/ 703359 h 1864765"/>
                  <a:gd name="connsiteX2372" fmla="*/ 1010644 w 9847941"/>
                  <a:gd name="connsiteY2372" fmla="*/ 703814 h 1864765"/>
                  <a:gd name="connsiteX2373" fmla="*/ 1012007 w 9847941"/>
                  <a:gd name="connsiteY2373" fmla="*/ 703662 h 1864765"/>
                  <a:gd name="connsiteX2374" fmla="*/ 1013522 w 9847941"/>
                  <a:gd name="connsiteY2374" fmla="*/ 705480 h 1864765"/>
                  <a:gd name="connsiteX2375" fmla="*/ 1015492 w 9847941"/>
                  <a:gd name="connsiteY2375" fmla="*/ 705935 h 1864765"/>
                  <a:gd name="connsiteX2376" fmla="*/ 1018371 w 9847941"/>
                  <a:gd name="connsiteY2376" fmla="*/ 703662 h 1864765"/>
                  <a:gd name="connsiteX2377" fmla="*/ 1020189 w 9847941"/>
                  <a:gd name="connsiteY2377" fmla="*/ 699419 h 1864765"/>
                  <a:gd name="connsiteX2378" fmla="*/ 1020795 w 9847941"/>
                  <a:gd name="connsiteY2378" fmla="*/ 695480 h 1864765"/>
                  <a:gd name="connsiteX2379" fmla="*/ 67275 w 9847941"/>
                  <a:gd name="connsiteY2379" fmla="*/ 244403 h 1864765"/>
                  <a:gd name="connsiteX2380" fmla="*/ 67427 w 9847941"/>
                  <a:gd name="connsiteY2380" fmla="*/ 243948 h 1864765"/>
                  <a:gd name="connsiteX2381" fmla="*/ 61669 w 9847941"/>
                  <a:gd name="connsiteY2381" fmla="*/ 246221 h 1864765"/>
                  <a:gd name="connsiteX2382" fmla="*/ 58487 w 9847941"/>
                  <a:gd name="connsiteY2382" fmla="*/ 248039 h 1864765"/>
                  <a:gd name="connsiteX2383" fmla="*/ 58487 w 9847941"/>
                  <a:gd name="connsiteY2383" fmla="*/ 248797 h 1864765"/>
                  <a:gd name="connsiteX2384" fmla="*/ 59548 w 9847941"/>
                  <a:gd name="connsiteY2384" fmla="*/ 248494 h 1864765"/>
                  <a:gd name="connsiteX2385" fmla="*/ 64093 w 9847941"/>
                  <a:gd name="connsiteY2385" fmla="*/ 246221 h 1864765"/>
                  <a:gd name="connsiteX2386" fmla="*/ 67275 w 9847941"/>
                  <a:gd name="connsiteY2386" fmla="*/ 244403 h 1864765"/>
                  <a:gd name="connsiteX2387" fmla="*/ 1333534 w 9847941"/>
                  <a:gd name="connsiteY2387" fmla="*/ 1423688 h 1864765"/>
                  <a:gd name="connsiteX2388" fmla="*/ 1332928 w 9847941"/>
                  <a:gd name="connsiteY2388" fmla="*/ 1422931 h 1864765"/>
                  <a:gd name="connsiteX2389" fmla="*/ 1329898 w 9847941"/>
                  <a:gd name="connsiteY2389" fmla="*/ 1423688 h 1864765"/>
                  <a:gd name="connsiteX2390" fmla="*/ 1324292 w 9847941"/>
                  <a:gd name="connsiteY2390" fmla="*/ 1422173 h 1864765"/>
                  <a:gd name="connsiteX2391" fmla="*/ 1323383 w 9847941"/>
                  <a:gd name="connsiteY2391" fmla="*/ 1422476 h 1864765"/>
                  <a:gd name="connsiteX2392" fmla="*/ 1324140 w 9847941"/>
                  <a:gd name="connsiteY2392" fmla="*/ 1423537 h 1864765"/>
                  <a:gd name="connsiteX2393" fmla="*/ 1324292 w 9847941"/>
                  <a:gd name="connsiteY2393" fmla="*/ 1424749 h 1864765"/>
                  <a:gd name="connsiteX2394" fmla="*/ 1326413 w 9847941"/>
                  <a:gd name="connsiteY2394" fmla="*/ 1425507 h 1864765"/>
                  <a:gd name="connsiteX2395" fmla="*/ 1333231 w 9847941"/>
                  <a:gd name="connsiteY2395" fmla="*/ 1424294 h 1864765"/>
                  <a:gd name="connsiteX2396" fmla="*/ 1333534 w 9847941"/>
                  <a:gd name="connsiteY2396" fmla="*/ 1423688 h 1864765"/>
                  <a:gd name="connsiteX2397" fmla="*/ 71063 w 9847941"/>
                  <a:gd name="connsiteY2397" fmla="*/ 505473 h 1864765"/>
                  <a:gd name="connsiteX2398" fmla="*/ 70154 w 9847941"/>
                  <a:gd name="connsiteY2398" fmla="*/ 504109 h 1864765"/>
                  <a:gd name="connsiteX2399" fmla="*/ 68639 w 9847941"/>
                  <a:gd name="connsiteY2399" fmla="*/ 503200 h 1864765"/>
                  <a:gd name="connsiteX2400" fmla="*/ 67124 w 9847941"/>
                  <a:gd name="connsiteY2400" fmla="*/ 502746 h 1864765"/>
                  <a:gd name="connsiteX2401" fmla="*/ 62881 w 9847941"/>
                  <a:gd name="connsiteY2401" fmla="*/ 503352 h 1864765"/>
                  <a:gd name="connsiteX2402" fmla="*/ 61517 w 9847941"/>
                  <a:gd name="connsiteY2402" fmla="*/ 503200 h 1864765"/>
                  <a:gd name="connsiteX2403" fmla="*/ 58942 w 9847941"/>
                  <a:gd name="connsiteY2403" fmla="*/ 501230 h 1864765"/>
                  <a:gd name="connsiteX2404" fmla="*/ 57578 w 9847941"/>
                  <a:gd name="connsiteY2404" fmla="*/ 500624 h 1864765"/>
                  <a:gd name="connsiteX2405" fmla="*/ 55911 w 9847941"/>
                  <a:gd name="connsiteY2405" fmla="*/ 500927 h 1864765"/>
                  <a:gd name="connsiteX2406" fmla="*/ 52729 w 9847941"/>
                  <a:gd name="connsiteY2406" fmla="*/ 501988 h 1864765"/>
                  <a:gd name="connsiteX2407" fmla="*/ 51214 w 9847941"/>
                  <a:gd name="connsiteY2407" fmla="*/ 501230 h 1864765"/>
                  <a:gd name="connsiteX2408" fmla="*/ 49699 w 9847941"/>
                  <a:gd name="connsiteY2408" fmla="*/ 501230 h 1864765"/>
                  <a:gd name="connsiteX2409" fmla="*/ 46365 w 9847941"/>
                  <a:gd name="connsiteY2409" fmla="*/ 503049 h 1864765"/>
                  <a:gd name="connsiteX2410" fmla="*/ 42729 w 9847941"/>
                  <a:gd name="connsiteY2410" fmla="*/ 503958 h 1864765"/>
                  <a:gd name="connsiteX2411" fmla="*/ 41214 w 9847941"/>
                  <a:gd name="connsiteY2411" fmla="*/ 504715 h 1864765"/>
                  <a:gd name="connsiteX2412" fmla="*/ 39850 w 9847941"/>
                  <a:gd name="connsiteY2412" fmla="*/ 508049 h 1864765"/>
                  <a:gd name="connsiteX2413" fmla="*/ 28486 w 9847941"/>
                  <a:gd name="connsiteY2413" fmla="*/ 507443 h 1864765"/>
                  <a:gd name="connsiteX2414" fmla="*/ 25910 w 9847941"/>
                  <a:gd name="connsiteY2414" fmla="*/ 507746 h 1864765"/>
                  <a:gd name="connsiteX2415" fmla="*/ 23334 w 9847941"/>
                  <a:gd name="connsiteY2415" fmla="*/ 508503 h 1864765"/>
                  <a:gd name="connsiteX2416" fmla="*/ 27274 w 9847941"/>
                  <a:gd name="connsiteY2416" fmla="*/ 513049 h 1864765"/>
                  <a:gd name="connsiteX2417" fmla="*/ 31516 w 9847941"/>
                  <a:gd name="connsiteY2417" fmla="*/ 516686 h 1864765"/>
                  <a:gd name="connsiteX2418" fmla="*/ 35759 w 9847941"/>
                  <a:gd name="connsiteY2418" fmla="*/ 517746 h 1864765"/>
                  <a:gd name="connsiteX2419" fmla="*/ 45608 w 9847941"/>
                  <a:gd name="connsiteY2419" fmla="*/ 522595 h 1864765"/>
                  <a:gd name="connsiteX2420" fmla="*/ 53335 w 9847941"/>
                  <a:gd name="connsiteY2420" fmla="*/ 523807 h 1864765"/>
                  <a:gd name="connsiteX2421" fmla="*/ 55608 w 9847941"/>
                  <a:gd name="connsiteY2421" fmla="*/ 524565 h 1864765"/>
                  <a:gd name="connsiteX2422" fmla="*/ 57578 w 9847941"/>
                  <a:gd name="connsiteY2422" fmla="*/ 526231 h 1864765"/>
                  <a:gd name="connsiteX2423" fmla="*/ 58639 w 9847941"/>
                  <a:gd name="connsiteY2423" fmla="*/ 526686 h 1864765"/>
                  <a:gd name="connsiteX2424" fmla="*/ 59851 w 9847941"/>
                  <a:gd name="connsiteY2424" fmla="*/ 526231 h 1864765"/>
                  <a:gd name="connsiteX2425" fmla="*/ 59245 w 9847941"/>
                  <a:gd name="connsiteY2425" fmla="*/ 524413 h 1864765"/>
                  <a:gd name="connsiteX2426" fmla="*/ 60154 w 9847941"/>
                  <a:gd name="connsiteY2426" fmla="*/ 523201 h 1864765"/>
                  <a:gd name="connsiteX2427" fmla="*/ 64396 w 9847941"/>
                  <a:gd name="connsiteY2427" fmla="*/ 521534 h 1864765"/>
                  <a:gd name="connsiteX2428" fmla="*/ 69245 w 9847941"/>
                  <a:gd name="connsiteY2428" fmla="*/ 521383 h 1864765"/>
                  <a:gd name="connsiteX2429" fmla="*/ 74094 w 9847941"/>
                  <a:gd name="connsiteY2429" fmla="*/ 520625 h 1864765"/>
                  <a:gd name="connsiteX2430" fmla="*/ 73791 w 9847941"/>
                  <a:gd name="connsiteY2430" fmla="*/ 518201 h 1864765"/>
                  <a:gd name="connsiteX2431" fmla="*/ 73033 w 9847941"/>
                  <a:gd name="connsiteY2431" fmla="*/ 515928 h 1864765"/>
                  <a:gd name="connsiteX2432" fmla="*/ 70760 w 9847941"/>
                  <a:gd name="connsiteY2432" fmla="*/ 514261 h 1864765"/>
                  <a:gd name="connsiteX2433" fmla="*/ 70912 w 9847941"/>
                  <a:gd name="connsiteY2433" fmla="*/ 513049 h 1864765"/>
                  <a:gd name="connsiteX2434" fmla="*/ 70760 w 9847941"/>
                  <a:gd name="connsiteY2434" fmla="*/ 510019 h 1864765"/>
                  <a:gd name="connsiteX2435" fmla="*/ 71518 w 9847941"/>
                  <a:gd name="connsiteY2435" fmla="*/ 507897 h 1864765"/>
                  <a:gd name="connsiteX2436" fmla="*/ 71063 w 9847941"/>
                  <a:gd name="connsiteY2436" fmla="*/ 505473 h 1864765"/>
                  <a:gd name="connsiteX2437" fmla="*/ 52123 w 9847941"/>
                  <a:gd name="connsiteY2437" fmla="*/ 762301 h 1864765"/>
                  <a:gd name="connsiteX2438" fmla="*/ 47578 w 9847941"/>
                  <a:gd name="connsiteY2438" fmla="*/ 763058 h 1864765"/>
                  <a:gd name="connsiteX2439" fmla="*/ 47729 w 9847941"/>
                  <a:gd name="connsiteY2439" fmla="*/ 762149 h 1864765"/>
                  <a:gd name="connsiteX2440" fmla="*/ 49244 w 9847941"/>
                  <a:gd name="connsiteY2440" fmla="*/ 759876 h 1864765"/>
                  <a:gd name="connsiteX2441" fmla="*/ 53941 w 9847941"/>
                  <a:gd name="connsiteY2441" fmla="*/ 756543 h 1864765"/>
                  <a:gd name="connsiteX2442" fmla="*/ 56366 w 9847941"/>
                  <a:gd name="connsiteY2442" fmla="*/ 754270 h 1864765"/>
                  <a:gd name="connsiteX2443" fmla="*/ 53487 w 9847941"/>
                  <a:gd name="connsiteY2443" fmla="*/ 752906 h 1864765"/>
                  <a:gd name="connsiteX2444" fmla="*/ 52426 w 9847941"/>
                  <a:gd name="connsiteY2444" fmla="*/ 751846 h 1864765"/>
                  <a:gd name="connsiteX2445" fmla="*/ 51669 w 9847941"/>
                  <a:gd name="connsiteY2445" fmla="*/ 752755 h 1864765"/>
                  <a:gd name="connsiteX2446" fmla="*/ 50456 w 9847941"/>
                  <a:gd name="connsiteY2446" fmla="*/ 754725 h 1864765"/>
                  <a:gd name="connsiteX2447" fmla="*/ 48941 w 9847941"/>
                  <a:gd name="connsiteY2447" fmla="*/ 756240 h 1864765"/>
                  <a:gd name="connsiteX2448" fmla="*/ 46971 w 9847941"/>
                  <a:gd name="connsiteY2448" fmla="*/ 757300 h 1864765"/>
                  <a:gd name="connsiteX2449" fmla="*/ 45759 w 9847941"/>
                  <a:gd name="connsiteY2449" fmla="*/ 755482 h 1864765"/>
                  <a:gd name="connsiteX2450" fmla="*/ 45456 w 9847941"/>
                  <a:gd name="connsiteY2450" fmla="*/ 751997 h 1864765"/>
                  <a:gd name="connsiteX2451" fmla="*/ 44244 w 9847941"/>
                  <a:gd name="connsiteY2451" fmla="*/ 751543 h 1864765"/>
                  <a:gd name="connsiteX2452" fmla="*/ 42577 w 9847941"/>
                  <a:gd name="connsiteY2452" fmla="*/ 751694 h 1864765"/>
                  <a:gd name="connsiteX2453" fmla="*/ 39395 w 9847941"/>
                  <a:gd name="connsiteY2453" fmla="*/ 752755 h 1864765"/>
                  <a:gd name="connsiteX2454" fmla="*/ 35910 w 9847941"/>
                  <a:gd name="connsiteY2454" fmla="*/ 753361 h 1864765"/>
                  <a:gd name="connsiteX2455" fmla="*/ 34244 w 9847941"/>
                  <a:gd name="connsiteY2455" fmla="*/ 754118 h 1864765"/>
                  <a:gd name="connsiteX2456" fmla="*/ 32880 w 9847941"/>
                  <a:gd name="connsiteY2456" fmla="*/ 755482 h 1864765"/>
                  <a:gd name="connsiteX2457" fmla="*/ 32122 w 9847941"/>
                  <a:gd name="connsiteY2457" fmla="*/ 756694 h 1864765"/>
                  <a:gd name="connsiteX2458" fmla="*/ 31971 w 9847941"/>
                  <a:gd name="connsiteY2458" fmla="*/ 757755 h 1864765"/>
                  <a:gd name="connsiteX2459" fmla="*/ 32425 w 9847941"/>
                  <a:gd name="connsiteY2459" fmla="*/ 758816 h 1864765"/>
                  <a:gd name="connsiteX2460" fmla="*/ 33335 w 9847941"/>
                  <a:gd name="connsiteY2460" fmla="*/ 759876 h 1864765"/>
                  <a:gd name="connsiteX2461" fmla="*/ 34547 w 9847941"/>
                  <a:gd name="connsiteY2461" fmla="*/ 760482 h 1864765"/>
                  <a:gd name="connsiteX2462" fmla="*/ 36062 w 9847941"/>
                  <a:gd name="connsiteY2462" fmla="*/ 760482 h 1864765"/>
                  <a:gd name="connsiteX2463" fmla="*/ 38335 w 9847941"/>
                  <a:gd name="connsiteY2463" fmla="*/ 760937 h 1864765"/>
                  <a:gd name="connsiteX2464" fmla="*/ 41365 w 9847941"/>
                  <a:gd name="connsiteY2464" fmla="*/ 761846 h 1864765"/>
                  <a:gd name="connsiteX2465" fmla="*/ 42274 w 9847941"/>
                  <a:gd name="connsiteY2465" fmla="*/ 762604 h 1864765"/>
                  <a:gd name="connsiteX2466" fmla="*/ 40608 w 9847941"/>
                  <a:gd name="connsiteY2466" fmla="*/ 763664 h 1864765"/>
                  <a:gd name="connsiteX2467" fmla="*/ 40456 w 9847941"/>
                  <a:gd name="connsiteY2467" fmla="*/ 765180 h 1864765"/>
                  <a:gd name="connsiteX2468" fmla="*/ 40153 w 9847941"/>
                  <a:gd name="connsiteY2468" fmla="*/ 765331 h 1864765"/>
                  <a:gd name="connsiteX2469" fmla="*/ 39547 w 9847941"/>
                  <a:gd name="connsiteY2469" fmla="*/ 765028 h 1864765"/>
                  <a:gd name="connsiteX2470" fmla="*/ 38032 w 9847941"/>
                  <a:gd name="connsiteY2470" fmla="*/ 763210 h 1864765"/>
                  <a:gd name="connsiteX2471" fmla="*/ 34698 w 9847941"/>
                  <a:gd name="connsiteY2471" fmla="*/ 763210 h 1864765"/>
                  <a:gd name="connsiteX2472" fmla="*/ 34092 w 9847941"/>
                  <a:gd name="connsiteY2472" fmla="*/ 764876 h 1864765"/>
                  <a:gd name="connsiteX2473" fmla="*/ 32728 w 9847941"/>
                  <a:gd name="connsiteY2473" fmla="*/ 765634 h 1864765"/>
                  <a:gd name="connsiteX2474" fmla="*/ 31516 w 9847941"/>
                  <a:gd name="connsiteY2474" fmla="*/ 769725 h 1864765"/>
                  <a:gd name="connsiteX2475" fmla="*/ 29698 w 9847941"/>
                  <a:gd name="connsiteY2475" fmla="*/ 770937 h 1864765"/>
                  <a:gd name="connsiteX2476" fmla="*/ 23637 w 9847941"/>
                  <a:gd name="connsiteY2476" fmla="*/ 773059 h 1864765"/>
                  <a:gd name="connsiteX2477" fmla="*/ 20758 w 9847941"/>
                  <a:gd name="connsiteY2477" fmla="*/ 774725 h 1864765"/>
                  <a:gd name="connsiteX2478" fmla="*/ 17728 w 9847941"/>
                  <a:gd name="connsiteY2478" fmla="*/ 775028 h 1864765"/>
                  <a:gd name="connsiteX2479" fmla="*/ 15758 w 9847941"/>
                  <a:gd name="connsiteY2479" fmla="*/ 775634 h 1864765"/>
                  <a:gd name="connsiteX2480" fmla="*/ 13031 w 9847941"/>
                  <a:gd name="connsiteY2480" fmla="*/ 777453 h 1864765"/>
                  <a:gd name="connsiteX2481" fmla="*/ 13788 w 9847941"/>
                  <a:gd name="connsiteY2481" fmla="*/ 778362 h 1864765"/>
                  <a:gd name="connsiteX2482" fmla="*/ 16819 w 9847941"/>
                  <a:gd name="connsiteY2482" fmla="*/ 779877 h 1864765"/>
                  <a:gd name="connsiteX2483" fmla="*/ 17879 w 9847941"/>
                  <a:gd name="connsiteY2483" fmla="*/ 779877 h 1864765"/>
                  <a:gd name="connsiteX2484" fmla="*/ 18940 w 9847941"/>
                  <a:gd name="connsiteY2484" fmla="*/ 779422 h 1864765"/>
                  <a:gd name="connsiteX2485" fmla="*/ 20910 w 9847941"/>
                  <a:gd name="connsiteY2485" fmla="*/ 779271 h 1864765"/>
                  <a:gd name="connsiteX2486" fmla="*/ 22122 w 9847941"/>
                  <a:gd name="connsiteY2486" fmla="*/ 778665 h 1864765"/>
                  <a:gd name="connsiteX2487" fmla="*/ 23486 w 9847941"/>
                  <a:gd name="connsiteY2487" fmla="*/ 777453 h 1864765"/>
                  <a:gd name="connsiteX2488" fmla="*/ 24849 w 9847941"/>
                  <a:gd name="connsiteY2488" fmla="*/ 776847 h 1864765"/>
                  <a:gd name="connsiteX2489" fmla="*/ 26062 w 9847941"/>
                  <a:gd name="connsiteY2489" fmla="*/ 776847 h 1864765"/>
                  <a:gd name="connsiteX2490" fmla="*/ 27122 w 9847941"/>
                  <a:gd name="connsiteY2490" fmla="*/ 776544 h 1864765"/>
                  <a:gd name="connsiteX2491" fmla="*/ 27880 w 9847941"/>
                  <a:gd name="connsiteY2491" fmla="*/ 775786 h 1864765"/>
                  <a:gd name="connsiteX2492" fmla="*/ 31062 w 9847941"/>
                  <a:gd name="connsiteY2492" fmla="*/ 774422 h 1864765"/>
                  <a:gd name="connsiteX2493" fmla="*/ 36365 w 9847941"/>
                  <a:gd name="connsiteY2493" fmla="*/ 772907 h 1864765"/>
                  <a:gd name="connsiteX2494" fmla="*/ 39395 w 9847941"/>
                  <a:gd name="connsiteY2494" fmla="*/ 772756 h 1864765"/>
                  <a:gd name="connsiteX2495" fmla="*/ 41668 w 9847941"/>
                  <a:gd name="connsiteY2495" fmla="*/ 771846 h 1864765"/>
                  <a:gd name="connsiteX2496" fmla="*/ 43486 w 9847941"/>
                  <a:gd name="connsiteY2496" fmla="*/ 769574 h 1864765"/>
                  <a:gd name="connsiteX2497" fmla="*/ 48487 w 9847941"/>
                  <a:gd name="connsiteY2497" fmla="*/ 766846 h 1864765"/>
                  <a:gd name="connsiteX2498" fmla="*/ 50608 w 9847941"/>
                  <a:gd name="connsiteY2498" fmla="*/ 765331 h 1864765"/>
                  <a:gd name="connsiteX2499" fmla="*/ 53032 w 9847941"/>
                  <a:gd name="connsiteY2499" fmla="*/ 764573 h 1864765"/>
                  <a:gd name="connsiteX2500" fmla="*/ 54244 w 9847941"/>
                  <a:gd name="connsiteY2500" fmla="*/ 763664 h 1864765"/>
                  <a:gd name="connsiteX2501" fmla="*/ 53487 w 9847941"/>
                  <a:gd name="connsiteY2501" fmla="*/ 762907 h 1864765"/>
                  <a:gd name="connsiteX2502" fmla="*/ 52123 w 9847941"/>
                  <a:gd name="connsiteY2502" fmla="*/ 762301 h 1864765"/>
                  <a:gd name="connsiteX2503" fmla="*/ 58487 w 9847941"/>
                  <a:gd name="connsiteY2503" fmla="*/ 758058 h 1864765"/>
                  <a:gd name="connsiteX2504" fmla="*/ 57578 w 9847941"/>
                  <a:gd name="connsiteY2504" fmla="*/ 758513 h 1864765"/>
                  <a:gd name="connsiteX2505" fmla="*/ 56366 w 9847941"/>
                  <a:gd name="connsiteY2505" fmla="*/ 759876 h 1864765"/>
                  <a:gd name="connsiteX2506" fmla="*/ 55911 w 9847941"/>
                  <a:gd name="connsiteY2506" fmla="*/ 760482 h 1864765"/>
                  <a:gd name="connsiteX2507" fmla="*/ 55911 w 9847941"/>
                  <a:gd name="connsiteY2507" fmla="*/ 761391 h 1864765"/>
                  <a:gd name="connsiteX2508" fmla="*/ 56669 w 9847941"/>
                  <a:gd name="connsiteY2508" fmla="*/ 762301 h 1864765"/>
                  <a:gd name="connsiteX2509" fmla="*/ 57123 w 9847941"/>
                  <a:gd name="connsiteY2509" fmla="*/ 762149 h 1864765"/>
                  <a:gd name="connsiteX2510" fmla="*/ 57881 w 9847941"/>
                  <a:gd name="connsiteY2510" fmla="*/ 760937 h 1864765"/>
                  <a:gd name="connsiteX2511" fmla="*/ 59093 w 9847941"/>
                  <a:gd name="connsiteY2511" fmla="*/ 759725 h 1864765"/>
                  <a:gd name="connsiteX2512" fmla="*/ 60002 w 9847941"/>
                  <a:gd name="connsiteY2512" fmla="*/ 758058 h 1864765"/>
                  <a:gd name="connsiteX2513" fmla="*/ 59548 w 9847941"/>
                  <a:gd name="connsiteY2513" fmla="*/ 757755 h 1864765"/>
                  <a:gd name="connsiteX2514" fmla="*/ 58487 w 9847941"/>
                  <a:gd name="connsiteY2514" fmla="*/ 758058 h 1864765"/>
                  <a:gd name="connsiteX2515" fmla="*/ 12576 w 9847941"/>
                  <a:gd name="connsiteY2515" fmla="*/ 770331 h 1864765"/>
                  <a:gd name="connsiteX2516" fmla="*/ 8334 w 9847941"/>
                  <a:gd name="connsiteY2516" fmla="*/ 768513 h 1864765"/>
                  <a:gd name="connsiteX2517" fmla="*/ 5909 w 9847941"/>
                  <a:gd name="connsiteY2517" fmla="*/ 768513 h 1864765"/>
                  <a:gd name="connsiteX2518" fmla="*/ 2576 w 9847941"/>
                  <a:gd name="connsiteY2518" fmla="*/ 769422 h 1864765"/>
                  <a:gd name="connsiteX2519" fmla="*/ 0 w 9847941"/>
                  <a:gd name="connsiteY2519" fmla="*/ 770634 h 1864765"/>
                  <a:gd name="connsiteX2520" fmla="*/ 455 w 9847941"/>
                  <a:gd name="connsiteY2520" fmla="*/ 780332 h 1864765"/>
                  <a:gd name="connsiteX2521" fmla="*/ 8788 w 9847941"/>
                  <a:gd name="connsiteY2521" fmla="*/ 776392 h 1864765"/>
                  <a:gd name="connsiteX2522" fmla="*/ 11516 w 9847941"/>
                  <a:gd name="connsiteY2522" fmla="*/ 774877 h 1864765"/>
                  <a:gd name="connsiteX2523" fmla="*/ 12122 w 9847941"/>
                  <a:gd name="connsiteY2523" fmla="*/ 773059 h 1864765"/>
                  <a:gd name="connsiteX2524" fmla="*/ 13182 w 9847941"/>
                  <a:gd name="connsiteY2524" fmla="*/ 771240 h 1864765"/>
                  <a:gd name="connsiteX2525" fmla="*/ 12576 w 9847941"/>
                  <a:gd name="connsiteY2525" fmla="*/ 770331 h 1864765"/>
                  <a:gd name="connsiteX2526" fmla="*/ 141066 w 9847941"/>
                  <a:gd name="connsiteY2526" fmla="*/ 724572 h 1864765"/>
                  <a:gd name="connsiteX2527" fmla="*/ 139702 w 9847941"/>
                  <a:gd name="connsiteY2527" fmla="*/ 723663 h 1864765"/>
                  <a:gd name="connsiteX2528" fmla="*/ 137278 w 9847941"/>
                  <a:gd name="connsiteY2528" fmla="*/ 723057 h 1864765"/>
                  <a:gd name="connsiteX2529" fmla="*/ 135611 w 9847941"/>
                  <a:gd name="connsiteY2529" fmla="*/ 722451 h 1864765"/>
                  <a:gd name="connsiteX2530" fmla="*/ 134399 w 9847941"/>
                  <a:gd name="connsiteY2530" fmla="*/ 721238 h 1864765"/>
                  <a:gd name="connsiteX2531" fmla="*/ 131672 w 9847941"/>
                  <a:gd name="connsiteY2531" fmla="*/ 714875 h 1864765"/>
                  <a:gd name="connsiteX2532" fmla="*/ 130762 w 9847941"/>
                  <a:gd name="connsiteY2532" fmla="*/ 713511 h 1864765"/>
                  <a:gd name="connsiteX2533" fmla="*/ 129550 w 9847941"/>
                  <a:gd name="connsiteY2533" fmla="*/ 712602 h 1864765"/>
                  <a:gd name="connsiteX2534" fmla="*/ 128035 w 9847941"/>
                  <a:gd name="connsiteY2534" fmla="*/ 712147 h 1864765"/>
                  <a:gd name="connsiteX2535" fmla="*/ 122580 w 9847941"/>
                  <a:gd name="connsiteY2535" fmla="*/ 712147 h 1864765"/>
                  <a:gd name="connsiteX2536" fmla="*/ 120914 w 9847941"/>
                  <a:gd name="connsiteY2536" fmla="*/ 712602 h 1864765"/>
                  <a:gd name="connsiteX2537" fmla="*/ 113338 w 9847941"/>
                  <a:gd name="connsiteY2537" fmla="*/ 715784 h 1864765"/>
                  <a:gd name="connsiteX2538" fmla="*/ 109853 w 9847941"/>
                  <a:gd name="connsiteY2538" fmla="*/ 717905 h 1864765"/>
                  <a:gd name="connsiteX2539" fmla="*/ 105762 w 9847941"/>
                  <a:gd name="connsiteY2539" fmla="*/ 717450 h 1864765"/>
                  <a:gd name="connsiteX2540" fmla="*/ 104246 w 9847941"/>
                  <a:gd name="connsiteY2540" fmla="*/ 717753 h 1864765"/>
                  <a:gd name="connsiteX2541" fmla="*/ 102883 w 9847941"/>
                  <a:gd name="connsiteY2541" fmla="*/ 718814 h 1864765"/>
                  <a:gd name="connsiteX2542" fmla="*/ 98034 w 9847941"/>
                  <a:gd name="connsiteY2542" fmla="*/ 725936 h 1864765"/>
                  <a:gd name="connsiteX2543" fmla="*/ 96822 w 9847941"/>
                  <a:gd name="connsiteY2543" fmla="*/ 726996 h 1864765"/>
                  <a:gd name="connsiteX2544" fmla="*/ 93034 w 9847941"/>
                  <a:gd name="connsiteY2544" fmla="*/ 729118 h 1864765"/>
                  <a:gd name="connsiteX2545" fmla="*/ 92579 w 9847941"/>
                  <a:gd name="connsiteY2545" fmla="*/ 730633 h 1864765"/>
                  <a:gd name="connsiteX2546" fmla="*/ 92579 w 9847941"/>
                  <a:gd name="connsiteY2546" fmla="*/ 731542 h 1864765"/>
                  <a:gd name="connsiteX2547" fmla="*/ 93640 w 9847941"/>
                  <a:gd name="connsiteY2547" fmla="*/ 734724 h 1864765"/>
                  <a:gd name="connsiteX2548" fmla="*/ 94852 w 9847941"/>
                  <a:gd name="connsiteY2548" fmla="*/ 736391 h 1864765"/>
                  <a:gd name="connsiteX2549" fmla="*/ 96973 w 9847941"/>
                  <a:gd name="connsiteY2549" fmla="*/ 736845 h 1864765"/>
                  <a:gd name="connsiteX2550" fmla="*/ 101216 w 9847941"/>
                  <a:gd name="connsiteY2550" fmla="*/ 736997 h 1864765"/>
                  <a:gd name="connsiteX2551" fmla="*/ 104701 w 9847941"/>
                  <a:gd name="connsiteY2551" fmla="*/ 736087 h 1864765"/>
                  <a:gd name="connsiteX2552" fmla="*/ 106368 w 9847941"/>
                  <a:gd name="connsiteY2552" fmla="*/ 735330 h 1864765"/>
                  <a:gd name="connsiteX2553" fmla="*/ 107883 w 9847941"/>
                  <a:gd name="connsiteY2553" fmla="*/ 733966 h 1864765"/>
                  <a:gd name="connsiteX2554" fmla="*/ 110913 w 9847941"/>
                  <a:gd name="connsiteY2554" fmla="*/ 730633 h 1864765"/>
                  <a:gd name="connsiteX2555" fmla="*/ 112580 w 9847941"/>
                  <a:gd name="connsiteY2555" fmla="*/ 729421 h 1864765"/>
                  <a:gd name="connsiteX2556" fmla="*/ 115307 w 9847941"/>
                  <a:gd name="connsiteY2556" fmla="*/ 728815 h 1864765"/>
                  <a:gd name="connsiteX2557" fmla="*/ 128793 w 9847941"/>
                  <a:gd name="connsiteY2557" fmla="*/ 728663 h 1864765"/>
                  <a:gd name="connsiteX2558" fmla="*/ 130156 w 9847941"/>
                  <a:gd name="connsiteY2558" fmla="*/ 728208 h 1864765"/>
                  <a:gd name="connsiteX2559" fmla="*/ 134853 w 9847941"/>
                  <a:gd name="connsiteY2559" fmla="*/ 724572 h 1864765"/>
                  <a:gd name="connsiteX2560" fmla="*/ 142430 w 9847941"/>
                  <a:gd name="connsiteY2560" fmla="*/ 727148 h 1864765"/>
                  <a:gd name="connsiteX2561" fmla="*/ 142278 w 9847941"/>
                  <a:gd name="connsiteY2561" fmla="*/ 726542 h 1864765"/>
                  <a:gd name="connsiteX2562" fmla="*/ 141066 w 9847941"/>
                  <a:gd name="connsiteY2562" fmla="*/ 724572 h 1864765"/>
                  <a:gd name="connsiteX2563" fmla="*/ 69093 w 9847941"/>
                  <a:gd name="connsiteY2563" fmla="*/ 746088 h 1864765"/>
                  <a:gd name="connsiteX2564" fmla="*/ 65608 w 9847941"/>
                  <a:gd name="connsiteY2564" fmla="*/ 744118 h 1864765"/>
                  <a:gd name="connsiteX2565" fmla="*/ 63639 w 9847941"/>
                  <a:gd name="connsiteY2565" fmla="*/ 743967 h 1864765"/>
                  <a:gd name="connsiteX2566" fmla="*/ 61517 w 9847941"/>
                  <a:gd name="connsiteY2566" fmla="*/ 744724 h 1864765"/>
                  <a:gd name="connsiteX2567" fmla="*/ 60305 w 9847941"/>
                  <a:gd name="connsiteY2567" fmla="*/ 745482 h 1864765"/>
                  <a:gd name="connsiteX2568" fmla="*/ 59851 w 9847941"/>
                  <a:gd name="connsiteY2568" fmla="*/ 746391 h 1864765"/>
                  <a:gd name="connsiteX2569" fmla="*/ 60002 w 9847941"/>
                  <a:gd name="connsiteY2569" fmla="*/ 747603 h 1864765"/>
                  <a:gd name="connsiteX2570" fmla="*/ 61214 w 9847941"/>
                  <a:gd name="connsiteY2570" fmla="*/ 749876 h 1864765"/>
                  <a:gd name="connsiteX2571" fmla="*/ 61820 w 9847941"/>
                  <a:gd name="connsiteY2571" fmla="*/ 750179 h 1864765"/>
                  <a:gd name="connsiteX2572" fmla="*/ 64699 w 9847941"/>
                  <a:gd name="connsiteY2572" fmla="*/ 749724 h 1864765"/>
                  <a:gd name="connsiteX2573" fmla="*/ 65305 w 9847941"/>
                  <a:gd name="connsiteY2573" fmla="*/ 750027 h 1864765"/>
                  <a:gd name="connsiteX2574" fmla="*/ 66215 w 9847941"/>
                  <a:gd name="connsiteY2574" fmla="*/ 749876 h 1864765"/>
                  <a:gd name="connsiteX2575" fmla="*/ 67275 w 9847941"/>
                  <a:gd name="connsiteY2575" fmla="*/ 749270 h 1864765"/>
                  <a:gd name="connsiteX2576" fmla="*/ 70154 w 9847941"/>
                  <a:gd name="connsiteY2576" fmla="*/ 748815 h 1864765"/>
                  <a:gd name="connsiteX2577" fmla="*/ 71366 w 9847941"/>
                  <a:gd name="connsiteY2577" fmla="*/ 748058 h 1864765"/>
                  <a:gd name="connsiteX2578" fmla="*/ 71063 w 9847941"/>
                  <a:gd name="connsiteY2578" fmla="*/ 747300 h 1864765"/>
                  <a:gd name="connsiteX2579" fmla="*/ 69093 w 9847941"/>
                  <a:gd name="connsiteY2579" fmla="*/ 746088 h 1864765"/>
                  <a:gd name="connsiteX2580" fmla="*/ 1235349 w 9847941"/>
                  <a:gd name="connsiteY2580" fmla="*/ 950944 h 1864765"/>
                  <a:gd name="connsiteX2581" fmla="*/ 1236561 w 9847941"/>
                  <a:gd name="connsiteY2581" fmla="*/ 951550 h 1864765"/>
                  <a:gd name="connsiteX2582" fmla="*/ 1239440 w 9847941"/>
                  <a:gd name="connsiteY2582" fmla="*/ 952308 h 1864765"/>
                  <a:gd name="connsiteX2583" fmla="*/ 1238682 w 9847941"/>
                  <a:gd name="connsiteY2583" fmla="*/ 951095 h 1864765"/>
                  <a:gd name="connsiteX2584" fmla="*/ 1238379 w 9847941"/>
                  <a:gd name="connsiteY2584" fmla="*/ 949732 h 1864765"/>
                  <a:gd name="connsiteX2585" fmla="*/ 1235955 w 9847941"/>
                  <a:gd name="connsiteY2585" fmla="*/ 947156 h 1864765"/>
                  <a:gd name="connsiteX2586" fmla="*/ 1234591 w 9847941"/>
                  <a:gd name="connsiteY2586" fmla="*/ 947459 h 1864765"/>
                  <a:gd name="connsiteX2587" fmla="*/ 1234440 w 9847941"/>
                  <a:gd name="connsiteY2587" fmla="*/ 948216 h 1864765"/>
                  <a:gd name="connsiteX2588" fmla="*/ 1234894 w 9847941"/>
                  <a:gd name="connsiteY2588" fmla="*/ 950338 h 1864765"/>
                  <a:gd name="connsiteX2589" fmla="*/ 1235349 w 9847941"/>
                  <a:gd name="connsiteY2589" fmla="*/ 950944 h 1864765"/>
                  <a:gd name="connsiteX2590" fmla="*/ 154400 w 9847941"/>
                  <a:gd name="connsiteY2590" fmla="*/ 734421 h 1864765"/>
                  <a:gd name="connsiteX2591" fmla="*/ 149551 w 9847941"/>
                  <a:gd name="connsiteY2591" fmla="*/ 733209 h 1864765"/>
                  <a:gd name="connsiteX2592" fmla="*/ 149854 w 9847941"/>
                  <a:gd name="connsiteY2592" fmla="*/ 735027 h 1864765"/>
                  <a:gd name="connsiteX2593" fmla="*/ 151975 w 9847941"/>
                  <a:gd name="connsiteY2593" fmla="*/ 736542 h 1864765"/>
                  <a:gd name="connsiteX2594" fmla="*/ 154551 w 9847941"/>
                  <a:gd name="connsiteY2594" fmla="*/ 737451 h 1864765"/>
                  <a:gd name="connsiteX2595" fmla="*/ 156976 w 9847941"/>
                  <a:gd name="connsiteY2595" fmla="*/ 736694 h 1864765"/>
                  <a:gd name="connsiteX2596" fmla="*/ 155460 w 9847941"/>
                  <a:gd name="connsiteY2596" fmla="*/ 735027 h 1864765"/>
                  <a:gd name="connsiteX2597" fmla="*/ 154400 w 9847941"/>
                  <a:gd name="connsiteY2597" fmla="*/ 734421 h 1864765"/>
                  <a:gd name="connsiteX2598" fmla="*/ 76670 w 9847941"/>
                  <a:gd name="connsiteY2598" fmla="*/ 743512 h 1864765"/>
                  <a:gd name="connsiteX2599" fmla="*/ 75457 w 9847941"/>
                  <a:gd name="connsiteY2599" fmla="*/ 741542 h 1864765"/>
                  <a:gd name="connsiteX2600" fmla="*/ 75003 w 9847941"/>
                  <a:gd name="connsiteY2600" fmla="*/ 741088 h 1864765"/>
                  <a:gd name="connsiteX2601" fmla="*/ 73942 w 9847941"/>
                  <a:gd name="connsiteY2601" fmla="*/ 741239 h 1864765"/>
                  <a:gd name="connsiteX2602" fmla="*/ 72124 w 9847941"/>
                  <a:gd name="connsiteY2602" fmla="*/ 742148 h 1864765"/>
                  <a:gd name="connsiteX2603" fmla="*/ 73033 w 9847941"/>
                  <a:gd name="connsiteY2603" fmla="*/ 744724 h 1864765"/>
                  <a:gd name="connsiteX2604" fmla="*/ 73185 w 9847941"/>
                  <a:gd name="connsiteY2604" fmla="*/ 746694 h 1864765"/>
                  <a:gd name="connsiteX2605" fmla="*/ 73488 w 9847941"/>
                  <a:gd name="connsiteY2605" fmla="*/ 747149 h 1864765"/>
                  <a:gd name="connsiteX2606" fmla="*/ 74700 w 9847941"/>
                  <a:gd name="connsiteY2606" fmla="*/ 746694 h 1864765"/>
                  <a:gd name="connsiteX2607" fmla="*/ 77276 w 9847941"/>
                  <a:gd name="connsiteY2607" fmla="*/ 745027 h 1864765"/>
                  <a:gd name="connsiteX2608" fmla="*/ 78942 w 9847941"/>
                  <a:gd name="connsiteY2608" fmla="*/ 744421 h 1864765"/>
                  <a:gd name="connsiteX2609" fmla="*/ 78033 w 9847941"/>
                  <a:gd name="connsiteY2609" fmla="*/ 743967 h 1864765"/>
                  <a:gd name="connsiteX2610" fmla="*/ 76670 w 9847941"/>
                  <a:gd name="connsiteY2610" fmla="*/ 743512 h 1864765"/>
                  <a:gd name="connsiteX2611" fmla="*/ 2311147 w 9847941"/>
                  <a:gd name="connsiteY2611" fmla="*/ 1039129 h 1864765"/>
                  <a:gd name="connsiteX2612" fmla="*/ 2313722 w 9847941"/>
                  <a:gd name="connsiteY2612" fmla="*/ 1039583 h 1864765"/>
                  <a:gd name="connsiteX2613" fmla="*/ 2317662 w 9847941"/>
                  <a:gd name="connsiteY2613" fmla="*/ 1039583 h 1864765"/>
                  <a:gd name="connsiteX2614" fmla="*/ 2319632 w 9847941"/>
                  <a:gd name="connsiteY2614" fmla="*/ 1038977 h 1864765"/>
                  <a:gd name="connsiteX2615" fmla="*/ 2320238 w 9847941"/>
                  <a:gd name="connsiteY2615" fmla="*/ 1037917 h 1864765"/>
                  <a:gd name="connsiteX2616" fmla="*/ 2319935 w 9847941"/>
                  <a:gd name="connsiteY2616" fmla="*/ 1037159 h 1864765"/>
                  <a:gd name="connsiteX2617" fmla="*/ 2319177 w 9847941"/>
                  <a:gd name="connsiteY2617" fmla="*/ 1036856 h 1864765"/>
                  <a:gd name="connsiteX2618" fmla="*/ 2317813 w 9847941"/>
                  <a:gd name="connsiteY2618" fmla="*/ 1034886 h 1864765"/>
                  <a:gd name="connsiteX2619" fmla="*/ 2317056 w 9847941"/>
                  <a:gd name="connsiteY2619" fmla="*/ 1034280 h 1864765"/>
                  <a:gd name="connsiteX2620" fmla="*/ 2314935 w 9847941"/>
                  <a:gd name="connsiteY2620" fmla="*/ 1033977 h 1864765"/>
                  <a:gd name="connsiteX2621" fmla="*/ 2314480 w 9847941"/>
                  <a:gd name="connsiteY2621" fmla="*/ 1034280 h 1864765"/>
                  <a:gd name="connsiteX2622" fmla="*/ 2314935 w 9847941"/>
                  <a:gd name="connsiteY2622" fmla="*/ 1035189 h 1864765"/>
                  <a:gd name="connsiteX2623" fmla="*/ 2314783 w 9847941"/>
                  <a:gd name="connsiteY2623" fmla="*/ 1035644 h 1864765"/>
                  <a:gd name="connsiteX2624" fmla="*/ 2313874 w 9847941"/>
                  <a:gd name="connsiteY2624" fmla="*/ 1036250 h 1864765"/>
                  <a:gd name="connsiteX2625" fmla="*/ 2312207 w 9847941"/>
                  <a:gd name="connsiteY2625" fmla="*/ 1037159 h 1864765"/>
                  <a:gd name="connsiteX2626" fmla="*/ 2310995 w 9847941"/>
                  <a:gd name="connsiteY2626" fmla="*/ 1037311 h 1864765"/>
                  <a:gd name="connsiteX2627" fmla="*/ 2310237 w 9847941"/>
                  <a:gd name="connsiteY2627" fmla="*/ 1036856 h 1864765"/>
                  <a:gd name="connsiteX2628" fmla="*/ 2309631 w 9847941"/>
                  <a:gd name="connsiteY2628" fmla="*/ 1036856 h 1864765"/>
                  <a:gd name="connsiteX2629" fmla="*/ 2309480 w 9847941"/>
                  <a:gd name="connsiteY2629" fmla="*/ 1037765 h 1864765"/>
                  <a:gd name="connsiteX2630" fmla="*/ 2309783 w 9847941"/>
                  <a:gd name="connsiteY2630" fmla="*/ 1038220 h 1864765"/>
                  <a:gd name="connsiteX2631" fmla="*/ 2311147 w 9847941"/>
                  <a:gd name="connsiteY2631" fmla="*/ 1039129 h 1864765"/>
                  <a:gd name="connsiteX2632" fmla="*/ 2301601 w 9847941"/>
                  <a:gd name="connsiteY2632" fmla="*/ 1026553 h 1864765"/>
                  <a:gd name="connsiteX2633" fmla="*/ 2300994 w 9847941"/>
                  <a:gd name="connsiteY2633" fmla="*/ 1026553 h 1864765"/>
                  <a:gd name="connsiteX2634" fmla="*/ 2300843 w 9847941"/>
                  <a:gd name="connsiteY2634" fmla="*/ 1027310 h 1864765"/>
                  <a:gd name="connsiteX2635" fmla="*/ 2301146 w 9847941"/>
                  <a:gd name="connsiteY2635" fmla="*/ 1028068 h 1864765"/>
                  <a:gd name="connsiteX2636" fmla="*/ 2302510 w 9847941"/>
                  <a:gd name="connsiteY2636" fmla="*/ 1029431 h 1864765"/>
                  <a:gd name="connsiteX2637" fmla="*/ 2302964 w 9847941"/>
                  <a:gd name="connsiteY2637" fmla="*/ 1029280 h 1864765"/>
                  <a:gd name="connsiteX2638" fmla="*/ 2303116 w 9847941"/>
                  <a:gd name="connsiteY2638" fmla="*/ 1028825 h 1864765"/>
                  <a:gd name="connsiteX2639" fmla="*/ 2302964 w 9847941"/>
                  <a:gd name="connsiteY2639" fmla="*/ 1028068 h 1864765"/>
                  <a:gd name="connsiteX2640" fmla="*/ 2302510 w 9847941"/>
                  <a:gd name="connsiteY2640" fmla="*/ 1027310 h 1864765"/>
                  <a:gd name="connsiteX2641" fmla="*/ 2301601 w 9847941"/>
                  <a:gd name="connsiteY2641" fmla="*/ 1026553 h 1864765"/>
                  <a:gd name="connsiteX2642" fmla="*/ 164855 w 9847941"/>
                  <a:gd name="connsiteY2642" fmla="*/ 714723 h 1864765"/>
                  <a:gd name="connsiteX2643" fmla="*/ 164097 w 9847941"/>
                  <a:gd name="connsiteY2643" fmla="*/ 714723 h 1864765"/>
                  <a:gd name="connsiteX2644" fmla="*/ 160309 w 9847941"/>
                  <a:gd name="connsiteY2644" fmla="*/ 716693 h 1864765"/>
                  <a:gd name="connsiteX2645" fmla="*/ 160764 w 9847941"/>
                  <a:gd name="connsiteY2645" fmla="*/ 718057 h 1864765"/>
                  <a:gd name="connsiteX2646" fmla="*/ 161521 w 9847941"/>
                  <a:gd name="connsiteY2646" fmla="*/ 718966 h 1864765"/>
                  <a:gd name="connsiteX2647" fmla="*/ 163339 w 9847941"/>
                  <a:gd name="connsiteY2647" fmla="*/ 720178 h 1864765"/>
                  <a:gd name="connsiteX2648" fmla="*/ 163945 w 9847941"/>
                  <a:gd name="connsiteY2648" fmla="*/ 720026 h 1864765"/>
                  <a:gd name="connsiteX2649" fmla="*/ 164703 w 9847941"/>
                  <a:gd name="connsiteY2649" fmla="*/ 719269 h 1864765"/>
                  <a:gd name="connsiteX2650" fmla="*/ 165764 w 9847941"/>
                  <a:gd name="connsiteY2650" fmla="*/ 716844 h 1864765"/>
                  <a:gd name="connsiteX2651" fmla="*/ 165612 w 9847941"/>
                  <a:gd name="connsiteY2651" fmla="*/ 715784 h 1864765"/>
                  <a:gd name="connsiteX2652" fmla="*/ 164855 w 9847941"/>
                  <a:gd name="connsiteY2652" fmla="*/ 714723 h 1864765"/>
                  <a:gd name="connsiteX2653" fmla="*/ 2300540 w 9847941"/>
                  <a:gd name="connsiteY2653" fmla="*/ 1024583 h 1864765"/>
                  <a:gd name="connsiteX2654" fmla="*/ 2301146 w 9847941"/>
                  <a:gd name="connsiteY2654" fmla="*/ 1025340 h 1864765"/>
                  <a:gd name="connsiteX2655" fmla="*/ 2301904 w 9847941"/>
                  <a:gd name="connsiteY2655" fmla="*/ 1025795 h 1864765"/>
                  <a:gd name="connsiteX2656" fmla="*/ 2302813 w 9847941"/>
                  <a:gd name="connsiteY2656" fmla="*/ 1025947 h 1864765"/>
                  <a:gd name="connsiteX2657" fmla="*/ 2302813 w 9847941"/>
                  <a:gd name="connsiteY2657" fmla="*/ 1025189 h 1864765"/>
                  <a:gd name="connsiteX2658" fmla="*/ 2301904 w 9847941"/>
                  <a:gd name="connsiteY2658" fmla="*/ 1023522 h 1864765"/>
                  <a:gd name="connsiteX2659" fmla="*/ 2301904 w 9847941"/>
                  <a:gd name="connsiteY2659" fmla="*/ 1021855 h 1864765"/>
                  <a:gd name="connsiteX2660" fmla="*/ 2302661 w 9847941"/>
                  <a:gd name="connsiteY2660" fmla="*/ 1020340 h 1864765"/>
                  <a:gd name="connsiteX2661" fmla="*/ 2302510 w 9847941"/>
                  <a:gd name="connsiteY2661" fmla="*/ 1019431 h 1864765"/>
                  <a:gd name="connsiteX2662" fmla="*/ 2301449 w 9847941"/>
                  <a:gd name="connsiteY2662" fmla="*/ 1019128 h 1864765"/>
                  <a:gd name="connsiteX2663" fmla="*/ 2300540 w 9847941"/>
                  <a:gd name="connsiteY2663" fmla="*/ 1019280 h 1864765"/>
                  <a:gd name="connsiteX2664" fmla="*/ 2298873 w 9847941"/>
                  <a:gd name="connsiteY2664" fmla="*/ 1020946 h 1864765"/>
                  <a:gd name="connsiteX2665" fmla="*/ 2299934 w 9847941"/>
                  <a:gd name="connsiteY2665" fmla="*/ 1022462 h 1864765"/>
                  <a:gd name="connsiteX2666" fmla="*/ 2300540 w 9847941"/>
                  <a:gd name="connsiteY2666" fmla="*/ 1024583 h 1864765"/>
                  <a:gd name="connsiteX2667" fmla="*/ 2522063 w 9847941"/>
                  <a:gd name="connsiteY2667" fmla="*/ 1095949 h 1864765"/>
                  <a:gd name="connsiteX2668" fmla="*/ 2522972 w 9847941"/>
                  <a:gd name="connsiteY2668" fmla="*/ 1095343 h 1864765"/>
                  <a:gd name="connsiteX2669" fmla="*/ 2523124 w 9847941"/>
                  <a:gd name="connsiteY2669" fmla="*/ 1095040 h 1864765"/>
                  <a:gd name="connsiteX2670" fmla="*/ 2521912 w 9847941"/>
                  <a:gd name="connsiteY2670" fmla="*/ 1095040 h 1864765"/>
                  <a:gd name="connsiteX2671" fmla="*/ 2521154 w 9847941"/>
                  <a:gd name="connsiteY2671" fmla="*/ 1095495 h 1864765"/>
                  <a:gd name="connsiteX2672" fmla="*/ 2521003 w 9847941"/>
                  <a:gd name="connsiteY2672" fmla="*/ 1095798 h 1864765"/>
                  <a:gd name="connsiteX2673" fmla="*/ 2521154 w 9847941"/>
                  <a:gd name="connsiteY2673" fmla="*/ 1096252 h 1864765"/>
                  <a:gd name="connsiteX2674" fmla="*/ 2522063 w 9847941"/>
                  <a:gd name="connsiteY2674" fmla="*/ 1095949 h 1864765"/>
                  <a:gd name="connsiteX2675" fmla="*/ 1242167 w 9847941"/>
                  <a:gd name="connsiteY2675" fmla="*/ 947913 h 1864765"/>
                  <a:gd name="connsiteX2676" fmla="*/ 1242319 w 9847941"/>
                  <a:gd name="connsiteY2676" fmla="*/ 947307 h 1864765"/>
                  <a:gd name="connsiteX2677" fmla="*/ 1241864 w 9847941"/>
                  <a:gd name="connsiteY2677" fmla="*/ 945489 h 1864765"/>
                  <a:gd name="connsiteX2678" fmla="*/ 1242470 w 9847941"/>
                  <a:gd name="connsiteY2678" fmla="*/ 945641 h 1864765"/>
                  <a:gd name="connsiteX2679" fmla="*/ 1243683 w 9847941"/>
                  <a:gd name="connsiteY2679" fmla="*/ 946853 h 1864765"/>
                  <a:gd name="connsiteX2680" fmla="*/ 1244440 w 9847941"/>
                  <a:gd name="connsiteY2680" fmla="*/ 946701 h 1864765"/>
                  <a:gd name="connsiteX2681" fmla="*/ 1245501 w 9847941"/>
                  <a:gd name="connsiteY2681" fmla="*/ 945944 h 1864765"/>
                  <a:gd name="connsiteX2682" fmla="*/ 1245198 w 9847941"/>
                  <a:gd name="connsiteY2682" fmla="*/ 945186 h 1864765"/>
                  <a:gd name="connsiteX2683" fmla="*/ 1242016 w 9847941"/>
                  <a:gd name="connsiteY2683" fmla="*/ 943822 h 1864765"/>
                  <a:gd name="connsiteX2684" fmla="*/ 1241410 w 9847941"/>
                  <a:gd name="connsiteY2684" fmla="*/ 943974 h 1864765"/>
                  <a:gd name="connsiteX2685" fmla="*/ 1239743 w 9847941"/>
                  <a:gd name="connsiteY2685" fmla="*/ 944883 h 1864765"/>
                  <a:gd name="connsiteX2686" fmla="*/ 1238985 w 9847941"/>
                  <a:gd name="connsiteY2686" fmla="*/ 945792 h 1864765"/>
                  <a:gd name="connsiteX2687" fmla="*/ 1239440 w 9847941"/>
                  <a:gd name="connsiteY2687" fmla="*/ 946701 h 1864765"/>
                  <a:gd name="connsiteX2688" fmla="*/ 1242167 w 9847941"/>
                  <a:gd name="connsiteY2688" fmla="*/ 947913 h 1864765"/>
                  <a:gd name="connsiteX2689" fmla="*/ 408803 w 9847941"/>
                  <a:gd name="connsiteY2689" fmla="*/ 603052 h 1864765"/>
                  <a:gd name="connsiteX2690" fmla="*/ 410318 w 9847941"/>
                  <a:gd name="connsiteY2690" fmla="*/ 604265 h 1864765"/>
                  <a:gd name="connsiteX2691" fmla="*/ 411076 w 9847941"/>
                  <a:gd name="connsiteY2691" fmla="*/ 604567 h 1864765"/>
                  <a:gd name="connsiteX2692" fmla="*/ 411833 w 9847941"/>
                  <a:gd name="connsiteY2692" fmla="*/ 603507 h 1864765"/>
                  <a:gd name="connsiteX2693" fmla="*/ 410470 w 9847941"/>
                  <a:gd name="connsiteY2693" fmla="*/ 601689 h 1864765"/>
                  <a:gd name="connsiteX2694" fmla="*/ 408955 w 9847941"/>
                  <a:gd name="connsiteY2694" fmla="*/ 600325 h 1864765"/>
                  <a:gd name="connsiteX2695" fmla="*/ 405318 w 9847941"/>
                  <a:gd name="connsiteY2695" fmla="*/ 598810 h 1864765"/>
                  <a:gd name="connsiteX2696" fmla="*/ 404257 w 9847941"/>
                  <a:gd name="connsiteY2696" fmla="*/ 599416 h 1864765"/>
                  <a:gd name="connsiteX2697" fmla="*/ 404409 w 9847941"/>
                  <a:gd name="connsiteY2697" fmla="*/ 600022 h 1864765"/>
                  <a:gd name="connsiteX2698" fmla="*/ 405773 w 9847941"/>
                  <a:gd name="connsiteY2698" fmla="*/ 601386 h 1864765"/>
                  <a:gd name="connsiteX2699" fmla="*/ 408803 w 9847941"/>
                  <a:gd name="connsiteY2699" fmla="*/ 603052 h 1864765"/>
                  <a:gd name="connsiteX2700" fmla="*/ 2180081 w 9847941"/>
                  <a:gd name="connsiteY2700" fmla="*/ 995945 h 1864765"/>
                  <a:gd name="connsiteX2701" fmla="*/ 2179929 w 9847941"/>
                  <a:gd name="connsiteY2701" fmla="*/ 997461 h 1864765"/>
                  <a:gd name="connsiteX2702" fmla="*/ 2181142 w 9847941"/>
                  <a:gd name="connsiteY2702" fmla="*/ 998521 h 1864765"/>
                  <a:gd name="connsiteX2703" fmla="*/ 2184930 w 9847941"/>
                  <a:gd name="connsiteY2703" fmla="*/ 999279 h 1864765"/>
                  <a:gd name="connsiteX2704" fmla="*/ 2185081 w 9847941"/>
                  <a:gd name="connsiteY2704" fmla="*/ 998824 h 1864765"/>
                  <a:gd name="connsiteX2705" fmla="*/ 2184930 w 9847941"/>
                  <a:gd name="connsiteY2705" fmla="*/ 998521 h 1864765"/>
                  <a:gd name="connsiteX2706" fmla="*/ 2184323 w 9847941"/>
                  <a:gd name="connsiteY2706" fmla="*/ 998218 h 1864765"/>
                  <a:gd name="connsiteX2707" fmla="*/ 2185384 w 9847941"/>
                  <a:gd name="connsiteY2707" fmla="*/ 996855 h 1864765"/>
                  <a:gd name="connsiteX2708" fmla="*/ 2185687 w 9847941"/>
                  <a:gd name="connsiteY2708" fmla="*/ 997461 h 1864765"/>
                  <a:gd name="connsiteX2709" fmla="*/ 2185536 w 9847941"/>
                  <a:gd name="connsiteY2709" fmla="*/ 998976 h 1864765"/>
                  <a:gd name="connsiteX2710" fmla="*/ 2184778 w 9847941"/>
                  <a:gd name="connsiteY2710" fmla="*/ 1000037 h 1864765"/>
                  <a:gd name="connsiteX2711" fmla="*/ 2184021 w 9847941"/>
                  <a:gd name="connsiteY2711" fmla="*/ 1000794 h 1864765"/>
                  <a:gd name="connsiteX2712" fmla="*/ 2184021 w 9847941"/>
                  <a:gd name="connsiteY2712" fmla="*/ 1001855 h 1864765"/>
                  <a:gd name="connsiteX2713" fmla="*/ 2184778 w 9847941"/>
                  <a:gd name="connsiteY2713" fmla="*/ 1003067 h 1864765"/>
                  <a:gd name="connsiteX2714" fmla="*/ 2185839 w 9847941"/>
                  <a:gd name="connsiteY2714" fmla="*/ 1002764 h 1864765"/>
                  <a:gd name="connsiteX2715" fmla="*/ 2187051 w 9847941"/>
                  <a:gd name="connsiteY2715" fmla="*/ 1000946 h 1864765"/>
                  <a:gd name="connsiteX2716" fmla="*/ 2190384 w 9847941"/>
                  <a:gd name="connsiteY2716" fmla="*/ 998067 h 1864765"/>
                  <a:gd name="connsiteX2717" fmla="*/ 2190233 w 9847941"/>
                  <a:gd name="connsiteY2717" fmla="*/ 997461 h 1864765"/>
                  <a:gd name="connsiteX2718" fmla="*/ 2190687 w 9847941"/>
                  <a:gd name="connsiteY2718" fmla="*/ 996400 h 1864765"/>
                  <a:gd name="connsiteX2719" fmla="*/ 2196294 w 9847941"/>
                  <a:gd name="connsiteY2719" fmla="*/ 992612 h 1864765"/>
                  <a:gd name="connsiteX2720" fmla="*/ 2197354 w 9847941"/>
                  <a:gd name="connsiteY2720" fmla="*/ 991400 h 1864765"/>
                  <a:gd name="connsiteX2721" fmla="*/ 2197203 w 9847941"/>
                  <a:gd name="connsiteY2721" fmla="*/ 990945 h 1864765"/>
                  <a:gd name="connsiteX2722" fmla="*/ 2195991 w 9847941"/>
                  <a:gd name="connsiteY2722" fmla="*/ 990339 h 1864765"/>
                  <a:gd name="connsiteX2723" fmla="*/ 2196142 w 9847941"/>
                  <a:gd name="connsiteY2723" fmla="*/ 990188 h 1864765"/>
                  <a:gd name="connsiteX2724" fmla="*/ 2202506 w 9847941"/>
                  <a:gd name="connsiteY2724" fmla="*/ 989582 h 1864765"/>
                  <a:gd name="connsiteX2725" fmla="*/ 2203870 w 9847941"/>
                  <a:gd name="connsiteY2725" fmla="*/ 988824 h 1864765"/>
                  <a:gd name="connsiteX2726" fmla="*/ 2202506 w 9847941"/>
                  <a:gd name="connsiteY2726" fmla="*/ 987612 h 1864765"/>
                  <a:gd name="connsiteX2727" fmla="*/ 2200233 w 9847941"/>
                  <a:gd name="connsiteY2727" fmla="*/ 987006 h 1864765"/>
                  <a:gd name="connsiteX2728" fmla="*/ 2197051 w 9847941"/>
                  <a:gd name="connsiteY2728" fmla="*/ 987006 h 1864765"/>
                  <a:gd name="connsiteX2729" fmla="*/ 2193869 w 9847941"/>
                  <a:gd name="connsiteY2729" fmla="*/ 987460 h 1864765"/>
                  <a:gd name="connsiteX2730" fmla="*/ 2188111 w 9847941"/>
                  <a:gd name="connsiteY2730" fmla="*/ 989279 h 1864765"/>
                  <a:gd name="connsiteX2731" fmla="*/ 2186142 w 9847941"/>
                  <a:gd name="connsiteY2731" fmla="*/ 990339 h 1864765"/>
                  <a:gd name="connsiteX2732" fmla="*/ 2181596 w 9847941"/>
                  <a:gd name="connsiteY2732" fmla="*/ 994430 h 1864765"/>
                  <a:gd name="connsiteX2733" fmla="*/ 2180081 w 9847941"/>
                  <a:gd name="connsiteY2733" fmla="*/ 995945 h 1864765"/>
                  <a:gd name="connsiteX2734" fmla="*/ 2164777 w 9847941"/>
                  <a:gd name="connsiteY2734" fmla="*/ 972157 h 1864765"/>
                  <a:gd name="connsiteX2735" fmla="*/ 2164020 w 9847941"/>
                  <a:gd name="connsiteY2735" fmla="*/ 973217 h 1864765"/>
                  <a:gd name="connsiteX2736" fmla="*/ 2164171 w 9847941"/>
                  <a:gd name="connsiteY2736" fmla="*/ 973975 h 1864765"/>
                  <a:gd name="connsiteX2737" fmla="*/ 2165232 w 9847941"/>
                  <a:gd name="connsiteY2737" fmla="*/ 974430 h 1864765"/>
                  <a:gd name="connsiteX2738" fmla="*/ 2167353 w 9847941"/>
                  <a:gd name="connsiteY2738" fmla="*/ 974127 h 1864765"/>
                  <a:gd name="connsiteX2739" fmla="*/ 2170384 w 9847941"/>
                  <a:gd name="connsiteY2739" fmla="*/ 973066 h 1864765"/>
                  <a:gd name="connsiteX2740" fmla="*/ 2171444 w 9847941"/>
                  <a:gd name="connsiteY2740" fmla="*/ 972611 h 1864765"/>
                  <a:gd name="connsiteX2741" fmla="*/ 2171596 w 9847941"/>
                  <a:gd name="connsiteY2741" fmla="*/ 972308 h 1864765"/>
                  <a:gd name="connsiteX2742" fmla="*/ 2170535 w 9847941"/>
                  <a:gd name="connsiteY2742" fmla="*/ 972157 h 1864765"/>
                  <a:gd name="connsiteX2743" fmla="*/ 2170687 w 9847941"/>
                  <a:gd name="connsiteY2743" fmla="*/ 971551 h 1864765"/>
                  <a:gd name="connsiteX2744" fmla="*/ 2171899 w 9847941"/>
                  <a:gd name="connsiteY2744" fmla="*/ 971248 h 1864765"/>
                  <a:gd name="connsiteX2745" fmla="*/ 2179778 w 9847941"/>
                  <a:gd name="connsiteY2745" fmla="*/ 967611 h 1864765"/>
                  <a:gd name="connsiteX2746" fmla="*/ 2180687 w 9847941"/>
                  <a:gd name="connsiteY2746" fmla="*/ 966551 h 1864765"/>
                  <a:gd name="connsiteX2747" fmla="*/ 2180535 w 9847941"/>
                  <a:gd name="connsiteY2747" fmla="*/ 965944 h 1864765"/>
                  <a:gd name="connsiteX2748" fmla="*/ 2180990 w 9847941"/>
                  <a:gd name="connsiteY2748" fmla="*/ 965187 h 1864765"/>
                  <a:gd name="connsiteX2749" fmla="*/ 2183566 w 9847941"/>
                  <a:gd name="connsiteY2749" fmla="*/ 963217 h 1864765"/>
                  <a:gd name="connsiteX2750" fmla="*/ 2183111 w 9847941"/>
                  <a:gd name="connsiteY2750" fmla="*/ 962914 h 1864765"/>
                  <a:gd name="connsiteX2751" fmla="*/ 2180687 w 9847941"/>
                  <a:gd name="connsiteY2751" fmla="*/ 963520 h 1864765"/>
                  <a:gd name="connsiteX2752" fmla="*/ 2176141 w 9847941"/>
                  <a:gd name="connsiteY2752" fmla="*/ 965490 h 1864765"/>
                  <a:gd name="connsiteX2753" fmla="*/ 2165383 w 9847941"/>
                  <a:gd name="connsiteY2753" fmla="*/ 970793 h 1864765"/>
                  <a:gd name="connsiteX2754" fmla="*/ 2164171 w 9847941"/>
                  <a:gd name="connsiteY2754" fmla="*/ 971551 h 1864765"/>
                  <a:gd name="connsiteX2755" fmla="*/ 2164020 w 9847941"/>
                  <a:gd name="connsiteY2755" fmla="*/ 972005 h 1864765"/>
                  <a:gd name="connsiteX2756" fmla="*/ 2164929 w 9847941"/>
                  <a:gd name="connsiteY2756" fmla="*/ 972005 h 1864765"/>
                  <a:gd name="connsiteX2757" fmla="*/ 2164777 w 9847941"/>
                  <a:gd name="connsiteY2757" fmla="*/ 972157 h 1864765"/>
                  <a:gd name="connsiteX2758" fmla="*/ 1242773 w 9847941"/>
                  <a:gd name="connsiteY2758" fmla="*/ 949580 h 1864765"/>
                  <a:gd name="connsiteX2759" fmla="*/ 1242319 w 9847941"/>
                  <a:gd name="connsiteY2759" fmla="*/ 949429 h 1864765"/>
                  <a:gd name="connsiteX2760" fmla="*/ 1241561 w 9847941"/>
                  <a:gd name="connsiteY2760" fmla="*/ 949883 h 1864765"/>
                  <a:gd name="connsiteX2761" fmla="*/ 1240955 w 9847941"/>
                  <a:gd name="connsiteY2761" fmla="*/ 951701 h 1864765"/>
                  <a:gd name="connsiteX2762" fmla="*/ 1241258 w 9847941"/>
                  <a:gd name="connsiteY2762" fmla="*/ 952611 h 1864765"/>
                  <a:gd name="connsiteX2763" fmla="*/ 1242167 w 9847941"/>
                  <a:gd name="connsiteY2763" fmla="*/ 953368 h 1864765"/>
                  <a:gd name="connsiteX2764" fmla="*/ 1243683 w 9847941"/>
                  <a:gd name="connsiteY2764" fmla="*/ 953823 h 1864765"/>
                  <a:gd name="connsiteX2765" fmla="*/ 1244137 w 9847941"/>
                  <a:gd name="connsiteY2765" fmla="*/ 953520 h 1864765"/>
                  <a:gd name="connsiteX2766" fmla="*/ 1244289 w 9847941"/>
                  <a:gd name="connsiteY2766" fmla="*/ 952762 h 1864765"/>
                  <a:gd name="connsiteX2767" fmla="*/ 1242925 w 9847941"/>
                  <a:gd name="connsiteY2767" fmla="*/ 951095 h 1864765"/>
                  <a:gd name="connsiteX2768" fmla="*/ 1242773 w 9847941"/>
                  <a:gd name="connsiteY2768" fmla="*/ 949580 h 1864765"/>
                  <a:gd name="connsiteX2769" fmla="*/ 311224 w 9847941"/>
                  <a:gd name="connsiteY2769" fmla="*/ 1802036 h 1864765"/>
                  <a:gd name="connsiteX2770" fmla="*/ 310315 w 9847941"/>
                  <a:gd name="connsiteY2770" fmla="*/ 1801429 h 1864765"/>
                  <a:gd name="connsiteX2771" fmla="*/ 308951 w 9847941"/>
                  <a:gd name="connsiteY2771" fmla="*/ 1801732 h 1864765"/>
                  <a:gd name="connsiteX2772" fmla="*/ 303193 w 9847941"/>
                  <a:gd name="connsiteY2772" fmla="*/ 1800975 h 1864765"/>
                  <a:gd name="connsiteX2773" fmla="*/ 302132 w 9847941"/>
                  <a:gd name="connsiteY2773" fmla="*/ 1800520 h 1864765"/>
                  <a:gd name="connsiteX2774" fmla="*/ 301981 w 9847941"/>
                  <a:gd name="connsiteY2774" fmla="*/ 1801884 h 1864765"/>
                  <a:gd name="connsiteX2775" fmla="*/ 301223 w 9847941"/>
                  <a:gd name="connsiteY2775" fmla="*/ 1802642 h 1864765"/>
                  <a:gd name="connsiteX2776" fmla="*/ 300920 w 9847941"/>
                  <a:gd name="connsiteY2776" fmla="*/ 1803702 h 1864765"/>
                  <a:gd name="connsiteX2777" fmla="*/ 308345 w 9847941"/>
                  <a:gd name="connsiteY2777" fmla="*/ 1804157 h 1864765"/>
                  <a:gd name="connsiteX2778" fmla="*/ 312739 w 9847941"/>
                  <a:gd name="connsiteY2778" fmla="*/ 1805369 h 1864765"/>
                  <a:gd name="connsiteX2779" fmla="*/ 315769 w 9847941"/>
                  <a:gd name="connsiteY2779" fmla="*/ 1804005 h 1864765"/>
                  <a:gd name="connsiteX2780" fmla="*/ 316678 w 9847941"/>
                  <a:gd name="connsiteY2780" fmla="*/ 1802490 h 1864765"/>
                  <a:gd name="connsiteX2781" fmla="*/ 315921 w 9847941"/>
                  <a:gd name="connsiteY2781" fmla="*/ 1802187 h 1864765"/>
                  <a:gd name="connsiteX2782" fmla="*/ 311224 w 9847941"/>
                  <a:gd name="connsiteY2782" fmla="*/ 1802036 h 1864765"/>
                  <a:gd name="connsiteX2783" fmla="*/ 376832 w 9847941"/>
                  <a:gd name="connsiteY2783" fmla="*/ 652600 h 1864765"/>
                  <a:gd name="connsiteX2784" fmla="*/ 373953 w 9847941"/>
                  <a:gd name="connsiteY2784" fmla="*/ 654115 h 1864765"/>
                  <a:gd name="connsiteX2785" fmla="*/ 371074 w 9847941"/>
                  <a:gd name="connsiteY2785" fmla="*/ 656388 h 1864765"/>
                  <a:gd name="connsiteX2786" fmla="*/ 370165 w 9847941"/>
                  <a:gd name="connsiteY2786" fmla="*/ 657600 h 1864765"/>
                  <a:gd name="connsiteX2787" fmla="*/ 369711 w 9847941"/>
                  <a:gd name="connsiteY2787" fmla="*/ 658812 h 1864765"/>
                  <a:gd name="connsiteX2788" fmla="*/ 369862 w 9847941"/>
                  <a:gd name="connsiteY2788" fmla="*/ 659570 h 1864765"/>
                  <a:gd name="connsiteX2789" fmla="*/ 370468 w 9847941"/>
                  <a:gd name="connsiteY2789" fmla="*/ 659873 h 1864765"/>
                  <a:gd name="connsiteX2790" fmla="*/ 372287 w 9847941"/>
                  <a:gd name="connsiteY2790" fmla="*/ 658963 h 1864765"/>
                  <a:gd name="connsiteX2791" fmla="*/ 376984 w 9847941"/>
                  <a:gd name="connsiteY2791" fmla="*/ 655630 h 1864765"/>
                  <a:gd name="connsiteX2792" fmla="*/ 378802 w 9847941"/>
                  <a:gd name="connsiteY2792" fmla="*/ 653660 h 1864765"/>
                  <a:gd name="connsiteX2793" fmla="*/ 378347 w 9847941"/>
                  <a:gd name="connsiteY2793" fmla="*/ 652751 h 1864765"/>
                  <a:gd name="connsiteX2794" fmla="*/ 376832 w 9847941"/>
                  <a:gd name="connsiteY2794" fmla="*/ 652600 h 1864765"/>
                  <a:gd name="connsiteX2795" fmla="*/ 347134 w 9847941"/>
                  <a:gd name="connsiteY2795" fmla="*/ 683964 h 1864765"/>
                  <a:gd name="connsiteX2796" fmla="*/ 348195 w 9847941"/>
                  <a:gd name="connsiteY2796" fmla="*/ 682752 h 1864765"/>
                  <a:gd name="connsiteX2797" fmla="*/ 348195 w 9847941"/>
                  <a:gd name="connsiteY2797" fmla="*/ 680176 h 1864765"/>
                  <a:gd name="connsiteX2798" fmla="*/ 347892 w 9847941"/>
                  <a:gd name="connsiteY2798" fmla="*/ 678813 h 1864765"/>
                  <a:gd name="connsiteX2799" fmla="*/ 347437 w 9847941"/>
                  <a:gd name="connsiteY2799" fmla="*/ 678661 h 1864765"/>
                  <a:gd name="connsiteX2800" fmla="*/ 346680 w 9847941"/>
                  <a:gd name="connsiteY2800" fmla="*/ 679116 h 1864765"/>
                  <a:gd name="connsiteX2801" fmla="*/ 343498 w 9847941"/>
                  <a:gd name="connsiteY2801" fmla="*/ 682298 h 1864765"/>
                  <a:gd name="connsiteX2802" fmla="*/ 343952 w 9847941"/>
                  <a:gd name="connsiteY2802" fmla="*/ 683358 h 1864765"/>
                  <a:gd name="connsiteX2803" fmla="*/ 345164 w 9847941"/>
                  <a:gd name="connsiteY2803" fmla="*/ 683813 h 1864765"/>
                  <a:gd name="connsiteX2804" fmla="*/ 347134 w 9847941"/>
                  <a:gd name="connsiteY2804" fmla="*/ 683964 h 1864765"/>
                  <a:gd name="connsiteX2805" fmla="*/ 336528 w 9847941"/>
                  <a:gd name="connsiteY2805" fmla="*/ 1814006 h 1864765"/>
                  <a:gd name="connsiteX2806" fmla="*/ 335770 w 9847941"/>
                  <a:gd name="connsiteY2806" fmla="*/ 1812945 h 1864765"/>
                  <a:gd name="connsiteX2807" fmla="*/ 333497 w 9847941"/>
                  <a:gd name="connsiteY2807" fmla="*/ 1811581 h 1864765"/>
                  <a:gd name="connsiteX2808" fmla="*/ 332285 w 9847941"/>
                  <a:gd name="connsiteY2808" fmla="*/ 1810369 h 1864765"/>
                  <a:gd name="connsiteX2809" fmla="*/ 328800 w 9847941"/>
                  <a:gd name="connsiteY2809" fmla="*/ 1808551 h 1864765"/>
                  <a:gd name="connsiteX2810" fmla="*/ 326679 w 9847941"/>
                  <a:gd name="connsiteY2810" fmla="*/ 1808854 h 1864765"/>
                  <a:gd name="connsiteX2811" fmla="*/ 323800 w 9847941"/>
                  <a:gd name="connsiteY2811" fmla="*/ 1809612 h 1864765"/>
                  <a:gd name="connsiteX2812" fmla="*/ 323042 w 9847941"/>
                  <a:gd name="connsiteY2812" fmla="*/ 1809157 h 1864765"/>
                  <a:gd name="connsiteX2813" fmla="*/ 321830 w 9847941"/>
                  <a:gd name="connsiteY2813" fmla="*/ 1807490 h 1864765"/>
                  <a:gd name="connsiteX2814" fmla="*/ 320315 w 9847941"/>
                  <a:gd name="connsiteY2814" fmla="*/ 1806278 h 1864765"/>
                  <a:gd name="connsiteX2815" fmla="*/ 318345 w 9847941"/>
                  <a:gd name="connsiteY2815" fmla="*/ 1806581 h 1864765"/>
                  <a:gd name="connsiteX2816" fmla="*/ 317133 w 9847941"/>
                  <a:gd name="connsiteY2816" fmla="*/ 1808551 h 1864765"/>
                  <a:gd name="connsiteX2817" fmla="*/ 317285 w 9847941"/>
                  <a:gd name="connsiteY2817" fmla="*/ 1809915 h 1864765"/>
                  <a:gd name="connsiteX2818" fmla="*/ 319254 w 9847941"/>
                  <a:gd name="connsiteY2818" fmla="*/ 1812187 h 1864765"/>
                  <a:gd name="connsiteX2819" fmla="*/ 321224 w 9847941"/>
                  <a:gd name="connsiteY2819" fmla="*/ 1813096 h 1864765"/>
                  <a:gd name="connsiteX2820" fmla="*/ 323042 w 9847941"/>
                  <a:gd name="connsiteY2820" fmla="*/ 1812793 h 1864765"/>
                  <a:gd name="connsiteX2821" fmla="*/ 323951 w 9847941"/>
                  <a:gd name="connsiteY2821" fmla="*/ 1815521 h 1864765"/>
                  <a:gd name="connsiteX2822" fmla="*/ 324254 w 9847941"/>
                  <a:gd name="connsiteY2822" fmla="*/ 1818097 h 1864765"/>
                  <a:gd name="connsiteX2823" fmla="*/ 325012 w 9847941"/>
                  <a:gd name="connsiteY2823" fmla="*/ 1818400 h 1864765"/>
                  <a:gd name="connsiteX2824" fmla="*/ 327739 w 9847941"/>
                  <a:gd name="connsiteY2824" fmla="*/ 1818551 h 1864765"/>
                  <a:gd name="connsiteX2825" fmla="*/ 329861 w 9847941"/>
                  <a:gd name="connsiteY2825" fmla="*/ 1817642 h 1864765"/>
                  <a:gd name="connsiteX2826" fmla="*/ 333346 w 9847941"/>
                  <a:gd name="connsiteY2826" fmla="*/ 1817188 h 1864765"/>
                  <a:gd name="connsiteX2827" fmla="*/ 335922 w 9847941"/>
                  <a:gd name="connsiteY2827" fmla="*/ 1815218 h 1864765"/>
                  <a:gd name="connsiteX2828" fmla="*/ 336528 w 9847941"/>
                  <a:gd name="connsiteY2828" fmla="*/ 1814006 h 1864765"/>
                  <a:gd name="connsiteX2829" fmla="*/ 364862 w 9847941"/>
                  <a:gd name="connsiteY2829" fmla="*/ 1845522 h 1864765"/>
                  <a:gd name="connsiteX2830" fmla="*/ 363801 w 9847941"/>
                  <a:gd name="connsiteY2830" fmla="*/ 1843098 h 1864765"/>
                  <a:gd name="connsiteX2831" fmla="*/ 361680 w 9847941"/>
                  <a:gd name="connsiteY2831" fmla="*/ 1842643 h 1864765"/>
                  <a:gd name="connsiteX2832" fmla="*/ 361074 w 9847941"/>
                  <a:gd name="connsiteY2832" fmla="*/ 1839007 h 1864765"/>
                  <a:gd name="connsiteX2833" fmla="*/ 358044 w 9847941"/>
                  <a:gd name="connsiteY2833" fmla="*/ 1835673 h 1864765"/>
                  <a:gd name="connsiteX2834" fmla="*/ 346528 w 9847941"/>
                  <a:gd name="connsiteY2834" fmla="*/ 1830824 h 1864765"/>
                  <a:gd name="connsiteX2835" fmla="*/ 340770 w 9847941"/>
                  <a:gd name="connsiteY2835" fmla="*/ 1827643 h 1864765"/>
                  <a:gd name="connsiteX2836" fmla="*/ 339558 w 9847941"/>
                  <a:gd name="connsiteY2836" fmla="*/ 1828097 h 1864765"/>
                  <a:gd name="connsiteX2837" fmla="*/ 339104 w 9847941"/>
                  <a:gd name="connsiteY2837" fmla="*/ 1830673 h 1864765"/>
                  <a:gd name="connsiteX2838" fmla="*/ 341073 w 9847941"/>
                  <a:gd name="connsiteY2838" fmla="*/ 1835067 h 1864765"/>
                  <a:gd name="connsiteX2839" fmla="*/ 338649 w 9847941"/>
                  <a:gd name="connsiteY2839" fmla="*/ 1838400 h 1864765"/>
                  <a:gd name="connsiteX2840" fmla="*/ 336528 w 9847941"/>
                  <a:gd name="connsiteY2840" fmla="*/ 1840219 h 1864765"/>
                  <a:gd name="connsiteX2841" fmla="*/ 334861 w 9847941"/>
                  <a:gd name="connsiteY2841" fmla="*/ 1842492 h 1864765"/>
                  <a:gd name="connsiteX2842" fmla="*/ 337134 w 9847941"/>
                  <a:gd name="connsiteY2842" fmla="*/ 1847037 h 1864765"/>
                  <a:gd name="connsiteX2843" fmla="*/ 339255 w 9847941"/>
                  <a:gd name="connsiteY2843" fmla="*/ 1852946 h 1864765"/>
                  <a:gd name="connsiteX2844" fmla="*/ 338800 w 9847941"/>
                  <a:gd name="connsiteY2844" fmla="*/ 1860219 h 1864765"/>
                  <a:gd name="connsiteX2845" fmla="*/ 339407 w 9847941"/>
                  <a:gd name="connsiteY2845" fmla="*/ 1861735 h 1864765"/>
                  <a:gd name="connsiteX2846" fmla="*/ 344861 w 9847941"/>
                  <a:gd name="connsiteY2846" fmla="*/ 1864613 h 1864765"/>
                  <a:gd name="connsiteX2847" fmla="*/ 346376 w 9847941"/>
                  <a:gd name="connsiteY2847" fmla="*/ 1864765 h 1864765"/>
                  <a:gd name="connsiteX2848" fmla="*/ 347589 w 9847941"/>
                  <a:gd name="connsiteY2848" fmla="*/ 1863401 h 1864765"/>
                  <a:gd name="connsiteX2849" fmla="*/ 348801 w 9847941"/>
                  <a:gd name="connsiteY2849" fmla="*/ 1860674 h 1864765"/>
                  <a:gd name="connsiteX2850" fmla="*/ 355013 w 9847941"/>
                  <a:gd name="connsiteY2850" fmla="*/ 1856431 h 1864765"/>
                  <a:gd name="connsiteX2851" fmla="*/ 361983 w 9847941"/>
                  <a:gd name="connsiteY2851" fmla="*/ 1854765 h 1864765"/>
                  <a:gd name="connsiteX2852" fmla="*/ 367589 w 9847941"/>
                  <a:gd name="connsiteY2852" fmla="*/ 1850977 h 1864765"/>
                  <a:gd name="connsiteX2853" fmla="*/ 368802 w 9847941"/>
                  <a:gd name="connsiteY2853" fmla="*/ 1849007 h 1864765"/>
                  <a:gd name="connsiteX2854" fmla="*/ 367741 w 9847941"/>
                  <a:gd name="connsiteY2854" fmla="*/ 1847795 h 1864765"/>
                  <a:gd name="connsiteX2855" fmla="*/ 364862 w 9847941"/>
                  <a:gd name="connsiteY2855" fmla="*/ 1845522 h 1864765"/>
                  <a:gd name="connsiteX2856" fmla="*/ 434410 w 9847941"/>
                  <a:gd name="connsiteY2856" fmla="*/ 611538 h 1864765"/>
                  <a:gd name="connsiteX2857" fmla="*/ 432440 w 9847941"/>
                  <a:gd name="connsiteY2857" fmla="*/ 609265 h 1864765"/>
                  <a:gd name="connsiteX2858" fmla="*/ 432289 w 9847941"/>
                  <a:gd name="connsiteY2858" fmla="*/ 608053 h 1864765"/>
                  <a:gd name="connsiteX2859" fmla="*/ 434107 w 9847941"/>
                  <a:gd name="connsiteY2859" fmla="*/ 606083 h 1864765"/>
                  <a:gd name="connsiteX2860" fmla="*/ 434259 w 9847941"/>
                  <a:gd name="connsiteY2860" fmla="*/ 605174 h 1864765"/>
                  <a:gd name="connsiteX2861" fmla="*/ 433804 w 9847941"/>
                  <a:gd name="connsiteY2861" fmla="*/ 604416 h 1864765"/>
                  <a:gd name="connsiteX2862" fmla="*/ 431531 w 9847941"/>
                  <a:gd name="connsiteY2862" fmla="*/ 603355 h 1864765"/>
                  <a:gd name="connsiteX2863" fmla="*/ 428652 w 9847941"/>
                  <a:gd name="connsiteY2863" fmla="*/ 603507 h 1864765"/>
                  <a:gd name="connsiteX2864" fmla="*/ 426531 w 9847941"/>
                  <a:gd name="connsiteY2864" fmla="*/ 604113 h 1864765"/>
                  <a:gd name="connsiteX2865" fmla="*/ 422288 w 9847941"/>
                  <a:gd name="connsiteY2865" fmla="*/ 606386 h 1864765"/>
                  <a:gd name="connsiteX2866" fmla="*/ 421228 w 9847941"/>
                  <a:gd name="connsiteY2866" fmla="*/ 606689 h 1864765"/>
                  <a:gd name="connsiteX2867" fmla="*/ 421076 w 9847941"/>
                  <a:gd name="connsiteY2867" fmla="*/ 604567 h 1864765"/>
                  <a:gd name="connsiteX2868" fmla="*/ 422440 w 9847941"/>
                  <a:gd name="connsiteY2868" fmla="*/ 601689 h 1864765"/>
                  <a:gd name="connsiteX2869" fmla="*/ 419864 w 9847941"/>
                  <a:gd name="connsiteY2869" fmla="*/ 600173 h 1864765"/>
                  <a:gd name="connsiteX2870" fmla="*/ 413955 w 9847941"/>
                  <a:gd name="connsiteY2870" fmla="*/ 598810 h 1864765"/>
                  <a:gd name="connsiteX2871" fmla="*/ 412137 w 9847941"/>
                  <a:gd name="connsiteY2871" fmla="*/ 599416 h 1864765"/>
                  <a:gd name="connsiteX2872" fmla="*/ 413652 w 9847941"/>
                  <a:gd name="connsiteY2872" fmla="*/ 601234 h 1864765"/>
                  <a:gd name="connsiteX2873" fmla="*/ 413500 w 9847941"/>
                  <a:gd name="connsiteY2873" fmla="*/ 602446 h 1864765"/>
                  <a:gd name="connsiteX2874" fmla="*/ 412743 w 9847941"/>
                  <a:gd name="connsiteY2874" fmla="*/ 603052 h 1864765"/>
                  <a:gd name="connsiteX2875" fmla="*/ 412743 w 9847941"/>
                  <a:gd name="connsiteY2875" fmla="*/ 604719 h 1864765"/>
                  <a:gd name="connsiteX2876" fmla="*/ 412288 w 9847941"/>
                  <a:gd name="connsiteY2876" fmla="*/ 605628 h 1864765"/>
                  <a:gd name="connsiteX2877" fmla="*/ 411379 w 9847941"/>
                  <a:gd name="connsiteY2877" fmla="*/ 605780 h 1864765"/>
                  <a:gd name="connsiteX2878" fmla="*/ 408500 w 9847941"/>
                  <a:gd name="connsiteY2878" fmla="*/ 605174 h 1864765"/>
                  <a:gd name="connsiteX2879" fmla="*/ 407591 w 9847941"/>
                  <a:gd name="connsiteY2879" fmla="*/ 605477 h 1864765"/>
                  <a:gd name="connsiteX2880" fmla="*/ 406682 w 9847941"/>
                  <a:gd name="connsiteY2880" fmla="*/ 606234 h 1864765"/>
                  <a:gd name="connsiteX2881" fmla="*/ 405773 w 9847941"/>
                  <a:gd name="connsiteY2881" fmla="*/ 607446 h 1864765"/>
                  <a:gd name="connsiteX2882" fmla="*/ 404864 w 9847941"/>
                  <a:gd name="connsiteY2882" fmla="*/ 608053 h 1864765"/>
                  <a:gd name="connsiteX2883" fmla="*/ 403803 w 9847941"/>
                  <a:gd name="connsiteY2883" fmla="*/ 608053 h 1864765"/>
                  <a:gd name="connsiteX2884" fmla="*/ 402591 w 9847941"/>
                  <a:gd name="connsiteY2884" fmla="*/ 606840 h 1864765"/>
                  <a:gd name="connsiteX2885" fmla="*/ 400015 w 9847941"/>
                  <a:gd name="connsiteY2885" fmla="*/ 603052 h 1864765"/>
                  <a:gd name="connsiteX2886" fmla="*/ 399106 w 9847941"/>
                  <a:gd name="connsiteY2886" fmla="*/ 602446 h 1864765"/>
                  <a:gd name="connsiteX2887" fmla="*/ 397136 w 9847941"/>
                  <a:gd name="connsiteY2887" fmla="*/ 602143 h 1864765"/>
                  <a:gd name="connsiteX2888" fmla="*/ 396075 w 9847941"/>
                  <a:gd name="connsiteY2888" fmla="*/ 602295 h 1864765"/>
                  <a:gd name="connsiteX2889" fmla="*/ 395166 w 9847941"/>
                  <a:gd name="connsiteY2889" fmla="*/ 602749 h 1864765"/>
                  <a:gd name="connsiteX2890" fmla="*/ 393499 w 9847941"/>
                  <a:gd name="connsiteY2890" fmla="*/ 604416 h 1864765"/>
                  <a:gd name="connsiteX2891" fmla="*/ 393499 w 9847941"/>
                  <a:gd name="connsiteY2891" fmla="*/ 605628 h 1864765"/>
                  <a:gd name="connsiteX2892" fmla="*/ 394257 w 9847941"/>
                  <a:gd name="connsiteY2892" fmla="*/ 606992 h 1864765"/>
                  <a:gd name="connsiteX2893" fmla="*/ 396227 w 9847941"/>
                  <a:gd name="connsiteY2893" fmla="*/ 608659 h 1864765"/>
                  <a:gd name="connsiteX2894" fmla="*/ 399409 w 9847941"/>
                  <a:gd name="connsiteY2894" fmla="*/ 610628 h 1864765"/>
                  <a:gd name="connsiteX2895" fmla="*/ 399409 w 9847941"/>
                  <a:gd name="connsiteY2895" fmla="*/ 611841 h 1864765"/>
                  <a:gd name="connsiteX2896" fmla="*/ 396378 w 9847941"/>
                  <a:gd name="connsiteY2896" fmla="*/ 611538 h 1864765"/>
                  <a:gd name="connsiteX2897" fmla="*/ 395318 w 9847941"/>
                  <a:gd name="connsiteY2897" fmla="*/ 611992 h 1864765"/>
                  <a:gd name="connsiteX2898" fmla="*/ 395924 w 9847941"/>
                  <a:gd name="connsiteY2898" fmla="*/ 613507 h 1864765"/>
                  <a:gd name="connsiteX2899" fmla="*/ 396530 w 9847941"/>
                  <a:gd name="connsiteY2899" fmla="*/ 619568 h 1864765"/>
                  <a:gd name="connsiteX2900" fmla="*/ 397591 w 9847941"/>
                  <a:gd name="connsiteY2900" fmla="*/ 622598 h 1864765"/>
                  <a:gd name="connsiteX2901" fmla="*/ 399409 w 9847941"/>
                  <a:gd name="connsiteY2901" fmla="*/ 625023 h 1864765"/>
                  <a:gd name="connsiteX2902" fmla="*/ 397591 w 9847941"/>
                  <a:gd name="connsiteY2902" fmla="*/ 624265 h 1864765"/>
                  <a:gd name="connsiteX2903" fmla="*/ 396227 w 9847941"/>
                  <a:gd name="connsiteY2903" fmla="*/ 622902 h 1864765"/>
                  <a:gd name="connsiteX2904" fmla="*/ 394106 w 9847941"/>
                  <a:gd name="connsiteY2904" fmla="*/ 619720 h 1864765"/>
                  <a:gd name="connsiteX2905" fmla="*/ 392287 w 9847941"/>
                  <a:gd name="connsiteY2905" fmla="*/ 616083 h 1864765"/>
                  <a:gd name="connsiteX2906" fmla="*/ 390621 w 9847941"/>
                  <a:gd name="connsiteY2906" fmla="*/ 615022 h 1864765"/>
                  <a:gd name="connsiteX2907" fmla="*/ 390469 w 9847941"/>
                  <a:gd name="connsiteY2907" fmla="*/ 614568 h 1864765"/>
                  <a:gd name="connsiteX2908" fmla="*/ 391075 w 9847941"/>
                  <a:gd name="connsiteY2908" fmla="*/ 613810 h 1864765"/>
                  <a:gd name="connsiteX2909" fmla="*/ 390166 w 9847941"/>
                  <a:gd name="connsiteY2909" fmla="*/ 612144 h 1864765"/>
                  <a:gd name="connsiteX2910" fmla="*/ 387742 w 9847941"/>
                  <a:gd name="connsiteY2910" fmla="*/ 611386 h 1864765"/>
                  <a:gd name="connsiteX2911" fmla="*/ 386075 w 9847941"/>
                  <a:gd name="connsiteY2911" fmla="*/ 611386 h 1864765"/>
                  <a:gd name="connsiteX2912" fmla="*/ 383348 w 9847941"/>
                  <a:gd name="connsiteY2912" fmla="*/ 611841 h 1864765"/>
                  <a:gd name="connsiteX2913" fmla="*/ 380469 w 9847941"/>
                  <a:gd name="connsiteY2913" fmla="*/ 613659 h 1864765"/>
                  <a:gd name="connsiteX2914" fmla="*/ 376378 w 9847941"/>
                  <a:gd name="connsiteY2914" fmla="*/ 614871 h 1864765"/>
                  <a:gd name="connsiteX2915" fmla="*/ 372590 w 9847941"/>
                  <a:gd name="connsiteY2915" fmla="*/ 619265 h 1864765"/>
                  <a:gd name="connsiteX2916" fmla="*/ 371529 w 9847941"/>
                  <a:gd name="connsiteY2916" fmla="*/ 622447 h 1864765"/>
                  <a:gd name="connsiteX2917" fmla="*/ 371680 w 9847941"/>
                  <a:gd name="connsiteY2917" fmla="*/ 623659 h 1864765"/>
                  <a:gd name="connsiteX2918" fmla="*/ 375468 w 9847941"/>
                  <a:gd name="connsiteY2918" fmla="*/ 628811 h 1864765"/>
                  <a:gd name="connsiteX2919" fmla="*/ 377438 w 9847941"/>
                  <a:gd name="connsiteY2919" fmla="*/ 635478 h 1864765"/>
                  <a:gd name="connsiteX2920" fmla="*/ 381832 w 9847941"/>
                  <a:gd name="connsiteY2920" fmla="*/ 640023 h 1864765"/>
                  <a:gd name="connsiteX2921" fmla="*/ 383954 w 9847941"/>
                  <a:gd name="connsiteY2921" fmla="*/ 640326 h 1864765"/>
                  <a:gd name="connsiteX2922" fmla="*/ 385469 w 9847941"/>
                  <a:gd name="connsiteY2922" fmla="*/ 638357 h 1864765"/>
                  <a:gd name="connsiteX2923" fmla="*/ 386075 w 9847941"/>
                  <a:gd name="connsiteY2923" fmla="*/ 636690 h 1864765"/>
                  <a:gd name="connsiteX2924" fmla="*/ 385923 w 9847941"/>
                  <a:gd name="connsiteY2924" fmla="*/ 635478 h 1864765"/>
                  <a:gd name="connsiteX2925" fmla="*/ 385469 w 9847941"/>
                  <a:gd name="connsiteY2925" fmla="*/ 634417 h 1864765"/>
                  <a:gd name="connsiteX2926" fmla="*/ 384711 w 9847941"/>
                  <a:gd name="connsiteY2926" fmla="*/ 633508 h 1864765"/>
                  <a:gd name="connsiteX2927" fmla="*/ 383954 w 9847941"/>
                  <a:gd name="connsiteY2927" fmla="*/ 633053 h 1864765"/>
                  <a:gd name="connsiteX2928" fmla="*/ 380923 w 9847941"/>
                  <a:gd name="connsiteY2928" fmla="*/ 633205 h 1864765"/>
                  <a:gd name="connsiteX2929" fmla="*/ 381075 w 9847941"/>
                  <a:gd name="connsiteY2929" fmla="*/ 632750 h 1864765"/>
                  <a:gd name="connsiteX2930" fmla="*/ 382438 w 9847941"/>
                  <a:gd name="connsiteY2930" fmla="*/ 631841 h 1864765"/>
                  <a:gd name="connsiteX2931" fmla="*/ 384711 w 9847941"/>
                  <a:gd name="connsiteY2931" fmla="*/ 631387 h 1864765"/>
                  <a:gd name="connsiteX2932" fmla="*/ 387742 w 9847941"/>
                  <a:gd name="connsiteY2932" fmla="*/ 631538 h 1864765"/>
                  <a:gd name="connsiteX2933" fmla="*/ 389711 w 9847941"/>
                  <a:gd name="connsiteY2933" fmla="*/ 631841 h 1864765"/>
                  <a:gd name="connsiteX2934" fmla="*/ 390469 w 9847941"/>
                  <a:gd name="connsiteY2934" fmla="*/ 632296 h 1864765"/>
                  <a:gd name="connsiteX2935" fmla="*/ 390772 w 9847941"/>
                  <a:gd name="connsiteY2935" fmla="*/ 632750 h 1864765"/>
                  <a:gd name="connsiteX2936" fmla="*/ 389257 w 9847941"/>
                  <a:gd name="connsiteY2936" fmla="*/ 634569 h 1864765"/>
                  <a:gd name="connsiteX2937" fmla="*/ 388651 w 9847941"/>
                  <a:gd name="connsiteY2937" fmla="*/ 636084 h 1864765"/>
                  <a:gd name="connsiteX2938" fmla="*/ 389105 w 9847941"/>
                  <a:gd name="connsiteY2938" fmla="*/ 636084 h 1864765"/>
                  <a:gd name="connsiteX2939" fmla="*/ 391378 w 9847941"/>
                  <a:gd name="connsiteY2939" fmla="*/ 634872 h 1864765"/>
                  <a:gd name="connsiteX2940" fmla="*/ 394712 w 9847941"/>
                  <a:gd name="connsiteY2940" fmla="*/ 636690 h 1864765"/>
                  <a:gd name="connsiteX2941" fmla="*/ 396833 w 9847941"/>
                  <a:gd name="connsiteY2941" fmla="*/ 636841 h 1864765"/>
                  <a:gd name="connsiteX2942" fmla="*/ 397136 w 9847941"/>
                  <a:gd name="connsiteY2942" fmla="*/ 637144 h 1864765"/>
                  <a:gd name="connsiteX2943" fmla="*/ 389560 w 9847941"/>
                  <a:gd name="connsiteY2943" fmla="*/ 643811 h 1864765"/>
                  <a:gd name="connsiteX2944" fmla="*/ 389560 w 9847941"/>
                  <a:gd name="connsiteY2944" fmla="*/ 644418 h 1864765"/>
                  <a:gd name="connsiteX2945" fmla="*/ 390014 w 9847941"/>
                  <a:gd name="connsiteY2945" fmla="*/ 645024 h 1864765"/>
                  <a:gd name="connsiteX2946" fmla="*/ 390621 w 9847941"/>
                  <a:gd name="connsiteY2946" fmla="*/ 645478 h 1864765"/>
                  <a:gd name="connsiteX2947" fmla="*/ 392136 w 9847941"/>
                  <a:gd name="connsiteY2947" fmla="*/ 645630 h 1864765"/>
                  <a:gd name="connsiteX2948" fmla="*/ 398045 w 9847941"/>
                  <a:gd name="connsiteY2948" fmla="*/ 642296 h 1864765"/>
                  <a:gd name="connsiteX2949" fmla="*/ 401227 w 9847941"/>
                  <a:gd name="connsiteY2949" fmla="*/ 638357 h 1864765"/>
                  <a:gd name="connsiteX2950" fmla="*/ 401530 w 9847941"/>
                  <a:gd name="connsiteY2950" fmla="*/ 637448 h 1864765"/>
                  <a:gd name="connsiteX2951" fmla="*/ 401530 w 9847941"/>
                  <a:gd name="connsiteY2951" fmla="*/ 636387 h 1864765"/>
                  <a:gd name="connsiteX2952" fmla="*/ 401227 w 9847941"/>
                  <a:gd name="connsiteY2952" fmla="*/ 635629 h 1864765"/>
                  <a:gd name="connsiteX2953" fmla="*/ 398803 w 9847941"/>
                  <a:gd name="connsiteY2953" fmla="*/ 634720 h 1864765"/>
                  <a:gd name="connsiteX2954" fmla="*/ 402742 w 9847941"/>
                  <a:gd name="connsiteY2954" fmla="*/ 633660 h 1864765"/>
                  <a:gd name="connsiteX2955" fmla="*/ 404560 w 9847941"/>
                  <a:gd name="connsiteY2955" fmla="*/ 632599 h 1864765"/>
                  <a:gd name="connsiteX2956" fmla="*/ 405167 w 9847941"/>
                  <a:gd name="connsiteY2956" fmla="*/ 631235 h 1864765"/>
                  <a:gd name="connsiteX2957" fmla="*/ 406833 w 9847941"/>
                  <a:gd name="connsiteY2957" fmla="*/ 630023 h 1864765"/>
                  <a:gd name="connsiteX2958" fmla="*/ 411530 w 9847941"/>
                  <a:gd name="connsiteY2958" fmla="*/ 627750 h 1864765"/>
                  <a:gd name="connsiteX2959" fmla="*/ 417591 w 9847941"/>
                  <a:gd name="connsiteY2959" fmla="*/ 627296 h 1864765"/>
                  <a:gd name="connsiteX2960" fmla="*/ 419258 w 9847941"/>
                  <a:gd name="connsiteY2960" fmla="*/ 625629 h 1864765"/>
                  <a:gd name="connsiteX2961" fmla="*/ 422288 w 9847941"/>
                  <a:gd name="connsiteY2961" fmla="*/ 624114 h 1864765"/>
                  <a:gd name="connsiteX2962" fmla="*/ 424713 w 9847941"/>
                  <a:gd name="connsiteY2962" fmla="*/ 624114 h 1864765"/>
                  <a:gd name="connsiteX2963" fmla="*/ 426834 w 9847941"/>
                  <a:gd name="connsiteY2963" fmla="*/ 623659 h 1864765"/>
                  <a:gd name="connsiteX2964" fmla="*/ 427743 w 9847941"/>
                  <a:gd name="connsiteY2964" fmla="*/ 623053 h 1864765"/>
                  <a:gd name="connsiteX2965" fmla="*/ 427440 w 9847941"/>
                  <a:gd name="connsiteY2965" fmla="*/ 621689 h 1864765"/>
                  <a:gd name="connsiteX2966" fmla="*/ 426682 w 9847941"/>
                  <a:gd name="connsiteY2966" fmla="*/ 620477 h 1864765"/>
                  <a:gd name="connsiteX2967" fmla="*/ 425016 w 9847941"/>
                  <a:gd name="connsiteY2967" fmla="*/ 618810 h 1864765"/>
                  <a:gd name="connsiteX2968" fmla="*/ 420167 w 9847941"/>
                  <a:gd name="connsiteY2968" fmla="*/ 618507 h 1864765"/>
                  <a:gd name="connsiteX2969" fmla="*/ 419106 w 9847941"/>
                  <a:gd name="connsiteY2969" fmla="*/ 618204 h 1864765"/>
                  <a:gd name="connsiteX2970" fmla="*/ 420622 w 9847941"/>
                  <a:gd name="connsiteY2970" fmla="*/ 616992 h 1864765"/>
                  <a:gd name="connsiteX2971" fmla="*/ 421379 w 9847941"/>
                  <a:gd name="connsiteY2971" fmla="*/ 616538 h 1864765"/>
                  <a:gd name="connsiteX2972" fmla="*/ 423652 w 9847941"/>
                  <a:gd name="connsiteY2972" fmla="*/ 616689 h 1864765"/>
                  <a:gd name="connsiteX2973" fmla="*/ 429107 w 9847941"/>
                  <a:gd name="connsiteY2973" fmla="*/ 617901 h 1864765"/>
                  <a:gd name="connsiteX2974" fmla="*/ 435168 w 9847941"/>
                  <a:gd name="connsiteY2974" fmla="*/ 618507 h 1864765"/>
                  <a:gd name="connsiteX2975" fmla="*/ 436077 w 9847941"/>
                  <a:gd name="connsiteY2975" fmla="*/ 618356 h 1864765"/>
                  <a:gd name="connsiteX2976" fmla="*/ 437289 w 9847941"/>
                  <a:gd name="connsiteY2976" fmla="*/ 617447 h 1864765"/>
                  <a:gd name="connsiteX2977" fmla="*/ 440622 w 9847941"/>
                  <a:gd name="connsiteY2977" fmla="*/ 613659 h 1864765"/>
                  <a:gd name="connsiteX2978" fmla="*/ 440622 w 9847941"/>
                  <a:gd name="connsiteY2978" fmla="*/ 612901 h 1864765"/>
                  <a:gd name="connsiteX2979" fmla="*/ 440016 w 9847941"/>
                  <a:gd name="connsiteY2979" fmla="*/ 612295 h 1864765"/>
                  <a:gd name="connsiteX2980" fmla="*/ 434410 w 9847941"/>
                  <a:gd name="connsiteY2980" fmla="*/ 611538 h 1864765"/>
                  <a:gd name="connsiteX2981" fmla="*/ 210917 w 9847941"/>
                  <a:gd name="connsiteY2981" fmla="*/ 702298 h 1864765"/>
                  <a:gd name="connsiteX2982" fmla="*/ 211826 w 9847941"/>
                  <a:gd name="connsiteY2982" fmla="*/ 700177 h 1864765"/>
                  <a:gd name="connsiteX2983" fmla="*/ 211826 w 9847941"/>
                  <a:gd name="connsiteY2983" fmla="*/ 699571 h 1864765"/>
                  <a:gd name="connsiteX2984" fmla="*/ 211068 w 9847941"/>
                  <a:gd name="connsiteY2984" fmla="*/ 699723 h 1864765"/>
                  <a:gd name="connsiteX2985" fmla="*/ 209250 w 9847941"/>
                  <a:gd name="connsiteY2985" fmla="*/ 701844 h 1864765"/>
                  <a:gd name="connsiteX2986" fmla="*/ 208341 w 9847941"/>
                  <a:gd name="connsiteY2986" fmla="*/ 702147 h 1864765"/>
                  <a:gd name="connsiteX2987" fmla="*/ 207887 w 9847941"/>
                  <a:gd name="connsiteY2987" fmla="*/ 702147 h 1864765"/>
                  <a:gd name="connsiteX2988" fmla="*/ 208341 w 9847941"/>
                  <a:gd name="connsiteY2988" fmla="*/ 700480 h 1864765"/>
                  <a:gd name="connsiteX2989" fmla="*/ 208190 w 9847941"/>
                  <a:gd name="connsiteY2989" fmla="*/ 699723 h 1864765"/>
                  <a:gd name="connsiteX2990" fmla="*/ 207583 w 9847941"/>
                  <a:gd name="connsiteY2990" fmla="*/ 698965 h 1864765"/>
                  <a:gd name="connsiteX2991" fmla="*/ 206826 w 9847941"/>
                  <a:gd name="connsiteY2991" fmla="*/ 698662 h 1864765"/>
                  <a:gd name="connsiteX2992" fmla="*/ 205008 w 9847941"/>
                  <a:gd name="connsiteY2992" fmla="*/ 699419 h 1864765"/>
                  <a:gd name="connsiteX2993" fmla="*/ 203644 w 9847941"/>
                  <a:gd name="connsiteY2993" fmla="*/ 701238 h 1864765"/>
                  <a:gd name="connsiteX2994" fmla="*/ 203492 w 9847941"/>
                  <a:gd name="connsiteY2994" fmla="*/ 702147 h 1864765"/>
                  <a:gd name="connsiteX2995" fmla="*/ 204098 w 9847941"/>
                  <a:gd name="connsiteY2995" fmla="*/ 707450 h 1864765"/>
                  <a:gd name="connsiteX2996" fmla="*/ 204856 w 9847941"/>
                  <a:gd name="connsiteY2996" fmla="*/ 708511 h 1864765"/>
                  <a:gd name="connsiteX2997" fmla="*/ 206068 w 9847941"/>
                  <a:gd name="connsiteY2997" fmla="*/ 707450 h 1864765"/>
                  <a:gd name="connsiteX2998" fmla="*/ 207432 w 9847941"/>
                  <a:gd name="connsiteY2998" fmla="*/ 707147 h 1864765"/>
                  <a:gd name="connsiteX2999" fmla="*/ 210008 w 9847941"/>
                  <a:gd name="connsiteY2999" fmla="*/ 707905 h 1864765"/>
                  <a:gd name="connsiteX3000" fmla="*/ 213341 w 9847941"/>
                  <a:gd name="connsiteY3000" fmla="*/ 706996 h 1864765"/>
                  <a:gd name="connsiteX3001" fmla="*/ 213493 w 9847941"/>
                  <a:gd name="connsiteY3001" fmla="*/ 706541 h 1864765"/>
                  <a:gd name="connsiteX3002" fmla="*/ 212129 w 9847941"/>
                  <a:gd name="connsiteY3002" fmla="*/ 705177 h 1864765"/>
                  <a:gd name="connsiteX3003" fmla="*/ 210917 w 9847941"/>
                  <a:gd name="connsiteY3003" fmla="*/ 702298 h 1864765"/>
                  <a:gd name="connsiteX3004" fmla="*/ 420167 w 9847941"/>
                  <a:gd name="connsiteY3004" fmla="*/ 630478 h 1864765"/>
                  <a:gd name="connsiteX3005" fmla="*/ 410621 w 9847941"/>
                  <a:gd name="connsiteY3005" fmla="*/ 629720 h 1864765"/>
                  <a:gd name="connsiteX3006" fmla="*/ 408803 w 9847941"/>
                  <a:gd name="connsiteY3006" fmla="*/ 631841 h 1864765"/>
                  <a:gd name="connsiteX3007" fmla="*/ 408045 w 9847941"/>
                  <a:gd name="connsiteY3007" fmla="*/ 634872 h 1864765"/>
                  <a:gd name="connsiteX3008" fmla="*/ 410167 w 9847941"/>
                  <a:gd name="connsiteY3008" fmla="*/ 636841 h 1864765"/>
                  <a:gd name="connsiteX3009" fmla="*/ 411833 w 9847941"/>
                  <a:gd name="connsiteY3009" fmla="*/ 635781 h 1864765"/>
                  <a:gd name="connsiteX3010" fmla="*/ 413955 w 9847941"/>
                  <a:gd name="connsiteY3010" fmla="*/ 633205 h 1864765"/>
                  <a:gd name="connsiteX3011" fmla="*/ 414561 w 9847941"/>
                  <a:gd name="connsiteY3011" fmla="*/ 633205 h 1864765"/>
                  <a:gd name="connsiteX3012" fmla="*/ 418046 w 9847941"/>
                  <a:gd name="connsiteY3012" fmla="*/ 631993 h 1864765"/>
                  <a:gd name="connsiteX3013" fmla="*/ 420016 w 9847941"/>
                  <a:gd name="connsiteY3013" fmla="*/ 631841 h 1864765"/>
                  <a:gd name="connsiteX3014" fmla="*/ 420773 w 9847941"/>
                  <a:gd name="connsiteY3014" fmla="*/ 631387 h 1864765"/>
                  <a:gd name="connsiteX3015" fmla="*/ 420773 w 9847941"/>
                  <a:gd name="connsiteY3015" fmla="*/ 630932 h 1864765"/>
                  <a:gd name="connsiteX3016" fmla="*/ 420167 w 9847941"/>
                  <a:gd name="connsiteY3016" fmla="*/ 630478 h 1864765"/>
                  <a:gd name="connsiteX3017" fmla="*/ 385014 w 9847941"/>
                  <a:gd name="connsiteY3017" fmla="*/ 652297 h 1864765"/>
                  <a:gd name="connsiteX3018" fmla="*/ 382135 w 9847941"/>
                  <a:gd name="connsiteY3018" fmla="*/ 653812 h 1864765"/>
                  <a:gd name="connsiteX3019" fmla="*/ 381832 w 9847941"/>
                  <a:gd name="connsiteY3019" fmla="*/ 655024 h 1864765"/>
                  <a:gd name="connsiteX3020" fmla="*/ 383802 w 9847941"/>
                  <a:gd name="connsiteY3020" fmla="*/ 656085 h 1864765"/>
                  <a:gd name="connsiteX3021" fmla="*/ 385166 w 9847941"/>
                  <a:gd name="connsiteY3021" fmla="*/ 655933 h 1864765"/>
                  <a:gd name="connsiteX3022" fmla="*/ 386833 w 9847941"/>
                  <a:gd name="connsiteY3022" fmla="*/ 655327 h 1864765"/>
                  <a:gd name="connsiteX3023" fmla="*/ 387742 w 9847941"/>
                  <a:gd name="connsiteY3023" fmla="*/ 654721 h 1864765"/>
                  <a:gd name="connsiteX3024" fmla="*/ 388045 w 9847941"/>
                  <a:gd name="connsiteY3024" fmla="*/ 654115 h 1864765"/>
                  <a:gd name="connsiteX3025" fmla="*/ 388196 w 9847941"/>
                  <a:gd name="connsiteY3025" fmla="*/ 653206 h 1864765"/>
                  <a:gd name="connsiteX3026" fmla="*/ 388045 w 9847941"/>
                  <a:gd name="connsiteY3026" fmla="*/ 652448 h 1864765"/>
                  <a:gd name="connsiteX3027" fmla="*/ 385014 w 9847941"/>
                  <a:gd name="connsiteY3027" fmla="*/ 652297 h 1864765"/>
                  <a:gd name="connsiteX3028" fmla="*/ 230312 w 9847941"/>
                  <a:gd name="connsiteY3028" fmla="*/ 704117 h 1864765"/>
                  <a:gd name="connsiteX3029" fmla="*/ 229857 w 9847941"/>
                  <a:gd name="connsiteY3029" fmla="*/ 703814 h 1864765"/>
                  <a:gd name="connsiteX3030" fmla="*/ 228948 w 9847941"/>
                  <a:gd name="connsiteY3030" fmla="*/ 703965 h 1864765"/>
                  <a:gd name="connsiteX3031" fmla="*/ 227281 w 9847941"/>
                  <a:gd name="connsiteY3031" fmla="*/ 706693 h 1864765"/>
                  <a:gd name="connsiteX3032" fmla="*/ 225766 w 9847941"/>
                  <a:gd name="connsiteY3032" fmla="*/ 706844 h 1864765"/>
                  <a:gd name="connsiteX3033" fmla="*/ 224099 w 9847941"/>
                  <a:gd name="connsiteY3033" fmla="*/ 709117 h 1864765"/>
                  <a:gd name="connsiteX3034" fmla="*/ 223190 w 9847941"/>
                  <a:gd name="connsiteY3034" fmla="*/ 709571 h 1864765"/>
                  <a:gd name="connsiteX3035" fmla="*/ 222129 w 9847941"/>
                  <a:gd name="connsiteY3035" fmla="*/ 709420 h 1864765"/>
                  <a:gd name="connsiteX3036" fmla="*/ 222736 w 9847941"/>
                  <a:gd name="connsiteY3036" fmla="*/ 711996 h 1864765"/>
                  <a:gd name="connsiteX3037" fmla="*/ 222736 w 9847941"/>
                  <a:gd name="connsiteY3037" fmla="*/ 712753 h 1864765"/>
                  <a:gd name="connsiteX3038" fmla="*/ 222432 w 9847941"/>
                  <a:gd name="connsiteY3038" fmla="*/ 713814 h 1864765"/>
                  <a:gd name="connsiteX3039" fmla="*/ 220766 w 9847941"/>
                  <a:gd name="connsiteY3039" fmla="*/ 717147 h 1864765"/>
                  <a:gd name="connsiteX3040" fmla="*/ 222281 w 9847941"/>
                  <a:gd name="connsiteY3040" fmla="*/ 716390 h 1864765"/>
                  <a:gd name="connsiteX3041" fmla="*/ 225917 w 9847941"/>
                  <a:gd name="connsiteY3041" fmla="*/ 712450 h 1864765"/>
                  <a:gd name="connsiteX3042" fmla="*/ 226978 w 9847941"/>
                  <a:gd name="connsiteY3042" fmla="*/ 711541 h 1864765"/>
                  <a:gd name="connsiteX3043" fmla="*/ 228190 w 9847941"/>
                  <a:gd name="connsiteY3043" fmla="*/ 711087 h 1864765"/>
                  <a:gd name="connsiteX3044" fmla="*/ 228645 w 9847941"/>
                  <a:gd name="connsiteY3044" fmla="*/ 710026 h 1864765"/>
                  <a:gd name="connsiteX3045" fmla="*/ 230312 w 9847941"/>
                  <a:gd name="connsiteY3045" fmla="*/ 709117 h 1864765"/>
                  <a:gd name="connsiteX3046" fmla="*/ 230766 w 9847941"/>
                  <a:gd name="connsiteY3046" fmla="*/ 708511 h 1864765"/>
                  <a:gd name="connsiteX3047" fmla="*/ 231221 w 9847941"/>
                  <a:gd name="connsiteY3047" fmla="*/ 707147 h 1864765"/>
                  <a:gd name="connsiteX3048" fmla="*/ 229554 w 9847941"/>
                  <a:gd name="connsiteY3048" fmla="*/ 705632 h 1864765"/>
                  <a:gd name="connsiteX3049" fmla="*/ 230312 w 9847941"/>
                  <a:gd name="connsiteY3049" fmla="*/ 704117 h 1864765"/>
                  <a:gd name="connsiteX3050" fmla="*/ 222281 w 9847941"/>
                  <a:gd name="connsiteY3050" fmla="*/ 1780217 h 1864765"/>
                  <a:gd name="connsiteX3051" fmla="*/ 220766 w 9847941"/>
                  <a:gd name="connsiteY3051" fmla="*/ 1781580 h 1864765"/>
                  <a:gd name="connsiteX3052" fmla="*/ 220160 w 9847941"/>
                  <a:gd name="connsiteY3052" fmla="*/ 1783095 h 1864765"/>
                  <a:gd name="connsiteX3053" fmla="*/ 220463 w 9847941"/>
                  <a:gd name="connsiteY3053" fmla="*/ 1784156 h 1864765"/>
                  <a:gd name="connsiteX3054" fmla="*/ 221372 w 9847941"/>
                  <a:gd name="connsiteY3054" fmla="*/ 1784308 h 1864765"/>
                  <a:gd name="connsiteX3055" fmla="*/ 221978 w 9847941"/>
                  <a:gd name="connsiteY3055" fmla="*/ 1783095 h 1864765"/>
                  <a:gd name="connsiteX3056" fmla="*/ 222736 w 9847941"/>
                  <a:gd name="connsiteY3056" fmla="*/ 1782035 h 1864765"/>
                  <a:gd name="connsiteX3057" fmla="*/ 224705 w 9847941"/>
                  <a:gd name="connsiteY3057" fmla="*/ 1781277 h 1864765"/>
                  <a:gd name="connsiteX3058" fmla="*/ 224857 w 9847941"/>
                  <a:gd name="connsiteY3058" fmla="*/ 1779762 h 1864765"/>
                  <a:gd name="connsiteX3059" fmla="*/ 225614 w 9847941"/>
                  <a:gd name="connsiteY3059" fmla="*/ 1778398 h 1864765"/>
                  <a:gd name="connsiteX3060" fmla="*/ 224251 w 9847941"/>
                  <a:gd name="connsiteY3060" fmla="*/ 1778095 h 1864765"/>
                  <a:gd name="connsiteX3061" fmla="*/ 222281 w 9847941"/>
                  <a:gd name="connsiteY3061" fmla="*/ 1780217 h 1864765"/>
                  <a:gd name="connsiteX3062" fmla="*/ 213341 w 9847941"/>
                  <a:gd name="connsiteY3062" fmla="*/ 700632 h 1864765"/>
                  <a:gd name="connsiteX3063" fmla="*/ 212735 w 9847941"/>
                  <a:gd name="connsiteY3063" fmla="*/ 701389 h 1864765"/>
                  <a:gd name="connsiteX3064" fmla="*/ 213796 w 9847941"/>
                  <a:gd name="connsiteY3064" fmla="*/ 702298 h 1864765"/>
                  <a:gd name="connsiteX3065" fmla="*/ 217584 w 9847941"/>
                  <a:gd name="connsiteY3065" fmla="*/ 704268 h 1864765"/>
                  <a:gd name="connsiteX3066" fmla="*/ 218038 w 9847941"/>
                  <a:gd name="connsiteY3066" fmla="*/ 701238 h 1864765"/>
                  <a:gd name="connsiteX3067" fmla="*/ 217129 w 9847941"/>
                  <a:gd name="connsiteY3067" fmla="*/ 700480 h 1864765"/>
                  <a:gd name="connsiteX3068" fmla="*/ 213341 w 9847941"/>
                  <a:gd name="connsiteY3068" fmla="*/ 700632 h 1864765"/>
                  <a:gd name="connsiteX3069" fmla="*/ 244555 w 9847941"/>
                  <a:gd name="connsiteY3069" fmla="*/ 1772337 h 1864765"/>
                  <a:gd name="connsiteX3070" fmla="*/ 238342 w 9847941"/>
                  <a:gd name="connsiteY3070" fmla="*/ 1772186 h 1864765"/>
                  <a:gd name="connsiteX3071" fmla="*/ 234251 w 9847941"/>
                  <a:gd name="connsiteY3071" fmla="*/ 1774610 h 1864765"/>
                  <a:gd name="connsiteX3072" fmla="*/ 232584 w 9847941"/>
                  <a:gd name="connsiteY3072" fmla="*/ 1777489 h 1864765"/>
                  <a:gd name="connsiteX3073" fmla="*/ 233645 w 9847941"/>
                  <a:gd name="connsiteY3073" fmla="*/ 1779004 h 1864765"/>
                  <a:gd name="connsiteX3074" fmla="*/ 236372 w 9847941"/>
                  <a:gd name="connsiteY3074" fmla="*/ 1780065 h 1864765"/>
                  <a:gd name="connsiteX3075" fmla="*/ 237433 w 9847941"/>
                  <a:gd name="connsiteY3075" fmla="*/ 1781277 h 1864765"/>
                  <a:gd name="connsiteX3076" fmla="*/ 240160 w 9847941"/>
                  <a:gd name="connsiteY3076" fmla="*/ 1781580 h 1864765"/>
                  <a:gd name="connsiteX3077" fmla="*/ 241524 w 9847941"/>
                  <a:gd name="connsiteY3077" fmla="*/ 1782338 h 1864765"/>
                  <a:gd name="connsiteX3078" fmla="*/ 243948 w 9847941"/>
                  <a:gd name="connsiteY3078" fmla="*/ 1780671 h 1864765"/>
                  <a:gd name="connsiteX3079" fmla="*/ 244706 w 9847941"/>
                  <a:gd name="connsiteY3079" fmla="*/ 1779459 h 1864765"/>
                  <a:gd name="connsiteX3080" fmla="*/ 245009 w 9847941"/>
                  <a:gd name="connsiteY3080" fmla="*/ 1777186 h 1864765"/>
                  <a:gd name="connsiteX3081" fmla="*/ 245767 w 9847941"/>
                  <a:gd name="connsiteY3081" fmla="*/ 1775671 h 1864765"/>
                  <a:gd name="connsiteX3082" fmla="*/ 245615 w 9847941"/>
                  <a:gd name="connsiteY3082" fmla="*/ 1774307 h 1864765"/>
                  <a:gd name="connsiteX3083" fmla="*/ 244555 w 9847941"/>
                  <a:gd name="connsiteY3083" fmla="*/ 1772337 h 1864765"/>
                  <a:gd name="connsiteX3084" fmla="*/ 243342 w 9847941"/>
                  <a:gd name="connsiteY3084" fmla="*/ 715329 h 1864765"/>
                  <a:gd name="connsiteX3085" fmla="*/ 244251 w 9847941"/>
                  <a:gd name="connsiteY3085" fmla="*/ 715178 h 1864765"/>
                  <a:gd name="connsiteX3086" fmla="*/ 244251 w 9847941"/>
                  <a:gd name="connsiteY3086" fmla="*/ 714117 h 1864765"/>
                  <a:gd name="connsiteX3087" fmla="*/ 243494 w 9847941"/>
                  <a:gd name="connsiteY3087" fmla="*/ 712602 h 1864765"/>
                  <a:gd name="connsiteX3088" fmla="*/ 241524 w 9847941"/>
                  <a:gd name="connsiteY3088" fmla="*/ 711844 h 1864765"/>
                  <a:gd name="connsiteX3089" fmla="*/ 241676 w 9847941"/>
                  <a:gd name="connsiteY3089" fmla="*/ 712753 h 1864765"/>
                  <a:gd name="connsiteX3090" fmla="*/ 242736 w 9847941"/>
                  <a:gd name="connsiteY3090" fmla="*/ 714875 h 1864765"/>
                  <a:gd name="connsiteX3091" fmla="*/ 243342 w 9847941"/>
                  <a:gd name="connsiteY3091" fmla="*/ 715329 h 1864765"/>
                  <a:gd name="connsiteX3092" fmla="*/ 237282 w 9847941"/>
                  <a:gd name="connsiteY3092" fmla="*/ 711844 h 1864765"/>
                  <a:gd name="connsiteX3093" fmla="*/ 238797 w 9847941"/>
                  <a:gd name="connsiteY3093" fmla="*/ 710935 h 1864765"/>
                  <a:gd name="connsiteX3094" fmla="*/ 239554 w 9847941"/>
                  <a:gd name="connsiteY3094" fmla="*/ 711693 h 1864765"/>
                  <a:gd name="connsiteX3095" fmla="*/ 240009 w 9847941"/>
                  <a:gd name="connsiteY3095" fmla="*/ 711238 h 1864765"/>
                  <a:gd name="connsiteX3096" fmla="*/ 240160 w 9847941"/>
                  <a:gd name="connsiteY3096" fmla="*/ 708208 h 1864765"/>
                  <a:gd name="connsiteX3097" fmla="*/ 239403 w 9847941"/>
                  <a:gd name="connsiteY3097" fmla="*/ 705329 h 1864765"/>
                  <a:gd name="connsiteX3098" fmla="*/ 238645 w 9847941"/>
                  <a:gd name="connsiteY3098" fmla="*/ 705632 h 1864765"/>
                  <a:gd name="connsiteX3099" fmla="*/ 238039 w 9847941"/>
                  <a:gd name="connsiteY3099" fmla="*/ 706996 h 1864765"/>
                  <a:gd name="connsiteX3100" fmla="*/ 238191 w 9847941"/>
                  <a:gd name="connsiteY3100" fmla="*/ 707602 h 1864765"/>
                  <a:gd name="connsiteX3101" fmla="*/ 237888 w 9847941"/>
                  <a:gd name="connsiteY3101" fmla="*/ 709117 h 1864765"/>
                  <a:gd name="connsiteX3102" fmla="*/ 236675 w 9847941"/>
                  <a:gd name="connsiteY3102" fmla="*/ 709117 h 1864765"/>
                  <a:gd name="connsiteX3103" fmla="*/ 236827 w 9847941"/>
                  <a:gd name="connsiteY3103" fmla="*/ 709874 h 1864765"/>
                  <a:gd name="connsiteX3104" fmla="*/ 236524 w 9847941"/>
                  <a:gd name="connsiteY3104" fmla="*/ 710935 h 1864765"/>
                  <a:gd name="connsiteX3105" fmla="*/ 237282 w 9847941"/>
                  <a:gd name="connsiteY3105" fmla="*/ 711844 h 1864765"/>
                  <a:gd name="connsiteX3106" fmla="*/ 289556 w 9847941"/>
                  <a:gd name="connsiteY3106" fmla="*/ 1796278 h 1864765"/>
                  <a:gd name="connsiteX3107" fmla="*/ 289102 w 9847941"/>
                  <a:gd name="connsiteY3107" fmla="*/ 1794005 h 1864765"/>
                  <a:gd name="connsiteX3108" fmla="*/ 287889 w 9847941"/>
                  <a:gd name="connsiteY3108" fmla="*/ 1794156 h 1864765"/>
                  <a:gd name="connsiteX3109" fmla="*/ 286980 w 9847941"/>
                  <a:gd name="connsiteY3109" fmla="*/ 1794005 h 1864765"/>
                  <a:gd name="connsiteX3110" fmla="*/ 286223 w 9847941"/>
                  <a:gd name="connsiteY3110" fmla="*/ 1793702 h 1864765"/>
                  <a:gd name="connsiteX3111" fmla="*/ 285617 w 9847941"/>
                  <a:gd name="connsiteY3111" fmla="*/ 1792490 h 1864765"/>
                  <a:gd name="connsiteX3112" fmla="*/ 285768 w 9847941"/>
                  <a:gd name="connsiteY3112" fmla="*/ 1791277 h 1864765"/>
                  <a:gd name="connsiteX3113" fmla="*/ 282738 w 9847941"/>
                  <a:gd name="connsiteY3113" fmla="*/ 1787035 h 1864765"/>
                  <a:gd name="connsiteX3114" fmla="*/ 281223 w 9847941"/>
                  <a:gd name="connsiteY3114" fmla="*/ 1787338 h 1864765"/>
                  <a:gd name="connsiteX3115" fmla="*/ 278344 w 9847941"/>
                  <a:gd name="connsiteY3115" fmla="*/ 1789914 h 1864765"/>
                  <a:gd name="connsiteX3116" fmla="*/ 274253 w 9847941"/>
                  <a:gd name="connsiteY3116" fmla="*/ 1790368 h 1864765"/>
                  <a:gd name="connsiteX3117" fmla="*/ 275162 w 9847941"/>
                  <a:gd name="connsiteY3117" fmla="*/ 1791884 h 1864765"/>
                  <a:gd name="connsiteX3118" fmla="*/ 275162 w 9847941"/>
                  <a:gd name="connsiteY3118" fmla="*/ 1793096 h 1864765"/>
                  <a:gd name="connsiteX3119" fmla="*/ 277889 w 9847941"/>
                  <a:gd name="connsiteY3119" fmla="*/ 1796278 h 1864765"/>
                  <a:gd name="connsiteX3120" fmla="*/ 278647 w 9847941"/>
                  <a:gd name="connsiteY3120" fmla="*/ 1797944 h 1864765"/>
                  <a:gd name="connsiteX3121" fmla="*/ 279556 w 9847941"/>
                  <a:gd name="connsiteY3121" fmla="*/ 1798096 h 1864765"/>
                  <a:gd name="connsiteX3122" fmla="*/ 282283 w 9847941"/>
                  <a:gd name="connsiteY3122" fmla="*/ 1797944 h 1864765"/>
                  <a:gd name="connsiteX3123" fmla="*/ 281223 w 9847941"/>
                  <a:gd name="connsiteY3123" fmla="*/ 1796429 h 1864765"/>
                  <a:gd name="connsiteX3124" fmla="*/ 282283 w 9847941"/>
                  <a:gd name="connsiteY3124" fmla="*/ 1796126 h 1864765"/>
                  <a:gd name="connsiteX3125" fmla="*/ 282586 w 9847941"/>
                  <a:gd name="connsiteY3125" fmla="*/ 1796429 h 1864765"/>
                  <a:gd name="connsiteX3126" fmla="*/ 282889 w 9847941"/>
                  <a:gd name="connsiteY3126" fmla="*/ 1797641 h 1864765"/>
                  <a:gd name="connsiteX3127" fmla="*/ 284405 w 9847941"/>
                  <a:gd name="connsiteY3127" fmla="*/ 1797187 h 1864765"/>
                  <a:gd name="connsiteX3128" fmla="*/ 285768 w 9847941"/>
                  <a:gd name="connsiteY3128" fmla="*/ 1798551 h 1864765"/>
                  <a:gd name="connsiteX3129" fmla="*/ 287132 w 9847941"/>
                  <a:gd name="connsiteY3129" fmla="*/ 1799157 h 1864765"/>
                  <a:gd name="connsiteX3130" fmla="*/ 290011 w 9847941"/>
                  <a:gd name="connsiteY3130" fmla="*/ 1798853 h 1864765"/>
                  <a:gd name="connsiteX3131" fmla="*/ 291526 w 9847941"/>
                  <a:gd name="connsiteY3131" fmla="*/ 1798096 h 1864765"/>
                  <a:gd name="connsiteX3132" fmla="*/ 291071 w 9847941"/>
                  <a:gd name="connsiteY3132" fmla="*/ 1797338 h 1864765"/>
                  <a:gd name="connsiteX3133" fmla="*/ 289556 w 9847941"/>
                  <a:gd name="connsiteY3133" fmla="*/ 1796278 h 1864765"/>
                  <a:gd name="connsiteX3134" fmla="*/ 312133 w 9847941"/>
                  <a:gd name="connsiteY3134" fmla="*/ 1809763 h 1864765"/>
                  <a:gd name="connsiteX3135" fmla="*/ 310466 w 9847941"/>
                  <a:gd name="connsiteY3135" fmla="*/ 1809005 h 1864765"/>
                  <a:gd name="connsiteX3136" fmla="*/ 307436 w 9847941"/>
                  <a:gd name="connsiteY3136" fmla="*/ 1809460 h 1864765"/>
                  <a:gd name="connsiteX3137" fmla="*/ 309102 w 9847941"/>
                  <a:gd name="connsiteY3137" fmla="*/ 1811884 h 1864765"/>
                  <a:gd name="connsiteX3138" fmla="*/ 309557 w 9847941"/>
                  <a:gd name="connsiteY3138" fmla="*/ 1813854 h 1864765"/>
                  <a:gd name="connsiteX3139" fmla="*/ 311375 w 9847941"/>
                  <a:gd name="connsiteY3139" fmla="*/ 1814157 h 1864765"/>
                  <a:gd name="connsiteX3140" fmla="*/ 313042 w 9847941"/>
                  <a:gd name="connsiteY3140" fmla="*/ 1813400 h 1864765"/>
                  <a:gd name="connsiteX3141" fmla="*/ 314103 w 9847941"/>
                  <a:gd name="connsiteY3141" fmla="*/ 1811733 h 1864765"/>
                  <a:gd name="connsiteX3142" fmla="*/ 313042 w 9847941"/>
                  <a:gd name="connsiteY3142" fmla="*/ 1810369 h 1864765"/>
                  <a:gd name="connsiteX3143" fmla="*/ 312133 w 9847941"/>
                  <a:gd name="connsiteY3143" fmla="*/ 1809763 h 1864765"/>
                  <a:gd name="connsiteX3144" fmla="*/ 1335504 w 9847941"/>
                  <a:gd name="connsiteY3144" fmla="*/ 1446720 h 1864765"/>
                  <a:gd name="connsiteX3145" fmla="*/ 1334292 w 9847941"/>
                  <a:gd name="connsiteY3145" fmla="*/ 1446568 h 1864765"/>
                  <a:gd name="connsiteX3146" fmla="*/ 1332928 w 9847941"/>
                  <a:gd name="connsiteY3146" fmla="*/ 1446720 h 1864765"/>
                  <a:gd name="connsiteX3147" fmla="*/ 1333837 w 9847941"/>
                  <a:gd name="connsiteY3147" fmla="*/ 1448386 h 1864765"/>
                  <a:gd name="connsiteX3148" fmla="*/ 1335504 w 9847941"/>
                  <a:gd name="connsiteY3148" fmla="*/ 1448689 h 1864765"/>
                  <a:gd name="connsiteX3149" fmla="*/ 1336716 w 9847941"/>
                  <a:gd name="connsiteY3149" fmla="*/ 1448689 h 1864765"/>
                  <a:gd name="connsiteX3150" fmla="*/ 1336565 w 9847941"/>
                  <a:gd name="connsiteY3150" fmla="*/ 1448235 h 1864765"/>
                  <a:gd name="connsiteX3151" fmla="*/ 1335504 w 9847941"/>
                  <a:gd name="connsiteY3151" fmla="*/ 1446720 h 1864765"/>
                  <a:gd name="connsiteX3152" fmla="*/ 2518881 w 9847941"/>
                  <a:gd name="connsiteY3152" fmla="*/ 1104283 h 1864765"/>
                  <a:gd name="connsiteX3153" fmla="*/ 2518124 w 9847941"/>
                  <a:gd name="connsiteY3153" fmla="*/ 1104434 h 1864765"/>
                  <a:gd name="connsiteX3154" fmla="*/ 2517669 w 9847941"/>
                  <a:gd name="connsiteY3154" fmla="*/ 1104889 h 1864765"/>
                  <a:gd name="connsiteX3155" fmla="*/ 2517669 w 9847941"/>
                  <a:gd name="connsiteY3155" fmla="*/ 1105646 h 1864765"/>
                  <a:gd name="connsiteX3156" fmla="*/ 2518124 w 9847941"/>
                  <a:gd name="connsiteY3156" fmla="*/ 1105495 h 1864765"/>
                  <a:gd name="connsiteX3157" fmla="*/ 2519033 w 9847941"/>
                  <a:gd name="connsiteY3157" fmla="*/ 1104586 h 1864765"/>
                  <a:gd name="connsiteX3158" fmla="*/ 2518881 w 9847941"/>
                  <a:gd name="connsiteY3158" fmla="*/ 1104283 h 1864765"/>
                  <a:gd name="connsiteX3159" fmla="*/ 2223870 w 9847941"/>
                  <a:gd name="connsiteY3159" fmla="*/ 1063827 h 1864765"/>
                  <a:gd name="connsiteX3160" fmla="*/ 2224325 w 9847941"/>
                  <a:gd name="connsiteY3160" fmla="*/ 1063372 h 1864765"/>
                  <a:gd name="connsiteX3161" fmla="*/ 2224477 w 9847941"/>
                  <a:gd name="connsiteY3161" fmla="*/ 1062160 h 1864765"/>
                  <a:gd name="connsiteX3162" fmla="*/ 2224022 w 9847941"/>
                  <a:gd name="connsiteY3162" fmla="*/ 1061402 h 1864765"/>
                  <a:gd name="connsiteX3163" fmla="*/ 2222810 w 9847941"/>
                  <a:gd name="connsiteY3163" fmla="*/ 1061099 h 1864765"/>
                  <a:gd name="connsiteX3164" fmla="*/ 2221749 w 9847941"/>
                  <a:gd name="connsiteY3164" fmla="*/ 1061857 h 1864765"/>
                  <a:gd name="connsiteX3165" fmla="*/ 2220840 w 9847941"/>
                  <a:gd name="connsiteY3165" fmla="*/ 1063675 h 1864765"/>
                  <a:gd name="connsiteX3166" fmla="*/ 2219628 w 9847941"/>
                  <a:gd name="connsiteY3166" fmla="*/ 1064887 h 1864765"/>
                  <a:gd name="connsiteX3167" fmla="*/ 2218113 w 9847941"/>
                  <a:gd name="connsiteY3167" fmla="*/ 1065342 h 1864765"/>
                  <a:gd name="connsiteX3168" fmla="*/ 2217052 w 9847941"/>
                  <a:gd name="connsiteY3168" fmla="*/ 1066554 h 1864765"/>
                  <a:gd name="connsiteX3169" fmla="*/ 2216446 w 9847941"/>
                  <a:gd name="connsiteY3169" fmla="*/ 1068524 h 1864765"/>
                  <a:gd name="connsiteX3170" fmla="*/ 2215385 w 9847941"/>
                  <a:gd name="connsiteY3170" fmla="*/ 1070191 h 1864765"/>
                  <a:gd name="connsiteX3171" fmla="*/ 2213113 w 9847941"/>
                  <a:gd name="connsiteY3171" fmla="*/ 1072766 h 1864765"/>
                  <a:gd name="connsiteX3172" fmla="*/ 2212961 w 9847941"/>
                  <a:gd name="connsiteY3172" fmla="*/ 1073524 h 1864765"/>
                  <a:gd name="connsiteX3173" fmla="*/ 2213113 w 9847941"/>
                  <a:gd name="connsiteY3173" fmla="*/ 1074585 h 1864765"/>
                  <a:gd name="connsiteX3174" fmla="*/ 2213567 w 9847941"/>
                  <a:gd name="connsiteY3174" fmla="*/ 1075948 h 1864765"/>
                  <a:gd name="connsiteX3175" fmla="*/ 2214325 w 9847941"/>
                  <a:gd name="connsiteY3175" fmla="*/ 1076858 h 1864765"/>
                  <a:gd name="connsiteX3176" fmla="*/ 2215385 w 9847941"/>
                  <a:gd name="connsiteY3176" fmla="*/ 1077312 h 1864765"/>
                  <a:gd name="connsiteX3177" fmla="*/ 2216294 w 9847941"/>
                  <a:gd name="connsiteY3177" fmla="*/ 1077009 h 1864765"/>
                  <a:gd name="connsiteX3178" fmla="*/ 2218870 w 9847941"/>
                  <a:gd name="connsiteY3178" fmla="*/ 1074130 h 1864765"/>
                  <a:gd name="connsiteX3179" fmla="*/ 2219173 w 9847941"/>
                  <a:gd name="connsiteY3179" fmla="*/ 1073524 h 1864765"/>
                  <a:gd name="connsiteX3180" fmla="*/ 2218870 w 9847941"/>
                  <a:gd name="connsiteY3180" fmla="*/ 1073221 h 1864765"/>
                  <a:gd name="connsiteX3181" fmla="*/ 2219173 w 9847941"/>
                  <a:gd name="connsiteY3181" fmla="*/ 1072160 h 1864765"/>
                  <a:gd name="connsiteX3182" fmla="*/ 2220234 w 9847941"/>
                  <a:gd name="connsiteY3182" fmla="*/ 1070191 h 1864765"/>
                  <a:gd name="connsiteX3183" fmla="*/ 2220991 w 9847941"/>
                  <a:gd name="connsiteY3183" fmla="*/ 1069282 h 1864765"/>
                  <a:gd name="connsiteX3184" fmla="*/ 2221446 w 9847941"/>
                  <a:gd name="connsiteY3184" fmla="*/ 1069282 h 1864765"/>
                  <a:gd name="connsiteX3185" fmla="*/ 2221901 w 9847941"/>
                  <a:gd name="connsiteY3185" fmla="*/ 1068827 h 1864765"/>
                  <a:gd name="connsiteX3186" fmla="*/ 2222355 w 9847941"/>
                  <a:gd name="connsiteY3186" fmla="*/ 1068069 h 1864765"/>
                  <a:gd name="connsiteX3187" fmla="*/ 2222355 w 9847941"/>
                  <a:gd name="connsiteY3187" fmla="*/ 1067312 h 1864765"/>
                  <a:gd name="connsiteX3188" fmla="*/ 2221749 w 9847941"/>
                  <a:gd name="connsiteY3188" fmla="*/ 1066554 h 1864765"/>
                  <a:gd name="connsiteX3189" fmla="*/ 2221749 w 9847941"/>
                  <a:gd name="connsiteY3189" fmla="*/ 1066251 h 1864765"/>
                  <a:gd name="connsiteX3190" fmla="*/ 2222507 w 9847941"/>
                  <a:gd name="connsiteY3190" fmla="*/ 1066403 h 1864765"/>
                  <a:gd name="connsiteX3191" fmla="*/ 2222810 w 9847941"/>
                  <a:gd name="connsiteY3191" fmla="*/ 1065645 h 1864765"/>
                  <a:gd name="connsiteX3192" fmla="*/ 2222658 w 9847941"/>
                  <a:gd name="connsiteY3192" fmla="*/ 1064130 h 1864765"/>
                  <a:gd name="connsiteX3193" fmla="*/ 2222961 w 9847941"/>
                  <a:gd name="connsiteY3193" fmla="*/ 1063524 h 1864765"/>
                  <a:gd name="connsiteX3194" fmla="*/ 2223870 w 9847941"/>
                  <a:gd name="connsiteY3194" fmla="*/ 1063827 h 1864765"/>
                  <a:gd name="connsiteX3195" fmla="*/ 2444182 w 9847941"/>
                  <a:gd name="connsiteY3195" fmla="*/ 1138829 h 1864765"/>
                  <a:gd name="connsiteX3196" fmla="*/ 2445091 w 9847941"/>
                  <a:gd name="connsiteY3196" fmla="*/ 1137769 h 1864765"/>
                  <a:gd name="connsiteX3197" fmla="*/ 2445545 w 9847941"/>
                  <a:gd name="connsiteY3197" fmla="*/ 1137163 h 1864765"/>
                  <a:gd name="connsiteX3198" fmla="*/ 2445545 w 9847941"/>
                  <a:gd name="connsiteY3198" fmla="*/ 1136860 h 1864765"/>
                  <a:gd name="connsiteX3199" fmla="*/ 2443576 w 9847941"/>
                  <a:gd name="connsiteY3199" fmla="*/ 1136557 h 1864765"/>
                  <a:gd name="connsiteX3200" fmla="*/ 2442818 w 9847941"/>
                  <a:gd name="connsiteY3200" fmla="*/ 1137011 h 1864765"/>
                  <a:gd name="connsiteX3201" fmla="*/ 2442666 w 9847941"/>
                  <a:gd name="connsiteY3201" fmla="*/ 1137920 h 1864765"/>
                  <a:gd name="connsiteX3202" fmla="*/ 2442818 w 9847941"/>
                  <a:gd name="connsiteY3202" fmla="*/ 1138678 h 1864765"/>
                  <a:gd name="connsiteX3203" fmla="*/ 2443424 w 9847941"/>
                  <a:gd name="connsiteY3203" fmla="*/ 1138981 h 1864765"/>
                  <a:gd name="connsiteX3204" fmla="*/ 2444182 w 9847941"/>
                  <a:gd name="connsiteY3204" fmla="*/ 1138829 h 1864765"/>
                  <a:gd name="connsiteX3205" fmla="*/ 2226143 w 9847941"/>
                  <a:gd name="connsiteY3205" fmla="*/ 1057614 h 1864765"/>
                  <a:gd name="connsiteX3206" fmla="*/ 2225840 w 9847941"/>
                  <a:gd name="connsiteY3206" fmla="*/ 1057311 h 1864765"/>
                  <a:gd name="connsiteX3207" fmla="*/ 2225083 w 9847941"/>
                  <a:gd name="connsiteY3207" fmla="*/ 1059281 h 1864765"/>
                  <a:gd name="connsiteX3208" fmla="*/ 2225689 w 9847941"/>
                  <a:gd name="connsiteY3208" fmla="*/ 1060039 h 1864765"/>
                  <a:gd name="connsiteX3209" fmla="*/ 2227204 w 9847941"/>
                  <a:gd name="connsiteY3209" fmla="*/ 1060190 h 1864765"/>
                  <a:gd name="connsiteX3210" fmla="*/ 2227962 w 9847941"/>
                  <a:gd name="connsiteY3210" fmla="*/ 1059887 h 1864765"/>
                  <a:gd name="connsiteX3211" fmla="*/ 2228113 w 9847941"/>
                  <a:gd name="connsiteY3211" fmla="*/ 1058524 h 1864765"/>
                  <a:gd name="connsiteX3212" fmla="*/ 2227962 w 9847941"/>
                  <a:gd name="connsiteY3212" fmla="*/ 1058069 h 1864765"/>
                  <a:gd name="connsiteX3213" fmla="*/ 2227507 w 9847941"/>
                  <a:gd name="connsiteY3213" fmla="*/ 1057917 h 1864765"/>
                  <a:gd name="connsiteX3214" fmla="*/ 2226143 w 9847941"/>
                  <a:gd name="connsiteY3214" fmla="*/ 1057614 h 1864765"/>
                  <a:gd name="connsiteX3215" fmla="*/ 9344892 w 9847941"/>
                  <a:gd name="connsiteY3215" fmla="*/ 791241 h 1864765"/>
                  <a:gd name="connsiteX3216" fmla="*/ 9340801 w 9847941"/>
                  <a:gd name="connsiteY3216" fmla="*/ 789271 h 1864765"/>
                  <a:gd name="connsiteX3217" fmla="*/ 9337619 w 9847941"/>
                  <a:gd name="connsiteY3217" fmla="*/ 789877 h 1864765"/>
                  <a:gd name="connsiteX3218" fmla="*/ 9332922 w 9847941"/>
                  <a:gd name="connsiteY3218" fmla="*/ 788665 h 1864765"/>
                  <a:gd name="connsiteX3219" fmla="*/ 9329286 w 9847941"/>
                  <a:gd name="connsiteY3219" fmla="*/ 788817 h 1864765"/>
                  <a:gd name="connsiteX3220" fmla="*/ 9324285 w 9847941"/>
                  <a:gd name="connsiteY3220" fmla="*/ 791393 h 1864765"/>
                  <a:gd name="connsiteX3221" fmla="*/ 9327013 w 9847941"/>
                  <a:gd name="connsiteY3221" fmla="*/ 792453 h 1864765"/>
                  <a:gd name="connsiteX3222" fmla="*/ 9330497 w 9847941"/>
                  <a:gd name="connsiteY3222" fmla="*/ 793211 h 1864765"/>
                  <a:gd name="connsiteX3223" fmla="*/ 9332013 w 9847941"/>
                  <a:gd name="connsiteY3223" fmla="*/ 796544 h 1864765"/>
                  <a:gd name="connsiteX3224" fmla="*/ 9336407 w 9847941"/>
                  <a:gd name="connsiteY3224" fmla="*/ 798211 h 1864765"/>
                  <a:gd name="connsiteX3225" fmla="*/ 9340346 w 9847941"/>
                  <a:gd name="connsiteY3225" fmla="*/ 795938 h 1864765"/>
                  <a:gd name="connsiteX3226" fmla="*/ 9342468 w 9847941"/>
                  <a:gd name="connsiteY3226" fmla="*/ 796090 h 1864765"/>
                  <a:gd name="connsiteX3227" fmla="*/ 9346407 w 9847941"/>
                  <a:gd name="connsiteY3227" fmla="*/ 795484 h 1864765"/>
                  <a:gd name="connsiteX3228" fmla="*/ 9347619 w 9847941"/>
                  <a:gd name="connsiteY3228" fmla="*/ 795484 h 1864765"/>
                  <a:gd name="connsiteX3229" fmla="*/ 9348832 w 9847941"/>
                  <a:gd name="connsiteY3229" fmla="*/ 795181 h 1864765"/>
                  <a:gd name="connsiteX3230" fmla="*/ 9349892 w 9847941"/>
                  <a:gd name="connsiteY3230" fmla="*/ 794574 h 1864765"/>
                  <a:gd name="connsiteX3231" fmla="*/ 9344892 w 9847941"/>
                  <a:gd name="connsiteY3231" fmla="*/ 791241 h 1864765"/>
                  <a:gd name="connsiteX3232" fmla="*/ 9488685 w 9847941"/>
                  <a:gd name="connsiteY3232" fmla="*/ 826091 h 1864765"/>
                  <a:gd name="connsiteX3233" fmla="*/ 9487776 w 9847941"/>
                  <a:gd name="connsiteY3233" fmla="*/ 827000 h 1864765"/>
                  <a:gd name="connsiteX3234" fmla="*/ 9487776 w 9847941"/>
                  <a:gd name="connsiteY3234" fmla="*/ 827909 h 1864765"/>
                  <a:gd name="connsiteX3235" fmla="*/ 9488685 w 9847941"/>
                  <a:gd name="connsiteY3235" fmla="*/ 829424 h 1864765"/>
                  <a:gd name="connsiteX3236" fmla="*/ 9490351 w 9847941"/>
                  <a:gd name="connsiteY3236" fmla="*/ 828818 h 1864765"/>
                  <a:gd name="connsiteX3237" fmla="*/ 9491261 w 9847941"/>
                  <a:gd name="connsiteY3237" fmla="*/ 827455 h 1864765"/>
                  <a:gd name="connsiteX3238" fmla="*/ 9490201 w 9847941"/>
                  <a:gd name="connsiteY3238" fmla="*/ 826545 h 1864765"/>
                  <a:gd name="connsiteX3239" fmla="*/ 9488685 w 9847941"/>
                  <a:gd name="connsiteY3239" fmla="*/ 826091 h 1864765"/>
                  <a:gd name="connsiteX3240" fmla="*/ 9462775 w 9847941"/>
                  <a:gd name="connsiteY3240" fmla="*/ 821848 h 1864765"/>
                  <a:gd name="connsiteX3241" fmla="*/ 9461563 w 9847941"/>
                  <a:gd name="connsiteY3241" fmla="*/ 825182 h 1864765"/>
                  <a:gd name="connsiteX3242" fmla="*/ 9460351 w 9847941"/>
                  <a:gd name="connsiteY3242" fmla="*/ 826091 h 1864765"/>
                  <a:gd name="connsiteX3243" fmla="*/ 9457623 w 9847941"/>
                  <a:gd name="connsiteY3243" fmla="*/ 826697 h 1864765"/>
                  <a:gd name="connsiteX3244" fmla="*/ 9453987 w 9847941"/>
                  <a:gd name="connsiteY3244" fmla="*/ 829424 h 1864765"/>
                  <a:gd name="connsiteX3245" fmla="*/ 9454290 w 9847941"/>
                  <a:gd name="connsiteY3245" fmla="*/ 830182 h 1864765"/>
                  <a:gd name="connsiteX3246" fmla="*/ 9456109 w 9847941"/>
                  <a:gd name="connsiteY3246" fmla="*/ 831697 h 1864765"/>
                  <a:gd name="connsiteX3247" fmla="*/ 9458532 w 9847941"/>
                  <a:gd name="connsiteY3247" fmla="*/ 830182 h 1864765"/>
                  <a:gd name="connsiteX3248" fmla="*/ 9463381 w 9847941"/>
                  <a:gd name="connsiteY3248" fmla="*/ 827758 h 1864765"/>
                  <a:gd name="connsiteX3249" fmla="*/ 9463381 w 9847941"/>
                  <a:gd name="connsiteY3249" fmla="*/ 826091 h 1864765"/>
                  <a:gd name="connsiteX3250" fmla="*/ 9464896 w 9847941"/>
                  <a:gd name="connsiteY3250" fmla="*/ 823666 h 1864765"/>
                  <a:gd name="connsiteX3251" fmla="*/ 9465351 w 9847941"/>
                  <a:gd name="connsiteY3251" fmla="*/ 822151 h 1864765"/>
                  <a:gd name="connsiteX3252" fmla="*/ 9464442 w 9847941"/>
                  <a:gd name="connsiteY3252" fmla="*/ 821697 h 1864765"/>
                  <a:gd name="connsiteX3253" fmla="*/ 9462775 w 9847941"/>
                  <a:gd name="connsiteY3253" fmla="*/ 821848 h 1864765"/>
                  <a:gd name="connsiteX3254" fmla="*/ 9510201 w 9847941"/>
                  <a:gd name="connsiteY3254" fmla="*/ 847001 h 1864765"/>
                  <a:gd name="connsiteX3255" fmla="*/ 9507171 w 9847941"/>
                  <a:gd name="connsiteY3255" fmla="*/ 845182 h 1864765"/>
                  <a:gd name="connsiteX3256" fmla="*/ 9504444 w 9847941"/>
                  <a:gd name="connsiteY3256" fmla="*/ 843061 h 1864765"/>
                  <a:gd name="connsiteX3257" fmla="*/ 9499595 w 9847941"/>
                  <a:gd name="connsiteY3257" fmla="*/ 839879 h 1864765"/>
                  <a:gd name="connsiteX3258" fmla="*/ 9493685 w 9847941"/>
                  <a:gd name="connsiteY3258" fmla="*/ 838364 h 1864765"/>
                  <a:gd name="connsiteX3259" fmla="*/ 9492473 w 9847941"/>
                  <a:gd name="connsiteY3259" fmla="*/ 838819 h 1864765"/>
                  <a:gd name="connsiteX3260" fmla="*/ 9495200 w 9847941"/>
                  <a:gd name="connsiteY3260" fmla="*/ 840940 h 1864765"/>
                  <a:gd name="connsiteX3261" fmla="*/ 9500049 w 9847941"/>
                  <a:gd name="connsiteY3261" fmla="*/ 842758 h 1864765"/>
                  <a:gd name="connsiteX3262" fmla="*/ 9509747 w 9847941"/>
                  <a:gd name="connsiteY3262" fmla="*/ 848667 h 1864765"/>
                  <a:gd name="connsiteX3263" fmla="*/ 9514444 w 9847941"/>
                  <a:gd name="connsiteY3263" fmla="*/ 848667 h 1864765"/>
                  <a:gd name="connsiteX3264" fmla="*/ 9513383 w 9847941"/>
                  <a:gd name="connsiteY3264" fmla="*/ 847607 h 1864765"/>
                  <a:gd name="connsiteX3265" fmla="*/ 9510201 w 9847941"/>
                  <a:gd name="connsiteY3265" fmla="*/ 847001 h 1864765"/>
                  <a:gd name="connsiteX3266" fmla="*/ 2250084 w 9847941"/>
                  <a:gd name="connsiteY3266" fmla="*/ 1066251 h 1864765"/>
                  <a:gd name="connsiteX3267" fmla="*/ 2249932 w 9847941"/>
                  <a:gd name="connsiteY3267" fmla="*/ 1066554 h 1864765"/>
                  <a:gd name="connsiteX3268" fmla="*/ 2250538 w 9847941"/>
                  <a:gd name="connsiteY3268" fmla="*/ 1068069 h 1864765"/>
                  <a:gd name="connsiteX3269" fmla="*/ 2251144 w 9847941"/>
                  <a:gd name="connsiteY3269" fmla="*/ 1068524 h 1864765"/>
                  <a:gd name="connsiteX3270" fmla="*/ 2251902 w 9847941"/>
                  <a:gd name="connsiteY3270" fmla="*/ 1068524 h 1864765"/>
                  <a:gd name="connsiteX3271" fmla="*/ 2252205 w 9847941"/>
                  <a:gd name="connsiteY3271" fmla="*/ 1068069 h 1864765"/>
                  <a:gd name="connsiteX3272" fmla="*/ 2252053 w 9847941"/>
                  <a:gd name="connsiteY3272" fmla="*/ 1067009 h 1864765"/>
                  <a:gd name="connsiteX3273" fmla="*/ 2251599 w 9847941"/>
                  <a:gd name="connsiteY3273" fmla="*/ 1066403 h 1864765"/>
                  <a:gd name="connsiteX3274" fmla="*/ 2250084 w 9847941"/>
                  <a:gd name="connsiteY3274" fmla="*/ 1066251 h 1864765"/>
                  <a:gd name="connsiteX3275" fmla="*/ 9352165 w 9847941"/>
                  <a:gd name="connsiteY3275" fmla="*/ 809424 h 1864765"/>
                  <a:gd name="connsiteX3276" fmla="*/ 9349589 w 9847941"/>
                  <a:gd name="connsiteY3276" fmla="*/ 809878 h 1864765"/>
                  <a:gd name="connsiteX3277" fmla="*/ 9348983 w 9847941"/>
                  <a:gd name="connsiteY3277" fmla="*/ 811090 h 1864765"/>
                  <a:gd name="connsiteX3278" fmla="*/ 9354892 w 9847941"/>
                  <a:gd name="connsiteY3278" fmla="*/ 811545 h 1864765"/>
                  <a:gd name="connsiteX3279" fmla="*/ 9356104 w 9847941"/>
                  <a:gd name="connsiteY3279" fmla="*/ 812757 h 1864765"/>
                  <a:gd name="connsiteX3280" fmla="*/ 9357922 w 9847941"/>
                  <a:gd name="connsiteY3280" fmla="*/ 812605 h 1864765"/>
                  <a:gd name="connsiteX3281" fmla="*/ 9358529 w 9847941"/>
                  <a:gd name="connsiteY3281" fmla="*/ 809424 h 1864765"/>
                  <a:gd name="connsiteX3282" fmla="*/ 9359438 w 9847941"/>
                  <a:gd name="connsiteY3282" fmla="*/ 807605 h 1864765"/>
                  <a:gd name="connsiteX3283" fmla="*/ 9356256 w 9847941"/>
                  <a:gd name="connsiteY3283" fmla="*/ 807302 h 1864765"/>
                  <a:gd name="connsiteX3284" fmla="*/ 9352165 w 9847941"/>
                  <a:gd name="connsiteY3284" fmla="*/ 809424 h 1864765"/>
                  <a:gd name="connsiteX3285" fmla="*/ 1241713 w 9847941"/>
                  <a:gd name="connsiteY3285" fmla="*/ 995491 h 1864765"/>
                  <a:gd name="connsiteX3286" fmla="*/ 1242622 w 9847941"/>
                  <a:gd name="connsiteY3286" fmla="*/ 996855 h 1864765"/>
                  <a:gd name="connsiteX3287" fmla="*/ 1243076 w 9847941"/>
                  <a:gd name="connsiteY3287" fmla="*/ 996855 h 1864765"/>
                  <a:gd name="connsiteX3288" fmla="*/ 1243379 w 9847941"/>
                  <a:gd name="connsiteY3288" fmla="*/ 996249 h 1864765"/>
                  <a:gd name="connsiteX3289" fmla="*/ 1243531 w 9847941"/>
                  <a:gd name="connsiteY3289" fmla="*/ 995794 h 1864765"/>
                  <a:gd name="connsiteX3290" fmla="*/ 1242622 w 9847941"/>
                  <a:gd name="connsiteY3290" fmla="*/ 993824 h 1864765"/>
                  <a:gd name="connsiteX3291" fmla="*/ 1241864 w 9847941"/>
                  <a:gd name="connsiteY3291" fmla="*/ 994582 h 1864765"/>
                  <a:gd name="connsiteX3292" fmla="*/ 1241713 w 9847941"/>
                  <a:gd name="connsiteY3292" fmla="*/ 995491 h 1864765"/>
                  <a:gd name="connsiteX3293" fmla="*/ 2129322 w 9847941"/>
                  <a:gd name="connsiteY3293" fmla="*/ 1001703 h 1864765"/>
                  <a:gd name="connsiteX3294" fmla="*/ 2129170 w 9847941"/>
                  <a:gd name="connsiteY3294" fmla="*/ 1002764 h 1864765"/>
                  <a:gd name="connsiteX3295" fmla="*/ 2129473 w 9847941"/>
                  <a:gd name="connsiteY3295" fmla="*/ 1003067 h 1864765"/>
                  <a:gd name="connsiteX3296" fmla="*/ 2130382 w 9847941"/>
                  <a:gd name="connsiteY3296" fmla="*/ 1002461 h 1864765"/>
                  <a:gd name="connsiteX3297" fmla="*/ 2130837 w 9847941"/>
                  <a:gd name="connsiteY3297" fmla="*/ 1001855 h 1864765"/>
                  <a:gd name="connsiteX3298" fmla="*/ 2130837 w 9847941"/>
                  <a:gd name="connsiteY3298" fmla="*/ 1001097 h 1864765"/>
                  <a:gd name="connsiteX3299" fmla="*/ 2130534 w 9847941"/>
                  <a:gd name="connsiteY3299" fmla="*/ 1000794 h 1864765"/>
                  <a:gd name="connsiteX3300" fmla="*/ 2129776 w 9847941"/>
                  <a:gd name="connsiteY3300" fmla="*/ 1000946 h 1864765"/>
                  <a:gd name="connsiteX3301" fmla="*/ 2129322 w 9847941"/>
                  <a:gd name="connsiteY3301" fmla="*/ 1001703 h 1864765"/>
                  <a:gd name="connsiteX3302" fmla="*/ 1252925 w 9847941"/>
                  <a:gd name="connsiteY3302" fmla="*/ 982763 h 1864765"/>
                  <a:gd name="connsiteX3303" fmla="*/ 1252622 w 9847941"/>
                  <a:gd name="connsiteY3303" fmla="*/ 979733 h 1864765"/>
                  <a:gd name="connsiteX3304" fmla="*/ 1252319 w 9847941"/>
                  <a:gd name="connsiteY3304" fmla="*/ 979430 h 1864765"/>
                  <a:gd name="connsiteX3305" fmla="*/ 1251410 w 9847941"/>
                  <a:gd name="connsiteY3305" fmla="*/ 978975 h 1864765"/>
                  <a:gd name="connsiteX3306" fmla="*/ 1251107 w 9847941"/>
                  <a:gd name="connsiteY3306" fmla="*/ 979127 h 1864765"/>
                  <a:gd name="connsiteX3307" fmla="*/ 1250804 w 9847941"/>
                  <a:gd name="connsiteY3307" fmla="*/ 980187 h 1864765"/>
                  <a:gd name="connsiteX3308" fmla="*/ 1250804 w 9847941"/>
                  <a:gd name="connsiteY3308" fmla="*/ 981854 h 1864765"/>
                  <a:gd name="connsiteX3309" fmla="*/ 1251259 w 9847941"/>
                  <a:gd name="connsiteY3309" fmla="*/ 982612 h 1864765"/>
                  <a:gd name="connsiteX3310" fmla="*/ 1252774 w 9847941"/>
                  <a:gd name="connsiteY3310" fmla="*/ 983369 h 1864765"/>
                  <a:gd name="connsiteX3311" fmla="*/ 1252925 w 9847941"/>
                  <a:gd name="connsiteY3311" fmla="*/ 982763 h 1864765"/>
                  <a:gd name="connsiteX3312" fmla="*/ 2264175 w 9847941"/>
                  <a:gd name="connsiteY3312" fmla="*/ 1045341 h 1864765"/>
                  <a:gd name="connsiteX3313" fmla="*/ 2263266 w 9847941"/>
                  <a:gd name="connsiteY3313" fmla="*/ 1046553 h 1864765"/>
                  <a:gd name="connsiteX3314" fmla="*/ 2262357 w 9847941"/>
                  <a:gd name="connsiteY3314" fmla="*/ 1049281 h 1864765"/>
                  <a:gd name="connsiteX3315" fmla="*/ 2262205 w 9847941"/>
                  <a:gd name="connsiteY3315" fmla="*/ 1050796 h 1864765"/>
                  <a:gd name="connsiteX3316" fmla="*/ 2262963 w 9847941"/>
                  <a:gd name="connsiteY3316" fmla="*/ 1051251 h 1864765"/>
                  <a:gd name="connsiteX3317" fmla="*/ 2263872 w 9847941"/>
                  <a:gd name="connsiteY3317" fmla="*/ 1051099 h 1864765"/>
                  <a:gd name="connsiteX3318" fmla="*/ 2265084 w 9847941"/>
                  <a:gd name="connsiteY3318" fmla="*/ 1050341 h 1864765"/>
                  <a:gd name="connsiteX3319" fmla="*/ 2265539 w 9847941"/>
                  <a:gd name="connsiteY3319" fmla="*/ 1048978 h 1864765"/>
                  <a:gd name="connsiteX3320" fmla="*/ 2265236 w 9847941"/>
                  <a:gd name="connsiteY3320" fmla="*/ 1045947 h 1864765"/>
                  <a:gd name="connsiteX3321" fmla="*/ 2265539 w 9847941"/>
                  <a:gd name="connsiteY3321" fmla="*/ 1045644 h 1864765"/>
                  <a:gd name="connsiteX3322" fmla="*/ 2264175 w 9847941"/>
                  <a:gd name="connsiteY3322" fmla="*/ 1045341 h 1864765"/>
                  <a:gd name="connsiteX3323" fmla="*/ 1253986 w 9847941"/>
                  <a:gd name="connsiteY3323" fmla="*/ 990036 h 1864765"/>
                  <a:gd name="connsiteX3324" fmla="*/ 1253986 w 9847941"/>
                  <a:gd name="connsiteY3324" fmla="*/ 990945 h 1864765"/>
                  <a:gd name="connsiteX3325" fmla="*/ 1254592 w 9847941"/>
                  <a:gd name="connsiteY3325" fmla="*/ 991097 h 1864765"/>
                  <a:gd name="connsiteX3326" fmla="*/ 1255653 w 9847941"/>
                  <a:gd name="connsiteY3326" fmla="*/ 990491 h 1864765"/>
                  <a:gd name="connsiteX3327" fmla="*/ 1255804 w 9847941"/>
                  <a:gd name="connsiteY3327" fmla="*/ 989733 h 1864765"/>
                  <a:gd name="connsiteX3328" fmla="*/ 1254441 w 9847941"/>
                  <a:gd name="connsiteY3328" fmla="*/ 987915 h 1864765"/>
                  <a:gd name="connsiteX3329" fmla="*/ 1253683 w 9847941"/>
                  <a:gd name="connsiteY3329" fmla="*/ 986400 h 1864765"/>
                  <a:gd name="connsiteX3330" fmla="*/ 1253228 w 9847941"/>
                  <a:gd name="connsiteY3330" fmla="*/ 986400 h 1864765"/>
                  <a:gd name="connsiteX3331" fmla="*/ 1252622 w 9847941"/>
                  <a:gd name="connsiteY3331" fmla="*/ 988673 h 1864765"/>
                  <a:gd name="connsiteX3332" fmla="*/ 1252471 w 9847941"/>
                  <a:gd name="connsiteY3332" fmla="*/ 990945 h 1864765"/>
                  <a:gd name="connsiteX3333" fmla="*/ 1253531 w 9847941"/>
                  <a:gd name="connsiteY3333" fmla="*/ 989885 h 1864765"/>
                  <a:gd name="connsiteX3334" fmla="*/ 1253986 w 9847941"/>
                  <a:gd name="connsiteY3334" fmla="*/ 990036 h 1864765"/>
                  <a:gd name="connsiteX3335" fmla="*/ 2294479 w 9847941"/>
                  <a:gd name="connsiteY3335" fmla="*/ 1044281 h 1864765"/>
                  <a:gd name="connsiteX3336" fmla="*/ 2290994 w 9847941"/>
                  <a:gd name="connsiteY3336" fmla="*/ 1043826 h 1864765"/>
                  <a:gd name="connsiteX3337" fmla="*/ 2290843 w 9847941"/>
                  <a:gd name="connsiteY3337" fmla="*/ 1044432 h 1864765"/>
                  <a:gd name="connsiteX3338" fmla="*/ 2292964 w 9847941"/>
                  <a:gd name="connsiteY3338" fmla="*/ 1046099 h 1864765"/>
                  <a:gd name="connsiteX3339" fmla="*/ 2294176 w 9847941"/>
                  <a:gd name="connsiteY3339" fmla="*/ 1046705 h 1864765"/>
                  <a:gd name="connsiteX3340" fmla="*/ 2294934 w 9847941"/>
                  <a:gd name="connsiteY3340" fmla="*/ 1046705 h 1864765"/>
                  <a:gd name="connsiteX3341" fmla="*/ 2295540 w 9847941"/>
                  <a:gd name="connsiteY3341" fmla="*/ 1046402 h 1864765"/>
                  <a:gd name="connsiteX3342" fmla="*/ 2295994 w 9847941"/>
                  <a:gd name="connsiteY3342" fmla="*/ 1045796 h 1864765"/>
                  <a:gd name="connsiteX3343" fmla="*/ 2295843 w 9847941"/>
                  <a:gd name="connsiteY3343" fmla="*/ 1045038 h 1864765"/>
                  <a:gd name="connsiteX3344" fmla="*/ 2294782 w 9847941"/>
                  <a:gd name="connsiteY3344" fmla="*/ 1044129 h 1864765"/>
                  <a:gd name="connsiteX3345" fmla="*/ 2294479 w 9847941"/>
                  <a:gd name="connsiteY3345" fmla="*/ 1044281 h 1864765"/>
                  <a:gd name="connsiteX3346" fmla="*/ 2127200 w 9847941"/>
                  <a:gd name="connsiteY3346" fmla="*/ 1006097 h 1864765"/>
                  <a:gd name="connsiteX3347" fmla="*/ 2127503 w 9847941"/>
                  <a:gd name="connsiteY3347" fmla="*/ 1004885 h 1864765"/>
                  <a:gd name="connsiteX3348" fmla="*/ 2127352 w 9847941"/>
                  <a:gd name="connsiteY3348" fmla="*/ 1004582 h 1864765"/>
                  <a:gd name="connsiteX3349" fmla="*/ 2126443 w 9847941"/>
                  <a:gd name="connsiteY3349" fmla="*/ 1004734 h 1864765"/>
                  <a:gd name="connsiteX3350" fmla="*/ 2124473 w 9847941"/>
                  <a:gd name="connsiteY3350" fmla="*/ 1005491 h 1864765"/>
                  <a:gd name="connsiteX3351" fmla="*/ 2124473 w 9847941"/>
                  <a:gd name="connsiteY3351" fmla="*/ 1005946 h 1864765"/>
                  <a:gd name="connsiteX3352" fmla="*/ 2126443 w 9847941"/>
                  <a:gd name="connsiteY3352" fmla="*/ 1006249 h 1864765"/>
                  <a:gd name="connsiteX3353" fmla="*/ 2127200 w 9847941"/>
                  <a:gd name="connsiteY3353" fmla="*/ 1006097 h 1864765"/>
                  <a:gd name="connsiteX3354" fmla="*/ 2008862 w 9847941"/>
                  <a:gd name="connsiteY3354" fmla="*/ 1566572 h 1864765"/>
                  <a:gd name="connsiteX3355" fmla="*/ 2002953 w 9847941"/>
                  <a:gd name="connsiteY3355" fmla="*/ 1571118 h 1864765"/>
                  <a:gd name="connsiteX3356" fmla="*/ 2004317 w 9847941"/>
                  <a:gd name="connsiteY3356" fmla="*/ 1570815 h 1864765"/>
                  <a:gd name="connsiteX3357" fmla="*/ 2009165 w 9847941"/>
                  <a:gd name="connsiteY3357" fmla="*/ 1567633 h 1864765"/>
                  <a:gd name="connsiteX3358" fmla="*/ 2011893 w 9847941"/>
                  <a:gd name="connsiteY3358" fmla="*/ 1565057 h 1864765"/>
                  <a:gd name="connsiteX3359" fmla="*/ 2010226 w 9847941"/>
                  <a:gd name="connsiteY3359" fmla="*/ 1565057 h 1864765"/>
                  <a:gd name="connsiteX3360" fmla="*/ 2008862 w 9847941"/>
                  <a:gd name="connsiteY3360" fmla="*/ 1566572 h 1864765"/>
                  <a:gd name="connsiteX3361" fmla="*/ 2120382 w 9847941"/>
                  <a:gd name="connsiteY3361" fmla="*/ 1011249 h 1864765"/>
                  <a:gd name="connsiteX3362" fmla="*/ 2120988 w 9847941"/>
                  <a:gd name="connsiteY3362" fmla="*/ 1011401 h 1864765"/>
                  <a:gd name="connsiteX3363" fmla="*/ 2122503 w 9847941"/>
                  <a:gd name="connsiteY3363" fmla="*/ 1010946 h 1864765"/>
                  <a:gd name="connsiteX3364" fmla="*/ 2123261 w 9847941"/>
                  <a:gd name="connsiteY3364" fmla="*/ 1010491 h 1864765"/>
                  <a:gd name="connsiteX3365" fmla="*/ 2123412 w 9847941"/>
                  <a:gd name="connsiteY3365" fmla="*/ 1010037 h 1864765"/>
                  <a:gd name="connsiteX3366" fmla="*/ 2124018 w 9847941"/>
                  <a:gd name="connsiteY3366" fmla="*/ 1009582 h 1864765"/>
                  <a:gd name="connsiteX3367" fmla="*/ 2125836 w 9847941"/>
                  <a:gd name="connsiteY3367" fmla="*/ 1008673 h 1864765"/>
                  <a:gd name="connsiteX3368" fmla="*/ 2125685 w 9847941"/>
                  <a:gd name="connsiteY3368" fmla="*/ 1008219 h 1864765"/>
                  <a:gd name="connsiteX3369" fmla="*/ 2125079 w 9847941"/>
                  <a:gd name="connsiteY3369" fmla="*/ 1008219 h 1864765"/>
                  <a:gd name="connsiteX3370" fmla="*/ 2121442 w 9847941"/>
                  <a:gd name="connsiteY3370" fmla="*/ 1010188 h 1864765"/>
                  <a:gd name="connsiteX3371" fmla="*/ 2120685 w 9847941"/>
                  <a:gd name="connsiteY3371" fmla="*/ 1010946 h 1864765"/>
                  <a:gd name="connsiteX3372" fmla="*/ 2120382 w 9847941"/>
                  <a:gd name="connsiteY3372" fmla="*/ 1011249 h 1864765"/>
                  <a:gd name="connsiteX3373" fmla="*/ 9792484 w 9847941"/>
                  <a:gd name="connsiteY3373" fmla="*/ 629568 h 1864765"/>
                  <a:gd name="connsiteX3374" fmla="*/ 9793242 w 9847941"/>
                  <a:gd name="connsiteY3374" fmla="*/ 630932 h 1864765"/>
                  <a:gd name="connsiteX3375" fmla="*/ 9795818 w 9847941"/>
                  <a:gd name="connsiteY3375" fmla="*/ 631690 h 1864765"/>
                  <a:gd name="connsiteX3376" fmla="*/ 9798697 w 9847941"/>
                  <a:gd name="connsiteY3376" fmla="*/ 629872 h 1864765"/>
                  <a:gd name="connsiteX3377" fmla="*/ 9799909 w 9847941"/>
                  <a:gd name="connsiteY3377" fmla="*/ 627599 h 1864765"/>
                  <a:gd name="connsiteX3378" fmla="*/ 9792484 w 9847941"/>
                  <a:gd name="connsiteY3378" fmla="*/ 629114 h 1864765"/>
                  <a:gd name="connsiteX3379" fmla="*/ 9792484 w 9847941"/>
                  <a:gd name="connsiteY3379" fmla="*/ 629568 h 1864765"/>
                  <a:gd name="connsiteX3380" fmla="*/ 9784454 w 9847941"/>
                  <a:gd name="connsiteY3380" fmla="*/ 800332 h 1864765"/>
                  <a:gd name="connsiteX3381" fmla="*/ 9781423 w 9847941"/>
                  <a:gd name="connsiteY3381" fmla="*/ 802757 h 1864765"/>
                  <a:gd name="connsiteX3382" fmla="*/ 9780514 w 9847941"/>
                  <a:gd name="connsiteY3382" fmla="*/ 803817 h 1864765"/>
                  <a:gd name="connsiteX3383" fmla="*/ 9780817 w 9847941"/>
                  <a:gd name="connsiteY3383" fmla="*/ 805332 h 1864765"/>
                  <a:gd name="connsiteX3384" fmla="*/ 9781272 w 9847941"/>
                  <a:gd name="connsiteY3384" fmla="*/ 805787 h 1864765"/>
                  <a:gd name="connsiteX3385" fmla="*/ 9783090 w 9847941"/>
                  <a:gd name="connsiteY3385" fmla="*/ 804575 h 1864765"/>
                  <a:gd name="connsiteX3386" fmla="*/ 9784150 w 9847941"/>
                  <a:gd name="connsiteY3386" fmla="*/ 804120 h 1864765"/>
                  <a:gd name="connsiteX3387" fmla="*/ 9785363 w 9847941"/>
                  <a:gd name="connsiteY3387" fmla="*/ 804120 h 1864765"/>
                  <a:gd name="connsiteX3388" fmla="*/ 9786272 w 9847941"/>
                  <a:gd name="connsiteY3388" fmla="*/ 803514 h 1864765"/>
                  <a:gd name="connsiteX3389" fmla="*/ 9787029 w 9847941"/>
                  <a:gd name="connsiteY3389" fmla="*/ 802302 h 1864765"/>
                  <a:gd name="connsiteX3390" fmla="*/ 9787029 w 9847941"/>
                  <a:gd name="connsiteY3390" fmla="*/ 801393 h 1864765"/>
                  <a:gd name="connsiteX3391" fmla="*/ 9786424 w 9847941"/>
                  <a:gd name="connsiteY3391" fmla="*/ 800787 h 1864765"/>
                  <a:gd name="connsiteX3392" fmla="*/ 9784454 w 9847941"/>
                  <a:gd name="connsiteY3392" fmla="*/ 800332 h 1864765"/>
                  <a:gd name="connsiteX3393" fmla="*/ 9809757 w 9847941"/>
                  <a:gd name="connsiteY3393" fmla="*/ 793514 h 1864765"/>
                  <a:gd name="connsiteX3394" fmla="*/ 9807939 w 9847941"/>
                  <a:gd name="connsiteY3394" fmla="*/ 793514 h 1864765"/>
                  <a:gd name="connsiteX3395" fmla="*/ 9803546 w 9847941"/>
                  <a:gd name="connsiteY3395" fmla="*/ 794726 h 1864765"/>
                  <a:gd name="connsiteX3396" fmla="*/ 9803242 w 9847941"/>
                  <a:gd name="connsiteY3396" fmla="*/ 795484 h 1864765"/>
                  <a:gd name="connsiteX3397" fmla="*/ 9803546 w 9847941"/>
                  <a:gd name="connsiteY3397" fmla="*/ 796393 h 1864765"/>
                  <a:gd name="connsiteX3398" fmla="*/ 9806424 w 9847941"/>
                  <a:gd name="connsiteY3398" fmla="*/ 796090 h 1864765"/>
                  <a:gd name="connsiteX3399" fmla="*/ 9810667 w 9847941"/>
                  <a:gd name="connsiteY3399" fmla="*/ 796847 h 1864765"/>
                  <a:gd name="connsiteX3400" fmla="*/ 9811122 w 9847941"/>
                  <a:gd name="connsiteY3400" fmla="*/ 796241 h 1864765"/>
                  <a:gd name="connsiteX3401" fmla="*/ 9811576 w 9847941"/>
                  <a:gd name="connsiteY3401" fmla="*/ 794726 h 1864765"/>
                  <a:gd name="connsiteX3402" fmla="*/ 9811122 w 9847941"/>
                  <a:gd name="connsiteY3402" fmla="*/ 793968 h 1864765"/>
                  <a:gd name="connsiteX3403" fmla="*/ 9809757 w 9847941"/>
                  <a:gd name="connsiteY3403" fmla="*/ 793514 h 1864765"/>
                  <a:gd name="connsiteX3404" fmla="*/ 9737785 w 9847941"/>
                  <a:gd name="connsiteY3404" fmla="*/ 500624 h 1864765"/>
                  <a:gd name="connsiteX3405" fmla="*/ 9733997 w 9847941"/>
                  <a:gd name="connsiteY3405" fmla="*/ 500927 h 1864765"/>
                  <a:gd name="connsiteX3406" fmla="*/ 9728088 w 9847941"/>
                  <a:gd name="connsiteY3406" fmla="*/ 498200 h 1864765"/>
                  <a:gd name="connsiteX3407" fmla="*/ 9724906 w 9847941"/>
                  <a:gd name="connsiteY3407" fmla="*/ 496230 h 1864765"/>
                  <a:gd name="connsiteX3408" fmla="*/ 9723240 w 9847941"/>
                  <a:gd name="connsiteY3408" fmla="*/ 491988 h 1864765"/>
                  <a:gd name="connsiteX3409" fmla="*/ 9719906 w 9847941"/>
                  <a:gd name="connsiteY3409" fmla="*/ 493654 h 1864765"/>
                  <a:gd name="connsiteX3410" fmla="*/ 9719148 w 9847941"/>
                  <a:gd name="connsiteY3410" fmla="*/ 496685 h 1864765"/>
                  <a:gd name="connsiteX3411" fmla="*/ 9722330 w 9847941"/>
                  <a:gd name="connsiteY3411" fmla="*/ 497897 h 1864765"/>
                  <a:gd name="connsiteX3412" fmla="*/ 9731118 w 9847941"/>
                  <a:gd name="connsiteY3412" fmla="*/ 503352 h 1864765"/>
                  <a:gd name="connsiteX3413" fmla="*/ 9737633 w 9847941"/>
                  <a:gd name="connsiteY3413" fmla="*/ 503200 h 1864765"/>
                  <a:gd name="connsiteX3414" fmla="*/ 9742180 w 9847941"/>
                  <a:gd name="connsiteY3414" fmla="*/ 504564 h 1864765"/>
                  <a:gd name="connsiteX3415" fmla="*/ 9740967 w 9847941"/>
                  <a:gd name="connsiteY3415" fmla="*/ 502746 h 1864765"/>
                  <a:gd name="connsiteX3416" fmla="*/ 9737785 w 9847941"/>
                  <a:gd name="connsiteY3416" fmla="*/ 500624 h 1864765"/>
                  <a:gd name="connsiteX3417" fmla="*/ 9847789 w 9847941"/>
                  <a:gd name="connsiteY3417" fmla="*/ 777907 h 1864765"/>
                  <a:gd name="connsiteX3418" fmla="*/ 9847334 w 9847941"/>
                  <a:gd name="connsiteY3418" fmla="*/ 778513 h 1864765"/>
                  <a:gd name="connsiteX3419" fmla="*/ 9845820 w 9847941"/>
                  <a:gd name="connsiteY3419" fmla="*/ 779574 h 1864765"/>
                  <a:gd name="connsiteX3420" fmla="*/ 9842183 w 9847941"/>
                  <a:gd name="connsiteY3420" fmla="*/ 779271 h 1864765"/>
                  <a:gd name="connsiteX3421" fmla="*/ 9840365 w 9847941"/>
                  <a:gd name="connsiteY3421" fmla="*/ 779574 h 1864765"/>
                  <a:gd name="connsiteX3422" fmla="*/ 9839001 w 9847941"/>
                  <a:gd name="connsiteY3422" fmla="*/ 780635 h 1864765"/>
                  <a:gd name="connsiteX3423" fmla="*/ 9837031 w 9847941"/>
                  <a:gd name="connsiteY3423" fmla="*/ 782604 h 1864765"/>
                  <a:gd name="connsiteX3424" fmla="*/ 9836577 w 9847941"/>
                  <a:gd name="connsiteY3424" fmla="*/ 783513 h 1864765"/>
                  <a:gd name="connsiteX3425" fmla="*/ 9836425 w 9847941"/>
                  <a:gd name="connsiteY3425" fmla="*/ 786089 h 1864765"/>
                  <a:gd name="connsiteX3426" fmla="*/ 9836122 w 9847941"/>
                  <a:gd name="connsiteY3426" fmla="*/ 787302 h 1864765"/>
                  <a:gd name="connsiteX3427" fmla="*/ 9835061 w 9847941"/>
                  <a:gd name="connsiteY3427" fmla="*/ 788211 h 1864765"/>
                  <a:gd name="connsiteX3428" fmla="*/ 9833092 w 9847941"/>
                  <a:gd name="connsiteY3428" fmla="*/ 790786 h 1864765"/>
                  <a:gd name="connsiteX3429" fmla="*/ 9831273 w 9847941"/>
                  <a:gd name="connsiteY3429" fmla="*/ 792302 h 1864765"/>
                  <a:gd name="connsiteX3430" fmla="*/ 9828546 w 9847941"/>
                  <a:gd name="connsiteY3430" fmla="*/ 793968 h 1864765"/>
                  <a:gd name="connsiteX3431" fmla="*/ 9828092 w 9847941"/>
                  <a:gd name="connsiteY3431" fmla="*/ 795181 h 1864765"/>
                  <a:gd name="connsiteX3432" fmla="*/ 9828698 w 9847941"/>
                  <a:gd name="connsiteY3432" fmla="*/ 795181 h 1864765"/>
                  <a:gd name="connsiteX3433" fmla="*/ 9837638 w 9847941"/>
                  <a:gd name="connsiteY3433" fmla="*/ 790635 h 1864765"/>
                  <a:gd name="connsiteX3434" fmla="*/ 9838849 w 9847941"/>
                  <a:gd name="connsiteY3434" fmla="*/ 790332 h 1864765"/>
                  <a:gd name="connsiteX3435" fmla="*/ 9841577 w 9847941"/>
                  <a:gd name="connsiteY3435" fmla="*/ 788362 h 1864765"/>
                  <a:gd name="connsiteX3436" fmla="*/ 9842941 w 9847941"/>
                  <a:gd name="connsiteY3436" fmla="*/ 787605 h 1864765"/>
                  <a:gd name="connsiteX3437" fmla="*/ 9844153 w 9847941"/>
                  <a:gd name="connsiteY3437" fmla="*/ 787302 h 1864765"/>
                  <a:gd name="connsiteX3438" fmla="*/ 9845820 w 9847941"/>
                  <a:gd name="connsiteY3438" fmla="*/ 785786 h 1864765"/>
                  <a:gd name="connsiteX3439" fmla="*/ 9847941 w 9847941"/>
                  <a:gd name="connsiteY3439" fmla="*/ 783059 h 1864765"/>
                  <a:gd name="connsiteX3440" fmla="*/ 9847789 w 9847941"/>
                  <a:gd name="connsiteY3440" fmla="*/ 777907 h 1864765"/>
                  <a:gd name="connsiteX3441" fmla="*/ 9847789 w 9847941"/>
                  <a:gd name="connsiteY3441" fmla="*/ 777907 h 1864765"/>
                  <a:gd name="connsiteX3442" fmla="*/ 9735513 w 9847941"/>
                  <a:gd name="connsiteY3442" fmla="*/ 811696 h 1864765"/>
                  <a:gd name="connsiteX3443" fmla="*/ 9733543 w 9847941"/>
                  <a:gd name="connsiteY3443" fmla="*/ 812908 h 1864765"/>
                  <a:gd name="connsiteX3444" fmla="*/ 9732482 w 9847941"/>
                  <a:gd name="connsiteY3444" fmla="*/ 813969 h 1864765"/>
                  <a:gd name="connsiteX3445" fmla="*/ 9731422 w 9847941"/>
                  <a:gd name="connsiteY3445" fmla="*/ 815939 h 1864765"/>
                  <a:gd name="connsiteX3446" fmla="*/ 9733694 w 9847941"/>
                  <a:gd name="connsiteY3446" fmla="*/ 816545 h 1864765"/>
                  <a:gd name="connsiteX3447" fmla="*/ 9735664 w 9847941"/>
                  <a:gd name="connsiteY3447" fmla="*/ 815939 h 1864765"/>
                  <a:gd name="connsiteX3448" fmla="*/ 9739755 w 9847941"/>
                  <a:gd name="connsiteY3448" fmla="*/ 813818 h 1864765"/>
                  <a:gd name="connsiteX3449" fmla="*/ 9737785 w 9847941"/>
                  <a:gd name="connsiteY3449" fmla="*/ 812151 h 1864765"/>
                  <a:gd name="connsiteX3450" fmla="*/ 9735513 w 9847941"/>
                  <a:gd name="connsiteY3450" fmla="*/ 811696 h 1864765"/>
                  <a:gd name="connsiteX3451" fmla="*/ 9815364 w 9847941"/>
                  <a:gd name="connsiteY3451" fmla="*/ 651539 h 1864765"/>
                  <a:gd name="connsiteX3452" fmla="*/ 9813394 w 9847941"/>
                  <a:gd name="connsiteY3452" fmla="*/ 651994 h 1864765"/>
                  <a:gd name="connsiteX3453" fmla="*/ 9809757 w 9847941"/>
                  <a:gd name="connsiteY3453" fmla="*/ 651236 h 1864765"/>
                  <a:gd name="connsiteX3454" fmla="*/ 9809454 w 9847941"/>
                  <a:gd name="connsiteY3454" fmla="*/ 652297 h 1864765"/>
                  <a:gd name="connsiteX3455" fmla="*/ 9813091 w 9847941"/>
                  <a:gd name="connsiteY3455" fmla="*/ 654721 h 1864765"/>
                  <a:gd name="connsiteX3456" fmla="*/ 9814303 w 9847941"/>
                  <a:gd name="connsiteY3456" fmla="*/ 654872 h 1864765"/>
                  <a:gd name="connsiteX3457" fmla="*/ 9817334 w 9847941"/>
                  <a:gd name="connsiteY3457" fmla="*/ 652903 h 1864765"/>
                  <a:gd name="connsiteX3458" fmla="*/ 9817030 w 9847941"/>
                  <a:gd name="connsiteY3458" fmla="*/ 651994 h 1864765"/>
                  <a:gd name="connsiteX3459" fmla="*/ 9815364 w 9847941"/>
                  <a:gd name="connsiteY3459" fmla="*/ 651539 h 1864765"/>
                  <a:gd name="connsiteX3460" fmla="*/ 9837031 w 9847941"/>
                  <a:gd name="connsiteY3460" fmla="*/ 381984 h 1864765"/>
                  <a:gd name="connsiteX3461" fmla="*/ 9838243 w 9847941"/>
                  <a:gd name="connsiteY3461" fmla="*/ 377741 h 1864765"/>
                  <a:gd name="connsiteX3462" fmla="*/ 9830516 w 9847941"/>
                  <a:gd name="connsiteY3462" fmla="*/ 376226 h 1864765"/>
                  <a:gd name="connsiteX3463" fmla="*/ 9824304 w 9847941"/>
                  <a:gd name="connsiteY3463" fmla="*/ 376226 h 1864765"/>
                  <a:gd name="connsiteX3464" fmla="*/ 9822334 w 9847941"/>
                  <a:gd name="connsiteY3464" fmla="*/ 375771 h 1864765"/>
                  <a:gd name="connsiteX3465" fmla="*/ 9818698 w 9847941"/>
                  <a:gd name="connsiteY3465" fmla="*/ 376226 h 1864765"/>
                  <a:gd name="connsiteX3466" fmla="*/ 9815212 w 9847941"/>
                  <a:gd name="connsiteY3466" fmla="*/ 375165 h 1864765"/>
                  <a:gd name="connsiteX3467" fmla="*/ 9814303 w 9847941"/>
                  <a:gd name="connsiteY3467" fmla="*/ 373802 h 1864765"/>
                  <a:gd name="connsiteX3468" fmla="*/ 9813242 w 9847941"/>
                  <a:gd name="connsiteY3468" fmla="*/ 372741 h 1864765"/>
                  <a:gd name="connsiteX3469" fmla="*/ 9809000 w 9847941"/>
                  <a:gd name="connsiteY3469" fmla="*/ 371983 h 1864765"/>
                  <a:gd name="connsiteX3470" fmla="*/ 9802485 w 9847941"/>
                  <a:gd name="connsiteY3470" fmla="*/ 370014 h 1864765"/>
                  <a:gd name="connsiteX3471" fmla="*/ 9801424 w 9847941"/>
                  <a:gd name="connsiteY3471" fmla="*/ 368498 h 1864765"/>
                  <a:gd name="connsiteX3472" fmla="*/ 9800667 w 9847941"/>
                  <a:gd name="connsiteY3472" fmla="*/ 366377 h 1864765"/>
                  <a:gd name="connsiteX3473" fmla="*/ 9799606 w 9847941"/>
                  <a:gd name="connsiteY3473" fmla="*/ 364559 h 1864765"/>
                  <a:gd name="connsiteX3474" fmla="*/ 9798242 w 9847941"/>
                  <a:gd name="connsiteY3474" fmla="*/ 363498 h 1864765"/>
                  <a:gd name="connsiteX3475" fmla="*/ 9794757 w 9847941"/>
                  <a:gd name="connsiteY3475" fmla="*/ 361831 h 1864765"/>
                  <a:gd name="connsiteX3476" fmla="*/ 9791121 w 9847941"/>
                  <a:gd name="connsiteY3476" fmla="*/ 361074 h 1864765"/>
                  <a:gd name="connsiteX3477" fmla="*/ 9787787 w 9847941"/>
                  <a:gd name="connsiteY3477" fmla="*/ 361528 h 1864765"/>
                  <a:gd name="connsiteX3478" fmla="*/ 9784454 w 9847941"/>
                  <a:gd name="connsiteY3478" fmla="*/ 362438 h 1864765"/>
                  <a:gd name="connsiteX3479" fmla="*/ 9778999 w 9847941"/>
                  <a:gd name="connsiteY3479" fmla="*/ 365619 h 1864765"/>
                  <a:gd name="connsiteX3480" fmla="*/ 9774605 w 9847941"/>
                  <a:gd name="connsiteY3480" fmla="*/ 365922 h 1864765"/>
                  <a:gd name="connsiteX3481" fmla="*/ 9770211 w 9847941"/>
                  <a:gd name="connsiteY3481" fmla="*/ 364862 h 1864765"/>
                  <a:gd name="connsiteX3482" fmla="*/ 9766271 w 9847941"/>
                  <a:gd name="connsiteY3482" fmla="*/ 364407 h 1864765"/>
                  <a:gd name="connsiteX3483" fmla="*/ 9763392 w 9847941"/>
                  <a:gd name="connsiteY3483" fmla="*/ 364559 h 1864765"/>
                  <a:gd name="connsiteX3484" fmla="*/ 9762938 w 9847941"/>
                  <a:gd name="connsiteY3484" fmla="*/ 363498 h 1864765"/>
                  <a:gd name="connsiteX3485" fmla="*/ 9757938 w 9847941"/>
                  <a:gd name="connsiteY3485" fmla="*/ 359710 h 1864765"/>
                  <a:gd name="connsiteX3486" fmla="*/ 9755210 w 9847941"/>
                  <a:gd name="connsiteY3486" fmla="*/ 360771 h 1864765"/>
                  <a:gd name="connsiteX3487" fmla="*/ 9753695 w 9847941"/>
                  <a:gd name="connsiteY3487" fmla="*/ 366074 h 1864765"/>
                  <a:gd name="connsiteX3488" fmla="*/ 9753241 w 9847941"/>
                  <a:gd name="connsiteY3488" fmla="*/ 368347 h 1864765"/>
                  <a:gd name="connsiteX3489" fmla="*/ 9753241 w 9847941"/>
                  <a:gd name="connsiteY3489" fmla="*/ 370620 h 1864765"/>
                  <a:gd name="connsiteX3490" fmla="*/ 9753998 w 9847941"/>
                  <a:gd name="connsiteY3490" fmla="*/ 372892 h 1864765"/>
                  <a:gd name="connsiteX3491" fmla="*/ 9755513 w 9847941"/>
                  <a:gd name="connsiteY3491" fmla="*/ 374256 h 1864765"/>
                  <a:gd name="connsiteX3492" fmla="*/ 9758392 w 9847941"/>
                  <a:gd name="connsiteY3492" fmla="*/ 376074 h 1864765"/>
                  <a:gd name="connsiteX3493" fmla="*/ 9761422 w 9847941"/>
                  <a:gd name="connsiteY3493" fmla="*/ 376832 h 1864765"/>
                  <a:gd name="connsiteX3494" fmla="*/ 9764605 w 9847941"/>
                  <a:gd name="connsiteY3494" fmla="*/ 376529 h 1864765"/>
                  <a:gd name="connsiteX3495" fmla="*/ 9767786 w 9847941"/>
                  <a:gd name="connsiteY3495" fmla="*/ 375165 h 1864765"/>
                  <a:gd name="connsiteX3496" fmla="*/ 9770817 w 9847941"/>
                  <a:gd name="connsiteY3496" fmla="*/ 373195 h 1864765"/>
                  <a:gd name="connsiteX3497" fmla="*/ 9773999 w 9847941"/>
                  <a:gd name="connsiteY3497" fmla="*/ 371983 h 1864765"/>
                  <a:gd name="connsiteX3498" fmla="*/ 9776878 w 9847941"/>
                  <a:gd name="connsiteY3498" fmla="*/ 371680 h 1864765"/>
                  <a:gd name="connsiteX3499" fmla="*/ 9779757 w 9847941"/>
                  <a:gd name="connsiteY3499" fmla="*/ 371983 h 1864765"/>
                  <a:gd name="connsiteX3500" fmla="*/ 9788545 w 9847941"/>
                  <a:gd name="connsiteY3500" fmla="*/ 374862 h 1864765"/>
                  <a:gd name="connsiteX3501" fmla="*/ 9791424 w 9847941"/>
                  <a:gd name="connsiteY3501" fmla="*/ 376226 h 1864765"/>
                  <a:gd name="connsiteX3502" fmla="*/ 9794151 w 9847941"/>
                  <a:gd name="connsiteY3502" fmla="*/ 377893 h 1864765"/>
                  <a:gd name="connsiteX3503" fmla="*/ 9795515 w 9847941"/>
                  <a:gd name="connsiteY3503" fmla="*/ 379105 h 1864765"/>
                  <a:gd name="connsiteX3504" fmla="*/ 9796272 w 9847941"/>
                  <a:gd name="connsiteY3504" fmla="*/ 381378 h 1864765"/>
                  <a:gd name="connsiteX3505" fmla="*/ 9797788 w 9847941"/>
                  <a:gd name="connsiteY3505" fmla="*/ 382893 h 1864765"/>
                  <a:gd name="connsiteX3506" fmla="*/ 9799758 w 9847941"/>
                  <a:gd name="connsiteY3506" fmla="*/ 383044 h 1864765"/>
                  <a:gd name="connsiteX3507" fmla="*/ 9803242 w 9847941"/>
                  <a:gd name="connsiteY3507" fmla="*/ 383953 h 1864765"/>
                  <a:gd name="connsiteX3508" fmla="*/ 9806727 w 9847941"/>
                  <a:gd name="connsiteY3508" fmla="*/ 385317 h 1864765"/>
                  <a:gd name="connsiteX3509" fmla="*/ 9807939 w 9847941"/>
                  <a:gd name="connsiteY3509" fmla="*/ 386075 h 1864765"/>
                  <a:gd name="connsiteX3510" fmla="*/ 9809000 w 9847941"/>
                  <a:gd name="connsiteY3510" fmla="*/ 387287 h 1864765"/>
                  <a:gd name="connsiteX3511" fmla="*/ 9810515 w 9847941"/>
                  <a:gd name="connsiteY3511" fmla="*/ 391681 h 1864765"/>
                  <a:gd name="connsiteX3512" fmla="*/ 9811727 w 9847941"/>
                  <a:gd name="connsiteY3512" fmla="*/ 393196 h 1864765"/>
                  <a:gd name="connsiteX3513" fmla="*/ 9813242 w 9847941"/>
                  <a:gd name="connsiteY3513" fmla="*/ 392590 h 1864765"/>
                  <a:gd name="connsiteX3514" fmla="*/ 9814606 w 9847941"/>
                  <a:gd name="connsiteY3514" fmla="*/ 391378 h 1864765"/>
                  <a:gd name="connsiteX3515" fmla="*/ 9814910 w 9847941"/>
                  <a:gd name="connsiteY3515" fmla="*/ 388802 h 1864765"/>
                  <a:gd name="connsiteX3516" fmla="*/ 9817334 w 9847941"/>
                  <a:gd name="connsiteY3516" fmla="*/ 386075 h 1864765"/>
                  <a:gd name="connsiteX3517" fmla="*/ 9820212 w 9847941"/>
                  <a:gd name="connsiteY3517" fmla="*/ 383953 h 1864765"/>
                  <a:gd name="connsiteX3518" fmla="*/ 9827183 w 9847941"/>
                  <a:gd name="connsiteY3518" fmla="*/ 383347 h 1864765"/>
                  <a:gd name="connsiteX3519" fmla="*/ 9834152 w 9847941"/>
                  <a:gd name="connsiteY3519" fmla="*/ 383953 h 1864765"/>
                  <a:gd name="connsiteX3520" fmla="*/ 9837031 w 9847941"/>
                  <a:gd name="connsiteY3520" fmla="*/ 381984 h 1864765"/>
                  <a:gd name="connsiteX3521" fmla="*/ 9688996 w 9847941"/>
                  <a:gd name="connsiteY3521" fmla="*/ 810484 h 1864765"/>
                  <a:gd name="connsiteX3522" fmla="*/ 9685208 w 9847941"/>
                  <a:gd name="connsiteY3522" fmla="*/ 811999 h 1864765"/>
                  <a:gd name="connsiteX3523" fmla="*/ 9683540 w 9847941"/>
                  <a:gd name="connsiteY3523" fmla="*/ 813363 h 1864765"/>
                  <a:gd name="connsiteX3524" fmla="*/ 9681572 w 9847941"/>
                  <a:gd name="connsiteY3524" fmla="*/ 814272 h 1864765"/>
                  <a:gd name="connsiteX3525" fmla="*/ 9682329 w 9847941"/>
                  <a:gd name="connsiteY3525" fmla="*/ 815030 h 1864765"/>
                  <a:gd name="connsiteX3526" fmla="*/ 9686419 w 9847941"/>
                  <a:gd name="connsiteY3526" fmla="*/ 816090 h 1864765"/>
                  <a:gd name="connsiteX3527" fmla="*/ 9685056 w 9847941"/>
                  <a:gd name="connsiteY3527" fmla="*/ 818060 h 1864765"/>
                  <a:gd name="connsiteX3528" fmla="*/ 9680511 w 9847941"/>
                  <a:gd name="connsiteY3528" fmla="*/ 819272 h 1864765"/>
                  <a:gd name="connsiteX3529" fmla="*/ 9675207 w 9847941"/>
                  <a:gd name="connsiteY3529" fmla="*/ 821091 h 1864765"/>
                  <a:gd name="connsiteX3530" fmla="*/ 9668388 w 9847941"/>
                  <a:gd name="connsiteY3530" fmla="*/ 822606 h 1864765"/>
                  <a:gd name="connsiteX3531" fmla="*/ 9662934 w 9847941"/>
                  <a:gd name="connsiteY3531" fmla="*/ 824272 h 1864765"/>
                  <a:gd name="connsiteX3532" fmla="*/ 9660358 w 9847941"/>
                  <a:gd name="connsiteY3532" fmla="*/ 824576 h 1864765"/>
                  <a:gd name="connsiteX3533" fmla="*/ 9658085 w 9847941"/>
                  <a:gd name="connsiteY3533" fmla="*/ 825182 h 1864765"/>
                  <a:gd name="connsiteX3534" fmla="*/ 9660358 w 9847941"/>
                  <a:gd name="connsiteY3534" fmla="*/ 826242 h 1864765"/>
                  <a:gd name="connsiteX3535" fmla="*/ 9675055 w 9847941"/>
                  <a:gd name="connsiteY3535" fmla="*/ 824727 h 1864765"/>
                  <a:gd name="connsiteX3536" fmla="*/ 9684147 w 9847941"/>
                  <a:gd name="connsiteY3536" fmla="*/ 823212 h 1864765"/>
                  <a:gd name="connsiteX3537" fmla="*/ 9690207 w 9847941"/>
                  <a:gd name="connsiteY3537" fmla="*/ 821091 h 1864765"/>
                  <a:gd name="connsiteX3538" fmla="*/ 9688541 w 9847941"/>
                  <a:gd name="connsiteY3538" fmla="*/ 818666 h 1864765"/>
                  <a:gd name="connsiteX3539" fmla="*/ 9688996 w 9847941"/>
                  <a:gd name="connsiteY3539" fmla="*/ 817757 h 1864765"/>
                  <a:gd name="connsiteX3540" fmla="*/ 9692026 w 9847941"/>
                  <a:gd name="connsiteY3540" fmla="*/ 817000 h 1864765"/>
                  <a:gd name="connsiteX3541" fmla="*/ 9692632 w 9847941"/>
                  <a:gd name="connsiteY3541" fmla="*/ 815333 h 1864765"/>
                  <a:gd name="connsiteX3542" fmla="*/ 9692936 w 9847941"/>
                  <a:gd name="connsiteY3542" fmla="*/ 813818 h 1864765"/>
                  <a:gd name="connsiteX3543" fmla="*/ 9692177 w 9847941"/>
                  <a:gd name="connsiteY3543" fmla="*/ 812454 h 1864765"/>
                  <a:gd name="connsiteX3544" fmla="*/ 9688996 w 9847941"/>
                  <a:gd name="connsiteY3544" fmla="*/ 810484 h 1864765"/>
                  <a:gd name="connsiteX3545" fmla="*/ 9607932 w 9847941"/>
                  <a:gd name="connsiteY3545" fmla="*/ 828515 h 1864765"/>
                  <a:gd name="connsiteX3546" fmla="*/ 9607023 w 9847941"/>
                  <a:gd name="connsiteY3546" fmla="*/ 829273 h 1864765"/>
                  <a:gd name="connsiteX3547" fmla="*/ 9605811 w 9847941"/>
                  <a:gd name="connsiteY3547" fmla="*/ 831697 h 1864765"/>
                  <a:gd name="connsiteX3548" fmla="*/ 9604447 w 9847941"/>
                  <a:gd name="connsiteY3548" fmla="*/ 833061 h 1864765"/>
                  <a:gd name="connsiteX3549" fmla="*/ 9602326 w 9847941"/>
                  <a:gd name="connsiteY3549" fmla="*/ 834121 h 1864765"/>
                  <a:gd name="connsiteX3550" fmla="*/ 9593235 w 9847941"/>
                  <a:gd name="connsiteY3550" fmla="*/ 836091 h 1864765"/>
                  <a:gd name="connsiteX3551" fmla="*/ 9593235 w 9847941"/>
                  <a:gd name="connsiteY3551" fmla="*/ 836849 h 1864765"/>
                  <a:gd name="connsiteX3552" fmla="*/ 9593689 w 9847941"/>
                  <a:gd name="connsiteY3552" fmla="*/ 837758 h 1864765"/>
                  <a:gd name="connsiteX3553" fmla="*/ 9595810 w 9847941"/>
                  <a:gd name="connsiteY3553" fmla="*/ 837152 h 1864765"/>
                  <a:gd name="connsiteX3554" fmla="*/ 9598689 w 9847941"/>
                  <a:gd name="connsiteY3554" fmla="*/ 836849 h 1864765"/>
                  <a:gd name="connsiteX3555" fmla="*/ 9601265 w 9847941"/>
                  <a:gd name="connsiteY3555" fmla="*/ 836697 h 1864765"/>
                  <a:gd name="connsiteX3556" fmla="*/ 9605508 w 9847941"/>
                  <a:gd name="connsiteY3556" fmla="*/ 837152 h 1864765"/>
                  <a:gd name="connsiteX3557" fmla="*/ 9607023 w 9847941"/>
                  <a:gd name="connsiteY3557" fmla="*/ 836849 h 1864765"/>
                  <a:gd name="connsiteX3558" fmla="*/ 9607780 w 9847941"/>
                  <a:gd name="connsiteY3558" fmla="*/ 836394 h 1864765"/>
                  <a:gd name="connsiteX3559" fmla="*/ 9608083 w 9847941"/>
                  <a:gd name="connsiteY3559" fmla="*/ 833061 h 1864765"/>
                  <a:gd name="connsiteX3560" fmla="*/ 9608387 w 9847941"/>
                  <a:gd name="connsiteY3560" fmla="*/ 832000 h 1864765"/>
                  <a:gd name="connsiteX3561" fmla="*/ 9609599 w 9847941"/>
                  <a:gd name="connsiteY3561" fmla="*/ 830939 h 1864765"/>
                  <a:gd name="connsiteX3562" fmla="*/ 9610053 w 9847941"/>
                  <a:gd name="connsiteY3562" fmla="*/ 829576 h 1864765"/>
                  <a:gd name="connsiteX3563" fmla="*/ 9608841 w 9847941"/>
                  <a:gd name="connsiteY3563" fmla="*/ 828667 h 1864765"/>
                  <a:gd name="connsiteX3564" fmla="*/ 9607932 w 9847941"/>
                  <a:gd name="connsiteY3564" fmla="*/ 828515 h 1864765"/>
                  <a:gd name="connsiteX3565" fmla="*/ 9625963 w 9847941"/>
                  <a:gd name="connsiteY3565" fmla="*/ 831849 h 1864765"/>
                  <a:gd name="connsiteX3566" fmla="*/ 9622781 w 9847941"/>
                  <a:gd name="connsiteY3566" fmla="*/ 832000 h 1864765"/>
                  <a:gd name="connsiteX3567" fmla="*/ 9622630 w 9847941"/>
                  <a:gd name="connsiteY3567" fmla="*/ 830788 h 1864765"/>
                  <a:gd name="connsiteX3568" fmla="*/ 9623841 w 9847941"/>
                  <a:gd name="connsiteY3568" fmla="*/ 828818 h 1864765"/>
                  <a:gd name="connsiteX3569" fmla="*/ 9623841 w 9847941"/>
                  <a:gd name="connsiteY3569" fmla="*/ 827909 h 1864765"/>
                  <a:gd name="connsiteX3570" fmla="*/ 9622630 w 9847941"/>
                  <a:gd name="connsiteY3570" fmla="*/ 826545 h 1864765"/>
                  <a:gd name="connsiteX3571" fmla="*/ 9619902 w 9847941"/>
                  <a:gd name="connsiteY3571" fmla="*/ 826394 h 1864765"/>
                  <a:gd name="connsiteX3572" fmla="*/ 9618690 w 9847941"/>
                  <a:gd name="connsiteY3572" fmla="*/ 829727 h 1864765"/>
                  <a:gd name="connsiteX3573" fmla="*/ 9618993 w 9847941"/>
                  <a:gd name="connsiteY3573" fmla="*/ 831697 h 1864765"/>
                  <a:gd name="connsiteX3574" fmla="*/ 9617933 w 9847941"/>
                  <a:gd name="connsiteY3574" fmla="*/ 832455 h 1864765"/>
                  <a:gd name="connsiteX3575" fmla="*/ 9615205 w 9847941"/>
                  <a:gd name="connsiteY3575" fmla="*/ 833515 h 1864765"/>
                  <a:gd name="connsiteX3576" fmla="*/ 9612780 w 9847941"/>
                  <a:gd name="connsiteY3576" fmla="*/ 840334 h 1864765"/>
                  <a:gd name="connsiteX3577" fmla="*/ 9616114 w 9847941"/>
                  <a:gd name="connsiteY3577" fmla="*/ 837758 h 1864765"/>
                  <a:gd name="connsiteX3578" fmla="*/ 9617933 w 9847941"/>
                  <a:gd name="connsiteY3578" fmla="*/ 839425 h 1864765"/>
                  <a:gd name="connsiteX3579" fmla="*/ 9623841 w 9847941"/>
                  <a:gd name="connsiteY3579" fmla="*/ 836394 h 1864765"/>
                  <a:gd name="connsiteX3580" fmla="*/ 9625054 w 9847941"/>
                  <a:gd name="connsiteY3580" fmla="*/ 835182 h 1864765"/>
                  <a:gd name="connsiteX3581" fmla="*/ 9626114 w 9847941"/>
                  <a:gd name="connsiteY3581" fmla="*/ 835637 h 1864765"/>
                  <a:gd name="connsiteX3582" fmla="*/ 9626569 w 9847941"/>
                  <a:gd name="connsiteY3582" fmla="*/ 835485 h 1864765"/>
                  <a:gd name="connsiteX3583" fmla="*/ 9627023 w 9847941"/>
                  <a:gd name="connsiteY3583" fmla="*/ 834879 h 1864765"/>
                  <a:gd name="connsiteX3584" fmla="*/ 9627023 w 9847941"/>
                  <a:gd name="connsiteY3584" fmla="*/ 832455 h 1864765"/>
                  <a:gd name="connsiteX3585" fmla="*/ 9625963 w 9847941"/>
                  <a:gd name="connsiteY3585" fmla="*/ 831849 h 1864765"/>
                  <a:gd name="connsiteX3586" fmla="*/ 9589749 w 9847941"/>
                  <a:gd name="connsiteY3586" fmla="*/ 831849 h 1864765"/>
                  <a:gd name="connsiteX3587" fmla="*/ 9587931 w 9847941"/>
                  <a:gd name="connsiteY3587" fmla="*/ 831091 h 1864765"/>
                  <a:gd name="connsiteX3588" fmla="*/ 9585507 w 9847941"/>
                  <a:gd name="connsiteY3588" fmla="*/ 828970 h 1864765"/>
                  <a:gd name="connsiteX3589" fmla="*/ 9581113 w 9847941"/>
                  <a:gd name="connsiteY3589" fmla="*/ 829121 h 1864765"/>
                  <a:gd name="connsiteX3590" fmla="*/ 9579749 w 9847941"/>
                  <a:gd name="connsiteY3590" fmla="*/ 829576 h 1864765"/>
                  <a:gd name="connsiteX3591" fmla="*/ 9578992 w 9847941"/>
                  <a:gd name="connsiteY3591" fmla="*/ 830333 h 1864765"/>
                  <a:gd name="connsiteX3592" fmla="*/ 9580052 w 9847941"/>
                  <a:gd name="connsiteY3592" fmla="*/ 831546 h 1864765"/>
                  <a:gd name="connsiteX3593" fmla="*/ 9583083 w 9847941"/>
                  <a:gd name="connsiteY3593" fmla="*/ 833212 h 1864765"/>
                  <a:gd name="connsiteX3594" fmla="*/ 9584750 w 9847941"/>
                  <a:gd name="connsiteY3594" fmla="*/ 834576 h 1864765"/>
                  <a:gd name="connsiteX3595" fmla="*/ 9585052 w 9847941"/>
                  <a:gd name="connsiteY3595" fmla="*/ 835485 h 1864765"/>
                  <a:gd name="connsiteX3596" fmla="*/ 9584446 w 9847941"/>
                  <a:gd name="connsiteY3596" fmla="*/ 836243 h 1864765"/>
                  <a:gd name="connsiteX3597" fmla="*/ 9582325 w 9847941"/>
                  <a:gd name="connsiteY3597" fmla="*/ 837152 h 1864765"/>
                  <a:gd name="connsiteX3598" fmla="*/ 9582931 w 9847941"/>
                  <a:gd name="connsiteY3598" fmla="*/ 837758 h 1864765"/>
                  <a:gd name="connsiteX3599" fmla="*/ 9586568 w 9847941"/>
                  <a:gd name="connsiteY3599" fmla="*/ 839728 h 1864765"/>
                  <a:gd name="connsiteX3600" fmla="*/ 9587173 w 9847941"/>
                  <a:gd name="connsiteY3600" fmla="*/ 839728 h 1864765"/>
                  <a:gd name="connsiteX3601" fmla="*/ 9587780 w 9847941"/>
                  <a:gd name="connsiteY3601" fmla="*/ 838515 h 1864765"/>
                  <a:gd name="connsiteX3602" fmla="*/ 9589143 w 9847941"/>
                  <a:gd name="connsiteY3602" fmla="*/ 837152 h 1864765"/>
                  <a:gd name="connsiteX3603" fmla="*/ 9590659 w 9847941"/>
                  <a:gd name="connsiteY3603" fmla="*/ 833818 h 1864765"/>
                  <a:gd name="connsiteX3604" fmla="*/ 9591871 w 9847941"/>
                  <a:gd name="connsiteY3604" fmla="*/ 832909 h 1864765"/>
                  <a:gd name="connsiteX3605" fmla="*/ 9594144 w 9847941"/>
                  <a:gd name="connsiteY3605" fmla="*/ 832000 h 1864765"/>
                  <a:gd name="connsiteX3606" fmla="*/ 9589749 w 9847941"/>
                  <a:gd name="connsiteY3606" fmla="*/ 831849 h 1864765"/>
                  <a:gd name="connsiteX3607" fmla="*/ 9627629 w 9847941"/>
                  <a:gd name="connsiteY3607" fmla="*/ 831697 h 1864765"/>
                  <a:gd name="connsiteX3608" fmla="*/ 9628084 w 9847941"/>
                  <a:gd name="connsiteY3608" fmla="*/ 834576 h 1864765"/>
                  <a:gd name="connsiteX3609" fmla="*/ 9629297 w 9847941"/>
                  <a:gd name="connsiteY3609" fmla="*/ 835485 h 1864765"/>
                  <a:gd name="connsiteX3610" fmla="*/ 9630963 w 9847941"/>
                  <a:gd name="connsiteY3610" fmla="*/ 833364 h 1864765"/>
                  <a:gd name="connsiteX3611" fmla="*/ 9631115 w 9847941"/>
                  <a:gd name="connsiteY3611" fmla="*/ 832909 h 1864765"/>
                  <a:gd name="connsiteX3612" fmla="*/ 9628388 w 9847941"/>
                  <a:gd name="connsiteY3612" fmla="*/ 830788 h 1864765"/>
                  <a:gd name="connsiteX3613" fmla="*/ 9627629 w 9847941"/>
                  <a:gd name="connsiteY3613" fmla="*/ 831697 h 1864765"/>
                  <a:gd name="connsiteX3614" fmla="*/ 9515959 w 9847941"/>
                  <a:gd name="connsiteY3614" fmla="*/ 826697 h 1864765"/>
                  <a:gd name="connsiteX3615" fmla="*/ 9515808 w 9847941"/>
                  <a:gd name="connsiteY3615" fmla="*/ 828364 h 1864765"/>
                  <a:gd name="connsiteX3616" fmla="*/ 9517171 w 9847941"/>
                  <a:gd name="connsiteY3616" fmla="*/ 829727 h 1864765"/>
                  <a:gd name="connsiteX3617" fmla="*/ 9519747 w 9847941"/>
                  <a:gd name="connsiteY3617" fmla="*/ 830182 h 1864765"/>
                  <a:gd name="connsiteX3618" fmla="*/ 9522020 w 9847941"/>
                  <a:gd name="connsiteY3618" fmla="*/ 829273 h 1864765"/>
                  <a:gd name="connsiteX3619" fmla="*/ 9523384 w 9847941"/>
                  <a:gd name="connsiteY3619" fmla="*/ 827000 h 1864765"/>
                  <a:gd name="connsiteX3620" fmla="*/ 9519141 w 9847941"/>
                  <a:gd name="connsiteY3620" fmla="*/ 824727 h 1864765"/>
                  <a:gd name="connsiteX3621" fmla="*/ 9515959 w 9847941"/>
                  <a:gd name="connsiteY3621" fmla="*/ 826697 h 1864765"/>
                  <a:gd name="connsiteX3622" fmla="*/ 9717936 w 9847941"/>
                  <a:gd name="connsiteY3622" fmla="*/ 822303 h 1864765"/>
                  <a:gd name="connsiteX3623" fmla="*/ 9711269 w 9847941"/>
                  <a:gd name="connsiteY3623" fmla="*/ 822454 h 1864765"/>
                  <a:gd name="connsiteX3624" fmla="*/ 9705966 w 9847941"/>
                  <a:gd name="connsiteY3624" fmla="*/ 820939 h 1864765"/>
                  <a:gd name="connsiteX3625" fmla="*/ 9703087 w 9847941"/>
                  <a:gd name="connsiteY3625" fmla="*/ 820636 h 1864765"/>
                  <a:gd name="connsiteX3626" fmla="*/ 9699753 w 9847941"/>
                  <a:gd name="connsiteY3626" fmla="*/ 821545 h 1864765"/>
                  <a:gd name="connsiteX3627" fmla="*/ 9699299 w 9847941"/>
                  <a:gd name="connsiteY3627" fmla="*/ 822000 h 1864765"/>
                  <a:gd name="connsiteX3628" fmla="*/ 9695359 w 9847941"/>
                  <a:gd name="connsiteY3628" fmla="*/ 820939 h 1864765"/>
                  <a:gd name="connsiteX3629" fmla="*/ 9693845 w 9847941"/>
                  <a:gd name="connsiteY3629" fmla="*/ 821242 h 1864765"/>
                  <a:gd name="connsiteX3630" fmla="*/ 9693995 w 9847941"/>
                  <a:gd name="connsiteY3630" fmla="*/ 822000 h 1864765"/>
                  <a:gd name="connsiteX3631" fmla="*/ 9695663 w 9847941"/>
                  <a:gd name="connsiteY3631" fmla="*/ 823212 h 1864765"/>
                  <a:gd name="connsiteX3632" fmla="*/ 9697026 w 9847941"/>
                  <a:gd name="connsiteY3632" fmla="*/ 823818 h 1864765"/>
                  <a:gd name="connsiteX3633" fmla="*/ 9698238 w 9847941"/>
                  <a:gd name="connsiteY3633" fmla="*/ 823969 h 1864765"/>
                  <a:gd name="connsiteX3634" fmla="*/ 9702632 w 9847941"/>
                  <a:gd name="connsiteY3634" fmla="*/ 823515 h 1864765"/>
                  <a:gd name="connsiteX3635" fmla="*/ 9708390 w 9847941"/>
                  <a:gd name="connsiteY3635" fmla="*/ 824272 h 1864765"/>
                  <a:gd name="connsiteX3636" fmla="*/ 9710966 w 9847941"/>
                  <a:gd name="connsiteY3636" fmla="*/ 824121 h 1864765"/>
                  <a:gd name="connsiteX3637" fmla="*/ 9714754 w 9847941"/>
                  <a:gd name="connsiteY3637" fmla="*/ 823363 h 1864765"/>
                  <a:gd name="connsiteX3638" fmla="*/ 9716269 w 9847941"/>
                  <a:gd name="connsiteY3638" fmla="*/ 823515 h 1864765"/>
                  <a:gd name="connsiteX3639" fmla="*/ 9720512 w 9847941"/>
                  <a:gd name="connsiteY3639" fmla="*/ 822909 h 1864765"/>
                  <a:gd name="connsiteX3640" fmla="*/ 9720512 w 9847941"/>
                  <a:gd name="connsiteY3640" fmla="*/ 822454 h 1864765"/>
                  <a:gd name="connsiteX3641" fmla="*/ 9717936 w 9847941"/>
                  <a:gd name="connsiteY3641" fmla="*/ 822303 h 1864765"/>
                  <a:gd name="connsiteX3642" fmla="*/ 9633690 w 9847941"/>
                  <a:gd name="connsiteY3642" fmla="*/ 830030 h 1864765"/>
                  <a:gd name="connsiteX3643" fmla="*/ 9633387 w 9847941"/>
                  <a:gd name="connsiteY3643" fmla="*/ 831849 h 1864765"/>
                  <a:gd name="connsiteX3644" fmla="*/ 9636418 w 9847941"/>
                  <a:gd name="connsiteY3644" fmla="*/ 833515 h 1864765"/>
                  <a:gd name="connsiteX3645" fmla="*/ 9638691 w 9847941"/>
                  <a:gd name="connsiteY3645" fmla="*/ 832758 h 1864765"/>
                  <a:gd name="connsiteX3646" fmla="*/ 9637024 w 9847941"/>
                  <a:gd name="connsiteY3646" fmla="*/ 831697 h 1864765"/>
                  <a:gd name="connsiteX3647" fmla="*/ 9633690 w 9847941"/>
                  <a:gd name="connsiteY3647" fmla="*/ 830030 h 1864765"/>
                  <a:gd name="connsiteX3648" fmla="*/ 9638084 w 9847941"/>
                  <a:gd name="connsiteY3648" fmla="*/ 822909 h 1864765"/>
                  <a:gd name="connsiteX3649" fmla="*/ 9636873 w 9847941"/>
                  <a:gd name="connsiteY3649" fmla="*/ 822303 h 1864765"/>
                  <a:gd name="connsiteX3650" fmla="*/ 9634751 w 9847941"/>
                  <a:gd name="connsiteY3650" fmla="*/ 822303 h 1864765"/>
                  <a:gd name="connsiteX3651" fmla="*/ 9633994 w 9847941"/>
                  <a:gd name="connsiteY3651" fmla="*/ 823818 h 1864765"/>
                  <a:gd name="connsiteX3652" fmla="*/ 9634145 w 9847941"/>
                  <a:gd name="connsiteY3652" fmla="*/ 824727 h 1864765"/>
                  <a:gd name="connsiteX3653" fmla="*/ 9635055 w 9847941"/>
                  <a:gd name="connsiteY3653" fmla="*/ 825636 h 1864765"/>
                  <a:gd name="connsiteX3654" fmla="*/ 9637782 w 9847941"/>
                  <a:gd name="connsiteY3654" fmla="*/ 826848 h 1864765"/>
                  <a:gd name="connsiteX3655" fmla="*/ 9638388 w 9847941"/>
                  <a:gd name="connsiteY3655" fmla="*/ 825788 h 1864765"/>
                  <a:gd name="connsiteX3656" fmla="*/ 9639600 w 9847941"/>
                  <a:gd name="connsiteY3656" fmla="*/ 824879 h 1864765"/>
                  <a:gd name="connsiteX3657" fmla="*/ 9639297 w 9847941"/>
                  <a:gd name="connsiteY3657" fmla="*/ 824121 h 1864765"/>
                  <a:gd name="connsiteX3658" fmla="*/ 9638084 w 9847941"/>
                  <a:gd name="connsiteY3658" fmla="*/ 822909 h 1864765"/>
                  <a:gd name="connsiteX3659" fmla="*/ 2122655 w 9847941"/>
                  <a:gd name="connsiteY3659" fmla="*/ 1005946 h 1864765"/>
                  <a:gd name="connsiteX3660" fmla="*/ 2122503 w 9847941"/>
                  <a:gd name="connsiteY3660" fmla="*/ 1005491 h 1864765"/>
                  <a:gd name="connsiteX3661" fmla="*/ 2121746 w 9847941"/>
                  <a:gd name="connsiteY3661" fmla="*/ 1004734 h 1864765"/>
                  <a:gd name="connsiteX3662" fmla="*/ 2121291 w 9847941"/>
                  <a:gd name="connsiteY3662" fmla="*/ 1004582 h 1864765"/>
                  <a:gd name="connsiteX3663" fmla="*/ 2120988 w 9847941"/>
                  <a:gd name="connsiteY3663" fmla="*/ 1005037 h 1864765"/>
                  <a:gd name="connsiteX3664" fmla="*/ 2121139 w 9847941"/>
                  <a:gd name="connsiteY3664" fmla="*/ 1005491 h 1864765"/>
                  <a:gd name="connsiteX3665" fmla="*/ 2122200 w 9847941"/>
                  <a:gd name="connsiteY3665" fmla="*/ 1006097 h 1864765"/>
                  <a:gd name="connsiteX3666" fmla="*/ 2122655 w 9847941"/>
                  <a:gd name="connsiteY3666" fmla="*/ 1005946 h 1864765"/>
                  <a:gd name="connsiteX3667" fmla="*/ 2392816 w 9847941"/>
                  <a:gd name="connsiteY3667" fmla="*/ 1697638 h 1864765"/>
                  <a:gd name="connsiteX3668" fmla="*/ 2392513 w 9847941"/>
                  <a:gd name="connsiteY3668" fmla="*/ 1698092 h 1864765"/>
                  <a:gd name="connsiteX3669" fmla="*/ 2392968 w 9847941"/>
                  <a:gd name="connsiteY3669" fmla="*/ 1698092 h 1864765"/>
                  <a:gd name="connsiteX3670" fmla="*/ 2394180 w 9847941"/>
                  <a:gd name="connsiteY3670" fmla="*/ 1697638 h 1864765"/>
                  <a:gd name="connsiteX3671" fmla="*/ 2394180 w 9847941"/>
                  <a:gd name="connsiteY3671" fmla="*/ 1697183 h 1864765"/>
                  <a:gd name="connsiteX3672" fmla="*/ 2393725 w 9847941"/>
                  <a:gd name="connsiteY3672" fmla="*/ 1696880 h 1864765"/>
                  <a:gd name="connsiteX3673" fmla="*/ 2392816 w 9847941"/>
                  <a:gd name="connsiteY3673" fmla="*/ 1697638 h 1864765"/>
                  <a:gd name="connsiteX3674" fmla="*/ 2384634 w 9847941"/>
                  <a:gd name="connsiteY3674" fmla="*/ 1700668 h 1864765"/>
                  <a:gd name="connsiteX3675" fmla="*/ 2385998 w 9847941"/>
                  <a:gd name="connsiteY3675" fmla="*/ 1701123 h 1864765"/>
                  <a:gd name="connsiteX3676" fmla="*/ 2387210 w 9847941"/>
                  <a:gd name="connsiteY3676" fmla="*/ 1700365 h 1864765"/>
                  <a:gd name="connsiteX3677" fmla="*/ 2388725 w 9847941"/>
                  <a:gd name="connsiteY3677" fmla="*/ 1700062 h 1864765"/>
                  <a:gd name="connsiteX3678" fmla="*/ 2390392 w 9847941"/>
                  <a:gd name="connsiteY3678" fmla="*/ 1699153 h 1864765"/>
                  <a:gd name="connsiteX3679" fmla="*/ 2386149 w 9847941"/>
                  <a:gd name="connsiteY3679" fmla="*/ 1699911 h 1864765"/>
                  <a:gd name="connsiteX3680" fmla="*/ 2384634 w 9847941"/>
                  <a:gd name="connsiteY3680" fmla="*/ 1700668 h 1864765"/>
                  <a:gd name="connsiteX3681" fmla="*/ 2376906 w 9847941"/>
                  <a:gd name="connsiteY3681" fmla="*/ 1699607 h 1864765"/>
                  <a:gd name="connsiteX3682" fmla="*/ 2376906 w 9847941"/>
                  <a:gd name="connsiteY3682" fmla="*/ 1700062 h 1864765"/>
                  <a:gd name="connsiteX3683" fmla="*/ 2378119 w 9847941"/>
                  <a:gd name="connsiteY3683" fmla="*/ 1702032 h 1864765"/>
                  <a:gd name="connsiteX3684" fmla="*/ 2378119 w 9847941"/>
                  <a:gd name="connsiteY3684" fmla="*/ 1702789 h 1864765"/>
                  <a:gd name="connsiteX3685" fmla="*/ 2378573 w 9847941"/>
                  <a:gd name="connsiteY3685" fmla="*/ 1702941 h 1864765"/>
                  <a:gd name="connsiteX3686" fmla="*/ 2379331 w 9847941"/>
                  <a:gd name="connsiteY3686" fmla="*/ 1702335 h 1864765"/>
                  <a:gd name="connsiteX3687" fmla="*/ 2379785 w 9847941"/>
                  <a:gd name="connsiteY3687" fmla="*/ 1701880 h 1864765"/>
                  <a:gd name="connsiteX3688" fmla="*/ 2379785 w 9847941"/>
                  <a:gd name="connsiteY3688" fmla="*/ 1701426 h 1864765"/>
                  <a:gd name="connsiteX3689" fmla="*/ 2376906 w 9847941"/>
                  <a:gd name="connsiteY3689" fmla="*/ 1699607 h 1864765"/>
                  <a:gd name="connsiteX3690" fmla="*/ 2513123 w 9847941"/>
                  <a:gd name="connsiteY3690" fmla="*/ 1401263 h 1864765"/>
                  <a:gd name="connsiteX3691" fmla="*/ 2510548 w 9847941"/>
                  <a:gd name="connsiteY3691" fmla="*/ 1405051 h 1864765"/>
                  <a:gd name="connsiteX3692" fmla="*/ 2511154 w 9847941"/>
                  <a:gd name="connsiteY3692" fmla="*/ 1404748 h 1864765"/>
                  <a:gd name="connsiteX3693" fmla="*/ 2515093 w 9847941"/>
                  <a:gd name="connsiteY3693" fmla="*/ 1399748 h 1864765"/>
                  <a:gd name="connsiteX3694" fmla="*/ 2519184 w 9847941"/>
                  <a:gd name="connsiteY3694" fmla="*/ 1395506 h 1864765"/>
                  <a:gd name="connsiteX3695" fmla="*/ 2517821 w 9847941"/>
                  <a:gd name="connsiteY3695" fmla="*/ 1396263 h 1864765"/>
                  <a:gd name="connsiteX3696" fmla="*/ 2513123 w 9847941"/>
                  <a:gd name="connsiteY3696" fmla="*/ 1401263 h 1864765"/>
                  <a:gd name="connsiteX3697" fmla="*/ 2397513 w 9847941"/>
                  <a:gd name="connsiteY3697" fmla="*/ 1695213 h 1864765"/>
                  <a:gd name="connsiteX3698" fmla="*/ 2398271 w 9847941"/>
                  <a:gd name="connsiteY3698" fmla="*/ 1695062 h 1864765"/>
                  <a:gd name="connsiteX3699" fmla="*/ 2398877 w 9847941"/>
                  <a:gd name="connsiteY3699" fmla="*/ 1694001 h 1864765"/>
                  <a:gd name="connsiteX3700" fmla="*/ 2398574 w 9847941"/>
                  <a:gd name="connsiteY3700" fmla="*/ 1693850 h 1864765"/>
                  <a:gd name="connsiteX3701" fmla="*/ 2397513 w 9847941"/>
                  <a:gd name="connsiteY3701" fmla="*/ 1695213 h 1864765"/>
                  <a:gd name="connsiteX3702" fmla="*/ 2506760 w 9847941"/>
                  <a:gd name="connsiteY3702" fmla="*/ 1403082 h 1864765"/>
                  <a:gd name="connsiteX3703" fmla="*/ 2507063 w 9847941"/>
                  <a:gd name="connsiteY3703" fmla="*/ 1403536 h 1864765"/>
                  <a:gd name="connsiteX3704" fmla="*/ 2508578 w 9847941"/>
                  <a:gd name="connsiteY3704" fmla="*/ 1404142 h 1864765"/>
                  <a:gd name="connsiteX3705" fmla="*/ 2509639 w 9847941"/>
                  <a:gd name="connsiteY3705" fmla="*/ 1404445 h 1864765"/>
                  <a:gd name="connsiteX3706" fmla="*/ 2510245 w 9847941"/>
                  <a:gd name="connsiteY3706" fmla="*/ 1404445 h 1864765"/>
                  <a:gd name="connsiteX3707" fmla="*/ 2508124 w 9847941"/>
                  <a:gd name="connsiteY3707" fmla="*/ 1403233 h 1864765"/>
                  <a:gd name="connsiteX3708" fmla="*/ 2506760 w 9847941"/>
                  <a:gd name="connsiteY3708" fmla="*/ 1403082 h 1864765"/>
                  <a:gd name="connsiteX3709" fmla="*/ 2366148 w 9847941"/>
                  <a:gd name="connsiteY3709" fmla="*/ 1705062 h 1864765"/>
                  <a:gd name="connsiteX3710" fmla="*/ 2366148 w 9847941"/>
                  <a:gd name="connsiteY3710" fmla="*/ 1705517 h 1864765"/>
                  <a:gd name="connsiteX3711" fmla="*/ 2366906 w 9847941"/>
                  <a:gd name="connsiteY3711" fmla="*/ 1705517 h 1864765"/>
                  <a:gd name="connsiteX3712" fmla="*/ 2368118 w 9847941"/>
                  <a:gd name="connsiteY3712" fmla="*/ 1705214 h 1864765"/>
                  <a:gd name="connsiteX3713" fmla="*/ 2368118 w 9847941"/>
                  <a:gd name="connsiteY3713" fmla="*/ 1704608 h 1864765"/>
                  <a:gd name="connsiteX3714" fmla="*/ 2367361 w 9847941"/>
                  <a:gd name="connsiteY3714" fmla="*/ 1704608 h 1864765"/>
                  <a:gd name="connsiteX3715" fmla="*/ 2366148 w 9847941"/>
                  <a:gd name="connsiteY3715" fmla="*/ 1705062 h 1864765"/>
                  <a:gd name="connsiteX3716" fmla="*/ 2406150 w 9847941"/>
                  <a:gd name="connsiteY3716" fmla="*/ 1683698 h 1864765"/>
                  <a:gd name="connsiteX3717" fmla="*/ 2405998 w 9847941"/>
                  <a:gd name="connsiteY3717" fmla="*/ 1685516 h 1864765"/>
                  <a:gd name="connsiteX3718" fmla="*/ 2404635 w 9847941"/>
                  <a:gd name="connsiteY3718" fmla="*/ 1687031 h 1864765"/>
                  <a:gd name="connsiteX3719" fmla="*/ 2403271 w 9847941"/>
                  <a:gd name="connsiteY3719" fmla="*/ 1687940 h 1864765"/>
                  <a:gd name="connsiteX3720" fmla="*/ 2402514 w 9847941"/>
                  <a:gd name="connsiteY3720" fmla="*/ 1689304 h 1864765"/>
                  <a:gd name="connsiteX3721" fmla="*/ 2400392 w 9847941"/>
                  <a:gd name="connsiteY3721" fmla="*/ 1692183 h 1864765"/>
                  <a:gd name="connsiteX3722" fmla="*/ 2399786 w 9847941"/>
                  <a:gd name="connsiteY3722" fmla="*/ 1693547 h 1864765"/>
                  <a:gd name="connsiteX3723" fmla="*/ 2405241 w 9847941"/>
                  <a:gd name="connsiteY3723" fmla="*/ 1688092 h 1864765"/>
                  <a:gd name="connsiteX3724" fmla="*/ 2408726 w 9847941"/>
                  <a:gd name="connsiteY3724" fmla="*/ 1682183 h 1864765"/>
                  <a:gd name="connsiteX3725" fmla="*/ 2408120 w 9847941"/>
                  <a:gd name="connsiteY3725" fmla="*/ 1682334 h 1864765"/>
                  <a:gd name="connsiteX3726" fmla="*/ 2406150 w 9847941"/>
                  <a:gd name="connsiteY3726" fmla="*/ 1683698 h 1864765"/>
                  <a:gd name="connsiteX3727" fmla="*/ 2372512 w 9847941"/>
                  <a:gd name="connsiteY3727" fmla="*/ 1703093 h 1864765"/>
                  <a:gd name="connsiteX3728" fmla="*/ 2371149 w 9847941"/>
                  <a:gd name="connsiteY3728" fmla="*/ 1704305 h 1864765"/>
                  <a:gd name="connsiteX3729" fmla="*/ 2372967 w 9847941"/>
                  <a:gd name="connsiteY3729" fmla="*/ 1704002 h 1864765"/>
                  <a:gd name="connsiteX3730" fmla="*/ 2373876 w 9847941"/>
                  <a:gd name="connsiteY3730" fmla="*/ 1703547 h 1864765"/>
                  <a:gd name="connsiteX3731" fmla="*/ 2373876 w 9847941"/>
                  <a:gd name="connsiteY3731" fmla="*/ 1702789 h 1864765"/>
                  <a:gd name="connsiteX3732" fmla="*/ 2372967 w 9847941"/>
                  <a:gd name="connsiteY3732" fmla="*/ 1701426 h 1864765"/>
                  <a:gd name="connsiteX3733" fmla="*/ 2372512 w 9847941"/>
                  <a:gd name="connsiteY3733" fmla="*/ 1703093 h 1864765"/>
                  <a:gd name="connsiteX3734" fmla="*/ 2358572 w 9847941"/>
                  <a:gd name="connsiteY3734" fmla="*/ 1648848 h 1864765"/>
                  <a:gd name="connsiteX3735" fmla="*/ 2358572 w 9847941"/>
                  <a:gd name="connsiteY3735" fmla="*/ 1647181 h 1864765"/>
                  <a:gd name="connsiteX3736" fmla="*/ 2357512 w 9847941"/>
                  <a:gd name="connsiteY3736" fmla="*/ 1643848 h 1864765"/>
                  <a:gd name="connsiteX3737" fmla="*/ 2356148 w 9847941"/>
                  <a:gd name="connsiteY3737" fmla="*/ 1642787 h 1864765"/>
                  <a:gd name="connsiteX3738" fmla="*/ 2357057 w 9847941"/>
                  <a:gd name="connsiteY3738" fmla="*/ 1645969 h 1864765"/>
                  <a:gd name="connsiteX3739" fmla="*/ 2358572 w 9847941"/>
                  <a:gd name="connsiteY3739" fmla="*/ 1648848 h 1864765"/>
                  <a:gd name="connsiteX3740" fmla="*/ 2173111 w 9847941"/>
                  <a:gd name="connsiteY3740" fmla="*/ 1543693 h 1864765"/>
                  <a:gd name="connsiteX3741" fmla="*/ 2174172 w 9847941"/>
                  <a:gd name="connsiteY3741" fmla="*/ 1547481 h 1864765"/>
                  <a:gd name="connsiteX3742" fmla="*/ 2173414 w 9847941"/>
                  <a:gd name="connsiteY3742" fmla="*/ 1552026 h 1864765"/>
                  <a:gd name="connsiteX3743" fmla="*/ 2174172 w 9847941"/>
                  <a:gd name="connsiteY3743" fmla="*/ 1551117 h 1864765"/>
                  <a:gd name="connsiteX3744" fmla="*/ 2174626 w 9847941"/>
                  <a:gd name="connsiteY3744" fmla="*/ 1547329 h 1864765"/>
                  <a:gd name="connsiteX3745" fmla="*/ 2174323 w 9847941"/>
                  <a:gd name="connsiteY3745" fmla="*/ 1545359 h 1864765"/>
                  <a:gd name="connsiteX3746" fmla="*/ 2173111 w 9847941"/>
                  <a:gd name="connsiteY3746" fmla="*/ 1543693 h 1864765"/>
                  <a:gd name="connsiteX3747" fmla="*/ 2170990 w 9847941"/>
                  <a:gd name="connsiteY3747" fmla="*/ 1554905 h 1864765"/>
                  <a:gd name="connsiteX3748" fmla="*/ 2170990 w 9847941"/>
                  <a:gd name="connsiteY3748" fmla="*/ 1555511 h 1864765"/>
                  <a:gd name="connsiteX3749" fmla="*/ 2172505 w 9847941"/>
                  <a:gd name="connsiteY3749" fmla="*/ 1553996 h 1864765"/>
                  <a:gd name="connsiteX3750" fmla="*/ 2172959 w 9847941"/>
                  <a:gd name="connsiteY3750" fmla="*/ 1552784 h 1864765"/>
                  <a:gd name="connsiteX3751" fmla="*/ 2172202 w 9847941"/>
                  <a:gd name="connsiteY3751" fmla="*/ 1553390 h 1864765"/>
                  <a:gd name="connsiteX3752" fmla="*/ 2170990 w 9847941"/>
                  <a:gd name="connsiteY3752" fmla="*/ 1554905 h 1864765"/>
                  <a:gd name="connsiteX3753" fmla="*/ 2092956 w 9847941"/>
                  <a:gd name="connsiteY3753" fmla="*/ 1557481 h 1864765"/>
                  <a:gd name="connsiteX3754" fmla="*/ 2090835 w 9847941"/>
                  <a:gd name="connsiteY3754" fmla="*/ 1556118 h 1864765"/>
                  <a:gd name="connsiteX3755" fmla="*/ 2089471 w 9847941"/>
                  <a:gd name="connsiteY3755" fmla="*/ 1555966 h 1864765"/>
                  <a:gd name="connsiteX3756" fmla="*/ 2087199 w 9847941"/>
                  <a:gd name="connsiteY3756" fmla="*/ 1557027 h 1864765"/>
                  <a:gd name="connsiteX3757" fmla="*/ 2087502 w 9847941"/>
                  <a:gd name="connsiteY3757" fmla="*/ 1558087 h 1864765"/>
                  <a:gd name="connsiteX3758" fmla="*/ 2092047 w 9847941"/>
                  <a:gd name="connsiteY3758" fmla="*/ 1560663 h 1864765"/>
                  <a:gd name="connsiteX3759" fmla="*/ 2093108 w 9847941"/>
                  <a:gd name="connsiteY3759" fmla="*/ 1560208 h 1864765"/>
                  <a:gd name="connsiteX3760" fmla="*/ 2094017 w 9847941"/>
                  <a:gd name="connsiteY3760" fmla="*/ 1558996 h 1864765"/>
                  <a:gd name="connsiteX3761" fmla="*/ 2094169 w 9847941"/>
                  <a:gd name="connsiteY3761" fmla="*/ 1558239 h 1864765"/>
                  <a:gd name="connsiteX3762" fmla="*/ 2093865 w 9847941"/>
                  <a:gd name="connsiteY3762" fmla="*/ 1557784 h 1864765"/>
                  <a:gd name="connsiteX3763" fmla="*/ 2092956 w 9847941"/>
                  <a:gd name="connsiteY3763" fmla="*/ 1557481 h 1864765"/>
                  <a:gd name="connsiteX3764" fmla="*/ 2177051 w 9847941"/>
                  <a:gd name="connsiteY3764" fmla="*/ 1537480 h 1864765"/>
                  <a:gd name="connsiteX3765" fmla="*/ 2177354 w 9847941"/>
                  <a:gd name="connsiteY3765" fmla="*/ 1538087 h 1864765"/>
                  <a:gd name="connsiteX3766" fmla="*/ 2178869 w 9847941"/>
                  <a:gd name="connsiteY3766" fmla="*/ 1538693 h 1864765"/>
                  <a:gd name="connsiteX3767" fmla="*/ 2181293 w 9847941"/>
                  <a:gd name="connsiteY3767" fmla="*/ 1539299 h 1864765"/>
                  <a:gd name="connsiteX3768" fmla="*/ 2181596 w 9847941"/>
                  <a:gd name="connsiteY3768" fmla="*/ 1538996 h 1864765"/>
                  <a:gd name="connsiteX3769" fmla="*/ 2181142 w 9847941"/>
                  <a:gd name="connsiteY3769" fmla="*/ 1538541 h 1864765"/>
                  <a:gd name="connsiteX3770" fmla="*/ 2177051 w 9847941"/>
                  <a:gd name="connsiteY3770" fmla="*/ 1537480 h 1864765"/>
                  <a:gd name="connsiteX3771" fmla="*/ 2189627 w 9847941"/>
                  <a:gd name="connsiteY3771" fmla="*/ 1537783 h 1864765"/>
                  <a:gd name="connsiteX3772" fmla="*/ 2188263 w 9847941"/>
                  <a:gd name="connsiteY3772" fmla="*/ 1538238 h 1864765"/>
                  <a:gd name="connsiteX3773" fmla="*/ 2189021 w 9847941"/>
                  <a:gd name="connsiteY3773" fmla="*/ 1538389 h 1864765"/>
                  <a:gd name="connsiteX3774" fmla="*/ 2192657 w 9847941"/>
                  <a:gd name="connsiteY3774" fmla="*/ 1538389 h 1864765"/>
                  <a:gd name="connsiteX3775" fmla="*/ 2195082 w 9847941"/>
                  <a:gd name="connsiteY3775" fmla="*/ 1537783 h 1864765"/>
                  <a:gd name="connsiteX3776" fmla="*/ 2194021 w 9847941"/>
                  <a:gd name="connsiteY3776" fmla="*/ 1537177 h 1864765"/>
                  <a:gd name="connsiteX3777" fmla="*/ 2189627 w 9847941"/>
                  <a:gd name="connsiteY3777" fmla="*/ 1537783 h 1864765"/>
                  <a:gd name="connsiteX3778" fmla="*/ 2357209 w 9847941"/>
                  <a:gd name="connsiteY3778" fmla="*/ 1649303 h 1864765"/>
                  <a:gd name="connsiteX3779" fmla="*/ 2355542 w 9847941"/>
                  <a:gd name="connsiteY3779" fmla="*/ 1647181 h 1864765"/>
                  <a:gd name="connsiteX3780" fmla="*/ 2355997 w 9847941"/>
                  <a:gd name="connsiteY3780" fmla="*/ 1649151 h 1864765"/>
                  <a:gd name="connsiteX3781" fmla="*/ 2357057 w 9847941"/>
                  <a:gd name="connsiteY3781" fmla="*/ 1650212 h 1864765"/>
                  <a:gd name="connsiteX3782" fmla="*/ 2359027 w 9847941"/>
                  <a:gd name="connsiteY3782" fmla="*/ 1650818 h 1864765"/>
                  <a:gd name="connsiteX3783" fmla="*/ 2359936 w 9847941"/>
                  <a:gd name="connsiteY3783" fmla="*/ 1650060 h 1864765"/>
                  <a:gd name="connsiteX3784" fmla="*/ 2357815 w 9847941"/>
                  <a:gd name="connsiteY3784" fmla="*/ 1649909 h 1864765"/>
                  <a:gd name="connsiteX3785" fmla="*/ 2357209 w 9847941"/>
                  <a:gd name="connsiteY3785" fmla="*/ 1649303 h 1864765"/>
                  <a:gd name="connsiteX3786" fmla="*/ 2282206 w 9847941"/>
                  <a:gd name="connsiteY3786" fmla="*/ 1555057 h 1864765"/>
                  <a:gd name="connsiteX3787" fmla="*/ 2278873 w 9847941"/>
                  <a:gd name="connsiteY3787" fmla="*/ 1556572 h 1864765"/>
                  <a:gd name="connsiteX3788" fmla="*/ 2277509 w 9847941"/>
                  <a:gd name="connsiteY3788" fmla="*/ 1556269 h 1864765"/>
                  <a:gd name="connsiteX3789" fmla="*/ 2275690 w 9847941"/>
                  <a:gd name="connsiteY3789" fmla="*/ 1556420 h 1864765"/>
                  <a:gd name="connsiteX3790" fmla="*/ 2278721 w 9847941"/>
                  <a:gd name="connsiteY3790" fmla="*/ 1557178 h 1864765"/>
                  <a:gd name="connsiteX3791" fmla="*/ 2281448 w 9847941"/>
                  <a:gd name="connsiteY3791" fmla="*/ 1556118 h 1864765"/>
                  <a:gd name="connsiteX3792" fmla="*/ 2286145 w 9847941"/>
                  <a:gd name="connsiteY3792" fmla="*/ 1553390 h 1864765"/>
                  <a:gd name="connsiteX3793" fmla="*/ 2284024 w 9847941"/>
                  <a:gd name="connsiteY3793" fmla="*/ 1553845 h 1864765"/>
                  <a:gd name="connsiteX3794" fmla="*/ 2282206 w 9847941"/>
                  <a:gd name="connsiteY3794" fmla="*/ 1555057 h 1864765"/>
                  <a:gd name="connsiteX3795" fmla="*/ 2725556 w 9847941"/>
                  <a:gd name="connsiteY3795" fmla="*/ 1096555 h 1864765"/>
                  <a:gd name="connsiteX3796" fmla="*/ 2725101 w 9847941"/>
                  <a:gd name="connsiteY3796" fmla="*/ 1096858 h 1864765"/>
                  <a:gd name="connsiteX3797" fmla="*/ 2724798 w 9847941"/>
                  <a:gd name="connsiteY3797" fmla="*/ 1097464 h 1864765"/>
                  <a:gd name="connsiteX3798" fmla="*/ 2724798 w 9847941"/>
                  <a:gd name="connsiteY3798" fmla="*/ 1099131 h 1864765"/>
                  <a:gd name="connsiteX3799" fmla="*/ 2725859 w 9847941"/>
                  <a:gd name="connsiteY3799" fmla="*/ 1099283 h 1864765"/>
                  <a:gd name="connsiteX3800" fmla="*/ 2726919 w 9847941"/>
                  <a:gd name="connsiteY3800" fmla="*/ 1098676 h 1864765"/>
                  <a:gd name="connsiteX3801" fmla="*/ 2726010 w 9847941"/>
                  <a:gd name="connsiteY3801" fmla="*/ 1097161 h 1864765"/>
                  <a:gd name="connsiteX3802" fmla="*/ 2725556 w 9847941"/>
                  <a:gd name="connsiteY3802" fmla="*/ 1096555 h 1864765"/>
                  <a:gd name="connsiteX3803" fmla="*/ 2771012 w 9847941"/>
                  <a:gd name="connsiteY3803" fmla="*/ 1076100 h 1864765"/>
                  <a:gd name="connsiteX3804" fmla="*/ 2768436 w 9847941"/>
                  <a:gd name="connsiteY3804" fmla="*/ 1075494 h 1864765"/>
                  <a:gd name="connsiteX3805" fmla="*/ 2768285 w 9847941"/>
                  <a:gd name="connsiteY3805" fmla="*/ 1073524 h 1864765"/>
                  <a:gd name="connsiteX3806" fmla="*/ 2769194 w 9847941"/>
                  <a:gd name="connsiteY3806" fmla="*/ 1072009 h 1864765"/>
                  <a:gd name="connsiteX3807" fmla="*/ 2768588 w 9847941"/>
                  <a:gd name="connsiteY3807" fmla="*/ 1068675 h 1864765"/>
                  <a:gd name="connsiteX3808" fmla="*/ 2767830 w 9847941"/>
                  <a:gd name="connsiteY3808" fmla="*/ 1067009 h 1864765"/>
                  <a:gd name="connsiteX3809" fmla="*/ 2767982 w 9847941"/>
                  <a:gd name="connsiteY3809" fmla="*/ 1065948 h 1864765"/>
                  <a:gd name="connsiteX3810" fmla="*/ 2766769 w 9847941"/>
                  <a:gd name="connsiteY3810" fmla="*/ 1065494 h 1864765"/>
                  <a:gd name="connsiteX3811" fmla="*/ 2765557 w 9847941"/>
                  <a:gd name="connsiteY3811" fmla="*/ 1065190 h 1864765"/>
                  <a:gd name="connsiteX3812" fmla="*/ 2764497 w 9847941"/>
                  <a:gd name="connsiteY3812" fmla="*/ 1064887 h 1864765"/>
                  <a:gd name="connsiteX3813" fmla="*/ 2763890 w 9847941"/>
                  <a:gd name="connsiteY3813" fmla="*/ 1065342 h 1864765"/>
                  <a:gd name="connsiteX3814" fmla="*/ 2763284 w 9847941"/>
                  <a:gd name="connsiteY3814" fmla="*/ 1065948 h 1864765"/>
                  <a:gd name="connsiteX3815" fmla="*/ 2762678 w 9847941"/>
                  <a:gd name="connsiteY3815" fmla="*/ 1066403 h 1864765"/>
                  <a:gd name="connsiteX3816" fmla="*/ 2761315 w 9847941"/>
                  <a:gd name="connsiteY3816" fmla="*/ 1065797 h 1864765"/>
                  <a:gd name="connsiteX3817" fmla="*/ 2760405 w 9847941"/>
                  <a:gd name="connsiteY3817" fmla="*/ 1064584 h 1864765"/>
                  <a:gd name="connsiteX3818" fmla="*/ 2758890 w 9847941"/>
                  <a:gd name="connsiteY3818" fmla="*/ 1063372 h 1864765"/>
                  <a:gd name="connsiteX3819" fmla="*/ 2758284 w 9847941"/>
                  <a:gd name="connsiteY3819" fmla="*/ 1062463 h 1864765"/>
                  <a:gd name="connsiteX3820" fmla="*/ 2758587 w 9847941"/>
                  <a:gd name="connsiteY3820" fmla="*/ 1061402 h 1864765"/>
                  <a:gd name="connsiteX3821" fmla="*/ 2759193 w 9847941"/>
                  <a:gd name="connsiteY3821" fmla="*/ 1060342 h 1864765"/>
                  <a:gd name="connsiteX3822" fmla="*/ 2759496 w 9847941"/>
                  <a:gd name="connsiteY3822" fmla="*/ 1059130 h 1864765"/>
                  <a:gd name="connsiteX3823" fmla="*/ 2758739 w 9847941"/>
                  <a:gd name="connsiteY3823" fmla="*/ 1057614 h 1864765"/>
                  <a:gd name="connsiteX3824" fmla="*/ 2758133 w 9847941"/>
                  <a:gd name="connsiteY3824" fmla="*/ 1056705 h 1864765"/>
                  <a:gd name="connsiteX3825" fmla="*/ 2757678 w 9847941"/>
                  <a:gd name="connsiteY3825" fmla="*/ 1055796 h 1864765"/>
                  <a:gd name="connsiteX3826" fmla="*/ 2757830 w 9847941"/>
                  <a:gd name="connsiteY3826" fmla="*/ 1054887 h 1864765"/>
                  <a:gd name="connsiteX3827" fmla="*/ 2758739 w 9847941"/>
                  <a:gd name="connsiteY3827" fmla="*/ 1054432 h 1864765"/>
                  <a:gd name="connsiteX3828" fmla="*/ 2759648 w 9847941"/>
                  <a:gd name="connsiteY3828" fmla="*/ 1053826 h 1864765"/>
                  <a:gd name="connsiteX3829" fmla="*/ 2759951 w 9847941"/>
                  <a:gd name="connsiteY3829" fmla="*/ 1052614 h 1864765"/>
                  <a:gd name="connsiteX3830" fmla="*/ 2759496 w 9847941"/>
                  <a:gd name="connsiteY3830" fmla="*/ 1051402 h 1864765"/>
                  <a:gd name="connsiteX3831" fmla="*/ 2759042 w 9847941"/>
                  <a:gd name="connsiteY3831" fmla="*/ 1051251 h 1864765"/>
                  <a:gd name="connsiteX3832" fmla="*/ 2759042 w 9847941"/>
                  <a:gd name="connsiteY3832" fmla="*/ 1051251 h 1864765"/>
                  <a:gd name="connsiteX3833" fmla="*/ 2757375 w 9847941"/>
                  <a:gd name="connsiteY3833" fmla="*/ 1051857 h 1864765"/>
                  <a:gd name="connsiteX3834" fmla="*/ 2754345 w 9847941"/>
                  <a:gd name="connsiteY3834" fmla="*/ 1051402 h 1864765"/>
                  <a:gd name="connsiteX3835" fmla="*/ 2750102 w 9847941"/>
                  <a:gd name="connsiteY3835" fmla="*/ 1049129 h 1864765"/>
                  <a:gd name="connsiteX3836" fmla="*/ 2747829 w 9847941"/>
                  <a:gd name="connsiteY3836" fmla="*/ 1046705 h 1864765"/>
                  <a:gd name="connsiteX3837" fmla="*/ 2749496 w 9847941"/>
                  <a:gd name="connsiteY3837" fmla="*/ 1046099 h 1864765"/>
                  <a:gd name="connsiteX3838" fmla="*/ 2749496 w 9847941"/>
                  <a:gd name="connsiteY3838" fmla="*/ 1045644 h 1864765"/>
                  <a:gd name="connsiteX3839" fmla="*/ 2749647 w 9847941"/>
                  <a:gd name="connsiteY3839" fmla="*/ 1044735 h 1864765"/>
                  <a:gd name="connsiteX3840" fmla="*/ 2750102 w 9847941"/>
                  <a:gd name="connsiteY3840" fmla="*/ 1043977 h 1864765"/>
                  <a:gd name="connsiteX3841" fmla="*/ 2750102 w 9847941"/>
                  <a:gd name="connsiteY3841" fmla="*/ 1043068 h 1864765"/>
                  <a:gd name="connsiteX3842" fmla="*/ 2749951 w 9847941"/>
                  <a:gd name="connsiteY3842" fmla="*/ 1042462 h 1864765"/>
                  <a:gd name="connsiteX3843" fmla="*/ 2749951 w 9847941"/>
                  <a:gd name="connsiteY3843" fmla="*/ 1042008 h 1864765"/>
                  <a:gd name="connsiteX3844" fmla="*/ 2750102 w 9847941"/>
                  <a:gd name="connsiteY3844" fmla="*/ 1041402 h 1864765"/>
                  <a:gd name="connsiteX3845" fmla="*/ 2750405 w 9847941"/>
                  <a:gd name="connsiteY3845" fmla="*/ 1040189 h 1864765"/>
                  <a:gd name="connsiteX3846" fmla="*/ 2749951 w 9847941"/>
                  <a:gd name="connsiteY3846" fmla="*/ 1039280 h 1864765"/>
                  <a:gd name="connsiteX3847" fmla="*/ 2749951 w 9847941"/>
                  <a:gd name="connsiteY3847" fmla="*/ 1036250 h 1864765"/>
                  <a:gd name="connsiteX3848" fmla="*/ 2749799 w 9847941"/>
                  <a:gd name="connsiteY3848" fmla="*/ 1030492 h 1864765"/>
                  <a:gd name="connsiteX3849" fmla="*/ 2749799 w 9847941"/>
                  <a:gd name="connsiteY3849" fmla="*/ 1026098 h 1864765"/>
                  <a:gd name="connsiteX3850" fmla="*/ 2749647 w 9847941"/>
                  <a:gd name="connsiteY3850" fmla="*/ 1020643 h 1864765"/>
                  <a:gd name="connsiteX3851" fmla="*/ 2749647 w 9847941"/>
                  <a:gd name="connsiteY3851" fmla="*/ 1016552 h 1864765"/>
                  <a:gd name="connsiteX3852" fmla="*/ 2749647 w 9847941"/>
                  <a:gd name="connsiteY3852" fmla="*/ 1010946 h 1864765"/>
                  <a:gd name="connsiteX3853" fmla="*/ 2749647 w 9847941"/>
                  <a:gd name="connsiteY3853" fmla="*/ 1005643 h 1864765"/>
                  <a:gd name="connsiteX3854" fmla="*/ 2749496 w 9847941"/>
                  <a:gd name="connsiteY3854" fmla="*/ 1000643 h 1864765"/>
                  <a:gd name="connsiteX3855" fmla="*/ 2746011 w 9847941"/>
                  <a:gd name="connsiteY3855" fmla="*/ 997764 h 1864765"/>
                  <a:gd name="connsiteX3856" fmla="*/ 2741617 w 9847941"/>
                  <a:gd name="connsiteY3856" fmla="*/ 994127 h 1864765"/>
                  <a:gd name="connsiteX3857" fmla="*/ 2737829 w 9847941"/>
                  <a:gd name="connsiteY3857" fmla="*/ 991703 h 1864765"/>
                  <a:gd name="connsiteX3858" fmla="*/ 2735708 w 9847941"/>
                  <a:gd name="connsiteY3858" fmla="*/ 991400 h 1864765"/>
                  <a:gd name="connsiteX3859" fmla="*/ 2734344 w 9847941"/>
                  <a:gd name="connsiteY3859" fmla="*/ 991703 h 1864765"/>
                  <a:gd name="connsiteX3860" fmla="*/ 2733889 w 9847941"/>
                  <a:gd name="connsiteY3860" fmla="*/ 992612 h 1864765"/>
                  <a:gd name="connsiteX3861" fmla="*/ 2731010 w 9847941"/>
                  <a:gd name="connsiteY3861" fmla="*/ 993673 h 1864765"/>
                  <a:gd name="connsiteX3862" fmla="*/ 2725859 w 9847941"/>
                  <a:gd name="connsiteY3862" fmla="*/ 994733 h 1864765"/>
                  <a:gd name="connsiteX3863" fmla="*/ 2721465 w 9847941"/>
                  <a:gd name="connsiteY3863" fmla="*/ 996400 h 1864765"/>
                  <a:gd name="connsiteX3864" fmla="*/ 2719798 w 9847941"/>
                  <a:gd name="connsiteY3864" fmla="*/ 996400 h 1864765"/>
                  <a:gd name="connsiteX3865" fmla="*/ 2718434 w 9847941"/>
                  <a:gd name="connsiteY3865" fmla="*/ 996097 h 1864765"/>
                  <a:gd name="connsiteX3866" fmla="*/ 2716616 w 9847941"/>
                  <a:gd name="connsiteY3866" fmla="*/ 995188 h 1864765"/>
                  <a:gd name="connsiteX3867" fmla="*/ 2715404 w 9847941"/>
                  <a:gd name="connsiteY3867" fmla="*/ 993976 h 1864765"/>
                  <a:gd name="connsiteX3868" fmla="*/ 2714949 w 9847941"/>
                  <a:gd name="connsiteY3868" fmla="*/ 991703 h 1864765"/>
                  <a:gd name="connsiteX3869" fmla="*/ 2715404 w 9847941"/>
                  <a:gd name="connsiteY3869" fmla="*/ 988673 h 1864765"/>
                  <a:gd name="connsiteX3870" fmla="*/ 2712828 w 9847941"/>
                  <a:gd name="connsiteY3870" fmla="*/ 988066 h 1864765"/>
                  <a:gd name="connsiteX3871" fmla="*/ 2710252 w 9847941"/>
                  <a:gd name="connsiteY3871" fmla="*/ 987460 h 1864765"/>
                  <a:gd name="connsiteX3872" fmla="*/ 2708585 w 9847941"/>
                  <a:gd name="connsiteY3872" fmla="*/ 989582 h 1864765"/>
                  <a:gd name="connsiteX3873" fmla="*/ 2707070 w 9847941"/>
                  <a:gd name="connsiteY3873" fmla="*/ 991400 h 1864765"/>
                  <a:gd name="connsiteX3874" fmla="*/ 2704040 w 9847941"/>
                  <a:gd name="connsiteY3874" fmla="*/ 995339 h 1864765"/>
                  <a:gd name="connsiteX3875" fmla="*/ 2699646 w 9847941"/>
                  <a:gd name="connsiteY3875" fmla="*/ 1000794 h 1864765"/>
                  <a:gd name="connsiteX3876" fmla="*/ 2697221 w 9847941"/>
                  <a:gd name="connsiteY3876" fmla="*/ 1003825 h 1864765"/>
                  <a:gd name="connsiteX3877" fmla="*/ 2692979 w 9847941"/>
                  <a:gd name="connsiteY3877" fmla="*/ 1009128 h 1864765"/>
                  <a:gd name="connsiteX3878" fmla="*/ 2689191 w 9847941"/>
                  <a:gd name="connsiteY3878" fmla="*/ 1013673 h 1864765"/>
                  <a:gd name="connsiteX3879" fmla="*/ 2688282 w 9847941"/>
                  <a:gd name="connsiteY3879" fmla="*/ 1018371 h 1864765"/>
                  <a:gd name="connsiteX3880" fmla="*/ 2687524 w 9847941"/>
                  <a:gd name="connsiteY3880" fmla="*/ 1022916 h 1864765"/>
                  <a:gd name="connsiteX3881" fmla="*/ 2684494 w 9847941"/>
                  <a:gd name="connsiteY3881" fmla="*/ 1026250 h 1864765"/>
                  <a:gd name="connsiteX3882" fmla="*/ 2682675 w 9847941"/>
                  <a:gd name="connsiteY3882" fmla="*/ 1029431 h 1864765"/>
                  <a:gd name="connsiteX3883" fmla="*/ 2681766 w 9847941"/>
                  <a:gd name="connsiteY3883" fmla="*/ 1032917 h 1864765"/>
                  <a:gd name="connsiteX3884" fmla="*/ 2681009 w 9847941"/>
                  <a:gd name="connsiteY3884" fmla="*/ 1036098 h 1864765"/>
                  <a:gd name="connsiteX3885" fmla="*/ 2681009 w 9847941"/>
                  <a:gd name="connsiteY3885" fmla="*/ 1038674 h 1864765"/>
                  <a:gd name="connsiteX3886" fmla="*/ 2681463 w 9847941"/>
                  <a:gd name="connsiteY3886" fmla="*/ 1040038 h 1864765"/>
                  <a:gd name="connsiteX3887" fmla="*/ 2681160 w 9847941"/>
                  <a:gd name="connsiteY3887" fmla="*/ 1041099 h 1864765"/>
                  <a:gd name="connsiteX3888" fmla="*/ 2680099 w 9847941"/>
                  <a:gd name="connsiteY3888" fmla="*/ 1042462 h 1864765"/>
                  <a:gd name="connsiteX3889" fmla="*/ 2678130 w 9847941"/>
                  <a:gd name="connsiteY3889" fmla="*/ 1044735 h 1864765"/>
                  <a:gd name="connsiteX3890" fmla="*/ 2677827 w 9847941"/>
                  <a:gd name="connsiteY3890" fmla="*/ 1046856 h 1864765"/>
                  <a:gd name="connsiteX3891" fmla="*/ 2676615 w 9847941"/>
                  <a:gd name="connsiteY3891" fmla="*/ 1047917 h 1864765"/>
                  <a:gd name="connsiteX3892" fmla="*/ 2673130 w 9847941"/>
                  <a:gd name="connsiteY3892" fmla="*/ 1050038 h 1864765"/>
                  <a:gd name="connsiteX3893" fmla="*/ 2670251 w 9847941"/>
                  <a:gd name="connsiteY3893" fmla="*/ 1053220 h 1864765"/>
                  <a:gd name="connsiteX3894" fmla="*/ 2670099 w 9847941"/>
                  <a:gd name="connsiteY3894" fmla="*/ 1055039 h 1864765"/>
                  <a:gd name="connsiteX3895" fmla="*/ 2670554 w 9847941"/>
                  <a:gd name="connsiteY3895" fmla="*/ 1056554 h 1864765"/>
                  <a:gd name="connsiteX3896" fmla="*/ 2670554 w 9847941"/>
                  <a:gd name="connsiteY3896" fmla="*/ 1057463 h 1864765"/>
                  <a:gd name="connsiteX3897" fmla="*/ 2669948 w 9847941"/>
                  <a:gd name="connsiteY3897" fmla="*/ 1058069 h 1864765"/>
                  <a:gd name="connsiteX3898" fmla="*/ 2668735 w 9847941"/>
                  <a:gd name="connsiteY3898" fmla="*/ 1058069 h 1864765"/>
                  <a:gd name="connsiteX3899" fmla="*/ 2667523 w 9847941"/>
                  <a:gd name="connsiteY3899" fmla="*/ 1058220 h 1864765"/>
                  <a:gd name="connsiteX3900" fmla="*/ 2666463 w 9847941"/>
                  <a:gd name="connsiteY3900" fmla="*/ 1059584 h 1864765"/>
                  <a:gd name="connsiteX3901" fmla="*/ 2666463 w 9847941"/>
                  <a:gd name="connsiteY3901" fmla="*/ 1061402 h 1864765"/>
                  <a:gd name="connsiteX3902" fmla="*/ 2665705 w 9847941"/>
                  <a:gd name="connsiteY3902" fmla="*/ 1062766 h 1864765"/>
                  <a:gd name="connsiteX3903" fmla="*/ 2664796 w 9847941"/>
                  <a:gd name="connsiteY3903" fmla="*/ 1063069 h 1864765"/>
                  <a:gd name="connsiteX3904" fmla="*/ 2664038 w 9847941"/>
                  <a:gd name="connsiteY3904" fmla="*/ 1062160 h 1864765"/>
                  <a:gd name="connsiteX3905" fmla="*/ 2663129 w 9847941"/>
                  <a:gd name="connsiteY3905" fmla="*/ 1060796 h 1864765"/>
                  <a:gd name="connsiteX3906" fmla="*/ 2662068 w 9847941"/>
                  <a:gd name="connsiteY3906" fmla="*/ 1060645 h 1864765"/>
                  <a:gd name="connsiteX3907" fmla="*/ 2660402 w 9847941"/>
                  <a:gd name="connsiteY3907" fmla="*/ 1061554 h 1864765"/>
                  <a:gd name="connsiteX3908" fmla="*/ 2658432 w 9847941"/>
                  <a:gd name="connsiteY3908" fmla="*/ 1063069 h 1864765"/>
                  <a:gd name="connsiteX3909" fmla="*/ 2656614 w 9847941"/>
                  <a:gd name="connsiteY3909" fmla="*/ 1063221 h 1864765"/>
                  <a:gd name="connsiteX3910" fmla="*/ 2653129 w 9847941"/>
                  <a:gd name="connsiteY3910" fmla="*/ 1062160 h 1864765"/>
                  <a:gd name="connsiteX3911" fmla="*/ 2650553 w 9847941"/>
                  <a:gd name="connsiteY3911" fmla="*/ 1065190 h 1864765"/>
                  <a:gd name="connsiteX3912" fmla="*/ 2647826 w 9847941"/>
                  <a:gd name="connsiteY3912" fmla="*/ 1071706 h 1864765"/>
                  <a:gd name="connsiteX3913" fmla="*/ 2636462 w 9847941"/>
                  <a:gd name="connsiteY3913" fmla="*/ 1071706 h 1864765"/>
                  <a:gd name="connsiteX3914" fmla="*/ 2625098 w 9847941"/>
                  <a:gd name="connsiteY3914" fmla="*/ 1071706 h 1864765"/>
                  <a:gd name="connsiteX3915" fmla="*/ 2613734 w 9847941"/>
                  <a:gd name="connsiteY3915" fmla="*/ 1071706 h 1864765"/>
                  <a:gd name="connsiteX3916" fmla="*/ 2602369 w 9847941"/>
                  <a:gd name="connsiteY3916" fmla="*/ 1071706 h 1864765"/>
                  <a:gd name="connsiteX3917" fmla="*/ 2591005 w 9847941"/>
                  <a:gd name="connsiteY3917" fmla="*/ 1071706 h 1864765"/>
                  <a:gd name="connsiteX3918" fmla="*/ 2579641 w 9847941"/>
                  <a:gd name="connsiteY3918" fmla="*/ 1071706 h 1864765"/>
                  <a:gd name="connsiteX3919" fmla="*/ 2568277 w 9847941"/>
                  <a:gd name="connsiteY3919" fmla="*/ 1071706 h 1864765"/>
                  <a:gd name="connsiteX3920" fmla="*/ 2561913 w 9847941"/>
                  <a:gd name="connsiteY3920" fmla="*/ 1071706 h 1864765"/>
                  <a:gd name="connsiteX3921" fmla="*/ 2560701 w 9847941"/>
                  <a:gd name="connsiteY3921" fmla="*/ 1071706 h 1864765"/>
                  <a:gd name="connsiteX3922" fmla="*/ 2559186 w 9847941"/>
                  <a:gd name="connsiteY3922" fmla="*/ 1071857 h 1864765"/>
                  <a:gd name="connsiteX3923" fmla="*/ 2556610 w 9847941"/>
                  <a:gd name="connsiteY3923" fmla="*/ 1071706 h 1864765"/>
                  <a:gd name="connsiteX3924" fmla="*/ 2552822 w 9847941"/>
                  <a:gd name="connsiteY3924" fmla="*/ 1072918 h 1864765"/>
                  <a:gd name="connsiteX3925" fmla="*/ 2547822 w 9847941"/>
                  <a:gd name="connsiteY3925" fmla="*/ 1075342 h 1864765"/>
                  <a:gd name="connsiteX3926" fmla="*/ 2541761 w 9847941"/>
                  <a:gd name="connsiteY3926" fmla="*/ 1079585 h 1864765"/>
                  <a:gd name="connsiteX3927" fmla="*/ 2531003 w 9847941"/>
                  <a:gd name="connsiteY3927" fmla="*/ 1088828 h 1864765"/>
                  <a:gd name="connsiteX3928" fmla="*/ 2530852 w 9847941"/>
                  <a:gd name="connsiteY3928" fmla="*/ 1088979 h 1864765"/>
                  <a:gd name="connsiteX3929" fmla="*/ 2531155 w 9847941"/>
                  <a:gd name="connsiteY3929" fmla="*/ 1089131 h 1864765"/>
                  <a:gd name="connsiteX3930" fmla="*/ 2531458 w 9847941"/>
                  <a:gd name="connsiteY3930" fmla="*/ 1090040 h 1864765"/>
                  <a:gd name="connsiteX3931" fmla="*/ 2531003 w 9847941"/>
                  <a:gd name="connsiteY3931" fmla="*/ 1090949 h 1864765"/>
                  <a:gd name="connsiteX3932" fmla="*/ 2529942 w 9847941"/>
                  <a:gd name="connsiteY3932" fmla="*/ 1092010 h 1864765"/>
                  <a:gd name="connsiteX3933" fmla="*/ 2518881 w 9847941"/>
                  <a:gd name="connsiteY3933" fmla="*/ 1099131 h 1864765"/>
                  <a:gd name="connsiteX3934" fmla="*/ 2515700 w 9847941"/>
                  <a:gd name="connsiteY3934" fmla="*/ 1101707 h 1864765"/>
                  <a:gd name="connsiteX3935" fmla="*/ 2516912 w 9847941"/>
                  <a:gd name="connsiteY3935" fmla="*/ 1103222 h 1864765"/>
                  <a:gd name="connsiteX3936" fmla="*/ 2517063 w 9847941"/>
                  <a:gd name="connsiteY3936" fmla="*/ 1103828 h 1864765"/>
                  <a:gd name="connsiteX3937" fmla="*/ 2517821 w 9847941"/>
                  <a:gd name="connsiteY3937" fmla="*/ 1103677 h 1864765"/>
                  <a:gd name="connsiteX3938" fmla="*/ 2520094 w 9847941"/>
                  <a:gd name="connsiteY3938" fmla="*/ 1102464 h 1864765"/>
                  <a:gd name="connsiteX3939" fmla="*/ 2520700 w 9847941"/>
                  <a:gd name="connsiteY3939" fmla="*/ 1102616 h 1864765"/>
                  <a:gd name="connsiteX3940" fmla="*/ 2521003 w 9847941"/>
                  <a:gd name="connsiteY3940" fmla="*/ 1102919 h 1864765"/>
                  <a:gd name="connsiteX3941" fmla="*/ 2521154 w 9847941"/>
                  <a:gd name="connsiteY3941" fmla="*/ 1103677 h 1864765"/>
                  <a:gd name="connsiteX3942" fmla="*/ 2520094 w 9847941"/>
                  <a:gd name="connsiteY3942" fmla="*/ 1105040 h 1864765"/>
                  <a:gd name="connsiteX3943" fmla="*/ 2520548 w 9847941"/>
                  <a:gd name="connsiteY3943" fmla="*/ 1105343 h 1864765"/>
                  <a:gd name="connsiteX3944" fmla="*/ 2522518 w 9847941"/>
                  <a:gd name="connsiteY3944" fmla="*/ 1105040 h 1864765"/>
                  <a:gd name="connsiteX3945" fmla="*/ 2523427 w 9847941"/>
                  <a:gd name="connsiteY3945" fmla="*/ 1105192 h 1864765"/>
                  <a:gd name="connsiteX3946" fmla="*/ 2522669 w 9847941"/>
                  <a:gd name="connsiteY3946" fmla="*/ 1106252 h 1864765"/>
                  <a:gd name="connsiteX3947" fmla="*/ 2521609 w 9847941"/>
                  <a:gd name="connsiteY3947" fmla="*/ 1106859 h 1864765"/>
                  <a:gd name="connsiteX3948" fmla="*/ 2521457 w 9847941"/>
                  <a:gd name="connsiteY3948" fmla="*/ 1107465 h 1864765"/>
                  <a:gd name="connsiteX3949" fmla="*/ 2519942 w 9847941"/>
                  <a:gd name="connsiteY3949" fmla="*/ 1109283 h 1864765"/>
                  <a:gd name="connsiteX3950" fmla="*/ 2519336 w 9847941"/>
                  <a:gd name="connsiteY3950" fmla="*/ 1109586 h 1864765"/>
                  <a:gd name="connsiteX3951" fmla="*/ 2519033 w 9847941"/>
                  <a:gd name="connsiteY3951" fmla="*/ 1109283 h 1864765"/>
                  <a:gd name="connsiteX3952" fmla="*/ 2519184 w 9847941"/>
                  <a:gd name="connsiteY3952" fmla="*/ 1108525 h 1864765"/>
                  <a:gd name="connsiteX3953" fmla="*/ 2517821 w 9847941"/>
                  <a:gd name="connsiteY3953" fmla="*/ 1109434 h 1864765"/>
                  <a:gd name="connsiteX3954" fmla="*/ 2517669 w 9847941"/>
                  <a:gd name="connsiteY3954" fmla="*/ 1110192 h 1864765"/>
                  <a:gd name="connsiteX3955" fmla="*/ 2518427 w 9847941"/>
                  <a:gd name="connsiteY3955" fmla="*/ 1110798 h 1864765"/>
                  <a:gd name="connsiteX3956" fmla="*/ 2519033 w 9847941"/>
                  <a:gd name="connsiteY3956" fmla="*/ 1111859 h 1864765"/>
                  <a:gd name="connsiteX3957" fmla="*/ 2519488 w 9847941"/>
                  <a:gd name="connsiteY3957" fmla="*/ 1113222 h 1864765"/>
                  <a:gd name="connsiteX3958" fmla="*/ 2519790 w 9847941"/>
                  <a:gd name="connsiteY3958" fmla="*/ 1116101 h 1864765"/>
                  <a:gd name="connsiteX3959" fmla="*/ 2520094 w 9847941"/>
                  <a:gd name="connsiteY3959" fmla="*/ 1116707 h 1864765"/>
                  <a:gd name="connsiteX3960" fmla="*/ 2520245 w 9847941"/>
                  <a:gd name="connsiteY3960" fmla="*/ 1117010 h 1864765"/>
                  <a:gd name="connsiteX3961" fmla="*/ 2520094 w 9847941"/>
                  <a:gd name="connsiteY3961" fmla="*/ 1117314 h 1864765"/>
                  <a:gd name="connsiteX3962" fmla="*/ 2519942 w 9847941"/>
                  <a:gd name="connsiteY3962" fmla="*/ 1117920 h 1864765"/>
                  <a:gd name="connsiteX3963" fmla="*/ 2520245 w 9847941"/>
                  <a:gd name="connsiteY3963" fmla="*/ 1118526 h 1864765"/>
                  <a:gd name="connsiteX3964" fmla="*/ 2519942 w 9847941"/>
                  <a:gd name="connsiteY3964" fmla="*/ 1119283 h 1864765"/>
                  <a:gd name="connsiteX3965" fmla="*/ 2519184 w 9847941"/>
                  <a:gd name="connsiteY3965" fmla="*/ 1120041 h 1864765"/>
                  <a:gd name="connsiteX3966" fmla="*/ 2517669 w 9847941"/>
                  <a:gd name="connsiteY3966" fmla="*/ 1120495 h 1864765"/>
                  <a:gd name="connsiteX3967" fmla="*/ 2515245 w 9847941"/>
                  <a:gd name="connsiteY3967" fmla="*/ 1120495 h 1864765"/>
                  <a:gd name="connsiteX3968" fmla="*/ 2512669 w 9847941"/>
                  <a:gd name="connsiteY3968" fmla="*/ 1121405 h 1864765"/>
                  <a:gd name="connsiteX3969" fmla="*/ 2509790 w 9847941"/>
                  <a:gd name="connsiteY3969" fmla="*/ 1123223 h 1864765"/>
                  <a:gd name="connsiteX3970" fmla="*/ 2507820 w 9847941"/>
                  <a:gd name="connsiteY3970" fmla="*/ 1124890 h 1864765"/>
                  <a:gd name="connsiteX3971" fmla="*/ 2506760 w 9847941"/>
                  <a:gd name="connsiteY3971" fmla="*/ 1126405 h 1864765"/>
                  <a:gd name="connsiteX3972" fmla="*/ 2506002 w 9847941"/>
                  <a:gd name="connsiteY3972" fmla="*/ 1127011 h 1864765"/>
                  <a:gd name="connsiteX3973" fmla="*/ 2505547 w 9847941"/>
                  <a:gd name="connsiteY3973" fmla="*/ 1126708 h 1864765"/>
                  <a:gd name="connsiteX3974" fmla="*/ 2501608 w 9847941"/>
                  <a:gd name="connsiteY3974" fmla="*/ 1127920 h 1864765"/>
                  <a:gd name="connsiteX3975" fmla="*/ 2500244 w 9847941"/>
                  <a:gd name="connsiteY3975" fmla="*/ 1128678 h 1864765"/>
                  <a:gd name="connsiteX3976" fmla="*/ 2499941 w 9847941"/>
                  <a:gd name="connsiteY3976" fmla="*/ 1129435 h 1864765"/>
                  <a:gd name="connsiteX3977" fmla="*/ 2499638 w 9847941"/>
                  <a:gd name="connsiteY3977" fmla="*/ 1129587 h 1864765"/>
                  <a:gd name="connsiteX3978" fmla="*/ 2499335 w 9847941"/>
                  <a:gd name="connsiteY3978" fmla="*/ 1129132 h 1864765"/>
                  <a:gd name="connsiteX3979" fmla="*/ 2496456 w 9847941"/>
                  <a:gd name="connsiteY3979" fmla="*/ 1128829 h 1864765"/>
                  <a:gd name="connsiteX3980" fmla="*/ 2491153 w 9847941"/>
                  <a:gd name="connsiteY3980" fmla="*/ 1128678 h 1864765"/>
                  <a:gd name="connsiteX3981" fmla="*/ 2487062 w 9847941"/>
                  <a:gd name="connsiteY3981" fmla="*/ 1128829 h 1864765"/>
                  <a:gd name="connsiteX3982" fmla="*/ 2484032 w 9847941"/>
                  <a:gd name="connsiteY3982" fmla="*/ 1129435 h 1864765"/>
                  <a:gd name="connsiteX3983" fmla="*/ 2481456 w 9847941"/>
                  <a:gd name="connsiteY3983" fmla="*/ 1128981 h 1864765"/>
                  <a:gd name="connsiteX3984" fmla="*/ 2479183 w 9847941"/>
                  <a:gd name="connsiteY3984" fmla="*/ 1127465 h 1864765"/>
                  <a:gd name="connsiteX3985" fmla="*/ 2475546 w 9847941"/>
                  <a:gd name="connsiteY3985" fmla="*/ 1126405 h 1864765"/>
                  <a:gd name="connsiteX3986" fmla="*/ 2466304 w 9847941"/>
                  <a:gd name="connsiteY3986" fmla="*/ 1125193 h 1864765"/>
                  <a:gd name="connsiteX3987" fmla="*/ 2458576 w 9847941"/>
                  <a:gd name="connsiteY3987" fmla="*/ 1125496 h 1864765"/>
                  <a:gd name="connsiteX3988" fmla="*/ 2452212 w 9847941"/>
                  <a:gd name="connsiteY3988" fmla="*/ 1126405 h 1864765"/>
                  <a:gd name="connsiteX3989" fmla="*/ 2442212 w 9847941"/>
                  <a:gd name="connsiteY3989" fmla="*/ 1128981 h 1864765"/>
                  <a:gd name="connsiteX3990" fmla="*/ 2442060 w 9847941"/>
                  <a:gd name="connsiteY3990" fmla="*/ 1128981 h 1864765"/>
                  <a:gd name="connsiteX3991" fmla="*/ 2442060 w 9847941"/>
                  <a:gd name="connsiteY3991" fmla="*/ 1129132 h 1864765"/>
                  <a:gd name="connsiteX3992" fmla="*/ 2441909 w 9847941"/>
                  <a:gd name="connsiteY3992" fmla="*/ 1134890 h 1864765"/>
                  <a:gd name="connsiteX3993" fmla="*/ 2446303 w 9847941"/>
                  <a:gd name="connsiteY3993" fmla="*/ 1136102 h 1864765"/>
                  <a:gd name="connsiteX3994" fmla="*/ 2446606 w 9847941"/>
                  <a:gd name="connsiteY3994" fmla="*/ 1136557 h 1864765"/>
                  <a:gd name="connsiteX3995" fmla="*/ 2446454 w 9847941"/>
                  <a:gd name="connsiteY3995" fmla="*/ 1137314 h 1864765"/>
                  <a:gd name="connsiteX3996" fmla="*/ 2445848 w 9847941"/>
                  <a:gd name="connsiteY3996" fmla="*/ 1138526 h 1864765"/>
                  <a:gd name="connsiteX3997" fmla="*/ 2446000 w 9847941"/>
                  <a:gd name="connsiteY3997" fmla="*/ 1140193 h 1864765"/>
                  <a:gd name="connsiteX3998" fmla="*/ 2446909 w 9847941"/>
                  <a:gd name="connsiteY3998" fmla="*/ 1142314 h 1864765"/>
                  <a:gd name="connsiteX3999" fmla="*/ 2447364 w 9847941"/>
                  <a:gd name="connsiteY3999" fmla="*/ 1143981 h 1864765"/>
                  <a:gd name="connsiteX4000" fmla="*/ 2447212 w 9847941"/>
                  <a:gd name="connsiteY4000" fmla="*/ 1145193 h 1864765"/>
                  <a:gd name="connsiteX4001" fmla="*/ 2446151 w 9847941"/>
                  <a:gd name="connsiteY4001" fmla="*/ 1146406 h 1864765"/>
                  <a:gd name="connsiteX4002" fmla="*/ 2444030 w 9847941"/>
                  <a:gd name="connsiteY4002" fmla="*/ 1147466 h 1864765"/>
                  <a:gd name="connsiteX4003" fmla="*/ 2442212 w 9847941"/>
                  <a:gd name="connsiteY4003" fmla="*/ 1149133 h 1864765"/>
                  <a:gd name="connsiteX4004" fmla="*/ 2440545 w 9847941"/>
                  <a:gd name="connsiteY4004" fmla="*/ 1151406 h 1864765"/>
                  <a:gd name="connsiteX4005" fmla="*/ 2438272 w 9847941"/>
                  <a:gd name="connsiteY4005" fmla="*/ 1153224 h 1864765"/>
                  <a:gd name="connsiteX4006" fmla="*/ 2435393 w 9847941"/>
                  <a:gd name="connsiteY4006" fmla="*/ 1154588 h 1864765"/>
                  <a:gd name="connsiteX4007" fmla="*/ 2432666 w 9847941"/>
                  <a:gd name="connsiteY4007" fmla="*/ 1156406 h 1864765"/>
                  <a:gd name="connsiteX4008" fmla="*/ 2430090 w 9847941"/>
                  <a:gd name="connsiteY4008" fmla="*/ 1158527 h 1864765"/>
                  <a:gd name="connsiteX4009" fmla="*/ 2424787 w 9847941"/>
                  <a:gd name="connsiteY4009" fmla="*/ 1161558 h 1864765"/>
                  <a:gd name="connsiteX4010" fmla="*/ 2414635 w 9847941"/>
                  <a:gd name="connsiteY4010" fmla="*/ 1166558 h 1864765"/>
                  <a:gd name="connsiteX4011" fmla="*/ 2413271 w 9847941"/>
                  <a:gd name="connsiteY4011" fmla="*/ 1167164 h 1864765"/>
                  <a:gd name="connsiteX4012" fmla="*/ 2412059 w 9847941"/>
                  <a:gd name="connsiteY4012" fmla="*/ 1167770 h 1864765"/>
                  <a:gd name="connsiteX4013" fmla="*/ 2409786 w 9847941"/>
                  <a:gd name="connsiteY4013" fmla="*/ 1168831 h 1864765"/>
                  <a:gd name="connsiteX4014" fmla="*/ 2407514 w 9847941"/>
                  <a:gd name="connsiteY4014" fmla="*/ 1169891 h 1864765"/>
                  <a:gd name="connsiteX4015" fmla="*/ 2392816 w 9847941"/>
                  <a:gd name="connsiteY4015" fmla="*/ 1174740 h 1864765"/>
                  <a:gd name="connsiteX4016" fmla="*/ 2382967 w 9847941"/>
                  <a:gd name="connsiteY4016" fmla="*/ 1178831 h 1864765"/>
                  <a:gd name="connsiteX4017" fmla="*/ 2377058 w 9847941"/>
                  <a:gd name="connsiteY4017" fmla="*/ 1182013 h 1864765"/>
                  <a:gd name="connsiteX4018" fmla="*/ 2371906 w 9847941"/>
                  <a:gd name="connsiteY4018" fmla="*/ 1186104 h 1864765"/>
                  <a:gd name="connsiteX4019" fmla="*/ 2369482 w 9847941"/>
                  <a:gd name="connsiteY4019" fmla="*/ 1187316 h 1864765"/>
                  <a:gd name="connsiteX4020" fmla="*/ 2366906 w 9847941"/>
                  <a:gd name="connsiteY4020" fmla="*/ 1187619 h 1864765"/>
                  <a:gd name="connsiteX4021" fmla="*/ 2362815 w 9847941"/>
                  <a:gd name="connsiteY4021" fmla="*/ 1187468 h 1864765"/>
                  <a:gd name="connsiteX4022" fmla="*/ 2358572 w 9847941"/>
                  <a:gd name="connsiteY4022" fmla="*/ 1187922 h 1864765"/>
                  <a:gd name="connsiteX4023" fmla="*/ 2354178 w 9847941"/>
                  <a:gd name="connsiteY4023" fmla="*/ 1189134 h 1864765"/>
                  <a:gd name="connsiteX4024" fmla="*/ 2351299 w 9847941"/>
                  <a:gd name="connsiteY4024" fmla="*/ 1190044 h 1864765"/>
                  <a:gd name="connsiteX4025" fmla="*/ 2349936 w 9847941"/>
                  <a:gd name="connsiteY4025" fmla="*/ 1190801 h 1864765"/>
                  <a:gd name="connsiteX4026" fmla="*/ 2348724 w 9847941"/>
                  <a:gd name="connsiteY4026" fmla="*/ 1190953 h 1864765"/>
                  <a:gd name="connsiteX4027" fmla="*/ 2347511 w 9847941"/>
                  <a:gd name="connsiteY4027" fmla="*/ 1190650 h 1864765"/>
                  <a:gd name="connsiteX4028" fmla="*/ 2344329 w 9847941"/>
                  <a:gd name="connsiteY4028" fmla="*/ 1188680 h 1864765"/>
                  <a:gd name="connsiteX4029" fmla="*/ 2344026 w 9847941"/>
                  <a:gd name="connsiteY4029" fmla="*/ 1188831 h 1864765"/>
                  <a:gd name="connsiteX4030" fmla="*/ 2343420 w 9847941"/>
                  <a:gd name="connsiteY4030" fmla="*/ 1189134 h 1864765"/>
                  <a:gd name="connsiteX4031" fmla="*/ 2341451 w 9847941"/>
                  <a:gd name="connsiteY4031" fmla="*/ 1188831 h 1864765"/>
                  <a:gd name="connsiteX4032" fmla="*/ 2339329 w 9847941"/>
                  <a:gd name="connsiteY4032" fmla="*/ 1188831 h 1864765"/>
                  <a:gd name="connsiteX4033" fmla="*/ 2337511 w 9847941"/>
                  <a:gd name="connsiteY4033" fmla="*/ 1189589 h 1864765"/>
                  <a:gd name="connsiteX4034" fmla="*/ 2335693 w 9847941"/>
                  <a:gd name="connsiteY4034" fmla="*/ 1189740 h 1864765"/>
                  <a:gd name="connsiteX4035" fmla="*/ 2333875 w 9847941"/>
                  <a:gd name="connsiteY4035" fmla="*/ 1189286 h 1864765"/>
                  <a:gd name="connsiteX4036" fmla="*/ 2335390 w 9847941"/>
                  <a:gd name="connsiteY4036" fmla="*/ 1188528 h 1864765"/>
                  <a:gd name="connsiteX4037" fmla="*/ 2342814 w 9847941"/>
                  <a:gd name="connsiteY4037" fmla="*/ 1187013 h 1864765"/>
                  <a:gd name="connsiteX4038" fmla="*/ 2342663 w 9847941"/>
                  <a:gd name="connsiteY4038" fmla="*/ 1186710 h 1864765"/>
                  <a:gd name="connsiteX4039" fmla="*/ 2339935 w 9847941"/>
                  <a:gd name="connsiteY4039" fmla="*/ 1185801 h 1864765"/>
                  <a:gd name="connsiteX4040" fmla="*/ 2339178 w 9847941"/>
                  <a:gd name="connsiteY4040" fmla="*/ 1185043 h 1864765"/>
                  <a:gd name="connsiteX4041" fmla="*/ 2338572 w 9847941"/>
                  <a:gd name="connsiteY4041" fmla="*/ 1185043 h 1864765"/>
                  <a:gd name="connsiteX4042" fmla="*/ 2337966 w 9847941"/>
                  <a:gd name="connsiteY4042" fmla="*/ 1185952 h 1864765"/>
                  <a:gd name="connsiteX4043" fmla="*/ 2337056 w 9847941"/>
                  <a:gd name="connsiteY4043" fmla="*/ 1186407 h 1864765"/>
                  <a:gd name="connsiteX4044" fmla="*/ 2335693 w 9847941"/>
                  <a:gd name="connsiteY4044" fmla="*/ 1186256 h 1864765"/>
                  <a:gd name="connsiteX4045" fmla="*/ 2334178 w 9847941"/>
                  <a:gd name="connsiteY4045" fmla="*/ 1185649 h 1864765"/>
                  <a:gd name="connsiteX4046" fmla="*/ 2332662 w 9847941"/>
                  <a:gd name="connsiteY4046" fmla="*/ 1184437 h 1864765"/>
                  <a:gd name="connsiteX4047" fmla="*/ 2327965 w 9847941"/>
                  <a:gd name="connsiteY4047" fmla="*/ 1182467 h 1864765"/>
                  <a:gd name="connsiteX4048" fmla="*/ 2326601 w 9847941"/>
                  <a:gd name="connsiteY4048" fmla="*/ 1181407 h 1864765"/>
                  <a:gd name="connsiteX4049" fmla="*/ 2324935 w 9847941"/>
                  <a:gd name="connsiteY4049" fmla="*/ 1180801 h 1864765"/>
                  <a:gd name="connsiteX4050" fmla="*/ 2322511 w 9847941"/>
                  <a:gd name="connsiteY4050" fmla="*/ 1180498 h 1864765"/>
                  <a:gd name="connsiteX4051" fmla="*/ 2322207 w 9847941"/>
                  <a:gd name="connsiteY4051" fmla="*/ 1179892 h 1864765"/>
                  <a:gd name="connsiteX4052" fmla="*/ 2322662 w 9847941"/>
                  <a:gd name="connsiteY4052" fmla="*/ 1179134 h 1864765"/>
                  <a:gd name="connsiteX4053" fmla="*/ 2324783 w 9847941"/>
                  <a:gd name="connsiteY4053" fmla="*/ 1175346 h 1864765"/>
                  <a:gd name="connsiteX4054" fmla="*/ 2325995 w 9847941"/>
                  <a:gd name="connsiteY4054" fmla="*/ 1173982 h 1864765"/>
                  <a:gd name="connsiteX4055" fmla="*/ 2326450 w 9847941"/>
                  <a:gd name="connsiteY4055" fmla="*/ 1173528 h 1864765"/>
                  <a:gd name="connsiteX4056" fmla="*/ 2327056 w 9847941"/>
                  <a:gd name="connsiteY4056" fmla="*/ 1173528 h 1864765"/>
                  <a:gd name="connsiteX4057" fmla="*/ 2327359 w 9847941"/>
                  <a:gd name="connsiteY4057" fmla="*/ 1173073 h 1864765"/>
                  <a:gd name="connsiteX4058" fmla="*/ 2327208 w 9847941"/>
                  <a:gd name="connsiteY4058" fmla="*/ 1172316 h 1864765"/>
                  <a:gd name="connsiteX4059" fmla="*/ 2327511 w 9847941"/>
                  <a:gd name="connsiteY4059" fmla="*/ 1171861 h 1864765"/>
                  <a:gd name="connsiteX4060" fmla="*/ 2328874 w 9847941"/>
                  <a:gd name="connsiteY4060" fmla="*/ 1170497 h 1864765"/>
                  <a:gd name="connsiteX4061" fmla="*/ 2329632 w 9847941"/>
                  <a:gd name="connsiteY4061" fmla="*/ 1169740 h 1864765"/>
                  <a:gd name="connsiteX4062" fmla="*/ 2329329 w 9847941"/>
                  <a:gd name="connsiteY4062" fmla="*/ 1168679 h 1864765"/>
                  <a:gd name="connsiteX4063" fmla="*/ 2329632 w 9847941"/>
                  <a:gd name="connsiteY4063" fmla="*/ 1166558 h 1864765"/>
                  <a:gd name="connsiteX4064" fmla="*/ 2330541 w 9847941"/>
                  <a:gd name="connsiteY4064" fmla="*/ 1163830 h 1864765"/>
                  <a:gd name="connsiteX4065" fmla="*/ 2331602 w 9847941"/>
                  <a:gd name="connsiteY4065" fmla="*/ 1161861 h 1864765"/>
                  <a:gd name="connsiteX4066" fmla="*/ 2332662 w 9847941"/>
                  <a:gd name="connsiteY4066" fmla="*/ 1160648 h 1864765"/>
                  <a:gd name="connsiteX4067" fmla="*/ 2333875 w 9847941"/>
                  <a:gd name="connsiteY4067" fmla="*/ 1159891 h 1864765"/>
                  <a:gd name="connsiteX4068" fmla="*/ 2336299 w 9847941"/>
                  <a:gd name="connsiteY4068" fmla="*/ 1158982 h 1864765"/>
                  <a:gd name="connsiteX4069" fmla="*/ 2336905 w 9847941"/>
                  <a:gd name="connsiteY4069" fmla="*/ 1158376 h 1864765"/>
                  <a:gd name="connsiteX4070" fmla="*/ 2337360 w 9847941"/>
                  <a:gd name="connsiteY4070" fmla="*/ 1156860 h 1864765"/>
                  <a:gd name="connsiteX4071" fmla="*/ 2337663 w 9847941"/>
                  <a:gd name="connsiteY4071" fmla="*/ 1154285 h 1864765"/>
                  <a:gd name="connsiteX4072" fmla="*/ 2338420 w 9847941"/>
                  <a:gd name="connsiteY4072" fmla="*/ 1152618 h 1864765"/>
                  <a:gd name="connsiteX4073" fmla="*/ 2339632 w 9847941"/>
                  <a:gd name="connsiteY4073" fmla="*/ 1151860 h 1864765"/>
                  <a:gd name="connsiteX4074" fmla="*/ 2339935 w 9847941"/>
                  <a:gd name="connsiteY4074" fmla="*/ 1151103 h 1864765"/>
                  <a:gd name="connsiteX4075" fmla="*/ 2339329 w 9847941"/>
                  <a:gd name="connsiteY4075" fmla="*/ 1150194 h 1864765"/>
                  <a:gd name="connsiteX4076" fmla="*/ 2339784 w 9847941"/>
                  <a:gd name="connsiteY4076" fmla="*/ 1149284 h 1864765"/>
                  <a:gd name="connsiteX4077" fmla="*/ 2341299 w 9847941"/>
                  <a:gd name="connsiteY4077" fmla="*/ 1148527 h 1864765"/>
                  <a:gd name="connsiteX4078" fmla="*/ 2342511 w 9847941"/>
                  <a:gd name="connsiteY4078" fmla="*/ 1148224 h 1864765"/>
                  <a:gd name="connsiteX4079" fmla="*/ 2343572 w 9847941"/>
                  <a:gd name="connsiteY4079" fmla="*/ 1148527 h 1864765"/>
                  <a:gd name="connsiteX4080" fmla="*/ 2344026 w 9847941"/>
                  <a:gd name="connsiteY4080" fmla="*/ 1149436 h 1864765"/>
                  <a:gd name="connsiteX4081" fmla="*/ 2344178 w 9847941"/>
                  <a:gd name="connsiteY4081" fmla="*/ 1151557 h 1864765"/>
                  <a:gd name="connsiteX4082" fmla="*/ 2343875 w 9847941"/>
                  <a:gd name="connsiteY4082" fmla="*/ 1152163 h 1864765"/>
                  <a:gd name="connsiteX4083" fmla="*/ 2343723 w 9847941"/>
                  <a:gd name="connsiteY4083" fmla="*/ 1152769 h 1864765"/>
                  <a:gd name="connsiteX4084" fmla="*/ 2346451 w 9847941"/>
                  <a:gd name="connsiteY4084" fmla="*/ 1150648 h 1864765"/>
                  <a:gd name="connsiteX4085" fmla="*/ 2347966 w 9847941"/>
                  <a:gd name="connsiteY4085" fmla="*/ 1146860 h 1864765"/>
                  <a:gd name="connsiteX4086" fmla="*/ 2349936 w 9847941"/>
                  <a:gd name="connsiteY4086" fmla="*/ 1137617 h 1864765"/>
                  <a:gd name="connsiteX4087" fmla="*/ 2349481 w 9847941"/>
                  <a:gd name="connsiteY4087" fmla="*/ 1136860 h 1864765"/>
                  <a:gd name="connsiteX4088" fmla="*/ 2348724 w 9847941"/>
                  <a:gd name="connsiteY4088" fmla="*/ 1135496 h 1864765"/>
                  <a:gd name="connsiteX4089" fmla="*/ 2347208 w 9847941"/>
                  <a:gd name="connsiteY4089" fmla="*/ 1128981 h 1864765"/>
                  <a:gd name="connsiteX4090" fmla="*/ 2344936 w 9847941"/>
                  <a:gd name="connsiteY4090" fmla="*/ 1117162 h 1864765"/>
                  <a:gd name="connsiteX4091" fmla="*/ 2343117 w 9847941"/>
                  <a:gd name="connsiteY4091" fmla="*/ 1109889 h 1864765"/>
                  <a:gd name="connsiteX4092" fmla="*/ 2341602 w 9847941"/>
                  <a:gd name="connsiteY4092" fmla="*/ 1107010 h 1864765"/>
                  <a:gd name="connsiteX4093" fmla="*/ 2339632 w 9847941"/>
                  <a:gd name="connsiteY4093" fmla="*/ 1104889 h 1864765"/>
                  <a:gd name="connsiteX4094" fmla="*/ 2337208 w 9847941"/>
                  <a:gd name="connsiteY4094" fmla="*/ 1103374 h 1864765"/>
                  <a:gd name="connsiteX4095" fmla="*/ 2335390 w 9847941"/>
                  <a:gd name="connsiteY4095" fmla="*/ 1102768 h 1864765"/>
                  <a:gd name="connsiteX4096" fmla="*/ 2334026 w 9847941"/>
                  <a:gd name="connsiteY4096" fmla="*/ 1102919 h 1864765"/>
                  <a:gd name="connsiteX4097" fmla="*/ 2331905 w 9847941"/>
                  <a:gd name="connsiteY4097" fmla="*/ 1104131 h 1864765"/>
                  <a:gd name="connsiteX4098" fmla="*/ 2328117 w 9847941"/>
                  <a:gd name="connsiteY4098" fmla="*/ 1105192 h 1864765"/>
                  <a:gd name="connsiteX4099" fmla="*/ 2326601 w 9847941"/>
                  <a:gd name="connsiteY4099" fmla="*/ 1105950 h 1864765"/>
                  <a:gd name="connsiteX4100" fmla="*/ 2325692 w 9847941"/>
                  <a:gd name="connsiteY4100" fmla="*/ 1106859 h 1864765"/>
                  <a:gd name="connsiteX4101" fmla="*/ 2324632 w 9847941"/>
                  <a:gd name="connsiteY4101" fmla="*/ 1107465 h 1864765"/>
                  <a:gd name="connsiteX4102" fmla="*/ 2323420 w 9847941"/>
                  <a:gd name="connsiteY4102" fmla="*/ 1107616 h 1864765"/>
                  <a:gd name="connsiteX4103" fmla="*/ 2323268 w 9847941"/>
                  <a:gd name="connsiteY4103" fmla="*/ 1107919 h 1864765"/>
                  <a:gd name="connsiteX4104" fmla="*/ 2324177 w 9847941"/>
                  <a:gd name="connsiteY4104" fmla="*/ 1108222 h 1864765"/>
                  <a:gd name="connsiteX4105" fmla="*/ 2324177 w 9847941"/>
                  <a:gd name="connsiteY4105" fmla="*/ 1109131 h 1864765"/>
                  <a:gd name="connsiteX4106" fmla="*/ 2321601 w 9847941"/>
                  <a:gd name="connsiteY4106" fmla="*/ 1113222 h 1864765"/>
                  <a:gd name="connsiteX4107" fmla="*/ 2320995 w 9847941"/>
                  <a:gd name="connsiteY4107" fmla="*/ 1114132 h 1864765"/>
                  <a:gd name="connsiteX4108" fmla="*/ 2319480 w 9847941"/>
                  <a:gd name="connsiteY4108" fmla="*/ 1114435 h 1864765"/>
                  <a:gd name="connsiteX4109" fmla="*/ 2318116 w 9847941"/>
                  <a:gd name="connsiteY4109" fmla="*/ 1115192 h 1864765"/>
                  <a:gd name="connsiteX4110" fmla="*/ 2316753 w 9847941"/>
                  <a:gd name="connsiteY4110" fmla="*/ 1117162 h 1864765"/>
                  <a:gd name="connsiteX4111" fmla="*/ 2315541 w 9847941"/>
                  <a:gd name="connsiteY4111" fmla="*/ 1117617 h 1864765"/>
                  <a:gd name="connsiteX4112" fmla="*/ 2313722 w 9847941"/>
                  <a:gd name="connsiteY4112" fmla="*/ 1117465 h 1864765"/>
                  <a:gd name="connsiteX4113" fmla="*/ 2310692 w 9847941"/>
                  <a:gd name="connsiteY4113" fmla="*/ 1116253 h 1864765"/>
                  <a:gd name="connsiteX4114" fmla="*/ 2308874 w 9847941"/>
                  <a:gd name="connsiteY4114" fmla="*/ 1115041 h 1864765"/>
                  <a:gd name="connsiteX4115" fmla="*/ 2308268 w 9847941"/>
                  <a:gd name="connsiteY4115" fmla="*/ 1113829 h 1864765"/>
                  <a:gd name="connsiteX4116" fmla="*/ 2308268 w 9847941"/>
                  <a:gd name="connsiteY4116" fmla="*/ 1112313 h 1864765"/>
                  <a:gd name="connsiteX4117" fmla="*/ 2308874 w 9847941"/>
                  <a:gd name="connsiteY4117" fmla="*/ 1110647 h 1864765"/>
                  <a:gd name="connsiteX4118" fmla="*/ 2308874 w 9847941"/>
                  <a:gd name="connsiteY4118" fmla="*/ 1109283 h 1864765"/>
                  <a:gd name="connsiteX4119" fmla="*/ 2310086 w 9847941"/>
                  <a:gd name="connsiteY4119" fmla="*/ 1106404 h 1864765"/>
                  <a:gd name="connsiteX4120" fmla="*/ 2311601 w 9847941"/>
                  <a:gd name="connsiteY4120" fmla="*/ 1105343 h 1864765"/>
                  <a:gd name="connsiteX4121" fmla="*/ 2313874 w 9847941"/>
                  <a:gd name="connsiteY4121" fmla="*/ 1105040 h 1864765"/>
                  <a:gd name="connsiteX4122" fmla="*/ 2315086 w 9847941"/>
                  <a:gd name="connsiteY4122" fmla="*/ 1104586 h 1864765"/>
                  <a:gd name="connsiteX4123" fmla="*/ 2315389 w 9847941"/>
                  <a:gd name="connsiteY4123" fmla="*/ 1103828 h 1864765"/>
                  <a:gd name="connsiteX4124" fmla="*/ 2316146 w 9847941"/>
                  <a:gd name="connsiteY4124" fmla="*/ 1103374 h 1864765"/>
                  <a:gd name="connsiteX4125" fmla="*/ 2317359 w 9847941"/>
                  <a:gd name="connsiteY4125" fmla="*/ 1103071 h 1864765"/>
                  <a:gd name="connsiteX4126" fmla="*/ 2318419 w 9847941"/>
                  <a:gd name="connsiteY4126" fmla="*/ 1101252 h 1864765"/>
                  <a:gd name="connsiteX4127" fmla="*/ 2319177 w 9847941"/>
                  <a:gd name="connsiteY4127" fmla="*/ 1097919 h 1864765"/>
                  <a:gd name="connsiteX4128" fmla="*/ 2320086 w 9847941"/>
                  <a:gd name="connsiteY4128" fmla="*/ 1096101 h 1864765"/>
                  <a:gd name="connsiteX4129" fmla="*/ 2320844 w 9847941"/>
                  <a:gd name="connsiteY4129" fmla="*/ 1095798 h 1864765"/>
                  <a:gd name="connsiteX4130" fmla="*/ 2321450 w 9847941"/>
                  <a:gd name="connsiteY4130" fmla="*/ 1095949 h 1864765"/>
                  <a:gd name="connsiteX4131" fmla="*/ 2321450 w 9847941"/>
                  <a:gd name="connsiteY4131" fmla="*/ 1096404 h 1864765"/>
                  <a:gd name="connsiteX4132" fmla="*/ 2324026 w 9847941"/>
                  <a:gd name="connsiteY4132" fmla="*/ 1094282 h 1864765"/>
                  <a:gd name="connsiteX4133" fmla="*/ 2324935 w 9847941"/>
                  <a:gd name="connsiteY4133" fmla="*/ 1092767 h 1864765"/>
                  <a:gd name="connsiteX4134" fmla="*/ 2324935 w 9847941"/>
                  <a:gd name="connsiteY4134" fmla="*/ 1091252 h 1864765"/>
                  <a:gd name="connsiteX4135" fmla="*/ 2325238 w 9847941"/>
                  <a:gd name="connsiteY4135" fmla="*/ 1086706 h 1864765"/>
                  <a:gd name="connsiteX4136" fmla="*/ 2325541 w 9847941"/>
                  <a:gd name="connsiteY4136" fmla="*/ 1083828 h 1864765"/>
                  <a:gd name="connsiteX4137" fmla="*/ 2325844 w 9847941"/>
                  <a:gd name="connsiteY4137" fmla="*/ 1082464 h 1864765"/>
                  <a:gd name="connsiteX4138" fmla="*/ 2325692 w 9847941"/>
                  <a:gd name="connsiteY4138" fmla="*/ 1078979 h 1864765"/>
                  <a:gd name="connsiteX4139" fmla="*/ 2324935 w 9847941"/>
                  <a:gd name="connsiteY4139" fmla="*/ 1076100 h 1864765"/>
                  <a:gd name="connsiteX4140" fmla="*/ 2321904 w 9847941"/>
                  <a:gd name="connsiteY4140" fmla="*/ 1072918 h 1864765"/>
                  <a:gd name="connsiteX4141" fmla="*/ 2321450 w 9847941"/>
                  <a:gd name="connsiteY4141" fmla="*/ 1071857 h 1864765"/>
                  <a:gd name="connsiteX4142" fmla="*/ 2321601 w 9847941"/>
                  <a:gd name="connsiteY4142" fmla="*/ 1070797 h 1864765"/>
                  <a:gd name="connsiteX4143" fmla="*/ 2322207 w 9847941"/>
                  <a:gd name="connsiteY4143" fmla="*/ 1069585 h 1864765"/>
                  <a:gd name="connsiteX4144" fmla="*/ 2323571 w 9847941"/>
                  <a:gd name="connsiteY4144" fmla="*/ 1069282 h 1864765"/>
                  <a:gd name="connsiteX4145" fmla="*/ 2325844 w 9847941"/>
                  <a:gd name="connsiteY4145" fmla="*/ 1070191 h 1864765"/>
                  <a:gd name="connsiteX4146" fmla="*/ 2326299 w 9847941"/>
                  <a:gd name="connsiteY4146" fmla="*/ 1070039 h 1864765"/>
                  <a:gd name="connsiteX4147" fmla="*/ 2325692 w 9847941"/>
                  <a:gd name="connsiteY4147" fmla="*/ 1069585 h 1864765"/>
                  <a:gd name="connsiteX4148" fmla="*/ 2325389 w 9847941"/>
                  <a:gd name="connsiteY4148" fmla="*/ 1068524 h 1864765"/>
                  <a:gd name="connsiteX4149" fmla="*/ 2325238 w 9847941"/>
                  <a:gd name="connsiteY4149" fmla="*/ 1067009 h 1864765"/>
                  <a:gd name="connsiteX4150" fmla="*/ 2324935 w 9847941"/>
                  <a:gd name="connsiteY4150" fmla="*/ 1066100 h 1864765"/>
                  <a:gd name="connsiteX4151" fmla="*/ 2324480 w 9847941"/>
                  <a:gd name="connsiteY4151" fmla="*/ 1065948 h 1864765"/>
                  <a:gd name="connsiteX4152" fmla="*/ 2323117 w 9847941"/>
                  <a:gd name="connsiteY4152" fmla="*/ 1064130 h 1864765"/>
                  <a:gd name="connsiteX4153" fmla="*/ 2322965 w 9847941"/>
                  <a:gd name="connsiteY4153" fmla="*/ 1063221 h 1864765"/>
                  <a:gd name="connsiteX4154" fmla="*/ 2323117 w 9847941"/>
                  <a:gd name="connsiteY4154" fmla="*/ 1062312 h 1864765"/>
                  <a:gd name="connsiteX4155" fmla="*/ 2322662 w 9847941"/>
                  <a:gd name="connsiteY4155" fmla="*/ 1061402 h 1864765"/>
                  <a:gd name="connsiteX4156" fmla="*/ 2320995 w 9847941"/>
                  <a:gd name="connsiteY4156" fmla="*/ 1060039 h 1864765"/>
                  <a:gd name="connsiteX4157" fmla="*/ 2317813 w 9847941"/>
                  <a:gd name="connsiteY4157" fmla="*/ 1058675 h 1864765"/>
                  <a:gd name="connsiteX4158" fmla="*/ 2310237 w 9847941"/>
                  <a:gd name="connsiteY4158" fmla="*/ 1056099 h 1864765"/>
                  <a:gd name="connsiteX4159" fmla="*/ 2308874 w 9847941"/>
                  <a:gd name="connsiteY4159" fmla="*/ 1055039 h 1864765"/>
                  <a:gd name="connsiteX4160" fmla="*/ 2307055 w 9847941"/>
                  <a:gd name="connsiteY4160" fmla="*/ 1054432 h 1864765"/>
                  <a:gd name="connsiteX4161" fmla="*/ 2304631 w 9847941"/>
                  <a:gd name="connsiteY4161" fmla="*/ 1054281 h 1864765"/>
                  <a:gd name="connsiteX4162" fmla="*/ 2303116 w 9847941"/>
                  <a:gd name="connsiteY4162" fmla="*/ 1053523 h 1864765"/>
                  <a:gd name="connsiteX4163" fmla="*/ 2302510 w 9847941"/>
                  <a:gd name="connsiteY4163" fmla="*/ 1052160 h 1864765"/>
                  <a:gd name="connsiteX4164" fmla="*/ 2301449 w 9847941"/>
                  <a:gd name="connsiteY4164" fmla="*/ 1050948 h 1864765"/>
                  <a:gd name="connsiteX4165" fmla="*/ 2299934 w 9847941"/>
                  <a:gd name="connsiteY4165" fmla="*/ 1049887 h 1864765"/>
                  <a:gd name="connsiteX4166" fmla="*/ 2297661 w 9847941"/>
                  <a:gd name="connsiteY4166" fmla="*/ 1049129 h 1864765"/>
                  <a:gd name="connsiteX4167" fmla="*/ 2294479 w 9847941"/>
                  <a:gd name="connsiteY4167" fmla="*/ 1048826 h 1864765"/>
                  <a:gd name="connsiteX4168" fmla="*/ 2291146 w 9847941"/>
                  <a:gd name="connsiteY4168" fmla="*/ 1047614 h 1864765"/>
                  <a:gd name="connsiteX4169" fmla="*/ 2287661 w 9847941"/>
                  <a:gd name="connsiteY4169" fmla="*/ 1045493 h 1864765"/>
                  <a:gd name="connsiteX4170" fmla="*/ 2285388 w 9847941"/>
                  <a:gd name="connsiteY4170" fmla="*/ 1044735 h 1864765"/>
                  <a:gd name="connsiteX4171" fmla="*/ 2284479 w 9847941"/>
                  <a:gd name="connsiteY4171" fmla="*/ 1045341 h 1864765"/>
                  <a:gd name="connsiteX4172" fmla="*/ 2282812 w 9847941"/>
                  <a:gd name="connsiteY4172" fmla="*/ 1045493 h 1864765"/>
                  <a:gd name="connsiteX4173" fmla="*/ 2280539 w 9847941"/>
                  <a:gd name="connsiteY4173" fmla="*/ 1045190 h 1864765"/>
                  <a:gd name="connsiteX4174" fmla="*/ 2279782 w 9847941"/>
                  <a:gd name="connsiteY4174" fmla="*/ 1045493 h 1864765"/>
                  <a:gd name="connsiteX4175" fmla="*/ 2280539 w 9847941"/>
                  <a:gd name="connsiteY4175" fmla="*/ 1046250 h 1864765"/>
                  <a:gd name="connsiteX4176" fmla="*/ 2279933 w 9847941"/>
                  <a:gd name="connsiteY4176" fmla="*/ 1047462 h 1864765"/>
                  <a:gd name="connsiteX4177" fmla="*/ 2277963 w 9847941"/>
                  <a:gd name="connsiteY4177" fmla="*/ 1049129 h 1864765"/>
                  <a:gd name="connsiteX4178" fmla="*/ 2276903 w 9847941"/>
                  <a:gd name="connsiteY4178" fmla="*/ 1050796 h 1864765"/>
                  <a:gd name="connsiteX4179" fmla="*/ 2276600 w 9847941"/>
                  <a:gd name="connsiteY4179" fmla="*/ 1052614 h 1864765"/>
                  <a:gd name="connsiteX4180" fmla="*/ 2276903 w 9847941"/>
                  <a:gd name="connsiteY4180" fmla="*/ 1054129 h 1864765"/>
                  <a:gd name="connsiteX4181" fmla="*/ 2277812 w 9847941"/>
                  <a:gd name="connsiteY4181" fmla="*/ 1055493 h 1864765"/>
                  <a:gd name="connsiteX4182" fmla="*/ 2279176 w 9847941"/>
                  <a:gd name="connsiteY4182" fmla="*/ 1056402 h 1864765"/>
                  <a:gd name="connsiteX4183" fmla="*/ 2280842 w 9847941"/>
                  <a:gd name="connsiteY4183" fmla="*/ 1056857 h 1864765"/>
                  <a:gd name="connsiteX4184" fmla="*/ 2281145 w 9847941"/>
                  <a:gd name="connsiteY4184" fmla="*/ 1057463 h 1864765"/>
                  <a:gd name="connsiteX4185" fmla="*/ 2280085 w 9847941"/>
                  <a:gd name="connsiteY4185" fmla="*/ 1058069 h 1864765"/>
                  <a:gd name="connsiteX4186" fmla="*/ 2278266 w 9847941"/>
                  <a:gd name="connsiteY4186" fmla="*/ 1058524 h 1864765"/>
                  <a:gd name="connsiteX4187" fmla="*/ 2275690 w 9847941"/>
                  <a:gd name="connsiteY4187" fmla="*/ 1058675 h 1864765"/>
                  <a:gd name="connsiteX4188" fmla="*/ 2273115 w 9847941"/>
                  <a:gd name="connsiteY4188" fmla="*/ 1059433 h 1864765"/>
                  <a:gd name="connsiteX4189" fmla="*/ 2270539 w 9847941"/>
                  <a:gd name="connsiteY4189" fmla="*/ 1060796 h 1864765"/>
                  <a:gd name="connsiteX4190" fmla="*/ 2269024 w 9847941"/>
                  <a:gd name="connsiteY4190" fmla="*/ 1062008 h 1864765"/>
                  <a:gd name="connsiteX4191" fmla="*/ 2268569 w 9847941"/>
                  <a:gd name="connsiteY4191" fmla="*/ 1063069 h 1864765"/>
                  <a:gd name="connsiteX4192" fmla="*/ 2268569 w 9847941"/>
                  <a:gd name="connsiteY4192" fmla="*/ 1064736 h 1864765"/>
                  <a:gd name="connsiteX4193" fmla="*/ 2268872 w 9847941"/>
                  <a:gd name="connsiteY4193" fmla="*/ 1068675 h 1864765"/>
                  <a:gd name="connsiteX4194" fmla="*/ 2268721 w 9847941"/>
                  <a:gd name="connsiteY4194" fmla="*/ 1070191 h 1864765"/>
                  <a:gd name="connsiteX4195" fmla="*/ 2267660 w 9847941"/>
                  <a:gd name="connsiteY4195" fmla="*/ 1073070 h 1864765"/>
                  <a:gd name="connsiteX4196" fmla="*/ 2266145 w 9847941"/>
                  <a:gd name="connsiteY4196" fmla="*/ 1076706 h 1864765"/>
                  <a:gd name="connsiteX4197" fmla="*/ 2264326 w 9847941"/>
                  <a:gd name="connsiteY4197" fmla="*/ 1078979 h 1864765"/>
                  <a:gd name="connsiteX4198" fmla="*/ 2264024 w 9847941"/>
                  <a:gd name="connsiteY4198" fmla="*/ 1078676 h 1864765"/>
                  <a:gd name="connsiteX4199" fmla="*/ 2264326 w 9847941"/>
                  <a:gd name="connsiteY4199" fmla="*/ 1077615 h 1864765"/>
                  <a:gd name="connsiteX4200" fmla="*/ 2265842 w 9847941"/>
                  <a:gd name="connsiteY4200" fmla="*/ 1073979 h 1864765"/>
                  <a:gd name="connsiteX4201" fmla="*/ 2265993 w 9847941"/>
                  <a:gd name="connsiteY4201" fmla="*/ 1072463 h 1864765"/>
                  <a:gd name="connsiteX4202" fmla="*/ 2265842 w 9847941"/>
                  <a:gd name="connsiteY4202" fmla="*/ 1071706 h 1864765"/>
                  <a:gd name="connsiteX4203" fmla="*/ 2265387 w 9847941"/>
                  <a:gd name="connsiteY4203" fmla="*/ 1071554 h 1864765"/>
                  <a:gd name="connsiteX4204" fmla="*/ 2264781 w 9847941"/>
                  <a:gd name="connsiteY4204" fmla="*/ 1072312 h 1864765"/>
                  <a:gd name="connsiteX4205" fmla="*/ 2264175 w 9847941"/>
                  <a:gd name="connsiteY4205" fmla="*/ 1073827 h 1864765"/>
                  <a:gd name="connsiteX4206" fmla="*/ 2264024 w 9847941"/>
                  <a:gd name="connsiteY4206" fmla="*/ 1074585 h 1864765"/>
                  <a:gd name="connsiteX4207" fmla="*/ 2264326 w 9847941"/>
                  <a:gd name="connsiteY4207" fmla="*/ 1074736 h 1864765"/>
                  <a:gd name="connsiteX4208" fmla="*/ 2264024 w 9847941"/>
                  <a:gd name="connsiteY4208" fmla="*/ 1075797 h 1864765"/>
                  <a:gd name="connsiteX4209" fmla="*/ 2263114 w 9847941"/>
                  <a:gd name="connsiteY4209" fmla="*/ 1077767 h 1864765"/>
                  <a:gd name="connsiteX4210" fmla="*/ 2262357 w 9847941"/>
                  <a:gd name="connsiteY4210" fmla="*/ 1078221 h 1864765"/>
                  <a:gd name="connsiteX4211" fmla="*/ 2261751 w 9847941"/>
                  <a:gd name="connsiteY4211" fmla="*/ 1077161 h 1864765"/>
                  <a:gd name="connsiteX4212" fmla="*/ 2261751 w 9847941"/>
                  <a:gd name="connsiteY4212" fmla="*/ 1075645 h 1864765"/>
                  <a:gd name="connsiteX4213" fmla="*/ 2262811 w 9847941"/>
                  <a:gd name="connsiteY4213" fmla="*/ 1072615 h 1864765"/>
                  <a:gd name="connsiteX4214" fmla="*/ 2262357 w 9847941"/>
                  <a:gd name="connsiteY4214" fmla="*/ 1072009 h 1864765"/>
                  <a:gd name="connsiteX4215" fmla="*/ 2262963 w 9847941"/>
                  <a:gd name="connsiteY4215" fmla="*/ 1070191 h 1864765"/>
                  <a:gd name="connsiteX4216" fmla="*/ 2263266 w 9847941"/>
                  <a:gd name="connsiteY4216" fmla="*/ 1068827 h 1864765"/>
                  <a:gd name="connsiteX4217" fmla="*/ 2262963 w 9847941"/>
                  <a:gd name="connsiteY4217" fmla="*/ 1067463 h 1864765"/>
                  <a:gd name="connsiteX4218" fmla="*/ 2263266 w 9847941"/>
                  <a:gd name="connsiteY4218" fmla="*/ 1066251 h 1864765"/>
                  <a:gd name="connsiteX4219" fmla="*/ 2264175 w 9847941"/>
                  <a:gd name="connsiteY4219" fmla="*/ 1065039 h 1864765"/>
                  <a:gd name="connsiteX4220" fmla="*/ 2263872 w 9847941"/>
                  <a:gd name="connsiteY4220" fmla="*/ 1064736 h 1864765"/>
                  <a:gd name="connsiteX4221" fmla="*/ 2262508 w 9847941"/>
                  <a:gd name="connsiteY4221" fmla="*/ 1065190 h 1864765"/>
                  <a:gd name="connsiteX4222" fmla="*/ 2260538 w 9847941"/>
                  <a:gd name="connsiteY4222" fmla="*/ 1067312 h 1864765"/>
                  <a:gd name="connsiteX4223" fmla="*/ 2257963 w 9847941"/>
                  <a:gd name="connsiteY4223" fmla="*/ 1071251 h 1864765"/>
                  <a:gd name="connsiteX4224" fmla="*/ 2255993 w 9847941"/>
                  <a:gd name="connsiteY4224" fmla="*/ 1072918 h 1864765"/>
                  <a:gd name="connsiteX4225" fmla="*/ 2254478 w 9847941"/>
                  <a:gd name="connsiteY4225" fmla="*/ 1072463 h 1864765"/>
                  <a:gd name="connsiteX4226" fmla="*/ 2253265 w 9847941"/>
                  <a:gd name="connsiteY4226" fmla="*/ 1072766 h 1864765"/>
                  <a:gd name="connsiteX4227" fmla="*/ 2252356 w 9847941"/>
                  <a:gd name="connsiteY4227" fmla="*/ 1073979 h 1864765"/>
                  <a:gd name="connsiteX4228" fmla="*/ 2251447 w 9847941"/>
                  <a:gd name="connsiteY4228" fmla="*/ 1074585 h 1864765"/>
                  <a:gd name="connsiteX4229" fmla="*/ 2250387 w 9847941"/>
                  <a:gd name="connsiteY4229" fmla="*/ 1074585 h 1864765"/>
                  <a:gd name="connsiteX4230" fmla="*/ 2249781 w 9847941"/>
                  <a:gd name="connsiteY4230" fmla="*/ 1075948 h 1864765"/>
                  <a:gd name="connsiteX4231" fmla="*/ 2249629 w 9847941"/>
                  <a:gd name="connsiteY4231" fmla="*/ 1078676 h 1864765"/>
                  <a:gd name="connsiteX4232" fmla="*/ 2248568 w 9847941"/>
                  <a:gd name="connsiteY4232" fmla="*/ 1080191 h 1864765"/>
                  <a:gd name="connsiteX4233" fmla="*/ 2245538 w 9847941"/>
                  <a:gd name="connsiteY4233" fmla="*/ 1081100 h 1864765"/>
                  <a:gd name="connsiteX4234" fmla="*/ 2244932 w 9847941"/>
                  <a:gd name="connsiteY4234" fmla="*/ 1081858 h 1864765"/>
                  <a:gd name="connsiteX4235" fmla="*/ 2244932 w 9847941"/>
                  <a:gd name="connsiteY4235" fmla="*/ 1082918 h 1864765"/>
                  <a:gd name="connsiteX4236" fmla="*/ 2245386 w 9847941"/>
                  <a:gd name="connsiteY4236" fmla="*/ 1084282 h 1864765"/>
                  <a:gd name="connsiteX4237" fmla="*/ 2245386 w 9847941"/>
                  <a:gd name="connsiteY4237" fmla="*/ 1086858 h 1864765"/>
                  <a:gd name="connsiteX4238" fmla="*/ 2244932 w 9847941"/>
                  <a:gd name="connsiteY4238" fmla="*/ 1090797 h 1864765"/>
                  <a:gd name="connsiteX4239" fmla="*/ 2243871 w 9847941"/>
                  <a:gd name="connsiteY4239" fmla="*/ 1094282 h 1864765"/>
                  <a:gd name="connsiteX4240" fmla="*/ 2242356 w 9847941"/>
                  <a:gd name="connsiteY4240" fmla="*/ 1097313 h 1864765"/>
                  <a:gd name="connsiteX4241" fmla="*/ 2240689 w 9847941"/>
                  <a:gd name="connsiteY4241" fmla="*/ 1099737 h 1864765"/>
                  <a:gd name="connsiteX4242" fmla="*/ 2237810 w 9847941"/>
                  <a:gd name="connsiteY4242" fmla="*/ 1102919 h 1864765"/>
                  <a:gd name="connsiteX4243" fmla="*/ 2237810 w 9847941"/>
                  <a:gd name="connsiteY4243" fmla="*/ 1103525 h 1864765"/>
                  <a:gd name="connsiteX4244" fmla="*/ 2239174 w 9847941"/>
                  <a:gd name="connsiteY4244" fmla="*/ 1106101 h 1864765"/>
                  <a:gd name="connsiteX4245" fmla="*/ 2239780 w 9847941"/>
                  <a:gd name="connsiteY4245" fmla="*/ 1107919 h 1864765"/>
                  <a:gd name="connsiteX4246" fmla="*/ 2240083 w 9847941"/>
                  <a:gd name="connsiteY4246" fmla="*/ 1111707 h 1864765"/>
                  <a:gd name="connsiteX4247" fmla="*/ 2240083 w 9847941"/>
                  <a:gd name="connsiteY4247" fmla="*/ 1112313 h 1864765"/>
                  <a:gd name="connsiteX4248" fmla="*/ 2237356 w 9847941"/>
                  <a:gd name="connsiteY4248" fmla="*/ 1116859 h 1864765"/>
                  <a:gd name="connsiteX4249" fmla="*/ 2237356 w 9847941"/>
                  <a:gd name="connsiteY4249" fmla="*/ 1117465 h 1864765"/>
                  <a:gd name="connsiteX4250" fmla="*/ 2240235 w 9847941"/>
                  <a:gd name="connsiteY4250" fmla="*/ 1125193 h 1864765"/>
                  <a:gd name="connsiteX4251" fmla="*/ 2242810 w 9847941"/>
                  <a:gd name="connsiteY4251" fmla="*/ 1130647 h 1864765"/>
                  <a:gd name="connsiteX4252" fmla="*/ 2243114 w 9847941"/>
                  <a:gd name="connsiteY4252" fmla="*/ 1131253 h 1864765"/>
                  <a:gd name="connsiteX4253" fmla="*/ 2243871 w 9847941"/>
                  <a:gd name="connsiteY4253" fmla="*/ 1133375 h 1864765"/>
                  <a:gd name="connsiteX4254" fmla="*/ 2245235 w 9847941"/>
                  <a:gd name="connsiteY4254" fmla="*/ 1137617 h 1864765"/>
                  <a:gd name="connsiteX4255" fmla="*/ 2245993 w 9847941"/>
                  <a:gd name="connsiteY4255" fmla="*/ 1141860 h 1864765"/>
                  <a:gd name="connsiteX4256" fmla="*/ 2245993 w 9847941"/>
                  <a:gd name="connsiteY4256" fmla="*/ 1146103 h 1864765"/>
                  <a:gd name="connsiteX4257" fmla="*/ 2245689 w 9847941"/>
                  <a:gd name="connsiteY4257" fmla="*/ 1150194 h 1864765"/>
                  <a:gd name="connsiteX4258" fmla="*/ 2244932 w 9847941"/>
                  <a:gd name="connsiteY4258" fmla="*/ 1154133 h 1864765"/>
                  <a:gd name="connsiteX4259" fmla="*/ 2243871 w 9847941"/>
                  <a:gd name="connsiteY4259" fmla="*/ 1157921 h 1864765"/>
                  <a:gd name="connsiteX4260" fmla="*/ 2242356 w 9847941"/>
                  <a:gd name="connsiteY4260" fmla="*/ 1161558 h 1864765"/>
                  <a:gd name="connsiteX4261" fmla="*/ 2240841 w 9847941"/>
                  <a:gd name="connsiteY4261" fmla="*/ 1164436 h 1864765"/>
                  <a:gd name="connsiteX4262" fmla="*/ 2237810 w 9847941"/>
                  <a:gd name="connsiteY4262" fmla="*/ 1169134 h 1864765"/>
                  <a:gd name="connsiteX4263" fmla="*/ 2236295 w 9847941"/>
                  <a:gd name="connsiteY4263" fmla="*/ 1172164 h 1864765"/>
                  <a:gd name="connsiteX4264" fmla="*/ 2234780 w 9847941"/>
                  <a:gd name="connsiteY4264" fmla="*/ 1174740 h 1864765"/>
                  <a:gd name="connsiteX4265" fmla="*/ 2233113 w 9847941"/>
                  <a:gd name="connsiteY4265" fmla="*/ 1176710 h 1864765"/>
                  <a:gd name="connsiteX4266" fmla="*/ 2230234 w 9847941"/>
                  <a:gd name="connsiteY4266" fmla="*/ 1178831 h 1864765"/>
                  <a:gd name="connsiteX4267" fmla="*/ 2222658 w 9847941"/>
                  <a:gd name="connsiteY4267" fmla="*/ 1182770 h 1864765"/>
                  <a:gd name="connsiteX4268" fmla="*/ 2220234 w 9847941"/>
                  <a:gd name="connsiteY4268" fmla="*/ 1183528 h 1864765"/>
                  <a:gd name="connsiteX4269" fmla="*/ 2217658 w 9847941"/>
                  <a:gd name="connsiteY4269" fmla="*/ 1183831 h 1864765"/>
                  <a:gd name="connsiteX4270" fmla="*/ 2214779 w 9847941"/>
                  <a:gd name="connsiteY4270" fmla="*/ 1183680 h 1864765"/>
                  <a:gd name="connsiteX4271" fmla="*/ 2213264 w 9847941"/>
                  <a:gd name="connsiteY4271" fmla="*/ 1183225 h 1864765"/>
                  <a:gd name="connsiteX4272" fmla="*/ 2212961 w 9847941"/>
                  <a:gd name="connsiteY4272" fmla="*/ 1182467 h 1864765"/>
                  <a:gd name="connsiteX4273" fmla="*/ 2212355 w 9847941"/>
                  <a:gd name="connsiteY4273" fmla="*/ 1182467 h 1864765"/>
                  <a:gd name="connsiteX4274" fmla="*/ 2211597 w 9847941"/>
                  <a:gd name="connsiteY4274" fmla="*/ 1182013 h 1864765"/>
                  <a:gd name="connsiteX4275" fmla="*/ 2210537 w 9847941"/>
                  <a:gd name="connsiteY4275" fmla="*/ 1181255 h 1864765"/>
                  <a:gd name="connsiteX4276" fmla="*/ 2209325 w 9847941"/>
                  <a:gd name="connsiteY4276" fmla="*/ 1179740 h 1864765"/>
                  <a:gd name="connsiteX4277" fmla="*/ 2208112 w 9847941"/>
                  <a:gd name="connsiteY4277" fmla="*/ 1176710 h 1864765"/>
                  <a:gd name="connsiteX4278" fmla="*/ 2206749 w 9847941"/>
                  <a:gd name="connsiteY4278" fmla="*/ 1172164 h 1864765"/>
                  <a:gd name="connsiteX4279" fmla="*/ 2205537 w 9847941"/>
                  <a:gd name="connsiteY4279" fmla="*/ 1169437 h 1864765"/>
                  <a:gd name="connsiteX4280" fmla="*/ 2204476 w 9847941"/>
                  <a:gd name="connsiteY4280" fmla="*/ 1168528 h 1864765"/>
                  <a:gd name="connsiteX4281" fmla="*/ 2203567 w 9847941"/>
                  <a:gd name="connsiteY4281" fmla="*/ 1167164 h 1864765"/>
                  <a:gd name="connsiteX4282" fmla="*/ 2202658 w 9847941"/>
                  <a:gd name="connsiteY4282" fmla="*/ 1165346 h 1864765"/>
                  <a:gd name="connsiteX4283" fmla="*/ 2202203 w 9847941"/>
                  <a:gd name="connsiteY4283" fmla="*/ 1161103 h 1864765"/>
                  <a:gd name="connsiteX4284" fmla="*/ 2202203 w 9847941"/>
                  <a:gd name="connsiteY4284" fmla="*/ 1154436 h 1864765"/>
                  <a:gd name="connsiteX4285" fmla="*/ 2202506 w 9847941"/>
                  <a:gd name="connsiteY4285" fmla="*/ 1149891 h 1864765"/>
                  <a:gd name="connsiteX4286" fmla="*/ 2203112 w 9847941"/>
                  <a:gd name="connsiteY4286" fmla="*/ 1147466 h 1864765"/>
                  <a:gd name="connsiteX4287" fmla="*/ 2202961 w 9847941"/>
                  <a:gd name="connsiteY4287" fmla="*/ 1145648 h 1864765"/>
                  <a:gd name="connsiteX4288" fmla="*/ 2202051 w 9847941"/>
                  <a:gd name="connsiteY4288" fmla="*/ 1144436 h 1864765"/>
                  <a:gd name="connsiteX4289" fmla="*/ 2201445 w 9847941"/>
                  <a:gd name="connsiteY4289" fmla="*/ 1142921 h 1864765"/>
                  <a:gd name="connsiteX4290" fmla="*/ 2201294 w 9847941"/>
                  <a:gd name="connsiteY4290" fmla="*/ 1140951 h 1864765"/>
                  <a:gd name="connsiteX4291" fmla="*/ 2200839 w 9847941"/>
                  <a:gd name="connsiteY4291" fmla="*/ 1139739 h 1864765"/>
                  <a:gd name="connsiteX4292" fmla="*/ 2200082 w 9847941"/>
                  <a:gd name="connsiteY4292" fmla="*/ 1139133 h 1864765"/>
                  <a:gd name="connsiteX4293" fmla="*/ 2199930 w 9847941"/>
                  <a:gd name="connsiteY4293" fmla="*/ 1138223 h 1864765"/>
                  <a:gd name="connsiteX4294" fmla="*/ 2200385 w 9847941"/>
                  <a:gd name="connsiteY4294" fmla="*/ 1137011 h 1864765"/>
                  <a:gd name="connsiteX4295" fmla="*/ 2200385 w 9847941"/>
                  <a:gd name="connsiteY4295" fmla="*/ 1136102 h 1864765"/>
                  <a:gd name="connsiteX4296" fmla="*/ 2199930 w 9847941"/>
                  <a:gd name="connsiteY4296" fmla="*/ 1135648 h 1864765"/>
                  <a:gd name="connsiteX4297" fmla="*/ 2199779 w 9847941"/>
                  <a:gd name="connsiteY4297" fmla="*/ 1135041 h 1864765"/>
                  <a:gd name="connsiteX4298" fmla="*/ 2199930 w 9847941"/>
                  <a:gd name="connsiteY4298" fmla="*/ 1134132 h 1864765"/>
                  <a:gd name="connsiteX4299" fmla="*/ 2199627 w 9847941"/>
                  <a:gd name="connsiteY4299" fmla="*/ 1131405 h 1864765"/>
                  <a:gd name="connsiteX4300" fmla="*/ 2199779 w 9847941"/>
                  <a:gd name="connsiteY4300" fmla="*/ 1129738 h 1864765"/>
                  <a:gd name="connsiteX4301" fmla="*/ 2200233 w 9847941"/>
                  <a:gd name="connsiteY4301" fmla="*/ 1127920 h 1864765"/>
                  <a:gd name="connsiteX4302" fmla="*/ 2201748 w 9847941"/>
                  <a:gd name="connsiteY4302" fmla="*/ 1124738 h 1864765"/>
                  <a:gd name="connsiteX4303" fmla="*/ 2202203 w 9847941"/>
                  <a:gd name="connsiteY4303" fmla="*/ 1123223 h 1864765"/>
                  <a:gd name="connsiteX4304" fmla="*/ 2202354 w 9847941"/>
                  <a:gd name="connsiteY4304" fmla="*/ 1121556 h 1864765"/>
                  <a:gd name="connsiteX4305" fmla="*/ 2203112 w 9847941"/>
                  <a:gd name="connsiteY4305" fmla="*/ 1119586 h 1864765"/>
                  <a:gd name="connsiteX4306" fmla="*/ 2205082 w 9847941"/>
                  <a:gd name="connsiteY4306" fmla="*/ 1115495 h 1864765"/>
                  <a:gd name="connsiteX4307" fmla="*/ 2205082 w 9847941"/>
                  <a:gd name="connsiteY4307" fmla="*/ 1114586 h 1864765"/>
                  <a:gd name="connsiteX4308" fmla="*/ 2204324 w 9847941"/>
                  <a:gd name="connsiteY4308" fmla="*/ 1112768 h 1864765"/>
                  <a:gd name="connsiteX4309" fmla="*/ 2204173 w 9847941"/>
                  <a:gd name="connsiteY4309" fmla="*/ 1111404 h 1864765"/>
                  <a:gd name="connsiteX4310" fmla="*/ 2204324 w 9847941"/>
                  <a:gd name="connsiteY4310" fmla="*/ 1109586 h 1864765"/>
                  <a:gd name="connsiteX4311" fmla="*/ 2204930 w 9847941"/>
                  <a:gd name="connsiteY4311" fmla="*/ 1107313 h 1864765"/>
                  <a:gd name="connsiteX4312" fmla="*/ 2206142 w 9847941"/>
                  <a:gd name="connsiteY4312" fmla="*/ 1104586 h 1864765"/>
                  <a:gd name="connsiteX4313" fmla="*/ 2207658 w 9847941"/>
                  <a:gd name="connsiteY4313" fmla="*/ 1102313 h 1864765"/>
                  <a:gd name="connsiteX4314" fmla="*/ 2209476 w 9847941"/>
                  <a:gd name="connsiteY4314" fmla="*/ 1100646 h 1864765"/>
                  <a:gd name="connsiteX4315" fmla="*/ 2210082 w 9847941"/>
                  <a:gd name="connsiteY4315" fmla="*/ 1098828 h 1864765"/>
                  <a:gd name="connsiteX4316" fmla="*/ 2209476 w 9847941"/>
                  <a:gd name="connsiteY4316" fmla="*/ 1096707 h 1864765"/>
                  <a:gd name="connsiteX4317" fmla="*/ 2209779 w 9847941"/>
                  <a:gd name="connsiteY4317" fmla="*/ 1093525 h 1864765"/>
                  <a:gd name="connsiteX4318" fmla="*/ 2210840 w 9847941"/>
                  <a:gd name="connsiteY4318" fmla="*/ 1089434 h 1864765"/>
                  <a:gd name="connsiteX4319" fmla="*/ 2212052 w 9847941"/>
                  <a:gd name="connsiteY4319" fmla="*/ 1086403 h 1864765"/>
                  <a:gd name="connsiteX4320" fmla="*/ 2213415 w 9847941"/>
                  <a:gd name="connsiteY4320" fmla="*/ 1084282 h 1864765"/>
                  <a:gd name="connsiteX4321" fmla="*/ 2214325 w 9847941"/>
                  <a:gd name="connsiteY4321" fmla="*/ 1082312 h 1864765"/>
                  <a:gd name="connsiteX4322" fmla="*/ 2214779 w 9847941"/>
                  <a:gd name="connsiteY4322" fmla="*/ 1080494 h 1864765"/>
                  <a:gd name="connsiteX4323" fmla="*/ 2214628 w 9847941"/>
                  <a:gd name="connsiteY4323" fmla="*/ 1079585 h 1864765"/>
                  <a:gd name="connsiteX4324" fmla="*/ 2213567 w 9847941"/>
                  <a:gd name="connsiteY4324" fmla="*/ 1078676 h 1864765"/>
                  <a:gd name="connsiteX4325" fmla="*/ 2212506 w 9847941"/>
                  <a:gd name="connsiteY4325" fmla="*/ 1077312 h 1864765"/>
                  <a:gd name="connsiteX4326" fmla="*/ 2210840 w 9847941"/>
                  <a:gd name="connsiteY4326" fmla="*/ 1077009 h 1864765"/>
                  <a:gd name="connsiteX4327" fmla="*/ 2208718 w 9847941"/>
                  <a:gd name="connsiteY4327" fmla="*/ 1077918 h 1864765"/>
                  <a:gd name="connsiteX4328" fmla="*/ 2208415 w 9847941"/>
                  <a:gd name="connsiteY4328" fmla="*/ 1077918 h 1864765"/>
                  <a:gd name="connsiteX4329" fmla="*/ 2207355 w 9847941"/>
                  <a:gd name="connsiteY4329" fmla="*/ 1078070 h 1864765"/>
                  <a:gd name="connsiteX4330" fmla="*/ 2205385 w 9847941"/>
                  <a:gd name="connsiteY4330" fmla="*/ 1080039 h 1864765"/>
                  <a:gd name="connsiteX4331" fmla="*/ 2203567 w 9847941"/>
                  <a:gd name="connsiteY4331" fmla="*/ 1083373 h 1864765"/>
                  <a:gd name="connsiteX4332" fmla="*/ 2202354 w 9847941"/>
                  <a:gd name="connsiteY4332" fmla="*/ 1084737 h 1864765"/>
                  <a:gd name="connsiteX4333" fmla="*/ 2200688 w 9847941"/>
                  <a:gd name="connsiteY4333" fmla="*/ 1085646 h 1864765"/>
                  <a:gd name="connsiteX4334" fmla="*/ 2199324 w 9847941"/>
                  <a:gd name="connsiteY4334" fmla="*/ 1086706 h 1864765"/>
                  <a:gd name="connsiteX4335" fmla="*/ 2198415 w 9847941"/>
                  <a:gd name="connsiteY4335" fmla="*/ 1087919 h 1864765"/>
                  <a:gd name="connsiteX4336" fmla="*/ 2197354 w 9847941"/>
                  <a:gd name="connsiteY4336" fmla="*/ 1088222 h 1864765"/>
                  <a:gd name="connsiteX4337" fmla="*/ 2195991 w 9847941"/>
                  <a:gd name="connsiteY4337" fmla="*/ 1087616 h 1864765"/>
                  <a:gd name="connsiteX4338" fmla="*/ 2195688 w 9847941"/>
                  <a:gd name="connsiteY4338" fmla="*/ 1086100 h 1864765"/>
                  <a:gd name="connsiteX4339" fmla="*/ 2196597 w 9847941"/>
                  <a:gd name="connsiteY4339" fmla="*/ 1083524 h 1864765"/>
                  <a:gd name="connsiteX4340" fmla="*/ 2197809 w 9847941"/>
                  <a:gd name="connsiteY4340" fmla="*/ 1081100 h 1864765"/>
                  <a:gd name="connsiteX4341" fmla="*/ 2200385 w 9847941"/>
                  <a:gd name="connsiteY4341" fmla="*/ 1077161 h 1864765"/>
                  <a:gd name="connsiteX4342" fmla="*/ 2200536 w 9847941"/>
                  <a:gd name="connsiteY4342" fmla="*/ 1076251 h 1864765"/>
                  <a:gd name="connsiteX4343" fmla="*/ 2201142 w 9847941"/>
                  <a:gd name="connsiteY4343" fmla="*/ 1075039 h 1864765"/>
                  <a:gd name="connsiteX4344" fmla="*/ 2205233 w 9847941"/>
                  <a:gd name="connsiteY4344" fmla="*/ 1073373 h 1864765"/>
                  <a:gd name="connsiteX4345" fmla="*/ 2206749 w 9847941"/>
                  <a:gd name="connsiteY4345" fmla="*/ 1072009 h 1864765"/>
                  <a:gd name="connsiteX4346" fmla="*/ 2207203 w 9847941"/>
                  <a:gd name="connsiteY4346" fmla="*/ 1070342 h 1864765"/>
                  <a:gd name="connsiteX4347" fmla="*/ 2207355 w 9847941"/>
                  <a:gd name="connsiteY4347" fmla="*/ 1067766 h 1864765"/>
                  <a:gd name="connsiteX4348" fmla="*/ 2207658 w 9847941"/>
                  <a:gd name="connsiteY4348" fmla="*/ 1067009 h 1864765"/>
                  <a:gd name="connsiteX4349" fmla="*/ 2208264 w 9847941"/>
                  <a:gd name="connsiteY4349" fmla="*/ 1066706 h 1864765"/>
                  <a:gd name="connsiteX4350" fmla="*/ 2210082 w 9847941"/>
                  <a:gd name="connsiteY4350" fmla="*/ 1064584 h 1864765"/>
                  <a:gd name="connsiteX4351" fmla="*/ 2212961 w 9847941"/>
                  <a:gd name="connsiteY4351" fmla="*/ 1060645 h 1864765"/>
                  <a:gd name="connsiteX4352" fmla="*/ 2215537 w 9847941"/>
                  <a:gd name="connsiteY4352" fmla="*/ 1056554 h 1864765"/>
                  <a:gd name="connsiteX4353" fmla="*/ 2217810 w 9847941"/>
                  <a:gd name="connsiteY4353" fmla="*/ 1052311 h 1864765"/>
                  <a:gd name="connsiteX4354" fmla="*/ 2219476 w 9847941"/>
                  <a:gd name="connsiteY4354" fmla="*/ 1049887 h 1864765"/>
                  <a:gd name="connsiteX4355" fmla="*/ 2220537 w 9847941"/>
                  <a:gd name="connsiteY4355" fmla="*/ 1049281 h 1864765"/>
                  <a:gd name="connsiteX4356" fmla="*/ 2221295 w 9847941"/>
                  <a:gd name="connsiteY4356" fmla="*/ 1048069 h 1864765"/>
                  <a:gd name="connsiteX4357" fmla="*/ 2222507 w 9847941"/>
                  <a:gd name="connsiteY4357" fmla="*/ 1044129 h 1864765"/>
                  <a:gd name="connsiteX4358" fmla="*/ 2223416 w 9847941"/>
                  <a:gd name="connsiteY4358" fmla="*/ 1042311 h 1864765"/>
                  <a:gd name="connsiteX4359" fmla="*/ 2224022 w 9847941"/>
                  <a:gd name="connsiteY4359" fmla="*/ 1041553 h 1864765"/>
                  <a:gd name="connsiteX4360" fmla="*/ 2224325 w 9847941"/>
                  <a:gd name="connsiteY4360" fmla="*/ 1042008 h 1864765"/>
                  <a:gd name="connsiteX4361" fmla="*/ 2223719 w 9847941"/>
                  <a:gd name="connsiteY4361" fmla="*/ 1044129 h 1864765"/>
                  <a:gd name="connsiteX4362" fmla="*/ 2223719 w 9847941"/>
                  <a:gd name="connsiteY4362" fmla="*/ 1045947 h 1864765"/>
                  <a:gd name="connsiteX4363" fmla="*/ 2224174 w 9847941"/>
                  <a:gd name="connsiteY4363" fmla="*/ 1048220 h 1864765"/>
                  <a:gd name="connsiteX4364" fmla="*/ 2225234 w 9847941"/>
                  <a:gd name="connsiteY4364" fmla="*/ 1048978 h 1864765"/>
                  <a:gd name="connsiteX4365" fmla="*/ 2226749 w 9847941"/>
                  <a:gd name="connsiteY4365" fmla="*/ 1048220 h 1864765"/>
                  <a:gd name="connsiteX4366" fmla="*/ 2227962 w 9847941"/>
                  <a:gd name="connsiteY4366" fmla="*/ 1046705 h 1864765"/>
                  <a:gd name="connsiteX4367" fmla="*/ 2229022 w 9847941"/>
                  <a:gd name="connsiteY4367" fmla="*/ 1044432 h 1864765"/>
                  <a:gd name="connsiteX4368" fmla="*/ 2230234 w 9847941"/>
                  <a:gd name="connsiteY4368" fmla="*/ 1043523 h 1864765"/>
                  <a:gd name="connsiteX4369" fmla="*/ 2231598 w 9847941"/>
                  <a:gd name="connsiteY4369" fmla="*/ 1043977 h 1864765"/>
                  <a:gd name="connsiteX4370" fmla="*/ 2232810 w 9847941"/>
                  <a:gd name="connsiteY4370" fmla="*/ 1043826 h 1864765"/>
                  <a:gd name="connsiteX4371" fmla="*/ 2233719 w 9847941"/>
                  <a:gd name="connsiteY4371" fmla="*/ 1043068 h 1864765"/>
                  <a:gd name="connsiteX4372" fmla="*/ 2235538 w 9847941"/>
                  <a:gd name="connsiteY4372" fmla="*/ 1042765 h 1864765"/>
                  <a:gd name="connsiteX4373" fmla="*/ 2235841 w 9847941"/>
                  <a:gd name="connsiteY4373" fmla="*/ 1043674 h 1864765"/>
                  <a:gd name="connsiteX4374" fmla="*/ 2235689 w 9847941"/>
                  <a:gd name="connsiteY4374" fmla="*/ 1045341 h 1864765"/>
                  <a:gd name="connsiteX4375" fmla="*/ 2235083 w 9847941"/>
                  <a:gd name="connsiteY4375" fmla="*/ 1046099 h 1864765"/>
                  <a:gd name="connsiteX4376" fmla="*/ 2234174 w 9847941"/>
                  <a:gd name="connsiteY4376" fmla="*/ 1046099 h 1864765"/>
                  <a:gd name="connsiteX4377" fmla="*/ 2233113 w 9847941"/>
                  <a:gd name="connsiteY4377" fmla="*/ 1047008 h 1864765"/>
                  <a:gd name="connsiteX4378" fmla="*/ 2231901 w 9847941"/>
                  <a:gd name="connsiteY4378" fmla="*/ 1048826 h 1864765"/>
                  <a:gd name="connsiteX4379" fmla="*/ 2231901 w 9847941"/>
                  <a:gd name="connsiteY4379" fmla="*/ 1050341 h 1864765"/>
                  <a:gd name="connsiteX4380" fmla="*/ 2233113 w 9847941"/>
                  <a:gd name="connsiteY4380" fmla="*/ 1051402 h 1864765"/>
                  <a:gd name="connsiteX4381" fmla="*/ 2233719 w 9847941"/>
                  <a:gd name="connsiteY4381" fmla="*/ 1051402 h 1864765"/>
                  <a:gd name="connsiteX4382" fmla="*/ 2233719 w 9847941"/>
                  <a:gd name="connsiteY4382" fmla="*/ 1050341 h 1864765"/>
                  <a:gd name="connsiteX4383" fmla="*/ 2234325 w 9847941"/>
                  <a:gd name="connsiteY4383" fmla="*/ 1049281 h 1864765"/>
                  <a:gd name="connsiteX4384" fmla="*/ 2236144 w 9847941"/>
                  <a:gd name="connsiteY4384" fmla="*/ 1047462 h 1864765"/>
                  <a:gd name="connsiteX4385" fmla="*/ 2236295 w 9847941"/>
                  <a:gd name="connsiteY4385" fmla="*/ 1046856 h 1864765"/>
                  <a:gd name="connsiteX4386" fmla="*/ 2239780 w 9847941"/>
                  <a:gd name="connsiteY4386" fmla="*/ 1045190 h 1864765"/>
                  <a:gd name="connsiteX4387" fmla="*/ 2241144 w 9847941"/>
                  <a:gd name="connsiteY4387" fmla="*/ 1044129 h 1864765"/>
                  <a:gd name="connsiteX4388" fmla="*/ 2241447 w 9847941"/>
                  <a:gd name="connsiteY4388" fmla="*/ 1042917 h 1864765"/>
                  <a:gd name="connsiteX4389" fmla="*/ 2243265 w 9847941"/>
                  <a:gd name="connsiteY4389" fmla="*/ 1040493 h 1864765"/>
                  <a:gd name="connsiteX4390" fmla="*/ 2244932 w 9847941"/>
                  <a:gd name="connsiteY4390" fmla="*/ 1039735 h 1864765"/>
                  <a:gd name="connsiteX4391" fmla="*/ 2247356 w 9847941"/>
                  <a:gd name="connsiteY4391" fmla="*/ 1039432 h 1864765"/>
                  <a:gd name="connsiteX4392" fmla="*/ 2249629 w 9847941"/>
                  <a:gd name="connsiteY4392" fmla="*/ 1039583 h 1864765"/>
                  <a:gd name="connsiteX4393" fmla="*/ 2251902 w 9847941"/>
                  <a:gd name="connsiteY4393" fmla="*/ 1040341 h 1864765"/>
                  <a:gd name="connsiteX4394" fmla="*/ 2253114 w 9847941"/>
                  <a:gd name="connsiteY4394" fmla="*/ 1040341 h 1864765"/>
                  <a:gd name="connsiteX4395" fmla="*/ 2253417 w 9847941"/>
                  <a:gd name="connsiteY4395" fmla="*/ 1039583 h 1864765"/>
                  <a:gd name="connsiteX4396" fmla="*/ 2255235 w 9847941"/>
                  <a:gd name="connsiteY4396" fmla="*/ 1039129 h 1864765"/>
                  <a:gd name="connsiteX4397" fmla="*/ 2258720 w 9847941"/>
                  <a:gd name="connsiteY4397" fmla="*/ 1038826 h 1864765"/>
                  <a:gd name="connsiteX4398" fmla="*/ 2261296 w 9847941"/>
                  <a:gd name="connsiteY4398" fmla="*/ 1037765 h 1864765"/>
                  <a:gd name="connsiteX4399" fmla="*/ 2262963 w 9847941"/>
                  <a:gd name="connsiteY4399" fmla="*/ 1035795 h 1864765"/>
                  <a:gd name="connsiteX4400" fmla="*/ 2265084 w 9847941"/>
                  <a:gd name="connsiteY4400" fmla="*/ 1034735 h 1864765"/>
                  <a:gd name="connsiteX4401" fmla="*/ 2267660 w 9847941"/>
                  <a:gd name="connsiteY4401" fmla="*/ 1034735 h 1864765"/>
                  <a:gd name="connsiteX4402" fmla="*/ 2271145 w 9847941"/>
                  <a:gd name="connsiteY4402" fmla="*/ 1035492 h 1864765"/>
                  <a:gd name="connsiteX4403" fmla="*/ 2275539 w 9847941"/>
                  <a:gd name="connsiteY4403" fmla="*/ 1036856 h 1864765"/>
                  <a:gd name="connsiteX4404" fmla="*/ 2279024 w 9847941"/>
                  <a:gd name="connsiteY4404" fmla="*/ 1038826 h 1864765"/>
                  <a:gd name="connsiteX4405" fmla="*/ 2283721 w 9847941"/>
                  <a:gd name="connsiteY4405" fmla="*/ 1042765 h 1864765"/>
                  <a:gd name="connsiteX4406" fmla="*/ 2284933 w 9847941"/>
                  <a:gd name="connsiteY4406" fmla="*/ 1043220 h 1864765"/>
                  <a:gd name="connsiteX4407" fmla="*/ 2285691 w 9847941"/>
                  <a:gd name="connsiteY4407" fmla="*/ 1043220 h 1864765"/>
                  <a:gd name="connsiteX4408" fmla="*/ 2286145 w 9847941"/>
                  <a:gd name="connsiteY4408" fmla="*/ 1042917 h 1864765"/>
                  <a:gd name="connsiteX4409" fmla="*/ 2286145 w 9847941"/>
                  <a:gd name="connsiteY4409" fmla="*/ 1042462 h 1864765"/>
                  <a:gd name="connsiteX4410" fmla="*/ 2285842 w 9847941"/>
                  <a:gd name="connsiteY4410" fmla="*/ 1042008 h 1864765"/>
                  <a:gd name="connsiteX4411" fmla="*/ 2285994 w 9847941"/>
                  <a:gd name="connsiteY4411" fmla="*/ 1040341 h 1864765"/>
                  <a:gd name="connsiteX4412" fmla="*/ 2285842 w 9847941"/>
                  <a:gd name="connsiteY4412" fmla="*/ 1039886 h 1864765"/>
                  <a:gd name="connsiteX4413" fmla="*/ 2287206 w 9847941"/>
                  <a:gd name="connsiteY4413" fmla="*/ 1037311 h 1864765"/>
                  <a:gd name="connsiteX4414" fmla="*/ 2288418 w 9847941"/>
                  <a:gd name="connsiteY4414" fmla="*/ 1036705 h 1864765"/>
                  <a:gd name="connsiteX4415" fmla="*/ 2289782 w 9847941"/>
                  <a:gd name="connsiteY4415" fmla="*/ 1037008 h 1864765"/>
                  <a:gd name="connsiteX4416" fmla="*/ 2290691 w 9847941"/>
                  <a:gd name="connsiteY4416" fmla="*/ 1037614 h 1864765"/>
                  <a:gd name="connsiteX4417" fmla="*/ 2290994 w 9847941"/>
                  <a:gd name="connsiteY4417" fmla="*/ 1038523 h 1864765"/>
                  <a:gd name="connsiteX4418" fmla="*/ 2291449 w 9847941"/>
                  <a:gd name="connsiteY4418" fmla="*/ 1038826 h 1864765"/>
                  <a:gd name="connsiteX4419" fmla="*/ 2292358 w 9847941"/>
                  <a:gd name="connsiteY4419" fmla="*/ 1038826 h 1864765"/>
                  <a:gd name="connsiteX4420" fmla="*/ 2292812 w 9847941"/>
                  <a:gd name="connsiteY4420" fmla="*/ 1038977 h 1864765"/>
                  <a:gd name="connsiteX4421" fmla="*/ 2293116 w 9847941"/>
                  <a:gd name="connsiteY4421" fmla="*/ 1038977 h 1864765"/>
                  <a:gd name="connsiteX4422" fmla="*/ 2293570 w 9847941"/>
                  <a:gd name="connsiteY4422" fmla="*/ 1038523 h 1864765"/>
                  <a:gd name="connsiteX4423" fmla="*/ 2296449 w 9847941"/>
                  <a:gd name="connsiteY4423" fmla="*/ 1038674 h 1864765"/>
                  <a:gd name="connsiteX4424" fmla="*/ 2306298 w 9847941"/>
                  <a:gd name="connsiteY4424" fmla="*/ 1040038 h 1864765"/>
                  <a:gd name="connsiteX4425" fmla="*/ 2307661 w 9847941"/>
                  <a:gd name="connsiteY4425" fmla="*/ 1039886 h 1864765"/>
                  <a:gd name="connsiteX4426" fmla="*/ 2308419 w 9847941"/>
                  <a:gd name="connsiteY4426" fmla="*/ 1039432 h 1864765"/>
                  <a:gd name="connsiteX4427" fmla="*/ 2308570 w 9847941"/>
                  <a:gd name="connsiteY4427" fmla="*/ 1038674 h 1864765"/>
                  <a:gd name="connsiteX4428" fmla="*/ 2307964 w 9847941"/>
                  <a:gd name="connsiteY4428" fmla="*/ 1038068 h 1864765"/>
                  <a:gd name="connsiteX4429" fmla="*/ 2305389 w 9847941"/>
                  <a:gd name="connsiteY4429" fmla="*/ 1036705 h 1864765"/>
                  <a:gd name="connsiteX4430" fmla="*/ 2304631 w 9847941"/>
                  <a:gd name="connsiteY4430" fmla="*/ 1035795 h 1864765"/>
                  <a:gd name="connsiteX4431" fmla="*/ 2304480 w 9847941"/>
                  <a:gd name="connsiteY4431" fmla="*/ 1034886 h 1864765"/>
                  <a:gd name="connsiteX4432" fmla="*/ 2304782 w 9847941"/>
                  <a:gd name="connsiteY4432" fmla="*/ 1034129 h 1864765"/>
                  <a:gd name="connsiteX4433" fmla="*/ 2304176 w 9847941"/>
                  <a:gd name="connsiteY4433" fmla="*/ 1033371 h 1864765"/>
                  <a:gd name="connsiteX4434" fmla="*/ 2302661 w 9847941"/>
                  <a:gd name="connsiteY4434" fmla="*/ 1032765 h 1864765"/>
                  <a:gd name="connsiteX4435" fmla="*/ 2299479 w 9847941"/>
                  <a:gd name="connsiteY4435" fmla="*/ 1032613 h 1864765"/>
                  <a:gd name="connsiteX4436" fmla="*/ 2298873 w 9847941"/>
                  <a:gd name="connsiteY4436" fmla="*/ 1032007 h 1864765"/>
                  <a:gd name="connsiteX4437" fmla="*/ 2299176 w 9847941"/>
                  <a:gd name="connsiteY4437" fmla="*/ 1031401 h 1864765"/>
                  <a:gd name="connsiteX4438" fmla="*/ 2300085 w 9847941"/>
                  <a:gd name="connsiteY4438" fmla="*/ 1030492 h 1864765"/>
                  <a:gd name="connsiteX4439" fmla="*/ 2300085 w 9847941"/>
                  <a:gd name="connsiteY4439" fmla="*/ 1029280 h 1864765"/>
                  <a:gd name="connsiteX4440" fmla="*/ 2299782 w 9847941"/>
                  <a:gd name="connsiteY4440" fmla="*/ 1028522 h 1864765"/>
                  <a:gd name="connsiteX4441" fmla="*/ 2299328 w 9847941"/>
                  <a:gd name="connsiteY4441" fmla="*/ 1026401 h 1864765"/>
                  <a:gd name="connsiteX4442" fmla="*/ 2298570 w 9847941"/>
                  <a:gd name="connsiteY4442" fmla="*/ 1025037 h 1864765"/>
                  <a:gd name="connsiteX4443" fmla="*/ 2297206 w 9847941"/>
                  <a:gd name="connsiteY4443" fmla="*/ 1022916 h 1864765"/>
                  <a:gd name="connsiteX4444" fmla="*/ 2296600 w 9847941"/>
                  <a:gd name="connsiteY4444" fmla="*/ 1022159 h 1864765"/>
                  <a:gd name="connsiteX4445" fmla="*/ 2295691 w 9847941"/>
                  <a:gd name="connsiteY4445" fmla="*/ 1021704 h 1864765"/>
                  <a:gd name="connsiteX4446" fmla="*/ 2294934 w 9847941"/>
                  <a:gd name="connsiteY4446" fmla="*/ 1021855 h 1864765"/>
                  <a:gd name="connsiteX4447" fmla="*/ 2293873 w 9847941"/>
                  <a:gd name="connsiteY4447" fmla="*/ 1022310 h 1864765"/>
                  <a:gd name="connsiteX4448" fmla="*/ 2292661 w 9847941"/>
                  <a:gd name="connsiteY4448" fmla="*/ 1023219 h 1864765"/>
                  <a:gd name="connsiteX4449" fmla="*/ 2290994 w 9847941"/>
                  <a:gd name="connsiteY4449" fmla="*/ 1024128 h 1864765"/>
                  <a:gd name="connsiteX4450" fmla="*/ 2289327 w 9847941"/>
                  <a:gd name="connsiteY4450" fmla="*/ 1023825 h 1864765"/>
                  <a:gd name="connsiteX4451" fmla="*/ 2288115 w 9847941"/>
                  <a:gd name="connsiteY4451" fmla="*/ 1022462 h 1864765"/>
                  <a:gd name="connsiteX4452" fmla="*/ 2286449 w 9847941"/>
                  <a:gd name="connsiteY4452" fmla="*/ 1022159 h 1864765"/>
                  <a:gd name="connsiteX4453" fmla="*/ 2284176 w 9847941"/>
                  <a:gd name="connsiteY4453" fmla="*/ 1022916 h 1864765"/>
                  <a:gd name="connsiteX4454" fmla="*/ 2282206 w 9847941"/>
                  <a:gd name="connsiteY4454" fmla="*/ 1022916 h 1864765"/>
                  <a:gd name="connsiteX4455" fmla="*/ 2280539 w 9847941"/>
                  <a:gd name="connsiteY4455" fmla="*/ 1022007 h 1864765"/>
                  <a:gd name="connsiteX4456" fmla="*/ 2277206 w 9847941"/>
                  <a:gd name="connsiteY4456" fmla="*/ 1021552 h 1864765"/>
                  <a:gd name="connsiteX4457" fmla="*/ 2276751 w 9847941"/>
                  <a:gd name="connsiteY4457" fmla="*/ 1020946 h 1864765"/>
                  <a:gd name="connsiteX4458" fmla="*/ 2276751 w 9847941"/>
                  <a:gd name="connsiteY4458" fmla="*/ 1020340 h 1864765"/>
                  <a:gd name="connsiteX4459" fmla="*/ 2277206 w 9847941"/>
                  <a:gd name="connsiteY4459" fmla="*/ 1019583 h 1864765"/>
                  <a:gd name="connsiteX4460" fmla="*/ 2277509 w 9847941"/>
                  <a:gd name="connsiteY4460" fmla="*/ 1017916 h 1864765"/>
                  <a:gd name="connsiteX4461" fmla="*/ 2277509 w 9847941"/>
                  <a:gd name="connsiteY4461" fmla="*/ 1015340 h 1864765"/>
                  <a:gd name="connsiteX4462" fmla="*/ 2277963 w 9847941"/>
                  <a:gd name="connsiteY4462" fmla="*/ 1013522 h 1864765"/>
                  <a:gd name="connsiteX4463" fmla="*/ 2278721 w 9847941"/>
                  <a:gd name="connsiteY4463" fmla="*/ 1012461 h 1864765"/>
                  <a:gd name="connsiteX4464" fmla="*/ 2277509 w 9847941"/>
                  <a:gd name="connsiteY4464" fmla="*/ 1012007 h 1864765"/>
                  <a:gd name="connsiteX4465" fmla="*/ 2274175 w 9847941"/>
                  <a:gd name="connsiteY4465" fmla="*/ 1012158 h 1864765"/>
                  <a:gd name="connsiteX4466" fmla="*/ 2270236 w 9847941"/>
                  <a:gd name="connsiteY4466" fmla="*/ 1013067 h 1864765"/>
                  <a:gd name="connsiteX4467" fmla="*/ 2265842 w 9847941"/>
                  <a:gd name="connsiteY4467" fmla="*/ 1014583 h 1864765"/>
                  <a:gd name="connsiteX4468" fmla="*/ 2260993 w 9847941"/>
                  <a:gd name="connsiteY4468" fmla="*/ 1015189 h 1864765"/>
                  <a:gd name="connsiteX4469" fmla="*/ 2255841 w 9847941"/>
                  <a:gd name="connsiteY4469" fmla="*/ 1014734 h 1864765"/>
                  <a:gd name="connsiteX4470" fmla="*/ 2251902 w 9847941"/>
                  <a:gd name="connsiteY4470" fmla="*/ 1014734 h 1864765"/>
                  <a:gd name="connsiteX4471" fmla="*/ 2247508 w 9847941"/>
                  <a:gd name="connsiteY4471" fmla="*/ 1015492 h 1864765"/>
                  <a:gd name="connsiteX4472" fmla="*/ 2246750 w 9847941"/>
                  <a:gd name="connsiteY4472" fmla="*/ 1015189 h 1864765"/>
                  <a:gd name="connsiteX4473" fmla="*/ 2244023 w 9847941"/>
                  <a:gd name="connsiteY4473" fmla="*/ 1016249 h 1864765"/>
                  <a:gd name="connsiteX4474" fmla="*/ 2239326 w 9847941"/>
                  <a:gd name="connsiteY4474" fmla="*/ 1018674 h 1864765"/>
                  <a:gd name="connsiteX4475" fmla="*/ 2235841 w 9847941"/>
                  <a:gd name="connsiteY4475" fmla="*/ 1020795 h 1864765"/>
                  <a:gd name="connsiteX4476" fmla="*/ 2232962 w 9847941"/>
                  <a:gd name="connsiteY4476" fmla="*/ 1023219 h 1864765"/>
                  <a:gd name="connsiteX4477" fmla="*/ 2232507 w 9847941"/>
                  <a:gd name="connsiteY4477" fmla="*/ 1023219 h 1864765"/>
                  <a:gd name="connsiteX4478" fmla="*/ 2231750 w 9847941"/>
                  <a:gd name="connsiteY4478" fmla="*/ 1022613 h 1864765"/>
                  <a:gd name="connsiteX4479" fmla="*/ 2230234 w 9847941"/>
                  <a:gd name="connsiteY4479" fmla="*/ 1021855 h 1864765"/>
                  <a:gd name="connsiteX4480" fmla="*/ 2228719 w 9847941"/>
                  <a:gd name="connsiteY4480" fmla="*/ 1021855 h 1864765"/>
                  <a:gd name="connsiteX4481" fmla="*/ 2227052 w 9847941"/>
                  <a:gd name="connsiteY4481" fmla="*/ 1022613 h 1864765"/>
                  <a:gd name="connsiteX4482" fmla="*/ 2225386 w 9847941"/>
                  <a:gd name="connsiteY4482" fmla="*/ 1022159 h 1864765"/>
                  <a:gd name="connsiteX4483" fmla="*/ 2223719 w 9847941"/>
                  <a:gd name="connsiteY4483" fmla="*/ 1020492 h 1864765"/>
                  <a:gd name="connsiteX4484" fmla="*/ 2222204 w 9847941"/>
                  <a:gd name="connsiteY4484" fmla="*/ 1020037 h 1864765"/>
                  <a:gd name="connsiteX4485" fmla="*/ 2220840 w 9847941"/>
                  <a:gd name="connsiteY4485" fmla="*/ 1020795 h 1864765"/>
                  <a:gd name="connsiteX4486" fmla="*/ 2218567 w 9847941"/>
                  <a:gd name="connsiteY4486" fmla="*/ 1021098 h 1864765"/>
                  <a:gd name="connsiteX4487" fmla="*/ 2213415 w 9847941"/>
                  <a:gd name="connsiteY4487" fmla="*/ 1020795 h 1864765"/>
                  <a:gd name="connsiteX4488" fmla="*/ 2212809 w 9847941"/>
                  <a:gd name="connsiteY4488" fmla="*/ 1020340 h 1864765"/>
                  <a:gd name="connsiteX4489" fmla="*/ 2212355 w 9847941"/>
                  <a:gd name="connsiteY4489" fmla="*/ 1018674 h 1864765"/>
                  <a:gd name="connsiteX4490" fmla="*/ 2211749 w 9847941"/>
                  <a:gd name="connsiteY4490" fmla="*/ 1017916 h 1864765"/>
                  <a:gd name="connsiteX4491" fmla="*/ 2210688 w 9847941"/>
                  <a:gd name="connsiteY4491" fmla="*/ 1017461 h 1864765"/>
                  <a:gd name="connsiteX4492" fmla="*/ 2209021 w 9847941"/>
                  <a:gd name="connsiteY4492" fmla="*/ 1015492 h 1864765"/>
                  <a:gd name="connsiteX4493" fmla="*/ 2205537 w 9847941"/>
                  <a:gd name="connsiteY4493" fmla="*/ 1010643 h 1864765"/>
                  <a:gd name="connsiteX4494" fmla="*/ 2204627 w 9847941"/>
                  <a:gd name="connsiteY4494" fmla="*/ 1010037 h 1864765"/>
                  <a:gd name="connsiteX4495" fmla="*/ 2201748 w 9847941"/>
                  <a:gd name="connsiteY4495" fmla="*/ 1008522 h 1864765"/>
                  <a:gd name="connsiteX4496" fmla="*/ 2199021 w 9847941"/>
                  <a:gd name="connsiteY4496" fmla="*/ 1007764 h 1864765"/>
                  <a:gd name="connsiteX4497" fmla="*/ 2192051 w 9847941"/>
                  <a:gd name="connsiteY4497" fmla="*/ 1006855 h 1864765"/>
                  <a:gd name="connsiteX4498" fmla="*/ 2190536 w 9847941"/>
                  <a:gd name="connsiteY4498" fmla="*/ 1006097 h 1864765"/>
                  <a:gd name="connsiteX4499" fmla="*/ 2189627 w 9847941"/>
                  <a:gd name="connsiteY4499" fmla="*/ 1006249 h 1864765"/>
                  <a:gd name="connsiteX4500" fmla="*/ 2185081 w 9847941"/>
                  <a:gd name="connsiteY4500" fmla="*/ 1008976 h 1864765"/>
                  <a:gd name="connsiteX4501" fmla="*/ 2184930 w 9847941"/>
                  <a:gd name="connsiteY4501" fmla="*/ 1009582 h 1864765"/>
                  <a:gd name="connsiteX4502" fmla="*/ 2184627 w 9847941"/>
                  <a:gd name="connsiteY4502" fmla="*/ 1010188 h 1864765"/>
                  <a:gd name="connsiteX4503" fmla="*/ 2183869 w 9847941"/>
                  <a:gd name="connsiteY4503" fmla="*/ 1011098 h 1864765"/>
                  <a:gd name="connsiteX4504" fmla="*/ 2183263 w 9847941"/>
                  <a:gd name="connsiteY4504" fmla="*/ 1011552 h 1864765"/>
                  <a:gd name="connsiteX4505" fmla="*/ 2182960 w 9847941"/>
                  <a:gd name="connsiteY4505" fmla="*/ 1011098 h 1864765"/>
                  <a:gd name="connsiteX4506" fmla="*/ 2182657 w 9847941"/>
                  <a:gd name="connsiteY4506" fmla="*/ 1010340 h 1864765"/>
                  <a:gd name="connsiteX4507" fmla="*/ 2182657 w 9847941"/>
                  <a:gd name="connsiteY4507" fmla="*/ 1008673 h 1864765"/>
                  <a:gd name="connsiteX4508" fmla="*/ 2183111 w 9847941"/>
                  <a:gd name="connsiteY4508" fmla="*/ 1006097 h 1864765"/>
                  <a:gd name="connsiteX4509" fmla="*/ 2182808 w 9847941"/>
                  <a:gd name="connsiteY4509" fmla="*/ 1004431 h 1864765"/>
                  <a:gd name="connsiteX4510" fmla="*/ 2181748 w 9847941"/>
                  <a:gd name="connsiteY4510" fmla="*/ 1003673 h 1864765"/>
                  <a:gd name="connsiteX4511" fmla="*/ 2181293 w 9847941"/>
                  <a:gd name="connsiteY4511" fmla="*/ 1002764 h 1864765"/>
                  <a:gd name="connsiteX4512" fmla="*/ 2181445 w 9847941"/>
                  <a:gd name="connsiteY4512" fmla="*/ 1001703 h 1864765"/>
                  <a:gd name="connsiteX4513" fmla="*/ 2180687 w 9847941"/>
                  <a:gd name="connsiteY4513" fmla="*/ 1000794 h 1864765"/>
                  <a:gd name="connsiteX4514" fmla="*/ 2179020 w 9847941"/>
                  <a:gd name="connsiteY4514" fmla="*/ 1000188 h 1864765"/>
                  <a:gd name="connsiteX4515" fmla="*/ 2178263 w 9847941"/>
                  <a:gd name="connsiteY4515" fmla="*/ 999279 h 1864765"/>
                  <a:gd name="connsiteX4516" fmla="*/ 2178414 w 9847941"/>
                  <a:gd name="connsiteY4516" fmla="*/ 998218 h 1864765"/>
                  <a:gd name="connsiteX4517" fmla="*/ 2178263 w 9847941"/>
                  <a:gd name="connsiteY4517" fmla="*/ 997461 h 1864765"/>
                  <a:gd name="connsiteX4518" fmla="*/ 2177808 w 9847941"/>
                  <a:gd name="connsiteY4518" fmla="*/ 997006 h 1864765"/>
                  <a:gd name="connsiteX4519" fmla="*/ 2175990 w 9847941"/>
                  <a:gd name="connsiteY4519" fmla="*/ 997915 h 1864765"/>
                  <a:gd name="connsiteX4520" fmla="*/ 2172808 w 9847941"/>
                  <a:gd name="connsiteY4520" fmla="*/ 1000037 h 1864765"/>
                  <a:gd name="connsiteX4521" fmla="*/ 2170687 w 9847941"/>
                  <a:gd name="connsiteY4521" fmla="*/ 1001855 h 1864765"/>
                  <a:gd name="connsiteX4522" fmla="*/ 2169626 w 9847941"/>
                  <a:gd name="connsiteY4522" fmla="*/ 1003521 h 1864765"/>
                  <a:gd name="connsiteX4523" fmla="*/ 2167959 w 9847941"/>
                  <a:gd name="connsiteY4523" fmla="*/ 1004431 h 1864765"/>
                  <a:gd name="connsiteX4524" fmla="*/ 2165686 w 9847941"/>
                  <a:gd name="connsiteY4524" fmla="*/ 1004582 h 1864765"/>
                  <a:gd name="connsiteX4525" fmla="*/ 2163868 w 9847941"/>
                  <a:gd name="connsiteY4525" fmla="*/ 1005340 h 1864765"/>
                  <a:gd name="connsiteX4526" fmla="*/ 2160686 w 9847941"/>
                  <a:gd name="connsiteY4526" fmla="*/ 1007764 h 1864765"/>
                  <a:gd name="connsiteX4527" fmla="*/ 2158414 w 9847941"/>
                  <a:gd name="connsiteY4527" fmla="*/ 1008976 h 1864765"/>
                  <a:gd name="connsiteX4528" fmla="*/ 2154474 w 9847941"/>
                  <a:gd name="connsiteY4528" fmla="*/ 1009885 h 1864765"/>
                  <a:gd name="connsiteX4529" fmla="*/ 2149019 w 9847941"/>
                  <a:gd name="connsiteY4529" fmla="*/ 1010491 h 1864765"/>
                  <a:gd name="connsiteX4530" fmla="*/ 2144474 w 9847941"/>
                  <a:gd name="connsiteY4530" fmla="*/ 1012007 h 1864765"/>
                  <a:gd name="connsiteX4531" fmla="*/ 2140837 w 9847941"/>
                  <a:gd name="connsiteY4531" fmla="*/ 1014583 h 1864765"/>
                  <a:gd name="connsiteX4532" fmla="*/ 2136443 w 9847941"/>
                  <a:gd name="connsiteY4532" fmla="*/ 1016704 h 1864765"/>
                  <a:gd name="connsiteX4533" fmla="*/ 2131291 w 9847941"/>
                  <a:gd name="connsiteY4533" fmla="*/ 1018522 h 1864765"/>
                  <a:gd name="connsiteX4534" fmla="*/ 2127806 w 9847941"/>
                  <a:gd name="connsiteY4534" fmla="*/ 1019128 h 1864765"/>
                  <a:gd name="connsiteX4535" fmla="*/ 2125988 w 9847941"/>
                  <a:gd name="connsiteY4535" fmla="*/ 1018674 h 1864765"/>
                  <a:gd name="connsiteX4536" fmla="*/ 2123715 w 9847941"/>
                  <a:gd name="connsiteY4536" fmla="*/ 1017613 h 1864765"/>
                  <a:gd name="connsiteX4537" fmla="*/ 2120382 w 9847941"/>
                  <a:gd name="connsiteY4537" fmla="*/ 1015643 h 1864765"/>
                  <a:gd name="connsiteX4538" fmla="*/ 2119927 w 9847941"/>
                  <a:gd name="connsiteY4538" fmla="*/ 1015795 h 1864765"/>
                  <a:gd name="connsiteX4539" fmla="*/ 2120230 w 9847941"/>
                  <a:gd name="connsiteY4539" fmla="*/ 1016249 h 1864765"/>
                  <a:gd name="connsiteX4540" fmla="*/ 2120230 w 9847941"/>
                  <a:gd name="connsiteY4540" fmla="*/ 1016552 h 1864765"/>
                  <a:gd name="connsiteX4541" fmla="*/ 2119624 w 9847941"/>
                  <a:gd name="connsiteY4541" fmla="*/ 1017158 h 1864765"/>
                  <a:gd name="connsiteX4542" fmla="*/ 2115381 w 9847941"/>
                  <a:gd name="connsiteY4542" fmla="*/ 1018674 h 1864765"/>
                  <a:gd name="connsiteX4543" fmla="*/ 2114775 w 9847941"/>
                  <a:gd name="connsiteY4543" fmla="*/ 1018067 h 1864765"/>
                  <a:gd name="connsiteX4544" fmla="*/ 2116291 w 9847941"/>
                  <a:gd name="connsiteY4544" fmla="*/ 1016098 h 1864765"/>
                  <a:gd name="connsiteX4545" fmla="*/ 2116897 w 9847941"/>
                  <a:gd name="connsiteY4545" fmla="*/ 1014583 h 1864765"/>
                  <a:gd name="connsiteX4546" fmla="*/ 2116897 w 9847941"/>
                  <a:gd name="connsiteY4546" fmla="*/ 1013219 h 1864765"/>
                  <a:gd name="connsiteX4547" fmla="*/ 2117654 w 9847941"/>
                  <a:gd name="connsiteY4547" fmla="*/ 1011552 h 1864765"/>
                  <a:gd name="connsiteX4548" fmla="*/ 2119018 w 9847941"/>
                  <a:gd name="connsiteY4548" fmla="*/ 1009582 h 1864765"/>
                  <a:gd name="connsiteX4549" fmla="*/ 2119473 w 9847941"/>
                  <a:gd name="connsiteY4549" fmla="*/ 1008219 h 1864765"/>
                  <a:gd name="connsiteX4550" fmla="*/ 2119169 w 9847941"/>
                  <a:gd name="connsiteY4550" fmla="*/ 1007461 h 1864765"/>
                  <a:gd name="connsiteX4551" fmla="*/ 2117654 w 9847941"/>
                  <a:gd name="connsiteY4551" fmla="*/ 1006249 h 1864765"/>
                  <a:gd name="connsiteX4552" fmla="*/ 2116442 w 9847941"/>
                  <a:gd name="connsiteY4552" fmla="*/ 1006097 h 1864765"/>
                  <a:gd name="connsiteX4553" fmla="*/ 2114775 w 9847941"/>
                  <a:gd name="connsiteY4553" fmla="*/ 1006552 h 1864765"/>
                  <a:gd name="connsiteX4554" fmla="*/ 2109775 w 9847941"/>
                  <a:gd name="connsiteY4554" fmla="*/ 1009582 h 1864765"/>
                  <a:gd name="connsiteX4555" fmla="*/ 2109321 w 9847941"/>
                  <a:gd name="connsiteY4555" fmla="*/ 1009279 h 1864765"/>
                  <a:gd name="connsiteX4556" fmla="*/ 2107805 w 9847941"/>
                  <a:gd name="connsiteY4556" fmla="*/ 1008825 h 1864765"/>
                  <a:gd name="connsiteX4557" fmla="*/ 2107351 w 9847941"/>
                  <a:gd name="connsiteY4557" fmla="*/ 1008976 h 1864765"/>
                  <a:gd name="connsiteX4558" fmla="*/ 2103563 w 9847941"/>
                  <a:gd name="connsiteY4558" fmla="*/ 1011552 h 1864765"/>
                  <a:gd name="connsiteX4559" fmla="*/ 2099623 w 9847941"/>
                  <a:gd name="connsiteY4559" fmla="*/ 1013067 h 1864765"/>
                  <a:gd name="connsiteX4560" fmla="*/ 2090381 w 9847941"/>
                  <a:gd name="connsiteY4560" fmla="*/ 1015340 h 1864765"/>
                  <a:gd name="connsiteX4561" fmla="*/ 2088108 w 9847941"/>
                  <a:gd name="connsiteY4561" fmla="*/ 1015643 h 1864765"/>
                  <a:gd name="connsiteX4562" fmla="*/ 2086289 w 9847941"/>
                  <a:gd name="connsiteY4562" fmla="*/ 1015492 h 1864765"/>
                  <a:gd name="connsiteX4563" fmla="*/ 2084017 w 9847941"/>
                  <a:gd name="connsiteY4563" fmla="*/ 1014279 h 1864765"/>
                  <a:gd name="connsiteX4564" fmla="*/ 2083108 w 9847941"/>
                  <a:gd name="connsiteY4564" fmla="*/ 1013370 h 1864765"/>
                  <a:gd name="connsiteX4565" fmla="*/ 2083259 w 9847941"/>
                  <a:gd name="connsiteY4565" fmla="*/ 1012461 h 1864765"/>
                  <a:gd name="connsiteX4566" fmla="*/ 2084320 w 9847941"/>
                  <a:gd name="connsiteY4566" fmla="*/ 1011401 h 1864765"/>
                  <a:gd name="connsiteX4567" fmla="*/ 2095835 w 9847941"/>
                  <a:gd name="connsiteY4567" fmla="*/ 1003370 h 1864765"/>
                  <a:gd name="connsiteX4568" fmla="*/ 2102957 w 9847941"/>
                  <a:gd name="connsiteY4568" fmla="*/ 997612 h 1864765"/>
                  <a:gd name="connsiteX4569" fmla="*/ 2114624 w 9847941"/>
                  <a:gd name="connsiteY4569" fmla="*/ 986854 h 1864765"/>
                  <a:gd name="connsiteX4570" fmla="*/ 2117654 w 9847941"/>
                  <a:gd name="connsiteY4570" fmla="*/ 984733 h 1864765"/>
                  <a:gd name="connsiteX4571" fmla="*/ 2124473 w 9847941"/>
                  <a:gd name="connsiteY4571" fmla="*/ 981248 h 1864765"/>
                  <a:gd name="connsiteX4572" fmla="*/ 2135382 w 9847941"/>
                  <a:gd name="connsiteY4572" fmla="*/ 977763 h 1864765"/>
                  <a:gd name="connsiteX4573" fmla="*/ 2140837 w 9847941"/>
                  <a:gd name="connsiteY4573" fmla="*/ 975793 h 1864765"/>
                  <a:gd name="connsiteX4574" fmla="*/ 2145534 w 9847941"/>
                  <a:gd name="connsiteY4574" fmla="*/ 973672 h 1864765"/>
                  <a:gd name="connsiteX4575" fmla="*/ 2148565 w 9847941"/>
                  <a:gd name="connsiteY4575" fmla="*/ 972005 h 1864765"/>
                  <a:gd name="connsiteX4576" fmla="*/ 2149928 w 9847941"/>
                  <a:gd name="connsiteY4576" fmla="*/ 970944 h 1864765"/>
                  <a:gd name="connsiteX4577" fmla="*/ 2150989 w 9847941"/>
                  <a:gd name="connsiteY4577" fmla="*/ 970490 h 1864765"/>
                  <a:gd name="connsiteX4578" fmla="*/ 2151747 w 9847941"/>
                  <a:gd name="connsiteY4578" fmla="*/ 970490 h 1864765"/>
                  <a:gd name="connsiteX4579" fmla="*/ 2152504 w 9847941"/>
                  <a:gd name="connsiteY4579" fmla="*/ 970187 h 1864765"/>
                  <a:gd name="connsiteX4580" fmla="*/ 2147049 w 9847941"/>
                  <a:gd name="connsiteY4580" fmla="*/ 969732 h 1864765"/>
                  <a:gd name="connsiteX4581" fmla="*/ 2143564 w 9847941"/>
                  <a:gd name="connsiteY4581" fmla="*/ 970490 h 1864765"/>
                  <a:gd name="connsiteX4582" fmla="*/ 2140989 w 9847941"/>
                  <a:gd name="connsiteY4582" fmla="*/ 969732 h 1864765"/>
                  <a:gd name="connsiteX4583" fmla="*/ 2139776 w 9847941"/>
                  <a:gd name="connsiteY4583" fmla="*/ 967611 h 1864765"/>
                  <a:gd name="connsiteX4584" fmla="*/ 2138413 w 9847941"/>
                  <a:gd name="connsiteY4584" fmla="*/ 966247 h 1864765"/>
                  <a:gd name="connsiteX4585" fmla="*/ 2132200 w 9847941"/>
                  <a:gd name="connsiteY4585" fmla="*/ 966853 h 1864765"/>
                  <a:gd name="connsiteX4586" fmla="*/ 2124321 w 9847941"/>
                  <a:gd name="connsiteY4586" fmla="*/ 966399 h 1864765"/>
                  <a:gd name="connsiteX4587" fmla="*/ 2120533 w 9847941"/>
                  <a:gd name="connsiteY4587" fmla="*/ 966702 h 1864765"/>
                  <a:gd name="connsiteX4588" fmla="*/ 2119018 w 9847941"/>
                  <a:gd name="connsiteY4588" fmla="*/ 965793 h 1864765"/>
                  <a:gd name="connsiteX4589" fmla="*/ 2117806 w 9847941"/>
                  <a:gd name="connsiteY4589" fmla="*/ 963368 h 1864765"/>
                  <a:gd name="connsiteX4590" fmla="*/ 2115685 w 9847941"/>
                  <a:gd name="connsiteY4590" fmla="*/ 963065 h 1864765"/>
                  <a:gd name="connsiteX4591" fmla="*/ 2112200 w 9847941"/>
                  <a:gd name="connsiteY4591" fmla="*/ 963672 h 1864765"/>
                  <a:gd name="connsiteX4592" fmla="*/ 2107351 w 9847941"/>
                  <a:gd name="connsiteY4592" fmla="*/ 966853 h 1864765"/>
                  <a:gd name="connsiteX4593" fmla="*/ 2102805 w 9847941"/>
                  <a:gd name="connsiteY4593" fmla="*/ 968520 h 1864765"/>
                  <a:gd name="connsiteX4594" fmla="*/ 2099169 w 9847941"/>
                  <a:gd name="connsiteY4594" fmla="*/ 968520 h 1864765"/>
                  <a:gd name="connsiteX4595" fmla="*/ 2095684 w 9847941"/>
                  <a:gd name="connsiteY4595" fmla="*/ 966853 h 1864765"/>
                  <a:gd name="connsiteX4596" fmla="*/ 2089926 w 9847941"/>
                  <a:gd name="connsiteY4596" fmla="*/ 963672 h 1864765"/>
                  <a:gd name="connsiteX4597" fmla="*/ 2085835 w 9847941"/>
                  <a:gd name="connsiteY4597" fmla="*/ 960035 h 1864765"/>
                  <a:gd name="connsiteX4598" fmla="*/ 2081289 w 9847941"/>
                  <a:gd name="connsiteY4598" fmla="*/ 958823 h 1864765"/>
                  <a:gd name="connsiteX4599" fmla="*/ 2077804 w 9847941"/>
                  <a:gd name="connsiteY4599" fmla="*/ 959126 h 1864765"/>
                  <a:gd name="connsiteX4600" fmla="*/ 2076441 w 9847941"/>
                  <a:gd name="connsiteY4600" fmla="*/ 960944 h 1864765"/>
                  <a:gd name="connsiteX4601" fmla="*/ 2074623 w 9847941"/>
                  <a:gd name="connsiteY4601" fmla="*/ 960944 h 1864765"/>
                  <a:gd name="connsiteX4602" fmla="*/ 2073410 w 9847941"/>
                  <a:gd name="connsiteY4602" fmla="*/ 957762 h 1864765"/>
                  <a:gd name="connsiteX4603" fmla="*/ 2072350 w 9847941"/>
                  <a:gd name="connsiteY4603" fmla="*/ 955338 h 1864765"/>
                  <a:gd name="connsiteX4604" fmla="*/ 2070077 w 9847941"/>
                  <a:gd name="connsiteY4604" fmla="*/ 954277 h 1864765"/>
                  <a:gd name="connsiteX4605" fmla="*/ 2065986 w 9847941"/>
                  <a:gd name="connsiteY4605" fmla="*/ 952004 h 1864765"/>
                  <a:gd name="connsiteX4606" fmla="*/ 2063107 w 9847941"/>
                  <a:gd name="connsiteY4606" fmla="*/ 950792 h 1864765"/>
                  <a:gd name="connsiteX4607" fmla="*/ 2058713 w 9847941"/>
                  <a:gd name="connsiteY4607" fmla="*/ 949277 h 1864765"/>
                  <a:gd name="connsiteX4608" fmla="*/ 2057197 w 9847941"/>
                  <a:gd name="connsiteY4608" fmla="*/ 948974 h 1864765"/>
                  <a:gd name="connsiteX4609" fmla="*/ 2054319 w 9847941"/>
                  <a:gd name="connsiteY4609" fmla="*/ 948822 h 1864765"/>
                  <a:gd name="connsiteX4610" fmla="*/ 2051440 w 9847941"/>
                  <a:gd name="connsiteY4610" fmla="*/ 948671 h 1864765"/>
                  <a:gd name="connsiteX4611" fmla="*/ 2048106 w 9847941"/>
                  <a:gd name="connsiteY4611" fmla="*/ 949126 h 1864765"/>
                  <a:gd name="connsiteX4612" fmla="*/ 2045833 w 9847941"/>
                  <a:gd name="connsiteY4612" fmla="*/ 951095 h 1864765"/>
                  <a:gd name="connsiteX4613" fmla="*/ 2043106 w 9847941"/>
                  <a:gd name="connsiteY4613" fmla="*/ 952004 h 1864765"/>
                  <a:gd name="connsiteX4614" fmla="*/ 2039166 w 9847941"/>
                  <a:gd name="connsiteY4614" fmla="*/ 952459 h 1864765"/>
                  <a:gd name="connsiteX4615" fmla="*/ 2036591 w 9847941"/>
                  <a:gd name="connsiteY4615" fmla="*/ 951701 h 1864765"/>
                  <a:gd name="connsiteX4616" fmla="*/ 2035227 w 9847941"/>
                  <a:gd name="connsiteY4616" fmla="*/ 949580 h 1864765"/>
                  <a:gd name="connsiteX4617" fmla="*/ 2029621 w 9847941"/>
                  <a:gd name="connsiteY4617" fmla="*/ 947762 h 1864765"/>
                  <a:gd name="connsiteX4618" fmla="*/ 2019772 w 9847941"/>
                  <a:gd name="connsiteY4618" fmla="*/ 946247 h 1864765"/>
                  <a:gd name="connsiteX4619" fmla="*/ 2014166 w 9847941"/>
                  <a:gd name="connsiteY4619" fmla="*/ 944883 h 1864765"/>
                  <a:gd name="connsiteX4620" fmla="*/ 2012650 w 9847941"/>
                  <a:gd name="connsiteY4620" fmla="*/ 943822 h 1864765"/>
                  <a:gd name="connsiteX4621" fmla="*/ 2011893 w 9847941"/>
                  <a:gd name="connsiteY4621" fmla="*/ 942610 h 1864765"/>
                  <a:gd name="connsiteX4622" fmla="*/ 2011741 w 9847941"/>
                  <a:gd name="connsiteY4622" fmla="*/ 940640 h 1864765"/>
                  <a:gd name="connsiteX4623" fmla="*/ 2011741 w 9847941"/>
                  <a:gd name="connsiteY4623" fmla="*/ 940640 h 1864765"/>
                  <a:gd name="connsiteX4624" fmla="*/ 2009317 w 9847941"/>
                  <a:gd name="connsiteY4624" fmla="*/ 935792 h 1864765"/>
                  <a:gd name="connsiteX4625" fmla="*/ 2008256 w 9847941"/>
                  <a:gd name="connsiteY4625" fmla="*/ 931701 h 1864765"/>
                  <a:gd name="connsiteX4626" fmla="*/ 2007802 w 9847941"/>
                  <a:gd name="connsiteY4626" fmla="*/ 926700 h 1864765"/>
                  <a:gd name="connsiteX4627" fmla="*/ 2007953 w 9847941"/>
                  <a:gd name="connsiteY4627" fmla="*/ 925034 h 1864765"/>
                  <a:gd name="connsiteX4628" fmla="*/ 2007347 w 9847941"/>
                  <a:gd name="connsiteY4628" fmla="*/ 924579 h 1864765"/>
                  <a:gd name="connsiteX4629" fmla="*/ 2005529 w 9847941"/>
                  <a:gd name="connsiteY4629" fmla="*/ 923519 h 1864765"/>
                  <a:gd name="connsiteX4630" fmla="*/ 1999620 w 9847941"/>
                  <a:gd name="connsiteY4630" fmla="*/ 922761 h 1864765"/>
                  <a:gd name="connsiteX4631" fmla="*/ 1999468 w 9847941"/>
                  <a:gd name="connsiteY4631" fmla="*/ 928670 h 1864765"/>
                  <a:gd name="connsiteX4632" fmla="*/ 1999317 w 9847941"/>
                  <a:gd name="connsiteY4632" fmla="*/ 936095 h 1864765"/>
                  <a:gd name="connsiteX4633" fmla="*/ 1992801 w 9847941"/>
                  <a:gd name="connsiteY4633" fmla="*/ 936095 h 1864765"/>
                  <a:gd name="connsiteX4634" fmla="*/ 1981134 w 9847941"/>
                  <a:gd name="connsiteY4634" fmla="*/ 936095 h 1864765"/>
                  <a:gd name="connsiteX4635" fmla="*/ 1969467 w 9847941"/>
                  <a:gd name="connsiteY4635" fmla="*/ 936095 h 1864765"/>
                  <a:gd name="connsiteX4636" fmla="*/ 1957800 w 9847941"/>
                  <a:gd name="connsiteY4636" fmla="*/ 936095 h 1864765"/>
                  <a:gd name="connsiteX4637" fmla="*/ 1946133 w 9847941"/>
                  <a:gd name="connsiteY4637" fmla="*/ 936095 h 1864765"/>
                  <a:gd name="connsiteX4638" fmla="*/ 1934466 w 9847941"/>
                  <a:gd name="connsiteY4638" fmla="*/ 936095 h 1864765"/>
                  <a:gd name="connsiteX4639" fmla="*/ 1922799 w 9847941"/>
                  <a:gd name="connsiteY4639" fmla="*/ 936095 h 1864765"/>
                  <a:gd name="connsiteX4640" fmla="*/ 1911131 w 9847941"/>
                  <a:gd name="connsiteY4640" fmla="*/ 936095 h 1864765"/>
                  <a:gd name="connsiteX4641" fmla="*/ 1899464 w 9847941"/>
                  <a:gd name="connsiteY4641" fmla="*/ 936095 h 1864765"/>
                  <a:gd name="connsiteX4642" fmla="*/ 1887797 w 9847941"/>
                  <a:gd name="connsiteY4642" fmla="*/ 936095 h 1864765"/>
                  <a:gd name="connsiteX4643" fmla="*/ 1877797 w 9847941"/>
                  <a:gd name="connsiteY4643" fmla="*/ 936095 h 1864765"/>
                  <a:gd name="connsiteX4644" fmla="*/ 1866130 w 9847941"/>
                  <a:gd name="connsiteY4644" fmla="*/ 936095 h 1864765"/>
                  <a:gd name="connsiteX4645" fmla="*/ 1854463 w 9847941"/>
                  <a:gd name="connsiteY4645" fmla="*/ 936095 h 1864765"/>
                  <a:gd name="connsiteX4646" fmla="*/ 1842796 w 9847941"/>
                  <a:gd name="connsiteY4646" fmla="*/ 936095 h 1864765"/>
                  <a:gd name="connsiteX4647" fmla="*/ 1831129 w 9847941"/>
                  <a:gd name="connsiteY4647" fmla="*/ 936095 h 1864765"/>
                  <a:gd name="connsiteX4648" fmla="*/ 1819461 w 9847941"/>
                  <a:gd name="connsiteY4648" fmla="*/ 936095 h 1864765"/>
                  <a:gd name="connsiteX4649" fmla="*/ 1807794 w 9847941"/>
                  <a:gd name="connsiteY4649" fmla="*/ 936095 h 1864765"/>
                  <a:gd name="connsiteX4650" fmla="*/ 1796127 w 9847941"/>
                  <a:gd name="connsiteY4650" fmla="*/ 936095 h 1864765"/>
                  <a:gd name="connsiteX4651" fmla="*/ 1784460 w 9847941"/>
                  <a:gd name="connsiteY4651" fmla="*/ 936095 h 1864765"/>
                  <a:gd name="connsiteX4652" fmla="*/ 1772793 w 9847941"/>
                  <a:gd name="connsiteY4652" fmla="*/ 936095 h 1864765"/>
                  <a:gd name="connsiteX4653" fmla="*/ 1761126 w 9847941"/>
                  <a:gd name="connsiteY4653" fmla="*/ 936095 h 1864765"/>
                  <a:gd name="connsiteX4654" fmla="*/ 1749459 w 9847941"/>
                  <a:gd name="connsiteY4654" fmla="*/ 936095 h 1864765"/>
                  <a:gd name="connsiteX4655" fmla="*/ 1737792 w 9847941"/>
                  <a:gd name="connsiteY4655" fmla="*/ 936095 h 1864765"/>
                  <a:gd name="connsiteX4656" fmla="*/ 1726125 w 9847941"/>
                  <a:gd name="connsiteY4656" fmla="*/ 936095 h 1864765"/>
                  <a:gd name="connsiteX4657" fmla="*/ 1714458 w 9847941"/>
                  <a:gd name="connsiteY4657" fmla="*/ 936095 h 1864765"/>
                  <a:gd name="connsiteX4658" fmla="*/ 1702790 w 9847941"/>
                  <a:gd name="connsiteY4658" fmla="*/ 936095 h 1864765"/>
                  <a:gd name="connsiteX4659" fmla="*/ 1691123 w 9847941"/>
                  <a:gd name="connsiteY4659" fmla="*/ 936095 h 1864765"/>
                  <a:gd name="connsiteX4660" fmla="*/ 1679456 w 9847941"/>
                  <a:gd name="connsiteY4660" fmla="*/ 936095 h 1864765"/>
                  <a:gd name="connsiteX4661" fmla="*/ 1667789 w 9847941"/>
                  <a:gd name="connsiteY4661" fmla="*/ 936095 h 1864765"/>
                  <a:gd name="connsiteX4662" fmla="*/ 1656122 w 9847941"/>
                  <a:gd name="connsiteY4662" fmla="*/ 936095 h 1864765"/>
                  <a:gd name="connsiteX4663" fmla="*/ 1644455 w 9847941"/>
                  <a:gd name="connsiteY4663" fmla="*/ 936095 h 1864765"/>
                  <a:gd name="connsiteX4664" fmla="*/ 1632788 w 9847941"/>
                  <a:gd name="connsiteY4664" fmla="*/ 936095 h 1864765"/>
                  <a:gd name="connsiteX4665" fmla="*/ 1621121 w 9847941"/>
                  <a:gd name="connsiteY4665" fmla="*/ 936095 h 1864765"/>
                  <a:gd name="connsiteX4666" fmla="*/ 1609454 w 9847941"/>
                  <a:gd name="connsiteY4666" fmla="*/ 936095 h 1864765"/>
                  <a:gd name="connsiteX4667" fmla="*/ 1597787 w 9847941"/>
                  <a:gd name="connsiteY4667" fmla="*/ 936095 h 1864765"/>
                  <a:gd name="connsiteX4668" fmla="*/ 1586119 w 9847941"/>
                  <a:gd name="connsiteY4668" fmla="*/ 936095 h 1864765"/>
                  <a:gd name="connsiteX4669" fmla="*/ 1574452 w 9847941"/>
                  <a:gd name="connsiteY4669" fmla="*/ 936095 h 1864765"/>
                  <a:gd name="connsiteX4670" fmla="*/ 1562785 w 9847941"/>
                  <a:gd name="connsiteY4670" fmla="*/ 936095 h 1864765"/>
                  <a:gd name="connsiteX4671" fmla="*/ 1551118 w 9847941"/>
                  <a:gd name="connsiteY4671" fmla="*/ 936095 h 1864765"/>
                  <a:gd name="connsiteX4672" fmla="*/ 1539451 w 9847941"/>
                  <a:gd name="connsiteY4672" fmla="*/ 936095 h 1864765"/>
                  <a:gd name="connsiteX4673" fmla="*/ 1527784 w 9847941"/>
                  <a:gd name="connsiteY4673" fmla="*/ 936095 h 1864765"/>
                  <a:gd name="connsiteX4674" fmla="*/ 1516117 w 9847941"/>
                  <a:gd name="connsiteY4674" fmla="*/ 936095 h 1864765"/>
                  <a:gd name="connsiteX4675" fmla="*/ 1504450 w 9847941"/>
                  <a:gd name="connsiteY4675" fmla="*/ 936095 h 1864765"/>
                  <a:gd name="connsiteX4676" fmla="*/ 1492783 w 9847941"/>
                  <a:gd name="connsiteY4676" fmla="*/ 936095 h 1864765"/>
                  <a:gd name="connsiteX4677" fmla="*/ 1481116 w 9847941"/>
                  <a:gd name="connsiteY4677" fmla="*/ 936095 h 1864765"/>
                  <a:gd name="connsiteX4678" fmla="*/ 1469449 w 9847941"/>
                  <a:gd name="connsiteY4678" fmla="*/ 936095 h 1864765"/>
                  <a:gd name="connsiteX4679" fmla="*/ 1457781 w 9847941"/>
                  <a:gd name="connsiteY4679" fmla="*/ 936095 h 1864765"/>
                  <a:gd name="connsiteX4680" fmla="*/ 1446114 w 9847941"/>
                  <a:gd name="connsiteY4680" fmla="*/ 936095 h 1864765"/>
                  <a:gd name="connsiteX4681" fmla="*/ 1434447 w 9847941"/>
                  <a:gd name="connsiteY4681" fmla="*/ 936095 h 1864765"/>
                  <a:gd name="connsiteX4682" fmla="*/ 1422780 w 9847941"/>
                  <a:gd name="connsiteY4682" fmla="*/ 936095 h 1864765"/>
                  <a:gd name="connsiteX4683" fmla="*/ 1411113 w 9847941"/>
                  <a:gd name="connsiteY4683" fmla="*/ 936095 h 1864765"/>
                  <a:gd name="connsiteX4684" fmla="*/ 1399446 w 9847941"/>
                  <a:gd name="connsiteY4684" fmla="*/ 936095 h 1864765"/>
                  <a:gd name="connsiteX4685" fmla="*/ 1387779 w 9847941"/>
                  <a:gd name="connsiteY4685" fmla="*/ 936095 h 1864765"/>
                  <a:gd name="connsiteX4686" fmla="*/ 1376112 w 9847941"/>
                  <a:gd name="connsiteY4686" fmla="*/ 936095 h 1864765"/>
                  <a:gd name="connsiteX4687" fmla="*/ 1364445 w 9847941"/>
                  <a:gd name="connsiteY4687" fmla="*/ 936095 h 1864765"/>
                  <a:gd name="connsiteX4688" fmla="*/ 1352777 w 9847941"/>
                  <a:gd name="connsiteY4688" fmla="*/ 936095 h 1864765"/>
                  <a:gd name="connsiteX4689" fmla="*/ 1341110 w 9847941"/>
                  <a:gd name="connsiteY4689" fmla="*/ 936095 h 1864765"/>
                  <a:gd name="connsiteX4690" fmla="*/ 1329443 w 9847941"/>
                  <a:gd name="connsiteY4690" fmla="*/ 936095 h 1864765"/>
                  <a:gd name="connsiteX4691" fmla="*/ 1317776 w 9847941"/>
                  <a:gd name="connsiteY4691" fmla="*/ 936095 h 1864765"/>
                  <a:gd name="connsiteX4692" fmla="*/ 1306109 w 9847941"/>
                  <a:gd name="connsiteY4692" fmla="*/ 936095 h 1864765"/>
                  <a:gd name="connsiteX4693" fmla="*/ 1294442 w 9847941"/>
                  <a:gd name="connsiteY4693" fmla="*/ 936095 h 1864765"/>
                  <a:gd name="connsiteX4694" fmla="*/ 1282775 w 9847941"/>
                  <a:gd name="connsiteY4694" fmla="*/ 936095 h 1864765"/>
                  <a:gd name="connsiteX4695" fmla="*/ 1271108 w 9847941"/>
                  <a:gd name="connsiteY4695" fmla="*/ 936095 h 1864765"/>
                  <a:gd name="connsiteX4696" fmla="*/ 1259441 w 9847941"/>
                  <a:gd name="connsiteY4696" fmla="*/ 936095 h 1864765"/>
                  <a:gd name="connsiteX4697" fmla="*/ 1247774 w 9847941"/>
                  <a:gd name="connsiteY4697" fmla="*/ 936095 h 1864765"/>
                  <a:gd name="connsiteX4698" fmla="*/ 1245046 w 9847941"/>
                  <a:gd name="connsiteY4698" fmla="*/ 936095 h 1864765"/>
                  <a:gd name="connsiteX4699" fmla="*/ 1246864 w 9847941"/>
                  <a:gd name="connsiteY4699" fmla="*/ 941095 h 1864765"/>
                  <a:gd name="connsiteX4700" fmla="*/ 1247925 w 9847941"/>
                  <a:gd name="connsiteY4700" fmla="*/ 943216 h 1864765"/>
                  <a:gd name="connsiteX4701" fmla="*/ 1248834 w 9847941"/>
                  <a:gd name="connsiteY4701" fmla="*/ 944277 h 1864765"/>
                  <a:gd name="connsiteX4702" fmla="*/ 1250349 w 9847941"/>
                  <a:gd name="connsiteY4702" fmla="*/ 944125 h 1864765"/>
                  <a:gd name="connsiteX4703" fmla="*/ 1250804 w 9847941"/>
                  <a:gd name="connsiteY4703" fmla="*/ 943671 h 1864765"/>
                  <a:gd name="connsiteX4704" fmla="*/ 1251259 w 9847941"/>
                  <a:gd name="connsiteY4704" fmla="*/ 943671 h 1864765"/>
                  <a:gd name="connsiteX4705" fmla="*/ 1251713 w 9847941"/>
                  <a:gd name="connsiteY4705" fmla="*/ 944277 h 1864765"/>
                  <a:gd name="connsiteX4706" fmla="*/ 1252622 w 9847941"/>
                  <a:gd name="connsiteY4706" fmla="*/ 947610 h 1864765"/>
                  <a:gd name="connsiteX4707" fmla="*/ 1252622 w 9847941"/>
                  <a:gd name="connsiteY4707" fmla="*/ 951550 h 1864765"/>
                  <a:gd name="connsiteX4708" fmla="*/ 1252925 w 9847941"/>
                  <a:gd name="connsiteY4708" fmla="*/ 952156 h 1864765"/>
                  <a:gd name="connsiteX4709" fmla="*/ 1253077 w 9847941"/>
                  <a:gd name="connsiteY4709" fmla="*/ 953217 h 1864765"/>
                  <a:gd name="connsiteX4710" fmla="*/ 1251865 w 9847941"/>
                  <a:gd name="connsiteY4710" fmla="*/ 953823 h 1864765"/>
                  <a:gd name="connsiteX4711" fmla="*/ 1249592 w 9847941"/>
                  <a:gd name="connsiteY4711" fmla="*/ 953520 h 1864765"/>
                  <a:gd name="connsiteX4712" fmla="*/ 1248834 w 9847941"/>
                  <a:gd name="connsiteY4712" fmla="*/ 953823 h 1864765"/>
                  <a:gd name="connsiteX4713" fmla="*/ 1248531 w 9847941"/>
                  <a:gd name="connsiteY4713" fmla="*/ 954732 h 1864765"/>
                  <a:gd name="connsiteX4714" fmla="*/ 1248683 w 9847941"/>
                  <a:gd name="connsiteY4714" fmla="*/ 955338 h 1864765"/>
                  <a:gd name="connsiteX4715" fmla="*/ 1249289 w 9847941"/>
                  <a:gd name="connsiteY4715" fmla="*/ 955792 h 1864765"/>
                  <a:gd name="connsiteX4716" fmla="*/ 1250804 w 9847941"/>
                  <a:gd name="connsiteY4716" fmla="*/ 955944 h 1864765"/>
                  <a:gd name="connsiteX4717" fmla="*/ 1251865 w 9847941"/>
                  <a:gd name="connsiteY4717" fmla="*/ 956550 h 1864765"/>
                  <a:gd name="connsiteX4718" fmla="*/ 1253380 w 9847941"/>
                  <a:gd name="connsiteY4718" fmla="*/ 957762 h 1864765"/>
                  <a:gd name="connsiteX4719" fmla="*/ 1255501 w 9847941"/>
                  <a:gd name="connsiteY4719" fmla="*/ 960641 h 1864765"/>
                  <a:gd name="connsiteX4720" fmla="*/ 1255653 w 9847941"/>
                  <a:gd name="connsiteY4720" fmla="*/ 961550 h 1864765"/>
                  <a:gd name="connsiteX4721" fmla="*/ 1253986 w 9847941"/>
                  <a:gd name="connsiteY4721" fmla="*/ 961853 h 1864765"/>
                  <a:gd name="connsiteX4722" fmla="*/ 1252471 w 9847941"/>
                  <a:gd name="connsiteY4722" fmla="*/ 962914 h 1864765"/>
                  <a:gd name="connsiteX4723" fmla="*/ 1252168 w 9847941"/>
                  <a:gd name="connsiteY4723" fmla="*/ 963975 h 1864765"/>
                  <a:gd name="connsiteX4724" fmla="*/ 1252471 w 9847941"/>
                  <a:gd name="connsiteY4724" fmla="*/ 965338 h 1864765"/>
                  <a:gd name="connsiteX4725" fmla="*/ 1253077 w 9847941"/>
                  <a:gd name="connsiteY4725" fmla="*/ 966399 h 1864765"/>
                  <a:gd name="connsiteX4726" fmla="*/ 1255804 w 9847941"/>
                  <a:gd name="connsiteY4726" fmla="*/ 968066 h 1864765"/>
                  <a:gd name="connsiteX4727" fmla="*/ 1255956 w 9847941"/>
                  <a:gd name="connsiteY4727" fmla="*/ 967914 h 1864765"/>
                  <a:gd name="connsiteX4728" fmla="*/ 1254895 w 9847941"/>
                  <a:gd name="connsiteY4728" fmla="*/ 964884 h 1864765"/>
                  <a:gd name="connsiteX4729" fmla="*/ 1255198 w 9847941"/>
                  <a:gd name="connsiteY4729" fmla="*/ 964581 h 1864765"/>
                  <a:gd name="connsiteX4730" fmla="*/ 1255956 w 9847941"/>
                  <a:gd name="connsiteY4730" fmla="*/ 965187 h 1864765"/>
                  <a:gd name="connsiteX4731" fmla="*/ 1256865 w 9847941"/>
                  <a:gd name="connsiteY4731" fmla="*/ 967005 h 1864765"/>
                  <a:gd name="connsiteX4732" fmla="*/ 1257774 w 9847941"/>
                  <a:gd name="connsiteY4732" fmla="*/ 968217 h 1864765"/>
                  <a:gd name="connsiteX4733" fmla="*/ 1259289 w 9847941"/>
                  <a:gd name="connsiteY4733" fmla="*/ 969581 h 1864765"/>
                  <a:gd name="connsiteX4734" fmla="*/ 1259744 w 9847941"/>
                  <a:gd name="connsiteY4734" fmla="*/ 970642 h 1864765"/>
                  <a:gd name="connsiteX4735" fmla="*/ 1257622 w 9847941"/>
                  <a:gd name="connsiteY4735" fmla="*/ 973369 h 1864765"/>
                  <a:gd name="connsiteX4736" fmla="*/ 1257319 w 9847941"/>
                  <a:gd name="connsiteY4736" fmla="*/ 974581 h 1864765"/>
                  <a:gd name="connsiteX4737" fmla="*/ 1255653 w 9847941"/>
                  <a:gd name="connsiteY4737" fmla="*/ 977308 h 1864765"/>
                  <a:gd name="connsiteX4738" fmla="*/ 1255350 w 9847941"/>
                  <a:gd name="connsiteY4738" fmla="*/ 978521 h 1864765"/>
                  <a:gd name="connsiteX4739" fmla="*/ 1255956 w 9847941"/>
                  <a:gd name="connsiteY4739" fmla="*/ 979581 h 1864765"/>
                  <a:gd name="connsiteX4740" fmla="*/ 1255956 w 9847941"/>
                  <a:gd name="connsiteY4740" fmla="*/ 980793 h 1864765"/>
                  <a:gd name="connsiteX4741" fmla="*/ 1255350 w 9847941"/>
                  <a:gd name="connsiteY4741" fmla="*/ 982157 h 1864765"/>
                  <a:gd name="connsiteX4742" fmla="*/ 1255198 w 9847941"/>
                  <a:gd name="connsiteY4742" fmla="*/ 983066 h 1864765"/>
                  <a:gd name="connsiteX4743" fmla="*/ 1255956 w 9847941"/>
                  <a:gd name="connsiteY4743" fmla="*/ 983975 h 1864765"/>
                  <a:gd name="connsiteX4744" fmla="*/ 1256259 w 9847941"/>
                  <a:gd name="connsiteY4744" fmla="*/ 984733 h 1864765"/>
                  <a:gd name="connsiteX4745" fmla="*/ 1256107 w 9847941"/>
                  <a:gd name="connsiteY4745" fmla="*/ 987309 h 1864765"/>
                  <a:gd name="connsiteX4746" fmla="*/ 1256713 w 9847941"/>
                  <a:gd name="connsiteY4746" fmla="*/ 991854 h 1864765"/>
                  <a:gd name="connsiteX4747" fmla="*/ 1256713 w 9847941"/>
                  <a:gd name="connsiteY4747" fmla="*/ 992612 h 1864765"/>
                  <a:gd name="connsiteX4748" fmla="*/ 1254895 w 9847941"/>
                  <a:gd name="connsiteY4748" fmla="*/ 994733 h 1864765"/>
                  <a:gd name="connsiteX4749" fmla="*/ 1253683 w 9847941"/>
                  <a:gd name="connsiteY4749" fmla="*/ 995339 h 1864765"/>
                  <a:gd name="connsiteX4750" fmla="*/ 1252471 w 9847941"/>
                  <a:gd name="connsiteY4750" fmla="*/ 995339 h 1864765"/>
                  <a:gd name="connsiteX4751" fmla="*/ 1251562 w 9847941"/>
                  <a:gd name="connsiteY4751" fmla="*/ 995945 h 1864765"/>
                  <a:gd name="connsiteX4752" fmla="*/ 1249895 w 9847941"/>
                  <a:gd name="connsiteY4752" fmla="*/ 999733 h 1864765"/>
                  <a:gd name="connsiteX4753" fmla="*/ 1249289 w 9847941"/>
                  <a:gd name="connsiteY4753" fmla="*/ 1000491 h 1864765"/>
                  <a:gd name="connsiteX4754" fmla="*/ 1247167 w 9847941"/>
                  <a:gd name="connsiteY4754" fmla="*/ 1001703 h 1864765"/>
                  <a:gd name="connsiteX4755" fmla="*/ 1246410 w 9847941"/>
                  <a:gd name="connsiteY4755" fmla="*/ 1001703 h 1864765"/>
                  <a:gd name="connsiteX4756" fmla="*/ 1244137 w 9847941"/>
                  <a:gd name="connsiteY4756" fmla="*/ 1000491 h 1864765"/>
                  <a:gd name="connsiteX4757" fmla="*/ 1241410 w 9847941"/>
                  <a:gd name="connsiteY4757" fmla="*/ 1000946 h 1864765"/>
                  <a:gd name="connsiteX4758" fmla="*/ 1238379 w 9847941"/>
                  <a:gd name="connsiteY4758" fmla="*/ 1000643 h 1864765"/>
                  <a:gd name="connsiteX4759" fmla="*/ 1239440 w 9847941"/>
                  <a:gd name="connsiteY4759" fmla="*/ 999430 h 1864765"/>
                  <a:gd name="connsiteX4760" fmla="*/ 1240349 w 9847941"/>
                  <a:gd name="connsiteY4760" fmla="*/ 997006 h 1864765"/>
                  <a:gd name="connsiteX4761" fmla="*/ 1241410 w 9847941"/>
                  <a:gd name="connsiteY4761" fmla="*/ 995491 h 1864765"/>
                  <a:gd name="connsiteX4762" fmla="*/ 1243834 w 9847941"/>
                  <a:gd name="connsiteY4762" fmla="*/ 993824 h 1864765"/>
                  <a:gd name="connsiteX4763" fmla="*/ 1244289 w 9847941"/>
                  <a:gd name="connsiteY4763" fmla="*/ 994127 h 1864765"/>
                  <a:gd name="connsiteX4764" fmla="*/ 1245046 w 9847941"/>
                  <a:gd name="connsiteY4764" fmla="*/ 997764 h 1864765"/>
                  <a:gd name="connsiteX4765" fmla="*/ 1245501 w 9847941"/>
                  <a:gd name="connsiteY4765" fmla="*/ 998067 h 1864765"/>
                  <a:gd name="connsiteX4766" fmla="*/ 1246713 w 9847941"/>
                  <a:gd name="connsiteY4766" fmla="*/ 995036 h 1864765"/>
                  <a:gd name="connsiteX4767" fmla="*/ 1247016 w 9847941"/>
                  <a:gd name="connsiteY4767" fmla="*/ 994582 h 1864765"/>
                  <a:gd name="connsiteX4768" fmla="*/ 1248683 w 9847941"/>
                  <a:gd name="connsiteY4768" fmla="*/ 995794 h 1864765"/>
                  <a:gd name="connsiteX4769" fmla="*/ 1249895 w 9847941"/>
                  <a:gd name="connsiteY4769" fmla="*/ 996097 h 1864765"/>
                  <a:gd name="connsiteX4770" fmla="*/ 1250653 w 9847941"/>
                  <a:gd name="connsiteY4770" fmla="*/ 995491 h 1864765"/>
                  <a:gd name="connsiteX4771" fmla="*/ 1251259 w 9847941"/>
                  <a:gd name="connsiteY4771" fmla="*/ 991551 h 1864765"/>
                  <a:gd name="connsiteX4772" fmla="*/ 1251107 w 9847941"/>
                  <a:gd name="connsiteY4772" fmla="*/ 989582 h 1864765"/>
                  <a:gd name="connsiteX4773" fmla="*/ 1250349 w 9847941"/>
                  <a:gd name="connsiteY4773" fmla="*/ 987309 h 1864765"/>
                  <a:gd name="connsiteX4774" fmla="*/ 1247925 w 9847941"/>
                  <a:gd name="connsiteY4774" fmla="*/ 984430 h 1864765"/>
                  <a:gd name="connsiteX4775" fmla="*/ 1248228 w 9847941"/>
                  <a:gd name="connsiteY4775" fmla="*/ 984278 h 1864765"/>
                  <a:gd name="connsiteX4776" fmla="*/ 1249289 w 9847941"/>
                  <a:gd name="connsiteY4776" fmla="*/ 984581 h 1864765"/>
                  <a:gd name="connsiteX4777" fmla="*/ 1249743 w 9847941"/>
                  <a:gd name="connsiteY4777" fmla="*/ 984278 h 1864765"/>
                  <a:gd name="connsiteX4778" fmla="*/ 1249289 w 9847941"/>
                  <a:gd name="connsiteY4778" fmla="*/ 981551 h 1864765"/>
                  <a:gd name="connsiteX4779" fmla="*/ 1249592 w 9847941"/>
                  <a:gd name="connsiteY4779" fmla="*/ 980793 h 1864765"/>
                  <a:gd name="connsiteX4780" fmla="*/ 1252168 w 9847941"/>
                  <a:gd name="connsiteY4780" fmla="*/ 978824 h 1864765"/>
                  <a:gd name="connsiteX4781" fmla="*/ 1252471 w 9847941"/>
                  <a:gd name="connsiteY4781" fmla="*/ 977157 h 1864765"/>
                  <a:gd name="connsiteX4782" fmla="*/ 1251865 w 9847941"/>
                  <a:gd name="connsiteY4782" fmla="*/ 973520 h 1864765"/>
                  <a:gd name="connsiteX4783" fmla="*/ 1250349 w 9847941"/>
                  <a:gd name="connsiteY4783" fmla="*/ 973217 h 1864765"/>
                  <a:gd name="connsiteX4784" fmla="*/ 1250198 w 9847941"/>
                  <a:gd name="connsiteY4784" fmla="*/ 973672 h 1864765"/>
                  <a:gd name="connsiteX4785" fmla="*/ 1250349 w 9847941"/>
                  <a:gd name="connsiteY4785" fmla="*/ 975793 h 1864765"/>
                  <a:gd name="connsiteX4786" fmla="*/ 1249743 w 9847941"/>
                  <a:gd name="connsiteY4786" fmla="*/ 976551 h 1864765"/>
                  <a:gd name="connsiteX4787" fmla="*/ 1246713 w 9847941"/>
                  <a:gd name="connsiteY4787" fmla="*/ 979127 h 1864765"/>
                  <a:gd name="connsiteX4788" fmla="*/ 1245652 w 9847941"/>
                  <a:gd name="connsiteY4788" fmla="*/ 981248 h 1864765"/>
                  <a:gd name="connsiteX4789" fmla="*/ 1244137 w 9847941"/>
                  <a:gd name="connsiteY4789" fmla="*/ 982763 h 1864765"/>
                  <a:gd name="connsiteX4790" fmla="*/ 1241410 w 9847941"/>
                  <a:gd name="connsiteY4790" fmla="*/ 984581 h 1864765"/>
                  <a:gd name="connsiteX4791" fmla="*/ 1239440 w 9847941"/>
                  <a:gd name="connsiteY4791" fmla="*/ 986248 h 1864765"/>
                  <a:gd name="connsiteX4792" fmla="*/ 1237622 w 9847941"/>
                  <a:gd name="connsiteY4792" fmla="*/ 988975 h 1864765"/>
                  <a:gd name="connsiteX4793" fmla="*/ 1237319 w 9847941"/>
                  <a:gd name="connsiteY4793" fmla="*/ 989885 h 1864765"/>
                  <a:gd name="connsiteX4794" fmla="*/ 1237167 w 9847941"/>
                  <a:gd name="connsiteY4794" fmla="*/ 991703 h 1864765"/>
                  <a:gd name="connsiteX4795" fmla="*/ 1238531 w 9847941"/>
                  <a:gd name="connsiteY4795" fmla="*/ 991703 h 1864765"/>
                  <a:gd name="connsiteX4796" fmla="*/ 1241258 w 9847941"/>
                  <a:gd name="connsiteY4796" fmla="*/ 991097 h 1864765"/>
                  <a:gd name="connsiteX4797" fmla="*/ 1241107 w 9847941"/>
                  <a:gd name="connsiteY4797" fmla="*/ 991400 h 1864765"/>
                  <a:gd name="connsiteX4798" fmla="*/ 1238076 w 9847941"/>
                  <a:gd name="connsiteY4798" fmla="*/ 993067 h 1864765"/>
                  <a:gd name="connsiteX4799" fmla="*/ 1236107 w 9847941"/>
                  <a:gd name="connsiteY4799" fmla="*/ 993521 h 1864765"/>
                  <a:gd name="connsiteX4800" fmla="*/ 1235197 w 9847941"/>
                  <a:gd name="connsiteY4800" fmla="*/ 993218 h 1864765"/>
                  <a:gd name="connsiteX4801" fmla="*/ 1235197 w 9847941"/>
                  <a:gd name="connsiteY4801" fmla="*/ 992157 h 1864765"/>
                  <a:gd name="connsiteX4802" fmla="*/ 1235349 w 9847941"/>
                  <a:gd name="connsiteY4802" fmla="*/ 990339 h 1864765"/>
                  <a:gd name="connsiteX4803" fmla="*/ 1237622 w 9847941"/>
                  <a:gd name="connsiteY4803" fmla="*/ 986400 h 1864765"/>
                  <a:gd name="connsiteX4804" fmla="*/ 1243834 w 9847941"/>
                  <a:gd name="connsiteY4804" fmla="*/ 978066 h 1864765"/>
                  <a:gd name="connsiteX4805" fmla="*/ 1244289 w 9847941"/>
                  <a:gd name="connsiteY4805" fmla="*/ 978369 h 1864765"/>
                  <a:gd name="connsiteX4806" fmla="*/ 1244440 w 9847941"/>
                  <a:gd name="connsiteY4806" fmla="*/ 980036 h 1864765"/>
                  <a:gd name="connsiteX4807" fmla="*/ 1245046 w 9847941"/>
                  <a:gd name="connsiteY4807" fmla="*/ 979884 h 1864765"/>
                  <a:gd name="connsiteX4808" fmla="*/ 1248380 w 9847941"/>
                  <a:gd name="connsiteY4808" fmla="*/ 974884 h 1864765"/>
                  <a:gd name="connsiteX4809" fmla="*/ 1247774 w 9847941"/>
                  <a:gd name="connsiteY4809" fmla="*/ 973066 h 1864765"/>
                  <a:gd name="connsiteX4810" fmla="*/ 1246107 w 9847941"/>
                  <a:gd name="connsiteY4810" fmla="*/ 970187 h 1864765"/>
                  <a:gd name="connsiteX4811" fmla="*/ 1245349 w 9847941"/>
                  <a:gd name="connsiteY4811" fmla="*/ 968066 h 1864765"/>
                  <a:gd name="connsiteX4812" fmla="*/ 1245349 w 9847941"/>
                  <a:gd name="connsiteY4812" fmla="*/ 966551 h 1864765"/>
                  <a:gd name="connsiteX4813" fmla="*/ 1245046 w 9847941"/>
                  <a:gd name="connsiteY4813" fmla="*/ 965944 h 1864765"/>
                  <a:gd name="connsiteX4814" fmla="*/ 1242773 w 9847941"/>
                  <a:gd name="connsiteY4814" fmla="*/ 967611 h 1864765"/>
                  <a:gd name="connsiteX4815" fmla="*/ 1241410 w 9847941"/>
                  <a:gd name="connsiteY4815" fmla="*/ 968066 h 1864765"/>
                  <a:gd name="connsiteX4816" fmla="*/ 1239591 w 9847941"/>
                  <a:gd name="connsiteY4816" fmla="*/ 968217 h 1864765"/>
                  <a:gd name="connsiteX4817" fmla="*/ 1238228 w 9847941"/>
                  <a:gd name="connsiteY4817" fmla="*/ 967914 h 1864765"/>
                  <a:gd name="connsiteX4818" fmla="*/ 1235500 w 9847941"/>
                  <a:gd name="connsiteY4818" fmla="*/ 965490 h 1864765"/>
                  <a:gd name="connsiteX4819" fmla="*/ 1234440 w 9847941"/>
                  <a:gd name="connsiteY4819" fmla="*/ 965338 h 1864765"/>
                  <a:gd name="connsiteX4820" fmla="*/ 1232015 w 9847941"/>
                  <a:gd name="connsiteY4820" fmla="*/ 966399 h 1864765"/>
                  <a:gd name="connsiteX4821" fmla="*/ 1230803 w 9847941"/>
                  <a:gd name="connsiteY4821" fmla="*/ 966551 h 1864765"/>
                  <a:gd name="connsiteX4822" fmla="*/ 1212166 w 9847941"/>
                  <a:gd name="connsiteY4822" fmla="*/ 964884 h 1864765"/>
                  <a:gd name="connsiteX4823" fmla="*/ 1208833 w 9847941"/>
                  <a:gd name="connsiteY4823" fmla="*/ 963823 h 1864765"/>
                  <a:gd name="connsiteX4824" fmla="*/ 1206711 w 9847941"/>
                  <a:gd name="connsiteY4824" fmla="*/ 962308 h 1864765"/>
                  <a:gd name="connsiteX4825" fmla="*/ 1199742 w 9847941"/>
                  <a:gd name="connsiteY4825" fmla="*/ 960338 h 1864765"/>
                  <a:gd name="connsiteX4826" fmla="*/ 1194135 w 9847941"/>
                  <a:gd name="connsiteY4826" fmla="*/ 957762 h 1864765"/>
                  <a:gd name="connsiteX4827" fmla="*/ 1192014 w 9847941"/>
                  <a:gd name="connsiteY4827" fmla="*/ 957611 h 1864765"/>
                  <a:gd name="connsiteX4828" fmla="*/ 1192772 w 9847941"/>
                  <a:gd name="connsiteY4828" fmla="*/ 960944 h 1864765"/>
                  <a:gd name="connsiteX4829" fmla="*/ 1192165 w 9847941"/>
                  <a:gd name="connsiteY4829" fmla="*/ 965641 h 1864765"/>
                  <a:gd name="connsiteX4830" fmla="*/ 1193226 w 9847941"/>
                  <a:gd name="connsiteY4830" fmla="*/ 971854 h 1864765"/>
                  <a:gd name="connsiteX4831" fmla="*/ 1194438 w 9847941"/>
                  <a:gd name="connsiteY4831" fmla="*/ 974278 h 1864765"/>
                  <a:gd name="connsiteX4832" fmla="*/ 1198832 w 9847941"/>
                  <a:gd name="connsiteY4832" fmla="*/ 978521 h 1864765"/>
                  <a:gd name="connsiteX4833" fmla="*/ 1201105 w 9847941"/>
                  <a:gd name="connsiteY4833" fmla="*/ 982915 h 1864765"/>
                  <a:gd name="connsiteX4834" fmla="*/ 1202923 w 9847941"/>
                  <a:gd name="connsiteY4834" fmla="*/ 991703 h 1864765"/>
                  <a:gd name="connsiteX4835" fmla="*/ 1205954 w 9847941"/>
                  <a:gd name="connsiteY4835" fmla="*/ 998521 h 1864765"/>
                  <a:gd name="connsiteX4836" fmla="*/ 1206711 w 9847941"/>
                  <a:gd name="connsiteY4836" fmla="*/ 1002764 h 1864765"/>
                  <a:gd name="connsiteX4837" fmla="*/ 1206863 w 9847941"/>
                  <a:gd name="connsiteY4837" fmla="*/ 1005188 h 1864765"/>
                  <a:gd name="connsiteX4838" fmla="*/ 1207469 w 9847941"/>
                  <a:gd name="connsiteY4838" fmla="*/ 1007309 h 1864765"/>
                  <a:gd name="connsiteX4839" fmla="*/ 1208075 w 9847941"/>
                  <a:gd name="connsiteY4839" fmla="*/ 1005794 h 1864765"/>
                  <a:gd name="connsiteX4840" fmla="*/ 1208227 w 9847941"/>
                  <a:gd name="connsiteY4840" fmla="*/ 1004582 h 1864765"/>
                  <a:gd name="connsiteX4841" fmla="*/ 1210196 w 9847941"/>
                  <a:gd name="connsiteY4841" fmla="*/ 1004734 h 1864765"/>
                  <a:gd name="connsiteX4842" fmla="*/ 1211712 w 9847941"/>
                  <a:gd name="connsiteY4842" fmla="*/ 1006249 h 1864765"/>
                  <a:gd name="connsiteX4843" fmla="*/ 1215651 w 9847941"/>
                  <a:gd name="connsiteY4843" fmla="*/ 1007006 h 1864765"/>
                  <a:gd name="connsiteX4844" fmla="*/ 1208227 w 9847941"/>
                  <a:gd name="connsiteY4844" fmla="*/ 1010491 h 1864765"/>
                  <a:gd name="connsiteX4845" fmla="*/ 1209287 w 9847941"/>
                  <a:gd name="connsiteY4845" fmla="*/ 1014583 h 1864765"/>
                  <a:gd name="connsiteX4846" fmla="*/ 1212469 w 9847941"/>
                  <a:gd name="connsiteY4846" fmla="*/ 1015795 h 1864765"/>
                  <a:gd name="connsiteX4847" fmla="*/ 1214287 w 9847941"/>
                  <a:gd name="connsiteY4847" fmla="*/ 1017461 h 1864765"/>
                  <a:gd name="connsiteX4848" fmla="*/ 1213681 w 9847941"/>
                  <a:gd name="connsiteY4848" fmla="*/ 1021855 h 1864765"/>
                  <a:gd name="connsiteX4849" fmla="*/ 1212772 w 9847941"/>
                  <a:gd name="connsiteY4849" fmla="*/ 1025340 h 1864765"/>
                  <a:gd name="connsiteX4850" fmla="*/ 1210803 w 9847941"/>
                  <a:gd name="connsiteY4850" fmla="*/ 1022310 h 1864765"/>
                  <a:gd name="connsiteX4851" fmla="*/ 1210045 w 9847941"/>
                  <a:gd name="connsiteY4851" fmla="*/ 1019431 h 1864765"/>
                  <a:gd name="connsiteX4852" fmla="*/ 1210499 w 9847941"/>
                  <a:gd name="connsiteY4852" fmla="*/ 1020946 h 1864765"/>
                  <a:gd name="connsiteX4853" fmla="*/ 1210651 w 9847941"/>
                  <a:gd name="connsiteY4853" fmla="*/ 1025037 h 1864765"/>
                  <a:gd name="connsiteX4854" fmla="*/ 1209893 w 9847941"/>
                  <a:gd name="connsiteY4854" fmla="*/ 1028219 h 1864765"/>
                  <a:gd name="connsiteX4855" fmla="*/ 1212924 w 9847941"/>
                  <a:gd name="connsiteY4855" fmla="*/ 1027462 h 1864765"/>
                  <a:gd name="connsiteX4856" fmla="*/ 1214742 w 9847941"/>
                  <a:gd name="connsiteY4856" fmla="*/ 1028522 h 1864765"/>
                  <a:gd name="connsiteX4857" fmla="*/ 1220348 w 9847941"/>
                  <a:gd name="connsiteY4857" fmla="*/ 1027462 h 1864765"/>
                  <a:gd name="connsiteX4858" fmla="*/ 1221409 w 9847941"/>
                  <a:gd name="connsiteY4858" fmla="*/ 1028522 h 1864765"/>
                  <a:gd name="connsiteX4859" fmla="*/ 1226409 w 9847941"/>
                  <a:gd name="connsiteY4859" fmla="*/ 1028371 h 1864765"/>
                  <a:gd name="connsiteX4860" fmla="*/ 1228076 w 9847941"/>
                  <a:gd name="connsiteY4860" fmla="*/ 1030038 h 1864765"/>
                  <a:gd name="connsiteX4861" fmla="*/ 1230955 w 9847941"/>
                  <a:gd name="connsiteY4861" fmla="*/ 1031704 h 1864765"/>
                  <a:gd name="connsiteX4862" fmla="*/ 1232319 w 9847941"/>
                  <a:gd name="connsiteY4862" fmla="*/ 1031856 h 1864765"/>
                  <a:gd name="connsiteX4863" fmla="*/ 1233228 w 9847941"/>
                  <a:gd name="connsiteY4863" fmla="*/ 1032310 h 1864765"/>
                  <a:gd name="connsiteX4864" fmla="*/ 1230500 w 9847941"/>
                  <a:gd name="connsiteY4864" fmla="*/ 1032613 h 1864765"/>
                  <a:gd name="connsiteX4865" fmla="*/ 1228227 w 9847941"/>
                  <a:gd name="connsiteY4865" fmla="*/ 1032310 h 1864765"/>
                  <a:gd name="connsiteX4866" fmla="*/ 1226409 w 9847941"/>
                  <a:gd name="connsiteY4866" fmla="*/ 1030492 h 1864765"/>
                  <a:gd name="connsiteX4867" fmla="*/ 1224894 w 9847941"/>
                  <a:gd name="connsiteY4867" fmla="*/ 1030038 h 1864765"/>
                  <a:gd name="connsiteX4868" fmla="*/ 1220803 w 9847941"/>
                  <a:gd name="connsiteY4868" fmla="*/ 1031401 h 1864765"/>
                  <a:gd name="connsiteX4869" fmla="*/ 1214287 w 9847941"/>
                  <a:gd name="connsiteY4869" fmla="*/ 1031401 h 1864765"/>
                  <a:gd name="connsiteX4870" fmla="*/ 1212924 w 9847941"/>
                  <a:gd name="connsiteY4870" fmla="*/ 1029886 h 1864765"/>
                  <a:gd name="connsiteX4871" fmla="*/ 1212166 w 9847941"/>
                  <a:gd name="connsiteY4871" fmla="*/ 1030038 h 1864765"/>
                  <a:gd name="connsiteX4872" fmla="*/ 1212621 w 9847941"/>
                  <a:gd name="connsiteY4872" fmla="*/ 1031401 h 1864765"/>
                  <a:gd name="connsiteX4873" fmla="*/ 1213378 w 9847941"/>
                  <a:gd name="connsiteY4873" fmla="*/ 1032765 h 1864765"/>
                  <a:gd name="connsiteX4874" fmla="*/ 1212924 w 9847941"/>
                  <a:gd name="connsiteY4874" fmla="*/ 1042917 h 1864765"/>
                  <a:gd name="connsiteX4875" fmla="*/ 1213833 w 9847941"/>
                  <a:gd name="connsiteY4875" fmla="*/ 1052008 h 1864765"/>
                  <a:gd name="connsiteX4876" fmla="*/ 1212924 w 9847941"/>
                  <a:gd name="connsiteY4876" fmla="*/ 1055493 h 1864765"/>
                  <a:gd name="connsiteX4877" fmla="*/ 1213378 w 9847941"/>
                  <a:gd name="connsiteY4877" fmla="*/ 1058069 h 1864765"/>
                  <a:gd name="connsiteX4878" fmla="*/ 1210348 w 9847941"/>
                  <a:gd name="connsiteY4878" fmla="*/ 1079130 h 1864765"/>
                  <a:gd name="connsiteX4879" fmla="*/ 1210803 w 9847941"/>
                  <a:gd name="connsiteY4879" fmla="*/ 1083524 h 1864765"/>
                  <a:gd name="connsiteX4880" fmla="*/ 1210196 w 9847941"/>
                  <a:gd name="connsiteY4880" fmla="*/ 1087767 h 1864765"/>
                  <a:gd name="connsiteX4881" fmla="*/ 1210651 w 9847941"/>
                  <a:gd name="connsiteY4881" fmla="*/ 1090949 h 1864765"/>
                  <a:gd name="connsiteX4882" fmla="*/ 1209287 w 9847941"/>
                  <a:gd name="connsiteY4882" fmla="*/ 1093979 h 1864765"/>
                  <a:gd name="connsiteX4883" fmla="*/ 1208378 w 9847941"/>
                  <a:gd name="connsiteY4883" fmla="*/ 1103222 h 1864765"/>
                  <a:gd name="connsiteX4884" fmla="*/ 1207924 w 9847941"/>
                  <a:gd name="connsiteY4884" fmla="*/ 1115344 h 1864765"/>
                  <a:gd name="connsiteX4885" fmla="*/ 1207015 w 9847941"/>
                  <a:gd name="connsiteY4885" fmla="*/ 1116707 h 1864765"/>
                  <a:gd name="connsiteX4886" fmla="*/ 1205499 w 9847941"/>
                  <a:gd name="connsiteY4886" fmla="*/ 1120344 h 1864765"/>
                  <a:gd name="connsiteX4887" fmla="*/ 1204136 w 9847941"/>
                  <a:gd name="connsiteY4887" fmla="*/ 1124738 h 1864765"/>
                  <a:gd name="connsiteX4888" fmla="*/ 1205651 w 9847941"/>
                  <a:gd name="connsiteY4888" fmla="*/ 1123829 h 1864765"/>
                  <a:gd name="connsiteX4889" fmla="*/ 1206711 w 9847941"/>
                  <a:gd name="connsiteY4889" fmla="*/ 1124283 h 1864765"/>
                  <a:gd name="connsiteX4890" fmla="*/ 1204590 w 9847941"/>
                  <a:gd name="connsiteY4890" fmla="*/ 1126102 h 1864765"/>
                  <a:gd name="connsiteX4891" fmla="*/ 1203378 w 9847941"/>
                  <a:gd name="connsiteY4891" fmla="*/ 1126102 h 1864765"/>
                  <a:gd name="connsiteX4892" fmla="*/ 1202620 w 9847941"/>
                  <a:gd name="connsiteY4892" fmla="*/ 1127011 h 1864765"/>
                  <a:gd name="connsiteX4893" fmla="*/ 1199742 w 9847941"/>
                  <a:gd name="connsiteY4893" fmla="*/ 1137920 h 1864765"/>
                  <a:gd name="connsiteX4894" fmla="*/ 1198529 w 9847941"/>
                  <a:gd name="connsiteY4894" fmla="*/ 1140345 h 1864765"/>
                  <a:gd name="connsiteX4895" fmla="*/ 1197469 w 9847941"/>
                  <a:gd name="connsiteY4895" fmla="*/ 1144436 h 1864765"/>
                  <a:gd name="connsiteX4896" fmla="*/ 1200045 w 9847941"/>
                  <a:gd name="connsiteY4896" fmla="*/ 1149133 h 1864765"/>
                  <a:gd name="connsiteX4897" fmla="*/ 1201105 w 9847941"/>
                  <a:gd name="connsiteY4897" fmla="*/ 1152012 h 1864765"/>
                  <a:gd name="connsiteX4898" fmla="*/ 1200651 w 9847941"/>
                  <a:gd name="connsiteY4898" fmla="*/ 1158679 h 1864765"/>
                  <a:gd name="connsiteX4899" fmla="*/ 1200954 w 9847941"/>
                  <a:gd name="connsiteY4899" fmla="*/ 1161255 h 1864765"/>
                  <a:gd name="connsiteX4900" fmla="*/ 1202469 w 9847941"/>
                  <a:gd name="connsiteY4900" fmla="*/ 1167164 h 1864765"/>
                  <a:gd name="connsiteX4901" fmla="*/ 1206408 w 9847941"/>
                  <a:gd name="connsiteY4901" fmla="*/ 1171709 h 1864765"/>
                  <a:gd name="connsiteX4902" fmla="*/ 1206560 w 9847941"/>
                  <a:gd name="connsiteY4902" fmla="*/ 1174891 h 1864765"/>
                  <a:gd name="connsiteX4903" fmla="*/ 1205651 w 9847941"/>
                  <a:gd name="connsiteY4903" fmla="*/ 1178225 h 1864765"/>
                  <a:gd name="connsiteX4904" fmla="*/ 1207924 w 9847941"/>
                  <a:gd name="connsiteY4904" fmla="*/ 1180498 h 1864765"/>
                  <a:gd name="connsiteX4905" fmla="*/ 1209136 w 9847941"/>
                  <a:gd name="connsiteY4905" fmla="*/ 1183680 h 1864765"/>
                  <a:gd name="connsiteX4906" fmla="*/ 1210348 w 9847941"/>
                  <a:gd name="connsiteY4906" fmla="*/ 1188983 h 1864765"/>
                  <a:gd name="connsiteX4907" fmla="*/ 1210499 w 9847941"/>
                  <a:gd name="connsiteY4907" fmla="*/ 1191407 h 1864765"/>
                  <a:gd name="connsiteX4908" fmla="*/ 1208530 w 9847941"/>
                  <a:gd name="connsiteY4908" fmla="*/ 1198832 h 1864765"/>
                  <a:gd name="connsiteX4909" fmla="*/ 1208681 w 9847941"/>
                  <a:gd name="connsiteY4909" fmla="*/ 1204892 h 1864765"/>
                  <a:gd name="connsiteX4910" fmla="*/ 1206863 w 9847941"/>
                  <a:gd name="connsiteY4910" fmla="*/ 1209741 h 1864765"/>
                  <a:gd name="connsiteX4911" fmla="*/ 1206408 w 9847941"/>
                  <a:gd name="connsiteY4911" fmla="*/ 1210802 h 1864765"/>
                  <a:gd name="connsiteX4912" fmla="*/ 1206257 w 9847941"/>
                  <a:gd name="connsiteY4912" fmla="*/ 1211256 h 1864765"/>
                  <a:gd name="connsiteX4913" fmla="*/ 1207166 w 9847941"/>
                  <a:gd name="connsiteY4913" fmla="*/ 1211408 h 1864765"/>
                  <a:gd name="connsiteX4914" fmla="*/ 1206711 w 9847941"/>
                  <a:gd name="connsiteY4914" fmla="*/ 1212166 h 1864765"/>
                  <a:gd name="connsiteX4915" fmla="*/ 1206408 w 9847941"/>
                  <a:gd name="connsiteY4915" fmla="*/ 1213832 h 1864765"/>
                  <a:gd name="connsiteX4916" fmla="*/ 1205499 w 9847941"/>
                  <a:gd name="connsiteY4916" fmla="*/ 1213529 h 1864765"/>
                  <a:gd name="connsiteX4917" fmla="*/ 1205651 w 9847941"/>
                  <a:gd name="connsiteY4917" fmla="*/ 1212772 h 1864765"/>
                  <a:gd name="connsiteX4918" fmla="*/ 1205348 w 9847941"/>
                  <a:gd name="connsiteY4918" fmla="*/ 1212317 h 1864765"/>
                  <a:gd name="connsiteX4919" fmla="*/ 1204590 w 9847941"/>
                  <a:gd name="connsiteY4919" fmla="*/ 1213226 h 1864765"/>
                  <a:gd name="connsiteX4920" fmla="*/ 1203530 w 9847941"/>
                  <a:gd name="connsiteY4920" fmla="*/ 1216863 h 1864765"/>
                  <a:gd name="connsiteX4921" fmla="*/ 1202166 w 9847941"/>
                  <a:gd name="connsiteY4921" fmla="*/ 1220348 h 1864765"/>
                  <a:gd name="connsiteX4922" fmla="*/ 1202620 w 9847941"/>
                  <a:gd name="connsiteY4922" fmla="*/ 1224287 h 1864765"/>
                  <a:gd name="connsiteX4923" fmla="*/ 1203530 w 9847941"/>
                  <a:gd name="connsiteY4923" fmla="*/ 1228075 h 1864765"/>
                  <a:gd name="connsiteX4924" fmla="*/ 1209439 w 9847941"/>
                  <a:gd name="connsiteY4924" fmla="*/ 1233075 h 1864765"/>
                  <a:gd name="connsiteX4925" fmla="*/ 1215500 w 9847941"/>
                  <a:gd name="connsiteY4925" fmla="*/ 1240651 h 1864765"/>
                  <a:gd name="connsiteX4926" fmla="*/ 1216863 w 9847941"/>
                  <a:gd name="connsiteY4926" fmla="*/ 1243379 h 1864765"/>
                  <a:gd name="connsiteX4927" fmla="*/ 1218227 w 9847941"/>
                  <a:gd name="connsiteY4927" fmla="*/ 1248379 h 1864765"/>
                  <a:gd name="connsiteX4928" fmla="*/ 1218379 w 9847941"/>
                  <a:gd name="connsiteY4928" fmla="*/ 1251712 h 1864765"/>
                  <a:gd name="connsiteX4929" fmla="*/ 1217166 w 9847941"/>
                  <a:gd name="connsiteY4929" fmla="*/ 1256409 h 1864765"/>
                  <a:gd name="connsiteX4930" fmla="*/ 1219894 w 9847941"/>
                  <a:gd name="connsiteY4930" fmla="*/ 1264592 h 1864765"/>
                  <a:gd name="connsiteX4931" fmla="*/ 1220348 w 9847941"/>
                  <a:gd name="connsiteY4931" fmla="*/ 1271107 h 1864765"/>
                  <a:gd name="connsiteX4932" fmla="*/ 1227924 w 9847941"/>
                  <a:gd name="connsiteY4932" fmla="*/ 1278532 h 1864765"/>
                  <a:gd name="connsiteX4933" fmla="*/ 1231561 w 9847941"/>
                  <a:gd name="connsiteY4933" fmla="*/ 1282926 h 1864765"/>
                  <a:gd name="connsiteX4934" fmla="*/ 1236107 w 9847941"/>
                  <a:gd name="connsiteY4934" fmla="*/ 1285653 h 1864765"/>
                  <a:gd name="connsiteX4935" fmla="*/ 1238228 w 9847941"/>
                  <a:gd name="connsiteY4935" fmla="*/ 1290199 h 1864765"/>
                  <a:gd name="connsiteX4936" fmla="*/ 1239895 w 9847941"/>
                  <a:gd name="connsiteY4936" fmla="*/ 1291108 h 1864765"/>
                  <a:gd name="connsiteX4937" fmla="*/ 1242016 w 9847941"/>
                  <a:gd name="connsiteY4937" fmla="*/ 1293684 h 1864765"/>
                  <a:gd name="connsiteX4938" fmla="*/ 1242925 w 9847941"/>
                  <a:gd name="connsiteY4938" fmla="*/ 1295956 h 1864765"/>
                  <a:gd name="connsiteX4939" fmla="*/ 1240198 w 9847941"/>
                  <a:gd name="connsiteY4939" fmla="*/ 1292623 h 1864765"/>
                  <a:gd name="connsiteX4940" fmla="*/ 1240501 w 9847941"/>
                  <a:gd name="connsiteY4940" fmla="*/ 1296714 h 1864765"/>
                  <a:gd name="connsiteX4941" fmla="*/ 1239591 w 9847941"/>
                  <a:gd name="connsiteY4941" fmla="*/ 1299138 h 1864765"/>
                  <a:gd name="connsiteX4942" fmla="*/ 1239591 w 9847941"/>
                  <a:gd name="connsiteY4942" fmla="*/ 1300047 h 1864765"/>
                  <a:gd name="connsiteX4943" fmla="*/ 1241410 w 9847941"/>
                  <a:gd name="connsiteY4943" fmla="*/ 1297926 h 1864765"/>
                  <a:gd name="connsiteX4944" fmla="*/ 1243076 w 9847941"/>
                  <a:gd name="connsiteY4944" fmla="*/ 1298835 h 1864765"/>
                  <a:gd name="connsiteX4945" fmla="*/ 1246107 w 9847941"/>
                  <a:gd name="connsiteY4945" fmla="*/ 1301411 h 1864765"/>
                  <a:gd name="connsiteX4946" fmla="*/ 1248228 w 9847941"/>
                  <a:gd name="connsiteY4946" fmla="*/ 1302775 h 1864765"/>
                  <a:gd name="connsiteX4947" fmla="*/ 1250804 w 9847941"/>
                  <a:gd name="connsiteY4947" fmla="*/ 1303684 h 1864765"/>
                  <a:gd name="connsiteX4948" fmla="*/ 1252471 w 9847941"/>
                  <a:gd name="connsiteY4948" fmla="*/ 1305199 h 1864765"/>
                  <a:gd name="connsiteX4949" fmla="*/ 1253986 w 9847941"/>
                  <a:gd name="connsiteY4949" fmla="*/ 1304896 h 1864765"/>
                  <a:gd name="connsiteX4950" fmla="*/ 1253228 w 9847941"/>
                  <a:gd name="connsiteY4950" fmla="*/ 1301260 h 1864765"/>
                  <a:gd name="connsiteX4951" fmla="*/ 1253531 w 9847941"/>
                  <a:gd name="connsiteY4951" fmla="*/ 1296411 h 1864765"/>
                  <a:gd name="connsiteX4952" fmla="*/ 1255956 w 9847941"/>
                  <a:gd name="connsiteY4952" fmla="*/ 1295199 h 1864765"/>
                  <a:gd name="connsiteX4953" fmla="*/ 1257471 w 9847941"/>
                  <a:gd name="connsiteY4953" fmla="*/ 1295502 h 1864765"/>
                  <a:gd name="connsiteX4954" fmla="*/ 1260956 w 9847941"/>
                  <a:gd name="connsiteY4954" fmla="*/ 1297472 h 1864765"/>
                  <a:gd name="connsiteX4955" fmla="*/ 1262471 w 9847941"/>
                  <a:gd name="connsiteY4955" fmla="*/ 1297623 h 1864765"/>
                  <a:gd name="connsiteX4956" fmla="*/ 1265805 w 9847941"/>
                  <a:gd name="connsiteY4956" fmla="*/ 1295805 h 1864765"/>
                  <a:gd name="connsiteX4957" fmla="*/ 1266865 w 9847941"/>
                  <a:gd name="connsiteY4957" fmla="*/ 1295956 h 1864765"/>
                  <a:gd name="connsiteX4958" fmla="*/ 1268532 w 9847941"/>
                  <a:gd name="connsiteY4958" fmla="*/ 1297017 h 1864765"/>
                  <a:gd name="connsiteX4959" fmla="*/ 1270047 w 9847941"/>
                  <a:gd name="connsiteY4959" fmla="*/ 1297320 h 1864765"/>
                  <a:gd name="connsiteX4960" fmla="*/ 1273684 w 9847941"/>
                  <a:gd name="connsiteY4960" fmla="*/ 1297169 h 1864765"/>
                  <a:gd name="connsiteX4961" fmla="*/ 1275502 w 9847941"/>
                  <a:gd name="connsiteY4961" fmla="*/ 1297320 h 1864765"/>
                  <a:gd name="connsiteX4962" fmla="*/ 1277017 w 9847941"/>
                  <a:gd name="connsiteY4962" fmla="*/ 1297017 h 1864765"/>
                  <a:gd name="connsiteX4963" fmla="*/ 1279744 w 9847941"/>
                  <a:gd name="connsiteY4963" fmla="*/ 1297926 h 1864765"/>
                  <a:gd name="connsiteX4964" fmla="*/ 1278381 w 9847941"/>
                  <a:gd name="connsiteY4964" fmla="*/ 1298078 h 1864765"/>
                  <a:gd name="connsiteX4965" fmla="*/ 1276563 w 9847941"/>
                  <a:gd name="connsiteY4965" fmla="*/ 1297775 h 1864765"/>
                  <a:gd name="connsiteX4966" fmla="*/ 1274441 w 9847941"/>
                  <a:gd name="connsiteY4966" fmla="*/ 1298684 h 1864765"/>
                  <a:gd name="connsiteX4967" fmla="*/ 1264289 w 9847941"/>
                  <a:gd name="connsiteY4967" fmla="*/ 1298229 h 1864765"/>
                  <a:gd name="connsiteX4968" fmla="*/ 1260653 w 9847941"/>
                  <a:gd name="connsiteY4968" fmla="*/ 1298532 h 1864765"/>
                  <a:gd name="connsiteX4969" fmla="*/ 1257925 w 9847941"/>
                  <a:gd name="connsiteY4969" fmla="*/ 1299593 h 1864765"/>
                  <a:gd name="connsiteX4970" fmla="*/ 1255956 w 9847941"/>
                  <a:gd name="connsiteY4970" fmla="*/ 1301108 h 1864765"/>
                  <a:gd name="connsiteX4971" fmla="*/ 1256562 w 9847941"/>
                  <a:gd name="connsiteY4971" fmla="*/ 1302320 h 1864765"/>
                  <a:gd name="connsiteX4972" fmla="*/ 1257471 w 9847941"/>
                  <a:gd name="connsiteY4972" fmla="*/ 1303078 h 1864765"/>
                  <a:gd name="connsiteX4973" fmla="*/ 1258532 w 9847941"/>
                  <a:gd name="connsiteY4973" fmla="*/ 1306411 h 1864765"/>
                  <a:gd name="connsiteX4974" fmla="*/ 1260501 w 9847941"/>
                  <a:gd name="connsiteY4974" fmla="*/ 1308230 h 1864765"/>
                  <a:gd name="connsiteX4975" fmla="*/ 1262320 w 9847941"/>
                  <a:gd name="connsiteY4975" fmla="*/ 1311563 h 1864765"/>
                  <a:gd name="connsiteX4976" fmla="*/ 1263229 w 9847941"/>
                  <a:gd name="connsiteY4976" fmla="*/ 1314139 h 1864765"/>
                  <a:gd name="connsiteX4977" fmla="*/ 1263986 w 9847941"/>
                  <a:gd name="connsiteY4977" fmla="*/ 1314896 h 1864765"/>
                  <a:gd name="connsiteX4978" fmla="*/ 1264744 w 9847941"/>
                  <a:gd name="connsiteY4978" fmla="*/ 1316109 h 1864765"/>
                  <a:gd name="connsiteX4979" fmla="*/ 1263380 w 9847941"/>
                  <a:gd name="connsiteY4979" fmla="*/ 1315957 h 1864765"/>
                  <a:gd name="connsiteX4980" fmla="*/ 1262168 w 9847941"/>
                  <a:gd name="connsiteY4980" fmla="*/ 1315351 h 1864765"/>
                  <a:gd name="connsiteX4981" fmla="*/ 1260501 w 9847941"/>
                  <a:gd name="connsiteY4981" fmla="*/ 1313381 h 1864765"/>
                  <a:gd name="connsiteX4982" fmla="*/ 1258683 w 9847941"/>
                  <a:gd name="connsiteY4982" fmla="*/ 1312472 h 1864765"/>
                  <a:gd name="connsiteX4983" fmla="*/ 1256713 w 9847941"/>
                  <a:gd name="connsiteY4983" fmla="*/ 1310502 h 1864765"/>
                  <a:gd name="connsiteX4984" fmla="*/ 1256107 w 9847941"/>
                  <a:gd name="connsiteY4984" fmla="*/ 1307775 h 1864765"/>
                  <a:gd name="connsiteX4985" fmla="*/ 1256259 w 9847941"/>
                  <a:gd name="connsiteY4985" fmla="*/ 1306260 h 1864765"/>
                  <a:gd name="connsiteX4986" fmla="*/ 1254592 w 9847941"/>
                  <a:gd name="connsiteY4986" fmla="*/ 1305957 h 1864765"/>
                  <a:gd name="connsiteX4987" fmla="*/ 1252774 w 9847941"/>
                  <a:gd name="connsiteY4987" fmla="*/ 1306714 h 1864765"/>
                  <a:gd name="connsiteX4988" fmla="*/ 1253077 w 9847941"/>
                  <a:gd name="connsiteY4988" fmla="*/ 1310502 h 1864765"/>
                  <a:gd name="connsiteX4989" fmla="*/ 1253077 w 9847941"/>
                  <a:gd name="connsiteY4989" fmla="*/ 1313987 h 1864765"/>
                  <a:gd name="connsiteX4990" fmla="*/ 1255501 w 9847941"/>
                  <a:gd name="connsiteY4990" fmla="*/ 1319291 h 1864765"/>
                  <a:gd name="connsiteX4991" fmla="*/ 1255804 w 9847941"/>
                  <a:gd name="connsiteY4991" fmla="*/ 1324442 h 1864765"/>
                  <a:gd name="connsiteX4992" fmla="*/ 1262168 w 9847941"/>
                  <a:gd name="connsiteY4992" fmla="*/ 1331261 h 1864765"/>
                  <a:gd name="connsiteX4993" fmla="*/ 1269896 w 9847941"/>
                  <a:gd name="connsiteY4993" fmla="*/ 1332927 h 1864765"/>
                  <a:gd name="connsiteX4994" fmla="*/ 1271865 w 9847941"/>
                  <a:gd name="connsiteY4994" fmla="*/ 1335655 h 1864765"/>
                  <a:gd name="connsiteX4995" fmla="*/ 1272168 w 9847941"/>
                  <a:gd name="connsiteY4995" fmla="*/ 1337170 h 1864765"/>
                  <a:gd name="connsiteX4996" fmla="*/ 1272320 w 9847941"/>
                  <a:gd name="connsiteY4996" fmla="*/ 1339291 h 1864765"/>
                  <a:gd name="connsiteX4997" fmla="*/ 1271108 w 9847941"/>
                  <a:gd name="connsiteY4997" fmla="*/ 1341564 h 1864765"/>
                  <a:gd name="connsiteX4998" fmla="*/ 1268835 w 9847941"/>
                  <a:gd name="connsiteY4998" fmla="*/ 1344291 h 1864765"/>
                  <a:gd name="connsiteX4999" fmla="*/ 1269138 w 9847941"/>
                  <a:gd name="connsiteY4999" fmla="*/ 1348686 h 1864765"/>
                  <a:gd name="connsiteX5000" fmla="*/ 1270047 w 9847941"/>
                  <a:gd name="connsiteY5000" fmla="*/ 1351868 h 1864765"/>
                  <a:gd name="connsiteX5001" fmla="*/ 1275805 w 9847941"/>
                  <a:gd name="connsiteY5001" fmla="*/ 1357322 h 1864765"/>
                  <a:gd name="connsiteX5002" fmla="*/ 1281260 w 9847941"/>
                  <a:gd name="connsiteY5002" fmla="*/ 1364444 h 1864765"/>
                  <a:gd name="connsiteX5003" fmla="*/ 1282169 w 9847941"/>
                  <a:gd name="connsiteY5003" fmla="*/ 1366414 h 1864765"/>
                  <a:gd name="connsiteX5004" fmla="*/ 1284593 w 9847941"/>
                  <a:gd name="connsiteY5004" fmla="*/ 1368686 h 1864765"/>
                  <a:gd name="connsiteX5005" fmla="*/ 1286260 w 9847941"/>
                  <a:gd name="connsiteY5005" fmla="*/ 1372323 h 1864765"/>
                  <a:gd name="connsiteX5006" fmla="*/ 1290199 w 9847941"/>
                  <a:gd name="connsiteY5006" fmla="*/ 1374444 h 1864765"/>
                  <a:gd name="connsiteX5007" fmla="*/ 1293381 w 9847941"/>
                  <a:gd name="connsiteY5007" fmla="*/ 1378384 h 1864765"/>
                  <a:gd name="connsiteX5008" fmla="*/ 1296715 w 9847941"/>
                  <a:gd name="connsiteY5008" fmla="*/ 1380050 h 1864765"/>
                  <a:gd name="connsiteX5009" fmla="*/ 1297775 w 9847941"/>
                  <a:gd name="connsiteY5009" fmla="*/ 1381869 h 1864765"/>
                  <a:gd name="connsiteX5010" fmla="*/ 1297169 w 9847941"/>
                  <a:gd name="connsiteY5010" fmla="*/ 1384596 h 1864765"/>
                  <a:gd name="connsiteX5011" fmla="*/ 1297927 w 9847941"/>
                  <a:gd name="connsiteY5011" fmla="*/ 1386566 h 1864765"/>
                  <a:gd name="connsiteX5012" fmla="*/ 1302018 w 9847941"/>
                  <a:gd name="connsiteY5012" fmla="*/ 1388233 h 1864765"/>
                  <a:gd name="connsiteX5013" fmla="*/ 1303382 w 9847941"/>
                  <a:gd name="connsiteY5013" fmla="*/ 1389293 h 1864765"/>
                  <a:gd name="connsiteX5014" fmla="*/ 1304139 w 9847941"/>
                  <a:gd name="connsiteY5014" fmla="*/ 1390657 h 1864765"/>
                  <a:gd name="connsiteX5015" fmla="*/ 1303382 w 9847941"/>
                  <a:gd name="connsiteY5015" fmla="*/ 1394596 h 1864765"/>
                  <a:gd name="connsiteX5016" fmla="*/ 1304442 w 9847941"/>
                  <a:gd name="connsiteY5016" fmla="*/ 1398839 h 1864765"/>
                  <a:gd name="connsiteX5017" fmla="*/ 1304139 w 9847941"/>
                  <a:gd name="connsiteY5017" fmla="*/ 1400809 h 1864765"/>
                  <a:gd name="connsiteX5018" fmla="*/ 1304442 w 9847941"/>
                  <a:gd name="connsiteY5018" fmla="*/ 1403233 h 1864765"/>
                  <a:gd name="connsiteX5019" fmla="*/ 1303988 w 9847941"/>
                  <a:gd name="connsiteY5019" fmla="*/ 1405960 h 1864765"/>
                  <a:gd name="connsiteX5020" fmla="*/ 1306261 w 9847941"/>
                  <a:gd name="connsiteY5020" fmla="*/ 1407021 h 1864765"/>
                  <a:gd name="connsiteX5021" fmla="*/ 1308382 w 9847941"/>
                  <a:gd name="connsiteY5021" fmla="*/ 1409294 h 1864765"/>
                  <a:gd name="connsiteX5022" fmla="*/ 1310655 w 9847941"/>
                  <a:gd name="connsiteY5022" fmla="*/ 1409597 h 1864765"/>
                  <a:gd name="connsiteX5023" fmla="*/ 1316867 w 9847941"/>
                  <a:gd name="connsiteY5023" fmla="*/ 1409142 h 1864765"/>
                  <a:gd name="connsiteX5024" fmla="*/ 1320049 w 9847941"/>
                  <a:gd name="connsiteY5024" fmla="*/ 1409294 h 1864765"/>
                  <a:gd name="connsiteX5025" fmla="*/ 1325504 w 9847941"/>
                  <a:gd name="connsiteY5025" fmla="*/ 1411112 h 1864765"/>
                  <a:gd name="connsiteX5026" fmla="*/ 1329292 w 9847941"/>
                  <a:gd name="connsiteY5026" fmla="*/ 1411567 h 1864765"/>
                  <a:gd name="connsiteX5027" fmla="*/ 1332171 w 9847941"/>
                  <a:gd name="connsiteY5027" fmla="*/ 1410961 h 1864765"/>
                  <a:gd name="connsiteX5028" fmla="*/ 1337474 w 9847941"/>
                  <a:gd name="connsiteY5028" fmla="*/ 1413385 h 1864765"/>
                  <a:gd name="connsiteX5029" fmla="*/ 1341413 w 9847941"/>
                  <a:gd name="connsiteY5029" fmla="*/ 1415809 h 1864765"/>
                  <a:gd name="connsiteX5030" fmla="*/ 1342323 w 9847941"/>
                  <a:gd name="connsiteY5030" fmla="*/ 1418688 h 1864765"/>
                  <a:gd name="connsiteX5031" fmla="*/ 1344898 w 9847941"/>
                  <a:gd name="connsiteY5031" fmla="*/ 1420355 h 1864765"/>
                  <a:gd name="connsiteX5032" fmla="*/ 1353384 w 9847941"/>
                  <a:gd name="connsiteY5032" fmla="*/ 1423082 h 1864765"/>
                  <a:gd name="connsiteX5033" fmla="*/ 1359747 w 9847941"/>
                  <a:gd name="connsiteY5033" fmla="*/ 1422779 h 1864765"/>
                  <a:gd name="connsiteX5034" fmla="*/ 1362323 w 9847941"/>
                  <a:gd name="connsiteY5034" fmla="*/ 1423385 h 1864765"/>
                  <a:gd name="connsiteX5035" fmla="*/ 1365354 w 9847941"/>
                  <a:gd name="connsiteY5035" fmla="*/ 1428234 h 1864765"/>
                  <a:gd name="connsiteX5036" fmla="*/ 1364899 w 9847941"/>
                  <a:gd name="connsiteY5036" fmla="*/ 1431719 h 1864765"/>
                  <a:gd name="connsiteX5037" fmla="*/ 1368081 w 9847941"/>
                  <a:gd name="connsiteY5037" fmla="*/ 1432628 h 1864765"/>
                  <a:gd name="connsiteX5038" fmla="*/ 1368839 w 9847941"/>
                  <a:gd name="connsiteY5038" fmla="*/ 1431264 h 1864765"/>
                  <a:gd name="connsiteX5039" fmla="*/ 1371718 w 9847941"/>
                  <a:gd name="connsiteY5039" fmla="*/ 1431568 h 1864765"/>
                  <a:gd name="connsiteX5040" fmla="*/ 1373990 w 9847941"/>
                  <a:gd name="connsiteY5040" fmla="*/ 1432477 h 1864765"/>
                  <a:gd name="connsiteX5041" fmla="*/ 1377475 w 9847941"/>
                  <a:gd name="connsiteY5041" fmla="*/ 1435658 h 1864765"/>
                  <a:gd name="connsiteX5042" fmla="*/ 1382021 w 9847941"/>
                  <a:gd name="connsiteY5042" fmla="*/ 1438083 h 1864765"/>
                  <a:gd name="connsiteX5043" fmla="*/ 1390809 w 9847941"/>
                  <a:gd name="connsiteY5043" fmla="*/ 1445507 h 1864765"/>
                  <a:gd name="connsiteX5044" fmla="*/ 1394900 w 9847941"/>
                  <a:gd name="connsiteY5044" fmla="*/ 1451417 h 1864765"/>
                  <a:gd name="connsiteX5045" fmla="*/ 1396416 w 9847941"/>
                  <a:gd name="connsiteY5045" fmla="*/ 1456265 h 1864765"/>
                  <a:gd name="connsiteX5046" fmla="*/ 1396567 w 9847941"/>
                  <a:gd name="connsiteY5046" fmla="*/ 1458235 h 1864765"/>
                  <a:gd name="connsiteX5047" fmla="*/ 1396112 w 9847941"/>
                  <a:gd name="connsiteY5047" fmla="*/ 1460205 h 1864765"/>
                  <a:gd name="connsiteX5048" fmla="*/ 1396870 w 9847941"/>
                  <a:gd name="connsiteY5048" fmla="*/ 1464599 h 1864765"/>
                  <a:gd name="connsiteX5049" fmla="*/ 1398537 w 9847941"/>
                  <a:gd name="connsiteY5049" fmla="*/ 1463841 h 1864765"/>
                  <a:gd name="connsiteX5050" fmla="*/ 1399749 w 9847941"/>
                  <a:gd name="connsiteY5050" fmla="*/ 1465053 h 1864765"/>
                  <a:gd name="connsiteX5051" fmla="*/ 1399900 w 9847941"/>
                  <a:gd name="connsiteY5051" fmla="*/ 1468387 h 1864765"/>
                  <a:gd name="connsiteX5052" fmla="*/ 1399900 w 9847941"/>
                  <a:gd name="connsiteY5052" fmla="*/ 1468538 h 1864765"/>
                  <a:gd name="connsiteX5053" fmla="*/ 1407780 w 9847941"/>
                  <a:gd name="connsiteY5053" fmla="*/ 1467932 h 1864765"/>
                  <a:gd name="connsiteX5054" fmla="*/ 1415659 w 9847941"/>
                  <a:gd name="connsiteY5054" fmla="*/ 1467326 h 1864765"/>
                  <a:gd name="connsiteX5055" fmla="*/ 1423538 w 9847941"/>
                  <a:gd name="connsiteY5055" fmla="*/ 1466720 h 1864765"/>
                  <a:gd name="connsiteX5056" fmla="*/ 1431417 w 9847941"/>
                  <a:gd name="connsiteY5056" fmla="*/ 1466114 h 1864765"/>
                  <a:gd name="connsiteX5057" fmla="*/ 1439296 w 9847941"/>
                  <a:gd name="connsiteY5057" fmla="*/ 1465508 h 1864765"/>
                  <a:gd name="connsiteX5058" fmla="*/ 1447175 w 9847941"/>
                  <a:gd name="connsiteY5058" fmla="*/ 1464902 h 1864765"/>
                  <a:gd name="connsiteX5059" fmla="*/ 1455054 w 9847941"/>
                  <a:gd name="connsiteY5059" fmla="*/ 1464296 h 1864765"/>
                  <a:gd name="connsiteX5060" fmla="*/ 1462933 w 9847941"/>
                  <a:gd name="connsiteY5060" fmla="*/ 1463690 h 1864765"/>
                  <a:gd name="connsiteX5061" fmla="*/ 1466115 w 9847941"/>
                  <a:gd name="connsiteY5061" fmla="*/ 1463387 h 1864765"/>
                  <a:gd name="connsiteX5062" fmla="*/ 1464448 w 9847941"/>
                  <a:gd name="connsiteY5062" fmla="*/ 1467932 h 1864765"/>
                  <a:gd name="connsiteX5063" fmla="*/ 1463085 w 9847941"/>
                  <a:gd name="connsiteY5063" fmla="*/ 1469599 h 1864765"/>
                  <a:gd name="connsiteX5064" fmla="*/ 1476115 w 9847941"/>
                  <a:gd name="connsiteY5064" fmla="*/ 1474145 h 1864765"/>
                  <a:gd name="connsiteX5065" fmla="*/ 1489146 w 9847941"/>
                  <a:gd name="connsiteY5065" fmla="*/ 1478690 h 1864765"/>
                  <a:gd name="connsiteX5066" fmla="*/ 1502177 w 9847941"/>
                  <a:gd name="connsiteY5066" fmla="*/ 1483236 h 1864765"/>
                  <a:gd name="connsiteX5067" fmla="*/ 1515208 w 9847941"/>
                  <a:gd name="connsiteY5067" fmla="*/ 1487782 h 1864765"/>
                  <a:gd name="connsiteX5068" fmla="*/ 1528239 w 9847941"/>
                  <a:gd name="connsiteY5068" fmla="*/ 1492176 h 1864765"/>
                  <a:gd name="connsiteX5069" fmla="*/ 1541269 w 9847941"/>
                  <a:gd name="connsiteY5069" fmla="*/ 1496570 h 1864765"/>
                  <a:gd name="connsiteX5070" fmla="*/ 1554300 w 9847941"/>
                  <a:gd name="connsiteY5070" fmla="*/ 1500964 h 1864765"/>
                  <a:gd name="connsiteX5071" fmla="*/ 1567331 w 9847941"/>
                  <a:gd name="connsiteY5071" fmla="*/ 1505358 h 1864765"/>
                  <a:gd name="connsiteX5072" fmla="*/ 1577028 w 9847941"/>
                  <a:gd name="connsiteY5072" fmla="*/ 1505358 h 1864765"/>
                  <a:gd name="connsiteX5073" fmla="*/ 1586726 w 9847941"/>
                  <a:gd name="connsiteY5073" fmla="*/ 1505358 h 1864765"/>
                  <a:gd name="connsiteX5074" fmla="*/ 1596423 w 9847941"/>
                  <a:gd name="connsiteY5074" fmla="*/ 1505358 h 1864765"/>
                  <a:gd name="connsiteX5075" fmla="*/ 1606120 w 9847941"/>
                  <a:gd name="connsiteY5075" fmla="*/ 1505358 h 1864765"/>
                  <a:gd name="connsiteX5076" fmla="*/ 1615818 w 9847941"/>
                  <a:gd name="connsiteY5076" fmla="*/ 1505358 h 1864765"/>
                  <a:gd name="connsiteX5077" fmla="*/ 1625515 w 9847941"/>
                  <a:gd name="connsiteY5077" fmla="*/ 1505358 h 1864765"/>
                  <a:gd name="connsiteX5078" fmla="*/ 1635212 w 9847941"/>
                  <a:gd name="connsiteY5078" fmla="*/ 1505358 h 1864765"/>
                  <a:gd name="connsiteX5079" fmla="*/ 1644909 w 9847941"/>
                  <a:gd name="connsiteY5079" fmla="*/ 1505358 h 1864765"/>
                  <a:gd name="connsiteX5080" fmla="*/ 1644909 w 9847941"/>
                  <a:gd name="connsiteY5080" fmla="*/ 1502025 h 1864765"/>
                  <a:gd name="connsiteX5081" fmla="*/ 1644909 w 9847941"/>
                  <a:gd name="connsiteY5081" fmla="*/ 1498691 h 1864765"/>
                  <a:gd name="connsiteX5082" fmla="*/ 1644909 w 9847941"/>
                  <a:gd name="connsiteY5082" fmla="*/ 1495358 h 1864765"/>
                  <a:gd name="connsiteX5083" fmla="*/ 1644909 w 9847941"/>
                  <a:gd name="connsiteY5083" fmla="*/ 1492024 h 1864765"/>
                  <a:gd name="connsiteX5084" fmla="*/ 1650970 w 9847941"/>
                  <a:gd name="connsiteY5084" fmla="*/ 1492024 h 1864765"/>
                  <a:gd name="connsiteX5085" fmla="*/ 1657031 w 9847941"/>
                  <a:gd name="connsiteY5085" fmla="*/ 1492024 h 1864765"/>
                  <a:gd name="connsiteX5086" fmla="*/ 1663092 w 9847941"/>
                  <a:gd name="connsiteY5086" fmla="*/ 1492024 h 1864765"/>
                  <a:gd name="connsiteX5087" fmla="*/ 1669153 w 9847941"/>
                  <a:gd name="connsiteY5087" fmla="*/ 1492024 h 1864765"/>
                  <a:gd name="connsiteX5088" fmla="*/ 1675214 w 9847941"/>
                  <a:gd name="connsiteY5088" fmla="*/ 1492024 h 1864765"/>
                  <a:gd name="connsiteX5089" fmla="*/ 1681274 w 9847941"/>
                  <a:gd name="connsiteY5089" fmla="*/ 1492024 h 1864765"/>
                  <a:gd name="connsiteX5090" fmla="*/ 1687335 w 9847941"/>
                  <a:gd name="connsiteY5090" fmla="*/ 1492024 h 1864765"/>
                  <a:gd name="connsiteX5091" fmla="*/ 1693396 w 9847941"/>
                  <a:gd name="connsiteY5091" fmla="*/ 1492024 h 1864765"/>
                  <a:gd name="connsiteX5092" fmla="*/ 1693548 w 9847941"/>
                  <a:gd name="connsiteY5092" fmla="*/ 1492024 h 1864765"/>
                  <a:gd name="connsiteX5093" fmla="*/ 1693851 w 9847941"/>
                  <a:gd name="connsiteY5093" fmla="*/ 1492176 h 1864765"/>
                  <a:gd name="connsiteX5094" fmla="*/ 1696275 w 9847941"/>
                  <a:gd name="connsiteY5094" fmla="*/ 1494752 h 1864765"/>
                  <a:gd name="connsiteX5095" fmla="*/ 1698699 w 9847941"/>
                  <a:gd name="connsiteY5095" fmla="*/ 1498843 h 1864765"/>
                  <a:gd name="connsiteX5096" fmla="*/ 1701578 w 9847941"/>
                  <a:gd name="connsiteY5096" fmla="*/ 1501721 h 1864765"/>
                  <a:gd name="connsiteX5097" fmla="*/ 1704912 w 9847941"/>
                  <a:gd name="connsiteY5097" fmla="*/ 1503388 h 1864765"/>
                  <a:gd name="connsiteX5098" fmla="*/ 1710670 w 9847941"/>
                  <a:gd name="connsiteY5098" fmla="*/ 1508085 h 1864765"/>
                  <a:gd name="connsiteX5099" fmla="*/ 1718852 w 9847941"/>
                  <a:gd name="connsiteY5099" fmla="*/ 1515964 h 1864765"/>
                  <a:gd name="connsiteX5100" fmla="*/ 1725367 w 9847941"/>
                  <a:gd name="connsiteY5100" fmla="*/ 1521116 h 1864765"/>
                  <a:gd name="connsiteX5101" fmla="*/ 1730216 w 9847941"/>
                  <a:gd name="connsiteY5101" fmla="*/ 1523692 h 1864765"/>
                  <a:gd name="connsiteX5102" fmla="*/ 1733549 w 9847941"/>
                  <a:gd name="connsiteY5102" fmla="*/ 1525965 h 1864765"/>
                  <a:gd name="connsiteX5103" fmla="*/ 1735216 w 9847941"/>
                  <a:gd name="connsiteY5103" fmla="*/ 1527783 h 1864765"/>
                  <a:gd name="connsiteX5104" fmla="*/ 1737489 w 9847941"/>
                  <a:gd name="connsiteY5104" fmla="*/ 1531874 h 1864765"/>
                  <a:gd name="connsiteX5105" fmla="*/ 1741731 w 9847941"/>
                  <a:gd name="connsiteY5105" fmla="*/ 1541268 h 1864765"/>
                  <a:gd name="connsiteX5106" fmla="*/ 1741731 w 9847941"/>
                  <a:gd name="connsiteY5106" fmla="*/ 1545511 h 1864765"/>
                  <a:gd name="connsiteX5107" fmla="*/ 1743398 w 9847941"/>
                  <a:gd name="connsiteY5107" fmla="*/ 1549602 h 1864765"/>
                  <a:gd name="connsiteX5108" fmla="*/ 1746580 w 9847941"/>
                  <a:gd name="connsiteY5108" fmla="*/ 1554905 h 1864765"/>
                  <a:gd name="connsiteX5109" fmla="*/ 1749459 w 9847941"/>
                  <a:gd name="connsiteY5109" fmla="*/ 1557936 h 1864765"/>
                  <a:gd name="connsiteX5110" fmla="*/ 1751883 w 9847941"/>
                  <a:gd name="connsiteY5110" fmla="*/ 1558845 h 1864765"/>
                  <a:gd name="connsiteX5111" fmla="*/ 1754459 w 9847941"/>
                  <a:gd name="connsiteY5111" fmla="*/ 1560663 h 1864765"/>
                  <a:gd name="connsiteX5112" fmla="*/ 1757338 w 9847941"/>
                  <a:gd name="connsiteY5112" fmla="*/ 1563390 h 1864765"/>
                  <a:gd name="connsiteX5113" fmla="*/ 1760671 w 9847941"/>
                  <a:gd name="connsiteY5113" fmla="*/ 1565209 h 1864765"/>
                  <a:gd name="connsiteX5114" fmla="*/ 1764459 w 9847941"/>
                  <a:gd name="connsiteY5114" fmla="*/ 1566118 h 1864765"/>
                  <a:gd name="connsiteX5115" fmla="*/ 1769611 w 9847941"/>
                  <a:gd name="connsiteY5115" fmla="*/ 1568542 h 1864765"/>
                  <a:gd name="connsiteX5116" fmla="*/ 1776278 w 9847941"/>
                  <a:gd name="connsiteY5116" fmla="*/ 1572633 h 1864765"/>
                  <a:gd name="connsiteX5117" fmla="*/ 1780824 w 9847941"/>
                  <a:gd name="connsiteY5117" fmla="*/ 1574755 h 1864765"/>
                  <a:gd name="connsiteX5118" fmla="*/ 1783248 w 9847941"/>
                  <a:gd name="connsiteY5118" fmla="*/ 1574906 h 1864765"/>
                  <a:gd name="connsiteX5119" fmla="*/ 1785369 w 9847941"/>
                  <a:gd name="connsiteY5119" fmla="*/ 1573542 h 1864765"/>
                  <a:gd name="connsiteX5120" fmla="*/ 1787187 w 9847941"/>
                  <a:gd name="connsiteY5120" fmla="*/ 1570815 h 1864765"/>
                  <a:gd name="connsiteX5121" fmla="*/ 1789006 w 9847941"/>
                  <a:gd name="connsiteY5121" fmla="*/ 1569148 h 1864765"/>
                  <a:gd name="connsiteX5122" fmla="*/ 1790824 w 9847941"/>
                  <a:gd name="connsiteY5122" fmla="*/ 1568391 h 1864765"/>
                  <a:gd name="connsiteX5123" fmla="*/ 1791582 w 9847941"/>
                  <a:gd name="connsiteY5123" fmla="*/ 1567178 h 1864765"/>
                  <a:gd name="connsiteX5124" fmla="*/ 1791279 w 9847941"/>
                  <a:gd name="connsiteY5124" fmla="*/ 1565512 h 1864765"/>
                  <a:gd name="connsiteX5125" fmla="*/ 1792491 w 9847941"/>
                  <a:gd name="connsiteY5125" fmla="*/ 1561724 h 1864765"/>
                  <a:gd name="connsiteX5126" fmla="*/ 1795218 w 9847941"/>
                  <a:gd name="connsiteY5126" fmla="*/ 1555814 h 1864765"/>
                  <a:gd name="connsiteX5127" fmla="*/ 1798552 w 9847941"/>
                  <a:gd name="connsiteY5127" fmla="*/ 1552632 h 1864765"/>
                  <a:gd name="connsiteX5128" fmla="*/ 1802340 w 9847941"/>
                  <a:gd name="connsiteY5128" fmla="*/ 1552178 h 1864765"/>
                  <a:gd name="connsiteX5129" fmla="*/ 1804764 w 9847941"/>
                  <a:gd name="connsiteY5129" fmla="*/ 1551117 h 1864765"/>
                  <a:gd name="connsiteX5130" fmla="*/ 1805976 w 9847941"/>
                  <a:gd name="connsiteY5130" fmla="*/ 1549451 h 1864765"/>
                  <a:gd name="connsiteX5131" fmla="*/ 1807946 w 9847941"/>
                  <a:gd name="connsiteY5131" fmla="*/ 1549299 h 1864765"/>
                  <a:gd name="connsiteX5132" fmla="*/ 1810825 w 9847941"/>
                  <a:gd name="connsiteY5132" fmla="*/ 1550663 h 1864765"/>
                  <a:gd name="connsiteX5133" fmla="*/ 1815522 w 9847941"/>
                  <a:gd name="connsiteY5133" fmla="*/ 1551572 h 1864765"/>
                  <a:gd name="connsiteX5134" fmla="*/ 1822037 w 9847941"/>
                  <a:gd name="connsiteY5134" fmla="*/ 1552026 h 1864765"/>
                  <a:gd name="connsiteX5135" fmla="*/ 1825825 w 9847941"/>
                  <a:gd name="connsiteY5135" fmla="*/ 1551875 h 1864765"/>
                  <a:gd name="connsiteX5136" fmla="*/ 1827038 w 9847941"/>
                  <a:gd name="connsiteY5136" fmla="*/ 1551269 h 1864765"/>
                  <a:gd name="connsiteX5137" fmla="*/ 1827644 w 9847941"/>
                  <a:gd name="connsiteY5137" fmla="*/ 1551269 h 1864765"/>
                  <a:gd name="connsiteX5138" fmla="*/ 1827644 w 9847941"/>
                  <a:gd name="connsiteY5138" fmla="*/ 1552026 h 1864765"/>
                  <a:gd name="connsiteX5139" fmla="*/ 1828553 w 9847941"/>
                  <a:gd name="connsiteY5139" fmla="*/ 1552330 h 1864765"/>
                  <a:gd name="connsiteX5140" fmla="*/ 1830371 w 9847941"/>
                  <a:gd name="connsiteY5140" fmla="*/ 1552178 h 1864765"/>
                  <a:gd name="connsiteX5141" fmla="*/ 1832038 w 9847941"/>
                  <a:gd name="connsiteY5141" fmla="*/ 1553239 h 1864765"/>
                  <a:gd name="connsiteX5142" fmla="*/ 1834159 w 9847941"/>
                  <a:gd name="connsiteY5142" fmla="*/ 1556420 h 1864765"/>
                  <a:gd name="connsiteX5143" fmla="*/ 1841432 w 9847941"/>
                  <a:gd name="connsiteY5143" fmla="*/ 1561572 h 1864765"/>
                  <a:gd name="connsiteX5144" fmla="*/ 1841432 w 9847941"/>
                  <a:gd name="connsiteY5144" fmla="*/ 1561572 h 1864765"/>
                  <a:gd name="connsiteX5145" fmla="*/ 1842038 w 9847941"/>
                  <a:gd name="connsiteY5145" fmla="*/ 1563390 h 1864765"/>
                  <a:gd name="connsiteX5146" fmla="*/ 1844614 w 9847941"/>
                  <a:gd name="connsiteY5146" fmla="*/ 1565966 h 1864765"/>
                  <a:gd name="connsiteX5147" fmla="*/ 1849311 w 9847941"/>
                  <a:gd name="connsiteY5147" fmla="*/ 1569906 h 1864765"/>
                  <a:gd name="connsiteX5148" fmla="*/ 1851887 w 9847941"/>
                  <a:gd name="connsiteY5148" fmla="*/ 1573239 h 1864765"/>
                  <a:gd name="connsiteX5149" fmla="*/ 1852493 w 9847941"/>
                  <a:gd name="connsiteY5149" fmla="*/ 1576118 h 1864765"/>
                  <a:gd name="connsiteX5150" fmla="*/ 1854917 w 9847941"/>
                  <a:gd name="connsiteY5150" fmla="*/ 1580664 h 1864765"/>
                  <a:gd name="connsiteX5151" fmla="*/ 1859008 w 9847941"/>
                  <a:gd name="connsiteY5151" fmla="*/ 1586725 h 1864765"/>
                  <a:gd name="connsiteX5152" fmla="*/ 1860827 w 9847941"/>
                  <a:gd name="connsiteY5152" fmla="*/ 1590058 h 1864765"/>
                  <a:gd name="connsiteX5153" fmla="*/ 1860372 w 9847941"/>
                  <a:gd name="connsiteY5153" fmla="*/ 1590513 h 1864765"/>
                  <a:gd name="connsiteX5154" fmla="*/ 1860675 w 9847941"/>
                  <a:gd name="connsiteY5154" fmla="*/ 1592179 h 1864765"/>
                  <a:gd name="connsiteX5155" fmla="*/ 1861736 w 9847941"/>
                  <a:gd name="connsiteY5155" fmla="*/ 1595210 h 1864765"/>
                  <a:gd name="connsiteX5156" fmla="*/ 1863706 w 9847941"/>
                  <a:gd name="connsiteY5156" fmla="*/ 1597786 h 1864765"/>
                  <a:gd name="connsiteX5157" fmla="*/ 1866736 w 9847941"/>
                  <a:gd name="connsiteY5157" fmla="*/ 1599907 h 1864765"/>
                  <a:gd name="connsiteX5158" fmla="*/ 1869766 w 9847941"/>
                  <a:gd name="connsiteY5158" fmla="*/ 1603543 h 1864765"/>
                  <a:gd name="connsiteX5159" fmla="*/ 1872797 w 9847941"/>
                  <a:gd name="connsiteY5159" fmla="*/ 1608847 h 1864765"/>
                  <a:gd name="connsiteX5160" fmla="*/ 1876433 w 9847941"/>
                  <a:gd name="connsiteY5160" fmla="*/ 1612938 h 1864765"/>
                  <a:gd name="connsiteX5161" fmla="*/ 1880827 w 9847941"/>
                  <a:gd name="connsiteY5161" fmla="*/ 1615665 h 1864765"/>
                  <a:gd name="connsiteX5162" fmla="*/ 1883252 w 9847941"/>
                  <a:gd name="connsiteY5162" fmla="*/ 1618241 h 1864765"/>
                  <a:gd name="connsiteX5163" fmla="*/ 1883858 w 9847941"/>
                  <a:gd name="connsiteY5163" fmla="*/ 1620665 h 1864765"/>
                  <a:gd name="connsiteX5164" fmla="*/ 1883858 w 9847941"/>
                  <a:gd name="connsiteY5164" fmla="*/ 1622635 h 1864765"/>
                  <a:gd name="connsiteX5165" fmla="*/ 1883252 w 9847941"/>
                  <a:gd name="connsiteY5165" fmla="*/ 1624302 h 1864765"/>
                  <a:gd name="connsiteX5166" fmla="*/ 1883555 w 9847941"/>
                  <a:gd name="connsiteY5166" fmla="*/ 1625968 h 1864765"/>
                  <a:gd name="connsiteX5167" fmla="*/ 1884767 w 9847941"/>
                  <a:gd name="connsiteY5167" fmla="*/ 1627484 h 1864765"/>
                  <a:gd name="connsiteX5168" fmla="*/ 1885221 w 9847941"/>
                  <a:gd name="connsiteY5168" fmla="*/ 1629302 h 1864765"/>
                  <a:gd name="connsiteX5169" fmla="*/ 1884767 w 9847941"/>
                  <a:gd name="connsiteY5169" fmla="*/ 1631878 h 1864765"/>
                  <a:gd name="connsiteX5170" fmla="*/ 1884767 w 9847941"/>
                  <a:gd name="connsiteY5170" fmla="*/ 1632635 h 1864765"/>
                  <a:gd name="connsiteX5171" fmla="*/ 1884767 w 9847941"/>
                  <a:gd name="connsiteY5171" fmla="*/ 1632635 h 1864765"/>
                  <a:gd name="connsiteX5172" fmla="*/ 1885070 w 9847941"/>
                  <a:gd name="connsiteY5172" fmla="*/ 1633242 h 1864765"/>
                  <a:gd name="connsiteX5173" fmla="*/ 1888858 w 9847941"/>
                  <a:gd name="connsiteY5173" fmla="*/ 1637636 h 1864765"/>
                  <a:gd name="connsiteX5174" fmla="*/ 1890828 w 9847941"/>
                  <a:gd name="connsiteY5174" fmla="*/ 1641272 h 1864765"/>
                  <a:gd name="connsiteX5175" fmla="*/ 1892343 w 9847941"/>
                  <a:gd name="connsiteY5175" fmla="*/ 1647030 h 1864765"/>
                  <a:gd name="connsiteX5176" fmla="*/ 1892343 w 9847941"/>
                  <a:gd name="connsiteY5176" fmla="*/ 1647030 h 1864765"/>
                  <a:gd name="connsiteX5177" fmla="*/ 1894161 w 9847941"/>
                  <a:gd name="connsiteY5177" fmla="*/ 1650515 h 1864765"/>
                  <a:gd name="connsiteX5178" fmla="*/ 1896737 w 9847941"/>
                  <a:gd name="connsiteY5178" fmla="*/ 1651878 h 1864765"/>
                  <a:gd name="connsiteX5179" fmla="*/ 1900677 w 9847941"/>
                  <a:gd name="connsiteY5179" fmla="*/ 1652333 h 1864765"/>
                  <a:gd name="connsiteX5180" fmla="*/ 1903555 w 9847941"/>
                  <a:gd name="connsiteY5180" fmla="*/ 1653545 h 1864765"/>
                  <a:gd name="connsiteX5181" fmla="*/ 1905525 w 9847941"/>
                  <a:gd name="connsiteY5181" fmla="*/ 1655363 h 1864765"/>
                  <a:gd name="connsiteX5182" fmla="*/ 1908101 w 9847941"/>
                  <a:gd name="connsiteY5182" fmla="*/ 1656424 h 1864765"/>
                  <a:gd name="connsiteX5183" fmla="*/ 1911131 w 9847941"/>
                  <a:gd name="connsiteY5183" fmla="*/ 1656879 h 1864765"/>
                  <a:gd name="connsiteX5184" fmla="*/ 1914010 w 9847941"/>
                  <a:gd name="connsiteY5184" fmla="*/ 1658091 h 1864765"/>
                  <a:gd name="connsiteX5185" fmla="*/ 1916889 w 9847941"/>
                  <a:gd name="connsiteY5185" fmla="*/ 1660212 h 1864765"/>
                  <a:gd name="connsiteX5186" fmla="*/ 1922193 w 9847941"/>
                  <a:gd name="connsiteY5186" fmla="*/ 1661576 h 1864765"/>
                  <a:gd name="connsiteX5187" fmla="*/ 1929920 w 9847941"/>
                  <a:gd name="connsiteY5187" fmla="*/ 1662182 h 1864765"/>
                  <a:gd name="connsiteX5188" fmla="*/ 1935829 w 9847941"/>
                  <a:gd name="connsiteY5188" fmla="*/ 1663849 h 1864765"/>
                  <a:gd name="connsiteX5189" fmla="*/ 1939921 w 9847941"/>
                  <a:gd name="connsiteY5189" fmla="*/ 1666576 h 1864765"/>
                  <a:gd name="connsiteX5190" fmla="*/ 1941739 w 9847941"/>
                  <a:gd name="connsiteY5190" fmla="*/ 1667182 h 1864765"/>
                  <a:gd name="connsiteX5191" fmla="*/ 1942193 w 9847941"/>
                  <a:gd name="connsiteY5191" fmla="*/ 1667182 h 1864765"/>
                  <a:gd name="connsiteX5192" fmla="*/ 1942496 w 9847941"/>
                  <a:gd name="connsiteY5192" fmla="*/ 1666727 h 1864765"/>
                  <a:gd name="connsiteX5193" fmla="*/ 1942799 w 9847941"/>
                  <a:gd name="connsiteY5193" fmla="*/ 1665970 h 1864765"/>
                  <a:gd name="connsiteX5194" fmla="*/ 1944315 w 9847941"/>
                  <a:gd name="connsiteY5194" fmla="*/ 1665061 h 1864765"/>
                  <a:gd name="connsiteX5195" fmla="*/ 1947951 w 9847941"/>
                  <a:gd name="connsiteY5195" fmla="*/ 1664455 h 1864765"/>
                  <a:gd name="connsiteX5196" fmla="*/ 1948103 w 9847941"/>
                  <a:gd name="connsiteY5196" fmla="*/ 1662485 h 1864765"/>
                  <a:gd name="connsiteX5197" fmla="*/ 1947799 w 9847941"/>
                  <a:gd name="connsiteY5197" fmla="*/ 1661424 h 1864765"/>
                  <a:gd name="connsiteX5198" fmla="*/ 1946133 w 9847941"/>
                  <a:gd name="connsiteY5198" fmla="*/ 1661424 h 1864765"/>
                  <a:gd name="connsiteX5199" fmla="*/ 1940981 w 9847941"/>
                  <a:gd name="connsiteY5199" fmla="*/ 1651878 h 1864765"/>
                  <a:gd name="connsiteX5200" fmla="*/ 1940072 w 9847941"/>
                  <a:gd name="connsiteY5200" fmla="*/ 1649303 h 1864765"/>
                  <a:gd name="connsiteX5201" fmla="*/ 1939163 w 9847941"/>
                  <a:gd name="connsiteY5201" fmla="*/ 1643242 h 1864765"/>
                  <a:gd name="connsiteX5202" fmla="*/ 1938405 w 9847941"/>
                  <a:gd name="connsiteY5202" fmla="*/ 1641272 h 1864765"/>
                  <a:gd name="connsiteX5203" fmla="*/ 1937496 w 9847941"/>
                  <a:gd name="connsiteY5203" fmla="*/ 1636878 h 1864765"/>
                  <a:gd name="connsiteX5204" fmla="*/ 1936739 w 9847941"/>
                  <a:gd name="connsiteY5204" fmla="*/ 1635060 h 1864765"/>
                  <a:gd name="connsiteX5205" fmla="*/ 1937799 w 9847941"/>
                  <a:gd name="connsiteY5205" fmla="*/ 1632484 h 1864765"/>
                  <a:gd name="connsiteX5206" fmla="*/ 1938860 w 9847941"/>
                  <a:gd name="connsiteY5206" fmla="*/ 1630514 h 1864765"/>
                  <a:gd name="connsiteX5207" fmla="*/ 1938860 w 9847941"/>
                  <a:gd name="connsiteY5207" fmla="*/ 1628847 h 1864765"/>
                  <a:gd name="connsiteX5208" fmla="*/ 1938557 w 9847941"/>
                  <a:gd name="connsiteY5208" fmla="*/ 1627029 h 1864765"/>
                  <a:gd name="connsiteX5209" fmla="*/ 1932951 w 9847941"/>
                  <a:gd name="connsiteY5209" fmla="*/ 1625514 h 1864765"/>
                  <a:gd name="connsiteX5210" fmla="*/ 1930829 w 9847941"/>
                  <a:gd name="connsiteY5210" fmla="*/ 1620514 h 1864765"/>
                  <a:gd name="connsiteX5211" fmla="*/ 1933254 w 9847941"/>
                  <a:gd name="connsiteY5211" fmla="*/ 1622332 h 1864765"/>
                  <a:gd name="connsiteX5212" fmla="*/ 1937648 w 9847941"/>
                  <a:gd name="connsiteY5212" fmla="*/ 1624756 h 1864765"/>
                  <a:gd name="connsiteX5213" fmla="*/ 1938860 w 9847941"/>
                  <a:gd name="connsiteY5213" fmla="*/ 1624605 h 1864765"/>
                  <a:gd name="connsiteX5214" fmla="*/ 1939921 w 9847941"/>
                  <a:gd name="connsiteY5214" fmla="*/ 1624302 h 1864765"/>
                  <a:gd name="connsiteX5215" fmla="*/ 1941587 w 9847941"/>
                  <a:gd name="connsiteY5215" fmla="*/ 1621574 h 1864765"/>
                  <a:gd name="connsiteX5216" fmla="*/ 1944163 w 9847941"/>
                  <a:gd name="connsiteY5216" fmla="*/ 1614150 h 1864765"/>
                  <a:gd name="connsiteX5217" fmla="*/ 1940223 w 9847941"/>
                  <a:gd name="connsiteY5217" fmla="*/ 1609301 h 1864765"/>
                  <a:gd name="connsiteX5218" fmla="*/ 1940981 w 9847941"/>
                  <a:gd name="connsiteY5218" fmla="*/ 1608695 h 1864765"/>
                  <a:gd name="connsiteX5219" fmla="*/ 1941739 w 9847941"/>
                  <a:gd name="connsiteY5219" fmla="*/ 1608392 h 1864765"/>
                  <a:gd name="connsiteX5220" fmla="*/ 1945072 w 9847941"/>
                  <a:gd name="connsiteY5220" fmla="*/ 1608847 h 1864765"/>
                  <a:gd name="connsiteX5221" fmla="*/ 1947193 w 9847941"/>
                  <a:gd name="connsiteY5221" fmla="*/ 1608089 h 1864765"/>
                  <a:gd name="connsiteX5222" fmla="*/ 1949921 w 9847941"/>
                  <a:gd name="connsiteY5222" fmla="*/ 1604907 h 1864765"/>
                  <a:gd name="connsiteX5223" fmla="*/ 1950982 w 9847941"/>
                  <a:gd name="connsiteY5223" fmla="*/ 1601725 h 1864765"/>
                  <a:gd name="connsiteX5224" fmla="*/ 1948103 w 9847941"/>
                  <a:gd name="connsiteY5224" fmla="*/ 1602634 h 1864765"/>
                  <a:gd name="connsiteX5225" fmla="*/ 1947799 w 9847941"/>
                  <a:gd name="connsiteY5225" fmla="*/ 1601422 h 1864765"/>
                  <a:gd name="connsiteX5226" fmla="*/ 1947799 w 9847941"/>
                  <a:gd name="connsiteY5226" fmla="*/ 1600210 h 1864765"/>
                  <a:gd name="connsiteX5227" fmla="*/ 1949466 w 9847941"/>
                  <a:gd name="connsiteY5227" fmla="*/ 1599755 h 1864765"/>
                  <a:gd name="connsiteX5228" fmla="*/ 1951739 w 9847941"/>
                  <a:gd name="connsiteY5228" fmla="*/ 1599604 h 1864765"/>
                  <a:gd name="connsiteX5229" fmla="*/ 1953103 w 9847941"/>
                  <a:gd name="connsiteY5229" fmla="*/ 1598846 h 1864765"/>
                  <a:gd name="connsiteX5230" fmla="*/ 1954012 w 9847941"/>
                  <a:gd name="connsiteY5230" fmla="*/ 1597786 h 1864765"/>
                  <a:gd name="connsiteX5231" fmla="*/ 1954315 w 9847941"/>
                  <a:gd name="connsiteY5231" fmla="*/ 1598998 h 1864765"/>
                  <a:gd name="connsiteX5232" fmla="*/ 1955073 w 9847941"/>
                  <a:gd name="connsiteY5232" fmla="*/ 1599755 h 1864765"/>
                  <a:gd name="connsiteX5233" fmla="*/ 1956436 w 9847941"/>
                  <a:gd name="connsiteY5233" fmla="*/ 1598695 h 1864765"/>
                  <a:gd name="connsiteX5234" fmla="*/ 1957345 w 9847941"/>
                  <a:gd name="connsiteY5234" fmla="*/ 1597937 h 1864765"/>
                  <a:gd name="connsiteX5235" fmla="*/ 1957648 w 9847941"/>
                  <a:gd name="connsiteY5235" fmla="*/ 1594907 h 1864765"/>
                  <a:gd name="connsiteX5236" fmla="*/ 1958254 w 9847941"/>
                  <a:gd name="connsiteY5236" fmla="*/ 1591876 h 1864765"/>
                  <a:gd name="connsiteX5237" fmla="*/ 1960982 w 9847941"/>
                  <a:gd name="connsiteY5237" fmla="*/ 1594301 h 1864765"/>
                  <a:gd name="connsiteX5238" fmla="*/ 1964164 w 9847941"/>
                  <a:gd name="connsiteY5238" fmla="*/ 1593543 h 1864765"/>
                  <a:gd name="connsiteX5239" fmla="*/ 1966134 w 9847941"/>
                  <a:gd name="connsiteY5239" fmla="*/ 1592331 h 1864765"/>
                  <a:gd name="connsiteX5240" fmla="*/ 1967952 w 9847941"/>
                  <a:gd name="connsiteY5240" fmla="*/ 1590816 h 1864765"/>
                  <a:gd name="connsiteX5241" fmla="*/ 1966437 w 9847941"/>
                  <a:gd name="connsiteY5241" fmla="*/ 1590210 h 1864765"/>
                  <a:gd name="connsiteX5242" fmla="*/ 1965073 w 9847941"/>
                  <a:gd name="connsiteY5242" fmla="*/ 1589907 h 1864765"/>
                  <a:gd name="connsiteX5243" fmla="*/ 1961891 w 9847941"/>
                  <a:gd name="connsiteY5243" fmla="*/ 1583391 h 1864765"/>
                  <a:gd name="connsiteX5244" fmla="*/ 1962800 w 9847941"/>
                  <a:gd name="connsiteY5244" fmla="*/ 1582937 h 1864765"/>
                  <a:gd name="connsiteX5245" fmla="*/ 1963709 w 9847941"/>
                  <a:gd name="connsiteY5245" fmla="*/ 1583088 h 1864765"/>
                  <a:gd name="connsiteX5246" fmla="*/ 1964164 w 9847941"/>
                  <a:gd name="connsiteY5246" fmla="*/ 1583997 h 1864765"/>
                  <a:gd name="connsiteX5247" fmla="*/ 1965073 w 9847941"/>
                  <a:gd name="connsiteY5247" fmla="*/ 1585058 h 1864765"/>
                  <a:gd name="connsiteX5248" fmla="*/ 1967194 w 9847941"/>
                  <a:gd name="connsiteY5248" fmla="*/ 1586573 h 1864765"/>
                  <a:gd name="connsiteX5249" fmla="*/ 1969164 w 9847941"/>
                  <a:gd name="connsiteY5249" fmla="*/ 1585512 h 1864765"/>
                  <a:gd name="connsiteX5250" fmla="*/ 1969164 w 9847941"/>
                  <a:gd name="connsiteY5250" fmla="*/ 1584755 h 1864765"/>
                  <a:gd name="connsiteX5251" fmla="*/ 1971891 w 9847941"/>
                  <a:gd name="connsiteY5251" fmla="*/ 1584755 h 1864765"/>
                  <a:gd name="connsiteX5252" fmla="*/ 1976285 w 9847941"/>
                  <a:gd name="connsiteY5252" fmla="*/ 1585664 h 1864765"/>
                  <a:gd name="connsiteX5253" fmla="*/ 1979164 w 9847941"/>
                  <a:gd name="connsiteY5253" fmla="*/ 1585361 h 1864765"/>
                  <a:gd name="connsiteX5254" fmla="*/ 1975831 w 9847941"/>
                  <a:gd name="connsiteY5254" fmla="*/ 1587482 h 1864765"/>
                  <a:gd name="connsiteX5255" fmla="*/ 1973103 w 9847941"/>
                  <a:gd name="connsiteY5255" fmla="*/ 1589603 h 1864765"/>
                  <a:gd name="connsiteX5256" fmla="*/ 1974619 w 9847941"/>
                  <a:gd name="connsiteY5256" fmla="*/ 1589149 h 1864765"/>
                  <a:gd name="connsiteX5257" fmla="*/ 1979013 w 9847941"/>
                  <a:gd name="connsiteY5257" fmla="*/ 1586573 h 1864765"/>
                  <a:gd name="connsiteX5258" fmla="*/ 1983558 w 9847941"/>
                  <a:gd name="connsiteY5258" fmla="*/ 1585058 h 1864765"/>
                  <a:gd name="connsiteX5259" fmla="*/ 1986892 w 9847941"/>
                  <a:gd name="connsiteY5259" fmla="*/ 1582937 h 1864765"/>
                  <a:gd name="connsiteX5260" fmla="*/ 1989013 w 9847941"/>
                  <a:gd name="connsiteY5260" fmla="*/ 1582027 h 1864765"/>
                  <a:gd name="connsiteX5261" fmla="*/ 1996286 w 9847941"/>
                  <a:gd name="connsiteY5261" fmla="*/ 1577482 h 1864765"/>
                  <a:gd name="connsiteX5262" fmla="*/ 1999468 w 9847941"/>
                  <a:gd name="connsiteY5262" fmla="*/ 1575512 h 1864765"/>
                  <a:gd name="connsiteX5263" fmla="*/ 2002802 w 9847941"/>
                  <a:gd name="connsiteY5263" fmla="*/ 1572027 h 1864765"/>
                  <a:gd name="connsiteX5264" fmla="*/ 2003105 w 9847941"/>
                  <a:gd name="connsiteY5264" fmla="*/ 1569451 h 1864765"/>
                  <a:gd name="connsiteX5265" fmla="*/ 2006438 w 9847941"/>
                  <a:gd name="connsiteY5265" fmla="*/ 1566724 h 1864765"/>
                  <a:gd name="connsiteX5266" fmla="*/ 2009923 w 9847941"/>
                  <a:gd name="connsiteY5266" fmla="*/ 1563390 h 1864765"/>
                  <a:gd name="connsiteX5267" fmla="*/ 2008559 w 9847941"/>
                  <a:gd name="connsiteY5267" fmla="*/ 1560663 h 1864765"/>
                  <a:gd name="connsiteX5268" fmla="*/ 2007044 w 9847941"/>
                  <a:gd name="connsiteY5268" fmla="*/ 1558542 h 1864765"/>
                  <a:gd name="connsiteX5269" fmla="*/ 2006287 w 9847941"/>
                  <a:gd name="connsiteY5269" fmla="*/ 1553390 h 1864765"/>
                  <a:gd name="connsiteX5270" fmla="*/ 2007347 w 9847941"/>
                  <a:gd name="connsiteY5270" fmla="*/ 1553087 h 1864765"/>
                  <a:gd name="connsiteX5271" fmla="*/ 2008711 w 9847941"/>
                  <a:gd name="connsiteY5271" fmla="*/ 1553996 h 1864765"/>
                  <a:gd name="connsiteX5272" fmla="*/ 2009772 w 9847941"/>
                  <a:gd name="connsiteY5272" fmla="*/ 1554148 h 1864765"/>
                  <a:gd name="connsiteX5273" fmla="*/ 2011287 w 9847941"/>
                  <a:gd name="connsiteY5273" fmla="*/ 1551875 h 1864765"/>
                  <a:gd name="connsiteX5274" fmla="*/ 2013711 w 9847941"/>
                  <a:gd name="connsiteY5274" fmla="*/ 1552026 h 1864765"/>
                  <a:gd name="connsiteX5275" fmla="*/ 2014166 w 9847941"/>
                  <a:gd name="connsiteY5275" fmla="*/ 1554905 h 1864765"/>
                  <a:gd name="connsiteX5276" fmla="*/ 2012650 w 9847941"/>
                  <a:gd name="connsiteY5276" fmla="*/ 1558087 h 1864765"/>
                  <a:gd name="connsiteX5277" fmla="*/ 2013863 w 9847941"/>
                  <a:gd name="connsiteY5277" fmla="*/ 1558390 h 1864765"/>
                  <a:gd name="connsiteX5278" fmla="*/ 2017348 w 9847941"/>
                  <a:gd name="connsiteY5278" fmla="*/ 1557481 h 1864765"/>
                  <a:gd name="connsiteX5279" fmla="*/ 2019469 w 9847941"/>
                  <a:gd name="connsiteY5279" fmla="*/ 1558087 h 1864765"/>
                  <a:gd name="connsiteX5280" fmla="*/ 2013408 w 9847941"/>
                  <a:gd name="connsiteY5280" fmla="*/ 1561875 h 1864765"/>
                  <a:gd name="connsiteX5281" fmla="*/ 2013105 w 9847941"/>
                  <a:gd name="connsiteY5281" fmla="*/ 1562936 h 1864765"/>
                  <a:gd name="connsiteX5282" fmla="*/ 2018105 w 9847941"/>
                  <a:gd name="connsiteY5282" fmla="*/ 1559906 h 1864765"/>
                  <a:gd name="connsiteX5283" fmla="*/ 2031136 w 9847941"/>
                  <a:gd name="connsiteY5283" fmla="*/ 1554451 h 1864765"/>
                  <a:gd name="connsiteX5284" fmla="*/ 2036894 w 9847941"/>
                  <a:gd name="connsiteY5284" fmla="*/ 1553845 h 1864765"/>
                  <a:gd name="connsiteX5285" fmla="*/ 2037045 w 9847941"/>
                  <a:gd name="connsiteY5285" fmla="*/ 1552784 h 1864765"/>
                  <a:gd name="connsiteX5286" fmla="*/ 2035378 w 9847941"/>
                  <a:gd name="connsiteY5286" fmla="*/ 1550057 h 1864765"/>
                  <a:gd name="connsiteX5287" fmla="*/ 2038257 w 9847941"/>
                  <a:gd name="connsiteY5287" fmla="*/ 1545208 h 1864765"/>
                  <a:gd name="connsiteX5288" fmla="*/ 2039621 w 9847941"/>
                  <a:gd name="connsiteY5288" fmla="*/ 1545208 h 1864765"/>
                  <a:gd name="connsiteX5289" fmla="*/ 2040379 w 9847941"/>
                  <a:gd name="connsiteY5289" fmla="*/ 1545965 h 1864765"/>
                  <a:gd name="connsiteX5290" fmla="*/ 2040227 w 9847941"/>
                  <a:gd name="connsiteY5290" fmla="*/ 1547178 h 1864765"/>
                  <a:gd name="connsiteX5291" fmla="*/ 2039318 w 9847941"/>
                  <a:gd name="connsiteY5291" fmla="*/ 1548996 h 1864765"/>
                  <a:gd name="connsiteX5292" fmla="*/ 2038257 w 9847941"/>
                  <a:gd name="connsiteY5292" fmla="*/ 1549905 h 1864765"/>
                  <a:gd name="connsiteX5293" fmla="*/ 2037348 w 9847941"/>
                  <a:gd name="connsiteY5293" fmla="*/ 1550208 h 1864765"/>
                  <a:gd name="connsiteX5294" fmla="*/ 2037803 w 9847941"/>
                  <a:gd name="connsiteY5294" fmla="*/ 1551875 h 1864765"/>
                  <a:gd name="connsiteX5295" fmla="*/ 2038864 w 9847941"/>
                  <a:gd name="connsiteY5295" fmla="*/ 1552784 h 1864765"/>
                  <a:gd name="connsiteX5296" fmla="*/ 2040530 w 9847941"/>
                  <a:gd name="connsiteY5296" fmla="*/ 1552026 h 1864765"/>
                  <a:gd name="connsiteX5297" fmla="*/ 2042500 w 9847941"/>
                  <a:gd name="connsiteY5297" fmla="*/ 1551572 h 1864765"/>
                  <a:gd name="connsiteX5298" fmla="*/ 2050834 w 9847941"/>
                  <a:gd name="connsiteY5298" fmla="*/ 1551420 h 1864765"/>
                  <a:gd name="connsiteX5299" fmla="*/ 2053713 w 9847941"/>
                  <a:gd name="connsiteY5299" fmla="*/ 1550966 h 1864765"/>
                  <a:gd name="connsiteX5300" fmla="*/ 2056592 w 9847941"/>
                  <a:gd name="connsiteY5300" fmla="*/ 1551269 h 1864765"/>
                  <a:gd name="connsiteX5301" fmla="*/ 2062652 w 9847941"/>
                  <a:gd name="connsiteY5301" fmla="*/ 1553239 h 1864765"/>
                  <a:gd name="connsiteX5302" fmla="*/ 2067046 w 9847941"/>
                  <a:gd name="connsiteY5302" fmla="*/ 1555663 h 1864765"/>
                  <a:gd name="connsiteX5303" fmla="*/ 2070380 w 9847941"/>
                  <a:gd name="connsiteY5303" fmla="*/ 1556724 h 1864765"/>
                  <a:gd name="connsiteX5304" fmla="*/ 2081592 w 9847941"/>
                  <a:gd name="connsiteY5304" fmla="*/ 1557936 h 1864765"/>
                  <a:gd name="connsiteX5305" fmla="*/ 2086441 w 9847941"/>
                  <a:gd name="connsiteY5305" fmla="*/ 1556875 h 1864765"/>
                  <a:gd name="connsiteX5306" fmla="*/ 2087199 w 9847941"/>
                  <a:gd name="connsiteY5306" fmla="*/ 1556118 h 1864765"/>
                  <a:gd name="connsiteX5307" fmla="*/ 2085683 w 9847941"/>
                  <a:gd name="connsiteY5307" fmla="*/ 1554602 h 1864765"/>
                  <a:gd name="connsiteX5308" fmla="*/ 2085077 w 9847941"/>
                  <a:gd name="connsiteY5308" fmla="*/ 1553693 h 1864765"/>
                  <a:gd name="connsiteX5309" fmla="*/ 2086593 w 9847941"/>
                  <a:gd name="connsiteY5309" fmla="*/ 1551875 h 1864765"/>
                  <a:gd name="connsiteX5310" fmla="*/ 2088259 w 9847941"/>
                  <a:gd name="connsiteY5310" fmla="*/ 1550663 h 1864765"/>
                  <a:gd name="connsiteX5311" fmla="*/ 2091593 w 9847941"/>
                  <a:gd name="connsiteY5311" fmla="*/ 1549602 h 1864765"/>
                  <a:gd name="connsiteX5312" fmla="*/ 2093411 w 9847941"/>
                  <a:gd name="connsiteY5312" fmla="*/ 1552178 h 1864765"/>
                  <a:gd name="connsiteX5313" fmla="*/ 2097502 w 9847941"/>
                  <a:gd name="connsiteY5313" fmla="*/ 1552330 h 1864765"/>
                  <a:gd name="connsiteX5314" fmla="*/ 2100381 w 9847941"/>
                  <a:gd name="connsiteY5314" fmla="*/ 1556572 h 1864765"/>
                  <a:gd name="connsiteX5315" fmla="*/ 2101745 w 9847941"/>
                  <a:gd name="connsiteY5315" fmla="*/ 1558087 h 1864765"/>
                  <a:gd name="connsiteX5316" fmla="*/ 2106745 w 9847941"/>
                  <a:gd name="connsiteY5316" fmla="*/ 1559299 h 1864765"/>
                  <a:gd name="connsiteX5317" fmla="*/ 2108260 w 9847941"/>
                  <a:gd name="connsiteY5317" fmla="*/ 1557784 h 1864765"/>
                  <a:gd name="connsiteX5318" fmla="*/ 2109018 w 9847941"/>
                  <a:gd name="connsiteY5318" fmla="*/ 1557784 h 1864765"/>
                  <a:gd name="connsiteX5319" fmla="*/ 2108715 w 9847941"/>
                  <a:gd name="connsiteY5319" fmla="*/ 1559602 h 1864765"/>
                  <a:gd name="connsiteX5320" fmla="*/ 2109169 w 9847941"/>
                  <a:gd name="connsiteY5320" fmla="*/ 1560966 h 1864765"/>
                  <a:gd name="connsiteX5321" fmla="*/ 2111593 w 9847941"/>
                  <a:gd name="connsiteY5321" fmla="*/ 1564148 h 1864765"/>
                  <a:gd name="connsiteX5322" fmla="*/ 2111745 w 9847941"/>
                  <a:gd name="connsiteY5322" fmla="*/ 1565057 h 1864765"/>
                  <a:gd name="connsiteX5323" fmla="*/ 2109321 w 9847941"/>
                  <a:gd name="connsiteY5323" fmla="*/ 1564603 h 1864765"/>
                  <a:gd name="connsiteX5324" fmla="*/ 2108109 w 9847941"/>
                  <a:gd name="connsiteY5324" fmla="*/ 1564906 h 1864765"/>
                  <a:gd name="connsiteX5325" fmla="*/ 2107957 w 9847941"/>
                  <a:gd name="connsiteY5325" fmla="*/ 1565815 h 1864765"/>
                  <a:gd name="connsiteX5326" fmla="*/ 2115836 w 9847941"/>
                  <a:gd name="connsiteY5326" fmla="*/ 1568694 h 1864765"/>
                  <a:gd name="connsiteX5327" fmla="*/ 2122655 w 9847941"/>
                  <a:gd name="connsiteY5327" fmla="*/ 1570512 h 1864765"/>
                  <a:gd name="connsiteX5328" fmla="*/ 2124624 w 9847941"/>
                  <a:gd name="connsiteY5328" fmla="*/ 1569906 h 1864765"/>
                  <a:gd name="connsiteX5329" fmla="*/ 2127049 w 9847941"/>
                  <a:gd name="connsiteY5329" fmla="*/ 1566269 h 1864765"/>
                  <a:gd name="connsiteX5330" fmla="*/ 2129322 w 9847941"/>
                  <a:gd name="connsiteY5330" fmla="*/ 1565360 h 1864765"/>
                  <a:gd name="connsiteX5331" fmla="*/ 2132655 w 9847941"/>
                  <a:gd name="connsiteY5331" fmla="*/ 1565512 h 1864765"/>
                  <a:gd name="connsiteX5332" fmla="*/ 2134776 w 9847941"/>
                  <a:gd name="connsiteY5332" fmla="*/ 1566724 h 1864765"/>
                  <a:gd name="connsiteX5333" fmla="*/ 2136291 w 9847941"/>
                  <a:gd name="connsiteY5333" fmla="*/ 1570360 h 1864765"/>
                  <a:gd name="connsiteX5334" fmla="*/ 2137201 w 9847941"/>
                  <a:gd name="connsiteY5334" fmla="*/ 1571118 h 1864765"/>
                  <a:gd name="connsiteX5335" fmla="*/ 2139322 w 9847941"/>
                  <a:gd name="connsiteY5335" fmla="*/ 1570209 h 1864765"/>
                  <a:gd name="connsiteX5336" fmla="*/ 2140231 w 9847941"/>
                  <a:gd name="connsiteY5336" fmla="*/ 1568845 h 1864765"/>
                  <a:gd name="connsiteX5337" fmla="*/ 2140686 w 9847941"/>
                  <a:gd name="connsiteY5337" fmla="*/ 1567178 h 1864765"/>
                  <a:gd name="connsiteX5338" fmla="*/ 2140989 w 9847941"/>
                  <a:gd name="connsiteY5338" fmla="*/ 1565512 h 1864765"/>
                  <a:gd name="connsiteX5339" fmla="*/ 2141595 w 9847941"/>
                  <a:gd name="connsiteY5339" fmla="*/ 1564300 h 1864765"/>
                  <a:gd name="connsiteX5340" fmla="*/ 2141595 w 9847941"/>
                  <a:gd name="connsiteY5340" fmla="*/ 1561421 h 1864765"/>
                  <a:gd name="connsiteX5341" fmla="*/ 2140231 w 9847941"/>
                  <a:gd name="connsiteY5341" fmla="*/ 1560512 h 1864765"/>
                  <a:gd name="connsiteX5342" fmla="*/ 2139170 w 9847941"/>
                  <a:gd name="connsiteY5342" fmla="*/ 1560057 h 1864765"/>
                  <a:gd name="connsiteX5343" fmla="*/ 2138564 w 9847941"/>
                  <a:gd name="connsiteY5343" fmla="*/ 1559299 h 1864765"/>
                  <a:gd name="connsiteX5344" fmla="*/ 2138564 w 9847941"/>
                  <a:gd name="connsiteY5344" fmla="*/ 1558390 h 1864765"/>
                  <a:gd name="connsiteX5345" fmla="*/ 2146292 w 9847941"/>
                  <a:gd name="connsiteY5345" fmla="*/ 1560815 h 1864765"/>
                  <a:gd name="connsiteX5346" fmla="*/ 2147959 w 9847941"/>
                  <a:gd name="connsiteY5346" fmla="*/ 1562027 h 1864765"/>
                  <a:gd name="connsiteX5347" fmla="*/ 2148565 w 9847941"/>
                  <a:gd name="connsiteY5347" fmla="*/ 1563087 h 1864765"/>
                  <a:gd name="connsiteX5348" fmla="*/ 2148716 w 9847941"/>
                  <a:gd name="connsiteY5348" fmla="*/ 1564451 h 1864765"/>
                  <a:gd name="connsiteX5349" fmla="*/ 2150838 w 9847941"/>
                  <a:gd name="connsiteY5349" fmla="*/ 1565057 h 1864765"/>
                  <a:gd name="connsiteX5350" fmla="*/ 2152050 w 9847941"/>
                  <a:gd name="connsiteY5350" fmla="*/ 1564906 h 1864765"/>
                  <a:gd name="connsiteX5351" fmla="*/ 2153413 w 9847941"/>
                  <a:gd name="connsiteY5351" fmla="*/ 1565360 h 1864765"/>
                  <a:gd name="connsiteX5352" fmla="*/ 2154626 w 9847941"/>
                  <a:gd name="connsiteY5352" fmla="*/ 1566421 h 1864765"/>
                  <a:gd name="connsiteX5353" fmla="*/ 2156141 w 9847941"/>
                  <a:gd name="connsiteY5353" fmla="*/ 1567027 h 1864765"/>
                  <a:gd name="connsiteX5354" fmla="*/ 2158262 w 9847941"/>
                  <a:gd name="connsiteY5354" fmla="*/ 1568694 h 1864765"/>
                  <a:gd name="connsiteX5355" fmla="*/ 2159777 w 9847941"/>
                  <a:gd name="connsiteY5355" fmla="*/ 1571270 h 1864765"/>
                  <a:gd name="connsiteX5356" fmla="*/ 2160686 w 9847941"/>
                  <a:gd name="connsiteY5356" fmla="*/ 1572330 h 1864765"/>
                  <a:gd name="connsiteX5357" fmla="*/ 2160080 w 9847941"/>
                  <a:gd name="connsiteY5357" fmla="*/ 1574906 h 1864765"/>
                  <a:gd name="connsiteX5358" fmla="*/ 2161292 w 9847941"/>
                  <a:gd name="connsiteY5358" fmla="*/ 1574451 h 1864765"/>
                  <a:gd name="connsiteX5359" fmla="*/ 2163868 w 9847941"/>
                  <a:gd name="connsiteY5359" fmla="*/ 1572027 h 1864765"/>
                  <a:gd name="connsiteX5360" fmla="*/ 2164929 w 9847941"/>
                  <a:gd name="connsiteY5360" fmla="*/ 1572785 h 1864765"/>
                  <a:gd name="connsiteX5361" fmla="*/ 2165990 w 9847941"/>
                  <a:gd name="connsiteY5361" fmla="*/ 1573845 h 1864765"/>
                  <a:gd name="connsiteX5362" fmla="*/ 2166596 w 9847941"/>
                  <a:gd name="connsiteY5362" fmla="*/ 1572936 h 1864765"/>
                  <a:gd name="connsiteX5363" fmla="*/ 2167202 w 9847941"/>
                  <a:gd name="connsiteY5363" fmla="*/ 1571421 h 1864765"/>
                  <a:gd name="connsiteX5364" fmla="*/ 2169626 w 9847941"/>
                  <a:gd name="connsiteY5364" fmla="*/ 1570057 h 1864765"/>
                  <a:gd name="connsiteX5365" fmla="*/ 2169778 w 9847941"/>
                  <a:gd name="connsiteY5365" fmla="*/ 1568239 h 1864765"/>
                  <a:gd name="connsiteX5366" fmla="*/ 2168414 w 9847941"/>
                  <a:gd name="connsiteY5366" fmla="*/ 1567784 h 1864765"/>
                  <a:gd name="connsiteX5367" fmla="*/ 2167050 w 9847941"/>
                  <a:gd name="connsiteY5367" fmla="*/ 1566875 h 1864765"/>
                  <a:gd name="connsiteX5368" fmla="*/ 2165232 w 9847941"/>
                  <a:gd name="connsiteY5368" fmla="*/ 1564300 h 1864765"/>
                  <a:gd name="connsiteX5369" fmla="*/ 2163414 w 9847941"/>
                  <a:gd name="connsiteY5369" fmla="*/ 1564300 h 1864765"/>
                  <a:gd name="connsiteX5370" fmla="*/ 2156141 w 9847941"/>
                  <a:gd name="connsiteY5370" fmla="*/ 1561724 h 1864765"/>
                  <a:gd name="connsiteX5371" fmla="*/ 2154322 w 9847941"/>
                  <a:gd name="connsiteY5371" fmla="*/ 1559754 h 1864765"/>
                  <a:gd name="connsiteX5372" fmla="*/ 2151747 w 9847941"/>
                  <a:gd name="connsiteY5372" fmla="*/ 1558239 h 1864765"/>
                  <a:gd name="connsiteX5373" fmla="*/ 2150534 w 9847941"/>
                  <a:gd name="connsiteY5373" fmla="*/ 1555814 h 1864765"/>
                  <a:gd name="connsiteX5374" fmla="*/ 2151443 w 9847941"/>
                  <a:gd name="connsiteY5374" fmla="*/ 1555057 h 1864765"/>
                  <a:gd name="connsiteX5375" fmla="*/ 2151595 w 9847941"/>
                  <a:gd name="connsiteY5375" fmla="*/ 1554148 h 1864765"/>
                  <a:gd name="connsiteX5376" fmla="*/ 2152201 w 9847941"/>
                  <a:gd name="connsiteY5376" fmla="*/ 1553845 h 1864765"/>
                  <a:gd name="connsiteX5377" fmla="*/ 2153262 w 9847941"/>
                  <a:gd name="connsiteY5377" fmla="*/ 1554148 h 1864765"/>
                  <a:gd name="connsiteX5378" fmla="*/ 2154928 w 9847941"/>
                  <a:gd name="connsiteY5378" fmla="*/ 1553390 h 1864765"/>
                  <a:gd name="connsiteX5379" fmla="*/ 2154019 w 9847941"/>
                  <a:gd name="connsiteY5379" fmla="*/ 1552632 h 1864765"/>
                  <a:gd name="connsiteX5380" fmla="*/ 2155686 w 9847941"/>
                  <a:gd name="connsiteY5380" fmla="*/ 1551269 h 1864765"/>
                  <a:gd name="connsiteX5381" fmla="*/ 2157807 w 9847941"/>
                  <a:gd name="connsiteY5381" fmla="*/ 1550966 h 1864765"/>
                  <a:gd name="connsiteX5382" fmla="*/ 2160535 w 9847941"/>
                  <a:gd name="connsiteY5382" fmla="*/ 1549905 h 1864765"/>
                  <a:gd name="connsiteX5383" fmla="*/ 2160232 w 9847941"/>
                  <a:gd name="connsiteY5383" fmla="*/ 1549299 h 1864765"/>
                  <a:gd name="connsiteX5384" fmla="*/ 2160383 w 9847941"/>
                  <a:gd name="connsiteY5384" fmla="*/ 1546875 h 1864765"/>
                  <a:gd name="connsiteX5385" fmla="*/ 2159171 w 9847941"/>
                  <a:gd name="connsiteY5385" fmla="*/ 1545208 h 1864765"/>
                  <a:gd name="connsiteX5386" fmla="*/ 2158868 w 9847941"/>
                  <a:gd name="connsiteY5386" fmla="*/ 1544147 h 1864765"/>
                  <a:gd name="connsiteX5387" fmla="*/ 2159171 w 9847941"/>
                  <a:gd name="connsiteY5387" fmla="*/ 1543087 h 1864765"/>
                  <a:gd name="connsiteX5388" fmla="*/ 2156595 w 9847941"/>
                  <a:gd name="connsiteY5388" fmla="*/ 1542784 h 1864765"/>
                  <a:gd name="connsiteX5389" fmla="*/ 2154777 w 9847941"/>
                  <a:gd name="connsiteY5389" fmla="*/ 1544450 h 1864765"/>
                  <a:gd name="connsiteX5390" fmla="*/ 2154019 w 9847941"/>
                  <a:gd name="connsiteY5390" fmla="*/ 1547026 h 1864765"/>
                  <a:gd name="connsiteX5391" fmla="*/ 2152807 w 9847941"/>
                  <a:gd name="connsiteY5391" fmla="*/ 1547329 h 1864765"/>
                  <a:gd name="connsiteX5392" fmla="*/ 2149777 w 9847941"/>
                  <a:gd name="connsiteY5392" fmla="*/ 1546572 h 1864765"/>
                  <a:gd name="connsiteX5393" fmla="*/ 2147807 w 9847941"/>
                  <a:gd name="connsiteY5393" fmla="*/ 1544299 h 1864765"/>
                  <a:gd name="connsiteX5394" fmla="*/ 2148868 w 9847941"/>
                  <a:gd name="connsiteY5394" fmla="*/ 1543087 h 1864765"/>
                  <a:gd name="connsiteX5395" fmla="*/ 2150534 w 9847941"/>
                  <a:gd name="connsiteY5395" fmla="*/ 1542177 h 1864765"/>
                  <a:gd name="connsiteX5396" fmla="*/ 2151898 w 9847941"/>
                  <a:gd name="connsiteY5396" fmla="*/ 1540965 h 1864765"/>
                  <a:gd name="connsiteX5397" fmla="*/ 2151898 w 9847941"/>
                  <a:gd name="connsiteY5397" fmla="*/ 1540208 h 1864765"/>
                  <a:gd name="connsiteX5398" fmla="*/ 2149928 w 9847941"/>
                  <a:gd name="connsiteY5398" fmla="*/ 1539450 h 1864765"/>
                  <a:gd name="connsiteX5399" fmla="*/ 2149019 w 9847941"/>
                  <a:gd name="connsiteY5399" fmla="*/ 1540511 h 1864765"/>
                  <a:gd name="connsiteX5400" fmla="*/ 2147959 w 9847941"/>
                  <a:gd name="connsiteY5400" fmla="*/ 1540965 h 1864765"/>
                  <a:gd name="connsiteX5401" fmla="*/ 2145686 w 9847941"/>
                  <a:gd name="connsiteY5401" fmla="*/ 1540965 h 1864765"/>
                  <a:gd name="connsiteX5402" fmla="*/ 2142958 w 9847941"/>
                  <a:gd name="connsiteY5402" fmla="*/ 1542935 h 1864765"/>
                  <a:gd name="connsiteX5403" fmla="*/ 2137958 w 9847941"/>
                  <a:gd name="connsiteY5403" fmla="*/ 1543844 h 1864765"/>
                  <a:gd name="connsiteX5404" fmla="*/ 2134928 w 9847941"/>
                  <a:gd name="connsiteY5404" fmla="*/ 1542784 h 1864765"/>
                  <a:gd name="connsiteX5405" fmla="*/ 2131443 w 9847941"/>
                  <a:gd name="connsiteY5405" fmla="*/ 1540511 h 1864765"/>
                  <a:gd name="connsiteX5406" fmla="*/ 2133716 w 9847941"/>
                  <a:gd name="connsiteY5406" fmla="*/ 1536420 h 1864765"/>
                  <a:gd name="connsiteX5407" fmla="*/ 2136595 w 9847941"/>
                  <a:gd name="connsiteY5407" fmla="*/ 1533389 h 1864765"/>
                  <a:gd name="connsiteX5408" fmla="*/ 2139322 w 9847941"/>
                  <a:gd name="connsiteY5408" fmla="*/ 1533692 h 1864765"/>
                  <a:gd name="connsiteX5409" fmla="*/ 2141595 w 9847941"/>
                  <a:gd name="connsiteY5409" fmla="*/ 1534147 h 1864765"/>
                  <a:gd name="connsiteX5410" fmla="*/ 2144019 w 9847941"/>
                  <a:gd name="connsiteY5410" fmla="*/ 1536571 h 1864765"/>
                  <a:gd name="connsiteX5411" fmla="*/ 2154019 w 9847941"/>
                  <a:gd name="connsiteY5411" fmla="*/ 1539602 h 1864765"/>
                  <a:gd name="connsiteX5412" fmla="*/ 2157959 w 9847941"/>
                  <a:gd name="connsiteY5412" fmla="*/ 1537935 h 1864765"/>
                  <a:gd name="connsiteX5413" fmla="*/ 2161292 w 9847941"/>
                  <a:gd name="connsiteY5413" fmla="*/ 1534299 h 1864765"/>
                  <a:gd name="connsiteX5414" fmla="*/ 2162808 w 9847941"/>
                  <a:gd name="connsiteY5414" fmla="*/ 1534299 h 1864765"/>
                  <a:gd name="connsiteX5415" fmla="*/ 2163868 w 9847941"/>
                  <a:gd name="connsiteY5415" fmla="*/ 1534601 h 1864765"/>
                  <a:gd name="connsiteX5416" fmla="*/ 2168565 w 9847941"/>
                  <a:gd name="connsiteY5416" fmla="*/ 1533541 h 1864765"/>
                  <a:gd name="connsiteX5417" fmla="*/ 2172657 w 9847941"/>
                  <a:gd name="connsiteY5417" fmla="*/ 1532177 h 1864765"/>
                  <a:gd name="connsiteX5418" fmla="*/ 2173566 w 9847941"/>
                  <a:gd name="connsiteY5418" fmla="*/ 1532177 h 1864765"/>
                  <a:gd name="connsiteX5419" fmla="*/ 2175081 w 9847941"/>
                  <a:gd name="connsiteY5419" fmla="*/ 1532480 h 1864765"/>
                  <a:gd name="connsiteX5420" fmla="*/ 2178566 w 9847941"/>
                  <a:gd name="connsiteY5420" fmla="*/ 1533995 h 1864765"/>
                  <a:gd name="connsiteX5421" fmla="*/ 2187960 w 9847941"/>
                  <a:gd name="connsiteY5421" fmla="*/ 1533389 h 1864765"/>
                  <a:gd name="connsiteX5422" fmla="*/ 2190687 w 9847941"/>
                  <a:gd name="connsiteY5422" fmla="*/ 1533692 h 1864765"/>
                  <a:gd name="connsiteX5423" fmla="*/ 2193869 w 9847941"/>
                  <a:gd name="connsiteY5423" fmla="*/ 1533541 h 1864765"/>
                  <a:gd name="connsiteX5424" fmla="*/ 2194324 w 9847941"/>
                  <a:gd name="connsiteY5424" fmla="*/ 1532026 h 1864765"/>
                  <a:gd name="connsiteX5425" fmla="*/ 2195385 w 9847941"/>
                  <a:gd name="connsiteY5425" fmla="*/ 1527480 h 1864765"/>
                  <a:gd name="connsiteX5426" fmla="*/ 2196597 w 9847941"/>
                  <a:gd name="connsiteY5426" fmla="*/ 1523995 h 1864765"/>
                  <a:gd name="connsiteX5427" fmla="*/ 2197203 w 9847941"/>
                  <a:gd name="connsiteY5427" fmla="*/ 1523540 h 1864765"/>
                  <a:gd name="connsiteX5428" fmla="*/ 2198870 w 9847941"/>
                  <a:gd name="connsiteY5428" fmla="*/ 1525510 h 1864765"/>
                  <a:gd name="connsiteX5429" fmla="*/ 2199627 w 9847941"/>
                  <a:gd name="connsiteY5429" fmla="*/ 1527480 h 1864765"/>
                  <a:gd name="connsiteX5430" fmla="*/ 2199627 w 9847941"/>
                  <a:gd name="connsiteY5430" fmla="*/ 1530813 h 1864765"/>
                  <a:gd name="connsiteX5431" fmla="*/ 2200385 w 9847941"/>
                  <a:gd name="connsiteY5431" fmla="*/ 1531874 h 1864765"/>
                  <a:gd name="connsiteX5432" fmla="*/ 2201445 w 9847941"/>
                  <a:gd name="connsiteY5432" fmla="*/ 1532026 h 1864765"/>
                  <a:gd name="connsiteX5433" fmla="*/ 2202658 w 9847941"/>
                  <a:gd name="connsiteY5433" fmla="*/ 1533844 h 1864765"/>
                  <a:gd name="connsiteX5434" fmla="*/ 2203264 w 9847941"/>
                  <a:gd name="connsiteY5434" fmla="*/ 1535511 h 1864765"/>
                  <a:gd name="connsiteX5435" fmla="*/ 2200082 w 9847941"/>
                  <a:gd name="connsiteY5435" fmla="*/ 1536420 h 1864765"/>
                  <a:gd name="connsiteX5436" fmla="*/ 2197809 w 9847941"/>
                  <a:gd name="connsiteY5436" fmla="*/ 1536571 h 1864765"/>
                  <a:gd name="connsiteX5437" fmla="*/ 2197203 w 9847941"/>
                  <a:gd name="connsiteY5437" fmla="*/ 1537329 h 1864765"/>
                  <a:gd name="connsiteX5438" fmla="*/ 2207658 w 9847941"/>
                  <a:gd name="connsiteY5438" fmla="*/ 1536268 h 1864765"/>
                  <a:gd name="connsiteX5439" fmla="*/ 2210688 w 9847941"/>
                  <a:gd name="connsiteY5439" fmla="*/ 1533238 h 1864765"/>
                  <a:gd name="connsiteX5440" fmla="*/ 2212506 w 9847941"/>
                  <a:gd name="connsiteY5440" fmla="*/ 1532480 h 1864765"/>
                  <a:gd name="connsiteX5441" fmla="*/ 2212658 w 9847941"/>
                  <a:gd name="connsiteY5441" fmla="*/ 1533389 h 1864765"/>
                  <a:gd name="connsiteX5442" fmla="*/ 2211143 w 9847941"/>
                  <a:gd name="connsiteY5442" fmla="*/ 1535056 h 1864765"/>
                  <a:gd name="connsiteX5443" fmla="*/ 2211900 w 9847941"/>
                  <a:gd name="connsiteY5443" fmla="*/ 1535511 h 1864765"/>
                  <a:gd name="connsiteX5444" fmla="*/ 2217203 w 9847941"/>
                  <a:gd name="connsiteY5444" fmla="*/ 1534147 h 1864765"/>
                  <a:gd name="connsiteX5445" fmla="*/ 2217961 w 9847941"/>
                  <a:gd name="connsiteY5445" fmla="*/ 1532480 h 1864765"/>
                  <a:gd name="connsiteX5446" fmla="*/ 2219780 w 9847941"/>
                  <a:gd name="connsiteY5446" fmla="*/ 1530813 h 1864765"/>
                  <a:gd name="connsiteX5447" fmla="*/ 2220234 w 9847941"/>
                  <a:gd name="connsiteY5447" fmla="*/ 1528238 h 1864765"/>
                  <a:gd name="connsiteX5448" fmla="*/ 2221598 w 9847941"/>
                  <a:gd name="connsiteY5448" fmla="*/ 1528238 h 1864765"/>
                  <a:gd name="connsiteX5449" fmla="*/ 2222810 w 9847941"/>
                  <a:gd name="connsiteY5449" fmla="*/ 1529450 h 1864765"/>
                  <a:gd name="connsiteX5450" fmla="*/ 2223870 w 9847941"/>
                  <a:gd name="connsiteY5450" fmla="*/ 1527783 h 1864765"/>
                  <a:gd name="connsiteX5451" fmla="*/ 2224931 w 9847941"/>
                  <a:gd name="connsiteY5451" fmla="*/ 1527328 h 1864765"/>
                  <a:gd name="connsiteX5452" fmla="*/ 2225840 w 9847941"/>
                  <a:gd name="connsiteY5452" fmla="*/ 1529450 h 1864765"/>
                  <a:gd name="connsiteX5453" fmla="*/ 2225234 w 9847941"/>
                  <a:gd name="connsiteY5453" fmla="*/ 1531571 h 1864765"/>
                  <a:gd name="connsiteX5454" fmla="*/ 2221446 w 9847941"/>
                  <a:gd name="connsiteY5454" fmla="*/ 1532632 h 1864765"/>
                  <a:gd name="connsiteX5455" fmla="*/ 2220385 w 9847941"/>
                  <a:gd name="connsiteY5455" fmla="*/ 1533238 h 1864765"/>
                  <a:gd name="connsiteX5456" fmla="*/ 2219325 w 9847941"/>
                  <a:gd name="connsiteY5456" fmla="*/ 1534299 h 1864765"/>
                  <a:gd name="connsiteX5457" fmla="*/ 2225689 w 9847941"/>
                  <a:gd name="connsiteY5457" fmla="*/ 1533238 h 1864765"/>
                  <a:gd name="connsiteX5458" fmla="*/ 2233568 w 9847941"/>
                  <a:gd name="connsiteY5458" fmla="*/ 1532329 h 1864765"/>
                  <a:gd name="connsiteX5459" fmla="*/ 2235538 w 9847941"/>
                  <a:gd name="connsiteY5459" fmla="*/ 1531723 h 1864765"/>
                  <a:gd name="connsiteX5460" fmla="*/ 2237810 w 9847941"/>
                  <a:gd name="connsiteY5460" fmla="*/ 1530511 h 1864765"/>
                  <a:gd name="connsiteX5461" fmla="*/ 2239932 w 9847941"/>
                  <a:gd name="connsiteY5461" fmla="*/ 1529601 h 1864765"/>
                  <a:gd name="connsiteX5462" fmla="*/ 2241901 w 9847941"/>
                  <a:gd name="connsiteY5462" fmla="*/ 1530056 h 1864765"/>
                  <a:gd name="connsiteX5463" fmla="*/ 2245083 w 9847941"/>
                  <a:gd name="connsiteY5463" fmla="*/ 1529753 h 1864765"/>
                  <a:gd name="connsiteX5464" fmla="*/ 2247659 w 9847941"/>
                  <a:gd name="connsiteY5464" fmla="*/ 1530662 h 1864765"/>
                  <a:gd name="connsiteX5465" fmla="*/ 2248417 w 9847941"/>
                  <a:gd name="connsiteY5465" fmla="*/ 1531268 h 1864765"/>
                  <a:gd name="connsiteX5466" fmla="*/ 2248871 w 9847941"/>
                  <a:gd name="connsiteY5466" fmla="*/ 1532329 h 1864765"/>
                  <a:gd name="connsiteX5467" fmla="*/ 2245689 w 9847941"/>
                  <a:gd name="connsiteY5467" fmla="*/ 1531571 h 1864765"/>
                  <a:gd name="connsiteX5468" fmla="*/ 2239780 w 9847941"/>
                  <a:gd name="connsiteY5468" fmla="*/ 1532480 h 1864765"/>
                  <a:gd name="connsiteX5469" fmla="*/ 2247356 w 9847941"/>
                  <a:gd name="connsiteY5469" fmla="*/ 1534450 h 1864765"/>
                  <a:gd name="connsiteX5470" fmla="*/ 2256144 w 9847941"/>
                  <a:gd name="connsiteY5470" fmla="*/ 1537935 h 1864765"/>
                  <a:gd name="connsiteX5471" fmla="*/ 2257963 w 9847941"/>
                  <a:gd name="connsiteY5471" fmla="*/ 1539147 h 1864765"/>
                  <a:gd name="connsiteX5472" fmla="*/ 2258872 w 9847941"/>
                  <a:gd name="connsiteY5472" fmla="*/ 1539299 h 1864765"/>
                  <a:gd name="connsiteX5473" fmla="*/ 2259175 w 9847941"/>
                  <a:gd name="connsiteY5473" fmla="*/ 1538238 h 1864765"/>
                  <a:gd name="connsiteX5474" fmla="*/ 2259175 w 9847941"/>
                  <a:gd name="connsiteY5474" fmla="*/ 1537026 h 1864765"/>
                  <a:gd name="connsiteX5475" fmla="*/ 2260993 w 9847941"/>
                  <a:gd name="connsiteY5475" fmla="*/ 1535965 h 1864765"/>
                  <a:gd name="connsiteX5476" fmla="*/ 2262963 w 9847941"/>
                  <a:gd name="connsiteY5476" fmla="*/ 1535814 h 1864765"/>
                  <a:gd name="connsiteX5477" fmla="*/ 2261902 w 9847941"/>
                  <a:gd name="connsiteY5477" fmla="*/ 1537329 h 1864765"/>
                  <a:gd name="connsiteX5478" fmla="*/ 2261296 w 9847941"/>
                  <a:gd name="connsiteY5478" fmla="*/ 1538693 h 1864765"/>
                  <a:gd name="connsiteX5479" fmla="*/ 2262811 w 9847941"/>
                  <a:gd name="connsiteY5479" fmla="*/ 1539905 h 1864765"/>
                  <a:gd name="connsiteX5480" fmla="*/ 2262508 w 9847941"/>
                  <a:gd name="connsiteY5480" fmla="*/ 1540814 h 1864765"/>
                  <a:gd name="connsiteX5481" fmla="*/ 2261145 w 9847941"/>
                  <a:gd name="connsiteY5481" fmla="*/ 1540662 h 1864765"/>
                  <a:gd name="connsiteX5482" fmla="*/ 2265842 w 9847941"/>
                  <a:gd name="connsiteY5482" fmla="*/ 1545056 h 1864765"/>
                  <a:gd name="connsiteX5483" fmla="*/ 2269933 w 9847941"/>
                  <a:gd name="connsiteY5483" fmla="*/ 1548087 h 1864765"/>
                  <a:gd name="connsiteX5484" fmla="*/ 2271145 w 9847941"/>
                  <a:gd name="connsiteY5484" fmla="*/ 1550360 h 1864765"/>
                  <a:gd name="connsiteX5485" fmla="*/ 2270993 w 9847941"/>
                  <a:gd name="connsiteY5485" fmla="*/ 1551572 h 1864765"/>
                  <a:gd name="connsiteX5486" fmla="*/ 2270387 w 9847941"/>
                  <a:gd name="connsiteY5486" fmla="*/ 1552178 h 1864765"/>
                  <a:gd name="connsiteX5487" fmla="*/ 2269175 w 9847941"/>
                  <a:gd name="connsiteY5487" fmla="*/ 1550814 h 1864765"/>
                  <a:gd name="connsiteX5488" fmla="*/ 2268418 w 9847941"/>
                  <a:gd name="connsiteY5488" fmla="*/ 1549147 h 1864765"/>
                  <a:gd name="connsiteX5489" fmla="*/ 2268418 w 9847941"/>
                  <a:gd name="connsiteY5489" fmla="*/ 1551420 h 1864765"/>
                  <a:gd name="connsiteX5490" fmla="*/ 2269478 w 9847941"/>
                  <a:gd name="connsiteY5490" fmla="*/ 1553541 h 1864765"/>
                  <a:gd name="connsiteX5491" fmla="*/ 2270993 w 9847941"/>
                  <a:gd name="connsiteY5491" fmla="*/ 1553996 h 1864765"/>
                  <a:gd name="connsiteX5492" fmla="*/ 2274630 w 9847941"/>
                  <a:gd name="connsiteY5492" fmla="*/ 1553239 h 1864765"/>
                  <a:gd name="connsiteX5493" fmla="*/ 2278873 w 9847941"/>
                  <a:gd name="connsiteY5493" fmla="*/ 1552784 h 1864765"/>
                  <a:gd name="connsiteX5494" fmla="*/ 2280539 w 9847941"/>
                  <a:gd name="connsiteY5494" fmla="*/ 1552026 h 1864765"/>
                  <a:gd name="connsiteX5495" fmla="*/ 2282661 w 9847941"/>
                  <a:gd name="connsiteY5495" fmla="*/ 1551117 h 1864765"/>
                  <a:gd name="connsiteX5496" fmla="*/ 2285085 w 9847941"/>
                  <a:gd name="connsiteY5496" fmla="*/ 1551269 h 1864765"/>
                  <a:gd name="connsiteX5497" fmla="*/ 2291903 w 9847941"/>
                  <a:gd name="connsiteY5497" fmla="*/ 1547481 h 1864765"/>
                  <a:gd name="connsiteX5498" fmla="*/ 2294479 w 9847941"/>
                  <a:gd name="connsiteY5498" fmla="*/ 1547178 h 1864765"/>
                  <a:gd name="connsiteX5499" fmla="*/ 2296449 w 9847941"/>
                  <a:gd name="connsiteY5499" fmla="*/ 1547329 h 1864765"/>
                  <a:gd name="connsiteX5500" fmla="*/ 2297055 w 9847941"/>
                  <a:gd name="connsiteY5500" fmla="*/ 1546723 h 1864765"/>
                  <a:gd name="connsiteX5501" fmla="*/ 2296600 w 9847941"/>
                  <a:gd name="connsiteY5501" fmla="*/ 1545208 h 1864765"/>
                  <a:gd name="connsiteX5502" fmla="*/ 2297206 w 9847941"/>
                  <a:gd name="connsiteY5502" fmla="*/ 1543844 h 1864765"/>
                  <a:gd name="connsiteX5503" fmla="*/ 2298419 w 9847941"/>
                  <a:gd name="connsiteY5503" fmla="*/ 1542784 h 1864765"/>
                  <a:gd name="connsiteX5504" fmla="*/ 2305692 w 9847941"/>
                  <a:gd name="connsiteY5504" fmla="*/ 1541571 h 1864765"/>
                  <a:gd name="connsiteX5505" fmla="*/ 2315237 w 9847941"/>
                  <a:gd name="connsiteY5505" fmla="*/ 1546875 h 1864765"/>
                  <a:gd name="connsiteX5506" fmla="*/ 2326299 w 9847941"/>
                  <a:gd name="connsiteY5506" fmla="*/ 1560966 h 1864765"/>
                  <a:gd name="connsiteX5507" fmla="*/ 2340541 w 9847941"/>
                  <a:gd name="connsiteY5507" fmla="*/ 1572785 h 1864765"/>
                  <a:gd name="connsiteX5508" fmla="*/ 2343723 w 9847941"/>
                  <a:gd name="connsiteY5508" fmla="*/ 1577633 h 1864765"/>
                  <a:gd name="connsiteX5509" fmla="*/ 2343875 w 9847941"/>
                  <a:gd name="connsiteY5509" fmla="*/ 1579906 h 1864765"/>
                  <a:gd name="connsiteX5510" fmla="*/ 2343723 w 9847941"/>
                  <a:gd name="connsiteY5510" fmla="*/ 1581118 h 1864765"/>
                  <a:gd name="connsiteX5511" fmla="*/ 2343420 w 9847941"/>
                  <a:gd name="connsiteY5511" fmla="*/ 1589452 h 1864765"/>
                  <a:gd name="connsiteX5512" fmla="*/ 2340996 w 9847941"/>
                  <a:gd name="connsiteY5512" fmla="*/ 1596876 h 1864765"/>
                  <a:gd name="connsiteX5513" fmla="*/ 2338420 w 9847941"/>
                  <a:gd name="connsiteY5513" fmla="*/ 1608392 h 1864765"/>
                  <a:gd name="connsiteX5514" fmla="*/ 2339329 w 9847941"/>
                  <a:gd name="connsiteY5514" fmla="*/ 1610362 h 1864765"/>
                  <a:gd name="connsiteX5515" fmla="*/ 2340238 w 9847941"/>
                  <a:gd name="connsiteY5515" fmla="*/ 1611574 h 1864765"/>
                  <a:gd name="connsiteX5516" fmla="*/ 2341148 w 9847941"/>
                  <a:gd name="connsiteY5516" fmla="*/ 1612332 h 1864765"/>
                  <a:gd name="connsiteX5517" fmla="*/ 2341905 w 9847941"/>
                  <a:gd name="connsiteY5517" fmla="*/ 1611574 h 1864765"/>
                  <a:gd name="connsiteX5518" fmla="*/ 2343420 w 9847941"/>
                  <a:gd name="connsiteY5518" fmla="*/ 1612028 h 1864765"/>
                  <a:gd name="connsiteX5519" fmla="*/ 2344329 w 9847941"/>
                  <a:gd name="connsiteY5519" fmla="*/ 1611271 h 1864765"/>
                  <a:gd name="connsiteX5520" fmla="*/ 2344784 w 9847941"/>
                  <a:gd name="connsiteY5520" fmla="*/ 1610362 h 1864765"/>
                  <a:gd name="connsiteX5521" fmla="*/ 2345239 w 9847941"/>
                  <a:gd name="connsiteY5521" fmla="*/ 1607483 h 1864765"/>
                  <a:gd name="connsiteX5522" fmla="*/ 2344178 w 9847941"/>
                  <a:gd name="connsiteY5522" fmla="*/ 1606725 h 1864765"/>
                  <a:gd name="connsiteX5523" fmla="*/ 2343117 w 9847941"/>
                  <a:gd name="connsiteY5523" fmla="*/ 1604756 h 1864765"/>
                  <a:gd name="connsiteX5524" fmla="*/ 2344178 w 9847941"/>
                  <a:gd name="connsiteY5524" fmla="*/ 1604301 h 1864765"/>
                  <a:gd name="connsiteX5525" fmla="*/ 2345693 w 9847941"/>
                  <a:gd name="connsiteY5525" fmla="*/ 1604907 h 1864765"/>
                  <a:gd name="connsiteX5526" fmla="*/ 2347360 w 9847941"/>
                  <a:gd name="connsiteY5526" fmla="*/ 1607331 h 1864765"/>
                  <a:gd name="connsiteX5527" fmla="*/ 2347966 w 9847941"/>
                  <a:gd name="connsiteY5527" fmla="*/ 1607634 h 1864765"/>
                  <a:gd name="connsiteX5528" fmla="*/ 2349330 w 9847941"/>
                  <a:gd name="connsiteY5528" fmla="*/ 1606574 h 1864765"/>
                  <a:gd name="connsiteX5529" fmla="*/ 2350390 w 9847941"/>
                  <a:gd name="connsiteY5529" fmla="*/ 1607786 h 1864765"/>
                  <a:gd name="connsiteX5530" fmla="*/ 2350542 w 9847941"/>
                  <a:gd name="connsiteY5530" fmla="*/ 1608544 h 1864765"/>
                  <a:gd name="connsiteX5531" fmla="*/ 2349784 w 9847941"/>
                  <a:gd name="connsiteY5531" fmla="*/ 1610362 h 1864765"/>
                  <a:gd name="connsiteX5532" fmla="*/ 2347360 w 9847941"/>
                  <a:gd name="connsiteY5532" fmla="*/ 1613089 h 1864765"/>
                  <a:gd name="connsiteX5533" fmla="*/ 2344178 w 9847941"/>
                  <a:gd name="connsiteY5533" fmla="*/ 1617635 h 1864765"/>
                  <a:gd name="connsiteX5534" fmla="*/ 2342814 w 9847941"/>
                  <a:gd name="connsiteY5534" fmla="*/ 1617938 h 1864765"/>
                  <a:gd name="connsiteX5535" fmla="*/ 2342057 w 9847941"/>
                  <a:gd name="connsiteY5535" fmla="*/ 1618392 h 1864765"/>
                  <a:gd name="connsiteX5536" fmla="*/ 2343723 w 9847941"/>
                  <a:gd name="connsiteY5536" fmla="*/ 1619908 h 1864765"/>
                  <a:gd name="connsiteX5537" fmla="*/ 2344632 w 9847941"/>
                  <a:gd name="connsiteY5537" fmla="*/ 1621271 h 1864765"/>
                  <a:gd name="connsiteX5538" fmla="*/ 2349481 w 9847941"/>
                  <a:gd name="connsiteY5538" fmla="*/ 1631272 h 1864765"/>
                  <a:gd name="connsiteX5539" fmla="*/ 2351905 w 9847941"/>
                  <a:gd name="connsiteY5539" fmla="*/ 1634908 h 1864765"/>
                  <a:gd name="connsiteX5540" fmla="*/ 2353724 w 9847941"/>
                  <a:gd name="connsiteY5540" fmla="*/ 1636878 h 1864765"/>
                  <a:gd name="connsiteX5541" fmla="*/ 2355087 w 9847941"/>
                  <a:gd name="connsiteY5541" fmla="*/ 1637484 h 1864765"/>
                  <a:gd name="connsiteX5542" fmla="*/ 2356754 w 9847941"/>
                  <a:gd name="connsiteY5542" fmla="*/ 1637787 h 1864765"/>
                  <a:gd name="connsiteX5543" fmla="*/ 2357057 w 9847941"/>
                  <a:gd name="connsiteY5543" fmla="*/ 1636726 h 1864765"/>
                  <a:gd name="connsiteX5544" fmla="*/ 2356754 w 9847941"/>
                  <a:gd name="connsiteY5544" fmla="*/ 1634908 h 1864765"/>
                  <a:gd name="connsiteX5545" fmla="*/ 2359027 w 9847941"/>
                  <a:gd name="connsiteY5545" fmla="*/ 1634151 h 1864765"/>
                  <a:gd name="connsiteX5546" fmla="*/ 2361300 w 9847941"/>
                  <a:gd name="connsiteY5546" fmla="*/ 1634151 h 1864765"/>
                  <a:gd name="connsiteX5547" fmla="*/ 2359785 w 9847941"/>
                  <a:gd name="connsiteY5547" fmla="*/ 1636272 h 1864765"/>
                  <a:gd name="connsiteX5548" fmla="*/ 2359481 w 9847941"/>
                  <a:gd name="connsiteY5548" fmla="*/ 1641727 h 1864765"/>
                  <a:gd name="connsiteX5549" fmla="*/ 2360542 w 9847941"/>
                  <a:gd name="connsiteY5549" fmla="*/ 1646121 h 1864765"/>
                  <a:gd name="connsiteX5550" fmla="*/ 2361451 w 9847941"/>
                  <a:gd name="connsiteY5550" fmla="*/ 1646424 h 1864765"/>
                  <a:gd name="connsiteX5551" fmla="*/ 2362512 w 9847941"/>
                  <a:gd name="connsiteY5551" fmla="*/ 1646121 h 1864765"/>
                  <a:gd name="connsiteX5552" fmla="*/ 2363876 w 9847941"/>
                  <a:gd name="connsiteY5552" fmla="*/ 1643848 h 1864765"/>
                  <a:gd name="connsiteX5553" fmla="*/ 2364936 w 9847941"/>
                  <a:gd name="connsiteY5553" fmla="*/ 1642939 h 1864765"/>
                  <a:gd name="connsiteX5554" fmla="*/ 2366451 w 9847941"/>
                  <a:gd name="connsiteY5554" fmla="*/ 1642333 h 1864765"/>
                  <a:gd name="connsiteX5555" fmla="*/ 2364633 w 9847941"/>
                  <a:gd name="connsiteY5555" fmla="*/ 1644908 h 1864765"/>
                  <a:gd name="connsiteX5556" fmla="*/ 2362967 w 9847941"/>
                  <a:gd name="connsiteY5556" fmla="*/ 1648090 h 1864765"/>
                  <a:gd name="connsiteX5557" fmla="*/ 2363724 w 9847941"/>
                  <a:gd name="connsiteY5557" fmla="*/ 1648696 h 1864765"/>
                  <a:gd name="connsiteX5558" fmla="*/ 2365542 w 9847941"/>
                  <a:gd name="connsiteY5558" fmla="*/ 1649606 h 1864765"/>
                  <a:gd name="connsiteX5559" fmla="*/ 2367057 w 9847941"/>
                  <a:gd name="connsiteY5559" fmla="*/ 1658091 h 1864765"/>
                  <a:gd name="connsiteX5560" fmla="*/ 2369634 w 9847941"/>
                  <a:gd name="connsiteY5560" fmla="*/ 1662788 h 1864765"/>
                  <a:gd name="connsiteX5561" fmla="*/ 2373724 w 9847941"/>
                  <a:gd name="connsiteY5561" fmla="*/ 1665515 h 1864765"/>
                  <a:gd name="connsiteX5562" fmla="*/ 2379331 w 9847941"/>
                  <a:gd name="connsiteY5562" fmla="*/ 1667334 h 1864765"/>
                  <a:gd name="connsiteX5563" fmla="*/ 2379937 w 9847941"/>
                  <a:gd name="connsiteY5563" fmla="*/ 1670213 h 1864765"/>
                  <a:gd name="connsiteX5564" fmla="*/ 2383119 w 9847941"/>
                  <a:gd name="connsiteY5564" fmla="*/ 1674455 h 1864765"/>
                  <a:gd name="connsiteX5565" fmla="*/ 2386301 w 9847941"/>
                  <a:gd name="connsiteY5565" fmla="*/ 1680667 h 1864765"/>
                  <a:gd name="connsiteX5566" fmla="*/ 2387816 w 9847941"/>
                  <a:gd name="connsiteY5566" fmla="*/ 1681577 h 1864765"/>
                  <a:gd name="connsiteX5567" fmla="*/ 2389937 w 9847941"/>
                  <a:gd name="connsiteY5567" fmla="*/ 1682334 h 1864765"/>
                  <a:gd name="connsiteX5568" fmla="*/ 2390998 w 9847941"/>
                  <a:gd name="connsiteY5568" fmla="*/ 1683698 h 1864765"/>
                  <a:gd name="connsiteX5569" fmla="*/ 2390240 w 9847941"/>
                  <a:gd name="connsiteY5569" fmla="*/ 1684910 h 1864765"/>
                  <a:gd name="connsiteX5570" fmla="*/ 2386604 w 9847941"/>
                  <a:gd name="connsiteY5570" fmla="*/ 1682183 h 1864765"/>
                  <a:gd name="connsiteX5571" fmla="*/ 2385543 w 9847941"/>
                  <a:gd name="connsiteY5571" fmla="*/ 1682486 h 1864765"/>
                  <a:gd name="connsiteX5572" fmla="*/ 2384937 w 9847941"/>
                  <a:gd name="connsiteY5572" fmla="*/ 1683698 h 1864765"/>
                  <a:gd name="connsiteX5573" fmla="*/ 2384634 w 9847941"/>
                  <a:gd name="connsiteY5573" fmla="*/ 1684910 h 1864765"/>
                  <a:gd name="connsiteX5574" fmla="*/ 2386149 w 9847941"/>
                  <a:gd name="connsiteY5574" fmla="*/ 1687486 h 1864765"/>
                  <a:gd name="connsiteX5575" fmla="*/ 2388877 w 9847941"/>
                  <a:gd name="connsiteY5575" fmla="*/ 1687637 h 1864765"/>
                  <a:gd name="connsiteX5576" fmla="*/ 2392968 w 9847941"/>
                  <a:gd name="connsiteY5576" fmla="*/ 1686425 h 1864765"/>
                  <a:gd name="connsiteX5577" fmla="*/ 2396453 w 9847941"/>
                  <a:gd name="connsiteY5577" fmla="*/ 1687031 h 1864765"/>
                  <a:gd name="connsiteX5578" fmla="*/ 2401301 w 9847941"/>
                  <a:gd name="connsiteY5578" fmla="*/ 1684758 h 1864765"/>
                  <a:gd name="connsiteX5579" fmla="*/ 2403271 w 9847941"/>
                  <a:gd name="connsiteY5579" fmla="*/ 1684758 h 1864765"/>
                  <a:gd name="connsiteX5580" fmla="*/ 2406453 w 9847941"/>
                  <a:gd name="connsiteY5580" fmla="*/ 1681880 h 1864765"/>
                  <a:gd name="connsiteX5581" fmla="*/ 2407514 w 9847941"/>
                  <a:gd name="connsiteY5581" fmla="*/ 1679152 h 1864765"/>
                  <a:gd name="connsiteX5582" fmla="*/ 2408271 w 9847941"/>
                  <a:gd name="connsiteY5582" fmla="*/ 1673546 h 1864765"/>
                  <a:gd name="connsiteX5583" fmla="*/ 2410544 w 9847941"/>
                  <a:gd name="connsiteY5583" fmla="*/ 1669909 h 1864765"/>
                  <a:gd name="connsiteX5584" fmla="*/ 2412211 w 9847941"/>
                  <a:gd name="connsiteY5584" fmla="*/ 1665970 h 1864765"/>
                  <a:gd name="connsiteX5585" fmla="*/ 2412665 w 9847941"/>
                  <a:gd name="connsiteY5585" fmla="*/ 1666121 h 1864765"/>
                  <a:gd name="connsiteX5586" fmla="*/ 2412817 w 9847941"/>
                  <a:gd name="connsiteY5586" fmla="*/ 1667031 h 1864765"/>
                  <a:gd name="connsiteX5587" fmla="*/ 2413120 w 9847941"/>
                  <a:gd name="connsiteY5587" fmla="*/ 1667334 h 1864765"/>
                  <a:gd name="connsiteX5588" fmla="*/ 2413574 w 9847941"/>
                  <a:gd name="connsiteY5588" fmla="*/ 1658697 h 1864765"/>
                  <a:gd name="connsiteX5589" fmla="*/ 2415544 w 9847941"/>
                  <a:gd name="connsiteY5589" fmla="*/ 1645969 h 1864765"/>
                  <a:gd name="connsiteX5590" fmla="*/ 2415241 w 9847941"/>
                  <a:gd name="connsiteY5590" fmla="*/ 1638999 h 1864765"/>
                  <a:gd name="connsiteX5591" fmla="*/ 2414180 w 9847941"/>
                  <a:gd name="connsiteY5591" fmla="*/ 1633544 h 1864765"/>
                  <a:gd name="connsiteX5592" fmla="*/ 2413120 w 9847941"/>
                  <a:gd name="connsiteY5592" fmla="*/ 1630969 h 1864765"/>
                  <a:gd name="connsiteX5593" fmla="*/ 2410392 w 9847941"/>
                  <a:gd name="connsiteY5593" fmla="*/ 1627332 h 1864765"/>
                  <a:gd name="connsiteX5594" fmla="*/ 2398725 w 9847941"/>
                  <a:gd name="connsiteY5594" fmla="*/ 1598695 h 1864765"/>
                  <a:gd name="connsiteX5595" fmla="*/ 2397665 w 9847941"/>
                  <a:gd name="connsiteY5595" fmla="*/ 1595967 h 1864765"/>
                  <a:gd name="connsiteX5596" fmla="*/ 2395998 w 9847941"/>
                  <a:gd name="connsiteY5596" fmla="*/ 1592786 h 1864765"/>
                  <a:gd name="connsiteX5597" fmla="*/ 2394937 w 9847941"/>
                  <a:gd name="connsiteY5597" fmla="*/ 1587482 h 1864765"/>
                  <a:gd name="connsiteX5598" fmla="*/ 2394028 w 9847941"/>
                  <a:gd name="connsiteY5598" fmla="*/ 1585209 h 1864765"/>
                  <a:gd name="connsiteX5599" fmla="*/ 2393422 w 9847941"/>
                  <a:gd name="connsiteY5599" fmla="*/ 1581573 h 1864765"/>
                  <a:gd name="connsiteX5600" fmla="*/ 2394180 w 9847941"/>
                  <a:gd name="connsiteY5600" fmla="*/ 1581573 h 1864765"/>
                  <a:gd name="connsiteX5601" fmla="*/ 2395240 w 9847941"/>
                  <a:gd name="connsiteY5601" fmla="*/ 1582331 h 1864765"/>
                  <a:gd name="connsiteX5602" fmla="*/ 2394937 w 9847941"/>
                  <a:gd name="connsiteY5602" fmla="*/ 1583846 h 1864765"/>
                  <a:gd name="connsiteX5603" fmla="*/ 2395392 w 9847941"/>
                  <a:gd name="connsiteY5603" fmla="*/ 1585361 h 1864765"/>
                  <a:gd name="connsiteX5604" fmla="*/ 2397210 w 9847941"/>
                  <a:gd name="connsiteY5604" fmla="*/ 1586270 h 1864765"/>
                  <a:gd name="connsiteX5605" fmla="*/ 2397513 w 9847941"/>
                  <a:gd name="connsiteY5605" fmla="*/ 1586876 h 1864765"/>
                  <a:gd name="connsiteX5606" fmla="*/ 2396453 w 9847941"/>
                  <a:gd name="connsiteY5606" fmla="*/ 1588694 h 1864765"/>
                  <a:gd name="connsiteX5607" fmla="*/ 2396453 w 9847941"/>
                  <a:gd name="connsiteY5607" fmla="*/ 1590210 h 1864765"/>
                  <a:gd name="connsiteX5608" fmla="*/ 2397513 w 9847941"/>
                  <a:gd name="connsiteY5608" fmla="*/ 1593695 h 1864765"/>
                  <a:gd name="connsiteX5609" fmla="*/ 2398271 w 9847941"/>
                  <a:gd name="connsiteY5609" fmla="*/ 1592786 h 1864765"/>
                  <a:gd name="connsiteX5610" fmla="*/ 2398574 w 9847941"/>
                  <a:gd name="connsiteY5610" fmla="*/ 1590513 h 1864765"/>
                  <a:gd name="connsiteX5611" fmla="*/ 2399180 w 9847941"/>
                  <a:gd name="connsiteY5611" fmla="*/ 1588543 h 1864765"/>
                  <a:gd name="connsiteX5612" fmla="*/ 2399938 w 9847941"/>
                  <a:gd name="connsiteY5612" fmla="*/ 1588391 h 1864765"/>
                  <a:gd name="connsiteX5613" fmla="*/ 2399483 w 9847941"/>
                  <a:gd name="connsiteY5613" fmla="*/ 1594301 h 1864765"/>
                  <a:gd name="connsiteX5614" fmla="*/ 2399786 w 9847941"/>
                  <a:gd name="connsiteY5614" fmla="*/ 1598543 h 1864765"/>
                  <a:gd name="connsiteX5615" fmla="*/ 2402816 w 9847941"/>
                  <a:gd name="connsiteY5615" fmla="*/ 1605665 h 1864765"/>
                  <a:gd name="connsiteX5616" fmla="*/ 2404029 w 9847941"/>
                  <a:gd name="connsiteY5616" fmla="*/ 1606725 h 1864765"/>
                  <a:gd name="connsiteX5617" fmla="*/ 2401907 w 9847941"/>
                  <a:gd name="connsiteY5617" fmla="*/ 1601725 h 1864765"/>
                  <a:gd name="connsiteX5618" fmla="*/ 2400847 w 9847941"/>
                  <a:gd name="connsiteY5618" fmla="*/ 1598392 h 1864765"/>
                  <a:gd name="connsiteX5619" fmla="*/ 2400544 w 9847941"/>
                  <a:gd name="connsiteY5619" fmla="*/ 1595664 h 1864765"/>
                  <a:gd name="connsiteX5620" fmla="*/ 2400695 w 9847941"/>
                  <a:gd name="connsiteY5620" fmla="*/ 1592937 h 1864765"/>
                  <a:gd name="connsiteX5621" fmla="*/ 2400998 w 9847941"/>
                  <a:gd name="connsiteY5621" fmla="*/ 1591119 h 1864765"/>
                  <a:gd name="connsiteX5622" fmla="*/ 2402210 w 9847941"/>
                  <a:gd name="connsiteY5622" fmla="*/ 1589300 h 1864765"/>
                  <a:gd name="connsiteX5623" fmla="*/ 2401150 w 9847941"/>
                  <a:gd name="connsiteY5623" fmla="*/ 1587179 h 1864765"/>
                  <a:gd name="connsiteX5624" fmla="*/ 2391907 w 9847941"/>
                  <a:gd name="connsiteY5624" fmla="*/ 1572633 h 1864765"/>
                  <a:gd name="connsiteX5625" fmla="*/ 2386301 w 9847941"/>
                  <a:gd name="connsiteY5625" fmla="*/ 1560512 h 1864765"/>
                  <a:gd name="connsiteX5626" fmla="*/ 2382361 w 9847941"/>
                  <a:gd name="connsiteY5626" fmla="*/ 1550511 h 1864765"/>
                  <a:gd name="connsiteX5627" fmla="*/ 2379937 w 9847941"/>
                  <a:gd name="connsiteY5627" fmla="*/ 1540208 h 1864765"/>
                  <a:gd name="connsiteX5628" fmla="*/ 2378573 w 9847941"/>
                  <a:gd name="connsiteY5628" fmla="*/ 1536420 h 1864765"/>
                  <a:gd name="connsiteX5629" fmla="*/ 2376603 w 9847941"/>
                  <a:gd name="connsiteY5629" fmla="*/ 1525359 h 1864765"/>
                  <a:gd name="connsiteX5630" fmla="*/ 2375391 w 9847941"/>
                  <a:gd name="connsiteY5630" fmla="*/ 1522631 h 1864765"/>
                  <a:gd name="connsiteX5631" fmla="*/ 2375088 w 9847941"/>
                  <a:gd name="connsiteY5631" fmla="*/ 1520510 h 1864765"/>
                  <a:gd name="connsiteX5632" fmla="*/ 2374937 w 9847941"/>
                  <a:gd name="connsiteY5632" fmla="*/ 1518389 h 1864765"/>
                  <a:gd name="connsiteX5633" fmla="*/ 2375543 w 9847941"/>
                  <a:gd name="connsiteY5633" fmla="*/ 1517177 h 1864765"/>
                  <a:gd name="connsiteX5634" fmla="*/ 2376300 w 9847941"/>
                  <a:gd name="connsiteY5634" fmla="*/ 1514298 h 1864765"/>
                  <a:gd name="connsiteX5635" fmla="*/ 2376755 w 9847941"/>
                  <a:gd name="connsiteY5635" fmla="*/ 1511873 h 1864765"/>
                  <a:gd name="connsiteX5636" fmla="*/ 2376603 w 9847941"/>
                  <a:gd name="connsiteY5636" fmla="*/ 1510661 h 1864765"/>
                  <a:gd name="connsiteX5637" fmla="*/ 2377058 w 9847941"/>
                  <a:gd name="connsiteY5637" fmla="*/ 1508540 h 1864765"/>
                  <a:gd name="connsiteX5638" fmla="*/ 2377816 w 9847941"/>
                  <a:gd name="connsiteY5638" fmla="*/ 1509146 h 1864765"/>
                  <a:gd name="connsiteX5639" fmla="*/ 2379179 w 9847941"/>
                  <a:gd name="connsiteY5639" fmla="*/ 1509449 h 1864765"/>
                  <a:gd name="connsiteX5640" fmla="*/ 2381300 w 9847941"/>
                  <a:gd name="connsiteY5640" fmla="*/ 1506722 h 1864765"/>
                  <a:gd name="connsiteX5641" fmla="*/ 2380240 w 9847941"/>
                  <a:gd name="connsiteY5641" fmla="*/ 1505207 h 1864765"/>
                  <a:gd name="connsiteX5642" fmla="*/ 2378876 w 9847941"/>
                  <a:gd name="connsiteY5642" fmla="*/ 1504600 h 1864765"/>
                  <a:gd name="connsiteX5643" fmla="*/ 2378725 w 9847941"/>
                  <a:gd name="connsiteY5643" fmla="*/ 1503994 h 1864765"/>
                  <a:gd name="connsiteX5644" fmla="*/ 2381149 w 9847941"/>
                  <a:gd name="connsiteY5644" fmla="*/ 1503388 h 1864765"/>
                  <a:gd name="connsiteX5645" fmla="*/ 2382210 w 9847941"/>
                  <a:gd name="connsiteY5645" fmla="*/ 1501419 h 1864765"/>
                  <a:gd name="connsiteX5646" fmla="*/ 2383270 w 9847941"/>
                  <a:gd name="connsiteY5646" fmla="*/ 1500358 h 1864765"/>
                  <a:gd name="connsiteX5647" fmla="*/ 2384483 w 9847941"/>
                  <a:gd name="connsiteY5647" fmla="*/ 1498540 h 1864765"/>
                  <a:gd name="connsiteX5648" fmla="*/ 2383876 w 9847941"/>
                  <a:gd name="connsiteY5648" fmla="*/ 1498237 h 1864765"/>
                  <a:gd name="connsiteX5649" fmla="*/ 2383119 w 9847941"/>
                  <a:gd name="connsiteY5649" fmla="*/ 1498540 h 1864765"/>
                  <a:gd name="connsiteX5650" fmla="*/ 2382058 w 9847941"/>
                  <a:gd name="connsiteY5650" fmla="*/ 1498237 h 1864765"/>
                  <a:gd name="connsiteX5651" fmla="*/ 2382513 w 9847941"/>
                  <a:gd name="connsiteY5651" fmla="*/ 1497176 h 1864765"/>
                  <a:gd name="connsiteX5652" fmla="*/ 2384483 w 9847941"/>
                  <a:gd name="connsiteY5652" fmla="*/ 1496115 h 1864765"/>
                  <a:gd name="connsiteX5653" fmla="*/ 2384634 w 9847941"/>
                  <a:gd name="connsiteY5653" fmla="*/ 1495054 h 1864765"/>
                  <a:gd name="connsiteX5654" fmla="*/ 2384028 w 9847941"/>
                  <a:gd name="connsiteY5654" fmla="*/ 1494449 h 1864765"/>
                  <a:gd name="connsiteX5655" fmla="*/ 2383725 w 9847941"/>
                  <a:gd name="connsiteY5655" fmla="*/ 1493388 h 1864765"/>
                  <a:gd name="connsiteX5656" fmla="*/ 2384634 w 9847941"/>
                  <a:gd name="connsiteY5656" fmla="*/ 1492176 h 1864765"/>
                  <a:gd name="connsiteX5657" fmla="*/ 2386452 w 9847941"/>
                  <a:gd name="connsiteY5657" fmla="*/ 1491873 h 1864765"/>
                  <a:gd name="connsiteX5658" fmla="*/ 2387361 w 9847941"/>
                  <a:gd name="connsiteY5658" fmla="*/ 1490812 h 1864765"/>
                  <a:gd name="connsiteX5659" fmla="*/ 2387361 w 9847941"/>
                  <a:gd name="connsiteY5659" fmla="*/ 1490055 h 1864765"/>
                  <a:gd name="connsiteX5660" fmla="*/ 2386452 w 9847941"/>
                  <a:gd name="connsiteY5660" fmla="*/ 1489297 h 1864765"/>
                  <a:gd name="connsiteX5661" fmla="*/ 2385998 w 9847941"/>
                  <a:gd name="connsiteY5661" fmla="*/ 1488085 h 1864765"/>
                  <a:gd name="connsiteX5662" fmla="*/ 2386755 w 9847941"/>
                  <a:gd name="connsiteY5662" fmla="*/ 1487630 h 1864765"/>
                  <a:gd name="connsiteX5663" fmla="*/ 2387816 w 9847941"/>
                  <a:gd name="connsiteY5663" fmla="*/ 1487630 h 1864765"/>
                  <a:gd name="connsiteX5664" fmla="*/ 2391149 w 9847941"/>
                  <a:gd name="connsiteY5664" fmla="*/ 1485963 h 1864765"/>
                  <a:gd name="connsiteX5665" fmla="*/ 2392513 w 9847941"/>
                  <a:gd name="connsiteY5665" fmla="*/ 1483388 h 1864765"/>
                  <a:gd name="connsiteX5666" fmla="*/ 2392210 w 9847941"/>
                  <a:gd name="connsiteY5666" fmla="*/ 1482175 h 1864765"/>
                  <a:gd name="connsiteX5667" fmla="*/ 2393119 w 9847941"/>
                  <a:gd name="connsiteY5667" fmla="*/ 1480812 h 1864765"/>
                  <a:gd name="connsiteX5668" fmla="*/ 2394786 w 9847941"/>
                  <a:gd name="connsiteY5668" fmla="*/ 1480509 h 1864765"/>
                  <a:gd name="connsiteX5669" fmla="*/ 2395695 w 9847941"/>
                  <a:gd name="connsiteY5669" fmla="*/ 1480054 h 1864765"/>
                  <a:gd name="connsiteX5670" fmla="*/ 2397513 w 9847941"/>
                  <a:gd name="connsiteY5670" fmla="*/ 1477781 h 1864765"/>
                  <a:gd name="connsiteX5671" fmla="*/ 2397362 w 9847941"/>
                  <a:gd name="connsiteY5671" fmla="*/ 1476872 h 1864765"/>
                  <a:gd name="connsiteX5672" fmla="*/ 2396453 w 9847941"/>
                  <a:gd name="connsiteY5672" fmla="*/ 1476266 h 1864765"/>
                  <a:gd name="connsiteX5673" fmla="*/ 2395543 w 9847941"/>
                  <a:gd name="connsiteY5673" fmla="*/ 1475205 h 1864765"/>
                  <a:gd name="connsiteX5674" fmla="*/ 2394634 w 9847941"/>
                  <a:gd name="connsiteY5674" fmla="*/ 1473236 h 1864765"/>
                  <a:gd name="connsiteX5675" fmla="*/ 2394483 w 9847941"/>
                  <a:gd name="connsiteY5675" fmla="*/ 1470660 h 1864765"/>
                  <a:gd name="connsiteX5676" fmla="*/ 2397059 w 9847941"/>
                  <a:gd name="connsiteY5676" fmla="*/ 1473993 h 1864765"/>
                  <a:gd name="connsiteX5677" fmla="*/ 2397816 w 9847941"/>
                  <a:gd name="connsiteY5677" fmla="*/ 1473690 h 1864765"/>
                  <a:gd name="connsiteX5678" fmla="*/ 2397968 w 9847941"/>
                  <a:gd name="connsiteY5678" fmla="*/ 1472781 h 1864765"/>
                  <a:gd name="connsiteX5679" fmla="*/ 2398877 w 9847941"/>
                  <a:gd name="connsiteY5679" fmla="*/ 1472326 h 1864765"/>
                  <a:gd name="connsiteX5680" fmla="*/ 2399483 w 9847941"/>
                  <a:gd name="connsiteY5680" fmla="*/ 1474448 h 1864765"/>
                  <a:gd name="connsiteX5681" fmla="*/ 2399938 w 9847941"/>
                  <a:gd name="connsiteY5681" fmla="*/ 1475508 h 1864765"/>
                  <a:gd name="connsiteX5682" fmla="*/ 2400695 w 9847941"/>
                  <a:gd name="connsiteY5682" fmla="*/ 1475660 h 1864765"/>
                  <a:gd name="connsiteX5683" fmla="*/ 2402514 w 9847941"/>
                  <a:gd name="connsiteY5683" fmla="*/ 1474599 h 1864765"/>
                  <a:gd name="connsiteX5684" fmla="*/ 2403271 w 9847941"/>
                  <a:gd name="connsiteY5684" fmla="*/ 1473842 h 1864765"/>
                  <a:gd name="connsiteX5685" fmla="*/ 2403574 w 9847941"/>
                  <a:gd name="connsiteY5685" fmla="*/ 1471720 h 1864765"/>
                  <a:gd name="connsiteX5686" fmla="*/ 2402059 w 9847941"/>
                  <a:gd name="connsiteY5686" fmla="*/ 1470054 h 1864765"/>
                  <a:gd name="connsiteX5687" fmla="*/ 2399180 w 9847941"/>
                  <a:gd name="connsiteY5687" fmla="*/ 1468993 h 1864765"/>
                  <a:gd name="connsiteX5688" fmla="*/ 2400847 w 9847941"/>
                  <a:gd name="connsiteY5688" fmla="*/ 1468387 h 1864765"/>
                  <a:gd name="connsiteX5689" fmla="*/ 2403877 w 9847941"/>
                  <a:gd name="connsiteY5689" fmla="*/ 1468690 h 1864765"/>
                  <a:gd name="connsiteX5690" fmla="*/ 2406604 w 9847941"/>
                  <a:gd name="connsiteY5690" fmla="*/ 1469296 h 1864765"/>
                  <a:gd name="connsiteX5691" fmla="*/ 2409180 w 9847941"/>
                  <a:gd name="connsiteY5691" fmla="*/ 1468236 h 1864765"/>
                  <a:gd name="connsiteX5692" fmla="*/ 2410241 w 9847941"/>
                  <a:gd name="connsiteY5692" fmla="*/ 1467023 h 1864765"/>
                  <a:gd name="connsiteX5693" fmla="*/ 2411605 w 9847941"/>
                  <a:gd name="connsiteY5693" fmla="*/ 1466569 h 1864765"/>
                  <a:gd name="connsiteX5694" fmla="*/ 2413120 w 9847941"/>
                  <a:gd name="connsiteY5694" fmla="*/ 1466720 h 1864765"/>
                  <a:gd name="connsiteX5695" fmla="*/ 2415847 w 9847941"/>
                  <a:gd name="connsiteY5695" fmla="*/ 1465811 h 1864765"/>
                  <a:gd name="connsiteX5696" fmla="*/ 2418120 w 9847941"/>
                  <a:gd name="connsiteY5696" fmla="*/ 1464447 h 1864765"/>
                  <a:gd name="connsiteX5697" fmla="*/ 2419332 w 9847941"/>
                  <a:gd name="connsiteY5697" fmla="*/ 1462629 h 1864765"/>
                  <a:gd name="connsiteX5698" fmla="*/ 2418272 w 9847941"/>
                  <a:gd name="connsiteY5698" fmla="*/ 1460205 h 1864765"/>
                  <a:gd name="connsiteX5699" fmla="*/ 2421756 w 9847941"/>
                  <a:gd name="connsiteY5699" fmla="*/ 1460962 h 1864765"/>
                  <a:gd name="connsiteX5700" fmla="*/ 2423726 w 9847941"/>
                  <a:gd name="connsiteY5700" fmla="*/ 1459902 h 1864765"/>
                  <a:gd name="connsiteX5701" fmla="*/ 2427060 w 9847941"/>
                  <a:gd name="connsiteY5701" fmla="*/ 1457326 h 1864765"/>
                  <a:gd name="connsiteX5702" fmla="*/ 2427817 w 9847941"/>
                  <a:gd name="connsiteY5702" fmla="*/ 1454599 h 1864765"/>
                  <a:gd name="connsiteX5703" fmla="*/ 2430242 w 9847941"/>
                  <a:gd name="connsiteY5703" fmla="*/ 1453841 h 1864765"/>
                  <a:gd name="connsiteX5704" fmla="*/ 2432363 w 9847941"/>
                  <a:gd name="connsiteY5704" fmla="*/ 1453386 h 1864765"/>
                  <a:gd name="connsiteX5705" fmla="*/ 2436303 w 9847941"/>
                  <a:gd name="connsiteY5705" fmla="*/ 1450508 h 1864765"/>
                  <a:gd name="connsiteX5706" fmla="*/ 2437515 w 9847941"/>
                  <a:gd name="connsiteY5706" fmla="*/ 1448992 h 1864765"/>
                  <a:gd name="connsiteX5707" fmla="*/ 2436151 w 9847941"/>
                  <a:gd name="connsiteY5707" fmla="*/ 1445053 h 1864765"/>
                  <a:gd name="connsiteX5708" fmla="*/ 2437666 w 9847941"/>
                  <a:gd name="connsiteY5708" fmla="*/ 1442325 h 1864765"/>
                  <a:gd name="connsiteX5709" fmla="*/ 2437666 w 9847941"/>
                  <a:gd name="connsiteY5709" fmla="*/ 1443538 h 1864765"/>
                  <a:gd name="connsiteX5710" fmla="*/ 2437363 w 9847941"/>
                  <a:gd name="connsiteY5710" fmla="*/ 1445053 h 1864765"/>
                  <a:gd name="connsiteX5711" fmla="*/ 2438575 w 9847941"/>
                  <a:gd name="connsiteY5711" fmla="*/ 1447174 h 1864765"/>
                  <a:gd name="connsiteX5712" fmla="*/ 2440091 w 9847941"/>
                  <a:gd name="connsiteY5712" fmla="*/ 1442174 h 1864765"/>
                  <a:gd name="connsiteX5713" fmla="*/ 2446000 w 9847941"/>
                  <a:gd name="connsiteY5713" fmla="*/ 1434446 h 1864765"/>
                  <a:gd name="connsiteX5714" fmla="*/ 2448121 w 9847941"/>
                  <a:gd name="connsiteY5714" fmla="*/ 1432477 h 1864765"/>
                  <a:gd name="connsiteX5715" fmla="*/ 2455394 w 9847941"/>
                  <a:gd name="connsiteY5715" fmla="*/ 1427931 h 1864765"/>
                  <a:gd name="connsiteX5716" fmla="*/ 2460091 w 9847941"/>
                  <a:gd name="connsiteY5716" fmla="*/ 1426567 h 1864765"/>
                  <a:gd name="connsiteX5717" fmla="*/ 2470849 w 9847941"/>
                  <a:gd name="connsiteY5717" fmla="*/ 1426719 h 1864765"/>
                  <a:gd name="connsiteX5718" fmla="*/ 2472061 w 9847941"/>
                  <a:gd name="connsiteY5718" fmla="*/ 1424294 h 1864765"/>
                  <a:gd name="connsiteX5719" fmla="*/ 2472516 w 9847941"/>
                  <a:gd name="connsiteY5719" fmla="*/ 1418840 h 1864765"/>
                  <a:gd name="connsiteX5720" fmla="*/ 2473274 w 9847941"/>
                  <a:gd name="connsiteY5720" fmla="*/ 1421719 h 1864765"/>
                  <a:gd name="connsiteX5721" fmla="*/ 2473122 w 9847941"/>
                  <a:gd name="connsiteY5721" fmla="*/ 1424294 h 1864765"/>
                  <a:gd name="connsiteX5722" fmla="*/ 2473274 w 9847941"/>
                  <a:gd name="connsiteY5722" fmla="*/ 1425810 h 1864765"/>
                  <a:gd name="connsiteX5723" fmla="*/ 2474334 w 9847941"/>
                  <a:gd name="connsiteY5723" fmla="*/ 1422476 h 1864765"/>
                  <a:gd name="connsiteX5724" fmla="*/ 2475092 w 9847941"/>
                  <a:gd name="connsiteY5724" fmla="*/ 1419446 h 1864765"/>
                  <a:gd name="connsiteX5725" fmla="*/ 2478122 w 9847941"/>
                  <a:gd name="connsiteY5725" fmla="*/ 1415203 h 1864765"/>
                  <a:gd name="connsiteX5726" fmla="*/ 2479638 w 9847941"/>
                  <a:gd name="connsiteY5726" fmla="*/ 1413688 h 1864765"/>
                  <a:gd name="connsiteX5727" fmla="*/ 2481001 w 9847941"/>
                  <a:gd name="connsiteY5727" fmla="*/ 1412930 h 1864765"/>
                  <a:gd name="connsiteX5728" fmla="*/ 2484638 w 9847941"/>
                  <a:gd name="connsiteY5728" fmla="*/ 1410051 h 1864765"/>
                  <a:gd name="connsiteX5729" fmla="*/ 2488426 w 9847941"/>
                  <a:gd name="connsiteY5729" fmla="*/ 1407779 h 1864765"/>
                  <a:gd name="connsiteX5730" fmla="*/ 2487820 w 9847941"/>
                  <a:gd name="connsiteY5730" fmla="*/ 1406870 h 1864765"/>
                  <a:gd name="connsiteX5731" fmla="*/ 2487517 w 9847941"/>
                  <a:gd name="connsiteY5731" fmla="*/ 1405657 h 1864765"/>
                  <a:gd name="connsiteX5732" fmla="*/ 2487517 w 9847941"/>
                  <a:gd name="connsiteY5732" fmla="*/ 1401415 h 1864765"/>
                  <a:gd name="connsiteX5733" fmla="*/ 2488274 w 9847941"/>
                  <a:gd name="connsiteY5733" fmla="*/ 1402475 h 1864765"/>
                  <a:gd name="connsiteX5734" fmla="*/ 2489032 w 9847941"/>
                  <a:gd name="connsiteY5734" fmla="*/ 1404748 h 1864765"/>
                  <a:gd name="connsiteX5735" fmla="*/ 2490698 w 9847941"/>
                  <a:gd name="connsiteY5735" fmla="*/ 1405354 h 1864765"/>
                  <a:gd name="connsiteX5736" fmla="*/ 2491911 w 9847941"/>
                  <a:gd name="connsiteY5736" fmla="*/ 1404900 h 1864765"/>
                  <a:gd name="connsiteX5737" fmla="*/ 2495093 w 9847941"/>
                  <a:gd name="connsiteY5737" fmla="*/ 1402021 h 1864765"/>
                  <a:gd name="connsiteX5738" fmla="*/ 2497365 w 9847941"/>
                  <a:gd name="connsiteY5738" fmla="*/ 1402324 h 1864765"/>
                  <a:gd name="connsiteX5739" fmla="*/ 2501608 w 9847941"/>
                  <a:gd name="connsiteY5739" fmla="*/ 1402172 h 1864765"/>
                  <a:gd name="connsiteX5740" fmla="*/ 2504335 w 9847941"/>
                  <a:gd name="connsiteY5740" fmla="*/ 1402021 h 1864765"/>
                  <a:gd name="connsiteX5741" fmla="*/ 2506002 w 9847941"/>
                  <a:gd name="connsiteY5741" fmla="*/ 1401869 h 1864765"/>
                  <a:gd name="connsiteX5742" fmla="*/ 2506760 w 9847941"/>
                  <a:gd name="connsiteY5742" fmla="*/ 1400506 h 1864765"/>
                  <a:gd name="connsiteX5743" fmla="*/ 2509184 w 9847941"/>
                  <a:gd name="connsiteY5743" fmla="*/ 1399900 h 1864765"/>
                  <a:gd name="connsiteX5744" fmla="*/ 2511912 w 9847941"/>
                  <a:gd name="connsiteY5744" fmla="*/ 1399748 h 1864765"/>
                  <a:gd name="connsiteX5745" fmla="*/ 2514033 w 9847941"/>
                  <a:gd name="connsiteY5745" fmla="*/ 1397778 h 1864765"/>
                  <a:gd name="connsiteX5746" fmla="*/ 2516154 w 9847941"/>
                  <a:gd name="connsiteY5746" fmla="*/ 1394899 h 1864765"/>
                  <a:gd name="connsiteX5747" fmla="*/ 2513578 w 9847941"/>
                  <a:gd name="connsiteY5747" fmla="*/ 1393233 h 1864765"/>
                  <a:gd name="connsiteX5748" fmla="*/ 2505699 w 9847941"/>
                  <a:gd name="connsiteY5748" fmla="*/ 1394748 h 1864765"/>
                  <a:gd name="connsiteX5749" fmla="*/ 2501457 w 9847941"/>
                  <a:gd name="connsiteY5749" fmla="*/ 1393839 h 1864765"/>
                  <a:gd name="connsiteX5750" fmla="*/ 2499335 w 9847941"/>
                  <a:gd name="connsiteY5750" fmla="*/ 1392172 h 1864765"/>
                  <a:gd name="connsiteX5751" fmla="*/ 2496759 w 9847941"/>
                  <a:gd name="connsiteY5751" fmla="*/ 1388233 h 1864765"/>
                  <a:gd name="connsiteX5752" fmla="*/ 2502517 w 9847941"/>
                  <a:gd name="connsiteY5752" fmla="*/ 1392930 h 1864765"/>
                  <a:gd name="connsiteX5753" fmla="*/ 2504790 w 9847941"/>
                  <a:gd name="connsiteY5753" fmla="*/ 1393384 h 1864765"/>
                  <a:gd name="connsiteX5754" fmla="*/ 2508881 w 9847941"/>
                  <a:gd name="connsiteY5754" fmla="*/ 1390808 h 1864765"/>
                  <a:gd name="connsiteX5755" fmla="*/ 2509335 w 9847941"/>
                  <a:gd name="connsiteY5755" fmla="*/ 1389899 h 1864765"/>
                  <a:gd name="connsiteX5756" fmla="*/ 2509487 w 9847941"/>
                  <a:gd name="connsiteY5756" fmla="*/ 1388384 h 1864765"/>
                  <a:gd name="connsiteX5757" fmla="*/ 2510699 w 9847941"/>
                  <a:gd name="connsiteY5757" fmla="*/ 1386414 h 1864765"/>
                  <a:gd name="connsiteX5758" fmla="*/ 2512214 w 9847941"/>
                  <a:gd name="connsiteY5758" fmla="*/ 1384747 h 1864765"/>
                  <a:gd name="connsiteX5759" fmla="*/ 2511154 w 9847941"/>
                  <a:gd name="connsiteY5759" fmla="*/ 1383687 h 1864765"/>
                  <a:gd name="connsiteX5760" fmla="*/ 2509942 w 9847941"/>
                  <a:gd name="connsiteY5760" fmla="*/ 1382929 h 1864765"/>
                  <a:gd name="connsiteX5761" fmla="*/ 2499638 w 9847941"/>
                  <a:gd name="connsiteY5761" fmla="*/ 1378990 h 1864765"/>
                  <a:gd name="connsiteX5762" fmla="*/ 2497820 w 9847941"/>
                  <a:gd name="connsiteY5762" fmla="*/ 1376869 h 1864765"/>
                  <a:gd name="connsiteX5763" fmla="*/ 2502063 w 9847941"/>
                  <a:gd name="connsiteY5763" fmla="*/ 1378838 h 1864765"/>
                  <a:gd name="connsiteX5764" fmla="*/ 2506002 w 9847941"/>
                  <a:gd name="connsiteY5764" fmla="*/ 1379747 h 1864765"/>
                  <a:gd name="connsiteX5765" fmla="*/ 2508881 w 9847941"/>
                  <a:gd name="connsiteY5765" fmla="*/ 1379141 h 1864765"/>
                  <a:gd name="connsiteX5766" fmla="*/ 2509487 w 9847941"/>
                  <a:gd name="connsiteY5766" fmla="*/ 1376717 h 1864765"/>
                  <a:gd name="connsiteX5767" fmla="*/ 2510396 w 9847941"/>
                  <a:gd name="connsiteY5767" fmla="*/ 1376565 h 1864765"/>
                  <a:gd name="connsiteX5768" fmla="*/ 2511608 w 9847941"/>
                  <a:gd name="connsiteY5768" fmla="*/ 1377323 h 1864765"/>
                  <a:gd name="connsiteX5769" fmla="*/ 2512063 w 9847941"/>
                  <a:gd name="connsiteY5769" fmla="*/ 1379596 h 1864765"/>
                  <a:gd name="connsiteX5770" fmla="*/ 2512821 w 9847941"/>
                  <a:gd name="connsiteY5770" fmla="*/ 1380808 h 1864765"/>
                  <a:gd name="connsiteX5771" fmla="*/ 2514033 w 9847941"/>
                  <a:gd name="connsiteY5771" fmla="*/ 1380505 h 1864765"/>
                  <a:gd name="connsiteX5772" fmla="*/ 2515548 w 9847941"/>
                  <a:gd name="connsiteY5772" fmla="*/ 1380657 h 1864765"/>
                  <a:gd name="connsiteX5773" fmla="*/ 2518730 w 9847941"/>
                  <a:gd name="connsiteY5773" fmla="*/ 1381717 h 1864765"/>
                  <a:gd name="connsiteX5774" fmla="*/ 2521457 w 9847941"/>
                  <a:gd name="connsiteY5774" fmla="*/ 1382172 h 1864765"/>
                  <a:gd name="connsiteX5775" fmla="*/ 2523427 w 9847941"/>
                  <a:gd name="connsiteY5775" fmla="*/ 1381414 h 1864765"/>
                  <a:gd name="connsiteX5776" fmla="*/ 2527215 w 9847941"/>
                  <a:gd name="connsiteY5776" fmla="*/ 1377475 h 1864765"/>
                  <a:gd name="connsiteX5777" fmla="*/ 2532518 w 9847941"/>
                  <a:gd name="connsiteY5777" fmla="*/ 1373232 h 1864765"/>
                  <a:gd name="connsiteX5778" fmla="*/ 2533276 w 9847941"/>
                  <a:gd name="connsiteY5778" fmla="*/ 1369595 h 1864765"/>
                  <a:gd name="connsiteX5779" fmla="*/ 2532821 w 9847941"/>
                  <a:gd name="connsiteY5779" fmla="*/ 1367171 h 1864765"/>
                  <a:gd name="connsiteX5780" fmla="*/ 2532518 w 9847941"/>
                  <a:gd name="connsiteY5780" fmla="*/ 1365353 h 1864765"/>
                  <a:gd name="connsiteX5781" fmla="*/ 2531458 w 9847941"/>
                  <a:gd name="connsiteY5781" fmla="*/ 1363686 h 1864765"/>
                  <a:gd name="connsiteX5782" fmla="*/ 2530245 w 9847941"/>
                  <a:gd name="connsiteY5782" fmla="*/ 1363535 h 1864765"/>
                  <a:gd name="connsiteX5783" fmla="*/ 2526761 w 9847941"/>
                  <a:gd name="connsiteY5783" fmla="*/ 1365505 h 1864765"/>
                  <a:gd name="connsiteX5784" fmla="*/ 2526154 w 9847941"/>
                  <a:gd name="connsiteY5784" fmla="*/ 1370959 h 1864765"/>
                  <a:gd name="connsiteX5785" fmla="*/ 2524942 w 9847941"/>
                  <a:gd name="connsiteY5785" fmla="*/ 1371868 h 1864765"/>
                  <a:gd name="connsiteX5786" fmla="*/ 2523882 w 9847941"/>
                  <a:gd name="connsiteY5786" fmla="*/ 1371868 h 1864765"/>
                  <a:gd name="connsiteX5787" fmla="*/ 2524033 w 9847941"/>
                  <a:gd name="connsiteY5787" fmla="*/ 1368838 h 1864765"/>
                  <a:gd name="connsiteX5788" fmla="*/ 2524488 w 9847941"/>
                  <a:gd name="connsiteY5788" fmla="*/ 1365959 h 1864765"/>
                  <a:gd name="connsiteX5789" fmla="*/ 2524185 w 9847941"/>
                  <a:gd name="connsiteY5789" fmla="*/ 1363080 h 1864765"/>
                  <a:gd name="connsiteX5790" fmla="*/ 2520397 w 9847941"/>
                  <a:gd name="connsiteY5790" fmla="*/ 1362474 h 1864765"/>
                  <a:gd name="connsiteX5791" fmla="*/ 2518881 w 9847941"/>
                  <a:gd name="connsiteY5791" fmla="*/ 1363232 h 1864765"/>
                  <a:gd name="connsiteX5792" fmla="*/ 2516306 w 9847941"/>
                  <a:gd name="connsiteY5792" fmla="*/ 1363686 h 1864765"/>
                  <a:gd name="connsiteX5793" fmla="*/ 2512366 w 9847941"/>
                  <a:gd name="connsiteY5793" fmla="*/ 1363535 h 1864765"/>
                  <a:gd name="connsiteX5794" fmla="*/ 2509487 w 9847941"/>
                  <a:gd name="connsiteY5794" fmla="*/ 1363989 h 1864765"/>
                  <a:gd name="connsiteX5795" fmla="*/ 2506305 w 9847941"/>
                  <a:gd name="connsiteY5795" fmla="*/ 1363535 h 1864765"/>
                  <a:gd name="connsiteX5796" fmla="*/ 2506457 w 9847941"/>
                  <a:gd name="connsiteY5796" fmla="*/ 1361110 h 1864765"/>
                  <a:gd name="connsiteX5797" fmla="*/ 2505851 w 9847941"/>
                  <a:gd name="connsiteY5797" fmla="*/ 1357928 h 1864765"/>
                  <a:gd name="connsiteX5798" fmla="*/ 2506002 w 9847941"/>
                  <a:gd name="connsiteY5798" fmla="*/ 1354898 h 1864765"/>
                  <a:gd name="connsiteX5799" fmla="*/ 2506457 w 9847941"/>
                  <a:gd name="connsiteY5799" fmla="*/ 1357474 h 1864765"/>
                  <a:gd name="connsiteX5800" fmla="*/ 2507517 w 9847941"/>
                  <a:gd name="connsiteY5800" fmla="*/ 1359747 h 1864765"/>
                  <a:gd name="connsiteX5801" fmla="*/ 2510851 w 9847941"/>
                  <a:gd name="connsiteY5801" fmla="*/ 1361565 h 1864765"/>
                  <a:gd name="connsiteX5802" fmla="*/ 2513123 w 9847941"/>
                  <a:gd name="connsiteY5802" fmla="*/ 1361110 h 1864765"/>
                  <a:gd name="connsiteX5803" fmla="*/ 2514639 w 9847941"/>
                  <a:gd name="connsiteY5803" fmla="*/ 1359898 h 1864765"/>
                  <a:gd name="connsiteX5804" fmla="*/ 2515700 w 9847941"/>
                  <a:gd name="connsiteY5804" fmla="*/ 1357928 h 1864765"/>
                  <a:gd name="connsiteX5805" fmla="*/ 2517366 w 9847941"/>
                  <a:gd name="connsiteY5805" fmla="*/ 1357777 h 1864765"/>
                  <a:gd name="connsiteX5806" fmla="*/ 2519942 w 9847941"/>
                  <a:gd name="connsiteY5806" fmla="*/ 1358534 h 1864765"/>
                  <a:gd name="connsiteX5807" fmla="*/ 2518730 w 9847941"/>
                  <a:gd name="connsiteY5807" fmla="*/ 1356262 h 1864765"/>
                  <a:gd name="connsiteX5808" fmla="*/ 2520094 w 9847941"/>
                  <a:gd name="connsiteY5808" fmla="*/ 1357019 h 1864765"/>
                  <a:gd name="connsiteX5809" fmla="*/ 2522063 w 9847941"/>
                  <a:gd name="connsiteY5809" fmla="*/ 1357625 h 1864765"/>
                  <a:gd name="connsiteX5810" fmla="*/ 2522366 w 9847941"/>
                  <a:gd name="connsiteY5810" fmla="*/ 1355504 h 1864765"/>
                  <a:gd name="connsiteX5811" fmla="*/ 2522215 w 9847941"/>
                  <a:gd name="connsiteY5811" fmla="*/ 1353534 h 1864765"/>
                  <a:gd name="connsiteX5812" fmla="*/ 2524791 w 9847941"/>
                  <a:gd name="connsiteY5812" fmla="*/ 1354898 h 1864765"/>
                  <a:gd name="connsiteX5813" fmla="*/ 2527670 w 9847941"/>
                  <a:gd name="connsiteY5813" fmla="*/ 1355656 h 1864765"/>
                  <a:gd name="connsiteX5814" fmla="*/ 2529488 w 9847941"/>
                  <a:gd name="connsiteY5814" fmla="*/ 1356716 h 1864765"/>
                  <a:gd name="connsiteX5815" fmla="*/ 2531155 w 9847941"/>
                  <a:gd name="connsiteY5815" fmla="*/ 1358686 h 1864765"/>
                  <a:gd name="connsiteX5816" fmla="*/ 2529942 w 9847941"/>
                  <a:gd name="connsiteY5816" fmla="*/ 1353837 h 1864765"/>
                  <a:gd name="connsiteX5817" fmla="*/ 2528276 w 9847941"/>
                  <a:gd name="connsiteY5817" fmla="*/ 1350201 h 1864765"/>
                  <a:gd name="connsiteX5818" fmla="*/ 2526761 w 9847941"/>
                  <a:gd name="connsiteY5818" fmla="*/ 1348686 h 1864765"/>
                  <a:gd name="connsiteX5819" fmla="*/ 2526306 w 9847941"/>
                  <a:gd name="connsiteY5819" fmla="*/ 1347322 h 1864765"/>
                  <a:gd name="connsiteX5820" fmla="*/ 2527215 w 9847941"/>
                  <a:gd name="connsiteY5820" fmla="*/ 1344291 h 1864765"/>
                  <a:gd name="connsiteX5821" fmla="*/ 2526912 w 9847941"/>
                  <a:gd name="connsiteY5821" fmla="*/ 1343382 h 1864765"/>
                  <a:gd name="connsiteX5822" fmla="*/ 2527064 w 9847941"/>
                  <a:gd name="connsiteY5822" fmla="*/ 1342170 h 1864765"/>
                  <a:gd name="connsiteX5823" fmla="*/ 2527518 w 9847941"/>
                  <a:gd name="connsiteY5823" fmla="*/ 1341564 h 1864765"/>
                  <a:gd name="connsiteX5824" fmla="*/ 2528276 w 9847941"/>
                  <a:gd name="connsiteY5824" fmla="*/ 1342322 h 1864765"/>
                  <a:gd name="connsiteX5825" fmla="*/ 2528882 w 9847941"/>
                  <a:gd name="connsiteY5825" fmla="*/ 1344443 h 1864765"/>
                  <a:gd name="connsiteX5826" fmla="*/ 2531155 w 9847941"/>
                  <a:gd name="connsiteY5826" fmla="*/ 1353686 h 1864765"/>
                  <a:gd name="connsiteX5827" fmla="*/ 2533427 w 9847941"/>
                  <a:gd name="connsiteY5827" fmla="*/ 1358838 h 1864765"/>
                  <a:gd name="connsiteX5828" fmla="*/ 2537518 w 9847941"/>
                  <a:gd name="connsiteY5828" fmla="*/ 1366110 h 1864765"/>
                  <a:gd name="connsiteX5829" fmla="*/ 2538731 w 9847941"/>
                  <a:gd name="connsiteY5829" fmla="*/ 1367777 h 1864765"/>
                  <a:gd name="connsiteX5830" fmla="*/ 2538125 w 9847941"/>
                  <a:gd name="connsiteY5830" fmla="*/ 1365959 h 1864765"/>
                  <a:gd name="connsiteX5831" fmla="*/ 2532670 w 9847941"/>
                  <a:gd name="connsiteY5831" fmla="*/ 1355050 h 1864765"/>
                  <a:gd name="connsiteX5832" fmla="*/ 2529033 w 9847941"/>
                  <a:gd name="connsiteY5832" fmla="*/ 1341716 h 1864765"/>
                  <a:gd name="connsiteX5833" fmla="*/ 2527670 w 9847941"/>
                  <a:gd name="connsiteY5833" fmla="*/ 1338382 h 1864765"/>
                  <a:gd name="connsiteX5834" fmla="*/ 2527064 w 9847941"/>
                  <a:gd name="connsiteY5834" fmla="*/ 1335352 h 1864765"/>
                  <a:gd name="connsiteX5835" fmla="*/ 2526154 w 9847941"/>
                  <a:gd name="connsiteY5835" fmla="*/ 1333837 h 1864765"/>
                  <a:gd name="connsiteX5836" fmla="*/ 2522215 w 9847941"/>
                  <a:gd name="connsiteY5836" fmla="*/ 1333231 h 1864765"/>
                  <a:gd name="connsiteX5837" fmla="*/ 2519488 w 9847941"/>
                  <a:gd name="connsiteY5837" fmla="*/ 1332473 h 1864765"/>
                  <a:gd name="connsiteX5838" fmla="*/ 2515245 w 9847941"/>
                  <a:gd name="connsiteY5838" fmla="*/ 1334443 h 1864765"/>
                  <a:gd name="connsiteX5839" fmla="*/ 2512821 w 9847941"/>
                  <a:gd name="connsiteY5839" fmla="*/ 1334291 h 1864765"/>
                  <a:gd name="connsiteX5840" fmla="*/ 2512366 w 9847941"/>
                  <a:gd name="connsiteY5840" fmla="*/ 1332321 h 1864765"/>
                  <a:gd name="connsiteX5841" fmla="*/ 2508881 w 9847941"/>
                  <a:gd name="connsiteY5841" fmla="*/ 1329594 h 1864765"/>
                  <a:gd name="connsiteX5842" fmla="*/ 2507820 w 9847941"/>
                  <a:gd name="connsiteY5842" fmla="*/ 1325654 h 1864765"/>
                  <a:gd name="connsiteX5843" fmla="*/ 2505245 w 9847941"/>
                  <a:gd name="connsiteY5843" fmla="*/ 1325351 h 1864765"/>
                  <a:gd name="connsiteX5844" fmla="*/ 2500850 w 9847941"/>
                  <a:gd name="connsiteY5844" fmla="*/ 1324139 h 1864765"/>
                  <a:gd name="connsiteX5845" fmla="*/ 2498729 w 9847941"/>
                  <a:gd name="connsiteY5845" fmla="*/ 1322624 h 1864765"/>
                  <a:gd name="connsiteX5846" fmla="*/ 2493426 w 9847941"/>
                  <a:gd name="connsiteY5846" fmla="*/ 1321866 h 1864765"/>
                  <a:gd name="connsiteX5847" fmla="*/ 2492517 w 9847941"/>
                  <a:gd name="connsiteY5847" fmla="*/ 1321412 h 1864765"/>
                  <a:gd name="connsiteX5848" fmla="*/ 2491911 w 9847941"/>
                  <a:gd name="connsiteY5848" fmla="*/ 1320806 h 1864765"/>
                  <a:gd name="connsiteX5849" fmla="*/ 2498578 w 9847941"/>
                  <a:gd name="connsiteY5849" fmla="*/ 1321109 h 1864765"/>
                  <a:gd name="connsiteX5850" fmla="*/ 2506911 w 9847941"/>
                  <a:gd name="connsiteY5850" fmla="*/ 1324291 h 1864765"/>
                  <a:gd name="connsiteX5851" fmla="*/ 2508881 w 9847941"/>
                  <a:gd name="connsiteY5851" fmla="*/ 1324139 h 1864765"/>
                  <a:gd name="connsiteX5852" fmla="*/ 2509639 w 9847941"/>
                  <a:gd name="connsiteY5852" fmla="*/ 1326564 h 1864765"/>
                  <a:gd name="connsiteX5853" fmla="*/ 2512214 w 9847941"/>
                  <a:gd name="connsiteY5853" fmla="*/ 1328837 h 1864765"/>
                  <a:gd name="connsiteX5854" fmla="*/ 2513427 w 9847941"/>
                  <a:gd name="connsiteY5854" fmla="*/ 1330200 h 1864765"/>
                  <a:gd name="connsiteX5855" fmla="*/ 2515093 w 9847941"/>
                  <a:gd name="connsiteY5855" fmla="*/ 1331412 h 1864765"/>
                  <a:gd name="connsiteX5856" fmla="*/ 2516760 w 9847941"/>
                  <a:gd name="connsiteY5856" fmla="*/ 1330655 h 1864765"/>
                  <a:gd name="connsiteX5857" fmla="*/ 2518275 w 9847941"/>
                  <a:gd name="connsiteY5857" fmla="*/ 1329443 h 1864765"/>
                  <a:gd name="connsiteX5858" fmla="*/ 2517821 w 9847941"/>
                  <a:gd name="connsiteY5858" fmla="*/ 1327624 h 1864765"/>
                  <a:gd name="connsiteX5859" fmla="*/ 2517063 w 9847941"/>
                  <a:gd name="connsiteY5859" fmla="*/ 1326412 h 1864765"/>
                  <a:gd name="connsiteX5860" fmla="*/ 2515093 w 9847941"/>
                  <a:gd name="connsiteY5860" fmla="*/ 1324442 h 1864765"/>
                  <a:gd name="connsiteX5861" fmla="*/ 2512518 w 9847941"/>
                  <a:gd name="connsiteY5861" fmla="*/ 1323382 h 1864765"/>
                  <a:gd name="connsiteX5862" fmla="*/ 2509487 w 9847941"/>
                  <a:gd name="connsiteY5862" fmla="*/ 1320957 h 1864765"/>
                  <a:gd name="connsiteX5863" fmla="*/ 2506002 w 9847941"/>
                  <a:gd name="connsiteY5863" fmla="*/ 1317018 h 1864765"/>
                  <a:gd name="connsiteX5864" fmla="*/ 2505547 w 9847941"/>
                  <a:gd name="connsiteY5864" fmla="*/ 1316109 h 1864765"/>
                  <a:gd name="connsiteX5865" fmla="*/ 2505547 w 9847941"/>
                  <a:gd name="connsiteY5865" fmla="*/ 1315351 h 1864765"/>
                  <a:gd name="connsiteX5866" fmla="*/ 2511608 w 9847941"/>
                  <a:gd name="connsiteY5866" fmla="*/ 1321563 h 1864765"/>
                  <a:gd name="connsiteX5867" fmla="*/ 2513881 w 9847941"/>
                  <a:gd name="connsiteY5867" fmla="*/ 1322624 h 1864765"/>
                  <a:gd name="connsiteX5868" fmla="*/ 2515548 w 9847941"/>
                  <a:gd name="connsiteY5868" fmla="*/ 1321866 h 1864765"/>
                  <a:gd name="connsiteX5869" fmla="*/ 2515245 w 9847941"/>
                  <a:gd name="connsiteY5869" fmla="*/ 1320806 h 1864765"/>
                  <a:gd name="connsiteX5870" fmla="*/ 2515396 w 9847941"/>
                  <a:gd name="connsiteY5870" fmla="*/ 1319139 h 1864765"/>
                  <a:gd name="connsiteX5871" fmla="*/ 2519184 w 9847941"/>
                  <a:gd name="connsiteY5871" fmla="*/ 1320048 h 1864765"/>
                  <a:gd name="connsiteX5872" fmla="*/ 2519488 w 9847941"/>
                  <a:gd name="connsiteY5872" fmla="*/ 1317775 h 1864765"/>
                  <a:gd name="connsiteX5873" fmla="*/ 2519033 w 9847941"/>
                  <a:gd name="connsiteY5873" fmla="*/ 1315806 h 1864765"/>
                  <a:gd name="connsiteX5874" fmla="*/ 2516306 w 9847941"/>
                  <a:gd name="connsiteY5874" fmla="*/ 1314745 h 1864765"/>
                  <a:gd name="connsiteX5875" fmla="*/ 2517972 w 9847941"/>
                  <a:gd name="connsiteY5875" fmla="*/ 1313381 h 1864765"/>
                  <a:gd name="connsiteX5876" fmla="*/ 2513123 w 9847941"/>
                  <a:gd name="connsiteY5876" fmla="*/ 1311563 h 1864765"/>
                  <a:gd name="connsiteX5877" fmla="*/ 2511305 w 9847941"/>
                  <a:gd name="connsiteY5877" fmla="*/ 1310351 h 1864765"/>
                  <a:gd name="connsiteX5878" fmla="*/ 2509335 w 9847941"/>
                  <a:gd name="connsiteY5878" fmla="*/ 1307623 h 1864765"/>
                  <a:gd name="connsiteX5879" fmla="*/ 2506760 w 9847941"/>
                  <a:gd name="connsiteY5879" fmla="*/ 1305957 h 1864765"/>
                  <a:gd name="connsiteX5880" fmla="*/ 2503123 w 9847941"/>
                  <a:gd name="connsiteY5880" fmla="*/ 1301866 h 1864765"/>
                  <a:gd name="connsiteX5881" fmla="*/ 2501002 w 9847941"/>
                  <a:gd name="connsiteY5881" fmla="*/ 1298987 h 1864765"/>
                  <a:gd name="connsiteX5882" fmla="*/ 2495850 w 9847941"/>
                  <a:gd name="connsiteY5882" fmla="*/ 1294744 h 1864765"/>
                  <a:gd name="connsiteX5883" fmla="*/ 2496911 w 9847941"/>
                  <a:gd name="connsiteY5883" fmla="*/ 1294744 h 1864765"/>
                  <a:gd name="connsiteX5884" fmla="*/ 2500547 w 9847941"/>
                  <a:gd name="connsiteY5884" fmla="*/ 1297017 h 1864765"/>
                  <a:gd name="connsiteX5885" fmla="*/ 2503578 w 9847941"/>
                  <a:gd name="connsiteY5885" fmla="*/ 1301260 h 1864765"/>
                  <a:gd name="connsiteX5886" fmla="*/ 2504487 w 9847941"/>
                  <a:gd name="connsiteY5886" fmla="*/ 1302017 h 1864765"/>
                  <a:gd name="connsiteX5887" fmla="*/ 2512669 w 9847941"/>
                  <a:gd name="connsiteY5887" fmla="*/ 1310048 h 1864765"/>
                  <a:gd name="connsiteX5888" fmla="*/ 2514184 w 9847941"/>
                  <a:gd name="connsiteY5888" fmla="*/ 1310351 h 1864765"/>
                  <a:gd name="connsiteX5889" fmla="*/ 2516760 w 9847941"/>
                  <a:gd name="connsiteY5889" fmla="*/ 1310199 h 1864765"/>
                  <a:gd name="connsiteX5890" fmla="*/ 2517821 w 9847941"/>
                  <a:gd name="connsiteY5890" fmla="*/ 1308684 h 1864765"/>
                  <a:gd name="connsiteX5891" fmla="*/ 2518124 w 9847941"/>
                  <a:gd name="connsiteY5891" fmla="*/ 1306411 h 1864765"/>
                  <a:gd name="connsiteX5892" fmla="*/ 2519033 w 9847941"/>
                  <a:gd name="connsiteY5892" fmla="*/ 1304745 h 1864765"/>
                  <a:gd name="connsiteX5893" fmla="*/ 2519033 w 9847941"/>
                  <a:gd name="connsiteY5893" fmla="*/ 1303381 h 1864765"/>
                  <a:gd name="connsiteX5894" fmla="*/ 2516609 w 9847941"/>
                  <a:gd name="connsiteY5894" fmla="*/ 1301108 h 1864765"/>
                  <a:gd name="connsiteX5895" fmla="*/ 2513427 w 9847941"/>
                  <a:gd name="connsiteY5895" fmla="*/ 1299593 h 1864765"/>
                  <a:gd name="connsiteX5896" fmla="*/ 2511305 w 9847941"/>
                  <a:gd name="connsiteY5896" fmla="*/ 1297017 h 1864765"/>
                  <a:gd name="connsiteX5897" fmla="*/ 2508729 w 9847941"/>
                  <a:gd name="connsiteY5897" fmla="*/ 1295805 h 1864765"/>
                  <a:gd name="connsiteX5898" fmla="*/ 2501608 w 9847941"/>
                  <a:gd name="connsiteY5898" fmla="*/ 1293835 h 1864765"/>
                  <a:gd name="connsiteX5899" fmla="*/ 2497820 w 9847941"/>
                  <a:gd name="connsiteY5899" fmla="*/ 1288835 h 1864765"/>
                  <a:gd name="connsiteX5900" fmla="*/ 2496153 w 9847941"/>
                  <a:gd name="connsiteY5900" fmla="*/ 1288380 h 1864765"/>
                  <a:gd name="connsiteX5901" fmla="*/ 2492820 w 9847941"/>
                  <a:gd name="connsiteY5901" fmla="*/ 1289290 h 1864765"/>
                  <a:gd name="connsiteX5902" fmla="*/ 2491759 w 9847941"/>
                  <a:gd name="connsiteY5902" fmla="*/ 1288987 h 1864765"/>
                  <a:gd name="connsiteX5903" fmla="*/ 2490698 w 9847941"/>
                  <a:gd name="connsiteY5903" fmla="*/ 1287623 h 1864765"/>
                  <a:gd name="connsiteX5904" fmla="*/ 2491456 w 9847941"/>
                  <a:gd name="connsiteY5904" fmla="*/ 1283380 h 1864765"/>
                  <a:gd name="connsiteX5905" fmla="*/ 2492062 w 9847941"/>
                  <a:gd name="connsiteY5905" fmla="*/ 1281107 h 1864765"/>
                  <a:gd name="connsiteX5906" fmla="*/ 2494638 w 9847941"/>
                  <a:gd name="connsiteY5906" fmla="*/ 1278683 h 1864765"/>
                  <a:gd name="connsiteX5907" fmla="*/ 2496608 w 9847941"/>
                  <a:gd name="connsiteY5907" fmla="*/ 1277319 h 1864765"/>
                  <a:gd name="connsiteX5908" fmla="*/ 2497820 w 9847941"/>
                  <a:gd name="connsiteY5908" fmla="*/ 1275501 h 1864765"/>
                  <a:gd name="connsiteX5909" fmla="*/ 2498275 w 9847941"/>
                  <a:gd name="connsiteY5909" fmla="*/ 1271865 h 1864765"/>
                  <a:gd name="connsiteX5910" fmla="*/ 2498578 w 9847941"/>
                  <a:gd name="connsiteY5910" fmla="*/ 1275350 h 1864765"/>
                  <a:gd name="connsiteX5911" fmla="*/ 2497669 w 9847941"/>
                  <a:gd name="connsiteY5911" fmla="*/ 1277622 h 1864765"/>
                  <a:gd name="connsiteX5912" fmla="*/ 2495396 w 9847941"/>
                  <a:gd name="connsiteY5912" fmla="*/ 1279441 h 1864765"/>
                  <a:gd name="connsiteX5913" fmla="*/ 2492971 w 9847941"/>
                  <a:gd name="connsiteY5913" fmla="*/ 1282926 h 1864765"/>
                  <a:gd name="connsiteX5914" fmla="*/ 2492365 w 9847941"/>
                  <a:gd name="connsiteY5914" fmla="*/ 1284441 h 1864765"/>
                  <a:gd name="connsiteX5915" fmla="*/ 2492668 w 9847941"/>
                  <a:gd name="connsiteY5915" fmla="*/ 1287168 h 1864765"/>
                  <a:gd name="connsiteX5916" fmla="*/ 2494790 w 9847941"/>
                  <a:gd name="connsiteY5916" fmla="*/ 1287471 h 1864765"/>
                  <a:gd name="connsiteX5917" fmla="*/ 2496911 w 9847941"/>
                  <a:gd name="connsiteY5917" fmla="*/ 1286108 h 1864765"/>
                  <a:gd name="connsiteX5918" fmla="*/ 2499032 w 9847941"/>
                  <a:gd name="connsiteY5918" fmla="*/ 1285956 h 1864765"/>
                  <a:gd name="connsiteX5919" fmla="*/ 2499335 w 9847941"/>
                  <a:gd name="connsiteY5919" fmla="*/ 1287623 h 1864765"/>
                  <a:gd name="connsiteX5920" fmla="*/ 2500396 w 9847941"/>
                  <a:gd name="connsiteY5920" fmla="*/ 1289138 h 1864765"/>
                  <a:gd name="connsiteX5921" fmla="*/ 2502063 w 9847941"/>
                  <a:gd name="connsiteY5921" fmla="*/ 1290805 h 1864765"/>
                  <a:gd name="connsiteX5922" fmla="*/ 2502669 w 9847941"/>
                  <a:gd name="connsiteY5922" fmla="*/ 1289441 h 1864765"/>
                  <a:gd name="connsiteX5923" fmla="*/ 2502669 w 9847941"/>
                  <a:gd name="connsiteY5923" fmla="*/ 1287774 h 1864765"/>
                  <a:gd name="connsiteX5924" fmla="*/ 2505396 w 9847941"/>
                  <a:gd name="connsiteY5924" fmla="*/ 1291865 h 1864765"/>
                  <a:gd name="connsiteX5925" fmla="*/ 2510245 w 9847941"/>
                  <a:gd name="connsiteY5925" fmla="*/ 1292926 h 1864765"/>
                  <a:gd name="connsiteX5926" fmla="*/ 2514033 w 9847941"/>
                  <a:gd name="connsiteY5926" fmla="*/ 1294593 h 1864765"/>
                  <a:gd name="connsiteX5927" fmla="*/ 2515396 w 9847941"/>
                  <a:gd name="connsiteY5927" fmla="*/ 1296108 h 1864765"/>
                  <a:gd name="connsiteX5928" fmla="*/ 2517063 w 9847941"/>
                  <a:gd name="connsiteY5928" fmla="*/ 1297320 h 1864765"/>
                  <a:gd name="connsiteX5929" fmla="*/ 2517215 w 9847941"/>
                  <a:gd name="connsiteY5929" fmla="*/ 1295653 h 1864765"/>
                  <a:gd name="connsiteX5930" fmla="*/ 2516306 w 9847941"/>
                  <a:gd name="connsiteY5930" fmla="*/ 1293835 h 1864765"/>
                  <a:gd name="connsiteX5931" fmla="*/ 2515093 w 9847941"/>
                  <a:gd name="connsiteY5931" fmla="*/ 1291562 h 1864765"/>
                  <a:gd name="connsiteX5932" fmla="*/ 2508729 w 9847941"/>
                  <a:gd name="connsiteY5932" fmla="*/ 1285653 h 1864765"/>
                  <a:gd name="connsiteX5933" fmla="*/ 2507972 w 9847941"/>
                  <a:gd name="connsiteY5933" fmla="*/ 1283077 h 1864765"/>
                  <a:gd name="connsiteX5934" fmla="*/ 2507669 w 9847941"/>
                  <a:gd name="connsiteY5934" fmla="*/ 1280653 h 1864765"/>
                  <a:gd name="connsiteX5935" fmla="*/ 2508124 w 9847941"/>
                  <a:gd name="connsiteY5935" fmla="*/ 1281714 h 1864765"/>
                  <a:gd name="connsiteX5936" fmla="*/ 2508426 w 9847941"/>
                  <a:gd name="connsiteY5936" fmla="*/ 1283077 h 1864765"/>
                  <a:gd name="connsiteX5937" fmla="*/ 2510396 w 9847941"/>
                  <a:gd name="connsiteY5937" fmla="*/ 1286411 h 1864765"/>
                  <a:gd name="connsiteX5938" fmla="*/ 2512063 w 9847941"/>
                  <a:gd name="connsiteY5938" fmla="*/ 1287471 h 1864765"/>
                  <a:gd name="connsiteX5939" fmla="*/ 2514033 w 9847941"/>
                  <a:gd name="connsiteY5939" fmla="*/ 1288835 h 1864765"/>
                  <a:gd name="connsiteX5940" fmla="*/ 2515245 w 9847941"/>
                  <a:gd name="connsiteY5940" fmla="*/ 1288532 h 1864765"/>
                  <a:gd name="connsiteX5941" fmla="*/ 2514639 w 9847941"/>
                  <a:gd name="connsiteY5941" fmla="*/ 1286865 h 1864765"/>
                  <a:gd name="connsiteX5942" fmla="*/ 2513427 w 9847941"/>
                  <a:gd name="connsiteY5942" fmla="*/ 1285198 h 1864765"/>
                  <a:gd name="connsiteX5943" fmla="*/ 2512214 w 9847941"/>
                  <a:gd name="connsiteY5943" fmla="*/ 1283380 h 1864765"/>
                  <a:gd name="connsiteX5944" fmla="*/ 2511305 w 9847941"/>
                  <a:gd name="connsiteY5944" fmla="*/ 1276713 h 1864765"/>
                  <a:gd name="connsiteX5945" fmla="*/ 2511760 w 9847941"/>
                  <a:gd name="connsiteY5945" fmla="*/ 1275198 h 1864765"/>
                  <a:gd name="connsiteX5946" fmla="*/ 2511912 w 9847941"/>
                  <a:gd name="connsiteY5946" fmla="*/ 1273531 h 1864765"/>
                  <a:gd name="connsiteX5947" fmla="*/ 2511760 w 9847941"/>
                  <a:gd name="connsiteY5947" fmla="*/ 1271713 h 1864765"/>
                  <a:gd name="connsiteX5948" fmla="*/ 2512518 w 9847941"/>
                  <a:gd name="connsiteY5948" fmla="*/ 1270198 h 1864765"/>
                  <a:gd name="connsiteX5949" fmla="*/ 2511760 w 9847941"/>
                  <a:gd name="connsiteY5949" fmla="*/ 1268380 h 1864765"/>
                  <a:gd name="connsiteX5950" fmla="*/ 2510699 w 9847941"/>
                  <a:gd name="connsiteY5950" fmla="*/ 1266410 h 1864765"/>
                  <a:gd name="connsiteX5951" fmla="*/ 2511002 w 9847941"/>
                  <a:gd name="connsiteY5951" fmla="*/ 1266258 h 1864765"/>
                  <a:gd name="connsiteX5952" fmla="*/ 2512972 w 9847941"/>
                  <a:gd name="connsiteY5952" fmla="*/ 1267471 h 1864765"/>
                  <a:gd name="connsiteX5953" fmla="*/ 2514487 w 9847941"/>
                  <a:gd name="connsiteY5953" fmla="*/ 1266107 h 1864765"/>
                  <a:gd name="connsiteX5954" fmla="*/ 2514336 w 9847941"/>
                  <a:gd name="connsiteY5954" fmla="*/ 1264440 h 1864765"/>
                  <a:gd name="connsiteX5955" fmla="*/ 2512669 w 9847941"/>
                  <a:gd name="connsiteY5955" fmla="*/ 1263379 h 1864765"/>
                  <a:gd name="connsiteX5956" fmla="*/ 2510396 w 9847941"/>
                  <a:gd name="connsiteY5956" fmla="*/ 1260349 h 1864765"/>
                  <a:gd name="connsiteX5957" fmla="*/ 2510548 w 9847941"/>
                  <a:gd name="connsiteY5957" fmla="*/ 1259895 h 1864765"/>
                  <a:gd name="connsiteX5958" fmla="*/ 2514639 w 9847941"/>
                  <a:gd name="connsiteY5958" fmla="*/ 1261258 h 1864765"/>
                  <a:gd name="connsiteX5959" fmla="*/ 2515093 w 9847941"/>
                  <a:gd name="connsiteY5959" fmla="*/ 1260349 h 1864765"/>
                  <a:gd name="connsiteX5960" fmla="*/ 2514942 w 9847941"/>
                  <a:gd name="connsiteY5960" fmla="*/ 1258682 h 1864765"/>
                  <a:gd name="connsiteX5961" fmla="*/ 2516154 w 9847941"/>
                  <a:gd name="connsiteY5961" fmla="*/ 1258076 h 1864765"/>
                  <a:gd name="connsiteX5962" fmla="*/ 2516609 w 9847941"/>
                  <a:gd name="connsiteY5962" fmla="*/ 1256864 h 1864765"/>
                  <a:gd name="connsiteX5963" fmla="*/ 2516609 w 9847941"/>
                  <a:gd name="connsiteY5963" fmla="*/ 1256107 h 1864765"/>
                  <a:gd name="connsiteX5964" fmla="*/ 2517063 w 9847941"/>
                  <a:gd name="connsiteY5964" fmla="*/ 1255652 h 1864765"/>
                  <a:gd name="connsiteX5965" fmla="*/ 2518578 w 9847941"/>
                  <a:gd name="connsiteY5965" fmla="*/ 1258228 h 1864765"/>
                  <a:gd name="connsiteX5966" fmla="*/ 2519184 w 9847941"/>
                  <a:gd name="connsiteY5966" fmla="*/ 1257319 h 1864765"/>
                  <a:gd name="connsiteX5967" fmla="*/ 2519488 w 9847941"/>
                  <a:gd name="connsiteY5967" fmla="*/ 1254591 h 1864765"/>
                  <a:gd name="connsiteX5968" fmla="*/ 2520094 w 9847941"/>
                  <a:gd name="connsiteY5968" fmla="*/ 1255197 h 1864765"/>
                  <a:gd name="connsiteX5969" fmla="*/ 2520245 w 9847941"/>
                  <a:gd name="connsiteY5969" fmla="*/ 1256561 h 1864765"/>
                  <a:gd name="connsiteX5970" fmla="*/ 2522215 w 9847941"/>
                  <a:gd name="connsiteY5970" fmla="*/ 1255803 h 1864765"/>
                  <a:gd name="connsiteX5971" fmla="*/ 2523427 w 9847941"/>
                  <a:gd name="connsiteY5971" fmla="*/ 1254894 h 1864765"/>
                  <a:gd name="connsiteX5972" fmla="*/ 2523882 w 9847941"/>
                  <a:gd name="connsiteY5972" fmla="*/ 1253682 h 1864765"/>
                  <a:gd name="connsiteX5973" fmla="*/ 2523730 w 9847941"/>
                  <a:gd name="connsiteY5973" fmla="*/ 1251864 h 1864765"/>
                  <a:gd name="connsiteX5974" fmla="*/ 2524336 w 9847941"/>
                  <a:gd name="connsiteY5974" fmla="*/ 1250803 h 1864765"/>
                  <a:gd name="connsiteX5975" fmla="*/ 2525851 w 9847941"/>
                  <a:gd name="connsiteY5975" fmla="*/ 1250500 h 1864765"/>
                  <a:gd name="connsiteX5976" fmla="*/ 2527215 w 9847941"/>
                  <a:gd name="connsiteY5976" fmla="*/ 1250046 h 1864765"/>
                  <a:gd name="connsiteX5977" fmla="*/ 2526912 w 9847941"/>
                  <a:gd name="connsiteY5977" fmla="*/ 1252621 h 1864765"/>
                  <a:gd name="connsiteX5978" fmla="*/ 2529639 w 9847941"/>
                  <a:gd name="connsiteY5978" fmla="*/ 1252470 h 1864765"/>
                  <a:gd name="connsiteX5979" fmla="*/ 2528579 w 9847941"/>
                  <a:gd name="connsiteY5979" fmla="*/ 1253834 h 1864765"/>
                  <a:gd name="connsiteX5980" fmla="*/ 2527518 w 9847941"/>
                  <a:gd name="connsiteY5980" fmla="*/ 1254137 h 1864765"/>
                  <a:gd name="connsiteX5981" fmla="*/ 2526154 w 9847941"/>
                  <a:gd name="connsiteY5981" fmla="*/ 1255652 h 1864765"/>
                  <a:gd name="connsiteX5982" fmla="*/ 2527973 w 9847941"/>
                  <a:gd name="connsiteY5982" fmla="*/ 1256107 h 1864765"/>
                  <a:gd name="connsiteX5983" fmla="*/ 2529639 w 9847941"/>
                  <a:gd name="connsiteY5983" fmla="*/ 1256864 h 1864765"/>
                  <a:gd name="connsiteX5984" fmla="*/ 2526912 w 9847941"/>
                  <a:gd name="connsiteY5984" fmla="*/ 1257167 h 1864765"/>
                  <a:gd name="connsiteX5985" fmla="*/ 2524185 w 9847941"/>
                  <a:gd name="connsiteY5985" fmla="*/ 1257167 h 1864765"/>
                  <a:gd name="connsiteX5986" fmla="*/ 2522063 w 9847941"/>
                  <a:gd name="connsiteY5986" fmla="*/ 1258834 h 1864765"/>
                  <a:gd name="connsiteX5987" fmla="*/ 2519790 w 9847941"/>
                  <a:gd name="connsiteY5987" fmla="*/ 1262774 h 1864765"/>
                  <a:gd name="connsiteX5988" fmla="*/ 2520245 w 9847941"/>
                  <a:gd name="connsiteY5988" fmla="*/ 1266864 h 1864765"/>
                  <a:gd name="connsiteX5989" fmla="*/ 2522518 w 9847941"/>
                  <a:gd name="connsiteY5989" fmla="*/ 1265046 h 1864765"/>
                  <a:gd name="connsiteX5990" fmla="*/ 2522518 w 9847941"/>
                  <a:gd name="connsiteY5990" fmla="*/ 1266410 h 1864765"/>
                  <a:gd name="connsiteX5991" fmla="*/ 2521154 w 9847941"/>
                  <a:gd name="connsiteY5991" fmla="*/ 1269289 h 1864765"/>
                  <a:gd name="connsiteX5992" fmla="*/ 2519488 w 9847941"/>
                  <a:gd name="connsiteY5992" fmla="*/ 1268683 h 1864765"/>
                  <a:gd name="connsiteX5993" fmla="*/ 2517669 w 9847941"/>
                  <a:gd name="connsiteY5993" fmla="*/ 1268683 h 1864765"/>
                  <a:gd name="connsiteX5994" fmla="*/ 2517215 w 9847941"/>
                  <a:gd name="connsiteY5994" fmla="*/ 1270501 h 1864765"/>
                  <a:gd name="connsiteX5995" fmla="*/ 2517215 w 9847941"/>
                  <a:gd name="connsiteY5995" fmla="*/ 1271865 h 1864765"/>
                  <a:gd name="connsiteX5996" fmla="*/ 2519639 w 9847941"/>
                  <a:gd name="connsiteY5996" fmla="*/ 1270804 h 1864765"/>
                  <a:gd name="connsiteX5997" fmla="*/ 2521003 w 9847941"/>
                  <a:gd name="connsiteY5997" fmla="*/ 1271713 h 1864765"/>
                  <a:gd name="connsiteX5998" fmla="*/ 2521609 w 9847941"/>
                  <a:gd name="connsiteY5998" fmla="*/ 1273683 h 1864765"/>
                  <a:gd name="connsiteX5999" fmla="*/ 2519488 w 9847941"/>
                  <a:gd name="connsiteY5999" fmla="*/ 1274592 h 1864765"/>
                  <a:gd name="connsiteX6000" fmla="*/ 2517972 w 9847941"/>
                  <a:gd name="connsiteY6000" fmla="*/ 1274744 h 1864765"/>
                  <a:gd name="connsiteX6001" fmla="*/ 2516912 w 9847941"/>
                  <a:gd name="connsiteY6001" fmla="*/ 1278228 h 1864765"/>
                  <a:gd name="connsiteX6002" fmla="*/ 2517821 w 9847941"/>
                  <a:gd name="connsiteY6002" fmla="*/ 1277774 h 1864765"/>
                  <a:gd name="connsiteX6003" fmla="*/ 2518578 w 9847941"/>
                  <a:gd name="connsiteY6003" fmla="*/ 1276259 h 1864765"/>
                  <a:gd name="connsiteX6004" fmla="*/ 2520397 w 9847941"/>
                  <a:gd name="connsiteY6004" fmla="*/ 1276713 h 1864765"/>
                  <a:gd name="connsiteX6005" fmla="*/ 2521457 w 9847941"/>
                  <a:gd name="connsiteY6005" fmla="*/ 1278380 h 1864765"/>
                  <a:gd name="connsiteX6006" fmla="*/ 2524639 w 9847941"/>
                  <a:gd name="connsiteY6006" fmla="*/ 1281107 h 1864765"/>
                  <a:gd name="connsiteX6007" fmla="*/ 2525700 w 9847941"/>
                  <a:gd name="connsiteY6007" fmla="*/ 1280956 h 1864765"/>
                  <a:gd name="connsiteX6008" fmla="*/ 2526154 w 9847941"/>
                  <a:gd name="connsiteY6008" fmla="*/ 1281714 h 1864765"/>
                  <a:gd name="connsiteX6009" fmla="*/ 2523124 w 9847941"/>
                  <a:gd name="connsiteY6009" fmla="*/ 1281714 h 1864765"/>
                  <a:gd name="connsiteX6010" fmla="*/ 2520851 w 9847941"/>
                  <a:gd name="connsiteY6010" fmla="*/ 1281107 h 1864765"/>
                  <a:gd name="connsiteX6011" fmla="*/ 2519033 w 9847941"/>
                  <a:gd name="connsiteY6011" fmla="*/ 1281714 h 1864765"/>
                  <a:gd name="connsiteX6012" fmla="*/ 2518124 w 9847941"/>
                  <a:gd name="connsiteY6012" fmla="*/ 1285047 h 1864765"/>
                  <a:gd name="connsiteX6013" fmla="*/ 2518881 w 9847941"/>
                  <a:gd name="connsiteY6013" fmla="*/ 1286865 h 1864765"/>
                  <a:gd name="connsiteX6014" fmla="*/ 2520397 w 9847941"/>
                  <a:gd name="connsiteY6014" fmla="*/ 1289290 h 1864765"/>
                  <a:gd name="connsiteX6015" fmla="*/ 2522972 w 9847941"/>
                  <a:gd name="connsiteY6015" fmla="*/ 1290653 h 1864765"/>
                  <a:gd name="connsiteX6016" fmla="*/ 2524791 w 9847941"/>
                  <a:gd name="connsiteY6016" fmla="*/ 1291865 h 1864765"/>
                  <a:gd name="connsiteX6017" fmla="*/ 2525700 w 9847941"/>
                  <a:gd name="connsiteY6017" fmla="*/ 1291411 h 1864765"/>
                  <a:gd name="connsiteX6018" fmla="*/ 2526003 w 9847941"/>
                  <a:gd name="connsiteY6018" fmla="*/ 1290502 h 1864765"/>
                  <a:gd name="connsiteX6019" fmla="*/ 2526609 w 9847941"/>
                  <a:gd name="connsiteY6019" fmla="*/ 1290199 h 1864765"/>
                  <a:gd name="connsiteX6020" fmla="*/ 2527064 w 9847941"/>
                  <a:gd name="connsiteY6020" fmla="*/ 1291411 h 1864765"/>
                  <a:gd name="connsiteX6021" fmla="*/ 2527821 w 9847941"/>
                  <a:gd name="connsiteY6021" fmla="*/ 1290805 h 1864765"/>
                  <a:gd name="connsiteX6022" fmla="*/ 2529185 w 9847941"/>
                  <a:gd name="connsiteY6022" fmla="*/ 1289290 h 1864765"/>
                  <a:gd name="connsiteX6023" fmla="*/ 2529942 w 9847941"/>
                  <a:gd name="connsiteY6023" fmla="*/ 1289138 h 1864765"/>
                  <a:gd name="connsiteX6024" fmla="*/ 2529488 w 9847941"/>
                  <a:gd name="connsiteY6024" fmla="*/ 1290502 h 1864765"/>
                  <a:gd name="connsiteX6025" fmla="*/ 2529791 w 9847941"/>
                  <a:gd name="connsiteY6025" fmla="*/ 1292320 h 1864765"/>
                  <a:gd name="connsiteX6026" fmla="*/ 2529185 w 9847941"/>
                  <a:gd name="connsiteY6026" fmla="*/ 1293835 h 1864765"/>
                  <a:gd name="connsiteX6027" fmla="*/ 2527973 w 9847941"/>
                  <a:gd name="connsiteY6027" fmla="*/ 1295199 h 1864765"/>
                  <a:gd name="connsiteX6028" fmla="*/ 2529033 w 9847941"/>
                  <a:gd name="connsiteY6028" fmla="*/ 1295956 h 1864765"/>
                  <a:gd name="connsiteX6029" fmla="*/ 2529942 w 9847941"/>
                  <a:gd name="connsiteY6029" fmla="*/ 1296108 h 1864765"/>
                  <a:gd name="connsiteX6030" fmla="*/ 2531609 w 9847941"/>
                  <a:gd name="connsiteY6030" fmla="*/ 1297775 h 1864765"/>
                  <a:gd name="connsiteX6031" fmla="*/ 2530700 w 9847941"/>
                  <a:gd name="connsiteY6031" fmla="*/ 1299441 h 1864765"/>
                  <a:gd name="connsiteX6032" fmla="*/ 2530094 w 9847941"/>
                  <a:gd name="connsiteY6032" fmla="*/ 1301411 h 1864765"/>
                  <a:gd name="connsiteX6033" fmla="*/ 2533276 w 9847941"/>
                  <a:gd name="connsiteY6033" fmla="*/ 1301411 h 1864765"/>
                  <a:gd name="connsiteX6034" fmla="*/ 2535397 w 9847941"/>
                  <a:gd name="connsiteY6034" fmla="*/ 1302017 h 1864765"/>
                  <a:gd name="connsiteX6035" fmla="*/ 2533730 w 9847941"/>
                  <a:gd name="connsiteY6035" fmla="*/ 1306260 h 1864765"/>
                  <a:gd name="connsiteX6036" fmla="*/ 2531761 w 9847941"/>
                  <a:gd name="connsiteY6036" fmla="*/ 1308381 h 1864765"/>
                  <a:gd name="connsiteX6037" fmla="*/ 2529185 w 9847941"/>
                  <a:gd name="connsiteY6037" fmla="*/ 1312775 h 1864765"/>
                  <a:gd name="connsiteX6038" fmla="*/ 2526761 w 9847941"/>
                  <a:gd name="connsiteY6038" fmla="*/ 1319745 h 1864765"/>
                  <a:gd name="connsiteX6039" fmla="*/ 2526154 w 9847941"/>
                  <a:gd name="connsiteY6039" fmla="*/ 1323988 h 1864765"/>
                  <a:gd name="connsiteX6040" fmla="*/ 2526457 w 9847941"/>
                  <a:gd name="connsiteY6040" fmla="*/ 1325654 h 1864765"/>
                  <a:gd name="connsiteX6041" fmla="*/ 2527821 w 9847941"/>
                  <a:gd name="connsiteY6041" fmla="*/ 1327473 h 1864765"/>
                  <a:gd name="connsiteX6042" fmla="*/ 2530094 w 9847941"/>
                  <a:gd name="connsiteY6042" fmla="*/ 1322927 h 1864765"/>
                  <a:gd name="connsiteX6043" fmla="*/ 2531306 w 9847941"/>
                  <a:gd name="connsiteY6043" fmla="*/ 1318836 h 1864765"/>
                  <a:gd name="connsiteX6044" fmla="*/ 2532518 w 9847941"/>
                  <a:gd name="connsiteY6044" fmla="*/ 1317321 h 1864765"/>
                  <a:gd name="connsiteX6045" fmla="*/ 2534337 w 9847941"/>
                  <a:gd name="connsiteY6045" fmla="*/ 1315957 h 1864765"/>
                  <a:gd name="connsiteX6046" fmla="*/ 2536155 w 9847941"/>
                  <a:gd name="connsiteY6046" fmla="*/ 1315351 h 1864765"/>
                  <a:gd name="connsiteX6047" fmla="*/ 2537367 w 9847941"/>
                  <a:gd name="connsiteY6047" fmla="*/ 1314594 h 1864765"/>
                  <a:gd name="connsiteX6048" fmla="*/ 2537064 w 9847941"/>
                  <a:gd name="connsiteY6048" fmla="*/ 1312321 h 1864765"/>
                  <a:gd name="connsiteX6049" fmla="*/ 2543731 w 9847941"/>
                  <a:gd name="connsiteY6049" fmla="*/ 1298684 h 1864765"/>
                  <a:gd name="connsiteX6050" fmla="*/ 2545397 w 9847941"/>
                  <a:gd name="connsiteY6050" fmla="*/ 1296714 h 1864765"/>
                  <a:gd name="connsiteX6051" fmla="*/ 2547216 w 9847941"/>
                  <a:gd name="connsiteY6051" fmla="*/ 1293078 h 1864765"/>
                  <a:gd name="connsiteX6052" fmla="*/ 2549034 w 9847941"/>
                  <a:gd name="connsiteY6052" fmla="*/ 1292623 h 1864765"/>
                  <a:gd name="connsiteX6053" fmla="*/ 2549489 w 9847941"/>
                  <a:gd name="connsiteY6053" fmla="*/ 1291259 h 1864765"/>
                  <a:gd name="connsiteX6054" fmla="*/ 2549640 w 9847941"/>
                  <a:gd name="connsiteY6054" fmla="*/ 1288532 h 1864765"/>
                  <a:gd name="connsiteX6055" fmla="*/ 2550095 w 9847941"/>
                  <a:gd name="connsiteY6055" fmla="*/ 1287774 h 1864765"/>
                  <a:gd name="connsiteX6056" fmla="*/ 2550852 w 9847941"/>
                  <a:gd name="connsiteY6056" fmla="*/ 1287168 h 1864765"/>
                  <a:gd name="connsiteX6057" fmla="*/ 2551307 w 9847941"/>
                  <a:gd name="connsiteY6057" fmla="*/ 1287623 h 1864765"/>
                  <a:gd name="connsiteX6058" fmla="*/ 2551307 w 9847941"/>
                  <a:gd name="connsiteY6058" fmla="*/ 1288987 h 1864765"/>
                  <a:gd name="connsiteX6059" fmla="*/ 2551913 w 9847941"/>
                  <a:gd name="connsiteY6059" fmla="*/ 1288380 h 1864765"/>
                  <a:gd name="connsiteX6060" fmla="*/ 2552216 w 9847941"/>
                  <a:gd name="connsiteY6060" fmla="*/ 1287017 h 1864765"/>
                  <a:gd name="connsiteX6061" fmla="*/ 2552368 w 9847941"/>
                  <a:gd name="connsiteY6061" fmla="*/ 1284592 h 1864765"/>
                  <a:gd name="connsiteX6062" fmla="*/ 2551307 w 9847941"/>
                  <a:gd name="connsiteY6062" fmla="*/ 1282168 h 1864765"/>
                  <a:gd name="connsiteX6063" fmla="*/ 2550246 w 9847941"/>
                  <a:gd name="connsiteY6063" fmla="*/ 1281562 h 1864765"/>
                  <a:gd name="connsiteX6064" fmla="*/ 2548125 w 9847941"/>
                  <a:gd name="connsiteY6064" fmla="*/ 1281865 h 1864765"/>
                  <a:gd name="connsiteX6065" fmla="*/ 2549792 w 9847941"/>
                  <a:gd name="connsiteY6065" fmla="*/ 1280501 h 1864765"/>
                  <a:gd name="connsiteX6066" fmla="*/ 2551004 w 9847941"/>
                  <a:gd name="connsiteY6066" fmla="*/ 1277622 h 1864765"/>
                  <a:gd name="connsiteX6067" fmla="*/ 2550852 w 9847941"/>
                  <a:gd name="connsiteY6067" fmla="*/ 1275956 h 1864765"/>
                  <a:gd name="connsiteX6068" fmla="*/ 2548276 w 9847941"/>
                  <a:gd name="connsiteY6068" fmla="*/ 1274592 h 1864765"/>
                  <a:gd name="connsiteX6069" fmla="*/ 2544792 w 9847941"/>
                  <a:gd name="connsiteY6069" fmla="*/ 1269895 h 1864765"/>
                  <a:gd name="connsiteX6070" fmla="*/ 2542519 w 9847941"/>
                  <a:gd name="connsiteY6070" fmla="*/ 1265804 h 1864765"/>
                  <a:gd name="connsiteX6071" fmla="*/ 2541913 w 9847941"/>
                  <a:gd name="connsiteY6071" fmla="*/ 1259743 h 1864765"/>
                  <a:gd name="connsiteX6072" fmla="*/ 2539034 w 9847941"/>
                  <a:gd name="connsiteY6072" fmla="*/ 1255803 h 1864765"/>
                  <a:gd name="connsiteX6073" fmla="*/ 2537518 w 9847941"/>
                  <a:gd name="connsiteY6073" fmla="*/ 1253379 h 1864765"/>
                  <a:gd name="connsiteX6074" fmla="*/ 2537670 w 9847941"/>
                  <a:gd name="connsiteY6074" fmla="*/ 1250955 h 1864765"/>
                  <a:gd name="connsiteX6075" fmla="*/ 2537215 w 9847941"/>
                  <a:gd name="connsiteY6075" fmla="*/ 1249743 h 1864765"/>
                  <a:gd name="connsiteX6076" fmla="*/ 2537064 w 9847941"/>
                  <a:gd name="connsiteY6076" fmla="*/ 1248076 h 1864765"/>
                  <a:gd name="connsiteX6077" fmla="*/ 2539337 w 9847941"/>
                  <a:gd name="connsiteY6077" fmla="*/ 1245652 h 1864765"/>
                  <a:gd name="connsiteX6078" fmla="*/ 2540397 w 9847941"/>
                  <a:gd name="connsiteY6078" fmla="*/ 1243682 h 1864765"/>
                  <a:gd name="connsiteX6079" fmla="*/ 2542216 w 9847941"/>
                  <a:gd name="connsiteY6079" fmla="*/ 1242015 h 1864765"/>
                  <a:gd name="connsiteX6080" fmla="*/ 2544337 w 9847941"/>
                  <a:gd name="connsiteY6080" fmla="*/ 1240954 h 1864765"/>
                  <a:gd name="connsiteX6081" fmla="*/ 2548428 w 9847941"/>
                  <a:gd name="connsiteY6081" fmla="*/ 1240045 h 1864765"/>
                  <a:gd name="connsiteX6082" fmla="*/ 2551155 w 9847941"/>
                  <a:gd name="connsiteY6082" fmla="*/ 1237166 h 1864765"/>
                  <a:gd name="connsiteX6083" fmla="*/ 2550398 w 9847941"/>
                  <a:gd name="connsiteY6083" fmla="*/ 1238833 h 1864765"/>
                  <a:gd name="connsiteX6084" fmla="*/ 2549034 w 9847941"/>
                  <a:gd name="connsiteY6084" fmla="*/ 1240803 h 1864765"/>
                  <a:gd name="connsiteX6085" fmla="*/ 2543579 w 9847941"/>
                  <a:gd name="connsiteY6085" fmla="*/ 1242167 h 1864765"/>
                  <a:gd name="connsiteX6086" fmla="*/ 2541761 w 9847941"/>
                  <a:gd name="connsiteY6086" fmla="*/ 1243379 h 1864765"/>
                  <a:gd name="connsiteX6087" fmla="*/ 2540397 w 9847941"/>
                  <a:gd name="connsiteY6087" fmla="*/ 1245803 h 1864765"/>
                  <a:gd name="connsiteX6088" fmla="*/ 2539034 w 9847941"/>
                  <a:gd name="connsiteY6088" fmla="*/ 1249288 h 1864765"/>
                  <a:gd name="connsiteX6089" fmla="*/ 2539185 w 9847941"/>
                  <a:gd name="connsiteY6089" fmla="*/ 1251561 h 1864765"/>
                  <a:gd name="connsiteX6090" fmla="*/ 2539034 w 9847941"/>
                  <a:gd name="connsiteY6090" fmla="*/ 1252925 h 1864765"/>
                  <a:gd name="connsiteX6091" fmla="*/ 2543731 w 9847941"/>
                  <a:gd name="connsiteY6091" fmla="*/ 1257773 h 1864765"/>
                  <a:gd name="connsiteX6092" fmla="*/ 2547064 w 9847941"/>
                  <a:gd name="connsiteY6092" fmla="*/ 1259591 h 1864765"/>
                  <a:gd name="connsiteX6093" fmla="*/ 2549640 w 9847941"/>
                  <a:gd name="connsiteY6093" fmla="*/ 1262016 h 1864765"/>
                  <a:gd name="connsiteX6094" fmla="*/ 2552064 w 9847941"/>
                  <a:gd name="connsiteY6094" fmla="*/ 1261864 h 1864765"/>
                  <a:gd name="connsiteX6095" fmla="*/ 2554186 w 9847941"/>
                  <a:gd name="connsiteY6095" fmla="*/ 1262622 h 1864765"/>
                  <a:gd name="connsiteX6096" fmla="*/ 2556307 w 9847941"/>
                  <a:gd name="connsiteY6096" fmla="*/ 1263985 h 1864765"/>
                  <a:gd name="connsiteX6097" fmla="*/ 2555701 w 9847941"/>
                  <a:gd name="connsiteY6097" fmla="*/ 1267167 h 1864765"/>
                  <a:gd name="connsiteX6098" fmla="*/ 2554792 w 9847941"/>
                  <a:gd name="connsiteY6098" fmla="*/ 1270198 h 1864765"/>
                  <a:gd name="connsiteX6099" fmla="*/ 2555701 w 9847941"/>
                  <a:gd name="connsiteY6099" fmla="*/ 1270501 h 1864765"/>
                  <a:gd name="connsiteX6100" fmla="*/ 2559186 w 9847941"/>
                  <a:gd name="connsiteY6100" fmla="*/ 1268531 h 1864765"/>
                  <a:gd name="connsiteX6101" fmla="*/ 2563277 w 9847941"/>
                  <a:gd name="connsiteY6101" fmla="*/ 1262016 h 1864765"/>
                  <a:gd name="connsiteX6102" fmla="*/ 2564338 w 9847941"/>
                  <a:gd name="connsiteY6102" fmla="*/ 1260804 h 1864765"/>
                  <a:gd name="connsiteX6103" fmla="*/ 2564338 w 9847941"/>
                  <a:gd name="connsiteY6103" fmla="*/ 1259288 h 1864765"/>
                  <a:gd name="connsiteX6104" fmla="*/ 2564944 w 9847941"/>
                  <a:gd name="connsiteY6104" fmla="*/ 1258531 h 1864765"/>
                  <a:gd name="connsiteX6105" fmla="*/ 2566611 w 9847941"/>
                  <a:gd name="connsiteY6105" fmla="*/ 1257622 h 1864765"/>
                  <a:gd name="connsiteX6106" fmla="*/ 2567822 w 9847941"/>
                  <a:gd name="connsiteY6106" fmla="*/ 1257773 h 1864765"/>
                  <a:gd name="connsiteX6107" fmla="*/ 2569035 w 9847941"/>
                  <a:gd name="connsiteY6107" fmla="*/ 1256409 h 1864765"/>
                  <a:gd name="connsiteX6108" fmla="*/ 2569489 w 9847941"/>
                  <a:gd name="connsiteY6108" fmla="*/ 1254288 h 1864765"/>
                  <a:gd name="connsiteX6109" fmla="*/ 2570095 w 9847941"/>
                  <a:gd name="connsiteY6109" fmla="*/ 1253228 h 1864765"/>
                  <a:gd name="connsiteX6110" fmla="*/ 2569641 w 9847941"/>
                  <a:gd name="connsiteY6110" fmla="*/ 1251258 h 1864765"/>
                  <a:gd name="connsiteX6111" fmla="*/ 2571762 w 9847941"/>
                  <a:gd name="connsiteY6111" fmla="*/ 1251712 h 1864765"/>
                  <a:gd name="connsiteX6112" fmla="*/ 2573732 w 9847941"/>
                  <a:gd name="connsiteY6112" fmla="*/ 1249288 h 1864765"/>
                  <a:gd name="connsiteX6113" fmla="*/ 2576005 w 9847941"/>
                  <a:gd name="connsiteY6113" fmla="*/ 1245652 h 1864765"/>
                  <a:gd name="connsiteX6114" fmla="*/ 2577671 w 9847941"/>
                  <a:gd name="connsiteY6114" fmla="*/ 1238833 h 1864765"/>
                  <a:gd name="connsiteX6115" fmla="*/ 2578277 w 9847941"/>
                  <a:gd name="connsiteY6115" fmla="*/ 1237621 h 1864765"/>
                  <a:gd name="connsiteX6116" fmla="*/ 2579187 w 9847941"/>
                  <a:gd name="connsiteY6116" fmla="*/ 1237015 h 1864765"/>
                  <a:gd name="connsiteX6117" fmla="*/ 2578732 w 9847941"/>
                  <a:gd name="connsiteY6117" fmla="*/ 1242318 h 1864765"/>
                  <a:gd name="connsiteX6118" fmla="*/ 2578884 w 9847941"/>
                  <a:gd name="connsiteY6118" fmla="*/ 1243682 h 1864765"/>
                  <a:gd name="connsiteX6119" fmla="*/ 2579793 w 9847941"/>
                  <a:gd name="connsiteY6119" fmla="*/ 1239288 h 1864765"/>
                  <a:gd name="connsiteX6120" fmla="*/ 2580399 w 9847941"/>
                  <a:gd name="connsiteY6120" fmla="*/ 1234439 h 1864765"/>
                  <a:gd name="connsiteX6121" fmla="*/ 2581005 w 9847941"/>
                  <a:gd name="connsiteY6121" fmla="*/ 1231257 h 1864765"/>
                  <a:gd name="connsiteX6122" fmla="*/ 2581914 w 9847941"/>
                  <a:gd name="connsiteY6122" fmla="*/ 1228681 h 1864765"/>
                  <a:gd name="connsiteX6123" fmla="*/ 2582369 w 9847941"/>
                  <a:gd name="connsiteY6123" fmla="*/ 1226105 h 1864765"/>
                  <a:gd name="connsiteX6124" fmla="*/ 2581914 w 9847941"/>
                  <a:gd name="connsiteY6124" fmla="*/ 1223833 h 1864765"/>
                  <a:gd name="connsiteX6125" fmla="*/ 2581156 w 9847941"/>
                  <a:gd name="connsiteY6125" fmla="*/ 1222166 h 1864765"/>
                  <a:gd name="connsiteX6126" fmla="*/ 2579793 w 9847941"/>
                  <a:gd name="connsiteY6126" fmla="*/ 1222923 h 1864765"/>
                  <a:gd name="connsiteX6127" fmla="*/ 2574489 w 9847941"/>
                  <a:gd name="connsiteY6127" fmla="*/ 1222014 h 1864765"/>
                  <a:gd name="connsiteX6128" fmla="*/ 2573883 w 9847941"/>
                  <a:gd name="connsiteY6128" fmla="*/ 1219741 h 1864765"/>
                  <a:gd name="connsiteX6129" fmla="*/ 2574944 w 9847941"/>
                  <a:gd name="connsiteY6129" fmla="*/ 1217166 h 1864765"/>
                  <a:gd name="connsiteX6130" fmla="*/ 2576005 w 9847941"/>
                  <a:gd name="connsiteY6130" fmla="*/ 1215802 h 1864765"/>
                  <a:gd name="connsiteX6131" fmla="*/ 2576914 w 9847941"/>
                  <a:gd name="connsiteY6131" fmla="*/ 1215044 h 1864765"/>
                  <a:gd name="connsiteX6132" fmla="*/ 2577975 w 9847941"/>
                  <a:gd name="connsiteY6132" fmla="*/ 1214590 h 1864765"/>
                  <a:gd name="connsiteX6133" fmla="*/ 2579338 w 9847941"/>
                  <a:gd name="connsiteY6133" fmla="*/ 1213529 h 1864765"/>
                  <a:gd name="connsiteX6134" fmla="*/ 2580550 w 9847941"/>
                  <a:gd name="connsiteY6134" fmla="*/ 1212317 h 1864765"/>
                  <a:gd name="connsiteX6135" fmla="*/ 2583278 w 9847941"/>
                  <a:gd name="connsiteY6135" fmla="*/ 1207165 h 1864765"/>
                  <a:gd name="connsiteX6136" fmla="*/ 2583732 w 9847941"/>
                  <a:gd name="connsiteY6136" fmla="*/ 1204438 h 1864765"/>
                  <a:gd name="connsiteX6137" fmla="*/ 2583429 w 9847941"/>
                  <a:gd name="connsiteY6137" fmla="*/ 1199892 h 1864765"/>
                  <a:gd name="connsiteX6138" fmla="*/ 2582065 w 9847941"/>
                  <a:gd name="connsiteY6138" fmla="*/ 1196256 h 1864765"/>
                  <a:gd name="connsiteX6139" fmla="*/ 2583278 w 9847941"/>
                  <a:gd name="connsiteY6139" fmla="*/ 1197316 h 1864765"/>
                  <a:gd name="connsiteX6140" fmla="*/ 2584490 w 9847941"/>
                  <a:gd name="connsiteY6140" fmla="*/ 1198832 h 1864765"/>
                  <a:gd name="connsiteX6141" fmla="*/ 2584793 w 9847941"/>
                  <a:gd name="connsiteY6141" fmla="*/ 1202620 h 1864765"/>
                  <a:gd name="connsiteX6142" fmla="*/ 2583884 w 9847941"/>
                  <a:gd name="connsiteY6142" fmla="*/ 1207317 h 1864765"/>
                  <a:gd name="connsiteX6143" fmla="*/ 2582672 w 9847941"/>
                  <a:gd name="connsiteY6143" fmla="*/ 1209741 h 1864765"/>
                  <a:gd name="connsiteX6144" fmla="*/ 2581611 w 9847941"/>
                  <a:gd name="connsiteY6144" fmla="*/ 1212620 h 1864765"/>
                  <a:gd name="connsiteX6145" fmla="*/ 2582672 w 9847941"/>
                  <a:gd name="connsiteY6145" fmla="*/ 1211862 h 1864765"/>
                  <a:gd name="connsiteX6146" fmla="*/ 2583732 w 9847941"/>
                  <a:gd name="connsiteY6146" fmla="*/ 1210650 h 1864765"/>
                  <a:gd name="connsiteX6147" fmla="*/ 2585399 w 9847941"/>
                  <a:gd name="connsiteY6147" fmla="*/ 1210196 h 1864765"/>
                  <a:gd name="connsiteX6148" fmla="*/ 2587369 w 9847941"/>
                  <a:gd name="connsiteY6148" fmla="*/ 1208681 h 1864765"/>
                  <a:gd name="connsiteX6149" fmla="*/ 2590248 w 9847941"/>
                  <a:gd name="connsiteY6149" fmla="*/ 1205802 h 1864765"/>
                  <a:gd name="connsiteX6150" fmla="*/ 2592672 w 9847941"/>
                  <a:gd name="connsiteY6150" fmla="*/ 1203983 h 1864765"/>
                  <a:gd name="connsiteX6151" fmla="*/ 2603581 w 9847941"/>
                  <a:gd name="connsiteY6151" fmla="*/ 1198983 h 1864765"/>
                  <a:gd name="connsiteX6152" fmla="*/ 2607976 w 9847941"/>
                  <a:gd name="connsiteY6152" fmla="*/ 1197620 h 1864765"/>
                  <a:gd name="connsiteX6153" fmla="*/ 2610703 w 9847941"/>
                  <a:gd name="connsiteY6153" fmla="*/ 1195347 h 1864765"/>
                  <a:gd name="connsiteX6154" fmla="*/ 2612824 w 9847941"/>
                  <a:gd name="connsiteY6154" fmla="*/ 1195953 h 1864765"/>
                  <a:gd name="connsiteX6155" fmla="*/ 2622825 w 9847941"/>
                  <a:gd name="connsiteY6155" fmla="*/ 1195650 h 1864765"/>
                  <a:gd name="connsiteX6156" fmla="*/ 2625855 w 9847941"/>
                  <a:gd name="connsiteY6156" fmla="*/ 1194438 h 1864765"/>
                  <a:gd name="connsiteX6157" fmla="*/ 2628734 w 9847941"/>
                  <a:gd name="connsiteY6157" fmla="*/ 1195044 h 1864765"/>
                  <a:gd name="connsiteX6158" fmla="*/ 2634037 w 9847941"/>
                  <a:gd name="connsiteY6158" fmla="*/ 1193983 h 1864765"/>
                  <a:gd name="connsiteX6159" fmla="*/ 2637977 w 9847941"/>
                  <a:gd name="connsiteY6159" fmla="*/ 1193528 h 1864765"/>
                  <a:gd name="connsiteX6160" fmla="*/ 2642371 w 9847941"/>
                  <a:gd name="connsiteY6160" fmla="*/ 1193832 h 1864765"/>
                  <a:gd name="connsiteX6161" fmla="*/ 2649038 w 9847941"/>
                  <a:gd name="connsiteY6161" fmla="*/ 1192316 h 1864765"/>
                  <a:gd name="connsiteX6162" fmla="*/ 2651159 w 9847941"/>
                  <a:gd name="connsiteY6162" fmla="*/ 1189892 h 1864765"/>
                  <a:gd name="connsiteX6163" fmla="*/ 2651614 w 9847941"/>
                  <a:gd name="connsiteY6163" fmla="*/ 1183983 h 1864765"/>
                  <a:gd name="connsiteX6164" fmla="*/ 2653280 w 9847941"/>
                  <a:gd name="connsiteY6164" fmla="*/ 1181710 h 1864765"/>
                  <a:gd name="connsiteX6165" fmla="*/ 2652523 w 9847941"/>
                  <a:gd name="connsiteY6165" fmla="*/ 1178679 h 1864765"/>
                  <a:gd name="connsiteX6166" fmla="*/ 2653432 w 9847941"/>
                  <a:gd name="connsiteY6166" fmla="*/ 1178982 h 1864765"/>
                  <a:gd name="connsiteX6167" fmla="*/ 2654190 w 9847941"/>
                  <a:gd name="connsiteY6167" fmla="*/ 1179740 h 1864765"/>
                  <a:gd name="connsiteX6168" fmla="*/ 2654796 w 9847941"/>
                  <a:gd name="connsiteY6168" fmla="*/ 1181104 h 1864765"/>
                  <a:gd name="connsiteX6169" fmla="*/ 2655856 w 9847941"/>
                  <a:gd name="connsiteY6169" fmla="*/ 1182316 h 1864765"/>
                  <a:gd name="connsiteX6170" fmla="*/ 2658432 w 9847941"/>
                  <a:gd name="connsiteY6170" fmla="*/ 1180195 h 1864765"/>
                  <a:gd name="connsiteX6171" fmla="*/ 2659190 w 9847941"/>
                  <a:gd name="connsiteY6171" fmla="*/ 1180195 h 1864765"/>
                  <a:gd name="connsiteX6172" fmla="*/ 2657674 w 9847941"/>
                  <a:gd name="connsiteY6172" fmla="*/ 1183680 h 1864765"/>
                  <a:gd name="connsiteX6173" fmla="*/ 2658129 w 9847941"/>
                  <a:gd name="connsiteY6173" fmla="*/ 1187771 h 1864765"/>
                  <a:gd name="connsiteX6174" fmla="*/ 2658735 w 9847941"/>
                  <a:gd name="connsiteY6174" fmla="*/ 1188680 h 1864765"/>
                  <a:gd name="connsiteX6175" fmla="*/ 2661159 w 9847941"/>
                  <a:gd name="connsiteY6175" fmla="*/ 1187165 h 1864765"/>
                  <a:gd name="connsiteX6176" fmla="*/ 2664038 w 9847941"/>
                  <a:gd name="connsiteY6176" fmla="*/ 1186861 h 1864765"/>
                  <a:gd name="connsiteX6177" fmla="*/ 2671463 w 9847941"/>
                  <a:gd name="connsiteY6177" fmla="*/ 1181407 h 1864765"/>
                  <a:gd name="connsiteX6178" fmla="*/ 2672372 w 9847941"/>
                  <a:gd name="connsiteY6178" fmla="*/ 1181558 h 1864765"/>
                  <a:gd name="connsiteX6179" fmla="*/ 2672675 w 9847941"/>
                  <a:gd name="connsiteY6179" fmla="*/ 1184892 h 1864765"/>
                  <a:gd name="connsiteX6180" fmla="*/ 2672372 w 9847941"/>
                  <a:gd name="connsiteY6180" fmla="*/ 1186559 h 1864765"/>
                  <a:gd name="connsiteX6181" fmla="*/ 2672675 w 9847941"/>
                  <a:gd name="connsiteY6181" fmla="*/ 1187316 h 1864765"/>
                  <a:gd name="connsiteX6182" fmla="*/ 2677524 w 9847941"/>
                  <a:gd name="connsiteY6182" fmla="*/ 1185801 h 1864765"/>
                  <a:gd name="connsiteX6183" fmla="*/ 2679645 w 9847941"/>
                  <a:gd name="connsiteY6183" fmla="*/ 1184286 h 1864765"/>
                  <a:gd name="connsiteX6184" fmla="*/ 2689039 w 9847941"/>
                  <a:gd name="connsiteY6184" fmla="*/ 1182619 h 1864765"/>
                  <a:gd name="connsiteX6185" fmla="*/ 2691009 w 9847941"/>
                  <a:gd name="connsiteY6185" fmla="*/ 1182467 h 1864765"/>
                  <a:gd name="connsiteX6186" fmla="*/ 2692070 w 9847941"/>
                  <a:gd name="connsiteY6186" fmla="*/ 1182619 h 1864765"/>
                  <a:gd name="connsiteX6187" fmla="*/ 2692524 w 9847941"/>
                  <a:gd name="connsiteY6187" fmla="*/ 1181558 h 1864765"/>
                  <a:gd name="connsiteX6188" fmla="*/ 2692373 w 9847941"/>
                  <a:gd name="connsiteY6188" fmla="*/ 1178376 h 1864765"/>
                  <a:gd name="connsiteX6189" fmla="*/ 2691312 w 9847941"/>
                  <a:gd name="connsiteY6189" fmla="*/ 1173376 h 1864765"/>
                  <a:gd name="connsiteX6190" fmla="*/ 2687675 w 9847941"/>
                  <a:gd name="connsiteY6190" fmla="*/ 1169588 h 1864765"/>
                  <a:gd name="connsiteX6191" fmla="*/ 2686312 w 9847941"/>
                  <a:gd name="connsiteY6191" fmla="*/ 1168982 h 1864765"/>
                  <a:gd name="connsiteX6192" fmla="*/ 2685100 w 9847941"/>
                  <a:gd name="connsiteY6192" fmla="*/ 1168831 h 1864765"/>
                  <a:gd name="connsiteX6193" fmla="*/ 2684039 w 9847941"/>
                  <a:gd name="connsiteY6193" fmla="*/ 1169134 h 1864765"/>
                  <a:gd name="connsiteX6194" fmla="*/ 2684191 w 9847941"/>
                  <a:gd name="connsiteY6194" fmla="*/ 1169740 h 1864765"/>
                  <a:gd name="connsiteX6195" fmla="*/ 2685251 w 9847941"/>
                  <a:gd name="connsiteY6195" fmla="*/ 1170952 h 1864765"/>
                  <a:gd name="connsiteX6196" fmla="*/ 2685857 w 9847941"/>
                  <a:gd name="connsiteY6196" fmla="*/ 1170043 h 1864765"/>
                  <a:gd name="connsiteX6197" fmla="*/ 2687524 w 9847941"/>
                  <a:gd name="connsiteY6197" fmla="*/ 1171103 h 1864765"/>
                  <a:gd name="connsiteX6198" fmla="*/ 2688130 w 9847941"/>
                  <a:gd name="connsiteY6198" fmla="*/ 1172770 h 1864765"/>
                  <a:gd name="connsiteX6199" fmla="*/ 2690403 w 9847941"/>
                  <a:gd name="connsiteY6199" fmla="*/ 1176255 h 1864765"/>
                  <a:gd name="connsiteX6200" fmla="*/ 2690554 w 9847941"/>
                  <a:gd name="connsiteY6200" fmla="*/ 1177770 h 1864765"/>
                  <a:gd name="connsiteX6201" fmla="*/ 2686918 w 9847941"/>
                  <a:gd name="connsiteY6201" fmla="*/ 1179589 h 1864765"/>
                  <a:gd name="connsiteX6202" fmla="*/ 2682524 w 9847941"/>
                  <a:gd name="connsiteY6202" fmla="*/ 1180952 h 1864765"/>
                  <a:gd name="connsiteX6203" fmla="*/ 2678887 w 9847941"/>
                  <a:gd name="connsiteY6203" fmla="*/ 1180043 h 1864765"/>
                  <a:gd name="connsiteX6204" fmla="*/ 2676463 w 9847941"/>
                  <a:gd name="connsiteY6204" fmla="*/ 1178528 h 1864765"/>
                  <a:gd name="connsiteX6205" fmla="*/ 2675554 w 9847941"/>
                  <a:gd name="connsiteY6205" fmla="*/ 1174134 h 1864765"/>
                  <a:gd name="connsiteX6206" fmla="*/ 2672675 w 9847941"/>
                  <a:gd name="connsiteY6206" fmla="*/ 1172619 h 1864765"/>
                  <a:gd name="connsiteX6207" fmla="*/ 2672978 w 9847941"/>
                  <a:gd name="connsiteY6207" fmla="*/ 1171558 h 1864765"/>
                  <a:gd name="connsiteX6208" fmla="*/ 2673736 w 9847941"/>
                  <a:gd name="connsiteY6208" fmla="*/ 1170952 h 1864765"/>
                  <a:gd name="connsiteX6209" fmla="*/ 2670402 w 9847941"/>
                  <a:gd name="connsiteY6209" fmla="*/ 1164739 h 1864765"/>
                  <a:gd name="connsiteX6210" fmla="*/ 2668281 w 9847941"/>
                  <a:gd name="connsiteY6210" fmla="*/ 1163527 h 1864765"/>
                  <a:gd name="connsiteX6211" fmla="*/ 2663432 w 9847941"/>
                  <a:gd name="connsiteY6211" fmla="*/ 1162315 h 1864765"/>
                  <a:gd name="connsiteX6212" fmla="*/ 2662068 w 9847941"/>
                  <a:gd name="connsiteY6212" fmla="*/ 1161255 h 1864765"/>
                  <a:gd name="connsiteX6213" fmla="*/ 2665250 w 9847941"/>
                  <a:gd name="connsiteY6213" fmla="*/ 1157921 h 1864765"/>
                  <a:gd name="connsiteX6214" fmla="*/ 2666917 w 9847941"/>
                  <a:gd name="connsiteY6214" fmla="*/ 1155800 h 1864765"/>
                  <a:gd name="connsiteX6215" fmla="*/ 2667978 w 9847941"/>
                  <a:gd name="connsiteY6215" fmla="*/ 1153982 h 1864765"/>
                  <a:gd name="connsiteX6216" fmla="*/ 2670099 w 9847941"/>
                  <a:gd name="connsiteY6216" fmla="*/ 1153375 h 1864765"/>
                  <a:gd name="connsiteX6217" fmla="*/ 2672523 w 9847941"/>
                  <a:gd name="connsiteY6217" fmla="*/ 1151860 h 1864765"/>
                  <a:gd name="connsiteX6218" fmla="*/ 2673887 w 9847941"/>
                  <a:gd name="connsiteY6218" fmla="*/ 1151709 h 1864765"/>
                  <a:gd name="connsiteX6219" fmla="*/ 2674190 w 9847941"/>
                  <a:gd name="connsiteY6219" fmla="*/ 1150800 h 1864765"/>
                  <a:gd name="connsiteX6220" fmla="*/ 2673584 w 9847941"/>
                  <a:gd name="connsiteY6220" fmla="*/ 1150042 h 1864765"/>
                  <a:gd name="connsiteX6221" fmla="*/ 2672675 w 9847941"/>
                  <a:gd name="connsiteY6221" fmla="*/ 1150042 h 1864765"/>
                  <a:gd name="connsiteX6222" fmla="*/ 2671463 w 9847941"/>
                  <a:gd name="connsiteY6222" fmla="*/ 1150345 h 1864765"/>
                  <a:gd name="connsiteX6223" fmla="*/ 2670402 w 9847941"/>
                  <a:gd name="connsiteY6223" fmla="*/ 1150194 h 1864765"/>
                  <a:gd name="connsiteX6224" fmla="*/ 2669190 w 9847941"/>
                  <a:gd name="connsiteY6224" fmla="*/ 1148527 h 1864765"/>
                  <a:gd name="connsiteX6225" fmla="*/ 2668735 w 9847941"/>
                  <a:gd name="connsiteY6225" fmla="*/ 1146860 h 1864765"/>
                  <a:gd name="connsiteX6226" fmla="*/ 2667978 w 9847941"/>
                  <a:gd name="connsiteY6226" fmla="*/ 1145193 h 1864765"/>
                  <a:gd name="connsiteX6227" fmla="*/ 2669342 w 9847941"/>
                  <a:gd name="connsiteY6227" fmla="*/ 1141405 h 1864765"/>
                  <a:gd name="connsiteX6228" fmla="*/ 2670554 w 9847941"/>
                  <a:gd name="connsiteY6228" fmla="*/ 1137163 h 1864765"/>
                  <a:gd name="connsiteX6229" fmla="*/ 2671766 w 9847941"/>
                  <a:gd name="connsiteY6229" fmla="*/ 1135799 h 1864765"/>
                  <a:gd name="connsiteX6230" fmla="*/ 2673130 w 9847941"/>
                  <a:gd name="connsiteY6230" fmla="*/ 1135041 h 1864765"/>
                  <a:gd name="connsiteX6231" fmla="*/ 2676463 w 9847941"/>
                  <a:gd name="connsiteY6231" fmla="*/ 1127920 h 1864765"/>
                  <a:gd name="connsiteX6232" fmla="*/ 2680857 w 9847941"/>
                  <a:gd name="connsiteY6232" fmla="*/ 1123526 h 1864765"/>
                  <a:gd name="connsiteX6233" fmla="*/ 2685100 w 9847941"/>
                  <a:gd name="connsiteY6233" fmla="*/ 1118677 h 1864765"/>
                  <a:gd name="connsiteX6234" fmla="*/ 2684191 w 9847941"/>
                  <a:gd name="connsiteY6234" fmla="*/ 1117617 h 1864765"/>
                  <a:gd name="connsiteX6235" fmla="*/ 2683281 w 9847941"/>
                  <a:gd name="connsiteY6235" fmla="*/ 1117162 h 1864765"/>
                  <a:gd name="connsiteX6236" fmla="*/ 2685706 w 9847941"/>
                  <a:gd name="connsiteY6236" fmla="*/ 1113980 h 1864765"/>
                  <a:gd name="connsiteX6237" fmla="*/ 2688888 w 9847941"/>
                  <a:gd name="connsiteY6237" fmla="*/ 1111707 h 1864765"/>
                  <a:gd name="connsiteX6238" fmla="*/ 2691615 w 9847941"/>
                  <a:gd name="connsiteY6238" fmla="*/ 1110950 h 1864765"/>
                  <a:gd name="connsiteX6239" fmla="*/ 2691312 w 9847941"/>
                  <a:gd name="connsiteY6239" fmla="*/ 1112162 h 1864765"/>
                  <a:gd name="connsiteX6240" fmla="*/ 2691312 w 9847941"/>
                  <a:gd name="connsiteY6240" fmla="*/ 1113222 h 1864765"/>
                  <a:gd name="connsiteX6241" fmla="*/ 2692676 w 9847941"/>
                  <a:gd name="connsiteY6241" fmla="*/ 1112919 h 1864765"/>
                  <a:gd name="connsiteX6242" fmla="*/ 2694191 w 9847941"/>
                  <a:gd name="connsiteY6242" fmla="*/ 1112162 h 1864765"/>
                  <a:gd name="connsiteX6243" fmla="*/ 2695100 w 9847941"/>
                  <a:gd name="connsiteY6243" fmla="*/ 1113222 h 1864765"/>
                  <a:gd name="connsiteX6244" fmla="*/ 2696009 w 9847941"/>
                  <a:gd name="connsiteY6244" fmla="*/ 1113829 h 1864765"/>
                  <a:gd name="connsiteX6245" fmla="*/ 2696464 w 9847941"/>
                  <a:gd name="connsiteY6245" fmla="*/ 1112768 h 1864765"/>
                  <a:gd name="connsiteX6246" fmla="*/ 2696161 w 9847941"/>
                  <a:gd name="connsiteY6246" fmla="*/ 1110647 h 1864765"/>
                  <a:gd name="connsiteX6247" fmla="*/ 2696312 w 9847941"/>
                  <a:gd name="connsiteY6247" fmla="*/ 1109131 h 1864765"/>
                  <a:gd name="connsiteX6248" fmla="*/ 2696918 w 9847941"/>
                  <a:gd name="connsiteY6248" fmla="*/ 1109586 h 1864765"/>
                  <a:gd name="connsiteX6249" fmla="*/ 2697221 w 9847941"/>
                  <a:gd name="connsiteY6249" fmla="*/ 1110798 h 1864765"/>
                  <a:gd name="connsiteX6250" fmla="*/ 2698130 w 9847941"/>
                  <a:gd name="connsiteY6250" fmla="*/ 1111101 h 1864765"/>
                  <a:gd name="connsiteX6251" fmla="*/ 2699040 w 9847941"/>
                  <a:gd name="connsiteY6251" fmla="*/ 1107616 h 1864765"/>
                  <a:gd name="connsiteX6252" fmla="*/ 2700252 w 9847941"/>
                  <a:gd name="connsiteY6252" fmla="*/ 1106252 h 1864765"/>
                  <a:gd name="connsiteX6253" fmla="*/ 2700706 w 9847941"/>
                  <a:gd name="connsiteY6253" fmla="*/ 1107768 h 1864765"/>
                  <a:gd name="connsiteX6254" fmla="*/ 2701009 w 9847941"/>
                  <a:gd name="connsiteY6254" fmla="*/ 1110041 h 1864765"/>
                  <a:gd name="connsiteX6255" fmla="*/ 2701918 w 9847941"/>
                  <a:gd name="connsiteY6255" fmla="*/ 1109889 h 1864765"/>
                  <a:gd name="connsiteX6256" fmla="*/ 2702828 w 9847941"/>
                  <a:gd name="connsiteY6256" fmla="*/ 1106707 h 1864765"/>
                  <a:gd name="connsiteX6257" fmla="*/ 2703282 w 9847941"/>
                  <a:gd name="connsiteY6257" fmla="*/ 1107313 h 1864765"/>
                  <a:gd name="connsiteX6258" fmla="*/ 2703888 w 9847941"/>
                  <a:gd name="connsiteY6258" fmla="*/ 1109434 h 1864765"/>
                  <a:gd name="connsiteX6259" fmla="*/ 2704949 w 9847941"/>
                  <a:gd name="connsiteY6259" fmla="*/ 1109131 h 1864765"/>
                  <a:gd name="connsiteX6260" fmla="*/ 2706161 w 9847941"/>
                  <a:gd name="connsiteY6260" fmla="*/ 1107465 h 1864765"/>
                  <a:gd name="connsiteX6261" fmla="*/ 2708585 w 9847941"/>
                  <a:gd name="connsiteY6261" fmla="*/ 1105950 h 1864765"/>
                  <a:gd name="connsiteX6262" fmla="*/ 2711767 w 9847941"/>
                  <a:gd name="connsiteY6262" fmla="*/ 1106404 h 1864765"/>
                  <a:gd name="connsiteX6263" fmla="*/ 2714192 w 9847941"/>
                  <a:gd name="connsiteY6263" fmla="*/ 1104737 h 1864765"/>
                  <a:gd name="connsiteX6264" fmla="*/ 2716010 w 9847941"/>
                  <a:gd name="connsiteY6264" fmla="*/ 1102768 h 1864765"/>
                  <a:gd name="connsiteX6265" fmla="*/ 2716161 w 9847941"/>
                  <a:gd name="connsiteY6265" fmla="*/ 1100192 h 1864765"/>
                  <a:gd name="connsiteX6266" fmla="*/ 2719040 w 9847941"/>
                  <a:gd name="connsiteY6266" fmla="*/ 1094282 h 1864765"/>
                  <a:gd name="connsiteX6267" fmla="*/ 2718889 w 9847941"/>
                  <a:gd name="connsiteY6267" fmla="*/ 1091404 h 1864765"/>
                  <a:gd name="connsiteX6268" fmla="*/ 2722071 w 9847941"/>
                  <a:gd name="connsiteY6268" fmla="*/ 1089737 h 1864765"/>
                  <a:gd name="connsiteX6269" fmla="*/ 2723434 w 9847941"/>
                  <a:gd name="connsiteY6269" fmla="*/ 1087616 h 1864765"/>
                  <a:gd name="connsiteX6270" fmla="*/ 2724495 w 9847941"/>
                  <a:gd name="connsiteY6270" fmla="*/ 1086858 h 1864765"/>
                  <a:gd name="connsiteX6271" fmla="*/ 2724343 w 9847941"/>
                  <a:gd name="connsiteY6271" fmla="*/ 1088979 h 1864765"/>
                  <a:gd name="connsiteX6272" fmla="*/ 2723586 w 9847941"/>
                  <a:gd name="connsiteY6272" fmla="*/ 1090797 h 1864765"/>
                  <a:gd name="connsiteX6273" fmla="*/ 2724041 w 9847941"/>
                  <a:gd name="connsiteY6273" fmla="*/ 1091100 h 1864765"/>
                  <a:gd name="connsiteX6274" fmla="*/ 2725101 w 9847941"/>
                  <a:gd name="connsiteY6274" fmla="*/ 1090797 h 1864765"/>
                  <a:gd name="connsiteX6275" fmla="*/ 2725859 w 9847941"/>
                  <a:gd name="connsiteY6275" fmla="*/ 1091252 h 1864765"/>
                  <a:gd name="connsiteX6276" fmla="*/ 2723586 w 9847941"/>
                  <a:gd name="connsiteY6276" fmla="*/ 1093222 h 1864765"/>
                  <a:gd name="connsiteX6277" fmla="*/ 2723131 w 9847941"/>
                  <a:gd name="connsiteY6277" fmla="*/ 1094585 h 1864765"/>
                  <a:gd name="connsiteX6278" fmla="*/ 2725556 w 9847941"/>
                  <a:gd name="connsiteY6278" fmla="*/ 1094434 h 1864765"/>
                  <a:gd name="connsiteX6279" fmla="*/ 2728586 w 9847941"/>
                  <a:gd name="connsiteY6279" fmla="*/ 1095495 h 1864765"/>
                  <a:gd name="connsiteX6280" fmla="*/ 2729647 w 9847941"/>
                  <a:gd name="connsiteY6280" fmla="*/ 1096858 h 1864765"/>
                  <a:gd name="connsiteX6281" fmla="*/ 2730707 w 9847941"/>
                  <a:gd name="connsiteY6281" fmla="*/ 1097313 h 1864765"/>
                  <a:gd name="connsiteX6282" fmla="*/ 2731162 w 9847941"/>
                  <a:gd name="connsiteY6282" fmla="*/ 1095798 h 1864765"/>
                  <a:gd name="connsiteX6283" fmla="*/ 2731010 w 9847941"/>
                  <a:gd name="connsiteY6283" fmla="*/ 1093222 h 1864765"/>
                  <a:gd name="connsiteX6284" fmla="*/ 2732223 w 9847941"/>
                  <a:gd name="connsiteY6284" fmla="*/ 1091100 h 1864765"/>
                  <a:gd name="connsiteX6285" fmla="*/ 2732980 w 9847941"/>
                  <a:gd name="connsiteY6285" fmla="*/ 1088979 h 1864765"/>
                  <a:gd name="connsiteX6286" fmla="*/ 2733889 w 9847941"/>
                  <a:gd name="connsiteY6286" fmla="*/ 1090343 h 1864765"/>
                  <a:gd name="connsiteX6287" fmla="*/ 2735102 w 9847941"/>
                  <a:gd name="connsiteY6287" fmla="*/ 1091100 h 1864765"/>
                  <a:gd name="connsiteX6288" fmla="*/ 2736617 w 9847941"/>
                  <a:gd name="connsiteY6288" fmla="*/ 1090191 h 1864765"/>
                  <a:gd name="connsiteX6289" fmla="*/ 2737677 w 9847941"/>
                  <a:gd name="connsiteY6289" fmla="*/ 1089131 h 1864765"/>
                  <a:gd name="connsiteX6290" fmla="*/ 2738586 w 9847941"/>
                  <a:gd name="connsiteY6290" fmla="*/ 1088828 h 1864765"/>
                  <a:gd name="connsiteX6291" fmla="*/ 2739950 w 9847941"/>
                  <a:gd name="connsiteY6291" fmla="*/ 1088828 h 1864765"/>
                  <a:gd name="connsiteX6292" fmla="*/ 2741162 w 9847941"/>
                  <a:gd name="connsiteY6292" fmla="*/ 1089282 h 1864765"/>
                  <a:gd name="connsiteX6293" fmla="*/ 2742071 w 9847941"/>
                  <a:gd name="connsiteY6293" fmla="*/ 1089737 h 1864765"/>
                  <a:gd name="connsiteX6294" fmla="*/ 2742678 w 9847941"/>
                  <a:gd name="connsiteY6294" fmla="*/ 1091404 h 1864765"/>
                  <a:gd name="connsiteX6295" fmla="*/ 2743738 w 9847941"/>
                  <a:gd name="connsiteY6295" fmla="*/ 1093222 h 1864765"/>
                  <a:gd name="connsiteX6296" fmla="*/ 2744950 w 9847941"/>
                  <a:gd name="connsiteY6296" fmla="*/ 1092616 h 1864765"/>
                  <a:gd name="connsiteX6297" fmla="*/ 2745708 w 9847941"/>
                  <a:gd name="connsiteY6297" fmla="*/ 1092010 h 1864765"/>
                  <a:gd name="connsiteX6298" fmla="*/ 2746314 w 9847941"/>
                  <a:gd name="connsiteY6298" fmla="*/ 1090494 h 1864765"/>
                  <a:gd name="connsiteX6299" fmla="*/ 2747829 w 9847941"/>
                  <a:gd name="connsiteY6299" fmla="*/ 1090797 h 1864765"/>
                  <a:gd name="connsiteX6300" fmla="*/ 2749647 w 9847941"/>
                  <a:gd name="connsiteY6300" fmla="*/ 1086706 h 1864765"/>
                  <a:gd name="connsiteX6301" fmla="*/ 2751011 w 9847941"/>
                  <a:gd name="connsiteY6301" fmla="*/ 1086403 h 1864765"/>
                  <a:gd name="connsiteX6302" fmla="*/ 2752678 w 9847941"/>
                  <a:gd name="connsiteY6302" fmla="*/ 1087009 h 1864765"/>
                  <a:gd name="connsiteX6303" fmla="*/ 2754648 w 9847941"/>
                  <a:gd name="connsiteY6303" fmla="*/ 1087161 h 1864765"/>
                  <a:gd name="connsiteX6304" fmla="*/ 2756163 w 9847941"/>
                  <a:gd name="connsiteY6304" fmla="*/ 1086706 h 1864765"/>
                  <a:gd name="connsiteX6305" fmla="*/ 2757375 w 9847941"/>
                  <a:gd name="connsiteY6305" fmla="*/ 1084434 h 1864765"/>
                  <a:gd name="connsiteX6306" fmla="*/ 2760102 w 9847941"/>
                  <a:gd name="connsiteY6306" fmla="*/ 1083979 h 1864765"/>
                  <a:gd name="connsiteX6307" fmla="*/ 2762678 w 9847941"/>
                  <a:gd name="connsiteY6307" fmla="*/ 1082615 h 1864765"/>
                  <a:gd name="connsiteX6308" fmla="*/ 2767376 w 9847941"/>
                  <a:gd name="connsiteY6308" fmla="*/ 1083373 h 1864765"/>
                  <a:gd name="connsiteX6309" fmla="*/ 2772982 w 9847941"/>
                  <a:gd name="connsiteY6309" fmla="*/ 1078221 h 1864765"/>
                  <a:gd name="connsiteX6310" fmla="*/ 2772830 w 9847941"/>
                  <a:gd name="connsiteY6310" fmla="*/ 1077464 h 1864765"/>
                  <a:gd name="connsiteX6311" fmla="*/ 2771012 w 9847941"/>
                  <a:gd name="connsiteY6311" fmla="*/ 1076100 h 1864765"/>
                  <a:gd name="connsiteX6312" fmla="*/ 2737526 w 9847941"/>
                  <a:gd name="connsiteY6312" fmla="*/ 1090494 h 1864765"/>
                  <a:gd name="connsiteX6313" fmla="*/ 2735859 w 9847941"/>
                  <a:gd name="connsiteY6313" fmla="*/ 1089888 h 1864765"/>
                  <a:gd name="connsiteX6314" fmla="*/ 2734495 w 9847941"/>
                  <a:gd name="connsiteY6314" fmla="*/ 1090797 h 1864765"/>
                  <a:gd name="connsiteX6315" fmla="*/ 2732829 w 9847941"/>
                  <a:gd name="connsiteY6315" fmla="*/ 1093070 h 1864765"/>
                  <a:gd name="connsiteX6316" fmla="*/ 2732829 w 9847941"/>
                  <a:gd name="connsiteY6316" fmla="*/ 1095343 h 1864765"/>
                  <a:gd name="connsiteX6317" fmla="*/ 2733586 w 9847941"/>
                  <a:gd name="connsiteY6317" fmla="*/ 1095949 h 1864765"/>
                  <a:gd name="connsiteX6318" fmla="*/ 2735556 w 9847941"/>
                  <a:gd name="connsiteY6318" fmla="*/ 1096858 h 1864765"/>
                  <a:gd name="connsiteX6319" fmla="*/ 2735708 w 9847941"/>
                  <a:gd name="connsiteY6319" fmla="*/ 1096252 h 1864765"/>
                  <a:gd name="connsiteX6320" fmla="*/ 2735708 w 9847941"/>
                  <a:gd name="connsiteY6320" fmla="*/ 1094434 h 1864765"/>
                  <a:gd name="connsiteX6321" fmla="*/ 2737526 w 9847941"/>
                  <a:gd name="connsiteY6321" fmla="*/ 1094737 h 1864765"/>
                  <a:gd name="connsiteX6322" fmla="*/ 2739193 w 9847941"/>
                  <a:gd name="connsiteY6322" fmla="*/ 1094131 h 1864765"/>
                  <a:gd name="connsiteX6323" fmla="*/ 2739041 w 9847941"/>
                  <a:gd name="connsiteY6323" fmla="*/ 1093070 h 1864765"/>
                  <a:gd name="connsiteX6324" fmla="*/ 2737526 w 9847941"/>
                  <a:gd name="connsiteY6324" fmla="*/ 1090494 h 1864765"/>
                  <a:gd name="connsiteX6325" fmla="*/ 1251713 w 9847941"/>
                  <a:gd name="connsiteY6325" fmla="*/ 958368 h 1864765"/>
                  <a:gd name="connsiteX6326" fmla="*/ 1251865 w 9847941"/>
                  <a:gd name="connsiteY6326" fmla="*/ 957459 h 1864765"/>
                  <a:gd name="connsiteX6327" fmla="*/ 1250804 w 9847941"/>
                  <a:gd name="connsiteY6327" fmla="*/ 956096 h 1864765"/>
                  <a:gd name="connsiteX6328" fmla="*/ 1249895 w 9847941"/>
                  <a:gd name="connsiteY6328" fmla="*/ 955338 h 1864765"/>
                  <a:gd name="connsiteX6329" fmla="*/ 1249137 w 9847941"/>
                  <a:gd name="connsiteY6329" fmla="*/ 955186 h 1864765"/>
                  <a:gd name="connsiteX6330" fmla="*/ 1248077 w 9847941"/>
                  <a:gd name="connsiteY6330" fmla="*/ 956399 h 1864765"/>
                  <a:gd name="connsiteX6331" fmla="*/ 1246561 w 9847941"/>
                  <a:gd name="connsiteY6331" fmla="*/ 958823 h 1864765"/>
                  <a:gd name="connsiteX6332" fmla="*/ 1245955 w 9847941"/>
                  <a:gd name="connsiteY6332" fmla="*/ 960338 h 1864765"/>
                  <a:gd name="connsiteX6333" fmla="*/ 1246107 w 9847941"/>
                  <a:gd name="connsiteY6333" fmla="*/ 960793 h 1864765"/>
                  <a:gd name="connsiteX6334" fmla="*/ 1247471 w 9847941"/>
                  <a:gd name="connsiteY6334" fmla="*/ 962611 h 1864765"/>
                  <a:gd name="connsiteX6335" fmla="*/ 1248380 w 9847941"/>
                  <a:gd name="connsiteY6335" fmla="*/ 963217 h 1864765"/>
                  <a:gd name="connsiteX6336" fmla="*/ 1249289 w 9847941"/>
                  <a:gd name="connsiteY6336" fmla="*/ 963368 h 1864765"/>
                  <a:gd name="connsiteX6337" fmla="*/ 1249743 w 9847941"/>
                  <a:gd name="connsiteY6337" fmla="*/ 964126 h 1864765"/>
                  <a:gd name="connsiteX6338" fmla="*/ 1249895 w 9847941"/>
                  <a:gd name="connsiteY6338" fmla="*/ 966702 h 1864765"/>
                  <a:gd name="connsiteX6339" fmla="*/ 1250198 w 9847941"/>
                  <a:gd name="connsiteY6339" fmla="*/ 967611 h 1864765"/>
                  <a:gd name="connsiteX6340" fmla="*/ 1251107 w 9847941"/>
                  <a:gd name="connsiteY6340" fmla="*/ 968975 h 1864765"/>
                  <a:gd name="connsiteX6341" fmla="*/ 1252925 w 9847941"/>
                  <a:gd name="connsiteY6341" fmla="*/ 969429 h 1864765"/>
                  <a:gd name="connsiteX6342" fmla="*/ 1253834 w 9847941"/>
                  <a:gd name="connsiteY6342" fmla="*/ 970035 h 1864765"/>
                  <a:gd name="connsiteX6343" fmla="*/ 1254441 w 9847941"/>
                  <a:gd name="connsiteY6343" fmla="*/ 971248 h 1864765"/>
                  <a:gd name="connsiteX6344" fmla="*/ 1255198 w 9847941"/>
                  <a:gd name="connsiteY6344" fmla="*/ 971702 h 1864765"/>
                  <a:gd name="connsiteX6345" fmla="*/ 1255956 w 9847941"/>
                  <a:gd name="connsiteY6345" fmla="*/ 971551 h 1864765"/>
                  <a:gd name="connsiteX6346" fmla="*/ 1256410 w 9847941"/>
                  <a:gd name="connsiteY6346" fmla="*/ 970944 h 1864765"/>
                  <a:gd name="connsiteX6347" fmla="*/ 1256410 w 9847941"/>
                  <a:gd name="connsiteY6347" fmla="*/ 969278 h 1864765"/>
                  <a:gd name="connsiteX6348" fmla="*/ 1252622 w 9847941"/>
                  <a:gd name="connsiteY6348" fmla="*/ 965944 h 1864765"/>
                  <a:gd name="connsiteX6349" fmla="*/ 1252016 w 9847941"/>
                  <a:gd name="connsiteY6349" fmla="*/ 967914 h 1864765"/>
                  <a:gd name="connsiteX6350" fmla="*/ 1250653 w 9847941"/>
                  <a:gd name="connsiteY6350" fmla="*/ 963368 h 1864765"/>
                  <a:gd name="connsiteX6351" fmla="*/ 1250046 w 9847941"/>
                  <a:gd name="connsiteY6351" fmla="*/ 961853 h 1864765"/>
                  <a:gd name="connsiteX6352" fmla="*/ 1249289 w 9847941"/>
                  <a:gd name="connsiteY6352" fmla="*/ 961399 h 1864765"/>
                  <a:gd name="connsiteX6353" fmla="*/ 1247319 w 9847941"/>
                  <a:gd name="connsiteY6353" fmla="*/ 960944 h 1864765"/>
                  <a:gd name="connsiteX6354" fmla="*/ 1247471 w 9847941"/>
                  <a:gd name="connsiteY6354" fmla="*/ 960490 h 1864765"/>
                  <a:gd name="connsiteX6355" fmla="*/ 1251713 w 9847941"/>
                  <a:gd name="connsiteY6355" fmla="*/ 958368 h 1864765"/>
                  <a:gd name="connsiteX6356" fmla="*/ 2574641 w 9847941"/>
                  <a:gd name="connsiteY6356" fmla="*/ 1216408 h 1864765"/>
                  <a:gd name="connsiteX6357" fmla="*/ 2573277 w 9847941"/>
                  <a:gd name="connsiteY6357" fmla="*/ 1219439 h 1864765"/>
                  <a:gd name="connsiteX6358" fmla="*/ 2574641 w 9847941"/>
                  <a:gd name="connsiteY6358" fmla="*/ 1219287 h 1864765"/>
                  <a:gd name="connsiteX6359" fmla="*/ 2576005 w 9847941"/>
                  <a:gd name="connsiteY6359" fmla="*/ 1218681 h 1864765"/>
                  <a:gd name="connsiteX6360" fmla="*/ 2577671 w 9847941"/>
                  <a:gd name="connsiteY6360" fmla="*/ 1217166 h 1864765"/>
                  <a:gd name="connsiteX6361" fmla="*/ 2577975 w 9847941"/>
                  <a:gd name="connsiteY6361" fmla="*/ 1216257 h 1864765"/>
                  <a:gd name="connsiteX6362" fmla="*/ 2577975 w 9847941"/>
                  <a:gd name="connsiteY6362" fmla="*/ 1215196 h 1864765"/>
                  <a:gd name="connsiteX6363" fmla="*/ 2577065 w 9847941"/>
                  <a:gd name="connsiteY6363" fmla="*/ 1214893 h 1864765"/>
                  <a:gd name="connsiteX6364" fmla="*/ 2574641 w 9847941"/>
                  <a:gd name="connsiteY6364" fmla="*/ 1216408 h 1864765"/>
                  <a:gd name="connsiteX6365" fmla="*/ 2375088 w 9847941"/>
                  <a:gd name="connsiteY6365" fmla="*/ 1518540 h 1864765"/>
                  <a:gd name="connsiteX6366" fmla="*/ 2375088 w 9847941"/>
                  <a:gd name="connsiteY6366" fmla="*/ 1521116 h 1864765"/>
                  <a:gd name="connsiteX6367" fmla="*/ 2375543 w 9847941"/>
                  <a:gd name="connsiteY6367" fmla="*/ 1523692 h 1864765"/>
                  <a:gd name="connsiteX6368" fmla="*/ 2376755 w 9847941"/>
                  <a:gd name="connsiteY6368" fmla="*/ 1516419 h 1864765"/>
                  <a:gd name="connsiteX6369" fmla="*/ 2375846 w 9847941"/>
                  <a:gd name="connsiteY6369" fmla="*/ 1517177 h 1864765"/>
                  <a:gd name="connsiteX6370" fmla="*/ 2375088 w 9847941"/>
                  <a:gd name="connsiteY6370" fmla="*/ 1518540 h 1864765"/>
                  <a:gd name="connsiteX6371" fmla="*/ 2405998 w 9847941"/>
                  <a:gd name="connsiteY6371" fmla="*/ 1614150 h 1864765"/>
                  <a:gd name="connsiteX6372" fmla="*/ 2404938 w 9847941"/>
                  <a:gd name="connsiteY6372" fmla="*/ 1610816 h 1864765"/>
                  <a:gd name="connsiteX6373" fmla="*/ 2403877 w 9847941"/>
                  <a:gd name="connsiteY6373" fmla="*/ 1609150 h 1864765"/>
                  <a:gd name="connsiteX6374" fmla="*/ 2405544 w 9847941"/>
                  <a:gd name="connsiteY6374" fmla="*/ 1615211 h 1864765"/>
                  <a:gd name="connsiteX6375" fmla="*/ 2408726 w 9847941"/>
                  <a:gd name="connsiteY6375" fmla="*/ 1623090 h 1864765"/>
                  <a:gd name="connsiteX6376" fmla="*/ 2411302 w 9847941"/>
                  <a:gd name="connsiteY6376" fmla="*/ 1628090 h 1864765"/>
                  <a:gd name="connsiteX6377" fmla="*/ 2410847 w 9847941"/>
                  <a:gd name="connsiteY6377" fmla="*/ 1625968 h 1864765"/>
                  <a:gd name="connsiteX6378" fmla="*/ 2405998 w 9847941"/>
                  <a:gd name="connsiteY6378" fmla="*/ 1614150 h 1864765"/>
                  <a:gd name="connsiteX6379" fmla="*/ 2164323 w 9847941"/>
                  <a:gd name="connsiteY6379" fmla="*/ 1540359 h 1864765"/>
                  <a:gd name="connsiteX6380" fmla="*/ 2161747 w 9847941"/>
                  <a:gd name="connsiteY6380" fmla="*/ 1542026 h 1864765"/>
                  <a:gd name="connsiteX6381" fmla="*/ 2161444 w 9847941"/>
                  <a:gd name="connsiteY6381" fmla="*/ 1542481 h 1864765"/>
                  <a:gd name="connsiteX6382" fmla="*/ 2160838 w 9847941"/>
                  <a:gd name="connsiteY6382" fmla="*/ 1542935 h 1864765"/>
                  <a:gd name="connsiteX6383" fmla="*/ 2159929 w 9847941"/>
                  <a:gd name="connsiteY6383" fmla="*/ 1543390 h 1864765"/>
                  <a:gd name="connsiteX6384" fmla="*/ 2161898 w 9847941"/>
                  <a:gd name="connsiteY6384" fmla="*/ 1543390 h 1864765"/>
                  <a:gd name="connsiteX6385" fmla="*/ 2163262 w 9847941"/>
                  <a:gd name="connsiteY6385" fmla="*/ 1544147 h 1864765"/>
                  <a:gd name="connsiteX6386" fmla="*/ 2163111 w 9847941"/>
                  <a:gd name="connsiteY6386" fmla="*/ 1542784 h 1864765"/>
                  <a:gd name="connsiteX6387" fmla="*/ 2163414 w 9847941"/>
                  <a:gd name="connsiteY6387" fmla="*/ 1541571 h 1864765"/>
                  <a:gd name="connsiteX6388" fmla="*/ 2164323 w 9847941"/>
                  <a:gd name="connsiteY6388" fmla="*/ 1540359 h 1864765"/>
                  <a:gd name="connsiteX6389" fmla="*/ 2688130 w 9847941"/>
                  <a:gd name="connsiteY6389" fmla="*/ 1191104 h 1864765"/>
                  <a:gd name="connsiteX6390" fmla="*/ 2688130 w 9847941"/>
                  <a:gd name="connsiteY6390" fmla="*/ 1191862 h 1864765"/>
                  <a:gd name="connsiteX6391" fmla="*/ 2687675 w 9847941"/>
                  <a:gd name="connsiteY6391" fmla="*/ 1193377 h 1864765"/>
                  <a:gd name="connsiteX6392" fmla="*/ 2687070 w 9847941"/>
                  <a:gd name="connsiteY6392" fmla="*/ 1193680 h 1864765"/>
                  <a:gd name="connsiteX6393" fmla="*/ 2683130 w 9847941"/>
                  <a:gd name="connsiteY6393" fmla="*/ 1194741 h 1864765"/>
                  <a:gd name="connsiteX6394" fmla="*/ 2687979 w 9847941"/>
                  <a:gd name="connsiteY6394" fmla="*/ 1195953 h 1864765"/>
                  <a:gd name="connsiteX6395" fmla="*/ 2690100 w 9847941"/>
                  <a:gd name="connsiteY6395" fmla="*/ 1195498 h 1864765"/>
                  <a:gd name="connsiteX6396" fmla="*/ 2689948 w 9847941"/>
                  <a:gd name="connsiteY6396" fmla="*/ 1194438 h 1864765"/>
                  <a:gd name="connsiteX6397" fmla="*/ 2688130 w 9847941"/>
                  <a:gd name="connsiteY6397" fmla="*/ 1191104 h 1864765"/>
                  <a:gd name="connsiteX6398" fmla="*/ 2535094 w 9847941"/>
                  <a:gd name="connsiteY6398" fmla="*/ 1367323 h 1864765"/>
                  <a:gd name="connsiteX6399" fmla="*/ 2535094 w 9847941"/>
                  <a:gd name="connsiteY6399" fmla="*/ 1366565 h 1864765"/>
                  <a:gd name="connsiteX6400" fmla="*/ 2534791 w 9847941"/>
                  <a:gd name="connsiteY6400" fmla="*/ 1365656 h 1864765"/>
                  <a:gd name="connsiteX6401" fmla="*/ 2532973 w 9847941"/>
                  <a:gd name="connsiteY6401" fmla="*/ 1364595 h 1864765"/>
                  <a:gd name="connsiteX6402" fmla="*/ 2534791 w 9847941"/>
                  <a:gd name="connsiteY6402" fmla="*/ 1368080 h 1864765"/>
                  <a:gd name="connsiteX6403" fmla="*/ 2535094 w 9847941"/>
                  <a:gd name="connsiteY6403" fmla="*/ 1367323 h 1864765"/>
                  <a:gd name="connsiteX6404" fmla="*/ 2546307 w 9847941"/>
                  <a:gd name="connsiteY6404" fmla="*/ 1297775 h 1864765"/>
                  <a:gd name="connsiteX6405" fmla="*/ 2542064 w 9847941"/>
                  <a:gd name="connsiteY6405" fmla="*/ 1304139 h 1864765"/>
                  <a:gd name="connsiteX6406" fmla="*/ 2543276 w 9847941"/>
                  <a:gd name="connsiteY6406" fmla="*/ 1303684 h 1864765"/>
                  <a:gd name="connsiteX6407" fmla="*/ 2546761 w 9847941"/>
                  <a:gd name="connsiteY6407" fmla="*/ 1297926 h 1864765"/>
                  <a:gd name="connsiteX6408" fmla="*/ 2548580 w 9847941"/>
                  <a:gd name="connsiteY6408" fmla="*/ 1294441 h 1864765"/>
                  <a:gd name="connsiteX6409" fmla="*/ 2549640 w 9847941"/>
                  <a:gd name="connsiteY6409" fmla="*/ 1290653 h 1864765"/>
                  <a:gd name="connsiteX6410" fmla="*/ 2548580 w 9847941"/>
                  <a:gd name="connsiteY6410" fmla="*/ 1292471 h 1864765"/>
                  <a:gd name="connsiteX6411" fmla="*/ 2546307 w 9847941"/>
                  <a:gd name="connsiteY6411" fmla="*/ 1297775 h 1864765"/>
                  <a:gd name="connsiteX6412" fmla="*/ 2525548 w 9847941"/>
                  <a:gd name="connsiteY6412" fmla="*/ 1390051 h 1864765"/>
                  <a:gd name="connsiteX6413" fmla="*/ 2526154 w 9847941"/>
                  <a:gd name="connsiteY6413" fmla="*/ 1390202 h 1864765"/>
                  <a:gd name="connsiteX6414" fmla="*/ 2531155 w 9847941"/>
                  <a:gd name="connsiteY6414" fmla="*/ 1387929 h 1864765"/>
                  <a:gd name="connsiteX6415" fmla="*/ 2528882 w 9847941"/>
                  <a:gd name="connsiteY6415" fmla="*/ 1388384 h 1864765"/>
                  <a:gd name="connsiteX6416" fmla="*/ 2525548 w 9847941"/>
                  <a:gd name="connsiteY6416" fmla="*/ 1390051 h 1864765"/>
                  <a:gd name="connsiteX6417" fmla="*/ 2572974 w 9847941"/>
                  <a:gd name="connsiteY6417" fmla="*/ 1251409 h 1864765"/>
                  <a:gd name="connsiteX6418" fmla="*/ 2576156 w 9847941"/>
                  <a:gd name="connsiteY6418" fmla="*/ 1246561 h 1864765"/>
                  <a:gd name="connsiteX6419" fmla="*/ 2576914 w 9847941"/>
                  <a:gd name="connsiteY6419" fmla="*/ 1244439 h 1864765"/>
                  <a:gd name="connsiteX6420" fmla="*/ 2572974 w 9847941"/>
                  <a:gd name="connsiteY6420" fmla="*/ 1250500 h 1864765"/>
                  <a:gd name="connsiteX6421" fmla="*/ 2572974 w 9847941"/>
                  <a:gd name="connsiteY6421" fmla="*/ 1251409 h 1864765"/>
                  <a:gd name="connsiteX6422" fmla="*/ 2538731 w 9847941"/>
                  <a:gd name="connsiteY6422" fmla="*/ 1369899 h 1864765"/>
                  <a:gd name="connsiteX6423" fmla="*/ 2538731 w 9847941"/>
                  <a:gd name="connsiteY6423" fmla="*/ 1370959 h 1864765"/>
                  <a:gd name="connsiteX6424" fmla="*/ 2539337 w 9847941"/>
                  <a:gd name="connsiteY6424" fmla="*/ 1375959 h 1864765"/>
                  <a:gd name="connsiteX6425" fmla="*/ 2539185 w 9847941"/>
                  <a:gd name="connsiteY6425" fmla="*/ 1378838 h 1864765"/>
                  <a:gd name="connsiteX6426" fmla="*/ 2537821 w 9847941"/>
                  <a:gd name="connsiteY6426" fmla="*/ 1385051 h 1864765"/>
                  <a:gd name="connsiteX6427" fmla="*/ 2533579 w 9847941"/>
                  <a:gd name="connsiteY6427" fmla="*/ 1386869 h 1864765"/>
                  <a:gd name="connsiteX6428" fmla="*/ 2533882 w 9847941"/>
                  <a:gd name="connsiteY6428" fmla="*/ 1387172 h 1864765"/>
                  <a:gd name="connsiteX6429" fmla="*/ 2537518 w 9847941"/>
                  <a:gd name="connsiteY6429" fmla="*/ 1386263 h 1864765"/>
                  <a:gd name="connsiteX6430" fmla="*/ 2538428 w 9847941"/>
                  <a:gd name="connsiteY6430" fmla="*/ 1385051 h 1864765"/>
                  <a:gd name="connsiteX6431" fmla="*/ 2539640 w 9847941"/>
                  <a:gd name="connsiteY6431" fmla="*/ 1379899 h 1864765"/>
                  <a:gd name="connsiteX6432" fmla="*/ 2539943 w 9847941"/>
                  <a:gd name="connsiteY6432" fmla="*/ 1376262 h 1864765"/>
                  <a:gd name="connsiteX6433" fmla="*/ 2539337 w 9847941"/>
                  <a:gd name="connsiteY6433" fmla="*/ 1371565 h 1864765"/>
                  <a:gd name="connsiteX6434" fmla="*/ 2538731 w 9847941"/>
                  <a:gd name="connsiteY6434" fmla="*/ 1369899 h 1864765"/>
                  <a:gd name="connsiteX6435" fmla="*/ 2631764 w 9847941"/>
                  <a:gd name="connsiteY6435" fmla="*/ 1203529 h 1864765"/>
                  <a:gd name="connsiteX6436" fmla="*/ 2630401 w 9847941"/>
                  <a:gd name="connsiteY6436" fmla="*/ 1202317 h 1864765"/>
                  <a:gd name="connsiteX6437" fmla="*/ 2629492 w 9847941"/>
                  <a:gd name="connsiteY6437" fmla="*/ 1202468 h 1864765"/>
                  <a:gd name="connsiteX6438" fmla="*/ 2626613 w 9847941"/>
                  <a:gd name="connsiteY6438" fmla="*/ 1203226 h 1864765"/>
                  <a:gd name="connsiteX6439" fmla="*/ 2623279 w 9847941"/>
                  <a:gd name="connsiteY6439" fmla="*/ 1204892 h 1864765"/>
                  <a:gd name="connsiteX6440" fmla="*/ 2621916 w 9847941"/>
                  <a:gd name="connsiteY6440" fmla="*/ 1206105 h 1864765"/>
                  <a:gd name="connsiteX6441" fmla="*/ 2620400 w 9847941"/>
                  <a:gd name="connsiteY6441" fmla="*/ 1206711 h 1864765"/>
                  <a:gd name="connsiteX6442" fmla="*/ 2618582 w 9847941"/>
                  <a:gd name="connsiteY6442" fmla="*/ 1206559 h 1864765"/>
                  <a:gd name="connsiteX6443" fmla="*/ 2620552 w 9847941"/>
                  <a:gd name="connsiteY6443" fmla="*/ 1204438 h 1864765"/>
                  <a:gd name="connsiteX6444" fmla="*/ 2622825 w 9847941"/>
                  <a:gd name="connsiteY6444" fmla="*/ 1202771 h 1864765"/>
                  <a:gd name="connsiteX6445" fmla="*/ 2627067 w 9847941"/>
                  <a:gd name="connsiteY6445" fmla="*/ 1198983 h 1864765"/>
                  <a:gd name="connsiteX6446" fmla="*/ 2624340 w 9847941"/>
                  <a:gd name="connsiteY6446" fmla="*/ 1199892 h 1864765"/>
                  <a:gd name="connsiteX6447" fmla="*/ 2619643 w 9847941"/>
                  <a:gd name="connsiteY6447" fmla="*/ 1203074 h 1864765"/>
                  <a:gd name="connsiteX6448" fmla="*/ 2617370 w 9847941"/>
                  <a:gd name="connsiteY6448" fmla="*/ 1204286 h 1864765"/>
                  <a:gd name="connsiteX6449" fmla="*/ 2611764 w 9847941"/>
                  <a:gd name="connsiteY6449" fmla="*/ 1204892 h 1864765"/>
                  <a:gd name="connsiteX6450" fmla="*/ 2606157 w 9847941"/>
                  <a:gd name="connsiteY6450" fmla="*/ 1205044 h 1864765"/>
                  <a:gd name="connsiteX6451" fmla="*/ 2604036 w 9847941"/>
                  <a:gd name="connsiteY6451" fmla="*/ 1205347 h 1864765"/>
                  <a:gd name="connsiteX6452" fmla="*/ 2602066 w 9847941"/>
                  <a:gd name="connsiteY6452" fmla="*/ 1206256 h 1864765"/>
                  <a:gd name="connsiteX6453" fmla="*/ 2599491 w 9847941"/>
                  <a:gd name="connsiteY6453" fmla="*/ 1206408 h 1864765"/>
                  <a:gd name="connsiteX6454" fmla="*/ 2596915 w 9847941"/>
                  <a:gd name="connsiteY6454" fmla="*/ 1205802 h 1864765"/>
                  <a:gd name="connsiteX6455" fmla="*/ 2596005 w 9847941"/>
                  <a:gd name="connsiteY6455" fmla="*/ 1205953 h 1864765"/>
                  <a:gd name="connsiteX6456" fmla="*/ 2595096 w 9847941"/>
                  <a:gd name="connsiteY6456" fmla="*/ 1206408 h 1864765"/>
                  <a:gd name="connsiteX6457" fmla="*/ 2593884 w 9847941"/>
                  <a:gd name="connsiteY6457" fmla="*/ 1206559 h 1864765"/>
                  <a:gd name="connsiteX6458" fmla="*/ 2591460 w 9847941"/>
                  <a:gd name="connsiteY6458" fmla="*/ 1206559 h 1864765"/>
                  <a:gd name="connsiteX6459" fmla="*/ 2590551 w 9847941"/>
                  <a:gd name="connsiteY6459" fmla="*/ 1207014 h 1864765"/>
                  <a:gd name="connsiteX6460" fmla="*/ 2589642 w 9847941"/>
                  <a:gd name="connsiteY6460" fmla="*/ 1207771 h 1864765"/>
                  <a:gd name="connsiteX6461" fmla="*/ 2589339 w 9847941"/>
                  <a:gd name="connsiteY6461" fmla="*/ 1209135 h 1864765"/>
                  <a:gd name="connsiteX6462" fmla="*/ 2588126 w 9847941"/>
                  <a:gd name="connsiteY6462" fmla="*/ 1208074 h 1864765"/>
                  <a:gd name="connsiteX6463" fmla="*/ 2586460 w 9847941"/>
                  <a:gd name="connsiteY6463" fmla="*/ 1209287 h 1864765"/>
                  <a:gd name="connsiteX6464" fmla="*/ 2583126 w 9847941"/>
                  <a:gd name="connsiteY6464" fmla="*/ 1210650 h 1864765"/>
                  <a:gd name="connsiteX6465" fmla="*/ 2580853 w 9847941"/>
                  <a:gd name="connsiteY6465" fmla="*/ 1212772 h 1864765"/>
                  <a:gd name="connsiteX6466" fmla="*/ 2579793 w 9847941"/>
                  <a:gd name="connsiteY6466" fmla="*/ 1214135 h 1864765"/>
                  <a:gd name="connsiteX6467" fmla="*/ 2579035 w 9847941"/>
                  <a:gd name="connsiteY6467" fmla="*/ 1215650 h 1864765"/>
                  <a:gd name="connsiteX6468" fmla="*/ 2579490 w 9847941"/>
                  <a:gd name="connsiteY6468" fmla="*/ 1217469 h 1864765"/>
                  <a:gd name="connsiteX6469" fmla="*/ 2581914 w 9847941"/>
                  <a:gd name="connsiteY6469" fmla="*/ 1216863 h 1864765"/>
                  <a:gd name="connsiteX6470" fmla="*/ 2583429 w 9847941"/>
                  <a:gd name="connsiteY6470" fmla="*/ 1215196 h 1864765"/>
                  <a:gd name="connsiteX6471" fmla="*/ 2584793 w 9847941"/>
                  <a:gd name="connsiteY6471" fmla="*/ 1215044 h 1864765"/>
                  <a:gd name="connsiteX6472" fmla="*/ 2585399 w 9847941"/>
                  <a:gd name="connsiteY6472" fmla="*/ 1215499 h 1864765"/>
                  <a:gd name="connsiteX6473" fmla="*/ 2585399 w 9847941"/>
                  <a:gd name="connsiteY6473" fmla="*/ 1216105 h 1864765"/>
                  <a:gd name="connsiteX6474" fmla="*/ 2582672 w 9847941"/>
                  <a:gd name="connsiteY6474" fmla="*/ 1217772 h 1864765"/>
                  <a:gd name="connsiteX6475" fmla="*/ 2586308 w 9847941"/>
                  <a:gd name="connsiteY6475" fmla="*/ 1217014 h 1864765"/>
                  <a:gd name="connsiteX6476" fmla="*/ 2590248 w 9847941"/>
                  <a:gd name="connsiteY6476" fmla="*/ 1216711 h 1864765"/>
                  <a:gd name="connsiteX6477" fmla="*/ 2599945 w 9847941"/>
                  <a:gd name="connsiteY6477" fmla="*/ 1214590 h 1864765"/>
                  <a:gd name="connsiteX6478" fmla="*/ 2601006 w 9847941"/>
                  <a:gd name="connsiteY6478" fmla="*/ 1215044 h 1864765"/>
                  <a:gd name="connsiteX6479" fmla="*/ 2601915 w 9847941"/>
                  <a:gd name="connsiteY6479" fmla="*/ 1214893 h 1864765"/>
                  <a:gd name="connsiteX6480" fmla="*/ 2613734 w 9847941"/>
                  <a:gd name="connsiteY6480" fmla="*/ 1210953 h 1864765"/>
                  <a:gd name="connsiteX6481" fmla="*/ 2616158 w 9847941"/>
                  <a:gd name="connsiteY6481" fmla="*/ 1210499 h 1864765"/>
                  <a:gd name="connsiteX6482" fmla="*/ 2619491 w 9847941"/>
                  <a:gd name="connsiteY6482" fmla="*/ 1209287 h 1864765"/>
                  <a:gd name="connsiteX6483" fmla="*/ 2622976 w 9847941"/>
                  <a:gd name="connsiteY6483" fmla="*/ 1207620 h 1864765"/>
                  <a:gd name="connsiteX6484" fmla="*/ 2625400 w 9847941"/>
                  <a:gd name="connsiteY6484" fmla="*/ 1207014 h 1864765"/>
                  <a:gd name="connsiteX6485" fmla="*/ 2637371 w 9847941"/>
                  <a:gd name="connsiteY6485" fmla="*/ 1201559 h 1864765"/>
                  <a:gd name="connsiteX6486" fmla="*/ 2634643 w 9847941"/>
                  <a:gd name="connsiteY6486" fmla="*/ 1202165 h 1864765"/>
                  <a:gd name="connsiteX6487" fmla="*/ 2631764 w 9847941"/>
                  <a:gd name="connsiteY6487" fmla="*/ 1203529 h 1864765"/>
                  <a:gd name="connsiteX6488" fmla="*/ 2672372 w 9847941"/>
                  <a:gd name="connsiteY6488" fmla="*/ 1189134 h 1864765"/>
                  <a:gd name="connsiteX6489" fmla="*/ 2670857 w 9847941"/>
                  <a:gd name="connsiteY6489" fmla="*/ 1189437 h 1864765"/>
                  <a:gd name="connsiteX6490" fmla="*/ 2668432 w 9847941"/>
                  <a:gd name="connsiteY6490" fmla="*/ 1191862 h 1864765"/>
                  <a:gd name="connsiteX6491" fmla="*/ 2666614 w 9847941"/>
                  <a:gd name="connsiteY6491" fmla="*/ 1192316 h 1864765"/>
                  <a:gd name="connsiteX6492" fmla="*/ 2667826 w 9847941"/>
                  <a:gd name="connsiteY6492" fmla="*/ 1193377 h 1864765"/>
                  <a:gd name="connsiteX6493" fmla="*/ 2675402 w 9847941"/>
                  <a:gd name="connsiteY6493" fmla="*/ 1191710 h 1864765"/>
                  <a:gd name="connsiteX6494" fmla="*/ 2674948 w 9847941"/>
                  <a:gd name="connsiteY6494" fmla="*/ 1190498 h 1864765"/>
                  <a:gd name="connsiteX6495" fmla="*/ 2672372 w 9847941"/>
                  <a:gd name="connsiteY6495" fmla="*/ 1189134 h 1864765"/>
                  <a:gd name="connsiteX6496" fmla="*/ 2654341 w 9847941"/>
                  <a:gd name="connsiteY6496" fmla="*/ 1183831 h 1864765"/>
                  <a:gd name="connsiteX6497" fmla="*/ 2653583 w 9847941"/>
                  <a:gd name="connsiteY6497" fmla="*/ 1185801 h 1864765"/>
                  <a:gd name="connsiteX6498" fmla="*/ 2653280 w 9847941"/>
                  <a:gd name="connsiteY6498" fmla="*/ 1187619 h 1864765"/>
                  <a:gd name="connsiteX6499" fmla="*/ 2652523 w 9847941"/>
                  <a:gd name="connsiteY6499" fmla="*/ 1188831 h 1864765"/>
                  <a:gd name="connsiteX6500" fmla="*/ 2654038 w 9847941"/>
                  <a:gd name="connsiteY6500" fmla="*/ 1188983 h 1864765"/>
                  <a:gd name="connsiteX6501" fmla="*/ 2655402 w 9847941"/>
                  <a:gd name="connsiteY6501" fmla="*/ 1188074 h 1864765"/>
                  <a:gd name="connsiteX6502" fmla="*/ 2655705 w 9847941"/>
                  <a:gd name="connsiteY6502" fmla="*/ 1182770 h 1864765"/>
                  <a:gd name="connsiteX6503" fmla="*/ 2654796 w 9847941"/>
                  <a:gd name="connsiteY6503" fmla="*/ 1183225 h 1864765"/>
                  <a:gd name="connsiteX6504" fmla="*/ 2654341 w 9847941"/>
                  <a:gd name="connsiteY6504" fmla="*/ 1183831 h 1864765"/>
                  <a:gd name="connsiteX6505" fmla="*/ 2651462 w 9847941"/>
                  <a:gd name="connsiteY6505" fmla="*/ 1185346 h 1864765"/>
                  <a:gd name="connsiteX6506" fmla="*/ 2650856 w 9847941"/>
                  <a:gd name="connsiteY6506" fmla="*/ 1187165 h 1864765"/>
                  <a:gd name="connsiteX6507" fmla="*/ 2651159 w 9847941"/>
                  <a:gd name="connsiteY6507" fmla="*/ 1188680 h 1864765"/>
                  <a:gd name="connsiteX6508" fmla="*/ 2651917 w 9847941"/>
                  <a:gd name="connsiteY6508" fmla="*/ 1188074 h 1864765"/>
                  <a:gd name="connsiteX6509" fmla="*/ 2652220 w 9847941"/>
                  <a:gd name="connsiteY6509" fmla="*/ 1186256 h 1864765"/>
                  <a:gd name="connsiteX6510" fmla="*/ 2651917 w 9847941"/>
                  <a:gd name="connsiteY6510" fmla="*/ 1185346 h 1864765"/>
                  <a:gd name="connsiteX6511" fmla="*/ 2651462 w 9847941"/>
                  <a:gd name="connsiteY6511" fmla="*/ 1185346 h 186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Lst>
                <a:rect l="l" t="t" r="r" b="b"/>
                <a:pathLst>
                  <a:path w="9847941" h="1864765">
                    <a:moveTo>
                      <a:pt x="652448" y="518958"/>
                    </a:moveTo>
                    <a:lnTo>
                      <a:pt x="649873" y="521989"/>
                    </a:lnTo>
                    <a:lnTo>
                      <a:pt x="647903" y="524716"/>
                    </a:lnTo>
                    <a:lnTo>
                      <a:pt x="649266" y="524413"/>
                    </a:lnTo>
                    <a:lnTo>
                      <a:pt x="653661" y="520170"/>
                    </a:lnTo>
                    <a:lnTo>
                      <a:pt x="657903" y="517746"/>
                    </a:lnTo>
                    <a:lnTo>
                      <a:pt x="658206" y="516382"/>
                    </a:lnTo>
                    <a:lnTo>
                      <a:pt x="655024" y="517140"/>
                    </a:lnTo>
                    <a:lnTo>
                      <a:pt x="652448" y="518958"/>
                    </a:lnTo>
                    <a:close/>
                    <a:moveTo>
                      <a:pt x="920792" y="646236"/>
                    </a:moveTo>
                    <a:lnTo>
                      <a:pt x="919580" y="643054"/>
                    </a:lnTo>
                    <a:lnTo>
                      <a:pt x="917004" y="634720"/>
                    </a:lnTo>
                    <a:lnTo>
                      <a:pt x="915489" y="630781"/>
                    </a:lnTo>
                    <a:lnTo>
                      <a:pt x="913822" y="627447"/>
                    </a:lnTo>
                    <a:lnTo>
                      <a:pt x="911549" y="623205"/>
                    </a:lnTo>
                    <a:lnTo>
                      <a:pt x="908973" y="620629"/>
                    </a:lnTo>
                    <a:lnTo>
                      <a:pt x="907155" y="620023"/>
                    </a:lnTo>
                    <a:lnTo>
                      <a:pt x="901246" y="616083"/>
                    </a:lnTo>
                    <a:lnTo>
                      <a:pt x="898518" y="616083"/>
                    </a:lnTo>
                    <a:lnTo>
                      <a:pt x="897458" y="616841"/>
                    </a:lnTo>
                    <a:lnTo>
                      <a:pt x="895185" y="620477"/>
                    </a:lnTo>
                    <a:lnTo>
                      <a:pt x="894882" y="621841"/>
                    </a:lnTo>
                    <a:lnTo>
                      <a:pt x="893670" y="623205"/>
                    </a:lnTo>
                    <a:lnTo>
                      <a:pt x="892154" y="624114"/>
                    </a:lnTo>
                    <a:lnTo>
                      <a:pt x="889275" y="624720"/>
                    </a:lnTo>
                    <a:lnTo>
                      <a:pt x="888366" y="626235"/>
                    </a:lnTo>
                    <a:lnTo>
                      <a:pt x="888366" y="628205"/>
                    </a:lnTo>
                    <a:lnTo>
                      <a:pt x="889881" y="633356"/>
                    </a:lnTo>
                    <a:lnTo>
                      <a:pt x="889427" y="635023"/>
                    </a:lnTo>
                    <a:lnTo>
                      <a:pt x="888518" y="636841"/>
                    </a:lnTo>
                    <a:lnTo>
                      <a:pt x="892609" y="635932"/>
                    </a:lnTo>
                    <a:lnTo>
                      <a:pt x="894124" y="634417"/>
                    </a:lnTo>
                    <a:lnTo>
                      <a:pt x="897003" y="627599"/>
                    </a:lnTo>
                    <a:lnTo>
                      <a:pt x="898215" y="627447"/>
                    </a:lnTo>
                    <a:lnTo>
                      <a:pt x="900336" y="629872"/>
                    </a:lnTo>
                    <a:lnTo>
                      <a:pt x="901246" y="634114"/>
                    </a:lnTo>
                    <a:lnTo>
                      <a:pt x="903215" y="635326"/>
                    </a:lnTo>
                    <a:lnTo>
                      <a:pt x="904731" y="635478"/>
                    </a:lnTo>
                    <a:lnTo>
                      <a:pt x="905034" y="636235"/>
                    </a:lnTo>
                    <a:lnTo>
                      <a:pt x="901852" y="640023"/>
                    </a:lnTo>
                    <a:lnTo>
                      <a:pt x="901246" y="641539"/>
                    </a:lnTo>
                    <a:lnTo>
                      <a:pt x="901246" y="643205"/>
                    </a:lnTo>
                    <a:lnTo>
                      <a:pt x="901549" y="644266"/>
                    </a:lnTo>
                    <a:lnTo>
                      <a:pt x="902761" y="645175"/>
                    </a:lnTo>
                    <a:lnTo>
                      <a:pt x="906094" y="644266"/>
                    </a:lnTo>
                    <a:lnTo>
                      <a:pt x="906549" y="645175"/>
                    </a:lnTo>
                    <a:lnTo>
                      <a:pt x="906246" y="648206"/>
                    </a:lnTo>
                    <a:lnTo>
                      <a:pt x="907913" y="649115"/>
                    </a:lnTo>
                    <a:lnTo>
                      <a:pt x="910034" y="650781"/>
                    </a:lnTo>
                    <a:lnTo>
                      <a:pt x="912458" y="650478"/>
                    </a:lnTo>
                    <a:lnTo>
                      <a:pt x="913670" y="650024"/>
                    </a:lnTo>
                    <a:lnTo>
                      <a:pt x="913973" y="650327"/>
                    </a:lnTo>
                    <a:lnTo>
                      <a:pt x="912458" y="652448"/>
                    </a:lnTo>
                    <a:lnTo>
                      <a:pt x="911549" y="653206"/>
                    </a:lnTo>
                    <a:lnTo>
                      <a:pt x="911094" y="654418"/>
                    </a:lnTo>
                    <a:lnTo>
                      <a:pt x="911094" y="656085"/>
                    </a:lnTo>
                    <a:lnTo>
                      <a:pt x="911852" y="658509"/>
                    </a:lnTo>
                    <a:lnTo>
                      <a:pt x="914579" y="663661"/>
                    </a:lnTo>
                    <a:lnTo>
                      <a:pt x="915792" y="665327"/>
                    </a:lnTo>
                    <a:lnTo>
                      <a:pt x="917307" y="666843"/>
                    </a:lnTo>
                    <a:lnTo>
                      <a:pt x="919125" y="667752"/>
                    </a:lnTo>
                    <a:lnTo>
                      <a:pt x="919883" y="667297"/>
                    </a:lnTo>
                    <a:lnTo>
                      <a:pt x="920489" y="664418"/>
                    </a:lnTo>
                    <a:lnTo>
                      <a:pt x="920489" y="659266"/>
                    </a:lnTo>
                    <a:lnTo>
                      <a:pt x="919731" y="655933"/>
                    </a:lnTo>
                    <a:lnTo>
                      <a:pt x="919883" y="654721"/>
                    </a:lnTo>
                    <a:lnTo>
                      <a:pt x="920640" y="653812"/>
                    </a:lnTo>
                    <a:lnTo>
                      <a:pt x="920943" y="652903"/>
                    </a:lnTo>
                    <a:lnTo>
                      <a:pt x="920640" y="648357"/>
                    </a:lnTo>
                    <a:lnTo>
                      <a:pt x="920792" y="646236"/>
                    </a:lnTo>
                    <a:close/>
                    <a:moveTo>
                      <a:pt x="935489" y="625174"/>
                    </a:moveTo>
                    <a:lnTo>
                      <a:pt x="940338" y="623659"/>
                    </a:lnTo>
                    <a:lnTo>
                      <a:pt x="940792" y="623053"/>
                    </a:lnTo>
                    <a:lnTo>
                      <a:pt x="940792" y="622447"/>
                    </a:lnTo>
                    <a:lnTo>
                      <a:pt x="938974" y="619265"/>
                    </a:lnTo>
                    <a:lnTo>
                      <a:pt x="940489" y="617598"/>
                    </a:lnTo>
                    <a:lnTo>
                      <a:pt x="940035" y="614113"/>
                    </a:lnTo>
                    <a:lnTo>
                      <a:pt x="939429" y="612901"/>
                    </a:lnTo>
                    <a:lnTo>
                      <a:pt x="936095" y="608962"/>
                    </a:lnTo>
                    <a:lnTo>
                      <a:pt x="931095" y="602143"/>
                    </a:lnTo>
                    <a:lnTo>
                      <a:pt x="930186" y="598961"/>
                    </a:lnTo>
                    <a:lnTo>
                      <a:pt x="930035" y="596082"/>
                    </a:lnTo>
                    <a:lnTo>
                      <a:pt x="930489" y="595628"/>
                    </a:lnTo>
                    <a:lnTo>
                      <a:pt x="931701" y="595476"/>
                    </a:lnTo>
                    <a:lnTo>
                      <a:pt x="932762" y="595931"/>
                    </a:lnTo>
                    <a:lnTo>
                      <a:pt x="933671" y="596991"/>
                    </a:lnTo>
                    <a:lnTo>
                      <a:pt x="933671" y="598204"/>
                    </a:lnTo>
                    <a:lnTo>
                      <a:pt x="935641" y="602295"/>
                    </a:lnTo>
                    <a:lnTo>
                      <a:pt x="936701" y="603810"/>
                    </a:lnTo>
                    <a:lnTo>
                      <a:pt x="937611" y="604567"/>
                    </a:lnTo>
                    <a:lnTo>
                      <a:pt x="938368" y="606386"/>
                    </a:lnTo>
                    <a:lnTo>
                      <a:pt x="940338" y="610628"/>
                    </a:lnTo>
                    <a:lnTo>
                      <a:pt x="943065" y="612750"/>
                    </a:lnTo>
                    <a:lnTo>
                      <a:pt x="943217" y="612295"/>
                    </a:lnTo>
                    <a:lnTo>
                      <a:pt x="942005" y="609113"/>
                    </a:lnTo>
                    <a:lnTo>
                      <a:pt x="941096" y="605931"/>
                    </a:lnTo>
                    <a:lnTo>
                      <a:pt x="939429" y="602598"/>
                    </a:lnTo>
                    <a:lnTo>
                      <a:pt x="936550" y="597749"/>
                    </a:lnTo>
                    <a:lnTo>
                      <a:pt x="931853" y="591840"/>
                    </a:lnTo>
                    <a:lnTo>
                      <a:pt x="926701" y="591991"/>
                    </a:lnTo>
                    <a:lnTo>
                      <a:pt x="919731" y="591082"/>
                    </a:lnTo>
                    <a:lnTo>
                      <a:pt x="918216" y="588506"/>
                    </a:lnTo>
                    <a:lnTo>
                      <a:pt x="915337" y="584718"/>
                    </a:lnTo>
                    <a:lnTo>
                      <a:pt x="912913" y="583355"/>
                    </a:lnTo>
                    <a:lnTo>
                      <a:pt x="912610" y="584415"/>
                    </a:lnTo>
                    <a:lnTo>
                      <a:pt x="913367" y="586991"/>
                    </a:lnTo>
                    <a:lnTo>
                      <a:pt x="914428" y="589415"/>
                    </a:lnTo>
                    <a:lnTo>
                      <a:pt x="915792" y="591688"/>
                    </a:lnTo>
                    <a:lnTo>
                      <a:pt x="916852" y="594416"/>
                    </a:lnTo>
                    <a:lnTo>
                      <a:pt x="917610" y="597749"/>
                    </a:lnTo>
                    <a:lnTo>
                      <a:pt x="919277" y="608053"/>
                    </a:lnTo>
                    <a:lnTo>
                      <a:pt x="920186" y="611841"/>
                    </a:lnTo>
                    <a:lnTo>
                      <a:pt x="922004" y="614568"/>
                    </a:lnTo>
                    <a:lnTo>
                      <a:pt x="925034" y="617901"/>
                    </a:lnTo>
                    <a:lnTo>
                      <a:pt x="925034" y="620326"/>
                    </a:lnTo>
                    <a:lnTo>
                      <a:pt x="922610" y="627750"/>
                    </a:lnTo>
                    <a:lnTo>
                      <a:pt x="921398" y="629114"/>
                    </a:lnTo>
                    <a:lnTo>
                      <a:pt x="921549" y="631387"/>
                    </a:lnTo>
                    <a:lnTo>
                      <a:pt x="922155" y="633205"/>
                    </a:lnTo>
                    <a:lnTo>
                      <a:pt x="923216" y="634569"/>
                    </a:lnTo>
                    <a:lnTo>
                      <a:pt x="924277" y="635175"/>
                    </a:lnTo>
                    <a:lnTo>
                      <a:pt x="926550" y="634569"/>
                    </a:lnTo>
                    <a:lnTo>
                      <a:pt x="931398" y="631084"/>
                    </a:lnTo>
                    <a:lnTo>
                      <a:pt x="935489" y="625174"/>
                    </a:lnTo>
                    <a:close/>
                    <a:moveTo>
                      <a:pt x="893973" y="618053"/>
                    </a:moveTo>
                    <a:lnTo>
                      <a:pt x="893821" y="613507"/>
                    </a:lnTo>
                    <a:lnTo>
                      <a:pt x="894124" y="611386"/>
                    </a:lnTo>
                    <a:lnTo>
                      <a:pt x="895336" y="610780"/>
                    </a:lnTo>
                    <a:lnTo>
                      <a:pt x="897154" y="610931"/>
                    </a:lnTo>
                    <a:lnTo>
                      <a:pt x="904731" y="614416"/>
                    </a:lnTo>
                    <a:lnTo>
                      <a:pt x="908367" y="616841"/>
                    </a:lnTo>
                    <a:lnTo>
                      <a:pt x="912610" y="618053"/>
                    </a:lnTo>
                    <a:lnTo>
                      <a:pt x="914276" y="613810"/>
                    </a:lnTo>
                    <a:lnTo>
                      <a:pt x="913670" y="611538"/>
                    </a:lnTo>
                    <a:lnTo>
                      <a:pt x="911397" y="608507"/>
                    </a:lnTo>
                    <a:lnTo>
                      <a:pt x="903973" y="608204"/>
                    </a:lnTo>
                    <a:lnTo>
                      <a:pt x="901549" y="606840"/>
                    </a:lnTo>
                    <a:lnTo>
                      <a:pt x="904427" y="605022"/>
                    </a:lnTo>
                    <a:lnTo>
                      <a:pt x="906246" y="605780"/>
                    </a:lnTo>
                    <a:lnTo>
                      <a:pt x="908064" y="605780"/>
                    </a:lnTo>
                    <a:lnTo>
                      <a:pt x="911701" y="604871"/>
                    </a:lnTo>
                    <a:lnTo>
                      <a:pt x="912913" y="599567"/>
                    </a:lnTo>
                    <a:lnTo>
                      <a:pt x="912155" y="597143"/>
                    </a:lnTo>
                    <a:lnTo>
                      <a:pt x="910791" y="595779"/>
                    </a:lnTo>
                    <a:lnTo>
                      <a:pt x="906397" y="593961"/>
                    </a:lnTo>
                    <a:lnTo>
                      <a:pt x="901397" y="592900"/>
                    </a:lnTo>
                    <a:lnTo>
                      <a:pt x="900639" y="593052"/>
                    </a:lnTo>
                    <a:lnTo>
                      <a:pt x="899427" y="593810"/>
                    </a:lnTo>
                    <a:lnTo>
                      <a:pt x="895336" y="597598"/>
                    </a:lnTo>
                    <a:lnTo>
                      <a:pt x="894276" y="598204"/>
                    </a:lnTo>
                    <a:lnTo>
                      <a:pt x="892760" y="597446"/>
                    </a:lnTo>
                    <a:lnTo>
                      <a:pt x="892154" y="596385"/>
                    </a:lnTo>
                    <a:lnTo>
                      <a:pt x="894276" y="595628"/>
                    </a:lnTo>
                    <a:lnTo>
                      <a:pt x="895033" y="592900"/>
                    </a:lnTo>
                    <a:lnTo>
                      <a:pt x="895033" y="591991"/>
                    </a:lnTo>
                    <a:lnTo>
                      <a:pt x="891094" y="588052"/>
                    </a:lnTo>
                    <a:lnTo>
                      <a:pt x="889578" y="587143"/>
                    </a:lnTo>
                    <a:lnTo>
                      <a:pt x="887003" y="588052"/>
                    </a:lnTo>
                    <a:lnTo>
                      <a:pt x="885184" y="589719"/>
                    </a:lnTo>
                    <a:lnTo>
                      <a:pt x="883972" y="590022"/>
                    </a:lnTo>
                    <a:lnTo>
                      <a:pt x="881245" y="590022"/>
                    </a:lnTo>
                    <a:lnTo>
                      <a:pt x="879881" y="591840"/>
                    </a:lnTo>
                    <a:lnTo>
                      <a:pt x="879881" y="594113"/>
                    </a:lnTo>
                    <a:lnTo>
                      <a:pt x="877154" y="591840"/>
                    </a:lnTo>
                    <a:lnTo>
                      <a:pt x="875032" y="589415"/>
                    </a:lnTo>
                    <a:lnTo>
                      <a:pt x="873669" y="592446"/>
                    </a:lnTo>
                    <a:lnTo>
                      <a:pt x="871396" y="593810"/>
                    </a:lnTo>
                    <a:lnTo>
                      <a:pt x="869881" y="594264"/>
                    </a:lnTo>
                    <a:lnTo>
                      <a:pt x="869578" y="596082"/>
                    </a:lnTo>
                    <a:lnTo>
                      <a:pt x="868366" y="599264"/>
                    </a:lnTo>
                    <a:lnTo>
                      <a:pt x="871396" y="603204"/>
                    </a:lnTo>
                    <a:lnTo>
                      <a:pt x="873669" y="604567"/>
                    </a:lnTo>
                    <a:lnTo>
                      <a:pt x="881851" y="611083"/>
                    </a:lnTo>
                    <a:lnTo>
                      <a:pt x="883972" y="616538"/>
                    </a:lnTo>
                    <a:lnTo>
                      <a:pt x="886397" y="620023"/>
                    </a:lnTo>
                    <a:lnTo>
                      <a:pt x="892457" y="621083"/>
                    </a:lnTo>
                    <a:lnTo>
                      <a:pt x="893973" y="618053"/>
                    </a:lnTo>
                    <a:close/>
                    <a:moveTo>
                      <a:pt x="966854" y="641690"/>
                    </a:moveTo>
                    <a:lnTo>
                      <a:pt x="965642" y="639720"/>
                    </a:lnTo>
                    <a:lnTo>
                      <a:pt x="963672" y="638054"/>
                    </a:lnTo>
                    <a:lnTo>
                      <a:pt x="960187" y="636841"/>
                    </a:lnTo>
                    <a:lnTo>
                      <a:pt x="958369" y="636841"/>
                    </a:lnTo>
                    <a:lnTo>
                      <a:pt x="957308" y="638054"/>
                    </a:lnTo>
                    <a:lnTo>
                      <a:pt x="955490" y="636841"/>
                    </a:lnTo>
                    <a:lnTo>
                      <a:pt x="946096" y="634569"/>
                    </a:lnTo>
                    <a:lnTo>
                      <a:pt x="941702" y="634266"/>
                    </a:lnTo>
                    <a:lnTo>
                      <a:pt x="939126" y="635326"/>
                    </a:lnTo>
                    <a:lnTo>
                      <a:pt x="938671" y="636690"/>
                    </a:lnTo>
                    <a:lnTo>
                      <a:pt x="940338" y="638357"/>
                    </a:lnTo>
                    <a:lnTo>
                      <a:pt x="942914" y="640023"/>
                    </a:lnTo>
                    <a:lnTo>
                      <a:pt x="944732" y="641842"/>
                    </a:lnTo>
                    <a:lnTo>
                      <a:pt x="946853" y="644872"/>
                    </a:lnTo>
                    <a:lnTo>
                      <a:pt x="946702" y="648357"/>
                    </a:lnTo>
                    <a:lnTo>
                      <a:pt x="947459" y="652751"/>
                    </a:lnTo>
                    <a:lnTo>
                      <a:pt x="947762" y="655782"/>
                    </a:lnTo>
                    <a:lnTo>
                      <a:pt x="948217" y="656994"/>
                    </a:lnTo>
                    <a:lnTo>
                      <a:pt x="948975" y="657751"/>
                    </a:lnTo>
                    <a:lnTo>
                      <a:pt x="952157" y="658206"/>
                    </a:lnTo>
                    <a:lnTo>
                      <a:pt x="954884" y="657297"/>
                    </a:lnTo>
                    <a:lnTo>
                      <a:pt x="959581" y="657600"/>
                    </a:lnTo>
                    <a:lnTo>
                      <a:pt x="960490" y="657297"/>
                    </a:lnTo>
                    <a:lnTo>
                      <a:pt x="961096" y="656539"/>
                    </a:lnTo>
                    <a:lnTo>
                      <a:pt x="961399" y="655327"/>
                    </a:lnTo>
                    <a:lnTo>
                      <a:pt x="961399" y="653812"/>
                    </a:lnTo>
                    <a:lnTo>
                      <a:pt x="961096" y="652145"/>
                    </a:lnTo>
                    <a:lnTo>
                      <a:pt x="960490" y="650781"/>
                    </a:lnTo>
                    <a:lnTo>
                      <a:pt x="959126" y="649115"/>
                    </a:lnTo>
                    <a:lnTo>
                      <a:pt x="958823" y="647751"/>
                    </a:lnTo>
                    <a:lnTo>
                      <a:pt x="956854" y="645327"/>
                    </a:lnTo>
                    <a:lnTo>
                      <a:pt x="956248" y="644114"/>
                    </a:lnTo>
                    <a:lnTo>
                      <a:pt x="956399" y="643660"/>
                    </a:lnTo>
                    <a:lnTo>
                      <a:pt x="958672" y="645024"/>
                    </a:lnTo>
                    <a:lnTo>
                      <a:pt x="961702" y="649418"/>
                    </a:lnTo>
                    <a:lnTo>
                      <a:pt x="964430" y="651842"/>
                    </a:lnTo>
                    <a:lnTo>
                      <a:pt x="965339" y="651690"/>
                    </a:lnTo>
                    <a:lnTo>
                      <a:pt x="966096" y="650781"/>
                    </a:lnTo>
                    <a:lnTo>
                      <a:pt x="966551" y="649569"/>
                    </a:lnTo>
                    <a:lnTo>
                      <a:pt x="966703" y="648206"/>
                    </a:lnTo>
                    <a:lnTo>
                      <a:pt x="966399" y="645478"/>
                    </a:lnTo>
                    <a:lnTo>
                      <a:pt x="966703" y="642902"/>
                    </a:lnTo>
                    <a:lnTo>
                      <a:pt x="966854" y="641690"/>
                    </a:lnTo>
                    <a:close/>
                    <a:moveTo>
                      <a:pt x="975036" y="649266"/>
                    </a:moveTo>
                    <a:lnTo>
                      <a:pt x="969885" y="645024"/>
                    </a:lnTo>
                    <a:lnTo>
                      <a:pt x="969127" y="648812"/>
                    </a:lnTo>
                    <a:lnTo>
                      <a:pt x="968218" y="651084"/>
                    </a:lnTo>
                    <a:lnTo>
                      <a:pt x="967460" y="652297"/>
                    </a:lnTo>
                    <a:lnTo>
                      <a:pt x="967157" y="653812"/>
                    </a:lnTo>
                    <a:lnTo>
                      <a:pt x="967612" y="655478"/>
                    </a:lnTo>
                    <a:lnTo>
                      <a:pt x="968672" y="655933"/>
                    </a:lnTo>
                    <a:lnTo>
                      <a:pt x="972157" y="655933"/>
                    </a:lnTo>
                    <a:lnTo>
                      <a:pt x="972460" y="655327"/>
                    </a:lnTo>
                    <a:lnTo>
                      <a:pt x="973369" y="654721"/>
                    </a:lnTo>
                    <a:lnTo>
                      <a:pt x="975491" y="654266"/>
                    </a:lnTo>
                    <a:lnTo>
                      <a:pt x="977309" y="653357"/>
                    </a:lnTo>
                    <a:lnTo>
                      <a:pt x="976400" y="651084"/>
                    </a:lnTo>
                    <a:lnTo>
                      <a:pt x="975036" y="649266"/>
                    </a:lnTo>
                    <a:close/>
                    <a:moveTo>
                      <a:pt x="929428" y="589415"/>
                    </a:moveTo>
                    <a:lnTo>
                      <a:pt x="929580" y="588355"/>
                    </a:lnTo>
                    <a:lnTo>
                      <a:pt x="927156" y="586082"/>
                    </a:lnTo>
                    <a:lnTo>
                      <a:pt x="923822" y="584264"/>
                    </a:lnTo>
                    <a:lnTo>
                      <a:pt x="920337" y="585021"/>
                    </a:lnTo>
                    <a:lnTo>
                      <a:pt x="920034" y="585931"/>
                    </a:lnTo>
                    <a:lnTo>
                      <a:pt x="921852" y="587900"/>
                    </a:lnTo>
                    <a:lnTo>
                      <a:pt x="925640" y="589415"/>
                    </a:lnTo>
                    <a:lnTo>
                      <a:pt x="929428" y="589415"/>
                    </a:lnTo>
                    <a:close/>
                    <a:moveTo>
                      <a:pt x="981855" y="677449"/>
                    </a:moveTo>
                    <a:lnTo>
                      <a:pt x="982915" y="678207"/>
                    </a:lnTo>
                    <a:lnTo>
                      <a:pt x="985188" y="678661"/>
                    </a:lnTo>
                    <a:lnTo>
                      <a:pt x="987309" y="677752"/>
                    </a:lnTo>
                    <a:lnTo>
                      <a:pt x="988370" y="677752"/>
                    </a:lnTo>
                    <a:lnTo>
                      <a:pt x="989431" y="678055"/>
                    </a:lnTo>
                    <a:lnTo>
                      <a:pt x="990037" y="671691"/>
                    </a:lnTo>
                    <a:lnTo>
                      <a:pt x="991249" y="666540"/>
                    </a:lnTo>
                    <a:lnTo>
                      <a:pt x="987461" y="660933"/>
                    </a:lnTo>
                    <a:lnTo>
                      <a:pt x="984430" y="657145"/>
                    </a:lnTo>
                    <a:lnTo>
                      <a:pt x="982764" y="656691"/>
                    </a:lnTo>
                    <a:lnTo>
                      <a:pt x="979279" y="663054"/>
                    </a:lnTo>
                    <a:lnTo>
                      <a:pt x="978370" y="663509"/>
                    </a:lnTo>
                    <a:lnTo>
                      <a:pt x="976703" y="666691"/>
                    </a:lnTo>
                    <a:lnTo>
                      <a:pt x="974582" y="667449"/>
                    </a:lnTo>
                    <a:lnTo>
                      <a:pt x="973976" y="668358"/>
                    </a:lnTo>
                    <a:lnTo>
                      <a:pt x="974127" y="670934"/>
                    </a:lnTo>
                    <a:lnTo>
                      <a:pt x="975036" y="672903"/>
                    </a:lnTo>
                    <a:lnTo>
                      <a:pt x="976551" y="673358"/>
                    </a:lnTo>
                    <a:lnTo>
                      <a:pt x="980642" y="673812"/>
                    </a:lnTo>
                    <a:lnTo>
                      <a:pt x="981855" y="674873"/>
                    </a:lnTo>
                    <a:lnTo>
                      <a:pt x="981400" y="676843"/>
                    </a:lnTo>
                    <a:lnTo>
                      <a:pt x="981855" y="677449"/>
                    </a:lnTo>
                    <a:close/>
                    <a:moveTo>
                      <a:pt x="964581" y="661691"/>
                    </a:moveTo>
                    <a:lnTo>
                      <a:pt x="964581" y="662600"/>
                    </a:lnTo>
                    <a:lnTo>
                      <a:pt x="968521" y="665782"/>
                    </a:lnTo>
                    <a:lnTo>
                      <a:pt x="970187" y="666388"/>
                    </a:lnTo>
                    <a:lnTo>
                      <a:pt x="971551" y="666236"/>
                    </a:lnTo>
                    <a:lnTo>
                      <a:pt x="974582" y="664721"/>
                    </a:lnTo>
                    <a:lnTo>
                      <a:pt x="975188" y="663661"/>
                    </a:lnTo>
                    <a:lnTo>
                      <a:pt x="974885" y="662600"/>
                    </a:lnTo>
                    <a:lnTo>
                      <a:pt x="975036" y="661691"/>
                    </a:lnTo>
                    <a:lnTo>
                      <a:pt x="975642" y="660782"/>
                    </a:lnTo>
                    <a:lnTo>
                      <a:pt x="975794" y="659873"/>
                    </a:lnTo>
                    <a:lnTo>
                      <a:pt x="975339" y="658963"/>
                    </a:lnTo>
                    <a:lnTo>
                      <a:pt x="973673" y="658509"/>
                    </a:lnTo>
                    <a:lnTo>
                      <a:pt x="968369" y="658357"/>
                    </a:lnTo>
                    <a:lnTo>
                      <a:pt x="967460" y="658812"/>
                    </a:lnTo>
                    <a:lnTo>
                      <a:pt x="965187" y="660782"/>
                    </a:lnTo>
                    <a:lnTo>
                      <a:pt x="964581" y="661691"/>
                    </a:lnTo>
                    <a:close/>
                    <a:moveTo>
                      <a:pt x="446077" y="501685"/>
                    </a:moveTo>
                    <a:lnTo>
                      <a:pt x="448805" y="497594"/>
                    </a:lnTo>
                    <a:lnTo>
                      <a:pt x="448501" y="496836"/>
                    </a:lnTo>
                    <a:lnTo>
                      <a:pt x="446835" y="496230"/>
                    </a:lnTo>
                    <a:lnTo>
                      <a:pt x="445623" y="500170"/>
                    </a:lnTo>
                    <a:lnTo>
                      <a:pt x="443804" y="502140"/>
                    </a:lnTo>
                    <a:lnTo>
                      <a:pt x="445168" y="501988"/>
                    </a:lnTo>
                    <a:lnTo>
                      <a:pt x="446077" y="501685"/>
                    </a:lnTo>
                    <a:close/>
                    <a:moveTo>
                      <a:pt x="548808" y="512291"/>
                    </a:moveTo>
                    <a:lnTo>
                      <a:pt x="547748" y="514716"/>
                    </a:lnTo>
                    <a:lnTo>
                      <a:pt x="553202" y="515473"/>
                    </a:lnTo>
                    <a:lnTo>
                      <a:pt x="554566" y="514261"/>
                    </a:lnTo>
                    <a:lnTo>
                      <a:pt x="557445" y="513201"/>
                    </a:lnTo>
                    <a:lnTo>
                      <a:pt x="552899" y="510776"/>
                    </a:lnTo>
                    <a:lnTo>
                      <a:pt x="548808" y="512291"/>
                    </a:lnTo>
                    <a:close/>
                    <a:moveTo>
                      <a:pt x="551990" y="482745"/>
                    </a:moveTo>
                    <a:lnTo>
                      <a:pt x="553505" y="483200"/>
                    </a:lnTo>
                    <a:lnTo>
                      <a:pt x="556990" y="482896"/>
                    </a:lnTo>
                    <a:lnTo>
                      <a:pt x="556687" y="480927"/>
                    </a:lnTo>
                    <a:lnTo>
                      <a:pt x="556081" y="479866"/>
                    </a:lnTo>
                    <a:lnTo>
                      <a:pt x="554111" y="478805"/>
                    </a:lnTo>
                    <a:lnTo>
                      <a:pt x="552293" y="479108"/>
                    </a:lnTo>
                    <a:lnTo>
                      <a:pt x="552293" y="480018"/>
                    </a:lnTo>
                    <a:lnTo>
                      <a:pt x="551687" y="482139"/>
                    </a:lnTo>
                    <a:lnTo>
                      <a:pt x="551990" y="482745"/>
                    </a:lnTo>
                    <a:close/>
                    <a:moveTo>
                      <a:pt x="629417" y="503200"/>
                    </a:moveTo>
                    <a:lnTo>
                      <a:pt x="630629" y="503806"/>
                    </a:lnTo>
                    <a:lnTo>
                      <a:pt x="633054" y="504109"/>
                    </a:lnTo>
                    <a:lnTo>
                      <a:pt x="633963" y="503049"/>
                    </a:lnTo>
                    <a:lnTo>
                      <a:pt x="634417" y="500927"/>
                    </a:lnTo>
                    <a:lnTo>
                      <a:pt x="633660" y="500321"/>
                    </a:lnTo>
                    <a:lnTo>
                      <a:pt x="629417" y="503200"/>
                    </a:lnTo>
                    <a:close/>
                    <a:moveTo>
                      <a:pt x="431683" y="578506"/>
                    </a:moveTo>
                    <a:lnTo>
                      <a:pt x="432440" y="578203"/>
                    </a:lnTo>
                    <a:lnTo>
                      <a:pt x="435016" y="575930"/>
                    </a:lnTo>
                    <a:lnTo>
                      <a:pt x="435925" y="574718"/>
                    </a:lnTo>
                    <a:lnTo>
                      <a:pt x="436077" y="573809"/>
                    </a:lnTo>
                    <a:lnTo>
                      <a:pt x="435774" y="573203"/>
                    </a:lnTo>
                    <a:lnTo>
                      <a:pt x="435016" y="572900"/>
                    </a:lnTo>
                    <a:lnTo>
                      <a:pt x="433198" y="572900"/>
                    </a:lnTo>
                    <a:lnTo>
                      <a:pt x="429258" y="575021"/>
                    </a:lnTo>
                    <a:lnTo>
                      <a:pt x="428349" y="576082"/>
                    </a:lnTo>
                    <a:lnTo>
                      <a:pt x="429713" y="577445"/>
                    </a:lnTo>
                    <a:lnTo>
                      <a:pt x="431683" y="578506"/>
                    </a:lnTo>
                    <a:close/>
                    <a:moveTo>
                      <a:pt x="605022" y="499412"/>
                    </a:moveTo>
                    <a:lnTo>
                      <a:pt x="599719" y="499715"/>
                    </a:lnTo>
                    <a:lnTo>
                      <a:pt x="599113" y="498655"/>
                    </a:lnTo>
                    <a:lnTo>
                      <a:pt x="594568" y="497442"/>
                    </a:lnTo>
                    <a:lnTo>
                      <a:pt x="593355" y="497897"/>
                    </a:lnTo>
                    <a:lnTo>
                      <a:pt x="591537" y="499412"/>
                    </a:lnTo>
                    <a:lnTo>
                      <a:pt x="590628" y="500473"/>
                    </a:lnTo>
                    <a:lnTo>
                      <a:pt x="590628" y="501079"/>
                    </a:lnTo>
                    <a:lnTo>
                      <a:pt x="591234" y="502443"/>
                    </a:lnTo>
                    <a:lnTo>
                      <a:pt x="592143" y="503503"/>
                    </a:lnTo>
                    <a:lnTo>
                      <a:pt x="592901" y="505776"/>
                    </a:lnTo>
                    <a:lnTo>
                      <a:pt x="593507" y="505928"/>
                    </a:lnTo>
                    <a:lnTo>
                      <a:pt x="598356" y="503655"/>
                    </a:lnTo>
                    <a:lnTo>
                      <a:pt x="604265" y="501836"/>
                    </a:lnTo>
                    <a:lnTo>
                      <a:pt x="606235" y="500776"/>
                    </a:lnTo>
                    <a:lnTo>
                      <a:pt x="606992" y="500018"/>
                    </a:lnTo>
                    <a:lnTo>
                      <a:pt x="606386" y="499564"/>
                    </a:lnTo>
                    <a:lnTo>
                      <a:pt x="605022" y="499412"/>
                    </a:lnTo>
                    <a:close/>
                    <a:moveTo>
                      <a:pt x="564566" y="498503"/>
                    </a:moveTo>
                    <a:lnTo>
                      <a:pt x="563809" y="496836"/>
                    </a:lnTo>
                    <a:lnTo>
                      <a:pt x="563354" y="496988"/>
                    </a:lnTo>
                    <a:lnTo>
                      <a:pt x="562445" y="498655"/>
                    </a:lnTo>
                    <a:lnTo>
                      <a:pt x="561839" y="498958"/>
                    </a:lnTo>
                    <a:lnTo>
                      <a:pt x="561384" y="498655"/>
                    </a:lnTo>
                    <a:lnTo>
                      <a:pt x="561233" y="497745"/>
                    </a:lnTo>
                    <a:lnTo>
                      <a:pt x="560778" y="498048"/>
                    </a:lnTo>
                    <a:lnTo>
                      <a:pt x="559566" y="501685"/>
                    </a:lnTo>
                    <a:lnTo>
                      <a:pt x="559566" y="502594"/>
                    </a:lnTo>
                    <a:lnTo>
                      <a:pt x="559263" y="503806"/>
                    </a:lnTo>
                    <a:lnTo>
                      <a:pt x="558203" y="504715"/>
                    </a:lnTo>
                    <a:lnTo>
                      <a:pt x="558809" y="507594"/>
                    </a:lnTo>
                    <a:lnTo>
                      <a:pt x="560627" y="507594"/>
                    </a:lnTo>
                    <a:lnTo>
                      <a:pt x="560172" y="508806"/>
                    </a:lnTo>
                    <a:lnTo>
                      <a:pt x="560324" y="509564"/>
                    </a:lnTo>
                    <a:lnTo>
                      <a:pt x="561081" y="509867"/>
                    </a:lnTo>
                    <a:lnTo>
                      <a:pt x="561839" y="509413"/>
                    </a:lnTo>
                    <a:lnTo>
                      <a:pt x="562597" y="508049"/>
                    </a:lnTo>
                    <a:lnTo>
                      <a:pt x="563051" y="505776"/>
                    </a:lnTo>
                    <a:lnTo>
                      <a:pt x="564415" y="502443"/>
                    </a:lnTo>
                    <a:lnTo>
                      <a:pt x="563657" y="500473"/>
                    </a:lnTo>
                    <a:lnTo>
                      <a:pt x="564566" y="499412"/>
                    </a:lnTo>
                    <a:lnTo>
                      <a:pt x="564566" y="498503"/>
                    </a:lnTo>
                    <a:close/>
                    <a:moveTo>
                      <a:pt x="579264" y="502140"/>
                    </a:moveTo>
                    <a:lnTo>
                      <a:pt x="577597" y="502291"/>
                    </a:lnTo>
                    <a:lnTo>
                      <a:pt x="576991" y="504261"/>
                    </a:lnTo>
                    <a:lnTo>
                      <a:pt x="573355" y="509413"/>
                    </a:lnTo>
                    <a:lnTo>
                      <a:pt x="569870" y="513049"/>
                    </a:lnTo>
                    <a:lnTo>
                      <a:pt x="566082" y="515473"/>
                    </a:lnTo>
                    <a:lnTo>
                      <a:pt x="562597" y="518807"/>
                    </a:lnTo>
                    <a:lnTo>
                      <a:pt x="561688" y="519261"/>
                    </a:lnTo>
                    <a:lnTo>
                      <a:pt x="560172" y="520928"/>
                    </a:lnTo>
                    <a:lnTo>
                      <a:pt x="558657" y="523958"/>
                    </a:lnTo>
                    <a:lnTo>
                      <a:pt x="559415" y="525171"/>
                    </a:lnTo>
                    <a:lnTo>
                      <a:pt x="562445" y="524565"/>
                    </a:lnTo>
                    <a:lnTo>
                      <a:pt x="564263" y="523807"/>
                    </a:lnTo>
                    <a:lnTo>
                      <a:pt x="564869" y="522898"/>
                    </a:lnTo>
                    <a:lnTo>
                      <a:pt x="566082" y="522443"/>
                    </a:lnTo>
                    <a:lnTo>
                      <a:pt x="567748" y="522292"/>
                    </a:lnTo>
                    <a:lnTo>
                      <a:pt x="568809" y="521383"/>
                    </a:lnTo>
                    <a:lnTo>
                      <a:pt x="569415" y="519564"/>
                    </a:lnTo>
                    <a:lnTo>
                      <a:pt x="570324" y="518504"/>
                    </a:lnTo>
                    <a:lnTo>
                      <a:pt x="571536" y="518049"/>
                    </a:lnTo>
                    <a:lnTo>
                      <a:pt x="572294" y="517140"/>
                    </a:lnTo>
                    <a:lnTo>
                      <a:pt x="573052" y="514716"/>
                    </a:lnTo>
                    <a:lnTo>
                      <a:pt x="573809" y="513807"/>
                    </a:lnTo>
                    <a:lnTo>
                      <a:pt x="582900" y="506534"/>
                    </a:lnTo>
                    <a:lnTo>
                      <a:pt x="583658" y="505170"/>
                    </a:lnTo>
                    <a:lnTo>
                      <a:pt x="581991" y="503352"/>
                    </a:lnTo>
                    <a:lnTo>
                      <a:pt x="579264" y="502140"/>
                    </a:lnTo>
                    <a:close/>
                    <a:moveTo>
                      <a:pt x="1010947" y="711087"/>
                    </a:moveTo>
                    <a:lnTo>
                      <a:pt x="1009128" y="705935"/>
                    </a:lnTo>
                    <a:lnTo>
                      <a:pt x="1006098" y="704117"/>
                    </a:lnTo>
                    <a:lnTo>
                      <a:pt x="1004583" y="704117"/>
                    </a:lnTo>
                    <a:lnTo>
                      <a:pt x="1004280" y="704723"/>
                    </a:lnTo>
                    <a:lnTo>
                      <a:pt x="1004280" y="706541"/>
                    </a:lnTo>
                    <a:lnTo>
                      <a:pt x="1004886" y="708965"/>
                    </a:lnTo>
                    <a:lnTo>
                      <a:pt x="1003825" y="710784"/>
                    </a:lnTo>
                    <a:lnTo>
                      <a:pt x="1003977" y="713208"/>
                    </a:lnTo>
                    <a:lnTo>
                      <a:pt x="1005340" y="712299"/>
                    </a:lnTo>
                    <a:lnTo>
                      <a:pt x="1007007" y="712753"/>
                    </a:lnTo>
                    <a:lnTo>
                      <a:pt x="1008371" y="714269"/>
                    </a:lnTo>
                    <a:lnTo>
                      <a:pt x="1007765" y="716844"/>
                    </a:lnTo>
                    <a:lnTo>
                      <a:pt x="1008068" y="717602"/>
                    </a:lnTo>
                    <a:lnTo>
                      <a:pt x="1009128" y="718208"/>
                    </a:lnTo>
                    <a:lnTo>
                      <a:pt x="1011250" y="718511"/>
                    </a:lnTo>
                    <a:lnTo>
                      <a:pt x="1013977" y="717905"/>
                    </a:lnTo>
                    <a:lnTo>
                      <a:pt x="1013826" y="716238"/>
                    </a:lnTo>
                    <a:lnTo>
                      <a:pt x="1010947" y="711087"/>
                    </a:lnTo>
                    <a:close/>
                    <a:moveTo>
                      <a:pt x="1362172" y="1456265"/>
                    </a:moveTo>
                    <a:lnTo>
                      <a:pt x="1360808" y="1453993"/>
                    </a:lnTo>
                    <a:lnTo>
                      <a:pt x="1359899" y="1454599"/>
                    </a:lnTo>
                    <a:lnTo>
                      <a:pt x="1361566" y="1456871"/>
                    </a:lnTo>
                    <a:lnTo>
                      <a:pt x="1363081" y="1459750"/>
                    </a:lnTo>
                    <a:lnTo>
                      <a:pt x="1364899" y="1460356"/>
                    </a:lnTo>
                    <a:lnTo>
                      <a:pt x="1366566" y="1460053"/>
                    </a:lnTo>
                    <a:lnTo>
                      <a:pt x="1365657" y="1459447"/>
                    </a:lnTo>
                    <a:lnTo>
                      <a:pt x="1362172" y="1456265"/>
                    </a:lnTo>
                    <a:close/>
                    <a:moveTo>
                      <a:pt x="1965527" y="1594604"/>
                    </a:moveTo>
                    <a:lnTo>
                      <a:pt x="1963709" y="1594755"/>
                    </a:lnTo>
                    <a:lnTo>
                      <a:pt x="1959315" y="1597786"/>
                    </a:lnTo>
                    <a:lnTo>
                      <a:pt x="1957345" y="1598543"/>
                    </a:lnTo>
                    <a:lnTo>
                      <a:pt x="1956133" y="1600210"/>
                    </a:lnTo>
                    <a:lnTo>
                      <a:pt x="1957194" y="1600058"/>
                    </a:lnTo>
                    <a:lnTo>
                      <a:pt x="1963255" y="1596422"/>
                    </a:lnTo>
                    <a:lnTo>
                      <a:pt x="1966891" y="1594604"/>
                    </a:lnTo>
                    <a:lnTo>
                      <a:pt x="1967194" y="1593240"/>
                    </a:lnTo>
                    <a:lnTo>
                      <a:pt x="1966740" y="1593391"/>
                    </a:lnTo>
                    <a:lnTo>
                      <a:pt x="1965527" y="1594604"/>
                    </a:lnTo>
                    <a:close/>
                    <a:moveTo>
                      <a:pt x="944277" y="647599"/>
                    </a:moveTo>
                    <a:lnTo>
                      <a:pt x="942762" y="645630"/>
                    </a:lnTo>
                    <a:lnTo>
                      <a:pt x="940186" y="645781"/>
                    </a:lnTo>
                    <a:lnTo>
                      <a:pt x="938368" y="643054"/>
                    </a:lnTo>
                    <a:lnTo>
                      <a:pt x="938217" y="642145"/>
                    </a:lnTo>
                    <a:lnTo>
                      <a:pt x="936853" y="641084"/>
                    </a:lnTo>
                    <a:lnTo>
                      <a:pt x="934277" y="639720"/>
                    </a:lnTo>
                    <a:lnTo>
                      <a:pt x="930641" y="640326"/>
                    </a:lnTo>
                    <a:lnTo>
                      <a:pt x="927913" y="643357"/>
                    </a:lnTo>
                    <a:lnTo>
                      <a:pt x="927459" y="646842"/>
                    </a:lnTo>
                    <a:lnTo>
                      <a:pt x="927610" y="647902"/>
                    </a:lnTo>
                    <a:lnTo>
                      <a:pt x="930489" y="651994"/>
                    </a:lnTo>
                    <a:lnTo>
                      <a:pt x="930186" y="653509"/>
                    </a:lnTo>
                    <a:lnTo>
                      <a:pt x="933974" y="656085"/>
                    </a:lnTo>
                    <a:lnTo>
                      <a:pt x="935792" y="658357"/>
                    </a:lnTo>
                    <a:lnTo>
                      <a:pt x="932762" y="660024"/>
                    </a:lnTo>
                    <a:lnTo>
                      <a:pt x="931398" y="668206"/>
                    </a:lnTo>
                    <a:lnTo>
                      <a:pt x="932913" y="673055"/>
                    </a:lnTo>
                    <a:lnTo>
                      <a:pt x="934732" y="673055"/>
                    </a:lnTo>
                    <a:lnTo>
                      <a:pt x="936247" y="670934"/>
                    </a:lnTo>
                    <a:lnTo>
                      <a:pt x="937459" y="671540"/>
                    </a:lnTo>
                    <a:lnTo>
                      <a:pt x="938368" y="671843"/>
                    </a:lnTo>
                    <a:lnTo>
                      <a:pt x="938974" y="671540"/>
                    </a:lnTo>
                    <a:lnTo>
                      <a:pt x="939580" y="670782"/>
                    </a:lnTo>
                    <a:lnTo>
                      <a:pt x="939883" y="668206"/>
                    </a:lnTo>
                    <a:lnTo>
                      <a:pt x="941399" y="664418"/>
                    </a:lnTo>
                    <a:lnTo>
                      <a:pt x="941853" y="660630"/>
                    </a:lnTo>
                    <a:lnTo>
                      <a:pt x="941550" y="656842"/>
                    </a:lnTo>
                    <a:lnTo>
                      <a:pt x="942308" y="653054"/>
                    </a:lnTo>
                    <a:lnTo>
                      <a:pt x="943520" y="651994"/>
                    </a:lnTo>
                    <a:lnTo>
                      <a:pt x="944732" y="652448"/>
                    </a:lnTo>
                    <a:lnTo>
                      <a:pt x="945490" y="650478"/>
                    </a:lnTo>
                    <a:lnTo>
                      <a:pt x="944277" y="647599"/>
                    </a:lnTo>
                    <a:close/>
                    <a:moveTo>
                      <a:pt x="1365202" y="1442477"/>
                    </a:moveTo>
                    <a:lnTo>
                      <a:pt x="1360808" y="1440659"/>
                    </a:lnTo>
                    <a:lnTo>
                      <a:pt x="1360354" y="1441113"/>
                    </a:lnTo>
                    <a:lnTo>
                      <a:pt x="1360505" y="1441871"/>
                    </a:lnTo>
                    <a:lnTo>
                      <a:pt x="1360657" y="1442022"/>
                    </a:lnTo>
                    <a:lnTo>
                      <a:pt x="1362020" y="1442174"/>
                    </a:lnTo>
                    <a:lnTo>
                      <a:pt x="1362475" y="1442628"/>
                    </a:lnTo>
                    <a:lnTo>
                      <a:pt x="1363081" y="1444295"/>
                    </a:lnTo>
                    <a:lnTo>
                      <a:pt x="1363687" y="1445507"/>
                    </a:lnTo>
                    <a:lnTo>
                      <a:pt x="1365808" y="1445356"/>
                    </a:lnTo>
                    <a:lnTo>
                      <a:pt x="1367778" y="1445659"/>
                    </a:lnTo>
                    <a:lnTo>
                      <a:pt x="1366414" y="1443386"/>
                    </a:lnTo>
                    <a:lnTo>
                      <a:pt x="1365202" y="1442477"/>
                    </a:lnTo>
                    <a:close/>
                    <a:moveTo>
                      <a:pt x="1947042" y="1611119"/>
                    </a:moveTo>
                    <a:lnTo>
                      <a:pt x="1942496" y="1618695"/>
                    </a:lnTo>
                    <a:lnTo>
                      <a:pt x="1940223" y="1624453"/>
                    </a:lnTo>
                    <a:lnTo>
                      <a:pt x="1939921" y="1627029"/>
                    </a:lnTo>
                    <a:lnTo>
                      <a:pt x="1940830" y="1625362"/>
                    </a:lnTo>
                    <a:lnTo>
                      <a:pt x="1943709" y="1618241"/>
                    </a:lnTo>
                    <a:lnTo>
                      <a:pt x="1948860" y="1610059"/>
                    </a:lnTo>
                    <a:lnTo>
                      <a:pt x="1947042" y="1611119"/>
                    </a:lnTo>
                    <a:close/>
                    <a:moveTo>
                      <a:pt x="1953254" y="1601271"/>
                    </a:moveTo>
                    <a:lnTo>
                      <a:pt x="1951133" y="1604301"/>
                    </a:lnTo>
                    <a:lnTo>
                      <a:pt x="1950830" y="1605210"/>
                    </a:lnTo>
                    <a:lnTo>
                      <a:pt x="1949466" y="1607634"/>
                    </a:lnTo>
                    <a:lnTo>
                      <a:pt x="1950072" y="1607634"/>
                    </a:lnTo>
                    <a:lnTo>
                      <a:pt x="1952648" y="1604301"/>
                    </a:lnTo>
                    <a:lnTo>
                      <a:pt x="1954921" y="1602180"/>
                    </a:lnTo>
                    <a:lnTo>
                      <a:pt x="1954466" y="1600816"/>
                    </a:lnTo>
                    <a:lnTo>
                      <a:pt x="1953254" y="1601271"/>
                    </a:lnTo>
                    <a:close/>
                    <a:moveTo>
                      <a:pt x="1940072" y="1628241"/>
                    </a:moveTo>
                    <a:lnTo>
                      <a:pt x="1939466" y="1631120"/>
                    </a:lnTo>
                    <a:lnTo>
                      <a:pt x="1939617" y="1639302"/>
                    </a:lnTo>
                    <a:lnTo>
                      <a:pt x="1943254" y="1653697"/>
                    </a:lnTo>
                    <a:lnTo>
                      <a:pt x="1945527" y="1660061"/>
                    </a:lnTo>
                    <a:lnTo>
                      <a:pt x="1945830" y="1658697"/>
                    </a:lnTo>
                    <a:lnTo>
                      <a:pt x="1944921" y="1654606"/>
                    </a:lnTo>
                    <a:lnTo>
                      <a:pt x="1940830" y="1639908"/>
                    </a:lnTo>
                    <a:lnTo>
                      <a:pt x="1940072" y="1628241"/>
                    </a:lnTo>
                    <a:close/>
                    <a:moveTo>
                      <a:pt x="1311261" y="1422325"/>
                    </a:moveTo>
                    <a:lnTo>
                      <a:pt x="1310049" y="1422779"/>
                    </a:lnTo>
                    <a:lnTo>
                      <a:pt x="1309291" y="1423537"/>
                    </a:lnTo>
                    <a:lnTo>
                      <a:pt x="1311564" y="1423840"/>
                    </a:lnTo>
                    <a:lnTo>
                      <a:pt x="1313079" y="1423688"/>
                    </a:lnTo>
                    <a:lnTo>
                      <a:pt x="1311867" y="1422628"/>
                    </a:lnTo>
                    <a:lnTo>
                      <a:pt x="1311261" y="1422325"/>
                    </a:lnTo>
                    <a:close/>
                    <a:moveTo>
                      <a:pt x="1319291" y="1423688"/>
                    </a:moveTo>
                    <a:lnTo>
                      <a:pt x="1314291" y="1424143"/>
                    </a:lnTo>
                    <a:lnTo>
                      <a:pt x="1316564" y="1427022"/>
                    </a:lnTo>
                    <a:lnTo>
                      <a:pt x="1318079" y="1427476"/>
                    </a:lnTo>
                    <a:lnTo>
                      <a:pt x="1320049" y="1427022"/>
                    </a:lnTo>
                    <a:lnTo>
                      <a:pt x="1321716" y="1425355"/>
                    </a:lnTo>
                    <a:lnTo>
                      <a:pt x="1321413" y="1425052"/>
                    </a:lnTo>
                    <a:lnTo>
                      <a:pt x="1319291" y="1423688"/>
                    </a:lnTo>
                    <a:close/>
                    <a:moveTo>
                      <a:pt x="992764" y="705329"/>
                    </a:moveTo>
                    <a:lnTo>
                      <a:pt x="988370" y="705783"/>
                    </a:lnTo>
                    <a:lnTo>
                      <a:pt x="987309" y="705480"/>
                    </a:lnTo>
                    <a:lnTo>
                      <a:pt x="987158" y="705026"/>
                    </a:lnTo>
                    <a:lnTo>
                      <a:pt x="987764" y="704268"/>
                    </a:lnTo>
                    <a:lnTo>
                      <a:pt x="988673" y="702601"/>
                    </a:lnTo>
                    <a:lnTo>
                      <a:pt x="988673" y="701692"/>
                    </a:lnTo>
                    <a:lnTo>
                      <a:pt x="987158" y="699419"/>
                    </a:lnTo>
                    <a:lnTo>
                      <a:pt x="985643" y="698813"/>
                    </a:lnTo>
                    <a:lnTo>
                      <a:pt x="981703" y="695631"/>
                    </a:lnTo>
                    <a:lnTo>
                      <a:pt x="977006" y="696389"/>
                    </a:lnTo>
                    <a:lnTo>
                      <a:pt x="975945" y="696086"/>
                    </a:lnTo>
                    <a:lnTo>
                      <a:pt x="977309" y="695025"/>
                    </a:lnTo>
                    <a:lnTo>
                      <a:pt x="978218" y="693510"/>
                    </a:lnTo>
                    <a:lnTo>
                      <a:pt x="978824" y="691692"/>
                    </a:lnTo>
                    <a:lnTo>
                      <a:pt x="979279" y="691540"/>
                    </a:lnTo>
                    <a:lnTo>
                      <a:pt x="985188" y="694874"/>
                    </a:lnTo>
                    <a:lnTo>
                      <a:pt x="987915" y="695935"/>
                    </a:lnTo>
                    <a:lnTo>
                      <a:pt x="988521" y="695935"/>
                    </a:lnTo>
                    <a:lnTo>
                      <a:pt x="987309" y="694419"/>
                    </a:lnTo>
                    <a:lnTo>
                      <a:pt x="985340" y="692904"/>
                    </a:lnTo>
                    <a:lnTo>
                      <a:pt x="981400" y="687904"/>
                    </a:lnTo>
                    <a:lnTo>
                      <a:pt x="979582" y="683661"/>
                    </a:lnTo>
                    <a:lnTo>
                      <a:pt x="978521" y="681995"/>
                    </a:lnTo>
                    <a:lnTo>
                      <a:pt x="976703" y="680025"/>
                    </a:lnTo>
                    <a:lnTo>
                      <a:pt x="972309" y="676237"/>
                    </a:lnTo>
                    <a:lnTo>
                      <a:pt x="963066" y="672600"/>
                    </a:lnTo>
                    <a:lnTo>
                      <a:pt x="962915" y="672297"/>
                    </a:lnTo>
                    <a:lnTo>
                      <a:pt x="963521" y="671237"/>
                    </a:lnTo>
                    <a:lnTo>
                      <a:pt x="963672" y="670176"/>
                    </a:lnTo>
                    <a:lnTo>
                      <a:pt x="963521" y="668661"/>
                    </a:lnTo>
                    <a:lnTo>
                      <a:pt x="962915" y="667146"/>
                    </a:lnTo>
                    <a:lnTo>
                      <a:pt x="961854" y="665479"/>
                    </a:lnTo>
                    <a:lnTo>
                      <a:pt x="960187" y="663812"/>
                    </a:lnTo>
                    <a:lnTo>
                      <a:pt x="955490" y="663964"/>
                    </a:lnTo>
                    <a:lnTo>
                      <a:pt x="950338" y="663206"/>
                    </a:lnTo>
                    <a:lnTo>
                      <a:pt x="949429" y="664115"/>
                    </a:lnTo>
                    <a:lnTo>
                      <a:pt x="949581" y="668055"/>
                    </a:lnTo>
                    <a:lnTo>
                      <a:pt x="950944" y="669570"/>
                    </a:lnTo>
                    <a:lnTo>
                      <a:pt x="951247" y="670782"/>
                    </a:lnTo>
                    <a:lnTo>
                      <a:pt x="949429" y="672752"/>
                    </a:lnTo>
                    <a:lnTo>
                      <a:pt x="945187" y="676388"/>
                    </a:lnTo>
                    <a:lnTo>
                      <a:pt x="945490" y="677752"/>
                    </a:lnTo>
                    <a:lnTo>
                      <a:pt x="947156" y="678661"/>
                    </a:lnTo>
                    <a:lnTo>
                      <a:pt x="951096" y="676540"/>
                    </a:lnTo>
                    <a:lnTo>
                      <a:pt x="955642" y="675176"/>
                    </a:lnTo>
                    <a:lnTo>
                      <a:pt x="957914" y="675782"/>
                    </a:lnTo>
                    <a:lnTo>
                      <a:pt x="958975" y="678207"/>
                    </a:lnTo>
                    <a:lnTo>
                      <a:pt x="959278" y="679570"/>
                    </a:lnTo>
                    <a:lnTo>
                      <a:pt x="957460" y="680934"/>
                    </a:lnTo>
                    <a:lnTo>
                      <a:pt x="957157" y="682601"/>
                    </a:lnTo>
                    <a:lnTo>
                      <a:pt x="954732" y="684419"/>
                    </a:lnTo>
                    <a:lnTo>
                      <a:pt x="953823" y="684419"/>
                    </a:lnTo>
                    <a:lnTo>
                      <a:pt x="951399" y="683055"/>
                    </a:lnTo>
                    <a:lnTo>
                      <a:pt x="950187" y="682904"/>
                    </a:lnTo>
                    <a:lnTo>
                      <a:pt x="947914" y="684116"/>
                    </a:lnTo>
                    <a:lnTo>
                      <a:pt x="947459" y="684874"/>
                    </a:lnTo>
                    <a:lnTo>
                      <a:pt x="948520" y="686237"/>
                    </a:lnTo>
                    <a:lnTo>
                      <a:pt x="950944" y="688510"/>
                    </a:lnTo>
                    <a:lnTo>
                      <a:pt x="952308" y="688359"/>
                    </a:lnTo>
                    <a:lnTo>
                      <a:pt x="955945" y="688662"/>
                    </a:lnTo>
                    <a:lnTo>
                      <a:pt x="956702" y="690177"/>
                    </a:lnTo>
                    <a:lnTo>
                      <a:pt x="957914" y="691843"/>
                    </a:lnTo>
                    <a:lnTo>
                      <a:pt x="959430" y="692298"/>
                    </a:lnTo>
                    <a:lnTo>
                      <a:pt x="963672" y="691692"/>
                    </a:lnTo>
                    <a:lnTo>
                      <a:pt x="965187" y="692601"/>
                    </a:lnTo>
                    <a:lnTo>
                      <a:pt x="963975" y="694722"/>
                    </a:lnTo>
                    <a:lnTo>
                      <a:pt x="963824" y="695935"/>
                    </a:lnTo>
                    <a:lnTo>
                      <a:pt x="967157" y="700026"/>
                    </a:lnTo>
                    <a:lnTo>
                      <a:pt x="966854" y="700783"/>
                    </a:lnTo>
                    <a:lnTo>
                      <a:pt x="965187" y="700783"/>
                    </a:lnTo>
                    <a:lnTo>
                      <a:pt x="963218" y="701389"/>
                    </a:lnTo>
                    <a:lnTo>
                      <a:pt x="962763" y="702601"/>
                    </a:lnTo>
                    <a:lnTo>
                      <a:pt x="964278" y="703662"/>
                    </a:lnTo>
                    <a:lnTo>
                      <a:pt x="968369" y="707905"/>
                    </a:lnTo>
                    <a:lnTo>
                      <a:pt x="972006" y="713208"/>
                    </a:lnTo>
                    <a:lnTo>
                      <a:pt x="974127" y="713965"/>
                    </a:lnTo>
                    <a:lnTo>
                      <a:pt x="974733" y="712299"/>
                    </a:lnTo>
                    <a:lnTo>
                      <a:pt x="974279" y="710177"/>
                    </a:lnTo>
                    <a:lnTo>
                      <a:pt x="975339" y="709571"/>
                    </a:lnTo>
                    <a:lnTo>
                      <a:pt x="976551" y="710026"/>
                    </a:lnTo>
                    <a:lnTo>
                      <a:pt x="976400" y="711087"/>
                    </a:lnTo>
                    <a:lnTo>
                      <a:pt x="977461" y="713359"/>
                    </a:lnTo>
                    <a:lnTo>
                      <a:pt x="977309" y="715481"/>
                    </a:lnTo>
                    <a:lnTo>
                      <a:pt x="978521" y="717147"/>
                    </a:lnTo>
                    <a:lnTo>
                      <a:pt x="980188" y="717299"/>
                    </a:lnTo>
                    <a:lnTo>
                      <a:pt x="980642" y="717753"/>
                    </a:lnTo>
                    <a:lnTo>
                      <a:pt x="983370" y="718360"/>
                    </a:lnTo>
                    <a:lnTo>
                      <a:pt x="984127" y="718966"/>
                    </a:lnTo>
                    <a:lnTo>
                      <a:pt x="986249" y="722905"/>
                    </a:lnTo>
                    <a:lnTo>
                      <a:pt x="988370" y="725481"/>
                    </a:lnTo>
                    <a:lnTo>
                      <a:pt x="989885" y="726390"/>
                    </a:lnTo>
                    <a:lnTo>
                      <a:pt x="991855" y="726390"/>
                    </a:lnTo>
                    <a:lnTo>
                      <a:pt x="993067" y="725936"/>
                    </a:lnTo>
                    <a:lnTo>
                      <a:pt x="994128" y="722905"/>
                    </a:lnTo>
                    <a:lnTo>
                      <a:pt x="994128" y="721693"/>
                    </a:lnTo>
                    <a:lnTo>
                      <a:pt x="993673" y="720481"/>
                    </a:lnTo>
                    <a:lnTo>
                      <a:pt x="993673" y="719269"/>
                    </a:lnTo>
                    <a:lnTo>
                      <a:pt x="994128" y="717753"/>
                    </a:lnTo>
                    <a:lnTo>
                      <a:pt x="994128" y="716693"/>
                    </a:lnTo>
                    <a:lnTo>
                      <a:pt x="993522" y="714269"/>
                    </a:lnTo>
                    <a:lnTo>
                      <a:pt x="994128" y="707602"/>
                    </a:lnTo>
                    <a:lnTo>
                      <a:pt x="992764" y="705329"/>
                    </a:lnTo>
                    <a:close/>
                    <a:moveTo>
                      <a:pt x="444713" y="585324"/>
                    </a:moveTo>
                    <a:lnTo>
                      <a:pt x="443501" y="585173"/>
                    </a:lnTo>
                    <a:lnTo>
                      <a:pt x="442289" y="582749"/>
                    </a:lnTo>
                    <a:lnTo>
                      <a:pt x="440319" y="583203"/>
                    </a:lnTo>
                    <a:lnTo>
                      <a:pt x="437137" y="581233"/>
                    </a:lnTo>
                    <a:lnTo>
                      <a:pt x="436380" y="581233"/>
                    </a:lnTo>
                    <a:lnTo>
                      <a:pt x="435319" y="583658"/>
                    </a:lnTo>
                    <a:lnTo>
                      <a:pt x="434259" y="583355"/>
                    </a:lnTo>
                    <a:lnTo>
                      <a:pt x="432592" y="581839"/>
                    </a:lnTo>
                    <a:lnTo>
                      <a:pt x="430774" y="580627"/>
                    </a:lnTo>
                    <a:lnTo>
                      <a:pt x="428955" y="579870"/>
                    </a:lnTo>
                    <a:lnTo>
                      <a:pt x="427289" y="579718"/>
                    </a:lnTo>
                    <a:lnTo>
                      <a:pt x="422743" y="581082"/>
                    </a:lnTo>
                    <a:lnTo>
                      <a:pt x="422591" y="581839"/>
                    </a:lnTo>
                    <a:lnTo>
                      <a:pt x="424713" y="583809"/>
                    </a:lnTo>
                    <a:lnTo>
                      <a:pt x="424561" y="586537"/>
                    </a:lnTo>
                    <a:lnTo>
                      <a:pt x="423349" y="586688"/>
                    </a:lnTo>
                    <a:lnTo>
                      <a:pt x="421076" y="585931"/>
                    </a:lnTo>
                    <a:lnTo>
                      <a:pt x="418803" y="585779"/>
                    </a:lnTo>
                    <a:lnTo>
                      <a:pt x="415015" y="588052"/>
                    </a:lnTo>
                    <a:lnTo>
                      <a:pt x="407742" y="594113"/>
                    </a:lnTo>
                    <a:lnTo>
                      <a:pt x="409864" y="595022"/>
                    </a:lnTo>
                    <a:lnTo>
                      <a:pt x="418652" y="597598"/>
                    </a:lnTo>
                    <a:lnTo>
                      <a:pt x="420167" y="597749"/>
                    </a:lnTo>
                    <a:lnTo>
                      <a:pt x="422591" y="596991"/>
                    </a:lnTo>
                    <a:lnTo>
                      <a:pt x="424258" y="596840"/>
                    </a:lnTo>
                    <a:lnTo>
                      <a:pt x="424713" y="596234"/>
                    </a:lnTo>
                    <a:lnTo>
                      <a:pt x="426986" y="595022"/>
                    </a:lnTo>
                    <a:lnTo>
                      <a:pt x="428198" y="593507"/>
                    </a:lnTo>
                    <a:lnTo>
                      <a:pt x="429258" y="591082"/>
                    </a:lnTo>
                    <a:lnTo>
                      <a:pt x="430016" y="590931"/>
                    </a:lnTo>
                    <a:lnTo>
                      <a:pt x="430319" y="592900"/>
                    </a:lnTo>
                    <a:lnTo>
                      <a:pt x="430925" y="593658"/>
                    </a:lnTo>
                    <a:lnTo>
                      <a:pt x="433349" y="592597"/>
                    </a:lnTo>
                    <a:lnTo>
                      <a:pt x="435319" y="592749"/>
                    </a:lnTo>
                    <a:lnTo>
                      <a:pt x="437289" y="592294"/>
                    </a:lnTo>
                    <a:lnTo>
                      <a:pt x="437440" y="591537"/>
                    </a:lnTo>
                    <a:lnTo>
                      <a:pt x="436683" y="590173"/>
                    </a:lnTo>
                    <a:lnTo>
                      <a:pt x="436683" y="589264"/>
                    </a:lnTo>
                    <a:lnTo>
                      <a:pt x="438350" y="587597"/>
                    </a:lnTo>
                    <a:lnTo>
                      <a:pt x="438804" y="587597"/>
                    </a:lnTo>
                    <a:lnTo>
                      <a:pt x="439562" y="589112"/>
                    </a:lnTo>
                    <a:lnTo>
                      <a:pt x="440622" y="590325"/>
                    </a:lnTo>
                    <a:lnTo>
                      <a:pt x="441229" y="590628"/>
                    </a:lnTo>
                    <a:lnTo>
                      <a:pt x="442744" y="591385"/>
                    </a:lnTo>
                    <a:lnTo>
                      <a:pt x="443804" y="590779"/>
                    </a:lnTo>
                    <a:lnTo>
                      <a:pt x="446229" y="588203"/>
                    </a:lnTo>
                    <a:lnTo>
                      <a:pt x="446380" y="585627"/>
                    </a:lnTo>
                    <a:lnTo>
                      <a:pt x="445774" y="585476"/>
                    </a:lnTo>
                    <a:lnTo>
                      <a:pt x="444713" y="585324"/>
                    </a:lnTo>
                    <a:close/>
                    <a:moveTo>
                      <a:pt x="973824" y="717147"/>
                    </a:moveTo>
                    <a:lnTo>
                      <a:pt x="971854" y="716844"/>
                    </a:lnTo>
                    <a:lnTo>
                      <a:pt x="970794" y="718208"/>
                    </a:lnTo>
                    <a:lnTo>
                      <a:pt x="970187" y="718511"/>
                    </a:lnTo>
                    <a:lnTo>
                      <a:pt x="969581" y="718057"/>
                    </a:lnTo>
                    <a:lnTo>
                      <a:pt x="967309" y="713965"/>
                    </a:lnTo>
                    <a:lnTo>
                      <a:pt x="966248" y="712753"/>
                    </a:lnTo>
                    <a:lnTo>
                      <a:pt x="965945" y="709874"/>
                    </a:lnTo>
                    <a:lnTo>
                      <a:pt x="963975" y="707753"/>
                    </a:lnTo>
                    <a:lnTo>
                      <a:pt x="963218" y="705935"/>
                    </a:lnTo>
                    <a:lnTo>
                      <a:pt x="957763" y="701692"/>
                    </a:lnTo>
                    <a:lnTo>
                      <a:pt x="954126" y="702601"/>
                    </a:lnTo>
                    <a:lnTo>
                      <a:pt x="953520" y="704268"/>
                    </a:lnTo>
                    <a:lnTo>
                      <a:pt x="954429" y="706238"/>
                    </a:lnTo>
                    <a:lnTo>
                      <a:pt x="957005" y="707147"/>
                    </a:lnTo>
                    <a:lnTo>
                      <a:pt x="958975" y="707602"/>
                    </a:lnTo>
                    <a:lnTo>
                      <a:pt x="960187" y="711087"/>
                    </a:lnTo>
                    <a:lnTo>
                      <a:pt x="962460" y="715481"/>
                    </a:lnTo>
                    <a:lnTo>
                      <a:pt x="963672" y="716238"/>
                    </a:lnTo>
                    <a:lnTo>
                      <a:pt x="963824" y="717299"/>
                    </a:lnTo>
                    <a:lnTo>
                      <a:pt x="965642" y="719875"/>
                    </a:lnTo>
                    <a:lnTo>
                      <a:pt x="968975" y="723360"/>
                    </a:lnTo>
                    <a:lnTo>
                      <a:pt x="971248" y="725329"/>
                    </a:lnTo>
                    <a:lnTo>
                      <a:pt x="973976" y="726239"/>
                    </a:lnTo>
                    <a:lnTo>
                      <a:pt x="974733" y="724572"/>
                    </a:lnTo>
                    <a:lnTo>
                      <a:pt x="975491" y="723511"/>
                    </a:lnTo>
                    <a:lnTo>
                      <a:pt x="975794" y="720329"/>
                    </a:lnTo>
                    <a:lnTo>
                      <a:pt x="976248" y="718360"/>
                    </a:lnTo>
                    <a:lnTo>
                      <a:pt x="975339" y="717753"/>
                    </a:lnTo>
                    <a:lnTo>
                      <a:pt x="973824" y="717147"/>
                    </a:lnTo>
                    <a:close/>
                    <a:moveTo>
                      <a:pt x="953975" y="697601"/>
                    </a:moveTo>
                    <a:lnTo>
                      <a:pt x="957914" y="695025"/>
                    </a:lnTo>
                    <a:lnTo>
                      <a:pt x="957914" y="694419"/>
                    </a:lnTo>
                    <a:lnTo>
                      <a:pt x="957308" y="693359"/>
                    </a:lnTo>
                    <a:lnTo>
                      <a:pt x="956248" y="692753"/>
                    </a:lnTo>
                    <a:lnTo>
                      <a:pt x="953217" y="694116"/>
                    </a:lnTo>
                    <a:lnTo>
                      <a:pt x="950187" y="693965"/>
                    </a:lnTo>
                    <a:lnTo>
                      <a:pt x="948369" y="693510"/>
                    </a:lnTo>
                    <a:lnTo>
                      <a:pt x="945490" y="695177"/>
                    </a:lnTo>
                    <a:lnTo>
                      <a:pt x="948217" y="698359"/>
                    </a:lnTo>
                    <a:lnTo>
                      <a:pt x="947762" y="703814"/>
                    </a:lnTo>
                    <a:lnTo>
                      <a:pt x="950641" y="701995"/>
                    </a:lnTo>
                    <a:lnTo>
                      <a:pt x="952157" y="700329"/>
                    </a:lnTo>
                    <a:lnTo>
                      <a:pt x="952914" y="699723"/>
                    </a:lnTo>
                    <a:lnTo>
                      <a:pt x="953823" y="698207"/>
                    </a:lnTo>
                    <a:lnTo>
                      <a:pt x="953975" y="697601"/>
                    </a:lnTo>
                    <a:close/>
                    <a:moveTo>
                      <a:pt x="1046099" y="673358"/>
                    </a:moveTo>
                    <a:lnTo>
                      <a:pt x="1044887" y="671691"/>
                    </a:lnTo>
                    <a:lnTo>
                      <a:pt x="1041705" y="672752"/>
                    </a:lnTo>
                    <a:lnTo>
                      <a:pt x="1036251" y="671237"/>
                    </a:lnTo>
                    <a:lnTo>
                      <a:pt x="1034432" y="666994"/>
                    </a:lnTo>
                    <a:lnTo>
                      <a:pt x="1029735" y="665782"/>
                    </a:lnTo>
                    <a:lnTo>
                      <a:pt x="1027159" y="662751"/>
                    </a:lnTo>
                    <a:lnTo>
                      <a:pt x="1022008" y="661236"/>
                    </a:lnTo>
                    <a:lnTo>
                      <a:pt x="1017765" y="660176"/>
                    </a:lnTo>
                    <a:lnTo>
                      <a:pt x="1014583" y="658509"/>
                    </a:lnTo>
                    <a:lnTo>
                      <a:pt x="1010795" y="656539"/>
                    </a:lnTo>
                    <a:lnTo>
                      <a:pt x="1007007" y="654418"/>
                    </a:lnTo>
                    <a:lnTo>
                      <a:pt x="1004128" y="652751"/>
                    </a:lnTo>
                    <a:lnTo>
                      <a:pt x="1002007" y="652903"/>
                    </a:lnTo>
                    <a:lnTo>
                      <a:pt x="997310" y="653206"/>
                    </a:lnTo>
                    <a:lnTo>
                      <a:pt x="997007" y="649569"/>
                    </a:lnTo>
                    <a:lnTo>
                      <a:pt x="995491" y="647296"/>
                    </a:lnTo>
                    <a:lnTo>
                      <a:pt x="996098" y="645327"/>
                    </a:lnTo>
                    <a:lnTo>
                      <a:pt x="993522" y="644266"/>
                    </a:lnTo>
                    <a:lnTo>
                      <a:pt x="989582" y="642751"/>
                    </a:lnTo>
                    <a:lnTo>
                      <a:pt x="990643" y="638963"/>
                    </a:lnTo>
                    <a:lnTo>
                      <a:pt x="991552" y="636084"/>
                    </a:lnTo>
                    <a:lnTo>
                      <a:pt x="988067" y="635175"/>
                    </a:lnTo>
                    <a:lnTo>
                      <a:pt x="983067" y="633963"/>
                    </a:lnTo>
                    <a:lnTo>
                      <a:pt x="984733" y="631387"/>
                    </a:lnTo>
                    <a:lnTo>
                      <a:pt x="986097" y="629265"/>
                    </a:lnTo>
                    <a:lnTo>
                      <a:pt x="984127" y="626235"/>
                    </a:lnTo>
                    <a:lnTo>
                      <a:pt x="980339" y="621083"/>
                    </a:lnTo>
                    <a:lnTo>
                      <a:pt x="977461" y="617447"/>
                    </a:lnTo>
                    <a:lnTo>
                      <a:pt x="973673" y="611689"/>
                    </a:lnTo>
                    <a:lnTo>
                      <a:pt x="970339" y="606689"/>
                    </a:lnTo>
                    <a:lnTo>
                      <a:pt x="967612" y="602598"/>
                    </a:lnTo>
                    <a:lnTo>
                      <a:pt x="965339" y="599719"/>
                    </a:lnTo>
                    <a:lnTo>
                      <a:pt x="962157" y="594567"/>
                    </a:lnTo>
                    <a:lnTo>
                      <a:pt x="957914" y="588809"/>
                    </a:lnTo>
                    <a:lnTo>
                      <a:pt x="953823" y="584264"/>
                    </a:lnTo>
                    <a:lnTo>
                      <a:pt x="954429" y="581385"/>
                    </a:lnTo>
                    <a:lnTo>
                      <a:pt x="950490" y="577748"/>
                    </a:lnTo>
                    <a:lnTo>
                      <a:pt x="947005" y="573960"/>
                    </a:lnTo>
                    <a:lnTo>
                      <a:pt x="942914" y="569566"/>
                    </a:lnTo>
                    <a:lnTo>
                      <a:pt x="938974" y="567445"/>
                    </a:lnTo>
                    <a:lnTo>
                      <a:pt x="936095" y="565930"/>
                    </a:lnTo>
                    <a:lnTo>
                      <a:pt x="932004" y="563809"/>
                    </a:lnTo>
                    <a:lnTo>
                      <a:pt x="929883" y="561839"/>
                    </a:lnTo>
                    <a:lnTo>
                      <a:pt x="928974" y="560172"/>
                    </a:lnTo>
                    <a:lnTo>
                      <a:pt x="928065" y="558960"/>
                    </a:lnTo>
                    <a:lnTo>
                      <a:pt x="927307" y="557293"/>
                    </a:lnTo>
                    <a:lnTo>
                      <a:pt x="926853" y="555323"/>
                    </a:lnTo>
                    <a:lnTo>
                      <a:pt x="925943" y="554111"/>
                    </a:lnTo>
                    <a:lnTo>
                      <a:pt x="920943" y="551232"/>
                    </a:lnTo>
                    <a:lnTo>
                      <a:pt x="919428" y="549414"/>
                    </a:lnTo>
                    <a:lnTo>
                      <a:pt x="915943" y="547293"/>
                    </a:lnTo>
                    <a:lnTo>
                      <a:pt x="913064" y="546384"/>
                    </a:lnTo>
                    <a:lnTo>
                      <a:pt x="912004" y="545626"/>
                    </a:lnTo>
                    <a:lnTo>
                      <a:pt x="908519" y="539414"/>
                    </a:lnTo>
                    <a:lnTo>
                      <a:pt x="909125" y="537141"/>
                    </a:lnTo>
                    <a:lnTo>
                      <a:pt x="909579" y="534868"/>
                    </a:lnTo>
                    <a:lnTo>
                      <a:pt x="909125" y="533656"/>
                    </a:lnTo>
                    <a:lnTo>
                      <a:pt x="903367" y="528959"/>
                    </a:lnTo>
                    <a:lnTo>
                      <a:pt x="900488" y="526989"/>
                    </a:lnTo>
                    <a:lnTo>
                      <a:pt x="897458" y="525019"/>
                    </a:lnTo>
                    <a:lnTo>
                      <a:pt x="891245" y="527595"/>
                    </a:lnTo>
                    <a:lnTo>
                      <a:pt x="884881" y="530322"/>
                    </a:lnTo>
                    <a:lnTo>
                      <a:pt x="880487" y="531383"/>
                    </a:lnTo>
                    <a:lnTo>
                      <a:pt x="874729" y="533050"/>
                    </a:lnTo>
                    <a:lnTo>
                      <a:pt x="876699" y="536080"/>
                    </a:lnTo>
                    <a:lnTo>
                      <a:pt x="875790" y="538201"/>
                    </a:lnTo>
                    <a:lnTo>
                      <a:pt x="873820" y="539111"/>
                    </a:lnTo>
                    <a:lnTo>
                      <a:pt x="870638" y="538959"/>
                    </a:lnTo>
                    <a:lnTo>
                      <a:pt x="870638" y="546232"/>
                    </a:lnTo>
                    <a:lnTo>
                      <a:pt x="867608" y="551384"/>
                    </a:lnTo>
                    <a:lnTo>
                      <a:pt x="861244" y="551535"/>
                    </a:lnTo>
                    <a:lnTo>
                      <a:pt x="857759" y="553354"/>
                    </a:lnTo>
                    <a:lnTo>
                      <a:pt x="852607" y="555929"/>
                    </a:lnTo>
                    <a:lnTo>
                      <a:pt x="848516" y="558051"/>
                    </a:lnTo>
                    <a:lnTo>
                      <a:pt x="844122" y="561536"/>
                    </a:lnTo>
                    <a:lnTo>
                      <a:pt x="841849" y="561081"/>
                    </a:lnTo>
                    <a:lnTo>
                      <a:pt x="842910" y="558051"/>
                    </a:lnTo>
                    <a:lnTo>
                      <a:pt x="841243" y="552899"/>
                    </a:lnTo>
                    <a:lnTo>
                      <a:pt x="839880" y="548656"/>
                    </a:lnTo>
                    <a:lnTo>
                      <a:pt x="837001" y="546384"/>
                    </a:lnTo>
                    <a:lnTo>
                      <a:pt x="832304" y="542444"/>
                    </a:lnTo>
                    <a:lnTo>
                      <a:pt x="828667" y="539565"/>
                    </a:lnTo>
                    <a:lnTo>
                      <a:pt x="823515" y="535474"/>
                    </a:lnTo>
                    <a:lnTo>
                      <a:pt x="819879" y="532595"/>
                    </a:lnTo>
                    <a:lnTo>
                      <a:pt x="816091" y="529716"/>
                    </a:lnTo>
                    <a:lnTo>
                      <a:pt x="811242" y="525777"/>
                    </a:lnTo>
                    <a:lnTo>
                      <a:pt x="809272" y="520777"/>
                    </a:lnTo>
                    <a:lnTo>
                      <a:pt x="804878" y="518958"/>
                    </a:lnTo>
                    <a:lnTo>
                      <a:pt x="800030" y="516989"/>
                    </a:lnTo>
                    <a:lnTo>
                      <a:pt x="796090" y="513352"/>
                    </a:lnTo>
                    <a:lnTo>
                      <a:pt x="797454" y="509716"/>
                    </a:lnTo>
                    <a:lnTo>
                      <a:pt x="798969" y="505322"/>
                    </a:lnTo>
                    <a:lnTo>
                      <a:pt x="798969" y="502746"/>
                    </a:lnTo>
                    <a:lnTo>
                      <a:pt x="794726" y="502897"/>
                    </a:lnTo>
                    <a:lnTo>
                      <a:pt x="788363" y="503200"/>
                    </a:lnTo>
                    <a:lnTo>
                      <a:pt x="782605" y="503352"/>
                    </a:lnTo>
                    <a:lnTo>
                      <a:pt x="778362" y="506382"/>
                    </a:lnTo>
                    <a:lnTo>
                      <a:pt x="774423" y="509261"/>
                    </a:lnTo>
                    <a:lnTo>
                      <a:pt x="768362" y="506988"/>
                    </a:lnTo>
                    <a:lnTo>
                      <a:pt x="761392" y="504412"/>
                    </a:lnTo>
                    <a:lnTo>
                      <a:pt x="759422" y="507746"/>
                    </a:lnTo>
                    <a:lnTo>
                      <a:pt x="752907" y="506079"/>
                    </a:lnTo>
                    <a:lnTo>
                      <a:pt x="746391" y="504412"/>
                    </a:lnTo>
                    <a:lnTo>
                      <a:pt x="746391" y="492442"/>
                    </a:lnTo>
                    <a:lnTo>
                      <a:pt x="746391" y="480321"/>
                    </a:lnTo>
                    <a:lnTo>
                      <a:pt x="746391" y="468199"/>
                    </a:lnTo>
                    <a:lnTo>
                      <a:pt x="746391" y="455926"/>
                    </a:lnTo>
                    <a:lnTo>
                      <a:pt x="746391" y="443653"/>
                    </a:lnTo>
                    <a:lnTo>
                      <a:pt x="746391" y="431531"/>
                    </a:lnTo>
                    <a:lnTo>
                      <a:pt x="746391" y="419106"/>
                    </a:lnTo>
                    <a:lnTo>
                      <a:pt x="746391" y="406682"/>
                    </a:lnTo>
                    <a:lnTo>
                      <a:pt x="746391" y="394105"/>
                    </a:lnTo>
                    <a:lnTo>
                      <a:pt x="746391" y="381529"/>
                    </a:lnTo>
                    <a:lnTo>
                      <a:pt x="746391" y="368953"/>
                    </a:lnTo>
                    <a:lnTo>
                      <a:pt x="746391" y="356225"/>
                    </a:lnTo>
                    <a:lnTo>
                      <a:pt x="746391" y="343497"/>
                    </a:lnTo>
                    <a:lnTo>
                      <a:pt x="746391" y="330618"/>
                    </a:lnTo>
                    <a:lnTo>
                      <a:pt x="746391" y="317739"/>
                    </a:lnTo>
                    <a:lnTo>
                      <a:pt x="746391" y="304708"/>
                    </a:lnTo>
                    <a:lnTo>
                      <a:pt x="746391" y="291677"/>
                    </a:lnTo>
                    <a:lnTo>
                      <a:pt x="746391" y="278647"/>
                    </a:lnTo>
                    <a:lnTo>
                      <a:pt x="746391" y="265464"/>
                    </a:lnTo>
                    <a:lnTo>
                      <a:pt x="746391" y="252282"/>
                    </a:lnTo>
                    <a:lnTo>
                      <a:pt x="746391" y="238948"/>
                    </a:lnTo>
                    <a:lnTo>
                      <a:pt x="746391" y="225463"/>
                    </a:lnTo>
                    <a:lnTo>
                      <a:pt x="746391" y="211977"/>
                    </a:lnTo>
                    <a:lnTo>
                      <a:pt x="746391" y="198492"/>
                    </a:lnTo>
                    <a:lnTo>
                      <a:pt x="746391" y="184855"/>
                    </a:lnTo>
                    <a:lnTo>
                      <a:pt x="746391" y="171218"/>
                    </a:lnTo>
                    <a:lnTo>
                      <a:pt x="746391" y="157430"/>
                    </a:lnTo>
                    <a:lnTo>
                      <a:pt x="746391" y="143642"/>
                    </a:lnTo>
                    <a:lnTo>
                      <a:pt x="746391" y="129702"/>
                    </a:lnTo>
                    <a:lnTo>
                      <a:pt x="746391" y="115610"/>
                    </a:lnTo>
                    <a:lnTo>
                      <a:pt x="746391" y="101519"/>
                    </a:lnTo>
                    <a:lnTo>
                      <a:pt x="746391" y="87276"/>
                    </a:lnTo>
                    <a:lnTo>
                      <a:pt x="744270" y="86821"/>
                    </a:lnTo>
                    <a:lnTo>
                      <a:pt x="738512" y="86518"/>
                    </a:lnTo>
                    <a:lnTo>
                      <a:pt x="737149" y="87427"/>
                    </a:lnTo>
                    <a:lnTo>
                      <a:pt x="735179" y="87124"/>
                    </a:lnTo>
                    <a:lnTo>
                      <a:pt x="731997" y="84094"/>
                    </a:lnTo>
                    <a:lnTo>
                      <a:pt x="727603" y="81518"/>
                    </a:lnTo>
                    <a:lnTo>
                      <a:pt x="711238" y="76669"/>
                    </a:lnTo>
                    <a:lnTo>
                      <a:pt x="707754" y="73336"/>
                    </a:lnTo>
                    <a:lnTo>
                      <a:pt x="699874" y="68639"/>
                    </a:lnTo>
                    <a:lnTo>
                      <a:pt x="685935" y="64548"/>
                    </a:lnTo>
                    <a:lnTo>
                      <a:pt x="684419" y="65608"/>
                    </a:lnTo>
                    <a:lnTo>
                      <a:pt x="682147" y="65912"/>
                    </a:lnTo>
                    <a:lnTo>
                      <a:pt x="676389" y="65305"/>
                    </a:lnTo>
                    <a:lnTo>
                      <a:pt x="671389" y="65305"/>
                    </a:lnTo>
                    <a:lnTo>
                      <a:pt x="662752" y="67730"/>
                    </a:lnTo>
                    <a:lnTo>
                      <a:pt x="653055" y="68487"/>
                    </a:lnTo>
                    <a:lnTo>
                      <a:pt x="647448" y="71215"/>
                    </a:lnTo>
                    <a:lnTo>
                      <a:pt x="631690" y="69851"/>
                    </a:lnTo>
                    <a:lnTo>
                      <a:pt x="630629" y="68639"/>
                    </a:lnTo>
                    <a:lnTo>
                      <a:pt x="625023" y="67730"/>
                    </a:lnTo>
                    <a:lnTo>
                      <a:pt x="614568" y="62427"/>
                    </a:lnTo>
                    <a:lnTo>
                      <a:pt x="608204" y="62578"/>
                    </a:lnTo>
                    <a:lnTo>
                      <a:pt x="602144" y="61063"/>
                    </a:lnTo>
                    <a:lnTo>
                      <a:pt x="589416" y="60760"/>
                    </a:lnTo>
                    <a:lnTo>
                      <a:pt x="580779" y="61820"/>
                    </a:lnTo>
                    <a:lnTo>
                      <a:pt x="563203" y="59548"/>
                    </a:lnTo>
                    <a:lnTo>
                      <a:pt x="560930" y="58487"/>
                    </a:lnTo>
                    <a:lnTo>
                      <a:pt x="558809" y="55305"/>
                    </a:lnTo>
                    <a:lnTo>
                      <a:pt x="554111" y="54699"/>
                    </a:lnTo>
                    <a:lnTo>
                      <a:pt x="551233" y="52729"/>
                    </a:lnTo>
                    <a:lnTo>
                      <a:pt x="548354" y="52729"/>
                    </a:lnTo>
                    <a:lnTo>
                      <a:pt x="545020" y="54851"/>
                    </a:lnTo>
                    <a:lnTo>
                      <a:pt x="541990" y="54699"/>
                    </a:lnTo>
                    <a:lnTo>
                      <a:pt x="536232" y="49850"/>
                    </a:lnTo>
                    <a:lnTo>
                      <a:pt x="531989" y="49396"/>
                    </a:lnTo>
                    <a:lnTo>
                      <a:pt x="520322" y="45608"/>
                    </a:lnTo>
                    <a:lnTo>
                      <a:pt x="516534" y="46062"/>
                    </a:lnTo>
                    <a:lnTo>
                      <a:pt x="512898" y="45002"/>
                    </a:lnTo>
                    <a:lnTo>
                      <a:pt x="503958" y="45153"/>
                    </a:lnTo>
                    <a:lnTo>
                      <a:pt x="496231" y="48487"/>
                    </a:lnTo>
                    <a:lnTo>
                      <a:pt x="492897" y="48941"/>
                    </a:lnTo>
                    <a:lnTo>
                      <a:pt x="489412" y="48487"/>
                    </a:lnTo>
                    <a:lnTo>
                      <a:pt x="485624" y="46214"/>
                    </a:lnTo>
                    <a:lnTo>
                      <a:pt x="482291" y="45153"/>
                    </a:lnTo>
                    <a:lnTo>
                      <a:pt x="473654" y="47426"/>
                    </a:lnTo>
                    <a:lnTo>
                      <a:pt x="469563" y="48032"/>
                    </a:lnTo>
                    <a:lnTo>
                      <a:pt x="466987" y="49699"/>
                    </a:lnTo>
                    <a:lnTo>
                      <a:pt x="447289" y="48032"/>
                    </a:lnTo>
                    <a:lnTo>
                      <a:pt x="450774" y="45153"/>
                    </a:lnTo>
                    <a:lnTo>
                      <a:pt x="451380" y="43789"/>
                    </a:lnTo>
                    <a:lnTo>
                      <a:pt x="452290" y="42729"/>
                    </a:lnTo>
                    <a:lnTo>
                      <a:pt x="441229" y="42880"/>
                    </a:lnTo>
                    <a:lnTo>
                      <a:pt x="438956" y="42274"/>
                    </a:lnTo>
                    <a:lnTo>
                      <a:pt x="438350" y="39850"/>
                    </a:lnTo>
                    <a:lnTo>
                      <a:pt x="434865" y="39547"/>
                    </a:lnTo>
                    <a:lnTo>
                      <a:pt x="432895" y="37880"/>
                    </a:lnTo>
                    <a:lnTo>
                      <a:pt x="433804" y="33941"/>
                    </a:lnTo>
                    <a:lnTo>
                      <a:pt x="439410" y="30153"/>
                    </a:lnTo>
                    <a:lnTo>
                      <a:pt x="437592" y="28334"/>
                    </a:lnTo>
                    <a:lnTo>
                      <a:pt x="432440" y="26668"/>
                    </a:lnTo>
                    <a:lnTo>
                      <a:pt x="427592" y="26213"/>
                    </a:lnTo>
                    <a:lnTo>
                      <a:pt x="424410" y="26971"/>
                    </a:lnTo>
                    <a:lnTo>
                      <a:pt x="412137" y="24092"/>
                    </a:lnTo>
                    <a:lnTo>
                      <a:pt x="404864" y="26213"/>
                    </a:lnTo>
                    <a:lnTo>
                      <a:pt x="399257" y="26062"/>
                    </a:lnTo>
                    <a:lnTo>
                      <a:pt x="393348" y="26819"/>
                    </a:lnTo>
                    <a:lnTo>
                      <a:pt x="385772" y="30607"/>
                    </a:lnTo>
                    <a:lnTo>
                      <a:pt x="380317" y="28789"/>
                    </a:lnTo>
                    <a:lnTo>
                      <a:pt x="374711" y="28334"/>
                    </a:lnTo>
                    <a:lnTo>
                      <a:pt x="369559" y="26062"/>
                    </a:lnTo>
                    <a:lnTo>
                      <a:pt x="371226" y="24395"/>
                    </a:lnTo>
                    <a:lnTo>
                      <a:pt x="372741" y="21364"/>
                    </a:lnTo>
                    <a:lnTo>
                      <a:pt x="368802" y="18334"/>
                    </a:lnTo>
                    <a:lnTo>
                      <a:pt x="365317" y="16667"/>
                    </a:lnTo>
                    <a:lnTo>
                      <a:pt x="359256" y="15910"/>
                    </a:lnTo>
                    <a:lnTo>
                      <a:pt x="357589" y="16819"/>
                    </a:lnTo>
                    <a:lnTo>
                      <a:pt x="355316" y="20152"/>
                    </a:lnTo>
                    <a:lnTo>
                      <a:pt x="348043" y="26213"/>
                    </a:lnTo>
                    <a:lnTo>
                      <a:pt x="344558" y="28031"/>
                    </a:lnTo>
                    <a:lnTo>
                      <a:pt x="340013" y="29092"/>
                    </a:lnTo>
                    <a:lnTo>
                      <a:pt x="337285" y="28789"/>
                    </a:lnTo>
                    <a:lnTo>
                      <a:pt x="335467" y="25759"/>
                    </a:lnTo>
                    <a:lnTo>
                      <a:pt x="332285" y="24243"/>
                    </a:lnTo>
                    <a:lnTo>
                      <a:pt x="341679" y="20910"/>
                    </a:lnTo>
                    <a:lnTo>
                      <a:pt x="346376" y="17576"/>
                    </a:lnTo>
                    <a:lnTo>
                      <a:pt x="347892" y="14546"/>
                    </a:lnTo>
                    <a:lnTo>
                      <a:pt x="346073" y="11516"/>
                    </a:lnTo>
                    <a:lnTo>
                      <a:pt x="341528" y="11213"/>
                    </a:lnTo>
                    <a:lnTo>
                      <a:pt x="323497" y="6061"/>
                    </a:lnTo>
                    <a:lnTo>
                      <a:pt x="320769" y="3485"/>
                    </a:lnTo>
                    <a:lnTo>
                      <a:pt x="322739" y="1515"/>
                    </a:lnTo>
                    <a:lnTo>
                      <a:pt x="325467" y="606"/>
                    </a:lnTo>
                    <a:lnTo>
                      <a:pt x="323345" y="0"/>
                    </a:lnTo>
                    <a:lnTo>
                      <a:pt x="314709" y="4546"/>
                    </a:lnTo>
                    <a:lnTo>
                      <a:pt x="309557" y="9091"/>
                    </a:lnTo>
                    <a:lnTo>
                      <a:pt x="303496" y="15910"/>
                    </a:lnTo>
                    <a:lnTo>
                      <a:pt x="300011" y="18637"/>
                    </a:lnTo>
                    <a:lnTo>
                      <a:pt x="292284" y="23637"/>
                    </a:lnTo>
                    <a:lnTo>
                      <a:pt x="283950" y="27728"/>
                    </a:lnTo>
                    <a:lnTo>
                      <a:pt x="281526" y="28486"/>
                    </a:lnTo>
                    <a:lnTo>
                      <a:pt x="268192" y="28637"/>
                    </a:lnTo>
                    <a:lnTo>
                      <a:pt x="267434" y="29698"/>
                    </a:lnTo>
                    <a:lnTo>
                      <a:pt x="264404" y="30759"/>
                    </a:lnTo>
                    <a:lnTo>
                      <a:pt x="254100" y="30607"/>
                    </a:lnTo>
                    <a:lnTo>
                      <a:pt x="251979" y="32122"/>
                    </a:lnTo>
                    <a:lnTo>
                      <a:pt x="247130" y="33335"/>
                    </a:lnTo>
                    <a:lnTo>
                      <a:pt x="245615" y="33183"/>
                    </a:lnTo>
                    <a:lnTo>
                      <a:pt x="244706" y="31819"/>
                    </a:lnTo>
                    <a:lnTo>
                      <a:pt x="246827" y="30153"/>
                    </a:lnTo>
                    <a:lnTo>
                      <a:pt x="248949" y="29243"/>
                    </a:lnTo>
                    <a:lnTo>
                      <a:pt x="248646" y="27880"/>
                    </a:lnTo>
                    <a:lnTo>
                      <a:pt x="247585" y="26971"/>
                    </a:lnTo>
                    <a:lnTo>
                      <a:pt x="245312" y="26819"/>
                    </a:lnTo>
                    <a:lnTo>
                      <a:pt x="235312" y="31365"/>
                    </a:lnTo>
                    <a:lnTo>
                      <a:pt x="224402" y="38941"/>
                    </a:lnTo>
                    <a:lnTo>
                      <a:pt x="227736" y="38941"/>
                    </a:lnTo>
                    <a:lnTo>
                      <a:pt x="233645" y="44093"/>
                    </a:lnTo>
                    <a:lnTo>
                      <a:pt x="243494" y="44396"/>
                    </a:lnTo>
                    <a:lnTo>
                      <a:pt x="235312" y="46668"/>
                    </a:lnTo>
                    <a:lnTo>
                      <a:pt x="231675" y="45608"/>
                    </a:lnTo>
                    <a:lnTo>
                      <a:pt x="230918" y="47729"/>
                    </a:lnTo>
                    <a:lnTo>
                      <a:pt x="230463" y="50911"/>
                    </a:lnTo>
                    <a:lnTo>
                      <a:pt x="230463" y="54093"/>
                    </a:lnTo>
                    <a:lnTo>
                      <a:pt x="230160" y="56366"/>
                    </a:lnTo>
                    <a:lnTo>
                      <a:pt x="228948" y="53790"/>
                    </a:lnTo>
                    <a:lnTo>
                      <a:pt x="223796" y="53638"/>
                    </a:lnTo>
                    <a:lnTo>
                      <a:pt x="226221" y="48032"/>
                    </a:lnTo>
                    <a:lnTo>
                      <a:pt x="223493" y="46820"/>
                    </a:lnTo>
                    <a:lnTo>
                      <a:pt x="227433" y="42123"/>
                    </a:lnTo>
                    <a:lnTo>
                      <a:pt x="225160" y="41214"/>
                    </a:lnTo>
                    <a:lnTo>
                      <a:pt x="223190" y="40911"/>
                    </a:lnTo>
                    <a:lnTo>
                      <a:pt x="209553" y="48184"/>
                    </a:lnTo>
                    <a:lnTo>
                      <a:pt x="209250" y="49396"/>
                    </a:lnTo>
                    <a:lnTo>
                      <a:pt x="199704" y="55154"/>
                    </a:lnTo>
                    <a:lnTo>
                      <a:pt x="182128" y="58639"/>
                    </a:lnTo>
                    <a:lnTo>
                      <a:pt x="178643" y="60457"/>
                    </a:lnTo>
                    <a:lnTo>
                      <a:pt x="172431" y="61972"/>
                    </a:lnTo>
                    <a:lnTo>
                      <a:pt x="170309" y="62124"/>
                    </a:lnTo>
                    <a:lnTo>
                      <a:pt x="171218" y="61366"/>
                    </a:lnTo>
                    <a:lnTo>
                      <a:pt x="174855" y="60002"/>
                    </a:lnTo>
                    <a:lnTo>
                      <a:pt x="177431" y="57881"/>
                    </a:lnTo>
                    <a:lnTo>
                      <a:pt x="178946" y="57426"/>
                    </a:lnTo>
                    <a:lnTo>
                      <a:pt x="178491" y="56517"/>
                    </a:lnTo>
                    <a:lnTo>
                      <a:pt x="177582" y="55911"/>
                    </a:lnTo>
                    <a:lnTo>
                      <a:pt x="175764" y="53790"/>
                    </a:lnTo>
                    <a:lnTo>
                      <a:pt x="173037" y="55911"/>
                    </a:lnTo>
                    <a:lnTo>
                      <a:pt x="170461" y="58942"/>
                    </a:lnTo>
                    <a:lnTo>
                      <a:pt x="162885" y="65457"/>
                    </a:lnTo>
                    <a:lnTo>
                      <a:pt x="146369" y="81973"/>
                    </a:lnTo>
                    <a:lnTo>
                      <a:pt x="142430" y="89094"/>
                    </a:lnTo>
                    <a:lnTo>
                      <a:pt x="141369" y="96670"/>
                    </a:lnTo>
                    <a:lnTo>
                      <a:pt x="140460" y="99852"/>
                    </a:lnTo>
                    <a:lnTo>
                      <a:pt x="139702" y="100155"/>
                    </a:lnTo>
                    <a:lnTo>
                      <a:pt x="139248" y="99549"/>
                    </a:lnTo>
                    <a:lnTo>
                      <a:pt x="138035" y="101822"/>
                    </a:lnTo>
                    <a:lnTo>
                      <a:pt x="130308" y="110307"/>
                    </a:lnTo>
                    <a:lnTo>
                      <a:pt x="121217" y="116671"/>
                    </a:lnTo>
                    <a:lnTo>
                      <a:pt x="113489" y="120307"/>
                    </a:lnTo>
                    <a:lnTo>
                      <a:pt x="109398" y="121520"/>
                    </a:lnTo>
                    <a:lnTo>
                      <a:pt x="93337" y="123186"/>
                    </a:lnTo>
                    <a:lnTo>
                      <a:pt x="89094" y="124095"/>
                    </a:lnTo>
                    <a:lnTo>
                      <a:pt x="76366" y="124853"/>
                    </a:lnTo>
                    <a:lnTo>
                      <a:pt x="57275" y="123944"/>
                    </a:lnTo>
                    <a:lnTo>
                      <a:pt x="58032" y="128187"/>
                    </a:lnTo>
                    <a:lnTo>
                      <a:pt x="55002" y="139248"/>
                    </a:lnTo>
                    <a:lnTo>
                      <a:pt x="52275" y="146369"/>
                    </a:lnTo>
                    <a:lnTo>
                      <a:pt x="50456" y="147884"/>
                    </a:lnTo>
                    <a:lnTo>
                      <a:pt x="47123" y="149248"/>
                    </a:lnTo>
                    <a:lnTo>
                      <a:pt x="45002" y="148642"/>
                    </a:lnTo>
                    <a:lnTo>
                      <a:pt x="47729" y="146217"/>
                    </a:lnTo>
                    <a:lnTo>
                      <a:pt x="45002" y="146975"/>
                    </a:lnTo>
                    <a:lnTo>
                      <a:pt x="41062" y="149248"/>
                    </a:lnTo>
                    <a:lnTo>
                      <a:pt x="46820" y="151066"/>
                    </a:lnTo>
                    <a:lnTo>
                      <a:pt x="51366" y="151672"/>
                    </a:lnTo>
                    <a:lnTo>
                      <a:pt x="56063" y="153036"/>
                    </a:lnTo>
                    <a:lnTo>
                      <a:pt x="63639" y="158794"/>
                    </a:lnTo>
                    <a:lnTo>
                      <a:pt x="79397" y="163945"/>
                    </a:lnTo>
                    <a:lnTo>
                      <a:pt x="113944" y="184552"/>
                    </a:lnTo>
                    <a:lnTo>
                      <a:pt x="118944" y="190613"/>
                    </a:lnTo>
                    <a:lnTo>
                      <a:pt x="122883" y="200159"/>
                    </a:lnTo>
                    <a:lnTo>
                      <a:pt x="125005" y="203644"/>
                    </a:lnTo>
                    <a:lnTo>
                      <a:pt x="130156" y="207886"/>
                    </a:lnTo>
                    <a:lnTo>
                      <a:pt x="144702" y="211371"/>
                    </a:lnTo>
                    <a:lnTo>
                      <a:pt x="151218" y="210917"/>
                    </a:lnTo>
                    <a:lnTo>
                      <a:pt x="156066" y="211674"/>
                    </a:lnTo>
                    <a:lnTo>
                      <a:pt x="160764" y="207735"/>
                    </a:lnTo>
                    <a:lnTo>
                      <a:pt x="160764" y="209705"/>
                    </a:lnTo>
                    <a:lnTo>
                      <a:pt x="161370" y="211523"/>
                    </a:lnTo>
                    <a:lnTo>
                      <a:pt x="173037" y="210159"/>
                    </a:lnTo>
                    <a:lnTo>
                      <a:pt x="179704" y="211523"/>
                    </a:lnTo>
                    <a:lnTo>
                      <a:pt x="182431" y="213493"/>
                    </a:lnTo>
                    <a:lnTo>
                      <a:pt x="179401" y="216069"/>
                    </a:lnTo>
                    <a:lnTo>
                      <a:pt x="175310" y="221523"/>
                    </a:lnTo>
                    <a:lnTo>
                      <a:pt x="175916" y="226220"/>
                    </a:lnTo>
                    <a:lnTo>
                      <a:pt x="180764" y="228796"/>
                    </a:lnTo>
                    <a:lnTo>
                      <a:pt x="183795" y="231221"/>
                    </a:lnTo>
                    <a:lnTo>
                      <a:pt x="188492" y="233039"/>
                    </a:lnTo>
                    <a:lnTo>
                      <a:pt x="198038" y="228342"/>
                    </a:lnTo>
                    <a:lnTo>
                      <a:pt x="203189" y="227584"/>
                    </a:lnTo>
                    <a:lnTo>
                      <a:pt x="209250" y="230614"/>
                    </a:lnTo>
                    <a:lnTo>
                      <a:pt x="216978" y="230311"/>
                    </a:lnTo>
                    <a:lnTo>
                      <a:pt x="219705" y="232130"/>
                    </a:lnTo>
                    <a:lnTo>
                      <a:pt x="220614" y="235009"/>
                    </a:lnTo>
                    <a:lnTo>
                      <a:pt x="220463" y="239100"/>
                    </a:lnTo>
                    <a:lnTo>
                      <a:pt x="208947" y="241221"/>
                    </a:lnTo>
                    <a:lnTo>
                      <a:pt x="205311" y="240766"/>
                    </a:lnTo>
                    <a:lnTo>
                      <a:pt x="198038" y="236675"/>
                    </a:lnTo>
                    <a:lnTo>
                      <a:pt x="195159" y="235766"/>
                    </a:lnTo>
                    <a:lnTo>
                      <a:pt x="190159" y="235766"/>
                    </a:lnTo>
                    <a:lnTo>
                      <a:pt x="183189" y="237433"/>
                    </a:lnTo>
                    <a:lnTo>
                      <a:pt x="174400" y="232887"/>
                    </a:lnTo>
                    <a:lnTo>
                      <a:pt x="170612" y="227887"/>
                    </a:lnTo>
                    <a:lnTo>
                      <a:pt x="171522" y="222584"/>
                    </a:lnTo>
                    <a:lnTo>
                      <a:pt x="168340" y="221826"/>
                    </a:lnTo>
                    <a:lnTo>
                      <a:pt x="165006" y="216372"/>
                    </a:lnTo>
                    <a:lnTo>
                      <a:pt x="161976" y="215008"/>
                    </a:lnTo>
                    <a:lnTo>
                      <a:pt x="158794" y="215765"/>
                    </a:lnTo>
                    <a:lnTo>
                      <a:pt x="155460" y="217887"/>
                    </a:lnTo>
                    <a:lnTo>
                      <a:pt x="157279" y="221978"/>
                    </a:lnTo>
                    <a:lnTo>
                      <a:pt x="159400" y="225160"/>
                    </a:lnTo>
                    <a:lnTo>
                      <a:pt x="163491" y="225311"/>
                    </a:lnTo>
                    <a:lnTo>
                      <a:pt x="166976" y="227130"/>
                    </a:lnTo>
                    <a:lnTo>
                      <a:pt x="175310" y="236372"/>
                    </a:lnTo>
                    <a:lnTo>
                      <a:pt x="174552" y="240160"/>
                    </a:lnTo>
                    <a:lnTo>
                      <a:pt x="176976" y="241979"/>
                    </a:lnTo>
                    <a:lnTo>
                      <a:pt x="184704" y="240312"/>
                    </a:lnTo>
                    <a:lnTo>
                      <a:pt x="196371" y="243645"/>
                    </a:lnTo>
                    <a:lnTo>
                      <a:pt x="197735" y="245464"/>
                    </a:lnTo>
                    <a:lnTo>
                      <a:pt x="198644" y="250312"/>
                    </a:lnTo>
                    <a:lnTo>
                      <a:pt x="196522" y="248039"/>
                    </a:lnTo>
                    <a:lnTo>
                      <a:pt x="193947" y="248949"/>
                    </a:lnTo>
                    <a:lnTo>
                      <a:pt x="190007" y="247736"/>
                    </a:lnTo>
                    <a:lnTo>
                      <a:pt x="186977" y="246221"/>
                    </a:lnTo>
                    <a:lnTo>
                      <a:pt x="184249" y="247585"/>
                    </a:lnTo>
                    <a:lnTo>
                      <a:pt x="177128" y="256525"/>
                    </a:lnTo>
                    <a:lnTo>
                      <a:pt x="173946" y="256979"/>
                    </a:lnTo>
                    <a:lnTo>
                      <a:pt x="166218" y="255767"/>
                    </a:lnTo>
                    <a:lnTo>
                      <a:pt x="156066" y="256676"/>
                    </a:lnTo>
                    <a:lnTo>
                      <a:pt x="152430" y="256221"/>
                    </a:lnTo>
                    <a:lnTo>
                      <a:pt x="147884" y="254403"/>
                    </a:lnTo>
                    <a:lnTo>
                      <a:pt x="140157" y="255464"/>
                    </a:lnTo>
                    <a:lnTo>
                      <a:pt x="125762" y="255009"/>
                    </a:lnTo>
                    <a:lnTo>
                      <a:pt x="116519" y="248949"/>
                    </a:lnTo>
                    <a:lnTo>
                      <a:pt x="118338" y="246979"/>
                    </a:lnTo>
                    <a:lnTo>
                      <a:pt x="120307" y="245615"/>
                    </a:lnTo>
                    <a:lnTo>
                      <a:pt x="120004" y="241372"/>
                    </a:lnTo>
                    <a:lnTo>
                      <a:pt x="123035" y="236221"/>
                    </a:lnTo>
                    <a:lnTo>
                      <a:pt x="123489" y="234403"/>
                    </a:lnTo>
                    <a:lnTo>
                      <a:pt x="121823" y="233039"/>
                    </a:lnTo>
                    <a:lnTo>
                      <a:pt x="120307" y="232433"/>
                    </a:lnTo>
                    <a:lnTo>
                      <a:pt x="122429" y="232130"/>
                    </a:lnTo>
                    <a:lnTo>
                      <a:pt x="127277" y="232584"/>
                    </a:lnTo>
                    <a:lnTo>
                      <a:pt x="124853" y="230614"/>
                    </a:lnTo>
                    <a:lnTo>
                      <a:pt x="115762" y="230918"/>
                    </a:lnTo>
                    <a:lnTo>
                      <a:pt x="104701" y="231978"/>
                    </a:lnTo>
                    <a:lnTo>
                      <a:pt x="98792" y="233493"/>
                    </a:lnTo>
                    <a:lnTo>
                      <a:pt x="88185" y="238797"/>
                    </a:lnTo>
                    <a:lnTo>
                      <a:pt x="84549" y="238645"/>
                    </a:lnTo>
                    <a:lnTo>
                      <a:pt x="77730" y="240160"/>
                    </a:lnTo>
                    <a:lnTo>
                      <a:pt x="68790" y="244251"/>
                    </a:lnTo>
                    <a:lnTo>
                      <a:pt x="67881" y="245615"/>
                    </a:lnTo>
                    <a:lnTo>
                      <a:pt x="67124" y="247585"/>
                    </a:lnTo>
                    <a:lnTo>
                      <a:pt x="74700" y="251221"/>
                    </a:lnTo>
                    <a:lnTo>
                      <a:pt x="73942" y="252282"/>
                    </a:lnTo>
                    <a:lnTo>
                      <a:pt x="72881" y="252888"/>
                    </a:lnTo>
                    <a:lnTo>
                      <a:pt x="70154" y="253646"/>
                    </a:lnTo>
                    <a:lnTo>
                      <a:pt x="62275" y="253191"/>
                    </a:lnTo>
                    <a:lnTo>
                      <a:pt x="61063" y="253040"/>
                    </a:lnTo>
                    <a:lnTo>
                      <a:pt x="56820" y="251070"/>
                    </a:lnTo>
                    <a:lnTo>
                      <a:pt x="51820" y="252282"/>
                    </a:lnTo>
                    <a:lnTo>
                      <a:pt x="47881" y="254252"/>
                    </a:lnTo>
                    <a:lnTo>
                      <a:pt x="42274" y="256525"/>
                    </a:lnTo>
                    <a:lnTo>
                      <a:pt x="38183" y="260767"/>
                    </a:lnTo>
                    <a:lnTo>
                      <a:pt x="35304" y="263191"/>
                    </a:lnTo>
                    <a:lnTo>
                      <a:pt x="33183" y="264404"/>
                    </a:lnTo>
                    <a:lnTo>
                      <a:pt x="24092" y="265161"/>
                    </a:lnTo>
                    <a:lnTo>
                      <a:pt x="19243" y="269707"/>
                    </a:lnTo>
                    <a:lnTo>
                      <a:pt x="10152" y="273192"/>
                    </a:lnTo>
                    <a:lnTo>
                      <a:pt x="9849" y="271677"/>
                    </a:lnTo>
                    <a:lnTo>
                      <a:pt x="9697" y="270161"/>
                    </a:lnTo>
                    <a:lnTo>
                      <a:pt x="7576" y="271525"/>
                    </a:lnTo>
                    <a:lnTo>
                      <a:pt x="5455" y="274252"/>
                    </a:lnTo>
                    <a:lnTo>
                      <a:pt x="6970" y="276980"/>
                    </a:lnTo>
                    <a:lnTo>
                      <a:pt x="8334" y="278192"/>
                    </a:lnTo>
                    <a:lnTo>
                      <a:pt x="24243" y="284707"/>
                    </a:lnTo>
                    <a:lnTo>
                      <a:pt x="44396" y="288647"/>
                    </a:lnTo>
                    <a:lnTo>
                      <a:pt x="45911" y="288041"/>
                    </a:lnTo>
                    <a:lnTo>
                      <a:pt x="57123" y="290162"/>
                    </a:lnTo>
                    <a:lnTo>
                      <a:pt x="58184" y="291071"/>
                    </a:lnTo>
                    <a:lnTo>
                      <a:pt x="59093" y="292132"/>
                    </a:lnTo>
                    <a:lnTo>
                      <a:pt x="55002" y="291526"/>
                    </a:lnTo>
                    <a:lnTo>
                      <a:pt x="50305" y="292738"/>
                    </a:lnTo>
                    <a:lnTo>
                      <a:pt x="48184" y="296829"/>
                    </a:lnTo>
                    <a:lnTo>
                      <a:pt x="41820" y="297738"/>
                    </a:lnTo>
                    <a:lnTo>
                      <a:pt x="39244" y="297132"/>
                    </a:lnTo>
                    <a:lnTo>
                      <a:pt x="37880" y="296374"/>
                    </a:lnTo>
                    <a:lnTo>
                      <a:pt x="37274" y="296677"/>
                    </a:lnTo>
                    <a:lnTo>
                      <a:pt x="40001" y="299405"/>
                    </a:lnTo>
                    <a:lnTo>
                      <a:pt x="47578" y="305769"/>
                    </a:lnTo>
                    <a:lnTo>
                      <a:pt x="51214" y="306981"/>
                    </a:lnTo>
                    <a:lnTo>
                      <a:pt x="51366" y="311375"/>
                    </a:lnTo>
                    <a:lnTo>
                      <a:pt x="49396" y="312739"/>
                    </a:lnTo>
                    <a:lnTo>
                      <a:pt x="49244" y="315769"/>
                    </a:lnTo>
                    <a:lnTo>
                      <a:pt x="53487" y="320315"/>
                    </a:lnTo>
                    <a:lnTo>
                      <a:pt x="58487" y="322285"/>
                    </a:lnTo>
                    <a:lnTo>
                      <a:pt x="77579" y="325315"/>
                    </a:lnTo>
                    <a:lnTo>
                      <a:pt x="86064" y="327436"/>
                    </a:lnTo>
                    <a:lnTo>
                      <a:pt x="90458" y="327891"/>
                    </a:lnTo>
                    <a:lnTo>
                      <a:pt x="92579" y="327588"/>
                    </a:lnTo>
                    <a:lnTo>
                      <a:pt x="93791" y="326679"/>
                    </a:lnTo>
                    <a:lnTo>
                      <a:pt x="94549" y="325315"/>
                    </a:lnTo>
                    <a:lnTo>
                      <a:pt x="96367" y="324557"/>
                    </a:lnTo>
                    <a:lnTo>
                      <a:pt x="97428" y="324860"/>
                    </a:lnTo>
                    <a:lnTo>
                      <a:pt x="98337" y="325618"/>
                    </a:lnTo>
                    <a:lnTo>
                      <a:pt x="108943" y="322285"/>
                    </a:lnTo>
                    <a:lnTo>
                      <a:pt x="125156" y="322133"/>
                    </a:lnTo>
                    <a:lnTo>
                      <a:pt x="131369" y="323800"/>
                    </a:lnTo>
                    <a:lnTo>
                      <a:pt x="137429" y="327133"/>
                    </a:lnTo>
                    <a:lnTo>
                      <a:pt x="140763" y="329406"/>
                    </a:lnTo>
                    <a:lnTo>
                      <a:pt x="141823" y="326982"/>
                    </a:lnTo>
                    <a:lnTo>
                      <a:pt x="143339" y="325163"/>
                    </a:lnTo>
                    <a:lnTo>
                      <a:pt x="140005" y="324557"/>
                    </a:lnTo>
                    <a:lnTo>
                      <a:pt x="138035" y="323194"/>
                    </a:lnTo>
                    <a:lnTo>
                      <a:pt x="136520" y="321375"/>
                    </a:lnTo>
                    <a:lnTo>
                      <a:pt x="139248" y="319406"/>
                    </a:lnTo>
                    <a:lnTo>
                      <a:pt x="148187" y="325466"/>
                    </a:lnTo>
                    <a:lnTo>
                      <a:pt x="150157" y="331679"/>
                    </a:lnTo>
                    <a:lnTo>
                      <a:pt x="152733" y="331527"/>
                    </a:lnTo>
                    <a:lnTo>
                      <a:pt x="154854" y="328345"/>
                    </a:lnTo>
                    <a:lnTo>
                      <a:pt x="163036" y="321224"/>
                    </a:lnTo>
                    <a:lnTo>
                      <a:pt x="167430" y="318345"/>
                    </a:lnTo>
                    <a:lnTo>
                      <a:pt x="175764" y="315466"/>
                    </a:lnTo>
                    <a:lnTo>
                      <a:pt x="178795" y="312133"/>
                    </a:lnTo>
                    <a:lnTo>
                      <a:pt x="182279" y="313193"/>
                    </a:lnTo>
                    <a:lnTo>
                      <a:pt x="186825" y="313042"/>
                    </a:lnTo>
                    <a:lnTo>
                      <a:pt x="194401" y="307284"/>
                    </a:lnTo>
                    <a:lnTo>
                      <a:pt x="195916" y="307284"/>
                    </a:lnTo>
                    <a:lnTo>
                      <a:pt x="197735" y="308193"/>
                    </a:lnTo>
                    <a:lnTo>
                      <a:pt x="200310" y="311072"/>
                    </a:lnTo>
                    <a:lnTo>
                      <a:pt x="202583" y="313042"/>
                    </a:lnTo>
                    <a:lnTo>
                      <a:pt x="203492" y="314860"/>
                    </a:lnTo>
                    <a:lnTo>
                      <a:pt x="204098" y="318193"/>
                    </a:lnTo>
                    <a:lnTo>
                      <a:pt x="202583" y="321224"/>
                    </a:lnTo>
                    <a:lnTo>
                      <a:pt x="201523" y="322739"/>
                    </a:lnTo>
                    <a:lnTo>
                      <a:pt x="198341" y="324709"/>
                    </a:lnTo>
                    <a:lnTo>
                      <a:pt x="194401" y="325466"/>
                    </a:lnTo>
                    <a:lnTo>
                      <a:pt x="188340" y="325012"/>
                    </a:lnTo>
                    <a:lnTo>
                      <a:pt x="186219" y="329103"/>
                    </a:lnTo>
                    <a:lnTo>
                      <a:pt x="189098" y="328800"/>
                    </a:lnTo>
                    <a:lnTo>
                      <a:pt x="193644" y="330770"/>
                    </a:lnTo>
                    <a:lnTo>
                      <a:pt x="200007" y="337134"/>
                    </a:lnTo>
                    <a:lnTo>
                      <a:pt x="202280" y="346831"/>
                    </a:lnTo>
                    <a:lnTo>
                      <a:pt x="203947" y="351073"/>
                    </a:lnTo>
                    <a:lnTo>
                      <a:pt x="205614" y="356074"/>
                    </a:lnTo>
                    <a:lnTo>
                      <a:pt x="204250" y="360013"/>
                    </a:lnTo>
                    <a:lnTo>
                      <a:pt x="201523" y="363044"/>
                    </a:lnTo>
                    <a:lnTo>
                      <a:pt x="196825" y="367438"/>
                    </a:lnTo>
                    <a:lnTo>
                      <a:pt x="192280" y="370014"/>
                    </a:lnTo>
                    <a:lnTo>
                      <a:pt x="185764" y="371226"/>
                    </a:lnTo>
                    <a:lnTo>
                      <a:pt x="172885" y="371832"/>
                    </a:lnTo>
                    <a:lnTo>
                      <a:pt x="170612" y="371074"/>
                    </a:lnTo>
                    <a:lnTo>
                      <a:pt x="169097" y="368347"/>
                    </a:lnTo>
                    <a:lnTo>
                      <a:pt x="166824" y="368044"/>
                    </a:lnTo>
                    <a:lnTo>
                      <a:pt x="164400" y="368498"/>
                    </a:lnTo>
                    <a:lnTo>
                      <a:pt x="162279" y="371832"/>
                    </a:lnTo>
                    <a:lnTo>
                      <a:pt x="155157" y="379862"/>
                    </a:lnTo>
                    <a:lnTo>
                      <a:pt x="150006" y="382438"/>
                    </a:lnTo>
                    <a:lnTo>
                      <a:pt x="146218" y="386378"/>
                    </a:lnTo>
                    <a:lnTo>
                      <a:pt x="143036" y="387893"/>
                    </a:lnTo>
                    <a:lnTo>
                      <a:pt x="136823" y="389257"/>
                    </a:lnTo>
                    <a:lnTo>
                      <a:pt x="134853" y="389257"/>
                    </a:lnTo>
                    <a:lnTo>
                      <a:pt x="133187" y="387590"/>
                    </a:lnTo>
                    <a:lnTo>
                      <a:pt x="130914" y="386681"/>
                    </a:lnTo>
                    <a:lnTo>
                      <a:pt x="126974" y="388802"/>
                    </a:lnTo>
                    <a:lnTo>
                      <a:pt x="124550" y="390469"/>
                    </a:lnTo>
                    <a:lnTo>
                      <a:pt x="124247" y="389863"/>
                    </a:lnTo>
                    <a:lnTo>
                      <a:pt x="124853" y="389105"/>
                    </a:lnTo>
                    <a:lnTo>
                      <a:pt x="126520" y="388196"/>
                    </a:lnTo>
                    <a:lnTo>
                      <a:pt x="127277" y="387287"/>
                    </a:lnTo>
                    <a:lnTo>
                      <a:pt x="127732" y="385772"/>
                    </a:lnTo>
                    <a:lnTo>
                      <a:pt x="124399" y="382893"/>
                    </a:lnTo>
                    <a:lnTo>
                      <a:pt x="118792" y="380620"/>
                    </a:lnTo>
                    <a:lnTo>
                      <a:pt x="114247" y="380014"/>
                    </a:lnTo>
                    <a:lnTo>
                      <a:pt x="106065" y="381984"/>
                    </a:lnTo>
                    <a:lnTo>
                      <a:pt x="104549" y="383196"/>
                    </a:lnTo>
                    <a:lnTo>
                      <a:pt x="102883" y="385620"/>
                    </a:lnTo>
                    <a:lnTo>
                      <a:pt x="106974" y="388802"/>
                    </a:lnTo>
                    <a:lnTo>
                      <a:pt x="106671" y="389863"/>
                    </a:lnTo>
                    <a:lnTo>
                      <a:pt x="105458" y="389408"/>
                    </a:lnTo>
                    <a:lnTo>
                      <a:pt x="98640" y="390317"/>
                    </a:lnTo>
                    <a:lnTo>
                      <a:pt x="96216" y="392439"/>
                    </a:lnTo>
                    <a:lnTo>
                      <a:pt x="95307" y="394711"/>
                    </a:lnTo>
                    <a:lnTo>
                      <a:pt x="94246" y="399712"/>
                    </a:lnTo>
                    <a:lnTo>
                      <a:pt x="95004" y="405015"/>
                    </a:lnTo>
                    <a:lnTo>
                      <a:pt x="95761" y="407288"/>
                    </a:lnTo>
                    <a:lnTo>
                      <a:pt x="98640" y="405015"/>
                    </a:lnTo>
                    <a:lnTo>
                      <a:pt x="101367" y="403651"/>
                    </a:lnTo>
                    <a:lnTo>
                      <a:pt x="101216" y="404560"/>
                    </a:lnTo>
                    <a:lnTo>
                      <a:pt x="98640" y="407894"/>
                    </a:lnTo>
                    <a:lnTo>
                      <a:pt x="94397" y="409106"/>
                    </a:lnTo>
                    <a:lnTo>
                      <a:pt x="95761" y="412136"/>
                    </a:lnTo>
                    <a:lnTo>
                      <a:pt x="96822" y="412742"/>
                    </a:lnTo>
                    <a:lnTo>
                      <a:pt x="96064" y="413348"/>
                    </a:lnTo>
                    <a:lnTo>
                      <a:pt x="93034" y="411833"/>
                    </a:lnTo>
                    <a:lnTo>
                      <a:pt x="90155" y="411076"/>
                    </a:lnTo>
                    <a:lnTo>
                      <a:pt x="86821" y="411985"/>
                    </a:lnTo>
                    <a:lnTo>
                      <a:pt x="84700" y="413651"/>
                    </a:lnTo>
                    <a:lnTo>
                      <a:pt x="77730" y="420924"/>
                    </a:lnTo>
                    <a:lnTo>
                      <a:pt x="70609" y="429561"/>
                    </a:lnTo>
                    <a:lnTo>
                      <a:pt x="69548" y="433349"/>
                    </a:lnTo>
                    <a:lnTo>
                      <a:pt x="70003" y="435622"/>
                    </a:lnTo>
                    <a:lnTo>
                      <a:pt x="70609" y="436986"/>
                    </a:lnTo>
                    <a:lnTo>
                      <a:pt x="73185" y="439410"/>
                    </a:lnTo>
                    <a:lnTo>
                      <a:pt x="67124" y="440774"/>
                    </a:lnTo>
                    <a:lnTo>
                      <a:pt x="62881" y="440925"/>
                    </a:lnTo>
                    <a:lnTo>
                      <a:pt x="60457" y="442137"/>
                    </a:lnTo>
                    <a:lnTo>
                      <a:pt x="62124" y="444410"/>
                    </a:lnTo>
                    <a:lnTo>
                      <a:pt x="67881" y="446531"/>
                    </a:lnTo>
                    <a:lnTo>
                      <a:pt x="67124" y="447289"/>
                    </a:lnTo>
                    <a:lnTo>
                      <a:pt x="59851" y="448804"/>
                    </a:lnTo>
                    <a:lnTo>
                      <a:pt x="59093" y="448198"/>
                    </a:lnTo>
                    <a:lnTo>
                      <a:pt x="58032" y="448501"/>
                    </a:lnTo>
                    <a:lnTo>
                      <a:pt x="58184" y="451077"/>
                    </a:lnTo>
                    <a:lnTo>
                      <a:pt x="58487" y="452895"/>
                    </a:lnTo>
                    <a:lnTo>
                      <a:pt x="60154" y="454562"/>
                    </a:lnTo>
                    <a:lnTo>
                      <a:pt x="63790" y="452744"/>
                    </a:lnTo>
                    <a:lnTo>
                      <a:pt x="66972" y="453350"/>
                    </a:lnTo>
                    <a:lnTo>
                      <a:pt x="68336" y="455168"/>
                    </a:lnTo>
                    <a:lnTo>
                      <a:pt x="65305" y="458805"/>
                    </a:lnTo>
                    <a:lnTo>
                      <a:pt x="66518" y="461683"/>
                    </a:lnTo>
                    <a:lnTo>
                      <a:pt x="71215" y="463199"/>
                    </a:lnTo>
                    <a:lnTo>
                      <a:pt x="73033" y="468805"/>
                    </a:lnTo>
                    <a:lnTo>
                      <a:pt x="74700" y="471381"/>
                    </a:lnTo>
                    <a:lnTo>
                      <a:pt x="76973" y="471684"/>
                    </a:lnTo>
                    <a:lnTo>
                      <a:pt x="79700" y="471229"/>
                    </a:lnTo>
                    <a:lnTo>
                      <a:pt x="79700" y="468654"/>
                    </a:lnTo>
                    <a:lnTo>
                      <a:pt x="79245" y="466835"/>
                    </a:lnTo>
                    <a:lnTo>
                      <a:pt x="80912" y="464562"/>
                    </a:lnTo>
                    <a:lnTo>
                      <a:pt x="82579" y="464259"/>
                    </a:lnTo>
                    <a:lnTo>
                      <a:pt x="83336" y="464562"/>
                    </a:lnTo>
                    <a:lnTo>
                      <a:pt x="81518" y="466229"/>
                    </a:lnTo>
                    <a:lnTo>
                      <a:pt x="80609" y="467441"/>
                    </a:lnTo>
                    <a:lnTo>
                      <a:pt x="82427" y="468654"/>
                    </a:lnTo>
                    <a:lnTo>
                      <a:pt x="84549" y="469411"/>
                    </a:lnTo>
                    <a:lnTo>
                      <a:pt x="86064" y="468047"/>
                    </a:lnTo>
                    <a:lnTo>
                      <a:pt x="86670" y="467744"/>
                    </a:lnTo>
                    <a:lnTo>
                      <a:pt x="86367" y="470320"/>
                    </a:lnTo>
                    <a:lnTo>
                      <a:pt x="88034" y="471835"/>
                    </a:lnTo>
                    <a:lnTo>
                      <a:pt x="91822" y="470926"/>
                    </a:lnTo>
                    <a:lnTo>
                      <a:pt x="93791" y="471078"/>
                    </a:lnTo>
                    <a:lnTo>
                      <a:pt x="93640" y="472138"/>
                    </a:lnTo>
                    <a:lnTo>
                      <a:pt x="90003" y="473957"/>
                    </a:lnTo>
                    <a:lnTo>
                      <a:pt x="85155" y="477139"/>
                    </a:lnTo>
                    <a:lnTo>
                      <a:pt x="86821" y="478502"/>
                    </a:lnTo>
                    <a:lnTo>
                      <a:pt x="88185" y="478957"/>
                    </a:lnTo>
                    <a:lnTo>
                      <a:pt x="96670" y="478502"/>
                    </a:lnTo>
                    <a:lnTo>
                      <a:pt x="105155" y="481078"/>
                    </a:lnTo>
                    <a:lnTo>
                      <a:pt x="117429" y="481230"/>
                    </a:lnTo>
                    <a:lnTo>
                      <a:pt x="124096" y="476836"/>
                    </a:lnTo>
                    <a:lnTo>
                      <a:pt x="126520" y="478199"/>
                    </a:lnTo>
                    <a:lnTo>
                      <a:pt x="128490" y="479714"/>
                    </a:lnTo>
                    <a:lnTo>
                      <a:pt x="126671" y="480775"/>
                    </a:lnTo>
                    <a:lnTo>
                      <a:pt x="121671" y="480624"/>
                    </a:lnTo>
                    <a:lnTo>
                      <a:pt x="119853" y="481684"/>
                    </a:lnTo>
                    <a:lnTo>
                      <a:pt x="127732" y="483048"/>
                    </a:lnTo>
                    <a:lnTo>
                      <a:pt x="130762" y="484109"/>
                    </a:lnTo>
                    <a:lnTo>
                      <a:pt x="133187" y="485775"/>
                    </a:lnTo>
                    <a:lnTo>
                      <a:pt x="130308" y="489563"/>
                    </a:lnTo>
                    <a:lnTo>
                      <a:pt x="124853" y="492594"/>
                    </a:lnTo>
                    <a:lnTo>
                      <a:pt x="122277" y="489412"/>
                    </a:lnTo>
                    <a:lnTo>
                      <a:pt x="120307" y="486230"/>
                    </a:lnTo>
                    <a:lnTo>
                      <a:pt x="119247" y="485624"/>
                    </a:lnTo>
                    <a:lnTo>
                      <a:pt x="117580" y="485321"/>
                    </a:lnTo>
                    <a:lnTo>
                      <a:pt x="113944" y="488351"/>
                    </a:lnTo>
                    <a:lnTo>
                      <a:pt x="109095" y="491836"/>
                    </a:lnTo>
                    <a:lnTo>
                      <a:pt x="107428" y="492442"/>
                    </a:lnTo>
                    <a:lnTo>
                      <a:pt x="108792" y="490169"/>
                    </a:lnTo>
                    <a:lnTo>
                      <a:pt x="110307" y="486988"/>
                    </a:lnTo>
                    <a:lnTo>
                      <a:pt x="108792" y="485018"/>
                    </a:lnTo>
                    <a:lnTo>
                      <a:pt x="107428" y="483957"/>
                    </a:lnTo>
                    <a:lnTo>
                      <a:pt x="103489" y="483048"/>
                    </a:lnTo>
                    <a:lnTo>
                      <a:pt x="98792" y="480927"/>
                    </a:lnTo>
                    <a:lnTo>
                      <a:pt x="95458" y="480018"/>
                    </a:lnTo>
                    <a:lnTo>
                      <a:pt x="92882" y="480775"/>
                    </a:lnTo>
                    <a:lnTo>
                      <a:pt x="89700" y="486230"/>
                    </a:lnTo>
                    <a:lnTo>
                      <a:pt x="80458" y="494412"/>
                    </a:lnTo>
                    <a:lnTo>
                      <a:pt x="83943" y="495170"/>
                    </a:lnTo>
                    <a:lnTo>
                      <a:pt x="86973" y="495018"/>
                    </a:lnTo>
                    <a:lnTo>
                      <a:pt x="89397" y="496079"/>
                    </a:lnTo>
                    <a:lnTo>
                      <a:pt x="88791" y="497594"/>
                    </a:lnTo>
                    <a:lnTo>
                      <a:pt x="88337" y="500018"/>
                    </a:lnTo>
                    <a:lnTo>
                      <a:pt x="92276" y="502594"/>
                    </a:lnTo>
                    <a:lnTo>
                      <a:pt x="95610" y="504261"/>
                    </a:lnTo>
                    <a:lnTo>
                      <a:pt x="99398" y="504412"/>
                    </a:lnTo>
                    <a:lnTo>
                      <a:pt x="104701" y="510776"/>
                    </a:lnTo>
                    <a:lnTo>
                      <a:pt x="113944" y="517140"/>
                    </a:lnTo>
                    <a:lnTo>
                      <a:pt x="113641" y="518958"/>
                    </a:lnTo>
                    <a:lnTo>
                      <a:pt x="113641" y="521080"/>
                    </a:lnTo>
                    <a:lnTo>
                      <a:pt x="120156" y="524716"/>
                    </a:lnTo>
                    <a:lnTo>
                      <a:pt x="126368" y="524868"/>
                    </a:lnTo>
                    <a:lnTo>
                      <a:pt x="138945" y="523049"/>
                    </a:lnTo>
                    <a:lnTo>
                      <a:pt x="148339" y="519867"/>
                    </a:lnTo>
                    <a:lnTo>
                      <a:pt x="152278" y="516989"/>
                    </a:lnTo>
                    <a:lnTo>
                      <a:pt x="156672" y="517140"/>
                    </a:lnTo>
                    <a:lnTo>
                      <a:pt x="157582" y="515170"/>
                    </a:lnTo>
                    <a:lnTo>
                      <a:pt x="158491" y="511534"/>
                    </a:lnTo>
                    <a:lnTo>
                      <a:pt x="157733" y="508503"/>
                    </a:lnTo>
                    <a:lnTo>
                      <a:pt x="157127" y="507140"/>
                    </a:lnTo>
                    <a:lnTo>
                      <a:pt x="153339" y="505624"/>
                    </a:lnTo>
                    <a:lnTo>
                      <a:pt x="155612" y="504412"/>
                    </a:lnTo>
                    <a:lnTo>
                      <a:pt x="159248" y="500321"/>
                    </a:lnTo>
                    <a:lnTo>
                      <a:pt x="164855" y="491988"/>
                    </a:lnTo>
                    <a:lnTo>
                      <a:pt x="166673" y="490321"/>
                    </a:lnTo>
                    <a:lnTo>
                      <a:pt x="168340" y="488200"/>
                    </a:lnTo>
                    <a:lnTo>
                      <a:pt x="170309" y="487745"/>
                    </a:lnTo>
                    <a:lnTo>
                      <a:pt x="173188" y="487745"/>
                    </a:lnTo>
                    <a:lnTo>
                      <a:pt x="173643" y="488200"/>
                    </a:lnTo>
                    <a:lnTo>
                      <a:pt x="168340" y="491079"/>
                    </a:lnTo>
                    <a:lnTo>
                      <a:pt x="164249" y="497594"/>
                    </a:lnTo>
                    <a:lnTo>
                      <a:pt x="160612" y="504715"/>
                    </a:lnTo>
                    <a:lnTo>
                      <a:pt x="165461" y="509110"/>
                    </a:lnTo>
                    <a:lnTo>
                      <a:pt x="168340" y="517292"/>
                    </a:lnTo>
                    <a:lnTo>
                      <a:pt x="174552" y="528201"/>
                    </a:lnTo>
                    <a:lnTo>
                      <a:pt x="176673" y="533353"/>
                    </a:lnTo>
                    <a:lnTo>
                      <a:pt x="176522" y="536383"/>
                    </a:lnTo>
                    <a:lnTo>
                      <a:pt x="175461" y="539868"/>
                    </a:lnTo>
                    <a:lnTo>
                      <a:pt x="174097" y="542444"/>
                    </a:lnTo>
                    <a:lnTo>
                      <a:pt x="171218" y="545778"/>
                    </a:lnTo>
                    <a:lnTo>
                      <a:pt x="172431" y="551384"/>
                    </a:lnTo>
                    <a:lnTo>
                      <a:pt x="174855" y="554263"/>
                    </a:lnTo>
                    <a:lnTo>
                      <a:pt x="177431" y="552899"/>
                    </a:lnTo>
                    <a:lnTo>
                      <a:pt x="181522" y="552899"/>
                    </a:lnTo>
                    <a:lnTo>
                      <a:pt x="177582" y="556687"/>
                    </a:lnTo>
                    <a:lnTo>
                      <a:pt x="177582" y="559414"/>
                    </a:lnTo>
                    <a:lnTo>
                      <a:pt x="177885" y="561536"/>
                    </a:lnTo>
                    <a:lnTo>
                      <a:pt x="179401" y="565627"/>
                    </a:lnTo>
                    <a:lnTo>
                      <a:pt x="175764" y="568657"/>
                    </a:lnTo>
                    <a:lnTo>
                      <a:pt x="171673" y="569869"/>
                    </a:lnTo>
                    <a:lnTo>
                      <a:pt x="167885" y="571536"/>
                    </a:lnTo>
                    <a:lnTo>
                      <a:pt x="178491" y="572900"/>
                    </a:lnTo>
                    <a:lnTo>
                      <a:pt x="189249" y="570627"/>
                    </a:lnTo>
                    <a:lnTo>
                      <a:pt x="190159" y="567597"/>
                    </a:lnTo>
                    <a:lnTo>
                      <a:pt x="191219" y="566839"/>
                    </a:lnTo>
                    <a:lnTo>
                      <a:pt x="192280" y="565324"/>
                    </a:lnTo>
                    <a:lnTo>
                      <a:pt x="193189" y="565324"/>
                    </a:lnTo>
                    <a:lnTo>
                      <a:pt x="201220" y="562445"/>
                    </a:lnTo>
                    <a:lnTo>
                      <a:pt x="204098" y="562445"/>
                    </a:lnTo>
                    <a:lnTo>
                      <a:pt x="208493" y="559111"/>
                    </a:lnTo>
                    <a:lnTo>
                      <a:pt x="212281" y="556990"/>
                    </a:lnTo>
                    <a:lnTo>
                      <a:pt x="216523" y="555172"/>
                    </a:lnTo>
                    <a:lnTo>
                      <a:pt x="219251" y="558354"/>
                    </a:lnTo>
                    <a:lnTo>
                      <a:pt x="222281" y="560930"/>
                    </a:lnTo>
                    <a:lnTo>
                      <a:pt x="228645" y="564415"/>
                    </a:lnTo>
                    <a:lnTo>
                      <a:pt x="231069" y="563809"/>
                    </a:lnTo>
                    <a:lnTo>
                      <a:pt x="233494" y="561536"/>
                    </a:lnTo>
                    <a:lnTo>
                      <a:pt x="235463" y="560930"/>
                    </a:lnTo>
                    <a:lnTo>
                      <a:pt x="241373" y="565627"/>
                    </a:lnTo>
                    <a:lnTo>
                      <a:pt x="243948" y="568506"/>
                    </a:lnTo>
                    <a:lnTo>
                      <a:pt x="251524" y="578506"/>
                    </a:lnTo>
                    <a:lnTo>
                      <a:pt x="255616" y="581536"/>
                    </a:lnTo>
                    <a:lnTo>
                      <a:pt x="260010" y="580021"/>
                    </a:lnTo>
                    <a:lnTo>
                      <a:pt x="260464" y="576839"/>
                    </a:lnTo>
                    <a:lnTo>
                      <a:pt x="258040" y="568960"/>
                    </a:lnTo>
                    <a:lnTo>
                      <a:pt x="258646" y="565930"/>
                    </a:lnTo>
                    <a:lnTo>
                      <a:pt x="260313" y="561536"/>
                    </a:lnTo>
                    <a:lnTo>
                      <a:pt x="259404" y="558657"/>
                    </a:lnTo>
                    <a:lnTo>
                      <a:pt x="260767" y="559566"/>
                    </a:lnTo>
                    <a:lnTo>
                      <a:pt x="263040" y="560475"/>
                    </a:lnTo>
                    <a:lnTo>
                      <a:pt x="265616" y="558051"/>
                    </a:lnTo>
                    <a:lnTo>
                      <a:pt x="267586" y="554566"/>
                    </a:lnTo>
                    <a:lnTo>
                      <a:pt x="270162" y="553808"/>
                    </a:lnTo>
                    <a:lnTo>
                      <a:pt x="275768" y="555929"/>
                    </a:lnTo>
                    <a:lnTo>
                      <a:pt x="279556" y="558354"/>
                    </a:lnTo>
                    <a:lnTo>
                      <a:pt x="276525" y="558202"/>
                    </a:lnTo>
                    <a:lnTo>
                      <a:pt x="273040" y="556990"/>
                    </a:lnTo>
                    <a:lnTo>
                      <a:pt x="270010" y="557445"/>
                    </a:lnTo>
                    <a:lnTo>
                      <a:pt x="268646" y="559869"/>
                    </a:lnTo>
                    <a:lnTo>
                      <a:pt x="267889" y="563354"/>
                    </a:lnTo>
                    <a:lnTo>
                      <a:pt x="269555" y="566384"/>
                    </a:lnTo>
                    <a:lnTo>
                      <a:pt x="270919" y="567900"/>
                    </a:lnTo>
                    <a:lnTo>
                      <a:pt x="273343" y="571991"/>
                    </a:lnTo>
                    <a:lnTo>
                      <a:pt x="276374" y="573051"/>
                    </a:lnTo>
                    <a:lnTo>
                      <a:pt x="281071" y="571991"/>
                    </a:lnTo>
                    <a:lnTo>
                      <a:pt x="290768" y="567597"/>
                    </a:lnTo>
                    <a:lnTo>
                      <a:pt x="305163" y="562445"/>
                    </a:lnTo>
                    <a:lnTo>
                      <a:pt x="310012" y="557899"/>
                    </a:lnTo>
                    <a:lnTo>
                      <a:pt x="314254" y="551990"/>
                    </a:lnTo>
                    <a:lnTo>
                      <a:pt x="311072" y="558808"/>
                    </a:lnTo>
                    <a:lnTo>
                      <a:pt x="307890" y="566536"/>
                    </a:lnTo>
                    <a:lnTo>
                      <a:pt x="308799" y="567748"/>
                    </a:lnTo>
                    <a:lnTo>
                      <a:pt x="309708" y="568051"/>
                    </a:lnTo>
                    <a:lnTo>
                      <a:pt x="302739" y="571839"/>
                    </a:lnTo>
                    <a:lnTo>
                      <a:pt x="296375" y="577294"/>
                    </a:lnTo>
                    <a:lnTo>
                      <a:pt x="294708" y="580627"/>
                    </a:lnTo>
                    <a:lnTo>
                      <a:pt x="294708" y="583506"/>
                    </a:lnTo>
                    <a:lnTo>
                      <a:pt x="295769" y="587446"/>
                    </a:lnTo>
                    <a:lnTo>
                      <a:pt x="298344" y="588203"/>
                    </a:lnTo>
                    <a:lnTo>
                      <a:pt x="299860" y="588203"/>
                    </a:lnTo>
                    <a:lnTo>
                      <a:pt x="303799" y="589870"/>
                    </a:lnTo>
                    <a:lnTo>
                      <a:pt x="296981" y="590779"/>
                    </a:lnTo>
                    <a:lnTo>
                      <a:pt x="293950" y="591991"/>
                    </a:lnTo>
                    <a:lnTo>
                      <a:pt x="292435" y="595476"/>
                    </a:lnTo>
                    <a:lnTo>
                      <a:pt x="292132" y="601689"/>
                    </a:lnTo>
                    <a:lnTo>
                      <a:pt x="290465" y="607750"/>
                    </a:lnTo>
                    <a:lnTo>
                      <a:pt x="289859" y="610325"/>
                    </a:lnTo>
                    <a:lnTo>
                      <a:pt x="290314" y="611841"/>
                    </a:lnTo>
                    <a:lnTo>
                      <a:pt x="292284" y="613356"/>
                    </a:lnTo>
                    <a:lnTo>
                      <a:pt x="293193" y="615780"/>
                    </a:lnTo>
                    <a:lnTo>
                      <a:pt x="294253" y="616386"/>
                    </a:lnTo>
                    <a:lnTo>
                      <a:pt x="295920" y="616689"/>
                    </a:lnTo>
                    <a:lnTo>
                      <a:pt x="296223" y="617144"/>
                    </a:lnTo>
                    <a:lnTo>
                      <a:pt x="294253" y="618053"/>
                    </a:lnTo>
                    <a:lnTo>
                      <a:pt x="291223" y="617447"/>
                    </a:lnTo>
                    <a:lnTo>
                      <a:pt x="290465" y="616841"/>
                    </a:lnTo>
                    <a:lnTo>
                      <a:pt x="289859" y="615780"/>
                    </a:lnTo>
                    <a:lnTo>
                      <a:pt x="288799" y="615477"/>
                    </a:lnTo>
                    <a:lnTo>
                      <a:pt x="285768" y="616235"/>
                    </a:lnTo>
                    <a:lnTo>
                      <a:pt x="284405" y="616841"/>
                    </a:lnTo>
                    <a:lnTo>
                      <a:pt x="280313" y="620780"/>
                    </a:lnTo>
                    <a:lnTo>
                      <a:pt x="277889" y="622447"/>
                    </a:lnTo>
                    <a:lnTo>
                      <a:pt x="275465" y="623356"/>
                    </a:lnTo>
                    <a:lnTo>
                      <a:pt x="272889" y="625174"/>
                    </a:lnTo>
                    <a:lnTo>
                      <a:pt x="268646" y="629114"/>
                    </a:lnTo>
                    <a:lnTo>
                      <a:pt x="265616" y="632447"/>
                    </a:lnTo>
                    <a:lnTo>
                      <a:pt x="263495" y="635326"/>
                    </a:lnTo>
                    <a:lnTo>
                      <a:pt x="263040" y="636993"/>
                    </a:lnTo>
                    <a:lnTo>
                      <a:pt x="262889" y="639114"/>
                    </a:lnTo>
                    <a:lnTo>
                      <a:pt x="263040" y="641387"/>
                    </a:lnTo>
                    <a:lnTo>
                      <a:pt x="263495" y="643660"/>
                    </a:lnTo>
                    <a:lnTo>
                      <a:pt x="263192" y="645024"/>
                    </a:lnTo>
                    <a:lnTo>
                      <a:pt x="262282" y="645327"/>
                    </a:lnTo>
                    <a:lnTo>
                      <a:pt x="260313" y="645024"/>
                    </a:lnTo>
                    <a:lnTo>
                      <a:pt x="257282" y="644266"/>
                    </a:lnTo>
                    <a:lnTo>
                      <a:pt x="256676" y="643054"/>
                    </a:lnTo>
                    <a:lnTo>
                      <a:pt x="256676" y="641690"/>
                    </a:lnTo>
                    <a:lnTo>
                      <a:pt x="254706" y="642599"/>
                    </a:lnTo>
                    <a:lnTo>
                      <a:pt x="250161" y="646084"/>
                    </a:lnTo>
                    <a:lnTo>
                      <a:pt x="246827" y="649266"/>
                    </a:lnTo>
                    <a:lnTo>
                      <a:pt x="233039" y="654266"/>
                    </a:lnTo>
                    <a:lnTo>
                      <a:pt x="225917" y="659115"/>
                    </a:lnTo>
                    <a:lnTo>
                      <a:pt x="223039" y="660630"/>
                    </a:lnTo>
                    <a:lnTo>
                      <a:pt x="218796" y="663812"/>
                    </a:lnTo>
                    <a:lnTo>
                      <a:pt x="216675" y="666691"/>
                    </a:lnTo>
                    <a:lnTo>
                      <a:pt x="214402" y="670782"/>
                    </a:lnTo>
                    <a:lnTo>
                      <a:pt x="212887" y="673812"/>
                    </a:lnTo>
                    <a:lnTo>
                      <a:pt x="212281" y="675782"/>
                    </a:lnTo>
                    <a:lnTo>
                      <a:pt x="212584" y="677297"/>
                    </a:lnTo>
                    <a:lnTo>
                      <a:pt x="213947" y="678510"/>
                    </a:lnTo>
                    <a:lnTo>
                      <a:pt x="218644" y="681237"/>
                    </a:lnTo>
                    <a:lnTo>
                      <a:pt x="219705" y="682449"/>
                    </a:lnTo>
                    <a:lnTo>
                      <a:pt x="219099" y="683510"/>
                    </a:lnTo>
                    <a:lnTo>
                      <a:pt x="217584" y="683661"/>
                    </a:lnTo>
                    <a:lnTo>
                      <a:pt x="215160" y="683055"/>
                    </a:lnTo>
                    <a:lnTo>
                      <a:pt x="213493" y="682298"/>
                    </a:lnTo>
                    <a:lnTo>
                      <a:pt x="212584" y="681388"/>
                    </a:lnTo>
                    <a:lnTo>
                      <a:pt x="210614" y="680934"/>
                    </a:lnTo>
                    <a:lnTo>
                      <a:pt x="207735" y="681085"/>
                    </a:lnTo>
                    <a:lnTo>
                      <a:pt x="206371" y="681692"/>
                    </a:lnTo>
                    <a:lnTo>
                      <a:pt x="206674" y="684874"/>
                    </a:lnTo>
                    <a:lnTo>
                      <a:pt x="206220" y="685480"/>
                    </a:lnTo>
                    <a:lnTo>
                      <a:pt x="205159" y="685631"/>
                    </a:lnTo>
                    <a:lnTo>
                      <a:pt x="203492" y="684571"/>
                    </a:lnTo>
                    <a:lnTo>
                      <a:pt x="199250" y="680176"/>
                    </a:lnTo>
                    <a:lnTo>
                      <a:pt x="199098" y="679267"/>
                    </a:lnTo>
                    <a:lnTo>
                      <a:pt x="201977" y="678055"/>
                    </a:lnTo>
                    <a:lnTo>
                      <a:pt x="202583" y="676994"/>
                    </a:lnTo>
                    <a:lnTo>
                      <a:pt x="201977" y="676085"/>
                    </a:lnTo>
                    <a:lnTo>
                      <a:pt x="200007" y="676994"/>
                    </a:lnTo>
                    <a:lnTo>
                      <a:pt x="195159" y="677752"/>
                    </a:lnTo>
                    <a:lnTo>
                      <a:pt x="193795" y="677600"/>
                    </a:lnTo>
                    <a:lnTo>
                      <a:pt x="193037" y="676691"/>
                    </a:lnTo>
                    <a:lnTo>
                      <a:pt x="194250" y="675328"/>
                    </a:lnTo>
                    <a:lnTo>
                      <a:pt x="193189" y="675025"/>
                    </a:lnTo>
                    <a:lnTo>
                      <a:pt x="180007" y="679419"/>
                    </a:lnTo>
                    <a:lnTo>
                      <a:pt x="173491" y="682601"/>
                    </a:lnTo>
                    <a:lnTo>
                      <a:pt x="167430" y="686692"/>
                    </a:lnTo>
                    <a:lnTo>
                      <a:pt x="162127" y="691540"/>
                    </a:lnTo>
                    <a:lnTo>
                      <a:pt x="157582" y="697147"/>
                    </a:lnTo>
                    <a:lnTo>
                      <a:pt x="153642" y="700935"/>
                    </a:lnTo>
                    <a:lnTo>
                      <a:pt x="150612" y="702753"/>
                    </a:lnTo>
                    <a:lnTo>
                      <a:pt x="148642" y="704420"/>
                    </a:lnTo>
                    <a:lnTo>
                      <a:pt x="148339" y="705783"/>
                    </a:lnTo>
                    <a:lnTo>
                      <a:pt x="147430" y="706693"/>
                    </a:lnTo>
                    <a:lnTo>
                      <a:pt x="145915" y="707147"/>
                    </a:lnTo>
                    <a:lnTo>
                      <a:pt x="144702" y="706996"/>
                    </a:lnTo>
                    <a:lnTo>
                      <a:pt x="143642" y="706389"/>
                    </a:lnTo>
                    <a:lnTo>
                      <a:pt x="141823" y="706844"/>
                    </a:lnTo>
                    <a:lnTo>
                      <a:pt x="137278" y="709571"/>
                    </a:lnTo>
                    <a:lnTo>
                      <a:pt x="136672" y="710632"/>
                    </a:lnTo>
                    <a:lnTo>
                      <a:pt x="136672" y="711996"/>
                    </a:lnTo>
                    <a:lnTo>
                      <a:pt x="137278" y="713814"/>
                    </a:lnTo>
                    <a:lnTo>
                      <a:pt x="136975" y="716087"/>
                    </a:lnTo>
                    <a:lnTo>
                      <a:pt x="135763" y="718814"/>
                    </a:lnTo>
                    <a:lnTo>
                      <a:pt x="135763" y="720178"/>
                    </a:lnTo>
                    <a:lnTo>
                      <a:pt x="136975" y="720178"/>
                    </a:lnTo>
                    <a:lnTo>
                      <a:pt x="138793" y="719269"/>
                    </a:lnTo>
                    <a:lnTo>
                      <a:pt x="141217" y="717299"/>
                    </a:lnTo>
                    <a:lnTo>
                      <a:pt x="142126" y="715178"/>
                    </a:lnTo>
                    <a:lnTo>
                      <a:pt x="141369" y="712905"/>
                    </a:lnTo>
                    <a:lnTo>
                      <a:pt x="141520" y="711693"/>
                    </a:lnTo>
                    <a:lnTo>
                      <a:pt x="144854" y="712450"/>
                    </a:lnTo>
                    <a:lnTo>
                      <a:pt x="148490" y="715935"/>
                    </a:lnTo>
                    <a:lnTo>
                      <a:pt x="149703" y="716087"/>
                    </a:lnTo>
                    <a:lnTo>
                      <a:pt x="153642" y="714269"/>
                    </a:lnTo>
                    <a:lnTo>
                      <a:pt x="155157" y="712602"/>
                    </a:lnTo>
                    <a:lnTo>
                      <a:pt x="155309" y="711390"/>
                    </a:lnTo>
                    <a:lnTo>
                      <a:pt x="154551" y="705783"/>
                    </a:lnTo>
                    <a:lnTo>
                      <a:pt x="154854" y="704723"/>
                    </a:lnTo>
                    <a:lnTo>
                      <a:pt x="157279" y="704874"/>
                    </a:lnTo>
                    <a:lnTo>
                      <a:pt x="158491" y="706238"/>
                    </a:lnTo>
                    <a:lnTo>
                      <a:pt x="160309" y="708662"/>
                    </a:lnTo>
                    <a:lnTo>
                      <a:pt x="160764" y="710177"/>
                    </a:lnTo>
                    <a:lnTo>
                      <a:pt x="159703" y="710784"/>
                    </a:lnTo>
                    <a:lnTo>
                      <a:pt x="159551" y="711390"/>
                    </a:lnTo>
                    <a:lnTo>
                      <a:pt x="160309" y="711996"/>
                    </a:lnTo>
                    <a:lnTo>
                      <a:pt x="161521" y="712299"/>
                    </a:lnTo>
                    <a:lnTo>
                      <a:pt x="163036" y="712450"/>
                    </a:lnTo>
                    <a:lnTo>
                      <a:pt x="164703" y="711541"/>
                    </a:lnTo>
                    <a:lnTo>
                      <a:pt x="166370" y="709723"/>
                    </a:lnTo>
                    <a:lnTo>
                      <a:pt x="167582" y="708814"/>
                    </a:lnTo>
                    <a:lnTo>
                      <a:pt x="170158" y="708965"/>
                    </a:lnTo>
                    <a:lnTo>
                      <a:pt x="172734" y="706693"/>
                    </a:lnTo>
                    <a:lnTo>
                      <a:pt x="179249" y="699268"/>
                    </a:lnTo>
                    <a:lnTo>
                      <a:pt x="179855" y="698207"/>
                    </a:lnTo>
                    <a:lnTo>
                      <a:pt x="180764" y="693813"/>
                    </a:lnTo>
                    <a:lnTo>
                      <a:pt x="181522" y="692601"/>
                    </a:lnTo>
                    <a:lnTo>
                      <a:pt x="183037" y="691540"/>
                    </a:lnTo>
                    <a:lnTo>
                      <a:pt x="185310" y="690631"/>
                    </a:lnTo>
                    <a:lnTo>
                      <a:pt x="186977" y="690177"/>
                    </a:lnTo>
                    <a:lnTo>
                      <a:pt x="189704" y="690783"/>
                    </a:lnTo>
                    <a:lnTo>
                      <a:pt x="192431" y="691995"/>
                    </a:lnTo>
                    <a:lnTo>
                      <a:pt x="193492" y="692753"/>
                    </a:lnTo>
                    <a:lnTo>
                      <a:pt x="193795" y="693359"/>
                    </a:lnTo>
                    <a:lnTo>
                      <a:pt x="190765" y="692753"/>
                    </a:lnTo>
                    <a:lnTo>
                      <a:pt x="189098" y="692904"/>
                    </a:lnTo>
                    <a:lnTo>
                      <a:pt x="188037" y="693662"/>
                    </a:lnTo>
                    <a:lnTo>
                      <a:pt x="187128" y="694571"/>
                    </a:lnTo>
                    <a:lnTo>
                      <a:pt x="186219" y="696389"/>
                    </a:lnTo>
                    <a:lnTo>
                      <a:pt x="186068" y="698965"/>
                    </a:lnTo>
                    <a:lnTo>
                      <a:pt x="186522" y="699571"/>
                    </a:lnTo>
                    <a:lnTo>
                      <a:pt x="188795" y="700026"/>
                    </a:lnTo>
                    <a:lnTo>
                      <a:pt x="194401" y="699419"/>
                    </a:lnTo>
                    <a:lnTo>
                      <a:pt x="196522" y="698813"/>
                    </a:lnTo>
                    <a:lnTo>
                      <a:pt x="198644" y="697450"/>
                    </a:lnTo>
                    <a:lnTo>
                      <a:pt x="200614" y="695480"/>
                    </a:lnTo>
                    <a:lnTo>
                      <a:pt x="202129" y="694722"/>
                    </a:lnTo>
                    <a:lnTo>
                      <a:pt x="205614" y="695935"/>
                    </a:lnTo>
                    <a:lnTo>
                      <a:pt x="206826" y="695328"/>
                    </a:lnTo>
                    <a:lnTo>
                      <a:pt x="208038" y="693813"/>
                    </a:lnTo>
                    <a:lnTo>
                      <a:pt x="209553" y="693359"/>
                    </a:lnTo>
                    <a:lnTo>
                      <a:pt x="211523" y="693965"/>
                    </a:lnTo>
                    <a:lnTo>
                      <a:pt x="213038" y="693965"/>
                    </a:lnTo>
                    <a:lnTo>
                      <a:pt x="214099" y="693207"/>
                    </a:lnTo>
                    <a:lnTo>
                      <a:pt x="215614" y="691086"/>
                    </a:lnTo>
                    <a:lnTo>
                      <a:pt x="216523" y="690328"/>
                    </a:lnTo>
                    <a:lnTo>
                      <a:pt x="220008" y="689419"/>
                    </a:lnTo>
                    <a:lnTo>
                      <a:pt x="225463" y="685480"/>
                    </a:lnTo>
                    <a:lnTo>
                      <a:pt x="227736" y="684267"/>
                    </a:lnTo>
                    <a:lnTo>
                      <a:pt x="229099" y="684419"/>
                    </a:lnTo>
                    <a:lnTo>
                      <a:pt x="230160" y="684116"/>
                    </a:lnTo>
                    <a:lnTo>
                      <a:pt x="231978" y="682904"/>
                    </a:lnTo>
                    <a:lnTo>
                      <a:pt x="233039" y="682601"/>
                    </a:lnTo>
                    <a:lnTo>
                      <a:pt x="233797" y="682449"/>
                    </a:lnTo>
                    <a:lnTo>
                      <a:pt x="235615" y="683207"/>
                    </a:lnTo>
                    <a:lnTo>
                      <a:pt x="235918" y="684419"/>
                    </a:lnTo>
                    <a:lnTo>
                      <a:pt x="235766" y="690177"/>
                    </a:lnTo>
                    <a:lnTo>
                      <a:pt x="236069" y="690934"/>
                    </a:lnTo>
                    <a:lnTo>
                      <a:pt x="237433" y="689874"/>
                    </a:lnTo>
                    <a:lnTo>
                      <a:pt x="238645" y="687601"/>
                    </a:lnTo>
                    <a:lnTo>
                      <a:pt x="239403" y="685480"/>
                    </a:lnTo>
                    <a:lnTo>
                      <a:pt x="239857" y="683055"/>
                    </a:lnTo>
                    <a:lnTo>
                      <a:pt x="242433" y="681843"/>
                    </a:lnTo>
                    <a:lnTo>
                      <a:pt x="259858" y="676237"/>
                    </a:lnTo>
                    <a:lnTo>
                      <a:pt x="262131" y="674116"/>
                    </a:lnTo>
                    <a:lnTo>
                      <a:pt x="264252" y="669873"/>
                    </a:lnTo>
                    <a:lnTo>
                      <a:pt x="265161" y="668661"/>
                    </a:lnTo>
                    <a:lnTo>
                      <a:pt x="266222" y="668661"/>
                    </a:lnTo>
                    <a:lnTo>
                      <a:pt x="266525" y="669267"/>
                    </a:lnTo>
                    <a:lnTo>
                      <a:pt x="266980" y="672903"/>
                    </a:lnTo>
                    <a:lnTo>
                      <a:pt x="267434" y="673358"/>
                    </a:lnTo>
                    <a:lnTo>
                      <a:pt x="268192" y="672903"/>
                    </a:lnTo>
                    <a:lnTo>
                      <a:pt x="269404" y="671540"/>
                    </a:lnTo>
                    <a:lnTo>
                      <a:pt x="273647" y="668206"/>
                    </a:lnTo>
                    <a:lnTo>
                      <a:pt x="273192" y="667903"/>
                    </a:lnTo>
                    <a:lnTo>
                      <a:pt x="272434" y="665933"/>
                    </a:lnTo>
                    <a:lnTo>
                      <a:pt x="271677" y="664873"/>
                    </a:lnTo>
                    <a:lnTo>
                      <a:pt x="270465" y="664115"/>
                    </a:lnTo>
                    <a:lnTo>
                      <a:pt x="268192" y="663509"/>
                    </a:lnTo>
                    <a:lnTo>
                      <a:pt x="266374" y="663964"/>
                    </a:lnTo>
                    <a:lnTo>
                      <a:pt x="265919" y="663812"/>
                    </a:lnTo>
                    <a:lnTo>
                      <a:pt x="266374" y="662903"/>
                    </a:lnTo>
                    <a:lnTo>
                      <a:pt x="269707" y="658963"/>
                    </a:lnTo>
                    <a:lnTo>
                      <a:pt x="271374" y="658206"/>
                    </a:lnTo>
                    <a:lnTo>
                      <a:pt x="276374" y="657297"/>
                    </a:lnTo>
                    <a:lnTo>
                      <a:pt x="278192" y="656388"/>
                    </a:lnTo>
                    <a:lnTo>
                      <a:pt x="279707" y="656085"/>
                    </a:lnTo>
                    <a:lnTo>
                      <a:pt x="282132" y="656085"/>
                    </a:lnTo>
                    <a:lnTo>
                      <a:pt x="283495" y="655630"/>
                    </a:lnTo>
                    <a:lnTo>
                      <a:pt x="283495" y="655175"/>
                    </a:lnTo>
                    <a:lnTo>
                      <a:pt x="282132" y="654721"/>
                    </a:lnTo>
                    <a:lnTo>
                      <a:pt x="279404" y="654418"/>
                    </a:lnTo>
                    <a:lnTo>
                      <a:pt x="280768" y="652903"/>
                    </a:lnTo>
                    <a:lnTo>
                      <a:pt x="285162" y="650781"/>
                    </a:lnTo>
                    <a:lnTo>
                      <a:pt x="287889" y="650478"/>
                    </a:lnTo>
                    <a:lnTo>
                      <a:pt x="290465" y="651236"/>
                    </a:lnTo>
                    <a:lnTo>
                      <a:pt x="292284" y="651387"/>
                    </a:lnTo>
                    <a:lnTo>
                      <a:pt x="293193" y="651084"/>
                    </a:lnTo>
                    <a:lnTo>
                      <a:pt x="294556" y="649569"/>
                    </a:lnTo>
                    <a:lnTo>
                      <a:pt x="295617" y="646236"/>
                    </a:lnTo>
                    <a:lnTo>
                      <a:pt x="296981" y="645024"/>
                    </a:lnTo>
                    <a:lnTo>
                      <a:pt x="298344" y="644266"/>
                    </a:lnTo>
                    <a:lnTo>
                      <a:pt x="299860" y="643963"/>
                    </a:lnTo>
                    <a:lnTo>
                      <a:pt x="301526" y="644266"/>
                    </a:lnTo>
                    <a:lnTo>
                      <a:pt x="303345" y="644114"/>
                    </a:lnTo>
                    <a:lnTo>
                      <a:pt x="305163" y="643508"/>
                    </a:lnTo>
                    <a:lnTo>
                      <a:pt x="307133" y="642145"/>
                    </a:lnTo>
                    <a:lnTo>
                      <a:pt x="309254" y="640023"/>
                    </a:lnTo>
                    <a:lnTo>
                      <a:pt x="311072" y="638811"/>
                    </a:lnTo>
                    <a:lnTo>
                      <a:pt x="312436" y="638660"/>
                    </a:lnTo>
                    <a:lnTo>
                      <a:pt x="313800" y="637902"/>
                    </a:lnTo>
                    <a:lnTo>
                      <a:pt x="315012" y="636538"/>
                    </a:lnTo>
                    <a:lnTo>
                      <a:pt x="316830" y="636084"/>
                    </a:lnTo>
                    <a:lnTo>
                      <a:pt x="319103" y="636387"/>
                    </a:lnTo>
                    <a:lnTo>
                      <a:pt x="320163" y="634266"/>
                    </a:lnTo>
                    <a:lnTo>
                      <a:pt x="322588" y="633356"/>
                    </a:lnTo>
                    <a:lnTo>
                      <a:pt x="323345" y="632750"/>
                    </a:lnTo>
                    <a:lnTo>
                      <a:pt x="325315" y="628811"/>
                    </a:lnTo>
                    <a:lnTo>
                      <a:pt x="325467" y="627447"/>
                    </a:lnTo>
                    <a:lnTo>
                      <a:pt x="324254" y="625326"/>
                    </a:lnTo>
                    <a:lnTo>
                      <a:pt x="323497" y="624720"/>
                    </a:lnTo>
                    <a:lnTo>
                      <a:pt x="323345" y="624114"/>
                    </a:lnTo>
                    <a:lnTo>
                      <a:pt x="324557" y="622902"/>
                    </a:lnTo>
                    <a:lnTo>
                      <a:pt x="329861" y="619417"/>
                    </a:lnTo>
                    <a:lnTo>
                      <a:pt x="332285" y="618810"/>
                    </a:lnTo>
                    <a:lnTo>
                      <a:pt x="334103" y="619568"/>
                    </a:lnTo>
                    <a:lnTo>
                      <a:pt x="335012" y="619417"/>
                    </a:lnTo>
                    <a:lnTo>
                      <a:pt x="335467" y="616235"/>
                    </a:lnTo>
                    <a:lnTo>
                      <a:pt x="336528" y="615477"/>
                    </a:lnTo>
                    <a:lnTo>
                      <a:pt x="341679" y="614871"/>
                    </a:lnTo>
                    <a:lnTo>
                      <a:pt x="342588" y="614568"/>
                    </a:lnTo>
                    <a:lnTo>
                      <a:pt x="343952" y="612295"/>
                    </a:lnTo>
                    <a:lnTo>
                      <a:pt x="346680" y="610477"/>
                    </a:lnTo>
                    <a:lnTo>
                      <a:pt x="347589" y="609416"/>
                    </a:lnTo>
                    <a:lnTo>
                      <a:pt x="347437" y="608053"/>
                    </a:lnTo>
                    <a:lnTo>
                      <a:pt x="349104" y="606992"/>
                    </a:lnTo>
                    <a:lnTo>
                      <a:pt x="352286" y="606234"/>
                    </a:lnTo>
                    <a:lnTo>
                      <a:pt x="355013" y="605022"/>
                    </a:lnTo>
                    <a:lnTo>
                      <a:pt x="359559" y="601992"/>
                    </a:lnTo>
                    <a:lnTo>
                      <a:pt x="360922" y="600779"/>
                    </a:lnTo>
                    <a:lnTo>
                      <a:pt x="363498" y="596688"/>
                    </a:lnTo>
                    <a:lnTo>
                      <a:pt x="375014" y="595173"/>
                    </a:lnTo>
                    <a:lnTo>
                      <a:pt x="375165" y="593052"/>
                    </a:lnTo>
                    <a:lnTo>
                      <a:pt x="375468" y="592749"/>
                    </a:lnTo>
                    <a:lnTo>
                      <a:pt x="379863" y="591537"/>
                    </a:lnTo>
                    <a:lnTo>
                      <a:pt x="383348" y="591537"/>
                    </a:lnTo>
                    <a:lnTo>
                      <a:pt x="384257" y="591082"/>
                    </a:lnTo>
                    <a:lnTo>
                      <a:pt x="384560" y="588052"/>
                    </a:lnTo>
                    <a:lnTo>
                      <a:pt x="385317" y="585931"/>
                    </a:lnTo>
                    <a:lnTo>
                      <a:pt x="383348" y="585779"/>
                    </a:lnTo>
                    <a:lnTo>
                      <a:pt x="383196" y="585324"/>
                    </a:lnTo>
                    <a:lnTo>
                      <a:pt x="388802" y="582900"/>
                    </a:lnTo>
                    <a:lnTo>
                      <a:pt x="389560" y="581688"/>
                    </a:lnTo>
                    <a:lnTo>
                      <a:pt x="389408" y="579870"/>
                    </a:lnTo>
                    <a:lnTo>
                      <a:pt x="390621" y="577748"/>
                    </a:lnTo>
                    <a:lnTo>
                      <a:pt x="395015" y="573960"/>
                    </a:lnTo>
                    <a:lnTo>
                      <a:pt x="396075" y="573354"/>
                    </a:lnTo>
                    <a:lnTo>
                      <a:pt x="399409" y="572445"/>
                    </a:lnTo>
                    <a:lnTo>
                      <a:pt x="401682" y="571233"/>
                    </a:lnTo>
                    <a:lnTo>
                      <a:pt x="406530" y="567293"/>
                    </a:lnTo>
                    <a:lnTo>
                      <a:pt x="408500" y="564566"/>
                    </a:lnTo>
                    <a:lnTo>
                      <a:pt x="409258" y="563202"/>
                    </a:lnTo>
                    <a:lnTo>
                      <a:pt x="409409" y="562142"/>
                    </a:lnTo>
                    <a:lnTo>
                      <a:pt x="409106" y="561233"/>
                    </a:lnTo>
                    <a:lnTo>
                      <a:pt x="406985" y="559111"/>
                    </a:lnTo>
                    <a:lnTo>
                      <a:pt x="400469" y="555929"/>
                    </a:lnTo>
                    <a:lnTo>
                      <a:pt x="396833" y="554717"/>
                    </a:lnTo>
                    <a:lnTo>
                      <a:pt x="393802" y="554263"/>
                    </a:lnTo>
                    <a:lnTo>
                      <a:pt x="387439" y="552596"/>
                    </a:lnTo>
                    <a:lnTo>
                      <a:pt x="386075" y="551232"/>
                    </a:lnTo>
                    <a:lnTo>
                      <a:pt x="387136" y="547747"/>
                    </a:lnTo>
                    <a:lnTo>
                      <a:pt x="389105" y="543808"/>
                    </a:lnTo>
                    <a:lnTo>
                      <a:pt x="388499" y="542747"/>
                    </a:lnTo>
                    <a:lnTo>
                      <a:pt x="396075" y="538201"/>
                    </a:lnTo>
                    <a:lnTo>
                      <a:pt x="397742" y="536686"/>
                    </a:lnTo>
                    <a:lnTo>
                      <a:pt x="398803" y="535323"/>
                    </a:lnTo>
                    <a:lnTo>
                      <a:pt x="401379" y="533201"/>
                    </a:lnTo>
                    <a:lnTo>
                      <a:pt x="401682" y="532595"/>
                    </a:lnTo>
                    <a:lnTo>
                      <a:pt x="400015" y="531838"/>
                    </a:lnTo>
                    <a:lnTo>
                      <a:pt x="400469" y="531383"/>
                    </a:lnTo>
                    <a:lnTo>
                      <a:pt x="405167" y="528353"/>
                    </a:lnTo>
                    <a:lnTo>
                      <a:pt x="406985" y="527595"/>
                    </a:lnTo>
                    <a:lnTo>
                      <a:pt x="408348" y="528050"/>
                    </a:lnTo>
                    <a:lnTo>
                      <a:pt x="408500" y="528504"/>
                    </a:lnTo>
                    <a:lnTo>
                      <a:pt x="407894" y="530625"/>
                    </a:lnTo>
                    <a:lnTo>
                      <a:pt x="408500" y="530929"/>
                    </a:lnTo>
                    <a:lnTo>
                      <a:pt x="411985" y="530474"/>
                    </a:lnTo>
                    <a:lnTo>
                      <a:pt x="415925" y="528959"/>
                    </a:lnTo>
                    <a:lnTo>
                      <a:pt x="417137" y="528050"/>
                    </a:lnTo>
                    <a:lnTo>
                      <a:pt x="417743" y="525474"/>
                    </a:lnTo>
                    <a:lnTo>
                      <a:pt x="417288" y="524868"/>
                    </a:lnTo>
                    <a:lnTo>
                      <a:pt x="412591" y="523504"/>
                    </a:lnTo>
                    <a:lnTo>
                      <a:pt x="413197" y="522898"/>
                    </a:lnTo>
                    <a:lnTo>
                      <a:pt x="415470" y="522140"/>
                    </a:lnTo>
                    <a:lnTo>
                      <a:pt x="422288" y="521231"/>
                    </a:lnTo>
                    <a:lnTo>
                      <a:pt x="425016" y="520322"/>
                    </a:lnTo>
                    <a:lnTo>
                      <a:pt x="427743" y="517140"/>
                    </a:lnTo>
                    <a:lnTo>
                      <a:pt x="428652" y="515322"/>
                    </a:lnTo>
                    <a:lnTo>
                      <a:pt x="428652" y="513504"/>
                    </a:lnTo>
                    <a:lnTo>
                      <a:pt x="427743" y="511837"/>
                    </a:lnTo>
                    <a:lnTo>
                      <a:pt x="425319" y="509716"/>
                    </a:lnTo>
                    <a:lnTo>
                      <a:pt x="421531" y="507140"/>
                    </a:lnTo>
                    <a:lnTo>
                      <a:pt x="417743" y="505170"/>
                    </a:lnTo>
                    <a:lnTo>
                      <a:pt x="417894" y="504867"/>
                    </a:lnTo>
                    <a:lnTo>
                      <a:pt x="420622" y="505018"/>
                    </a:lnTo>
                    <a:lnTo>
                      <a:pt x="424107" y="506837"/>
                    </a:lnTo>
                    <a:lnTo>
                      <a:pt x="426076" y="507291"/>
                    </a:lnTo>
                    <a:lnTo>
                      <a:pt x="428046" y="507291"/>
                    </a:lnTo>
                    <a:lnTo>
                      <a:pt x="431077" y="506231"/>
                    </a:lnTo>
                    <a:lnTo>
                      <a:pt x="435774" y="503352"/>
                    </a:lnTo>
                    <a:lnTo>
                      <a:pt x="437895" y="501533"/>
                    </a:lnTo>
                    <a:lnTo>
                      <a:pt x="438804" y="500321"/>
                    </a:lnTo>
                    <a:lnTo>
                      <a:pt x="437592" y="498503"/>
                    </a:lnTo>
                    <a:lnTo>
                      <a:pt x="437592" y="497745"/>
                    </a:lnTo>
                    <a:lnTo>
                      <a:pt x="438350" y="495321"/>
                    </a:lnTo>
                    <a:lnTo>
                      <a:pt x="445926" y="488957"/>
                    </a:lnTo>
                    <a:lnTo>
                      <a:pt x="449411" y="486836"/>
                    </a:lnTo>
                    <a:lnTo>
                      <a:pt x="451683" y="486533"/>
                    </a:lnTo>
                    <a:lnTo>
                      <a:pt x="452593" y="485927"/>
                    </a:lnTo>
                    <a:lnTo>
                      <a:pt x="451683" y="482745"/>
                    </a:lnTo>
                    <a:lnTo>
                      <a:pt x="451835" y="481684"/>
                    </a:lnTo>
                    <a:lnTo>
                      <a:pt x="453199" y="479563"/>
                    </a:lnTo>
                    <a:lnTo>
                      <a:pt x="456987" y="476684"/>
                    </a:lnTo>
                    <a:lnTo>
                      <a:pt x="460623" y="475320"/>
                    </a:lnTo>
                    <a:lnTo>
                      <a:pt x="465472" y="474108"/>
                    </a:lnTo>
                    <a:lnTo>
                      <a:pt x="469108" y="472290"/>
                    </a:lnTo>
                    <a:lnTo>
                      <a:pt x="471381" y="469866"/>
                    </a:lnTo>
                    <a:lnTo>
                      <a:pt x="474715" y="467744"/>
                    </a:lnTo>
                    <a:lnTo>
                      <a:pt x="483806" y="463502"/>
                    </a:lnTo>
                    <a:lnTo>
                      <a:pt x="485018" y="463199"/>
                    </a:lnTo>
                    <a:lnTo>
                      <a:pt x="485927" y="463502"/>
                    </a:lnTo>
                    <a:lnTo>
                      <a:pt x="487594" y="465169"/>
                    </a:lnTo>
                    <a:lnTo>
                      <a:pt x="497594" y="464866"/>
                    </a:lnTo>
                    <a:lnTo>
                      <a:pt x="501231" y="464411"/>
                    </a:lnTo>
                    <a:lnTo>
                      <a:pt x="502140" y="463805"/>
                    </a:lnTo>
                    <a:lnTo>
                      <a:pt x="504110" y="460471"/>
                    </a:lnTo>
                    <a:lnTo>
                      <a:pt x="505473" y="458805"/>
                    </a:lnTo>
                    <a:lnTo>
                      <a:pt x="508958" y="456380"/>
                    </a:lnTo>
                    <a:lnTo>
                      <a:pt x="510928" y="455774"/>
                    </a:lnTo>
                    <a:lnTo>
                      <a:pt x="516231" y="455168"/>
                    </a:lnTo>
                    <a:lnTo>
                      <a:pt x="519110" y="455320"/>
                    </a:lnTo>
                    <a:lnTo>
                      <a:pt x="511837" y="458653"/>
                    </a:lnTo>
                    <a:lnTo>
                      <a:pt x="508049" y="460926"/>
                    </a:lnTo>
                    <a:lnTo>
                      <a:pt x="505473" y="463199"/>
                    </a:lnTo>
                    <a:lnTo>
                      <a:pt x="503958" y="465017"/>
                    </a:lnTo>
                    <a:lnTo>
                      <a:pt x="503655" y="466381"/>
                    </a:lnTo>
                    <a:lnTo>
                      <a:pt x="502746" y="467138"/>
                    </a:lnTo>
                    <a:lnTo>
                      <a:pt x="500170" y="467896"/>
                    </a:lnTo>
                    <a:lnTo>
                      <a:pt x="498958" y="468654"/>
                    </a:lnTo>
                    <a:lnTo>
                      <a:pt x="501231" y="470775"/>
                    </a:lnTo>
                    <a:lnTo>
                      <a:pt x="511534" y="476078"/>
                    </a:lnTo>
                    <a:lnTo>
                      <a:pt x="515171" y="477290"/>
                    </a:lnTo>
                    <a:lnTo>
                      <a:pt x="523807" y="478502"/>
                    </a:lnTo>
                    <a:lnTo>
                      <a:pt x="525777" y="480624"/>
                    </a:lnTo>
                    <a:lnTo>
                      <a:pt x="525626" y="481078"/>
                    </a:lnTo>
                    <a:lnTo>
                      <a:pt x="522898" y="480927"/>
                    </a:lnTo>
                    <a:lnTo>
                      <a:pt x="510322" y="477896"/>
                    </a:lnTo>
                    <a:lnTo>
                      <a:pt x="504261" y="477442"/>
                    </a:lnTo>
                    <a:lnTo>
                      <a:pt x="500322" y="478502"/>
                    </a:lnTo>
                    <a:lnTo>
                      <a:pt x="497140" y="478654"/>
                    </a:lnTo>
                    <a:lnTo>
                      <a:pt x="494715" y="477745"/>
                    </a:lnTo>
                    <a:lnTo>
                      <a:pt x="492594" y="476533"/>
                    </a:lnTo>
                    <a:lnTo>
                      <a:pt x="490776" y="475017"/>
                    </a:lnTo>
                    <a:lnTo>
                      <a:pt x="488200" y="475017"/>
                    </a:lnTo>
                    <a:lnTo>
                      <a:pt x="478957" y="479563"/>
                    </a:lnTo>
                    <a:lnTo>
                      <a:pt x="474260" y="482593"/>
                    </a:lnTo>
                    <a:lnTo>
                      <a:pt x="464260" y="486684"/>
                    </a:lnTo>
                    <a:lnTo>
                      <a:pt x="463351" y="487442"/>
                    </a:lnTo>
                    <a:lnTo>
                      <a:pt x="463351" y="490018"/>
                    </a:lnTo>
                    <a:lnTo>
                      <a:pt x="464411" y="494412"/>
                    </a:lnTo>
                    <a:lnTo>
                      <a:pt x="464563" y="498048"/>
                    </a:lnTo>
                    <a:lnTo>
                      <a:pt x="462290" y="505776"/>
                    </a:lnTo>
                    <a:lnTo>
                      <a:pt x="460775" y="508655"/>
                    </a:lnTo>
                    <a:lnTo>
                      <a:pt x="456381" y="513201"/>
                    </a:lnTo>
                    <a:lnTo>
                      <a:pt x="453047" y="517443"/>
                    </a:lnTo>
                    <a:lnTo>
                      <a:pt x="451683" y="520170"/>
                    </a:lnTo>
                    <a:lnTo>
                      <a:pt x="449714" y="525777"/>
                    </a:lnTo>
                    <a:lnTo>
                      <a:pt x="450774" y="528201"/>
                    </a:lnTo>
                    <a:lnTo>
                      <a:pt x="452290" y="529110"/>
                    </a:lnTo>
                    <a:lnTo>
                      <a:pt x="459108" y="531080"/>
                    </a:lnTo>
                    <a:lnTo>
                      <a:pt x="460775" y="531080"/>
                    </a:lnTo>
                    <a:lnTo>
                      <a:pt x="461987" y="530625"/>
                    </a:lnTo>
                    <a:lnTo>
                      <a:pt x="470624" y="525474"/>
                    </a:lnTo>
                    <a:lnTo>
                      <a:pt x="471533" y="525777"/>
                    </a:lnTo>
                    <a:lnTo>
                      <a:pt x="471836" y="526231"/>
                    </a:lnTo>
                    <a:lnTo>
                      <a:pt x="467896" y="531686"/>
                    </a:lnTo>
                    <a:lnTo>
                      <a:pt x="465926" y="533807"/>
                    </a:lnTo>
                    <a:lnTo>
                      <a:pt x="462138" y="536686"/>
                    </a:lnTo>
                    <a:lnTo>
                      <a:pt x="459108" y="538050"/>
                    </a:lnTo>
                    <a:lnTo>
                      <a:pt x="454259" y="538808"/>
                    </a:lnTo>
                    <a:lnTo>
                      <a:pt x="450017" y="541080"/>
                    </a:lnTo>
                    <a:lnTo>
                      <a:pt x="449108" y="541838"/>
                    </a:lnTo>
                    <a:lnTo>
                      <a:pt x="447744" y="543656"/>
                    </a:lnTo>
                    <a:lnTo>
                      <a:pt x="446835" y="545929"/>
                    </a:lnTo>
                    <a:lnTo>
                      <a:pt x="447289" y="546687"/>
                    </a:lnTo>
                    <a:lnTo>
                      <a:pt x="448501" y="546838"/>
                    </a:lnTo>
                    <a:lnTo>
                      <a:pt x="453047" y="549717"/>
                    </a:lnTo>
                    <a:lnTo>
                      <a:pt x="456229" y="549717"/>
                    </a:lnTo>
                    <a:lnTo>
                      <a:pt x="460169" y="547899"/>
                    </a:lnTo>
                    <a:lnTo>
                      <a:pt x="463199" y="547293"/>
                    </a:lnTo>
                    <a:lnTo>
                      <a:pt x="465320" y="547899"/>
                    </a:lnTo>
                    <a:lnTo>
                      <a:pt x="467139" y="548050"/>
                    </a:lnTo>
                    <a:lnTo>
                      <a:pt x="468502" y="547747"/>
                    </a:lnTo>
                    <a:lnTo>
                      <a:pt x="468654" y="547141"/>
                    </a:lnTo>
                    <a:lnTo>
                      <a:pt x="467593" y="545778"/>
                    </a:lnTo>
                    <a:lnTo>
                      <a:pt x="468048" y="545323"/>
                    </a:lnTo>
                    <a:lnTo>
                      <a:pt x="471381" y="546232"/>
                    </a:lnTo>
                    <a:lnTo>
                      <a:pt x="474260" y="547596"/>
                    </a:lnTo>
                    <a:lnTo>
                      <a:pt x="475018" y="547444"/>
                    </a:lnTo>
                    <a:lnTo>
                      <a:pt x="475927" y="545323"/>
                    </a:lnTo>
                    <a:lnTo>
                      <a:pt x="477139" y="543808"/>
                    </a:lnTo>
                    <a:lnTo>
                      <a:pt x="481988" y="540323"/>
                    </a:lnTo>
                    <a:lnTo>
                      <a:pt x="483503" y="538201"/>
                    </a:lnTo>
                    <a:lnTo>
                      <a:pt x="483503" y="535929"/>
                    </a:lnTo>
                    <a:lnTo>
                      <a:pt x="483806" y="534717"/>
                    </a:lnTo>
                    <a:lnTo>
                      <a:pt x="484563" y="534717"/>
                    </a:lnTo>
                    <a:lnTo>
                      <a:pt x="486079" y="535777"/>
                    </a:lnTo>
                    <a:lnTo>
                      <a:pt x="487139" y="535929"/>
                    </a:lnTo>
                    <a:lnTo>
                      <a:pt x="491230" y="534110"/>
                    </a:lnTo>
                    <a:lnTo>
                      <a:pt x="492443" y="533959"/>
                    </a:lnTo>
                    <a:lnTo>
                      <a:pt x="493503" y="534413"/>
                    </a:lnTo>
                    <a:lnTo>
                      <a:pt x="495170" y="534565"/>
                    </a:lnTo>
                    <a:lnTo>
                      <a:pt x="501534" y="529565"/>
                    </a:lnTo>
                    <a:lnTo>
                      <a:pt x="501685" y="528656"/>
                    </a:lnTo>
                    <a:lnTo>
                      <a:pt x="500170" y="526080"/>
                    </a:lnTo>
                    <a:lnTo>
                      <a:pt x="500473" y="525777"/>
                    </a:lnTo>
                    <a:lnTo>
                      <a:pt x="501534" y="525928"/>
                    </a:lnTo>
                    <a:lnTo>
                      <a:pt x="506079" y="527747"/>
                    </a:lnTo>
                    <a:lnTo>
                      <a:pt x="506534" y="527292"/>
                    </a:lnTo>
                    <a:lnTo>
                      <a:pt x="505928" y="523958"/>
                    </a:lnTo>
                    <a:lnTo>
                      <a:pt x="506231" y="523049"/>
                    </a:lnTo>
                    <a:lnTo>
                      <a:pt x="508504" y="520474"/>
                    </a:lnTo>
                    <a:lnTo>
                      <a:pt x="509261" y="521534"/>
                    </a:lnTo>
                    <a:lnTo>
                      <a:pt x="510777" y="526080"/>
                    </a:lnTo>
                    <a:lnTo>
                      <a:pt x="511231" y="526837"/>
                    </a:lnTo>
                    <a:lnTo>
                      <a:pt x="511686" y="526686"/>
                    </a:lnTo>
                    <a:lnTo>
                      <a:pt x="513049" y="521686"/>
                    </a:lnTo>
                    <a:lnTo>
                      <a:pt x="515474" y="518807"/>
                    </a:lnTo>
                    <a:lnTo>
                      <a:pt x="516231" y="517443"/>
                    </a:lnTo>
                    <a:lnTo>
                      <a:pt x="516686" y="513352"/>
                    </a:lnTo>
                    <a:lnTo>
                      <a:pt x="517292" y="513201"/>
                    </a:lnTo>
                    <a:lnTo>
                      <a:pt x="519716" y="516989"/>
                    </a:lnTo>
                    <a:lnTo>
                      <a:pt x="520777" y="517595"/>
                    </a:lnTo>
                    <a:lnTo>
                      <a:pt x="524716" y="516079"/>
                    </a:lnTo>
                    <a:lnTo>
                      <a:pt x="526080" y="517443"/>
                    </a:lnTo>
                    <a:lnTo>
                      <a:pt x="527898" y="518201"/>
                    </a:lnTo>
                    <a:lnTo>
                      <a:pt x="532293" y="519413"/>
                    </a:lnTo>
                    <a:lnTo>
                      <a:pt x="534868" y="519564"/>
                    </a:lnTo>
                    <a:lnTo>
                      <a:pt x="537747" y="519261"/>
                    </a:lnTo>
                    <a:lnTo>
                      <a:pt x="539717" y="518655"/>
                    </a:lnTo>
                    <a:lnTo>
                      <a:pt x="540626" y="517898"/>
                    </a:lnTo>
                    <a:lnTo>
                      <a:pt x="541687" y="517898"/>
                    </a:lnTo>
                    <a:lnTo>
                      <a:pt x="542747" y="518504"/>
                    </a:lnTo>
                    <a:lnTo>
                      <a:pt x="543657" y="517898"/>
                    </a:lnTo>
                    <a:lnTo>
                      <a:pt x="546384" y="512443"/>
                    </a:lnTo>
                    <a:lnTo>
                      <a:pt x="547596" y="511534"/>
                    </a:lnTo>
                    <a:lnTo>
                      <a:pt x="548808" y="511534"/>
                    </a:lnTo>
                    <a:lnTo>
                      <a:pt x="549717" y="511231"/>
                    </a:lnTo>
                    <a:lnTo>
                      <a:pt x="550172" y="510625"/>
                    </a:lnTo>
                    <a:lnTo>
                      <a:pt x="549566" y="506534"/>
                    </a:lnTo>
                    <a:lnTo>
                      <a:pt x="549717" y="504261"/>
                    </a:lnTo>
                    <a:lnTo>
                      <a:pt x="550020" y="502594"/>
                    </a:lnTo>
                    <a:lnTo>
                      <a:pt x="550627" y="501382"/>
                    </a:lnTo>
                    <a:lnTo>
                      <a:pt x="551990" y="500473"/>
                    </a:lnTo>
                    <a:lnTo>
                      <a:pt x="554263" y="499867"/>
                    </a:lnTo>
                    <a:lnTo>
                      <a:pt x="555778" y="498958"/>
                    </a:lnTo>
                    <a:lnTo>
                      <a:pt x="556536" y="497594"/>
                    </a:lnTo>
                    <a:lnTo>
                      <a:pt x="555930" y="496079"/>
                    </a:lnTo>
                    <a:lnTo>
                      <a:pt x="554111" y="494260"/>
                    </a:lnTo>
                    <a:lnTo>
                      <a:pt x="552293" y="493957"/>
                    </a:lnTo>
                    <a:lnTo>
                      <a:pt x="550323" y="495170"/>
                    </a:lnTo>
                    <a:lnTo>
                      <a:pt x="547445" y="495776"/>
                    </a:lnTo>
                    <a:lnTo>
                      <a:pt x="543505" y="495927"/>
                    </a:lnTo>
                    <a:lnTo>
                      <a:pt x="540475" y="496533"/>
                    </a:lnTo>
                    <a:lnTo>
                      <a:pt x="538353" y="497745"/>
                    </a:lnTo>
                    <a:lnTo>
                      <a:pt x="537899" y="497594"/>
                    </a:lnTo>
                    <a:lnTo>
                      <a:pt x="539111" y="496230"/>
                    </a:lnTo>
                    <a:lnTo>
                      <a:pt x="541535" y="494564"/>
                    </a:lnTo>
                    <a:lnTo>
                      <a:pt x="542747" y="494260"/>
                    </a:lnTo>
                    <a:lnTo>
                      <a:pt x="546232" y="494412"/>
                    </a:lnTo>
                    <a:lnTo>
                      <a:pt x="547142" y="493806"/>
                    </a:lnTo>
                    <a:lnTo>
                      <a:pt x="547748" y="492745"/>
                    </a:lnTo>
                    <a:lnTo>
                      <a:pt x="548505" y="490018"/>
                    </a:lnTo>
                    <a:lnTo>
                      <a:pt x="548202" y="488957"/>
                    </a:lnTo>
                    <a:lnTo>
                      <a:pt x="546232" y="487897"/>
                    </a:lnTo>
                    <a:lnTo>
                      <a:pt x="544717" y="487442"/>
                    </a:lnTo>
                    <a:lnTo>
                      <a:pt x="540323" y="484563"/>
                    </a:lnTo>
                    <a:lnTo>
                      <a:pt x="540323" y="483502"/>
                    </a:lnTo>
                    <a:lnTo>
                      <a:pt x="542596" y="483200"/>
                    </a:lnTo>
                    <a:lnTo>
                      <a:pt x="544414" y="482745"/>
                    </a:lnTo>
                    <a:lnTo>
                      <a:pt x="545778" y="481836"/>
                    </a:lnTo>
                    <a:lnTo>
                      <a:pt x="547142" y="478199"/>
                    </a:lnTo>
                    <a:lnTo>
                      <a:pt x="549414" y="474411"/>
                    </a:lnTo>
                    <a:lnTo>
                      <a:pt x="548960" y="473957"/>
                    </a:lnTo>
                    <a:lnTo>
                      <a:pt x="547293" y="474260"/>
                    </a:lnTo>
                    <a:lnTo>
                      <a:pt x="544263" y="475472"/>
                    </a:lnTo>
                    <a:lnTo>
                      <a:pt x="543808" y="475320"/>
                    </a:lnTo>
                    <a:lnTo>
                      <a:pt x="544414" y="474260"/>
                    </a:lnTo>
                    <a:lnTo>
                      <a:pt x="545626" y="473351"/>
                    </a:lnTo>
                    <a:lnTo>
                      <a:pt x="547596" y="472442"/>
                    </a:lnTo>
                    <a:lnTo>
                      <a:pt x="549263" y="472138"/>
                    </a:lnTo>
                    <a:lnTo>
                      <a:pt x="550627" y="472442"/>
                    </a:lnTo>
                    <a:lnTo>
                      <a:pt x="553657" y="472290"/>
                    </a:lnTo>
                    <a:lnTo>
                      <a:pt x="555324" y="471229"/>
                    </a:lnTo>
                    <a:lnTo>
                      <a:pt x="559263" y="467896"/>
                    </a:lnTo>
                    <a:lnTo>
                      <a:pt x="561233" y="466532"/>
                    </a:lnTo>
                    <a:lnTo>
                      <a:pt x="561839" y="466532"/>
                    </a:lnTo>
                    <a:lnTo>
                      <a:pt x="555778" y="474866"/>
                    </a:lnTo>
                    <a:lnTo>
                      <a:pt x="555021" y="476987"/>
                    </a:lnTo>
                    <a:lnTo>
                      <a:pt x="555475" y="477896"/>
                    </a:lnTo>
                    <a:lnTo>
                      <a:pt x="558203" y="480321"/>
                    </a:lnTo>
                    <a:lnTo>
                      <a:pt x="560475" y="480472"/>
                    </a:lnTo>
                    <a:lnTo>
                      <a:pt x="564566" y="479411"/>
                    </a:lnTo>
                    <a:lnTo>
                      <a:pt x="565476" y="478502"/>
                    </a:lnTo>
                    <a:lnTo>
                      <a:pt x="566385" y="476533"/>
                    </a:lnTo>
                    <a:lnTo>
                      <a:pt x="567142" y="475926"/>
                    </a:lnTo>
                    <a:lnTo>
                      <a:pt x="568354" y="476987"/>
                    </a:lnTo>
                    <a:lnTo>
                      <a:pt x="570779" y="477745"/>
                    </a:lnTo>
                    <a:lnTo>
                      <a:pt x="571991" y="479108"/>
                    </a:lnTo>
                    <a:lnTo>
                      <a:pt x="572749" y="479260"/>
                    </a:lnTo>
                    <a:lnTo>
                      <a:pt x="573809" y="478805"/>
                    </a:lnTo>
                    <a:lnTo>
                      <a:pt x="574718" y="477896"/>
                    </a:lnTo>
                    <a:lnTo>
                      <a:pt x="575627" y="476533"/>
                    </a:lnTo>
                    <a:lnTo>
                      <a:pt x="577294" y="475775"/>
                    </a:lnTo>
                    <a:lnTo>
                      <a:pt x="579719" y="475472"/>
                    </a:lnTo>
                    <a:lnTo>
                      <a:pt x="581688" y="475775"/>
                    </a:lnTo>
                    <a:lnTo>
                      <a:pt x="583203" y="476533"/>
                    </a:lnTo>
                    <a:lnTo>
                      <a:pt x="585931" y="475472"/>
                    </a:lnTo>
                    <a:lnTo>
                      <a:pt x="590325" y="472442"/>
                    </a:lnTo>
                    <a:lnTo>
                      <a:pt x="593961" y="470320"/>
                    </a:lnTo>
                    <a:lnTo>
                      <a:pt x="599416" y="470017"/>
                    </a:lnTo>
                    <a:lnTo>
                      <a:pt x="602144" y="470926"/>
                    </a:lnTo>
                    <a:lnTo>
                      <a:pt x="593507" y="473351"/>
                    </a:lnTo>
                    <a:lnTo>
                      <a:pt x="592446" y="475926"/>
                    </a:lnTo>
                    <a:lnTo>
                      <a:pt x="592446" y="479866"/>
                    </a:lnTo>
                    <a:lnTo>
                      <a:pt x="593355" y="480927"/>
                    </a:lnTo>
                    <a:lnTo>
                      <a:pt x="595325" y="482290"/>
                    </a:lnTo>
                    <a:lnTo>
                      <a:pt x="599113" y="483502"/>
                    </a:lnTo>
                    <a:lnTo>
                      <a:pt x="596234" y="485775"/>
                    </a:lnTo>
                    <a:lnTo>
                      <a:pt x="594871" y="486230"/>
                    </a:lnTo>
                    <a:lnTo>
                      <a:pt x="594265" y="486836"/>
                    </a:lnTo>
                    <a:lnTo>
                      <a:pt x="596083" y="488048"/>
                    </a:lnTo>
                    <a:lnTo>
                      <a:pt x="600325" y="486533"/>
                    </a:lnTo>
                    <a:lnTo>
                      <a:pt x="602901" y="486078"/>
                    </a:lnTo>
                    <a:lnTo>
                      <a:pt x="604719" y="486684"/>
                    </a:lnTo>
                    <a:lnTo>
                      <a:pt x="605174" y="487442"/>
                    </a:lnTo>
                    <a:lnTo>
                      <a:pt x="605174" y="488351"/>
                    </a:lnTo>
                    <a:lnTo>
                      <a:pt x="605629" y="489715"/>
                    </a:lnTo>
                    <a:lnTo>
                      <a:pt x="618659" y="490169"/>
                    </a:lnTo>
                    <a:lnTo>
                      <a:pt x="618205" y="491382"/>
                    </a:lnTo>
                    <a:lnTo>
                      <a:pt x="616235" y="493806"/>
                    </a:lnTo>
                    <a:lnTo>
                      <a:pt x="614871" y="495321"/>
                    </a:lnTo>
                    <a:lnTo>
                      <a:pt x="612447" y="497291"/>
                    </a:lnTo>
                    <a:lnTo>
                      <a:pt x="613811" y="497594"/>
                    </a:lnTo>
                    <a:lnTo>
                      <a:pt x="617296" y="497594"/>
                    </a:lnTo>
                    <a:lnTo>
                      <a:pt x="621538" y="498655"/>
                    </a:lnTo>
                    <a:lnTo>
                      <a:pt x="626538" y="500776"/>
                    </a:lnTo>
                    <a:lnTo>
                      <a:pt x="630175" y="501079"/>
                    </a:lnTo>
                    <a:lnTo>
                      <a:pt x="632448" y="499564"/>
                    </a:lnTo>
                    <a:lnTo>
                      <a:pt x="634266" y="498048"/>
                    </a:lnTo>
                    <a:lnTo>
                      <a:pt x="637296" y="494564"/>
                    </a:lnTo>
                    <a:lnTo>
                      <a:pt x="640630" y="491988"/>
                    </a:lnTo>
                    <a:lnTo>
                      <a:pt x="644418" y="489412"/>
                    </a:lnTo>
                    <a:lnTo>
                      <a:pt x="645327" y="489109"/>
                    </a:lnTo>
                    <a:lnTo>
                      <a:pt x="642751" y="492594"/>
                    </a:lnTo>
                    <a:lnTo>
                      <a:pt x="641690" y="494715"/>
                    </a:lnTo>
                    <a:lnTo>
                      <a:pt x="640630" y="497745"/>
                    </a:lnTo>
                    <a:lnTo>
                      <a:pt x="639569" y="502897"/>
                    </a:lnTo>
                    <a:lnTo>
                      <a:pt x="640933" y="504564"/>
                    </a:lnTo>
                    <a:lnTo>
                      <a:pt x="643963" y="505473"/>
                    </a:lnTo>
                    <a:lnTo>
                      <a:pt x="645933" y="506382"/>
                    </a:lnTo>
                    <a:lnTo>
                      <a:pt x="646691" y="507443"/>
                    </a:lnTo>
                    <a:lnTo>
                      <a:pt x="649721" y="508200"/>
                    </a:lnTo>
                    <a:lnTo>
                      <a:pt x="655176" y="508806"/>
                    </a:lnTo>
                    <a:lnTo>
                      <a:pt x="659267" y="510473"/>
                    </a:lnTo>
                    <a:lnTo>
                      <a:pt x="661994" y="513201"/>
                    </a:lnTo>
                    <a:lnTo>
                      <a:pt x="662146" y="514110"/>
                    </a:lnTo>
                    <a:lnTo>
                      <a:pt x="660025" y="514867"/>
                    </a:lnTo>
                    <a:lnTo>
                      <a:pt x="660328" y="516079"/>
                    </a:lnTo>
                    <a:lnTo>
                      <a:pt x="664873" y="516382"/>
                    </a:lnTo>
                    <a:lnTo>
                      <a:pt x="669570" y="516231"/>
                    </a:lnTo>
                    <a:lnTo>
                      <a:pt x="677752" y="514564"/>
                    </a:lnTo>
                    <a:lnTo>
                      <a:pt x="693056" y="512898"/>
                    </a:lnTo>
                    <a:lnTo>
                      <a:pt x="703966" y="513352"/>
                    </a:lnTo>
                    <a:lnTo>
                      <a:pt x="716087" y="515473"/>
                    </a:lnTo>
                    <a:lnTo>
                      <a:pt x="727906" y="518049"/>
                    </a:lnTo>
                    <a:lnTo>
                      <a:pt x="731694" y="516989"/>
                    </a:lnTo>
                    <a:lnTo>
                      <a:pt x="733967" y="515928"/>
                    </a:lnTo>
                    <a:lnTo>
                      <a:pt x="735027" y="515019"/>
                    </a:lnTo>
                    <a:lnTo>
                      <a:pt x="734724" y="513201"/>
                    </a:lnTo>
                    <a:lnTo>
                      <a:pt x="734724" y="512291"/>
                    </a:lnTo>
                    <a:lnTo>
                      <a:pt x="735027" y="511988"/>
                    </a:lnTo>
                    <a:lnTo>
                      <a:pt x="736239" y="512443"/>
                    </a:lnTo>
                    <a:lnTo>
                      <a:pt x="737149" y="513352"/>
                    </a:lnTo>
                    <a:lnTo>
                      <a:pt x="738209" y="516534"/>
                    </a:lnTo>
                    <a:lnTo>
                      <a:pt x="738058" y="517595"/>
                    </a:lnTo>
                    <a:lnTo>
                      <a:pt x="735482" y="520928"/>
                    </a:lnTo>
                    <a:lnTo>
                      <a:pt x="737603" y="522140"/>
                    </a:lnTo>
                    <a:lnTo>
                      <a:pt x="750937" y="527292"/>
                    </a:lnTo>
                    <a:lnTo>
                      <a:pt x="756240" y="528353"/>
                    </a:lnTo>
                    <a:lnTo>
                      <a:pt x="762453" y="528807"/>
                    </a:lnTo>
                    <a:lnTo>
                      <a:pt x="768059" y="528201"/>
                    </a:lnTo>
                    <a:lnTo>
                      <a:pt x="776241" y="525019"/>
                    </a:lnTo>
                    <a:lnTo>
                      <a:pt x="778059" y="523958"/>
                    </a:lnTo>
                    <a:lnTo>
                      <a:pt x="784575" y="518201"/>
                    </a:lnTo>
                    <a:lnTo>
                      <a:pt x="787150" y="516382"/>
                    </a:lnTo>
                    <a:lnTo>
                      <a:pt x="789575" y="516534"/>
                    </a:lnTo>
                    <a:lnTo>
                      <a:pt x="790332" y="516989"/>
                    </a:lnTo>
                    <a:lnTo>
                      <a:pt x="794726" y="521383"/>
                    </a:lnTo>
                    <a:lnTo>
                      <a:pt x="801696" y="523807"/>
                    </a:lnTo>
                    <a:lnTo>
                      <a:pt x="800030" y="524110"/>
                    </a:lnTo>
                    <a:lnTo>
                      <a:pt x="796393" y="523655"/>
                    </a:lnTo>
                    <a:lnTo>
                      <a:pt x="795181" y="524413"/>
                    </a:lnTo>
                    <a:lnTo>
                      <a:pt x="794575" y="525928"/>
                    </a:lnTo>
                    <a:lnTo>
                      <a:pt x="794272" y="527444"/>
                    </a:lnTo>
                    <a:lnTo>
                      <a:pt x="794120" y="530777"/>
                    </a:lnTo>
                    <a:lnTo>
                      <a:pt x="793817" y="532444"/>
                    </a:lnTo>
                    <a:lnTo>
                      <a:pt x="793514" y="532898"/>
                    </a:lnTo>
                    <a:lnTo>
                      <a:pt x="792605" y="527747"/>
                    </a:lnTo>
                    <a:lnTo>
                      <a:pt x="792757" y="523353"/>
                    </a:lnTo>
                    <a:lnTo>
                      <a:pt x="792302" y="522140"/>
                    </a:lnTo>
                    <a:lnTo>
                      <a:pt x="789120" y="518807"/>
                    </a:lnTo>
                    <a:lnTo>
                      <a:pt x="788060" y="518504"/>
                    </a:lnTo>
                    <a:lnTo>
                      <a:pt x="787302" y="518958"/>
                    </a:lnTo>
                    <a:lnTo>
                      <a:pt x="786090" y="519716"/>
                    </a:lnTo>
                    <a:lnTo>
                      <a:pt x="785635" y="520625"/>
                    </a:lnTo>
                    <a:lnTo>
                      <a:pt x="785332" y="521989"/>
                    </a:lnTo>
                    <a:lnTo>
                      <a:pt x="785332" y="523353"/>
                    </a:lnTo>
                    <a:lnTo>
                      <a:pt x="785938" y="525777"/>
                    </a:lnTo>
                    <a:lnTo>
                      <a:pt x="787453" y="528353"/>
                    </a:lnTo>
                    <a:lnTo>
                      <a:pt x="787302" y="529565"/>
                    </a:lnTo>
                    <a:lnTo>
                      <a:pt x="784575" y="533201"/>
                    </a:lnTo>
                    <a:lnTo>
                      <a:pt x="782908" y="534110"/>
                    </a:lnTo>
                    <a:lnTo>
                      <a:pt x="780332" y="535020"/>
                    </a:lnTo>
                    <a:lnTo>
                      <a:pt x="779423" y="535777"/>
                    </a:lnTo>
                    <a:lnTo>
                      <a:pt x="780180" y="536535"/>
                    </a:lnTo>
                    <a:lnTo>
                      <a:pt x="781847" y="537444"/>
                    </a:lnTo>
                    <a:lnTo>
                      <a:pt x="785635" y="539111"/>
                    </a:lnTo>
                    <a:lnTo>
                      <a:pt x="792151" y="542596"/>
                    </a:lnTo>
                    <a:lnTo>
                      <a:pt x="804575" y="548202"/>
                    </a:lnTo>
                    <a:lnTo>
                      <a:pt x="809576" y="550172"/>
                    </a:lnTo>
                    <a:lnTo>
                      <a:pt x="814727" y="551081"/>
                    </a:lnTo>
                    <a:lnTo>
                      <a:pt x="814576" y="551687"/>
                    </a:lnTo>
                    <a:lnTo>
                      <a:pt x="813515" y="552596"/>
                    </a:lnTo>
                    <a:lnTo>
                      <a:pt x="814121" y="553202"/>
                    </a:lnTo>
                    <a:lnTo>
                      <a:pt x="816545" y="553354"/>
                    </a:lnTo>
                    <a:lnTo>
                      <a:pt x="819273" y="554263"/>
                    </a:lnTo>
                    <a:lnTo>
                      <a:pt x="822303" y="555929"/>
                    </a:lnTo>
                    <a:lnTo>
                      <a:pt x="828213" y="560172"/>
                    </a:lnTo>
                    <a:lnTo>
                      <a:pt x="830031" y="562142"/>
                    </a:lnTo>
                    <a:lnTo>
                      <a:pt x="830788" y="563960"/>
                    </a:lnTo>
                    <a:lnTo>
                      <a:pt x="832758" y="566384"/>
                    </a:lnTo>
                    <a:lnTo>
                      <a:pt x="835940" y="569566"/>
                    </a:lnTo>
                    <a:lnTo>
                      <a:pt x="838364" y="571385"/>
                    </a:lnTo>
                    <a:lnTo>
                      <a:pt x="840183" y="571991"/>
                    </a:lnTo>
                    <a:lnTo>
                      <a:pt x="841092" y="572748"/>
                    </a:lnTo>
                    <a:lnTo>
                      <a:pt x="841243" y="574112"/>
                    </a:lnTo>
                    <a:lnTo>
                      <a:pt x="841546" y="574415"/>
                    </a:lnTo>
                    <a:lnTo>
                      <a:pt x="854426" y="581839"/>
                    </a:lnTo>
                    <a:lnTo>
                      <a:pt x="860032" y="584415"/>
                    </a:lnTo>
                    <a:lnTo>
                      <a:pt x="864578" y="586991"/>
                    </a:lnTo>
                    <a:lnTo>
                      <a:pt x="867153" y="587900"/>
                    </a:lnTo>
                    <a:lnTo>
                      <a:pt x="867759" y="587900"/>
                    </a:lnTo>
                    <a:lnTo>
                      <a:pt x="871093" y="584567"/>
                    </a:lnTo>
                    <a:lnTo>
                      <a:pt x="880184" y="583658"/>
                    </a:lnTo>
                    <a:lnTo>
                      <a:pt x="881548" y="583052"/>
                    </a:lnTo>
                    <a:lnTo>
                      <a:pt x="882305" y="582294"/>
                    </a:lnTo>
                    <a:lnTo>
                      <a:pt x="882154" y="579567"/>
                    </a:lnTo>
                    <a:lnTo>
                      <a:pt x="881093" y="577445"/>
                    </a:lnTo>
                    <a:lnTo>
                      <a:pt x="877760" y="573657"/>
                    </a:lnTo>
                    <a:lnTo>
                      <a:pt x="875184" y="572748"/>
                    </a:lnTo>
                    <a:lnTo>
                      <a:pt x="870638" y="573051"/>
                    </a:lnTo>
                    <a:lnTo>
                      <a:pt x="872760" y="570627"/>
                    </a:lnTo>
                    <a:lnTo>
                      <a:pt x="872608" y="569718"/>
                    </a:lnTo>
                    <a:lnTo>
                      <a:pt x="869275" y="568203"/>
                    </a:lnTo>
                    <a:lnTo>
                      <a:pt x="868820" y="567748"/>
                    </a:lnTo>
                    <a:lnTo>
                      <a:pt x="868366" y="566384"/>
                    </a:lnTo>
                    <a:lnTo>
                      <a:pt x="867153" y="565475"/>
                    </a:lnTo>
                    <a:lnTo>
                      <a:pt x="863668" y="563809"/>
                    </a:lnTo>
                    <a:lnTo>
                      <a:pt x="859880" y="562596"/>
                    </a:lnTo>
                    <a:lnTo>
                      <a:pt x="857608" y="562445"/>
                    </a:lnTo>
                    <a:lnTo>
                      <a:pt x="855486" y="563051"/>
                    </a:lnTo>
                    <a:lnTo>
                      <a:pt x="854880" y="562748"/>
                    </a:lnTo>
                    <a:lnTo>
                      <a:pt x="856850" y="560627"/>
                    </a:lnTo>
                    <a:lnTo>
                      <a:pt x="857911" y="560172"/>
                    </a:lnTo>
                    <a:lnTo>
                      <a:pt x="857759" y="558808"/>
                    </a:lnTo>
                    <a:lnTo>
                      <a:pt x="856395" y="556687"/>
                    </a:lnTo>
                    <a:lnTo>
                      <a:pt x="856698" y="556081"/>
                    </a:lnTo>
                    <a:lnTo>
                      <a:pt x="861093" y="558051"/>
                    </a:lnTo>
                    <a:lnTo>
                      <a:pt x="868366" y="559717"/>
                    </a:lnTo>
                    <a:lnTo>
                      <a:pt x="869881" y="561081"/>
                    </a:lnTo>
                    <a:lnTo>
                      <a:pt x="870790" y="562899"/>
                    </a:lnTo>
                    <a:lnTo>
                      <a:pt x="871547" y="563505"/>
                    </a:lnTo>
                    <a:lnTo>
                      <a:pt x="873517" y="564263"/>
                    </a:lnTo>
                    <a:lnTo>
                      <a:pt x="875790" y="565930"/>
                    </a:lnTo>
                    <a:lnTo>
                      <a:pt x="877760" y="566839"/>
                    </a:lnTo>
                    <a:lnTo>
                      <a:pt x="878820" y="566687"/>
                    </a:lnTo>
                    <a:lnTo>
                      <a:pt x="879881" y="565930"/>
                    </a:lnTo>
                    <a:lnTo>
                      <a:pt x="880487" y="564718"/>
                    </a:lnTo>
                    <a:lnTo>
                      <a:pt x="880639" y="563051"/>
                    </a:lnTo>
                    <a:lnTo>
                      <a:pt x="880487" y="561839"/>
                    </a:lnTo>
                    <a:lnTo>
                      <a:pt x="879578" y="559717"/>
                    </a:lnTo>
                    <a:lnTo>
                      <a:pt x="879881" y="555626"/>
                    </a:lnTo>
                    <a:lnTo>
                      <a:pt x="880336" y="555929"/>
                    </a:lnTo>
                    <a:lnTo>
                      <a:pt x="881245" y="557596"/>
                    </a:lnTo>
                    <a:lnTo>
                      <a:pt x="882609" y="561839"/>
                    </a:lnTo>
                    <a:lnTo>
                      <a:pt x="883518" y="562596"/>
                    </a:lnTo>
                    <a:lnTo>
                      <a:pt x="885790" y="561384"/>
                    </a:lnTo>
                    <a:lnTo>
                      <a:pt x="888669" y="561687"/>
                    </a:lnTo>
                    <a:lnTo>
                      <a:pt x="882760" y="564718"/>
                    </a:lnTo>
                    <a:lnTo>
                      <a:pt x="882760" y="566081"/>
                    </a:lnTo>
                    <a:lnTo>
                      <a:pt x="887003" y="572748"/>
                    </a:lnTo>
                    <a:lnTo>
                      <a:pt x="887760" y="574566"/>
                    </a:lnTo>
                    <a:lnTo>
                      <a:pt x="886851" y="579112"/>
                    </a:lnTo>
                    <a:lnTo>
                      <a:pt x="886851" y="581688"/>
                    </a:lnTo>
                    <a:lnTo>
                      <a:pt x="887457" y="581991"/>
                    </a:lnTo>
                    <a:lnTo>
                      <a:pt x="895639" y="581233"/>
                    </a:lnTo>
                    <a:lnTo>
                      <a:pt x="898973" y="582597"/>
                    </a:lnTo>
                    <a:lnTo>
                      <a:pt x="901397" y="585627"/>
                    </a:lnTo>
                    <a:lnTo>
                      <a:pt x="903064" y="587294"/>
                    </a:lnTo>
                    <a:lnTo>
                      <a:pt x="907458" y="588203"/>
                    </a:lnTo>
                    <a:lnTo>
                      <a:pt x="908822" y="587749"/>
                    </a:lnTo>
                    <a:lnTo>
                      <a:pt x="909579" y="586385"/>
                    </a:lnTo>
                    <a:lnTo>
                      <a:pt x="909882" y="585324"/>
                    </a:lnTo>
                    <a:lnTo>
                      <a:pt x="909579" y="583961"/>
                    </a:lnTo>
                    <a:lnTo>
                      <a:pt x="907155" y="577142"/>
                    </a:lnTo>
                    <a:lnTo>
                      <a:pt x="906246" y="574112"/>
                    </a:lnTo>
                    <a:lnTo>
                      <a:pt x="905640" y="570930"/>
                    </a:lnTo>
                    <a:lnTo>
                      <a:pt x="904276" y="566687"/>
                    </a:lnTo>
                    <a:lnTo>
                      <a:pt x="902155" y="561384"/>
                    </a:lnTo>
                    <a:lnTo>
                      <a:pt x="900791" y="554263"/>
                    </a:lnTo>
                    <a:lnTo>
                      <a:pt x="897609" y="549566"/>
                    </a:lnTo>
                    <a:lnTo>
                      <a:pt x="899427" y="549263"/>
                    </a:lnTo>
                    <a:lnTo>
                      <a:pt x="900336" y="549414"/>
                    </a:lnTo>
                    <a:lnTo>
                      <a:pt x="899882" y="548050"/>
                    </a:lnTo>
                    <a:lnTo>
                      <a:pt x="898064" y="545323"/>
                    </a:lnTo>
                    <a:lnTo>
                      <a:pt x="900033" y="544868"/>
                    </a:lnTo>
                    <a:lnTo>
                      <a:pt x="900336" y="543505"/>
                    </a:lnTo>
                    <a:lnTo>
                      <a:pt x="901397" y="540777"/>
                    </a:lnTo>
                    <a:lnTo>
                      <a:pt x="901852" y="541232"/>
                    </a:lnTo>
                    <a:lnTo>
                      <a:pt x="901549" y="544717"/>
                    </a:lnTo>
                    <a:lnTo>
                      <a:pt x="902306" y="548202"/>
                    </a:lnTo>
                    <a:lnTo>
                      <a:pt x="905337" y="554717"/>
                    </a:lnTo>
                    <a:lnTo>
                      <a:pt x="907609" y="564112"/>
                    </a:lnTo>
                    <a:lnTo>
                      <a:pt x="909125" y="565930"/>
                    </a:lnTo>
                    <a:lnTo>
                      <a:pt x="911549" y="567142"/>
                    </a:lnTo>
                    <a:lnTo>
                      <a:pt x="912155" y="568051"/>
                    </a:lnTo>
                    <a:lnTo>
                      <a:pt x="912761" y="571839"/>
                    </a:lnTo>
                    <a:lnTo>
                      <a:pt x="917307" y="579567"/>
                    </a:lnTo>
                    <a:lnTo>
                      <a:pt x="920337" y="582294"/>
                    </a:lnTo>
                    <a:lnTo>
                      <a:pt x="925186" y="583052"/>
                    </a:lnTo>
                    <a:lnTo>
                      <a:pt x="929428" y="585779"/>
                    </a:lnTo>
                    <a:lnTo>
                      <a:pt x="931398" y="588052"/>
                    </a:lnTo>
                    <a:lnTo>
                      <a:pt x="932762" y="588506"/>
                    </a:lnTo>
                    <a:lnTo>
                      <a:pt x="934883" y="586688"/>
                    </a:lnTo>
                    <a:lnTo>
                      <a:pt x="937459" y="581233"/>
                    </a:lnTo>
                    <a:lnTo>
                      <a:pt x="940035" y="577900"/>
                    </a:lnTo>
                    <a:lnTo>
                      <a:pt x="940944" y="577294"/>
                    </a:lnTo>
                    <a:lnTo>
                      <a:pt x="941853" y="577142"/>
                    </a:lnTo>
                    <a:lnTo>
                      <a:pt x="941550" y="577900"/>
                    </a:lnTo>
                    <a:lnTo>
                      <a:pt x="940338" y="579112"/>
                    </a:lnTo>
                    <a:lnTo>
                      <a:pt x="937308" y="586234"/>
                    </a:lnTo>
                    <a:lnTo>
                      <a:pt x="936853" y="589415"/>
                    </a:lnTo>
                    <a:lnTo>
                      <a:pt x="937004" y="592749"/>
                    </a:lnTo>
                    <a:lnTo>
                      <a:pt x="937762" y="595022"/>
                    </a:lnTo>
                    <a:lnTo>
                      <a:pt x="941550" y="598204"/>
                    </a:lnTo>
                    <a:lnTo>
                      <a:pt x="943520" y="600476"/>
                    </a:lnTo>
                    <a:lnTo>
                      <a:pt x="945641" y="603658"/>
                    </a:lnTo>
                    <a:lnTo>
                      <a:pt x="946247" y="604113"/>
                    </a:lnTo>
                    <a:lnTo>
                      <a:pt x="948065" y="604265"/>
                    </a:lnTo>
                    <a:lnTo>
                      <a:pt x="948975" y="603658"/>
                    </a:lnTo>
                    <a:lnTo>
                      <a:pt x="950793" y="600931"/>
                    </a:lnTo>
                    <a:lnTo>
                      <a:pt x="952460" y="600931"/>
                    </a:lnTo>
                    <a:lnTo>
                      <a:pt x="960793" y="602749"/>
                    </a:lnTo>
                    <a:lnTo>
                      <a:pt x="960339" y="603204"/>
                    </a:lnTo>
                    <a:lnTo>
                      <a:pt x="952157" y="602598"/>
                    </a:lnTo>
                    <a:lnTo>
                      <a:pt x="951399" y="603204"/>
                    </a:lnTo>
                    <a:lnTo>
                      <a:pt x="951399" y="604416"/>
                    </a:lnTo>
                    <a:lnTo>
                      <a:pt x="952005" y="606689"/>
                    </a:lnTo>
                    <a:lnTo>
                      <a:pt x="954126" y="608659"/>
                    </a:lnTo>
                    <a:lnTo>
                      <a:pt x="962915" y="615022"/>
                    </a:lnTo>
                    <a:lnTo>
                      <a:pt x="962157" y="615477"/>
                    </a:lnTo>
                    <a:lnTo>
                      <a:pt x="956702" y="612447"/>
                    </a:lnTo>
                    <a:lnTo>
                      <a:pt x="950944" y="609871"/>
                    </a:lnTo>
                    <a:lnTo>
                      <a:pt x="949581" y="609871"/>
                    </a:lnTo>
                    <a:lnTo>
                      <a:pt x="948975" y="610628"/>
                    </a:lnTo>
                    <a:lnTo>
                      <a:pt x="948369" y="611992"/>
                    </a:lnTo>
                    <a:lnTo>
                      <a:pt x="951399" y="615477"/>
                    </a:lnTo>
                    <a:lnTo>
                      <a:pt x="954126" y="623962"/>
                    </a:lnTo>
                    <a:lnTo>
                      <a:pt x="953369" y="630478"/>
                    </a:lnTo>
                    <a:lnTo>
                      <a:pt x="968521" y="635326"/>
                    </a:lnTo>
                    <a:lnTo>
                      <a:pt x="970945" y="635023"/>
                    </a:lnTo>
                    <a:lnTo>
                      <a:pt x="971248" y="635629"/>
                    </a:lnTo>
                    <a:lnTo>
                      <a:pt x="970642" y="638811"/>
                    </a:lnTo>
                    <a:lnTo>
                      <a:pt x="970945" y="640023"/>
                    </a:lnTo>
                    <a:lnTo>
                      <a:pt x="971703" y="641387"/>
                    </a:lnTo>
                    <a:lnTo>
                      <a:pt x="974430" y="644266"/>
                    </a:lnTo>
                    <a:lnTo>
                      <a:pt x="976097" y="645327"/>
                    </a:lnTo>
                    <a:lnTo>
                      <a:pt x="980339" y="646539"/>
                    </a:lnTo>
                    <a:lnTo>
                      <a:pt x="980642" y="651084"/>
                    </a:lnTo>
                    <a:lnTo>
                      <a:pt x="981703" y="651690"/>
                    </a:lnTo>
                    <a:lnTo>
                      <a:pt x="983824" y="651994"/>
                    </a:lnTo>
                    <a:lnTo>
                      <a:pt x="984430" y="652903"/>
                    </a:lnTo>
                    <a:lnTo>
                      <a:pt x="983824" y="654266"/>
                    </a:lnTo>
                    <a:lnTo>
                      <a:pt x="984582" y="655782"/>
                    </a:lnTo>
                    <a:lnTo>
                      <a:pt x="985946" y="656994"/>
                    </a:lnTo>
                    <a:lnTo>
                      <a:pt x="987915" y="659721"/>
                    </a:lnTo>
                    <a:lnTo>
                      <a:pt x="989279" y="660479"/>
                    </a:lnTo>
                    <a:lnTo>
                      <a:pt x="992310" y="661236"/>
                    </a:lnTo>
                    <a:lnTo>
                      <a:pt x="993976" y="663358"/>
                    </a:lnTo>
                    <a:lnTo>
                      <a:pt x="994885" y="665327"/>
                    </a:lnTo>
                    <a:lnTo>
                      <a:pt x="995946" y="666540"/>
                    </a:lnTo>
                    <a:lnTo>
                      <a:pt x="997158" y="666994"/>
                    </a:lnTo>
                    <a:lnTo>
                      <a:pt x="1005189" y="667903"/>
                    </a:lnTo>
                    <a:lnTo>
                      <a:pt x="1000037" y="669721"/>
                    </a:lnTo>
                    <a:lnTo>
                      <a:pt x="997158" y="669721"/>
                    </a:lnTo>
                    <a:lnTo>
                      <a:pt x="992764" y="678661"/>
                    </a:lnTo>
                    <a:lnTo>
                      <a:pt x="990491" y="682146"/>
                    </a:lnTo>
                    <a:lnTo>
                      <a:pt x="988673" y="684419"/>
                    </a:lnTo>
                    <a:lnTo>
                      <a:pt x="987309" y="685480"/>
                    </a:lnTo>
                    <a:lnTo>
                      <a:pt x="986855" y="686692"/>
                    </a:lnTo>
                    <a:lnTo>
                      <a:pt x="988673" y="691389"/>
                    </a:lnTo>
                    <a:lnTo>
                      <a:pt x="989734" y="692601"/>
                    </a:lnTo>
                    <a:lnTo>
                      <a:pt x="993370" y="693965"/>
                    </a:lnTo>
                    <a:lnTo>
                      <a:pt x="994431" y="693207"/>
                    </a:lnTo>
                    <a:lnTo>
                      <a:pt x="996552" y="689571"/>
                    </a:lnTo>
                    <a:lnTo>
                      <a:pt x="997461" y="686237"/>
                    </a:lnTo>
                    <a:lnTo>
                      <a:pt x="998219" y="685025"/>
                    </a:lnTo>
                    <a:lnTo>
                      <a:pt x="998370" y="684419"/>
                    </a:lnTo>
                    <a:lnTo>
                      <a:pt x="997613" y="682449"/>
                    </a:lnTo>
                    <a:lnTo>
                      <a:pt x="997916" y="681692"/>
                    </a:lnTo>
                    <a:lnTo>
                      <a:pt x="998825" y="680782"/>
                    </a:lnTo>
                    <a:lnTo>
                      <a:pt x="1002916" y="678661"/>
                    </a:lnTo>
                    <a:lnTo>
                      <a:pt x="1012462" y="675631"/>
                    </a:lnTo>
                    <a:lnTo>
                      <a:pt x="1019432" y="672449"/>
                    </a:lnTo>
                    <a:lnTo>
                      <a:pt x="1018371" y="674116"/>
                    </a:lnTo>
                    <a:lnTo>
                      <a:pt x="1016553" y="675934"/>
                    </a:lnTo>
                    <a:lnTo>
                      <a:pt x="1016856" y="677297"/>
                    </a:lnTo>
                    <a:lnTo>
                      <a:pt x="1020947" y="683055"/>
                    </a:lnTo>
                    <a:lnTo>
                      <a:pt x="1022614" y="685934"/>
                    </a:lnTo>
                    <a:lnTo>
                      <a:pt x="1023674" y="690631"/>
                    </a:lnTo>
                    <a:lnTo>
                      <a:pt x="1023826" y="692904"/>
                    </a:lnTo>
                    <a:lnTo>
                      <a:pt x="1023674" y="696389"/>
                    </a:lnTo>
                    <a:lnTo>
                      <a:pt x="1024280" y="700329"/>
                    </a:lnTo>
                    <a:lnTo>
                      <a:pt x="1024887" y="701238"/>
                    </a:lnTo>
                    <a:lnTo>
                      <a:pt x="1027311" y="701844"/>
                    </a:lnTo>
                    <a:lnTo>
                      <a:pt x="1027311" y="702601"/>
                    </a:lnTo>
                    <a:lnTo>
                      <a:pt x="1020947" y="704571"/>
                    </a:lnTo>
                    <a:lnTo>
                      <a:pt x="1019280" y="706996"/>
                    </a:lnTo>
                    <a:lnTo>
                      <a:pt x="1019280" y="707905"/>
                    </a:lnTo>
                    <a:lnTo>
                      <a:pt x="1021098" y="711541"/>
                    </a:lnTo>
                    <a:lnTo>
                      <a:pt x="1022311" y="715784"/>
                    </a:lnTo>
                    <a:lnTo>
                      <a:pt x="1024584" y="721238"/>
                    </a:lnTo>
                    <a:lnTo>
                      <a:pt x="1030947" y="721845"/>
                    </a:lnTo>
                    <a:lnTo>
                      <a:pt x="1032008" y="722602"/>
                    </a:lnTo>
                    <a:lnTo>
                      <a:pt x="1034281" y="720178"/>
                    </a:lnTo>
                    <a:lnTo>
                      <a:pt x="1039281" y="715935"/>
                    </a:lnTo>
                    <a:lnTo>
                      <a:pt x="1042008" y="712905"/>
                    </a:lnTo>
                    <a:lnTo>
                      <a:pt x="1041857" y="711541"/>
                    </a:lnTo>
                    <a:lnTo>
                      <a:pt x="1043069" y="708662"/>
                    </a:lnTo>
                    <a:lnTo>
                      <a:pt x="1046706" y="702753"/>
                    </a:lnTo>
                    <a:lnTo>
                      <a:pt x="1046706" y="700935"/>
                    </a:lnTo>
                    <a:lnTo>
                      <a:pt x="1046099" y="698359"/>
                    </a:lnTo>
                    <a:lnTo>
                      <a:pt x="1044433" y="694116"/>
                    </a:lnTo>
                    <a:lnTo>
                      <a:pt x="1043827" y="691843"/>
                    </a:lnTo>
                    <a:lnTo>
                      <a:pt x="1043675" y="689116"/>
                    </a:lnTo>
                    <a:lnTo>
                      <a:pt x="1043978" y="686692"/>
                    </a:lnTo>
                    <a:lnTo>
                      <a:pt x="1044736" y="684419"/>
                    </a:lnTo>
                    <a:lnTo>
                      <a:pt x="1045796" y="682298"/>
                    </a:lnTo>
                    <a:lnTo>
                      <a:pt x="1047160" y="680328"/>
                    </a:lnTo>
                    <a:lnTo>
                      <a:pt x="1047463" y="677904"/>
                    </a:lnTo>
                    <a:lnTo>
                      <a:pt x="1047160" y="675479"/>
                    </a:lnTo>
                    <a:lnTo>
                      <a:pt x="1046099" y="673358"/>
                    </a:lnTo>
                    <a:close/>
                    <a:moveTo>
                      <a:pt x="201674" y="574566"/>
                    </a:moveTo>
                    <a:lnTo>
                      <a:pt x="207280" y="565778"/>
                    </a:lnTo>
                    <a:lnTo>
                      <a:pt x="205765" y="566081"/>
                    </a:lnTo>
                    <a:lnTo>
                      <a:pt x="199856" y="568203"/>
                    </a:lnTo>
                    <a:lnTo>
                      <a:pt x="197129" y="570778"/>
                    </a:lnTo>
                    <a:lnTo>
                      <a:pt x="195916" y="570930"/>
                    </a:lnTo>
                    <a:lnTo>
                      <a:pt x="197583" y="574869"/>
                    </a:lnTo>
                    <a:lnTo>
                      <a:pt x="199704" y="575173"/>
                    </a:lnTo>
                    <a:lnTo>
                      <a:pt x="201674" y="574566"/>
                    </a:lnTo>
                    <a:close/>
                    <a:moveTo>
                      <a:pt x="1020795" y="695480"/>
                    </a:moveTo>
                    <a:lnTo>
                      <a:pt x="1021250" y="692450"/>
                    </a:lnTo>
                    <a:lnTo>
                      <a:pt x="1021250" y="688510"/>
                    </a:lnTo>
                    <a:lnTo>
                      <a:pt x="1020341" y="686237"/>
                    </a:lnTo>
                    <a:lnTo>
                      <a:pt x="1017007" y="681237"/>
                    </a:lnTo>
                    <a:lnTo>
                      <a:pt x="1013826" y="677752"/>
                    </a:lnTo>
                    <a:lnTo>
                      <a:pt x="1012916" y="677449"/>
                    </a:lnTo>
                    <a:lnTo>
                      <a:pt x="1003219" y="682146"/>
                    </a:lnTo>
                    <a:lnTo>
                      <a:pt x="1002613" y="691540"/>
                    </a:lnTo>
                    <a:lnTo>
                      <a:pt x="999583" y="694722"/>
                    </a:lnTo>
                    <a:lnTo>
                      <a:pt x="997158" y="698056"/>
                    </a:lnTo>
                    <a:lnTo>
                      <a:pt x="997310" y="700329"/>
                    </a:lnTo>
                    <a:lnTo>
                      <a:pt x="998219" y="705480"/>
                    </a:lnTo>
                    <a:lnTo>
                      <a:pt x="999583" y="707602"/>
                    </a:lnTo>
                    <a:lnTo>
                      <a:pt x="1000643" y="705632"/>
                    </a:lnTo>
                    <a:lnTo>
                      <a:pt x="1002916" y="702601"/>
                    </a:lnTo>
                    <a:lnTo>
                      <a:pt x="1006250" y="700935"/>
                    </a:lnTo>
                    <a:lnTo>
                      <a:pt x="1007613" y="699723"/>
                    </a:lnTo>
                    <a:lnTo>
                      <a:pt x="1008371" y="698359"/>
                    </a:lnTo>
                    <a:lnTo>
                      <a:pt x="1009128" y="699874"/>
                    </a:lnTo>
                    <a:lnTo>
                      <a:pt x="1008371" y="701844"/>
                    </a:lnTo>
                    <a:lnTo>
                      <a:pt x="1009128" y="703359"/>
                    </a:lnTo>
                    <a:lnTo>
                      <a:pt x="1010644" y="703814"/>
                    </a:lnTo>
                    <a:lnTo>
                      <a:pt x="1012007" y="703662"/>
                    </a:lnTo>
                    <a:lnTo>
                      <a:pt x="1013522" y="705480"/>
                    </a:lnTo>
                    <a:lnTo>
                      <a:pt x="1015492" y="705935"/>
                    </a:lnTo>
                    <a:lnTo>
                      <a:pt x="1018371" y="703662"/>
                    </a:lnTo>
                    <a:lnTo>
                      <a:pt x="1020189" y="699419"/>
                    </a:lnTo>
                    <a:lnTo>
                      <a:pt x="1020795" y="695480"/>
                    </a:lnTo>
                    <a:close/>
                    <a:moveTo>
                      <a:pt x="67275" y="244403"/>
                    </a:moveTo>
                    <a:lnTo>
                      <a:pt x="67427" y="243948"/>
                    </a:lnTo>
                    <a:lnTo>
                      <a:pt x="61669" y="246221"/>
                    </a:lnTo>
                    <a:lnTo>
                      <a:pt x="58487" y="248039"/>
                    </a:lnTo>
                    <a:lnTo>
                      <a:pt x="58487" y="248797"/>
                    </a:lnTo>
                    <a:lnTo>
                      <a:pt x="59548" y="248494"/>
                    </a:lnTo>
                    <a:lnTo>
                      <a:pt x="64093" y="246221"/>
                    </a:lnTo>
                    <a:lnTo>
                      <a:pt x="67275" y="244403"/>
                    </a:lnTo>
                    <a:close/>
                    <a:moveTo>
                      <a:pt x="1333534" y="1423688"/>
                    </a:moveTo>
                    <a:lnTo>
                      <a:pt x="1332928" y="1422931"/>
                    </a:lnTo>
                    <a:lnTo>
                      <a:pt x="1329898" y="1423688"/>
                    </a:lnTo>
                    <a:lnTo>
                      <a:pt x="1324292" y="1422173"/>
                    </a:lnTo>
                    <a:lnTo>
                      <a:pt x="1323383" y="1422476"/>
                    </a:lnTo>
                    <a:lnTo>
                      <a:pt x="1324140" y="1423537"/>
                    </a:lnTo>
                    <a:lnTo>
                      <a:pt x="1324292" y="1424749"/>
                    </a:lnTo>
                    <a:lnTo>
                      <a:pt x="1326413" y="1425507"/>
                    </a:lnTo>
                    <a:lnTo>
                      <a:pt x="1333231" y="1424294"/>
                    </a:lnTo>
                    <a:lnTo>
                      <a:pt x="1333534" y="1423688"/>
                    </a:lnTo>
                    <a:close/>
                    <a:moveTo>
                      <a:pt x="71063" y="505473"/>
                    </a:moveTo>
                    <a:lnTo>
                      <a:pt x="70154" y="504109"/>
                    </a:lnTo>
                    <a:lnTo>
                      <a:pt x="68639" y="503200"/>
                    </a:lnTo>
                    <a:lnTo>
                      <a:pt x="67124" y="502746"/>
                    </a:lnTo>
                    <a:lnTo>
                      <a:pt x="62881" y="503352"/>
                    </a:lnTo>
                    <a:lnTo>
                      <a:pt x="61517" y="503200"/>
                    </a:lnTo>
                    <a:lnTo>
                      <a:pt x="58942" y="501230"/>
                    </a:lnTo>
                    <a:lnTo>
                      <a:pt x="57578" y="500624"/>
                    </a:lnTo>
                    <a:lnTo>
                      <a:pt x="55911" y="500927"/>
                    </a:lnTo>
                    <a:lnTo>
                      <a:pt x="52729" y="501988"/>
                    </a:lnTo>
                    <a:lnTo>
                      <a:pt x="51214" y="501230"/>
                    </a:lnTo>
                    <a:lnTo>
                      <a:pt x="49699" y="501230"/>
                    </a:lnTo>
                    <a:lnTo>
                      <a:pt x="46365" y="503049"/>
                    </a:lnTo>
                    <a:lnTo>
                      <a:pt x="42729" y="503958"/>
                    </a:lnTo>
                    <a:lnTo>
                      <a:pt x="41214" y="504715"/>
                    </a:lnTo>
                    <a:lnTo>
                      <a:pt x="39850" y="508049"/>
                    </a:lnTo>
                    <a:lnTo>
                      <a:pt x="28486" y="507443"/>
                    </a:lnTo>
                    <a:lnTo>
                      <a:pt x="25910" y="507746"/>
                    </a:lnTo>
                    <a:lnTo>
                      <a:pt x="23334" y="508503"/>
                    </a:lnTo>
                    <a:lnTo>
                      <a:pt x="27274" y="513049"/>
                    </a:lnTo>
                    <a:lnTo>
                      <a:pt x="31516" y="516686"/>
                    </a:lnTo>
                    <a:lnTo>
                      <a:pt x="35759" y="517746"/>
                    </a:lnTo>
                    <a:lnTo>
                      <a:pt x="45608" y="522595"/>
                    </a:lnTo>
                    <a:lnTo>
                      <a:pt x="53335" y="523807"/>
                    </a:lnTo>
                    <a:lnTo>
                      <a:pt x="55608" y="524565"/>
                    </a:lnTo>
                    <a:lnTo>
                      <a:pt x="57578" y="526231"/>
                    </a:lnTo>
                    <a:lnTo>
                      <a:pt x="58639" y="526686"/>
                    </a:lnTo>
                    <a:lnTo>
                      <a:pt x="59851" y="526231"/>
                    </a:lnTo>
                    <a:lnTo>
                      <a:pt x="59245" y="524413"/>
                    </a:lnTo>
                    <a:lnTo>
                      <a:pt x="60154" y="523201"/>
                    </a:lnTo>
                    <a:lnTo>
                      <a:pt x="64396" y="521534"/>
                    </a:lnTo>
                    <a:lnTo>
                      <a:pt x="69245" y="521383"/>
                    </a:lnTo>
                    <a:lnTo>
                      <a:pt x="74094" y="520625"/>
                    </a:lnTo>
                    <a:lnTo>
                      <a:pt x="73791" y="518201"/>
                    </a:lnTo>
                    <a:lnTo>
                      <a:pt x="73033" y="515928"/>
                    </a:lnTo>
                    <a:lnTo>
                      <a:pt x="70760" y="514261"/>
                    </a:lnTo>
                    <a:lnTo>
                      <a:pt x="70912" y="513049"/>
                    </a:lnTo>
                    <a:lnTo>
                      <a:pt x="70760" y="510019"/>
                    </a:lnTo>
                    <a:lnTo>
                      <a:pt x="71518" y="507897"/>
                    </a:lnTo>
                    <a:lnTo>
                      <a:pt x="71063" y="505473"/>
                    </a:lnTo>
                    <a:close/>
                    <a:moveTo>
                      <a:pt x="52123" y="762301"/>
                    </a:moveTo>
                    <a:lnTo>
                      <a:pt x="47578" y="763058"/>
                    </a:lnTo>
                    <a:lnTo>
                      <a:pt x="47729" y="762149"/>
                    </a:lnTo>
                    <a:lnTo>
                      <a:pt x="49244" y="759876"/>
                    </a:lnTo>
                    <a:lnTo>
                      <a:pt x="53941" y="756543"/>
                    </a:lnTo>
                    <a:lnTo>
                      <a:pt x="56366" y="754270"/>
                    </a:lnTo>
                    <a:lnTo>
                      <a:pt x="53487" y="752906"/>
                    </a:lnTo>
                    <a:lnTo>
                      <a:pt x="52426" y="751846"/>
                    </a:lnTo>
                    <a:lnTo>
                      <a:pt x="51669" y="752755"/>
                    </a:lnTo>
                    <a:lnTo>
                      <a:pt x="50456" y="754725"/>
                    </a:lnTo>
                    <a:lnTo>
                      <a:pt x="48941" y="756240"/>
                    </a:lnTo>
                    <a:lnTo>
                      <a:pt x="46971" y="757300"/>
                    </a:lnTo>
                    <a:lnTo>
                      <a:pt x="45759" y="755482"/>
                    </a:lnTo>
                    <a:lnTo>
                      <a:pt x="45456" y="751997"/>
                    </a:lnTo>
                    <a:lnTo>
                      <a:pt x="44244" y="751543"/>
                    </a:lnTo>
                    <a:lnTo>
                      <a:pt x="42577" y="751694"/>
                    </a:lnTo>
                    <a:lnTo>
                      <a:pt x="39395" y="752755"/>
                    </a:lnTo>
                    <a:lnTo>
                      <a:pt x="35910" y="753361"/>
                    </a:lnTo>
                    <a:lnTo>
                      <a:pt x="34244" y="754118"/>
                    </a:lnTo>
                    <a:lnTo>
                      <a:pt x="32880" y="755482"/>
                    </a:lnTo>
                    <a:lnTo>
                      <a:pt x="32122" y="756694"/>
                    </a:lnTo>
                    <a:lnTo>
                      <a:pt x="31971" y="757755"/>
                    </a:lnTo>
                    <a:lnTo>
                      <a:pt x="32425" y="758816"/>
                    </a:lnTo>
                    <a:lnTo>
                      <a:pt x="33335" y="759876"/>
                    </a:lnTo>
                    <a:lnTo>
                      <a:pt x="34547" y="760482"/>
                    </a:lnTo>
                    <a:lnTo>
                      <a:pt x="36062" y="760482"/>
                    </a:lnTo>
                    <a:lnTo>
                      <a:pt x="38335" y="760937"/>
                    </a:lnTo>
                    <a:lnTo>
                      <a:pt x="41365" y="761846"/>
                    </a:lnTo>
                    <a:lnTo>
                      <a:pt x="42274" y="762604"/>
                    </a:lnTo>
                    <a:lnTo>
                      <a:pt x="40608" y="763664"/>
                    </a:lnTo>
                    <a:lnTo>
                      <a:pt x="40456" y="765180"/>
                    </a:lnTo>
                    <a:lnTo>
                      <a:pt x="40153" y="765331"/>
                    </a:lnTo>
                    <a:lnTo>
                      <a:pt x="39547" y="765028"/>
                    </a:lnTo>
                    <a:lnTo>
                      <a:pt x="38032" y="763210"/>
                    </a:lnTo>
                    <a:lnTo>
                      <a:pt x="34698" y="763210"/>
                    </a:lnTo>
                    <a:lnTo>
                      <a:pt x="34092" y="764876"/>
                    </a:lnTo>
                    <a:lnTo>
                      <a:pt x="32728" y="765634"/>
                    </a:lnTo>
                    <a:lnTo>
                      <a:pt x="31516" y="769725"/>
                    </a:lnTo>
                    <a:lnTo>
                      <a:pt x="29698" y="770937"/>
                    </a:lnTo>
                    <a:lnTo>
                      <a:pt x="23637" y="773059"/>
                    </a:lnTo>
                    <a:lnTo>
                      <a:pt x="20758" y="774725"/>
                    </a:lnTo>
                    <a:lnTo>
                      <a:pt x="17728" y="775028"/>
                    </a:lnTo>
                    <a:lnTo>
                      <a:pt x="15758" y="775634"/>
                    </a:lnTo>
                    <a:lnTo>
                      <a:pt x="13031" y="777453"/>
                    </a:lnTo>
                    <a:lnTo>
                      <a:pt x="13788" y="778362"/>
                    </a:lnTo>
                    <a:lnTo>
                      <a:pt x="16819" y="779877"/>
                    </a:lnTo>
                    <a:lnTo>
                      <a:pt x="17879" y="779877"/>
                    </a:lnTo>
                    <a:lnTo>
                      <a:pt x="18940" y="779422"/>
                    </a:lnTo>
                    <a:lnTo>
                      <a:pt x="20910" y="779271"/>
                    </a:lnTo>
                    <a:lnTo>
                      <a:pt x="22122" y="778665"/>
                    </a:lnTo>
                    <a:lnTo>
                      <a:pt x="23486" y="777453"/>
                    </a:lnTo>
                    <a:lnTo>
                      <a:pt x="24849" y="776847"/>
                    </a:lnTo>
                    <a:lnTo>
                      <a:pt x="26062" y="776847"/>
                    </a:lnTo>
                    <a:lnTo>
                      <a:pt x="27122" y="776544"/>
                    </a:lnTo>
                    <a:lnTo>
                      <a:pt x="27880" y="775786"/>
                    </a:lnTo>
                    <a:lnTo>
                      <a:pt x="31062" y="774422"/>
                    </a:lnTo>
                    <a:lnTo>
                      <a:pt x="36365" y="772907"/>
                    </a:lnTo>
                    <a:lnTo>
                      <a:pt x="39395" y="772756"/>
                    </a:lnTo>
                    <a:lnTo>
                      <a:pt x="41668" y="771846"/>
                    </a:lnTo>
                    <a:lnTo>
                      <a:pt x="43486" y="769574"/>
                    </a:lnTo>
                    <a:lnTo>
                      <a:pt x="48487" y="766846"/>
                    </a:lnTo>
                    <a:lnTo>
                      <a:pt x="50608" y="765331"/>
                    </a:lnTo>
                    <a:lnTo>
                      <a:pt x="53032" y="764573"/>
                    </a:lnTo>
                    <a:lnTo>
                      <a:pt x="54244" y="763664"/>
                    </a:lnTo>
                    <a:lnTo>
                      <a:pt x="53487" y="762907"/>
                    </a:lnTo>
                    <a:lnTo>
                      <a:pt x="52123" y="762301"/>
                    </a:lnTo>
                    <a:close/>
                    <a:moveTo>
                      <a:pt x="58487" y="758058"/>
                    </a:moveTo>
                    <a:lnTo>
                      <a:pt x="57578" y="758513"/>
                    </a:lnTo>
                    <a:lnTo>
                      <a:pt x="56366" y="759876"/>
                    </a:lnTo>
                    <a:lnTo>
                      <a:pt x="55911" y="760482"/>
                    </a:lnTo>
                    <a:lnTo>
                      <a:pt x="55911" y="761391"/>
                    </a:lnTo>
                    <a:lnTo>
                      <a:pt x="56669" y="762301"/>
                    </a:lnTo>
                    <a:lnTo>
                      <a:pt x="57123" y="762149"/>
                    </a:lnTo>
                    <a:lnTo>
                      <a:pt x="57881" y="760937"/>
                    </a:lnTo>
                    <a:lnTo>
                      <a:pt x="59093" y="759725"/>
                    </a:lnTo>
                    <a:lnTo>
                      <a:pt x="60002" y="758058"/>
                    </a:lnTo>
                    <a:lnTo>
                      <a:pt x="59548" y="757755"/>
                    </a:lnTo>
                    <a:lnTo>
                      <a:pt x="58487" y="758058"/>
                    </a:lnTo>
                    <a:close/>
                    <a:moveTo>
                      <a:pt x="12576" y="770331"/>
                    </a:moveTo>
                    <a:lnTo>
                      <a:pt x="8334" y="768513"/>
                    </a:lnTo>
                    <a:lnTo>
                      <a:pt x="5909" y="768513"/>
                    </a:lnTo>
                    <a:lnTo>
                      <a:pt x="2576" y="769422"/>
                    </a:lnTo>
                    <a:lnTo>
                      <a:pt x="0" y="770634"/>
                    </a:lnTo>
                    <a:lnTo>
                      <a:pt x="455" y="780332"/>
                    </a:lnTo>
                    <a:lnTo>
                      <a:pt x="8788" y="776392"/>
                    </a:lnTo>
                    <a:lnTo>
                      <a:pt x="11516" y="774877"/>
                    </a:lnTo>
                    <a:lnTo>
                      <a:pt x="12122" y="773059"/>
                    </a:lnTo>
                    <a:lnTo>
                      <a:pt x="13182" y="771240"/>
                    </a:lnTo>
                    <a:lnTo>
                      <a:pt x="12576" y="770331"/>
                    </a:lnTo>
                    <a:close/>
                    <a:moveTo>
                      <a:pt x="141066" y="724572"/>
                    </a:moveTo>
                    <a:lnTo>
                      <a:pt x="139702" y="723663"/>
                    </a:lnTo>
                    <a:lnTo>
                      <a:pt x="137278" y="723057"/>
                    </a:lnTo>
                    <a:lnTo>
                      <a:pt x="135611" y="722451"/>
                    </a:lnTo>
                    <a:lnTo>
                      <a:pt x="134399" y="721238"/>
                    </a:lnTo>
                    <a:lnTo>
                      <a:pt x="131672" y="714875"/>
                    </a:lnTo>
                    <a:lnTo>
                      <a:pt x="130762" y="713511"/>
                    </a:lnTo>
                    <a:lnTo>
                      <a:pt x="129550" y="712602"/>
                    </a:lnTo>
                    <a:lnTo>
                      <a:pt x="128035" y="712147"/>
                    </a:lnTo>
                    <a:lnTo>
                      <a:pt x="122580" y="712147"/>
                    </a:lnTo>
                    <a:lnTo>
                      <a:pt x="120914" y="712602"/>
                    </a:lnTo>
                    <a:lnTo>
                      <a:pt x="113338" y="715784"/>
                    </a:lnTo>
                    <a:lnTo>
                      <a:pt x="109853" y="717905"/>
                    </a:lnTo>
                    <a:lnTo>
                      <a:pt x="105762" y="717450"/>
                    </a:lnTo>
                    <a:lnTo>
                      <a:pt x="104246" y="717753"/>
                    </a:lnTo>
                    <a:lnTo>
                      <a:pt x="102883" y="718814"/>
                    </a:lnTo>
                    <a:lnTo>
                      <a:pt x="98034" y="725936"/>
                    </a:lnTo>
                    <a:lnTo>
                      <a:pt x="96822" y="726996"/>
                    </a:lnTo>
                    <a:lnTo>
                      <a:pt x="93034" y="729118"/>
                    </a:lnTo>
                    <a:lnTo>
                      <a:pt x="92579" y="730633"/>
                    </a:lnTo>
                    <a:lnTo>
                      <a:pt x="92579" y="731542"/>
                    </a:lnTo>
                    <a:lnTo>
                      <a:pt x="93640" y="734724"/>
                    </a:lnTo>
                    <a:lnTo>
                      <a:pt x="94852" y="736391"/>
                    </a:lnTo>
                    <a:lnTo>
                      <a:pt x="96973" y="736845"/>
                    </a:lnTo>
                    <a:lnTo>
                      <a:pt x="101216" y="736997"/>
                    </a:lnTo>
                    <a:lnTo>
                      <a:pt x="104701" y="736087"/>
                    </a:lnTo>
                    <a:lnTo>
                      <a:pt x="106368" y="735330"/>
                    </a:lnTo>
                    <a:lnTo>
                      <a:pt x="107883" y="733966"/>
                    </a:lnTo>
                    <a:lnTo>
                      <a:pt x="110913" y="730633"/>
                    </a:lnTo>
                    <a:lnTo>
                      <a:pt x="112580" y="729421"/>
                    </a:lnTo>
                    <a:lnTo>
                      <a:pt x="115307" y="728815"/>
                    </a:lnTo>
                    <a:lnTo>
                      <a:pt x="128793" y="728663"/>
                    </a:lnTo>
                    <a:lnTo>
                      <a:pt x="130156" y="728208"/>
                    </a:lnTo>
                    <a:lnTo>
                      <a:pt x="134853" y="724572"/>
                    </a:lnTo>
                    <a:lnTo>
                      <a:pt x="142430" y="727148"/>
                    </a:lnTo>
                    <a:lnTo>
                      <a:pt x="142278" y="726542"/>
                    </a:lnTo>
                    <a:lnTo>
                      <a:pt x="141066" y="724572"/>
                    </a:lnTo>
                    <a:close/>
                    <a:moveTo>
                      <a:pt x="69093" y="746088"/>
                    </a:moveTo>
                    <a:lnTo>
                      <a:pt x="65608" y="744118"/>
                    </a:lnTo>
                    <a:lnTo>
                      <a:pt x="63639" y="743967"/>
                    </a:lnTo>
                    <a:lnTo>
                      <a:pt x="61517" y="744724"/>
                    </a:lnTo>
                    <a:lnTo>
                      <a:pt x="60305" y="745482"/>
                    </a:lnTo>
                    <a:lnTo>
                      <a:pt x="59851" y="746391"/>
                    </a:lnTo>
                    <a:lnTo>
                      <a:pt x="60002" y="747603"/>
                    </a:lnTo>
                    <a:lnTo>
                      <a:pt x="61214" y="749876"/>
                    </a:lnTo>
                    <a:lnTo>
                      <a:pt x="61820" y="750179"/>
                    </a:lnTo>
                    <a:lnTo>
                      <a:pt x="64699" y="749724"/>
                    </a:lnTo>
                    <a:lnTo>
                      <a:pt x="65305" y="750027"/>
                    </a:lnTo>
                    <a:lnTo>
                      <a:pt x="66215" y="749876"/>
                    </a:lnTo>
                    <a:lnTo>
                      <a:pt x="67275" y="749270"/>
                    </a:lnTo>
                    <a:lnTo>
                      <a:pt x="70154" y="748815"/>
                    </a:lnTo>
                    <a:lnTo>
                      <a:pt x="71366" y="748058"/>
                    </a:lnTo>
                    <a:lnTo>
                      <a:pt x="71063" y="747300"/>
                    </a:lnTo>
                    <a:lnTo>
                      <a:pt x="69093" y="746088"/>
                    </a:lnTo>
                    <a:close/>
                    <a:moveTo>
                      <a:pt x="1235349" y="950944"/>
                    </a:moveTo>
                    <a:lnTo>
                      <a:pt x="1236561" y="951550"/>
                    </a:lnTo>
                    <a:lnTo>
                      <a:pt x="1239440" y="952308"/>
                    </a:lnTo>
                    <a:lnTo>
                      <a:pt x="1238682" y="951095"/>
                    </a:lnTo>
                    <a:lnTo>
                      <a:pt x="1238379" y="949732"/>
                    </a:lnTo>
                    <a:lnTo>
                      <a:pt x="1235955" y="947156"/>
                    </a:lnTo>
                    <a:lnTo>
                      <a:pt x="1234591" y="947459"/>
                    </a:lnTo>
                    <a:lnTo>
                      <a:pt x="1234440" y="948216"/>
                    </a:lnTo>
                    <a:lnTo>
                      <a:pt x="1234894" y="950338"/>
                    </a:lnTo>
                    <a:lnTo>
                      <a:pt x="1235349" y="950944"/>
                    </a:lnTo>
                    <a:close/>
                    <a:moveTo>
                      <a:pt x="154400" y="734421"/>
                    </a:moveTo>
                    <a:lnTo>
                      <a:pt x="149551" y="733209"/>
                    </a:lnTo>
                    <a:lnTo>
                      <a:pt x="149854" y="735027"/>
                    </a:lnTo>
                    <a:lnTo>
                      <a:pt x="151975" y="736542"/>
                    </a:lnTo>
                    <a:lnTo>
                      <a:pt x="154551" y="737451"/>
                    </a:lnTo>
                    <a:lnTo>
                      <a:pt x="156976" y="736694"/>
                    </a:lnTo>
                    <a:lnTo>
                      <a:pt x="155460" y="735027"/>
                    </a:lnTo>
                    <a:lnTo>
                      <a:pt x="154400" y="734421"/>
                    </a:lnTo>
                    <a:close/>
                    <a:moveTo>
                      <a:pt x="76670" y="743512"/>
                    </a:moveTo>
                    <a:lnTo>
                      <a:pt x="75457" y="741542"/>
                    </a:lnTo>
                    <a:lnTo>
                      <a:pt x="75003" y="741088"/>
                    </a:lnTo>
                    <a:lnTo>
                      <a:pt x="73942" y="741239"/>
                    </a:lnTo>
                    <a:lnTo>
                      <a:pt x="72124" y="742148"/>
                    </a:lnTo>
                    <a:lnTo>
                      <a:pt x="73033" y="744724"/>
                    </a:lnTo>
                    <a:lnTo>
                      <a:pt x="73185" y="746694"/>
                    </a:lnTo>
                    <a:lnTo>
                      <a:pt x="73488" y="747149"/>
                    </a:lnTo>
                    <a:lnTo>
                      <a:pt x="74700" y="746694"/>
                    </a:lnTo>
                    <a:lnTo>
                      <a:pt x="77276" y="745027"/>
                    </a:lnTo>
                    <a:lnTo>
                      <a:pt x="78942" y="744421"/>
                    </a:lnTo>
                    <a:lnTo>
                      <a:pt x="78033" y="743967"/>
                    </a:lnTo>
                    <a:lnTo>
                      <a:pt x="76670" y="743512"/>
                    </a:lnTo>
                    <a:close/>
                    <a:moveTo>
                      <a:pt x="2311147" y="1039129"/>
                    </a:moveTo>
                    <a:lnTo>
                      <a:pt x="2313722" y="1039583"/>
                    </a:lnTo>
                    <a:lnTo>
                      <a:pt x="2317662" y="1039583"/>
                    </a:lnTo>
                    <a:lnTo>
                      <a:pt x="2319632" y="1038977"/>
                    </a:lnTo>
                    <a:lnTo>
                      <a:pt x="2320238" y="1037917"/>
                    </a:lnTo>
                    <a:lnTo>
                      <a:pt x="2319935" y="1037159"/>
                    </a:lnTo>
                    <a:lnTo>
                      <a:pt x="2319177" y="1036856"/>
                    </a:lnTo>
                    <a:lnTo>
                      <a:pt x="2317813" y="1034886"/>
                    </a:lnTo>
                    <a:lnTo>
                      <a:pt x="2317056" y="1034280"/>
                    </a:lnTo>
                    <a:lnTo>
                      <a:pt x="2314935" y="1033977"/>
                    </a:lnTo>
                    <a:lnTo>
                      <a:pt x="2314480" y="1034280"/>
                    </a:lnTo>
                    <a:lnTo>
                      <a:pt x="2314935" y="1035189"/>
                    </a:lnTo>
                    <a:lnTo>
                      <a:pt x="2314783" y="1035644"/>
                    </a:lnTo>
                    <a:lnTo>
                      <a:pt x="2313874" y="1036250"/>
                    </a:lnTo>
                    <a:lnTo>
                      <a:pt x="2312207" y="1037159"/>
                    </a:lnTo>
                    <a:lnTo>
                      <a:pt x="2310995" y="1037311"/>
                    </a:lnTo>
                    <a:lnTo>
                      <a:pt x="2310237" y="1036856"/>
                    </a:lnTo>
                    <a:lnTo>
                      <a:pt x="2309631" y="1036856"/>
                    </a:lnTo>
                    <a:lnTo>
                      <a:pt x="2309480" y="1037765"/>
                    </a:lnTo>
                    <a:lnTo>
                      <a:pt x="2309783" y="1038220"/>
                    </a:lnTo>
                    <a:lnTo>
                      <a:pt x="2311147" y="1039129"/>
                    </a:lnTo>
                    <a:close/>
                    <a:moveTo>
                      <a:pt x="2301601" y="1026553"/>
                    </a:moveTo>
                    <a:lnTo>
                      <a:pt x="2300994" y="1026553"/>
                    </a:lnTo>
                    <a:lnTo>
                      <a:pt x="2300843" y="1027310"/>
                    </a:lnTo>
                    <a:lnTo>
                      <a:pt x="2301146" y="1028068"/>
                    </a:lnTo>
                    <a:lnTo>
                      <a:pt x="2302510" y="1029431"/>
                    </a:lnTo>
                    <a:lnTo>
                      <a:pt x="2302964" y="1029280"/>
                    </a:lnTo>
                    <a:lnTo>
                      <a:pt x="2303116" y="1028825"/>
                    </a:lnTo>
                    <a:lnTo>
                      <a:pt x="2302964" y="1028068"/>
                    </a:lnTo>
                    <a:lnTo>
                      <a:pt x="2302510" y="1027310"/>
                    </a:lnTo>
                    <a:lnTo>
                      <a:pt x="2301601" y="1026553"/>
                    </a:lnTo>
                    <a:close/>
                    <a:moveTo>
                      <a:pt x="164855" y="714723"/>
                    </a:moveTo>
                    <a:lnTo>
                      <a:pt x="164097" y="714723"/>
                    </a:lnTo>
                    <a:lnTo>
                      <a:pt x="160309" y="716693"/>
                    </a:lnTo>
                    <a:lnTo>
                      <a:pt x="160764" y="718057"/>
                    </a:lnTo>
                    <a:lnTo>
                      <a:pt x="161521" y="718966"/>
                    </a:lnTo>
                    <a:lnTo>
                      <a:pt x="163339" y="720178"/>
                    </a:lnTo>
                    <a:lnTo>
                      <a:pt x="163945" y="720026"/>
                    </a:lnTo>
                    <a:lnTo>
                      <a:pt x="164703" y="719269"/>
                    </a:lnTo>
                    <a:lnTo>
                      <a:pt x="165764" y="716844"/>
                    </a:lnTo>
                    <a:lnTo>
                      <a:pt x="165612" y="715784"/>
                    </a:lnTo>
                    <a:lnTo>
                      <a:pt x="164855" y="714723"/>
                    </a:lnTo>
                    <a:close/>
                    <a:moveTo>
                      <a:pt x="2300540" y="1024583"/>
                    </a:moveTo>
                    <a:lnTo>
                      <a:pt x="2301146" y="1025340"/>
                    </a:lnTo>
                    <a:lnTo>
                      <a:pt x="2301904" y="1025795"/>
                    </a:lnTo>
                    <a:lnTo>
                      <a:pt x="2302813" y="1025947"/>
                    </a:lnTo>
                    <a:lnTo>
                      <a:pt x="2302813" y="1025189"/>
                    </a:lnTo>
                    <a:lnTo>
                      <a:pt x="2301904" y="1023522"/>
                    </a:lnTo>
                    <a:lnTo>
                      <a:pt x="2301904" y="1021855"/>
                    </a:lnTo>
                    <a:lnTo>
                      <a:pt x="2302661" y="1020340"/>
                    </a:lnTo>
                    <a:lnTo>
                      <a:pt x="2302510" y="1019431"/>
                    </a:lnTo>
                    <a:lnTo>
                      <a:pt x="2301449" y="1019128"/>
                    </a:lnTo>
                    <a:lnTo>
                      <a:pt x="2300540" y="1019280"/>
                    </a:lnTo>
                    <a:lnTo>
                      <a:pt x="2298873" y="1020946"/>
                    </a:lnTo>
                    <a:lnTo>
                      <a:pt x="2299934" y="1022462"/>
                    </a:lnTo>
                    <a:lnTo>
                      <a:pt x="2300540" y="1024583"/>
                    </a:lnTo>
                    <a:close/>
                    <a:moveTo>
                      <a:pt x="2522063" y="1095949"/>
                    </a:moveTo>
                    <a:lnTo>
                      <a:pt x="2522972" y="1095343"/>
                    </a:lnTo>
                    <a:lnTo>
                      <a:pt x="2523124" y="1095040"/>
                    </a:lnTo>
                    <a:lnTo>
                      <a:pt x="2521912" y="1095040"/>
                    </a:lnTo>
                    <a:lnTo>
                      <a:pt x="2521154" y="1095495"/>
                    </a:lnTo>
                    <a:lnTo>
                      <a:pt x="2521003" y="1095798"/>
                    </a:lnTo>
                    <a:lnTo>
                      <a:pt x="2521154" y="1096252"/>
                    </a:lnTo>
                    <a:lnTo>
                      <a:pt x="2522063" y="1095949"/>
                    </a:lnTo>
                    <a:close/>
                    <a:moveTo>
                      <a:pt x="1242167" y="947913"/>
                    </a:moveTo>
                    <a:lnTo>
                      <a:pt x="1242319" y="947307"/>
                    </a:lnTo>
                    <a:lnTo>
                      <a:pt x="1241864" y="945489"/>
                    </a:lnTo>
                    <a:lnTo>
                      <a:pt x="1242470" y="945641"/>
                    </a:lnTo>
                    <a:lnTo>
                      <a:pt x="1243683" y="946853"/>
                    </a:lnTo>
                    <a:lnTo>
                      <a:pt x="1244440" y="946701"/>
                    </a:lnTo>
                    <a:lnTo>
                      <a:pt x="1245501" y="945944"/>
                    </a:lnTo>
                    <a:lnTo>
                      <a:pt x="1245198" y="945186"/>
                    </a:lnTo>
                    <a:lnTo>
                      <a:pt x="1242016" y="943822"/>
                    </a:lnTo>
                    <a:lnTo>
                      <a:pt x="1241410" y="943974"/>
                    </a:lnTo>
                    <a:lnTo>
                      <a:pt x="1239743" y="944883"/>
                    </a:lnTo>
                    <a:lnTo>
                      <a:pt x="1238985" y="945792"/>
                    </a:lnTo>
                    <a:lnTo>
                      <a:pt x="1239440" y="946701"/>
                    </a:lnTo>
                    <a:lnTo>
                      <a:pt x="1242167" y="947913"/>
                    </a:lnTo>
                    <a:close/>
                    <a:moveTo>
                      <a:pt x="408803" y="603052"/>
                    </a:moveTo>
                    <a:lnTo>
                      <a:pt x="410318" y="604265"/>
                    </a:lnTo>
                    <a:lnTo>
                      <a:pt x="411076" y="604567"/>
                    </a:lnTo>
                    <a:lnTo>
                      <a:pt x="411833" y="603507"/>
                    </a:lnTo>
                    <a:lnTo>
                      <a:pt x="410470" y="601689"/>
                    </a:lnTo>
                    <a:lnTo>
                      <a:pt x="408955" y="600325"/>
                    </a:lnTo>
                    <a:lnTo>
                      <a:pt x="405318" y="598810"/>
                    </a:lnTo>
                    <a:lnTo>
                      <a:pt x="404257" y="599416"/>
                    </a:lnTo>
                    <a:lnTo>
                      <a:pt x="404409" y="600022"/>
                    </a:lnTo>
                    <a:lnTo>
                      <a:pt x="405773" y="601386"/>
                    </a:lnTo>
                    <a:lnTo>
                      <a:pt x="408803" y="603052"/>
                    </a:lnTo>
                    <a:close/>
                    <a:moveTo>
                      <a:pt x="2180081" y="995945"/>
                    </a:moveTo>
                    <a:lnTo>
                      <a:pt x="2179929" y="997461"/>
                    </a:lnTo>
                    <a:lnTo>
                      <a:pt x="2181142" y="998521"/>
                    </a:lnTo>
                    <a:lnTo>
                      <a:pt x="2184930" y="999279"/>
                    </a:lnTo>
                    <a:lnTo>
                      <a:pt x="2185081" y="998824"/>
                    </a:lnTo>
                    <a:lnTo>
                      <a:pt x="2184930" y="998521"/>
                    </a:lnTo>
                    <a:lnTo>
                      <a:pt x="2184323" y="998218"/>
                    </a:lnTo>
                    <a:lnTo>
                      <a:pt x="2185384" y="996855"/>
                    </a:lnTo>
                    <a:lnTo>
                      <a:pt x="2185687" y="997461"/>
                    </a:lnTo>
                    <a:lnTo>
                      <a:pt x="2185536" y="998976"/>
                    </a:lnTo>
                    <a:lnTo>
                      <a:pt x="2184778" y="1000037"/>
                    </a:lnTo>
                    <a:lnTo>
                      <a:pt x="2184021" y="1000794"/>
                    </a:lnTo>
                    <a:lnTo>
                      <a:pt x="2184021" y="1001855"/>
                    </a:lnTo>
                    <a:lnTo>
                      <a:pt x="2184778" y="1003067"/>
                    </a:lnTo>
                    <a:lnTo>
                      <a:pt x="2185839" y="1002764"/>
                    </a:lnTo>
                    <a:lnTo>
                      <a:pt x="2187051" y="1000946"/>
                    </a:lnTo>
                    <a:lnTo>
                      <a:pt x="2190384" y="998067"/>
                    </a:lnTo>
                    <a:lnTo>
                      <a:pt x="2190233" y="997461"/>
                    </a:lnTo>
                    <a:lnTo>
                      <a:pt x="2190687" y="996400"/>
                    </a:lnTo>
                    <a:lnTo>
                      <a:pt x="2196294" y="992612"/>
                    </a:lnTo>
                    <a:lnTo>
                      <a:pt x="2197354" y="991400"/>
                    </a:lnTo>
                    <a:lnTo>
                      <a:pt x="2197203" y="990945"/>
                    </a:lnTo>
                    <a:lnTo>
                      <a:pt x="2195991" y="990339"/>
                    </a:lnTo>
                    <a:lnTo>
                      <a:pt x="2196142" y="990188"/>
                    </a:lnTo>
                    <a:lnTo>
                      <a:pt x="2202506" y="989582"/>
                    </a:lnTo>
                    <a:lnTo>
                      <a:pt x="2203870" y="988824"/>
                    </a:lnTo>
                    <a:lnTo>
                      <a:pt x="2202506" y="987612"/>
                    </a:lnTo>
                    <a:lnTo>
                      <a:pt x="2200233" y="987006"/>
                    </a:lnTo>
                    <a:lnTo>
                      <a:pt x="2197051" y="987006"/>
                    </a:lnTo>
                    <a:lnTo>
                      <a:pt x="2193869" y="987460"/>
                    </a:lnTo>
                    <a:lnTo>
                      <a:pt x="2188111" y="989279"/>
                    </a:lnTo>
                    <a:lnTo>
                      <a:pt x="2186142" y="990339"/>
                    </a:lnTo>
                    <a:lnTo>
                      <a:pt x="2181596" y="994430"/>
                    </a:lnTo>
                    <a:lnTo>
                      <a:pt x="2180081" y="995945"/>
                    </a:lnTo>
                    <a:close/>
                    <a:moveTo>
                      <a:pt x="2164777" y="972157"/>
                    </a:moveTo>
                    <a:lnTo>
                      <a:pt x="2164020" y="973217"/>
                    </a:lnTo>
                    <a:lnTo>
                      <a:pt x="2164171" y="973975"/>
                    </a:lnTo>
                    <a:lnTo>
                      <a:pt x="2165232" y="974430"/>
                    </a:lnTo>
                    <a:lnTo>
                      <a:pt x="2167353" y="974127"/>
                    </a:lnTo>
                    <a:lnTo>
                      <a:pt x="2170384" y="973066"/>
                    </a:lnTo>
                    <a:lnTo>
                      <a:pt x="2171444" y="972611"/>
                    </a:lnTo>
                    <a:lnTo>
                      <a:pt x="2171596" y="972308"/>
                    </a:lnTo>
                    <a:lnTo>
                      <a:pt x="2170535" y="972157"/>
                    </a:lnTo>
                    <a:lnTo>
                      <a:pt x="2170687" y="971551"/>
                    </a:lnTo>
                    <a:lnTo>
                      <a:pt x="2171899" y="971248"/>
                    </a:lnTo>
                    <a:lnTo>
                      <a:pt x="2179778" y="967611"/>
                    </a:lnTo>
                    <a:lnTo>
                      <a:pt x="2180687" y="966551"/>
                    </a:lnTo>
                    <a:lnTo>
                      <a:pt x="2180535" y="965944"/>
                    </a:lnTo>
                    <a:lnTo>
                      <a:pt x="2180990" y="965187"/>
                    </a:lnTo>
                    <a:lnTo>
                      <a:pt x="2183566" y="963217"/>
                    </a:lnTo>
                    <a:lnTo>
                      <a:pt x="2183111" y="962914"/>
                    </a:lnTo>
                    <a:lnTo>
                      <a:pt x="2180687" y="963520"/>
                    </a:lnTo>
                    <a:lnTo>
                      <a:pt x="2176141" y="965490"/>
                    </a:lnTo>
                    <a:lnTo>
                      <a:pt x="2165383" y="970793"/>
                    </a:lnTo>
                    <a:lnTo>
                      <a:pt x="2164171" y="971551"/>
                    </a:lnTo>
                    <a:lnTo>
                      <a:pt x="2164020" y="972005"/>
                    </a:lnTo>
                    <a:lnTo>
                      <a:pt x="2164929" y="972005"/>
                    </a:lnTo>
                    <a:lnTo>
                      <a:pt x="2164777" y="972157"/>
                    </a:lnTo>
                    <a:close/>
                    <a:moveTo>
                      <a:pt x="1242773" y="949580"/>
                    </a:moveTo>
                    <a:lnTo>
                      <a:pt x="1242319" y="949429"/>
                    </a:lnTo>
                    <a:lnTo>
                      <a:pt x="1241561" y="949883"/>
                    </a:lnTo>
                    <a:lnTo>
                      <a:pt x="1240955" y="951701"/>
                    </a:lnTo>
                    <a:lnTo>
                      <a:pt x="1241258" y="952611"/>
                    </a:lnTo>
                    <a:lnTo>
                      <a:pt x="1242167" y="953368"/>
                    </a:lnTo>
                    <a:lnTo>
                      <a:pt x="1243683" y="953823"/>
                    </a:lnTo>
                    <a:lnTo>
                      <a:pt x="1244137" y="953520"/>
                    </a:lnTo>
                    <a:lnTo>
                      <a:pt x="1244289" y="952762"/>
                    </a:lnTo>
                    <a:lnTo>
                      <a:pt x="1242925" y="951095"/>
                    </a:lnTo>
                    <a:lnTo>
                      <a:pt x="1242773" y="949580"/>
                    </a:lnTo>
                    <a:close/>
                    <a:moveTo>
                      <a:pt x="311224" y="1802036"/>
                    </a:moveTo>
                    <a:lnTo>
                      <a:pt x="310315" y="1801429"/>
                    </a:lnTo>
                    <a:lnTo>
                      <a:pt x="308951" y="1801732"/>
                    </a:lnTo>
                    <a:lnTo>
                      <a:pt x="303193" y="1800975"/>
                    </a:lnTo>
                    <a:lnTo>
                      <a:pt x="302132" y="1800520"/>
                    </a:lnTo>
                    <a:lnTo>
                      <a:pt x="301981" y="1801884"/>
                    </a:lnTo>
                    <a:lnTo>
                      <a:pt x="301223" y="1802642"/>
                    </a:lnTo>
                    <a:lnTo>
                      <a:pt x="300920" y="1803702"/>
                    </a:lnTo>
                    <a:lnTo>
                      <a:pt x="308345" y="1804157"/>
                    </a:lnTo>
                    <a:lnTo>
                      <a:pt x="312739" y="1805369"/>
                    </a:lnTo>
                    <a:lnTo>
                      <a:pt x="315769" y="1804005"/>
                    </a:lnTo>
                    <a:lnTo>
                      <a:pt x="316678" y="1802490"/>
                    </a:lnTo>
                    <a:lnTo>
                      <a:pt x="315921" y="1802187"/>
                    </a:lnTo>
                    <a:lnTo>
                      <a:pt x="311224" y="1802036"/>
                    </a:lnTo>
                    <a:close/>
                    <a:moveTo>
                      <a:pt x="376832" y="652600"/>
                    </a:moveTo>
                    <a:lnTo>
                      <a:pt x="373953" y="654115"/>
                    </a:lnTo>
                    <a:lnTo>
                      <a:pt x="371074" y="656388"/>
                    </a:lnTo>
                    <a:lnTo>
                      <a:pt x="370165" y="657600"/>
                    </a:lnTo>
                    <a:lnTo>
                      <a:pt x="369711" y="658812"/>
                    </a:lnTo>
                    <a:lnTo>
                      <a:pt x="369862" y="659570"/>
                    </a:lnTo>
                    <a:lnTo>
                      <a:pt x="370468" y="659873"/>
                    </a:lnTo>
                    <a:lnTo>
                      <a:pt x="372287" y="658963"/>
                    </a:lnTo>
                    <a:lnTo>
                      <a:pt x="376984" y="655630"/>
                    </a:lnTo>
                    <a:lnTo>
                      <a:pt x="378802" y="653660"/>
                    </a:lnTo>
                    <a:lnTo>
                      <a:pt x="378347" y="652751"/>
                    </a:lnTo>
                    <a:lnTo>
                      <a:pt x="376832" y="652600"/>
                    </a:lnTo>
                    <a:close/>
                    <a:moveTo>
                      <a:pt x="347134" y="683964"/>
                    </a:moveTo>
                    <a:lnTo>
                      <a:pt x="348195" y="682752"/>
                    </a:lnTo>
                    <a:lnTo>
                      <a:pt x="348195" y="680176"/>
                    </a:lnTo>
                    <a:lnTo>
                      <a:pt x="347892" y="678813"/>
                    </a:lnTo>
                    <a:lnTo>
                      <a:pt x="347437" y="678661"/>
                    </a:lnTo>
                    <a:lnTo>
                      <a:pt x="346680" y="679116"/>
                    </a:lnTo>
                    <a:lnTo>
                      <a:pt x="343498" y="682298"/>
                    </a:lnTo>
                    <a:lnTo>
                      <a:pt x="343952" y="683358"/>
                    </a:lnTo>
                    <a:lnTo>
                      <a:pt x="345164" y="683813"/>
                    </a:lnTo>
                    <a:lnTo>
                      <a:pt x="347134" y="683964"/>
                    </a:lnTo>
                    <a:close/>
                    <a:moveTo>
                      <a:pt x="336528" y="1814006"/>
                    </a:moveTo>
                    <a:lnTo>
                      <a:pt x="335770" y="1812945"/>
                    </a:lnTo>
                    <a:lnTo>
                      <a:pt x="333497" y="1811581"/>
                    </a:lnTo>
                    <a:lnTo>
                      <a:pt x="332285" y="1810369"/>
                    </a:lnTo>
                    <a:lnTo>
                      <a:pt x="328800" y="1808551"/>
                    </a:lnTo>
                    <a:lnTo>
                      <a:pt x="326679" y="1808854"/>
                    </a:lnTo>
                    <a:lnTo>
                      <a:pt x="323800" y="1809612"/>
                    </a:lnTo>
                    <a:lnTo>
                      <a:pt x="323042" y="1809157"/>
                    </a:lnTo>
                    <a:lnTo>
                      <a:pt x="321830" y="1807490"/>
                    </a:lnTo>
                    <a:lnTo>
                      <a:pt x="320315" y="1806278"/>
                    </a:lnTo>
                    <a:lnTo>
                      <a:pt x="318345" y="1806581"/>
                    </a:lnTo>
                    <a:lnTo>
                      <a:pt x="317133" y="1808551"/>
                    </a:lnTo>
                    <a:lnTo>
                      <a:pt x="317285" y="1809915"/>
                    </a:lnTo>
                    <a:lnTo>
                      <a:pt x="319254" y="1812187"/>
                    </a:lnTo>
                    <a:lnTo>
                      <a:pt x="321224" y="1813096"/>
                    </a:lnTo>
                    <a:lnTo>
                      <a:pt x="323042" y="1812793"/>
                    </a:lnTo>
                    <a:lnTo>
                      <a:pt x="323951" y="1815521"/>
                    </a:lnTo>
                    <a:lnTo>
                      <a:pt x="324254" y="1818097"/>
                    </a:lnTo>
                    <a:lnTo>
                      <a:pt x="325012" y="1818400"/>
                    </a:lnTo>
                    <a:lnTo>
                      <a:pt x="327739" y="1818551"/>
                    </a:lnTo>
                    <a:lnTo>
                      <a:pt x="329861" y="1817642"/>
                    </a:lnTo>
                    <a:lnTo>
                      <a:pt x="333346" y="1817188"/>
                    </a:lnTo>
                    <a:lnTo>
                      <a:pt x="335922" y="1815218"/>
                    </a:lnTo>
                    <a:lnTo>
                      <a:pt x="336528" y="1814006"/>
                    </a:lnTo>
                    <a:close/>
                    <a:moveTo>
                      <a:pt x="364862" y="1845522"/>
                    </a:moveTo>
                    <a:lnTo>
                      <a:pt x="363801" y="1843098"/>
                    </a:lnTo>
                    <a:lnTo>
                      <a:pt x="361680" y="1842643"/>
                    </a:lnTo>
                    <a:lnTo>
                      <a:pt x="361074" y="1839007"/>
                    </a:lnTo>
                    <a:lnTo>
                      <a:pt x="358044" y="1835673"/>
                    </a:lnTo>
                    <a:lnTo>
                      <a:pt x="346528" y="1830824"/>
                    </a:lnTo>
                    <a:lnTo>
                      <a:pt x="340770" y="1827643"/>
                    </a:lnTo>
                    <a:lnTo>
                      <a:pt x="339558" y="1828097"/>
                    </a:lnTo>
                    <a:lnTo>
                      <a:pt x="339104" y="1830673"/>
                    </a:lnTo>
                    <a:lnTo>
                      <a:pt x="341073" y="1835067"/>
                    </a:lnTo>
                    <a:lnTo>
                      <a:pt x="338649" y="1838400"/>
                    </a:lnTo>
                    <a:lnTo>
                      <a:pt x="336528" y="1840219"/>
                    </a:lnTo>
                    <a:lnTo>
                      <a:pt x="334861" y="1842492"/>
                    </a:lnTo>
                    <a:lnTo>
                      <a:pt x="337134" y="1847037"/>
                    </a:lnTo>
                    <a:lnTo>
                      <a:pt x="339255" y="1852946"/>
                    </a:lnTo>
                    <a:lnTo>
                      <a:pt x="338800" y="1860219"/>
                    </a:lnTo>
                    <a:lnTo>
                      <a:pt x="339407" y="1861735"/>
                    </a:lnTo>
                    <a:lnTo>
                      <a:pt x="344861" y="1864613"/>
                    </a:lnTo>
                    <a:lnTo>
                      <a:pt x="346376" y="1864765"/>
                    </a:lnTo>
                    <a:lnTo>
                      <a:pt x="347589" y="1863401"/>
                    </a:lnTo>
                    <a:lnTo>
                      <a:pt x="348801" y="1860674"/>
                    </a:lnTo>
                    <a:lnTo>
                      <a:pt x="355013" y="1856431"/>
                    </a:lnTo>
                    <a:lnTo>
                      <a:pt x="361983" y="1854765"/>
                    </a:lnTo>
                    <a:lnTo>
                      <a:pt x="367589" y="1850977"/>
                    </a:lnTo>
                    <a:lnTo>
                      <a:pt x="368802" y="1849007"/>
                    </a:lnTo>
                    <a:lnTo>
                      <a:pt x="367741" y="1847795"/>
                    </a:lnTo>
                    <a:lnTo>
                      <a:pt x="364862" y="1845522"/>
                    </a:lnTo>
                    <a:close/>
                    <a:moveTo>
                      <a:pt x="434410" y="611538"/>
                    </a:moveTo>
                    <a:lnTo>
                      <a:pt x="432440" y="609265"/>
                    </a:lnTo>
                    <a:lnTo>
                      <a:pt x="432289" y="608053"/>
                    </a:lnTo>
                    <a:lnTo>
                      <a:pt x="434107" y="606083"/>
                    </a:lnTo>
                    <a:lnTo>
                      <a:pt x="434259" y="605174"/>
                    </a:lnTo>
                    <a:lnTo>
                      <a:pt x="433804" y="604416"/>
                    </a:lnTo>
                    <a:lnTo>
                      <a:pt x="431531" y="603355"/>
                    </a:lnTo>
                    <a:lnTo>
                      <a:pt x="428652" y="603507"/>
                    </a:lnTo>
                    <a:lnTo>
                      <a:pt x="426531" y="604113"/>
                    </a:lnTo>
                    <a:lnTo>
                      <a:pt x="422288" y="606386"/>
                    </a:lnTo>
                    <a:lnTo>
                      <a:pt x="421228" y="606689"/>
                    </a:lnTo>
                    <a:lnTo>
                      <a:pt x="421076" y="604567"/>
                    </a:lnTo>
                    <a:lnTo>
                      <a:pt x="422440" y="601689"/>
                    </a:lnTo>
                    <a:lnTo>
                      <a:pt x="419864" y="600173"/>
                    </a:lnTo>
                    <a:lnTo>
                      <a:pt x="413955" y="598810"/>
                    </a:lnTo>
                    <a:lnTo>
                      <a:pt x="412137" y="599416"/>
                    </a:lnTo>
                    <a:lnTo>
                      <a:pt x="413652" y="601234"/>
                    </a:lnTo>
                    <a:lnTo>
                      <a:pt x="413500" y="602446"/>
                    </a:lnTo>
                    <a:lnTo>
                      <a:pt x="412743" y="603052"/>
                    </a:lnTo>
                    <a:lnTo>
                      <a:pt x="412743" y="604719"/>
                    </a:lnTo>
                    <a:lnTo>
                      <a:pt x="412288" y="605628"/>
                    </a:lnTo>
                    <a:lnTo>
                      <a:pt x="411379" y="605780"/>
                    </a:lnTo>
                    <a:lnTo>
                      <a:pt x="408500" y="605174"/>
                    </a:lnTo>
                    <a:lnTo>
                      <a:pt x="407591" y="605477"/>
                    </a:lnTo>
                    <a:lnTo>
                      <a:pt x="406682" y="606234"/>
                    </a:lnTo>
                    <a:lnTo>
                      <a:pt x="405773" y="607446"/>
                    </a:lnTo>
                    <a:lnTo>
                      <a:pt x="404864" y="608053"/>
                    </a:lnTo>
                    <a:lnTo>
                      <a:pt x="403803" y="608053"/>
                    </a:lnTo>
                    <a:lnTo>
                      <a:pt x="402591" y="606840"/>
                    </a:lnTo>
                    <a:lnTo>
                      <a:pt x="400015" y="603052"/>
                    </a:lnTo>
                    <a:lnTo>
                      <a:pt x="399106" y="602446"/>
                    </a:lnTo>
                    <a:lnTo>
                      <a:pt x="397136" y="602143"/>
                    </a:lnTo>
                    <a:lnTo>
                      <a:pt x="396075" y="602295"/>
                    </a:lnTo>
                    <a:lnTo>
                      <a:pt x="395166" y="602749"/>
                    </a:lnTo>
                    <a:lnTo>
                      <a:pt x="393499" y="604416"/>
                    </a:lnTo>
                    <a:lnTo>
                      <a:pt x="393499" y="605628"/>
                    </a:lnTo>
                    <a:lnTo>
                      <a:pt x="394257" y="606992"/>
                    </a:lnTo>
                    <a:lnTo>
                      <a:pt x="396227" y="608659"/>
                    </a:lnTo>
                    <a:lnTo>
                      <a:pt x="399409" y="610628"/>
                    </a:lnTo>
                    <a:lnTo>
                      <a:pt x="399409" y="611841"/>
                    </a:lnTo>
                    <a:lnTo>
                      <a:pt x="396378" y="611538"/>
                    </a:lnTo>
                    <a:lnTo>
                      <a:pt x="395318" y="611992"/>
                    </a:lnTo>
                    <a:lnTo>
                      <a:pt x="395924" y="613507"/>
                    </a:lnTo>
                    <a:lnTo>
                      <a:pt x="396530" y="619568"/>
                    </a:lnTo>
                    <a:lnTo>
                      <a:pt x="397591" y="622598"/>
                    </a:lnTo>
                    <a:lnTo>
                      <a:pt x="399409" y="625023"/>
                    </a:lnTo>
                    <a:lnTo>
                      <a:pt x="397591" y="624265"/>
                    </a:lnTo>
                    <a:lnTo>
                      <a:pt x="396227" y="622902"/>
                    </a:lnTo>
                    <a:lnTo>
                      <a:pt x="394106" y="619720"/>
                    </a:lnTo>
                    <a:lnTo>
                      <a:pt x="392287" y="616083"/>
                    </a:lnTo>
                    <a:lnTo>
                      <a:pt x="390621" y="615022"/>
                    </a:lnTo>
                    <a:lnTo>
                      <a:pt x="390469" y="614568"/>
                    </a:lnTo>
                    <a:lnTo>
                      <a:pt x="391075" y="613810"/>
                    </a:lnTo>
                    <a:lnTo>
                      <a:pt x="390166" y="612144"/>
                    </a:lnTo>
                    <a:lnTo>
                      <a:pt x="387742" y="611386"/>
                    </a:lnTo>
                    <a:lnTo>
                      <a:pt x="386075" y="611386"/>
                    </a:lnTo>
                    <a:lnTo>
                      <a:pt x="383348" y="611841"/>
                    </a:lnTo>
                    <a:lnTo>
                      <a:pt x="380469" y="613659"/>
                    </a:lnTo>
                    <a:lnTo>
                      <a:pt x="376378" y="614871"/>
                    </a:lnTo>
                    <a:lnTo>
                      <a:pt x="372590" y="619265"/>
                    </a:lnTo>
                    <a:lnTo>
                      <a:pt x="371529" y="622447"/>
                    </a:lnTo>
                    <a:lnTo>
                      <a:pt x="371680" y="623659"/>
                    </a:lnTo>
                    <a:lnTo>
                      <a:pt x="375468" y="628811"/>
                    </a:lnTo>
                    <a:lnTo>
                      <a:pt x="377438" y="635478"/>
                    </a:lnTo>
                    <a:lnTo>
                      <a:pt x="381832" y="640023"/>
                    </a:lnTo>
                    <a:lnTo>
                      <a:pt x="383954" y="640326"/>
                    </a:lnTo>
                    <a:lnTo>
                      <a:pt x="385469" y="638357"/>
                    </a:lnTo>
                    <a:lnTo>
                      <a:pt x="386075" y="636690"/>
                    </a:lnTo>
                    <a:lnTo>
                      <a:pt x="385923" y="635478"/>
                    </a:lnTo>
                    <a:lnTo>
                      <a:pt x="385469" y="634417"/>
                    </a:lnTo>
                    <a:lnTo>
                      <a:pt x="384711" y="633508"/>
                    </a:lnTo>
                    <a:lnTo>
                      <a:pt x="383954" y="633053"/>
                    </a:lnTo>
                    <a:lnTo>
                      <a:pt x="380923" y="633205"/>
                    </a:lnTo>
                    <a:lnTo>
                      <a:pt x="381075" y="632750"/>
                    </a:lnTo>
                    <a:lnTo>
                      <a:pt x="382438" y="631841"/>
                    </a:lnTo>
                    <a:lnTo>
                      <a:pt x="384711" y="631387"/>
                    </a:lnTo>
                    <a:lnTo>
                      <a:pt x="387742" y="631538"/>
                    </a:lnTo>
                    <a:lnTo>
                      <a:pt x="389711" y="631841"/>
                    </a:lnTo>
                    <a:lnTo>
                      <a:pt x="390469" y="632296"/>
                    </a:lnTo>
                    <a:lnTo>
                      <a:pt x="390772" y="632750"/>
                    </a:lnTo>
                    <a:lnTo>
                      <a:pt x="389257" y="634569"/>
                    </a:lnTo>
                    <a:lnTo>
                      <a:pt x="388651" y="636084"/>
                    </a:lnTo>
                    <a:lnTo>
                      <a:pt x="389105" y="636084"/>
                    </a:lnTo>
                    <a:lnTo>
                      <a:pt x="391378" y="634872"/>
                    </a:lnTo>
                    <a:lnTo>
                      <a:pt x="394712" y="636690"/>
                    </a:lnTo>
                    <a:lnTo>
                      <a:pt x="396833" y="636841"/>
                    </a:lnTo>
                    <a:lnTo>
                      <a:pt x="397136" y="637144"/>
                    </a:lnTo>
                    <a:lnTo>
                      <a:pt x="389560" y="643811"/>
                    </a:lnTo>
                    <a:lnTo>
                      <a:pt x="389560" y="644418"/>
                    </a:lnTo>
                    <a:lnTo>
                      <a:pt x="390014" y="645024"/>
                    </a:lnTo>
                    <a:lnTo>
                      <a:pt x="390621" y="645478"/>
                    </a:lnTo>
                    <a:lnTo>
                      <a:pt x="392136" y="645630"/>
                    </a:lnTo>
                    <a:lnTo>
                      <a:pt x="398045" y="642296"/>
                    </a:lnTo>
                    <a:lnTo>
                      <a:pt x="401227" y="638357"/>
                    </a:lnTo>
                    <a:lnTo>
                      <a:pt x="401530" y="637448"/>
                    </a:lnTo>
                    <a:lnTo>
                      <a:pt x="401530" y="636387"/>
                    </a:lnTo>
                    <a:lnTo>
                      <a:pt x="401227" y="635629"/>
                    </a:lnTo>
                    <a:lnTo>
                      <a:pt x="398803" y="634720"/>
                    </a:lnTo>
                    <a:lnTo>
                      <a:pt x="402742" y="633660"/>
                    </a:lnTo>
                    <a:lnTo>
                      <a:pt x="404560" y="632599"/>
                    </a:lnTo>
                    <a:lnTo>
                      <a:pt x="405167" y="631235"/>
                    </a:lnTo>
                    <a:lnTo>
                      <a:pt x="406833" y="630023"/>
                    </a:lnTo>
                    <a:lnTo>
                      <a:pt x="411530" y="627750"/>
                    </a:lnTo>
                    <a:lnTo>
                      <a:pt x="417591" y="627296"/>
                    </a:lnTo>
                    <a:lnTo>
                      <a:pt x="419258" y="625629"/>
                    </a:lnTo>
                    <a:lnTo>
                      <a:pt x="422288" y="624114"/>
                    </a:lnTo>
                    <a:lnTo>
                      <a:pt x="424713" y="624114"/>
                    </a:lnTo>
                    <a:lnTo>
                      <a:pt x="426834" y="623659"/>
                    </a:lnTo>
                    <a:lnTo>
                      <a:pt x="427743" y="623053"/>
                    </a:lnTo>
                    <a:lnTo>
                      <a:pt x="427440" y="621689"/>
                    </a:lnTo>
                    <a:lnTo>
                      <a:pt x="426682" y="620477"/>
                    </a:lnTo>
                    <a:lnTo>
                      <a:pt x="425016" y="618810"/>
                    </a:lnTo>
                    <a:lnTo>
                      <a:pt x="420167" y="618507"/>
                    </a:lnTo>
                    <a:lnTo>
                      <a:pt x="419106" y="618204"/>
                    </a:lnTo>
                    <a:lnTo>
                      <a:pt x="420622" y="616992"/>
                    </a:lnTo>
                    <a:lnTo>
                      <a:pt x="421379" y="616538"/>
                    </a:lnTo>
                    <a:lnTo>
                      <a:pt x="423652" y="616689"/>
                    </a:lnTo>
                    <a:lnTo>
                      <a:pt x="429107" y="617901"/>
                    </a:lnTo>
                    <a:lnTo>
                      <a:pt x="435168" y="618507"/>
                    </a:lnTo>
                    <a:lnTo>
                      <a:pt x="436077" y="618356"/>
                    </a:lnTo>
                    <a:lnTo>
                      <a:pt x="437289" y="617447"/>
                    </a:lnTo>
                    <a:lnTo>
                      <a:pt x="440622" y="613659"/>
                    </a:lnTo>
                    <a:lnTo>
                      <a:pt x="440622" y="612901"/>
                    </a:lnTo>
                    <a:lnTo>
                      <a:pt x="440016" y="612295"/>
                    </a:lnTo>
                    <a:lnTo>
                      <a:pt x="434410" y="611538"/>
                    </a:lnTo>
                    <a:close/>
                    <a:moveTo>
                      <a:pt x="210917" y="702298"/>
                    </a:moveTo>
                    <a:lnTo>
                      <a:pt x="211826" y="700177"/>
                    </a:lnTo>
                    <a:lnTo>
                      <a:pt x="211826" y="699571"/>
                    </a:lnTo>
                    <a:lnTo>
                      <a:pt x="211068" y="699723"/>
                    </a:lnTo>
                    <a:lnTo>
                      <a:pt x="209250" y="701844"/>
                    </a:lnTo>
                    <a:lnTo>
                      <a:pt x="208341" y="702147"/>
                    </a:lnTo>
                    <a:lnTo>
                      <a:pt x="207887" y="702147"/>
                    </a:lnTo>
                    <a:lnTo>
                      <a:pt x="208341" y="700480"/>
                    </a:lnTo>
                    <a:lnTo>
                      <a:pt x="208190" y="699723"/>
                    </a:lnTo>
                    <a:lnTo>
                      <a:pt x="207583" y="698965"/>
                    </a:lnTo>
                    <a:lnTo>
                      <a:pt x="206826" y="698662"/>
                    </a:lnTo>
                    <a:lnTo>
                      <a:pt x="205008" y="699419"/>
                    </a:lnTo>
                    <a:lnTo>
                      <a:pt x="203644" y="701238"/>
                    </a:lnTo>
                    <a:lnTo>
                      <a:pt x="203492" y="702147"/>
                    </a:lnTo>
                    <a:lnTo>
                      <a:pt x="204098" y="707450"/>
                    </a:lnTo>
                    <a:lnTo>
                      <a:pt x="204856" y="708511"/>
                    </a:lnTo>
                    <a:lnTo>
                      <a:pt x="206068" y="707450"/>
                    </a:lnTo>
                    <a:lnTo>
                      <a:pt x="207432" y="707147"/>
                    </a:lnTo>
                    <a:lnTo>
                      <a:pt x="210008" y="707905"/>
                    </a:lnTo>
                    <a:lnTo>
                      <a:pt x="213341" y="706996"/>
                    </a:lnTo>
                    <a:lnTo>
                      <a:pt x="213493" y="706541"/>
                    </a:lnTo>
                    <a:lnTo>
                      <a:pt x="212129" y="705177"/>
                    </a:lnTo>
                    <a:lnTo>
                      <a:pt x="210917" y="702298"/>
                    </a:lnTo>
                    <a:close/>
                    <a:moveTo>
                      <a:pt x="420167" y="630478"/>
                    </a:moveTo>
                    <a:lnTo>
                      <a:pt x="410621" y="629720"/>
                    </a:lnTo>
                    <a:lnTo>
                      <a:pt x="408803" y="631841"/>
                    </a:lnTo>
                    <a:lnTo>
                      <a:pt x="408045" y="634872"/>
                    </a:lnTo>
                    <a:lnTo>
                      <a:pt x="410167" y="636841"/>
                    </a:lnTo>
                    <a:lnTo>
                      <a:pt x="411833" y="635781"/>
                    </a:lnTo>
                    <a:lnTo>
                      <a:pt x="413955" y="633205"/>
                    </a:lnTo>
                    <a:lnTo>
                      <a:pt x="414561" y="633205"/>
                    </a:lnTo>
                    <a:lnTo>
                      <a:pt x="418046" y="631993"/>
                    </a:lnTo>
                    <a:lnTo>
                      <a:pt x="420016" y="631841"/>
                    </a:lnTo>
                    <a:lnTo>
                      <a:pt x="420773" y="631387"/>
                    </a:lnTo>
                    <a:lnTo>
                      <a:pt x="420773" y="630932"/>
                    </a:lnTo>
                    <a:lnTo>
                      <a:pt x="420167" y="630478"/>
                    </a:lnTo>
                    <a:close/>
                    <a:moveTo>
                      <a:pt x="385014" y="652297"/>
                    </a:moveTo>
                    <a:lnTo>
                      <a:pt x="382135" y="653812"/>
                    </a:lnTo>
                    <a:lnTo>
                      <a:pt x="381832" y="655024"/>
                    </a:lnTo>
                    <a:lnTo>
                      <a:pt x="383802" y="656085"/>
                    </a:lnTo>
                    <a:lnTo>
                      <a:pt x="385166" y="655933"/>
                    </a:lnTo>
                    <a:lnTo>
                      <a:pt x="386833" y="655327"/>
                    </a:lnTo>
                    <a:lnTo>
                      <a:pt x="387742" y="654721"/>
                    </a:lnTo>
                    <a:lnTo>
                      <a:pt x="388045" y="654115"/>
                    </a:lnTo>
                    <a:lnTo>
                      <a:pt x="388196" y="653206"/>
                    </a:lnTo>
                    <a:lnTo>
                      <a:pt x="388045" y="652448"/>
                    </a:lnTo>
                    <a:lnTo>
                      <a:pt x="385014" y="652297"/>
                    </a:lnTo>
                    <a:close/>
                    <a:moveTo>
                      <a:pt x="230312" y="704117"/>
                    </a:moveTo>
                    <a:lnTo>
                      <a:pt x="229857" y="703814"/>
                    </a:lnTo>
                    <a:lnTo>
                      <a:pt x="228948" y="703965"/>
                    </a:lnTo>
                    <a:lnTo>
                      <a:pt x="227281" y="706693"/>
                    </a:lnTo>
                    <a:lnTo>
                      <a:pt x="225766" y="706844"/>
                    </a:lnTo>
                    <a:lnTo>
                      <a:pt x="224099" y="709117"/>
                    </a:lnTo>
                    <a:lnTo>
                      <a:pt x="223190" y="709571"/>
                    </a:lnTo>
                    <a:lnTo>
                      <a:pt x="222129" y="709420"/>
                    </a:lnTo>
                    <a:lnTo>
                      <a:pt x="222736" y="711996"/>
                    </a:lnTo>
                    <a:lnTo>
                      <a:pt x="222736" y="712753"/>
                    </a:lnTo>
                    <a:lnTo>
                      <a:pt x="222432" y="713814"/>
                    </a:lnTo>
                    <a:lnTo>
                      <a:pt x="220766" y="717147"/>
                    </a:lnTo>
                    <a:lnTo>
                      <a:pt x="222281" y="716390"/>
                    </a:lnTo>
                    <a:lnTo>
                      <a:pt x="225917" y="712450"/>
                    </a:lnTo>
                    <a:lnTo>
                      <a:pt x="226978" y="711541"/>
                    </a:lnTo>
                    <a:lnTo>
                      <a:pt x="228190" y="711087"/>
                    </a:lnTo>
                    <a:lnTo>
                      <a:pt x="228645" y="710026"/>
                    </a:lnTo>
                    <a:lnTo>
                      <a:pt x="230312" y="709117"/>
                    </a:lnTo>
                    <a:lnTo>
                      <a:pt x="230766" y="708511"/>
                    </a:lnTo>
                    <a:lnTo>
                      <a:pt x="231221" y="707147"/>
                    </a:lnTo>
                    <a:lnTo>
                      <a:pt x="229554" y="705632"/>
                    </a:lnTo>
                    <a:lnTo>
                      <a:pt x="230312" y="704117"/>
                    </a:lnTo>
                    <a:close/>
                    <a:moveTo>
                      <a:pt x="222281" y="1780217"/>
                    </a:moveTo>
                    <a:lnTo>
                      <a:pt x="220766" y="1781580"/>
                    </a:lnTo>
                    <a:lnTo>
                      <a:pt x="220160" y="1783095"/>
                    </a:lnTo>
                    <a:lnTo>
                      <a:pt x="220463" y="1784156"/>
                    </a:lnTo>
                    <a:lnTo>
                      <a:pt x="221372" y="1784308"/>
                    </a:lnTo>
                    <a:lnTo>
                      <a:pt x="221978" y="1783095"/>
                    </a:lnTo>
                    <a:lnTo>
                      <a:pt x="222736" y="1782035"/>
                    </a:lnTo>
                    <a:lnTo>
                      <a:pt x="224705" y="1781277"/>
                    </a:lnTo>
                    <a:lnTo>
                      <a:pt x="224857" y="1779762"/>
                    </a:lnTo>
                    <a:lnTo>
                      <a:pt x="225614" y="1778398"/>
                    </a:lnTo>
                    <a:lnTo>
                      <a:pt x="224251" y="1778095"/>
                    </a:lnTo>
                    <a:lnTo>
                      <a:pt x="222281" y="1780217"/>
                    </a:lnTo>
                    <a:close/>
                    <a:moveTo>
                      <a:pt x="213341" y="700632"/>
                    </a:moveTo>
                    <a:lnTo>
                      <a:pt x="212735" y="701389"/>
                    </a:lnTo>
                    <a:lnTo>
                      <a:pt x="213796" y="702298"/>
                    </a:lnTo>
                    <a:lnTo>
                      <a:pt x="217584" y="704268"/>
                    </a:lnTo>
                    <a:lnTo>
                      <a:pt x="218038" y="701238"/>
                    </a:lnTo>
                    <a:lnTo>
                      <a:pt x="217129" y="700480"/>
                    </a:lnTo>
                    <a:lnTo>
                      <a:pt x="213341" y="700632"/>
                    </a:lnTo>
                    <a:close/>
                    <a:moveTo>
                      <a:pt x="244555" y="1772337"/>
                    </a:moveTo>
                    <a:lnTo>
                      <a:pt x="238342" y="1772186"/>
                    </a:lnTo>
                    <a:lnTo>
                      <a:pt x="234251" y="1774610"/>
                    </a:lnTo>
                    <a:lnTo>
                      <a:pt x="232584" y="1777489"/>
                    </a:lnTo>
                    <a:lnTo>
                      <a:pt x="233645" y="1779004"/>
                    </a:lnTo>
                    <a:lnTo>
                      <a:pt x="236372" y="1780065"/>
                    </a:lnTo>
                    <a:lnTo>
                      <a:pt x="237433" y="1781277"/>
                    </a:lnTo>
                    <a:lnTo>
                      <a:pt x="240160" y="1781580"/>
                    </a:lnTo>
                    <a:lnTo>
                      <a:pt x="241524" y="1782338"/>
                    </a:lnTo>
                    <a:lnTo>
                      <a:pt x="243948" y="1780671"/>
                    </a:lnTo>
                    <a:lnTo>
                      <a:pt x="244706" y="1779459"/>
                    </a:lnTo>
                    <a:lnTo>
                      <a:pt x="245009" y="1777186"/>
                    </a:lnTo>
                    <a:lnTo>
                      <a:pt x="245767" y="1775671"/>
                    </a:lnTo>
                    <a:lnTo>
                      <a:pt x="245615" y="1774307"/>
                    </a:lnTo>
                    <a:lnTo>
                      <a:pt x="244555" y="1772337"/>
                    </a:lnTo>
                    <a:close/>
                    <a:moveTo>
                      <a:pt x="243342" y="715329"/>
                    </a:moveTo>
                    <a:lnTo>
                      <a:pt x="244251" y="715178"/>
                    </a:lnTo>
                    <a:lnTo>
                      <a:pt x="244251" y="714117"/>
                    </a:lnTo>
                    <a:lnTo>
                      <a:pt x="243494" y="712602"/>
                    </a:lnTo>
                    <a:lnTo>
                      <a:pt x="241524" y="711844"/>
                    </a:lnTo>
                    <a:lnTo>
                      <a:pt x="241676" y="712753"/>
                    </a:lnTo>
                    <a:lnTo>
                      <a:pt x="242736" y="714875"/>
                    </a:lnTo>
                    <a:lnTo>
                      <a:pt x="243342" y="715329"/>
                    </a:lnTo>
                    <a:close/>
                    <a:moveTo>
                      <a:pt x="237282" y="711844"/>
                    </a:moveTo>
                    <a:lnTo>
                      <a:pt x="238797" y="710935"/>
                    </a:lnTo>
                    <a:lnTo>
                      <a:pt x="239554" y="711693"/>
                    </a:lnTo>
                    <a:lnTo>
                      <a:pt x="240009" y="711238"/>
                    </a:lnTo>
                    <a:lnTo>
                      <a:pt x="240160" y="708208"/>
                    </a:lnTo>
                    <a:lnTo>
                      <a:pt x="239403" y="705329"/>
                    </a:lnTo>
                    <a:lnTo>
                      <a:pt x="238645" y="705632"/>
                    </a:lnTo>
                    <a:lnTo>
                      <a:pt x="238039" y="706996"/>
                    </a:lnTo>
                    <a:lnTo>
                      <a:pt x="238191" y="707602"/>
                    </a:lnTo>
                    <a:lnTo>
                      <a:pt x="237888" y="709117"/>
                    </a:lnTo>
                    <a:lnTo>
                      <a:pt x="236675" y="709117"/>
                    </a:lnTo>
                    <a:lnTo>
                      <a:pt x="236827" y="709874"/>
                    </a:lnTo>
                    <a:lnTo>
                      <a:pt x="236524" y="710935"/>
                    </a:lnTo>
                    <a:lnTo>
                      <a:pt x="237282" y="711844"/>
                    </a:lnTo>
                    <a:close/>
                    <a:moveTo>
                      <a:pt x="289556" y="1796278"/>
                    </a:moveTo>
                    <a:lnTo>
                      <a:pt x="289102" y="1794005"/>
                    </a:lnTo>
                    <a:lnTo>
                      <a:pt x="287889" y="1794156"/>
                    </a:lnTo>
                    <a:lnTo>
                      <a:pt x="286980" y="1794005"/>
                    </a:lnTo>
                    <a:lnTo>
                      <a:pt x="286223" y="1793702"/>
                    </a:lnTo>
                    <a:lnTo>
                      <a:pt x="285617" y="1792490"/>
                    </a:lnTo>
                    <a:lnTo>
                      <a:pt x="285768" y="1791277"/>
                    </a:lnTo>
                    <a:lnTo>
                      <a:pt x="282738" y="1787035"/>
                    </a:lnTo>
                    <a:lnTo>
                      <a:pt x="281223" y="1787338"/>
                    </a:lnTo>
                    <a:lnTo>
                      <a:pt x="278344" y="1789914"/>
                    </a:lnTo>
                    <a:lnTo>
                      <a:pt x="274253" y="1790368"/>
                    </a:lnTo>
                    <a:lnTo>
                      <a:pt x="275162" y="1791884"/>
                    </a:lnTo>
                    <a:lnTo>
                      <a:pt x="275162" y="1793096"/>
                    </a:lnTo>
                    <a:lnTo>
                      <a:pt x="277889" y="1796278"/>
                    </a:lnTo>
                    <a:lnTo>
                      <a:pt x="278647" y="1797944"/>
                    </a:lnTo>
                    <a:lnTo>
                      <a:pt x="279556" y="1798096"/>
                    </a:lnTo>
                    <a:lnTo>
                      <a:pt x="282283" y="1797944"/>
                    </a:lnTo>
                    <a:lnTo>
                      <a:pt x="281223" y="1796429"/>
                    </a:lnTo>
                    <a:lnTo>
                      <a:pt x="282283" y="1796126"/>
                    </a:lnTo>
                    <a:lnTo>
                      <a:pt x="282586" y="1796429"/>
                    </a:lnTo>
                    <a:lnTo>
                      <a:pt x="282889" y="1797641"/>
                    </a:lnTo>
                    <a:lnTo>
                      <a:pt x="284405" y="1797187"/>
                    </a:lnTo>
                    <a:lnTo>
                      <a:pt x="285768" y="1798551"/>
                    </a:lnTo>
                    <a:lnTo>
                      <a:pt x="287132" y="1799157"/>
                    </a:lnTo>
                    <a:lnTo>
                      <a:pt x="290011" y="1798853"/>
                    </a:lnTo>
                    <a:lnTo>
                      <a:pt x="291526" y="1798096"/>
                    </a:lnTo>
                    <a:lnTo>
                      <a:pt x="291071" y="1797338"/>
                    </a:lnTo>
                    <a:lnTo>
                      <a:pt x="289556" y="1796278"/>
                    </a:lnTo>
                    <a:close/>
                    <a:moveTo>
                      <a:pt x="312133" y="1809763"/>
                    </a:moveTo>
                    <a:lnTo>
                      <a:pt x="310466" y="1809005"/>
                    </a:lnTo>
                    <a:lnTo>
                      <a:pt x="307436" y="1809460"/>
                    </a:lnTo>
                    <a:lnTo>
                      <a:pt x="309102" y="1811884"/>
                    </a:lnTo>
                    <a:lnTo>
                      <a:pt x="309557" y="1813854"/>
                    </a:lnTo>
                    <a:lnTo>
                      <a:pt x="311375" y="1814157"/>
                    </a:lnTo>
                    <a:lnTo>
                      <a:pt x="313042" y="1813400"/>
                    </a:lnTo>
                    <a:lnTo>
                      <a:pt x="314103" y="1811733"/>
                    </a:lnTo>
                    <a:lnTo>
                      <a:pt x="313042" y="1810369"/>
                    </a:lnTo>
                    <a:lnTo>
                      <a:pt x="312133" y="1809763"/>
                    </a:lnTo>
                    <a:close/>
                    <a:moveTo>
                      <a:pt x="1335504" y="1446720"/>
                    </a:moveTo>
                    <a:lnTo>
                      <a:pt x="1334292" y="1446568"/>
                    </a:lnTo>
                    <a:lnTo>
                      <a:pt x="1332928" y="1446720"/>
                    </a:lnTo>
                    <a:lnTo>
                      <a:pt x="1333837" y="1448386"/>
                    </a:lnTo>
                    <a:lnTo>
                      <a:pt x="1335504" y="1448689"/>
                    </a:lnTo>
                    <a:lnTo>
                      <a:pt x="1336716" y="1448689"/>
                    </a:lnTo>
                    <a:lnTo>
                      <a:pt x="1336565" y="1448235"/>
                    </a:lnTo>
                    <a:lnTo>
                      <a:pt x="1335504" y="1446720"/>
                    </a:lnTo>
                    <a:close/>
                    <a:moveTo>
                      <a:pt x="2518881" y="1104283"/>
                    </a:moveTo>
                    <a:lnTo>
                      <a:pt x="2518124" y="1104434"/>
                    </a:lnTo>
                    <a:lnTo>
                      <a:pt x="2517669" y="1104889"/>
                    </a:lnTo>
                    <a:lnTo>
                      <a:pt x="2517669" y="1105646"/>
                    </a:lnTo>
                    <a:lnTo>
                      <a:pt x="2518124" y="1105495"/>
                    </a:lnTo>
                    <a:lnTo>
                      <a:pt x="2519033" y="1104586"/>
                    </a:lnTo>
                    <a:lnTo>
                      <a:pt x="2518881" y="1104283"/>
                    </a:lnTo>
                    <a:close/>
                    <a:moveTo>
                      <a:pt x="2223870" y="1063827"/>
                    </a:moveTo>
                    <a:lnTo>
                      <a:pt x="2224325" y="1063372"/>
                    </a:lnTo>
                    <a:lnTo>
                      <a:pt x="2224477" y="1062160"/>
                    </a:lnTo>
                    <a:lnTo>
                      <a:pt x="2224022" y="1061402"/>
                    </a:lnTo>
                    <a:lnTo>
                      <a:pt x="2222810" y="1061099"/>
                    </a:lnTo>
                    <a:lnTo>
                      <a:pt x="2221749" y="1061857"/>
                    </a:lnTo>
                    <a:lnTo>
                      <a:pt x="2220840" y="1063675"/>
                    </a:lnTo>
                    <a:lnTo>
                      <a:pt x="2219628" y="1064887"/>
                    </a:lnTo>
                    <a:lnTo>
                      <a:pt x="2218113" y="1065342"/>
                    </a:lnTo>
                    <a:lnTo>
                      <a:pt x="2217052" y="1066554"/>
                    </a:lnTo>
                    <a:lnTo>
                      <a:pt x="2216446" y="1068524"/>
                    </a:lnTo>
                    <a:lnTo>
                      <a:pt x="2215385" y="1070191"/>
                    </a:lnTo>
                    <a:lnTo>
                      <a:pt x="2213113" y="1072766"/>
                    </a:lnTo>
                    <a:lnTo>
                      <a:pt x="2212961" y="1073524"/>
                    </a:lnTo>
                    <a:lnTo>
                      <a:pt x="2213113" y="1074585"/>
                    </a:lnTo>
                    <a:lnTo>
                      <a:pt x="2213567" y="1075948"/>
                    </a:lnTo>
                    <a:lnTo>
                      <a:pt x="2214325" y="1076858"/>
                    </a:lnTo>
                    <a:lnTo>
                      <a:pt x="2215385" y="1077312"/>
                    </a:lnTo>
                    <a:lnTo>
                      <a:pt x="2216294" y="1077009"/>
                    </a:lnTo>
                    <a:lnTo>
                      <a:pt x="2218870" y="1074130"/>
                    </a:lnTo>
                    <a:lnTo>
                      <a:pt x="2219173" y="1073524"/>
                    </a:lnTo>
                    <a:lnTo>
                      <a:pt x="2218870" y="1073221"/>
                    </a:lnTo>
                    <a:lnTo>
                      <a:pt x="2219173" y="1072160"/>
                    </a:lnTo>
                    <a:lnTo>
                      <a:pt x="2220234" y="1070191"/>
                    </a:lnTo>
                    <a:lnTo>
                      <a:pt x="2220991" y="1069282"/>
                    </a:lnTo>
                    <a:lnTo>
                      <a:pt x="2221446" y="1069282"/>
                    </a:lnTo>
                    <a:lnTo>
                      <a:pt x="2221901" y="1068827"/>
                    </a:lnTo>
                    <a:lnTo>
                      <a:pt x="2222355" y="1068069"/>
                    </a:lnTo>
                    <a:lnTo>
                      <a:pt x="2222355" y="1067312"/>
                    </a:lnTo>
                    <a:lnTo>
                      <a:pt x="2221749" y="1066554"/>
                    </a:lnTo>
                    <a:lnTo>
                      <a:pt x="2221749" y="1066251"/>
                    </a:lnTo>
                    <a:lnTo>
                      <a:pt x="2222507" y="1066403"/>
                    </a:lnTo>
                    <a:lnTo>
                      <a:pt x="2222810" y="1065645"/>
                    </a:lnTo>
                    <a:lnTo>
                      <a:pt x="2222658" y="1064130"/>
                    </a:lnTo>
                    <a:lnTo>
                      <a:pt x="2222961" y="1063524"/>
                    </a:lnTo>
                    <a:lnTo>
                      <a:pt x="2223870" y="1063827"/>
                    </a:lnTo>
                    <a:close/>
                    <a:moveTo>
                      <a:pt x="2444182" y="1138829"/>
                    </a:moveTo>
                    <a:lnTo>
                      <a:pt x="2445091" y="1137769"/>
                    </a:lnTo>
                    <a:lnTo>
                      <a:pt x="2445545" y="1137163"/>
                    </a:lnTo>
                    <a:lnTo>
                      <a:pt x="2445545" y="1136860"/>
                    </a:lnTo>
                    <a:lnTo>
                      <a:pt x="2443576" y="1136557"/>
                    </a:lnTo>
                    <a:lnTo>
                      <a:pt x="2442818" y="1137011"/>
                    </a:lnTo>
                    <a:lnTo>
                      <a:pt x="2442666" y="1137920"/>
                    </a:lnTo>
                    <a:lnTo>
                      <a:pt x="2442818" y="1138678"/>
                    </a:lnTo>
                    <a:lnTo>
                      <a:pt x="2443424" y="1138981"/>
                    </a:lnTo>
                    <a:lnTo>
                      <a:pt x="2444182" y="1138829"/>
                    </a:lnTo>
                    <a:close/>
                    <a:moveTo>
                      <a:pt x="2226143" y="1057614"/>
                    </a:moveTo>
                    <a:lnTo>
                      <a:pt x="2225840" y="1057311"/>
                    </a:lnTo>
                    <a:lnTo>
                      <a:pt x="2225083" y="1059281"/>
                    </a:lnTo>
                    <a:lnTo>
                      <a:pt x="2225689" y="1060039"/>
                    </a:lnTo>
                    <a:lnTo>
                      <a:pt x="2227204" y="1060190"/>
                    </a:lnTo>
                    <a:lnTo>
                      <a:pt x="2227962" y="1059887"/>
                    </a:lnTo>
                    <a:lnTo>
                      <a:pt x="2228113" y="1058524"/>
                    </a:lnTo>
                    <a:lnTo>
                      <a:pt x="2227962" y="1058069"/>
                    </a:lnTo>
                    <a:lnTo>
                      <a:pt x="2227507" y="1057917"/>
                    </a:lnTo>
                    <a:lnTo>
                      <a:pt x="2226143" y="1057614"/>
                    </a:lnTo>
                    <a:close/>
                    <a:moveTo>
                      <a:pt x="9344892" y="791241"/>
                    </a:moveTo>
                    <a:lnTo>
                      <a:pt x="9340801" y="789271"/>
                    </a:lnTo>
                    <a:lnTo>
                      <a:pt x="9337619" y="789877"/>
                    </a:lnTo>
                    <a:lnTo>
                      <a:pt x="9332922" y="788665"/>
                    </a:lnTo>
                    <a:lnTo>
                      <a:pt x="9329286" y="788817"/>
                    </a:lnTo>
                    <a:lnTo>
                      <a:pt x="9324285" y="791393"/>
                    </a:lnTo>
                    <a:lnTo>
                      <a:pt x="9327013" y="792453"/>
                    </a:lnTo>
                    <a:lnTo>
                      <a:pt x="9330497" y="793211"/>
                    </a:lnTo>
                    <a:lnTo>
                      <a:pt x="9332013" y="796544"/>
                    </a:lnTo>
                    <a:lnTo>
                      <a:pt x="9336407" y="798211"/>
                    </a:lnTo>
                    <a:lnTo>
                      <a:pt x="9340346" y="795938"/>
                    </a:lnTo>
                    <a:lnTo>
                      <a:pt x="9342468" y="796090"/>
                    </a:lnTo>
                    <a:lnTo>
                      <a:pt x="9346407" y="795484"/>
                    </a:lnTo>
                    <a:lnTo>
                      <a:pt x="9347619" y="795484"/>
                    </a:lnTo>
                    <a:lnTo>
                      <a:pt x="9348832" y="795181"/>
                    </a:lnTo>
                    <a:lnTo>
                      <a:pt x="9349892" y="794574"/>
                    </a:lnTo>
                    <a:lnTo>
                      <a:pt x="9344892" y="791241"/>
                    </a:lnTo>
                    <a:close/>
                    <a:moveTo>
                      <a:pt x="9488685" y="826091"/>
                    </a:moveTo>
                    <a:lnTo>
                      <a:pt x="9487776" y="827000"/>
                    </a:lnTo>
                    <a:lnTo>
                      <a:pt x="9487776" y="827909"/>
                    </a:lnTo>
                    <a:lnTo>
                      <a:pt x="9488685" y="829424"/>
                    </a:lnTo>
                    <a:lnTo>
                      <a:pt x="9490351" y="828818"/>
                    </a:lnTo>
                    <a:lnTo>
                      <a:pt x="9491261" y="827455"/>
                    </a:lnTo>
                    <a:lnTo>
                      <a:pt x="9490201" y="826545"/>
                    </a:lnTo>
                    <a:lnTo>
                      <a:pt x="9488685" y="826091"/>
                    </a:lnTo>
                    <a:close/>
                    <a:moveTo>
                      <a:pt x="9462775" y="821848"/>
                    </a:moveTo>
                    <a:lnTo>
                      <a:pt x="9461563" y="825182"/>
                    </a:lnTo>
                    <a:lnTo>
                      <a:pt x="9460351" y="826091"/>
                    </a:lnTo>
                    <a:lnTo>
                      <a:pt x="9457623" y="826697"/>
                    </a:lnTo>
                    <a:lnTo>
                      <a:pt x="9453987" y="829424"/>
                    </a:lnTo>
                    <a:lnTo>
                      <a:pt x="9454290" y="830182"/>
                    </a:lnTo>
                    <a:lnTo>
                      <a:pt x="9456109" y="831697"/>
                    </a:lnTo>
                    <a:lnTo>
                      <a:pt x="9458532" y="830182"/>
                    </a:lnTo>
                    <a:lnTo>
                      <a:pt x="9463381" y="827758"/>
                    </a:lnTo>
                    <a:lnTo>
                      <a:pt x="9463381" y="826091"/>
                    </a:lnTo>
                    <a:lnTo>
                      <a:pt x="9464896" y="823666"/>
                    </a:lnTo>
                    <a:lnTo>
                      <a:pt x="9465351" y="822151"/>
                    </a:lnTo>
                    <a:lnTo>
                      <a:pt x="9464442" y="821697"/>
                    </a:lnTo>
                    <a:lnTo>
                      <a:pt x="9462775" y="821848"/>
                    </a:lnTo>
                    <a:close/>
                    <a:moveTo>
                      <a:pt x="9510201" y="847001"/>
                    </a:moveTo>
                    <a:lnTo>
                      <a:pt x="9507171" y="845182"/>
                    </a:lnTo>
                    <a:lnTo>
                      <a:pt x="9504444" y="843061"/>
                    </a:lnTo>
                    <a:lnTo>
                      <a:pt x="9499595" y="839879"/>
                    </a:lnTo>
                    <a:lnTo>
                      <a:pt x="9493685" y="838364"/>
                    </a:lnTo>
                    <a:lnTo>
                      <a:pt x="9492473" y="838819"/>
                    </a:lnTo>
                    <a:lnTo>
                      <a:pt x="9495200" y="840940"/>
                    </a:lnTo>
                    <a:lnTo>
                      <a:pt x="9500049" y="842758"/>
                    </a:lnTo>
                    <a:lnTo>
                      <a:pt x="9509747" y="848667"/>
                    </a:lnTo>
                    <a:lnTo>
                      <a:pt x="9514444" y="848667"/>
                    </a:lnTo>
                    <a:lnTo>
                      <a:pt x="9513383" y="847607"/>
                    </a:lnTo>
                    <a:lnTo>
                      <a:pt x="9510201" y="847001"/>
                    </a:lnTo>
                    <a:close/>
                    <a:moveTo>
                      <a:pt x="2250084" y="1066251"/>
                    </a:moveTo>
                    <a:lnTo>
                      <a:pt x="2249932" y="1066554"/>
                    </a:lnTo>
                    <a:lnTo>
                      <a:pt x="2250538" y="1068069"/>
                    </a:lnTo>
                    <a:lnTo>
                      <a:pt x="2251144" y="1068524"/>
                    </a:lnTo>
                    <a:lnTo>
                      <a:pt x="2251902" y="1068524"/>
                    </a:lnTo>
                    <a:lnTo>
                      <a:pt x="2252205" y="1068069"/>
                    </a:lnTo>
                    <a:lnTo>
                      <a:pt x="2252053" y="1067009"/>
                    </a:lnTo>
                    <a:lnTo>
                      <a:pt x="2251599" y="1066403"/>
                    </a:lnTo>
                    <a:lnTo>
                      <a:pt x="2250084" y="1066251"/>
                    </a:lnTo>
                    <a:close/>
                    <a:moveTo>
                      <a:pt x="9352165" y="809424"/>
                    </a:moveTo>
                    <a:lnTo>
                      <a:pt x="9349589" y="809878"/>
                    </a:lnTo>
                    <a:lnTo>
                      <a:pt x="9348983" y="811090"/>
                    </a:lnTo>
                    <a:lnTo>
                      <a:pt x="9354892" y="811545"/>
                    </a:lnTo>
                    <a:lnTo>
                      <a:pt x="9356104" y="812757"/>
                    </a:lnTo>
                    <a:lnTo>
                      <a:pt x="9357922" y="812605"/>
                    </a:lnTo>
                    <a:lnTo>
                      <a:pt x="9358529" y="809424"/>
                    </a:lnTo>
                    <a:lnTo>
                      <a:pt x="9359438" y="807605"/>
                    </a:lnTo>
                    <a:lnTo>
                      <a:pt x="9356256" y="807302"/>
                    </a:lnTo>
                    <a:lnTo>
                      <a:pt x="9352165" y="809424"/>
                    </a:lnTo>
                    <a:close/>
                    <a:moveTo>
                      <a:pt x="1241713" y="995491"/>
                    </a:moveTo>
                    <a:lnTo>
                      <a:pt x="1242622" y="996855"/>
                    </a:lnTo>
                    <a:lnTo>
                      <a:pt x="1243076" y="996855"/>
                    </a:lnTo>
                    <a:lnTo>
                      <a:pt x="1243379" y="996249"/>
                    </a:lnTo>
                    <a:lnTo>
                      <a:pt x="1243531" y="995794"/>
                    </a:lnTo>
                    <a:lnTo>
                      <a:pt x="1242622" y="993824"/>
                    </a:lnTo>
                    <a:lnTo>
                      <a:pt x="1241864" y="994582"/>
                    </a:lnTo>
                    <a:lnTo>
                      <a:pt x="1241713" y="995491"/>
                    </a:lnTo>
                    <a:close/>
                    <a:moveTo>
                      <a:pt x="2129322" y="1001703"/>
                    </a:moveTo>
                    <a:lnTo>
                      <a:pt x="2129170" y="1002764"/>
                    </a:lnTo>
                    <a:lnTo>
                      <a:pt x="2129473" y="1003067"/>
                    </a:lnTo>
                    <a:lnTo>
                      <a:pt x="2130382" y="1002461"/>
                    </a:lnTo>
                    <a:lnTo>
                      <a:pt x="2130837" y="1001855"/>
                    </a:lnTo>
                    <a:lnTo>
                      <a:pt x="2130837" y="1001097"/>
                    </a:lnTo>
                    <a:lnTo>
                      <a:pt x="2130534" y="1000794"/>
                    </a:lnTo>
                    <a:lnTo>
                      <a:pt x="2129776" y="1000946"/>
                    </a:lnTo>
                    <a:lnTo>
                      <a:pt x="2129322" y="1001703"/>
                    </a:lnTo>
                    <a:close/>
                    <a:moveTo>
                      <a:pt x="1252925" y="982763"/>
                    </a:moveTo>
                    <a:lnTo>
                      <a:pt x="1252622" y="979733"/>
                    </a:lnTo>
                    <a:lnTo>
                      <a:pt x="1252319" y="979430"/>
                    </a:lnTo>
                    <a:lnTo>
                      <a:pt x="1251410" y="978975"/>
                    </a:lnTo>
                    <a:lnTo>
                      <a:pt x="1251107" y="979127"/>
                    </a:lnTo>
                    <a:lnTo>
                      <a:pt x="1250804" y="980187"/>
                    </a:lnTo>
                    <a:lnTo>
                      <a:pt x="1250804" y="981854"/>
                    </a:lnTo>
                    <a:lnTo>
                      <a:pt x="1251259" y="982612"/>
                    </a:lnTo>
                    <a:lnTo>
                      <a:pt x="1252774" y="983369"/>
                    </a:lnTo>
                    <a:lnTo>
                      <a:pt x="1252925" y="982763"/>
                    </a:lnTo>
                    <a:close/>
                    <a:moveTo>
                      <a:pt x="2264175" y="1045341"/>
                    </a:moveTo>
                    <a:lnTo>
                      <a:pt x="2263266" y="1046553"/>
                    </a:lnTo>
                    <a:lnTo>
                      <a:pt x="2262357" y="1049281"/>
                    </a:lnTo>
                    <a:lnTo>
                      <a:pt x="2262205" y="1050796"/>
                    </a:lnTo>
                    <a:lnTo>
                      <a:pt x="2262963" y="1051251"/>
                    </a:lnTo>
                    <a:lnTo>
                      <a:pt x="2263872" y="1051099"/>
                    </a:lnTo>
                    <a:lnTo>
                      <a:pt x="2265084" y="1050341"/>
                    </a:lnTo>
                    <a:lnTo>
                      <a:pt x="2265539" y="1048978"/>
                    </a:lnTo>
                    <a:lnTo>
                      <a:pt x="2265236" y="1045947"/>
                    </a:lnTo>
                    <a:lnTo>
                      <a:pt x="2265539" y="1045644"/>
                    </a:lnTo>
                    <a:lnTo>
                      <a:pt x="2264175" y="1045341"/>
                    </a:lnTo>
                    <a:close/>
                    <a:moveTo>
                      <a:pt x="1253986" y="990036"/>
                    </a:moveTo>
                    <a:lnTo>
                      <a:pt x="1253986" y="990945"/>
                    </a:lnTo>
                    <a:lnTo>
                      <a:pt x="1254592" y="991097"/>
                    </a:lnTo>
                    <a:lnTo>
                      <a:pt x="1255653" y="990491"/>
                    </a:lnTo>
                    <a:lnTo>
                      <a:pt x="1255804" y="989733"/>
                    </a:lnTo>
                    <a:lnTo>
                      <a:pt x="1254441" y="987915"/>
                    </a:lnTo>
                    <a:lnTo>
                      <a:pt x="1253683" y="986400"/>
                    </a:lnTo>
                    <a:lnTo>
                      <a:pt x="1253228" y="986400"/>
                    </a:lnTo>
                    <a:lnTo>
                      <a:pt x="1252622" y="988673"/>
                    </a:lnTo>
                    <a:lnTo>
                      <a:pt x="1252471" y="990945"/>
                    </a:lnTo>
                    <a:lnTo>
                      <a:pt x="1253531" y="989885"/>
                    </a:lnTo>
                    <a:lnTo>
                      <a:pt x="1253986" y="990036"/>
                    </a:lnTo>
                    <a:close/>
                    <a:moveTo>
                      <a:pt x="2294479" y="1044281"/>
                    </a:moveTo>
                    <a:lnTo>
                      <a:pt x="2290994" y="1043826"/>
                    </a:lnTo>
                    <a:lnTo>
                      <a:pt x="2290843" y="1044432"/>
                    </a:lnTo>
                    <a:lnTo>
                      <a:pt x="2292964" y="1046099"/>
                    </a:lnTo>
                    <a:lnTo>
                      <a:pt x="2294176" y="1046705"/>
                    </a:lnTo>
                    <a:lnTo>
                      <a:pt x="2294934" y="1046705"/>
                    </a:lnTo>
                    <a:lnTo>
                      <a:pt x="2295540" y="1046402"/>
                    </a:lnTo>
                    <a:lnTo>
                      <a:pt x="2295994" y="1045796"/>
                    </a:lnTo>
                    <a:lnTo>
                      <a:pt x="2295843" y="1045038"/>
                    </a:lnTo>
                    <a:lnTo>
                      <a:pt x="2294782" y="1044129"/>
                    </a:lnTo>
                    <a:lnTo>
                      <a:pt x="2294479" y="1044281"/>
                    </a:lnTo>
                    <a:close/>
                    <a:moveTo>
                      <a:pt x="2127200" y="1006097"/>
                    </a:moveTo>
                    <a:lnTo>
                      <a:pt x="2127503" y="1004885"/>
                    </a:lnTo>
                    <a:lnTo>
                      <a:pt x="2127352" y="1004582"/>
                    </a:lnTo>
                    <a:lnTo>
                      <a:pt x="2126443" y="1004734"/>
                    </a:lnTo>
                    <a:lnTo>
                      <a:pt x="2124473" y="1005491"/>
                    </a:lnTo>
                    <a:lnTo>
                      <a:pt x="2124473" y="1005946"/>
                    </a:lnTo>
                    <a:lnTo>
                      <a:pt x="2126443" y="1006249"/>
                    </a:lnTo>
                    <a:lnTo>
                      <a:pt x="2127200" y="1006097"/>
                    </a:lnTo>
                    <a:close/>
                    <a:moveTo>
                      <a:pt x="2008862" y="1566572"/>
                    </a:moveTo>
                    <a:lnTo>
                      <a:pt x="2002953" y="1571118"/>
                    </a:lnTo>
                    <a:lnTo>
                      <a:pt x="2004317" y="1570815"/>
                    </a:lnTo>
                    <a:lnTo>
                      <a:pt x="2009165" y="1567633"/>
                    </a:lnTo>
                    <a:lnTo>
                      <a:pt x="2011893" y="1565057"/>
                    </a:lnTo>
                    <a:lnTo>
                      <a:pt x="2010226" y="1565057"/>
                    </a:lnTo>
                    <a:lnTo>
                      <a:pt x="2008862" y="1566572"/>
                    </a:lnTo>
                    <a:close/>
                    <a:moveTo>
                      <a:pt x="2120382" y="1011249"/>
                    </a:moveTo>
                    <a:lnTo>
                      <a:pt x="2120988" y="1011401"/>
                    </a:lnTo>
                    <a:lnTo>
                      <a:pt x="2122503" y="1010946"/>
                    </a:lnTo>
                    <a:lnTo>
                      <a:pt x="2123261" y="1010491"/>
                    </a:lnTo>
                    <a:lnTo>
                      <a:pt x="2123412" y="1010037"/>
                    </a:lnTo>
                    <a:lnTo>
                      <a:pt x="2124018" y="1009582"/>
                    </a:lnTo>
                    <a:lnTo>
                      <a:pt x="2125836" y="1008673"/>
                    </a:lnTo>
                    <a:lnTo>
                      <a:pt x="2125685" y="1008219"/>
                    </a:lnTo>
                    <a:lnTo>
                      <a:pt x="2125079" y="1008219"/>
                    </a:lnTo>
                    <a:lnTo>
                      <a:pt x="2121442" y="1010188"/>
                    </a:lnTo>
                    <a:lnTo>
                      <a:pt x="2120685" y="1010946"/>
                    </a:lnTo>
                    <a:lnTo>
                      <a:pt x="2120382" y="1011249"/>
                    </a:lnTo>
                    <a:close/>
                    <a:moveTo>
                      <a:pt x="9792484" y="629568"/>
                    </a:moveTo>
                    <a:lnTo>
                      <a:pt x="9793242" y="630932"/>
                    </a:lnTo>
                    <a:lnTo>
                      <a:pt x="9795818" y="631690"/>
                    </a:lnTo>
                    <a:lnTo>
                      <a:pt x="9798697" y="629872"/>
                    </a:lnTo>
                    <a:lnTo>
                      <a:pt x="9799909" y="627599"/>
                    </a:lnTo>
                    <a:lnTo>
                      <a:pt x="9792484" y="629114"/>
                    </a:lnTo>
                    <a:lnTo>
                      <a:pt x="9792484" y="629568"/>
                    </a:lnTo>
                    <a:close/>
                    <a:moveTo>
                      <a:pt x="9784454" y="800332"/>
                    </a:moveTo>
                    <a:lnTo>
                      <a:pt x="9781423" y="802757"/>
                    </a:lnTo>
                    <a:lnTo>
                      <a:pt x="9780514" y="803817"/>
                    </a:lnTo>
                    <a:lnTo>
                      <a:pt x="9780817" y="805332"/>
                    </a:lnTo>
                    <a:lnTo>
                      <a:pt x="9781272" y="805787"/>
                    </a:lnTo>
                    <a:lnTo>
                      <a:pt x="9783090" y="804575"/>
                    </a:lnTo>
                    <a:lnTo>
                      <a:pt x="9784150" y="804120"/>
                    </a:lnTo>
                    <a:lnTo>
                      <a:pt x="9785363" y="804120"/>
                    </a:lnTo>
                    <a:lnTo>
                      <a:pt x="9786272" y="803514"/>
                    </a:lnTo>
                    <a:lnTo>
                      <a:pt x="9787029" y="802302"/>
                    </a:lnTo>
                    <a:lnTo>
                      <a:pt x="9787029" y="801393"/>
                    </a:lnTo>
                    <a:lnTo>
                      <a:pt x="9786424" y="800787"/>
                    </a:lnTo>
                    <a:lnTo>
                      <a:pt x="9784454" y="800332"/>
                    </a:lnTo>
                    <a:close/>
                    <a:moveTo>
                      <a:pt x="9809757" y="793514"/>
                    </a:moveTo>
                    <a:lnTo>
                      <a:pt x="9807939" y="793514"/>
                    </a:lnTo>
                    <a:lnTo>
                      <a:pt x="9803546" y="794726"/>
                    </a:lnTo>
                    <a:lnTo>
                      <a:pt x="9803242" y="795484"/>
                    </a:lnTo>
                    <a:lnTo>
                      <a:pt x="9803546" y="796393"/>
                    </a:lnTo>
                    <a:lnTo>
                      <a:pt x="9806424" y="796090"/>
                    </a:lnTo>
                    <a:lnTo>
                      <a:pt x="9810667" y="796847"/>
                    </a:lnTo>
                    <a:lnTo>
                      <a:pt x="9811122" y="796241"/>
                    </a:lnTo>
                    <a:lnTo>
                      <a:pt x="9811576" y="794726"/>
                    </a:lnTo>
                    <a:lnTo>
                      <a:pt x="9811122" y="793968"/>
                    </a:lnTo>
                    <a:lnTo>
                      <a:pt x="9809757" y="793514"/>
                    </a:lnTo>
                    <a:close/>
                    <a:moveTo>
                      <a:pt x="9737785" y="500624"/>
                    </a:moveTo>
                    <a:lnTo>
                      <a:pt x="9733997" y="500927"/>
                    </a:lnTo>
                    <a:lnTo>
                      <a:pt x="9728088" y="498200"/>
                    </a:lnTo>
                    <a:lnTo>
                      <a:pt x="9724906" y="496230"/>
                    </a:lnTo>
                    <a:lnTo>
                      <a:pt x="9723240" y="491988"/>
                    </a:lnTo>
                    <a:lnTo>
                      <a:pt x="9719906" y="493654"/>
                    </a:lnTo>
                    <a:lnTo>
                      <a:pt x="9719148" y="496685"/>
                    </a:lnTo>
                    <a:lnTo>
                      <a:pt x="9722330" y="497897"/>
                    </a:lnTo>
                    <a:lnTo>
                      <a:pt x="9731118" y="503352"/>
                    </a:lnTo>
                    <a:lnTo>
                      <a:pt x="9737633" y="503200"/>
                    </a:lnTo>
                    <a:lnTo>
                      <a:pt x="9742180" y="504564"/>
                    </a:lnTo>
                    <a:lnTo>
                      <a:pt x="9740967" y="502746"/>
                    </a:lnTo>
                    <a:lnTo>
                      <a:pt x="9737785" y="500624"/>
                    </a:lnTo>
                    <a:close/>
                    <a:moveTo>
                      <a:pt x="9847789" y="777907"/>
                    </a:moveTo>
                    <a:lnTo>
                      <a:pt x="9847334" y="778513"/>
                    </a:lnTo>
                    <a:lnTo>
                      <a:pt x="9845820" y="779574"/>
                    </a:lnTo>
                    <a:lnTo>
                      <a:pt x="9842183" y="779271"/>
                    </a:lnTo>
                    <a:lnTo>
                      <a:pt x="9840365" y="779574"/>
                    </a:lnTo>
                    <a:lnTo>
                      <a:pt x="9839001" y="780635"/>
                    </a:lnTo>
                    <a:lnTo>
                      <a:pt x="9837031" y="782604"/>
                    </a:lnTo>
                    <a:lnTo>
                      <a:pt x="9836577" y="783513"/>
                    </a:lnTo>
                    <a:lnTo>
                      <a:pt x="9836425" y="786089"/>
                    </a:lnTo>
                    <a:lnTo>
                      <a:pt x="9836122" y="787302"/>
                    </a:lnTo>
                    <a:lnTo>
                      <a:pt x="9835061" y="788211"/>
                    </a:lnTo>
                    <a:lnTo>
                      <a:pt x="9833092" y="790786"/>
                    </a:lnTo>
                    <a:lnTo>
                      <a:pt x="9831273" y="792302"/>
                    </a:lnTo>
                    <a:lnTo>
                      <a:pt x="9828546" y="793968"/>
                    </a:lnTo>
                    <a:lnTo>
                      <a:pt x="9828092" y="795181"/>
                    </a:lnTo>
                    <a:lnTo>
                      <a:pt x="9828698" y="795181"/>
                    </a:lnTo>
                    <a:lnTo>
                      <a:pt x="9837638" y="790635"/>
                    </a:lnTo>
                    <a:lnTo>
                      <a:pt x="9838849" y="790332"/>
                    </a:lnTo>
                    <a:lnTo>
                      <a:pt x="9841577" y="788362"/>
                    </a:lnTo>
                    <a:lnTo>
                      <a:pt x="9842941" y="787605"/>
                    </a:lnTo>
                    <a:lnTo>
                      <a:pt x="9844153" y="787302"/>
                    </a:lnTo>
                    <a:lnTo>
                      <a:pt x="9845820" y="785786"/>
                    </a:lnTo>
                    <a:lnTo>
                      <a:pt x="9847941" y="783059"/>
                    </a:lnTo>
                    <a:lnTo>
                      <a:pt x="9847789" y="777907"/>
                    </a:lnTo>
                    <a:lnTo>
                      <a:pt x="9847789" y="777907"/>
                    </a:lnTo>
                    <a:close/>
                    <a:moveTo>
                      <a:pt x="9735513" y="811696"/>
                    </a:moveTo>
                    <a:lnTo>
                      <a:pt x="9733543" y="812908"/>
                    </a:lnTo>
                    <a:lnTo>
                      <a:pt x="9732482" y="813969"/>
                    </a:lnTo>
                    <a:lnTo>
                      <a:pt x="9731422" y="815939"/>
                    </a:lnTo>
                    <a:lnTo>
                      <a:pt x="9733694" y="816545"/>
                    </a:lnTo>
                    <a:lnTo>
                      <a:pt x="9735664" y="815939"/>
                    </a:lnTo>
                    <a:lnTo>
                      <a:pt x="9739755" y="813818"/>
                    </a:lnTo>
                    <a:lnTo>
                      <a:pt x="9737785" y="812151"/>
                    </a:lnTo>
                    <a:lnTo>
                      <a:pt x="9735513" y="811696"/>
                    </a:lnTo>
                    <a:close/>
                    <a:moveTo>
                      <a:pt x="9815364" y="651539"/>
                    </a:moveTo>
                    <a:lnTo>
                      <a:pt x="9813394" y="651994"/>
                    </a:lnTo>
                    <a:lnTo>
                      <a:pt x="9809757" y="651236"/>
                    </a:lnTo>
                    <a:lnTo>
                      <a:pt x="9809454" y="652297"/>
                    </a:lnTo>
                    <a:lnTo>
                      <a:pt x="9813091" y="654721"/>
                    </a:lnTo>
                    <a:lnTo>
                      <a:pt x="9814303" y="654872"/>
                    </a:lnTo>
                    <a:lnTo>
                      <a:pt x="9817334" y="652903"/>
                    </a:lnTo>
                    <a:lnTo>
                      <a:pt x="9817030" y="651994"/>
                    </a:lnTo>
                    <a:lnTo>
                      <a:pt x="9815364" y="651539"/>
                    </a:lnTo>
                    <a:close/>
                    <a:moveTo>
                      <a:pt x="9837031" y="381984"/>
                    </a:moveTo>
                    <a:lnTo>
                      <a:pt x="9838243" y="377741"/>
                    </a:lnTo>
                    <a:lnTo>
                      <a:pt x="9830516" y="376226"/>
                    </a:lnTo>
                    <a:lnTo>
                      <a:pt x="9824304" y="376226"/>
                    </a:lnTo>
                    <a:lnTo>
                      <a:pt x="9822334" y="375771"/>
                    </a:lnTo>
                    <a:lnTo>
                      <a:pt x="9818698" y="376226"/>
                    </a:lnTo>
                    <a:lnTo>
                      <a:pt x="9815212" y="375165"/>
                    </a:lnTo>
                    <a:lnTo>
                      <a:pt x="9814303" y="373802"/>
                    </a:lnTo>
                    <a:lnTo>
                      <a:pt x="9813242" y="372741"/>
                    </a:lnTo>
                    <a:lnTo>
                      <a:pt x="9809000" y="371983"/>
                    </a:lnTo>
                    <a:lnTo>
                      <a:pt x="9802485" y="370014"/>
                    </a:lnTo>
                    <a:lnTo>
                      <a:pt x="9801424" y="368498"/>
                    </a:lnTo>
                    <a:lnTo>
                      <a:pt x="9800667" y="366377"/>
                    </a:lnTo>
                    <a:lnTo>
                      <a:pt x="9799606" y="364559"/>
                    </a:lnTo>
                    <a:lnTo>
                      <a:pt x="9798242" y="363498"/>
                    </a:lnTo>
                    <a:lnTo>
                      <a:pt x="9794757" y="361831"/>
                    </a:lnTo>
                    <a:lnTo>
                      <a:pt x="9791121" y="361074"/>
                    </a:lnTo>
                    <a:lnTo>
                      <a:pt x="9787787" y="361528"/>
                    </a:lnTo>
                    <a:lnTo>
                      <a:pt x="9784454" y="362438"/>
                    </a:lnTo>
                    <a:lnTo>
                      <a:pt x="9778999" y="365619"/>
                    </a:lnTo>
                    <a:lnTo>
                      <a:pt x="9774605" y="365922"/>
                    </a:lnTo>
                    <a:lnTo>
                      <a:pt x="9770211" y="364862"/>
                    </a:lnTo>
                    <a:lnTo>
                      <a:pt x="9766271" y="364407"/>
                    </a:lnTo>
                    <a:lnTo>
                      <a:pt x="9763392" y="364559"/>
                    </a:lnTo>
                    <a:lnTo>
                      <a:pt x="9762938" y="363498"/>
                    </a:lnTo>
                    <a:lnTo>
                      <a:pt x="9757938" y="359710"/>
                    </a:lnTo>
                    <a:lnTo>
                      <a:pt x="9755210" y="360771"/>
                    </a:lnTo>
                    <a:lnTo>
                      <a:pt x="9753695" y="366074"/>
                    </a:lnTo>
                    <a:lnTo>
                      <a:pt x="9753241" y="368347"/>
                    </a:lnTo>
                    <a:lnTo>
                      <a:pt x="9753241" y="370620"/>
                    </a:lnTo>
                    <a:lnTo>
                      <a:pt x="9753998" y="372892"/>
                    </a:lnTo>
                    <a:lnTo>
                      <a:pt x="9755513" y="374256"/>
                    </a:lnTo>
                    <a:lnTo>
                      <a:pt x="9758392" y="376074"/>
                    </a:lnTo>
                    <a:lnTo>
                      <a:pt x="9761422" y="376832"/>
                    </a:lnTo>
                    <a:lnTo>
                      <a:pt x="9764605" y="376529"/>
                    </a:lnTo>
                    <a:lnTo>
                      <a:pt x="9767786" y="375165"/>
                    </a:lnTo>
                    <a:lnTo>
                      <a:pt x="9770817" y="373195"/>
                    </a:lnTo>
                    <a:lnTo>
                      <a:pt x="9773999" y="371983"/>
                    </a:lnTo>
                    <a:lnTo>
                      <a:pt x="9776878" y="371680"/>
                    </a:lnTo>
                    <a:lnTo>
                      <a:pt x="9779757" y="371983"/>
                    </a:lnTo>
                    <a:lnTo>
                      <a:pt x="9788545" y="374862"/>
                    </a:lnTo>
                    <a:lnTo>
                      <a:pt x="9791424" y="376226"/>
                    </a:lnTo>
                    <a:lnTo>
                      <a:pt x="9794151" y="377893"/>
                    </a:lnTo>
                    <a:lnTo>
                      <a:pt x="9795515" y="379105"/>
                    </a:lnTo>
                    <a:lnTo>
                      <a:pt x="9796272" y="381378"/>
                    </a:lnTo>
                    <a:lnTo>
                      <a:pt x="9797788" y="382893"/>
                    </a:lnTo>
                    <a:lnTo>
                      <a:pt x="9799758" y="383044"/>
                    </a:lnTo>
                    <a:lnTo>
                      <a:pt x="9803242" y="383953"/>
                    </a:lnTo>
                    <a:lnTo>
                      <a:pt x="9806727" y="385317"/>
                    </a:lnTo>
                    <a:lnTo>
                      <a:pt x="9807939" y="386075"/>
                    </a:lnTo>
                    <a:lnTo>
                      <a:pt x="9809000" y="387287"/>
                    </a:lnTo>
                    <a:lnTo>
                      <a:pt x="9810515" y="391681"/>
                    </a:lnTo>
                    <a:lnTo>
                      <a:pt x="9811727" y="393196"/>
                    </a:lnTo>
                    <a:lnTo>
                      <a:pt x="9813242" y="392590"/>
                    </a:lnTo>
                    <a:lnTo>
                      <a:pt x="9814606" y="391378"/>
                    </a:lnTo>
                    <a:lnTo>
                      <a:pt x="9814910" y="388802"/>
                    </a:lnTo>
                    <a:lnTo>
                      <a:pt x="9817334" y="386075"/>
                    </a:lnTo>
                    <a:lnTo>
                      <a:pt x="9820212" y="383953"/>
                    </a:lnTo>
                    <a:lnTo>
                      <a:pt x="9827183" y="383347"/>
                    </a:lnTo>
                    <a:lnTo>
                      <a:pt x="9834152" y="383953"/>
                    </a:lnTo>
                    <a:lnTo>
                      <a:pt x="9837031" y="381984"/>
                    </a:lnTo>
                    <a:close/>
                    <a:moveTo>
                      <a:pt x="9688996" y="810484"/>
                    </a:moveTo>
                    <a:lnTo>
                      <a:pt x="9685208" y="811999"/>
                    </a:lnTo>
                    <a:lnTo>
                      <a:pt x="9683540" y="813363"/>
                    </a:lnTo>
                    <a:lnTo>
                      <a:pt x="9681572" y="814272"/>
                    </a:lnTo>
                    <a:lnTo>
                      <a:pt x="9682329" y="815030"/>
                    </a:lnTo>
                    <a:lnTo>
                      <a:pt x="9686419" y="816090"/>
                    </a:lnTo>
                    <a:lnTo>
                      <a:pt x="9685056" y="818060"/>
                    </a:lnTo>
                    <a:lnTo>
                      <a:pt x="9680511" y="819272"/>
                    </a:lnTo>
                    <a:lnTo>
                      <a:pt x="9675207" y="821091"/>
                    </a:lnTo>
                    <a:lnTo>
                      <a:pt x="9668388" y="822606"/>
                    </a:lnTo>
                    <a:lnTo>
                      <a:pt x="9662934" y="824272"/>
                    </a:lnTo>
                    <a:lnTo>
                      <a:pt x="9660358" y="824576"/>
                    </a:lnTo>
                    <a:lnTo>
                      <a:pt x="9658085" y="825182"/>
                    </a:lnTo>
                    <a:lnTo>
                      <a:pt x="9660358" y="826242"/>
                    </a:lnTo>
                    <a:lnTo>
                      <a:pt x="9675055" y="824727"/>
                    </a:lnTo>
                    <a:lnTo>
                      <a:pt x="9684147" y="823212"/>
                    </a:lnTo>
                    <a:lnTo>
                      <a:pt x="9690207" y="821091"/>
                    </a:lnTo>
                    <a:lnTo>
                      <a:pt x="9688541" y="818666"/>
                    </a:lnTo>
                    <a:lnTo>
                      <a:pt x="9688996" y="817757"/>
                    </a:lnTo>
                    <a:lnTo>
                      <a:pt x="9692026" y="817000"/>
                    </a:lnTo>
                    <a:lnTo>
                      <a:pt x="9692632" y="815333"/>
                    </a:lnTo>
                    <a:lnTo>
                      <a:pt x="9692936" y="813818"/>
                    </a:lnTo>
                    <a:lnTo>
                      <a:pt x="9692177" y="812454"/>
                    </a:lnTo>
                    <a:lnTo>
                      <a:pt x="9688996" y="810484"/>
                    </a:lnTo>
                    <a:close/>
                    <a:moveTo>
                      <a:pt x="9607932" y="828515"/>
                    </a:moveTo>
                    <a:lnTo>
                      <a:pt x="9607023" y="829273"/>
                    </a:lnTo>
                    <a:lnTo>
                      <a:pt x="9605811" y="831697"/>
                    </a:lnTo>
                    <a:lnTo>
                      <a:pt x="9604447" y="833061"/>
                    </a:lnTo>
                    <a:lnTo>
                      <a:pt x="9602326" y="834121"/>
                    </a:lnTo>
                    <a:lnTo>
                      <a:pt x="9593235" y="836091"/>
                    </a:lnTo>
                    <a:lnTo>
                      <a:pt x="9593235" y="836849"/>
                    </a:lnTo>
                    <a:lnTo>
                      <a:pt x="9593689" y="837758"/>
                    </a:lnTo>
                    <a:lnTo>
                      <a:pt x="9595810" y="837152"/>
                    </a:lnTo>
                    <a:lnTo>
                      <a:pt x="9598689" y="836849"/>
                    </a:lnTo>
                    <a:lnTo>
                      <a:pt x="9601265" y="836697"/>
                    </a:lnTo>
                    <a:lnTo>
                      <a:pt x="9605508" y="837152"/>
                    </a:lnTo>
                    <a:lnTo>
                      <a:pt x="9607023" y="836849"/>
                    </a:lnTo>
                    <a:lnTo>
                      <a:pt x="9607780" y="836394"/>
                    </a:lnTo>
                    <a:lnTo>
                      <a:pt x="9608083" y="833061"/>
                    </a:lnTo>
                    <a:lnTo>
                      <a:pt x="9608387" y="832000"/>
                    </a:lnTo>
                    <a:lnTo>
                      <a:pt x="9609599" y="830939"/>
                    </a:lnTo>
                    <a:lnTo>
                      <a:pt x="9610053" y="829576"/>
                    </a:lnTo>
                    <a:lnTo>
                      <a:pt x="9608841" y="828667"/>
                    </a:lnTo>
                    <a:lnTo>
                      <a:pt x="9607932" y="828515"/>
                    </a:lnTo>
                    <a:close/>
                    <a:moveTo>
                      <a:pt x="9625963" y="831849"/>
                    </a:moveTo>
                    <a:lnTo>
                      <a:pt x="9622781" y="832000"/>
                    </a:lnTo>
                    <a:lnTo>
                      <a:pt x="9622630" y="830788"/>
                    </a:lnTo>
                    <a:lnTo>
                      <a:pt x="9623841" y="828818"/>
                    </a:lnTo>
                    <a:lnTo>
                      <a:pt x="9623841" y="827909"/>
                    </a:lnTo>
                    <a:lnTo>
                      <a:pt x="9622630" y="826545"/>
                    </a:lnTo>
                    <a:lnTo>
                      <a:pt x="9619902" y="826394"/>
                    </a:lnTo>
                    <a:lnTo>
                      <a:pt x="9618690" y="829727"/>
                    </a:lnTo>
                    <a:lnTo>
                      <a:pt x="9618993" y="831697"/>
                    </a:lnTo>
                    <a:lnTo>
                      <a:pt x="9617933" y="832455"/>
                    </a:lnTo>
                    <a:lnTo>
                      <a:pt x="9615205" y="833515"/>
                    </a:lnTo>
                    <a:lnTo>
                      <a:pt x="9612780" y="840334"/>
                    </a:lnTo>
                    <a:lnTo>
                      <a:pt x="9616114" y="837758"/>
                    </a:lnTo>
                    <a:lnTo>
                      <a:pt x="9617933" y="839425"/>
                    </a:lnTo>
                    <a:lnTo>
                      <a:pt x="9623841" y="836394"/>
                    </a:lnTo>
                    <a:lnTo>
                      <a:pt x="9625054" y="835182"/>
                    </a:lnTo>
                    <a:lnTo>
                      <a:pt x="9626114" y="835637"/>
                    </a:lnTo>
                    <a:lnTo>
                      <a:pt x="9626569" y="835485"/>
                    </a:lnTo>
                    <a:lnTo>
                      <a:pt x="9627023" y="834879"/>
                    </a:lnTo>
                    <a:lnTo>
                      <a:pt x="9627023" y="832455"/>
                    </a:lnTo>
                    <a:lnTo>
                      <a:pt x="9625963" y="831849"/>
                    </a:lnTo>
                    <a:close/>
                    <a:moveTo>
                      <a:pt x="9589749" y="831849"/>
                    </a:moveTo>
                    <a:lnTo>
                      <a:pt x="9587931" y="831091"/>
                    </a:lnTo>
                    <a:lnTo>
                      <a:pt x="9585507" y="828970"/>
                    </a:lnTo>
                    <a:lnTo>
                      <a:pt x="9581113" y="829121"/>
                    </a:lnTo>
                    <a:lnTo>
                      <a:pt x="9579749" y="829576"/>
                    </a:lnTo>
                    <a:lnTo>
                      <a:pt x="9578992" y="830333"/>
                    </a:lnTo>
                    <a:lnTo>
                      <a:pt x="9580052" y="831546"/>
                    </a:lnTo>
                    <a:lnTo>
                      <a:pt x="9583083" y="833212"/>
                    </a:lnTo>
                    <a:lnTo>
                      <a:pt x="9584750" y="834576"/>
                    </a:lnTo>
                    <a:lnTo>
                      <a:pt x="9585052" y="835485"/>
                    </a:lnTo>
                    <a:lnTo>
                      <a:pt x="9584446" y="836243"/>
                    </a:lnTo>
                    <a:lnTo>
                      <a:pt x="9582325" y="837152"/>
                    </a:lnTo>
                    <a:lnTo>
                      <a:pt x="9582931" y="837758"/>
                    </a:lnTo>
                    <a:lnTo>
                      <a:pt x="9586568" y="839728"/>
                    </a:lnTo>
                    <a:lnTo>
                      <a:pt x="9587173" y="839728"/>
                    </a:lnTo>
                    <a:lnTo>
                      <a:pt x="9587780" y="838515"/>
                    </a:lnTo>
                    <a:lnTo>
                      <a:pt x="9589143" y="837152"/>
                    </a:lnTo>
                    <a:lnTo>
                      <a:pt x="9590659" y="833818"/>
                    </a:lnTo>
                    <a:lnTo>
                      <a:pt x="9591871" y="832909"/>
                    </a:lnTo>
                    <a:lnTo>
                      <a:pt x="9594144" y="832000"/>
                    </a:lnTo>
                    <a:lnTo>
                      <a:pt x="9589749" y="831849"/>
                    </a:lnTo>
                    <a:close/>
                    <a:moveTo>
                      <a:pt x="9627629" y="831697"/>
                    </a:moveTo>
                    <a:lnTo>
                      <a:pt x="9628084" y="834576"/>
                    </a:lnTo>
                    <a:lnTo>
                      <a:pt x="9629297" y="835485"/>
                    </a:lnTo>
                    <a:lnTo>
                      <a:pt x="9630963" y="833364"/>
                    </a:lnTo>
                    <a:lnTo>
                      <a:pt x="9631115" y="832909"/>
                    </a:lnTo>
                    <a:lnTo>
                      <a:pt x="9628388" y="830788"/>
                    </a:lnTo>
                    <a:lnTo>
                      <a:pt x="9627629" y="831697"/>
                    </a:lnTo>
                    <a:close/>
                    <a:moveTo>
                      <a:pt x="9515959" y="826697"/>
                    </a:moveTo>
                    <a:lnTo>
                      <a:pt x="9515808" y="828364"/>
                    </a:lnTo>
                    <a:lnTo>
                      <a:pt x="9517171" y="829727"/>
                    </a:lnTo>
                    <a:lnTo>
                      <a:pt x="9519747" y="830182"/>
                    </a:lnTo>
                    <a:lnTo>
                      <a:pt x="9522020" y="829273"/>
                    </a:lnTo>
                    <a:lnTo>
                      <a:pt x="9523384" y="827000"/>
                    </a:lnTo>
                    <a:lnTo>
                      <a:pt x="9519141" y="824727"/>
                    </a:lnTo>
                    <a:lnTo>
                      <a:pt x="9515959" y="826697"/>
                    </a:lnTo>
                    <a:close/>
                    <a:moveTo>
                      <a:pt x="9717936" y="822303"/>
                    </a:moveTo>
                    <a:lnTo>
                      <a:pt x="9711269" y="822454"/>
                    </a:lnTo>
                    <a:lnTo>
                      <a:pt x="9705966" y="820939"/>
                    </a:lnTo>
                    <a:lnTo>
                      <a:pt x="9703087" y="820636"/>
                    </a:lnTo>
                    <a:lnTo>
                      <a:pt x="9699753" y="821545"/>
                    </a:lnTo>
                    <a:lnTo>
                      <a:pt x="9699299" y="822000"/>
                    </a:lnTo>
                    <a:lnTo>
                      <a:pt x="9695359" y="820939"/>
                    </a:lnTo>
                    <a:lnTo>
                      <a:pt x="9693845" y="821242"/>
                    </a:lnTo>
                    <a:lnTo>
                      <a:pt x="9693995" y="822000"/>
                    </a:lnTo>
                    <a:lnTo>
                      <a:pt x="9695663" y="823212"/>
                    </a:lnTo>
                    <a:lnTo>
                      <a:pt x="9697026" y="823818"/>
                    </a:lnTo>
                    <a:lnTo>
                      <a:pt x="9698238" y="823969"/>
                    </a:lnTo>
                    <a:lnTo>
                      <a:pt x="9702632" y="823515"/>
                    </a:lnTo>
                    <a:lnTo>
                      <a:pt x="9708390" y="824272"/>
                    </a:lnTo>
                    <a:lnTo>
                      <a:pt x="9710966" y="824121"/>
                    </a:lnTo>
                    <a:lnTo>
                      <a:pt x="9714754" y="823363"/>
                    </a:lnTo>
                    <a:lnTo>
                      <a:pt x="9716269" y="823515"/>
                    </a:lnTo>
                    <a:lnTo>
                      <a:pt x="9720512" y="822909"/>
                    </a:lnTo>
                    <a:lnTo>
                      <a:pt x="9720512" y="822454"/>
                    </a:lnTo>
                    <a:lnTo>
                      <a:pt x="9717936" y="822303"/>
                    </a:lnTo>
                    <a:close/>
                    <a:moveTo>
                      <a:pt x="9633690" y="830030"/>
                    </a:moveTo>
                    <a:lnTo>
                      <a:pt x="9633387" y="831849"/>
                    </a:lnTo>
                    <a:lnTo>
                      <a:pt x="9636418" y="833515"/>
                    </a:lnTo>
                    <a:lnTo>
                      <a:pt x="9638691" y="832758"/>
                    </a:lnTo>
                    <a:lnTo>
                      <a:pt x="9637024" y="831697"/>
                    </a:lnTo>
                    <a:lnTo>
                      <a:pt x="9633690" y="830030"/>
                    </a:lnTo>
                    <a:close/>
                    <a:moveTo>
                      <a:pt x="9638084" y="822909"/>
                    </a:moveTo>
                    <a:lnTo>
                      <a:pt x="9636873" y="822303"/>
                    </a:lnTo>
                    <a:lnTo>
                      <a:pt x="9634751" y="822303"/>
                    </a:lnTo>
                    <a:lnTo>
                      <a:pt x="9633994" y="823818"/>
                    </a:lnTo>
                    <a:lnTo>
                      <a:pt x="9634145" y="824727"/>
                    </a:lnTo>
                    <a:lnTo>
                      <a:pt x="9635055" y="825636"/>
                    </a:lnTo>
                    <a:lnTo>
                      <a:pt x="9637782" y="826848"/>
                    </a:lnTo>
                    <a:lnTo>
                      <a:pt x="9638388" y="825788"/>
                    </a:lnTo>
                    <a:lnTo>
                      <a:pt x="9639600" y="824879"/>
                    </a:lnTo>
                    <a:lnTo>
                      <a:pt x="9639297" y="824121"/>
                    </a:lnTo>
                    <a:lnTo>
                      <a:pt x="9638084" y="822909"/>
                    </a:lnTo>
                    <a:close/>
                    <a:moveTo>
                      <a:pt x="2122655" y="1005946"/>
                    </a:moveTo>
                    <a:lnTo>
                      <a:pt x="2122503" y="1005491"/>
                    </a:lnTo>
                    <a:lnTo>
                      <a:pt x="2121746" y="1004734"/>
                    </a:lnTo>
                    <a:lnTo>
                      <a:pt x="2121291" y="1004582"/>
                    </a:lnTo>
                    <a:lnTo>
                      <a:pt x="2120988" y="1005037"/>
                    </a:lnTo>
                    <a:lnTo>
                      <a:pt x="2121139" y="1005491"/>
                    </a:lnTo>
                    <a:lnTo>
                      <a:pt x="2122200" y="1006097"/>
                    </a:lnTo>
                    <a:lnTo>
                      <a:pt x="2122655" y="1005946"/>
                    </a:lnTo>
                    <a:close/>
                    <a:moveTo>
                      <a:pt x="2392816" y="1697638"/>
                    </a:moveTo>
                    <a:lnTo>
                      <a:pt x="2392513" y="1698092"/>
                    </a:lnTo>
                    <a:lnTo>
                      <a:pt x="2392968" y="1698092"/>
                    </a:lnTo>
                    <a:lnTo>
                      <a:pt x="2394180" y="1697638"/>
                    </a:lnTo>
                    <a:lnTo>
                      <a:pt x="2394180" y="1697183"/>
                    </a:lnTo>
                    <a:lnTo>
                      <a:pt x="2393725" y="1696880"/>
                    </a:lnTo>
                    <a:lnTo>
                      <a:pt x="2392816" y="1697638"/>
                    </a:lnTo>
                    <a:close/>
                    <a:moveTo>
                      <a:pt x="2384634" y="1700668"/>
                    </a:moveTo>
                    <a:lnTo>
                      <a:pt x="2385998" y="1701123"/>
                    </a:lnTo>
                    <a:lnTo>
                      <a:pt x="2387210" y="1700365"/>
                    </a:lnTo>
                    <a:lnTo>
                      <a:pt x="2388725" y="1700062"/>
                    </a:lnTo>
                    <a:lnTo>
                      <a:pt x="2390392" y="1699153"/>
                    </a:lnTo>
                    <a:lnTo>
                      <a:pt x="2386149" y="1699911"/>
                    </a:lnTo>
                    <a:lnTo>
                      <a:pt x="2384634" y="1700668"/>
                    </a:lnTo>
                    <a:close/>
                    <a:moveTo>
                      <a:pt x="2376906" y="1699607"/>
                    </a:moveTo>
                    <a:lnTo>
                      <a:pt x="2376906" y="1700062"/>
                    </a:lnTo>
                    <a:lnTo>
                      <a:pt x="2378119" y="1702032"/>
                    </a:lnTo>
                    <a:lnTo>
                      <a:pt x="2378119" y="1702789"/>
                    </a:lnTo>
                    <a:lnTo>
                      <a:pt x="2378573" y="1702941"/>
                    </a:lnTo>
                    <a:lnTo>
                      <a:pt x="2379331" y="1702335"/>
                    </a:lnTo>
                    <a:lnTo>
                      <a:pt x="2379785" y="1701880"/>
                    </a:lnTo>
                    <a:lnTo>
                      <a:pt x="2379785" y="1701426"/>
                    </a:lnTo>
                    <a:lnTo>
                      <a:pt x="2376906" y="1699607"/>
                    </a:lnTo>
                    <a:close/>
                    <a:moveTo>
                      <a:pt x="2513123" y="1401263"/>
                    </a:moveTo>
                    <a:lnTo>
                      <a:pt x="2510548" y="1405051"/>
                    </a:lnTo>
                    <a:lnTo>
                      <a:pt x="2511154" y="1404748"/>
                    </a:lnTo>
                    <a:lnTo>
                      <a:pt x="2515093" y="1399748"/>
                    </a:lnTo>
                    <a:lnTo>
                      <a:pt x="2519184" y="1395506"/>
                    </a:lnTo>
                    <a:lnTo>
                      <a:pt x="2517821" y="1396263"/>
                    </a:lnTo>
                    <a:lnTo>
                      <a:pt x="2513123" y="1401263"/>
                    </a:lnTo>
                    <a:close/>
                    <a:moveTo>
                      <a:pt x="2397513" y="1695213"/>
                    </a:moveTo>
                    <a:lnTo>
                      <a:pt x="2398271" y="1695062"/>
                    </a:lnTo>
                    <a:lnTo>
                      <a:pt x="2398877" y="1694001"/>
                    </a:lnTo>
                    <a:lnTo>
                      <a:pt x="2398574" y="1693850"/>
                    </a:lnTo>
                    <a:lnTo>
                      <a:pt x="2397513" y="1695213"/>
                    </a:lnTo>
                    <a:close/>
                    <a:moveTo>
                      <a:pt x="2506760" y="1403082"/>
                    </a:moveTo>
                    <a:lnTo>
                      <a:pt x="2507063" y="1403536"/>
                    </a:lnTo>
                    <a:lnTo>
                      <a:pt x="2508578" y="1404142"/>
                    </a:lnTo>
                    <a:lnTo>
                      <a:pt x="2509639" y="1404445"/>
                    </a:lnTo>
                    <a:lnTo>
                      <a:pt x="2510245" y="1404445"/>
                    </a:lnTo>
                    <a:lnTo>
                      <a:pt x="2508124" y="1403233"/>
                    </a:lnTo>
                    <a:lnTo>
                      <a:pt x="2506760" y="1403082"/>
                    </a:lnTo>
                    <a:close/>
                    <a:moveTo>
                      <a:pt x="2366148" y="1705062"/>
                    </a:moveTo>
                    <a:lnTo>
                      <a:pt x="2366148" y="1705517"/>
                    </a:lnTo>
                    <a:lnTo>
                      <a:pt x="2366906" y="1705517"/>
                    </a:lnTo>
                    <a:lnTo>
                      <a:pt x="2368118" y="1705214"/>
                    </a:lnTo>
                    <a:lnTo>
                      <a:pt x="2368118" y="1704608"/>
                    </a:lnTo>
                    <a:lnTo>
                      <a:pt x="2367361" y="1704608"/>
                    </a:lnTo>
                    <a:lnTo>
                      <a:pt x="2366148" y="1705062"/>
                    </a:lnTo>
                    <a:close/>
                    <a:moveTo>
                      <a:pt x="2406150" y="1683698"/>
                    </a:moveTo>
                    <a:lnTo>
                      <a:pt x="2405998" y="1685516"/>
                    </a:lnTo>
                    <a:lnTo>
                      <a:pt x="2404635" y="1687031"/>
                    </a:lnTo>
                    <a:lnTo>
                      <a:pt x="2403271" y="1687940"/>
                    </a:lnTo>
                    <a:lnTo>
                      <a:pt x="2402514" y="1689304"/>
                    </a:lnTo>
                    <a:lnTo>
                      <a:pt x="2400392" y="1692183"/>
                    </a:lnTo>
                    <a:lnTo>
                      <a:pt x="2399786" y="1693547"/>
                    </a:lnTo>
                    <a:lnTo>
                      <a:pt x="2405241" y="1688092"/>
                    </a:lnTo>
                    <a:lnTo>
                      <a:pt x="2408726" y="1682183"/>
                    </a:lnTo>
                    <a:lnTo>
                      <a:pt x="2408120" y="1682334"/>
                    </a:lnTo>
                    <a:lnTo>
                      <a:pt x="2406150" y="1683698"/>
                    </a:lnTo>
                    <a:close/>
                    <a:moveTo>
                      <a:pt x="2372512" y="1703093"/>
                    </a:moveTo>
                    <a:lnTo>
                      <a:pt x="2371149" y="1704305"/>
                    </a:lnTo>
                    <a:lnTo>
                      <a:pt x="2372967" y="1704002"/>
                    </a:lnTo>
                    <a:lnTo>
                      <a:pt x="2373876" y="1703547"/>
                    </a:lnTo>
                    <a:lnTo>
                      <a:pt x="2373876" y="1702789"/>
                    </a:lnTo>
                    <a:lnTo>
                      <a:pt x="2372967" y="1701426"/>
                    </a:lnTo>
                    <a:lnTo>
                      <a:pt x="2372512" y="1703093"/>
                    </a:lnTo>
                    <a:close/>
                    <a:moveTo>
                      <a:pt x="2358572" y="1648848"/>
                    </a:moveTo>
                    <a:lnTo>
                      <a:pt x="2358572" y="1647181"/>
                    </a:lnTo>
                    <a:lnTo>
                      <a:pt x="2357512" y="1643848"/>
                    </a:lnTo>
                    <a:lnTo>
                      <a:pt x="2356148" y="1642787"/>
                    </a:lnTo>
                    <a:lnTo>
                      <a:pt x="2357057" y="1645969"/>
                    </a:lnTo>
                    <a:lnTo>
                      <a:pt x="2358572" y="1648848"/>
                    </a:lnTo>
                    <a:close/>
                    <a:moveTo>
                      <a:pt x="2173111" y="1543693"/>
                    </a:moveTo>
                    <a:lnTo>
                      <a:pt x="2174172" y="1547481"/>
                    </a:lnTo>
                    <a:lnTo>
                      <a:pt x="2173414" y="1552026"/>
                    </a:lnTo>
                    <a:lnTo>
                      <a:pt x="2174172" y="1551117"/>
                    </a:lnTo>
                    <a:lnTo>
                      <a:pt x="2174626" y="1547329"/>
                    </a:lnTo>
                    <a:lnTo>
                      <a:pt x="2174323" y="1545359"/>
                    </a:lnTo>
                    <a:lnTo>
                      <a:pt x="2173111" y="1543693"/>
                    </a:lnTo>
                    <a:close/>
                    <a:moveTo>
                      <a:pt x="2170990" y="1554905"/>
                    </a:moveTo>
                    <a:lnTo>
                      <a:pt x="2170990" y="1555511"/>
                    </a:lnTo>
                    <a:lnTo>
                      <a:pt x="2172505" y="1553996"/>
                    </a:lnTo>
                    <a:lnTo>
                      <a:pt x="2172959" y="1552784"/>
                    </a:lnTo>
                    <a:lnTo>
                      <a:pt x="2172202" y="1553390"/>
                    </a:lnTo>
                    <a:lnTo>
                      <a:pt x="2170990" y="1554905"/>
                    </a:lnTo>
                    <a:close/>
                    <a:moveTo>
                      <a:pt x="2092956" y="1557481"/>
                    </a:moveTo>
                    <a:lnTo>
                      <a:pt x="2090835" y="1556118"/>
                    </a:lnTo>
                    <a:lnTo>
                      <a:pt x="2089471" y="1555966"/>
                    </a:lnTo>
                    <a:lnTo>
                      <a:pt x="2087199" y="1557027"/>
                    </a:lnTo>
                    <a:lnTo>
                      <a:pt x="2087502" y="1558087"/>
                    </a:lnTo>
                    <a:lnTo>
                      <a:pt x="2092047" y="1560663"/>
                    </a:lnTo>
                    <a:lnTo>
                      <a:pt x="2093108" y="1560208"/>
                    </a:lnTo>
                    <a:lnTo>
                      <a:pt x="2094017" y="1558996"/>
                    </a:lnTo>
                    <a:lnTo>
                      <a:pt x="2094169" y="1558239"/>
                    </a:lnTo>
                    <a:lnTo>
                      <a:pt x="2093865" y="1557784"/>
                    </a:lnTo>
                    <a:lnTo>
                      <a:pt x="2092956" y="1557481"/>
                    </a:lnTo>
                    <a:close/>
                    <a:moveTo>
                      <a:pt x="2177051" y="1537480"/>
                    </a:moveTo>
                    <a:lnTo>
                      <a:pt x="2177354" y="1538087"/>
                    </a:lnTo>
                    <a:lnTo>
                      <a:pt x="2178869" y="1538693"/>
                    </a:lnTo>
                    <a:lnTo>
                      <a:pt x="2181293" y="1539299"/>
                    </a:lnTo>
                    <a:lnTo>
                      <a:pt x="2181596" y="1538996"/>
                    </a:lnTo>
                    <a:lnTo>
                      <a:pt x="2181142" y="1538541"/>
                    </a:lnTo>
                    <a:lnTo>
                      <a:pt x="2177051" y="1537480"/>
                    </a:lnTo>
                    <a:close/>
                    <a:moveTo>
                      <a:pt x="2189627" y="1537783"/>
                    </a:moveTo>
                    <a:lnTo>
                      <a:pt x="2188263" y="1538238"/>
                    </a:lnTo>
                    <a:lnTo>
                      <a:pt x="2189021" y="1538389"/>
                    </a:lnTo>
                    <a:lnTo>
                      <a:pt x="2192657" y="1538389"/>
                    </a:lnTo>
                    <a:lnTo>
                      <a:pt x="2195082" y="1537783"/>
                    </a:lnTo>
                    <a:lnTo>
                      <a:pt x="2194021" y="1537177"/>
                    </a:lnTo>
                    <a:lnTo>
                      <a:pt x="2189627" y="1537783"/>
                    </a:lnTo>
                    <a:close/>
                    <a:moveTo>
                      <a:pt x="2357209" y="1649303"/>
                    </a:moveTo>
                    <a:lnTo>
                      <a:pt x="2355542" y="1647181"/>
                    </a:lnTo>
                    <a:lnTo>
                      <a:pt x="2355997" y="1649151"/>
                    </a:lnTo>
                    <a:lnTo>
                      <a:pt x="2357057" y="1650212"/>
                    </a:lnTo>
                    <a:lnTo>
                      <a:pt x="2359027" y="1650818"/>
                    </a:lnTo>
                    <a:lnTo>
                      <a:pt x="2359936" y="1650060"/>
                    </a:lnTo>
                    <a:lnTo>
                      <a:pt x="2357815" y="1649909"/>
                    </a:lnTo>
                    <a:lnTo>
                      <a:pt x="2357209" y="1649303"/>
                    </a:lnTo>
                    <a:close/>
                    <a:moveTo>
                      <a:pt x="2282206" y="1555057"/>
                    </a:moveTo>
                    <a:lnTo>
                      <a:pt x="2278873" y="1556572"/>
                    </a:lnTo>
                    <a:lnTo>
                      <a:pt x="2277509" y="1556269"/>
                    </a:lnTo>
                    <a:lnTo>
                      <a:pt x="2275690" y="1556420"/>
                    </a:lnTo>
                    <a:lnTo>
                      <a:pt x="2278721" y="1557178"/>
                    </a:lnTo>
                    <a:lnTo>
                      <a:pt x="2281448" y="1556118"/>
                    </a:lnTo>
                    <a:lnTo>
                      <a:pt x="2286145" y="1553390"/>
                    </a:lnTo>
                    <a:lnTo>
                      <a:pt x="2284024" y="1553845"/>
                    </a:lnTo>
                    <a:lnTo>
                      <a:pt x="2282206" y="1555057"/>
                    </a:lnTo>
                    <a:close/>
                    <a:moveTo>
                      <a:pt x="2725556" y="1096555"/>
                    </a:moveTo>
                    <a:lnTo>
                      <a:pt x="2725101" y="1096858"/>
                    </a:lnTo>
                    <a:lnTo>
                      <a:pt x="2724798" y="1097464"/>
                    </a:lnTo>
                    <a:lnTo>
                      <a:pt x="2724798" y="1099131"/>
                    </a:lnTo>
                    <a:lnTo>
                      <a:pt x="2725859" y="1099283"/>
                    </a:lnTo>
                    <a:lnTo>
                      <a:pt x="2726919" y="1098676"/>
                    </a:lnTo>
                    <a:lnTo>
                      <a:pt x="2726010" y="1097161"/>
                    </a:lnTo>
                    <a:lnTo>
                      <a:pt x="2725556" y="1096555"/>
                    </a:lnTo>
                    <a:close/>
                    <a:moveTo>
                      <a:pt x="2771012" y="1076100"/>
                    </a:moveTo>
                    <a:lnTo>
                      <a:pt x="2768436" y="1075494"/>
                    </a:lnTo>
                    <a:lnTo>
                      <a:pt x="2768285" y="1073524"/>
                    </a:lnTo>
                    <a:lnTo>
                      <a:pt x="2769194" y="1072009"/>
                    </a:lnTo>
                    <a:lnTo>
                      <a:pt x="2768588" y="1068675"/>
                    </a:lnTo>
                    <a:lnTo>
                      <a:pt x="2767830" y="1067009"/>
                    </a:lnTo>
                    <a:lnTo>
                      <a:pt x="2767982" y="1065948"/>
                    </a:lnTo>
                    <a:lnTo>
                      <a:pt x="2766769" y="1065494"/>
                    </a:lnTo>
                    <a:lnTo>
                      <a:pt x="2765557" y="1065190"/>
                    </a:lnTo>
                    <a:lnTo>
                      <a:pt x="2764497" y="1064887"/>
                    </a:lnTo>
                    <a:lnTo>
                      <a:pt x="2763890" y="1065342"/>
                    </a:lnTo>
                    <a:lnTo>
                      <a:pt x="2763284" y="1065948"/>
                    </a:lnTo>
                    <a:lnTo>
                      <a:pt x="2762678" y="1066403"/>
                    </a:lnTo>
                    <a:lnTo>
                      <a:pt x="2761315" y="1065797"/>
                    </a:lnTo>
                    <a:lnTo>
                      <a:pt x="2760405" y="1064584"/>
                    </a:lnTo>
                    <a:lnTo>
                      <a:pt x="2758890" y="1063372"/>
                    </a:lnTo>
                    <a:lnTo>
                      <a:pt x="2758284" y="1062463"/>
                    </a:lnTo>
                    <a:lnTo>
                      <a:pt x="2758587" y="1061402"/>
                    </a:lnTo>
                    <a:lnTo>
                      <a:pt x="2759193" y="1060342"/>
                    </a:lnTo>
                    <a:lnTo>
                      <a:pt x="2759496" y="1059130"/>
                    </a:lnTo>
                    <a:lnTo>
                      <a:pt x="2758739" y="1057614"/>
                    </a:lnTo>
                    <a:lnTo>
                      <a:pt x="2758133" y="1056705"/>
                    </a:lnTo>
                    <a:lnTo>
                      <a:pt x="2757678" y="1055796"/>
                    </a:lnTo>
                    <a:lnTo>
                      <a:pt x="2757830" y="1054887"/>
                    </a:lnTo>
                    <a:lnTo>
                      <a:pt x="2758739" y="1054432"/>
                    </a:lnTo>
                    <a:lnTo>
                      <a:pt x="2759648" y="1053826"/>
                    </a:lnTo>
                    <a:lnTo>
                      <a:pt x="2759951" y="1052614"/>
                    </a:lnTo>
                    <a:lnTo>
                      <a:pt x="2759496" y="1051402"/>
                    </a:lnTo>
                    <a:lnTo>
                      <a:pt x="2759042" y="1051251"/>
                    </a:lnTo>
                    <a:lnTo>
                      <a:pt x="2759042" y="1051251"/>
                    </a:lnTo>
                    <a:lnTo>
                      <a:pt x="2757375" y="1051857"/>
                    </a:lnTo>
                    <a:lnTo>
                      <a:pt x="2754345" y="1051402"/>
                    </a:lnTo>
                    <a:lnTo>
                      <a:pt x="2750102" y="1049129"/>
                    </a:lnTo>
                    <a:lnTo>
                      <a:pt x="2747829" y="1046705"/>
                    </a:lnTo>
                    <a:lnTo>
                      <a:pt x="2749496" y="1046099"/>
                    </a:lnTo>
                    <a:lnTo>
                      <a:pt x="2749496" y="1045644"/>
                    </a:lnTo>
                    <a:lnTo>
                      <a:pt x="2749647" y="1044735"/>
                    </a:lnTo>
                    <a:lnTo>
                      <a:pt x="2750102" y="1043977"/>
                    </a:lnTo>
                    <a:lnTo>
                      <a:pt x="2750102" y="1043068"/>
                    </a:lnTo>
                    <a:lnTo>
                      <a:pt x="2749951" y="1042462"/>
                    </a:lnTo>
                    <a:lnTo>
                      <a:pt x="2749951" y="1042008"/>
                    </a:lnTo>
                    <a:lnTo>
                      <a:pt x="2750102" y="1041402"/>
                    </a:lnTo>
                    <a:lnTo>
                      <a:pt x="2750405" y="1040189"/>
                    </a:lnTo>
                    <a:lnTo>
                      <a:pt x="2749951" y="1039280"/>
                    </a:lnTo>
                    <a:lnTo>
                      <a:pt x="2749951" y="1036250"/>
                    </a:lnTo>
                    <a:lnTo>
                      <a:pt x="2749799" y="1030492"/>
                    </a:lnTo>
                    <a:lnTo>
                      <a:pt x="2749799" y="1026098"/>
                    </a:lnTo>
                    <a:lnTo>
                      <a:pt x="2749647" y="1020643"/>
                    </a:lnTo>
                    <a:lnTo>
                      <a:pt x="2749647" y="1016552"/>
                    </a:lnTo>
                    <a:lnTo>
                      <a:pt x="2749647" y="1010946"/>
                    </a:lnTo>
                    <a:lnTo>
                      <a:pt x="2749647" y="1005643"/>
                    </a:lnTo>
                    <a:lnTo>
                      <a:pt x="2749496" y="1000643"/>
                    </a:lnTo>
                    <a:lnTo>
                      <a:pt x="2746011" y="997764"/>
                    </a:lnTo>
                    <a:lnTo>
                      <a:pt x="2741617" y="994127"/>
                    </a:lnTo>
                    <a:lnTo>
                      <a:pt x="2737829" y="991703"/>
                    </a:lnTo>
                    <a:lnTo>
                      <a:pt x="2735708" y="991400"/>
                    </a:lnTo>
                    <a:lnTo>
                      <a:pt x="2734344" y="991703"/>
                    </a:lnTo>
                    <a:lnTo>
                      <a:pt x="2733889" y="992612"/>
                    </a:lnTo>
                    <a:lnTo>
                      <a:pt x="2731010" y="993673"/>
                    </a:lnTo>
                    <a:lnTo>
                      <a:pt x="2725859" y="994733"/>
                    </a:lnTo>
                    <a:lnTo>
                      <a:pt x="2721465" y="996400"/>
                    </a:lnTo>
                    <a:lnTo>
                      <a:pt x="2719798" y="996400"/>
                    </a:lnTo>
                    <a:lnTo>
                      <a:pt x="2718434" y="996097"/>
                    </a:lnTo>
                    <a:lnTo>
                      <a:pt x="2716616" y="995188"/>
                    </a:lnTo>
                    <a:lnTo>
                      <a:pt x="2715404" y="993976"/>
                    </a:lnTo>
                    <a:lnTo>
                      <a:pt x="2714949" y="991703"/>
                    </a:lnTo>
                    <a:lnTo>
                      <a:pt x="2715404" y="988673"/>
                    </a:lnTo>
                    <a:lnTo>
                      <a:pt x="2712828" y="988066"/>
                    </a:lnTo>
                    <a:lnTo>
                      <a:pt x="2710252" y="987460"/>
                    </a:lnTo>
                    <a:lnTo>
                      <a:pt x="2708585" y="989582"/>
                    </a:lnTo>
                    <a:lnTo>
                      <a:pt x="2707070" y="991400"/>
                    </a:lnTo>
                    <a:lnTo>
                      <a:pt x="2704040" y="995339"/>
                    </a:lnTo>
                    <a:lnTo>
                      <a:pt x="2699646" y="1000794"/>
                    </a:lnTo>
                    <a:lnTo>
                      <a:pt x="2697221" y="1003825"/>
                    </a:lnTo>
                    <a:lnTo>
                      <a:pt x="2692979" y="1009128"/>
                    </a:lnTo>
                    <a:lnTo>
                      <a:pt x="2689191" y="1013673"/>
                    </a:lnTo>
                    <a:lnTo>
                      <a:pt x="2688282" y="1018371"/>
                    </a:lnTo>
                    <a:lnTo>
                      <a:pt x="2687524" y="1022916"/>
                    </a:lnTo>
                    <a:lnTo>
                      <a:pt x="2684494" y="1026250"/>
                    </a:lnTo>
                    <a:lnTo>
                      <a:pt x="2682675" y="1029431"/>
                    </a:lnTo>
                    <a:lnTo>
                      <a:pt x="2681766" y="1032917"/>
                    </a:lnTo>
                    <a:lnTo>
                      <a:pt x="2681009" y="1036098"/>
                    </a:lnTo>
                    <a:lnTo>
                      <a:pt x="2681009" y="1038674"/>
                    </a:lnTo>
                    <a:lnTo>
                      <a:pt x="2681463" y="1040038"/>
                    </a:lnTo>
                    <a:lnTo>
                      <a:pt x="2681160" y="1041099"/>
                    </a:lnTo>
                    <a:lnTo>
                      <a:pt x="2680099" y="1042462"/>
                    </a:lnTo>
                    <a:lnTo>
                      <a:pt x="2678130" y="1044735"/>
                    </a:lnTo>
                    <a:lnTo>
                      <a:pt x="2677827" y="1046856"/>
                    </a:lnTo>
                    <a:lnTo>
                      <a:pt x="2676615" y="1047917"/>
                    </a:lnTo>
                    <a:lnTo>
                      <a:pt x="2673130" y="1050038"/>
                    </a:lnTo>
                    <a:lnTo>
                      <a:pt x="2670251" y="1053220"/>
                    </a:lnTo>
                    <a:lnTo>
                      <a:pt x="2670099" y="1055039"/>
                    </a:lnTo>
                    <a:lnTo>
                      <a:pt x="2670554" y="1056554"/>
                    </a:lnTo>
                    <a:lnTo>
                      <a:pt x="2670554" y="1057463"/>
                    </a:lnTo>
                    <a:lnTo>
                      <a:pt x="2669948" y="1058069"/>
                    </a:lnTo>
                    <a:lnTo>
                      <a:pt x="2668735" y="1058069"/>
                    </a:lnTo>
                    <a:lnTo>
                      <a:pt x="2667523" y="1058220"/>
                    </a:lnTo>
                    <a:lnTo>
                      <a:pt x="2666463" y="1059584"/>
                    </a:lnTo>
                    <a:lnTo>
                      <a:pt x="2666463" y="1061402"/>
                    </a:lnTo>
                    <a:lnTo>
                      <a:pt x="2665705" y="1062766"/>
                    </a:lnTo>
                    <a:lnTo>
                      <a:pt x="2664796" y="1063069"/>
                    </a:lnTo>
                    <a:lnTo>
                      <a:pt x="2664038" y="1062160"/>
                    </a:lnTo>
                    <a:lnTo>
                      <a:pt x="2663129" y="1060796"/>
                    </a:lnTo>
                    <a:lnTo>
                      <a:pt x="2662068" y="1060645"/>
                    </a:lnTo>
                    <a:lnTo>
                      <a:pt x="2660402" y="1061554"/>
                    </a:lnTo>
                    <a:lnTo>
                      <a:pt x="2658432" y="1063069"/>
                    </a:lnTo>
                    <a:lnTo>
                      <a:pt x="2656614" y="1063221"/>
                    </a:lnTo>
                    <a:lnTo>
                      <a:pt x="2653129" y="1062160"/>
                    </a:lnTo>
                    <a:lnTo>
                      <a:pt x="2650553" y="1065190"/>
                    </a:lnTo>
                    <a:lnTo>
                      <a:pt x="2647826" y="1071706"/>
                    </a:lnTo>
                    <a:lnTo>
                      <a:pt x="2636462" y="1071706"/>
                    </a:lnTo>
                    <a:lnTo>
                      <a:pt x="2625098" y="1071706"/>
                    </a:lnTo>
                    <a:lnTo>
                      <a:pt x="2613734" y="1071706"/>
                    </a:lnTo>
                    <a:lnTo>
                      <a:pt x="2602369" y="1071706"/>
                    </a:lnTo>
                    <a:lnTo>
                      <a:pt x="2591005" y="1071706"/>
                    </a:lnTo>
                    <a:lnTo>
                      <a:pt x="2579641" y="1071706"/>
                    </a:lnTo>
                    <a:lnTo>
                      <a:pt x="2568277" y="1071706"/>
                    </a:lnTo>
                    <a:lnTo>
                      <a:pt x="2561913" y="1071706"/>
                    </a:lnTo>
                    <a:lnTo>
                      <a:pt x="2560701" y="1071706"/>
                    </a:lnTo>
                    <a:lnTo>
                      <a:pt x="2559186" y="1071857"/>
                    </a:lnTo>
                    <a:lnTo>
                      <a:pt x="2556610" y="1071706"/>
                    </a:lnTo>
                    <a:lnTo>
                      <a:pt x="2552822" y="1072918"/>
                    </a:lnTo>
                    <a:lnTo>
                      <a:pt x="2547822" y="1075342"/>
                    </a:lnTo>
                    <a:lnTo>
                      <a:pt x="2541761" y="1079585"/>
                    </a:lnTo>
                    <a:lnTo>
                      <a:pt x="2531003" y="1088828"/>
                    </a:lnTo>
                    <a:lnTo>
                      <a:pt x="2530852" y="1088979"/>
                    </a:lnTo>
                    <a:lnTo>
                      <a:pt x="2531155" y="1089131"/>
                    </a:lnTo>
                    <a:lnTo>
                      <a:pt x="2531458" y="1090040"/>
                    </a:lnTo>
                    <a:lnTo>
                      <a:pt x="2531003" y="1090949"/>
                    </a:lnTo>
                    <a:lnTo>
                      <a:pt x="2529942" y="1092010"/>
                    </a:lnTo>
                    <a:lnTo>
                      <a:pt x="2518881" y="1099131"/>
                    </a:lnTo>
                    <a:lnTo>
                      <a:pt x="2515700" y="1101707"/>
                    </a:lnTo>
                    <a:lnTo>
                      <a:pt x="2516912" y="1103222"/>
                    </a:lnTo>
                    <a:lnTo>
                      <a:pt x="2517063" y="1103828"/>
                    </a:lnTo>
                    <a:lnTo>
                      <a:pt x="2517821" y="1103677"/>
                    </a:lnTo>
                    <a:lnTo>
                      <a:pt x="2520094" y="1102464"/>
                    </a:lnTo>
                    <a:lnTo>
                      <a:pt x="2520700" y="1102616"/>
                    </a:lnTo>
                    <a:lnTo>
                      <a:pt x="2521003" y="1102919"/>
                    </a:lnTo>
                    <a:lnTo>
                      <a:pt x="2521154" y="1103677"/>
                    </a:lnTo>
                    <a:lnTo>
                      <a:pt x="2520094" y="1105040"/>
                    </a:lnTo>
                    <a:lnTo>
                      <a:pt x="2520548" y="1105343"/>
                    </a:lnTo>
                    <a:lnTo>
                      <a:pt x="2522518" y="1105040"/>
                    </a:lnTo>
                    <a:lnTo>
                      <a:pt x="2523427" y="1105192"/>
                    </a:lnTo>
                    <a:lnTo>
                      <a:pt x="2522669" y="1106252"/>
                    </a:lnTo>
                    <a:lnTo>
                      <a:pt x="2521609" y="1106859"/>
                    </a:lnTo>
                    <a:lnTo>
                      <a:pt x="2521457" y="1107465"/>
                    </a:lnTo>
                    <a:lnTo>
                      <a:pt x="2519942" y="1109283"/>
                    </a:lnTo>
                    <a:lnTo>
                      <a:pt x="2519336" y="1109586"/>
                    </a:lnTo>
                    <a:lnTo>
                      <a:pt x="2519033" y="1109283"/>
                    </a:lnTo>
                    <a:lnTo>
                      <a:pt x="2519184" y="1108525"/>
                    </a:lnTo>
                    <a:lnTo>
                      <a:pt x="2517821" y="1109434"/>
                    </a:lnTo>
                    <a:lnTo>
                      <a:pt x="2517669" y="1110192"/>
                    </a:lnTo>
                    <a:lnTo>
                      <a:pt x="2518427" y="1110798"/>
                    </a:lnTo>
                    <a:lnTo>
                      <a:pt x="2519033" y="1111859"/>
                    </a:lnTo>
                    <a:lnTo>
                      <a:pt x="2519488" y="1113222"/>
                    </a:lnTo>
                    <a:lnTo>
                      <a:pt x="2519790" y="1116101"/>
                    </a:lnTo>
                    <a:lnTo>
                      <a:pt x="2520094" y="1116707"/>
                    </a:lnTo>
                    <a:lnTo>
                      <a:pt x="2520245" y="1117010"/>
                    </a:lnTo>
                    <a:lnTo>
                      <a:pt x="2520094" y="1117314"/>
                    </a:lnTo>
                    <a:lnTo>
                      <a:pt x="2519942" y="1117920"/>
                    </a:lnTo>
                    <a:lnTo>
                      <a:pt x="2520245" y="1118526"/>
                    </a:lnTo>
                    <a:lnTo>
                      <a:pt x="2519942" y="1119283"/>
                    </a:lnTo>
                    <a:lnTo>
                      <a:pt x="2519184" y="1120041"/>
                    </a:lnTo>
                    <a:lnTo>
                      <a:pt x="2517669" y="1120495"/>
                    </a:lnTo>
                    <a:lnTo>
                      <a:pt x="2515245" y="1120495"/>
                    </a:lnTo>
                    <a:lnTo>
                      <a:pt x="2512669" y="1121405"/>
                    </a:lnTo>
                    <a:lnTo>
                      <a:pt x="2509790" y="1123223"/>
                    </a:lnTo>
                    <a:lnTo>
                      <a:pt x="2507820" y="1124890"/>
                    </a:lnTo>
                    <a:lnTo>
                      <a:pt x="2506760" y="1126405"/>
                    </a:lnTo>
                    <a:lnTo>
                      <a:pt x="2506002" y="1127011"/>
                    </a:lnTo>
                    <a:lnTo>
                      <a:pt x="2505547" y="1126708"/>
                    </a:lnTo>
                    <a:lnTo>
                      <a:pt x="2501608" y="1127920"/>
                    </a:lnTo>
                    <a:lnTo>
                      <a:pt x="2500244" y="1128678"/>
                    </a:lnTo>
                    <a:lnTo>
                      <a:pt x="2499941" y="1129435"/>
                    </a:lnTo>
                    <a:lnTo>
                      <a:pt x="2499638" y="1129587"/>
                    </a:lnTo>
                    <a:lnTo>
                      <a:pt x="2499335" y="1129132"/>
                    </a:lnTo>
                    <a:lnTo>
                      <a:pt x="2496456" y="1128829"/>
                    </a:lnTo>
                    <a:lnTo>
                      <a:pt x="2491153" y="1128678"/>
                    </a:lnTo>
                    <a:lnTo>
                      <a:pt x="2487062" y="1128829"/>
                    </a:lnTo>
                    <a:lnTo>
                      <a:pt x="2484032" y="1129435"/>
                    </a:lnTo>
                    <a:lnTo>
                      <a:pt x="2481456" y="1128981"/>
                    </a:lnTo>
                    <a:lnTo>
                      <a:pt x="2479183" y="1127465"/>
                    </a:lnTo>
                    <a:lnTo>
                      <a:pt x="2475546" y="1126405"/>
                    </a:lnTo>
                    <a:lnTo>
                      <a:pt x="2466304" y="1125193"/>
                    </a:lnTo>
                    <a:lnTo>
                      <a:pt x="2458576" y="1125496"/>
                    </a:lnTo>
                    <a:lnTo>
                      <a:pt x="2452212" y="1126405"/>
                    </a:lnTo>
                    <a:lnTo>
                      <a:pt x="2442212" y="1128981"/>
                    </a:lnTo>
                    <a:lnTo>
                      <a:pt x="2442060" y="1128981"/>
                    </a:lnTo>
                    <a:lnTo>
                      <a:pt x="2442060" y="1129132"/>
                    </a:lnTo>
                    <a:lnTo>
                      <a:pt x="2441909" y="1134890"/>
                    </a:lnTo>
                    <a:lnTo>
                      <a:pt x="2446303" y="1136102"/>
                    </a:lnTo>
                    <a:lnTo>
                      <a:pt x="2446606" y="1136557"/>
                    </a:lnTo>
                    <a:lnTo>
                      <a:pt x="2446454" y="1137314"/>
                    </a:lnTo>
                    <a:lnTo>
                      <a:pt x="2445848" y="1138526"/>
                    </a:lnTo>
                    <a:lnTo>
                      <a:pt x="2446000" y="1140193"/>
                    </a:lnTo>
                    <a:lnTo>
                      <a:pt x="2446909" y="1142314"/>
                    </a:lnTo>
                    <a:lnTo>
                      <a:pt x="2447364" y="1143981"/>
                    </a:lnTo>
                    <a:lnTo>
                      <a:pt x="2447212" y="1145193"/>
                    </a:lnTo>
                    <a:lnTo>
                      <a:pt x="2446151" y="1146406"/>
                    </a:lnTo>
                    <a:lnTo>
                      <a:pt x="2444030" y="1147466"/>
                    </a:lnTo>
                    <a:lnTo>
                      <a:pt x="2442212" y="1149133"/>
                    </a:lnTo>
                    <a:lnTo>
                      <a:pt x="2440545" y="1151406"/>
                    </a:lnTo>
                    <a:lnTo>
                      <a:pt x="2438272" y="1153224"/>
                    </a:lnTo>
                    <a:lnTo>
                      <a:pt x="2435393" y="1154588"/>
                    </a:lnTo>
                    <a:lnTo>
                      <a:pt x="2432666" y="1156406"/>
                    </a:lnTo>
                    <a:lnTo>
                      <a:pt x="2430090" y="1158527"/>
                    </a:lnTo>
                    <a:lnTo>
                      <a:pt x="2424787" y="1161558"/>
                    </a:lnTo>
                    <a:lnTo>
                      <a:pt x="2414635" y="1166558"/>
                    </a:lnTo>
                    <a:lnTo>
                      <a:pt x="2413271" y="1167164"/>
                    </a:lnTo>
                    <a:lnTo>
                      <a:pt x="2412059" y="1167770"/>
                    </a:lnTo>
                    <a:lnTo>
                      <a:pt x="2409786" y="1168831"/>
                    </a:lnTo>
                    <a:lnTo>
                      <a:pt x="2407514" y="1169891"/>
                    </a:lnTo>
                    <a:lnTo>
                      <a:pt x="2392816" y="1174740"/>
                    </a:lnTo>
                    <a:lnTo>
                      <a:pt x="2382967" y="1178831"/>
                    </a:lnTo>
                    <a:lnTo>
                      <a:pt x="2377058" y="1182013"/>
                    </a:lnTo>
                    <a:lnTo>
                      <a:pt x="2371906" y="1186104"/>
                    </a:lnTo>
                    <a:lnTo>
                      <a:pt x="2369482" y="1187316"/>
                    </a:lnTo>
                    <a:lnTo>
                      <a:pt x="2366906" y="1187619"/>
                    </a:lnTo>
                    <a:lnTo>
                      <a:pt x="2362815" y="1187468"/>
                    </a:lnTo>
                    <a:lnTo>
                      <a:pt x="2358572" y="1187922"/>
                    </a:lnTo>
                    <a:lnTo>
                      <a:pt x="2354178" y="1189134"/>
                    </a:lnTo>
                    <a:lnTo>
                      <a:pt x="2351299" y="1190044"/>
                    </a:lnTo>
                    <a:lnTo>
                      <a:pt x="2349936" y="1190801"/>
                    </a:lnTo>
                    <a:lnTo>
                      <a:pt x="2348724" y="1190953"/>
                    </a:lnTo>
                    <a:lnTo>
                      <a:pt x="2347511" y="1190650"/>
                    </a:lnTo>
                    <a:lnTo>
                      <a:pt x="2344329" y="1188680"/>
                    </a:lnTo>
                    <a:lnTo>
                      <a:pt x="2344026" y="1188831"/>
                    </a:lnTo>
                    <a:lnTo>
                      <a:pt x="2343420" y="1189134"/>
                    </a:lnTo>
                    <a:lnTo>
                      <a:pt x="2341451" y="1188831"/>
                    </a:lnTo>
                    <a:lnTo>
                      <a:pt x="2339329" y="1188831"/>
                    </a:lnTo>
                    <a:lnTo>
                      <a:pt x="2337511" y="1189589"/>
                    </a:lnTo>
                    <a:lnTo>
                      <a:pt x="2335693" y="1189740"/>
                    </a:lnTo>
                    <a:lnTo>
                      <a:pt x="2333875" y="1189286"/>
                    </a:lnTo>
                    <a:lnTo>
                      <a:pt x="2335390" y="1188528"/>
                    </a:lnTo>
                    <a:lnTo>
                      <a:pt x="2342814" y="1187013"/>
                    </a:lnTo>
                    <a:lnTo>
                      <a:pt x="2342663" y="1186710"/>
                    </a:lnTo>
                    <a:lnTo>
                      <a:pt x="2339935" y="1185801"/>
                    </a:lnTo>
                    <a:lnTo>
                      <a:pt x="2339178" y="1185043"/>
                    </a:lnTo>
                    <a:lnTo>
                      <a:pt x="2338572" y="1185043"/>
                    </a:lnTo>
                    <a:lnTo>
                      <a:pt x="2337966" y="1185952"/>
                    </a:lnTo>
                    <a:lnTo>
                      <a:pt x="2337056" y="1186407"/>
                    </a:lnTo>
                    <a:lnTo>
                      <a:pt x="2335693" y="1186256"/>
                    </a:lnTo>
                    <a:lnTo>
                      <a:pt x="2334178" y="1185649"/>
                    </a:lnTo>
                    <a:lnTo>
                      <a:pt x="2332662" y="1184437"/>
                    </a:lnTo>
                    <a:lnTo>
                      <a:pt x="2327965" y="1182467"/>
                    </a:lnTo>
                    <a:lnTo>
                      <a:pt x="2326601" y="1181407"/>
                    </a:lnTo>
                    <a:lnTo>
                      <a:pt x="2324935" y="1180801"/>
                    </a:lnTo>
                    <a:lnTo>
                      <a:pt x="2322511" y="1180498"/>
                    </a:lnTo>
                    <a:lnTo>
                      <a:pt x="2322207" y="1179892"/>
                    </a:lnTo>
                    <a:lnTo>
                      <a:pt x="2322662" y="1179134"/>
                    </a:lnTo>
                    <a:lnTo>
                      <a:pt x="2324783" y="1175346"/>
                    </a:lnTo>
                    <a:lnTo>
                      <a:pt x="2325995" y="1173982"/>
                    </a:lnTo>
                    <a:lnTo>
                      <a:pt x="2326450" y="1173528"/>
                    </a:lnTo>
                    <a:lnTo>
                      <a:pt x="2327056" y="1173528"/>
                    </a:lnTo>
                    <a:lnTo>
                      <a:pt x="2327359" y="1173073"/>
                    </a:lnTo>
                    <a:lnTo>
                      <a:pt x="2327208" y="1172316"/>
                    </a:lnTo>
                    <a:lnTo>
                      <a:pt x="2327511" y="1171861"/>
                    </a:lnTo>
                    <a:lnTo>
                      <a:pt x="2328874" y="1170497"/>
                    </a:lnTo>
                    <a:lnTo>
                      <a:pt x="2329632" y="1169740"/>
                    </a:lnTo>
                    <a:lnTo>
                      <a:pt x="2329329" y="1168679"/>
                    </a:lnTo>
                    <a:lnTo>
                      <a:pt x="2329632" y="1166558"/>
                    </a:lnTo>
                    <a:lnTo>
                      <a:pt x="2330541" y="1163830"/>
                    </a:lnTo>
                    <a:lnTo>
                      <a:pt x="2331602" y="1161861"/>
                    </a:lnTo>
                    <a:lnTo>
                      <a:pt x="2332662" y="1160648"/>
                    </a:lnTo>
                    <a:lnTo>
                      <a:pt x="2333875" y="1159891"/>
                    </a:lnTo>
                    <a:lnTo>
                      <a:pt x="2336299" y="1158982"/>
                    </a:lnTo>
                    <a:lnTo>
                      <a:pt x="2336905" y="1158376"/>
                    </a:lnTo>
                    <a:lnTo>
                      <a:pt x="2337360" y="1156860"/>
                    </a:lnTo>
                    <a:lnTo>
                      <a:pt x="2337663" y="1154285"/>
                    </a:lnTo>
                    <a:lnTo>
                      <a:pt x="2338420" y="1152618"/>
                    </a:lnTo>
                    <a:lnTo>
                      <a:pt x="2339632" y="1151860"/>
                    </a:lnTo>
                    <a:lnTo>
                      <a:pt x="2339935" y="1151103"/>
                    </a:lnTo>
                    <a:lnTo>
                      <a:pt x="2339329" y="1150194"/>
                    </a:lnTo>
                    <a:lnTo>
                      <a:pt x="2339784" y="1149284"/>
                    </a:lnTo>
                    <a:lnTo>
                      <a:pt x="2341299" y="1148527"/>
                    </a:lnTo>
                    <a:lnTo>
                      <a:pt x="2342511" y="1148224"/>
                    </a:lnTo>
                    <a:lnTo>
                      <a:pt x="2343572" y="1148527"/>
                    </a:lnTo>
                    <a:lnTo>
                      <a:pt x="2344026" y="1149436"/>
                    </a:lnTo>
                    <a:lnTo>
                      <a:pt x="2344178" y="1151557"/>
                    </a:lnTo>
                    <a:lnTo>
                      <a:pt x="2343875" y="1152163"/>
                    </a:lnTo>
                    <a:lnTo>
                      <a:pt x="2343723" y="1152769"/>
                    </a:lnTo>
                    <a:lnTo>
                      <a:pt x="2346451" y="1150648"/>
                    </a:lnTo>
                    <a:lnTo>
                      <a:pt x="2347966" y="1146860"/>
                    </a:lnTo>
                    <a:lnTo>
                      <a:pt x="2349936" y="1137617"/>
                    </a:lnTo>
                    <a:lnTo>
                      <a:pt x="2349481" y="1136860"/>
                    </a:lnTo>
                    <a:lnTo>
                      <a:pt x="2348724" y="1135496"/>
                    </a:lnTo>
                    <a:lnTo>
                      <a:pt x="2347208" y="1128981"/>
                    </a:lnTo>
                    <a:lnTo>
                      <a:pt x="2344936" y="1117162"/>
                    </a:lnTo>
                    <a:lnTo>
                      <a:pt x="2343117" y="1109889"/>
                    </a:lnTo>
                    <a:lnTo>
                      <a:pt x="2341602" y="1107010"/>
                    </a:lnTo>
                    <a:lnTo>
                      <a:pt x="2339632" y="1104889"/>
                    </a:lnTo>
                    <a:lnTo>
                      <a:pt x="2337208" y="1103374"/>
                    </a:lnTo>
                    <a:lnTo>
                      <a:pt x="2335390" y="1102768"/>
                    </a:lnTo>
                    <a:lnTo>
                      <a:pt x="2334026" y="1102919"/>
                    </a:lnTo>
                    <a:lnTo>
                      <a:pt x="2331905" y="1104131"/>
                    </a:lnTo>
                    <a:lnTo>
                      <a:pt x="2328117" y="1105192"/>
                    </a:lnTo>
                    <a:lnTo>
                      <a:pt x="2326601" y="1105950"/>
                    </a:lnTo>
                    <a:lnTo>
                      <a:pt x="2325692" y="1106859"/>
                    </a:lnTo>
                    <a:lnTo>
                      <a:pt x="2324632" y="1107465"/>
                    </a:lnTo>
                    <a:lnTo>
                      <a:pt x="2323420" y="1107616"/>
                    </a:lnTo>
                    <a:lnTo>
                      <a:pt x="2323268" y="1107919"/>
                    </a:lnTo>
                    <a:lnTo>
                      <a:pt x="2324177" y="1108222"/>
                    </a:lnTo>
                    <a:lnTo>
                      <a:pt x="2324177" y="1109131"/>
                    </a:lnTo>
                    <a:lnTo>
                      <a:pt x="2321601" y="1113222"/>
                    </a:lnTo>
                    <a:lnTo>
                      <a:pt x="2320995" y="1114132"/>
                    </a:lnTo>
                    <a:lnTo>
                      <a:pt x="2319480" y="1114435"/>
                    </a:lnTo>
                    <a:lnTo>
                      <a:pt x="2318116" y="1115192"/>
                    </a:lnTo>
                    <a:lnTo>
                      <a:pt x="2316753" y="1117162"/>
                    </a:lnTo>
                    <a:lnTo>
                      <a:pt x="2315541" y="1117617"/>
                    </a:lnTo>
                    <a:lnTo>
                      <a:pt x="2313722" y="1117465"/>
                    </a:lnTo>
                    <a:lnTo>
                      <a:pt x="2310692" y="1116253"/>
                    </a:lnTo>
                    <a:lnTo>
                      <a:pt x="2308874" y="1115041"/>
                    </a:lnTo>
                    <a:lnTo>
                      <a:pt x="2308268" y="1113829"/>
                    </a:lnTo>
                    <a:lnTo>
                      <a:pt x="2308268" y="1112313"/>
                    </a:lnTo>
                    <a:lnTo>
                      <a:pt x="2308874" y="1110647"/>
                    </a:lnTo>
                    <a:lnTo>
                      <a:pt x="2308874" y="1109283"/>
                    </a:lnTo>
                    <a:lnTo>
                      <a:pt x="2310086" y="1106404"/>
                    </a:lnTo>
                    <a:lnTo>
                      <a:pt x="2311601" y="1105343"/>
                    </a:lnTo>
                    <a:lnTo>
                      <a:pt x="2313874" y="1105040"/>
                    </a:lnTo>
                    <a:lnTo>
                      <a:pt x="2315086" y="1104586"/>
                    </a:lnTo>
                    <a:lnTo>
                      <a:pt x="2315389" y="1103828"/>
                    </a:lnTo>
                    <a:lnTo>
                      <a:pt x="2316146" y="1103374"/>
                    </a:lnTo>
                    <a:lnTo>
                      <a:pt x="2317359" y="1103071"/>
                    </a:lnTo>
                    <a:lnTo>
                      <a:pt x="2318419" y="1101252"/>
                    </a:lnTo>
                    <a:lnTo>
                      <a:pt x="2319177" y="1097919"/>
                    </a:lnTo>
                    <a:lnTo>
                      <a:pt x="2320086" y="1096101"/>
                    </a:lnTo>
                    <a:lnTo>
                      <a:pt x="2320844" y="1095798"/>
                    </a:lnTo>
                    <a:lnTo>
                      <a:pt x="2321450" y="1095949"/>
                    </a:lnTo>
                    <a:lnTo>
                      <a:pt x="2321450" y="1096404"/>
                    </a:lnTo>
                    <a:lnTo>
                      <a:pt x="2324026" y="1094282"/>
                    </a:lnTo>
                    <a:lnTo>
                      <a:pt x="2324935" y="1092767"/>
                    </a:lnTo>
                    <a:lnTo>
                      <a:pt x="2324935" y="1091252"/>
                    </a:lnTo>
                    <a:lnTo>
                      <a:pt x="2325238" y="1086706"/>
                    </a:lnTo>
                    <a:lnTo>
                      <a:pt x="2325541" y="1083828"/>
                    </a:lnTo>
                    <a:lnTo>
                      <a:pt x="2325844" y="1082464"/>
                    </a:lnTo>
                    <a:lnTo>
                      <a:pt x="2325692" y="1078979"/>
                    </a:lnTo>
                    <a:lnTo>
                      <a:pt x="2324935" y="1076100"/>
                    </a:lnTo>
                    <a:lnTo>
                      <a:pt x="2321904" y="1072918"/>
                    </a:lnTo>
                    <a:lnTo>
                      <a:pt x="2321450" y="1071857"/>
                    </a:lnTo>
                    <a:lnTo>
                      <a:pt x="2321601" y="1070797"/>
                    </a:lnTo>
                    <a:lnTo>
                      <a:pt x="2322207" y="1069585"/>
                    </a:lnTo>
                    <a:lnTo>
                      <a:pt x="2323571" y="1069282"/>
                    </a:lnTo>
                    <a:lnTo>
                      <a:pt x="2325844" y="1070191"/>
                    </a:lnTo>
                    <a:lnTo>
                      <a:pt x="2326299" y="1070039"/>
                    </a:lnTo>
                    <a:lnTo>
                      <a:pt x="2325692" y="1069585"/>
                    </a:lnTo>
                    <a:lnTo>
                      <a:pt x="2325389" y="1068524"/>
                    </a:lnTo>
                    <a:lnTo>
                      <a:pt x="2325238" y="1067009"/>
                    </a:lnTo>
                    <a:lnTo>
                      <a:pt x="2324935" y="1066100"/>
                    </a:lnTo>
                    <a:lnTo>
                      <a:pt x="2324480" y="1065948"/>
                    </a:lnTo>
                    <a:lnTo>
                      <a:pt x="2323117" y="1064130"/>
                    </a:lnTo>
                    <a:lnTo>
                      <a:pt x="2322965" y="1063221"/>
                    </a:lnTo>
                    <a:lnTo>
                      <a:pt x="2323117" y="1062312"/>
                    </a:lnTo>
                    <a:lnTo>
                      <a:pt x="2322662" y="1061402"/>
                    </a:lnTo>
                    <a:lnTo>
                      <a:pt x="2320995" y="1060039"/>
                    </a:lnTo>
                    <a:lnTo>
                      <a:pt x="2317813" y="1058675"/>
                    </a:lnTo>
                    <a:lnTo>
                      <a:pt x="2310237" y="1056099"/>
                    </a:lnTo>
                    <a:lnTo>
                      <a:pt x="2308874" y="1055039"/>
                    </a:lnTo>
                    <a:lnTo>
                      <a:pt x="2307055" y="1054432"/>
                    </a:lnTo>
                    <a:lnTo>
                      <a:pt x="2304631" y="1054281"/>
                    </a:lnTo>
                    <a:lnTo>
                      <a:pt x="2303116" y="1053523"/>
                    </a:lnTo>
                    <a:lnTo>
                      <a:pt x="2302510" y="1052160"/>
                    </a:lnTo>
                    <a:lnTo>
                      <a:pt x="2301449" y="1050948"/>
                    </a:lnTo>
                    <a:lnTo>
                      <a:pt x="2299934" y="1049887"/>
                    </a:lnTo>
                    <a:lnTo>
                      <a:pt x="2297661" y="1049129"/>
                    </a:lnTo>
                    <a:lnTo>
                      <a:pt x="2294479" y="1048826"/>
                    </a:lnTo>
                    <a:lnTo>
                      <a:pt x="2291146" y="1047614"/>
                    </a:lnTo>
                    <a:lnTo>
                      <a:pt x="2287661" y="1045493"/>
                    </a:lnTo>
                    <a:lnTo>
                      <a:pt x="2285388" y="1044735"/>
                    </a:lnTo>
                    <a:lnTo>
                      <a:pt x="2284479" y="1045341"/>
                    </a:lnTo>
                    <a:lnTo>
                      <a:pt x="2282812" y="1045493"/>
                    </a:lnTo>
                    <a:lnTo>
                      <a:pt x="2280539" y="1045190"/>
                    </a:lnTo>
                    <a:lnTo>
                      <a:pt x="2279782" y="1045493"/>
                    </a:lnTo>
                    <a:lnTo>
                      <a:pt x="2280539" y="1046250"/>
                    </a:lnTo>
                    <a:lnTo>
                      <a:pt x="2279933" y="1047462"/>
                    </a:lnTo>
                    <a:lnTo>
                      <a:pt x="2277963" y="1049129"/>
                    </a:lnTo>
                    <a:lnTo>
                      <a:pt x="2276903" y="1050796"/>
                    </a:lnTo>
                    <a:lnTo>
                      <a:pt x="2276600" y="1052614"/>
                    </a:lnTo>
                    <a:lnTo>
                      <a:pt x="2276903" y="1054129"/>
                    </a:lnTo>
                    <a:lnTo>
                      <a:pt x="2277812" y="1055493"/>
                    </a:lnTo>
                    <a:lnTo>
                      <a:pt x="2279176" y="1056402"/>
                    </a:lnTo>
                    <a:lnTo>
                      <a:pt x="2280842" y="1056857"/>
                    </a:lnTo>
                    <a:lnTo>
                      <a:pt x="2281145" y="1057463"/>
                    </a:lnTo>
                    <a:lnTo>
                      <a:pt x="2280085" y="1058069"/>
                    </a:lnTo>
                    <a:lnTo>
                      <a:pt x="2278266" y="1058524"/>
                    </a:lnTo>
                    <a:lnTo>
                      <a:pt x="2275690" y="1058675"/>
                    </a:lnTo>
                    <a:lnTo>
                      <a:pt x="2273115" y="1059433"/>
                    </a:lnTo>
                    <a:lnTo>
                      <a:pt x="2270539" y="1060796"/>
                    </a:lnTo>
                    <a:lnTo>
                      <a:pt x="2269024" y="1062008"/>
                    </a:lnTo>
                    <a:lnTo>
                      <a:pt x="2268569" y="1063069"/>
                    </a:lnTo>
                    <a:lnTo>
                      <a:pt x="2268569" y="1064736"/>
                    </a:lnTo>
                    <a:lnTo>
                      <a:pt x="2268872" y="1068675"/>
                    </a:lnTo>
                    <a:lnTo>
                      <a:pt x="2268721" y="1070191"/>
                    </a:lnTo>
                    <a:lnTo>
                      <a:pt x="2267660" y="1073070"/>
                    </a:lnTo>
                    <a:lnTo>
                      <a:pt x="2266145" y="1076706"/>
                    </a:lnTo>
                    <a:lnTo>
                      <a:pt x="2264326" y="1078979"/>
                    </a:lnTo>
                    <a:lnTo>
                      <a:pt x="2264024" y="1078676"/>
                    </a:lnTo>
                    <a:lnTo>
                      <a:pt x="2264326" y="1077615"/>
                    </a:lnTo>
                    <a:lnTo>
                      <a:pt x="2265842" y="1073979"/>
                    </a:lnTo>
                    <a:lnTo>
                      <a:pt x="2265993" y="1072463"/>
                    </a:lnTo>
                    <a:lnTo>
                      <a:pt x="2265842" y="1071706"/>
                    </a:lnTo>
                    <a:lnTo>
                      <a:pt x="2265387" y="1071554"/>
                    </a:lnTo>
                    <a:lnTo>
                      <a:pt x="2264781" y="1072312"/>
                    </a:lnTo>
                    <a:lnTo>
                      <a:pt x="2264175" y="1073827"/>
                    </a:lnTo>
                    <a:lnTo>
                      <a:pt x="2264024" y="1074585"/>
                    </a:lnTo>
                    <a:lnTo>
                      <a:pt x="2264326" y="1074736"/>
                    </a:lnTo>
                    <a:lnTo>
                      <a:pt x="2264024" y="1075797"/>
                    </a:lnTo>
                    <a:lnTo>
                      <a:pt x="2263114" y="1077767"/>
                    </a:lnTo>
                    <a:lnTo>
                      <a:pt x="2262357" y="1078221"/>
                    </a:lnTo>
                    <a:lnTo>
                      <a:pt x="2261751" y="1077161"/>
                    </a:lnTo>
                    <a:lnTo>
                      <a:pt x="2261751" y="1075645"/>
                    </a:lnTo>
                    <a:lnTo>
                      <a:pt x="2262811" y="1072615"/>
                    </a:lnTo>
                    <a:lnTo>
                      <a:pt x="2262357" y="1072009"/>
                    </a:lnTo>
                    <a:lnTo>
                      <a:pt x="2262963" y="1070191"/>
                    </a:lnTo>
                    <a:lnTo>
                      <a:pt x="2263266" y="1068827"/>
                    </a:lnTo>
                    <a:lnTo>
                      <a:pt x="2262963" y="1067463"/>
                    </a:lnTo>
                    <a:lnTo>
                      <a:pt x="2263266" y="1066251"/>
                    </a:lnTo>
                    <a:lnTo>
                      <a:pt x="2264175" y="1065039"/>
                    </a:lnTo>
                    <a:lnTo>
                      <a:pt x="2263872" y="1064736"/>
                    </a:lnTo>
                    <a:lnTo>
                      <a:pt x="2262508" y="1065190"/>
                    </a:lnTo>
                    <a:lnTo>
                      <a:pt x="2260538" y="1067312"/>
                    </a:lnTo>
                    <a:lnTo>
                      <a:pt x="2257963" y="1071251"/>
                    </a:lnTo>
                    <a:lnTo>
                      <a:pt x="2255993" y="1072918"/>
                    </a:lnTo>
                    <a:lnTo>
                      <a:pt x="2254478" y="1072463"/>
                    </a:lnTo>
                    <a:lnTo>
                      <a:pt x="2253265" y="1072766"/>
                    </a:lnTo>
                    <a:lnTo>
                      <a:pt x="2252356" y="1073979"/>
                    </a:lnTo>
                    <a:lnTo>
                      <a:pt x="2251447" y="1074585"/>
                    </a:lnTo>
                    <a:lnTo>
                      <a:pt x="2250387" y="1074585"/>
                    </a:lnTo>
                    <a:lnTo>
                      <a:pt x="2249781" y="1075948"/>
                    </a:lnTo>
                    <a:lnTo>
                      <a:pt x="2249629" y="1078676"/>
                    </a:lnTo>
                    <a:lnTo>
                      <a:pt x="2248568" y="1080191"/>
                    </a:lnTo>
                    <a:lnTo>
                      <a:pt x="2245538" y="1081100"/>
                    </a:lnTo>
                    <a:lnTo>
                      <a:pt x="2244932" y="1081858"/>
                    </a:lnTo>
                    <a:lnTo>
                      <a:pt x="2244932" y="1082918"/>
                    </a:lnTo>
                    <a:lnTo>
                      <a:pt x="2245386" y="1084282"/>
                    </a:lnTo>
                    <a:lnTo>
                      <a:pt x="2245386" y="1086858"/>
                    </a:lnTo>
                    <a:lnTo>
                      <a:pt x="2244932" y="1090797"/>
                    </a:lnTo>
                    <a:lnTo>
                      <a:pt x="2243871" y="1094282"/>
                    </a:lnTo>
                    <a:lnTo>
                      <a:pt x="2242356" y="1097313"/>
                    </a:lnTo>
                    <a:lnTo>
                      <a:pt x="2240689" y="1099737"/>
                    </a:lnTo>
                    <a:lnTo>
                      <a:pt x="2237810" y="1102919"/>
                    </a:lnTo>
                    <a:lnTo>
                      <a:pt x="2237810" y="1103525"/>
                    </a:lnTo>
                    <a:lnTo>
                      <a:pt x="2239174" y="1106101"/>
                    </a:lnTo>
                    <a:lnTo>
                      <a:pt x="2239780" y="1107919"/>
                    </a:lnTo>
                    <a:lnTo>
                      <a:pt x="2240083" y="1111707"/>
                    </a:lnTo>
                    <a:lnTo>
                      <a:pt x="2240083" y="1112313"/>
                    </a:lnTo>
                    <a:lnTo>
                      <a:pt x="2237356" y="1116859"/>
                    </a:lnTo>
                    <a:lnTo>
                      <a:pt x="2237356" y="1117465"/>
                    </a:lnTo>
                    <a:lnTo>
                      <a:pt x="2240235" y="1125193"/>
                    </a:lnTo>
                    <a:lnTo>
                      <a:pt x="2242810" y="1130647"/>
                    </a:lnTo>
                    <a:lnTo>
                      <a:pt x="2243114" y="1131253"/>
                    </a:lnTo>
                    <a:lnTo>
                      <a:pt x="2243871" y="1133375"/>
                    </a:lnTo>
                    <a:lnTo>
                      <a:pt x="2245235" y="1137617"/>
                    </a:lnTo>
                    <a:lnTo>
                      <a:pt x="2245993" y="1141860"/>
                    </a:lnTo>
                    <a:lnTo>
                      <a:pt x="2245993" y="1146103"/>
                    </a:lnTo>
                    <a:lnTo>
                      <a:pt x="2245689" y="1150194"/>
                    </a:lnTo>
                    <a:lnTo>
                      <a:pt x="2244932" y="1154133"/>
                    </a:lnTo>
                    <a:lnTo>
                      <a:pt x="2243871" y="1157921"/>
                    </a:lnTo>
                    <a:lnTo>
                      <a:pt x="2242356" y="1161558"/>
                    </a:lnTo>
                    <a:lnTo>
                      <a:pt x="2240841" y="1164436"/>
                    </a:lnTo>
                    <a:lnTo>
                      <a:pt x="2237810" y="1169134"/>
                    </a:lnTo>
                    <a:lnTo>
                      <a:pt x="2236295" y="1172164"/>
                    </a:lnTo>
                    <a:lnTo>
                      <a:pt x="2234780" y="1174740"/>
                    </a:lnTo>
                    <a:lnTo>
                      <a:pt x="2233113" y="1176710"/>
                    </a:lnTo>
                    <a:lnTo>
                      <a:pt x="2230234" y="1178831"/>
                    </a:lnTo>
                    <a:lnTo>
                      <a:pt x="2222658" y="1182770"/>
                    </a:lnTo>
                    <a:lnTo>
                      <a:pt x="2220234" y="1183528"/>
                    </a:lnTo>
                    <a:lnTo>
                      <a:pt x="2217658" y="1183831"/>
                    </a:lnTo>
                    <a:lnTo>
                      <a:pt x="2214779" y="1183680"/>
                    </a:lnTo>
                    <a:lnTo>
                      <a:pt x="2213264" y="1183225"/>
                    </a:lnTo>
                    <a:lnTo>
                      <a:pt x="2212961" y="1182467"/>
                    </a:lnTo>
                    <a:lnTo>
                      <a:pt x="2212355" y="1182467"/>
                    </a:lnTo>
                    <a:lnTo>
                      <a:pt x="2211597" y="1182013"/>
                    </a:lnTo>
                    <a:lnTo>
                      <a:pt x="2210537" y="1181255"/>
                    </a:lnTo>
                    <a:lnTo>
                      <a:pt x="2209325" y="1179740"/>
                    </a:lnTo>
                    <a:lnTo>
                      <a:pt x="2208112" y="1176710"/>
                    </a:lnTo>
                    <a:lnTo>
                      <a:pt x="2206749" y="1172164"/>
                    </a:lnTo>
                    <a:lnTo>
                      <a:pt x="2205537" y="1169437"/>
                    </a:lnTo>
                    <a:lnTo>
                      <a:pt x="2204476" y="1168528"/>
                    </a:lnTo>
                    <a:lnTo>
                      <a:pt x="2203567" y="1167164"/>
                    </a:lnTo>
                    <a:lnTo>
                      <a:pt x="2202658" y="1165346"/>
                    </a:lnTo>
                    <a:lnTo>
                      <a:pt x="2202203" y="1161103"/>
                    </a:lnTo>
                    <a:lnTo>
                      <a:pt x="2202203" y="1154436"/>
                    </a:lnTo>
                    <a:lnTo>
                      <a:pt x="2202506" y="1149891"/>
                    </a:lnTo>
                    <a:lnTo>
                      <a:pt x="2203112" y="1147466"/>
                    </a:lnTo>
                    <a:lnTo>
                      <a:pt x="2202961" y="1145648"/>
                    </a:lnTo>
                    <a:lnTo>
                      <a:pt x="2202051" y="1144436"/>
                    </a:lnTo>
                    <a:lnTo>
                      <a:pt x="2201445" y="1142921"/>
                    </a:lnTo>
                    <a:lnTo>
                      <a:pt x="2201294" y="1140951"/>
                    </a:lnTo>
                    <a:lnTo>
                      <a:pt x="2200839" y="1139739"/>
                    </a:lnTo>
                    <a:lnTo>
                      <a:pt x="2200082" y="1139133"/>
                    </a:lnTo>
                    <a:lnTo>
                      <a:pt x="2199930" y="1138223"/>
                    </a:lnTo>
                    <a:lnTo>
                      <a:pt x="2200385" y="1137011"/>
                    </a:lnTo>
                    <a:lnTo>
                      <a:pt x="2200385" y="1136102"/>
                    </a:lnTo>
                    <a:lnTo>
                      <a:pt x="2199930" y="1135648"/>
                    </a:lnTo>
                    <a:lnTo>
                      <a:pt x="2199779" y="1135041"/>
                    </a:lnTo>
                    <a:lnTo>
                      <a:pt x="2199930" y="1134132"/>
                    </a:lnTo>
                    <a:lnTo>
                      <a:pt x="2199627" y="1131405"/>
                    </a:lnTo>
                    <a:lnTo>
                      <a:pt x="2199779" y="1129738"/>
                    </a:lnTo>
                    <a:lnTo>
                      <a:pt x="2200233" y="1127920"/>
                    </a:lnTo>
                    <a:lnTo>
                      <a:pt x="2201748" y="1124738"/>
                    </a:lnTo>
                    <a:lnTo>
                      <a:pt x="2202203" y="1123223"/>
                    </a:lnTo>
                    <a:lnTo>
                      <a:pt x="2202354" y="1121556"/>
                    </a:lnTo>
                    <a:lnTo>
                      <a:pt x="2203112" y="1119586"/>
                    </a:lnTo>
                    <a:lnTo>
                      <a:pt x="2205082" y="1115495"/>
                    </a:lnTo>
                    <a:lnTo>
                      <a:pt x="2205082" y="1114586"/>
                    </a:lnTo>
                    <a:lnTo>
                      <a:pt x="2204324" y="1112768"/>
                    </a:lnTo>
                    <a:lnTo>
                      <a:pt x="2204173" y="1111404"/>
                    </a:lnTo>
                    <a:lnTo>
                      <a:pt x="2204324" y="1109586"/>
                    </a:lnTo>
                    <a:lnTo>
                      <a:pt x="2204930" y="1107313"/>
                    </a:lnTo>
                    <a:lnTo>
                      <a:pt x="2206142" y="1104586"/>
                    </a:lnTo>
                    <a:lnTo>
                      <a:pt x="2207658" y="1102313"/>
                    </a:lnTo>
                    <a:lnTo>
                      <a:pt x="2209476" y="1100646"/>
                    </a:lnTo>
                    <a:lnTo>
                      <a:pt x="2210082" y="1098828"/>
                    </a:lnTo>
                    <a:lnTo>
                      <a:pt x="2209476" y="1096707"/>
                    </a:lnTo>
                    <a:lnTo>
                      <a:pt x="2209779" y="1093525"/>
                    </a:lnTo>
                    <a:lnTo>
                      <a:pt x="2210840" y="1089434"/>
                    </a:lnTo>
                    <a:lnTo>
                      <a:pt x="2212052" y="1086403"/>
                    </a:lnTo>
                    <a:lnTo>
                      <a:pt x="2213415" y="1084282"/>
                    </a:lnTo>
                    <a:lnTo>
                      <a:pt x="2214325" y="1082312"/>
                    </a:lnTo>
                    <a:lnTo>
                      <a:pt x="2214779" y="1080494"/>
                    </a:lnTo>
                    <a:lnTo>
                      <a:pt x="2214628" y="1079585"/>
                    </a:lnTo>
                    <a:lnTo>
                      <a:pt x="2213567" y="1078676"/>
                    </a:lnTo>
                    <a:lnTo>
                      <a:pt x="2212506" y="1077312"/>
                    </a:lnTo>
                    <a:lnTo>
                      <a:pt x="2210840" y="1077009"/>
                    </a:lnTo>
                    <a:lnTo>
                      <a:pt x="2208718" y="1077918"/>
                    </a:lnTo>
                    <a:lnTo>
                      <a:pt x="2208415" y="1077918"/>
                    </a:lnTo>
                    <a:lnTo>
                      <a:pt x="2207355" y="1078070"/>
                    </a:lnTo>
                    <a:lnTo>
                      <a:pt x="2205385" y="1080039"/>
                    </a:lnTo>
                    <a:lnTo>
                      <a:pt x="2203567" y="1083373"/>
                    </a:lnTo>
                    <a:lnTo>
                      <a:pt x="2202354" y="1084737"/>
                    </a:lnTo>
                    <a:lnTo>
                      <a:pt x="2200688" y="1085646"/>
                    </a:lnTo>
                    <a:lnTo>
                      <a:pt x="2199324" y="1086706"/>
                    </a:lnTo>
                    <a:lnTo>
                      <a:pt x="2198415" y="1087919"/>
                    </a:lnTo>
                    <a:lnTo>
                      <a:pt x="2197354" y="1088222"/>
                    </a:lnTo>
                    <a:lnTo>
                      <a:pt x="2195991" y="1087616"/>
                    </a:lnTo>
                    <a:lnTo>
                      <a:pt x="2195688" y="1086100"/>
                    </a:lnTo>
                    <a:lnTo>
                      <a:pt x="2196597" y="1083524"/>
                    </a:lnTo>
                    <a:lnTo>
                      <a:pt x="2197809" y="1081100"/>
                    </a:lnTo>
                    <a:lnTo>
                      <a:pt x="2200385" y="1077161"/>
                    </a:lnTo>
                    <a:lnTo>
                      <a:pt x="2200536" y="1076251"/>
                    </a:lnTo>
                    <a:lnTo>
                      <a:pt x="2201142" y="1075039"/>
                    </a:lnTo>
                    <a:lnTo>
                      <a:pt x="2205233" y="1073373"/>
                    </a:lnTo>
                    <a:lnTo>
                      <a:pt x="2206749" y="1072009"/>
                    </a:lnTo>
                    <a:lnTo>
                      <a:pt x="2207203" y="1070342"/>
                    </a:lnTo>
                    <a:lnTo>
                      <a:pt x="2207355" y="1067766"/>
                    </a:lnTo>
                    <a:lnTo>
                      <a:pt x="2207658" y="1067009"/>
                    </a:lnTo>
                    <a:lnTo>
                      <a:pt x="2208264" y="1066706"/>
                    </a:lnTo>
                    <a:lnTo>
                      <a:pt x="2210082" y="1064584"/>
                    </a:lnTo>
                    <a:lnTo>
                      <a:pt x="2212961" y="1060645"/>
                    </a:lnTo>
                    <a:lnTo>
                      <a:pt x="2215537" y="1056554"/>
                    </a:lnTo>
                    <a:lnTo>
                      <a:pt x="2217810" y="1052311"/>
                    </a:lnTo>
                    <a:lnTo>
                      <a:pt x="2219476" y="1049887"/>
                    </a:lnTo>
                    <a:lnTo>
                      <a:pt x="2220537" y="1049281"/>
                    </a:lnTo>
                    <a:lnTo>
                      <a:pt x="2221295" y="1048069"/>
                    </a:lnTo>
                    <a:lnTo>
                      <a:pt x="2222507" y="1044129"/>
                    </a:lnTo>
                    <a:lnTo>
                      <a:pt x="2223416" y="1042311"/>
                    </a:lnTo>
                    <a:lnTo>
                      <a:pt x="2224022" y="1041553"/>
                    </a:lnTo>
                    <a:lnTo>
                      <a:pt x="2224325" y="1042008"/>
                    </a:lnTo>
                    <a:lnTo>
                      <a:pt x="2223719" y="1044129"/>
                    </a:lnTo>
                    <a:lnTo>
                      <a:pt x="2223719" y="1045947"/>
                    </a:lnTo>
                    <a:lnTo>
                      <a:pt x="2224174" y="1048220"/>
                    </a:lnTo>
                    <a:lnTo>
                      <a:pt x="2225234" y="1048978"/>
                    </a:lnTo>
                    <a:lnTo>
                      <a:pt x="2226749" y="1048220"/>
                    </a:lnTo>
                    <a:lnTo>
                      <a:pt x="2227962" y="1046705"/>
                    </a:lnTo>
                    <a:lnTo>
                      <a:pt x="2229022" y="1044432"/>
                    </a:lnTo>
                    <a:lnTo>
                      <a:pt x="2230234" y="1043523"/>
                    </a:lnTo>
                    <a:lnTo>
                      <a:pt x="2231598" y="1043977"/>
                    </a:lnTo>
                    <a:lnTo>
                      <a:pt x="2232810" y="1043826"/>
                    </a:lnTo>
                    <a:lnTo>
                      <a:pt x="2233719" y="1043068"/>
                    </a:lnTo>
                    <a:lnTo>
                      <a:pt x="2235538" y="1042765"/>
                    </a:lnTo>
                    <a:lnTo>
                      <a:pt x="2235841" y="1043674"/>
                    </a:lnTo>
                    <a:lnTo>
                      <a:pt x="2235689" y="1045341"/>
                    </a:lnTo>
                    <a:lnTo>
                      <a:pt x="2235083" y="1046099"/>
                    </a:lnTo>
                    <a:lnTo>
                      <a:pt x="2234174" y="1046099"/>
                    </a:lnTo>
                    <a:lnTo>
                      <a:pt x="2233113" y="1047008"/>
                    </a:lnTo>
                    <a:lnTo>
                      <a:pt x="2231901" y="1048826"/>
                    </a:lnTo>
                    <a:lnTo>
                      <a:pt x="2231901" y="1050341"/>
                    </a:lnTo>
                    <a:lnTo>
                      <a:pt x="2233113" y="1051402"/>
                    </a:lnTo>
                    <a:lnTo>
                      <a:pt x="2233719" y="1051402"/>
                    </a:lnTo>
                    <a:lnTo>
                      <a:pt x="2233719" y="1050341"/>
                    </a:lnTo>
                    <a:lnTo>
                      <a:pt x="2234325" y="1049281"/>
                    </a:lnTo>
                    <a:lnTo>
                      <a:pt x="2236144" y="1047462"/>
                    </a:lnTo>
                    <a:lnTo>
                      <a:pt x="2236295" y="1046856"/>
                    </a:lnTo>
                    <a:lnTo>
                      <a:pt x="2239780" y="1045190"/>
                    </a:lnTo>
                    <a:lnTo>
                      <a:pt x="2241144" y="1044129"/>
                    </a:lnTo>
                    <a:lnTo>
                      <a:pt x="2241447" y="1042917"/>
                    </a:lnTo>
                    <a:lnTo>
                      <a:pt x="2243265" y="1040493"/>
                    </a:lnTo>
                    <a:lnTo>
                      <a:pt x="2244932" y="1039735"/>
                    </a:lnTo>
                    <a:lnTo>
                      <a:pt x="2247356" y="1039432"/>
                    </a:lnTo>
                    <a:lnTo>
                      <a:pt x="2249629" y="1039583"/>
                    </a:lnTo>
                    <a:lnTo>
                      <a:pt x="2251902" y="1040341"/>
                    </a:lnTo>
                    <a:lnTo>
                      <a:pt x="2253114" y="1040341"/>
                    </a:lnTo>
                    <a:lnTo>
                      <a:pt x="2253417" y="1039583"/>
                    </a:lnTo>
                    <a:lnTo>
                      <a:pt x="2255235" y="1039129"/>
                    </a:lnTo>
                    <a:lnTo>
                      <a:pt x="2258720" y="1038826"/>
                    </a:lnTo>
                    <a:lnTo>
                      <a:pt x="2261296" y="1037765"/>
                    </a:lnTo>
                    <a:lnTo>
                      <a:pt x="2262963" y="1035795"/>
                    </a:lnTo>
                    <a:lnTo>
                      <a:pt x="2265084" y="1034735"/>
                    </a:lnTo>
                    <a:lnTo>
                      <a:pt x="2267660" y="1034735"/>
                    </a:lnTo>
                    <a:lnTo>
                      <a:pt x="2271145" y="1035492"/>
                    </a:lnTo>
                    <a:lnTo>
                      <a:pt x="2275539" y="1036856"/>
                    </a:lnTo>
                    <a:lnTo>
                      <a:pt x="2279024" y="1038826"/>
                    </a:lnTo>
                    <a:lnTo>
                      <a:pt x="2283721" y="1042765"/>
                    </a:lnTo>
                    <a:lnTo>
                      <a:pt x="2284933" y="1043220"/>
                    </a:lnTo>
                    <a:lnTo>
                      <a:pt x="2285691" y="1043220"/>
                    </a:lnTo>
                    <a:lnTo>
                      <a:pt x="2286145" y="1042917"/>
                    </a:lnTo>
                    <a:lnTo>
                      <a:pt x="2286145" y="1042462"/>
                    </a:lnTo>
                    <a:lnTo>
                      <a:pt x="2285842" y="1042008"/>
                    </a:lnTo>
                    <a:lnTo>
                      <a:pt x="2285994" y="1040341"/>
                    </a:lnTo>
                    <a:lnTo>
                      <a:pt x="2285842" y="1039886"/>
                    </a:lnTo>
                    <a:lnTo>
                      <a:pt x="2287206" y="1037311"/>
                    </a:lnTo>
                    <a:lnTo>
                      <a:pt x="2288418" y="1036705"/>
                    </a:lnTo>
                    <a:lnTo>
                      <a:pt x="2289782" y="1037008"/>
                    </a:lnTo>
                    <a:lnTo>
                      <a:pt x="2290691" y="1037614"/>
                    </a:lnTo>
                    <a:lnTo>
                      <a:pt x="2290994" y="1038523"/>
                    </a:lnTo>
                    <a:lnTo>
                      <a:pt x="2291449" y="1038826"/>
                    </a:lnTo>
                    <a:lnTo>
                      <a:pt x="2292358" y="1038826"/>
                    </a:lnTo>
                    <a:lnTo>
                      <a:pt x="2292812" y="1038977"/>
                    </a:lnTo>
                    <a:lnTo>
                      <a:pt x="2293116" y="1038977"/>
                    </a:lnTo>
                    <a:lnTo>
                      <a:pt x="2293570" y="1038523"/>
                    </a:lnTo>
                    <a:lnTo>
                      <a:pt x="2296449" y="1038674"/>
                    </a:lnTo>
                    <a:lnTo>
                      <a:pt x="2306298" y="1040038"/>
                    </a:lnTo>
                    <a:lnTo>
                      <a:pt x="2307661" y="1039886"/>
                    </a:lnTo>
                    <a:lnTo>
                      <a:pt x="2308419" y="1039432"/>
                    </a:lnTo>
                    <a:lnTo>
                      <a:pt x="2308570" y="1038674"/>
                    </a:lnTo>
                    <a:lnTo>
                      <a:pt x="2307964" y="1038068"/>
                    </a:lnTo>
                    <a:lnTo>
                      <a:pt x="2305389" y="1036705"/>
                    </a:lnTo>
                    <a:lnTo>
                      <a:pt x="2304631" y="1035795"/>
                    </a:lnTo>
                    <a:lnTo>
                      <a:pt x="2304480" y="1034886"/>
                    </a:lnTo>
                    <a:lnTo>
                      <a:pt x="2304782" y="1034129"/>
                    </a:lnTo>
                    <a:lnTo>
                      <a:pt x="2304176" y="1033371"/>
                    </a:lnTo>
                    <a:lnTo>
                      <a:pt x="2302661" y="1032765"/>
                    </a:lnTo>
                    <a:lnTo>
                      <a:pt x="2299479" y="1032613"/>
                    </a:lnTo>
                    <a:lnTo>
                      <a:pt x="2298873" y="1032007"/>
                    </a:lnTo>
                    <a:lnTo>
                      <a:pt x="2299176" y="1031401"/>
                    </a:lnTo>
                    <a:lnTo>
                      <a:pt x="2300085" y="1030492"/>
                    </a:lnTo>
                    <a:lnTo>
                      <a:pt x="2300085" y="1029280"/>
                    </a:lnTo>
                    <a:lnTo>
                      <a:pt x="2299782" y="1028522"/>
                    </a:lnTo>
                    <a:lnTo>
                      <a:pt x="2299328" y="1026401"/>
                    </a:lnTo>
                    <a:lnTo>
                      <a:pt x="2298570" y="1025037"/>
                    </a:lnTo>
                    <a:lnTo>
                      <a:pt x="2297206" y="1022916"/>
                    </a:lnTo>
                    <a:lnTo>
                      <a:pt x="2296600" y="1022159"/>
                    </a:lnTo>
                    <a:lnTo>
                      <a:pt x="2295691" y="1021704"/>
                    </a:lnTo>
                    <a:lnTo>
                      <a:pt x="2294934" y="1021855"/>
                    </a:lnTo>
                    <a:lnTo>
                      <a:pt x="2293873" y="1022310"/>
                    </a:lnTo>
                    <a:lnTo>
                      <a:pt x="2292661" y="1023219"/>
                    </a:lnTo>
                    <a:lnTo>
                      <a:pt x="2290994" y="1024128"/>
                    </a:lnTo>
                    <a:lnTo>
                      <a:pt x="2289327" y="1023825"/>
                    </a:lnTo>
                    <a:lnTo>
                      <a:pt x="2288115" y="1022462"/>
                    </a:lnTo>
                    <a:lnTo>
                      <a:pt x="2286449" y="1022159"/>
                    </a:lnTo>
                    <a:lnTo>
                      <a:pt x="2284176" y="1022916"/>
                    </a:lnTo>
                    <a:lnTo>
                      <a:pt x="2282206" y="1022916"/>
                    </a:lnTo>
                    <a:lnTo>
                      <a:pt x="2280539" y="1022007"/>
                    </a:lnTo>
                    <a:lnTo>
                      <a:pt x="2277206" y="1021552"/>
                    </a:lnTo>
                    <a:lnTo>
                      <a:pt x="2276751" y="1020946"/>
                    </a:lnTo>
                    <a:lnTo>
                      <a:pt x="2276751" y="1020340"/>
                    </a:lnTo>
                    <a:lnTo>
                      <a:pt x="2277206" y="1019583"/>
                    </a:lnTo>
                    <a:lnTo>
                      <a:pt x="2277509" y="1017916"/>
                    </a:lnTo>
                    <a:lnTo>
                      <a:pt x="2277509" y="1015340"/>
                    </a:lnTo>
                    <a:lnTo>
                      <a:pt x="2277963" y="1013522"/>
                    </a:lnTo>
                    <a:lnTo>
                      <a:pt x="2278721" y="1012461"/>
                    </a:lnTo>
                    <a:lnTo>
                      <a:pt x="2277509" y="1012007"/>
                    </a:lnTo>
                    <a:lnTo>
                      <a:pt x="2274175" y="1012158"/>
                    </a:lnTo>
                    <a:lnTo>
                      <a:pt x="2270236" y="1013067"/>
                    </a:lnTo>
                    <a:lnTo>
                      <a:pt x="2265842" y="1014583"/>
                    </a:lnTo>
                    <a:lnTo>
                      <a:pt x="2260993" y="1015189"/>
                    </a:lnTo>
                    <a:lnTo>
                      <a:pt x="2255841" y="1014734"/>
                    </a:lnTo>
                    <a:lnTo>
                      <a:pt x="2251902" y="1014734"/>
                    </a:lnTo>
                    <a:lnTo>
                      <a:pt x="2247508" y="1015492"/>
                    </a:lnTo>
                    <a:lnTo>
                      <a:pt x="2246750" y="1015189"/>
                    </a:lnTo>
                    <a:lnTo>
                      <a:pt x="2244023" y="1016249"/>
                    </a:lnTo>
                    <a:lnTo>
                      <a:pt x="2239326" y="1018674"/>
                    </a:lnTo>
                    <a:lnTo>
                      <a:pt x="2235841" y="1020795"/>
                    </a:lnTo>
                    <a:lnTo>
                      <a:pt x="2232962" y="1023219"/>
                    </a:lnTo>
                    <a:lnTo>
                      <a:pt x="2232507" y="1023219"/>
                    </a:lnTo>
                    <a:lnTo>
                      <a:pt x="2231750" y="1022613"/>
                    </a:lnTo>
                    <a:lnTo>
                      <a:pt x="2230234" y="1021855"/>
                    </a:lnTo>
                    <a:lnTo>
                      <a:pt x="2228719" y="1021855"/>
                    </a:lnTo>
                    <a:lnTo>
                      <a:pt x="2227052" y="1022613"/>
                    </a:lnTo>
                    <a:lnTo>
                      <a:pt x="2225386" y="1022159"/>
                    </a:lnTo>
                    <a:lnTo>
                      <a:pt x="2223719" y="1020492"/>
                    </a:lnTo>
                    <a:lnTo>
                      <a:pt x="2222204" y="1020037"/>
                    </a:lnTo>
                    <a:lnTo>
                      <a:pt x="2220840" y="1020795"/>
                    </a:lnTo>
                    <a:lnTo>
                      <a:pt x="2218567" y="1021098"/>
                    </a:lnTo>
                    <a:lnTo>
                      <a:pt x="2213415" y="1020795"/>
                    </a:lnTo>
                    <a:lnTo>
                      <a:pt x="2212809" y="1020340"/>
                    </a:lnTo>
                    <a:lnTo>
                      <a:pt x="2212355" y="1018674"/>
                    </a:lnTo>
                    <a:lnTo>
                      <a:pt x="2211749" y="1017916"/>
                    </a:lnTo>
                    <a:lnTo>
                      <a:pt x="2210688" y="1017461"/>
                    </a:lnTo>
                    <a:lnTo>
                      <a:pt x="2209021" y="1015492"/>
                    </a:lnTo>
                    <a:lnTo>
                      <a:pt x="2205537" y="1010643"/>
                    </a:lnTo>
                    <a:lnTo>
                      <a:pt x="2204627" y="1010037"/>
                    </a:lnTo>
                    <a:lnTo>
                      <a:pt x="2201748" y="1008522"/>
                    </a:lnTo>
                    <a:lnTo>
                      <a:pt x="2199021" y="1007764"/>
                    </a:lnTo>
                    <a:lnTo>
                      <a:pt x="2192051" y="1006855"/>
                    </a:lnTo>
                    <a:lnTo>
                      <a:pt x="2190536" y="1006097"/>
                    </a:lnTo>
                    <a:lnTo>
                      <a:pt x="2189627" y="1006249"/>
                    </a:lnTo>
                    <a:lnTo>
                      <a:pt x="2185081" y="1008976"/>
                    </a:lnTo>
                    <a:lnTo>
                      <a:pt x="2184930" y="1009582"/>
                    </a:lnTo>
                    <a:lnTo>
                      <a:pt x="2184627" y="1010188"/>
                    </a:lnTo>
                    <a:lnTo>
                      <a:pt x="2183869" y="1011098"/>
                    </a:lnTo>
                    <a:lnTo>
                      <a:pt x="2183263" y="1011552"/>
                    </a:lnTo>
                    <a:lnTo>
                      <a:pt x="2182960" y="1011098"/>
                    </a:lnTo>
                    <a:lnTo>
                      <a:pt x="2182657" y="1010340"/>
                    </a:lnTo>
                    <a:lnTo>
                      <a:pt x="2182657" y="1008673"/>
                    </a:lnTo>
                    <a:lnTo>
                      <a:pt x="2183111" y="1006097"/>
                    </a:lnTo>
                    <a:lnTo>
                      <a:pt x="2182808" y="1004431"/>
                    </a:lnTo>
                    <a:lnTo>
                      <a:pt x="2181748" y="1003673"/>
                    </a:lnTo>
                    <a:lnTo>
                      <a:pt x="2181293" y="1002764"/>
                    </a:lnTo>
                    <a:lnTo>
                      <a:pt x="2181445" y="1001703"/>
                    </a:lnTo>
                    <a:lnTo>
                      <a:pt x="2180687" y="1000794"/>
                    </a:lnTo>
                    <a:lnTo>
                      <a:pt x="2179020" y="1000188"/>
                    </a:lnTo>
                    <a:lnTo>
                      <a:pt x="2178263" y="999279"/>
                    </a:lnTo>
                    <a:lnTo>
                      <a:pt x="2178414" y="998218"/>
                    </a:lnTo>
                    <a:lnTo>
                      <a:pt x="2178263" y="997461"/>
                    </a:lnTo>
                    <a:lnTo>
                      <a:pt x="2177808" y="997006"/>
                    </a:lnTo>
                    <a:lnTo>
                      <a:pt x="2175990" y="997915"/>
                    </a:lnTo>
                    <a:lnTo>
                      <a:pt x="2172808" y="1000037"/>
                    </a:lnTo>
                    <a:lnTo>
                      <a:pt x="2170687" y="1001855"/>
                    </a:lnTo>
                    <a:lnTo>
                      <a:pt x="2169626" y="1003521"/>
                    </a:lnTo>
                    <a:lnTo>
                      <a:pt x="2167959" y="1004431"/>
                    </a:lnTo>
                    <a:lnTo>
                      <a:pt x="2165686" y="1004582"/>
                    </a:lnTo>
                    <a:lnTo>
                      <a:pt x="2163868" y="1005340"/>
                    </a:lnTo>
                    <a:lnTo>
                      <a:pt x="2160686" y="1007764"/>
                    </a:lnTo>
                    <a:lnTo>
                      <a:pt x="2158414" y="1008976"/>
                    </a:lnTo>
                    <a:lnTo>
                      <a:pt x="2154474" y="1009885"/>
                    </a:lnTo>
                    <a:lnTo>
                      <a:pt x="2149019" y="1010491"/>
                    </a:lnTo>
                    <a:lnTo>
                      <a:pt x="2144474" y="1012007"/>
                    </a:lnTo>
                    <a:lnTo>
                      <a:pt x="2140837" y="1014583"/>
                    </a:lnTo>
                    <a:lnTo>
                      <a:pt x="2136443" y="1016704"/>
                    </a:lnTo>
                    <a:lnTo>
                      <a:pt x="2131291" y="1018522"/>
                    </a:lnTo>
                    <a:lnTo>
                      <a:pt x="2127806" y="1019128"/>
                    </a:lnTo>
                    <a:lnTo>
                      <a:pt x="2125988" y="1018674"/>
                    </a:lnTo>
                    <a:lnTo>
                      <a:pt x="2123715" y="1017613"/>
                    </a:lnTo>
                    <a:lnTo>
                      <a:pt x="2120382" y="1015643"/>
                    </a:lnTo>
                    <a:lnTo>
                      <a:pt x="2119927" y="1015795"/>
                    </a:lnTo>
                    <a:lnTo>
                      <a:pt x="2120230" y="1016249"/>
                    </a:lnTo>
                    <a:lnTo>
                      <a:pt x="2120230" y="1016552"/>
                    </a:lnTo>
                    <a:lnTo>
                      <a:pt x="2119624" y="1017158"/>
                    </a:lnTo>
                    <a:lnTo>
                      <a:pt x="2115381" y="1018674"/>
                    </a:lnTo>
                    <a:lnTo>
                      <a:pt x="2114775" y="1018067"/>
                    </a:lnTo>
                    <a:lnTo>
                      <a:pt x="2116291" y="1016098"/>
                    </a:lnTo>
                    <a:lnTo>
                      <a:pt x="2116897" y="1014583"/>
                    </a:lnTo>
                    <a:lnTo>
                      <a:pt x="2116897" y="1013219"/>
                    </a:lnTo>
                    <a:lnTo>
                      <a:pt x="2117654" y="1011552"/>
                    </a:lnTo>
                    <a:lnTo>
                      <a:pt x="2119018" y="1009582"/>
                    </a:lnTo>
                    <a:lnTo>
                      <a:pt x="2119473" y="1008219"/>
                    </a:lnTo>
                    <a:lnTo>
                      <a:pt x="2119169" y="1007461"/>
                    </a:lnTo>
                    <a:lnTo>
                      <a:pt x="2117654" y="1006249"/>
                    </a:lnTo>
                    <a:lnTo>
                      <a:pt x="2116442" y="1006097"/>
                    </a:lnTo>
                    <a:lnTo>
                      <a:pt x="2114775" y="1006552"/>
                    </a:lnTo>
                    <a:lnTo>
                      <a:pt x="2109775" y="1009582"/>
                    </a:lnTo>
                    <a:lnTo>
                      <a:pt x="2109321" y="1009279"/>
                    </a:lnTo>
                    <a:lnTo>
                      <a:pt x="2107805" y="1008825"/>
                    </a:lnTo>
                    <a:lnTo>
                      <a:pt x="2107351" y="1008976"/>
                    </a:lnTo>
                    <a:lnTo>
                      <a:pt x="2103563" y="1011552"/>
                    </a:lnTo>
                    <a:lnTo>
                      <a:pt x="2099623" y="1013067"/>
                    </a:lnTo>
                    <a:lnTo>
                      <a:pt x="2090381" y="1015340"/>
                    </a:lnTo>
                    <a:lnTo>
                      <a:pt x="2088108" y="1015643"/>
                    </a:lnTo>
                    <a:lnTo>
                      <a:pt x="2086289" y="1015492"/>
                    </a:lnTo>
                    <a:lnTo>
                      <a:pt x="2084017" y="1014279"/>
                    </a:lnTo>
                    <a:lnTo>
                      <a:pt x="2083108" y="1013370"/>
                    </a:lnTo>
                    <a:lnTo>
                      <a:pt x="2083259" y="1012461"/>
                    </a:lnTo>
                    <a:lnTo>
                      <a:pt x="2084320" y="1011401"/>
                    </a:lnTo>
                    <a:lnTo>
                      <a:pt x="2095835" y="1003370"/>
                    </a:lnTo>
                    <a:lnTo>
                      <a:pt x="2102957" y="997612"/>
                    </a:lnTo>
                    <a:lnTo>
                      <a:pt x="2114624" y="986854"/>
                    </a:lnTo>
                    <a:lnTo>
                      <a:pt x="2117654" y="984733"/>
                    </a:lnTo>
                    <a:lnTo>
                      <a:pt x="2124473" y="981248"/>
                    </a:lnTo>
                    <a:lnTo>
                      <a:pt x="2135382" y="977763"/>
                    </a:lnTo>
                    <a:lnTo>
                      <a:pt x="2140837" y="975793"/>
                    </a:lnTo>
                    <a:lnTo>
                      <a:pt x="2145534" y="973672"/>
                    </a:lnTo>
                    <a:lnTo>
                      <a:pt x="2148565" y="972005"/>
                    </a:lnTo>
                    <a:lnTo>
                      <a:pt x="2149928" y="970944"/>
                    </a:lnTo>
                    <a:lnTo>
                      <a:pt x="2150989" y="970490"/>
                    </a:lnTo>
                    <a:lnTo>
                      <a:pt x="2151747" y="970490"/>
                    </a:lnTo>
                    <a:lnTo>
                      <a:pt x="2152504" y="970187"/>
                    </a:lnTo>
                    <a:lnTo>
                      <a:pt x="2147049" y="969732"/>
                    </a:lnTo>
                    <a:lnTo>
                      <a:pt x="2143564" y="970490"/>
                    </a:lnTo>
                    <a:lnTo>
                      <a:pt x="2140989" y="969732"/>
                    </a:lnTo>
                    <a:lnTo>
                      <a:pt x="2139776" y="967611"/>
                    </a:lnTo>
                    <a:lnTo>
                      <a:pt x="2138413" y="966247"/>
                    </a:lnTo>
                    <a:lnTo>
                      <a:pt x="2132200" y="966853"/>
                    </a:lnTo>
                    <a:lnTo>
                      <a:pt x="2124321" y="966399"/>
                    </a:lnTo>
                    <a:lnTo>
                      <a:pt x="2120533" y="966702"/>
                    </a:lnTo>
                    <a:lnTo>
                      <a:pt x="2119018" y="965793"/>
                    </a:lnTo>
                    <a:lnTo>
                      <a:pt x="2117806" y="963368"/>
                    </a:lnTo>
                    <a:lnTo>
                      <a:pt x="2115685" y="963065"/>
                    </a:lnTo>
                    <a:lnTo>
                      <a:pt x="2112200" y="963672"/>
                    </a:lnTo>
                    <a:lnTo>
                      <a:pt x="2107351" y="966853"/>
                    </a:lnTo>
                    <a:lnTo>
                      <a:pt x="2102805" y="968520"/>
                    </a:lnTo>
                    <a:lnTo>
                      <a:pt x="2099169" y="968520"/>
                    </a:lnTo>
                    <a:lnTo>
                      <a:pt x="2095684" y="966853"/>
                    </a:lnTo>
                    <a:lnTo>
                      <a:pt x="2089926" y="963672"/>
                    </a:lnTo>
                    <a:lnTo>
                      <a:pt x="2085835" y="960035"/>
                    </a:lnTo>
                    <a:lnTo>
                      <a:pt x="2081289" y="958823"/>
                    </a:lnTo>
                    <a:lnTo>
                      <a:pt x="2077804" y="959126"/>
                    </a:lnTo>
                    <a:lnTo>
                      <a:pt x="2076441" y="960944"/>
                    </a:lnTo>
                    <a:lnTo>
                      <a:pt x="2074623" y="960944"/>
                    </a:lnTo>
                    <a:lnTo>
                      <a:pt x="2073410" y="957762"/>
                    </a:lnTo>
                    <a:lnTo>
                      <a:pt x="2072350" y="955338"/>
                    </a:lnTo>
                    <a:lnTo>
                      <a:pt x="2070077" y="954277"/>
                    </a:lnTo>
                    <a:lnTo>
                      <a:pt x="2065986" y="952004"/>
                    </a:lnTo>
                    <a:lnTo>
                      <a:pt x="2063107" y="950792"/>
                    </a:lnTo>
                    <a:lnTo>
                      <a:pt x="2058713" y="949277"/>
                    </a:lnTo>
                    <a:lnTo>
                      <a:pt x="2057197" y="948974"/>
                    </a:lnTo>
                    <a:lnTo>
                      <a:pt x="2054319" y="948822"/>
                    </a:lnTo>
                    <a:lnTo>
                      <a:pt x="2051440" y="948671"/>
                    </a:lnTo>
                    <a:lnTo>
                      <a:pt x="2048106" y="949126"/>
                    </a:lnTo>
                    <a:lnTo>
                      <a:pt x="2045833" y="951095"/>
                    </a:lnTo>
                    <a:lnTo>
                      <a:pt x="2043106" y="952004"/>
                    </a:lnTo>
                    <a:lnTo>
                      <a:pt x="2039166" y="952459"/>
                    </a:lnTo>
                    <a:lnTo>
                      <a:pt x="2036591" y="951701"/>
                    </a:lnTo>
                    <a:lnTo>
                      <a:pt x="2035227" y="949580"/>
                    </a:lnTo>
                    <a:lnTo>
                      <a:pt x="2029621" y="947762"/>
                    </a:lnTo>
                    <a:lnTo>
                      <a:pt x="2019772" y="946247"/>
                    </a:lnTo>
                    <a:lnTo>
                      <a:pt x="2014166" y="944883"/>
                    </a:lnTo>
                    <a:lnTo>
                      <a:pt x="2012650" y="943822"/>
                    </a:lnTo>
                    <a:lnTo>
                      <a:pt x="2011893" y="942610"/>
                    </a:lnTo>
                    <a:lnTo>
                      <a:pt x="2011741" y="940640"/>
                    </a:lnTo>
                    <a:lnTo>
                      <a:pt x="2011741" y="940640"/>
                    </a:lnTo>
                    <a:lnTo>
                      <a:pt x="2009317" y="935792"/>
                    </a:lnTo>
                    <a:lnTo>
                      <a:pt x="2008256" y="931701"/>
                    </a:lnTo>
                    <a:lnTo>
                      <a:pt x="2007802" y="926700"/>
                    </a:lnTo>
                    <a:lnTo>
                      <a:pt x="2007953" y="925034"/>
                    </a:lnTo>
                    <a:lnTo>
                      <a:pt x="2007347" y="924579"/>
                    </a:lnTo>
                    <a:lnTo>
                      <a:pt x="2005529" y="923519"/>
                    </a:lnTo>
                    <a:lnTo>
                      <a:pt x="1999620" y="922761"/>
                    </a:lnTo>
                    <a:lnTo>
                      <a:pt x="1999468" y="928670"/>
                    </a:lnTo>
                    <a:lnTo>
                      <a:pt x="1999317" y="936095"/>
                    </a:lnTo>
                    <a:lnTo>
                      <a:pt x="1992801" y="936095"/>
                    </a:lnTo>
                    <a:lnTo>
                      <a:pt x="1981134" y="936095"/>
                    </a:lnTo>
                    <a:lnTo>
                      <a:pt x="1969467" y="936095"/>
                    </a:lnTo>
                    <a:lnTo>
                      <a:pt x="1957800" y="936095"/>
                    </a:lnTo>
                    <a:lnTo>
                      <a:pt x="1946133" y="936095"/>
                    </a:lnTo>
                    <a:lnTo>
                      <a:pt x="1934466" y="936095"/>
                    </a:lnTo>
                    <a:lnTo>
                      <a:pt x="1922799" y="936095"/>
                    </a:lnTo>
                    <a:lnTo>
                      <a:pt x="1911131" y="936095"/>
                    </a:lnTo>
                    <a:lnTo>
                      <a:pt x="1899464" y="936095"/>
                    </a:lnTo>
                    <a:lnTo>
                      <a:pt x="1887797" y="936095"/>
                    </a:lnTo>
                    <a:lnTo>
                      <a:pt x="1877797" y="936095"/>
                    </a:lnTo>
                    <a:lnTo>
                      <a:pt x="1866130" y="936095"/>
                    </a:lnTo>
                    <a:lnTo>
                      <a:pt x="1854463" y="936095"/>
                    </a:lnTo>
                    <a:lnTo>
                      <a:pt x="1842796" y="936095"/>
                    </a:lnTo>
                    <a:lnTo>
                      <a:pt x="1831129" y="936095"/>
                    </a:lnTo>
                    <a:lnTo>
                      <a:pt x="1819461" y="936095"/>
                    </a:lnTo>
                    <a:lnTo>
                      <a:pt x="1807794" y="936095"/>
                    </a:lnTo>
                    <a:lnTo>
                      <a:pt x="1796127" y="936095"/>
                    </a:lnTo>
                    <a:lnTo>
                      <a:pt x="1784460" y="936095"/>
                    </a:lnTo>
                    <a:lnTo>
                      <a:pt x="1772793" y="936095"/>
                    </a:lnTo>
                    <a:lnTo>
                      <a:pt x="1761126" y="936095"/>
                    </a:lnTo>
                    <a:lnTo>
                      <a:pt x="1749459" y="936095"/>
                    </a:lnTo>
                    <a:lnTo>
                      <a:pt x="1737792" y="936095"/>
                    </a:lnTo>
                    <a:lnTo>
                      <a:pt x="1726125" y="936095"/>
                    </a:lnTo>
                    <a:lnTo>
                      <a:pt x="1714458" y="936095"/>
                    </a:lnTo>
                    <a:lnTo>
                      <a:pt x="1702790" y="936095"/>
                    </a:lnTo>
                    <a:lnTo>
                      <a:pt x="1691123" y="936095"/>
                    </a:lnTo>
                    <a:lnTo>
                      <a:pt x="1679456" y="936095"/>
                    </a:lnTo>
                    <a:lnTo>
                      <a:pt x="1667789" y="936095"/>
                    </a:lnTo>
                    <a:lnTo>
                      <a:pt x="1656122" y="936095"/>
                    </a:lnTo>
                    <a:lnTo>
                      <a:pt x="1644455" y="936095"/>
                    </a:lnTo>
                    <a:lnTo>
                      <a:pt x="1632788" y="936095"/>
                    </a:lnTo>
                    <a:lnTo>
                      <a:pt x="1621121" y="936095"/>
                    </a:lnTo>
                    <a:lnTo>
                      <a:pt x="1609454" y="936095"/>
                    </a:lnTo>
                    <a:lnTo>
                      <a:pt x="1597787" y="936095"/>
                    </a:lnTo>
                    <a:lnTo>
                      <a:pt x="1586119" y="936095"/>
                    </a:lnTo>
                    <a:lnTo>
                      <a:pt x="1574452" y="936095"/>
                    </a:lnTo>
                    <a:lnTo>
                      <a:pt x="1562785" y="936095"/>
                    </a:lnTo>
                    <a:lnTo>
                      <a:pt x="1551118" y="936095"/>
                    </a:lnTo>
                    <a:lnTo>
                      <a:pt x="1539451" y="936095"/>
                    </a:lnTo>
                    <a:lnTo>
                      <a:pt x="1527784" y="936095"/>
                    </a:lnTo>
                    <a:lnTo>
                      <a:pt x="1516117" y="936095"/>
                    </a:lnTo>
                    <a:lnTo>
                      <a:pt x="1504450" y="936095"/>
                    </a:lnTo>
                    <a:lnTo>
                      <a:pt x="1492783" y="936095"/>
                    </a:lnTo>
                    <a:lnTo>
                      <a:pt x="1481116" y="936095"/>
                    </a:lnTo>
                    <a:lnTo>
                      <a:pt x="1469449" y="936095"/>
                    </a:lnTo>
                    <a:lnTo>
                      <a:pt x="1457781" y="936095"/>
                    </a:lnTo>
                    <a:lnTo>
                      <a:pt x="1446114" y="936095"/>
                    </a:lnTo>
                    <a:lnTo>
                      <a:pt x="1434447" y="936095"/>
                    </a:lnTo>
                    <a:lnTo>
                      <a:pt x="1422780" y="936095"/>
                    </a:lnTo>
                    <a:lnTo>
                      <a:pt x="1411113" y="936095"/>
                    </a:lnTo>
                    <a:lnTo>
                      <a:pt x="1399446" y="936095"/>
                    </a:lnTo>
                    <a:lnTo>
                      <a:pt x="1387779" y="936095"/>
                    </a:lnTo>
                    <a:lnTo>
                      <a:pt x="1376112" y="936095"/>
                    </a:lnTo>
                    <a:lnTo>
                      <a:pt x="1364445" y="936095"/>
                    </a:lnTo>
                    <a:lnTo>
                      <a:pt x="1352777" y="936095"/>
                    </a:lnTo>
                    <a:lnTo>
                      <a:pt x="1341110" y="936095"/>
                    </a:lnTo>
                    <a:lnTo>
                      <a:pt x="1329443" y="936095"/>
                    </a:lnTo>
                    <a:lnTo>
                      <a:pt x="1317776" y="936095"/>
                    </a:lnTo>
                    <a:lnTo>
                      <a:pt x="1306109" y="936095"/>
                    </a:lnTo>
                    <a:lnTo>
                      <a:pt x="1294442" y="936095"/>
                    </a:lnTo>
                    <a:lnTo>
                      <a:pt x="1282775" y="936095"/>
                    </a:lnTo>
                    <a:lnTo>
                      <a:pt x="1271108" y="936095"/>
                    </a:lnTo>
                    <a:lnTo>
                      <a:pt x="1259441" y="936095"/>
                    </a:lnTo>
                    <a:lnTo>
                      <a:pt x="1247774" y="936095"/>
                    </a:lnTo>
                    <a:lnTo>
                      <a:pt x="1245046" y="936095"/>
                    </a:lnTo>
                    <a:lnTo>
                      <a:pt x="1246864" y="941095"/>
                    </a:lnTo>
                    <a:lnTo>
                      <a:pt x="1247925" y="943216"/>
                    </a:lnTo>
                    <a:lnTo>
                      <a:pt x="1248834" y="944277"/>
                    </a:lnTo>
                    <a:lnTo>
                      <a:pt x="1250349" y="944125"/>
                    </a:lnTo>
                    <a:lnTo>
                      <a:pt x="1250804" y="943671"/>
                    </a:lnTo>
                    <a:lnTo>
                      <a:pt x="1251259" y="943671"/>
                    </a:lnTo>
                    <a:lnTo>
                      <a:pt x="1251713" y="944277"/>
                    </a:lnTo>
                    <a:lnTo>
                      <a:pt x="1252622" y="947610"/>
                    </a:lnTo>
                    <a:lnTo>
                      <a:pt x="1252622" y="951550"/>
                    </a:lnTo>
                    <a:lnTo>
                      <a:pt x="1252925" y="952156"/>
                    </a:lnTo>
                    <a:lnTo>
                      <a:pt x="1253077" y="953217"/>
                    </a:lnTo>
                    <a:lnTo>
                      <a:pt x="1251865" y="953823"/>
                    </a:lnTo>
                    <a:lnTo>
                      <a:pt x="1249592" y="953520"/>
                    </a:lnTo>
                    <a:lnTo>
                      <a:pt x="1248834" y="953823"/>
                    </a:lnTo>
                    <a:lnTo>
                      <a:pt x="1248531" y="954732"/>
                    </a:lnTo>
                    <a:lnTo>
                      <a:pt x="1248683" y="955338"/>
                    </a:lnTo>
                    <a:lnTo>
                      <a:pt x="1249289" y="955792"/>
                    </a:lnTo>
                    <a:lnTo>
                      <a:pt x="1250804" y="955944"/>
                    </a:lnTo>
                    <a:lnTo>
                      <a:pt x="1251865" y="956550"/>
                    </a:lnTo>
                    <a:lnTo>
                      <a:pt x="1253380" y="957762"/>
                    </a:lnTo>
                    <a:lnTo>
                      <a:pt x="1255501" y="960641"/>
                    </a:lnTo>
                    <a:lnTo>
                      <a:pt x="1255653" y="961550"/>
                    </a:lnTo>
                    <a:lnTo>
                      <a:pt x="1253986" y="961853"/>
                    </a:lnTo>
                    <a:lnTo>
                      <a:pt x="1252471" y="962914"/>
                    </a:lnTo>
                    <a:lnTo>
                      <a:pt x="1252168" y="963975"/>
                    </a:lnTo>
                    <a:lnTo>
                      <a:pt x="1252471" y="965338"/>
                    </a:lnTo>
                    <a:lnTo>
                      <a:pt x="1253077" y="966399"/>
                    </a:lnTo>
                    <a:lnTo>
                      <a:pt x="1255804" y="968066"/>
                    </a:lnTo>
                    <a:lnTo>
                      <a:pt x="1255956" y="967914"/>
                    </a:lnTo>
                    <a:lnTo>
                      <a:pt x="1254895" y="964884"/>
                    </a:lnTo>
                    <a:lnTo>
                      <a:pt x="1255198" y="964581"/>
                    </a:lnTo>
                    <a:lnTo>
                      <a:pt x="1255956" y="965187"/>
                    </a:lnTo>
                    <a:lnTo>
                      <a:pt x="1256865" y="967005"/>
                    </a:lnTo>
                    <a:lnTo>
                      <a:pt x="1257774" y="968217"/>
                    </a:lnTo>
                    <a:lnTo>
                      <a:pt x="1259289" y="969581"/>
                    </a:lnTo>
                    <a:lnTo>
                      <a:pt x="1259744" y="970642"/>
                    </a:lnTo>
                    <a:lnTo>
                      <a:pt x="1257622" y="973369"/>
                    </a:lnTo>
                    <a:lnTo>
                      <a:pt x="1257319" y="974581"/>
                    </a:lnTo>
                    <a:lnTo>
                      <a:pt x="1255653" y="977308"/>
                    </a:lnTo>
                    <a:lnTo>
                      <a:pt x="1255350" y="978521"/>
                    </a:lnTo>
                    <a:lnTo>
                      <a:pt x="1255956" y="979581"/>
                    </a:lnTo>
                    <a:lnTo>
                      <a:pt x="1255956" y="980793"/>
                    </a:lnTo>
                    <a:lnTo>
                      <a:pt x="1255350" y="982157"/>
                    </a:lnTo>
                    <a:lnTo>
                      <a:pt x="1255198" y="983066"/>
                    </a:lnTo>
                    <a:lnTo>
                      <a:pt x="1255956" y="983975"/>
                    </a:lnTo>
                    <a:lnTo>
                      <a:pt x="1256259" y="984733"/>
                    </a:lnTo>
                    <a:lnTo>
                      <a:pt x="1256107" y="987309"/>
                    </a:lnTo>
                    <a:lnTo>
                      <a:pt x="1256713" y="991854"/>
                    </a:lnTo>
                    <a:lnTo>
                      <a:pt x="1256713" y="992612"/>
                    </a:lnTo>
                    <a:lnTo>
                      <a:pt x="1254895" y="994733"/>
                    </a:lnTo>
                    <a:lnTo>
                      <a:pt x="1253683" y="995339"/>
                    </a:lnTo>
                    <a:lnTo>
                      <a:pt x="1252471" y="995339"/>
                    </a:lnTo>
                    <a:lnTo>
                      <a:pt x="1251562" y="995945"/>
                    </a:lnTo>
                    <a:lnTo>
                      <a:pt x="1249895" y="999733"/>
                    </a:lnTo>
                    <a:lnTo>
                      <a:pt x="1249289" y="1000491"/>
                    </a:lnTo>
                    <a:lnTo>
                      <a:pt x="1247167" y="1001703"/>
                    </a:lnTo>
                    <a:lnTo>
                      <a:pt x="1246410" y="1001703"/>
                    </a:lnTo>
                    <a:lnTo>
                      <a:pt x="1244137" y="1000491"/>
                    </a:lnTo>
                    <a:lnTo>
                      <a:pt x="1241410" y="1000946"/>
                    </a:lnTo>
                    <a:lnTo>
                      <a:pt x="1238379" y="1000643"/>
                    </a:lnTo>
                    <a:lnTo>
                      <a:pt x="1239440" y="999430"/>
                    </a:lnTo>
                    <a:lnTo>
                      <a:pt x="1240349" y="997006"/>
                    </a:lnTo>
                    <a:lnTo>
                      <a:pt x="1241410" y="995491"/>
                    </a:lnTo>
                    <a:lnTo>
                      <a:pt x="1243834" y="993824"/>
                    </a:lnTo>
                    <a:lnTo>
                      <a:pt x="1244289" y="994127"/>
                    </a:lnTo>
                    <a:lnTo>
                      <a:pt x="1245046" y="997764"/>
                    </a:lnTo>
                    <a:lnTo>
                      <a:pt x="1245501" y="998067"/>
                    </a:lnTo>
                    <a:lnTo>
                      <a:pt x="1246713" y="995036"/>
                    </a:lnTo>
                    <a:lnTo>
                      <a:pt x="1247016" y="994582"/>
                    </a:lnTo>
                    <a:lnTo>
                      <a:pt x="1248683" y="995794"/>
                    </a:lnTo>
                    <a:lnTo>
                      <a:pt x="1249895" y="996097"/>
                    </a:lnTo>
                    <a:lnTo>
                      <a:pt x="1250653" y="995491"/>
                    </a:lnTo>
                    <a:lnTo>
                      <a:pt x="1251259" y="991551"/>
                    </a:lnTo>
                    <a:lnTo>
                      <a:pt x="1251107" y="989582"/>
                    </a:lnTo>
                    <a:lnTo>
                      <a:pt x="1250349" y="987309"/>
                    </a:lnTo>
                    <a:lnTo>
                      <a:pt x="1247925" y="984430"/>
                    </a:lnTo>
                    <a:lnTo>
                      <a:pt x="1248228" y="984278"/>
                    </a:lnTo>
                    <a:lnTo>
                      <a:pt x="1249289" y="984581"/>
                    </a:lnTo>
                    <a:lnTo>
                      <a:pt x="1249743" y="984278"/>
                    </a:lnTo>
                    <a:lnTo>
                      <a:pt x="1249289" y="981551"/>
                    </a:lnTo>
                    <a:lnTo>
                      <a:pt x="1249592" y="980793"/>
                    </a:lnTo>
                    <a:lnTo>
                      <a:pt x="1252168" y="978824"/>
                    </a:lnTo>
                    <a:lnTo>
                      <a:pt x="1252471" y="977157"/>
                    </a:lnTo>
                    <a:lnTo>
                      <a:pt x="1251865" y="973520"/>
                    </a:lnTo>
                    <a:lnTo>
                      <a:pt x="1250349" y="973217"/>
                    </a:lnTo>
                    <a:lnTo>
                      <a:pt x="1250198" y="973672"/>
                    </a:lnTo>
                    <a:lnTo>
                      <a:pt x="1250349" y="975793"/>
                    </a:lnTo>
                    <a:lnTo>
                      <a:pt x="1249743" y="976551"/>
                    </a:lnTo>
                    <a:lnTo>
                      <a:pt x="1246713" y="979127"/>
                    </a:lnTo>
                    <a:lnTo>
                      <a:pt x="1245652" y="981248"/>
                    </a:lnTo>
                    <a:lnTo>
                      <a:pt x="1244137" y="982763"/>
                    </a:lnTo>
                    <a:lnTo>
                      <a:pt x="1241410" y="984581"/>
                    </a:lnTo>
                    <a:lnTo>
                      <a:pt x="1239440" y="986248"/>
                    </a:lnTo>
                    <a:lnTo>
                      <a:pt x="1237622" y="988975"/>
                    </a:lnTo>
                    <a:lnTo>
                      <a:pt x="1237319" y="989885"/>
                    </a:lnTo>
                    <a:lnTo>
                      <a:pt x="1237167" y="991703"/>
                    </a:lnTo>
                    <a:lnTo>
                      <a:pt x="1238531" y="991703"/>
                    </a:lnTo>
                    <a:lnTo>
                      <a:pt x="1241258" y="991097"/>
                    </a:lnTo>
                    <a:lnTo>
                      <a:pt x="1241107" y="991400"/>
                    </a:lnTo>
                    <a:lnTo>
                      <a:pt x="1238076" y="993067"/>
                    </a:lnTo>
                    <a:lnTo>
                      <a:pt x="1236107" y="993521"/>
                    </a:lnTo>
                    <a:lnTo>
                      <a:pt x="1235197" y="993218"/>
                    </a:lnTo>
                    <a:lnTo>
                      <a:pt x="1235197" y="992157"/>
                    </a:lnTo>
                    <a:lnTo>
                      <a:pt x="1235349" y="990339"/>
                    </a:lnTo>
                    <a:lnTo>
                      <a:pt x="1237622" y="986400"/>
                    </a:lnTo>
                    <a:lnTo>
                      <a:pt x="1243834" y="978066"/>
                    </a:lnTo>
                    <a:lnTo>
                      <a:pt x="1244289" y="978369"/>
                    </a:lnTo>
                    <a:lnTo>
                      <a:pt x="1244440" y="980036"/>
                    </a:lnTo>
                    <a:lnTo>
                      <a:pt x="1245046" y="979884"/>
                    </a:lnTo>
                    <a:lnTo>
                      <a:pt x="1248380" y="974884"/>
                    </a:lnTo>
                    <a:lnTo>
                      <a:pt x="1247774" y="973066"/>
                    </a:lnTo>
                    <a:lnTo>
                      <a:pt x="1246107" y="970187"/>
                    </a:lnTo>
                    <a:lnTo>
                      <a:pt x="1245349" y="968066"/>
                    </a:lnTo>
                    <a:lnTo>
                      <a:pt x="1245349" y="966551"/>
                    </a:lnTo>
                    <a:lnTo>
                      <a:pt x="1245046" y="965944"/>
                    </a:lnTo>
                    <a:lnTo>
                      <a:pt x="1242773" y="967611"/>
                    </a:lnTo>
                    <a:lnTo>
                      <a:pt x="1241410" y="968066"/>
                    </a:lnTo>
                    <a:lnTo>
                      <a:pt x="1239591" y="968217"/>
                    </a:lnTo>
                    <a:lnTo>
                      <a:pt x="1238228" y="967914"/>
                    </a:lnTo>
                    <a:lnTo>
                      <a:pt x="1235500" y="965490"/>
                    </a:lnTo>
                    <a:lnTo>
                      <a:pt x="1234440" y="965338"/>
                    </a:lnTo>
                    <a:lnTo>
                      <a:pt x="1232015" y="966399"/>
                    </a:lnTo>
                    <a:lnTo>
                      <a:pt x="1230803" y="966551"/>
                    </a:lnTo>
                    <a:lnTo>
                      <a:pt x="1212166" y="964884"/>
                    </a:lnTo>
                    <a:lnTo>
                      <a:pt x="1208833" y="963823"/>
                    </a:lnTo>
                    <a:lnTo>
                      <a:pt x="1206711" y="962308"/>
                    </a:lnTo>
                    <a:lnTo>
                      <a:pt x="1199742" y="960338"/>
                    </a:lnTo>
                    <a:lnTo>
                      <a:pt x="1194135" y="957762"/>
                    </a:lnTo>
                    <a:lnTo>
                      <a:pt x="1192014" y="957611"/>
                    </a:lnTo>
                    <a:lnTo>
                      <a:pt x="1192772" y="960944"/>
                    </a:lnTo>
                    <a:lnTo>
                      <a:pt x="1192165" y="965641"/>
                    </a:lnTo>
                    <a:lnTo>
                      <a:pt x="1193226" y="971854"/>
                    </a:lnTo>
                    <a:lnTo>
                      <a:pt x="1194438" y="974278"/>
                    </a:lnTo>
                    <a:lnTo>
                      <a:pt x="1198832" y="978521"/>
                    </a:lnTo>
                    <a:lnTo>
                      <a:pt x="1201105" y="982915"/>
                    </a:lnTo>
                    <a:lnTo>
                      <a:pt x="1202923" y="991703"/>
                    </a:lnTo>
                    <a:lnTo>
                      <a:pt x="1205954" y="998521"/>
                    </a:lnTo>
                    <a:lnTo>
                      <a:pt x="1206711" y="1002764"/>
                    </a:lnTo>
                    <a:lnTo>
                      <a:pt x="1206863" y="1005188"/>
                    </a:lnTo>
                    <a:lnTo>
                      <a:pt x="1207469" y="1007309"/>
                    </a:lnTo>
                    <a:lnTo>
                      <a:pt x="1208075" y="1005794"/>
                    </a:lnTo>
                    <a:lnTo>
                      <a:pt x="1208227" y="1004582"/>
                    </a:lnTo>
                    <a:lnTo>
                      <a:pt x="1210196" y="1004734"/>
                    </a:lnTo>
                    <a:lnTo>
                      <a:pt x="1211712" y="1006249"/>
                    </a:lnTo>
                    <a:lnTo>
                      <a:pt x="1215651" y="1007006"/>
                    </a:lnTo>
                    <a:lnTo>
                      <a:pt x="1208227" y="1010491"/>
                    </a:lnTo>
                    <a:lnTo>
                      <a:pt x="1209287" y="1014583"/>
                    </a:lnTo>
                    <a:lnTo>
                      <a:pt x="1212469" y="1015795"/>
                    </a:lnTo>
                    <a:lnTo>
                      <a:pt x="1214287" y="1017461"/>
                    </a:lnTo>
                    <a:lnTo>
                      <a:pt x="1213681" y="1021855"/>
                    </a:lnTo>
                    <a:lnTo>
                      <a:pt x="1212772" y="1025340"/>
                    </a:lnTo>
                    <a:lnTo>
                      <a:pt x="1210803" y="1022310"/>
                    </a:lnTo>
                    <a:lnTo>
                      <a:pt x="1210045" y="1019431"/>
                    </a:lnTo>
                    <a:lnTo>
                      <a:pt x="1210499" y="1020946"/>
                    </a:lnTo>
                    <a:lnTo>
                      <a:pt x="1210651" y="1025037"/>
                    </a:lnTo>
                    <a:lnTo>
                      <a:pt x="1209893" y="1028219"/>
                    </a:lnTo>
                    <a:lnTo>
                      <a:pt x="1212924" y="1027462"/>
                    </a:lnTo>
                    <a:lnTo>
                      <a:pt x="1214742" y="1028522"/>
                    </a:lnTo>
                    <a:lnTo>
                      <a:pt x="1220348" y="1027462"/>
                    </a:lnTo>
                    <a:lnTo>
                      <a:pt x="1221409" y="1028522"/>
                    </a:lnTo>
                    <a:lnTo>
                      <a:pt x="1226409" y="1028371"/>
                    </a:lnTo>
                    <a:lnTo>
                      <a:pt x="1228076" y="1030038"/>
                    </a:lnTo>
                    <a:lnTo>
                      <a:pt x="1230955" y="1031704"/>
                    </a:lnTo>
                    <a:lnTo>
                      <a:pt x="1232319" y="1031856"/>
                    </a:lnTo>
                    <a:lnTo>
                      <a:pt x="1233228" y="1032310"/>
                    </a:lnTo>
                    <a:lnTo>
                      <a:pt x="1230500" y="1032613"/>
                    </a:lnTo>
                    <a:lnTo>
                      <a:pt x="1228227" y="1032310"/>
                    </a:lnTo>
                    <a:lnTo>
                      <a:pt x="1226409" y="1030492"/>
                    </a:lnTo>
                    <a:lnTo>
                      <a:pt x="1224894" y="1030038"/>
                    </a:lnTo>
                    <a:lnTo>
                      <a:pt x="1220803" y="1031401"/>
                    </a:lnTo>
                    <a:lnTo>
                      <a:pt x="1214287" y="1031401"/>
                    </a:lnTo>
                    <a:lnTo>
                      <a:pt x="1212924" y="1029886"/>
                    </a:lnTo>
                    <a:lnTo>
                      <a:pt x="1212166" y="1030038"/>
                    </a:lnTo>
                    <a:lnTo>
                      <a:pt x="1212621" y="1031401"/>
                    </a:lnTo>
                    <a:lnTo>
                      <a:pt x="1213378" y="1032765"/>
                    </a:lnTo>
                    <a:lnTo>
                      <a:pt x="1212924" y="1042917"/>
                    </a:lnTo>
                    <a:lnTo>
                      <a:pt x="1213833" y="1052008"/>
                    </a:lnTo>
                    <a:lnTo>
                      <a:pt x="1212924" y="1055493"/>
                    </a:lnTo>
                    <a:lnTo>
                      <a:pt x="1213378" y="1058069"/>
                    </a:lnTo>
                    <a:lnTo>
                      <a:pt x="1210348" y="1079130"/>
                    </a:lnTo>
                    <a:lnTo>
                      <a:pt x="1210803" y="1083524"/>
                    </a:lnTo>
                    <a:lnTo>
                      <a:pt x="1210196" y="1087767"/>
                    </a:lnTo>
                    <a:lnTo>
                      <a:pt x="1210651" y="1090949"/>
                    </a:lnTo>
                    <a:lnTo>
                      <a:pt x="1209287" y="1093979"/>
                    </a:lnTo>
                    <a:lnTo>
                      <a:pt x="1208378" y="1103222"/>
                    </a:lnTo>
                    <a:lnTo>
                      <a:pt x="1207924" y="1115344"/>
                    </a:lnTo>
                    <a:lnTo>
                      <a:pt x="1207015" y="1116707"/>
                    </a:lnTo>
                    <a:lnTo>
                      <a:pt x="1205499" y="1120344"/>
                    </a:lnTo>
                    <a:lnTo>
                      <a:pt x="1204136" y="1124738"/>
                    </a:lnTo>
                    <a:lnTo>
                      <a:pt x="1205651" y="1123829"/>
                    </a:lnTo>
                    <a:lnTo>
                      <a:pt x="1206711" y="1124283"/>
                    </a:lnTo>
                    <a:lnTo>
                      <a:pt x="1204590" y="1126102"/>
                    </a:lnTo>
                    <a:lnTo>
                      <a:pt x="1203378" y="1126102"/>
                    </a:lnTo>
                    <a:lnTo>
                      <a:pt x="1202620" y="1127011"/>
                    </a:lnTo>
                    <a:lnTo>
                      <a:pt x="1199742" y="1137920"/>
                    </a:lnTo>
                    <a:lnTo>
                      <a:pt x="1198529" y="1140345"/>
                    </a:lnTo>
                    <a:lnTo>
                      <a:pt x="1197469" y="1144436"/>
                    </a:lnTo>
                    <a:lnTo>
                      <a:pt x="1200045" y="1149133"/>
                    </a:lnTo>
                    <a:lnTo>
                      <a:pt x="1201105" y="1152012"/>
                    </a:lnTo>
                    <a:lnTo>
                      <a:pt x="1200651" y="1158679"/>
                    </a:lnTo>
                    <a:lnTo>
                      <a:pt x="1200954" y="1161255"/>
                    </a:lnTo>
                    <a:lnTo>
                      <a:pt x="1202469" y="1167164"/>
                    </a:lnTo>
                    <a:lnTo>
                      <a:pt x="1206408" y="1171709"/>
                    </a:lnTo>
                    <a:lnTo>
                      <a:pt x="1206560" y="1174891"/>
                    </a:lnTo>
                    <a:lnTo>
                      <a:pt x="1205651" y="1178225"/>
                    </a:lnTo>
                    <a:lnTo>
                      <a:pt x="1207924" y="1180498"/>
                    </a:lnTo>
                    <a:lnTo>
                      <a:pt x="1209136" y="1183680"/>
                    </a:lnTo>
                    <a:lnTo>
                      <a:pt x="1210348" y="1188983"/>
                    </a:lnTo>
                    <a:lnTo>
                      <a:pt x="1210499" y="1191407"/>
                    </a:lnTo>
                    <a:lnTo>
                      <a:pt x="1208530" y="1198832"/>
                    </a:lnTo>
                    <a:lnTo>
                      <a:pt x="1208681" y="1204892"/>
                    </a:lnTo>
                    <a:lnTo>
                      <a:pt x="1206863" y="1209741"/>
                    </a:lnTo>
                    <a:lnTo>
                      <a:pt x="1206408" y="1210802"/>
                    </a:lnTo>
                    <a:lnTo>
                      <a:pt x="1206257" y="1211256"/>
                    </a:lnTo>
                    <a:lnTo>
                      <a:pt x="1207166" y="1211408"/>
                    </a:lnTo>
                    <a:lnTo>
                      <a:pt x="1206711" y="1212166"/>
                    </a:lnTo>
                    <a:lnTo>
                      <a:pt x="1206408" y="1213832"/>
                    </a:lnTo>
                    <a:lnTo>
                      <a:pt x="1205499" y="1213529"/>
                    </a:lnTo>
                    <a:lnTo>
                      <a:pt x="1205651" y="1212772"/>
                    </a:lnTo>
                    <a:lnTo>
                      <a:pt x="1205348" y="1212317"/>
                    </a:lnTo>
                    <a:lnTo>
                      <a:pt x="1204590" y="1213226"/>
                    </a:lnTo>
                    <a:lnTo>
                      <a:pt x="1203530" y="1216863"/>
                    </a:lnTo>
                    <a:lnTo>
                      <a:pt x="1202166" y="1220348"/>
                    </a:lnTo>
                    <a:lnTo>
                      <a:pt x="1202620" y="1224287"/>
                    </a:lnTo>
                    <a:lnTo>
                      <a:pt x="1203530" y="1228075"/>
                    </a:lnTo>
                    <a:lnTo>
                      <a:pt x="1209439" y="1233075"/>
                    </a:lnTo>
                    <a:lnTo>
                      <a:pt x="1215500" y="1240651"/>
                    </a:lnTo>
                    <a:lnTo>
                      <a:pt x="1216863" y="1243379"/>
                    </a:lnTo>
                    <a:lnTo>
                      <a:pt x="1218227" y="1248379"/>
                    </a:lnTo>
                    <a:lnTo>
                      <a:pt x="1218379" y="1251712"/>
                    </a:lnTo>
                    <a:lnTo>
                      <a:pt x="1217166" y="1256409"/>
                    </a:lnTo>
                    <a:lnTo>
                      <a:pt x="1219894" y="1264592"/>
                    </a:lnTo>
                    <a:lnTo>
                      <a:pt x="1220348" y="1271107"/>
                    </a:lnTo>
                    <a:lnTo>
                      <a:pt x="1227924" y="1278532"/>
                    </a:lnTo>
                    <a:lnTo>
                      <a:pt x="1231561" y="1282926"/>
                    </a:lnTo>
                    <a:lnTo>
                      <a:pt x="1236107" y="1285653"/>
                    </a:lnTo>
                    <a:lnTo>
                      <a:pt x="1238228" y="1290199"/>
                    </a:lnTo>
                    <a:lnTo>
                      <a:pt x="1239895" y="1291108"/>
                    </a:lnTo>
                    <a:lnTo>
                      <a:pt x="1242016" y="1293684"/>
                    </a:lnTo>
                    <a:lnTo>
                      <a:pt x="1242925" y="1295956"/>
                    </a:lnTo>
                    <a:lnTo>
                      <a:pt x="1240198" y="1292623"/>
                    </a:lnTo>
                    <a:lnTo>
                      <a:pt x="1240501" y="1296714"/>
                    </a:lnTo>
                    <a:lnTo>
                      <a:pt x="1239591" y="1299138"/>
                    </a:lnTo>
                    <a:lnTo>
                      <a:pt x="1239591" y="1300047"/>
                    </a:lnTo>
                    <a:lnTo>
                      <a:pt x="1241410" y="1297926"/>
                    </a:lnTo>
                    <a:lnTo>
                      <a:pt x="1243076" y="1298835"/>
                    </a:lnTo>
                    <a:lnTo>
                      <a:pt x="1246107" y="1301411"/>
                    </a:lnTo>
                    <a:lnTo>
                      <a:pt x="1248228" y="1302775"/>
                    </a:lnTo>
                    <a:lnTo>
                      <a:pt x="1250804" y="1303684"/>
                    </a:lnTo>
                    <a:lnTo>
                      <a:pt x="1252471" y="1305199"/>
                    </a:lnTo>
                    <a:lnTo>
                      <a:pt x="1253986" y="1304896"/>
                    </a:lnTo>
                    <a:lnTo>
                      <a:pt x="1253228" y="1301260"/>
                    </a:lnTo>
                    <a:lnTo>
                      <a:pt x="1253531" y="1296411"/>
                    </a:lnTo>
                    <a:lnTo>
                      <a:pt x="1255956" y="1295199"/>
                    </a:lnTo>
                    <a:lnTo>
                      <a:pt x="1257471" y="1295502"/>
                    </a:lnTo>
                    <a:lnTo>
                      <a:pt x="1260956" y="1297472"/>
                    </a:lnTo>
                    <a:lnTo>
                      <a:pt x="1262471" y="1297623"/>
                    </a:lnTo>
                    <a:lnTo>
                      <a:pt x="1265805" y="1295805"/>
                    </a:lnTo>
                    <a:lnTo>
                      <a:pt x="1266865" y="1295956"/>
                    </a:lnTo>
                    <a:lnTo>
                      <a:pt x="1268532" y="1297017"/>
                    </a:lnTo>
                    <a:lnTo>
                      <a:pt x="1270047" y="1297320"/>
                    </a:lnTo>
                    <a:lnTo>
                      <a:pt x="1273684" y="1297169"/>
                    </a:lnTo>
                    <a:lnTo>
                      <a:pt x="1275502" y="1297320"/>
                    </a:lnTo>
                    <a:lnTo>
                      <a:pt x="1277017" y="1297017"/>
                    </a:lnTo>
                    <a:lnTo>
                      <a:pt x="1279744" y="1297926"/>
                    </a:lnTo>
                    <a:lnTo>
                      <a:pt x="1278381" y="1298078"/>
                    </a:lnTo>
                    <a:lnTo>
                      <a:pt x="1276563" y="1297775"/>
                    </a:lnTo>
                    <a:lnTo>
                      <a:pt x="1274441" y="1298684"/>
                    </a:lnTo>
                    <a:lnTo>
                      <a:pt x="1264289" y="1298229"/>
                    </a:lnTo>
                    <a:lnTo>
                      <a:pt x="1260653" y="1298532"/>
                    </a:lnTo>
                    <a:lnTo>
                      <a:pt x="1257925" y="1299593"/>
                    </a:lnTo>
                    <a:lnTo>
                      <a:pt x="1255956" y="1301108"/>
                    </a:lnTo>
                    <a:lnTo>
                      <a:pt x="1256562" y="1302320"/>
                    </a:lnTo>
                    <a:lnTo>
                      <a:pt x="1257471" y="1303078"/>
                    </a:lnTo>
                    <a:lnTo>
                      <a:pt x="1258532" y="1306411"/>
                    </a:lnTo>
                    <a:lnTo>
                      <a:pt x="1260501" y="1308230"/>
                    </a:lnTo>
                    <a:lnTo>
                      <a:pt x="1262320" y="1311563"/>
                    </a:lnTo>
                    <a:lnTo>
                      <a:pt x="1263229" y="1314139"/>
                    </a:lnTo>
                    <a:lnTo>
                      <a:pt x="1263986" y="1314896"/>
                    </a:lnTo>
                    <a:lnTo>
                      <a:pt x="1264744" y="1316109"/>
                    </a:lnTo>
                    <a:lnTo>
                      <a:pt x="1263380" y="1315957"/>
                    </a:lnTo>
                    <a:lnTo>
                      <a:pt x="1262168" y="1315351"/>
                    </a:lnTo>
                    <a:lnTo>
                      <a:pt x="1260501" y="1313381"/>
                    </a:lnTo>
                    <a:lnTo>
                      <a:pt x="1258683" y="1312472"/>
                    </a:lnTo>
                    <a:lnTo>
                      <a:pt x="1256713" y="1310502"/>
                    </a:lnTo>
                    <a:lnTo>
                      <a:pt x="1256107" y="1307775"/>
                    </a:lnTo>
                    <a:lnTo>
                      <a:pt x="1256259" y="1306260"/>
                    </a:lnTo>
                    <a:lnTo>
                      <a:pt x="1254592" y="1305957"/>
                    </a:lnTo>
                    <a:lnTo>
                      <a:pt x="1252774" y="1306714"/>
                    </a:lnTo>
                    <a:lnTo>
                      <a:pt x="1253077" y="1310502"/>
                    </a:lnTo>
                    <a:lnTo>
                      <a:pt x="1253077" y="1313987"/>
                    </a:lnTo>
                    <a:lnTo>
                      <a:pt x="1255501" y="1319291"/>
                    </a:lnTo>
                    <a:lnTo>
                      <a:pt x="1255804" y="1324442"/>
                    </a:lnTo>
                    <a:lnTo>
                      <a:pt x="1262168" y="1331261"/>
                    </a:lnTo>
                    <a:lnTo>
                      <a:pt x="1269896" y="1332927"/>
                    </a:lnTo>
                    <a:lnTo>
                      <a:pt x="1271865" y="1335655"/>
                    </a:lnTo>
                    <a:lnTo>
                      <a:pt x="1272168" y="1337170"/>
                    </a:lnTo>
                    <a:lnTo>
                      <a:pt x="1272320" y="1339291"/>
                    </a:lnTo>
                    <a:lnTo>
                      <a:pt x="1271108" y="1341564"/>
                    </a:lnTo>
                    <a:lnTo>
                      <a:pt x="1268835" y="1344291"/>
                    </a:lnTo>
                    <a:lnTo>
                      <a:pt x="1269138" y="1348686"/>
                    </a:lnTo>
                    <a:lnTo>
                      <a:pt x="1270047" y="1351868"/>
                    </a:lnTo>
                    <a:lnTo>
                      <a:pt x="1275805" y="1357322"/>
                    </a:lnTo>
                    <a:lnTo>
                      <a:pt x="1281260" y="1364444"/>
                    </a:lnTo>
                    <a:lnTo>
                      <a:pt x="1282169" y="1366414"/>
                    </a:lnTo>
                    <a:lnTo>
                      <a:pt x="1284593" y="1368686"/>
                    </a:lnTo>
                    <a:lnTo>
                      <a:pt x="1286260" y="1372323"/>
                    </a:lnTo>
                    <a:lnTo>
                      <a:pt x="1290199" y="1374444"/>
                    </a:lnTo>
                    <a:lnTo>
                      <a:pt x="1293381" y="1378384"/>
                    </a:lnTo>
                    <a:lnTo>
                      <a:pt x="1296715" y="1380050"/>
                    </a:lnTo>
                    <a:lnTo>
                      <a:pt x="1297775" y="1381869"/>
                    </a:lnTo>
                    <a:lnTo>
                      <a:pt x="1297169" y="1384596"/>
                    </a:lnTo>
                    <a:lnTo>
                      <a:pt x="1297927" y="1386566"/>
                    </a:lnTo>
                    <a:lnTo>
                      <a:pt x="1302018" y="1388233"/>
                    </a:lnTo>
                    <a:lnTo>
                      <a:pt x="1303382" y="1389293"/>
                    </a:lnTo>
                    <a:lnTo>
                      <a:pt x="1304139" y="1390657"/>
                    </a:lnTo>
                    <a:lnTo>
                      <a:pt x="1303382" y="1394596"/>
                    </a:lnTo>
                    <a:lnTo>
                      <a:pt x="1304442" y="1398839"/>
                    </a:lnTo>
                    <a:lnTo>
                      <a:pt x="1304139" y="1400809"/>
                    </a:lnTo>
                    <a:lnTo>
                      <a:pt x="1304442" y="1403233"/>
                    </a:lnTo>
                    <a:lnTo>
                      <a:pt x="1303988" y="1405960"/>
                    </a:lnTo>
                    <a:lnTo>
                      <a:pt x="1306261" y="1407021"/>
                    </a:lnTo>
                    <a:lnTo>
                      <a:pt x="1308382" y="1409294"/>
                    </a:lnTo>
                    <a:lnTo>
                      <a:pt x="1310655" y="1409597"/>
                    </a:lnTo>
                    <a:lnTo>
                      <a:pt x="1316867" y="1409142"/>
                    </a:lnTo>
                    <a:lnTo>
                      <a:pt x="1320049" y="1409294"/>
                    </a:lnTo>
                    <a:lnTo>
                      <a:pt x="1325504" y="1411112"/>
                    </a:lnTo>
                    <a:lnTo>
                      <a:pt x="1329292" y="1411567"/>
                    </a:lnTo>
                    <a:lnTo>
                      <a:pt x="1332171" y="1410961"/>
                    </a:lnTo>
                    <a:lnTo>
                      <a:pt x="1337474" y="1413385"/>
                    </a:lnTo>
                    <a:lnTo>
                      <a:pt x="1341413" y="1415809"/>
                    </a:lnTo>
                    <a:lnTo>
                      <a:pt x="1342323" y="1418688"/>
                    </a:lnTo>
                    <a:lnTo>
                      <a:pt x="1344898" y="1420355"/>
                    </a:lnTo>
                    <a:lnTo>
                      <a:pt x="1353384" y="1423082"/>
                    </a:lnTo>
                    <a:lnTo>
                      <a:pt x="1359747" y="1422779"/>
                    </a:lnTo>
                    <a:lnTo>
                      <a:pt x="1362323" y="1423385"/>
                    </a:lnTo>
                    <a:lnTo>
                      <a:pt x="1365354" y="1428234"/>
                    </a:lnTo>
                    <a:lnTo>
                      <a:pt x="1364899" y="1431719"/>
                    </a:lnTo>
                    <a:lnTo>
                      <a:pt x="1368081" y="1432628"/>
                    </a:lnTo>
                    <a:lnTo>
                      <a:pt x="1368839" y="1431264"/>
                    </a:lnTo>
                    <a:lnTo>
                      <a:pt x="1371718" y="1431568"/>
                    </a:lnTo>
                    <a:lnTo>
                      <a:pt x="1373990" y="1432477"/>
                    </a:lnTo>
                    <a:lnTo>
                      <a:pt x="1377475" y="1435658"/>
                    </a:lnTo>
                    <a:lnTo>
                      <a:pt x="1382021" y="1438083"/>
                    </a:lnTo>
                    <a:lnTo>
                      <a:pt x="1390809" y="1445507"/>
                    </a:lnTo>
                    <a:lnTo>
                      <a:pt x="1394900" y="1451417"/>
                    </a:lnTo>
                    <a:lnTo>
                      <a:pt x="1396416" y="1456265"/>
                    </a:lnTo>
                    <a:lnTo>
                      <a:pt x="1396567" y="1458235"/>
                    </a:lnTo>
                    <a:lnTo>
                      <a:pt x="1396112" y="1460205"/>
                    </a:lnTo>
                    <a:lnTo>
                      <a:pt x="1396870" y="1464599"/>
                    </a:lnTo>
                    <a:lnTo>
                      <a:pt x="1398537" y="1463841"/>
                    </a:lnTo>
                    <a:lnTo>
                      <a:pt x="1399749" y="1465053"/>
                    </a:lnTo>
                    <a:lnTo>
                      <a:pt x="1399900" y="1468387"/>
                    </a:lnTo>
                    <a:lnTo>
                      <a:pt x="1399900" y="1468538"/>
                    </a:lnTo>
                    <a:lnTo>
                      <a:pt x="1407780" y="1467932"/>
                    </a:lnTo>
                    <a:lnTo>
                      <a:pt x="1415659" y="1467326"/>
                    </a:lnTo>
                    <a:lnTo>
                      <a:pt x="1423538" y="1466720"/>
                    </a:lnTo>
                    <a:lnTo>
                      <a:pt x="1431417" y="1466114"/>
                    </a:lnTo>
                    <a:lnTo>
                      <a:pt x="1439296" y="1465508"/>
                    </a:lnTo>
                    <a:lnTo>
                      <a:pt x="1447175" y="1464902"/>
                    </a:lnTo>
                    <a:lnTo>
                      <a:pt x="1455054" y="1464296"/>
                    </a:lnTo>
                    <a:lnTo>
                      <a:pt x="1462933" y="1463690"/>
                    </a:lnTo>
                    <a:lnTo>
                      <a:pt x="1466115" y="1463387"/>
                    </a:lnTo>
                    <a:lnTo>
                      <a:pt x="1464448" y="1467932"/>
                    </a:lnTo>
                    <a:lnTo>
                      <a:pt x="1463085" y="1469599"/>
                    </a:lnTo>
                    <a:lnTo>
                      <a:pt x="1476115" y="1474145"/>
                    </a:lnTo>
                    <a:lnTo>
                      <a:pt x="1489146" y="1478690"/>
                    </a:lnTo>
                    <a:lnTo>
                      <a:pt x="1502177" y="1483236"/>
                    </a:lnTo>
                    <a:lnTo>
                      <a:pt x="1515208" y="1487782"/>
                    </a:lnTo>
                    <a:lnTo>
                      <a:pt x="1528239" y="1492176"/>
                    </a:lnTo>
                    <a:lnTo>
                      <a:pt x="1541269" y="1496570"/>
                    </a:lnTo>
                    <a:lnTo>
                      <a:pt x="1554300" y="1500964"/>
                    </a:lnTo>
                    <a:lnTo>
                      <a:pt x="1567331" y="1505358"/>
                    </a:lnTo>
                    <a:lnTo>
                      <a:pt x="1577028" y="1505358"/>
                    </a:lnTo>
                    <a:lnTo>
                      <a:pt x="1586726" y="1505358"/>
                    </a:lnTo>
                    <a:lnTo>
                      <a:pt x="1596423" y="1505358"/>
                    </a:lnTo>
                    <a:lnTo>
                      <a:pt x="1606120" y="1505358"/>
                    </a:lnTo>
                    <a:lnTo>
                      <a:pt x="1615818" y="1505358"/>
                    </a:lnTo>
                    <a:lnTo>
                      <a:pt x="1625515" y="1505358"/>
                    </a:lnTo>
                    <a:lnTo>
                      <a:pt x="1635212" y="1505358"/>
                    </a:lnTo>
                    <a:lnTo>
                      <a:pt x="1644909" y="1505358"/>
                    </a:lnTo>
                    <a:lnTo>
                      <a:pt x="1644909" y="1502025"/>
                    </a:lnTo>
                    <a:lnTo>
                      <a:pt x="1644909" y="1498691"/>
                    </a:lnTo>
                    <a:lnTo>
                      <a:pt x="1644909" y="1495358"/>
                    </a:lnTo>
                    <a:lnTo>
                      <a:pt x="1644909" y="1492024"/>
                    </a:lnTo>
                    <a:lnTo>
                      <a:pt x="1650970" y="1492024"/>
                    </a:lnTo>
                    <a:lnTo>
                      <a:pt x="1657031" y="1492024"/>
                    </a:lnTo>
                    <a:lnTo>
                      <a:pt x="1663092" y="1492024"/>
                    </a:lnTo>
                    <a:lnTo>
                      <a:pt x="1669153" y="1492024"/>
                    </a:lnTo>
                    <a:lnTo>
                      <a:pt x="1675214" y="1492024"/>
                    </a:lnTo>
                    <a:lnTo>
                      <a:pt x="1681274" y="1492024"/>
                    </a:lnTo>
                    <a:lnTo>
                      <a:pt x="1687335" y="1492024"/>
                    </a:lnTo>
                    <a:lnTo>
                      <a:pt x="1693396" y="1492024"/>
                    </a:lnTo>
                    <a:lnTo>
                      <a:pt x="1693548" y="1492024"/>
                    </a:lnTo>
                    <a:lnTo>
                      <a:pt x="1693851" y="1492176"/>
                    </a:lnTo>
                    <a:lnTo>
                      <a:pt x="1696275" y="1494752"/>
                    </a:lnTo>
                    <a:lnTo>
                      <a:pt x="1698699" y="1498843"/>
                    </a:lnTo>
                    <a:lnTo>
                      <a:pt x="1701578" y="1501721"/>
                    </a:lnTo>
                    <a:lnTo>
                      <a:pt x="1704912" y="1503388"/>
                    </a:lnTo>
                    <a:lnTo>
                      <a:pt x="1710670" y="1508085"/>
                    </a:lnTo>
                    <a:lnTo>
                      <a:pt x="1718852" y="1515964"/>
                    </a:lnTo>
                    <a:lnTo>
                      <a:pt x="1725367" y="1521116"/>
                    </a:lnTo>
                    <a:lnTo>
                      <a:pt x="1730216" y="1523692"/>
                    </a:lnTo>
                    <a:lnTo>
                      <a:pt x="1733549" y="1525965"/>
                    </a:lnTo>
                    <a:lnTo>
                      <a:pt x="1735216" y="1527783"/>
                    </a:lnTo>
                    <a:lnTo>
                      <a:pt x="1737489" y="1531874"/>
                    </a:lnTo>
                    <a:lnTo>
                      <a:pt x="1741731" y="1541268"/>
                    </a:lnTo>
                    <a:lnTo>
                      <a:pt x="1741731" y="1545511"/>
                    </a:lnTo>
                    <a:lnTo>
                      <a:pt x="1743398" y="1549602"/>
                    </a:lnTo>
                    <a:lnTo>
                      <a:pt x="1746580" y="1554905"/>
                    </a:lnTo>
                    <a:lnTo>
                      <a:pt x="1749459" y="1557936"/>
                    </a:lnTo>
                    <a:lnTo>
                      <a:pt x="1751883" y="1558845"/>
                    </a:lnTo>
                    <a:lnTo>
                      <a:pt x="1754459" y="1560663"/>
                    </a:lnTo>
                    <a:lnTo>
                      <a:pt x="1757338" y="1563390"/>
                    </a:lnTo>
                    <a:lnTo>
                      <a:pt x="1760671" y="1565209"/>
                    </a:lnTo>
                    <a:lnTo>
                      <a:pt x="1764459" y="1566118"/>
                    </a:lnTo>
                    <a:lnTo>
                      <a:pt x="1769611" y="1568542"/>
                    </a:lnTo>
                    <a:lnTo>
                      <a:pt x="1776278" y="1572633"/>
                    </a:lnTo>
                    <a:lnTo>
                      <a:pt x="1780824" y="1574755"/>
                    </a:lnTo>
                    <a:lnTo>
                      <a:pt x="1783248" y="1574906"/>
                    </a:lnTo>
                    <a:lnTo>
                      <a:pt x="1785369" y="1573542"/>
                    </a:lnTo>
                    <a:lnTo>
                      <a:pt x="1787187" y="1570815"/>
                    </a:lnTo>
                    <a:lnTo>
                      <a:pt x="1789006" y="1569148"/>
                    </a:lnTo>
                    <a:lnTo>
                      <a:pt x="1790824" y="1568391"/>
                    </a:lnTo>
                    <a:lnTo>
                      <a:pt x="1791582" y="1567178"/>
                    </a:lnTo>
                    <a:lnTo>
                      <a:pt x="1791279" y="1565512"/>
                    </a:lnTo>
                    <a:lnTo>
                      <a:pt x="1792491" y="1561724"/>
                    </a:lnTo>
                    <a:lnTo>
                      <a:pt x="1795218" y="1555814"/>
                    </a:lnTo>
                    <a:lnTo>
                      <a:pt x="1798552" y="1552632"/>
                    </a:lnTo>
                    <a:lnTo>
                      <a:pt x="1802340" y="1552178"/>
                    </a:lnTo>
                    <a:lnTo>
                      <a:pt x="1804764" y="1551117"/>
                    </a:lnTo>
                    <a:lnTo>
                      <a:pt x="1805976" y="1549451"/>
                    </a:lnTo>
                    <a:lnTo>
                      <a:pt x="1807946" y="1549299"/>
                    </a:lnTo>
                    <a:lnTo>
                      <a:pt x="1810825" y="1550663"/>
                    </a:lnTo>
                    <a:lnTo>
                      <a:pt x="1815522" y="1551572"/>
                    </a:lnTo>
                    <a:lnTo>
                      <a:pt x="1822037" y="1552026"/>
                    </a:lnTo>
                    <a:lnTo>
                      <a:pt x="1825825" y="1551875"/>
                    </a:lnTo>
                    <a:lnTo>
                      <a:pt x="1827038" y="1551269"/>
                    </a:lnTo>
                    <a:lnTo>
                      <a:pt x="1827644" y="1551269"/>
                    </a:lnTo>
                    <a:lnTo>
                      <a:pt x="1827644" y="1552026"/>
                    </a:lnTo>
                    <a:lnTo>
                      <a:pt x="1828553" y="1552330"/>
                    </a:lnTo>
                    <a:lnTo>
                      <a:pt x="1830371" y="1552178"/>
                    </a:lnTo>
                    <a:lnTo>
                      <a:pt x="1832038" y="1553239"/>
                    </a:lnTo>
                    <a:lnTo>
                      <a:pt x="1834159" y="1556420"/>
                    </a:lnTo>
                    <a:lnTo>
                      <a:pt x="1841432" y="1561572"/>
                    </a:lnTo>
                    <a:lnTo>
                      <a:pt x="1841432" y="1561572"/>
                    </a:lnTo>
                    <a:lnTo>
                      <a:pt x="1842038" y="1563390"/>
                    </a:lnTo>
                    <a:lnTo>
                      <a:pt x="1844614" y="1565966"/>
                    </a:lnTo>
                    <a:lnTo>
                      <a:pt x="1849311" y="1569906"/>
                    </a:lnTo>
                    <a:lnTo>
                      <a:pt x="1851887" y="1573239"/>
                    </a:lnTo>
                    <a:lnTo>
                      <a:pt x="1852493" y="1576118"/>
                    </a:lnTo>
                    <a:lnTo>
                      <a:pt x="1854917" y="1580664"/>
                    </a:lnTo>
                    <a:lnTo>
                      <a:pt x="1859008" y="1586725"/>
                    </a:lnTo>
                    <a:lnTo>
                      <a:pt x="1860827" y="1590058"/>
                    </a:lnTo>
                    <a:lnTo>
                      <a:pt x="1860372" y="1590513"/>
                    </a:lnTo>
                    <a:lnTo>
                      <a:pt x="1860675" y="1592179"/>
                    </a:lnTo>
                    <a:lnTo>
                      <a:pt x="1861736" y="1595210"/>
                    </a:lnTo>
                    <a:lnTo>
                      <a:pt x="1863706" y="1597786"/>
                    </a:lnTo>
                    <a:lnTo>
                      <a:pt x="1866736" y="1599907"/>
                    </a:lnTo>
                    <a:lnTo>
                      <a:pt x="1869766" y="1603543"/>
                    </a:lnTo>
                    <a:lnTo>
                      <a:pt x="1872797" y="1608847"/>
                    </a:lnTo>
                    <a:lnTo>
                      <a:pt x="1876433" y="1612938"/>
                    </a:lnTo>
                    <a:lnTo>
                      <a:pt x="1880827" y="1615665"/>
                    </a:lnTo>
                    <a:lnTo>
                      <a:pt x="1883252" y="1618241"/>
                    </a:lnTo>
                    <a:lnTo>
                      <a:pt x="1883858" y="1620665"/>
                    </a:lnTo>
                    <a:lnTo>
                      <a:pt x="1883858" y="1622635"/>
                    </a:lnTo>
                    <a:lnTo>
                      <a:pt x="1883252" y="1624302"/>
                    </a:lnTo>
                    <a:lnTo>
                      <a:pt x="1883555" y="1625968"/>
                    </a:lnTo>
                    <a:lnTo>
                      <a:pt x="1884767" y="1627484"/>
                    </a:lnTo>
                    <a:lnTo>
                      <a:pt x="1885221" y="1629302"/>
                    </a:lnTo>
                    <a:lnTo>
                      <a:pt x="1884767" y="1631878"/>
                    </a:lnTo>
                    <a:lnTo>
                      <a:pt x="1884767" y="1632635"/>
                    </a:lnTo>
                    <a:lnTo>
                      <a:pt x="1884767" y="1632635"/>
                    </a:lnTo>
                    <a:lnTo>
                      <a:pt x="1885070" y="1633242"/>
                    </a:lnTo>
                    <a:lnTo>
                      <a:pt x="1888858" y="1637636"/>
                    </a:lnTo>
                    <a:lnTo>
                      <a:pt x="1890828" y="1641272"/>
                    </a:lnTo>
                    <a:lnTo>
                      <a:pt x="1892343" y="1647030"/>
                    </a:lnTo>
                    <a:lnTo>
                      <a:pt x="1892343" y="1647030"/>
                    </a:lnTo>
                    <a:lnTo>
                      <a:pt x="1894161" y="1650515"/>
                    </a:lnTo>
                    <a:lnTo>
                      <a:pt x="1896737" y="1651878"/>
                    </a:lnTo>
                    <a:lnTo>
                      <a:pt x="1900677" y="1652333"/>
                    </a:lnTo>
                    <a:lnTo>
                      <a:pt x="1903555" y="1653545"/>
                    </a:lnTo>
                    <a:lnTo>
                      <a:pt x="1905525" y="1655363"/>
                    </a:lnTo>
                    <a:lnTo>
                      <a:pt x="1908101" y="1656424"/>
                    </a:lnTo>
                    <a:lnTo>
                      <a:pt x="1911131" y="1656879"/>
                    </a:lnTo>
                    <a:lnTo>
                      <a:pt x="1914010" y="1658091"/>
                    </a:lnTo>
                    <a:lnTo>
                      <a:pt x="1916889" y="1660212"/>
                    </a:lnTo>
                    <a:lnTo>
                      <a:pt x="1922193" y="1661576"/>
                    </a:lnTo>
                    <a:lnTo>
                      <a:pt x="1929920" y="1662182"/>
                    </a:lnTo>
                    <a:lnTo>
                      <a:pt x="1935829" y="1663849"/>
                    </a:lnTo>
                    <a:lnTo>
                      <a:pt x="1939921" y="1666576"/>
                    </a:lnTo>
                    <a:lnTo>
                      <a:pt x="1941739" y="1667182"/>
                    </a:lnTo>
                    <a:lnTo>
                      <a:pt x="1942193" y="1667182"/>
                    </a:lnTo>
                    <a:lnTo>
                      <a:pt x="1942496" y="1666727"/>
                    </a:lnTo>
                    <a:lnTo>
                      <a:pt x="1942799" y="1665970"/>
                    </a:lnTo>
                    <a:lnTo>
                      <a:pt x="1944315" y="1665061"/>
                    </a:lnTo>
                    <a:lnTo>
                      <a:pt x="1947951" y="1664455"/>
                    </a:lnTo>
                    <a:lnTo>
                      <a:pt x="1948103" y="1662485"/>
                    </a:lnTo>
                    <a:lnTo>
                      <a:pt x="1947799" y="1661424"/>
                    </a:lnTo>
                    <a:lnTo>
                      <a:pt x="1946133" y="1661424"/>
                    </a:lnTo>
                    <a:lnTo>
                      <a:pt x="1940981" y="1651878"/>
                    </a:lnTo>
                    <a:lnTo>
                      <a:pt x="1940072" y="1649303"/>
                    </a:lnTo>
                    <a:lnTo>
                      <a:pt x="1939163" y="1643242"/>
                    </a:lnTo>
                    <a:lnTo>
                      <a:pt x="1938405" y="1641272"/>
                    </a:lnTo>
                    <a:lnTo>
                      <a:pt x="1937496" y="1636878"/>
                    </a:lnTo>
                    <a:lnTo>
                      <a:pt x="1936739" y="1635060"/>
                    </a:lnTo>
                    <a:lnTo>
                      <a:pt x="1937799" y="1632484"/>
                    </a:lnTo>
                    <a:lnTo>
                      <a:pt x="1938860" y="1630514"/>
                    </a:lnTo>
                    <a:lnTo>
                      <a:pt x="1938860" y="1628847"/>
                    </a:lnTo>
                    <a:lnTo>
                      <a:pt x="1938557" y="1627029"/>
                    </a:lnTo>
                    <a:lnTo>
                      <a:pt x="1932951" y="1625514"/>
                    </a:lnTo>
                    <a:lnTo>
                      <a:pt x="1930829" y="1620514"/>
                    </a:lnTo>
                    <a:lnTo>
                      <a:pt x="1933254" y="1622332"/>
                    </a:lnTo>
                    <a:lnTo>
                      <a:pt x="1937648" y="1624756"/>
                    </a:lnTo>
                    <a:lnTo>
                      <a:pt x="1938860" y="1624605"/>
                    </a:lnTo>
                    <a:lnTo>
                      <a:pt x="1939921" y="1624302"/>
                    </a:lnTo>
                    <a:lnTo>
                      <a:pt x="1941587" y="1621574"/>
                    </a:lnTo>
                    <a:lnTo>
                      <a:pt x="1944163" y="1614150"/>
                    </a:lnTo>
                    <a:lnTo>
                      <a:pt x="1940223" y="1609301"/>
                    </a:lnTo>
                    <a:lnTo>
                      <a:pt x="1940981" y="1608695"/>
                    </a:lnTo>
                    <a:lnTo>
                      <a:pt x="1941739" y="1608392"/>
                    </a:lnTo>
                    <a:lnTo>
                      <a:pt x="1945072" y="1608847"/>
                    </a:lnTo>
                    <a:lnTo>
                      <a:pt x="1947193" y="1608089"/>
                    </a:lnTo>
                    <a:lnTo>
                      <a:pt x="1949921" y="1604907"/>
                    </a:lnTo>
                    <a:lnTo>
                      <a:pt x="1950982" y="1601725"/>
                    </a:lnTo>
                    <a:lnTo>
                      <a:pt x="1948103" y="1602634"/>
                    </a:lnTo>
                    <a:lnTo>
                      <a:pt x="1947799" y="1601422"/>
                    </a:lnTo>
                    <a:lnTo>
                      <a:pt x="1947799" y="1600210"/>
                    </a:lnTo>
                    <a:lnTo>
                      <a:pt x="1949466" y="1599755"/>
                    </a:lnTo>
                    <a:lnTo>
                      <a:pt x="1951739" y="1599604"/>
                    </a:lnTo>
                    <a:lnTo>
                      <a:pt x="1953103" y="1598846"/>
                    </a:lnTo>
                    <a:lnTo>
                      <a:pt x="1954012" y="1597786"/>
                    </a:lnTo>
                    <a:lnTo>
                      <a:pt x="1954315" y="1598998"/>
                    </a:lnTo>
                    <a:lnTo>
                      <a:pt x="1955073" y="1599755"/>
                    </a:lnTo>
                    <a:lnTo>
                      <a:pt x="1956436" y="1598695"/>
                    </a:lnTo>
                    <a:lnTo>
                      <a:pt x="1957345" y="1597937"/>
                    </a:lnTo>
                    <a:lnTo>
                      <a:pt x="1957648" y="1594907"/>
                    </a:lnTo>
                    <a:lnTo>
                      <a:pt x="1958254" y="1591876"/>
                    </a:lnTo>
                    <a:lnTo>
                      <a:pt x="1960982" y="1594301"/>
                    </a:lnTo>
                    <a:lnTo>
                      <a:pt x="1964164" y="1593543"/>
                    </a:lnTo>
                    <a:lnTo>
                      <a:pt x="1966134" y="1592331"/>
                    </a:lnTo>
                    <a:lnTo>
                      <a:pt x="1967952" y="1590816"/>
                    </a:lnTo>
                    <a:lnTo>
                      <a:pt x="1966437" y="1590210"/>
                    </a:lnTo>
                    <a:lnTo>
                      <a:pt x="1965073" y="1589907"/>
                    </a:lnTo>
                    <a:lnTo>
                      <a:pt x="1961891" y="1583391"/>
                    </a:lnTo>
                    <a:lnTo>
                      <a:pt x="1962800" y="1582937"/>
                    </a:lnTo>
                    <a:lnTo>
                      <a:pt x="1963709" y="1583088"/>
                    </a:lnTo>
                    <a:lnTo>
                      <a:pt x="1964164" y="1583997"/>
                    </a:lnTo>
                    <a:lnTo>
                      <a:pt x="1965073" y="1585058"/>
                    </a:lnTo>
                    <a:lnTo>
                      <a:pt x="1967194" y="1586573"/>
                    </a:lnTo>
                    <a:lnTo>
                      <a:pt x="1969164" y="1585512"/>
                    </a:lnTo>
                    <a:lnTo>
                      <a:pt x="1969164" y="1584755"/>
                    </a:lnTo>
                    <a:lnTo>
                      <a:pt x="1971891" y="1584755"/>
                    </a:lnTo>
                    <a:lnTo>
                      <a:pt x="1976285" y="1585664"/>
                    </a:lnTo>
                    <a:lnTo>
                      <a:pt x="1979164" y="1585361"/>
                    </a:lnTo>
                    <a:lnTo>
                      <a:pt x="1975831" y="1587482"/>
                    </a:lnTo>
                    <a:lnTo>
                      <a:pt x="1973103" y="1589603"/>
                    </a:lnTo>
                    <a:lnTo>
                      <a:pt x="1974619" y="1589149"/>
                    </a:lnTo>
                    <a:lnTo>
                      <a:pt x="1979013" y="1586573"/>
                    </a:lnTo>
                    <a:lnTo>
                      <a:pt x="1983558" y="1585058"/>
                    </a:lnTo>
                    <a:lnTo>
                      <a:pt x="1986892" y="1582937"/>
                    </a:lnTo>
                    <a:lnTo>
                      <a:pt x="1989013" y="1582027"/>
                    </a:lnTo>
                    <a:lnTo>
                      <a:pt x="1996286" y="1577482"/>
                    </a:lnTo>
                    <a:lnTo>
                      <a:pt x="1999468" y="1575512"/>
                    </a:lnTo>
                    <a:lnTo>
                      <a:pt x="2002802" y="1572027"/>
                    </a:lnTo>
                    <a:lnTo>
                      <a:pt x="2003105" y="1569451"/>
                    </a:lnTo>
                    <a:lnTo>
                      <a:pt x="2006438" y="1566724"/>
                    </a:lnTo>
                    <a:lnTo>
                      <a:pt x="2009923" y="1563390"/>
                    </a:lnTo>
                    <a:lnTo>
                      <a:pt x="2008559" y="1560663"/>
                    </a:lnTo>
                    <a:lnTo>
                      <a:pt x="2007044" y="1558542"/>
                    </a:lnTo>
                    <a:lnTo>
                      <a:pt x="2006287" y="1553390"/>
                    </a:lnTo>
                    <a:lnTo>
                      <a:pt x="2007347" y="1553087"/>
                    </a:lnTo>
                    <a:lnTo>
                      <a:pt x="2008711" y="1553996"/>
                    </a:lnTo>
                    <a:lnTo>
                      <a:pt x="2009772" y="1554148"/>
                    </a:lnTo>
                    <a:lnTo>
                      <a:pt x="2011287" y="1551875"/>
                    </a:lnTo>
                    <a:lnTo>
                      <a:pt x="2013711" y="1552026"/>
                    </a:lnTo>
                    <a:lnTo>
                      <a:pt x="2014166" y="1554905"/>
                    </a:lnTo>
                    <a:lnTo>
                      <a:pt x="2012650" y="1558087"/>
                    </a:lnTo>
                    <a:lnTo>
                      <a:pt x="2013863" y="1558390"/>
                    </a:lnTo>
                    <a:lnTo>
                      <a:pt x="2017348" y="1557481"/>
                    </a:lnTo>
                    <a:lnTo>
                      <a:pt x="2019469" y="1558087"/>
                    </a:lnTo>
                    <a:lnTo>
                      <a:pt x="2013408" y="1561875"/>
                    </a:lnTo>
                    <a:lnTo>
                      <a:pt x="2013105" y="1562936"/>
                    </a:lnTo>
                    <a:lnTo>
                      <a:pt x="2018105" y="1559906"/>
                    </a:lnTo>
                    <a:lnTo>
                      <a:pt x="2031136" y="1554451"/>
                    </a:lnTo>
                    <a:lnTo>
                      <a:pt x="2036894" y="1553845"/>
                    </a:lnTo>
                    <a:lnTo>
                      <a:pt x="2037045" y="1552784"/>
                    </a:lnTo>
                    <a:lnTo>
                      <a:pt x="2035378" y="1550057"/>
                    </a:lnTo>
                    <a:lnTo>
                      <a:pt x="2038257" y="1545208"/>
                    </a:lnTo>
                    <a:lnTo>
                      <a:pt x="2039621" y="1545208"/>
                    </a:lnTo>
                    <a:lnTo>
                      <a:pt x="2040379" y="1545965"/>
                    </a:lnTo>
                    <a:lnTo>
                      <a:pt x="2040227" y="1547178"/>
                    </a:lnTo>
                    <a:lnTo>
                      <a:pt x="2039318" y="1548996"/>
                    </a:lnTo>
                    <a:lnTo>
                      <a:pt x="2038257" y="1549905"/>
                    </a:lnTo>
                    <a:lnTo>
                      <a:pt x="2037348" y="1550208"/>
                    </a:lnTo>
                    <a:lnTo>
                      <a:pt x="2037803" y="1551875"/>
                    </a:lnTo>
                    <a:lnTo>
                      <a:pt x="2038864" y="1552784"/>
                    </a:lnTo>
                    <a:lnTo>
                      <a:pt x="2040530" y="1552026"/>
                    </a:lnTo>
                    <a:lnTo>
                      <a:pt x="2042500" y="1551572"/>
                    </a:lnTo>
                    <a:lnTo>
                      <a:pt x="2050834" y="1551420"/>
                    </a:lnTo>
                    <a:lnTo>
                      <a:pt x="2053713" y="1550966"/>
                    </a:lnTo>
                    <a:lnTo>
                      <a:pt x="2056592" y="1551269"/>
                    </a:lnTo>
                    <a:lnTo>
                      <a:pt x="2062652" y="1553239"/>
                    </a:lnTo>
                    <a:lnTo>
                      <a:pt x="2067046" y="1555663"/>
                    </a:lnTo>
                    <a:lnTo>
                      <a:pt x="2070380" y="1556724"/>
                    </a:lnTo>
                    <a:lnTo>
                      <a:pt x="2081592" y="1557936"/>
                    </a:lnTo>
                    <a:lnTo>
                      <a:pt x="2086441" y="1556875"/>
                    </a:lnTo>
                    <a:lnTo>
                      <a:pt x="2087199" y="1556118"/>
                    </a:lnTo>
                    <a:lnTo>
                      <a:pt x="2085683" y="1554602"/>
                    </a:lnTo>
                    <a:lnTo>
                      <a:pt x="2085077" y="1553693"/>
                    </a:lnTo>
                    <a:lnTo>
                      <a:pt x="2086593" y="1551875"/>
                    </a:lnTo>
                    <a:lnTo>
                      <a:pt x="2088259" y="1550663"/>
                    </a:lnTo>
                    <a:lnTo>
                      <a:pt x="2091593" y="1549602"/>
                    </a:lnTo>
                    <a:lnTo>
                      <a:pt x="2093411" y="1552178"/>
                    </a:lnTo>
                    <a:lnTo>
                      <a:pt x="2097502" y="1552330"/>
                    </a:lnTo>
                    <a:lnTo>
                      <a:pt x="2100381" y="1556572"/>
                    </a:lnTo>
                    <a:lnTo>
                      <a:pt x="2101745" y="1558087"/>
                    </a:lnTo>
                    <a:lnTo>
                      <a:pt x="2106745" y="1559299"/>
                    </a:lnTo>
                    <a:lnTo>
                      <a:pt x="2108260" y="1557784"/>
                    </a:lnTo>
                    <a:lnTo>
                      <a:pt x="2109018" y="1557784"/>
                    </a:lnTo>
                    <a:lnTo>
                      <a:pt x="2108715" y="1559602"/>
                    </a:lnTo>
                    <a:lnTo>
                      <a:pt x="2109169" y="1560966"/>
                    </a:lnTo>
                    <a:lnTo>
                      <a:pt x="2111593" y="1564148"/>
                    </a:lnTo>
                    <a:lnTo>
                      <a:pt x="2111745" y="1565057"/>
                    </a:lnTo>
                    <a:lnTo>
                      <a:pt x="2109321" y="1564603"/>
                    </a:lnTo>
                    <a:lnTo>
                      <a:pt x="2108109" y="1564906"/>
                    </a:lnTo>
                    <a:lnTo>
                      <a:pt x="2107957" y="1565815"/>
                    </a:lnTo>
                    <a:lnTo>
                      <a:pt x="2115836" y="1568694"/>
                    </a:lnTo>
                    <a:lnTo>
                      <a:pt x="2122655" y="1570512"/>
                    </a:lnTo>
                    <a:lnTo>
                      <a:pt x="2124624" y="1569906"/>
                    </a:lnTo>
                    <a:lnTo>
                      <a:pt x="2127049" y="1566269"/>
                    </a:lnTo>
                    <a:lnTo>
                      <a:pt x="2129322" y="1565360"/>
                    </a:lnTo>
                    <a:lnTo>
                      <a:pt x="2132655" y="1565512"/>
                    </a:lnTo>
                    <a:lnTo>
                      <a:pt x="2134776" y="1566724"/>
                    </a:lnTo>
                    <a:lnTo>
                      <a:pt x="2136291" y="1570360"/>
                    </a:lnTo>
                    <a:lnTo>
                      <a:pt x="2137201" y="1571118"/>
                    </a:lnTo>
                    <a:lnTo>
                      <a:pt x="2139322" y="1570209"/>
                    </a:lnTo>
                    <a:lnTo>
                      <a:pt x="2140231" y="1568845"/>
                    </a:lnTo>
                    <a:lnTo>
                      <a:pt x="2140686" y="1567178"/>
                    </a:lnTo>
                    <a:lnTo>
                      <a:pt x="2140989" y="1565512"/>
                    </a:lnTo>
                    <a:lnTo>
                      <a:pt x="2141595" y="1564300"/>
                    </a:lnTo>
                    <a:lnTo>
                      <a:pt x="2141595" y="1561421"/>
                    </a:lnTo>
                    <a:lnTo>
                      <a:pt x="2140231" y="1560512"/>
                    </a:lnTo>
                    <a:lnTo>
                      <a:pt x="2139170" y="1560057"/>
                    </a:lnTo>
                    <a:lnTo>
                      <a:pt x="2138564" y="1559299"/>
                    </a:lnTo>
                    <a:lnTo>
                      <a:pt x="2138564" y="1558390"/>
                    </a:lnTo>
                    <a:lnTo>
                      <a:pt x="2146292" y="1560815"/>
                    </a:lnTo>
                    <a:lnTo>
                      <a:pt x="2147959" y="1562027"/>
                    </a:lnTo>
                    <a:lnTo>
                      <a:pt x="2148565" y="1563087"/>
                    </a:lnTo>
                    <a:lnTo>
                      <a:pt x="2148716" y="1564451"/>
                    </a:lnTo>
                    <a:lnTo>
                      <a:pt x="2150838" y="1565057"/>
                    </a:lnTo>
                    <a:lnTo>
                      <a:pt x="2152050" y="1564906"/>
                    </a:lnTo>
                    <a:lnTo>
                      <a:pt x="2153413" y="1565360"/>
                    </a:lnTo>
                    <a:lnTo>
                      <a:pt x="2154626" y="1566421"/>
                    </a:lnTo>
                    <a:lnTo>
                      <a:pt x="2156141" y="1567027"/>
                    </a:lnTo>
                    <a:lnTo>
                      <a:pt x="2158262" y="1568694"/>
                    </a:lnTo>
                    <a:lnTo>
                      <a:pt x="2159777" y="1571270"/>
                    </a:lnTo>
                    <a:lnTo>
                      <a:pt x="2160686" y="1572330"/>
                    </a:lnTo>
                    <a:lnTo>
                      <a:pt x="2160080" y="1574906"/>
                    </a:lnTo>
                    <a:lnTo>
                      <a:pt x="2161292" y="1574451"/>
                    </a:lnTo>
                    <a:lnTo>
                      <a:pt x="2163868" y="1572027"/>
                    </a:lnTo>
                    <a:lnTo>
                      <a:pt x="2164929" y="1572785"/>
                    </a:lnTo>
                    <a:lnTo>
                      <a:pt x="2165990" y="1573845"/>
                    </a:lnTo>
                    <a:lnTo>
                      <a:pt x="2166596" y="1572936"/>
                    </a:lnTo>
                    <a:lnTo>
                      <a:pt x="2167202" y="1571421"/>
                    </a:lnTo>
                    <a:lnTo>
                      <a:pt x="2169626" y="1570057"/>
                    </a:lnTo>
                    <a:lnTo>
                      <a:pt x="2169778" y="1568239"/>
                    </a:lnTo>
                    <a:lnTo>
                      <a:pt x="2168414" y="1567784"/>
                    </a:lnTo>
                    <a:lnTo>
                      <a:pt x="2167050" y="1566875"/>
                    </a:lnTo>
                    <a:lnTo>
                      <a:pt x="2165232" y="1564300"/>
                    </a:lnTo>
                    <a:lnTo>
                      <a:pt x="2163414" y="1564300"/>
                    </a:lnTo>
                    <a:lnTo>
                      <a:pt x="2156141" y="1561724"/>
                    </a:lnTo>
                    <a:lnTo>
                      <a:pt x="2154322" y="1559754"/>
                    </a:lnTo>
                    <a:lnTo>
                      <a:pt x="2151747" y="1558239"/>
                    </a:lnTo>
                    <a:lnTo>
                      <a:pt x="2150534" y="1555814"/>
                    </a:lnTo>
                    <a:lnTo>
                      <a:pt x="2151443" y="1555057"/>
                    </a:lnTo>
                    <a:lnTo>
                      <a:pt x="2151595" y="1554148"/>
                    </a:lnTo>
                    <a:lnTo>
                      <a:pt x="2152201" y="1553845"/>
                    </a:lnTo>
                    <a:lnTo>
                      <a:pt x="2153262" y="1554148"/>
                    </a:lnTo>
                    <a:lnTo>
                      <a:pt x="2154928" y="1553390"/>
                    </a:lnTo>
                    <a:lnTo>
                      <a:pt x="2154019" y="1552632"/>
                    </a:lnTo>
                    <a:lnTo>
                      <a:pt x="2155686" y="1551269"/>
                    </a:lnTo>
                    <a:lnTo>
                      <a:pt x="2157807" y="1550966"/>
                    </a:lnTo>
                    <a:lnTo>
                      <a:pt x="2160535" y="1549905"/>
                    </a:lnTo>
                    <a:lnTo>
                      <a:pt x="2160232" y="1549299"/>
                    </a:lnTo>
                    <a:lnTo>
                      <a:pt x="2160383" y="1546875"/>
                    </a:lnTo>
                    <a:lnTo>
                      <a:pt x="2159171" y="1545208"/>
                    </a:lnTo>
                    <a:lnTo>
                      <a:pt x="2158868" y="1544147"/>
                    </a:lnTo>
                    <a:lnTo>
                      <a:pt x="2159171" y="1543087"/>
                    </a:lnTo>
                    <a:lnTo>
                      <a:pt x="2156595" y="1542784"/>
                    </a:lnTo>
                    <a:lnTo>
                      <a:pt x="2154777" y="1544450"/>
                    </a:lnTo>
                    <a:lnTo>
                      <a:pt x="2154019" y="1547026"/>
                    </a:lnTo>
                    <a:lnTo>
                      <a:pt x="2152807" y="1547329"/>
                    </a:lnTo>
                    <a:lnTo>
                      <a:pt x="2149777" y="1546572"/>
                    </a:lnTo>
                    <a:lnTo>
                      <a:pt x="2147807" y="1544299"/>
                    </a:lnTo>
                    <a:lnTo>
                      <a:pt x="2148868" y="1543087"/>
                    </a:lnTo>
                    <a:lnTo>
                      <a:pt x="2150534" y="1542177"/>
                    </a:lnTo>
                    <a:lnTo>
                      <a:pt x="2151898" y="1540965"/>
                    </a:lnTo>
                    <a:lnTo>
                      <a:pt x="2151898" y="1540208"/>
                    </a:lnTo>
                    <a:lnTo>
                      <a:pt x="2149928" y="1539450"/>
                    </a:lnTo>
                    <a:lnTo>
                      <a:pt x="2149019" y="1540511"/>
                    </a:lnTo>
                    <a:lnTo>
                      <a:pt x="2147959" y="1540965"/>
                    </a:lnTo>
                    <a:lnTo>
                      <a:pt x="2145686" y="1540965"/>
                    </a:lnTo>
                    <a:lnTo>
                      <a:pt x="2142958" y="1542935"/>
                    </a:lnTo>
                    <a:lnTo>
                      <a:pt x="2137958" y="1543844"/>
                    </a:lnTo>
                    <a:lnTo>
                      <a:pt x="2134928" y="1542784"/>
                    </a:lnTo>
                    <a:lnTo>
                      <a:pt x="2131443" y="1540511"/>
                    </a:lnTo>
                    <a:lnTo>
                      <a:pt x="2133716" y="1536420"/>
                    </a:lnTo>
                    <a:lnTo>
                      <a:pt x="2136595" y="1533389"/>
                    </a:lnTo>
                    <a:lnTo>
                      <a:pt x="2139322" y="1533692"/>
                    </a:lnTo>
                    <a:lnTo>
                      <a:pt x="2141595" y="1534147"/>
                    </a:lnTo>
                    <a:lnTo>
                      <a:pt x="2144019" y="1536571"/>
                    </a:lnTo>
                    <a:lnTo>
                      <a:pt x="2154019" y="1539602"/>
                    </a:lnTo>
                    <a:lnTo>
                      <a:pt x="2157959" y="1537935"/>
                    </a:lnTo>
                    <a:lnTo>
                      <a:pt x="2161292" y="1534299"/>
                    </a:lnTo>
                    <a:lnTo>
                      <a:pt x="2162808" y="1534299"/>
                    </a:lnTo>
                    <a:lnTo>
                      <a:pt x="2163868" y="1534601"/>
                    </a:lnTo>
                    <a:lnTo>
                      <a:pt x="2168565" y="1533541"/>
                    </a:lnTo>
                    <a:lnTo>
                      <a:pt x="2172657" y="1532177"/>
                    </a:lnTo>
                    <a:lnTo>
                      <a:pt x="2173566" y="1532177"/>
                    </a:lnTo>
                    <a:lnTo>
                      <a:pt x="2175081" y="1532480"/>
                    </a:lnTo>
                    <a:lnTo>
                      <a:pt x="2178566" y="1533995"/>
                    </a:lnTo>
                    <a:lnTo>
                      <a:pt x="2187960" y="1533389"/>
                    </a:lnTo>
                    <a:lnTo>
                      <a:pt x="2190687" y="1533692"/>
                    </a:lnTo>
                    <a:lnTo>
                      <a:pt x="2193869" y="1533541"/>
                    </a:lnTo>
                    <a:lnTo>
                      <a:pt x="2194324" y="1532026"/>
                    </a:lnTo>
                    <a:lnTo>
                      <a:pt x="2195385" y="1527480"/>
                    </a:lnTo>
                    <a:lnTo>
                      <a:pt x="2196597" y="1523995"/>
                    </a:lnTo>
                    <a:lnTo>
                      <a:pt x="2197203" y="1523540"/>
                    </a:lnTo>
                    <a:lnTo>
                      <a:pt x="2198870" y="1525510"/>
                    </a:lnTo>
                    <a:lnTo>
                      <a:pt x="2199627" y="1527480"/>
                    </a:lnTo>
                    <a:lnTo>
                      <a:pt x="2199627" y="1530813"/>
                    </a:lnTo>
                    <a:lnTo>
                      <a:pt x="2200385" y="1531874"/>
                    </a:lnTo>
                    <a:lnTo>
                      <a:pt x="2201445" y="1532026"/>
                    </a:lnTo>
                    <a:lnTo>
                      <a:pt x="2202658" y="1533844"/>
                    </a:lnTo>
                    <a:lnTo>
                      <a:pt x="2203264" y="1535511"/>
                    </a:lnTo>
                    <a:lnTo>
                      <a:pt x="2200082" y="1536420"/>
                    </a:lnTo>
                    <a:lnTo>
                      <a:pt x="2197809" y="1536571"/>
                    </a:lnTo>
                    <a:lnTo>
                      <a:pt x="2197203" y="1537329"/>
                    </a:lnTo>
                    <a:lnTo>
                      <a:pt x="2207658" y="1536268"/>
                    </a:lnTo>
                    <a:lnTo>
                      <a:pt x="2210688" y="1533238"/>
                    </a:lnTo>
                    <a:lnTo>
                      <a:pt x="2212506" y="1532480"/>
                    </a:lnTo>
                    <a:lnTo>
                      <a:pt x="2212658" y="1533389"/>
                    </a:lnTo>
                    <a:lnTo>
                      <a:pt x="2211143" y="1535056"/>
                    </a:lnTo>
                    <a:lnTo>
                      <a:pt x="2211900" y="1535511"/>
                    </a:lnTo>
                    <a:lnTo>
                      <a:pt x="2217203" y="1534147"/>
                    </a:lnTo>
                    <a:lnTo>
                      <a:pt x="2217961" y="1532480"/>
                    </a:lnTo>
                    <a:lnTo>
                      <a:pt x="2219780" y="1530813"/>
                    </a:lnTo>
                    <a:lnTo>
                      <a:pt x="2220234" y="1528238"/>
                    </a:lnTo>
                    <a:lnTo>
                      <a:pt x="2221598" y="1528238"/>
                    </a:lnTo>
                    <a:lnTo>
                      <a:pt x="2222810" y="1529450"/>
                    </a:lnTo>
                    <a:lnTo>
                      <a:pt x="2223870" y="1527783"/>
                    </a:lnTo>
                    <a:lnTo>
                      <a:pt x="2224931" y="1527328"/>
                    </a:lnTo>
                    <a:lnTo>
                      <a:pt x="2225840" y="1529450"/>
                    </a:lnTo>
                    <a:lnTo>
                      <a:pt x="2225234" y="1531571"/>
                    </a:lnTo>
                    <a:lnTo>
                      <a:pt x="2221446" y="1532632"/>
                    </a:lnTo>
                    <a:lnTo>
                      <a:pt x="2220385" y="1533238"/>
                    </a:lnTo>
                    <a:lnTo>
                      <a:pt x="2219325" y="1534299"/>
                    </a:lnTo>
                    <a:lnTo>
                      <a:pt x="2225689" y="1533238"/>
                    </a:lnTo>
                    <a:lnTo>
                      <a:pt x="2233568" y="1532329"/>
                    </a:lnTo>
                    <a:lnTo>
                      <a:pt x="2235538" y="1531723"/>
                    </a:lnTo>
                    <a:lnTo>
                      <a:pt x="2237810" y="1530511"/>
                    </a:lnTo>
                    <a:lnTo>
                      <a:pt x="2239932" y="1529601"/>
                    </a:lnTo>
                    <a:lnTo>
                      <a:pt x="2241901" y="1530056"/>
                    </a:lnTo>
                    <a:lnTo>
                      <a:pt x="2245083" y="1529753"/>
                    </a:lnTo>
                    <a:lnTo>
                      <a:pt x="2247659" y="1530662"/>
                    </a:lnTo>
                    <a:lnTo>
                      <a:pt x="2248417" y="1531268"/>
                    </a:lnTo>
                    <a:lnTo>
                      <a:pt x="2248871" y="1532329"/>
                    </a:lnTo>
                    <a:lnTo>
                      <a:pt x="2245689" y="1531571"/>
                    </a:lnTo>
                    <a:lnTo>
                      <a:pt x="2239780" y="1532480"/>
                    </a:lnTo>
                    <a:lnTo>
                      <a:pt x="2247356" y="1534450"/>
                    </a:lnTo>
                    <a:lnTo>
                      <a:pt x="2256144" y="1537935"/>
                    </a:lnTo>
                    <a:lnTo>
                      <a:pt x="2257963" y="1539147"/>
                    </a:lnTo>
                    <a:lnTo>
                      <a:pt x="2258872" y="1539299"/>
                    </a:lnTo>
                    <a:lnTo>
                      <a:pt x="2259175" y="1538238"/>
                    </a:lnTo>
                    <a:lnTo>
                      <a:pt x="2259175" y="1537026"/>
                    </a:lnTo>
                    <a:lnTo>
                      <a:pt x="2260993" y="1535965"/>
                    </a:lnTo>
                    <a:lnTo>
                      <a:pt x="2262963" y="1535814"/>
                    </a:lnTo>
                    <a:lnTo>
                      <a:pt x="2261902" y="1537329"/>
                    </a:lnTo>
                    <a:lnTo>
                      <a:pt x="2261296" y="1538693"/>
                    </a:lnTo>
                    <a:lnTo>
                      <a:pt x="2262811" y="1539905"/>
                    </a:lnTo>
                    <a:lnTo>
                      <a:pt x="2262508" y="1540814"/>
                    </a:lnTo>
                    <a:lnTo>
                      <a:pt x="2261145" y="1540662"/>
                    </a:lnTo>
                    <a:lnTo>
                      <a:pt x="2265842" y="1545056"/>
                    </a:lnTo>
                    <a:lnTo>
                      <a:pt x="2269933" y="1548087"/>
                    </a:lnTo>
                    <a:lnTo>
                      <a:pt x="2271145" y="1550360"/>
                    </a:lnTo>
                    <a:lnTo>
                      <a:pt x="2270993" y="1551572"/>
                    </a:lnTo>
                    <a:lnTo>
                      <a:pt x="2270387" y="1552178"/>
                    </a:lnTo>
                    <a:lnTo>
                      <a:pt x="2269175" y="1550814"/>
                    </a:lnTo>
                    <a:lnTo>
                      <a:pt x="2268418" y="1549147"/>
                    </a:lnTo>
                    <a:lnTo>
                      <a:pt x="2268418" y="1551420"/>
                    </a:lnTo>
                    <a:lnTo>
                      <a:pt x="2269478" y="1553541"/>
                    </a:lnTo>
                    <a:lnTo>
                      <a:pt x="2270993" y="1553996"/>
                    </a:lnTo>
                    <a:lnTo>
                      <a:pt x="2274630" y="1553239"/>
                    </a:lnTo>
                    <a:lnTo>
                      <a:pt x="2278873" y="1552784"/>
                    </a:lnTo>
                    <a:lnTo>
                      <a:pt x="2280539" y="1552026"/>
                    </a:lnTo>
                    <a:lnTo>
                      <a:pt x="2282661" y="1551117"/>
                    </a:lnTo>
                    <a:lnTo>
                      <a:pt x="2285085" y="1551269"/>
                    </a:lnTo>
                    <a:lnTo>
                      <a:pt x="2291903" y="1547481"/>
                    </a:lnTo>
                    <a:lnTo>
                      <a:pt x="2294479" y="1547178"/>
                    </a:lnTo>
                    <a:lnTo>
                      <a:pt x="2296449" y="1547329"/>
                    </a:lnTo>
                    <a:lnTo>
                      <a:pt x="2297055" y="1546723"/>
                    </a:lnTo>
                    <a:lnTo>
                      <a:pt x="2296600" y="1545208"/>
                    </a:lnTo>
                    <a:lnTo>
                      <a:pt x="2297206" y="1543844"/>
                    </a:lnTo>
                    <a:lnTo>
                      <a:pt x="2298419" y="1542784"/>
                    </a:lnTo>
                    <a:lnTo>
                      <a:pt x="2305692" y="1541571"/>
                    </a:lnTo>
                    <a:lnTo>
                      <a:pt x="2315237" y="1546875"/>
                    </a:lnTo>
                    <a:lnTo>
                      <a:pt x="2326299" y="1560966"/>
                    </a:lnTo>
                    <a:lnTo>
                      <a:pt x="2340541" y="1572785"/>
                    </a:lnTo>
                    <a:lnTo>
                      <a:pt x="2343723" y="1577633"/>
                    </a:lnTo>
                    <a:lnTo>
                      <a:pt x="2343875" y="1579906"/>
                    </a:lnTo>
                    <a:lnTo>
                      <a:pt x="2343723" y="1581118"/>
                    </a:lnTo>
                    <a:lnTo>
                      <a:pt x="2343420" y="1589452"/>
                    </a:lnTo>
                    <a:lnTo>
                      <a:pt x="2340996" y="1596876"/>
                    </a:lnTo>
                    <a:lnTo>
                      <a:pt x="2338420" y="1608392"/>
                    </a:lnTo>
                    <a:lnTo>
                      <a:pt x="2339329" y="1610362"/>
                    </a:lnTo>
                    <a:lnTo>
                      <a:pt x="2340238" y="1611574"/>
                    </a:lnTo>
                    <a:lnTo>
                      <a:pt x="2341148" y="1612332"/>
                    </a:lnTo>
                    <a:lnTo>
                      <a:pt x="2341905" y="1611574"/>
                    </a:lnTo>
                    <a:lnTo>
                      <a:pt x="2343420" y="1612028"/>
                    </a:lnTo>
                    <a:lnTo>
                      <a:pt x="2344329" y="1611271"/>
                    </a:lnTo>
                    <a:lnTo>
                      <a:pt x="2344784" y="1610362"/>
                    </a:lnTo>
                    <a:lnTo>
                      <a:pt x="2345239" y="1607483"/>
                    </a:lnTo>
                    <a:lnTo>
                      <a:pt x="2344178" y="1606725"/>
                    </a:lnTo>
                    <a:lnTo>
                      <a:pt x="2343117" y="1604756"/>
                    </a:lnTo>
                    <a:lnTo>
                      <a:pt x="2344178" y="1604301"/>
                    </a:lnTo>
                    <a:lnTo>
                      <a:pt x="2345693" y="1604907"/>
                    </a:lnTo>
                    <a:lnTo>
                      <a:pt x="2347360" y="1607331"/>
                    </a:lnTo>
                    <a:lnTo>
                      <a:pt x="2347966" y="1607634"/>
                    </a:lnTo>
                    <a:lnTo>
                      <a:pt x="2349330" y="1606574"/>
                    </a:lnTo>
                    <a:lnTo>
                      <a:pt x="2350390" y="1607786"/>
                    </a:lnTo>
                    <a:lnTo>
                      <a:pt x="2350542" y="1608544"/>
                    </a:lnTo>
                    <a:lnTo>
                      <a:pt x="2349784" y="1610362"/>
                    </a:lnTo>
                    <a:lnTo>
                      <a:pt x="2347360" y="1613089"/>
                    </a:lnTo>
                    <a:lnTo>
                      <a:pt x="2344178" y="1617635"/>
                    </a:lnTo>
                    <a:lnTo>
                      <a:pt x="2342814" y="1617938"/>
                    </a:lnTo>
                    <a:lnTo>
                      <a:pt x="2342057" y="1618392"/>
                    </a:lnTo>
                    <a:lnTo>
                      <a:pt x="2343723" y="1619908"/>
                    </a:lnTo>
                    <a:lnTo>
                      <a:pt x="2344632" y="1621271"/>
                    </a:lnTo>
                    <a:lnTo>
                      <a:pt x="2349481" y="1631272"/>
                    </a:lnTo>
                    <a:lnTo>
                      <a:pt x="2351905" y="1634908"/>
                    </a:lnTo>
                    <a:lnTo>
                      <a:pt x="2353724" y="1636878"/>
                    </a:lnTo>
                    <a:lnTo>
                      <a:pt x="2355087" y="1637484"/>
                    </a:lnTo>
                    <a:lnTo>
                      <a:pt x="2356754" y="1637787"/>
                    </a:lnTo>
                    <a:lnTo>
                      <a:pt x="2357057" y="1636726"/>
                    </a:lnTo>
                    <a:lnTo>
                      <a:pt x="2356754" y="1634908"/>
                    </a:lnTo>
                    <a:lnTo>
                      <a:pt x="2359027" y="1634151"/>
                    </a:lnTo>
                    <a:lnTo>
                      <a:pt x="2361300" y="1634151"/>
                    </a:lnTo>
                    <a:lnTo>
                      <a:pt x="2359785" y="1636272"/>
                    </a:lnTo>
                    <a:lnTo>
                      <a:pt x="2359481" y="1641727"/>
                    </a:lnTo>
                    <a:lnTo>
                      <a:pt x="2360542" y="1646121"/>
                    </a:lnTo>
                    <a:lnTo>
                      <a:pt x="2361451" y="1646424"/>
                    </a:lnTo>
                    <a:lnTo>
                      <a:pt x="2362512" y="1646121"/>
                    </a:lnTo>
                    <a:lnTo>
                      <a:pt x="2363876" y="1643848"/>
                    </a:lnTo>
                    <a:lnTo>
                      <a:pt x="2364936" y="1642939"/>
                    </a:lnTo>
                    <a:lnTo>
                      <a:pt x="2366451" y="1642333"/>
                    </a:lnTo>
                    <a:lnTo>
                      <a:pt x="2364633" y="1644908"/>
                    </a:lnTo>
                    <a:lnTo>
                      <a:pt x="2362967" y="1648090"/>
                    </a:lnTo>
                    <a:lnTo>
                      <a:pt x="2363724" y="1648696"/>
                    </a:lnTo>
                    <a:lnTo>
                      <a:pt x="2365542" y="1649606"/>
                    </a:lnTo>
                    <a:lnTo>
                      <a:pt x="2367057" y="1658091"/>
                    </a:lnTo>
                    <a:lnTo>
                      <a:pt x="2369634" y="1662788"/>
                    </a:lnTo>
                    <a:lnTo>
                      <a:pt x="2373724" y="1665515"/>
                    </a:lnTo>
                    <a:lnTo>
                      <a:pt x="2379331" y="1667334"/>
                    </a:lnTo>
                    <a:lnTo>
                      <a:pt x="2379937" y="1670213"/>
                    </a:lnTo>
                    <a:lnTo>
                      <a:pt x="2383119" y="1674455"/>
                    </a:lnTo>
                    <a:lnTo>
                      <a:pt x="2386301" y="1680667"/>
                    </a:lnTo>
                    <a:lnTo>
                      <a:pt x="2387816" y="1681577"/>
                    </a:lnTo>
                    <a:lnTo>
                      <a:pt x="2389937" y="1682334"/>
                    </a:lnTo>
                    <a:lnTo>
                      <a:pt x="2390998" y="1683698"/>
                    </a:lnTo>
                    <a:lnTo>
                      <a:pt x="2390240" y="1684910"/>
                    </a:lnTo>
                    <a:lnTo>
                      <a:pt x="2386604" y="1682183"/>
                    </a:lnTo>
                    <a:lnTo>
                      <a:pt x="2385543" y="1682486"/>
                    </a:lnTo>
                    <a:lnTo>
                      <a:pt x="2384937" y="1683698"/>
                    </a:lnTo>
                    <a:lnTo>
                      <a:pt x="2384634" y="1684910"/>
                    </a:lnTo>
                    <a:lnTo>
                      <a:pt x="2386149" y="1687486"/>
                    </a:lnTo>
                    <a:lnTo>
                      <a:pt x="2388877" y="1687637"/>
                    </a:lnTo>
                    <a:lnTo>
                      <a:pt x="2392968" y="1686425"/>
                    </a:lnTo>
                    <a:lnTo>
                      <a:pt x="2396453" y="1687031"/>
                    </a:lnTo>
                    <a:lnTo>
                      <a:pt x="2401301" y="1684758"/>
                    </a:lnTo>
                    <a:lnTo>
                      <a:pt x="2403271" y="1684758"/>
                    </a:lnTo>
                    <a:lnTo>
                      <a:pt x="2406453" y="1681880"/>
                    </a:lnTo>
                    <a:lnTo>
                      <a:pt x="2407514" y="1679152"/>
                    </a:lnTo>
                    <a:lnTo>
                      <a:pt x="2408271" y="1673546"/>
                    </a:lnTo>
                    <a:lnTo>
                      <a:pt x="2410544" y="1669909"/>
                    </a:lnTo>
                    <a:lnTo>
                      <a:pt x="2412211" y="1665970"/>
                    </a:lnTo>
                    <a:lnTo>
                      <a:pt x="2412665" y="1666121"/>
                    </a:lnTo>
                    <a:lnTo>
                      <a:pt x="2412817" y="1667031"/>
                    </a:lnTo>
                    <a:lnTo>
                      <a:pt x="2413120" y="1667334"/>
                    </a:lnTo>
                    <a:lnTo>
                      <a:pt x="2413574" y="1658697"/>
                    </a:lnTo>
                    <a:lnTo>
                      <a:pt x="2415544" y="1645969"/>
                    </a:lnTo>
                    <a:lnTo>
                      <a:pt x="2415241" y="1638999"/>
                    </a:lnTo>
                    <a:lnTo>
                      <a:pt x="2414180" y="1633544"/>
                    </a:lnTo>
                    <a:lnTo>
                      <a:pt x="2413120" y="1630969"/>
                    </a:lnTo>
                    <a:lnTo>
                      <a:pt x="2410392" y="1627332"/>
                    </a:lnTo>
                    <a:lnTo>
                      <a:pt x="2398725" y="1598695"/>
                    </a:lnTo>
                    <a:lnTo>
                      <a:pt x="2397665" y="1595967"/>
                    </a:lnTo>
                    <a:lnTo>
                      <a:pt x="2395998" y="1592786"/>
                    </a:lnTo>
                    <a:lnTo>
                      <a:pt x="2394937" y="1587482"/>
                    </a:lnTo>
                    <a:lnTo>
                      <a:pt x="2394028" y="1585209"/>
                    </a:lnTo>
                    <a:lnTo>
                      <a:pt x="2393422" y="1581573"/>
                    </a:lnTo>
                    <a:lnTo>
                      <a:pt x="2394180" y="1581573"/>
                    </a:lnTo>
                    <a:lnTo>
                      <a:pt x="2395240" y="1582331"/>
                    </a:lnTo>
                    <a:lnTo>
                      <a:pt x="2394937" y="1583846"/>
                    </a:lnTo>
                    <a:lnTo>
                      <a:pt x="2395392" y="1585361"/>
                    </a:lnTo>
                    <a:lnTo>
                      <a:pt x="2397210" y="1586270"/>
                    </a:lnTo>
                    <a:lnTo>
                      <a:pt x="2397513" y="1586876"/>
                    </a:lnTo>
                    <a:lnTo>
                      <a:pt x="2396453" y="1588694"/>
                    </a:lnTo>
                    <a:lnTo>
                      <a:pt x="2396453" y="1590210"/>
                    </a:lnTo>
                    <a:lnTo>
                      <a:pt x="2397513" y="1593695"/>
                    </a:lnTo>
                    <a:lnTo>
                      <a:pt x="2398271" y="1592786"/>
                    </a:lnTo>
                    <a:lnTo>
                      <a:pt x="2398574" y="1590513"/>
                    </a:lnTo>
                    <a:lnTo>
                      <a:pt x="2399180" y="1588543"/>
                    </a:lnTo>
                    <a:lnTo>
                      <a:pt x="2399938" y="1588391"/>
                    </a:lnTo>
                    <a:lnTo>
                      <a:pt x="2399483" y="1594301"/>
                    </a:lnTo>
                    <a:lnTo>
                      <a:pt x="2399786" y="1598543"/>
                    </a:lnTo>
                    <a:lnTo>
                      <a:pt x="2402816" y="1605665"/>
                    </a:lnTo>
                    <a:lnTo>
                      <a:pt x="2404029" y="1606725"/>
                    </a:lnTo>
                    <a:lnTo>
                      <a:pt x="2401907" y="1601725"/>
                    </a:lnTo>
                    <a:lnTo>
                      <a:pt x="2400847" y="1598392"/>
                    </a:lnTo>
                    <a:lnTo>
                      <a:pt x="2400544" y="1595664"/>
                    </a:lnTo>
                    <a:lnTo>
                      <a:pt x="2400695" y="1592937"/>
                    </a:lnTo>
                    <a:lnTo>
                      <a:pt x="2400998" y="1591119"/>
                    </a:lnTo>
                    <a:lnTo>
                      <a:pt x="2402210" y="1589300"/>
                    </a:lnTo>
                    <a:lnTo>
                      <a:pt x="2401150" y="1587179"/>
                    </a:lnTo>
                    <a:lnTo>
                      <a:pt x="2391907" y="1572633"/>
                    </a:lnTo>
                    <a:lnTo>
                      <a:pt x="2386301" y="1560512"/>
                    </a:lnTo>
                    <a:lnTo>
                      <a:pt x="2382361" y="1550511"/>
                    </a:lnTo>
                    <a:lnTo>
                      <a:pt x="2379937" y="1540208"/>
                    </a:lnTo>
                    <a:lnTo>
                      <a:pt x="2378573" y="1536420"/>
                    </a:lnTo>
                    <a:lnTo>
                      <a:pt x="2376603" y="1525359"/>
                    </a:lnTo>
                    <a:lnTo>
                      <a:pt x="2375391" y="1522631"/>
                    </a:lnTo>
                    <a:lnTo>
                      <a:pt x="2375088" y="1520510"/>
                    </a:lnTo>
                    <a:lnTo>
                      <a:pt x="2374937" y="1518389"/>
                    </a:lnTo>
                    <a:lnTo>
                      <a:pt x="2375543" y="1517177"/>
                    </a:lnTo>
                    <a:lnTo>
                      <a:pt x="2376300" y="1514298"/>
                    </a:lnTo>
                    <a:lnTo>
                      <a:pt x="2376755" y="1511873"/>
                    </a:lnTo>
                    <a:lnTo>
                      <a:pt x="2376603" y="1510661"/>
                    </a:lnTo>
                    <a:lnTo>
                      <a:pt x="2377058" y="1508540"/>
                    </a:lnTo>
                    <a:lnTo>
                      <a:pt x="2377816" y="1509146"/>
                    </a:lnTo>
                    <a:lnTo>
                      <a:pt x="2379179" y="1509449"/>
                    </a:lnTo>
                    <a:lnTo>
                      <a:pt x="2381300" y="1506722"/>
                    </a:lnTo>
                    <a:lnTo>
                      <a:pt x="2380240" y="1505207"/>
                    </a:lnTo>
                    <a:lnTo>
                      <a:pt x="2378876" y="1504600"/>
                    </a:lnTo>
                    <a:lnTo>
                      <a:pt x="2378725" y="1503994"/>
                    </a:lnTo>
                    <a:lnTo>
                      <a:pt x="2381149" y="1503388"/>
                    </a:lnTo>
                    <a:lnTo>
                      <a:pt x="2382210" y="1501419"/>
                    </a:lnTo>
                    <a:lnTo>
                      <a:pt x="2383270" y="1500358"/>
                    </a:lnTo>
                    <a:lnTo>
                      <a:pt x="2384483" y="1498540"/>
                    </a:lnTo>
                    <a:lnTo>
                      <a:pt x="2383876" y="1498237"/>
                    </a:lnTo>
                    <a:lnTo>
                      <a:pt x="2383119" y="1498540"/>
                    </a:lnTo>
                    <a:lnTo>
                      <a:pt x="2382058" y="1498237"/>
                    </a:lnTo>
                    <a:lnTo>
                      <a:pt x="2382513" y="1497176"/>
                    </a:lnTo>
                    <a:lnTo>
                      <a:pt x="2384483" y="1496115"/>
                    </a:lnTo>
                    <a:lnTo>
                      <a:pt x="2384634" y="1495054"/>
                    </a:lnTo>
                    <a:lnTo>
                      <a:pt x="2384028" y="1494449"/>
                    </a:lnTo>
                    <a:lnTo>
                      <a:pt x="2383725" y="1493388"/>
                    </a:lnTo>
                    <a:lnTo>
                      <a:pt x="2384634" y="1492176"/>
                    </a:lnTo>
                    <a:lnTo>
                      <a:pt x="2386452" y="1491873"/>
                    </a:lnTo>
                    <a:lnTo>
                      <a:pt x="2387361" y="1490812"/>
                    </a:lnTo>
                    <a:lnTo>
                      <a:pt x="2387361" y="1490055"/>
                    </a:lnTo>
                    <a:lnTo>
                      <a:pt x="2386452" y="1489297"/>
                    </a:lnTo>
                    <a:lnTo>
                      <a:pt x="2385998" y="1488085"/>
                    </a:lnTo>
                    <a:lnTo>
                      <a:pt x="2386755" y="1487630"/>
                    </a:lnTo>
                    <a:lnTo>
                      <a:pt x="2387816" y="1487630"/>
                    </a:lnTo>
                    <a:lnTo>
                      <a:pt x="2391149" y="1485963"/>
                    </a:lnTo>
                    <a:lnTo>
                      <a:pt x="2392513" y="1483388"/>
                    </a:lnTo>
                    <a:lnTo>
                      <a:pt x="2392210" y="1482175"/>
                    </a:lnTo>
                    <a:lnTo>
                      <a:pt x="2393119" y="1480812"/>
                    </a:lnTo>
                    <a:lnTo>
                      <a:pt x="2394786" y="1480509"/>
                    </a:lnTo>
                    <a:lnTo>
                      <a:pt x="2395695" y="1480054"/>
                    </a:lnTo>
                    <a:lnTo>
                      <a:pt x="2397513" y="1477781"/>
                    </a:lnTo>
                    <a:lnTo>
                      <a:pt x="2397362" y="1476872"/>
                    </a:lnTo>
                    <a:lnTo>
                      <a:pt x="2396453" y="1476266"/>
                    </a:lnTo>
                    <a:lnTo>
                      <a:pt x="2395543" y="1475205"/>
                    </a:lnTo>
                    <a:lnTo>
                      <a:pt x="2394634" y="1473236"/>
                    </a:lnTo>
                    <a:lnTo>
                      <a:pt x="2394483" y="1470660"/>
                    </a:lnTo>
                    <a:lnTo>
                      <a:pt x="2397059" y="1473993"/>
                    </a:lnTo>
                    <a:lnTo>
                      <a:pt x="2397816" y="1473690"/>
                    </a:lnTo>
                    <a:lnTo>
                      <a:pt x="2397968" y="1472781"/>
                    </a:lnTo>
                    <a:lnTo>
                      <a:pt x="2398877" y="1472326"/>
                    </a:lnTo>
                    <a:lnTo>
                      <a:pt x="2399483" y="1474448"/>
                    </a:lnTo>
                    <a:lnTo>
                      <a:pt x="2399938" y="1475508"/>
                    </a:lnTo>
                    <a:lnTo>
                      <a:pt x="2400695" y="1475660"/>
                    </a:lnTo>
                    <a:lnTo>
                      <a:pt x="2402514" y="1474599"/>
                    </a:lnTo>
                    <a:lnTo>
                      <a:pt x="2403271" y="1473842"/>
                    </a:lnTo>
                    <a:lnTo>
                      <a:pt x="2403574" y="1471720"/>
                    </a:lnTo>
                    <a:lnTo>
                      <a:pt x="2402059" y="1470054"/>
                    </a:lnTo>
                    <a:lnTo>
                      <a:pt x="2399180" y="1468993"/>
                    </a:lnTo>
                    <a:lnTo>
                      <a:pt x="2400847" y="1468387"/>
                    </a:lnTo>
                    <a:lnTo>
                      <a:pt x="2403877" y="1468690"/>
                    </a:lnTo>
                    <a:lnTo>
                      <a:pt x="2406604" y="1469296"/>
                    </a:lnTo>
                    <a:lnTo>
                      <a:pt x="2409180" y="1468236"/>
                    </a:lnTo>
                    <a:lnTo>
                      <a:pt x="2410241" y="1467023"/>
                    </a:lnTo>
                    <a:lnTo>
                      <a:pt x="2411605" y="1466569"/>
                    </a:lnTo>
                    <a:lnTo>
                      <a:pt x="2413120" y="1466720"/>
                    </a:lnTo>
                    <a:lnTo>
                      <a:pt x="2415847" y="1465811"/>
                    </a:lnTo>
                    <a:lnTo>
                      <a:pt x="2418120" y="1464447"/>
                    </a:lnTo>
                    <a:lnTo>
                      <a:pt x="2419332" y="1462629"/>
                    </a:lnTo>
                    <a:lnTo>
                      <a:pt x="2418272" y="1460205"/>
                    </a:lnTo>
                    <a:lnTo>
                      <a:pt x="2421756" y="1460962"/>
                    </a:lnTo>
                    <a:lnTo>
                      <a:pt x="2423726" y="1459902"/>
                    </a:lnTo>
                    <a:lnTo>
                      <a:pt x="2427060" y="1457326"/>
                    </a:lnTo>
                    <a:lnTo>
                      <a:pt x="2427817" y="1454599"/>
                    </a:lnTo>
                    <a:lnTo>
                      <a:pt x="2430242" y="1453841"/>
                    </a:lnTo>
                    <a:lnTo>
                      <a:pt x="2432363" y="1453386"/>
                    </a:lnTo>
                    <a:lnTo>
                      <a:pt x="2436303" y="1450508"/>
                    </a:lnTo>
                    <a:lnTo>
                      <a:pt x="2437515" y="1448992"/>
                    </a:lnTo>
                    <a:lnTo>
                      <a:pt x="2436151" y="1445053"/>
                    </a:lnTo>
                    <a:lnTo>
                      <a:pt x="2437666" y="1442325"/>
                    </a:lnTo>
                    <a:lnTo>
                      <a:pt x="2437666" y="1443538"/>
                    </a:lnTo>
                    <a:lnTo>
                      <a:pt x="2437363" y="1445053"/>
                    </a:lnTo>
                    <a:lnTo>
                      <a:pt x="2438575" y="1447174"/>
                    </a:lnTo>
                    <a:lnTo>
                      <a:pt x="2440091" y="1442174"/>
                    </a:lnTo>
                    <a:lnTo>
                      <a:pt x="2446000" y="1434446"/>
                    </a:lnTo>
                    <a:lnTo>
                      <a:pt x="2448121" y="1432477"/>
                    </a:lnTo>
                    <a:lnTo>
                      <a:pt x="2455394" y="1427931"/>
                    </a:lnTo>
                    <a:lnTo>
                      <a:pt x="2460091" y="1426567"/>
                    </a:lnTo>
                    <a:lnTo>
                      <a:pt x="2470849" y="1426719"/>
                    </a:lnTo>
                    <a:lnTo>
                      <a:pt x="2472061" y="1424294"/>
                    </a:lnTo>
                    <a:lnTo>
                      <a:pt x="2472516" y="1418840"/>
                    </a:lnTo>
                    <a:lnTo>
                      <a:pt x="2473274" y="1421719"/>
                    </a:lnTo>
                    <a:lnTo>
                      <a:pt x="2473122" y="1424294"/>
                    </a:lnTo>
                    <a:lnTo>
                      <a:pt x="2473274" y="1425810"/>
                    </a:lnTo>
                    <a:lnTo>
                      <a:pt x="2474334" y="1422476"/>
                    </a:lnTo>
                    <a:lnTo>
                      <a:pt x="2475092" y="1419446"/>
                    </a:lnTo>
                    <a:lnTo>
                      <a:pt x="2478122" y="1415203"/>
                    </a:lnTo>
                    <a:lnTo>
                      <a:pt x="2479638" y="1413688"/>
                    </a:lnTo>
                    <a:lnTo>
                      <a:pt x="2481001" y="1412930"/>
                    </a:lnTo>
                    <a:lnTo>
                      <a:pt x="2484638" y="1410051"/>
                    </a:lnTo>
                    <a:lnTo>
                      <a:pt x="2488426" y="1407779"/>
                    </a:lnTo>
                    <a:lnTo>
                      <a:pt x="2487820" y="1406870"/>
                    </a:lnTo>
                    <a:lnTo>
                      <a:pt x="2487517" y="1405657"/>
                    </a:lnTo>
                    <a:lnTo>
                      <a:pt x="2487517" y="1401415"/>
                    </a:lnTo>
                    <a:lnTo>
                      <a:pt x="2488274" y="1402475"/>
                    </a:lnTo>
                    <a:lnTo>
                      <a:pt x="2489032" y="1404748"/>
                    </a:lnTo>
                    <a:lnTo>
                      <a:pt x="2490698" y="1405354"/>
                    </a:lnTo>
                    <a:lnTo>
                      <a:pt x="2491911" y="1404900"/>
                    </a:lnTo>
                    <a:lnTo>
                      <a:pt x="2495093" y="1402021"/>
                    </a:lnTo>
                    <a:lnTo>
                      <a:pt x="2497365" y="1402324"/>
                    </a:lnTo>
                    <a:lnTo>
                      <a:pt x="2501608" y="1402172"/>
                    </a:lnTo>
                    <a:lnTo>
                      <a:pt x="2504335" y="1402021"/>
                    </a:lnTo>
                    <a:lnTo>
                      <a:pt x="2506002" y="1401869"/>
                    </a:lnTo>
                    <a:lnTo>
                      <a:pt x="2506760" y="1400506"/>
                    </a:lnTo>
                    <a:lnTo>
                      <a:pt x="2509184" y="1399900"/>
                    </a:lnTo>
                    <a:lnTo>
                      <a:pt x="2511912" y="1399748"/>
                    </a:lnTo>
                    <a:lnTo>
                      <a:pt x="2514033" y="1397778"/>
                    </a:lnTo>
                    <a:lnTo>
                      <a:pt x="2516154" y="1394899"/>
                    </a:lnTo>
                    <a:lnTo>
                      <a:pt x="2513578" y="1393233"/>
                    </a:lnTo>
                    <a:lnTo>
                      <a:pt x="2505699" y="1394748"/>
                    </a:lnTo>
                    <a:lnTo>
                      <a:pt x="2501457" y="1393839"/>
                    </a:lnTo>
                    <a:lnTo>
                      <a:pt x="2499335" y="1392172"/>
                    </a:lnTo>
                    <a:lnTo>
                      <a:pt x="2496759" y="1388233"/>
                    </a:lnTo>
                    <a:lnTo>
                      <a:pt x="2502517" y="1392930"/>
                    </a:lnTo>
                    <a:lnTo>
                      <a:pt x="2504790" y="1393384"/>
                    </a:lnTo>
                    <a:lnTo>
                      <a:pt x="2508881" y="1390808"/>
                    </a:lnTo>
                    <a:lnTo>
                      <a:pt x="2509335" y="1389899"/>
                    </a:lnTo>
                    <a:lnTo>
                      <a:pt x="2509487" y="1388384"/>
                    </a:lnTo>
                    <a:lnTo>
                      <a:pt x="2510699" y="1386414"/>
                    </a:lnTo>
                    <a:lnTo>
                      <a:pt x="2512214" y="1384747"/>
                    </a:lnTo>
                    <a:lnTo>
                      <a:pt x="2511154" y="1383687"/>
                    </a:lnTo>
                    <a:lnTo>
                      <a:pt x="2509942" y="1382929"/>
                    </a:lnTo>
                    <a:lnTo>
                      <a:pt x="2499638" y="1378990"/>
                    </a:lnTo>
                    <a:lnTo>
                      <a:pt x="2497820" y="1376869"/>
                    </a:lnTo>
                    <a:lnTo>
                      <a:pt x="2502063" y="1378838"/>
                    </a:lnTo>
                    <a:lnTo>
                      <a:pt x="2506002" y="1379747"/>
                    </a:lnTo>
                    <a:lnTo>
                      <a:pt x="2508881" y="1379141"/>
                    </a:lnTo>
                    <a:lnTo>
                      <a:pt x="2509487" y="1376717"/>
                    </a:lnTo>
                    <a:lnTo>
                      <a:pt x="2510396" y="1376565"/>
                    </a:lnTo>
                    <a:lnTo>
                      <a:pt x="2511608" y="1377323"/>
                    </a:lnTo>
                    <a:lnTo>
                      <a:pt x="2512063" y="1379596"/>
                    </a:lnTo>
                    <a:lnTo>
                      <a:pt x="2512821" y="1380808"/>
                    </a:lnTo>
                    <a:lnTo>
                      <a:pt x="2514033" y="1380505"/>
                    </a:lnTo>
                    <a:lnTo>
                      <a:pt x="2515548" y="1380657"/>
                    </a:lnTo>
                    <a:lnTo>
                      <a:pt x="2518730" y="1381717"/>
                    </a:lnTo>
                    <a:lnTo>
                      <a:pt x="2521457" y="1382172"/>
                    </a:lnTo>
                    <a:lnTo>
                      <a:pt x="2523427" y="1381414"/>
                    </a:lnTo>
                    <a:lnTo>
                      <a:pt x="2527215" y="1377475"/>
                    </a:lnTo>
                    <a:lnTo>
                      <a:pt x="2532518" y="1373232"/>
                    </a:lnTo>
                    <a:lnTo>
                      <a:pt x="2533276" y="1369595"/>
                    </a:lnTo>
                    <a:lnTo>
                      <a:pt x="2532821" y="1367171"/>
                    </a:lnTo>
                    <a:lnTo>
                      <a:pt x="2532518" y="1365353"/>
                    </a:lnTo>
                    <a:lnTo>
                      <a:pt x="2531458" y="1363686"/>
                    </a:lnTo>
                    <a:lnTo>
                      <a:pt x="2530245" y="1363535"/>
                    </a:lnTo>
                    <a:lnTo>
                      <a:pt x="2526761" y="1365505"/>
                    </a:lnTo>
                    <a:lnTo>
                      <a:pt x="2526154" y="1370959"/>
                    </a:lnTo>
                    <a:lnTo>
                      <a:pt x="2524942" y="1371868"/>
                    </a:lnTo>
                    <a:lnTo>
                      <a:pt x="2523882" y="1371868"/>
                    </a:lnTo>
                    <a:lnTo>
                      <a:pt x="2524033" y="1368838"/>
                    </a:lnTo>
                    <a:lnTo>
                      <a:pt x="2524488" y="1365959"/>
                    </a:lnTo>
                    <a:lnTo>
                      <a:pt x="2524185" y="1363080"/>
                    </a:lnTo>
                    <a:lnTo>
                      <a:pt x="2520397" y="1362474"/>
                    </a:lnTo>
                    <a:lnTo>
                      <a:pt x="2518881" y="1363232"/>
                    </a:lnTo>
                    <a:lnTo>
                      <a:pt x="2516306" y="1363686"/>
                    </a:lnTo>
                    <a:lnTo>
                      <a:pt x="2512366" y="1363535"/>
                    </a:lnTo>
                    <a:lnTo>
                      <a:pt x="2509487" y="1363989"/>
                    </a:lnTo>
                    <a:lnTo>
                      <a:pt x="2506305" y="1363535"/>
                    </a:lnTo>
                    <a:lnTo>
                      <a:pt x="2506457" y="1361110"/>
                    </a:lnTo>
                    <a:lnTo>
                      <a:pt x="2505851" y="1357928"/>
                    </a:lnTo>
                    <a:lnTo>
                      <a:pt x="2506002" y="1354898"/>
                    </a:lnTo>
                    <a:lnTo>
                      <a:pt x="2506457" y="1357474"/>
                    </a:lnTo>
                    <a:lnTo>
                      <a:pt x="2507517" y="1359747"/>
                    </a:lnTo>
                    <a:lnTo>
                      <a:pt x="2510851" y="1361565"/>
                    </a:lnTo>
                    <a:lnTo>
                      <a:pt x="2513123" y="1361110"/>
                    </a:lnTo>
                    <a:lnTo>
                      <a:pt x="2514639" y="1359898"/>
                    </a:lnTo>
                    <a:lnTo>
                      <a:pt x="2515700" y="1357928"/>
                    </a:lnTo>
                    <a:lnTo>
                      <a:pt x="2517366" y="1357777"/>
                    </a:lnTo>
                    <a:lnTo>
                      <a:pt x="2519942" y="1358534"/>
                    </a:lnTo>
                    <a:lnTo>
                      <a:pt x="2518730" y="1356262"/>
                    </a:lnTo>
                    <a:lnTo>
                      <a:pt x="2520094" y="1357019"/>
                    </a:lnTo>
                    <a:lnTo>
                      <a:pt x="2522063" y="1357625"/>
                    </a:lnTo>
                    <a:lnTo>
                      <a:pt x="2522366" y="1355504"/>
                    </a:lnTo>
                    <a:lnTo>
                      <a:pt x="2522215" y="1353534"/>
                    </a:lnTo>
                    <a:lnTo>
                      <a:pt x="2524791" y="1354898"/>
                    </a:lnTo>
                    <a:lnTo>
                      <a:pt x="2527670" y="1355656"/>
                    </a:lnTo>
                    <a:lnTo>
                      <a:pt x="2529488" y="1356716"/>
                    </a:lnTo>
                    <a:lnTo>
                      <a:pt x="2531155" y="1358686"/>
                    </a:lnTo>
                    <a:lnTo>
                      <a:pt x="2529942" y="1353837"/>
                    </a:lnTo>
                    <a:lnTo>
                      <a:pt x="2528276" y="1350201"/>
                    </a:lnTo>
                    <a:lnTo>
                      <a:pt x="2526761" y="1348686"/>
                    </a:lnTo>
                    <a:lnTo>
                      <a:pt x="2526306" y="1347322"/>
                    </a:lnTo>
                    <a:lnTo>
                      <a:pt x="2527215" y="1344291"/>
                    </a:lnTo>
                    <a:lnTo>
                      <a:pt x="2526912" y="1343382"/>
                    </a:lnTo>
                    <a:lnTo>
                      <a:pt x="2527064" y="1342170"/>
                    </a:lnTo>
                    <a:lnTo>
                      <a:pt x="2527518" y="1341564"/>
                    </a:lnTo>
                    <a:lnTo>
                      <a:pt x="2528276" y="1342322"/>
                    </a:lnTo>
                    <a:lnTo>
                      <a:pt x="2528882" y="1344443"/>
                    </a:lnTo>
                    <a:lnTo>
                      <a:pt x="2531155" y="1353686"/>
                    </a:lnTo>
                    <a:lnTo>
                      <a:pt x="2533427" y="1358838"/>
                    </a:lnTo>
                    <a:lnTo>
                      <a:pt x="2537518" y="1366110"/>
                    </a:lnTo>
                    <a:lnTo>
                      <a:pt x="2538731" y="1367777"/>
                    </a:lnTo>
                    <a:lnTo>
                      <a:pt x="2538125" y="1365959"/>
                    </a:lnTo>
                    <a:lnTo>
                      <a:pt x="2532670" y="1355050"/>
                    </a:lnTo>
                    <a:lnTo>
                      <a:pt x="2529033" y="1341716"/>
                    </a:lnTo>
                    <a:lnTo>
                      <a:pt x="2527670" y="1338382"/>
                    </a:lnTo>
                    <a:lnTo>
                      <a:pt x="2527064" y="1335352"/>
                    </a:lnTo>
                    <a:lnTo>
                      <a:pt x="2526154" y="1333837"/>
                    </a:lnTo>
                    <a:lnTo>
                      <a:pt x="2522215" y="1333231"/>
                    </a:lnTo>
                    <a:lnTo>
                      <a:pt x="2519488" y="1332473"/>
                    </a:lnTo>
                    <a:lnTo>
                      <a:pt x="2515245" y="1334443"/>
                    </a:lnTo>
                    <a:lnTo>
                      <a:pt x="2512821" y="1334291"/>
                    </a:lnTo>
                    <a:lnTo>
                      <a:pt x="2512366" y="1332321"/>
                    </a:lnTo>
                    <a:lnTo>
                      <a:pt x="2508881" y="1329594"/>
                    </a:lnTo>
                    <a:lnTo>
                      <a:pt x="2507820" y="1325654"/>
                    </a:lnTo>
                    <a:lnTo>
                      <a:pt x="2505245" y="1325351"/>
                    </a:lnTo>
                    <a:lnTo>
                      <a:pt x="2500850" y="1324139"/>
                    </a:lnTo>
                    <a:lnTo>
                      <a:pt x="2498729" y="1322624"/>
                    </a:lnTo>
                    <a:lnTo>
                      <a:pt x="2493426" y="1321866"/>
                    </a:lnTo>
                    <a:lnTo>
                      <a:pt x="2492517" y="1321412"/>
                    </a:lnTo>
                    <a:lnTo>
                      <a:pt x="2491911" y="1320806"/>
                    </a:lnTo>
                    <a:lnTo>
                      <a:pt x="2498578" y="1321109"/>
                    </a:lnTo>
                    <a:lnTo>
                      <a:pt x="2506911" y="1324291"/>
                    </a:lnTo>
                    <a:lnTo>
                      <a:pt x="2508881" y="1324139"/>
                    </a:lnTo>
                    <a:lnTo>
                      <a:pt x="2509639" y="1326564"/>
                    </a:lnTo>
                    <a:lnTo>
                      <a:pt x="2512214" y="1328837"/>
                    </a:lnTo>
                    <a:lnTo>
                      <a:pt x="2513427" y="1330200"/>
                    </a:lnTo>
                    <a:lnTo>
                      <a:pt x="2515093" y="1331412"/>
                    </a:lnTo>
                    <a:lnTo>
                      <a:pt x="2516760" y="1330655"/>
                    </a:lnTo>
                    <a:lnTo>
                      <a:pt x="2518275" y="1329443"/>
                    </a:lnTo>
                    <a:lnTo>
                      <a:pt x="2517821" y="1327624"/>
                    </a:lnTo>
                    <a:lnTo>
                      <a:pt x="2517063" y="1326412"/>
                    </a:lnTo>
                    <a:lnTo>
                      <a:pt x="2515093" y="1324442"/>
                    </a:lnTo>
                    <a:lnTo>
                      <a:pt x="2512518" y="1323382"/>
                    </a:lnTo>
                    <a:lnTo>
                      <a:pt x="2509487" y="1320957"/>
                    </a:lnTo>
                    <a:lnTo>
                      <a:pt x="2506002" y="1317018"/>
                    </a:lnTo>
                    <a:lnTo>
                      <a:pt x="2505547" y="1316109"/>
                    </a:lnTo>
                    <a:lnTo>
                      <a:pt x="2505547" y="1315351"/>
                    </a:lnTo>
                    <a:lnTo>
                      <a:pt x="2511608" y="1321563"/>
                    </a:lnTo>
                    <a:lnTo>
                      <a:pt x="2513881" y="1322624"/>
                    </a:lnTo>
                    <a:lnTo>
                      <a:pt x="2515548" y="1321866"/>
                    </a:lnTo>
                    <a:lnTo>
                      <a:pt x="2515245" y="1320806"/>
                    </a:lnTo>
                    <a:lnTo>
                      <a:pt x="2515396" y="1319139"/>
                    </a:lnTo>
                    <a:lnTo>
                      <a:pt x="2519184" y="1320048"/>
                    </a:lnTo>
                    <a:lnTo>
                      <a:pt x="2519488" y="1317775"/>
                    </a:lnTo>
                    <a:lnTo>
                      <a:pt x="2519033" y="1315806"/>
                    </a:lnTo>
                    <a:lnTo>
                      <a:pt x="2516306" y="1314745"/>
                    </a:lnTo>
                    <a:lnTo>
                      <a:pt x="2517972" y="1313381"/>
                    </a:lnTo>
                    <a:lnTo>
                      <a:pt x="2513123" y="1311563"/>
                    </a:lnTo>
                    <a:lnTo>
                      <a:pt x="2511305" y="1310351"/>
                    </a:lnTo>
                    <a:lnTo>
                      <a:pt x="2509335" y="1307623"/>
                    </a:lnTo>
                    <a:lnTo>
                      <a:pt x="2506760" y="1305957"/>
                    </a:lnTo>
                    <a:lnTo>
                      <a:pt x="2503123" y="1301866"/>
                    </a:lnTo>
                    <a:lnTo>
                      <a:pt x="2501002" y="1298987"/>
                    </a:lnTo>
                    <a:lnTo>
                      <a:pt x="2495850" y="1294744"/>
                    </a:lnTo>
                    <a:lnTo>
                      <a:pt x="2496911" y="1294744"/>
                    </a:lnTo>
                    <a:lnTo>
                      <a:pt x="2500547" y="1297017"/>
                    </a:lnTo>
                    <a:lnTo>
                      <a:pt x="2503578" y="1301260"/>
                    </a:lnTo>
                    <a:lnTo>
                      <a:pt x="2504487" y="1302017"/>
                    </a:lnTo>
                    <a:lnTo>
                      <a:pt x="2512669" y="1310048"/>
                    </a:lnTo>
                    <a:lnTo>
                      <a:pt x="2514184" y="1310351"/>
                    </a:lnTo>
                    <a:lnTo>
                      <a:pt x="2516760" y="1310199"/>
                    </a:lnTo>
                    <a:lnTo>
                      <a:pt x="2517821" y="1308684"/>
                    </a:lnTo>
                    <a:lnTo>
                      <a:pt x="2518124" y="1306411"/>
                    </a:lnTo>
                    <a:lnTo>
                      <a:pt x="2519033" y="1304745"/>
                    </a:lnTo>
                    <a:lnTo>
                      <a:pt x="2519033" y="1303381"/>
                    </a:lnTo>
                    <a:lnTo>
                      <a:pt x="2516609" y="1301108"/>
                    </a:lnTo>
                    <a:lnTo>
                      <a:pt x="2513427" y="1299593"/>
                    </a:lnTo>
                    <a:lnTo>
                      <a:pt x="2511305" y="1297017"/>
                    </a:lnTo>
                    <a:lnTo>
                      <a:pt x="2508729" y="1295805"/>
                    </a:lnTo>
                    <a:lnTo>
                      <a:pt x="2501608" y="1293835"/>
                    </a:lnTo>
                    <a:lnTo>
                      <a:pt x="2497820" y="1288835"/>
                    </a:lnTo>
                    <a:lnTo>
                      <a:pt x="2496153" y="1288380"/>
                    </a:lnTo>
                    <a:lnTo>
                      <a:pt x="2492820" y="1289290"/>
                    </a:lnTo>
                    <a:lnTo>
                      <a:pt x="2491759" y="1288987"/>
                    </a:lnTo>
                    <a:lnTo>
                      <a:pt x="2490698" y="1287623"/>
                    </a:lnTo>
                    <a:lnTo>
                      <a:pt x="2491456" y="1283380"/>
                    </a:lnTo>
                    <a:lnTo>
                      <a:pt x="2492062" y="1281107"/>
                    </a:lnTo>
                    <a:lnTo>
                      <a:pt x="2494638" y="1278683"/>
                    </a:lnTo>
                    <a:lnTo>
                      <a:pt x="2496608" y="1277319"/>
                    </a:lnTo>
                    <a:lnTo>
                      <a:pt x="2497820" y="1275501"/>
                    </a:lnTo>
                    <a:lnTo>
                      <a:pt x="2498275" y="1271865"/>
                    </a:lnTo>
                    <a:lnTo>
                      <a:pt x="2498578" y="1275350"/>
                    </a:lnTo>
                    <a:lnTo>
                      <a:pt x="2497669" y="1277622"/>
                    </a:lnTo>
                    <a:lnTo>
                      <a:pt x="2495396" y="1279441"/>
                    </a:lnTo>
                    <a:lnTo>
                      <a:pt x="2492971" y="1282926"/>
                    </a:lnTo>
                    <a:lnTo>
                      <a:pt x="2492365" y="1284441"/>
                    </a:lnTo>
                    <a:lnTo>
                      <a:pt x="2492668" y="1287168"/>
                    </a:lnTo>
                    <a:lnTo>
                      <a:pt x="2494790" y="1287471"/>
                    </a:lnTo>
                    <a:lnTo>
                      <a:pt x="2496911" y="1286108"/>
                    </a:lnTo>
                    <a:lnTo>
                      <a:pt x="2499032" y="1285956"/>
                    </a:lnTo>
                    <a:lnTo>
                      <a:pt x="2499335" y="1287623"/>
                    </a:lnTo>
                    <a:lnTo>
                      <a:pt x="2500396" y="1289138"/>
                    </a:lnTo>
                    <a:lnTo>
                      <a:pt x="2502063" y="1290805"/>
                    </a:lnTo>
                    <a:lnTo>
                      <a:pt x="2502669" y="1289441"/>
                    </a:lnTo>
                    <a:lnTo>
                      <a:pt x="2502669" y="1287774"/>
                    </a:lnTo>
                    <a:lnTo>
                      <a:pt x="2505396" y="1291865"/>
                    </a:lnTo>
                    <a:lnTo>
                      <a:pt x="2510245" y="1292926"/>
                    </a:lnTo>
                    <a:lnTo>
                      <a:pt x="2514033" y="1294593"/>
                    </a:lnTo>
                    <a:lnTo>
                      <a:pt x="2515396" y="1296108"/>
                    </a:lnTo>
                    <a:lnTo>
                      <a:pt x="2517063" y="1297320"/>
                    </a:lnTo>
                    <a:lnTo>
                      <a:pt x="2517215" y="1295653"/>
                    </a:lnTo>
                    <a:lnTo>
                      <a:pt x="2516306" y="1293835"/>
                    </a:lnTo>
                    <a:lnTo>
                      <a:pt x="2515093" y="1291562"/>
                    </a:lnTo>
                    <a:lnTo>
                      <a:pt x="2508729" y="1285653"/>
                    </a:lnTo>
                    <a:lnTo>
                      <a:pt x="2507972" y="1283077"/>
                    </a:lnTo>
                    <a:lnTo>
                      <a:pt x="2507669" y="1280653"/>
                    </a:lnTo>
                    <a:lnTo>
                      <a:pt x="2508124" y="1281714"/>
                    </a:lnTo>
                    <a:lnTo>
                      <a:pt x="2508426" y="1283077"/>
                    </a:lnTo>
                    <a:lnTo>
                      <a:pt x="2510396" y="1286411"/>
                    </a:lnTo>
                    <a:lnTo>
                      <a:pt x="2512063" y="1287471"/>
                    </a:lnTo>
                    <a:lnTo>
                      <a:pt x="2514033" y="1288835"/>
                    </a:lnTo>
                    <a:lnTo>
                      <a:pt x="2515245" y="1288532"/>
                    </a:lnTo>
                    <a:lnTo>
                      <a:pt x="2514639" y="1286865"/>
                    </a:lnTo>
                    <a:lnTo>
                      <a:pt x="2513427" y="1285198"/>
                    </a:lnTo>
                    <a:lnTo>
                      <a:pt x="2512214" y="1283380"/>
                    </a:lnTo>
                    <a:lnTo>
                      <a:pt x="2511305" y="1276713"/>
                    </a:lnTo>
                    <a:lnTo>
                      <a:pt x="2511760" y="1275198"/>
                    </a:lnTo>
                    <a:lnTo>
                      <a:pt x="2511912" y="1273531"/>
                    </a:lnTo>
                    <a:lnTo>
                      <a:pt x="2511760" y="1271713"/>
                    </a:lnTo>
                    <a:lnTo>
                      <a:pt x="2512518" y="1270198"/>
                    </a:lnTo>
                    <a:lnTo>
                      <a:pt x="2511760" y="1268380"/>
                    </a:lnTo>
                    <a:lnTo>
                      <a:pt x="2510699" y="1266410"/>
                    </a:lnTo>
                    <a:lnTo>
                      <a:pt x="2511002" y="1266258"/>
                    </a:lnTo>
                    <a:lnTo>
                      <a:pt x="2512972" y="1267471"/>
                    </a:lnTo>
                    <a:lnTo>
                      <a:pt x="2514487" y="1266107"/>
                    </a:lnTo>
                    <a:lnTo>
                      <a:pt x="2514336" y="1264440"/>
                    </a:lnTo>
                    <a:lnTo>
                      <a:pt x="2512669" y="1263379"/>
                    </a:lnTo>
                    <a:lnTo>
                      <a:pt x="2510396" y="1260349"/>
                    </a:lnTo>
                    <a:lnTo>
                      <a:pt x="2510548" y="1259895"/>
                    </a:lnTo>
                    <a:lnTo>
                      <a:pt x="2514639" y="1261258"/>
                    </a:lnTo>
                    <a:lnTo>
                      <a:pt x="2515093" y="1260349"/>
                    </a:lnTo>
                    <a:lnTo>
                      <a:pt x="2514942" y="1258682"/>
                    </a:lnTo>
                    <a:lnTo>
                      <a:pt x="2516154" y="1258076"/>
                    </a:lnTo>
                    <a:lnTo>
                      <a:pt x="2516609" y="1256864"/>
                    </a:lnTo>
                    <a:lnTo>
                      <a:pt x="2516609" y="1256107"/>
                    </a:lnTo>
                    <a:lnTo>
                      <a:pt x="2517063" y="1255652"/>
                    </a:lnTo>
                    <a:lnTo>
                      <a:pt x="2518578" y="1258228"/>
                    </a:lnTo>
                    <a:lnTo>
                      <a:pt x="2519184" y="1257319"/>
                    </a:lnTo>
                    <a:lnTo>
                      <a:pt x="2519488" y="1254591"/>
                    </a:lnTo>
                    <a:lnTo>
                      <a:pt x="2520094" y="1255197"/>
                    </a:lnTo>
                    <a:lnTo>
                      <a:pt x="2520245" y="1256561"/>
                    </a:lnTo>
                    <a:lnTo>
                      <a:pt x="2522215" y="1255803"/>
                    </a:lnTo>
                    <a:lnTo>
                      <a:pt x="2523427" y="1254894"/>
                    </a:lnTo>
                    <a:lnTo>
                      <a:pt x="2523882" y="1253682"/>
                    </a:lnTo>
                    <a:lnTo>
                      <a:pt x="2523730" y="1251864"/>
                    </a:lnTo>
                    <a:lnTo>
                      <a:pt x="2524336" y="1250803"/>
                    </a:lnTo>
                    <a:lnTo>
                      <a:pt x="2525851" y="1250500"/>
                    </a:lnTo>
                    <a:lnTo>
                      <a:pt x="2527215" y="1250046"/>
                    </a:lnTo>
                    <a:lnTo>
                      <a:pt x="2526912" y="1252621"/>
                    </a:lnTo>
                    <a:lnTo>
                      <a:pt x="2529639" y="1252470"/>
                    </a:lnTo>
                    <a:lnTo>
                      <a:pt x="2528579" y="1253834"/>
                    </a:lnTo>
                    <a:lnTo>
                      <a:pt x="2527518" y="1254137"/>
                    </a:lnTo>
                    <a:lnTo>
                      <a:pt x="2526154" y="1255652"/>
                    </a:lnTo>
                    <a:lnTo>
                      <a:pt x="2527973" y="1256107"/>
                    </a:lnTo>
                    <a:lnTo>
                      <a:pt x="2529639" y="1256864"/>
                    </a:lnTo>
                    <a:lnTo>
                      <a:pt x="2526912" y="1257167"/>
                    </a:lnTo>
                    <a:lnTo>
                      <a:pt x="2524185" y="1257167"/>
                    </a:lnTo>
                    <a:lnTo>
                      <a:pt x="2522063" y="1258834"/>
                    </a:lnTo>
                    <a:lnTo>
                      <a:pt x="2519790" y="1262774"/>
                    </a:lnTo>
                    <a:lnTo>
                      <a:pt x="2520245" y="1266864"/>
                    </a:lnTo>
                    <a:lnTo>
                      <a:pt x="2522518" y="1265046"/>
                    </a:lnTo>
                    <a:lnTo>
                      <a:pt x="2522518" y="1266410"/>
                    </a:lnTo>
                    <a:lnTo>
                      <a:pt x="2521154" y="1269289"/>
                    </a:lnTo>
                    <a:lnTo>
                      <a:pt x="2519488" y="1268683"/>
                    </a:lnTo>
                    <a:lnTo>
                      <a:pt x="2517669" y="1268683"/>
                    </a:lnTo>
                    <a:lnTo>
                      <a:pt x="2517215" y="1270501"/>
                    </a:lnTo>
                    <a:lnTo>
                      <a:pt x="2517215" y="1271865"/>
                    </a:lnTo>
                    <a:lnTo>
                      <a:pt x="2519639" y="1270804"/>
                    </a:lnTo>
                    <a:lnTo>
                      <a:pt x="2521003" y="1271713"/>
                    </a:lnTo>
                    <a:lnTo>
                      <a:pt x="2521609" y="1273683"/>
                    </a:lnTo>
                    <a:lnTo>
                      <a:pt x="2519488" y="1274592"/>
                    </a:lnTo>
                    <a:lnTo>
                      <a:pt x="2517972" y="1274744"/>
                    </a:lnTo>
                    <a:lnTo>
                      <a:pt x="2516912" y="1278228"/>
                    </a:lnTo>
                    <a:lnTo>
                      <a:pt x="2517821" y="1277774"/>
                    </a:lnTo>
                    <a:lnTo>
                      <a:pt x="2518578" y="1276259"/>
                    </a:lnTo>
                    <a:lnTo>
                      <a:pt x="2520397" y="1276713"/>
                    </a:lnTo>
                    <a:lnTo>
                      <a:pt x="2521457" y="1278380"/>
                    </a:lnTo>
                    <a:lnTo>
                      <a:pt x="2524639" y="1281107"/>
                    </a:lnTo>
                    <a:lnTo>
                      <a:pt x="2525700" y="1280956"/>
                    </a:lnTo>
                    <a:lnTo>
                      <a:pt x="2526154" y="1281714"/>
                    </a:lnTo>
                    <a:lnTo>
                      <a:pt x="2523124" y="1281714"/>
                    </a:lnTo>
                    <a:lnTo>
                      <a:pt x="2520851" y="1281107"/>
                    </a:lnTo>
                    <a:lnTo>
                      <a:pt x="2519033" y="1281714"/>
                    </a:lnTo>
                    <a:lnTo>
                      <a:pt x="2518124" y="1285047"/>
                    </a:lnTo>
                    <a:lnTo>
                      <a:pt x="2518881" y="1286865"/>
                    </a:lnTo>
                    <a:lnTo>
                      <a:pt x="2520397" y="1289290"/>
                    </a:lnTo>
                    <a:lnTo>
                      <a:pt x="2522972" y="1290653"/>
                    </a:lnTo>
                    <a:lnTo>
                      <a:pt x="2524791" y="1291865"/>
                    </a:lnTo>
                    <a:lnTo>
                      <a:pt x="2525700" y="1291411"/>
                    </a:lnTo>
                    <a:lnTo>
                      <a:pt x="2526003" y="1290502"/>
                    </a:lnTo>
                    <a:lnTo>
                      <a:pt x="2526609" y="1290199"/>
                    </a:lnTo>
                    <a:lnTo>
                      <a:pt x="2527064" y="1291411"/>
                    </a:lnTo>
                    <a:lnTo>
                      <a:pt x="2527821" y="1290805"/>
                    </a:lnTo>
                    <a:lnTo>
                      <a:pt x="2529185" y="1289290"/>
                    </a:lnTo>
                    <a:lnTo>
                      <a:pt x="2529942" y="1289138"/>
                    </a:lnTo>
                    <a:lnTo>
                      <a:pt x="2529488" y="1290502"/>
                    </a:lnTo>
                    <a:lnTo>
                      <a:pt x="2529791" y="1292320"/>
                    </a:lnTo>
                    <a:lnTo>
                      <a:pt x="2529185" y="1293835"/>
                    </a:lnTo>
                    <a:lnTo>
                      <a:pt x="2527973" y="1295199"/>
                    </a:lnTo>
                    <a:lnTo>
                      <a:pt x="2529033" y="1295956"/>
                    </a:lnTo>
                    <a:lnTo>
                      <a:pt x="2529942" y="1296108"/>
                    </a:lnTo>
                    <a:lnTo>
                      <a:pt x="2531609" y="1297775"/>
                    </a:lnTo>
                    <a:lnTo>
                      <a:pt x="2530700" y="1299441"/>
                    </a:lnTo>
                    <a:lnTo>
                      <a:pt x="2530094" y="1301411"/>
                    </a:lnTo>
                    <a:lnTo>
                      <a:pt x="2533276" y="1301411"/>
                    </a:lnTo>
                    <a:lnTo>
                      <a:pt x="2535397" y="1302017"/>
                    </a:lnTo>
                    <a:lnTo>
                      <a:pt x="2533730" y="1306260"/>
                    </a:lnTo>
                    <a:lnTo>
                      <a:pt x="2531761" y="1308381"/>
                    </a:lnTo>
                    <a:lnTo>
                      <a:pt x="2529185" y="1312775"/>
                    </a:lnTo>
                    <a:lnTo>
                      <a:pt x="2526761" y="1319745"/>
                    </a:lnTo>
                    <a:lnTo>
                      <a:pt x="2526154" y="1323988"/>
                    </a:lnTo>
                    <a:lnTo>
                      <a:pt x="2526457" y="1325654"/>
                    </a:lnTo>
                    <a:lnTo>
                      <a:pt x="2527821" y="1327473"/>
                    </a:lnTo>
                    <a:lnTo>
                      <a:pt x="2530094" y="1322927"/>
                    </a:lnTo>
                    <a:lnTo>
                      <a:pt x="2531306" y="1318836"/>
                    </a:lnTo>
                    <a:lnTo>
                      <a:pt x="2532518" y="1317321"/>
                    </a:lnTo>
                    <a:lnTo>
                      <a:pt x="2534337" y="1315957"/>
                    </a:lnTo>
                    <a:lnTo>
                      <a:pt x="2536155" y="1315351"/>
                    </a:lnTo>
                    <a:lnTo>
                      <a:pt x="2537367" y="1314594"/>
                    </a:lnTo>
                    <a:lnTo>
                      <a:pt x="2537064" y="1312321"/>
                    </a:lnTo>
                    <a:lnTo>
                      <a:pt x="2543731" y="1298684"/>
                    </a:lnTo>
                    <a:lnTo>
                      <a:pt x="2545397" y="1296714"/>
                    </a:lnTo>
                    <a:lnTo>
                      <a:pt x="2547216" y="1293078"/>
                    </a:lnTo>
                    <a:lnTo>
                      <a:pt x="2549034" y="1292623"/>
                    </a:lnTo>
                    <a:lnTo>
                      <a:pt x="2549489" y="1291259"/>
                    </a:lnTo>
                    <a:lnTo>
                      <a:pt x="2549640" y="1288532"/>
                    </a:lnTo>
                    <a:lnTo>
                      <a:pt x="2550095" y="1287774"/>
                    </a:lnTo>
                    <a:lnTo>
                      <a:pt x="2550852" y="1287168"/>
                    </a:lnTo>
                    <a:lnTo>
                      <a:pt x="2551307" y="1287623"/>
                    </a:lnTo>
                    <a:lnTo>
                      <a:pt x="2551307" y="1288987"/>
                    </a:lnTo>
                    <a:lnTo>
                      <a:pt x="2551913" y="1288380"/>
                    </a:lnTo>
                    <a:lnTo>
                      <a:pt x="2552216" y="1287017"/>
                    </a:lnTo>
                    <a:lnTo>
                      <a:pt x="2552368" y="1284592"/>
                    </a:lnTo>
                    <a:lnTo>
                      <a:pt x="2551307" y="1282168"/>
                    </a:lnTo>
                    <a:lnTo>
                      <a:pt x="2550246" y="1281562"/>
                    </a:lnTo>
                    <a:lnTo>
                      <a:pt x="2548125" y="1281865"/>
                    </a:lnTo>
                    <a:lnTo>
                      <a:pt x="2549792" y="1280501"/>
                    </a:lnTo>
                    <a:lnTo>
                      <a:pt x="2551004" y="1277622"/>
                    </a:lnTo>
                    <a:lnTo>
                      <a:pt x="2550852" y="1275956"/>
                    </a:lnTo>
                    <a:lnTo>
                      <a:pt x="2548276" y="1274592"/>
                    </a:lnTo>
                    <a:lnTo>
                      <a:pt x="2544792" y="1269895"/>
                    </a:lnTo>
                    <a:lnTo>
                      <a:pt x="2542519" y="1265804"/>
                    </a:lnTo>
                    <a:lnTo>
                      <a:pt x="2541913" y="1259743"/>
                    </a:lnTo>
                    <a:lnTo>
                      <a:pt x="2539034" y="1255803"/>
                    </a:lnTo>
                    <a:lnTo>
                      <a:pt x="2537518" y="1253379"/>
                    </a:lnTo>
                    <a:lnTo>
                      <a:pt x="2537670" y="1250955"/>
                    </a:lnTo>
                    <a:lnTo>
                      <a:pt x="2537215" y="1249743"/>
                    </a:lnTo>
                    <a:lnTo>
                      <a:pt x="2537064" y="1248076"/>
                    </a:lnTo>
                    <a:lnTo>
                      <a:pt x="2539337" y="1245652"/>
                    </a:lnTo>
                    <a:lnTo>
                      <a:pt x="2540397" y="1243682"/>
                    </a:lnTo>
                    <a:lnTo>
                      <a:pt x="2542216" y="1242015"/>
                    </a:lnTo>
                    <a:lnTo>
                      <a:pt x="2544337" y="1240954"/>
                    </a:lnTo>
                    <a:lnTo>
                      <a:pt x="2548428" y="1240045"/>
                    </a:lnTo>
                    <a:lnTo>
                      <a:pt x="2551155" y="1237166"/>
                    </a:lnTo>
                    <a:lnTo>
                      <a:pt x="2550398" y="1238833"/>
                    </a:lnTo>
                    <a:lnTo>
                      <a:pt x="2549034" y="1240803"/>
                    </a:lnTo>
                    <a:lnTo>
                      <a:pt x="2543579" y="1242167"/>
                    </a:lnTo>
                    <a:lnTo>
                      <a:pt x="2541761" y="1243379"/>
                    </a:lnTo>
                    <a:lnTo>
                      <a:pt x="2540397" y="1245803"/>
                    </a:lnTo>
                    <a:lnTo>
                      <a:pt x="2539034" y="1249288"/>
                    </a:lnTo>
                    <a:lnTo>
                      <a:pt x="2539185" y="1251561"/>
                    </a:lnTo>
                    <a:lnTo>
                      <a:pt x="2539034" y="1252925"/>
                    </a:lnTo>
                    <a:lnTo>
                      <a:pt x="2543731" y="1257773"/>
                    </a:lnTo>
                    <a:lnTo>
                      <a:pt x="2547064" y="1259591"/>
                    </a:lnTo>
                    <a:lnTo>
                      <a:pt x="2549640" y="1262016"/>
                    </a:lnTo>
                    <a:lnTo>
                      <a:pt x="2552064" y="1261864"/>
                    </a:lnTo>
                    <a:lnTo>
                      <a:pt x="2554186" y="1262622"/>
                    </a:lnTo>
                    <a:lnTo>
                      <a:pt x="2556307" y="1263985"/>
                    </a:lnTo>
                    <a:lnTo>
                      <a:pt x="2555701" y="1267167"/>
                    </a:lnTo>
                    <a:lnTo>
                      <a:pt x="2554792" y="1270198"/>
                    </a:lnTo>
                    <a:lnTo>
                      <a:pt x="2555701" y="1270501"/>
                    </a:lnTo>
                    <a:lnTo>
                      <a:pt x="2559186" y="1268531"/>
                    </a:lnTo>
                    <a:lnTo>
                      <a:pt x="2563277" y="1262016"/>
                    </a:lnTo>
                    <a:lnTo>
                      <a:pt x="2564338" y="1260804"/>
                    </a:lnTo>
                    <a:lnTo>
                      <a:pt x="2564338" y="1259288"/>
                    </a:lnTo>
                    <a:lnTo>
                      <a:pt x="2564944" y="1258531"/>
                    </a:lnTo>
                    <a:lnTo>
                      <a:pt x="2566611" y="1257622"/>
                    </a:lnTo>
                    <a:lnTo>
                      <a:pt x="2567822" y="1257773"/>
                    </a:lnTo>
                    <a:lnTo>
                      <a:pt x="2569035" y="1256409"/>
                    </a:lnTo>
                    <a:lnTo>
                      <a:pt x="2569489" y="1254288"/>
                    </a:lnTo>
                    <a:lnTo>
                      <a:pt x="2570095" y="1253228"/>
                    </a:lnTo>
                    <a:lnTo>
                      <a:pt x="2569641" y="1251258"/>
                    </a:lnTo>
                    <a:lnTo>
                      <a:pt x="2571762" y="1251712"/>
                    </a:lnTo>
                    <a:lnTo>
                      <a:pt x="2573732" y="1249288"/>
                    </a:lnTo>
                    <a:lnTo>
                      <a:pt x="2576005" y="1245652"/>
                    </a:lnTo>
                    <a:lnTo>
                      <a:pt x="2577671" y="1238833"/>
                    </a:lnTo>
                    <a:lnTo>
                      <a:pt x="2578277" y="1237621"/>
                    </a:lnTo>
                    <a:lnTo>
                      <a:pt x="2579187" y="1237015"/>
                    </a:lnTo>
                    <a:lnTo>
                      <a:pt x="2578732" y="1242318"/>
                    </a:lnTo>
                    <a:lnTo>
                      <a:pt x="2578884" y="1243682"/>
                    </a:lnTo>
                    <a:lnTo>
                      <a:pt x="2579793" y="1239288"/>
                    </a:lnTo>
                    <a:lnTo>
                      <a:pt x="2580399" y="1234439"/>
                    </a:lnTo>
                    <a:lnTo>
                      <a:pt x="2581005" y="1231257"/>
                    </a:lnTo>
                    <a:lnTo>
                      <a:pt x="2581914" y="1228681"/>
                    </a:lnTo>
                    <a:lnTo>
                      <a:pt x="2582369" y="1226105"/>
                    </a:lnTo>
                    <a:lnTo>
                      <a:pt x="2581914" y="1223833"/>
                    </a:lnTo>
                    <a:lnTo>
                      <a:pt x="2581156" y="1222166"/>
                    </a:lnTo>
                    <a:lnTo>
                      <a:pt x="2579793" y="1222923"/>
                    </a:lnTo>
                    <a:lnTo>
                      <a:pt x="2574489" y="1222014"/>
                    </a:lnTo>
                    <a:lnTo>
                      <a:pt x="2573883" y="1219741"/>
                    </a:lnTo>
                    <a:lnTo>
                      <a:pt x="2574944" y="1217166"/>
                    </a:lnTo>
                    <a:lnTo>
                      <a:pt x="2576005" y="1215802"/>
                    </a:lnTo>
                    <a:lnTo>
                      <a:pt x="2576914" y="1215044"/>
                    </a:lnTo>
                    <a:lnTo>
                      <a:pt x="2577975" y="1214590"/>
                    </a:lnTo>
                    <a:lnTo>
                      <a:pt x="2579338" y="1213529"/>
                    </a:lnTo>
                    <a:lnTo>
                      <a:pt x="2580550" y="1212317"/>
                    </a:lnTo>
                    <a:lnTo>
                      <a:pt x="2583278" y="1207165"/>
                    </a:lnTo>
                    <a:lnTo>
                      <a:pt x="2583732" y="1204438"/>
                    </a:lnTo>
                    <a:lnTo>
                      <a:pt x="2583429" y="1199892"/>
                    </a:lnTo>
                    <a:lnTo>
                      <a:pt x="2582065" y="1196256"/>
                    </a:lnTo>
                    <a:lnTo>
                      <a:pt x="2583278" y="1197316"/>
                    </a:lnTo>
                    <a:lnTo>
                      <a:pt x="2584490" y="1198832"/>
                    </a:lnTo>
                    <a:lnTo>
                      <a:pt x="2584793" y="1202620"/>
                    </a:lnTo>
                    <a:lnTo>
                      <a:pt x="2583884" y="1207317"/>
                    </a:lnTo>
                    <a:lnTo>
                      <a:pt x="2582672" y="1209741"/>
                    </a:lnTo>
                    <a:lnTo>
                      <a:pt x="2581611" y="1212620"/>
                    </a:lnTo>
                    <a:lnTo>
                      <a:pt x="2582672" y="1211862"/>
                    </a:lnTo>
                    <a:lnTo>
                      <a:pt x="2583732" y="1210650"/>
                    </a:lnTo>
                    <a:lnTo>
                      <a:pt x="2585399" y="1210196"/>
                    </a:lnTo>
                    <a:lnTo>
                      <a:pt x="2587369" y="1208681"/>
                    </a:lnTo>
                    <a:lnTo>
                      <a:pt x="2590248" y="1205802"/>
                    </a:lnTo>
                    <a:lnTo>
                      <a:pt x="2592672" y="1203983"/>
                    </a:lnTo>
                    <a:lnTo>
                      <a:pt x="2603581" y="1198983"/>
                    </a:lnTo>
                    <a:lnTo>
                      <a:pt x="2607976" y="1197620"/>
                    </a:lnTo>
                    <a:lnTo>
                      <a:pt x="2610703" y="1195347"/>
                    </a:lnTo>
                    <a:lnTo>
                      <a:pt x="2612824" y="1195953"/>
                    </a:lnTo>
                    <a:lnTo>
                      <a:pt x="2622825" y="1195650"/>
                    </a:lnTo>
                    <a:lnTo>
                      <a:pt x="2625855" y="1194438"/>
                    </a:lnTo>
                    <a:lnTo>
                      <a:pt x="2628734" y="1195044"/>
                    </a:lnTo>
                    <a:lnTo>
                      <a:pt x="2634037" y="1193983"/>
                    </a:lnTo>
                    <a:lnTo>
                      <a:pt x="2637977" y="1193528"/>
                    </a:lnTo>
                    <a:lnTo>
                      <a:pt x="2642371" y="1193832"/>
                    </a:lnTo>
                    <a:lnTo>
                      <a:pt x="2649038" y="1192316"/>
                    </a:lnTo>
                    <a:lnTo>
                      <a:pt x="2651159" y="1189892"/>
                    </a:lnTo>
                    <a:lnTo>
                      <a:pt x="2651614" y="1183983"/>
                    </a:lnTo>
                    <a:lnTo>
                      <a:pt x="2653280" y="1181710"/>
                    </a:lnTo>
                    <a:lnTo>
                      <a:pt x="2652523" y="1178679"/>
                    </a:lnTo>
                    <a:lnTo>
                      <a:pt x="2653432" y="1178982"/>
                    </a:lnTo>
                    <a:lnTo>
                      <a:pt x="2654190" y="1179740"/>
                    </a:lnTo>
                    <a:lnTo>
                      <a:pt x="2654796" y="1181104"/>
                    </a:lnTo>
                    <a:lnTo>
                      <a:pt x="2655856" y="1182316"/>
                    </a:lnTo>
                    <a:lnTo>
                      <a:pt x="2658432" y="1180195"/>
                    </a:lnTo>
                    <a:lnTo>
                      <a:pt x="2659190" y="1180195"/>
                    </a:lnTo>
                    <a:lnTo>
                      <a:pt x="2657674" y="1183680"/>
                    </a:lnTo>
                    <a:lnTo>
                      <a:pt x="2658129" y="1187771"/>
                    </a:lnTo>
                    <a:lnTo>
                      <a:pt x="2658735" y="1188680"/>
                    </a:lnTo>
                    <a:lnTo>
                      <a:pt x="2661159" y="1187165"/>
                    </a:lnTo>
                    <a:lnTo>
                      <a:pt x="2664038" y="1186861"/>
                    </a:lnTo>
                    <a:lnTo>
                      <a:pt x="2671463" y="1181407"/>
                    </a:lnTo>
                    <a:lnTo>
                      <a:pt x="2672372" y="1181558"/>
                    </a:lnTo>
                    <a:lnTo>
                      <a:pt x="2672675" y="1184892"/>
                    </a:lnTo>
                    <a:lnTo>
                      <a:pt x="2672372" y="1186559"/>
                    </a:lnTo>
                    <a:lnTo>
                      <a:pt x="2672675" y="1187316"/>
                    </a:lnTo>
                    <a:lnTo>
                      <a:pt x="2677524" y="1185801"/>
                    </a:lnTo>
                    <a:lnTo>
                      <a:pt x="2679645" y="1184286"/>
                    </a:lnTo>
                    <a:lnTo>
                      <a:pt x="2689039" y="1182619"/>
                    </a:lnTo>
                    <a:lnTo>
                      <a:pt x="2691009" y="1182467"/>
                    </a:lnTo>
                    <a:lnTo>
                      <a:pt x="2692070" y="1182619"/>
                    </a:lnTo>
                    <a:lnTo>
                      <a:pt x="2692524" y="1181558"/>
                    </a:lnTo>
                    <a:lnTo>
                      <a:pt x="2692373" y="1178376"/>
                    </a:lnTo>
                    <a:lnTo>
                      <a:pt x="2691312" y="1173376"/>
                    </a:lnTo>
                    <a:lnTo>
                      <a:pt x="2687675" y="1169588"/>
                    </a:lnTo>
                    <a:lnTo>
                      <a:pt x="2686312" y="1168982"/>
                    </a:lnTo>
                    <a:lnTo>
                      <a:pt x="2685100" y="1168831"/>
                    </a:lnTo>
                    <a:lnTo>
                      <a:pt x="2684039" y="1169134"/>
                    </a:lnTo>
                    <a:lnTo>
                      <a:pt x="2684191" y="1169740"/>
                    </a:lnTo>
                    <a:lnTo>
                      <a:pt x="2685251" y="1170952"/>
                    </a:lnTo>
                    <a:lnTo>
                      <a:pt x="2685857" y="1170043"/>
                    </a:lnTo>
                    <a:lnTo>
                      <a:pt x="2687524" y="1171103"/>
                    </a:lnTo>
                    <a:lnTo>
                      <a:pt x="2688130" y="1172770"/>
                    </a:lnTo>
                    <a:lnTo>
                      <a:pt x="2690403" y="1176255"/>
                    </a:lnTo>
                    <a:lnTo>
                      <a:pt x="2690554" y="1177770"/>
                    </a:lnTo>
                    <a:lnTo>
                      <a:pt x="2686918" y="1179589"/>
                    </a:lnTo>
                    <a:lnTo>
                      <a:pt x="2682524" y="1180952"/>
                    </a:lnTo>
                    <a:lnTo>
                      <a:pt x="2678887" y="1180043"/>
                    </a:lnTo>
                    <a:lnTo>
                      <a:pt x="2676463" y="1178528"/>
                    </a:lnTo>
                    <a:lnTo>
                      <a:pt x="2675554" y="1174134"/>
                    </a:lnTo>
                    <a:lnTo>
                      <a:pt x="2672675" y="1172619"/>
                    </a:lnTo>
                    <a:lnTo>
                      <a:pt x="2672978" y="1171558"/>
                    </a:lnTo>
                    <a:lnTo>
                      <a:pt x="2673736" y="1170952"/>
                    </a:lnTo>
                    <a:lnTo>
                      <a:pt x="2670402" y="1164739"/>
                    </a:lnTo>
                    <a:lnTo>
                      <a:pt x="2668281" y="1163527"/>
                    </a:lnTo>
                    <a:lnTo>
                      <a:pt x="2663432" y="1162315"/>
                    </a:lnTo>
                    <a:lnTo>
                      <a:pt x="2662068" y="1161255"/>
                    </a:lnTo>
                    <a:lnTo>
                      <a:pt x="2665250" y="1157921"/>
                    </a:lnTo>
                    <a:lnTo>
                      <a:pt x="2666917" y="1155800"/>
                    </a:lnTo>
                    <a:lnTo>
                      <a:pt x="2667978" y="1153982"/>
                    </a:lnTo>
                    <a:lnTo>
                      <a:pt x="2670099" y="1153375"/>
                    </a:lnTo>
                    <a:lnTo>
                      <a:pt x="2672523" y="1151860"/>
                    </a:lnTo>
                    <a:lnTo>
                      <a:pt x="2673887" y="1151709"/>
                    </a:lnTo>
                    <a:lnTo>
                      <a:pt x="2674190" y="1150800"/>
                    </a:lnTo>
                    <a:lnTo>
                      <a:pt x="2673584" y="1150042"/>
                    </a:lnTo>
                    <a:lnTo>
                      <a:pt x="2672675" y="1150042"/>
                    </a:lnTo>
                    <a:lnTo>
                      <a:pt x="2671463" y="1150345"/>
                    </a:lnTo>
                    <a:lnTo>
                      <a:pt x="2670402" y="1150194"/>
                    </a:lnTo>
                    <a:lnTo>
                      <a:pt x="2669190" y="1148527"/>
                    </a:lnTo>
                    <a:lnTo>
                      <a:pt x="2668735" y="1146860"/>
                    </a:lnTo>
                    <a:lnTo>
                      <a:pt x="2667978" y="1145193"/>
                    </a:lnTo>
                    <a:lnTo>
                      <a:pt x="2669342" y="1141405"/>
                    </a:lnTo>
                    <a:lnTo>
                      <a:pt x="2670554" y="1137163"/>
                    </a:lnTo>
                    <a:lnTo>
                      <a:pt x="2671766" y="1135799"/>
                    </a:lnTo>
                    <a:lnTo>
                      <a:pt x="2673130" y="1135041"/>
                    </a:lnTo>
                    <a:lnTo>
                      <a:pt x="2676463" y="1127920"/>
                    </a:lnTo>
                    <a:lnTo>
                      <a:pt x="2680857" y="1123526"/>
                    </a:lnTo>
                    <a:lnTo>
                      <a:pt x="2685100" y="1118677"/>
                    </a:lnTo>
                    <a:lnTo>
                      <a:pt x="2684191" y="1117617"/>
                    </a:lnTo>
                    <a:lnTo>
                      <a:pt x="2683281" y="1117162"/>
                    </a:lnTo>
                    <a:lnTo>
                      <a:pt x="2685706" y="1113980"/>
                    </a:lnTo>
                    <a:lnTo>
                      <a:pt x="2688888" y="1111707"/>
                    </a:lnTo>
                    <a:lnTo>
                      <a:pt x="2691615" y="1110950"/>
                    </a:lnTo>
                    <a:lnTo>
                      <a:pt x="2691312" y="1112162"/>
                    </a:lnTo>
                    <a:lnTo>
                      <a:pt x="2691312" y="1113222"/>
                    </a:lnTo>
                    <a:lnTo>
                      <a:pt x="2692676" y="1112919"/>
                    </a:lnTo>
                    <a:lnTo>
                      <a:pt x="2694191" y="1112162"/>
                    </a:lnTo>
                    <a:lnTo>
                      <a:pt x="2695100" y="1113222"/>
                    </a:lnTo>
                    <a:lnTo>
                      <a:pt x="2696009" y="1113829"/>
                    </a:lnTo>
                    <a:lnTo>
                      <a:pt x="2696464" y="1112768"/>
                    </a:lnTo>
                    <a:lnTo>
                      <a:pt x="2696161" y="1110647"/>
                    </a:lnTo>
                    <a:lnTo>
                      <a:pt x="2696312" y="1109131"/>
                    </a:lnTo>
                    <a:lnTo>
                      <a:pt x="2696918" y="1109586"/>
                    </a:lnTo>
                    <a:lnTo>
                      <a:pt x="2697221" y="1110798"/>
                    </a:lnTo>
                    <a:lnTo>
                      <a:pt x="2698130" y="1111101"/>
                    </a:lnTo>
                    <a:lnTo>
                      <a:pt x="2699040" y="1107616"/>
                    </a:lnTo>
                    <a:lnTo>
                      <a:pt x="2700252" y="1106252"/>
                    </a:lnTo>
                    <a:lnTo>
                      <a:pt x="2700706" y="1107768"/>
                    </a:lnTo>
                    <a:lnTo>
                      <a:pt x="2701009" y="1110041"/>
                    </a:lnTo>
                    <a:lnTo>
                      <a:pt x="2701918" y="1109889"/>
                    </a:lnTo>
                    <a:lnTo>
                      <a:pt x="2702828" y="1106707"/>
                    </a:lnTo>
                    <a:lnTo>
                      <a:pt x="2703282" y="1107313"/>
                    </a:lnTo>
                    <a:lnTo>
                      <a:pt x="2703888" y="1109434"/>
                    </a:lnTo>
                    <a:lnTo>
                      <a:pt x="2704949" y="1109131"/>
                    </a:lnTo>
                    <a:lnTo>
                      <a:pt x="2706161" y="1107465"/>
                    </a:lnTo>
                    <a:lnTo>
                      <a:pt x="2708585" y="1105950"/>
                    </a:lnTo>
                    <a:lnTo>
                      <a:pt x="2711767" y="1106404"/>
                    </a:lnTo>
                    <a:lnTo>
                      <a:pt x="2714192" y="1104737"/>
                    </a:lnTo>
                    <a:lnTo>
                      <a:pt x="2716010" y="1102768"/>
                    </a:lnTo>
                    <a:lnTo>
                      <a:pt x="2716161" y="1100192"/>
                    </a:lnTo>
                    <a:lnTo>
                      <a:pt x="2719040" y="1094282"/>
                    </a:lnTo>
                    <a:lnTo>
                      <a:pt x="2718889" y="1091404"/>
                    </a:lnTo>
                    <a:lnTo>
                      <a:pt x="2722071" y="1089737"/>
                    </a:lnTo>
                    <a:lnTo>
                      <a:pt x="2723434" y="1087616"/>
                    </a:lnTo>
                    <a:lnTo>
                      <a:pt x="2724495" y="1086858"/>
                    </a:lnTo>
                    <a:lnTo>
                      <a:pt x="2724343" y="1088979"/>
                    </a:lnTo>
                    <a:lnTo>
                      <a:pt x="2723586" y="1090797"/>
                    </a:lnTo>
                    <a:lnTo>
                      <a:pt x="2724041" y="1091100"/>
                    </a:lnTo>
                    <a:lnTo>
                      <a:pt x="2725101" y="1090797"/>
                    </a:lnTo>
                    <a:lnTo>
                      <a:pt x="2725859" y="1091252"/>
                    </a:lnTo>
                    <a:lnTo>
                      <a:pt x="2723586" y="1093222"/>
                    </a:lnTo>
                    <a:lnTo>
                      <a:pt x="2723131" y="1094585"/>
                    </a:lnTo>
                    <a:lnTo>
                      <a:pt x="2725556" y="1094434"/>
                    </a:lnTo>
                    <a:lnTo>
                      <a:pt x="2728586" y="1095495"/>
                    </a:lnTo>
                    <a:lnTo>
                      <a:pt x="2729647" y="1096858"/>
                    </a:lnTo>
                    <a:lnTo>
                      <a:pt x="2730707" y="1097313"/>
                    </a:lnTo>
                    <a:lnTo>
                      <a:pt x="2731162" y="1095798"/>
                    </a:lnTo>
                    <a:lnTo>
                      <a:pt x="2731010" y="1093222"/>
                    </a:lnTo>
                    <a:lnTo>
                      <a:pt x="2732223" y="1091100"/>
                    </a:lnTo>
                    <a:lnTo>
                      <a:pt x="2732980" y="1088979"/>
                    </a:lnTo>
                    <a:lnTo>
                      <a:pt x="2733889" y="1090343"/>
                    </a:lnTo>
                    <a:lnTo>
                      <a:pt x="2735102" y="1091100"/>
                    </a:lnTo>
                    <a:lnTo>
                      <a:pt x="2736617" y="1090191"/>
                    </a:lnTo>
                    <a:lnTo>
                      <a:pt x="2737677" y="1089131"/>
                    </a:lnTo>
                    <a:lnTo>
                      <a:pt x="2738586" y="1088828"/>
                    </a:lnTo>
                    <a:lnTo>
                      <a:pt x="2739950" y="1088828"/>
                    </a:lnTo>
                    <a:lnTo>
                      <a:pt x="2741162" y="1089282"/>
                    </a:lnTo>
                    <a:lnTo>
                      <a:pt x="2742071" y="1089737"/>
                    </a:lnTo>
                    <a:lnTo>
                      <a:pt x="2742678" y="1091404"/>
                    </a:lnTo>
                    <a:lnTo>
                      <a:pt x="2743738" y="1093222"/>
                    </a:lnTo>
                    <a:lnTo>
                      <a:pt x="2744950" y="1092616"/>
                    </a:lnTo>
                    <a:lnTo>
                      <a:pt x="2745708" y="1092010"/>
                    </a:lnTo>
                    <a:lnTo>
                      <a:pt x="2746314" y="1090494"/>
                    </a:lnTo>
                    <a:lnTo>
                      <a:pt x="2747829" y="1090797"/>
                    </a:lnTo>
                    <a:lnTo>
                      <a:pt x="2749647" y="1086706"/>
                    </a:lnTo>
                    <a:lnTo>
                      <a:pt x="2751011" y="1086403"/>
                    </a:lnTo>
                    <a:lnTo>
                      <a:pt x="2752678" y="1087009"/>
                    </a:lnTo>
                    <a:lnTo>
                      <a:pt x="2754648" y="1087161"/>
                    </a:lnTo>
                    <a:lnTo>
                      <a:pt x="2756163" y="1086706"/>
                    </a:lnTo>
                    <a:lnTo>
                      <a:pt x="2757375" y="1084434"/>
                    </a:lnTo>
                    <a:lnTo>
                      <a:pt x="2760102" y="1083979"/>
                    </a:lnTo>
                    <a:lnTo>
                      <a:pt x="2762678" y="1082615"/>
                    </a:lnTo>
                    <a:lnTo>
                      <a:pt x="2767376" y="1083373"/>
                    </a:lnTo>
                    <a:lnTo>
                      <a:pt x="2772982" y="1078221"/>
                    </a:lnTo>
                    <a:lnTo>
                      <a:pt x="2772830" y="1077464"/>
                    </a:lnTo>
                    <a:lnTo>
                      <a:pt x="2771012" y="1076100"/>
                    </a:lnTo>
                    <a:close/>
                    <a:moveTo>
                      <a:pt x="2737526" y="1090494"/>
                    </a:moveTo>
                    <a:lnTo>
                      <a:pt x="2735859" y="1089888"/>
                    </a:lnTo>
                    <a:lnTo>
                      <a:pt x="2734495" y="1090797"/>
                    </a:lnTo>
                    <a:lnTo>
                      <a:pt x="2732829" y="1093070"/>
                    </a:lnTo>
                    <a:lnTo>
                      <a:pt x="2732829" y="1095343"/>
                    </a:lnTo>
                    <a:lnTo>
                      <a:pt x="2733586" y="1095949"/>
                    </a:lnTo>
                    <a:lnTo>
                      <a:pt x="2735556" y="1096858"/>
                    </a:lnTo>
                    <a:lnTo>
                      <a:pt x="2735708" y="1096252"/>
                    </a:lnTo>
                    <a:lnTo>
                      <a:pt x="2735708" y="1094434"/>
                    </a:lnTo>
                    <a:lnTo>
                      <a:pt x="2737526" y="1094737"/>
                    </a:lnTo>
                    <a:lnTo>
                      <a:pt x="2739193" y="1094131"/>
                    </a:lnTo>
                    <a:lnTo>
                      <a:pt x="2739041" y="1093070"/>
                    </a:lnTo>
                    <a:lnTo>
                      <a:pt x="2737526" y="1090494"/>
                    </a:lnTo>
                    <a:close/>
                    <a:moveTo>
                      <a:pt x="1251713" y="958368"/>
                    </a:moveTo>
                    <a:lnTo>
                      <a:pt x="1251865" y="957459"/>
                    </a:lnTo>
                    <a:lnTo>
                      <a:pt x="1250804" y="956096"/>
                    </a:lnTo>
                    <a:lnTo>
                      <a:pt x="1249895" y="955338"/>
                    </a:lnTo>
                    <a:lnTo>
                      <a:pt x="1249137" y="955186"/>
                    </a:lnTo>
                    <a:lnTo>
                      <a:pt x="1248077" y="956399"/>
                    </a:lnTo>
                    <a:lnTo>
                      <a:pt x="1246561" y="958823"/>
                    </a:lnTo>
                    <a:lnTo>
                      <a:pt x="1245955" y="960338"/>
                    </a:lnTo>
                    <a:lnTo>
                      <a:pt x="1246107" y="960793"/>
                    </a:lnTo>
                    <a:lnTo>
                      <a:pt x="1247471" y="962611"/>
                    </a:lnTo>
                    <a:lnTo>
                      <a:pt x="1248380" y="963217"/>
                    </a:lnTo>
                    <a:lnTo>
                      <a:pt x="1249289" y="963368"/>
                    </a:lnTo>
                    <a:lnTo>
                      <a:pt x="1249743" y="964126"/>
                    </a:lnTo>
                    <a:lnTo>
                      <a:pt x="1249895" y="966702"/>
                    </a:lnTo>
                    <a:lnTo>
                      <a:pt x="1250198" y="967611"/>
                    </a:lnTo>
                    <a:lnTo>
                      <a:pt x="1251107" y="968975"/>
                    </a:lnTo>
                    <a:lnTo>
                      <a:pt x="1252925" y="969429"/>
                    </a:lnTo>
                    <a:lnTo>
                      <a:pt x="1253834" y="970035"/>
                    </a:lnTo>
                    <a:lnTo>
                      <a:pt x="1254441" y="971248"/>
                    </a:lnTo>
                    <a:lnTo>
                      <a:pt x="1255198" y="971702"/>
                    </a:lnTo>
                    <a:lnTo>
                      <a:pt x="1255956" y="971551"/>
                    </a:lnTo>
                    <a:lnTo>
                      <a:pt x="1256410" y="970944"/>
                    </a:lnTo>
                    <a:lnTo>
                      <a:pt x="1256410" y="969278"/>
                    </a:lnTo>
                    <a:lnTo>
                      <a:pt x="1252622" y="965944"/>
                    </a:lnTo>
                    <a:lnTo>
                      <a:pt x="1252016" y="967914"/>
                    </a:lnTo>
                    <a:lnTo>
                      <a:pt x="1250653" y="963368"/>
                    </a:lnTo>
                    <a:lnTo>
                      <a:pt x="1250046" y="961853"/>
                    </a:lnTo>
                    <a:lnTo>
                      <a:pt x="1249289" y="961399"/>
                    </a:lnTo>
                    <a:lnTo>
                      <a:pt x="1247319" y="960944"/>
                    </a:lnTo>
                    <a:lnTo>
                      <a:pt x="1247471" y="960490"/>
                    </a:lnTo>
                    <a:lnTo>
                      <a:pt x="1251713" y="958368"/>
                    </a:lnTo>
                    <a:close/>
                    <a:moveTo>
                      <a:pt x="2574641" y="1216408"/>
                    </a:moveTo>
                    <a:lnTo>
                      <a:pt x="2573277" y="1219439"/>
                    </a:lnTo>
                    <a:lnTo>
                      <a:pt x="2574641" y="1219287"/>
                    </a:lnTo>
                    <a:lnTo>
                      <a:pt x="2576005" y="1218681"/>
                    </a:lnTo>
                    <a:lnTo>
                      <a:pt x="2577671" y="1217166"/>
                    </a:lnTo>
                    <a:lnTo>
                      <a:pt x="2577975" y="1216257"/>
                    </a:lnTo>
                    <a:lnTo>
                      <a:pt x="2577975" y="1215196"/>
                    </a:lnTo>
                    <a:lnTo>
                      <a:pt x="2577065" y="1214893"/>
                    </a:lnTo>
                    <a:lnTo>
                      <a:pt x="2574641" y="1216408"/>
                    </a:lnTo>
                    <a:close/>
                    <a:moveTo>
                      <a:pt x="2375088" y="1518540"/>
                    </a:moveTo>
                    <a:lnTo>
                      <a:pt x="2375088" y="1521116"/>
                    </a:lnTo>
                    <a:lnTo>
                      <a:pt x="2375543" y="1523692"/>
                    </a:lnTo>
                    <a:lnTo>
                      <a:pt x="2376755" y="1516419"/>
                    </a:lnTo>
                    <a:lnTo>
                      <a:pt x="2375846" y="1517177"/>
                    </a:lnTo>
                    <a:lnTo>
                      <a:pt x="2375088" y="1518540"/>
                    </a:lnTo>
                    <a:close/>
                    <a:moveTo>
                      <a:pt x="2405998" y="1614150"/>
                    </a:moveTo>
                    <a:lnTo>
                      <a:pt x="2404938" y="1610816"/>
                    </a:lnTo>
                    <a:lnTo>
                      <a:pt x="2403877" y="1609150"/>
                    </a:lnTo>
                    <a:lnTo>
                      <a:pt x="2405544" y="1615211"/>
                    </a:lnTo>
                    <a:lnTo>
                      <a:pt x="2408726" y="1623090"/>
                    </a:lnTo>
                    <a:lnTo>
                      <a:pt x="2411302" y="1628090"/>
                    </a:lnTo>
                    <a:lnTo>
                      <a:pt x="2410847" y="1625968"/>
                    </a:lnTo>
                    <a:lnTo>
                      <a:pt x="2405998" y="1614150"/>
                    </a:lnTo>
                    <a:close/>
                    <a:moveTo>
                      <a:pt x="2164323" y="1540359"/>
                    </a:moveTo>
                    <a:lnTo>
                      <a:pt x="2161747" y="1542026"/>
                    </a:lnTo>
                    <a:lnTo>
                      <a:pt x="2161444" y="1542481"/>
                    </a:lnTo>
                    <a:lnTo>
                      <a:pt x="2160838" y="1542935"/>
                    </a:lnTo>
                    <a:lnTo>
                      <a:pt x="2159929" y="1543390"/>
                    </a:lnTo>
                    <a:lnTo>
                      <a:pt x="2161898" y="1543390"/>
                    </a:lnTo>
                    <a:lnTo>
                      <a:pt x="2163262" y="1544147"/>
                    </a:lnTo>
                    <a:lnTo>
                      <a:pt x="2163111" y="1542784"/>
                    </a:lnTo>
                    <a:lnTo>
                      <a:pt x="2163414" y="1541571"/>
                    </a:lnTo>
                    <a:lnTo>
                      <a:pt x="2164323" y="1540359"/>
                    </a:lnTo>
                    <a:close/>
                    <a:moveTo>
                      <a:pt x="2688130" y="1191104"/>
                    </a:moveTo>
                    <a:lnTo>
                      <a:pt x="2688130" y="1191862"/>
                    </a:lnTo>
                    <a:lnTo>
                      <a:pt x="2687675" y="1193377"/>
                    </a:lnTo>
                    <a:lnTo>
                      <a:pt x="2687070" y="1193680"/>
                    </a:lnTo>
                    <a:lnTo>
                      <a:pt x="2683130" y="1194741"/>
                    </a:lnTo>
                    <a:lnTo>
                      <a:pt x="2687979" y="1195953"/>
                    </a:lnTo>
                    <a:lnTo>
                      <a:pt x="2690100" y="1195498"/>
                    </a:lnTo>
                    <a:lnTo>
                      <a:pt x="2689948" y="1194438"/>
                    </a:lnTo>
                    <a:lnTo>
                      <a:pt x="2688130" y="1191104"/>
                    </a:lnTo>
                    <a:close/>
                    <a:moveTo>
                      <a:pt x="2535094" y="1367323"/>
                    </a:moveTo>
                    <a:lnTo>
                      <a:pt x="2535094" y="1366565"/>
                    </a:lnTo>
                    <a:lnTo>
                      <a:pt x="2534791" y="1365656"/>
                    </a:lnTo>
                    <a:lnTo>
                      <a:pt x="2532973" y="1364595"/>
                    </a:lnTo>
                    <a:lnTo>
                      <a:pt x="2534791" y="1368080"/>
                    </a:lnTo>
                    <a:lnTo>
                      <a:pt x="2535094" y="1367323"/>
                    </a:lnTo>
                    <a:close/>
                    <a:moveTo>
                      <a:pt x="2546307" y="1297775"/>
                    </a:moveTo>
                    <a:lnTo>
                      <a:pt x="2542064" y="1304139"/>
                    </a:lnTo>
                    <a:lnTo>
                      <a:pt x="2543276" y="1303684"/>
                    </a:lnTo>
                    <a:lnTo>
                      <a:pt x="2546761" y="1297926"/>
                    </a:lnTo>
                    <a:lnTo>
                      <a:pt x="2548580" y="1294441"/>
                    </a:lnTo>
                    <a:lnTo>
                      <a:pt x="2549640" y="1290653"/>
                    </a:lnTo>
                    <a:lnTo>
                      <a:pt x="2548580" y="1292471"/>
                    </a:lnTo>
                    <a:lnTo>
                      <a:pt x="2546307" y="1297775"/>
                    </a:lnTo>
                    <a:close/>
                    <a:moveTo>
                      <a:pt x="2525548" y="1390051"/>
                    </a:moveTo>
                    <a:lnTo>
                      <a:pt x="2526154" y="1390202"/>
                    </a:lnTo>
                    <a:lnTo>
                      <a:pt x="2531155" y="1387929"/>
                    </a:lnTo>
                    <a:lnTo>
                      <a:pt x="2528882" y="1388384"/>
                    </a:lnTo>
                    <a:lnTo>
                      <a:pt x="2525548" y="1390051"/>
                    </a:lnTo>
                    <a:close/>
                    <a:moveTo>
                      <a:pt x="2572974" y="1251409"/>
                    </a:moveTo>
                    <a:lnTo>
                      <a:pt x="2576156" y="1246561"/>
                    </a:lnTo>
                    <a:lnTo>
                      <a:pt x="2576914" y="1244439"/>
                    </a:lnTo>
                    <a:lnTo>
                      <a:pt x="2572974" y="1250500"/>
                    </a:lnTo>
                    <a:lnTo>
                      <a:pt x="2572974" y="1251409"/>
                    </a:lnTo>
                    <a:close/>
                    <a:moveTo>
                      <a:pt x="2538731" y="1369899"/>
                    </a:moveTo>
                    <a:lnTo>
                      <a:pt x="2538731" y="1370959"/>
                    </a:lnTo>
                    <a:lnTo>
                      <a:pt x="2539337" y="1375959"/>
                    </a:lnTo>
                    <a:lnTo>
                      <a:pt x="2539185" y="1378838"/>
                    </a:lnTo>
                    <a:lnTo>
                      <a:pt x="2537821" y="1385051"/>
                    </a:lnTo>
                    <a:lnTo>
                      <a:pt x="2533579" y="1386869"/>
                    </a:lnTo>
                    <a:lnTo>
                      <a:pt x="2533882" y="1387172"/>
                    </a:lnTo>
                    <a:lnTo>
                      <a:pt x="2537518" y="1386263"/>
                    </a:lnTo>
                    <a:lnTo>
                      <a:pt x="2538428" y="1385051"/>
                    </a:lnTo>
                    <a:lnTo>
                      <a:pt x="2539640" y="1379899"/>
                    </a:lnTo>
                    <a:lnTo>
                      <a:pt x="2539943" y="1376262"/>
                    </a:lnTo>
                    <a:lnTo>
                      <a:pt x="2539337" y="1371565"/>
                    </a:lnTo>
                    <a:lnTo>
                      <a:pt x="2538731" y="1369899"/>
                    </a:lnTo>
                    <a:close/>
                    <a:moveTo>
                      <a:pt x="2631764" y="1203529"/>
                    </a:moveTo>
                    <a:lnTo>
                      <a:pt x="2630401" y="1202317"/>
                    </a:lnTo>
                    <a:lnTo>
                      <a:pt x="2629492" y="1202468"/>
                    </a:lnTo>
                    <a:lnTo>
                      <a:pt x="2626613" y="1203226"/>
                    </a:lnTo>
                    <a:lnTo>
                      <a:pt x="2623279" y="1204892"/>
                    </a:lnTo>
                    <a:lnTo>
                      <a:pt x="2621916" y="1206105"/>
                    </a:lnTo>
                    <a:lnTo>
                      <a:pt x="2620400" y="1206711"/>
                    </a:lnTo>
                    <a:lnTo>
                      <a:pt x="2618582" y="1206559"/>
                    </a:lnTo>
                    <a:lnTo>
                      <a:pt x="2620552" y="1204438"/>
                    </a:lnTo>
                    <a:lnTo>
                      <a:pt x="2622825" y="1202771"/>
                    </a:lnTo>
                    <a:lnTo>
                      <a:pt x="2627067" y="1198983"/>
                    </a:lnTo>
                    <a:lnTo>
                      <a:pt x="2624340" y="1199892"/>
                    </a:lnTo>
                    <a:lnTo>
                      <a:pt x="2619643" y="1203074"/>
                    </a:lnTo>
                    <a:lnTo>
                      <a:pt x="2617370" y="1204286"/>
                    </a:lnTo>
                    <a:lnTo>
                      <a:pt x="2611764" y="1204892"/>
                    </a:lnTo>
                    <a:lnTo>
                      <a:pt x="2606157" y="1205044"/>
                    </a:lnTo>
                    <a:lnTo>
                      <a:pt x="2604036" y="1205347"/>
                    </a:lnTo>
                    <a:lnTo>
                      <a:pt x="2602066" y="1206256"/>
                    </a:lnTo>
                    <a:lnTo>
                      <a:pt x="2599491" y="1206408"/>
                    </a:lnTo>
                    <a:lnTo>
                      <a:pt x="2596915" y="1205802"/>
                    </a:lnTo>
                    <a:lnTo>
                      <a:pt x="2596005" y="1205953"/>
                    </a:lnTo>
                    <a:lnTo>
                      <a:pt x="2595096" y="1206408"/>
                    </a:lnTo>
                    <a:lnTo>
                      <a:pt x="2593884" y="1206559"/>
                    </a:lnTo>
                    <a:lnTo>
                      <a:pt x="2591460" y="1206559"/>
                    </a:lnTo>
                    <a:lnTo>
                      <a:pt x="2590551" y="1207014"/>
                    </a:lnTo>
                    <a:lnTo>
                      <a:pt x="2589642" y="1207771"/>
                    </a:lnTo>
                    <a:lnTo>
                      <a:pt x="2589339" y="1209135"/>
                    </a:lnTo>
                    <a:lnTo>
                      <a:pt x="2588126" y="1208074"/>
                    </a:lnTo>
                    <a:lnTo>
                      <a:pt x="2586460" y="1209287"/>
                    </a:lnTo>
                    <a:lnTo>
                      <a:pt x="2583126" y="1210650"/>
                    </a:lnTo>
                    <a:lnTo>
                      <a:pt x="2580853" y="1212772"/>
                    </a:lnTo>
                    <a:lnTo>
                      <a:pt x="2579793" y="1214135"/>
                    </a:lnTo>
                    <a:lnTo>
                      <a:pt x="2579035" y="1215650"/>
                    </a:lnTo>
                    <a:lnTo>
                      <a:pt x="2579490" y="1217469"/>
                    </a:lnTo>
                    <a:lnTo>
                      <a:pt x="2581914" y="1216863"/>
                    </a:lnTo>
                    <a:lnTo>
                      <a:pt x="2583429" y="1215196"/>
                    </a:lnTo>
                    <a:lnTo>
                      <a:pt x="2584793" y="1215044"/>
                    </a:lnTo>
                    <a:lnTo>
                      <a:pt x="2585399" y="1215499"/>
                    </a:lnTo>
                    <a:lnTo>
                      <a:pt x="2585399" y="1216105"/>
                    </a:lnTo>
                    <a:lnTo>
                      <a:pt x="2582672" y="1217772"/>
                    </a:lnTo>
                    <a:lnTo>
                      <a:pt x="2586308" y="1217014"/>
                    </a:lnTo>
                    <a:lnTo>
                      <a:pt x="2590248" y="1216711"/>
                    </a:lnTo>
                    <a:lnTo>
                      <a:pt x="2599945" y="1214590"/>
                    </a:lnTo>
                    <a:lnTo>
                      <a:pt x="2601006" y="1215044"/>
                    </a:lnTo>
                    <a:lnTo>
                      <a:pt x="2601915" y="1214893"/>
                    </a:lnTo>
                    <a:lnTo>
                      <a:pt x="2613734" y="1210953"/>
                    </a:lnTo>
                    <a:lnTo>
                      <a:pt x="2616158" y="1210499"/>
                    </a:lnTo>
                    <a:lnTo>
                      <a:pt x="2619491" y="1209287"/>
                    </a:lnTo>
                    <a:lnTo>
                      <a:pt x="2622976" y="1207620"/>
                    </a:lnTo>
                    <a:lnTo>
                      <a:pt x="2625400" y="1207014"/>
                    </a:lnTo>
                    <a:lnTo>
                      <a:pt x="2637371" y="1201559"/>
                    </a:lnTo>
                    <a:lnTo>
                      <a:pt x="2634643" y="1202165"/>
                    </a:lnTo>
                    <a:lnTo>
                      <a:pt x="2631764" y="1203529"/>
                    </a:lnTo>
                    <a:close/>
                    <a:moveTo>
                      <a:pt x="2672372" y="1189134"/>
                    </a:moveTo>
                    <a:lnTo>
                      <a:pt x="2670857" y="1189437"/>
                    </a:lnTo>
                    <a:lnTo>
                      <a:pt x="2668432" y="1191862"/>
                    </a:lnTo>
                    <a:lnTo>
                      <a:pt x="2666614" y="1192316"/>
                    </a:lnTo>
                    <a:lnTo>
                      <a:pt x="2667826" y="1193377"/>
                    </a:lnTo>
                    <a:lnTo>
                      <a:pt x="2675402" y="1191710"/>
                    </a:lnTo>
                    <a:lnTo>
                      <a:pt x="2674948" y="1190498"/>
                    </a:lnTo>
                    <a:lnTo>
                      <a:pt x="2672372" y="1189134"/>
                    </a:lnTo>
                    <a:close/>
                    <a:moveTo>
                      <a:pt x="2654341" y="1183831"/>
                    </a:moveTo>
                    <a:lnTo>
                      <a:pt x="2653583" y="1185801"/>
                    </a:lnTo>
                    <a:lnTo>
                      <a:pt x="2653280" y="1187619"/>
                    </a:lnTo>
                    <a:lnTo>
                      <a:pt x="2652523" y="1188831"/>
                    </a:lnTo>
                    <a:lnTo>
                      <a:pt x="2654038" y="1188983"/>
                    </a:lnTo>
                    <a:lnTo>
                      <a:pt x="2655402" y="1188074"/>
                    </a:lnTo>
                    <a:lnTo>
                      <a:pt x="2655705" y="1182770"/>
                    </a:lnTo>
                    <a:lnTo>
                      <a:pt x="2654796" y="1183225"/>
                    </a:lnTo>
                    <a:lnTo>
                      <a:pt x="2654341" y="1183831"/>
                    </a:lnTo>
                    <a:close/>
                    <a:moveTo>
                      <a:pt x="2651462" y="1185346"/>
                    </a:moveTo>
                    <a:lnTo>
                      <a:pt x="2650856" y="1187165"/>
                    </a:lnTo>
                    <a:lnTo>
                      <a:pt x="2651159" y="1188680"/>
                    </a:lnTo>
                    <a:lnTo>
                      <a:pt x="2651917" y="1188074"/>
                    </a:lnTo>
                    <a:lnTo>
                      <a:pt x="2652220" y="1186256"/>
                    </a:lnTo>
                    <a:lnTo>
                      <a:pt x="2651917" y="1185346"/>
                    </a:lnTo>
                    <a:lnTo>
                      <a:pt x="2651462" y="11853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6EB950A0-3D51-49AD-AEAC-B97E0DB1201E}"/>
                  </a:ext>
                </a:extLst>
              </p:cNvPr>
              <p:cNvSpPr/>
              <p:nvPr/>
            </p:nvSpPr>
            <p:spPr>
              <a:xfrm>
                <a:off x="5646286" y="2912236"/>
                <a:ext cx="12273" cy="13182"/>
              </a:xfrm>
              <a:custGeom>
                <a:avLst/>
                <a:gdLst>
                  <a:gd name="connsiteX0" fmla="*/ 11212 w 12273"/>
                  <a:gd name="connsiteY0" fmla="*/ 606 h 13182"/>
                  <a:gd name="connsiteX1" fmla="*/ 10606 w 12273"/>
                  <a:gd name="connsiteY1" fmla="*/ 151 h 13182"/>
                  <a:gd name="connsiteX2" fmla="*/ 9849 w 12273"/>
                  <a:gd name="connsiteY2" fmla="*/ 0 h 13182"/>
                  <a:gd name="connsiteX3" fmla="*/ 7576 w 12273"/>
                  <a:gd name="connsiteY3" fmla="*/ 1212 h 13182"/>
                  <a:gd name="connsiteX4" fmla="*/ 4697 w 12273"/>
                  <a:gd name="connsiteY4" fmla="*/ 5303 h 13182"/>
                  <a:gd name="connsiteX5" fmla="*/ 2273 w 12273"/>
                  <a:gd name="connsiteY5" fmla="*/ 6818 h 13182"/>
                  <a:gd name="connsiteX6" fmla="*/ 1061 w 12273"/>
                  <a:gd name="connsiteY6" fmla="*/ 10909 h 13182"/>
                  <a:gd name="connsiteX7" fmla="*/ 0 w 12273"/>
                  <a:gd name="connsiteY7" fmla="*/ 12576 h 13182"/>
                  <a:gd name="connsiteX8" fmla="*/ 455 w 12273"/>
                  <a:gd name="connsiteY8" fmla="*/ 12728 h 13182"/>
                  <a:gd name="connsiteX9" fmla="*/ 2424 w 12273"/>
                  <a:gd name="connsiteY9" fmla="*/ 12273 h 13182"/>
                  <a:gd name="connsiteX10" fmla="*/ 4697 w 12273"/>
                  <a:gd name="connsiteY10" fmla="*/ 13182 h 13182"/>
                  <a:gd name="connsiteX11" fmla="*/ 10152 w 12273"/>
                  <a:gd name="connsiteY11" fmla="*/ 8334 h 13182"/>
                  <a:gd name="connsiteX12" fmla="*/ 10758 w 12273"/>
                  <a:gd name="connsiteY12" fmla="*/ 6818 h 13182"/>
                  <a:gd name="connsiteX13" fmla="*/ 12273 w 12273"/>
                  <a:gd name="connsiteY13" fmla="*/ 5152 h 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73" h="13182">
                    <a:moveTo>
                      <a:pt x="11212" y="606"/>
                    </a:moveTo>
                    <a:lnTo>
                      <a:pt x="10606" y="151"/>
                    </a:lnTo>
                    <a:lnTo>
                      <a:pt x="9849" y="0"/>
                    </a:lnTo>
                    <a:lnTo>
                      <a:pt x="7576" y="1212"/>
                    </a:lnTo>
                    <a:lnTo>
                      <a:pt x="4697" y="5303"/>
                    </a:lnTo>
                    <a:lnTo>
                      <a:pt x="2273" y="6818"/>
                    </a:lnTo>
                    <a:lnTo>
                      <a:pt x="1061" y="10909"/>
                    </a:lnTo>
                    <a:lnTo>
                      <a:pt x="0" y="12576"/>
                    </a:lnTo>
                    <a:lnTo>
                      <a:pt x="455" y="12728"/>
                    </a:lnTo>
                    <a:lnTo>
                      <a:pt x="2424" y="12273"/>
                    </a:lnTo>
                    <a:lnTo>
                      <a:pt x="4697" y="13182"/>
                    </a:lnTo>
                    <a:lnTo>
                      <a:pt x="10152" y="8334"/>
                    </a:lnTo>
                    <a:lnTo>
                      <a:pt x="10758" y="6818"/>
                    </a:lnTo>
                    <a:lnTo>
                      <a:pt x="12273" y="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90E8F831-CBC4-45AD-8843-5D71E818262D}"/>
                  </a:ext>
                </a:extLst>
              </p:cNvPr>
              <p:cNvSpPr/>
              <p:nvPr/>
            </p:nvSpPr>
            <p:spPr>
              <a:xfrm>
                <a:off x="5554313" y="2658439"/>
                <a:ext cx="271676" cy="445016"/>
              </a:xfrm>
              <a:custGeom>
                <a:avLst/>
                <a:gdLst>
                  <a:gd name="connsiteX0" fmla="*/ 49244 w 271676"/>
                  <a:gd name="connsiteY0" fmla="*/ 156066 h 445016"/>
                  <a:gd name="connsiteX1" fmla="*/ 50305 w 271676"/>
                  <a:gd name="connsiteY1" fmla="*/ 156218 h 445016"/>
                  <a:gd name="connsiteX2" fmla="*/ 51062 w 271676"/>
                  <a:gd name="connsiteY2" fmla="*/ 155763 h 445016"/>
                  <a:gd name="connsiteX3" fmla="*/ 51517 w 271676"/>
                  <a:gd name="connsiteY3" fmla="*/ 155006 h 445016"/>
                  <a:gd name="connsiteX4" fmla="*/ 51517 w 271676"/>
                  <a:gd name="connsiteY4" fmla="*/ 154097 h 445016"/>
                  <a:gd name="connsiteX5" fmla="*/ 51062 w 271676"/>
                  <a:gd name="connsiteY5" fmla="*/ 153187 h 445016"/>
                  <a:gd name="connsiteX6" fmla="*/ 49850 w 271676"/>
                  <a:gd name="connsiteY6" fmla="*/ 152430 h 445016"/>
                  <a:gd name="connsiteX7" fmla="*/ 46820 w 271676"/>
                  <a:gd name="connsiteY7" fmla="*/ 153642 h 445016"/>
                  <a:gd name="connsiteX8" fmla="*/ 48183 w 271676"/>
                  <a:gd name="connsiteY8" fmla="*/ 155460 h 445016"/>
                  <a:gd name="connsiteX9" fmla="*/ 49244 w 271676"/>
                  <a:gd name="connsiteY9" fmla="*/ 156066 h 445016"/>
                  <a:gd name="connsiteX10" fmla="*/ 133187 w 271676"/>
                  <a:gd name="connsiteY10" fmla="*/ 83639 h 445016"/>
                  <a:gd name="connsiteX11" fmla="*/ 134702 w 271676"/>
                  <a:gd name="connsiteY11" fmla="*/ 83639 h 445016"/>
                  <a:gd name="connsiteX12" fmla="*/ 136217 w 271676"/>
                  <a:gd name="connsiteY12" fmla="*/ 83033 h 445016"/>
                  <a:gd name="connsiteX13" fmla="*/ 136369 w 271676"/>
                  <a:gd name="connsiteY13" fmla="*/ 82730 h 445016"/>
                  <a:gd name="connsiteX14" fmla="*/ 134853 w 271676"/>
                  <a:gd name="connsiteY14" fmla="*/ 82276 h 445016"/>
                  <a:gd name="connsiteX15" fmla="*/ 134551 w 271676"/>
                  <a:gd name="connsiteY15" fmla="*/ 81821 h 445016"/>
                  <a:gd name="connsiteX16" fmla="*/ 134399 w 271676"/>
                  <a:gd name="connsiteY16" fmla="*/ 80609 h 445016"/>
                  <a:gd name="connsiteX17" fmla="*/ 133187 w 271676"/>
                  <a:gd name="connsiteY17" fmla="*/ 78639 h 445016"/>
                  <a:gd name="connsiteX18" fmla="*/ 130914 w 271676"/>
                  <a:gd name="connsiteY18" fmla="*/ 78033 h 445016"/>
                  <a:gd name="connsiteX19" fmla="*/ 129853 w 271676"/>
                  <a:gd name="connsiteY19" fmla="*/ 78336 h 445016"/>
                  <a:gd name="connsiteX20" fmla="*/ 129702 w 271676"/>
                  <a:gd name="connsiteY20" fmla="*/ 79397 h 445016"/>
                  <a:gd name="connsiteX21" fmla="*/ 130611 w 271676"/>
                  <a:gd name="connsiteY21" fmla="*/ 81064 h 445016"/>
                  <a:gd name="connsiteX22" fmla="*/ 133187 w 271676"/>
                  <a:gd name="connsiteY22" fmla="*/ 83639 h 445016"/>
                  <a:gd name="connsiteX23" fmla="*/ 50305 w 271676"/>
                  <a:gd name="connsiteY23" fmla="*/ 127883 h 445016"/>
                  <a:gd name="connsiteX24" fmla="*/ 48941 w 271676"/>
                  <a:gd name="connsiteY24" fmla="*/ 128035 h 445016"/>
                  <a:gd name="connsiteX25" fmla="*/ 48335 w 271676"/>
                  <a:gd name="connsiteY25" fmla="*/ 130611 h 445016"/>
                  <a:gd name="connsiteX26" fmla="*/ 41820 w 271676"/>
                  <a:gd name="connsiteY26" fmla="*/ 132277 h 445016"/>
                  <a:gd name="connsiteX27" fmla="*/ 41820 w 271676"/>
                  <a:gd name="connsiteY27" fmla="*/ 132732 h 445016"/>
                  <a:gd name="connsiteX28" fmla="*/ 42729 w 271676"/>
                  <a:gd name="connsiteY28" fmla="*/ 133944 h 445016"/>
                  <a:gd name="connsiteX29" fmla="*/ 42729 w 271676"/>
                  <a:gd name="connsiteY29" fmla="*/ 134550 h 445016"/>
                  <a:gd name="connsiteX30" fmla="*/ 42123 w 271676"/>
                  <a:gd name="connsiteY30" fmla="*/ 135156 h 445016"/>
                  <a:gd name="connsiteX31" fmla="*/ 41062 w 271676"/>
                  <a:gd name="connsiteY31" fmla="*/ 135459 h 445016"/>
                  <a:gd name="connsiteX32" fmla="*/ 39395 w 271676"/>
                  <a:gd name="connsiteY32" fmla="*/ 135005 h 445016"/>
                  <a:gd name="connsiteX33" fmla="*/ 38032 w 271676"/>
                  <a:gd name="connsiteY33" fmla="*/ 136520 h 445016"/>
                  <a:gd name="connsiteX34" fmla="*/ 37729 w 271676"/>
                  <a:gd name="connsiteY34" fmla="*/ 137126 h 445016"/>
                  <a:gd name="connsiteX35" fmla="*/ 38335 w 271676"/>
                  <a:gd name="connsiteY35" fmla="*/ 138338 h 445016"/>
                  <a:gd name="connsiteX36" fmla="*/ 40153 w 271676"/>
                  <a:gd name="connsiteY36" fmla="*/ 140308 h 445016"/>
                  <a:gd name="connsiteX37" fmla="*/ 46517 w 271676"/>
                  <a:gd name="connsiteY37" fmla="*/ 141672 h 445016"/>
                  <a:gd name="connsiteX38" fmla="*/ 48638 w 271676"/>
                  <a:gd name="connsiteY38" fmla="*/ 145157 h 445016"/>
                  <a:gd name="connsiteX39" fmla="*/ 49699 w 271676"/>
                  <a:gd name="connsiteY39" fmla="*/ 146520 h 445016"/>
                  <a:gd name="connsiteX40" fmla="*/ 51214 w 271676"/>
                  <a:gd name="connsiteY40" fmla="*/ 147278 h 445016"/>
                  <a:gd name="connsiteX41" fmla="*/ 54093 w 271676"/>
                  <a:gd name="connsiteY41" fmla="*/ 147430 h 445016"/>
                  <a:gd name="connsiteX42" fmla="*/ 57578 w 271676"/>
                  <a:gd name="connsiteY42" fmla="*/ 146672 h 445016"/>
                  <a:gd name="connsiteX43" fmla="*/ 58184 w 271676"/>
                  <a:gd name="connsiteY43" fmla="*/ 152581 h 445016"/>
                  <a:gd name="connsiteX44" fmla="*/ 58942 w 271676"/>
                  <a:gd name="connsiteY44" fmla="*/ 152884 h 445016"/>
                  <a:gd name="connsiteX45" fmla="*/ 60002 w 271676"/>
                  <a:gd name="connsiteY45" fmla="*/ 152884 h 445016"/>
                  <a:gd name="connsiteX46" fmla="*/ 60911 w 271676"/>
                  <a:gd name="connsiteY46" fmla="*/ 152127 h 445016"/>
                  <a:gd name="connsiteX47" fmla="*/ 64093 w 271676"/>
                  <a:gd name="connsiteY47" fmla="*/ 148793 h 445016"/>
                  <a:gd name="connsiteX48" fmla="*/ 66821 w 271676"/>
                  <a:gd name="connsiteY48" fmla="*/ 146823 h 445016"/>
                  <a:gd name="connsiteX49" fmla="*/ 67578 w 271676"/>
                  <a:gd name="connsiteY49" fmla="*/ 145763 h 445016"/>
                  <a:gd name="connsiteX50" fmla="*/ 67730 w 271676"/>
                  <a:gd name="connsiteY50" fmla="*/ 144248 h 445016"/>
                  <a:gd name="connsiteX51" fmla="*/ 66821 w 271676"/>
                  <a:gd name="connsiteY51" fmla="*/ 143642 h 445016"/>
                  <a:gd name="connsiteX52" fmla="*/ 62124 w 271676"/>
                  <a:gd name="connsiteY52" fmla="*/ 143793 h 445016"/>
                  <a:gd name="connsiteX53" fmla="*/ 56820 w 271676"/>
                  <a:gd name="connsiteY53" fmla="*/ 143035 h 445016"/>
                  <a:gd name="connsiteX54" fmla="*/ 56063 w 271676"/>
                  <a:gd name="connsiteY54" fmla="*/ 142278 h 445016"/>
                  <a:gd name="connsiteX55" fmla="*/ 54850 w 271676"/>
                  <a:gd name="connsiteY55" fmla="*/ 141823 h 445016"/>
                  <a:gd name="connsiteX56" fmla="*/ 54699 w 271676"/>
                  <a:gd name="connsiteY56" fmla="*/ 140308 h 445016"/>
                  <a:gd name="connsiteX57" fmla="*/ 54093 w 271676"/>
                  <a:gd name="connsiteY57" fmla="*/ 138187 h 445016"/>
                  <a:gd name="connsiteX58" fmla="*/ 54548 w 271676"/>
                  <a:gd name="connsiteY58" fmla="*/ 136217 h 445016"/>
                  <a:gd name="connsiteX59" fmla="*/ 54548 w 271676"/>
                  <a:gd name="connsiteY59" fmla="*/ 134550 h 445016"/>
                  <a:gd name="connsiteX60" fmla="*/ 53941 w 271676"/>
                  <a:gd name="connsiteY60" fmla="*/ 131368 h 445016"/>
                  <a:gd name="connsiteX61" fmla="*/ 51669 w 271676"/>
                  <a:gd name="connsiteY61" fmla="*/ 128793 h 445016"/>
                  <a:gd name="connsiteX62" fmla="*/ 50305 w 271676"/>
                  <a:gd name="connsiteY62" fmla="*/ 127883 h 445016"/>
                  <a:gd name="connsiteX63" fmla="*/ 50305 w 271676"/>
                  <a:gd name="connsiteY63" fmla="*/ 208189 h 445016"/>
                  <a:gd name="connsiteX64" fmla="*/ 51669 w 271676"/>
                  <a:gd name="connsiteY64" fmla="*/ 208189 h 445016"/>
                  <a:gd name="connsiteX65" fmla="*/ 56214 w 271676"/>
                  <a:gd name="connsiteY65" fmla="*/ 206220 h 445016"/>
                  <a:gd name="connsiteX66" fmla="*/ 57123 w 271676"/>
                  <a:gd name="connsiteY66" fmla="*/ 204704 h 445016"/>
                  <a:gd name="connsiteX67" fmla="*/ 57123 w 271676"/>
                  <a:gd name="connsiteY67" fmla="*/ 203644 h 445016"/>
                  <a:gd name="connsiteX68" fmla="*/ 56214 w 271676"/>
                  <a:gd name="connsiteY68" fmla="*/ 200613 h 445016"/>
                  <a:gd name="connsiteX69" fmla="*/ 55154 w 271676"/>
                  <a:gd name="connsiteY69" fmla="*/ 195613 h 445016"/>
                  <a:gd name="connsiteX70" fmla="*/ 52729 w 271676"/>
                  <a:gd name="connsiteY70" fmla="*/ 196674 h 445016"/>
                  <a:gd name="connsiteX71" fmla="*/ 50153 w 271676"/>
                  <a:gd name="connsiteY71" fmla="*/ 198492 h 445016"/>
                  <a:gd name="connsiteX72" fmla="*/ 49244 w 271676"/>
                  <a:gd name="connsiteY72" fmla="*/ 197886 h 445016"/>
                  <a:gd name="connsiteX73" fmla="*/ 48335 w 271676"/>
                  <a:gd name="connsiteY73" fmla="*/ 198038 h 445016"/>
                  <a:gd name="connsiteX74" fmla="*/ 47274 w 271676"/>
                  <a:gd name="connsiteY74" fmla="*/ 198644 h 445016"/>
                  <a:gd name="connsiteX75" fmla="*/ 46365 w 271676"/>
                  <a:gd name="connsiteY75" fmla="*/ 199553 h 445016"/>
                  <a:gd name="connsiteX76" fmla="*/ 45911 w 271676"/>
                  <a:gd name="connsiteY76" fmla="*/ 200462 h 445016"/>
                  <a:gd name="connsiteX77" fmla="*/ 45759 w 271676"/>
                  <a:gd name="connsiteY77" fmla="*/ 201977 h 445016"/>
                  <a:gd name="connsiteX78" fmla="*/ 45002 w 271676"/>
                  <a:gd name="connsiteY78" fmla="*/ 204250 h 445016"/>
                  <a:gd name="connsiteX79" fmla="*/ 45153 w 271676"/>
                  <a:gd name="connsiteY79" fmla="*/ 204856 h 445016"/>
                  <a:gd name="connsiteX80" fmla="*/ 46214 w 271676"/>
                  <a:gd name="connsiteY80" fmla="*/ 204553 h 445016"/>
                  <a:gd name="connsiteX81" fmla="*/ 49396 w 271676"/>
                  <a:gd name="connsiteY81" fmla="*/ 201826 h 445016"/>
                  <a:gd name="connsiteX82" fmla="*/ 50305 w 271676"/>
                  <a:gd name="connsiteY82" fmla="*/ 201522 h 445016"/>
                  <a:gd name="connsiteX83" fmla="*/ 50760 w 271676"/>
                  <a:gd name="connsiteY83" fmla="*/ 201826 h 445016"/>
                  <a:gd name="connsiteX84" fmla="*/ 50305 w 271676"/>
                  <a:gd name="connsiteY84" fmla="*/ 203492 h 445016"/>
                  <a:gd name="connsiteX85" fmla="*/ 51214 w 271676"/>
                  <a:gd name="connsiteY85" fmla="*/ 205765 h 445016"/>
                  <a:gd name="connsiteX86" fmla="*/ 50153 w 271676"/>
                  <a:gd name="connsiteY86" fmla="*/ 207735 h 445016"/>
                  <a:gd name="connsiteX87" fmla="*/ 50305 w 271676"/>
                  <a:gd name="connsiteY87" fmla="*/ 208189 h 445016"/>
                  <a:gd name="connsiteX88" fmla="*/ 43184 w 271676"/>
                  <a:gd name="connsiteY88" fmla="*/ 167430 h 445016"/>
                  <a:gd name="connsiteX89" fmla="*/ 40456 w 271676"/>
                  <a:gd name="connsiteY89" fmla="*/ 170006 h 445016"/>
                  <a:gd name="connsiteX90" fmla="*/ 40607 w 271676"/>
                  <a:gd name="connsiteY90" fmla="*/ 170612 h 445016"/>
                  <a:gd name="connsiteX91" fmla="*/ 42123 w 271676"/>
                  <a:gd name="connsiteY91" fmla="*/ 170461 h 445016"/>
                  <a:gd name="connsiteX92" fmla="*/ 44244 w 271676"/>
                  <a:gd name="connsiteY92" fmla="*/ 168794 h 445016"/>
                  <a:gd name="connsiteX93" fmla="*/ 45456 w 271676"/>
                  <a:gd name="connsiteY93" fmla="*/ 167279 h 445016"/>
                  <a:gd name="connsiteX94" fmla="*/ 44850 w 271676"/>
                  <a:gd name="connsiteY94" fmla="*/ 166976 h 445016"/>
                  <a:gd name="connsiteX95" fmla="*/ 43184 w 271676"/>
                  <a:gd name="connsiteY95" fmla="*/ 167430 h 445016"/>
                  <a:gd name="connsiteX96" fmla="*/ 141520 w 271676"/>
                  <a:gd name="connsiteY96" fmla="*/ 84548 h 445016"/>
                  <a:gd name="connsiteX97" fmla="*/ 142581 w 271676"/>
                  <a:gd name="connsiteY97" fmla="*/ 85306 h 445016"/>
                  <a:gd name="connsiteX98" fmla="*/ 142884 w 271676"/>
                  <a:gd name="connsiteY98" fmla="*/ 85155 h 445016"/>
                  <a:gd name="connsiteX99" fmla="*/ 143339 w 271676"/>
                  <a:gd name="connsiteY99" fmla="*/ 82882 h 445016"/>
                  <a:gd name="connsiteX100" fmla="*/ 143793 w 271676"/>
                  <a:gd name="connsiteY100" fmla="*/ 81821 h 445016"/>
                  <a:gd name="connsiteX101" fmla="*/ 142581 w 271676"/>
                  <a:gd name="connsiteY101" fmla="*/ 81518 h 445016"/>
                  <a:gd name="connsiteX102" fmla="*/ 140005 w 271676"/>
                  <a:gd name="connsiteY102" fmla="*/ 81973 h 445016"/>
                  <a:gd name="connsiteX103" fmla="*/ 141520 w 271676"/>
                  <a:gd name="connsiteY103" fmla="*/ 84548 h 445016"/>
                  <a:gd name="connsiteX104" fmla="*/ 194401 w 271676"/>
                  <a:gd name="connsiteY104" fmla="*/ 13182 h 445016"/>
                  <a:gd name="connsiteX105" fmla="*/ 194704 w 271676"/>
                  <a:gd name="connsiteY105" fmla="*/ 12576 h 445016"/>
                  <a:gd name="connsiteX106" fmla="*/ 194704 w 271676"/>
                  <a:gd name="connsiteY106" fmla="*/ 10000 h 445016"/>
                  <a:gd name="connsiteX107" fmla="*/ 194250 w 271676"/>
                  <a:gd name="connsiteY107" fmla="*/ 7727 h 445016"/>
                  <a:gd name="connsiteX108" fmla="*/ 194401 w 271676"/>
                  <a:gd name="connsiteY108" fmla="*/ 7424 h 445016"/>
                  <a:gd name="connsiteX109" fmla="*/ 195613 w 271676"/>
                  <a:gd name="connsiteY109" fmla="*/ 7273 h 445016"/>
                  <a:gd name="connsiteX110" fmla="*/ 195916 w 271676"/>
                  <a:gd name="connsiteY110" fmla="*/ 6061 h 445016"/>
                  <a:gd name="connsiteX111" fmla="*/ 195462 w 271676"/>
                  <a:gd name="connsiteY111" fmla="*/ 4849 h 445016"/>
                  <a:gd name="connsiteX112" fmla="*/ 193037 w 271676"/>
                  <a:gd name="connsiteY112" fmla="*/ 4697 h 445016"/>
                  <a:gd name="connsiteX113" fmla="*/ 191067 w 271676"/>
                  <a:gd name="connsiteY113" fmla="*/ 9546 h 445016"/>
                  <a:gd name="connsiteX114" fmla="*/ 193795 w 271676"/>
                  <a:gd name="connsiteY114" fmla="*/ 13788 h 445016"/>
                  <a:gd name="connsiteX115" fmla="*/ 194401 w 271676"/>
                  <a:gd name="connsiteY115" fmla="*/ 13182 h 445016"/>
                  <a:gd name="connsiteX116" fmla="*/ 198038 w 271676"/>
                  <a:gd name="connsiteY116" fmla="*/ 5909 h 445016"/>
                  <a:gd name="connsiteX117" fmla="*/ 200310 w 271676"/>
                  <a:gd name="connsiteY117" fmla="*/ 6061 h 445016"/>
                  <a:gd name="connsiteX118" fmla="*/ 200310 w 271676"/>
                  <a:gd name="connsiteY118" fmla="*/ 4697 h 445016"/>
                  <a:gd name="connsiteX119" fmla="*/ 201674 w 271676"/>
                  <a:gd name="connsiteY119" fmla="*/ 1212 h 445016"/>
                  <a:gd name="connsiteX120" fmla="*/ 201674 w 271676"/>
                  <a:gd name="connsiteY120" fmla="*/ 758 h 445016"/>
                  <a:gd name="connsiteX121" fmla="*/ 200917 w 271676"/>
                  <a:gd name="connsiteY121" fmla="*/ 0 h 445016"/>
                  <a:gd name="connsiteX122" fmla="*/ 200310 w 271676"/>
                  <a:gd name="connsiteY122" fmla="*/ 0 h 445016"/>
                  <a:gd name="connsiteX123" fmla="*/ 199250 w 271676"/>
                  <a:gd name="connsiteY123" fmla="*/ 1061 h 445016"/>
                  <a:gd name="connsiteX124" fmla="*/ 198492 w 271676"/>
                  <a:gd name="connsiteY124" fmla="*/ 606 h 445016"/>
                  <a:gd name="connsiteX125" fmla="*/ 197886 w 271676"/>
                  <a:gd name="connsiteY125" fmla="*/ 758 h 445016"/>
                  <a:gd name="connsiteX126" fmla="*/ 197583 w 271676"/>
                  <a:gd name="connsiteY126" fmla="*/ 1364 h 445016"/>
                  <a:gd name="connsiteX127" fmla="*/ 197280 w 271676"/>
                  <a:gd name="connsiteY127" fmla="*/ 3485 h 445016"/>
                  <a:gd name="connsiteX128" fmla="*/ 197734 w 271676"/>
                  <a:gd name="connsiteY128" fmla="*/ 5455 h 445016"/>
                  <a:gd name="connsiteX129" fmla="*/ 198038 w 271676"/>
                  <a:gd name="connsiteY129" fmla="*/ 5909 h 445016"/>
                  <a:gd name="connsiteX130" fmla="*/ 141823 w 271676"/>
                  <a:gd name="connsiteY130" fmla="*/ 63790 h 445016"/>
                  <a:gd name="connsiteX131" fmla="*/ 144551 w 271676"/>
                  <a:gd name="connsiteY131" fmla="*/ 64851 h 445016"/>
                  <a:gd name="connsiteX132" fmla="*/ 144854 w 271676"/>
                  <a:gd name="connsiteY132" fmla="*/ 67427 h 445016"/>
                  <a:gd name="connsiteX133" fmla="*/ 145915 w 271676"/>
                  <a:gd name="connsiteY133" fmla="*/ 68184 h 445016"/>
                  <a:gd name="connsiteX134" fmla="*/ 148187 w 271676"/>
                  <a:gd name="connsiteY134" fmla="*/ 67124 h 445016"/>
                  <a:gd name="connsiteX135" fmla="*/ 148490 w 271676"/>
                  <a:gd name="connsiteY135" fmla="*/ 65760 h 445016"/>
                  <a:gd name="connsiteX136" fmla="*/ 148187 w 271676"/>
                  <a:gd name="connsiteY136" fmla="*/ 65457 h 445016"/>
                  <a:gd name="connsiteX137" fmla="*/ 145915 w 271676"/>
                  <a:gd name="connsiteY137" fmla="*/ 64851 h 445016"/>
                  <a:gd name="connsiteX138" fmla="*/ 144702 w 271676"/>
                  <a:gd name="connsiteY138" fmla="*/ 62881 h 445016"/>
                  <a:gd name="connsiteX139" fmla="*/ 141520 w 271676"/>
                  <a:gd name="connsiteY139" fmla="*/ 60457 h 445016"/>
                  <a:gd name="connsiteX140" fmla="*/ 139702 w 271676"/>
                  <a:gd name="connsiteY140" fmla="*/ 61063 h 445016"/>
                  <a:gd name="connsiteX141" fmla="*/ 139399 w 271676"/>
                  <a:gd name="connsiteY141" fmla="*/ 61517 h 445016"/>
                  <a:gd name="connsiteX142" fmla="*/ 140460 w 271676"/>
                  <a:gd name="connsiteY142" fmla="*/ 62881 h 445016"/>
                  <a:gd name="connsiteX143" fmla="*/ 141823 w 271676"/>
                  <a:gd name="connsiteY143" fmla="*/ 63790 h 445016"/>
                  <a:gd name="connsiteX144" fmla="*/ 131672 w 271676"/>
                  <a:gd name="connsiteY144" fmla="*/ 76063 h 445016"/>
                  <a:gd name="connsiteX145" fmla="*/ 132429 w 271676"/>
                  <a:gd name="connsiteY145" fmla="*/ 76215 h 445016"/>
                  <a:gd name="connsiteX146" fmla="*/ 134096 w 271676"/>
                  <a:gd name="connsiteY146" fmla="*/ 74851 h 445016"/>
                  <a:gd name="connsiteX147" fmla="*/ 134399 w 271676"/>
                  <a:gd name="connsiteY147" fmla="*/ 75306 h 445016"/>
                  <a:gd name="connsiteX148" fmla="*/ 134399 w 271676"/>
                  <a:gd name="connsiteY148" fmla="*/ 76669 h 445016"/>
                  <a:gd name="connsiteX149" fmla="*/ 134702 w 271676"/>
                  <a:gd name="connsiteY149" fmla="*/ 77276 h 445016"/>
                  <a:gd name="connsiteX150" fmla="*/ 135308 w 271676"/>
                  <a:gd name="connsiteY150" fmla="*/ 77882 h 445016"/>
                  <a:gd name="connsiteX151" fmla="*/ 136217 w 271676"/>
                  <a:gd name="connsiteY151" fmla="*/ 78185 h 445016"/>
                  <a:gd name="connsiteX152" fmla="*/ 140914 w 271676"/>
                  <a:gd name="connsiteY152" fmla="*/ 77427 h 445016"/>
                  <a:gd name="connsiteX153" fmla="*/ 144551 w 271676"/>
                  <a:gd name="connsiteY153" fmla="*/ 79397 h 445016"/>
                  <a:gd name="connsiteX154" fmla="*/ 145611 w 271676"/>
                  <a:gd name="connsiteY154" fmla="*/ 79245 h 445016"/>
                  <a:gd name="connsiteX155" fmla="*/ 146521 w 271676"/>
                  <a:gd name="connsiteY155" fmla="*/ 78639 h 445016"/>
                  <a:gd name="connsiteX156" fmla="*/ 147430 w 271676"/>
                  <a:gd name="connsiteY156" fmla="*/ 76669 h 445016"/>
                  <a:gd name="connsiteX157" fmla="*/ 145915 w 271676"/>
                  <a:gd name="connsiteY157" fmla="*/ 75609 h 445016"/>
                  <a:gd name="connsiteX158" fmla="*/ 144096 w 271676"/>
                  <a:gd name="connsiteY158" fmla="*/ 75457 h 445016"/>
                  <a:gd name="connsiteX159" fmla="*/ 141066 w 271676"/>
                  <a:gd name="connsiteY159" fmla="*/ 74548 h 445016"/>
                  <a:gd name="connsiteX160" fmla="*/ 138945 w 271676"/>
                  <a:gd name="connsiteY160" fmla="*/ 74548 h 445016"/>
                  <a:gd name="connsiteX161" fmla="*/ 139248 w 271676"/>
                  <a:gd name="connsiteY161" fmla="*/ 73488 h 445016"/>
                  <a:gd name="connsiteX162" fmla="*/ 140308 w 271676"/>
                  <a:gd name="connsiteY162" fmla="*/ 72427 h 445016"/>
                  <a:gd name="connsiteX163" fmla="*/ 140308 w 271676"/>
                  <a:gd name="connsiteY163" fmla="*/ 71669 h 445016"/>
                  <a:gd name="connsiteX164" fmla="*/ 139399 w 271676"/>
                  <a:gd name="connsiteY164" fmla="*/ 70760 h 445016"/>
                  <a:gd name="connsiteX165" fmla="*/ 136520 w 271676"/>
                  <a:gd name="connsiteY165" fmla="*/ 69245 h 445016"/>
                  <a:gd name="connsiteX166" fmla="*/ 133944 w 271676"/>
                  <a:gd name="connsiteY166" fmla="*/ 68942 h 445016"/>
                  <a:gd name="connsiteX167" fmla="*/ 132278 w 271676"/>
                  <a:gd name="connsiteY167" fmla="*/ 69396 h 445016"/>
                  <a:gd name="connsiteX168" fmla="*/ 131217 w 271676"/>
                  <a:gd name="connsiteY168" fmla="*/ 72124 h 445016"/>
                  <a:gd name="connsiteX169" fmla="*/ 131065 w 271676"/>
                  <a:gd name="connsiteY169" fmla="*/ 73942 h 445016"/>
                  <a:gd name="connsiteX170" fmla="*/ 131217 w 271676"/>
                  <a:gd name="connsiteY170" fmla="*/ 75306 h 445016"/>
                  <a:gd name="connsiteX171" fmla="*/ 131672 w 271676"/>
                  <a:gd name="connsiteY171" fmla="*/ 76063 h 445016"/>
                  <a:gd name="connsiteX172" fmla="*/ 156370 w 271676"/>
                  <a:gd name="connsiteY172" fmla="*/ 63942 h 445016"/>
                  <a:gd name="connsiteX173" fmla="*/ 156975 w 271676"/>
                  <a:gd name="connsiteY173" fmla="*/ 62881 h 445016"/>
                  <a:gd name="connsiteX174" fmla="*/ 153491 w 271676"/>
                  <a:gd name="connsiteY174" fmla="*/ 62578 h 445016"/>
                  <a:gd name="connsiteX175" fmla="*/ 151672 w 271676"/>
                  <a:gd name="connsiteY175" fmla="*/ 63184 h 445016"/>
                  <a:gd name="connsiteX176" fmla="*/ 150005 w 271676"/>
                  <a:gd name="connsiteY176" fmla="*/ 65608 h 445016"/>
                  <a:gd name="connsiteX177" fmla="*/ 153036 w 271676"/>
                  <a:gd name="connsiteY177" fmla="*/ 65608 h 445016"/>
                  <a:gd name="connsiteX178" fmla="*/ 156370 w 271676"/>
                  <a:gd name="connsiteY178" fmla="*/ 63942 h 445016"/>
                  <a:gd name="connsiteX179" fmla="*/ 178037 w 271676"/>
                  <a:gd name="connsiteY179" fmla="*/ 24546 h 445016"/>
                  <a:gd name="connsiteX180" fmla="*/ 178794 w 271676"/>
                  <a:gd name="connsiteY180" fmla="*/ 24849 h 445016"/>
                  <a:gd name="connsiteX181" fmla="*/ 181370 w 271676"/>
                  <a:gd name="connsiteY181" fmla="*/ 24698 h 445016"/>
                  <a:gd name="connsiteX182" fmla="*/ 181825 w 271676"/>
                  <a:gd name="connsiteY182" fmla="*/ 25152 h 445016"/>
                  <a:gd name="connsiteX183" fmla="*/ 181825 w 271676"/>
                  <a:gd name="connsiteY183" fmla="*/ 26365 h 445016"/>
                  <a:gd name="connsiteX184" fmla="*/ 182279 w 271676"/>
                  <a:gd name="connsiteY184" fmla="*/ 27274 h 445016"/>
                  <a:gd name="connsiteX185" fmla="*/ 184249 w 271676"/>
                  <a:gd name="connsiteY185" fmla="*/ 26668 h 445016"/>
                  <a:gd name="connsiteX186" fmla="*/ 186674 w 271676"/>
                  <a:gd name="connsiteY186" fmla="*/ 26668 h 445016"/>
                  <a:gd name="connsiteX187" fmla="*/ 187583 w 271676"/>
                  <a:gd name="connsiteY187" fmla="*/ 28031 h 445016"/>
                  <a:gd name="connsiteX188" fmla="*/ 188037 w 271676"/>
                  <a:gd name="connsiteY188" fmla="*/ 29698 h 445016"/>
                  <a:gd name="connsiteX189" fmla="*/ 187431 w 271676"/>
                  <a:gd name="connsiteY189" fmla="*/ 32728 h 445016"/>
                  <a:gd name="connsiteX190" fmla="*/ 185916 w 271676"/>
                  <a:gd name="connsiteY190" fmla="*/ 38032 h 445016"/>
                  <a:gd name="connsiteX191" fmla="*/ 187431 w 271676"/>
                  <a:gd name="connsiteY191" fmla="*/ 39395 h 445016"/>
                  <a:gd name="connsiteX192" fmla="*/ 187886 w 271676"/>
                  <a:gd name="connsiteY192" fmla="*/ 39092 h 445016"/>
                  <a:gd name="connsiteX193" fmla="*/ 188946 w 271676"/>
                  <a:gd name="connsiteY193" fmla="*/ 35607 h 445016"/>
                  <a:gd name="connsiteX194" fmla="*/ 190158 w 271676"/>
                  <a:gd name="connsiteY194" fmla="*/ 34092 h 445016"/>
                  <a:gd name="connsiteX195" fmla="*/ 190765 w 271676"/>
                  <a:gd name="connsiteY195" fmla="*/ 29698 h 445016"/>
                  <a:gd name="connsiteX196" fmla="*/ 191067 w 271676"/>
                  <a:gd name="connsiteY196" fmla="*/ 29243 h 445016"/>
                  <a:gd name="connsiteX197" fmla="*/ 191371 w 271676"/>
                  <a:gd name="connsiteY197" fmla="*/ 27122 h 445016"/>
                  <a:gd name="connsiteX198" fmla="*/ 191825 w 271676"/>
                  <a:gd name="connsiteY198" fmla="*/ 25910 h 445016"/>
                  <a:gd name="connsiteX199" fmla="*/ 193644 w 271676"/>
                  <a:gd name="connsiteY199" fmla="*/ 18789 h 445016"/>
                  <a:gd name="connsiteX200" fmla="*/ 193946 w 271676"/>
                  <a:gd name="connsiteY200" fmla="*/ 16213 h 445016"/>
                  <a:gd name="connsiteX201" fmla="*/ 192128 w 271676"/>
                  <a:gd name="connsiteY201" fmla="*/ 17273 h 445016"/>
                  <a:gd name="connsiteX202" fmla="*/ 191067 w 271676"/>
                  <a:gd name="connsiteY202" fmla="*/ 17273 h 445016"/>
                  <a:gd name="connsiteX203" fmla="*/ 188946 w 271676"/>
                  <a:gd name="connsiteY203" fmla="*/ 14546 h 445016"/>
                  <a:gd name="connsiteX204" fmla="*/ 187583 w 271676"/>
                  <a:gd name="connsiteY204" fmla="*/ 15304 h 445016"/>
                  <a:gd name="connsiteX205" fmla="*/ 186977 w 271676"/>
                  <a:gd name="connsiteY205" fmla="*/ 12425 h 445016"/>
                  <a:gd name="connsiteX206" fmla="*/ 187128 w 271676"/>
                  <a:gd name="connsiteY206" fmla="*/ 9546 h 445016"/>
                  <a:gd name="connsiteX207" fmla="*/ 185461 w 271676"/>
                  <a:gd name="connsiteY207" fmla="*/ 9394 h 445016"/>
                  <a:gd name="connsiteX208" fmla="*/ 184098 w 271676"/>
                  <a:gd name="connsiteY208" fmla="*/ 9849 h 445016"/>
                  <a:gd name="connsiteX209" fmla="*/ 181825 w 271676"/>
                  <a:gd name="connsiteY209" fmla="*/ 12728 h 445016"/>
                  <a:gd name="connsiteX210" fmla="*/ 180310 w 271676"/>
                  <a:gd name="connsiteY210" fmla="*/ 13182 h 445016"/>
                  <a:gd name="connsiteX211" fmla="*/ 179855 w 271676"/>
                  <a:gd name="connsiteY211" fmla="*/ 14091 h 445016"/>
                  <a:gd name="connsiteX212" fmla="*/ 180461 w 271676"/>
                  <a:gd name="connsiteY212" fmla="*/ 14697 h 445016"/>
                  <a:gd name="connsiteX213" fmla="*/ 183189 w 271676"/>
                  <a:gd name="connsiteY213" fmla="*/ 15152 h 445016"/>
                  <a:gd name="connsiteX214" fmla="*/ 185310 w 271676"/>
                  <a:gd name="connsiteY214" fmla="*/ 20758 h 445016"/>
                  <a:gd name="connsiteX215" fmla="*/ 181977 w 271676"/>
                  <a:gd name="connsiteY215" fmla="*/ 22425 h 445016"/>
                  <a:gd name="connsiteX216" fmla="*/ 179703 w 271676"/>
                  <a:gd name="connsiteY216" fmla="*/ 22122 h 445016"/>
                  <a:gd name="connsiteX217" fmla="*/ 177279 w 271676"/>
                  <a:gd name="connsiteY217" fmla="*/ 22728 h 445016"/>
                  <a:gd name="connsiteX218" fmla="*/ 177431 w 271676"/>
                  <a:gd name="connsiteY218" fmla="*/ 23486 h 445016"/>
                  <a:gd name="connsiteX219" fmla="*/ 178037 w 271676"/>
                  <a:gd name="connsiteY219" fmla="*/ 24546 h 445016"/>
                  <a:gd name="connsiteX220" fmla="*/ 270616 w 271676"/>
                  <a:gd name="connsiteY220" fmla="*/ 321981 h 445016"/>
                  <a:gd name="connsiteX221" fmla="*/ 269858 w 271676"/>
                  <a:gd name="connsiteY221" fmla="*/ 318345 h 445016"/>
                  <a:gd name="connsiteX222" fmla="*/ 268192 w 271676"/>
                  <a:gd name="connsiteY222" fmla="*/ 315466 h 445016"/>
                  <a:gd name="connsiteX223" fmla="*/ 260616 w 271676"/>
                  <a:gd name="connsiteY223" fmla="*/ 310314 h 445016"/>
                  <a:gd name="connsiteX224" fmla="*/ 257585 w 271676"/>
                  <a:gd name="connsiteY224" fmla="*/ 309102 h 445016"/>
                  <a:gd name="connsiteX225" fmla="*/ 251676 w 271676"/>
                  <a:gd name="connsiteY225" fmla="*/ 307890 h 445016"/>
                  <a:gd name="connsiteX226" fmla="*/ 248797 w 271676"/>
                  <a:gd name="connsiteY226" fmla="*/ 308041 h 445016"/>
                  <a:gd name="connsiteX227" fmla="*/ 245464 w 271676"/>
                  <a:gd name="connsiteY227" fmla="*/ 307435 h 445016"/>
                  <a:gd name="connsiteX228" fmla="*/ 242130 w 271676"/>
                  <a:gd name="connsiteY228" fmla="*/ 307132 h 445016"/>
                  <a:gd name="connsiteX229" fmla="*/ 238191 w 271676"/>
                  <a:gd name="connsiteY229" fmla="*/ 307587 h 445016"/>
                  <a:gd name="connsiteX230" fmla="*/ 236979 w 271676"/>
                  <a:gd name="connsiteY230" fmla="*/ 308648 h 445016"/>
                  <a:gd name="connsiteX231" fmla="*/ 234706 w 271676"/>
                  <a:gd name="connsiteY231" fmla="*/ 311678 h 445016"/>
                  <a:gd name="connsiteX232" fmla="*/ 233342 w 271676"/>
                  <a:gd name="connsiteY232" fmla="*/ 312890 h 445016"/>
                  <a:gd name="connsiteX233" fmla="*/ 231978 w 271676"/>
                  <a:gd name="connsiteY233" fmla="*/ 313345 h 445016"/>
                  <a:gd name="connsiteX234" fmla="*/ 230615 w 271676"/>
                  <a:gd name="connsiteY234" fmla="*/ 313496 h 445016"/>
                  <a:gd name="connsiteX235" fmla="*/ 224251 w 271676"/>
                  <a:gd name="connsiteY235" fmla="*/ 309860 h 445016"/>
                  <a:gd name="connsiteX236" fmla="*/ 226372 w 271676"/>
                  <a:gd name="connsiteY236" fmla="*/ 307435 h 445016"/>
                  <a:gd name="connsiteX237" fmla="*/ 228645 w 271676"/>
                  <a:gd name="connsiteY237" fmla="*/ 305314 h 445016"/>
                  <a:gd name="connsiteX238" fmla="*/ 231069 w 271676"/>
                  <a:gd name="connsiteY238" fmla="*/ 303496 h 445016"/>
                  <a:gd name="connsiteX239" fmla="*/ 232584 w 271676"/>
                  <a:gd name="connsiteY239" fmla="*/ 300617 h 445016"/>
                  <a:gd name="connsiteX240" fmla="*/ 230312 w 271676"/>
                  <a:gd name="connsiteY240" fmla="*/ 294102 h 445016"/>
                  <a:gd name="connsiteX241" fmla="*/ 226372 w 271676"/>
                  <a:gd name="connsiteY241" fmla="*/ 289101 h 445016"/>
                  <a:gd name="connsiteX242" fmla="*/ 214856 w 271676"/>
                  <a:gd name="connsiteY242" fmla="*/ 280616 h 445016"/>
                  <a:gd name="connsiteX243" fmla="*/ 209553 w 271676"/>
                  <a:gd name="connsiteY243" fmla="*/ 280616 h 445016"/>
                  <a:gd name="connsiteX244" fmla="*/ 204705 w 271676"/>
                  <a:gd name="connsiteY244" fmla="*/ 279556 h 445016"/>
                  <a:gd name="connsiteX245" fmla="*/ 207280 w 271676"/>
                  <a:gd name="connsiteY245" fmla="*/ 279556 h 445016"/>
                  <a:gd name="connsiteX246" fmla="*/ 210159 w 271676"/>
                  <a:gd name="connsiteY246" fmla="*/ 279859 h 445016"/>
                  <a:gd name="connsiteX247" fmla="*/ 215463 w 271676"/>
                  <a:gd name="connsiteY247" fmla="*/ 279101 h 445016"/>
                  <a:gd name="connsiteX248" fmla="*/ 218039 w 271676"/>
                  <a:gd name="connsiteY248" fmla="*/ 281071 h 445016"/>
                  <a:gd name="connsiteX249" fmla="*/ 220766 w 271676"/>
                  <a:gd name="connsiteY249" fmla="*/ 282586 h 445016"/>
                  <a:gd name="connsiteX250" fmla="*/ 222281 w 271676"/>
                  <a:gd name="connsiteY250" fmla="*/ 282889 h 445016"/>
                  <a:gd name="connsiteX251" fmla="*/ 223796 w 271676"/>
                  <a:gd name="connsiteY251" fmla="*/ 282738 h 445016"/>
                  <a:gd name="connsiteX252" fmla="*/ 224857 w 271676"/>
                  <a:gd name="connsiteY252" fmla="*/ 283192 h 445016"/>
                  <a:gd name="connsiteX253" fmla="*/ 225918 w 271676"/>
                  <a:gd name="connsiteY253" fmla="*/ 283950 h 445016"/>
                  <a:gd name="connsiteX254" fmla="*/ 223039 w 271676"/>
                  <a:gd name="connsiteY254" fmla="*/ 278950 h 445016"/>
                  <a:gd name="connsiteX255" fmla="*/ 219857 w 271676"/>
                  <a:gd name="connsiteY255" fmla="*/ 274404 h 445016"/>
                  <a:gd name="connsiteX256" fmla="*/ 218190 w 271676"/>
                  <a:gd name="connsiteY256" fmla="*/ 271525 h 445016"/>
                  <a:gd name="connsiteX257" fmla="*/ 217129 w 271676"/>
                  <a:gd name="connsiteY257" fmla="*/ 268495 h 445016"/>
                  <a:gd name="connsiteX258" fmla="*/ 218493 w 271676"/>
                  <a:gd name="connsiteY258" fmla="*/ 266222 h 445016"/>
                  <a:gd name="connsiteX259" fmla="*/ 220463 w 271676"/>
                  <a:gd name="connsiteY259" fmla="*/ 264858 h 445016"/>
                  <a:gd name="connsiteX260" fmla="*/ 216372 w 271676"/>
                  <a:gd name="connsiteY260" fmla="*/ 262131 h 445016"/>
                  <a:gd name="connsiteX261" fmla="*/ 212584 w 271676"/>
                  <a:gd name="connsiteY261" fmla="*/ 258797 h 445016"/>
                  <a:gd name="connsiteX262" fmla="*/ 208493 w 271676"/>
                  <a:gd name="connsiteY262" fmla="*/ 254403 h 445016"/>
                  <a:gd name="connsiteX263" fmla="*/ 204250 w 271676"/>
                  <a:gd name="connsiteY263" fmla="*/ 250312 h 445016"/>
                  <a:gd name="connsiteX264" fmla="*/ 201826 w 271676"/>
                  <a:gd name="connsiteY264" fmla="*/ 248948 h 445016"/>
                  <a:gd name="connsiteX265" fmla="*/ 191067 w 271676"/>
                  <a:gd name="connsiteY265" fmla="*/ 244706 h 445016"/>
                  <a:gd name="connsiteX266" fmla="*/ 188946 w 271676"/>
                  <a:gd name="connsiteY266" fmla="*/ 242888 h 445016"/>
                  <a:gd name="connsiteX267" fmla="*/ 187279 w 271676"/>
                  <a:gd name="connsiteY267" fmla="*/ 240160 h 445016"/>
                  <a:gd name="connsiteX268" fmla="*/ 183643 w 271676"/>
                  <a:gd name="connsiteY268" fmla="*/ 230614 h 445016"/>
                  <a:gd name="connsiteX269" fmla="*/ 180916 w 271676"/>
                  <a:gd name="connsiteY269" fmla="*/ 221675 h 445016"/>
                  <a:gd name="connsiteX270" fmla="*/ 178491 w 271676"/>
                  <a:gd name="connsiteY270" fmla="*/ 212583 h 445016"/>
                  <a:gd name="connsiteX271" fmla="*/ 177279 w 271676"/>
                  <a:gd name="connsiteY271" fmla="*/ 209856 h 445016"/>
                  <a:gd name="connsiteX272" fmla="*/ 175310 w 271676"/>
                  <a:gd name="connsiteY272" fmla="*/ 208038 h 445016"/>
                  <a:gd name="connsiteX273" fmla="*/ 172582 w 271676"/>
                  <a:gd name="connsiteY273" fmla="*/ 206068 h 445016"/>
                  <a:gd name="connsiteX274" fmla="*/ 167430 w 271676"/>
                  <a:gd name="connsiteY274" fmla="*/ 200765 h 445016"/>
                  <a:gd name="connsiteX275" fmla="*/ 163794 w 271676"/>
                  <a:gd name="connsiteY275" fmla="*/ 197128 h 445016"/>
                  <a:gd name="connsiteX276" fmla="*/ 151369 w 271676"/>
                  <a:gd name="connsiteY276" fmla="*/ 192280 h 445016"/>
                  <a:gd name="connsiteX277" fmla="*/ 144854 w 271676"/>
                  <a:gd name="connsiteY277" fmla="*/ 192280 h 445016"/>
                  <a:gd name="connsiteX278" fmla="*/ 140005 w 271676"/>
                  <a:gd name="connsiteY278" fmla="*/ 194855 h 445016"/>
                  <a:gd name="connsiteX279" fmla="*/ 139096 w 271676"/>
                  <a:gd name="connsiteY279" fmla="*/ 195159 h 445016"/>
                  <a:gd name="connsiteX280" fmla="*/ 123793 w 271676"/>
                  <a:gd name="connsiteY280" fmla="*/ 192734 h 445016"/>
                  <a:gd name="connsiteX281" fmla="*/ 121217 w 271676"/>
                  <a:gd name="connsiteY281" fmla="*/ 191674 h 445016"/>
                  <a:gd name="connsiteX282" fmla="*/ 118944 w 271676"/>
                  <a:gd name="connsiteY282" fmla="*/ 189704 h 445016"/>
                  <a:gd name="connsiteX283" fmla="*/ 121519 w 271676"/>
                  <a:gd name="connsiteY283" fmla="*/ 190916 h 445016"/>
                  <a:gd name="connsiteX284" fmla="*/ 127429 w 271676"/>
                  <a:gd name="connsiteY284" fmla="*/ 192128 h 445016"/>
                  <a:gd name="connsiteX285" fmla="*/ 130611 w 271676"/>
                  <a:gd name="connsiteY285" fmla="*/ 192280 h 445016"/>
                  <a:gd name="connsiteX286" fmla="*/ 133187 w 271676"/>
                  <a:gd name="connsiteY286" fmla="*/ 191674 h 445016"/>
                  <a:gd name="connsiteX287" fmla="*/ 135611 w 271676"/>
                  <a:gd name="connsiteY287" fmla="*/ 190310 h 445016"/>
                  <a:gd name="connsiteX288" fmla="*/ 141066 w 271676"/>
                  <a:gd name="connsiteY288" fmla="*/ 185916 h 445016"/>
                  <a:gd name="connsiteX289" fmla="*/ 146824 w 271676"/>
                  <a:gd name="connsiteY289" fmla="*/ 185613 h 445016"/>
                  <a:gd name="connsiteX290" fmla="*/ 149399 w 271676"/>
                  <a:gd name="connsiteY290" fmla="*/ 183643 h 445016"/>
                  <a:gd name="connsiteX291" fmla="*/ 150005 w 271676"/>
                  <a:gd name="connsiteY291" fmla="*/ 181067 h 445016"/>
                  <a:gd name="connsiteX292" fmla="*/ 143642 w 271676"/>
                  <a:gd name="connsiteY292" fmla="*/ 178037 h 445016"/>
                  <a:gd name="connsiteX293" fmla="*/ 138187 w 271676"/>
                  <a:gd name="connsiteY293" fmla="*/ 178340 h 445016"/>
                  <a:gd name="connsiteX294" fmla="*/ 135157 w 271676"/>
                  <a:gd name="connsiteY294" fmla="*/ 179249 h 445016"/>
                  <a:gd name="connsiteX295" fmla="*/ 132126 w 271676"/>
                  <a:gd name="connsiteY295" fmla="*/ 179400 h 445016"/>
                  <a:gd name="connsiteX296" fmla="*/ 134702 w 271676"/>
                  <a:gd name="connsiteY296" fmla="*/ 178643 h 445016"/>
                  <a:gd name="connsiteX297" fmla="*/ 137126 w 271676"/>
                  <a:gd name="connsiteY297" fmla="*/ 176976 h 445016"/>
                  <a:gd name="connsiteX298" fmla="*/ 139248 w 271676"/>
                  <a:gd name="connsiteY298" fmla="*/ 176067 h 445016"/>
                  <a:gd name="connsiteX299" fmla="*/ 146672 w 271676"/>
                  <a:gd name="connsiteY299" fmla="*/ 174703 h 445016"/>
                  <a:gd name="connsiteX300" fmla="*/ 149248 w 271676"/>
                  <a:gd name="connsiteY300" fmla="*/ 173491 h 445016"/>
                  <a:gd name="connsiteX301" fmla="*/ 151672 w 271676"/>
                  <a:gd name="connsiteY301" fmla="*/ 171673 h 445016"/>
                  <a:gd name="connsiteX302" fmla="*/ 154248 w 271676"/>
                  <a:gd name="connsiteY302" fmla="*/ 168794 h 445016"/>
                  <a:gd name="connsiteX303" fmla="*/ 156218 w 271676"/>
                  <a:gd name="connsiteY303" fmla="*/ 165157 h 445016"/>
                  <a:gd name="connsiteX304" fmla="*/ 160763 w 271676"/>
                  <a:gd name="connsiteY304" fmla="*/ 160006 h 445016"/>
                  <a:gd name="connsiteX305" fmla="*/ 165461 w 271676"/>
                  <a:gd name="connsiteY305" fmla="*/ 150611 h 445016"/>
                  <a:gd name="connsiteX306" fmla="*/ 166218 w 271676"/>
                  <a:gd name="connsiteY306" fmla="*/ 148642 h 445016"/>
                  <a:gd name="connsiteX307" fmla="*/ 166673 w 271676"/>
                  <a:gd name="connsiteY307" fmla="*/ 146520 h 445016"/>
                  <a:gd name="connsiteX308" fmla="*/ 167430 w 271676"/>
                  <a:gd name="connsiteY308" fmla="*/ 144551 h 445016"/>
                  <a:gd name="connsiteX309" fmla="*/ 169703 w 271676"/>
                  <a:gd name="connsiteY309" fmla="*/ 140914 h 445016"/>
                  <a:gd name="connsiteX310" fmla="*/ 172431 w 271676"/>
                  <a:gd name="connsiteY310" fmla="*/ 138187 h 445016"/>
                  <a:gd name="connsiteX311" fmla="*/ 173946 w 271676"/>
                  <a:gd name="connsiteY311" fmla="*/ 136066 h 445016"/>
                  <a:gd name="connsiteX312" fmla="*/ 173946 w 271676"/>
                  <a:gd name="connsiteY312" fmla="*/ 135308 h 445016"/>
                  <a:gd name="connsiteX313" fmla="*/ 171522 w 271676"/>
                  <a:gd name="connsiteY313" fmla="*/ 130611 h 445016"/>
                  <a:gd name="connsiteX314" fmla="*/ 168946 w 271676"/>
                  <a:gd name="connsiteY314" fmla="*/ 128035 h 445016"/>
                  <a:gd name="connsiteX315" fmla="*/ 165915 w 271676"/>
                  <a:gd name="connsiteY315" fmla="*/ 126974 h 445016"/>
                  <a:gd name="connsiteX316" fmla="*/ 161218 w 271676"/>
                  <a:gd name="connsiteY316" fmla="*/ 127883 h 445016"/>
                  <a:gd name="connsiteX317" fmla="*/ 144399 w 271676"/>
                  <a:gd name="connsiteY317" fmla="*/ 127429 h 445016"/>
                  <a:gd name="connsiteX318" fmla="*/ 141975 w 271676"/>
                  <a:gd name="connsiteY318" fmla="*/ 127580 h 445016"/>
                  <a:gd name="connsiteX319" fmla="*/ 139551 w 271676"/>
                  <a:gd name="connsiteY319" fmla="*/ 128186 h 445016"/>
                  <a:gd name="connsiteX320" fmla="*/ 138187 w 271676"/>
                  <a:gd name="connsiteY320" fmla="*/ 128186 h 445016"/>
                  <a:gd name="connsiteX321" fmla="*/ 132429 w 271676"/>
                  <a:gd name="connsiteY321" fmla="*/ 126671 h 445016"/>
                  <a:gd name="connsiteX322" fmla="*/ 129399 w 271676"/>
                  <a:gd name="connsiteY322" fmla="*/ 126671 h 445016"/>
                  <a:gd name="connsiteX323" fmla="*/ 123186 w 271676"/>
                  <a:gd name="connsiteY323" fmla="*/ 128489 h 445016"/>
                  <a:gd name="connsiteX324" fmla="*/ 116671 w 271676"/>
                  <a:gd name="connsiteY324" fmla="*/ 130914 h 445016"/>
                  <a:gd name="connsiteX325" fmla="*/ 113338 w 271676"/>
                  <a:gd name="connsiteY325" fmla="*/ 131671 h 445016"/>
                  <a:gd name="connsiteX326" fmla="*/ 109398 w 271676"/>
                  <a:gd name="connsiteY326" fmla="*/ 131823 h 445016"/>
                  <a:gd name="connsiteX327" fmla="*/ 110913 w 271676"/>
                  <a:gd name="connsiteY327" fmla="*/ 127883 h 445016"/>
                  <a:gd name="connsiteX328" fmla="*/ 116065 w 271676"/>
                  <a:gd name="connsiteY328" fmla="*/ 123489 h 445016"/>
                  <a:gd name="connsiteX329" fmla="*/ 116974 w 271676"/>
                  <a:gd name="connsiteY329" fmla="*/ 122277 h 445016"/>
                  <a:gd name="connsiteX330" fmla="*/ 115610 w 271676"/>
                  <a:gd name="connsiteY330" fmla="*/ 121368 h 445016"/>
                  <a:gd name="connsiteX331" fmla="*/ 112125 w 271676"/>
                  <a:gd name="connsiteY331" fmla="*/ 120913 h 445016"/>
                  <a:gd name="connsiteX332" fmla="*/ 112580 w 271676"/>
                  <a:gd name="connsiteY332" fmla="*/ 118489 h 445016"/>
                  <a:gd name="connsiteX333" fmla="*/ 113338 w 271676"/>
                  <a:gd name="connsiteY333" fmla="*/ 116671 h 445016"/>
                  <a:gd name="connsiteX334" fmla="*/ 119247 w 271676"/>
                  <a:gd name="connsiteY334" fmla="*/ 113034 h 445016"/>
                  <a:gd name="connsiteX335" fmla="*/ 129247 w 271676"/>
                  <a:gd name="connsiteY335" fmla="*/ 105610 h 445016"/>
                  <a:gd name="connsiteX336" fmla="*/ 134702 w 271676"/>
                  <a:gd name="connsiteY336" fmla="*/ 102428 h 445016"/>
                  <a:gd name="connsiteX337" fmla="*/ 136823 w 271676"/>
                  <a:gd name="connsiteY337" fmla="*/ 100155 h 445016"/>
                  <a:gd name="connsiteX338" fmla="*/ 137429 w 271676"/>
                  <a:gd name="connsiteY338" fmla="*/ 98943 h 445016"/>
                  <a:gd name="connsiteX339" fmla="*/ 137732 w 271676"/>
                  <a:gd name="connsiteY339" fmla="*/ 97882 h 445016"/>
                  <a:gd name="connsiteX340" fmla="*/ 137429 w 271676"/>
                  <a:gd name="connsiteY340" fmla="*/ 94549 h 445016"/>
                  <a:gd name="connsiteX341" fmla="*/ 138945 w 271676"/>
                  <a:gd name="connsiteY341" fmla="*/ 91670 h 445016"/>
                  <a:gd name="connsiteX342" fmla="*/ 139248 w 271676"/>
                  <a:gd name="connsiteY342" fmla="*/ 90609 h 445016"/>
                  <a:gd name="connsiteX343" fmla="*/ 139096 w 271676"/>
                  <a:gd name="connsiteY343" fmla="*/ 89852 h 445016"/>
                  <a:gd name="connsiteX344" fmla="*/ 133490 w 271676"/>
                  <a:gd name="connsiteY344" fmla="*/ 89246 h 445016"/>
                  <a:gd name="connsiteX345" fmla="*/ 128186 w 271676"/>
                  <a:gd name="connsiteY345" fmla="*/ 90609 h 445016"/>
                  <a:gd name="connsiteX346" fmla="*/ 122429 w 271676"/>
                  <a:gd name="connsiteY346" fmla="*/ 91064 h 445016"/>
                  <a:gd name="connsiteX347" fmla="*/ 116974 w 271676"/>
                  <a:gd name="connsiteY347" fmla="*/ 92276 h 445016"/>
                  <a:gd name="connsiteX348" fmla="*/ 108034 w 271676"/>
                  <a:gd name="connsiteY348" fmla="*/ 93034 h 445016"/>
                  <a:gd name="connsiteX349" fmla="*/ 101367 w 271676"/>
                  <a:gd name="connsiteY349" fmla="*/ 94852 h 445016"/>
                  <a:gd name="connsiteX350" fmla="*/ 99700 w 271676"/>
                  <a:gd name="connsiteY350" fmla="*/ 92579 h 445016"/>
                  <a:gd name="connsiteX351" fmla="*/ 98489 w 271676"/>
                  <a:gd name="connsiteY351" fmla="*/ 92882 h 445016"/>
                  <a:gd name="connsiteX352" fmla="*/ 94549 w 271676"/>
                  <a:gd name="connsiteY352" fmla="*/ 94852 h 445016"/>
                  <a:gd name="connsiteX353" fmla="*/ 93489 w 271676"/>
                  <a:gd name="connsiteY353" fmla="*/ 95003 h 445016"/>
                  <a:gd name="connsiteX354" fmla="*/ 92124 w 271676"/>
                  <a:gd name="connsiteY354" fmla="*/ 93185 h 445016"/>
                  <a:gd name="connsiteX355" fmla="*/ 90912 w 271676"/>
                  <a:gd name="connsiteY355" fmla="*/ 92428 h 445016"/>
                  <a:gd name="connsiteX356" fmla="*/ 87731 w 271676"/>
                  <a:gd name="connsiteY356" fmla="*/ 91821 h 445016"/>
                  <a:gd name="connsiteX357" fmla="*/ 86367 w 271676"/>
                  <a:gd name="connsiteY357" fmla="*/ 92124 h 445016"/>
                  <a:gd name="connsiteX358" fmla="*/ 85306 w 271676"/>
                  <a:gd name="connsiteY358" fmla="*/ 92731 h 445016"/>
                  <a:gd name="connsiteX359" fmla="*/ 83943 w 271676"/>
                  <a:gd name="connsiteY359" fmla="*/ 94549 h 445016"/>
                  <a:gd name="connsiteX360" fmla="*/ 83639 w 271676"/>
                  <a:gd name="connsiteY360" fmla="*/ 95761 h 445016"/>
                  <a:gd name="connsiteX361" fmla="*/ 83639 w 271676"/>
                  <a:gd name="connsiteY361" fmla="*/ 98488 h 445016"/>
                  <a:gd name="connsiteX362" fmla="*/ 83336 w 271676"/>
                  <a:gd name="connsiteY362" fmla="*/ 99852 h 445016"/>
                  <a:gd name="connsiteX363" fmla="*/ 83639 w 271676"/>
                  <a:gd name="connsiteY363" fmla="*/ 101367 h 445016"/>
                  <a:gd name="connsiteX364" fmla="*/ 85003 w 271676"/>
                  <a:gd name="connsiteY364" fmla="*/ 103186 h 445016"/>
                  <a:gd name="connsiteX365" fmla="*/ 85609 w 271676"/>
                  <a:gd name="connsiteY365" fmla="*/ 104549 h 445016"/>
                  <a:gd name="connsiteX366" fmla="*/ 84246 w 271676"/>
                  <a:gd name="connsiteY366" fmla="*/ 105004 h 445016"/>
                  <a:gd name="connsiteX367" fmla="*/ 78488 w 271676"/>
                  <a:gd name="connsiteY367" fmla="*/ 105004 h 445016"/>
                  <a:gd name="connsiteX368" fmla="*/ 76669 w 271676"/>
                  <a:gd name="connsiteY368" fmla="*/ 105458 h 445016"/>
                  <a:gd name="connsiteX369" fmla="*/ 76215 w 271676"/>
                  <a:gd name="connsiteY369" fmla="*/ 106519 h 445016"/>
                  <a:gd name="connsiteX370" fmla="*/ 76518 w 271676"/>
                  <a:gd name="connsiteY370" fmla="*/ 107883 h 445016"/>
                  <a:gd name="connsiteX371" fmla="*/ 76367 w 271676"/>
                  <a:gd name="connsiteY371" fmla="*/ 109246 h 445016"/>
                  <a:gd name="connsiteX372" fmla="*/ 74700 w 271676"/>
                  <a:gd name="connsiteY372" fmla="*/ 112125 h 445016"/>
                  <a:gd name="connsiteX373" fmla="*/ 75306 w 271676"/>
                  <a:gd name="connsiteY373" fmla="*/ 113186 h 445016"/>
                  <a:gd name="connsiteX374" fmla="*/ 81215 w 271676"/>
                  <a:gd name="connsiteY374" fmla="*/ 118641 h 445016"/>
                  <a:gd name="connsiteX375" fmla="*/ 81821 w 271676"/>
                  <a:gd name="connsiteY375" fmla="*/ 119701 h 445016"/>
                  <a:gd name="connsiteX376" fmla="*/ 78185 w 271676"/>
                  <a:gd name="connsiteY376" fmla="*/ 118792 h 445016"/>
                  <a:gd name="connsiteX377" fmla="*/ 77427 w 271676"/>
                  <a:gd name="connsiteY377" fmla="*/ 118792 h 445016"/>
                  <a:gd name="connsiteX378" fmla="*/ 76669 w 271676"/>
                  <a:gd name="connsiteY378" fmla="*/ 119853 h 445016"/>
                  <a:gd name="connsiteX379" fmla="*/ 69548 w 271676"/>
                  <a:gd name="connsiteY379" fmla="*/ 119701 h 445016"/>
                  <a:gd name="connsiteX380" fmla="*/ 68033 w 271676"/>
                  <a:gd name="connsiteY380" fmla="*/ 121974 h 445016"/>
                  <a:gd name="connsiteX381" fmla="*/ 67275 w 271676"/>
                  <a:gd name="connsiteY381" fmla="*/ 123792 h 445016"/>
                  <a:gd name="connsiteX382" fmla="*/ 65912 w 271676"/>
                  <a:gd name="connsiteY382" fmla="*/ 128186 h 445016"/>
                  <a:gd name="connsiteX383" fmla="*/ 65912 w 271676"/>
                  <a:gd name="connsiteY383" fmla="*/ 129096 h 445016"/>
                  <a:gd name="connsiteX384" fmla="*/ 66669 w 271676"/>
                  <a:gd name="connsiteY384" fmla="*/ 130762 h 445016"/>
                  <a:gd name="connsiteX385" fmla="*/ 67730 w 271676"/>
                  <a:gd name="connsiteY385" fmla="*/ 131975 h 445016"/>
                  <a:gd name="connsiteX386" fmla="*/ 70457 w 271676"/>
                  <a:gd name="connsiteY386" fmla="*/ 132884 h 445016"/>
                  <a:gd name="connsiteX387" fmla="*/ 67578 w 271676"/>
                  <a:gd name="connsiteY387" fmla="*/ 133793 h 445016"/>
                  <a:gd name="connsiteX388" fmla="*/ 65760 w 271676"/>
                  <a:gd name="connsiteY388" fmla="*/ 134702 h 445016"/>
                  <a:gd name="connsiteX389" fmla="*/ 64548 w 271676"/>
                  <a:gd name="connsiteY389" fmla="*/ 135914 h 445016"/>
                  <a:gd name="connsiteX390" fmla="*/ 64093 w 271676"/>
                  <a:gd name="connsiteY390" fmla="*/ 137126 h 445016"/>
                  <a:gd name="connsiteX391" fmla="*/ 64699 w 271676"/>
                  <a:gd name="connsiteY391" fmla="*/ 139399 h 445016"/>
                  <a:gd name="connsiteX392" fmla="*/ 68487 w 271676"/>
                  <a:gd name="connsiteY392" fmla="*/ 141217 h 445016"/>
                  <a:gd name="connsiteX393" fmla="*/ 69245 w 271676"/>
                  <a:gd name="connsiteY393" fmla="*/ 142732 h 445016"/>
                  <a:gd name="connsiteX394" fmla="*/ 71215 w 271676"/>
                  <a:gd name="connsiteY394" fmla="*/ 145157 h 445016"/>
                  <a:gd name="connsiteX395" fmla="*/ 70457 w 271676"/>
                  <a:gd name="connsiteY395" fmla="*/ 150308 h 445016"/>
                  <a:gd name="connsiteX396" fmla="*/ 66518 w 271676"/>
                  <a:gd name="connsiteY396" fmla="*/ 155915 h 445016"/>
                  <a:gd name="connsiteX397" fmla="*/ 63336 w 271676"/>
                  <a:gd name="connsiteY397" fmla="*/ 157581 h 445016"/>
                  <a:gd name="connsiteX398" fmla="*/ 63033 w 271676"/>
                  <a:gd name="connsiteY398" fmla="*/ 158188 h 445016"/>
                  <a:gd name="connsiteX399" fmla="*/ 66669 w 271676"/>
                  <a:gd name="connsiteY399" fmla="*/ 160157 h 445016"/>
                  <a:gd name="connsiteX400" fmla="*/ 62578 w 271676"/>
                  <a:gd name="connsiteY400" fmla="*/ 163036 h 445016"/>
                  <a:gd name="connsiteX401" fmla="*/ 58336 w 271676"/>
                  <a:gd name="connsiteY401" fmla="*/ 163642 h 445016"/>
                  <a:gd name="connsiteX402" fmla="*/ 55608 w 271676"/>
                  <a:gd name="connsiteY402" fmla="*/ 165461 h 445016"/>
                  <a:gd name="connsiteX403" fmla="*/ 55608 w 271676"/>
                  <a:gd name="connsiteY403" fmla="*/ 165915 h 445016"/>
                  <a:gd name="connsiteX404" fmla="*/ 57729 w 271676"/>
                  <a:gd name="connsiteY404" fmla="*/ 166521 h 445016"/>
                  <a:gd name="connsiteX405" fmla="*/ 60154 w 271676"/>
                  <a:gd name="connsiteY405" fmla="*/ 166673 h 445016"/>
                  <a:gd name="connsiteX406" fmla="*/ 61063 w 271676"/>
                  <a:gd name="connsiteY406" fmla="*/ 170006 h 445016"/>
                  <a:gd name="connsiteX407" fmla="*/ 63033 w 271676"/>
                  <a:gd name="connsiteY407" fmla="*/ 171673 h 445016"/>
                  <a:gd name="connsiteX408" fmla="*/ 65608 w 271676"/>
                  <a:gd name="connsiteY408" fmla="*/ 172430 h 445016"/>
                  <a:gd name="connsiteX409" fmla="*/ 68942 w 271676"/>
                  <a:gd name="connsiteY409" fmla="*/ 172733 h 445016"/>
                  <a:gd name="connsiteX410" fmla="*/ 71366 w 271676"/>
                  <a:gd name="connsiteY410" fmla="*/ 171370 h 445016"/>
                  <a:gd name="connsiteX411" fmla="*/ 80912 w 271676"/>
                  <a:gd name="connsiteY411" fmla="*/ 164097 h 445016"/>
                  <a:gd name="connsiteX412" fmla="*/ 81670 w 271676"/>
                  <a:gd name="connsiteY412" fmla="*/ 163794 h 445016"/>
                  <a:gd name="connsiteX413" fmla="*/ 80155 w 271676"/>
                  <a:gd name="connsiteY413" fmla="*/ 166521 h 445016"/>
                  <a:gd name="connsiteX414" fmla="*/ 78185 w 271676"/>
                  <a:gd name="connsiteY414" fmla="*/ 169097 h 445016"/>
                  <a:gd name="connsiteX415" fmla="*/ 77730 w 271676"/>
                  <a:gd name="connsiteY415" fmla="*/ 171521 h 445016"/>
                  <a:gd name="connsiteX416" fmla="*/ 76063 w 271676"/>
                  <a:gd name="connsiteY416" fmla="*/ 173188 h 445016"/>
                  <a:gd name="connsiteX417" fmla="*/ 75003 w 271676"/>
                  <a:gd name="connsiteY417" fmla="*/ 176825 h 445016"/>
                  <a:gd name="connsiteX418" fmla="*/ 73488 w 271676"/>
                  <a:gd name="connsiteY418" fmla="*/ 179552 h 445016"/>
                  <a:gd name="connsiteX419" fmla="*/ 72124 w 271676"/>
                  <a:gd name="connsiteY419" fmla="*/ 183340 h 445016"/>
                  <a:gd name="connsiteX420" fmla="*/ 71518 w 271676"/>
                  <a:gd name="connsiteY420" fmla="*/ 187886 h 445016"/>
                  <a:gd name="connsiteX421" fmla="*/ 70003 w 271676"/>
                  <a:gd name="connsiteY421" fmla="*/ 190916 h 445016"/>
                  <a:gd name="connsiteX422" fmla="*/ 69700 w 271676"/>
                  <a:gd name="connsiteY422" fmla="*/ 200310 h 445016"/>
                  <a:gd name="connsiteX423" fmla="*/ 70306 w 271676"/>
                  <a:gd name="connsiteY423" fmla="*/ 200916 h 445016"/>
                  <a:gd name="connsiteX424" fmla="*/ 71063 w 271676"/>
                  <a:gd name="connsiteY424" fmla="*/ 201068 h 445016"/>
                  <a:gd name="connsiteX425" fmla="*/ 72881 w 271676"/>
                  <a:gd name="connsiteY425" fmla="*/ 200462 h 445016"/>
                  <a:gd name="connsiteX426" fmla="*/ 72881 w 271676"/>
                  <a:gd name="connsiteY426" fmla="*/ 200613 h 445016"/>
                  <a:gd name="connsiteX427" fmla="*/ 70154 w 271676"/>
                  <a:gd name="connsiteY427" fmla="*/ 203795 h 445016"/>
                  <a:gd name="connsiteX428" fmla="*/ 68942 w 271676"/>
                  <a:gd name="connsiteY428" fmla="*/ 205614 h 445016"/>
                  <a:gd name="connsiteX429" fmla="*/ 68033 w 271676"/>
                  <a:gd name="connsiteY429" fmla="*/ 207583 h 445016"/>
                  <a:gd name="connsiteX430" fmla="*/ 66063 w 271676"/>
                  <a:gd name="connsiteY430" fmla="*/ 214553 h 445016"/>
                  <a:gd name="connsiteX431" fmla="*/ 65608 w 271676"/>
                  <a:gd name="connsiteY431" fmla="*/ 216372 h 445016"/>
                  <a:gd name="connsiteX432" fmla="*/ 65608 w 271676"/>
                  <a:gd name="connsiteY432" fmla="*/ 217584 h 445016"/>
                  <a:gd name="connsiteX433" fmla="*/ 66669 w 271676"/>
                  <a:gd name="connsiteY433" fmla="*/ 218644 h 445016"/>
                  <a:gd name="connsiteX434" fmla="*/ 68942 w 271676"/>
                  <a:gd name="connsiteY434" fmla="*/ 218947 h 445016"/>
                  <a:gd name="connsiteX435" fmla="*/ 69700 w 271676"/>
                  <a:gd name="connsiteY435" fmla="*/ 218796 h 445016"/>
                  <a:gd name="connsiteX436" fmla="*/ 70457 w 271676"/>
                  <a:gd name="connsiteY436" fmla="*/ 218038 h 445016"/>
                  <a:gd name="connsiteX437" fmla="*/ 71366 w 271676"/>
                  <a:gd name="connsiteY437" fmla="*/ 216523 h 445016"/>
                  <a:gd name="connsiteX438" fmla="*/ 76063 w 271676"/>
                  <a:gd name="connsiteY438" fmla="*/ 201977 h 445016"/>
                  <a:gd name="connsiteX439" fmla="*/ 76367 w 271676"/>
                  <a:gd name="connsiteY439" fmla="*/ 199704 h 445016"/>
                  <a:gd name="connsiteX440" fmla="*/ 75154 w 271676"/>
                  <a:gd name="connsiteY440" fmla="*/ 194855 h 445016"/>
                  <a:gd name="connsiteX441" fmla="*/ 75154 w 271676"/>
                  <a:gd name="connsiteY441" fmla="*/ 193946 h 445016"/>
                  <a:gd name="connsiteX442" fmla="*/ 75458 w 271676"/>
                  <a:gd name="connsiteY442" fmla="*/ 193189 h 445016"/>
                  <a:gd name="connsiteX443" fmla="*/ 76215 w 271676"/>
                  <a:gd name="connsiteY443" fmla="*/ 192280 h 445016"/>
                  <a:gd name="connsiteX444" fmla="*/ 78942 w 271676"/>
                  <a:gd name="connsiteY444" fmla="*/ 189552 h 445016"/>
                  <a:gd name="connsiteX445" fmla="*/ 84397 w 271676"/>
                  <a:gd name="connsiteY445" fmla="*/ 185461 h 445016"/>
                  <a:gd name="connsiteX446" fmla="*/ 86822 w 271676"/>
                  <a:gd name="connsiteY446" fmla="*/ 184098 h 445016"/>
                  <a:gd name="connsiteX447" fmla="*/ 81973 w 271676"/>
                  <a:gd name="connsiteY447" fmla="*/ 188643 h 445016"/>
                  <a:gd name="connsiteX448" fmla="*/ 80760 w 271676"/>
                  <a:gd name="connsiteY448" fmla="*/ 190613 h 445016"/>
                  <a:gd name="connsiteX449" fmla="*/ 80155 w 271676"/>
                  <a:gd name="connsiteY449" fmla="*/ 193189 h 445016"/>
                  <a:gd name="connsiteX450" fmla="*/ 80155 w 271676"/>
                  <a:gd name="connsiteY450" fmla="*/ 195916 h 445016"/>
                  <a:gd name="connsiteX451" fmla="*/ 80609 w 271676"/>
                  <a:gd name="connsiteY451" fmla="*/ 197583 h 445016"/>
                  <a:gd name="connsiteX452" fmla="*/ 80912 w 271676"/>
                  <a:gd name="connsiteY452" fmla="*/ 197431 h 445016"/>
                  <a:gd name="connsiteX453" fmla="*/ 81367 w 271676"/>
                  <a:gd name="connsiteY453" fmla="*/ 195916 h 445016"/>
                  <a:gd name="connsiteX454" fmla="*/ 83034 w 271676"/>
                  <a:gd name="connsiteY454" fmla="*/ 195765 h 445016"/>
                  <a:gd name="connsiteX455" fmla="*/ 83639 w 271676"/>
                  <a:gd name="connsiteY455" fmla="*/ 195310 h 445016"/>
                  <a:gd name="connsiteX456" fmla="*/ 84246 w 271676"/>
                  <a:gd name="connsiteY456" fmla="*/ 193643 h 445016"/>
                  <a:gd name="connsiteX457" fmla="*/ 87579 w 271676"/>
                  <a:gd name="connsiteY457" fmla="*/ 192886 h 445016"/>
                  <a:gd name="connsiteX458" fmla="*/ 88791 w 271676"/>
                  <a:gd name="connsiteY458" fmla="*/ 192128 h 445016"/>
                  <a:gd name="connsiteX459" fmla="*/ 90761 w 271676"/>
                  <a:gd name="connsiteY459" fmla="*/ 188795 h 445016"/>
                  <a:gd name="connsiteX460" fmla="*/ 91822 w 271676"/>
                  <a:gd name="connsiteY460" fmla="*/ 187431 h 445016"/>
                  <a:gd name="connsiteX461" fmla="*/ 92276 w 271676"/>
                  <a:gd name="connsiteY461" fmla="*/ 187128 h 445016"/>
                  <a:gd name="connsiteX462" fmla="*/ 91215 w 271676"/>
                  <a:gd name="connsiteY462" fmla="*/ 190158 h 445016"/>
                  <a:gd name="connsiteX463" fmla="*/ 91064 w 271676"/>
                  <a:gd name="connsiteY463" fmla="*/ 191371 h 445016"/>
                  <a:gd name="connsiteX464" fmla="*/ 95761 w 271676"/>
                  <a:gd name="connsiteY464" fmla="*/ 194553 h 445016"/>
                  <a:gd name="connsiteX465" fmla="*/ 98186 w 271676"/>
                  <a:gd name="connsiteY465" fmla="*/ 195613 h 445016"/>
                  <a:gd name="connsiteX466" fmla="*/ 92124 w 271676"/>
                  <a:gd name="connsiteY466" fmla="*/ 195613 h 445016"/>
                  <a:gd name="connsiteX467" fmla="*/ 91670 w 271676"/>
                  <a:gd name="connsiteY467" fmla="*/ 196068 h 445016"/>
                  <a:gd name="connsiteX468" fmla="*/ 90458 w 271676"/>
                  <a:gd name="connsiteY468" fmla="*/ 198189 h 445016"/>
                  <a:gd name="connsiteX469" fmla="*/ 90003 w 271676"/>
                  <a:gd name="connsiteY469" fmla="*/ 201826 h 445016"/>
                  <a:gd name="connsiteX470" fmla="*/ 90003 w 271676"/>
                  <a:gd name="connsiteY470" fmla="*/ 205007 h 445016"/>
                  <a:gd name="connsiteX471" fmla="*/ 94549 w 271676"/>
                  <a:gd name="connsiteY471" fmla="*/ 208947 h 445016"/>
                  <a:gd name="connsiteX472" fmla="*/ 95610 w 271676"/>
                  <a:gd name="connsiteY472" fmla="*/ 210614 h 445016"/>
                  <a:gd name="connsiteX473" fmla="*/ 95761 w 271676"/>
                  <a:gd name="connsiteY473" fmla="*/ 212583 h 445016"/>
                  <a:gd name="connsiteX474" fmla="*/ 94549 w 271676"/>
                  <a:gd name="connsiteY474" fmla="*/ 215614 h 445016"/>
                  <a:gd name="connsiteX475" fmla="*/ 92882 w 271676"/>
                  <a:gd name="connsiteY475" fmla="*/ 218038 h 445016"/>
                  <a:gd name="connsiteX476" fmla="*/ 87882 w 271676"/>
                  <a:gd name="connsiteY476" fmla="*/ 226069 h 445016"/>
                  <a:gd name="connsiteX477" fmla="*/ 85458 w 271676"/>
                  <a:gd name="connsiteY477" fmla="*/ 232281 h 445016"/>
                  <a:gd name="connsiteX478" fmla="*/ 83791 w 271676"/>
                  <a:gd name="connsiteY478" fmla="*/ 231372 h 445016"/>
                  <a:gd name="connsiteX479" fmla="*/ 82276 w 271676"/>
                  <a:gd name="connsiteY479" fmla="*/ 232433 h 445016"/>
                  <a:gd name="connsiteX480" fmla="*/ 82276 w 271676"/>
                  <a:gd name="connsiteY480" fmla="*/ 235008 h 445016"/>
                  <a:gd name="connsiteX481" fmla="*/ 83185 w 271676"/>
                  <a:gd name="connsiteY481" fmla="*/ 237281 h 445016"/>
                  <a:gd name="connsiteX482" fmla="*/ 86064 w 271676"/>
                  <a:gd name="connsiteY482" fmla="*/ 240918 h 445016"/>
                  <a:gd name="connsiteX483" fmla="*/ 89397 w 271676"/>
                  <a:gd name="connsiteY483" fmla="*/ 243645 h 445016"/>
                  <a:gd name="connsiteX484" fmla="*/ 90003 w 271676"/>
                  <a:gd name="connsiteY484" fmla="*/ 240463 h 445016"/>
                  <a:gd name="connsiteX485" fmla="*/ 91064 w 271676"/>
                  <a:gd name="connsiteY485" fmla="*/ 238494 h 445016"/>
                  <a:gd name="connsiteX486" fmla="*/ 91973 w 271676"/>
                  <a:gd name="connsiteY486" fmla="*/ 237736 h 445016"/>
                  <a:gd name="connsiteX487" fmla="*/ 96670 w 271676"/>
                  <a:gd name="connsiteY487" fmla="*/ 239857 h 445016"/>
                  <a:gd name="connsiteX488" fmla="*/ 100155 w 271676"/>
                  <a:gd name="connsiteY488" fmla="*/ 241069 h 445016"/>
                  <a:gd name="connsiteX489" fmla="*/ 103034 w 271676"/>
                  <a:gd name="connsiteY489" fmla="*/ 240009 h 445016"/>
                  <a:gd name="connsiteX490" fmla="*/ 105913 w 271676"/>
                  <a:gd name="connsiteY490" fmla="*/ 238190 h 445016"/>
                  <a:gd name="connsiteX491" fmla="*/ 107277 w 271676"/>
                  <a:gd name="connsiteY491" fmla="*/ 237736 h 445016"/>
                  <a:gd name="connsiteX492" fmla="*/ 108489 w 271676"/>
                  <a:gd name="connsiteY492" fmla="*/ 238039 h 445016"/>
                  <a:gd name="connsiteX493" fmla="*/ 109398 w 271676"/>
                  <a:gd name="connsiteY493" fmla="*/ 239403 h 445016"/>
                  <a:gd name="connsiteX494" fmla="*/ 110459 w 271676"/>
                  <a:gd name="connsiteY494" fmla="*/ 240160 h 445016"/>
                  <a:gd name="connsiteX495" fmla="*/ 111974 w 271676"/>
                  <a:gd name="connsiteY495" fmla="*/ 239857 h 445016"/>
                  <a:gd name="connsiteX496" fmla="*/ 115156 w 271676"/>
                  <a:gd name="connsiteY496" fmla="*/ 240160 h 445016"/>
                  <a:gd name="connsiteX497" fmla="*/ 116822 w 271676"/>
                  <a:gd name="connsiteY497" fmla="*/ 239251 h 445016"/>
                  <a:gd name="connsiteX498" fmla="*/ 118338 w 271676"/>
                  <a:gd name="connsiteY498" fmla="*/ 237887 h 445016"/>
                  <a:gd name="connsiteX499" fmla="*/ 120005 w 271676"/>
                  <a:gd name="connsiteY499" fmla="*/ 236827 h 445016"/>
                  <a:gd name="connsiteX500" fmla="*/ 121823 w 271676"/>
                  <a:gd name="connsiteY500" fmla="*/ 236524 h 445016"/>
                  <a:gd name="connsiteX501" fmla="*/ 123489 w 271676"/>
                  <a:gd name="connsiteY501" fmla="*/ 235918 h 445016"/>
                  <a:gd name="connsiteX502" fmla="*/ 126368 w 271676"/>
                  <a:gd name="connsiteY502" fmla="*/ 233796 h 445016"/>
                  <a:gd name="connsiteX503" fmla="*/ 129550 w 271676"/>
                  <a:gd name="connsiteY503" fmla="*/ 233190 h 445016"/>
                  <a:gd name="connsiteX504" fmla="*/ 139248 w 271676"/>
                  <a:gd name="connsiteY504" fmla="*/ 233190 h 445016"/>
                  <a:gd name="connsiteX505" fmla="*/ 140460 w 271676"/>
                  <a:gd name="connsiteY505" fmla="*/ 233493 h 445016"/>
                  <a:gd name="connsiteX506" fmla="*/ 134096 w 271676"/>
                  <a:gd name="connsiteY506" fmla="*/ 235312 h 445016"/>
                  <a:gd name="connsiteX507" fmla="*/ 128641 w 271676"/>
                  <a:gd name="connsiteY507" fmla="*/ 240312 h 445016"/>
                  <a:gd name="connsiteX508" fmla="*/ 125156 w 271676"/>
                  <a:gd name="connsiteY508" fmla="*/ 248191 h 445016"/>
                  <a:gd name="connsiteX509" fmla="*/ 125762 w 271676"/>
                  <a:gd name="connsiteY509" fmla="*/ 251827 h 445016"/>
                  <a:gd name="connsiteX510" fmla="*/ 130156 w 271676"/>
                  <a:gd name="connsiteY510" fmla="*/ 257888 h 445016"/>
                  <a:gd name="connsiteX511" fmla="*/ 132581 w 271676"/>
                  <a:gd name="connsiteY511" fmla="*/ 260767 h 445016"/>
                  <a:gd name="connsiteX512" fmla="*/ 136823 w 271676"/>
                  <a:gd name="connsiteY512" fmla="*/ 264555 h 445016"/>
                  <a:gd name="connsiteX513" fmla="*/ 138339 w 271676"/>
                  <a:gd name="connsiteY513" fmla="*/ 264555 h 445016"/>
                  <a:gd name="connsiteX514" fmla="*/ 139854 w 271676"/>
                  <a:gd name="connsiteY514" fmla="*/ 263494 h 445016"/>
                  <a:gd name="connsiteX515" fmla="*/ 141520 w 271676"/>
                  <a:gd name="connsiteY515" fmla="*/ 262888 h 445016"/>
                  <a:gd name="connsiteX516" fmla="*/ 145005 w 271676"/>
                  <a:gd name="connsiteY516" fmla="*/ 262585 h 445016"/>
                  <a:gd name="connsiteX517" fmla="*/ 145611 w 271676"/>
                  <a:gd name="connsiteY517" fmla="*/ 264101 h 445016"/>
                  <a:gd name="connsiteX518" fmla="*/ 145157 w 271676"/>
                  <a:gd name="connsiteY518" fmla="*/ 267585 h 445016"/>
                  <a:gd name="connsiteX519" fmla="*/ 144096 w 271676"/>
                  <a:gd name="connsiteY519" fmla="*/ 270767 h 445016"/>
                  <a:gd name="connsiteX520" fmla="*/ 140611 w 271676"/>
                  <a:gd name="connsiteY520" fmla="*/ 272889 h 445016"/>
                  <a:gd name="connsiteX521" fmla="*/ 140157 w 271676"/>
                  <a:gd name="connsiteY521" fmla="*/ 275162 h 445016"/>
                  <a:gd name="connsiteX522" fmla="*/ 140460 w 271676"/>
                  <a:gd name="connsiteY522" fmla="*/ 277737 h 445016"/>
                  <a:gd name="connsiteX523" fmla="*/ 141823 w 271676"/>
                  <a:gd name="connsiteY523" fmla="*/ 278798 h 445016"/>
                  <a:gd name="connsiteX524" fmla="*/ 143490 w 271676"/>
                  <a:gd name="connsiteY524" fmla="*/ 279253 h 445016"/>
                  <a:gd name="connsiteX525" fmla="*/ 141520 w 271676"/>
                  <a:gd name="connsiteY525" fmla="*/ 281828 h 445016"/>
                  <a:gd name="connsiteX526" fmla="*/ 139702 w 271676"/>
                  <a:gd name="connsiteY526" fmla="*/ 284707 h 445016"/>
                  <a:gd name="connsiteX527" fmla="*/ 139551 w 271676"/>
                  <a:gd name="connsiteY527" fmla="*/ 287435 h 445016"/>
                  <a:gd name="connsiteX528" fmla="*/ 142127 w 271676"/>
                  <a:gd name="connsiteY528" fmla="*/ 291980 h 445016"/>
                  <a:gd name="connsiteX529" fmla="*/ 143642 w 271676"/>
                  <a:gd name="connsiteY529" fmla="*/ 293495 h 445016"/>
                  <a:gd name="connsiteX530" fmla="*/ 145460 w 271676"/>
                  <a:gd name="connsiteY530" fmla="*/ 294102 h 445016"/>
                  <a:gd name="connsiteX531" fmla="*/ 146824 w 271676"/>
                  <a:gd name="connsiteY531" fmla="*/ 294102 h 445016"/>
                  <a:gd name="connsiteX532" fmla="*/ 148036 w 271676"/>
                  <a:gd name="connsiteY532" fmla="*/ 294859 h 445016"/>
                  <a:gd name="connsiteX533" fmla="*/ 144854 w 271676"/>
                  <a:gd name="connsiteY533" fmla="*/ 295465 h 445016"/>
                  <a:gd name="connsiteX534" fmla="*/ 143339 w 271676"/>
                  <a:gd name="connsiteY534" fmla="*/ 295011 h 445016"/>
                  <a:gd name="connsiteX535" fmla="*/ 139399 w 271676"/>
                  <a:gd name="connsiteY535" fmla="*/ 290465 h 445016"/>
                  <a:gd name="connsiteX536" fmla="*/ 136672 w 271676"/>
                  <a:gd name="connsiteY536" fmla="*/ 291677 h 445016"/>
                  <a:gd name="connsiteX537" fmla="*/ 138490 w 271676"/>
                  <a:gd name="connsiteY537" fmla="*/ 296677 h 445016"/>
                  <a:gd name="connsiteX538" fmla="*/ 132278 w 271676"/>
                  <a:gd name="connsiteY538" fmla="*/ 293495 h 445016"/>
                  <a:gd name="connsiteX539" fmla="*/ 129550 w 271676"/>
                  <a:gd name="connsiteY539" fmla="*/ 293799 h 445016"/>
                  <a:gd name="connsiteX540" fmla="*/ 126823 w 271676"/>
                  <a:gd name="connsiteY540" fmla="*/ 294859 h 445016"/>
                  <a:gd name="connsiteX541" fmla="*/ 123641 w 271676"/>
                  <a:gd name="connsiteY541" fmla="*/ 295314 h 445016"/>
                  <a:gd name="connsiteX542" fmla="*/ 120459 w 271676"/>
                  <a:gd name="connsiteY542" fmla="*/ 295011 h 445016"/>
                  <a:gd name="connsiteX543" fmla="*/ 119247 w 271676"/>
                  <a:gd name="connsiteY543" fmla="*/ 295162 h 445016"/>
                  <a:gd name="connsiteX544" fmla="*/ 111065 w 271676"/>
                  <a:gd name="connsiteY544" fmla="*/ 298344 h 445016"/>
                  <a:gd name="connsiteX545" fmla="*/ 106822 w 271676"/>
                  <a:gd name="connsiteY545" fmla="*/ 301072 h 445016"/>
                  <a:gd name="connsiteX546" fmla="*/ 105155 w 271676"/>
                  <a:gd name="connsiteY546" fmla="*/ 302587 h 445016"/>
                  <a:gd name="connsiteX547" fmla="*/ 104246 w 271676"/>
                  <a:gd name="connsiteY547" fmla="*/ 304405 h 445016"/>
                  <a:gd name="connsiteX548" fmla="*/ 103034 w 271676"/>
                  <a:gd name="connsiteY548" fmla="*/ 305920 h 445016"/>
                  <a:gd name="connsiteX549" fmla="*/ 99700 w 271676"/>
                  <a:gd name="connsiteY549" fmla="*/ 308041 h 445016"/>
                  <a:gd name="connsiteX550" fmla="*/ 96670 w 271676"/>
                  <a:gd name="connsiteY550" fmla="*/ 310466 h 445016"/>
                  <a:gd name="connsiteX551" fmla="*/ 95458 w 271676"/>
                  <a:gd name="connsiteY551" fmla="*/ 312133 h 445016"/>
                  <a:gd name="connsiteX552" fmla="*/ 95458 w 271676"/>
                  <a:gd name="connsiteY552" fmla="*/ 313496 h 445016"/>
                  <a:gd name="connsiteX553" fmla="*/ 98186 w 271676"/>
                  <a:gd name="connsiteY553" fmla="*/ 313193 h 445016"/>
                  <a:gd name="connsiteX554" fmla="*/ 101216 w 271676"/>
                  <a:gd name="connsiteY554" fmla="*/ 311375 h 445016"/>
                  <a:gd name="connsiteX555" fmla="*/ 104398 w 271676"/>
                  <a:gd name="connsiteY555" fmla="*/ 310011 h 445016"/>
                  <a:gd name="connsiteX556" fmla="*/ 107883 w 271676"/>
                  <a:gd name="connsiteY556" fmla="*/ 309405 h 445016"/>
                  <a:gd name="connsiteX557" fmla="*/ 111368 w 271676"/>
                  <a:gd name="connsiteY557" fmla="*/ 309254 h 445016"/>
                  <a:gd name="connsiteX558" fmla="*/ 111065 w 271676"/>
                  <a:gd name="connsiteY558" fmla="*/ 311072 h 445016"/>
                  <a:gd name="connsiteX559" fmla="*/ 110913 w 271676"/>
                  <a:gd name="connsiteY559" fmla="*/ 312739 h 445016"/>
                  <a:gd name="connsiteX560" fmla="*/ 112277 w 271676"/>
                  <a:gd name="connsiteY560" fmla="*/ 314860 h 445016"/>
                  <a:gd name="connsiteX561" fmla="*/ 113034 w 271676"/>
                  <a:gd name="connsiteY561" fmla="*/ 316981 h 445016"/>
                  <a:gd name="connsiteX562" fmla="*/ 112125 w 271676"/>
                  <a:gd name="connsiteY562" fmla="*/ 318648 h 445016"/>
                  <a:gd name="connsiteX563" fmla="*/ 111974 w 271676"/>
                  <a:gd name="connsiteY563" fmla="*/ 320466 h 445016"/>
                  <a:gd name="connsiteX564" fmla="*/ 112731 w 271676"/>
                  <a:gd name="connsiteY564" fmla="*/ 322284 h 445016"/>
                  <a:gd name="connsiteX565" fmla="*/ 114550 w 271676"/>
                  <a:gd name="connsiteY565" fmla="*/ 322891 h 445016"/>
                  <a:gd name="connsiteX566" fmla="*/ 112580 w 271676"/>
                  <a:gd name="connsiteY566" fmla="*/ 325315 h 445016"/>
                  <a:gd name="connsiteX567" fmla="*/ 111216 w 271676"/>
                  <a:gd name="connsiteY567" fmla="*/ 328345 h 445016"/>
                  <a:gd name="connsiteX568" fmla="*/ 109853 w 271676"/>
                  <a:gd name="connsiteY568" fmla="*/ 330770 h 445016"/>
                  <a:gd name="connsiteX569" fmla="*/ 108034 w 271676"/>
                  <a:gd name="connsiteY569" fmla="*/ 332588 h 445016"/>
                  <a:gd name="connsiteX570" fmla="*/ 103488 w 271676"/>
                  <a:gd name="connsiteY570" fmla="*/ 335467 h 445016"/>
                  <a:gd name="connsiteX571" fmla="*/ 98640 w 271676"/>
                  <a:gd name="connsiteY571" fmla="*/ 337134 h 445016"/>
                  <a:gd name="connsiteX572" fmla="*/ 90003 w 271676"/>
                  <a:gd name="connsiteY572" fmla="*/ 341073 h 445016"/>
                  <a:gd name="connsiteX573" fmla="*/ 84246 w 271676"/>
                  <a:gd name="connsiteY573" fmla="*/ 342740 h 445016"/>
                  <a:gd name="connsiteX574" fmla="*/ 81670 w 271676"/>
                  <a:gd name="connsiteY574" fmla="*/ 344406 h 445016"/>
                  <a:gd name="connsiteX575" fmla="*/ 79548 w 271676"/>
                  <a:gd name="connsiteY575" fmla="*/ 346982 h 445016"/>
                  <a:gd name="connsiteX576" fmla="*/ 81215 w 271676"/>
                  <a:gd name="connsiteY576" fmla="*/ 347740 h 445016"/>
                  <a:gd name="connsiteX577" fmla="*/ 82124 w 271676"/>
                  <a:gd name="connsiteY577" fmla="*/ 349710 h 445016"/>
                  <a:gd name="connsiteX578" fmla="*/ 82124 w 271676"/>
                  <a:gd name="connsiteY578" fmla="*/ 352134 h 445016"/>
                  <a:gd name="connsiteX579" fmla="*/ 83336 w 271676"/>
                  <a:gd name="connsiteY579" fmla="*/ 353346 h 445016"/>
                  <a:gd name="connsiteX580" fmla="*/ 89397 w 271676"/>
                  <a:gd name="connsiteY580" fmla="*/ 356225 h 445016"/>
                  <a:gd name="connsiteX581" fmla="*/ 94398 w 271676"/>
                  <a:gd name="connsiteY581" fmla="*/ 354104 h 445016"/>
                  <a:gd name="connsiteX582" fmla="*/ 97579 w 271676"/>
                  <a:gd name="connsiteY582" fmla="*/ 352134 h 445016"/>
                  <a:gd name="connsiteX583" fmla="*/ 99549 w 271676"/>
                  <a:gd name="connsiteY583" fmla="*/ 351679 h 445016"/>
                  <a:gd name="connsiteX584" fmla="*/ 103488 w 271676"/>
                  <a:gd name="connsiteY584" fmla="*/ 351982 h 445016"/>
                  <a:gd name="connsiteX585" fmla="*/ 105155 w 271676"/>
                  <a:gd name="connsiteY585" fmla="*/ 353498 h 445016"/>
                  <a:gd name="connsiteX586" fmla="*/ 106519 w 271676"/>
                  <a:gd name="connsiteY586" fmla="*/ 354104 h 445016"/>
                  <a:gd name="connsiteX587" fmla="*/ 111519 w 271676"/>
                  <a:gd name="connsiteY587" fmla="*/ 354861 h 445016"/>
                  <a:gd name="connsiteX588" fmla="*/ 109246 w 271676"/>
                  <a:gd name="connsiteY588" fmla="*/ 356074 h 445016"/>
                  <a:gd name="connsiteX589" fmla="*/ 107580 w 271676"/>
                  <a:gd name="connsiteY589" fmla="*/ 358195 h 445016"/>
                  <a:gd name="connsiteX590" fmla="*/ 110913 w 271676"/>
                  <a:gd name="connsiteY590" fmla="*/ 358346 h 445016"/>
                  <a:gd name="connsiteX591" fmla="*/ 114095 w 271676"/>
                  <a:gd name="connsiteY591" fmla="*/ 357740 h 445016"/>
                  <a:gd name="connsiteX592" fmla="*/ 115610 w 271676"/>
                  <a:gd name="connsiteY592" fmla="*/ 357134 h 445016"/>
                  <a:gd name="connsiteX593" fmla="*/ 117126 w 271676"/>
                  <a:gd name="connsiteY593" fmla="*/ 357286 h 445016"/>
                  <a:gd name="connsiteX594" fmla="*/ 120610 w 271676"/>
                  <a:gd name="connsiteY594" fmla="*/ 359104 h 445016"/>
                  <a:gd name="connsiteX595" fmla="*/ 126065 w 271676"/>
                  <a:gd name="connsiteY595" fmla="*/ 363650 h 445016"/>
                  <a:gd name="connsiteX596" fmla="*/ 133490 w 271676"/>
                  <a:gd name="connsiteY596" fmla="*/ 364559 h 445016"/>
                  <a:gd name="connsiteX597" fmla="*/ 134399 w 271676"/>
                  <a:gd name="connsiteY597" fmla="*/ 364256 h 445016"/>
                  <a:gd name="connsiteX598" fmla="*/ 139248 w 271676"/>
                  <a:gd name="connsiteY598" fmla="*/ 360771 h 445016"/>
                  <a:gd name="connsiteX599" fmla="*/ 141975 w 271676"/>
                  <a:gd name="connsiteY599" fmla="*/ 359256 h 445016"/>
                  <a:gd name="connsiteX600" fmla="*/ 148490 w 271676"/>
                  <a:gd name="connsiteY600" fmla="*/ 357740 h 445016"/>
                  <a:gd name="connsiteX601" fmla="*/ 150460 w 271676"/>
                  <a:gd name="connsiteY601" fmla="*/ 356225 h 445016"/>
                  <a:gd name="connsiteX602" fmla="*/ 153945 w 271676"/>
                  <a:gd name="connsiteY602" fmla="*/ 353649 h 445016"/>
                  <a:gd name="connsiteX603" fmla="*/ 156824 w 271676"/>
                  <a:gd name="connsiteY603" fmla="*/ 351982 h 445016"/>
                  <a:gd name="connsiteX604" fmla="*/ 152582 w 271676"/>
                  <a:gd name="connsiteY604" fmla="*/ 356831 h 445016"/>
                  <a:gd name="connsiteX605" fmla="*/ 150005 w 271676"/>
                  <a:gd name="connsiteY605" fmla="*/ 359407 h 445016"/>
                  <a:gd name="connsiteX606" fmla="*/ 147127 w 271676"/>
                  <a:gd name="connsiteY606" fmla="*/ 361680 h 445016"/>
                  <a:gd name="connsiteX607" fmla="*/ 144702 w 271676"/>
                  <a:gd name="connsiteY607" fmla="*/ 364256 h 445016"/>
                  <a:gd name="connsiteX608" fmla="*/ 140308 w 271676"/>
                  <a:gd name="connsiteY608" fmla="*/ 370013 h 445016"/>
                  <a:gd name="connsiteX609" fmla="*/ 137732 w 271676"/>
                  <a:gd name="connsiteY609" fmla="*/ 371529 h 445016"/>
                  <a:gd name="connsiteX610" fmla="*/ 134399 w 271676"/>
                  <a:gd name="connsiteY610" fmla="*/ 371983 h 445016"/>
                  <a:gd name="connsiteX611" fmla="*/ 131065 w 271676"/>
                  <a:gd name="connsiteY611" fmla="*/ 371832 h 445016"/>
                  <a:gd name="connsiteX612" fmla="*/ 124702 w 271676"/>
                  <a:gd name="connsiteY612" fmla="*/ 370620 h 445016"/>
                  <a:gd name="connsiteX613" fmla="*/ 118338 w 271676"/>
                  <a:gd name="connsiteY613" fmla="*/ 370468 h 445016"/>
                  <a:gd name="connsiteX614" fmla="*/ 109701 w 271676"/>
                  <a:gd name="connsiteY614" fmla="*/ 371529 h 445016"/>
                  <a:gd name="connsiteX615" fmla="*/ 108943 w 271676"/>
                  <a:gd name="connsiteY615" fmla="*/ 371983 h 445016"/>
                  <a:gd name="connsiteX616" fmla="*/ 105913 w 271676"/>
                  <a:gd name="connsiteY616" fmla="*/ 377893 h 445016"/>
                  <a:gd name="connsiteX617" fmla="*/ 99700 w 271676"/>
                  <a:gd name="connsiteY617" fmla="*/ 379711 h 445016"/>
                  <a:gd name="connsiteX618" fmla="*/ 99095 w 271676"/>
                  <a:gd name="connsiteY618" fmla="*/ 382438 h 445016"/>
                  <a:gd name="connsiteX619" fmla="*/ 98640 w 271676"/>
                  <a:gd name="connsiteY619" fmla="*/ 385317 h 445016"/>
                  <a:gd name="connsiteX620" fmla="*/ 98034 w 271676"/>
                  <a:gd name="connsiteY620" fmla="*/ 386984 h 445016"/>
                  <a:gd name="connsiteX621" fmla="*/ 90458 w 271676"/>
                  <a:gd name="connsiteY621" fmla="*/ 393954 h 445016"/>
                  <a:gd name="connsiteX622" fmla="*/ 89549 w 271676"/>
                  <a:gd name="connsiteY622" fmla="*/ 395620 h 445016"/>
                  <a:gd name="connsiteX623" fmla="*/ 87882 w 271676"/>
                  <a:gd name="connsiteY623" fmla="*/ 396075 h 445016"/>
                  <a:gd name="connsiteX624" fmla="*/ 86518 w 271676"/>
                  <a:gd name="connsiteY624" fmla="*/ 397136 h 445016"/>
                  <a:gd name="connsiteX625" fmla="*/ 85458 w 271676"/>
                  <a:gd name="connsiteY625" fmla="*/ 398651 h 445016"/>
                  <a:gd name="connsiteX626" fmla="*/ 82730 w 271676"/>
                  <a:gd name="connsiteY626" fmla="*/ 401378 h 445016"/>
                  <a:gd name="connsiteX627" fmla="*/ 77276 w 271676"/>
                  <a:gd name="connsiteY627" fmla="*/ 405924 h 445016"/>
                  <a:gd name="connsiteX628" fmla="*/ 71063 w 271676"/>
                  <a:gd name="connsiteY628" fmla="*/ 407742 h 445016"/>
                  <a:gd name="connsiteX629" fmla="*/ 68791 w 271676"/>
                  <a:gd name="connsiteY629" fmla="*/ 410015 h 445016"/>
                  <a:gd name="connsiteX630" fmla="*/ 68791 w 271676"/>
                  <a:gd name="connsiteY630" fmla="*/ 411985 h 445016"/>
                  <a:gd name="connsiteX631" fmla="*/ 69700 w 271676"/>
                  <a:gd name="connsiteY631" fmla="*/ 412894 h 445016"/>
                  <a:gd name="connsiteX632" fmla="*/ 71669 w 271676"/>
                  <a:gd name="connsiteY632" fmla="*/ 411682 h 445016"/>
                  <a:gd name="connsiteX633" fmla="*/ 74851 w 271676"/>
                  <a:gd name="connsiteY633" fmla="*/ 410924 h 445016"/>
                  <a:gd name="connsiteX634" fmla="*/ 77882 w 271676"/>
                  <a:gd name="connsiteY634" fmla="*/ 411682 h 445016"/>
                  <a:gd name="connsiteX635" fmla="*/ 80609 w 271676"/>
                  <a:gd name="connsiteY635" fmla="*/ 413955 h 445016"/>
                  <a:gd name="connsiteX636" fmla="*/ 83488 w 271676"/>
                  <a:gd name="connsiteY636" fmla="*/ 413348 h 445016"/>
                  <a:gd name="connsiteX637" fmla="*/ 85458 w 271676"/>
                  <a:gd name="connsiteY637" fmla="*/ 409863 h 445016"/>
                  <a:gd name="connsiteX638" fmla="*/ 86518 w 271676"/>
                  <a:gd name="connsiteY638" fmla="*/ 408954 h 445016"/>
                  <a:gd name="connsiteX639" fmla="*/ 91822 w 271676"/>
                  <a:gd name="connsiteY639" fmla="*/ 405621 h 445016"/>
                  <a:gd name="connsiteX640" fmla="*/ 94246 w 271676"/>
                  <a:gd name="connsiteY640" fmla="*/ 404409 h 445016"/>
                  <a:gd name="connsiteX641" fmla="*/ 100307 w 271676"/>
                  <a:gd name="connsiteY641" fmla="*/ 402590 h 445016"/>
                  <a:gd name="connsiteX642" fmla="*/ 103792 w 271676"/>
                  <a:gd name="connsiteY642" fmla="*/ 401984 h 445016"/>
                  <a:gd name="connsiteX643" fmla="*/ 106065 w 271676"/>
                  <a:gd name="connsiteY643" fmla="*/ 401984 h 445016"/>
                  <a:gd name="connsiteX644" fmla="*/ 108186 w 271676"/>
                  <a:gd name="connsiteY644" fmla="*/ 401227 h 445016"/>
                  <a:gd name="connsiteX645" fmla="*/ 108792 w 271676"/>
                  <a:gd name="connsiteY645" fmla="*/ 400621 h 445016"/>
                  <a:gd name="connsiteX646" fmla="*/ 109398 w 271676"/>
                  <a:gd name="connsiteY646" fmla="*/ 400772 h 445016"/>
                  <a:gd name="connsiteX647" fmla="*/ 111216 w 271676"/>
                  <a:gd name="connsiteY647" fmla="*/ 402287 h 445016"/>
                  <a:gd name="connsiteX648" fmla="*/ 116822 w 271676"/>
                  <a:gd name="connsiteY648" fmla="*/ 404560 h 445016"/>
                  <a:gd name="connsiteX649" fmla="*/ 119701 w 271676"/>
                  <a:gd name="connsiteY649" fmla="*/ 406530 h 445016"/>
                  <a:gd name="connsiteX650" fmla="*/ 122883 w 271676"/>
                  <a:gd name="connsiteY650" fmla="*/ 406075 h 445016"/>
                  <a:gd name="connsiteX651" fmla="*/ 125459 w 271676"/>
                  <a:gd name="connsiteY651" fmla="*/ 403196 h 445016"/>
                  <a:gd name="connsiteX652" fmla="*/ 127126 w 271676"/>
                  <a:gd name="connsiteY652" fmla="*/ 399408 h 445016"/>
                  <a:gd name="connsiteX653" fmla="*/ 128186 w 271676"/>
                  <a:gd name="connsiteY653" fmla="*/ 395166 h 445016"/>
                  <a:gd name="connsiteX654" fmla="*/ 130459 w 271676"/>
                  <a:gd name="connsiteY654" fmla="*/ 392135 h 445016"/>
                  <a:gd name="connsiteX655" fmla="*/ 141520 w 271676"/>
                  <a:gd name="connsiteY655" fmla="*/ 389105 h 445016"/>
                  <a:gd name="connsiteX656" fmla="*/ 144248 w 271676"/>
                  <a:gd name="connsiteY656" fmla="*/ 388954 h 445016"/>
                  <a:gd name="connsiteX657" fmla="*/ 147581 w 271676"/>
                  <a:gd name="connsiteY657" fmla="*/ 389560 h 445016"/>
                  <a:gd name="connsiteX658" fmla="*/ 150763 w 271676"/>
                  <a:gd name="connsiteY658" fmla="*/ 390923 h 445016"/>
                  <a:gd name="connsiteX659" fmla="*/ 153793 w 271676"/>
                  <a:gd name="connsiteY659" fmla="*/ 392893 h 445016"/>
                  <a:gd name="connsiteX660" fmla="*/ 156975 w 271676"/>
                  <a:gd name="connsiteY660" fmla="*/ 393499 h 445016"/>
                  <a:gd name="connsiteX661" fmla="*/ 158036 w 271676"/>
                  <a:gd name="connsiteY661" fmla="*/ 392287 h 445016"/>
                  <a:gd name="connsiteX662" fmla="*/ 159248 w 271676"/>
                  <a:gd name="connsiteY662" fmla="*/ 391984 h 445016"/>
                  <a:gd name="connsiteX663" fmla="*/ 167885 w 271676"/>
                  <a:gd name="connsiteY663" fmla="*/ 393196 h 445016"/>
                  <a:gd name="connsiteX664" fmla="*/ 168946 w 271676"/>
                  <a:gd name="connsiteY664" fmla="*/ 393045 h 445016"/>
                  <a:gd name="connsiteX665" fmla="*/ 169855 w 271676"/>
                  <a:gd name="connsiteY665" fmla="*/ 392287 h 445016"/>
                  <a:gd name="connsiteX666" fmla="*/ 168643 w 271676"/>
                  <a:gd name="connsiteY666" fmla="*/ 390620 h 445016"/>
                  <a:gd name="connsiteX667" fmla="*/ 168036 w 271676"/>
                  <a:gd name="connsiteY667" fmla="*/ 388802 h 445016"/>
                  <a:gd name="connsiteX668" fmla="*/ 172582 w 271676"/>
                  <a:gd name="connsiteY668" fmla="*/ 389105 h 445016"/>
                  <a:gd name="connsiteX669" fmla="*/ 177431 w 271676"/>
                  <a:gd name="connsiteY669" fmla="*/ 388347 h 445016"/>
                  <a:gd name="connsiteX670" fmla="*/ 179855 w 271676"/>
                  <a:gd name="connsiteY670" fmla="*/ 388499 h 445016"/>
                  <a:gd name="connsiteX671" fmla="*/ 182128 w 271676"/>
                  <a:gd name="connsiteY671" fmla="*/ 388044 h 445016"/>
                  <a:gd name="connsiteX672" fmla="*/ 187128 w 271676"/>
                  <a:gd name="connsiteY672" fmla="*/ 385469 h 445016"/>
                  <a:gd name="connsiteX673" fmla="*/ 184856 w 271676"/>
                  <a:gd name="connsiteY673" fmla="*/ 382741 h 445016"/>
                  <a:gd name="connsiteX674" fmla="*/ 188492 w 271676"/>
                  <a:gd name="connsiteY674" fmla="*/ 384105 h 445016"/>
                  <a:gd name="connsiteX675" fmla="*/ 192583 w 271676"/>
                  <a:gd name="connsiteY675" fmla="*/ 384559 h 445016"/>
                  <a:gd name="connsiteX676" fmla="*/ 196220 w 271676"/>
                  <a:gd name="connsiteY676" fmla="*/ 385620 h 445016"/>
                  <a:gd name="connsiteX677" fmla="*/ 199704 w 271676"/>
                  <a:gd name="connsiteY677" fmla="*/ 387135 h 445016"/>
                  <a:gd name="connsiteX678" fmla="*/ 202129 w 271676"/>
                  <a:gd name="connsiteY678" fmla="*/ 387438 h 445016"/>
                  <a:gd name="connsiteX679" fmla="*/ 211220 w 271676"/>
                  <a:gd name="connsiteY679" fmla="*/ 385772 h 445016"/>
                  <a:gd name="connsiteX680" fmla="*/ 218039 w 271676"/>
                  <a:gd name="connsiteY680" fmla="*/ 385620 h 445016"/>
                  <a:gd name="connsiteX681" fmla="*/ 229251 w 271676"/>
                  <a:gd name="connsiteY681" fmla="*/ 387438 h 445016"/>
                  <a:gd name="connsiteX682" fmla="*/ 231827 w 271676"/>
                  <a:gd name="connsiteY682" fmla="*/ 386984 h 445016"/>
                  <a:gd name="connsiteX683" fmla="*/ 235009 w 271676"/>
                  <a:gd name="connsiteY683" fmla="*/ 385469 h 445016"/>
                  <a:gd name="connsiteX684" fmla="*/ 238191 w 271676"/>
                  <a:gd name="connsiteY684" fmla="*/ 384256 h 445016"/>
                  <a:gd name="connsiteX685" fmla="*/ 242282 w 271676"/>
                  <a:gd name="connsiteY685" fmla="*/ 383044 h 445016"/>
                  <a:gd name="connsiteX686" fmla="*/ 244706 w 271676"/>
                  <a:gd name="connsiteY686" fmla="*/ 381226 h 445016"/>
                  <a:gd name="connsiteX687" fmla="*/ 249858 w 271676"/>
                  <a:gd name="connsiteY687" fmla="*/ 381529 h 445016"/>
                  <a:gd name="connsiteX688" fmla="*/ 250312 w 271676"/>
                  <a:gd name="connsiteY688" fmla="*/ 379862 h 445016"/>
                  <a:gd name="connsiteX689" fmla="*/ 252131 w 271676"/>
                  <a:gd name="connsiteY689" fmla="*/ 377135 h 445016"/>
                  <a:gd name="connsiteX690" fmla="*/ 260919 w 271676"/>
                  <a:gd name="connsiteY690" fmla="*/ 373195 h 445016"/>
                  <a:gd name="connsiteX691" fmla="*/ 261828 w 271676"/>
                  <a:gd name="connsiteY691" fmla="*/ 372286 h 445016"/>
                  <a:gd name="connsiteX692" fmla="*/ 262282 w 271676"/>
                  <a:gd name="connsiteY692" fmla="*/ 367589 h 445016"/>
                  <a:gd name="connsiteX693" fmla="*/ 262282 w 271676"/>
                  <a:gd name="connsiteY693" fmla="*/ 365619 h 445016"/>
                  <a:gd name="connsiteX694" fmla="*/ 261222 w 271676"/>
                  <a:gd name="connsiteY694" fmla="*/ 365165 h 445016"/>
                  <a:gd name="connsiteX695" fmla="*/ 258040 w 271676"/>
                  <a:gd name="connsiteY695" fmla="*/ 365165 h 445016"/>
                  <a:gd name="connsiteX696" fmla="*/ 251373 w 271676"/>
                  <a:gd name="connsiteY696" fmla="*/ 365771 h 445016"/>
                  <a:gd name="connsiteX697" fmla="*/ 247888 w 271676"/>
                  <a:gd name="connsiteY697" fmla="*/ 365771 h 445016"/>
                  <a:gd name="connsiteX698" fmla="*/ 242282 w 271676"/>
                  <a:gd name="connsiteY698" fmla="*/ 364862 h 445016"/>
                  <a:gd name="connsiteX699" fmla="*/ 241221 w 271676"/>
                  <a:gd name="connsiteY699" fmla="*/ 364256 h 445016"/>
                  <a:gd name="connsiteX700" fmla="*/ 240009 w 271676"/>
                  <a:gd name="connsiteY700" fmla="*/ 361983 h 445016"/>
                  <a:gd name="connsiteX701" fmla="*/ 238039 w 271676"/>
                  <a:gd name="connsiteY701" fmla="*/ 361377 h 445016"/>
                  <a:gd name="connsiteX702" fmla="*/ 235160 w 271676"/>
                  <a:gd name="connsiteY702" fmla="*/ 362134 h 445016"/>
                  <a:gd name="connsiteX703" fmla="*/ 237433 w 271676"/>
                  <a:gd name="connsiteY703" fmla="*/ 360771 h 445016"/>
                  <a:gd name="connsiteX704" fmla="*/ 239857 w 271676"/>
                  <a:gd name="connsiteY704" fmla="*/ 360165 h 445016"/>
                  <a:gd name="connsiteX705" fmla="*/ 242736 w 271676"/>
                  <a:gd name="connsiteY705" fmla="*/ 360013 h 445016"/>
                  <a:gd name="connsiteX706" fmla="*/ 245464 w 271676"/>
                  <a:gd name="connsiteY706" fmla="*/ 359407 h 445016"/>
                  <a:gd name="connsiteX707" fmla="*/ 248039 w 271676"/>
                  <a:gd name="connsiteY707" fmla="*/ 358195 h 445016"/>
                  <a:gd name="connsiteX708" fmla="*/ 249100 w 271676"/>
                  <a:gd name="connsiteY708" fmla="*/ 355468 h 445016"/>
                  <a:gd name="connsiteX709" fmla="*/ 248343 w 271676"/>
                  <a:gd name="connsiteY709" fmla="*/ 353952 h 445016"/>
                  <a:gd name="connsiteX710" fmla="*/ 244403 w 271676"/>
                  <a:gd name="connsiteY710" fmla="*/ 352437 h 445016"/>
                  <a:gd name="connsiteX711" fmla="*/ 250009 w 271676"/>
                  <a:gd name="connsiteY711" fmla="*/ 349558 h 445016"/>
                  <a:gd name="connsiteX712" fmla="*/ 253949 w 271676"/>
                  <a:gd name="connsiteY712" fmla="*/ 350316 h 445016"/>
                  <a:gd name="connsiteX713" fmla="*/ 256373 w 271676"/>
                  <a:gd name="connsiteY713" fmla="*/ 349710 h 445016"/>
                  <a:gd name="connsiteX714" fmla="*/ 258797 w 271676"/>
                  <a:gd name="connsiteY714" fmla="*/ 348194 h 445016"/>
                  <a:gd name="connsiteX715" fmla="*/ 258797 w 271676"/>
                  <a:gd name="connsiteY715" fmla="*/ 346073 h 445016"/>
                  <a:gd name="connsiteX716" fmla="*/ 257585 w 271676"/>
                  <a:gd name="connsiteY716" fmla="*/ 344406 h 445016"/>
                  <a:gd name="connsiteX717" fmla="*/ 257737 w 271676"/>
                  <a:gd name="connsiteY717" fmla="*/ 343649 h 445016"/>
                  <a:gd name="connsiteX718" fmla="*/ 258949 w 271676"/>
                  <a:gd name="connsiteY718" fmla="*/ 343497 h 445016"/>
                  <a:gd name="connsiteX719" fmla="*/ 260010 w 271676"/>
                  <a:gd name="connsiteY719" fmla="*/ 344103 h 445016"/>
                  <a:gd name="connsiteX720" fmla="*/ 262585 w 271676"/>
                  <a:gd name="connsiteY720" fmla="*/ 342740 h 445016"/>
                  <a:gd name="connsiteX721" fmla="*/ 266525 w 271676"/>
                  <a:gd name="connsiteY721" fmla="*/ 339406 h 445016"/>
                  <a:gd name="connsiteX722" fmla="*/ 267434 w 271676"/>
                  <a:gd name="connsiteY722" fmla="*/ 338194 h 445016"/>
                  <a:gd name="connsiteX723" fmla="*/ 268040 w 271676"/>
                  <a:gd name="connsiteY723" fmla="*/ 336679 h 445016"/>
                  <a:gd name="connsiteX724" fmla="*/ 268949 w 271676"/>
                  <a:gd name="connsiteY724" fmla="*/ 332436 h 445016"/>
                  <a:gd name="connsiteX725" fmla="*/ 270465 w 271676"/>
                  <a:gd name="connsiteY725" fmla="*/ 329103 h 445016"/>
                  <a:gd name="connsiteX726" fmla="*/ 271677 w 271676"/>
                  <a:gd name="connsiteY726" fmla="*/ 325466 h 445016"/>
                  <a:gd name="connsiteX727" fmla="*/ 270616 w 271676"/>
                  <a:gd name="connsiteY727" fmla="*/ 321981 h 445016"/>
                  <a:gd name="connsiteX728" fmla="*/ 70760 w 271676"/>
                  <a:gd name="connsiteY728" fmla="*/ 255161 h 445016"/>
                  <a:gd name="connsiteX729" fmla="*/ 68791 w 271676"/>
                  <a:gd name="connsiteY729" fmla="*/ 255161 h 445016"/>
                  <a:gd name="connsiteX730" fmla="*/ 68184 w 271676"/>
                  <a:gd name="connsiteY730" fmla="*/ 254858 h 445016"/>
                  <a:gd name="connsiteX731" fmla="*/ 68487 w 271676"/>
                  <a:gd name="connsiteY731" fmla="*/ 251221 h 445016"/>
                  <a:gd name="connsiteX732" fmla="*/ 67730 w 271676"/>
                  <a:gd name="connsiteY732" fmla="*/ 248494 h 445016"/>
                  <a:gd name="connsiteX733" fmla="*/ 69245 w 271676"/>
                  <a:gd name="connsiteY733" fmla="*/ 248948 h 445016"/>
                  <a:gd name="connsiteX734" fmla="*/ 70609 w 271676"/>
                  <a:gd name="connsiteY734" fmla="*/ 249858 h 445016"/>
                  <a:gd name="connsiteX735" fmla="*/ 71821 w 271676"/>
                  <a:gd name="connsiteY735" fmla="*/ 251827 h 445016"/>
                  <a:gd name="connsiteX736" fmla="*/ 73033 w 271676"/>
                  <a:gd name="connsiteY736" fmla="*/ 252585 h 445016"/>
                  <a:gd name="connsiteX737" fmla="*/ 73336 w 271676"/>
                  <a:gd name="connsiteY737" fmla="*/ 250312 h 445016"/>
                  <a:gd name="connsiteX738" fmla="*/ 72730 w 271676"/>
                  <a:gd name="connsiteY738" fmla="*/ 248342 h 445016"/>
                  <a:gd name="connsiteX739" fmla="*/ 71669 w 271676"/>
                  <a:gd name="connsiteY739" fmla="*/ 245918 h 445016"/>
                  <a:gd name="connsiteX740" fmla="*/ 70154 w 271676"/>
                  <a:gd name="connsiteY740" fmla="*/ 244251 h 445016"/>
                  <a:gd name="connsiteX741" fmla="*/ 65912 w 271676"/>
                  <a:gd name="connsiteY741" fmla="*/ 243948 h 445016"/>
                  <a:gd name="connsiteX742" fmla="*/ 64093 w 271676"/>
                  <a:gd name="connsiteY742" fmla="*/ 244403 h 445016"/>
                  <a:gd name="connsiteX743" fmla="*/ 61972 w 271676"/>
                  <a:gd name="connsiteY743" fmla="*/ 245160 h 445016"/>
                  <a:gd name="connsiteX744" fmla="*/ 61972 w 271676"/>
                  <a:gd name="connsiteY744" fmla="*/ 243494 h 445016"/>
                  <a:gd name="connsiteX745" fmla="*/ 65154 w 271676"/>
                  <a:gd name="connsiteY745" fmla="*/ 241978 h 445016"/>
                  <a:gd name="connsiteX746" fmla="*/ 66669 w 271676"/>
                  <a:gd name="connsiteY746" fmla="*/ 240766 h 445016"/>
                  <a:gd name="connsiteX747" fmla="*/ 66518 w 271676"/>
                  <a:gd name="connsiteY747" fmla="*/ 238494 h 445016"/>
                  <a:gd name="connsiteX748" fmla="*/ 62275 w 271676"/>
                  <a:gd name="connsiteY748" fmla="*/ 234706 h 445016"/>
                  <a:gd name="connsiteX749" fmla="*/ 59093 w 271676"/>
                  <a:gd name="connsiteY749" fmla="*/ 230463 h 445016"/>
                  <a:gd name="connsiteX750" fmla="*/ 57729 w 271676"/>
                  <a:gd name="connsiteY750" fmla="*/ 226069 h 445016"/>
                  <a:gd name="connsiteX751" fmla="*/ 55154 w 271676"/>
                  <a:gd name="connsiteY751" fmla="*/ 223341 h 445016"/>
                  <a:gd name="connsiteX752" fmla="*/ 52275 w 271676"/>
                  <a:gd name="connsiteY752" fmla="*/ 223341 h 445016"/>
                  <a:gd name="connsiteX753" fmla="*/ 48487 w 271676"/>
                  <a:gd name="connsiteY753" fmla="*/ 222432 h 445016"/>
                  <a:gd name="connsiteX754" fmla="*/ 45759 w 271676"/>
                  <a:gd name="connsiteY754" fmla="*/ 222432 h 445016"/>
                  <a:gd name="connsiteX755" fmla="*/ 39698 w 271676"/>
                  <a:gd name="connsiteY755" fmla="*/ 224251 h 445016"/>
                  <a:gd name="connsiteX756" fmla="*/ 36214 w 271676"/>
                  <a:gd name="connsiteY756" fmla="*/ 224705 h 445016"/>
                  <a:gd name="connsiteX757" fmla="*/ 34395 w 271676"/>
                  <a:gd name="connsiteY757" fmla="*/ 224402 h 445016"/>
                  <a:gd name="connsiteX758" fmla="*/ 32729 w 271676"/>
                  <a:gd name="connsiteY758" fmla="*/ 224705 h 445016"/>
                  <a:gd name="connsiteX759" fmla="*/ 30456 w 271676"/>
                  <a:gd name="connsiteY759" fmla="*/ 228645 h 445016"/>
                  <a:gd name="connsiteX760" fmla="*/ 28486 w 271676"/>
                  <a:gd name="connsiteY760" fmla="*/ 229857 h 445016"/>
                  <a:gd name="connsiteX761" fmla="*/ 26516 w 271676"/>
                  <a:gd name="connsiteY761" fmla="*/ 229251 h 445016"/>
                  <a:gd name="connsiteX762" fmla="*/ 25455 w 271676"/>
                  <a:gd name="connsiteY762" fmla="*/ 227887 h 445016"/>
                  <a:gd name="connsiteX763" fmla="*/ 21062 w 271676"/>
                  <a:gd name="connsiteY763" fmla="*/ 230311 h 445016"/>
                  <a:gd name="connsiteX764" fmla="*/ 20455 w 271676"/>
                  <a:gd name="connsiteY764" fmla="*/ 231220 h 445016"/>
                  <a:gd name="connsiteX765" fmla="*/ 19243 w 271676"/>
                  <a:gd name="connsiteY765" fmla="*/ 235008 h 445016"/>
                  <a:gd name="connsiteX766" fmla="*/ 19092 w 271676"/>
                  <a:gd name="connsiteY766" fmla="*/ 236069 h 445016"/>
                  <a:gd name="connsiteX767" fmla="*/ 17728 w 271676"/>
                  <a:gd name="connsiteY767" fmla="*/ 238039 h 445016"/>
                  <a:gd name="connsiteX768" fmla="*/ 16364 w 271676"/>
                  <a:gd name="connsiteY768" fmla="*/ 240160 h 445016"/>
                  <a:gd name="connsiteX769" fmla="*/ 14849 w 271676"/>
                  <a:gd name="connsiteY769" fmla="*/ 241069 h 445016"/>
                  <a:gd name="connsiteX770" fmla="*/ 12576 w 271676"/>
                  <a:gd name="connsiteY770" fmla="*/ 241675 h 445016"/>
                  <a:gd name="connsiteX771" fmla="*/ 11212 w 271676"/>
                  <a:gd name="connsiteY771" fmla="*/ 242282 h 445016"/>
                  <a:gd name="connsiteX772" fmla="*/ 9546 w 271676"/>
                  <a:gd name="connsiteY772" fmla="*/ 241978 h 445016"/>
                  <a:gd name="connsiteX773" fmla="*/ 7424 w 271676"/>
                  <a:gd name="connsiteY773" fmla="*/ 241978 h 445016"/>
                  <a:gd name="connsiteX774" fmla="*/ 6364 w 271676"/>
                  <a:gd name="connsiteY774" fmla="*/ 242736 h 445016"/>
                  <a:gd name="connsiteX775" fmla="*/ 6364 w 271676"/>
                  <a:gd name="connsiteY775" fmla="*/ 243342 h 445016"/>
                  <a:gd name="connsiteX776" fmla="*/ 6970 w 271676"/>
                  <a:gd name="connsiteY776" fmla="*/ 243948 h 445016"/>
                  <a:gd name="connsiteX777" fmla="*/ 8788 w 271676"/>
                  <a:gd name="connsiteY777" fmla="*/ 245009 h 445016"/>
                  <a:gd name="connsiteX778" fmla="*/ 10758 w 271676"/>
                  <a:gd name="connsiteY778" fmla="*/ 245918 h 445016"/>
                  <a:gd name="connsiteX779" fmla="*/ 10607 w 271676"/>
                  <a:gd name="connsiteY779" fmla="*/ 246676 h 445016"/>
                  <a:gd name="connsiteX780" fmla="*/ 9546 w 271676"/>
                  <a:gd name="connsiteY780" fmla="*/ 247585 h 445016"/>
                  <a:gd name="connsiteX781" fmla="*/ 2727 w 271676"/>
                  <a:gd name="connsiteY781" fmla="*/ 249858 h 445016"/>
                  <a:gd name="connsiteX782" fmla="*/ 757 w 271676"/>
                  <a:gd name="connsiteY782" fmla="*/ 251221 h 445016"/>
                  <a:gd name="connsiteX783" fmla="*/ 0 w 271676"/>
                  <a:gd name="connsiteY783" fmla="*/ 252130 h 445016"/>
                  <a:gd name="connsiteX784" fmla="*/ 757 w 271676"/>
                  <a:gd name="connsiteY784" fmla="*/ 253646 h 445016"/>
                  <a:gd name="connsiteX785" fmla="*/ 6212 w 271676"/>
                  <a:gd name="connsiteY785" fmla="*/ 258040 h 445016"/>
                  <a:gd name="connsiteX786" fmla="*/ 7121 w 271676"/>
                  <a:gd name="connsiteY786" fmla="*/ 258494 h 445016"/>
                  <a:gd name="connsiteX787" fmla="*/ 7879 w 271676"/>
                  <a:gd name="connsiteY787" fmla="*/ 261070 h 445016"/>
                  <a:gd name="connsiteX788" fmla="*/ 12728 w 271676"/>
                  <a:gd name="connsiteY788" fmla="*/ 262131 h 445016"/>
                  <a:gd name="connsiteX789" fmla="*/ 14698 w 271676"/>
                  <a:gd name="connsiteY789" fmla="*/ 263797 h 445016"/>
                  <a:gd name="connsiteX790" fmla="*/ 16364 w 271676"/>
                  <a:gd name="connsiteY790" fmla="*/ 264252 h 445016"/>
                  <a:gd name="connsiteX791" fmla="*/ 20001 w 271676"/>
                  <a:gd name="connsiteY791" fmla="*/ 264101 h 445016"/>
                  <a:gd name="connsiteX792" fmla="*/ 21516 w 271676"/>
                  <a:gd name="connsiteY792" fmla="*/ 264707 h 445016"/>
                  <a:gd name="connsiteX793" fmla="*/ 22425 w 271676"/>
                  <a:gd name="connsiteY793" fmla="*/ 264252 h 445016"/>
                  <a:gd name="connsiteX794" fmla="*/ 22880 w 271676"/>
                  <a:gd name="connsiteY794" fmla="*/ 263343 h 445016"/>
                  <a:gd name="connsiteX795" fmla="*/ 26062 w 271676"/>
                  <a:gd name="connsiteY795" fmla="*/ 261222 h 445016"/>
                  <a:gd name="connsiteX796" fmla="*/ 27122 w 271676"/>
                  <a:gd name="connsiteY796" fmla="*/ 260313 h 445016"/>
                  <a:gd name="connsiteX797" fmla="*/ 26516 w 271676"/>
                  <a:gd name="connsiteY797" fmla="*/ 258797 h 445016"/>
                  <a:gd name="connsiteX798" fmla="*/ 25910 w 271676"/>
                  <a:gd name="connsiteY798" fmla="*/ 257737 h 445016"/>
                  <a:gd name="connsiteX799" fmla="*/ 27728 w 271676"/>
                  <a:gd name="connsiteY799" fmla="*/ 255767 h 445016"/>
                  <a:gd name="connsiteX800" fmla="*/ 30001 w 271676"/>
                  <a:gd name="connsiteY800" fmla="*/ 253797 h 445016"/>
                  <a:gd name="connsiteX801" fmla="*/ 31213 w 271676"/>
                  <a:gd name="connsiteY801" fmla="*/ 253797 h 445016"/>
                  <a:gd name="connsiteX802" fmla="*/ 33183 w 271676"/>
                  <a:gd name="connsiteY802" fmla="*/ 255009 h 445016"/>
                  <a:gd name="connsiteX803" fmla="*/ 34850 w 271676"/>
                  <a:gd name="connsiteY803" fmla="*/ 256676 h 445016"/>
                  <a:gd name="connsiteX804" fmla="*/ 35001 w 271676"/>
                  <a:gd name="connsiteY804" fmla="*/ 258040 h 445016"/>
                  <a:gd name="connsiteX805" fmla="*/ 35304 w 271676"/>
                  <a:gd name="connsiteY805" fmla="*/ 258949 h 445016"/>
                  <a:gd name="connsiteX806" fmla="*/ 36819 w 271676"/>
                  <a:gd name="connsiteY806" fmla="*/ 260919 h 445016"/>
                  <a:gd name="connsiteX807" fmla="*/ 37880 w 271676"/>
                  <a:gd name="connsiteY807" fmla="*/ 261676 h 445016"/>
                  <a:gd name="connsiteX808" fmla="*/ 40607 w 271676"/>
                  <a:gd name="connsiteY808" fmla="*/ 262131 h 445016"/>
                  <a:gd name="connsiteX809" fmla="*/ 41214 w 271676"/>
                  <a:gd name="connsiteY809" fmla="*/ 262888 h 445016"/>
                  <a:gd name="connsiteX810" fmla="*/ 40759 w 271676"/>
                  <a:gd name="connsiteY810" fmla="*/ 265919 h 445016"/>
                  <a:gd name="connsiteX811" fmla="*/ 41214 w 271676"/>
                  <a:gd name="connsiteY811" fmla="*/ 266828 h 445016"/>
                  <a:gd name="connsiteX812" fmla="*/ 43941 w 271676"/>
                  <a:gd name="connsiteY812" fmla="*/ 266828 h 445016"/>
                  <a:gd name="connsiteX813" fmla="*/ 46820 w 271676"/>
                  <a:gd name="connsiteY813" fmla="*/ 266525 h 445016"/>
                  <a:gd name="connsiteX814" fmla="*/ 47881 w 271676"/>
                  <a:gd name="connsiteY814" fmla="*/ 266676 h 445016"/>
                  <a:gd name="connsiteX815" fmla="*/ 48941 w 271676"/>
                  <a:gd name="connsiteY815" fmla="*/ 266070 h 445016"/>
                  <a:gd name="connsiteX816" fmla="*/ 50608 w 271676"/>
                  <a:gd name="connsiteY816" fmla="*/ 265464 h 445016"/>
                  <a:gd name="connsiteX817" fmla="*/ 52881 w 271676"/>
                  <a:gd name="connsiteY817" fmla="*/ 265767 h 445016"/>
                  <a:gd name="connsiteX818" fmla="*/ 55608 w 271676"/>
                  <a:gd name="connsiteY818" fmla="*/ 266828 h 445016"/>
                  <a:gd name="connsiteX819" fmla="*/ 58336 w 271676"/>
                  <a:gd name="connsiteY819" fmla="*/ 267131 h 445016"/>
                  <a:gd name="connsiteX820" fmla="*/ 60608 w 271676"/>
                  <a:gd name="connsiteY820" fmla="*/ 265767 h 445016"/>
                  <a:gd name="connsiteX821" fmla="*/ 62275 w 271676"/>
                  <a:gd name="connsiteY821" fmla="*/ 263191 h 445016"/>
                  <a:gd name="connsiteX822" fmla="*/ 62881 w 271676"/>
                  <a:gd name="connsiteY822" fmla="*/ 261525 h 445016"/>
                  <a:gd name="connsiteX823" fmla="*/ 63639 w 271676"/>
                  <a:gd name="connsiteY823" fmla="*/ 260161 h 445016"/>
                  <a:gd name="connsiteX824" fmla="*/ 66821 w 271676"/>
                  <a:gd name="connsiteY824" fmla="*/ 259858 h 445016"/>
                  <a:gd name="connsiteX825" fmla="*/ 69548 w 271676"/>
                  <a:gd name="connsiteY825" fmla="*/ 258797 h 445016"/>
                  <a:gd name="connsiteX826" fmla="*/ 70760 w 271676"/>
                  <a:gd name="connsiteY826" fmla="*/ 255161 h 445016"/>
                  <a:gd name="connsiteX827" fmla="*/ 186977 w 271676"/>
                  <a:gd name="connsiteY827" fmla="*/ 387741 h 445016"/>
                  <a:gd name="connsiteX828" fmla="*/ 185007 w 271676"/>
                  <a:gd name="connsiteY828" fmla="*/ 389105 h 445016"/>
                  <a:gd name="connsiteX829" fmla="*/ 181522 w 271676"/>
                  <a:gd name="connsiteY829" fmla="*/ 390166 h 445016"/>
                  <a:gd name="connsiteX830" fmla="*/ 180158 w 271676"/>
                  <a:gd name="connsiteY830" fmla="*/ 391529 h 445016"/>
                  <a:gd name="connsiteX831" fmla="*/ 181522 w 271676"/>
                  <a:gd name="connsiteY831" fmla="*/ 391378 h 445016"/>
                  <a:gd name="connsiteX832" fmla="*/ 187279 w 271676"/>
                  <a:gd name="connsiteY832" fmla="*/ 394257 h 445016"/>
                  <a:gd name="connsiteX833" fmla="*/ 188795 w 271676"/>
                  <a:gd name="connsiteY833" fmla="*/ 394257 h 445016"/>
                  <a:gd name="connsiteX834" fmla="*/ 190310 w 271676"/>
                  <a:gd name="connsiteY834" fmla="*/ 393954 h 445016"/>
                  <a:gd name="connsiteX835" fmla="*/ 190916 w 271676"/>
                  <a:gd name="connsiteY835" fmla="*/ 393348 h 445016"/>
                  <a:gd name="connsiteX836" fmla="*/ 191674 w 271676"/>
                  <a:gd name="connsiteY836" fmla="*/ 391832 h 445016"/>
                  <a:gd name="connsiteX837" fmla="*/ 193946 w 271676"/>
                  <a:gd name="connsiteY837" fmla="*/ 390620 h 445016"/>
                  <a:gd name="connsiteX838" fmla="*/ 191825 w 271676"/>
                  <a:gd name="connsiteY838" fmla="*/ 388954 h 445016"/>
                  <a:gd name="connsiteX839" fmla="*/ 186977 w 271676"/>
                  <a:gd name="connsiteY839" fmla="*/ 387741 h 445016"/>
                  <a:gd name="connsiteX840" fmla="*/ 58942 w 271676"/>
                  <a:gd name="connsiteY840" fmla="*/ 200613 h 445016"/>
                  <a:gd name="connsiteX841" fmla="*/ 59548 w 271676"/>
                  <a:gd name="connsiteY841" fmla="*/ 200159 h 445016"/>
                  <a:gd name="connsiteX842" fmla="*/ 64245 w 271676"/>
                  <a:gd name="connsiteY842" fmla="*/ 192734 h 445016"/>
                  <a:gd name="connsiteX843" fmla="*/ 66215 w 271676"/>
                  <a:gd name="connsiteY843" fmla="*/ 188340 h 445016"/>
                  <a:gd name="connsiteX844" fmla="*/ 65154 w 271676"/>
                  <a:gd name="connsiteY844" fmla="*/ 188340 h 445016"/>
                  <a:gd name="connsiteX845" fmla="*/ 64093 w 271676"/>
                  <a:gd name="connsiteY845" fmla="*/ 188795 h 445016"/>
                  <a:gd name="connsiteX846" fmla="*/ 60305 w 271676"/>
                  <a:gd name="connsiteY846" fmla="*/ 191219 h 445016"/>
                  <a:gd name="connsiteX847" fmla="*/ 59396 w 271676"/>
                  <a:gd name="connsiteY847" fmla="*/ 192734 h 445016"/>
                  <a:gd name="connsiteX848" fmla="*/ 59396 w 271676"/>
                  <a:gd name="connsiteY848" fmla="*/ 193189 h 445016"/>
                  <a:gd name="connsiteX849" fmla="*/ 61063 w 271676"/>
                  <a:gd name="connsiteY849" fmla="*/ 193795 h 445016"/>
                  <a:gd name="connsiteX850" fmla="*/ 57578 w 271676"/>
                  <a:gd name="connsiteY850" fmla="*/ 195613 h 445016"/>
                  <a:gd name="connsiteX851" fmla="*/ 56669 w 271676"/>
                  <a:gd name="connsiteY851" fmla="*/ 196825 h 445016"/>
                  <a:gd name="connsiteX852" fmla="*/ 56669 w 271676"/>
                  <a:gd name="connsiteY852" fmla="*/ 198644 h 445016"/>
                  <a:gd name="connsiteX853" fmla="*/ 56972 w 271676"/>
                  <a:gd name="connsiteY853" fmla="*/ 199553 h 445016"/>
                  <a:gd name="connsiteX854" fmla="*/ 57427 w 271676"/>
                  <a:gd name="connsiteY854" fmla="*/ 200159 h 445016"/>
                  <a:gd name="connsiteX855" fmla="*/ 58942 w 271676"/>
                  <a:gd name="connsiteY855" fmla="*/ 200613 h 445016"/>
                  <a:gd name="connsiteX856" fmla="*/ 101974 w 271676"/>
                  <a:gd name="connsiteY856" fmla="*/ 299859 h 445016"/>
                  <a:gd name="connsiteX857" fmla="*/ 103186 w 271676"/>
                  <a:gd name="connsiteY857" fmla="*/ 301526 h 445016"/>
                  <a:gd name="connsiteX858" fmla="*/ 105762 w 271676"/>
                  <a:gd name="connsiteY858" fmla="*/ 300162 h 445016"/>
                  <a:gd name="connsiteX859" fmla="*/ 107883 w 271676"/>
                  <a:gd name="connsiteY859" fmla="*/ 298496 h 445016"/>
                  <a:gd name="connsiteX860" fmla="*/ 111065 w 271676"/>
                  <a:gd name="connsiteY860" fmla="*/ 296829 h 445016"/>
                  <a:gd name="connsiteX861" fmla="*/ 111974 w 271676"/>
                  <a:gd name="connsiteY861" fmla="*/ 295314 h 445016"/>
                  <a:gd name="connsiteX862" fmla="*/ 109095 w 271676"/>
                  <a:gd name="connsiteY862" fmla="*/ 295465 h 445016"/>
                  <a:gd name="connsiteX863" fmla="*/ 107883 w 271676"/>
                  <a:gd name="connsiteY863" fmla="*/ 294708 h 445016"/>
                  <a:gd name="connsiteX864" fmla="*/ 104701 w 271676"/>
                  <a:gd name="connsiteY864" fmla="*/ 291071 h 445016"/>
                  <a:gd name="connsiteX865" fmla="*/ 100761 w 271676"/>
                  <a:gd name="connsiteY865" fmla="*/ 290920 h 445016"/>
                  <a:gd name="connsiteX866" fmla="*/ 97882 w 271676"/>
                  <a:gd name="connsiteY866" fmla="*/ 292132 h 445016"/>
                  <a:gd name="connsiteX867" fmla="*/ 98337 w 271676"/>
                  <a:gd name="connsiteY867" fmla="*/ 296829 h 445016"/>
                  <a:gd name="connsiteX868" fmla="*/ 100610 w 271676"/>
                  <a:gd name="connsiteY868" fmla="*/ 300011 h 445016"/>
                  <a:gd name="connsiteX869" fmla="*/ 101974 w 271676"/>
                  <a:gd name="connsiteY869" fmla="*/ 299859 h 445016"/>
                  <a:gd name="connsiteX870" fmla="*/ 78488 w 271676"/>
                  <a:gd name="connsiteY870" fmla="*/ 213947 h 445016"/>
                  <a:gd name="connsiteX871" fmla="*/ 79700 w 271676"/>
                  <a:gd name="connsiteY871" fmla="*/ 214250 h 445016"/>
                  <a:gd name="connsiteX872" fmla="*/ 83185 w 271676"/>
                  <a:gd name="connsiteY872" fmla="*/ 214250 h 445016"/>
                  <a:gd name="connsiteX873" fmla="*/ 83488 w 271676"/>
                  <a:gd name="connsiteY873" fmla="*/ 212583 h 445016"/>
                  <a:gd name="connsiteX874" fmla="*/ 83185 w 271676"/>
                  <a:gd name="connsiteY874" fmla="*/ 209553 h 445016"/>
                  <a:gd name="connsiteX875" fmla="*/ 81670 w 271676"/>
                  <a:gd name="connsiteY875" fmla="*/ 206068 h 445016"/>
                  <a:gd name="connsiteX876" fmla="*/ 80912 w 271676"/>
                  <a:gd name="connsiteY876" fmla="*/ 205159 h 445016"/>
                  <a:gd name="connsiteX877" fmla="*/ 79094 w 271676"/>
                  <a:gd name="connsiteY877" fmla="*/ 204098 h 445016"/>
                  <a:gd name="connsiteX878" fmla="*/ 77276 w 271676"/>
                  <a:gd name="connsiteY878" fmla="*/ 204401 h 445016"/>
                  <a:gd name="connsiteX879" fmla="*/ 76518 w 271676"/>
                  <a:gd name="connsiteY879" fmla="*/ 205159 h 445016"/>
                  <a:gd name="connsiteX880" fmla="*/ 75760 w 271676"/>
                  <a:gd name="connsiteY880" fmla="*/ 206068 h 445016"/>
                  <a:gd name="connsiteX881" fmla="*/ 75154 w 271676"/>
                  <a:gd name="connsiteY881" fmla="*/ 207886 h 445016"/>
                  <a:gd name="connsiteX882" fmla="*/ 76821 w 271676"/>
                  <a:gd name="connsiteY882" fmla="*/ 213190 h 445016"/>
                  <a:gd name="connsiteX883" fmla="*/ 78488 w 271676"/>
                  <a:gd name="connsiteY883" fmla="*/ 213947 h 445016"/>
                  <a:gd name="connsiteX884" fmla="*/ 60154 w 271676"/>
                  <a:gd name="connsiteY884" fmla="*/ 172430 h 445016"/>
                  <a:gd name="connsiteX885" fmla="*/ 57881 w 271676"/>
                  <a:gd name="connsiteY885" fmla="*/ 169552 h 445016"/>
                  <a:gd name="connsiteX886" fmla="*/ 55911 w 271676"/>
                  <a:gd name="connsiteY886" fmla="*/ 168188 h 445016"/>
                  <a:gd name="connsiteX887" fmla="*/ 55002 w 271676"/>
                  <a:gd name="connsiteY887" fmla="*/ 168036 h 445016"/>
                  <a:gd name="connsiteX888" fmla="*/ 53790 w 271676"/>
                  <a:gd name="connsiteY888" fmla="*/ 168339 h 445016"/>
                  <a:gd name="connsiteX889" fmla="*/ 50911 w 271676"/>
                  <a:gd name="connsiteY889" fmla="*/ 169552 h 445016"/>
                  <a:gd name="connsiteX890" fmla="*/ 50305 w 271676"/>
                  <a:gd name="connsiteY890" fmla="*/ 170006 h 445016"/>
                  <a:gd name="connsiteX891" fmla="*/ 50002 w 271676"/>
                  <a:gd name="connsiteY891" fmla="*/ 171218 h 445016"/>
                  <a:gd name="connsiteX892" fmla="*/ 50305 w 271676"/>
                  <a:gd name="connsiteY892" fmla="*/ 171824 h 445016"/>
                  <a:gd name="connsiteX893" fmla="*/ 55002 w 271676"/>
                  <a:gd name="connsiteY893" fmla="*/ 174249 h 445016"/>
                  <a:gd name="connsiteX894" fmla="*/ 53790 w 271676"/>
                  <a:gd name="connsiteY894" fmla="*/ 179400 h 445016"/>
                  <a:gd name="connsiteX895" fmla="*/ 50608 w 271676"/>
                  <a:gd name="connsiteY895" fmla="*/ 180158 h 445016"/>
                  <a:gd name="connsiteX896" fmla="*/ 49850 w 271676"/>
                  <a:gd name="connsiteY896" fmla="*/ 180916 h 445016"/>
                  <a:gd name="connsiteX897" fmla="*/ 50153 w 271676"/>
                  <a:gd name="connsiteY897" fmla="*/ 181976 h 445016"/>
                  <a:gd name="connsiteX898" fmla="*/ 53941 w 271676"/>
                  <a:gd name="connsiteY898" fmla="*/ 182128 h 445016"/>
                  <a:gd name="connsiteX899" fmla="*/ 64851 w 271676"/>
                  <a:gd name="connsiteY899" fmla="*/ 180007 h 445016"/>
                  <a:gd name="connsiteX900" fmla="*/ 65305 w 271676"/>
                  <a:gd name="connsiteY900" fmla="*/ 174400 h 445016"/>
                  <a:gd name="connsiteX901" fmla="*/ 63184 w 271676"/>
                  <a:gd name="connsiteY901" fmla="*/ 173188 h 445016"/>
                  <a:gd name="connsiteX902" fmla="*/ 60154 w 271676"/>
                  <a:gd name="connsiteY902" fmla="*/ 172430 h 445016"/>
                  <a:gd name="connsiteX903" fmla="*/ 29243 w 271676"/>
                  <a:gd name="connsiteY903" fmla="*/ 111671 h 445016"/>
                  <a:gd name="connsiteX904" fmla="*/ 30304 w 271676"/>
                  <a:gd name="connsiteY904" fmla="*/ 111974 h 445016"/>
                  <a:gd name="connsiteX905" fmla="*/ 30910 w 271676"/>
                  <a:gd name="connsiteY905" fmla="*/ 112731 h 445016"/>
                  <a:gd name="connsiteX906" fmla="*/ 31819 w 271676"/>
                  <a:gd name="connsiteY906" fmla="*/ 112883 h 445016"/>
                  <a:gd name="connsiteX907" fmla="*/ 30001 w 271676"/>
                  <a:gd name="connsiteY907" fmla="*/ 114246 h 445016"/>
                  <a:gd name="connsiteX908" fmla="*/ 29850 w 271676"/>
                  <a:gd name="connsiteY908" fmla="*/ 114853 h 445016"/>
                  <a:gd name="connsiteX909" fmla="*/ 31365 w 271676"/>
                  <a:gd name="connsiteY909" fmla="*/ 115913 h 445016"/>
                  <a:gd name="connsiteX910" fmla="*/ 35153 w 271676"/>
                  <a:gd name="connsiteY910" fmla="*/ 117580 h 445016"/>
                  <a:gd name="connsiteX911" fmla="*/ 35304 w 271676"/>
                  <a:gd name="connsiteY911" fmla="*/ 117883 h 445016"/>
                  <a:gd name="connsiteX912" fmla="*/ 32880 w 271676"/>
                  <a:gd name="connsiteY912" fmla="*/ 119095 h 445016"/>
                  <a:gd name="connsiteX913" fmla="*/ 32577 w 271676"/>
                  <a:gd name="connsiteY913" fmla="*/ 120307 h 445016"/>
                  <a:gd name="connsiteX914" fmla="*/ 29092 w 271676"/>
                  <a:gd name="connsiteY914" fmla="*/ 122277 h 445016"/>
                  <a:gd name="connsiteX915" fmla="*/ 31062 w 271676"/>
                  <a:gd name="connsiteY915" fmla="*/ 124398 h 445016"/>
                  <a:gd name="connsiteX916" fmla="*/ 31819 w 271676"/>
                  <a:gd name="connsiteY916" fmla="*/ 124853 h 445016"/>
                  <a:gd name="connsiteX917" fmla="*/ 32577 w 271676"/>
                  <a:gd name="connsiteY917" fmla="*/ 124853 h 445016"/>
                  <a:gd name="connsiteX918" fmla="*/ 33789 w 271676"/>
                  <a:gd name="connsiteY918" fmla="*/ 123944 h 445016"/>
                  <a:gd name="connsiteX919" fmla="*/ 35304 w 271676"/>
                  <a:gd name="connsiteY919" fmla="*/ 121823 h 445016"/>
                  <a:gd name="connsiteX920" fmla="*/ 36819 w 271676"/>
                  <a:gd name="connsiteY920" fmla="*/ 121823 h 445016"/>
                  <a:gd name="connsiteX921" fmla="*/ 39850 w 271676"/>
                  <a:gd name="connsiteY921" fmla="*/ 118489 h 445016"/>
                  <a:gd name="connsiteX922" fmla="*/ 42729 w 271676"/>
                  <a:gd name="connsiteY922" fmla="*/ 117277 h 445016"/>
                  <a:gd name="connsiteX923" fmla="*/ 46972 w 271676"/>
                  <a:gd name="connsiteY923" fmla="*/ 114095 h 445016"/>
                  <a:gd name="connsiteX924" fmla="*/ 47578 w 271676"/>
                  <a:gd name="connsiteY924" fmla="*/ 113337 h 445016"/>
                  <a:gd name="connsiteX925" fmla="*/ 47578 w 271676"/>
                  <a:gd name="connsiteY925" fmla="*/ 111974 h 445016"/>
                  <a:gd name="connsiteX926" fmla="*/ 46668 w 271676"/>
                  <a:gd name="connsiteY926" fmla="*/ 111368 h 445016"/>
                  <a:gd name="connsiteX927" fmla="*/ 43486 w 271676"/>
                  <a:gd name="connsiteY927" fmla="*/ 111368 h 445016"/>
                  <a:gd name="connsiteX928" fmla="*/ 47123 w 271676"/>
                  <a:gd name="connsiteY928" fmla="*/ 109398 h 445016"/>
                  <a:gd name="connsiteX929" fmla="*/ 48335 w 271676"/>
                  <a:gd name="connsiteY929" fmla="*/ 107731 h 445016"/>
                  <a:gd name="connsiteX930" fmla="*/ 49699 w 271676"/>
                  <a:gd name="connsiteY930" fmla="*/ 107580 h 445016"/>
                  <a:gd name="connsiteX931" fmla="*/ 53184 w 271676"/>
                  <a:gd name="connsiteY931" fmla="*/ 100610 h 445016"/>
                  <a:gd name="connsiteX932" fmla="*/ 53335 w 271676"/>
                  <a:gd name="connsiteY932" fmla="*/ 97731 h 445016"/>
                  <a:gd name="connsiteX933" fmla="*/ 52578 w 271676"/>
                  <a:gd name="connsiteY933" fmla="*/ 95610 h 445016"/>
                  <a:gd name="connsiteX934" fmla="*/ 52123 w 271676"/>
                  <a:gd name="connsiteY934" fmla="*/ 95003 h 445016"/>
                  <a:gd name="connsiteX935" fmla="*/ 50456 w 271676"/>
                  <a:gd name="connsiteY935" fmla="*/ 95610 h 445016"/>
                  <a:gd name="connsiteX936" fmla="*/ 43638 w 271676"/>
                  <a:gd name="connsiteY936" fmla="*/ 99701 h 445016"/>
                  <a:gd name="connsiteX937" fmla="*/ 38183 w 271676"/>
                  <a:gd name="connsiteY937" fmla="*/ 102125 h 445016"/>
                  <a:gd name="connsiteX938" fmla="*/ 37274 w 271676"/>
                  <a:gd name="connsiteY938" fmla="*/ 102882 h 445016"/>
                  <a:gd name="connsiteX939" fmla="*/ 36971 w 271676"/>
                  <a:gd name="connsiteY939" fmla="*/ 103640 h 445016"/>
                  <a:gd name="connsiteX940" fmla="*/ 38638 w 271676"/>
                  <a:gd name="connsiteY940" fmla="*/ 107125 h 445016"/>
                  <a:gd name="connsiteX941" fmla="*/ 38638 w 271676"/>
                  <a:gd name="connsiteY941" fmla="*/ 107428 h 445016"/>
                  <a:gd name="connsiteX942" fmla="*/ 36365 w 271676"/>
                  <a:gd name="connsiteY942" fmla="*/ 107125 h 445016"/>
                  <a:gd name="connsiteX943" fmla="*/ 34395 w 271676"/>
                  <a:gd name="connsiteY943" fmla="*/ 107731 h 445016"/>
                  <a:gd name="connsiteX944" fmla="*/ 32729 w 271676"/>
                  <a:gd name="connsiteY944" fmla="*/ 106367 h 445016"/>
                  <a:gd name="connsiteX945" fmla="*/ 31062 w 271676"/>
                  <a:gd name="connsiteY945" fmla="*/ 105913 h 445016"/>
                  <a:gd name="connsiteX946" fmla="*/ 30607 w 271676"/>
                  <a:gd name="connsiteY946" fmla="*/ 106216 h 445016"/>
                  <a:gd name="connsiteX947" fmla="*/ 30152 w 271676"/>
                  <a:gd name="connsiteY947" fmla="*/ 106974 h 445016"/>
                  <a:gd name="connsiteX948" fmla="*/ 29092 w 271676"/>
                  <a:gd name="connsiteY948" fmla="*/ 107731 h 445016"/>
                  <a:gd name="connsiteX949" fmla="*/ 28789 w 271676"/>
                  <a:gd name="connsiteY949" fmla="*/ 109549 h 445016"/>
                  <a:gd name="connsiteX950" fmla="*/ 28941 w 271676"/>
                  <a:gd name="connsiteY950" fmla="*/ 111216 h 445016"/>
                  <a:gd name="connsiteX951" fmla="*/ 29243 w 271676"/>
                  <a:gd name="connsiteY951" fmla="*/ 111671 h 445016"/>
                  <a:gd name="connsiteX952" fmla="*/ 20001 w 271676"/>
                  <a:gd name="connsiteY952" fmla="*/ 146672 h 445016"/>
                  <a:gd name="connsiteX953" fmla="*/ 20910 w 271676"/>
                  <a:gd name="connsiteY953" fmla="*/ 149096 h 445016"/>
                  <a:gd name="connsiteX954" fmla="*/ 21819 w 271676"/>
                  <a:gd name="connsiteY954" fmla="*/ 149702 h 445016"/>
                  <a:gd name="connsiteX955" fmla="*/ 23334 w 271676"/>
                  <a:gd name="connsiteY955" fmla="*/ 149854 h 445016"/>
                  <a:gd name="connsiteX956" fmla="*/ 24546 w 271676"/>
                  <a:gd name="connsiteY956" fmla="*/ 149702 h 445016"/>
                  <a:gd name="connsiteX957" fmla="*/ 24546 w 271676"/>
                  <a:gd name="connsiteY957" fmla="*/ 149248 h 445016"/>
                  <a:gd name="connsiteX958" fmla="*/ 23940 w 271676"/>
                  <a:gd name="connsiteY958" fmla="*/ 139551 h 445016"/>
                  <a:gd name="connsiteX959" fmla="*/ 23183 w 271676"/>
                  <a:gd name="connsiteY959" fmla="*/ 139096 h 445016"/>
                  <a:gd name="connsiteX960" fmla="*/ 20001 w 271676"/>
                  <a:gd name="connsiteY960" fmla="*/ 139247 h 445016"/>
                  <a:gd name="connsiteX961" fmla="*/ 20152 w 271676"/>
                  <a:gd name="connsiteY961" fmla="*/ 142429 h 445016"/>
                  <a:gd name="connsiteX962" fmla="*/ 19698 w 271676"/>
                  <a:gd name="connsiteY962" fmla="*/ 145157 h 445016"/>
                  <a:gd name="connsiteX963" fmla="*/ 20001 w 271676"/>
                  <a:gd name="connsiteY963" fmla="*/ 146672 h 445016"/>
                  <a:gd name="connsiteX964" fmla="*/ 17576 w 271676"/>
                  <a:gd name="connsiteY964" fmla="*/ 156066 h 445016"/>
                  <a:gd name="connsiteX965" fmla="*/ 20001 w 271676"/>
                  <a:gd name="connsiteY965" fmla="*/ 155460 h 445016"/>
                  <a:gd name="connsiteX966" fmla="*/ 20455 w 271676"/>
                  <a:gd name="connsiteY966" fmla="*/ 154703 h 445016"/>
                  <a:gd name="connsiteX967" fmla="*/ 20304 w 271676"/>
                  <a:gd name="connsiteY967" fmla="*/ 154097 h 445016"/>
                  <a:gd name="connsiteX968" fmla="*/ 18940 w 271676"/>
                  <a:gd name="connsiteY968" fmla="*/ 153339 h 445016"/>
                  <a:gd name="connsiteX969" fmla="*/ 17122 w 271676"/>
                  <a:gd name="connsiteY969" fmla="*/ 153793 h 445016"/>
                  <a:gd name="connsiteX970" fmla="*/ 16516 w 271676"/>
                  <a:gd name="connsiteY970" fmla="*/ 155157 h 445016"/>
                  <a:gd name="connsiteX971" fmla="*/ 16667 w 271676"/>
                  <a:gd name="connsiteY971" fmla="*/ 155612 h 445016"/>
                  <a:gd name="connsiteX972" fmla="*/ 17576 w 271676"/>
                  <a:gd name="connsiteY972" fmla="*/ 156066 h 445016"/>
                  <a:gd name="connsiteX973" fmla="*/ 22576 w 271676"/>
                  <a:gd name="connsiteY973" fmla="*/ 133338 h 445016"/>
                  <a:gd name="connsiteX974" fmla="*/ 26364 w 271676"/>
                  <a:gd name="connsiteY974" fmla="*/ 133338 h 445016"/>
                  <a:gd name="connsiteX975" fmla="*/ 28789 w 271676"/>
                  <a:gd name="connsiteY975" fmla="*/ 129702 h 445016"/>
                  <a:gd name="connsiteX976" fmla="*/ 25759 w 271676"/>
                  <a:gd name="connsiteY976" fmla="*/ 127429 h 445016"/>
                  <a:gd name="connsiteX977" fmla="*/ 23940 w 271676"/>
                  <a:gd name="connsiteY977" fmla="*/ 128489 h 445016"/>
                  <a:gd name="connsiteX978" fmla="*/ 22425 w 271676"/>
                  <a:gd name="connsiteY978" fmla="*/ 128338 h 445016"/>
                  <a:gd name="connsiteX979" fmla="*/ 20607 w 271676"/>
                  <a:gd name="connsiteY979" fmla="*/ 129096 h 445016"/>
                  <a:gd name="connsiteX980" fmla="*/ 19243 w 271676"/>
                  <a:gd name="connsiteY980" fmla="*/ 128641 h 445016"/>
                  <a:gd name="connsiteX981" fmla="*/ 18486 w 271676"/>
                  <a:gd name="connsiteY981" fmla="*/ 128793 h 445016"/>
                  <a:gd name="connsiteX982" fmla="*/ 17728 w 271676"/>
                  <a:gd name="connsiteY982" fmla="*/ 129399 h 445016"/>
                  <a:gd name="connsiteX983" fmla="*/ 17274 w 271676"/>
                  <a:gd name="connsiteY983" fmla="*/ 130156 h 445016"/>
                  <a:gd name="connsiteX984" fmla="*/ 17274 w 271676"/>
                  <a:gd name="connsiteY984" fmla="*/ 130762 h 445016"/>
                  <a:gd name="connsiteX985" fmla="*/ 22576 w 271676"/>
                  <a:gd name="connsiteY985" fmla="*/ 133338 h 445016"/>
                  <a:gd name="connsiteX986" fmla="*/ 154097 w 271676"/>
                  <a:gd name="connsiteY986" fmla="*/ 433349 h 445016"/>
                  <a:gd name="connsiteX987" fmla="*/ 153187 w 271676"/>
                  <a:gd name="connsiteY987" fmla="*/ 435622 h 445016"/>
                  <a:gd name="connsiteX988" fmla="*/ 150612 w 271676"/>
                  <a:gd name="connsiteY988" fmla="*/ 434864 h 445016"/>
                  <a:gd name="connsiteX989" fmla="*/ 150460 w 271676"/>
                  <a:gd name="connsiteY989" fmla="*/ 434258 h 445016"/>
                  <a:gd name="connsiteX990" fmla="*/ 153339 w 271676"/>
                  <a:gd name="connsiteY990" fmla="*/ 432895 h 445016"/>
                  <a:gd name="connsiteX991" fmla="*/ 153945 w 271676"/>
                  <a:gd name="connsiteY991" fmla="*/ 432895 h 445016"/>
                  <a:gd name="connsiteX992" fmla="*/ 154097 w 271676"/>
                  <a:gd name="connsiteY992" fmla="*/ 433349 h 445016"/>
                  <a:gd name="connsiteX993" fmla="*/ 167582 w 271676"/>
                  <a:gd name="connsiteY993" fmla="*/ 442743 h 445016"/>
                  <a:gd name="connsiteX994" fmla="*/ 167885 w 271676"/>
                  <a:gd name="connsiteY994" fmla="*/ 444562 h 445016"/>
                  <a:gd name="connsiteX995" fmla="*/ 166673 w 271676"/>
                  <a:gd name="connsiteY995" fmla="*/ 445016 h 445016"/>
                  <a:gd name="connsiteX996" fmla="*/ 165612 w 271676"/>
                  <a:gd name="connsiteY996" fmla="*/ 444410 h 445016"/>
                  <a:gd name="connsiteX997" fmla="*/ 163642 w 271676"/>
                  <a:gd name="connsiteY997" fmla="*/ 444410 h 445016"/>
                  <a:gd name="connsiteX998" fmla="*/ 161673 w 271676"/>
                  <a:gd name="connsiteY998" fmla="*/ 444865 h 445016"/>
                  <a:gd name="connsiteX999" fmla="*/ 162127 w 271676"/>
                  <a:gd name="connsiteY999" fmla="*/ 441683 h 445016"/>
                  <a:gd name="connsiteX1000" fmla="*/ 165915 w 271676"/>
                  <a:gd name="connsiteY1000" fmla="*/ 442137 h 445016"/>
                  <a:gd name="connsiteX1001" fmla="*/ 167582 w 271676"/>
                  <a:gd name="connsiteY1001" fmla="*/ 442743 h 4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Lst>
                <a:rect l="l" t="t" r="r" b="b"/>
                <a:pathLst>
                  <a:path w="271676" h="445016">
                    <a:moveTo>
                      <a:pt x="49244" y="156066"/>
                    </a:moveTo>
                    <a:lnTo>
                      <a:pt x="50305" y="156218"/>
                    </a:lnTo>
                    <a:lnTo>
                      <a:pt x="51062" y="155763"/>
                    </a:lnTo>
                    <a:lnTo>
                      <a:pt x="51517" y="155006"/>
                    </a:lnTo>
                    <a:lnTo>
                      <a:pt x="51517" y="154097"/>
                    </a:lnTo>
                    <a:lnTo>
                      <a:pt x="51062" y="153187"/>
                    </a:lnTo>
                    <a:lnTo>
                      <a:pt x="49850" y="152430"/>
                    </a:lnTo>
                    <a:lnTo>
                      <a:pt x="46820" y="153642"/>
                    </a:lnTo>
                    <a:lnTo>
                      <a:pt x="48183" y="155460"/>
                    </a:lnTo>
                    <a:lnTo>
                      <a:pt x="49244" y="156066"/>
                    </a:lnTo>
                    <a:close/>
                    <a:moveTo>
                      <a:pt x="133187" y="83639"/>
                    </a:moveTo>
                    <a:lnTo>
                      <a:pt x="134702" y="83639"/>
                    </a:lnTo>
                    <a:lnTo>
                      <a:pt x="136217" y="83033"/>
                    </a:lnTo>
                    <a:lnTo>
                      <a:pt x="136369" y="82730"/>
                    </a:lnTo>
                    <a:lnTo>
                      <a:pt x="134853" y="82276"/>
                    </a:lnTo>
                    <a:lnTo>
                      <a:pt x="134551" y="81821"/>
                    </a:lnTo>
                    <a:lnTo>
                      <a:pt x="134399" y="80609"/>
                    </a:lnTo>
                    <a:lnTo>
                      <a:pt x="133187" y="78639"/>
                    </a:lnTo>
                    <a:lnTo>
                      <a:pt x="130914" y="78033"/>
                    </a:lnTo>
                    <a:lnTo>
                      <a:pt x="129853" y="78336"/>
                    </a:lnTo>
                    <a:lnTo>
                      <a:pt x="129702" y="79397"/>
                    </a:lnTo>
                    <a:lnTo>
                      <a:pt x="130611" y="81064"/>
                    </a:lnTo>
                    <a:lnTo>
                      <a:pt x="133187" y="83639"/>
                    </a:lnTo>
                    <a:close/>
                    <a:moveTo>
                      <a:pt x="50305" y="127883"/>
                    </a:moveTo>
                    <a:lnTo>
                      <a:pt x="48941" y="128035"/>
                    </a:lnTo>
                    <a:lnTo>
                      <a:pt x="48335" y="130611"/>
                    </a:lnTo>
                    <a:lnTo>
                      <a:pt x="41820" y="132277"/>
                    </a:lnTo>
                    <a:lnTo>
                      <a:pt x="41820" y="132732"/>
                    </a:lnTo>
                    <a:lnTo>
                      <a:pt x="42729" y="133944"/>
                    </a:lnTo>
                    <a:lnTo>
                      <a:pt x="42729" y="134550"/>
                    </a:lnTo>
                    <a:lnTo>
                      <a:pt x="42123" y="135156"/>
                    </a:lnTo>
                    <a:lnTo>
                      <a:pt x="41062" y="135459"/>
                    </a:lnTo>
                    <a:lnTo>
                      <a:pt x="39395" y="135005"/>
                    </a:lnTo>
                    <a:lnTo>
                      <a:pt x="38032" y="136520"/>
                    </a:lnTo>
                    <a:lnTo>
                      <a:pt x="37729" y="137126"/>
                    </a:lnTo>
                    <a:lnTo>
                      <a:pt x="38335" y="138338"/>
                    </a:lnTo>
                    <a:lnTo>
                      <a:pt x="40153" y="140308"/>
                    </a:lnTo>
                    <a:lnTo>
                      <a:pt x="46517" y="141672"/>
                    </a:lnTo>
                    <a:lnTo>
                      <a:pt x="48638" y="145157"/>
                    </a:lnTo>
                    <a:lnTo>
                      <a:pt x="49699" y="146520"/>
                    </a:lnTo>
                    <a:lnTo>
                      <a:pt x="51214" y="147278"/>
                    </a:lnTo>
                    <a:lnTo>
                      <a:pt x="54093" y="147430"/>
                    </a:lnTo>
                    <a:lnTo>
                      <a:pt x="57578" y="146672"/>
                    </a:lnTo>
                    <a:lnTo>
                      <a:pt x="58184" y="152581"/>
                    </a:lnTo>
                    <a:lnTo>
                      <a:pt x="58942" y="152884"/>
                    </a:lnTo>
                    <a:lnTo>
                      <a:pt x="60002" y="152884"/>
                    </a:lnTo>
                    <a:lnTo>
                      <a:pt x="60911" y="152127"/>
                    </a:lnTo>
                    <a:lnTo>
                      <a:pt x="64093" y="148793"/>
                    </a:lnTo>
                    <a:lnTo>
                      <a:pt x="66821" y="146823"/>
                    </a:lnTo>
                    <a:lnTo>
                      <a:pt x="67578" y="145763"/>
                    </a:lnTo>
                    <a:lnTo>
                      <a:pt x="67730" y="144248"/>
                    </a:lnTo>
                    <a:lnTo>
                      <a:pt x="66821" y="143642"/>
                    </a:lnTo>
                    <a:lnTo>
                      <a:pt x="62124" y="143793"/>
                    </a:lnTo>
                    <a:lnTo>
                      <a:pt x="56820" y="143035"/>
                    </a:lnTo>
                    <a:lnTo>
                      <a:pt x="56063" y="142278"/>
                    </a:lnTo>
                    <a:lnTo>
                      <a:pt x="54850" y="141823"/>
                    </a:lnTo>
                    <a:lnTo>
                      <a:pt x="54699" y="140308"/>
                    </a:lnTo>
                    <a:lnTo>
                      <a:pt x="54093" y="138187"/>
                    </a:lnTo>
                    <a:lnTo>
                      <a:pt x="54548" y="136217"/>
                    </a:lnTo>
                    <a:lnTo>
                      <a:pt x="54548" y="134550"/>
                    </a:lnTo>
                    <a:lnTo>
                      <a:pt x="53941" y="131368"/>
                    </a:lnTo>
                    <a:lnTo>
                      <a:pt x="51669" y="128793"/>
                    </a:lnTo>
                    <a:lnTo>
                      <a:pt x="50305" y="127883"/>
                    </a:lnTo>
                    <a:close/>
                    <a:moveTo>
                      <a:pt x="50305" y="208189"/>
                    </a:moveTo>
                    <a:lnTo>
                      <a:pt x="51669" y="208189"/>
                    </a:lnTo>
                    <a:lnTo>
                      <a:pt x="56214" y="206220"/>
                    </a:lnTo>
                    <a:lnTo>
                      <a:pt x="57123" y="204704"/>
                    </a:lnTo>
                    <a:lnTo>
                      <a:pt x="57123" y="203644"/>
                    </a:lnTo>
                    <a:lnTo>
                      <a:pt x="56214" y="200613"/>
                    </a:lnTo>
                    <a:lnTo>
                      <a:pt x="55154" y="195613"/>
                    </a:lnTo>
                    <a:lnTo>
                      <a:pt x="52729" y="196674"/>
                    </a:lnTo>
                    <a:lnTo>
                      <a:pt x="50153" y="198492"/>
                    </a:lnTo>
                    <a:lnTo>
                      <a:pt x="49244" y="197886"/>
                    </a:lnTo>
                    <a:lnTo>
                      <a:pt x="48335" y="198038"/>
                    </a:lnTo>
                    <a:lnTo>
                      <a:pt x="47274" y="198644"/>
                    </a:lnTo>
                    <a:lnTo>
                      <a:pt x="46365" y="199553"/>
                    </a:lnTo>
                    <a:lnTo>
                      <a:pt x="45911" y="200462"/>
                    </a:lnTo>
                    <a:lnTo>
                      <a:pt x="45759" y="201977"/>
                    </a:lnTo>
                    <a:lnTo>
                      <a:pt x="45002" y="204250"/>
                    </a:lnTo>
                    <a:lnTo>
                      <a:pt x="45153" y="204856"/>
                    </a:lnTo>
                    <a:lnTo>
                      <a:pt x="46214" y="204553"/>
                    </a:lnTo>
                    <a:lnTo>
                      <a:pt x="49396" y="201826"/>
                    </a:lnTo>
                    <a:lnTo>
                      <a:pt x="50305" y="201522"/>
                    </a:lnTo>
                    <a:lnTo>
                      <a:pt x="50760" y="201826"/>
                    </a:lnTo>
                    <a:lnTo>
                      <a:pt x="50305" y="203492"/>
                    </a:lnTo>
                    <a:lnTo>
                      <a:pt x="51214" y="205765"/>
                    </a:lnTo>
                    <a:lnTo>
                      <a:pt x="50153" y="207735"/>
                    </a:lnTo>
                    <a:lnTo>
                      <a:pt x="50305" y="208189"/>
                    </a:lnTo>
                    <a:close/>
                    <a:moveTo>
                      <a:pt x="43184" y="167430"/>
                    </a:moveTo>
                    <a:lnTo>
                      <a:pt x="40456" y="170006"/>
                    </a:lnTo>
                    <a:lnTo>
                      <a:pt x="40607" y="170612"/>
                    </a:lnTo>
                    <a:lnTo>
                      <a:pt x="42123" y="170461"/>
                    </a:lnTo>
                    <a:lnTo>
                      <a:pt x="44244" y="168794"/>
                    </a:lnTo>
                    <a:lnTo>
                      <a:pt x="45456" y="167279"/>
                    </a:lnTo>
                    <a:lnTo>
                      <a:pt x="44850" y="166976"/>
                    </a:lnTo>
                    <a:lnTo>
                      <a:pt x="43184" y="167430"/>
                    </a:lnTo>
                    <a:close/>
                    <a:moveTo>
                      <a:pt x="141520" y="84548"/>
                    </a:moveTo>
                    <a:lnTo>
                      <a:pt x="142581" y="85306"/>
                    </a:lnTo>
                    <a:lnTo>
                      <a:pt x="142884" y="85155"/>
                    </a:lnTo>
                    <a:lnTo>
                      <a:pt x="143339" y="82882"/>
                    </a:lnTo>
                    <a:lnTo>
                      <a:pt x="143793" y="81821"/>
                    </a:lnTo>
                    <a:lnTo>
                      <a:pt x="142581" y="81518"/>
                    </a:lnTo>
                    <a:lnTo>
                      <a:pt x="140005" y="81973"/>
                    </a:lnTo>
                    <a:lnTo>
                      <a:pt x="141520" y="84548"/>
                    </a:lnTo>
                    <a:close/>
                    <a:moveTo>
                      <a:pt x="194401" y="13182"/>
                    </a:moveTo>
                    <a:lnTo>
                      <a:pt x="194704" y="12576"/>
                    </a:lnTo>
                    <a:lnTo>
                      <a:pt x="194704" y="10000"/>
                    </a:lnTo>
                    <a:lnTo>
                      <a:pt x="194250" y="7727"/>
                    </a:lnTo>
                    <a:lnTo>
                      <a:pt x="194401" y="7424"/>
                    </a:lnTo>
                    <a:lnTo>
                      <a:pt x="195613" y="7273"/>
                    </a:lnTo>
                    <a:lnTo>
                      <a:pt x="195916" y="6061"/>
                    </a:lnTo>
                    <a:lnTo>
                      <a:pt x="195462" y="4849"/>
                    </a:lnTo>
                    <a:lnTo>
                      <a:pt x="193037" y="4697"/>
                    </a:lnTo>
                    <a:lnTo>
                      <a:pt x="191067" y="9546"/>
                    </a:lnTo>
                    <a:lnTo>
                      <a:pt x="193795" y="13788"/>
                    </a:lnTo>
                    <a:lnTo>
                      <a:pt x="194401" y="13182"/>
                    </a:lnTo>
                    <a:close/>
                    <a:moveTo>
                      <a:pt x="198038" y="5909"/>
                    </a:moveTo>
                    <a:lnTo>
                      <a:pt x="200310" y="6061"/>
                    </a:lnTo>
                    <a:lnTo>
                      <a:pt x="200310" y="4697"/>
                    </a:lnTo>
                    <a:lnTo>
                      <a:pt x="201674" y="1212"/>
                    </a:lnTo>
                    <a:lnTo>
                      <a:pt x="201674" y="758"/>
                    </a:lnTo>
                    <a:lnTo>
                      <a:pt x="200917" y="0"/>
                    </a:lnTo>
                    <a:lnTo>
                      <a:pt x="200310" y="0"/>
                    </a:lnTo>
                    <a:lnTo>
                      <a:pt x="199250" y="1061"/>
                    </a:lnTo>
                    <a:lnTo>
                      <a:pt x="198492" y="606"/>
                    </a:lnTo>
                    <a:lnTo>
                      <a:pt x="197886" y="758"/>
                    </a:lnTo>
                    <a:lnTo>
                      <a:pt x="197583" y="1364"/>
                    </a:lnTo>
                    <a:lnTo>
                      <a:pt x="197280" y="3485"/>
                    </a:lnTo>
                    <a:lnTo>
                      <a:pt x="197734" y="5455"/>
                    </a:lnTo>
                    <a:lnTo>
                      <a:pt x="198038" y="5909"/>
                    </a:lnTo>
                    <a:close/>
                    <a:moveTo>
                      <a:pt x="141823" y="63790"/>
                    </a:moveTo>
                    <a:lnTo>
                      <a:pt x="144551" y="64851"/>
                    </a:lnTo>
                    <a:lnTo>
                      <a:pt x="144854" y="67427"/>
                    </a:lnTo>
                    <a:lnTo>
                      <a:pt x="145915" y="68184"/>
                    </a:lnTo>
                    <a:lnTo>
                      <a:pt x="148187" y="67124"/>
                    </a:lnTo>
                    <a:lnTo>
                      <a:pt x="148490" y="65760"/>
                    </a:lnTo>
                    <a:lnTo>
                      <a:pt x="148187" y="65457"/>
                    </a:lnTo>
                    <a:lnTo>
                      <a:pt x="145915" y="64851"/>
                    </a:lnTo>
                    <a:lnTo>
                      <a:pt x="144702" y="62881"/>
                    </a:lnTo>
                    <a:lnTo>
                      <a:pt x="141520" y="60457"/>
                    </a:lnTo>
                    <a:lnTo>
                      <a:pt x="139702" y="61063"/>
                    </a:lnTo>
                    <a:lnTo>
                      <a:pt x="139399" y="61517"/>
                    </a:lnTo>
                    <a:lnTo>
                      <a:pt x="140460" y="62881"/>
                    </a:lnTo>
                    <a:lnTo>
                      <a:pt x="141823" y="63790"/>
                    </a:lnTo>
                    <a:close/>
                    <a:moveTo>
                      <a:pt x="131672" y="76063"/>
                    </a:moveTo>
                    <a:lnTo>
                      <a:pt x="132429" y="76215"/>
                    </a:lnTo>
                    <a:lnTo>
                      <a:pt x="134096" y="74851"/>
                    </a:lnTo>
                    <a:lnTo>
                      <a:pt x="134399" y="75306"/>
                    </a:lnTo>
                    <a:lnTo>
                      <a:pt x="134399" y="76669"/>
                    </a:lnTo>
                    <a:lnTo>
                      <a:pt x="134702" y="77276"/>
                    </a:lnTo>
                    <a:lnTo>
                      <a:pt x="135308" y="77882"/>
                    </a:lnTo>
                    <a:lnTo>
                      <a:pt x="136217" y="78185"/>
                    </a:lnTo>
                    <a:lnTo>
                      <a:pt x="140914" y="77427"/>
                    </a:lnTo>
                    <a:lnTo>
                      <a:pt x="144551" y="79397"/>
                    </a:lnTo>
                    <a:lnTo>
                      <a:pt x="145611" y="79245"/>
                    </a:lnTo>
                    <a:lnTo>
                      <a:pt x="146521" y="78639"/>
                    </a:lnTo>
                    <a:lnTo>
                      <a:pt x="147430" y="76669"/>
                    </a:lnTo>
                    <a:lnTo>
                      <a:pt x="145915" y="75609"/>
                    </a:lnTo>
                    <a:lnTo>
                      <a:pt x="144096" y="75457"/>
                    </a:lnTo>
                    <a:lnTo>
                      <a:pt x="141066" y="74548"/>
                    </a:lnTo>
                    <a:lnTo>
                      <a:pt x="138945" y="74548"/>
                    </a:lnTo>
                    <a:lnTo>
                      <a:pt x="139248" y="73488"/>
                    </a:lnTo>
                    <a:lnTo>
                      <a:pt x="140308" y="72427"/>
                    </a:lnTo>
                    <a:lnTo>
                      <a:pt x="140308" y="71669"/>
                    </a:lnTo>
                    <a:lnTo>
                      <a:pt x="139399" y="70760"/>
                    </a:lnTo>
                    <a:lnTo>
                      <a:pt x="136520" y="69245"/>
                    </a:lnTo>
                    <a:lnTo>
                      <a:pt x="133944" y="68942"/>
                    </a:lnTo>
                    <a:lnTo>
                      <a:pt x="132278" y="69396"/>
                    </a:lnTo>
                    <a:lnTo>
                      <a:pt x="131217" y="72124"/>
                    </a:lnTo>
                    <a:lnTo>
                      <a:pt x="131065" y="73942"/>
                    </a:lnTo>
                    <a:lnTo>
                      <a:pt x="131217" y="75306"/>
                    </a:lnTo>
                    <a:lnTo>
                      <a:pt x="131672" y="76063"/>
                    </a:lnTo>
                    <a:close/>
                    <a:moveTo>
                      <a:pt x="156370" y="63942"/>
                    </a:moveTo>
                    <a:lnTo>
                      <a:pt x="156975" y="62881"/>
                    </a:lnTo>
                    <a:lnTo>
                      <a:pt x="153491" y="62578"/>
                    </a:lnTo>
                    <a:lnTo>
                      <a:pt x="151672" y="63184"/>
                    </a:lnTo>
                    <a:lnTo>
                      <a:pt x="150005" y="65608"/>
                    </a:lnTo>
                    <a:lnTo>
                      <a:pt x="153036" y="65608"/>
                    </a:lnTo>
                    <a:lnTo>
                      <a:pt x="156370" y="63942"/>
                    </a:lnTo>
                    <a:close/>
                    <a:moveTo>
                      <a:pt x="178037" y="24546"/>
                    </a:moveTo>
                    <a:lnTo>
                      <a:pt x="178794" y="24849"/>
                    </a:lnTo>
                    <a:lnTo>
                      <a:pt x="181370" y="24698"/>
                    </a:lnTo>
                    <a:lnTo>
                      <a:pt x="181825" y="25152"/>
                    </a:lnTo>
                    <a:lnTo>
                      <a:pt x="181825" y="26365"/>
                    </a:lnTo>
                    <a:lnTo>
                      <a:pt x="182279" y="27274"/>
                    </a:lnTo>
                    <a:lnTo>
                      <a:pt x="184249" y="26668"/>
                    </a:lnTo>
                    <a:lnTo>
                      <a:pt x="186674" y="26668"/>
                    </a:lnTo>
                    <a:lnTo>
                      <a:pt x="187583" y="28031"/>
                    </a:lnTo>
                    <a:lnTo>
                      <a:pt x="188037" y="29698"/>
                    </a:lnTo>
                    <a:lnTo>
                      <a:pt x="187431" y="32728"/>
                    </a:lnTo>
                    <a:lnTo>
                      <a:pt x="185916" y="38032"/>
                    </a:lnTo>
                    <a:lnTo>
                      <a:pt x="187431" y="39395"/>
                    </a:lnTo>
                    <a:lnTo>
                      <a:pt x="187886" y="39092"/>
                    </a:lnTo>
                    <a:lnTo>
                      <a:pt x="188946" y="35607"/>
                    </a:lnTo>
                    <a:lnTo>
                      <a:pt x="190158" y="34092"/>
                    </a:lnTo>
                    <a:lnTo>
                      <a:pt x="190765" y="29698"/>
                    </a:lnTo>
                    <a:lnTo>
                      <a:pt x="191067" y="29243"/>
                    </a:lnTo>
                    <a:lnTo>
                      <a:pt x="191371" y="27122"/>
                    </a:lnTo>
                    <a:lnTo>
                      <a:pt x="191825" y="25910"/>
                    </a:lnTo>
                    <a:lnTo>
                      <a:pt x="193644" y="18789"/>
                    </a:lnTo>
                    <a:lnTo>
                      <a:pt x="193946" y="16213"/>
                    </a:lnTo>
                    <a:lnTo>
                      <a:pt x="192128" y="17273"/>
                    </a:lnTo>
                    <a:lnTo>
                      <a:pt x="191067" y="17273"/>
                    </a:lnTo>
                    <a:lnTo>
                      <a:pt x="188946" y="14546"/>
                    </a:lnTo>
                    <a:lnTo>
                      <a:pt x="187583" y="15304"/>
                    </a:lnTo>
                    <a:lnTo>
                      <a:pt x="186977" y="12425"/>
                    </a:lnTo>
                    <a:lnTo>
                      <a:pt x="187128" y="9546"/>
                    </a:lnTo>
                    <a:lnTo>
                      <a:pt x="185461" y="9394"/>
                    </a:lnTo>
                    <a:lnTo>
                      <a:pt x="184098" y="9849"/>
                    </a:lnTo>
                    <a:lnTo>
                      <a:pt x="181825" y="12728"/>
                    </a:lnTo>
                    <a:lnTo>
                      <a:pt x="180310" y="13182"/>
                    </a:lnTo>
                    <a:lnTo>
                      <a:pt x="179855" y="14091"/>
                    </a:lnTo>
                    <a:lnTo>
                      <a:pt x="180461" y="14697"/>
                    </a:lnTo>
                    <a:lnTo>
                      <a:pt x="183189" y="15152"/>
                    </a:lnTo>
                    <a:lnTo>
                      <a:pt x="185310" y="20758"/>
                    </a:lnTo>
                    <a:lnTo>
                      <a:pt x="181977" y="22425"/>
                    </a:lnTo>
                    <a:lnTo>
                      <a:pt x="179703" y="22122"/>
                    </a:lnTo>
                    <a:lnTo>
                      <a:pt x="177279" y="22728"/>
                    </a:lnTo>
                    <a:lnTo>
                      <a:pt x="177431" y="23486"/>
                    </a:lnTo>
                    <a:lnTo>
                      <a:pt x="178037" y="24546"/>
                    </a:lnTo>
                    <a:close/>
                    <a:moveTo>
                      <a:pt x="270616" y="321981"/>
                    </a:moveTo>
                    <a:lnTo>
                      <a:pt x="269858" y="318345"/>
                    </a:lnTo>
                    <a:lnTo>
                      <a:pt x="268192" y="315466"/>
                    </a:lnTo>
                    <a:lnTo>
                      <a:pt x="260616" y="310314"/>
                    </a:lnTo>
                    <a:lnTo>
                      <a:pt x="257585" y="309102"/>
                    </a:lnTo>
                    <a:lnTo>
                      <a:pt x="251676" y="307890"/>
                    </a:lnTo>
                    <a:lnTo>
                      <a:pt x="248797" y="308041"/>
                    </a:lnTo>
                    <a:lnTo>
                      <a:pt x="245464" y="307435"/>
                    </a:lnTo>
                    <a:lnTo>
                      <a:pt x="242130" y="307132"/>
                    </a:lnTo>
                    <a:lnTo>
                      <a:pt x="238191" y="307587"/>
                    </a:lnTo>
                    <a:lnTo>
                      <a:pt x="236979" y="308648"/>
                    </a:lnTo>
                    <a:lnTo>
                      <a:pt x="234706" y="311678"/>
                    </a:lnTo>
                    <a:lnTo>
                      <a:pt x="233342" y="312890"/>
                    </a:lnTo>
                    <a:lnTo>
                      <a:pt x="231978" y="313345"/>
                    </a:lnTo>
                    <a:lnTo>
                      <a:pt x="230615" y="313496"/>
                    </a:lnTo>
                    <a:lnTo>
                      <a:pt x="224251" y="309860"/>
                    </a:lnTo>
                    <a:lnTo>
                      <a:pt x="226372" y="307435"/>
                    </a:lnTo>
                    <a:lnTo>
                      <a:pt x="228645" y="305314"/>
                    </a:lnTo>
                    <a:lnTo>
                      <a:pt x="231069" y="303496"/>
                    </a:lnTo>
                    <a:lnTo>
                      <a:pt x="232584" y="300617"/>
                    </a:lnTo>
                    <a:lnTo>
                      <a:pt x="230312" y="294102"/>
                    </a:lnTo>
                    <a:lnTo>
                      <a:pt x="226372" y="289101"/>
                    </a:lnTo>
                    <a:lnTo>
                      <a:pt x="214856" y="280616"/>
                    </a:lnTo>
                    <a:lnTo>
                      <a:pt x="209553" y="280616"/>
                    </a:lnTo>
                    <a:lnTo>
                      <a:pt x="204705" y="279556"/>
                    </a:lnTo>
                    <a:lnTo>
                      <a:pt x="207280" y="279556"/>
                    </a:lnTo>
                    <a:lnTo>
                      <a:pt x="210159" y="279859"/>
                    </a:lnTo>
                    <a:lnTo>
                      <a:pt x="215463" y="279101"/>
                    </a:lnTo>
                    <a:lnTo>
                      <a:pt x="218039" y="281071"/>
                    </a:lnTo>
                    <a:lnTo>
                      <a:pt x="220766" y="282586"/>
                    </a:lnTo>
                    <a:lnTo>
                      <a:pt x="222281" y="282889"/>
                    </a:lnTo>
                    <a:lnTo>
                      <a:pt x="223796" y="282738"/>
                    </a:lnTo>
                    <a:lnTo>
                      <a:pt x="224857" y="283192"/>
                    </a:lnTo>
                    <a:lnTo>
                      <a:pt x="225918" y="283950"/>
                    </a:lnTo>
                    <a:lnTo>
                      <a:pt x="223039" y="278950"/>
                    </a:lnTo>
                    <a:lnTo>
                      <a:pt x="219857" y="274404"/>
                    </a:lnTo>
                    <a:lnTo>
                      <a:pt x="218190" y="271525"/>
                    </a:lnTo>
                    <a:lnTo>
                      <a:pt x="217129" y="268495"/>
                    </a:lnTo>
                    <a:lnTo>
                      <a:pt x="218493" y="266222"/>
                    </a:lnTo>
                    <a:lnTo>
                      <a:pt x="220463" y="264858"/>
                    </a:lnTo>
                    <a:lnTo>
                      <a:pt x="216372" y="262131"/>
                    </a:lnTo>
                    <a:lnTo>
                      <a:pt x="212584" y="258797"/>
                    </a:lnTo>
                    <a:lnTo>
                      <a:pt x="208493" y="254403"/>
                    </a:lnTo>
                    <a:lnTo>
                      <a:pt x="204250" y="250312"/>
                    </a:lnTo>
                    <a:lnTo>
                      <a:pt x="201826" y="248948"/>
                    </a:lnTo>
                    <a:lnTo>
                      <a:pt x="191067" y="244706"/>
                    </a:lnTo>
                    <a:lnTo>
                      <a:pt x="188946" y="242888"/>
                    </a:lnTo>
                    <a:lnTo>
                      <a:pt x="187279" y="240160"/>
                    </a:lnTo>
                    <a:lnTo>
                      <a:pt x="183643" y="230614"/>
                    </a:lnTo>
                    <a:lnTo>
                      <a:pt x="180916" y="221675"/>
                    </a:lnTo>
                    <a:lnTo>
                      <a:pt x="178491" y="212583"/>
                    </a:lnTo>
                    <a:lnTo>
                      <a:pt x="177279" y="209856"/>
                    </a:lnTo>
                    <a:lnTo>
                      <a:pt x="175310" y="208038"/>
                    </a:lnTo>
                    <a:lnTo>
                      <a:pt x="172582" y="206068"/>
                    </a:lnTo>
                    <a:lnTo>
                      <a:pt x="167430" y="200765"/>
                    </a:lnTo>
                    <a:lnTo>
                      <a:pt x="163794" y="197128"/>
                    </a:lnTo>
                    <a:lnTo>
                      <a:pt x="151369" y="192280"/>
                    </a:lnTo>
                    <a:lnTo>
                      <a:pt x="144854" y="192280"/>
                    </a:lnTo>
                    <a:lnTo>
                      <a:pt x="140005" y="194855"/>
                    </a:lnTo>
                    <a:lnTo>
                      <a:pt x="139096" y="195159"/>
                    </a:lnTo>
                    <a:lnTo>
                      <a:pt x="123793" y="192734"/>
                    </a:lnTo>
                    <a:lnTo>
                      <a:pt x="121217" y="191674"/>
                    </a:lnTo>
                    <a:lnTo>
                      <a:pt x="118944" y="189704"/>
                    </a:lnTo>
                    <a:lnTo>
                      <a:pt x="121519" y="190916"/>
                    </a:lnTo>
                    <a:lnTo>
                      <a:pt x="127429" y="192128"/>
                    </a:lnTo>
                    <a:lnTo>
                      <a:pt x="130611" y="192280"/>
                    </a:lnTo>
                    <a:lnTo>
                      <a:pt x="133187" y="191674"/>
                    </a:lnTo>
                    <a:lnTo>
                      <a:pt x="135611" y="190310"/>
                    </a:lnTo>
                    <a:lnTo>
                      <a:pt x="141066" y="185916"/>
                    </a:lnTo>
                    <a:lnTo>
                      <a:pt x="146824" y="185613"/>
                    </a:lnTo>
                    <a:lnTo>
                      <a:pt x="149399" y="183643"/>
                    </a:lnTo>
                    <a:lnTo>
                      <a:pt x="150005" y="181067"/>
                    </a:lnTo>
                    <a:lnTo>
                      <a:pt x="143642" y="178037"/>
                    </a:lnTo>
                    <a:lnTo>
                      <a:pt x="138187" y="178340"/>
                    </a:lnTo>
                    <a:lnTo>
                      <a:pt x="135157" y="179249"/>
                    </a:lnTo>
                    <a:lnTo>
                      <a:pt x="132126" y="179400"/>
                    </a:lnTo>
                    <a:lnTo>
                      <a:pt x="134702" y="178643"/>
                    </a:lnTo>
                    <a:lnTo>
                      <a:pt x="137126" y="176976"/>
                    </a:lnTo>
                    <a:lnTo>
                      <a:pt x="139248" y="176067"/>
                    </a:lnTo>
                    <a:lnTo>
                      <a:pt x="146672" y="174703"/>
                    </a:lnTo>
                    <a:lnTo>
                      <a:pt x="149248" y="173491"/>
                    </a:lnTo>
                    <a:lnTo>
                      <a:pt x="151672" y="171673"/>
                    </a:lnTo>
                    <a:lnTo>
                      <a:pt x="154248" y="168794"/>
                    </a:lnTo>
                    <a:lnTo>
                      <a:pt x="156218" y="165157"/>
                    </a:lnTo>
                    <a:lnTo>
                      <a:pt x="160763" y="160006"/>
                    </a:lnTo>
                    <a:lnTo>
                      <a:pt x="165461" y="150611"/>
                    </a:lnTo>
                    <a:lnTo>
                      <a:pt x="166218" y="148642"/>
                    </a:lnTo>
                    <a:lnTo>
                      <a:pt x="166673" y="146520"/>
                    </a:lnTo>
                    <a:lnTo>
                      <a:pt x="167430" y="144551"/>
                    </a:lnTo>
                    <a:lnTo>
                      <a:pt x="169703" y="140914"/>
                    </a:lnTo>
                    <a:lnTo>
                      <a:pt x="172431" y="138187"/>
                    </a:lnTo>
                    <a:lnTo>
                      <a:pt x="173946" y="136066"/>
                    </a:lnTo>
                    <a:lnTo>
                      <a:pt x="173946" y="135308"/>
                    </a:lnTo>
                    <a:lnTo>
                      <a:pt x="171522" y="130611"/>
                    </a:lnTo>
                    <a:lnTo>
                      <a:pt x="168946" y="128035"/>
                    </a:lnTo>
                    <a:lnTo>
                      <a:pt x="165915" y="126974"/>
                    </a:lnTo>
                    <a:lnTo>
                      <a:pt x="161218" y="127883"/>
                    </a:lnTo>
                    <a:lnTo>
                      <a:pt x="144399" y="127429"/>
                    </a:lnTo>
                    <a:lnTo>
                      <a:pt x="141975" y="127580"/>
                    </a:lnTo>
                    <a:lnTo>
                      <a:pt x="139551" y="128186"/>
                    </a:lnTo>
                    <a:lnTo>
                      <a:pt x="138187" y="128186"/>
                    </a:lnTo>
                    <a:lnTo>
                      <a:pt x="132429" y="126671"/>
                    </a:lnTo>
                    <a:lnTo>
                      <a:pt x="129399" y="126671"/>
                    </a:lnTo>
                    <a:lnTo>
                      <a:pt x="123186" y="128489"/>
                    </a:lnTo>
                    <a:lnTo>
                      <a:pt x="116671" y="130914"/>
                    </a:lnTo>
                    <a:lnTo>
                      <a:pt x="113338" y="131671"/>
                    </a:lnTo>
                    <a:lnTo>
                      <a:pt x="109398" y="131823"/>
                    </a:lnTo>
                    <a:lnTo>
                      <a:pt x="110913" y="127883"/>
                    </a:lnTo>
                    <a:lnTo>
                      <a:pt x="116065" y="123489"/>
                    </a:lnTo>
                    <a:lnTo>
                      <a:pt x="116974" y="122277"/>
                    </a:lnTo>
                    <a:lnTo>
                      <a:pt x="115610" y="121368"/>
                    </a:lnTo>
                    <a:lnTo>
                      <a:pt x="112125" y="120913"/>
                    </a:lnTo>
                    <a:lnTo>
                      <a:pt x="112580" y="118489"/>
                    </a:lnTo>
                    <a:lnTo>
                      <a:pt x="113338" y="116671"/>
                    </a:lnTo>
                    <a:lnTo>
                      <a:pt x="119247" y="113034"/>
                    </a:lnTo>
                    <a:lnTo>
                      <a:pt x="129247" y="105610"/>
                    </a:lnTo>
                    <a:lnTo>
                      <a:pt x="134702" y="102428"/>
                    </a:lnTo>
                    <a:lnTo>
                      <a:pt x="136823" y="100155"/>
                    </a:lnTo>
                    <a:lnTo>
                      <a:pt x="137429" y="98943"/>
                    </a:lnTo>
                    <a:lnTo>
                      <a:pt x="137732" y="97882"/>
                    </a:lnTo>
                    <a:lnTo>
                      <a:pt x="137429" y="94549"/>
                    </a:lnTo>
                    <a:lnTo>
                      <a:pt x="138945" y="91670"/>
                    </a:lnTo>
                    <a:lnTo>
                      <a:pt x="139248" y="90609"/>
                    </a:lnTo>
                    <a:lnTo>
                      <a:pt x="139096" y="89852"/>
                    </a:lnTo>
                    <a:lnTo>
                      <a:pt x="133490" y="89246"/>
                    </a:lnTo>
                    <a:lnTo>
                      <a:pt x="128186" y="90609"/>
                    </a:lnTo>
                    <a:lnTo>
                      <a:pt x="122429" y="91064"/>
                    </a:lnTo>
                    <a:lnTo>
                      <a:pt x="116974" y="92276"/>
                    </a:lnTo>
                    <a:lnTo>
                      <a:pt x="108034" y="93034"/>
                    </a:lnTo>
                    <a:lnTo>
                      <a:pt x="101367" y="94852"/>
                    </a:lnTo>
                    <a:lnTo>
                      <a:pt x="99700" y="92579"/>
                    </a:lnTo>
                    <a:lnTo>
                      <a:pt x="98489" y="92882"/>
                    </a:lnTo>
                    <a:lnTo>
                      <a:pt x="94549" y="94852"/>
                    </a:lnTo>
                    <a:lnTo>
                      <a:pt x="93489" y="95003"/>
                    </a:lnTo>
                    <a:lnTo>
                      <a:pt x="92124" y="93185"/>
                    </a:lnTo>
                    <a:lnTo>
                      <a:pt x="90912" y="92428"/>
                    </a:lnTo>
                    <a:lnTo>
                      <a:pt x="87731" y="91821"/>
                    </a:lnTo>
                    <a:lnTo>
                      <a:pt x="86367" y="92124"/>
                    </a:lnTo>
                    <a:lnTo>
                      <a:pt x="85306" y="92731"/>
                    </a:lnTo>
                    <a:lnTo>
                      <a:pt x="83943" y="94549"/>
                    </a:lnTo>
                    <a:lnTo>
                      <a:pt x="83639" y="95761"/>
                    </a:lnTo>
                    <a:lnTo>
                      <a:pt x="83639" y="98488"/>
                    </a:lnTo>
                    <a:lnTo>
                      <a:pt x="83336" y="99852"/>
                    </a:lnTo>
                    <a:lnTo>
                      <a:pt x="83639" y="101367"/>
                    </a:lnTo>
                    <a:lnTo>
                      <a:pt x="85003" y="103186"/>
                    </a:lnTo>
                    <a:lnTo>
                      <a:pt x="85609" y="104549"/>
                    </a:lnTo>
                    <a:lnTo>
                      <a:pt x="84246" y="105004"/>
                    </a:lnTo>
                    <a:lnTo>
                      <a:pt x="78488" y="105004"/>
                    </a:lnTo>
                    <a:lnTo>
                      <a:pt x="76669" y="105458"/>
                    </a:lnTo>
                    <a:lnTo>
                      <a:pt x="76215" y="106519"/>
                    </a:lnTo>
                    <a:lnTo>
                      <a:pt x="76518" y="107883"/>
                    </a:lnTo>
                    <a:lnTo>
                      <a:pt x="76367" y="109246"/>
                    </a:lnTo>
                    <a:lnTo>
                      <a:pt x="74700" y="112125"/>
                    </a:lnTo>
                    <a:lnTo>
                      <a:pt x="75306" y="113186"/>
                    </a:lnTo>
                    <a:lnTo>
                      <a:pt x="81215" y="118641"/>
                    </a:lnTo>
                    <a:lnTo>
                      <a:pt x="81821" y="119701"/>
                    </a:lnTo>
                    <a:lnTo>
                      <a:pt x="78185" y="118792"/>
                    </a:lnTo>
                    <a:lnTo>
                      <a:pt x="77427" y="118792"/>
                    </a:lnTo>
                    <a:lnTo>
                      <a:pt x="76669" y="119853"/>
                    </a:lnTo>
                    <a:lnTo>
                      <a:pt x="69548" y="119701"/>
                    </a:lnTo>
                    <a:lnTo>
                      <a:pt x="68033" y="121974"/>
                    </a:lnTo>
                    <a:lnTo>
                      <a:pt x="67275" y="123792"/>
                    </a:lnTo>
                    <a:lnTo>
                      <a:pt x="65912" y="128186"/>
                    </a:lnTo>
                    <a:lnTo>
                      <a:pt x="65912" y="129096"/>
                    </a:lnTo>
                    <a:lnTo>
                      <a:pt x="66669" y="130762"/>
                    </a:lnTo>
                    <a:lnTo>
                      <a:pt x="67730" y="131975"/>
                    </a:lnTo>
                    <a:lnTo>
                      <a:pt x="70457" y="132884"/>
                    </a:lnTo>
                    <a:lnTo>
                      <a:pt x="67578" y="133793"/>
                    </a:lnTo>
                    <a:lnTo>
                      <a:pt x="65760" y="134702"/>
                    </a:lnTo>
                    <a:lnTo>
                      <a:pt x="64548" y="135914"/>
                    </a:lnTo>
                    <a:lnTo>
                      <a:pt x="64093" y="137126"/>
                    </a:lnTo>
                    <a:lnTo>
                      <a:pt x="64699" y="139399"/>
                    </a:lnTo>
                    <a:lnTo>
                      <a:pt x="68487" y="141217"/>
                    </a:lnTo>
                    <a:lnTo>
                      <a:pt x="69245" y="142732"/>
                    </a:lnTo>
                    <a:lnTo>
                      <a:pt x="71215" y="145157"/>
                    </a:lnTo>
                    <a:lnTo>
                      <a:pt x="70457" y="150308"/>
                    </a:lnTo>
                    <a:lnTo>
                      <a:pt x="66518" y="155915"/>
                    </a:lnTo>
                    <a:lnTo>
                      <a:pt x="63336" y="157581"/>
                    </a:lnTo>
                    <a:lnTo>
                      <a:pt x="63033" y="158188"/>
                    </a:lnTo>
                    <a:lnTo>
                      <a:pt x="66669" y="160157"/>
                    </a:lnTo>
                    <a:lnTo>
                      <a:pt x="62578" y="163036"/>
                    </a:lnTo>
                    <a:lnTo>
                      <a:pt x="58336" y="163642"/>
                    </a:lnTo>
                    <a:lnTo>
                      <a:pt x="55608" y="165461"/>
                    </a:lnTo>
                    <a:lnTo>
                      <a:pt x="55608" y="165915"/>
                    </a:lnTo>
                    <a:lnTo>
                      <a:pt x="57729" y="166521"/>
                    </a:lnTo>
                    <a:lnTo>
                      <a:pt x="60154" y="166673"/>
                    </a:lnTo>
                    <a:lnTo>
                      <a:pt x="61063" y="170006"/>
                    </a:lnTo>
                    <a:lnTo>
                      <a:pt x="63033" y="171673"/>
                    </a:lnTo>
                    <a:lnTo>
                      <a:pt x="65608" y="172430"/>
                    </a:lnTo>
                    <a:lnTo>
                      <a:pt x="68942" y="172733"/>
                    </a:lnTo>
                    <a:lnTo>
                      <a:pt x="71366" y="171370"/>
                    </a:lnTo>
                    <a:lnTo>
                      <a:pt x="80912" y="164097"/>
                    </a:lnTo>
                    <a:lnTo>
                      <a:pt x="81670" y="163794"/>
                    </a:lnTo>
                    <a:lnTo>
                      <a:pt x="80155" y="166521"/>
                    </a:lnTo>
                    <a:lnTo>
                      <a:pt x="78185" y="169097"/>
                    </a:lnTo>
                    <a:lnTo>
                      <a:pt x="77730" y="171521"/>
                    </a:lnTo>
                    <a:lnTo>
                      <a:pt x="76063" y="173188"/>
                    </a:lnTo>
                    <a:lnTo>
                      <a:pt x="75003" y="176825"/>
                    </a:lnTo>
                    <a:lnTo>
                      <a:pt x="73488" y="179552"/>
                    </a:lnTo>
                    <a:lnTo>
                      <a:pt x="72124" y="183340"/>
                    </a:lnTo>
                    <a:lnTo>
                      <a:pt x="71518" y="187886"/>
                    </a:lnTo>
                    <a:lnTo>
                      <a:pt x="70003" y="190916"/>
                    </a:lnTo>
                    <a:lnTo>
                      <a:pt x="69700" y="200310"/>
                    </a:lnTo>
                    <a:lnTo>
                      <a:pt x="70306" y="200916"/>
                    </a:lnTo>
                    <a:lnTo>
                      <a:pt x="71063" y="201068"/>
                    </a:lnTo>
                    <a:lnTo>
                      <a:pt x="72881" y="200462"/>
                    </a:lnTo>
                    <a:lnTo>
                      <a:pt x="72881" y="200613"/>
                    </a:lnTo>
                    <a:lnTo>
                      <a:pt x="70154" y="203795"/>
                    </a:lnTo>
                    <a:lnTo>
                      <a:pt x="68942" y="205614"/>
                    </a:lnTo>
                    <a:lnTo>
                      <a:pt x="68033" y="207583"/>
                    </a:lnTo>
                    <a:lnTo>
                      <a:pt x="66063" y="214553"/>
                    </a:lnTo>
                    <a:lnTo>
                      <a:pt x="65608" y="216372"/>
                    </a:lnTo>
                    <a:lnTo>
                      <a:pt x="65608" y="217584"/>
                    </a:lnTo>
                    <a:lnTo>
                      <a:pt x="66669" y="218644"/>
                    </a:lnTo>
                    <a:lnTo>
                      <a:pt x="68942" y="218947"/>
                    </a:lnTo>
                    <a:lnTo>
                      <a:pt x="69700" y="218796"/>
                    </a:lnTo>
                    <a:lnTo>
                      <a:pt x="70457" y="218038"/>
                    </a:lnTo>
                    <a:lnTo>
                      <a:pt x="71366" y="216523"/>
                    </a:lnTo>
                    <a:lnTo>
                      <a:pt x="76063" y="201977"/>
                    </a:lnTo>
                    <a:lnTo>
                      <a:pt x="76367" y="199704"/>
                    </a:lnTo>
                    <a:lnTo>
                      <a:pt x="75154" y="194855"/>
                    </a:lnTo>
                    <a:lnTo>
                      <a:pt x="75154" y="193946"/>
                    </a:lnTo>
                    <a:lnTo>
                      <a:pt x="75458" y="193189"/>
                    </a:lnTo>
                    <a:lnTo>
                      <a:pt x="76215" y="192280"/>
                    </a:lnTo>
                    <a:lnTo>
                      <a:pt x="78942" y="189552"/>
                    </a:lnTo>
                    <a:lnTo>
                      <a:pt x="84397" y="185461"/>
                    </a:lnTo>
                    <a:lnTo>
                      <a:pt x="86822" y="184098"/>
                    </a:lnTo>
                    <a:lnTo>
                      <a:pt x="81973" y="188643"/>
                    </a:lnTo>
                    <a:lnTo>
                      <a:pt x="80760" y="190613"/>
                    </a:lnTo>
                    <a:lnTo>
                      <a:pt x="80155" y="193189"/>
                    </a:lnTo>
                    <a:lnTo>
                      <a:pt x="80155" y="195916"/>
                    </a:lnTo>
                    <a:lnTo>
                      <a:pt x="80609" y="197583"/>
                    </a:lnTo>
                    <a:lnTo>
                      <a:pt x="80912" y="197431"/>
                    </a:lnTo>
                    <a:lnTo>
                      <a:pt x="81367" y="195916"/>
                    </a:lnTo>
                    <a:lnTo>
                      <a:pt x="83034" y="195765"/>
                    </a:lnTo>
                    <a:lnTo>
                      <a:pt x="83639" y="195310"/>
                    </a:lnTo>
                    <a:lnTo>
                      <a:pt x="84246" y="193643"/>
                    </a:lnTo>
                    <a:lnTo>
                      <a:pt x="87579" y="192886"/>
                    </a:lnTo>
                    <a:lnTo>
                      <a:pt x="88791" y="192128"/>
                    </a:lnTo>
                    <a:lnTo>
                      <a:pt x="90761" y="188795"/>
                    </a:lnTo>
                    <a:lnTo>
                      <a:pt x="91822" y="187431"/>
                    </a:lnTo>
                    <a:lnTo>
                      <a:pt x="92276" y="187128"/>
                    </a:lnTo>
                    <a:lnTo>
                      <a:pt x="91215" y="190158"/>
                    </a:lnTo>
                    <a:lnTo>
                      <a:pt x="91064" y="191371"/>
                    </a:lnTo>
                    <a:lnTo>
                      <a:pt x="95761" y="194553"/>
                    </a:lnTo>
                    <a:lnTo>
                      <a:pt x="98186" y="195613"/>
                    </a:lnTo>
                    <a:lnTo>
                      <a:pt x="92124" y="195613"/>
                    </a:lnTo>
                    <a:lnTo>
                      <a:pt x="91670" y="196068"/>
                    </a:lnTo>
                    <a:lnTo>
                      <a:pt x="90458" y="198189"/>
                    </a:lnTo>
                    <a:lnTo>
                      <a:pt x="90003" y="201826"/>
                    </a:lnTo>
                    <a:lnTo>
                      <a:pt x="90003" y="205007"/>
                    </a:lnTo>
                    <a:lnTo>
                      <a:pt x="94549" y="208947"/>
                    </a:lnTo>
                    <a:lnTo>
                      <a:pt x="95610" y="210614"/>
                    </a:lnTo>
                    <a:lnTo>
                      <a:pt x="95761" y="212583"/>
                    </a:lnTo>
                    <a:lnTo>
                      <a:pt x="94549" y="215614"/>
                    </a:lnTo>
                    <a:lnTo>
                      <a:pt x="92882" y="218038"/>
                    </a:lnTo>
                    <a:lnTo>
                      <a:pt x="87882" y="226069"/>
                    </a:lnTo>
                    <a:lnTo>
                      <a:pt x="85458" y="232281"/>
                    </a:lnTo>
                    <a:lnTo>
                      <a:pt x="83791" y="231372"/>
                    </a:lnTo>
                    <a:lnTo>
                      <a:pt x="82276" y="232433"/>
                    </a:lnTo>
                    <a:lnTo>
                      <a:pt x="82276" y="235008"/>
                    </a:lnTo>
                    <a:lnTo>
                      <a:pt x="83185" y="237281"/>
                    </a:lnTo>
                    <a:lnTo>
                      <a:pt x="86064" y="240918"/>
                    </a:lnTo>
                    <a:lnTo>
                      <a:pt x="89397" y="243645"/>
                    </a:lnTo>
                    <a:lnTo>
                      <a:pt x="90003" y="240463"/>
                    </a:lnTo>
                    <a:lnTo>
                      <a:pt x="91064" y="238494"/>
                    </a:lnTo>
                    <a:lnTo>
                      <a:pt x="91973" y="237736"/>
                    </a:lnTo>
                    <a:lnTo>
                      <a:pt x="96670" y="239857"/>
                    </a:lnTo>
                    <a:lnTo>
                      <a:pt x="100155" y="241069"/>
                    </a:lnTo>
                    <a:lnTo>
                      <a:pt x="103034" y="240009"/>
                    </a:lnTo>
                    <a:lnTo>
                      <a:pt x="105913" y="238190"/>
                    </a:lnTo>
                    <a:lnTo>
                      <a:pt x="107277" y="237736"/>
                    </a:lnTo>
                    <a:lnTo>
                      <a:pt x="108489" y="238039"/>
                    </a:lnTo>
                    <a:lnTo>
                      <a:pt x="109398" y="239403"/>
                    </a:lnTo>
                    <a:lnTo>
                      <a:pt x="110459" y="240160"/>
                    </a:lnTo>
                    <a:lnTo>
                      <a:pt x="111974" y="239857"/>
                    </a:lnTo>
                    <a:lnTo>
                      <a:pt x="115156" y="240160"/>
                    </a:lnTo>
                    <a:lnTo>
                      <a:pt x="116822" y="239251"/>
                    </a:lnTo>
                    <a:lnTo>
                      <a:pt x="118338" y="237887"/>
                    </a:lnTo>
                    <a:lnTo>
                      <a:pt x="120005" y="236827"/>
                    </a:lnTo>
                    <a:lnTo>
                      <a:pt x="121823" y="236524"/>
                    </a:lnTo>
                    <a:lnTo>
                      <a:pt x="123489" y="235918"/>
                    </a:lnTo>
                    <a:lnTo>
                      <a:pt x="126368" y="233796"/>
                    </a:lnTo>
                    <a:lnTo>
                      <a:pt x="129550" y="233190"/>
                    </a:lnTo>
                    <a:lnTo>
                      <a:pt x="139248" y="233190"/>
                    </a:lnTo>
                    <a:lnTo>
                      <a:pt x="140460" y="233493"/>
                    </a:lnTo>
                    <a:lnTo>
                      <a:pt x="134096" y="235312"/>
                    </a:lnTo>
                    <a:lnTo>
                      <a:pt x="128641" y="240312"/>
                    </a:lnTo>
                    <a:lnTo>
                      <a:pt x="125156" y="248191"/>
                    </a:lnTo>
                    <a:lnTo>
                      <a:pt x="125762" y="251827"/>
                    </a:lnTo>
                    <a:lnTo>
                      <a:pt x="130156" y="257888"/>
                    </a:lnTo>
                    <a:lnTo>
                      <a:pt x="132581" y="260767"/>
                    </a:lnTo>
                    <a:lnTo>
                      <a:pt x="136823" y="264555"/>
                    </a:lnTo>
                    <a:lnTo>
                      <a:pt x="138339" y="264555"/>
                    </a:lnTo>
                    <a:lnTo>
                      <a:pt x="139854" y="263494"/>
                    </a:lnTo>
                    <a:lnTo>
                      <a:pt x="141520" y="262888"/>
                    </a:lnTo>
                    <a:lnTo>
                      <a:pt x="145005" y="262585"/>
                    </a:lnTo>
                    <a:lnTo>
                      <a:pt x="145611" y="264101"/>
                    </a:lnTo>
                    <a:lnTo>
                      <a:pt x="145157" y="267585"/>
                    </a:lnTo>
                    <a:lnTo>
                      <a:pt x="144096" y="270767"/>
                    </a:lnTo>
                    <a:lnTo>
                      <a:pt x="140611" y="272889"/>
                    </a:lnTo>
                    <a:lnTo>
                      <a:pt x="140157" y="275162"/>
                    </a:lnTo>
                    <a:lnTo>
                      <a:pt x="140460" y="277737"/>
                    </a:lnTo>
                    <a:lnTo>
                      <a:pt x="141823" y="278798"/>
                    </a:lnTo>
                    <a:lnTo>
                      <a:pt x="143490" y="279253"/>
                    </a:lnTo>
                    <a:lnTo>
                      <a:pt x="141520" y="281828"/>
                    </a:lnTo>
                    <a:lnTo>
                      <a:pt x="139702" y="284707"/>
                    </a:lnTo>
                    <a:lnTo>
                      <a:pt x="139551" y="287435"/>
                    </a:lnTo>
                    <a:lnTo>
                      <a:pt x="142127" y="291980"/>
                    </a:lnTo>
                    <a:lnTo>
                      <a:pt x="143642" y="293495"/>
                    </a:lnTo>
                    <a:lnTo>
                      <a:pt x="145460" y="294102"/>
                    </a:lnTo>
                    <a:lnTo>
                      <a:pt x="146824" y="294102"/>
                    </a:lnTo>
                    <a:lnTo>
                      <a:pt x="148036" y="294859"/>
                    </a:lnTo>
                    <a:lnTo>
                      <a:pt x="144854" y="295465"/>
                    </a:lnTo>
                    <a:lnTo>
                      <a:pt x="143339" y="295011"/>
                    </a:lnTo>
                    <a:lnTo>
                      <a:pt x="139399" y="290465"/>
                    </a:lnTo>
                    <a:lnTo>
                      <a:pt x="136672" y="291677"/>
                    </a:lnTo>
                    <a:lnTo>
                      <a:pt x="138490" y="296677"/>
                    </a:lnTo>
                    <a:lnTo>
                      <a:pt x="132278" y="293495"/>
                    </a:lnTo>
                    <a:lnTo>
                      <a:pt x="129550" y="293799"/>
                    </a:lnTo>
                    <a:lnTo>
                      <a:pt x="126823" y="294859"/>
                    </a:lnTo>
                    <a:lnTo>
                      <a:pt x="123641" y="295314"/>
                    </a:lnTo>
                    <a:lnTo>
                      <a:pt x="120459" y="295011"/>
                    </a:lnTo>
                    <a:lnTo>
                      <a:pt x="119247" y="295162"/>
                    </a:lnTo>
                    <a:lnTo>
                      <a:pt x="111065" y="298344"/>
                    </a:lnTo>
                    <a:lnTo>
                      <a:pt x="106822" y="301072"/>
                    </a:lnTo>
                    <a:lnTo>
                      <a:pt x="105155" y="302587"/>
                    </a:lnTo>
                    <a:lnTo>
                      <a:pt x="104246" y="304405"/>
                    </a:lnTo>
                    <a:lnTo>
                      <a:pt x="103034" y="305920"/>
                    </a:lnTo>
                    <a:lnTo>
                      <a:pt x="99700" y="308041"/>
                    </a:lnTo>
                    <a:lnTo>
                      <a:pt x="96670" y="310466"/>
                    </a:lnTo>
                    <a:lnTo>
                      <a:pt x="95458" y="312133"/>
                    </a:lnTo>
                    <a:lnTo>
                      <a:pt x="95458" y="313496"/>
                    </a:lnTo>
                    <a:lnTo>
                      <a:pt x="98186" y="313193"/>
                    </a:lnTo>
                    <a:lnTo>
                      <a:pt x="101216" y="311375"/>
                    </a:lnTo>
                    <a:lnTo>
                      <a:pt x="104398" y="310011"/>
                    </a:lnTo>
                    <a:lnTo>
                      <a:pt x="107883" y="309405"/>
                    </a:lnTo>
                    <a:lnTo>
                      <a:pt x="111368" y="309254"/>
                    </a:lnTo>
                    <a:lnTo>
                      <a:pt x="111065" y="311072"/>
                    </a:lnTo>
                    <a:lnTo>
                      <a:pt x="110913" y="312739"/>
                    </a:lnTo>
                    <a:lnTo>
                      <a:pt x="112277" y="314860"/>
                    </a:lnTo>
                    <a:lnTo>
                      <a:pt x="113034" y="316981"/>
                    </a:lnTo>
                    <a:lnTo>
                      <a:pt x="112125" y="318648"/>
                    </a:lnTo>
                    <a:lnTo>
                      <a:pt x="111974" y="320466"/>
                    </a:lnTo>
                    <a:lnTo>
                      <a:pt x="112731" y="322284"/>
                    </a:lnTo>
                    <a:lnTo>
                      <a:pt x="114550" y="322891"/>
                    </a:lnTo>
                    <a:lnTo>
                      <a:pt x="112580" y="325315"/>
                    </a:lnTo>
                    <a:lnTo>
                      <a:pt x="111216" y="328345"/>
                    </a:lnTo>
                    <a:lnTo>
                      <a:pt x="109853" y="330770"/>
                    </a:lnTo>
                    <a:lnTo>
                      <a:pt x="108034" y="332588"/>
                    </a:lnTo>
                    <a:lnTo>
                      <a:pt x="103488" y="335467"/>
                    </a:lnTo>
                    <a:lnTo>
                      <a:pt x="98640" y="337134"/>
                    </a:lnTo>
                    <a:lnTo>
                      <a:pt x="90003" y="341073"/>
                    </a:lnTo>
                    <a:lnTo>
                      <a:pt x="84246" y="342740"/>
                    </a:lnTo>
                    <a:lnTo>
                      <a:pt x="81670" y="344406"/>
                    </a:lnTo>
                    <a:lnTo>
                      <a:pt x="79548" y="346982"/>
                    </a:lnTo>
                    <a:lnTo>
                      <a:pt x="81215" y="347740"/>
                    </a:lnTo>
                    <a:lnTo>
                      <a:pt x="82124" y="349710"/>
                    </a:lnTo>
                    <a:lnTo>
                      <a:pt x="82124" y="352134"/>
                    </a:lnTo>
                    <a:lnTo>
                      <a:pt x="83336" y="353346"/>
                    </a:lnTo>
                    <a:lnTo>
                      <a:pt x="89397" y="356225"/>
                    </a:lnTo>
                    <a:lnTo>
                      <a:pt x="94398" y="354104"/>
                    </a:lnTo>
                    <a:lnTo>
                      <a:pt x="97579" y="352134"/>
                    </a:lnTo>
                    <a:lnTo>
                      <a:pt x="99549" y="351679"/>
                    </a:lnTo>
                    <a:lnTo>
                      <a:pt x="103488" y="351982"/>
                    </a:lnTo>
                    <a:lnTo>
                      <a:pt x="105155" y="353498"/>
                    </a:lnTo>
                    <a:lnTo>
                      <a:pt x="106519" y="354104"/>
                    </a:lnTo>
                    <a:lnTo>
                      <a:pt x="111519" y="354861"/>
                    </a:lnTo>
                    <a:lnTo>
                      <a:pt x="109246" y="356074"/>
                    </a:lnTo>
                    <a:lnTo>
                      <a:pt x="107580" y="358195"/>
                    </a:lnTo>
                    <a:lnTo>
                      <a:pt x="110913" y="358346"/>
                    </a:lnTo>
                    <a:lnTo>
                      <a:pt x="114095" y="357740"/>
                    </a:lnTo>
                    <a:lnTo>
                      <a:pt x="115610" y="357134"/>
                    </a:lnTo>
                    <a:lnTo>
                      <a:pt x="117126" y="357286"/>
                    </a:lnTo>
                    <a:lnTo>
                      <a:pt x="120610" y="359104"/>
                    </a:lnTo>
                    <a:lnTo>
                      <a:pt x="126065" y="363650"/>
                    </a:lnTo>
                    <a:lnTo>
                      <a:pt x="133490" y="364559"/>
                    </a:lnTo>
                    <a:lnTo>
                      <a:pt x="134399" y="364256"/>
                    </a:lnTo>
                    <a:lnTo>
                      <a:pt x="139248" y="360771"/>
                    </a:lnTo>
                    <a:lnTo>
                      <a:pt x="141975" y="359256"/>
                    </a:lnTo>
                    <a:lnTo>
                      <a:pt x="148490" y="357740"/>
                    </a:lnTo>
                    <a:lnTo>
                      <a:pt x="150460" y="356225"/>
                    </a:lnTo>
                    <a:lnTo>
                      <a:pt x="153945" y="353649"/>
                    </a:lnTo>
                    <a:lnTo>
                      <a:pt x="156824" y="351982"/>
                    </a:lnTo>
                    <a:lnTo>
                      <a:pt x="152582" y="356831"/>
                    </a:lnTo>
                    <a:lnTo>
                      <a:pt x="150005" y="359407"/>
                    </a:lnTo>
                    <a:lnTo>
                      <a:pt x="147127" y="361680"/>
                    </a:lnTo>
                    <a:lnTo>
                      <a:pt x="144702" y="364256"/>
                    </a:lnTo>
                    <a:lnTo>
                      <a:pt x="140308" y="370013"/>
                    </a:lnTo>
                    <a:lnTo>
                      <a:pt x="137732" y="371529"/>
                    </a:lnTo>
                    <a:lnTo>
                      <a:pt x="134399" y="371983"/>
                    </a:lnTo>
                    <a:lnTo>
                      <a:pt x="131065" y="371832"/>
                    </a:lnTo>
                    <a:lnTo>
                      <a:pt x="124702" y="370620"/>
                    </a:lnTo>
                    <a:lnTo>
                      <a:pt x="118338" y="370468"/>
                    </a:lnTo>
                    <a:lnTo>
                      <a:pt x="109701" y="371529"/>
                    </a:lnTo>
                    <a:lnTo>
                      <a:pt x="108943" y="371983"/>
                    </a:lnTo>
                    <a:lnTo>
                      <a:pt x="105913" y="377893"/>
                    </a:lnTo>
                    <a:lnTo>
                      <a:pt x="99700" y="379711"/>
                    </a:lnTo>
                    <a:lnTo>
                      <a:pt x="99095" y="382438"/>
                    </a:lnTo>
                    <a:lnTo>
                      <a:pt x="98640" y="385317"/>
                    </a:lnTo>
                    <a:lnTo>
                      <a:pt x="98034" y="386984"/>
                    </a:lnTo>
                    <a:lnTo>
                      <a:pt x="90458" y="393954"/>
                    </a:lnTo>
                    <a:lnTo>
                      <a:pt x="89549" y="395620"/>
                    </a:lnTo>
                    <a:lnTo>
                      <a:pt x="87882" y="396075"/>
                    </a:lnTo>
                    <a:lnTo>
                      <a:pt x="86518" y="397136"/>
                    </a:lnTo>
                    <a:lnTo>
                      <a:pt x="85458" y="398651"/>
                    </a:lnTo>
                    <a:lnTo>
                      <a:pt x="82730" y="401378"/>
                    </a:lnTo>
                    <a:lnTo>
                      <a:pt x="77276" y="405924"/>
                    </a:lnTo>
                    <a:lnTo>
                      <a:pt x="71063" y="407742"/>
                    </a:lnTo>
                    <a:lnTo>
                      <a:pt x="68791" y="410015"/>
                    </a:lnTo>
                    <a:lnTo>
                      <a:pt x="68791" y="411985"/>
                    </a:lnTo>
                    <a:lnTo>
                      <a:pt x="69700" y="412894"/>
                    </a:lnTo>
                    <a:lnTo>
                      <a:pt x="71669" y="411682"/>
                    </a:lnTo>
                    <a:lnTo>
                      <a:pt x="74851" y="410924"/>
                    </a:lnTo>
                    <a:lnTo>
                      <a:pt x="77882" y="411682"/>
                    </a:lnTo>
                    <a:lnTo>
                      <a:pt x="80609" y="413955"/>
                    </a:lnTo>
                    <a:lnTo>
                      <a:pt x="83488" y="413348"/>
                    </a:lnTo>
                    <a:lnTo>
                      <a:pt x="85458" y="409863"/>
                    </a:lnTo>
                    <a:lnTo>
                      <a:pt x="86518" y="408954"/>
                    </a:lnTo>
                    <a:lnTo>
                      <a:pt x="91822" y="405621"/>
                    </a:lnTo>
                    <a:lnTo>
                      <a:pt x="94246" y="404409"/>
                    </a:lnTo>
                    <a:lnTo>
                      <a:pt x="100307" y="402590"/>
                    </a:lnTo>
                    <a:lnTo>
                      <a:pt x="103792" y="401984"/>
                    </a:lnTo>
                    <a:lnTo>
                      <a:pt x="106065" y="401984"/>
                    </a:lnTo>
                    <a:lnTo>
                      <a:pt x="108186" y="401227"/>
                    </a:lnTo>
                    <a:lnTo>
                      <a:pt x="108792" y="400621"/>
                    </a:lnTo>
                    <a:lnTo>
                      <a:pt x="109398" y="400772"/>
                    </a:lnTo>
                    <a:lnTo>
                      <a:pt x="111216" y="402287"/>
                    </a:lnTo>
                    <a:lnTo>
                      <a:pt x="116822" y="404560"/>
                    </a:lnTo>
                    <a:lnTo>
                      <a:pt x="119701" y="406530"/>
                    </a:lnTo>
                    <a:lnTo>
                      <a:pt x="122883" y="406075"/>
                    </a:lnTo>
                    <a:lnTo>
                      <a:pt x="125459" y="403196"/>
                    </a:lnTo>
                    <a:lnTo>
                      <a:pt x="127126" y="399408"/>
                    </a:lnTo>
                    <a:lnTo>
                      <a:pt x="128186" y="395166"/>
                    </a:lnTo>
                    <a:lnTo>
                      <a:pt x="130459" y="392135"/>
                    </a:lnTo>
                    <a:lnTo>
                      <a:pt x="141520" y="389105"/>
                    </a:lnTo>
                    <a:lnTo>
                      <a:pt x="144248" y="388954"/>
                    </a:lnTo>
                    <a:lnTo>
                      <a:pt x="147581" y="389560"/>
                    </a:lnTo>
                    <a:lnTo>
                      <a:pt x="150763" y="390923"/>
                    </a:lnTo>
                    <a:lnTo>
                      <a:pt x="153793" y="392893"/>
                    </a:lnTo>
                    <a:lnTo>
                      <a:pt x="156975" y="393499"/>
                    </a:lnTo>
                    <a:lnTo>
                      <a:pt x="158036" y="392287"/>
                    </a:lnTo>
                    <a:lnTo>
                      <a:pt x="159248" y="391984"/>
                    </a:lnTo>
                    <a:lnTo>
                      <a:pt x="167885" y="393196"/>
                    </a:lnTo>
                    <a:lnTo>
                      <a:pt x="168946" y="393045"/>
                    </a:lnTo>
                    <a:lnTo>
                      <a:pt x="169855" y="392287"/>
                    </a:lnTo>
                    <a:lnTo>
                      <a:pt x="168643" y="390620"/>
                    </a:lnTo>
                    <a:lnTo>
                      <a:pt x="168036" y="388802"/>
                    </a:lnTo>
                    <a:lnTo>
                      <a:pt x="172582" y="389105"/>
                    </a:lnTo>
                    <a:lnTo>
                      <a:pt x="177431" y="388347"/>
                    </a:lnTo>
                    <a:lnTo>
                      <a:pt x="179855" y="388499"/>
                    </a:lnTo>
                    <a:lnTo>
                      <a:pt x="182128" y="388044"/>
                    </a:lnTo>
                    <a:lnTo>
                      <a:pt x="187128" y="385469"/>
                    </a:lnTo>
                    <a:lnTo>
                      <a:pt x="184856" y="382741"/>
                    </a:lnTo>
                    <a:lnTo>
                      <a:pt x="188492" y="384105"/>
                    </a:lnTo>
                    <a:lnTo>
                      <a:pt x="192583" y="384559"/>
                    </a:lnTo>
                    <a:lnTo>
                      <a:pt x="196220" y="385620"/>
                    </a:lnTo>
                    <a:lnTo>
                      <a:pt x="199704" y="387135"/>
                    </a:lnTo>
                    <a:lnTo>
                      <a:pt x="202129" y="387438"/>
                    </a:lnTo>
                    <a:lnTo>
                      <a:pt x="211220" y="385772"/>
                    </a:lnTo>
                    <a:lnTo>
                      <a:pt x="218039" y="385620"/>
                    </a:lnTo>
                    <a:lnTo>
                      <a:pt x="229251" y="387438"/>
                    </a:lnTo>
                    <a:lnTo>
                      <a:pt x="231827" y="386984"/>
                    </a:lnTo>
                    <a:lnTo>
                      <a:pt x="235009" y="385469"/>
                    </a:lnTo>
                    <a:lnTo>
                      <a:pt x="238191" y="384256"/>
                    </a:lnTo>
                    <a:lnTo>
                      <a:pt x="242282" y="383044"/>
                    </a:lnTo>
                    <a:lnTo>
                      <a:pt x="244706" y="381226"/>
                    </a:lnTo>
                    <a:lnTo>
                      <a:pt x="249858" y="381529"/>
                    </a:lnTo>
                    <a:lnTo>
                      <a:pt x="250312" y="379862"/>
                    </a:lnTo>
                    <a:lnTo>
                      <a:pt x="252131" y="377135"/>
                    </a:lnTo>
                    <a:lnTo>
                      <a:pt x="260919" y="373195"/>
                    </a:lnTo>
                    <a:lnTo>
                      <a:pt x="261828" y="372286"/>
                    </a:lnTo>
                    <a:lnTo>
                      <a:pt x="262282" y="367589"/>
                    </a:lnTo>
                    <a:lnTo>
                      <a:pt x="262282" y="365619"/>
                    </a:lnTo>
                    <a:lnTo>
                      <a:pt x="261222" y="365165"/>
                    </a:lnTo>
                    <a:lnTo>
                      <a:pt x="258040" y="365165"/>
                    </a:lnTo>
                    <a:lnTo>
                      <a:pt x="251373" y="365771"/>
                    </a:lnTo>
                    <a:lnTo>
                      <a:pt x="247888" y="365771"/>
                    </a:lnTo>
                    <a:lnTo>
                      <a:pt x="242282" y="364862"/>
                    </a:lnTo>
                    <a:lnTo>
                      <a:pt x="241221" y="364256"/>
                    </a:lnTo>
                    <a:lnTo>
                      <a:pt x="240009" y="361983"/>
                    </a:lnTo>
                    <a:lnTo>
                      <a:pt x="238039" y="361377"/>
                    </a:lnTo>
                    <a:lnTo>
                      <a:pt x="235160" y="362134"/>
                    </a:lnTo>
                    <a:lnTo>
                      <a:pt x="237433" y="360771"/>
                    </a:lnTo>
                    <a:lnTo>
                      <a:pt x="239857" y="360165"/>
                    </a:lnTo>
                    <a:lnTo>
                      <a:pt x="242736" y="360013"/>
                    </a:lnTo>
                    <a:lnTo>
                      <a:pt x="245464" y="359407"/>
                    </a:lnTo>
                    <a:lnTo>
                      <a:pt x="248039" y="358195"/>
                    </a:lnTo>
                    <a:lnTo>
                      <a:pt x="249100" y="355468"/>
                    </a:lnTo>
                    <a:lnTo>
                      <a:pt x="248343" y="353952"/>
                    </a:lnTo>
                    <a:lnTo>
                      <a:pt x="244403" y="352437"/>
                    </a:lnTo>
                    <a:lnTo>
                      <a:pt x="250009" y="349558"/>
                    </a:lnTo>
                    <a:lnTo>
                      <a:pt x="253949" y="350316"/>
                    </a:lnTo>
                    <a:lnTo>
                      <a:pt x="256373" y="349710"/>
                    </a:lnTo>
                    <a:lnTo>
                      <a:pt x="258797" y="348194"/>
                    </a:lnTo>
                    <a:lnTo>
                      <a:pt x="258797" y="346073"/>
                    </a:lnTo>
                    <a:lnTo>
                      <a:pt x="257585" y="344406"/>
                    </a:lnTo>
                    <a:lnTo>
                      <a:pt x="257737" y="343649"/>
                    </a:lnTo>
                    <a:lnTo>
                      <a:pt x="258949" y="343497"/>
                    </a:lnTo>
                    <a:lnTo>
                      <a:pt x="260010" y="344103"/>
                    </a:lnTo>
                    <a:lnTo>
                      <a:pt x="262585" y="342740"/>
                    </a:lnTo>
                    <a:lnTo>
                      <a:pt x="266525" y="339406"/>
                    </a:lnTo>
                    <a:lnTo>
                      <a:pt x="267434" y="338194"/>
                    </a:lnTo>
                    <a:lnTo>
                      <a:pt x="268040" y="336679"/>
                    </a:lnTo>
                    <a:lnTo>
                      <a:pt x="268949" y="332436"/>
                    </a:lnTo>
                    <a:lnTo>
                      <a:pt x="270465" y="329103"/>
                    </a:lnTo>
                    <a:lnTo>
                      <a:pt x="271677" y="325466"/>
                    </a:lnTo>
                    <a:lnTo>
                      <a:pt x="270616" y="321981"/>
                    </a:lnTo>
                    <a:close/>
                    <a:moveTo>
                      <a:pt x="70760" y="255161"/>
                    </a:moveTo>
                    <a:lnTo>
                      <a:pt x="68791" y="255161"/>
                    </a:lnTo>
                    <a:lnTo>
                      <a:pt x="68184" y="254858"/>
                    </a:lnTo>
                    <a:lnTo>
                      <a:pt x="68487" y="251221"/>
                    </a:lnTo>
                    <a:lnTo>
                      <a:pt x="67730" y="248494"/>
                    </a:lnTo>
                    <a:lnTo>
                      <a:pt x="69245" y="248948"/>
                    </a:lnTo>
                    <a:lnTo>
                      <a:pt x="70609" y="249858"/>
                    </a:lnTo>
                    <a:lnTo>
                      <a:pt x="71821" y="251827"/>
                    </a:lnTo>
                    <a:lnTo>
                      <a:pt x="73033" y="252585"/>
                    </a:lnTo>
                    <a:lnTo>
                      <a:pt x="73336" y="250312"/>
                    </a:lnTo>
                    <a:lnTo>
                      <a:pt x="72730" y="248342"/>
                    </a:lnTo>
                    <a:lnTo>
                      <a:pt x="71669" y="245918"/>
                    </a:lnTo>
                    <a:lnTo>
                      <a:pt x="70154" y="244251"/>
                    </a:lnTo>
                    <a:lnTo>
                      <a:pt x="65912" y="243948"/>
                    </a:lnTo>
                    <a:lnTo>
                      <a:pt x="64093" y="244403"/>
                    </a:lnTo>
                    <a:lnTo>
                      <a:pt x="61972" y="245160"/>
                    </a:lnTo>
                    <a:lnTo>
                      <a:pt x="61972" y="243494"/>
                    </a:lnTo>
                    <a:lnTo>
                      <a:pt x="65154" y="241978"/>
                    </a:lnTo>
                    <a:lnTo>
                      <a:pt x="66669" y="240766"/>
                    </a:lnTo>
                    <a:lnTo>
                      <a:pt x="66518" y="238494"/>
                    </a:lnTo>
                    <a:lnTo>
                      <a:pt x="62275" y="234706"/>
                    </a:lnTo>
                    <a:lnTo>
                      <a:pt x="59093" y="230463"/>
                    </a:lnTo>
                    <a:lnTo>
                      <a:pt x="57729" y="226069"/>
                    </a:lnTo>
                    <a:lnTo>
                      <a:pt x="55154" y="223341"/>
                    </a:lnTo>
                    <a:lnTo>
                      <a:pt x="52275" y="223341"/>
                    </a:lnTo>
                    <a:lnTo>
                      <a:pt x="48487" y="222432"/>
                    </a:lnTo>
                    <a:lnTo>
                      <a:pt x="45759" y="222432"/>
                    </a:lnTo>
                    <a:lnTo>
                      <a:pt x="39698" y="224251"/>
                    </a:lnTo>
                    <a:lnTo>
                      <a:pt x="36214" y="224705"/>
                    </a:lnTo>
                    <a:lnTo>
                      <a:pt x="34395" y="224402"/>
                    </a:lnTo>
                    <a:lnTo>
                      <a:pt x="32729" y="224705"/>
                    </a:lnTo>
                    <a:lnTo>
                      <a:pt x="30456" y="228645"/>
                    </a:lnTo>
                    <a:lnTo>
                      <a:pt x="28486" y="229857"/>
                    </a:lnTo>
                    <a:lnTo>
                      <a:pt x="26516" y="229251"/>
                    </a:lnTo>
                    <a:lnTo>
                      <a:pt x="25455" y="227887"/>
                    </a:lnTo>
                    <a:lnTo>
                      <a:pt x="21062" y="230311"/>
                    </a:lnTo>
                    <a:lnTo>
                      <a:pt x="20455" y="231220"/>
                    </a:lnTo>
                    <a:lnTo>
                      <a:pt x="19243" y="235008"/>
                    </a:lnTo>
                    <a:lnTo>
                      <a:pt x="19092" y="236069"/>
                    </a:lnTo>
                    <a:lnTo>
                      <a:pt x="17728" y="238039"/>
                    </a:lnTo>
                    <a:lnTo>
                      <a:pt x="16364" y="240160"/>
                    </a:lnTo>
                    <a:lnTo>
                      <a:pt x="14849" y="241069"/>
                    </a:lnTo>
                    <a:lnTo>
                      <a:pt x="12576" y="241675"/>
                    </a:lnTo>
                    <a:lnTo>
                      <a:pt x="11212" y="242282"/>
                    </a:lnTo>
                    <a:lnTo>
                      <a:pt x="9546" y="241978"/>
                    </a:lnTo>
                    <a:lnTo>
                      <a:pt x="7424" y="241978"/>
                    </a:lnTo>
                    <a:lnTo>
                      <a:pt x="6364" y="242736"/>
                    </a:lnTo>
                    <a:lnTo>
                      <a:pt x="6364" y="243342"/>
                    </a:lnTo>
                    <a:lnTo>
                      <a:pt x="6970" y="243948"/>
                    </a:lnTo>
                    <a:lnTo>
                      <a:pt x="8788" y="245009"/>
                    </a:lnTo>
                    <a:lnTo>
                      <a:pt x="10758" y="245918"/>
                    </a:lnTo>
                    <a:lnTo>
                      <a:pt x="10607" y="246676"/>
                    </a:lnTo>
                    <a:lnTo>
                      <a:pt x="9546" y="247585"/>
                    </a:lnTo>
                    <a:lnTo>
                      <a:pt x="2727" y="249858"/>
                    </a:lnTo>
                    <a:lnTo>
                      <a:pt x="757" y="251221"/>
                    </a:lnTo>
                    <a:lnTo>
                      <a:pt x="0" y="252130"/>
                    </a:lnTo>
                    <a:lnTo>
                      <a:pt x="757" y="253646"/>
                    </a:lnTo>
                    <a:lnTo>
                      <a:pt x="6212" y="258040"/>
                    </a:lnTo>
                    <a:lnTo>
                      <a:pt x="7121" y="258494"/>
                    </a:lnTo>
                    <a:lnTo>
                      <a:pt x="7879" y="261070"/>
                    </a:lnTo>
                    <a:lnTo>
                      <a:pt x="12728" y="262131"/>
                    </a:lnTo>
                    <a:lnTo>
                      <a:pt x="14698" y="263797"/>
                    </a:lnTo>
                    <a:lnTo>
                      <a:pt x="16364" y="264252"/>
                    </a:lnTo>
                    <a:lnTo>
                      <a:pt x="20001" y="264101"/>
                    </a:lnTo>
                    <a:lnTo>
                      <a:pt x="21516" y="264707"/>
                    </a:lnTo>
                    <a:lnTo>
                      <a:pt x="22425" y="264252"/>
                    </a:lnTo>
                    <a:lnTo>
                      <a:pt x="22880" y="263343"/>
                    </a:lnTo>
                    <a:lnTo>
                      <a:pt x="26062" y="261222"/>
                    </a:lnTo>
                    <a:lnTo>
                      <a:pt x="27122" y="260313"/>
                    </a:lnTo>
                    <a:lnTo>
                      <a:pt x="26516" y="258797"/>
                    </a:lnTo>
                    <a:lnTo>
                      <a:pt x="25910" y="257737"/>
                    </a:lnTo>
                    <a:lnTo>
                      <a:pt x="27728" y="255767"/>
                    </a:lnTo>
                    <a:lnTo>
                      <a:pt x="30001" y="253797"/>
                    </a:lnTo>
                    <a:lnTo>
                      <a:pt x="31213" y="253797"/>
                    </a:lnTo>
                    <a:lnTo>
                      <a:pt x="33183" y="255009"/>
                    </a:lnTo>
                    <a:lnTo>
                      <a:pt x="34850" y="256676"/>
                    </a:lnTo>
                    <a:lnTo>
                      <a:pt x="35001" y="258040"/>
                    </a:lnTo>
                    <a:lnTo>
                      <a:pt x="35304" y="258949"/>
                    </a:lnTo>
                    <a:lnTo>
                      <a:pt x="36819" y="260919"/>
                    </a:lnTo>
                    <a:lnTo>
                      <a:pt x="37880" y="261676"/>
                    </a:lnTo>
                    <a:lnTo>
                      <a:pt x="40607" y="262131"/>
                    </a:lnTo>
                    <a:lnTo>
                      <a:pt x="41214" y="262888"/>
                    </a:lnTo>
                    <a:lnTo>
                      <a:pt x="40759" y="265919"/>
                    </a:lnTo>
                    <a:lnTo>
                      <a:pt x="41214" y="266828"/>
                    </a:lnTo>
                    <a:lnTo>
                      <a:pt x="43941" y="266828"/>
                    </a:lnTo>
                    <a:lnTo>
                      <a:pt x="46820" y="266525"/>
                    </a:lnTo>
                    <a:lnTo>
                      <a:pt x="47881" y="266676"/>
                    </a:lnTo>
                    <a:lnTo>
                      <a:pt x="48941" y="266070"/>
                    </a:lnTo>
                    <a:lnTo>
                      <a:pt x="50608" y="265464"/>
                    </a:lnTo>
                    <a:lnTo>
                      <a:pt x="52881" y="265767"/>
                    </a:lnTo>
                    <a:lnTo>
                      <a:pt x="55608" y="266828"/>
                    </a:lnTo>
                    <a:lnTo>
                      <a:pt x="58336" y="267131"/>
                    </a:lnTo>
                    <a:lnTo>
                      <a:pt x="60608" y="265767"/>
                    </a:lnTo>
                    <a:lnTo>
                      <a:pt x="62275" y="263191"/>
                    </a:lnTo>
                    <a:lnTo>
                      <a:pt x="62881" y="261525"/>
                    </a:lnTo>
                    <a:lnTo>
                      <a:pt x="63639" y="260161"/>
                    </a:lnTo>
                    <a:lnTo>
                      <a:pt x="66821" y="259858"/>
                    </a:lnTo>
                    <a:lnTo>
                      <a:pt x="69548" y="258797"/>
                    </a:lnTo>
                    <a:lnTo>
                      <a:pt x="70760" y="255161"/>
                    </a:lnTo>
                    <a:close/>
                    <a:moveTo>
                      <a:pt x="186977" y="387741"/>
                    </a:moveTo>
                    <a:lnTo>
                      <a:pt x="185007" y="389105"/>
                    </a:lnTo>
                    <a:lnTo>
                      <a:pt x="181522" y="390166"/>
                    </a:lnTo>
                    <a:lnTo>
                      <a:pt x="180158" y="391529"/>
                    </a:lnTo>
                    <a:lnTo>
                      <a:pt x="181522" y="391378"/>
                    </a:lnTo>
                    <a:lnTo>
                      <a:pt x="187279" y="394257"/>
                    </a:lnTo>
                    <a:lnTo>
                      <a:pt x="188795" y="394257"/>
                    </a:lnTo>
                    <a:lnTo>
                      <a:pt x="190310" y="393954"/>
                    </a:lnTo>
                    <a:lnTo>
                      <a:pt x="190916" y="393348"/>
                    </a:lnTo>
                    <a:lnTo>
                      <a:pt x="191674" y="391832"/>
                    </a:lnTo>
                    <a:lnTo>
                      <a:pt x="193946" y="390620"/>
                    </a:lnTo>
                    <a:lnTo>
                      <a:pt x="191825" y="388954"/>
                    </a:lnTo>
                    <a:lnTo>
                      <a:pt x="186977" y="387741"/>
                    </a:lnTo>
                    <a:close/>
                    <a:moveTo>
                      <a:pt x="58942" y="200613"/>
                    </a:moveTo>
                    <a:lnTo>
                      <a:pt x="59548" y="200159"/>
                    </a:lnTo>
                    <a:lnTo>
                      <a:pt x="64245" y="192734"/>
                    </a:lnTo>
                    <a:lnTo>
                      <a:pt x="66215" y="188340"/>
                    </a:lnTo>
                    <a:lnTo>
                      <a:pt x="65154" y="188340"/>
                    </a:lnTo>
                    <a:lnTo>
                      <a:pt x="64093" y="188795"/>
                    </a:lnTo>
                    <a:lnTo>
                      <a:pt x="60305" y="191219"/>
                    </a:lnTo>
                    <a:lnTo>
                      <a:pt x="59396" y="192734"/>
                    </a:lnTo>
                    <a:lnTo>
                      <a:pt x="59396" y="193189"/>
                    </a:lnTo>
                    <a:lnTo>
                      <a:pt x="61063" y="193795"/>
                    </a:lnTo>
                    <a:lnTo>
                      <a:pt x="57578" y="195613"/>
                    </a:lnTo>
                    <a:lnTo>
                      <a:pt x="56669" y="196825"/>
                    </a:lnTo>
                    <a:lnTo>
                      <a:pt x="56669" y="198644"/>
                    </a:lnTo>
                    <a:lnTo>
                      <a:pt x="56972" y="199553"/>
                    </a:lnTo>
                    <a:lnTo>
                      <a:pt x="57427" y="200159"/>
                    </a:lnTo>
                    <a:lnTo>
                      <a:pt x="58942" y="200613"/>
                    </a:lnTo>
                    <a:close/>
                    <a:moveTo>
                      <a:pt x="101974" y="299859"/>
                    </a:moveTo>
                    <a:lnTo>
                      <a:pt x="103186" y="301526"/>
                    </a:lnTo>
                    <a:lnTo>
                      <a:pt x="105762" y="300162"/>
                    </a:lnTo>
                    <a:lnTo>
                      <a:pt x="107883" y="298496"/>
                    </a:lnTo>
                    <a:lnTo>
                      <a:pt x="111065" y="296829"/>
                    </a:lnTo>
                    <a:lnTo>
                      <a:pt x="111974" y="295314"/>
                    </a:lnTo>
                    <a:lnTo>
                      <a:pt x="109095" y="295465"/>
                    </a:lnTo>
                    <a:lnTo>
                      <a:pt x="107883" y="294708"/>
                    </a:lnTo>
                    <a:lnTo>
                      <a:pt x="104701" y="291071"/>
                    </a:lnTo>
                    <a:lnTo>
                      <a:pt x="100761" y="290920"/>
                    </a:lnTo>
                    <a:lnTo>
                      <a:pt x="97882" y="292132"/>
                    </a:lnTo>
                    <a:lnTo>
                      <a:pt x="98337" y="296829"/>
                    </a:lnTo>
                    <a:lnTo>
                      <a:pt x="100610" y="300011"/>
                    </a:lnTo>
                    <a:lnTo>
                      <a:pt x="101974" y="299859"/>
                    </a:lnTo>
                    <a:close/>
                    <a:moveTo>
                      <a:pt x="78488" y="213947"/>
                    </a:moveTo>
                    <a:lnTo>
                      <a:pt x="79700" y="214250"/>
                    </a:lnTo>
                    <a:lnTo>
                      <a:pt x="83185" y="214250"/>
                    </a:lnTo>
                    <a:lnTo>
                      <a:pt x="83488" y="212583"/>
                    </a:lnTo>
                    <a:lnTo>
                      <a:pt x="83185" y="209553"/>
                    </a:lnTo>
                    <a:lnTo>
                      <a:pt x="81670" y="206068"/>
                    </a:lnTo>
                    <a:lnTo>
                      <a:pt x="80912" y="205159"/>
                    </a:lnTo>
                    <a:lnTo>
                      <a:pt x="79094" y="204098"/>
                    </a:lnTo>
                    <a:lnTo>
                      <a:pt x="77276" y="204401"/>
                    </a:lnTo>
                    <a:lnTo>
                      <a:pt x="76518" y="205159"/>
                    </a:lnTo>
                    <a:lnTo>
                      <a:pt x="75760" y="206068"/>
                    </a:lnTo>
                    <a:lnTo>
                      <a:pt x="75154" y="207886"/>
                    </a:lnTo>
                    <a:lnTo>
                      <a:pt x="76821" y="213190"/>
                    </a:lnTo>
                    <a:lnTo>
                      <a:pt x="78488" y="213947"/>
                    </a:lnTo>
                    <a:close/>
                    <a:moveTo>
                      <a:pt x="60154" y="172430"/>
                    </a:moveTo>
                    <a:lnTo>
                      <a:pt x="57881" y="169552"/>
                    </a:lnTo>
                    <a:lnTo>
                      <a:pt x="55911" y="168188"/>
                    </a:lnTo>
                    <a:lnTo>
                      <a:pt x="55002" y="168036"/>
                    </a:lnTo>
                    <a:lnTo>
                      <a:pt x="53790" y="168339"/>
                    </a:lnTo>
                    <a:lnTo>
                      <a:pt x="50911" y="169552"/>
                    </a:lnTo>
                    <a:lnTo>
                      <a:pt x="50305" y="170006"/>
                    </a:lnTo>
                    <a:lnTo>
                      <a:pt x="50002" y="171218"/>
                    </a:lnTo>
                    <a:lnTo>
                      <a:pt x="50305" y="171824"/>
                    </a:lnTo>
                    <a:lnTo>
                      <a:pt x="55002" y="174249"/>
                    </a:lnTo>
                    <a:lnTo>
                      <a:pt x="53790" y="179400"/>
                    </a:lnTo>
                    <a:lnTo>
                      <a:pt x="50608" y="180158"/>
                    </a:lnTo>
                    <a:lnTo>
                      <a:pt x="49850" y="180916"/>
                    </a:lnTo>
                    <a:lnTo>
                      <a:pt x="50153" y="181976"/>
                    </a:lnTo>
                    <a:lnTo>
                      <a:pt x="53941" y="182128"/>
                    </a:lnTo>
                    <a:lnTo>
                      <a:pt x="64851" y="180007"/>
                    </a:lnTo>
                    <a:lnTo>
                      <a:pt x="65305" y="174400"/>
                    </a:lnTo>
                    <a:lnTo>
                      <a:pt x="63184" y="173188"/>
                    </a:lnTo>
                    <a:lnTo>
                      <a:pt x="60154" y="172430"/>
                    </a:lnTo>
                    <a:close/>
                    <a:moveTo>
                      <a:pt x="29243" y="111671"/>
                    </a:moveTo>
                    <a:lnTo>
                      <a:pt x="30304" y="111974"/>
                    </a:lnTo>
                    <a:lnTo>
                      <a:pt x="30910" y="112731"/>
                    </a:lnTo>
                    <a:lnTo>
                      <a:pt x="31819" y="112883"/>
                    </a:lnTo>
                    <a:lnTo>
                      <a:pt x="30001" y="114246"/>
                    </a:lnTo>
                    <a:lnTo>
                      <a:pt x="29850" y="114853"/>
                    </a:lnTo>
                    <a:lnTo>
                      <a:pt x="31365" y="115913"/>
                    </a:lnTo>
                    <a:lnTo>
                      <a:pt x="35153" y="117580"/>
                    </a:lnTo>
                    <a:lnTo>
                      <a:pt x="35304" y="117883"/>
                    </a:lnTo>
                    <a:lnTo>
                      <a:pt x="32880" y="119095"/>
                    </a:lnTo>
                    <a:lnTo>
                      <a:pt x="32577" y="120307"/>
                    </a:lnTo>
                    <a:lnTo>
                      <a:pt x="29092" y="122277"/>
                    </a:lnTo>
                    <a:lnTo>
                      <a:pt x="31062" y="124398"/>
                    </a:lnTo>
                    <a:lnTo>
                      <a:pt x="31819" y="124853"/>
                    </a:lnTo>
                    <a:lnTo>
                      <a:pt x="32577" y="124853"/>
                    </a:lnTo>
                    <a:lnTo>
                      <a:pt x="33789" y="123944"/>
                    </a:lnTo>
                    <a:lnTo>
                      <a:pt x="35304" y="121823"/>
                    </a:lnTo>
                    <a:lnTo>
                      <a:pt x="36819" y="121823"/>
                    </a:lnTo>
                    <a:lnTo>
                      <a:pt x="39850" y="118489"/>
                    </a:lnTo>
                    <a:lnTo>
                      <a:pt x="42729" y="117277"/>
                    </a:lnTo>
                    <a:lnTo>
                      <a:pt x="46972" y="114095"/>
                    </a:lnTo>
                    <a:lnTo>
                      <a:pt x="47578" y="113337"/>
                    </a:lnTo>
                    <a:lnTo>
                      <a:pt x="47578" y="111974"/>
                    </a:lnTo>
                    <a:lnTo>
                      <a:pt x="46668" y="111368"/>
                    </a:lnTo>
                    <a:lnTo>
                      <a:pt x="43486" y="111368"/>
                    </a:lnTo>
                    <a:lnTo>
                      <a:pt x="47123" y="109398"/>
                    </a:lnTo>
                    <a:lnTo>
                      <a:pt x="48335" y="107731"/>
                    </a:lnTo>
                    <a:lnTo>
                      <a:pt x="49699" y="107580"/>
                    </a:lnTo>
                    <a:lnTo>
                      <a:pt x="53184" y="100610"/>
                    </a:lnTo>
                    <a:lnTo>
                      <a:pt x="53335" y="97731"/>
                    </a:lnTo>
                    <a:lnTo>
                      <a:pt x="52578" y="95610"/>
                    </a:lnTo>
                    <a:lnTo>
                      <a:pt x="52123" y="95003"/>
                    </a:lnTo>
                    <a:lnTo>
                      <a:pt x="50456" y="95610"/>
                    </a:lnTo>
                    <a:lnTo>
                      <a:pt x="43638" y="99701"/>
                    </a:lnTo>
                    <a:lnTo>
                      <a:pt x="38183" y="102125"/>
                    </a:lnTo>
                    <a:lnTo>
                      <a:pt x="37274" y="102882"/>
                    </a:lnTo>
                    <a:lnTo>
                      <a:pt x="36971" y="103640"/>
                    </a:lnTo>
                    <a:lnTo>
                      <a:pt x="38638" y="107125"/>
                    </a:lnTo>
                    <a:lnTo>
                      <a:pt x="38638" y="107428"/>
                    </a:lnTo>
                    <a:lnTo>
                      <a:pt x="36365" y="107125"/>
                    </a:lnTo>
                    <a:lnTo>
                      <a:pt x="34395" y="107731"/>
                    </a:lnTo>
                    <a:lnTo>
                      <a:pt x="32729" y="106367"/>
                    </a:lnTo>
                    <a:lnTo>
                      <a:pt x="31062" y="105913"/>
                    </a:lnTo>
                    <a:lnTo>
                      <a:pt x="30607" y="106216"/>
                    </a:lnTo>
                    <a:lnTo>
                      <a:pt x="30152" y="106974"/>
                    </a:lnTo>
                    <a:lnTo>
                      <a:pt x="29092" y="107731"/>
                    </a:lnTo>
                    <a:lnTo>
                      <a:pt x="28789" y="109549"/>
                    </a:lnTo>
                    <a:lnTo>
                      <a:pt x="28941" y="111216"/>
                    </a:lnTo>
                    <a:lnTo>
                      <a:pt x="29243" y="111671"/>
                    </a:lnTo>
                    <a:close/>
                    <a:moveTo>
                      <a:pt x="20001" y="146672"/>
                    </a:moveTo>
                    <a:lnTo>
                      <a:pt x="20910" y="149096"/>
                    </a:lnTo>
                    <a:lnTo>
                      <a:pt x="21819" y="149702"/>
                    </a:lnTo>
                    <a:lnTo>
                      <a:pt x="23334" y="149854"/>
                    </a:lnTo>
                    <a:lnTo>
                      <a:pt x="24546" y="149702"/>
                    </a:lnTo>
                    <a:lnTo>
                      <a:pt x="24546" y="149248"/>
                    </a:lnTo>
                    <a:lnTo>
                      <a:pt x="23940" y="139551"/>
                    </a:lnTo>
                    <a:lnTo>
                      <a:pt x="23183" y="139096"/>
                    </a:lnTo>
                    <a:lnTo>
                      <a:pt x="20001" y="139247"/>
                    </a:lnTo>
                    <a:lnTo>
                      <a:pt x="20152" y="142429"/>
                    </a:lnTo>
                    <a:lnTo>
                      <a:pt x="19698" y="145157"/>
                    </a:lnTo>
                    <a:lnTo>
                      <a:pt x="20001" y="146672"/>
                    </a:lnTo>
                    <a:close/>
                    <a:moveTo>
                      <a:pt x="17576" y="156066"/>
                    </a:moveTo>
                    <a:lnTo>
                      <a:pt x="20001" y="155460"/>
                    </a:lnTo>
                    <a:lnTo>
                      <a:pt x="20455" y="154703"/>
                    </a:lnTo>
                    <a:lnTo>
                      <a:pt x="20304" y="154097"/>
                    </a:lnTo>
                    <a:lnTo>
                      <a:pt x="18940" y="153339"/>
                    </a:lnTo>
                    <a:lnTo>
                      <a:pt x="17122" y="153793"/>
                    </a:lnTo>
                    <a:lnTo>
                      <a:pt x="16516" y="155157"/>
                    </a:lnTo>
                    <a:lnTo>
                      <a:pt x="16667" y="155612"/>
                    </a:lnTo>
                    <a:lnTo>
                      <a:pt x="17576" y="156066"/>
                    </a:lnTo>
                    <a:close/>
                    <a:moveTo>
                      <a:pt x="22576" y="133338"/>
                    </a:moveTo>
                    <a:lnTo>
                      <a:pt x="26364" y="133338"/>
                    </a:lnTo>
                    <a:lnTo>
                      <a:pt x="28789" y="129702"/>
                    </a:lnTo>
                    <a:lnTo>
                      <a:pt x="25759" y="127429"/>
                    </a:lnTo>
                    <a:lnTo>
                      <a:pt x="23940" y="128489"/>
                    </a:lnTo>
                    <a:lnTo>
                      <a:pt x="22425" y="128338"/>
                    </a:lnTo>
                    <a:lnTo>
                      <a:pt x="20607" y="129096"/>
                    </a:lnTo>
                    <a:lnTo>
                      <a:pt x="19243" y="128641"/>
                    </a:lnTo>
                    <a:lnTo>
                      <a:pt x="18486" y="128793"/>
                    </a:lnTo>
                    <a:lnTo>
                      <a:pt x="17728" y="129399"/>
                    </a:lnTo>
                    <a:lnTo>
                      <a:pt x="17274" y="130156"/>
                    </a:lnTo>
                    <a:lnTo>
                      <a:pt x="17274" y="130762"/>
                    </a:lnTo>
                    <a:lnTo>
                      <a:pt x="22576" y="133338"/>
                    </a:lnTo>
                    <a:close/>
                    <a:moveTo>
                      <a:pt x="154097" y="433349"/>
                    </a:moveTo>
                    <a:lnTo>
                      <a:pt x="153187" y="435622"/>
                    </a:lnTo>
                    <a:lnTo>
                      <a:pt x="150612" y="434864"/>
                    </a:lnTo>
                    <a:lnTo>
                      <a:pt x="150460" y="434258"/>
                    </a:lnTo>
                    <a:lnTo>
                      <a:pt x="153339" y="432895"/>
                    </a:lnTo>
                    <a:lnTo>
                      <a:pt x="153945" y="432895"/>
                    </a:lnTo>
                    <a:lnTo>
                      <a:pt x="154097" y="433349"/>
                    </a:lnTo>
                    <a:close/>
                    <a:moveTo>
                      <a:pt x="167582" y="442743"/>
                    </a:moveTo>
                    <a:lnTo>
                      <a:pt x="167885" y="444562"/>
                    </a:lnTo>
                    <a:lnTo>
                      <a:pt x="166673" y="445016"/>
                    </a:lnTo>
                    <a:lnTo>
                      <a:pt x="165612" y="444410"/>
                    </a:lnTo>
                    <a:lnTo>
                      <a:pt x="163642" y="444410"/>
                    </a:lnTo>
                    <a:lnTo>
                      <a:pt x="161673" y="444865"/>
                    </a:lnTo>
                    <a:lnTo>
                      <a:pt x="162127" y="441683"/>
                    </a:lnTo>
                    <a:lnTo>
                      <a:pt x="165915" y="442137"/>
                    </a:lnTo>
                    <a:lnTo>
                      <a:pt x="167582" y="4427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EFEF2328-A8A7-4CB5-B3FC-31F8B42AA2F7}"/>
                  </a:ext>
                </a:extLst>
              </p:cNvPr>
              <p:cNvSpPr/>
              <p:nvPr/>
            </p:nvSpPr>
            <p:spPr>
              <a:xfrm>
                <a:off x="6586472" y="4447595"/>
                <a:ext cx="148187" cy="154399"/>
              </a:xfrm>
              <a:custGeom>
                <a:avLst/>
                <a:gdLst>
                  <a:gd name="connsiteX0" fmla="*/ 147733 w 148187"/>
                  <a:gd name="connsiteY0" fmla="*/ 63942 h 154399"/>
                  <a:gd name="connsiteX1" fmla="*/ 147430 w 148187"/>
                  <a:gd name="connsiteY1" fmla="*/ 58487 h 154399"/>
                  <a:gd name="connsiteX2" fmla="*/ 146066 w 148187"/>
                  <a:gd name="connsiteY2" fmla="*/ 53941 h 154399"/>
                  <a:gd name="connsiteX3" fmla="*/ 145157 w 148187"/>
                  <a:gd name="connsiteY3" fmla="*/ 48790 h 154399"/>
                  <a:gd name="connsiteX4" fmla="*/ 145763 w 148187"/>
                  <a:gd name="connsiteY4" fmla="*/ 47123 h 154399"/>
                  <a:gd name="connsiteX5" fmla="*/ 144703 w 148187"/>
                  <a:gd name="connsiteY5" fmla="*/ 44093 h 154399"/>
                  <a:gd name="connsiteX6" fmla="*/ 144096 w 148187"/>
                  <a:gd name="connsiteY6" fmla="*/ 43941 h 154399"/>
                  <a:gd name="connsiteX7" fmla="*/ 143187 w 148187"/>
                  <a:gd name="connsiteY7" fmla="*/ 43335 h 154399"/>
                  <a:gd name="connsiteX8" fmla="*/ 142127 w 148187"/>
                  <a:gd name="connsiteY8" fmla="*/ 40456 h 154399"/>
                  <a:gd name="connsiteX9" fmla="*/ 141217 w 148187"/>
                  <a:gd name="connsiteY9" fmla="*/ 37880 h 154399"/>
                  <a:gd name="connsiteX10" fmla="*/ 140763 w 148187"/>
                  <a:gd name="connsiteY10" fmla="*/ 37274 h 154399"/>
                  <a:gd name="connsiteX11" fmla="*/ 137127 w 148187"/>
                  <a:gd name="connsiteY11" fmla="*/ 35001 h 154399"/>
                  <a:gd name="connsiteX12" fmla="*/ 135308 w 148187"/>
                  <a:gd name="connsiteY12" fmla="*/ 29698 h 154399"/>
                  <a:gd name="connsiteX13" fmla="*/ 133339 w 148187"/>
                  <a:gd name="connsiteY13" fmla="*/ 28486 h 154399"/>
                  <a:gd name="connsiteX14" fmla="*/ 132278 w 148187"/>
                  <a:gd name="connsiteY14" fmla="*/ 23183 h 154399"/>
                  <a:gd name="connsiteX15" fmla="*/ 132126 w 148187"/>
                  <a:gd name="connsiteY15" fmla="*/ 21668 h 154399"/>
                  <a:gd name="connsiteX16" fmla="*/ 133339 w 148187"/>
                  <a:gd name="connsiteY16" fmla="*/ 16364 h 154399"/>
                  <a:gd name="connsiteX17" fmla="*/ 133187 w 148187"/>
                  <a:gd name="connsiteY17" fmla="*/ 15152 h 154399"/>
                  <a:gd name="connsiteX18" fmla="*/ 131974 w 148187"/>
                  <a:gd name="connsiteY18" fmla="*/ 14092 h 154399"/>
                  <a:gd name="connsiteX19" fmla="*/ 128490 w 148187"/>
                  <a:gd name="connsiteY19" fmla="*/ 13031 h 154399"/>
                  <a:gd name="connsiteX20" fmla="*/ 125763 w 148187"/>
                  <a:gd name="connsiteY20" fmla="*/ 10910 h 154399"/>
                  <a:gd name="connsiteX21" fmla="*/ 126065 w 148187"/>
                  <a:gd name="connsiteY21" fmla="*/ 10152 h 154399"/>
                  <a:gd name="connsiteX22" fmla="*/ 126217 w 148187"/>
                  <a:gd name="connsiteY22" fmla="*/ 9394 h 154399"/>
                  <a:gd name="connsiteX23" fmla="*/ 124702 w 148187"/>
                  <a:gd name="connsiteY23" fmla="*/ 8940 h 154399"/>
                  <a:gd name="connsiteX24" fmla="*/ 120459 w 148187"/>
                  <a:gd name="connsiteY24" fmla="*/ 0 h 154399"/>
                  <a:gd name="connsiteX25" fmla="*/ 114095 w 148187"/>
                  <a:gd name="connsiteY25" fmla="*/ 6364 h 154399"/>
                  <a:gd name="connsiteX26" fmla="*/ 109398 w 148187"/>
                  <a:gd name="connsiteY26" fmla="*/ 11061 h 154399"/>
                  <a:gd name="connsiteX27" fmla="*/ 108641 w 148187"/>
                  <a:gd name="connsiteY27" fmla="*/ 11667 h 154399"/>
                  <a:gd name="connsiteX28" fmla="*/ 107277 w 148187"/>
                  <a:gd name="connsiteY28" fmla="*/ 12576 h 154399"/>
                  <a:gd name="connsiteX29" fmla="*/ 102731 w 148187"/>
                  <a:gd name="connsiteY29" fmla="*/ 12576 h 154399"/>
                  <a:gd name="connsiteX30" fmla="*/ 98034 w 148187"/>
                  <a:gd name="connsiteY30" fmla="*/ 11970 h 154399"/>
                  <a:gd name="connsiteX31" fmla="*/ 93791 w 148187"/>
                  <a:gd name="connsiteY31" fmla="*/ 9091 h 154399"/>
                  <a:gd name="connsiteX32" fmla="*/ 89397 w 148187"/>
                  <a:gd name="connsiteY32" fmla="*/ 11364 h 154399"/>
                  <a:gd name="connsiteX33" fmla="*/ 86670 w 148187"/>
                  <a:gd name="connsiteY33" fmla="*/ 12122 h 154399"/>
                  <a:gd name="connsiteX34" fmla="*/ 85003 w 148187"/>
                  <a:gd name="connsiteY34" fmla="*/ 12425 h 154399"/>
                  <a:gd name="connsiteX35" fmla="*/ 81064 w 148187"/>
                  <a:gd name="connsiteY35" fmla="*/ 12728 h 154399"/>
                  <a:gd name="connsiteX36" fmla="*/ 75609 w 148187"/>
                  <a:gd name="connsiteY36" fmla="*/ 13940 h 154399"/>
                  <a:gd name="connsiteX37" fmla="*/ 73185 w 148187"/>
                  <a:gd name="connsiteY37" fmla="*/ 15455 h 154399"/>
                  <a:gd name="connsiteX38" fmla="*/ 71821 w 148187"/>
                  <a:gd name="connsiteY38" fmla="*/ 16667 h 154399"/>
                  <a:gd name="connsiteX39" fmla="*/ 70760 w 148187"/>
                  <a:gd name="connsiteY39" fmla="*/ 18789 h 154399"/>
                  <a:gd name="connsiteX40" fmla="*/ 70154 w 148187"/>
                  <a:gd name="connsiteY40" fmla="*/ 18940 h 154399"/>
                  <a:gd name="connsiteX41" fmla="*/ 69093 w 148187"/>
                  <a:gd name="connsiteY41" fmla="*/ 18637 h 154399"/>
                  <a:gd name="connsiteX42" fmla="*/ 67730 w 148187"/>
                  <a:gd name="connsiteY42" fmla="*/ 17728 h 154399"/>
                  <a:gd name="connsiteX43" fmla="*/ 64851 w 148187"/>
                  <a:gd name="connsiteY43" fmla="*/ 16516 h 154399"/>
                  <a:gd name="connsiteX44" fmla="*/ 63336 w 148187"/>
                  <a:gd name="connsiteY44" fmla="*/ 13788 h 154399"/>
                  <a:gd name="connsiteX45" fmla="*/ 61972 w 148187"/>
                  <a:gd name="connsiteY45" fmla="*/ 12122 h 154399"/>
                  <a:gd name="connsiteX46" fmla="*/ 60912 w 148187"/>
                  <a:gd name="connsiteY46" fmla="*/ 11213 h 154399"/>
                  <a:gd name="connsiteX47" fmla="*/ 56214 w 148187"/>
                  <a:gd name="connsiteY47" fmla="*/ 13940 h 154399"/>
                  <a:gd name="connsiteX48" fmla="*/ 53941 w 148187"/>
                  <a:gd name="connsiteY48" fmla="*/ 14546 h 154399"/>
                  <a:gd name="connsiteX49" fmla="*/ 52123 w 148187"/>
                  <a:gd name="connsiteY49" fmla="*/ 14394 h 154399"/>
                  <a:gd name="connsiteX50" fmla="*/ 48790 w 148187"/>
                  <a:gd name="connsiteY50" fmla="*/ 12879 h 154399"/>
                  <a:gd name="connsiteX51" fmla="*/ 45153 w 148187"/>
                  <a:gd name="connsiteY51" fmla="*/ 11516 h 154399"/>
                  <a:gd name="connsiteX52" fmla="*/ 43184 w 148187"/>
                  <a:gd name="connsiteY52" fmla="*/ 11516 h 154399"/>
                  <a:gd name="connsiteX53" fmla="*/ 40305 w 148187"/>
                  <a:gd name="connsiteY53" fmla="*/ 13182 h 154399"/>
                  <a:gd name="connsiteX54" fmla="*/ 37123 w 148187"/>
                  <a:gd name="connsiteY54" fmla="*/ 15607 h 154399"/>
                  <a:gd name="connsiteX55" fmla="*/ 35456 w 148187"/>
                  <a:gd name="connsiteY55" fmla="*/ 18031 h 154399"/>
                  <a:gd name="connsiteX56" fmla="*/ 34698 w 148187"/>
                  <a:gd name="connsiteY56" fmla="*/ 19546 h 154399"/>
                  <a:gd name="connsiteX57" fmla="*/ 36214 w 148187"/>
                  <a:gd name="connsiteY57" fmla="*/ 20304 h 154399"/>
                  <a:gd name="connsiteX58" fmla="*/ 36517 w 148187"/>
                  <a:gd name="connsiteY58" fmla="*/ 21819 h 154399"/>
                  <a:gd name="connsiteX59" fmla="*/ 35456 w 148187"/>
                  <a:gd name="connsiteY59" fmla="*/ 23637 h 154399"/>
                  <a:gd name="connsiteX60" fmla="*/ 34396 w 148187"/>
                  <a:gd name="connsiteY60" fmla="*/ 25304 h 154399"/>
                  <a:gd name="connsiteX61" fmla="*/ 33031 w 148187"/>
                  <a:gd name="connsiteY61" fmla="*/ 28486 h 154399"/>
                  <a:gd name="connsiteX62" fmla="*/ 32274 w 148187"/>
                  <a:gd name="connsiteY62" fmla="*/ 31819 h 154399"/>
                  <a:gd name="connsiteX63" fmla="*/ 33183 w 148187"/>
                  <a:gd name="connsiteY63" fmla="*/ 32880 h 154399"/>
                  <a:gd name="connsiteX64" fmla="*/ 34092 w 148187"/>
                  <a:gd name="connsiteY64" fmla="*/ 33789 h 154399"/>
                  <a:gd name="connsiteX65" fmla="*/ 34547 w 148187"/>
                  <a:gd name="connsiteY65" fmla="*/ 34698 h 154399"/>
                  <a:gd name="connsiteX66" fmla="*/ 34850 w 148187"/>
                  <a:gd name="connsiteY66" fmla="*/ 35759 h 154399"/>
                  <a:gd name="connsiteX67" fmla="*/ 34698 w 148187"/>
                  <a:gd name="connsiteY67" fmla="*/ 36971 h 154399"/>
                  <a:gd name="connsiteX68" fmla="*/ 32577 w 148187"/>
                  <a:gd name="connsiteY68" fmla="*/ 41517 h 154399"/>
                  <a:gd name="connsiteX69" fmla="*/ 31517 w 148187"/>
                  <a:gd name="connsiteY69" fmla="*/ 45608 h 154399"/>
                  <a:gd name="connsiteX70" fmla="*/ 31517 w 148187"/>
                  <a:gd name="connsiteY70" fmla="*/ 47577 h 154399"/>
                  <a:gd name="connsiteX71" fmla="*/ 34244 w 148187"/>
                  <a:gd name="connsiteY71" fmla="*/ 49093 h 154399"/>
                  <a:gd name="connsiteX72" fmla="*/ 37880 w 148187"/>
                  <a:gd name="connsiteY72" fmla="*/ 48941 h 154399"/>
                  <a:gd name="connsiteX73" fmla="*/ 39093 w 148187"/>
                  <a:gd name="connsiteY73" fmla="*/ 49850 h 154399"/>
                  <a:gd name="connsiteX74" fmla="*/ 40305 w 148187"/>
                  <a:gd name="connsiteY74" fmla="*/ 51366 h 154399"/>
                  <a:gd name="connsiteX75" fmla="*/ 41365 w 148187"/>
                  <a:gd name="connsiteY75" fmla="*/ 52123 h 154399"/>
                  <a:gd name="connsiteX76" fmla="*/ 42881 w 148187"/>
                  <a:gd name="connsiteY76" fmla="*/ 52123 h 154399"/>
                  <a:gd name="connsiteX77" fmla="*/ 43941 w 148187"/>
                  <a:gd name="connsiteY77" fmla="*/ 52578 h 154399"/>
                  <a:gd name="connsiteX78" fmla="*/ 44395 w 148187"/>
                  <a:gd name="connsiteY78" fmla="*/ 53638 h 154399"/>
                  <a:gd name="connsiteX79" fmla="*/ 45608 w 148187"/>
                  <a:gd name="connsiteY79" fmla="*/ 54699 h 154399"/>
                  <a:gd name="connsiteX80" fmla="*/ 46365 w 148187"/>
                  <a:gd name="connsiteY80" fmla="*/ 55608 h 154399"/>
                  <a:gd name="connsiteX81" fmla="*/ 47426 w 148187"/>
                  <a:gd name="connsiteY81" fmla="*/ 53790 h 154399"/>
                  <a:gd name="connsiteX82" fmla="*/ 48487 w 148187"/>
                  <a:gd name="connsiteY82" fmla="*/ 51972 h 154399"/>
                  <a:gd name="connsiteX83" fmla="*/ 50911 w 148187"/>
                  <a:gd name="connsiteY83" fmla="*/ 49396 h 154399"/>
                  <a:gd name="connsiteX84" fmla="*/ 52123 w 148187"/>
                  <a:gd name="connsiteY84" fmla="*/ 49093 h 154399"/>
                  <a:gd name="connsiteX85" fmla="*/ 51972 w 148187"/>
                  <a:gd name="connsiteY85" fmla="*/ 49547 h 154399"/>
                  <a:gd name="connsiteX86" fmla="*/ 49850 w 148187"/>
                  <a:gd name="connsiteY86" fmla="*/ 52426 h 154399"/>
                  <a:gd name="connsiteX87" fmla="*/ 49548 w 148187"/>
                  <a:gd name="connsiteY87" fmla="*/ 53032 h 154399"/>
                  <a:gd name="connsiteX88" fmla="*/ 49699 w 148187"/>
                  <a:gd name="connsiteY88" fmla="*/ 54699 h 154399"/>
                  <a:gd name="connsiteX89" fmla="*/ 50002 w 148187"/>
                  <a:gd name="connsiteY89" fmla="*/ 63033 h 154399"/>
                  <a:gd name="connsiteX90" fmla="*/ 49699 w 148187"/>
                  <a:gd name="connsiteY90" fmla="*/ 64093 h 154399"/>
                  <a:gd name="connsiteX91" fmla="*/ 49244 w 148187"/>
                  <a:gd name="connsiteY91" fmla="*/ 64699 h 154399"/>
                  <a:gd name="connsiteX92" fmla="*/ 48487 w 148187"/>
                  <a:gd name="connsiteY92" fmla="*/ 64699 h 154399"/>
                  <a:gd name="connsiteX93" fmla="*/ 47881 w 148187"/>
                  <a:gd name="connsiteY93" fmla="*/ 65608 h 154399"/>
                  <a:gd name="connsiteX94" fmla="*/ 47426 w 148187"/>
                  <a:gd name="connsiteY94" fmla="*/ 67275 h 154399"/>
                  <a:gd name="connsiteX95" fmla="*/ 46365 w 148187"/>
                  <a:gd name="connsiteY95" fmla="*/ 68791 h 154399"/>
                  <a:gd name="connsiteX96" fmla="*/ 43638 w 148187"/>
                  <a:gd name="connsiteY96" fmla="*/ 71063 h 154399"/>
                  <a:gd name="connsiteX97" fmla="*/ 42577 w 148187"/>
                  <a:gd name="connsiteY97" fmla="*/ 71518 h 154399"/>
                  <a:gd name="connsiteX98" fmla="*/ 40153 w 148187"/>
                  <a:gd name="connsiteY98" fmla="*/ 72124 h 154399"/>
                  <a:gd name="connsiteX99" fmla="*/ 39395 w 148187"/>
                  <a:gd name="connsiteY99" fmla="*/ 72579 h 154399"/>
                  <a:gd name="connsiteX100" fmla="*/ 38184 w 148187"/>
                  <a:gd name="connsiteY100" fmla="*/ 73033 h 154399"/>
                  <a:gd name="connsiteX101" fmla="*/ 36062 w 148187"/>
                  <a:gd name="connsiteY101" fmla="*/ 75154 h 154399"/>
                  <a:gd name="connsiteX102" fmla="*/ 33183 w 148187"/>
                  <a:gd name="connsiteY102" fmla="*/ 78942 h 154399"/>
                  <a:gd name="connsiteX103" fmla="*/ 31668 w 148187"/>
                  <a:gd name="connsiteY103" fmla="*/ 81215 h 154399"/>
                  <a:gd name="connsiteX104" fmla="*/ 31365 w 148187"/>
                  <a:gd name="connsiteY104" fmla="*/ 82124 h 154399"/>
                  <a:gd name="connsiteX105" fmla="*/ 27880 w 148187"/>
                  <a:gd name="connsiteY105" fmla="*/ 86215 h 154399"/>
                  <a:gd name="connsiteX106" fmla="*/ 27122 w 148187"/>
                  <a:gd name="connsiteY106" fmla="*/ 86518 h 154399"/>
                  <a:gd name="connsiteX107" fmla="*/ 26364 w 148187"/>
                  <a:gd name="connsiteY107" fmla="*/ 86670 h 154399"/>
                  <a:gd name="connsiteX108" fmla="*/ 25455 w 148187"/>
                  <a:gd name="connsiteY108" fmla="*/ 86215 h 154399"/>
                  <a:gd name="connsiteX109" fmla="*/ 25304 w 148187"/>
                  <a:gd name="connsiteY109" fmla="*/ 85912 h 154399"/>
                  <a:gd name="connsiteX110" fmla="*/ 25455 w 148187"/>
                  <a:gd name="connsiteY110" fmla="*/ 83943 h 154399"/>
                  <a:gd name="connsiteX111" fmla="*/ 25153 w 148187"/>
                  <a:gd name="connsiteY111" fmla="*/ 82579 h 154399"/>
                  <a:gd name="connsiteX112" fmla="*/ 25153 w 148187"/>
                  <a:gd name="connsiteY112" fmla="*/ 81821 h 154399"/>
                  <a:gd name="connsiteX113" fmla="*/ 25455 w 148187"/>
                  <a:gd name="connsiteY113" fmla="*/ 81518 h 154399"/>
                  <a:gd name="connsiteX114" fmla="*/ 25304 w 148187"/>
                  <a:gd name="connsiteY114" fmla="*/ 81064 h 154399"/>
                  <a:gd name="connsiteX115" fmla="*/ 24850 w 148187"/>
                  <a:gd name="connsiteY115" fmla="*/ 80761 h 154399"/>
                  <a:gd name="connsiteX116" fmla="*/ 20607 w 148187"/>
                  <a:gd name="connsiteY116" fmla="*/ 82276 h 154399"/>
                  <a:gd name="connsiteX117" fmla="*/ 18334 w 148187"/>
                  <a:gd name="connsiteY117" fmla="*/ 84549 h 154399"/>
                  <a:gd name="connsiteX118" fmla="*/ 16819 w 148187"/>
                  <a:gd name="connsiteY118" fmla="*/ 88033 h 154399"/>
                  <a:gd name="connsiteX119" fmla="*/ 13182 w 148187"/>
                  <a:gd name="connsiteY119" fmla="*/ 91064 h 154399"/>
                  <a:gd name="connsiteX120" fmla="*/ 10303 w 148187"/>
                  <a:gd name="connsiteY120" fmla="*/ 92276 h 154399"/>
                  <a:gd name="connsiteX121" fmla="*/ 10000 w 148187"/>
                  <a:gd name="connsiteY121" fmla="*/ 93034 h 154399"/>
                  <a:gd name="connsiteX122" fmla="*/ 9849 w 148187"/>
                  <a:gd name="connsiteY122" fmla="*/ 96216 h 154399"/>
                  <a:gd name="connsiteX123" fmla="*/ 10152 w 148187"/>
                  <a:gd name="connsiteY123" fmla="*/ 100913 h 154399"/>
                  <a:gd name="connsiteX124" fmla="*/ 8788 w 148187"/>
                  <a:gd name="connsiteY124" fmla="*/ 103034 h 154399"/>
                  <a:gd name="connsiteX125" fmla="*/ 6819 w 148187"/>
                  <a:gd name="connsiteY125" fmla="*/ 107277 h 154399"/>
                  <a:gd name="connsiteX126" fmla="*/ 5758 w 148187"/>
                  <a:gd name="connsiteY126" fmla="*/ 109852 h 154399"/>
                  <a:gd name="connsiteX127" fmla="*/ 5000 w 148187"/>
                  <a:gd name="connsiteY127" fmla="*/ 110307 h 154399"/>
                  <a:gd name="connsiteX128" fmla="*/ 4091 w 148187"/>
                  <a:gd name="connsiteY128" fmla="*/ 111671 h 154399"/>
                  <a:gd name="connsiteX129" fmla="*/ 3485 w 148187"/>
                  <a:gd name="connsiteY129" fmla="*/ 115913 h 154399"/>
                  <a:gd name="connsiteX130" fmla="*/ 3182 w 148187"/>
                  <a:gd name="connsiteY130" fmla="*/ 117429 h 154399"/>
                  <a:gd name="connsiteX131" fmla="*/ 3182 w 148187"/>
                  <a:gd name="connsiteY131" fmla="*/ 117580 h 154399"/>
                  <a:gd name="connsiteX132" fmla="*/ 5910 w 148187"/>
                  <a:gd name="connsiteY132" fmla="*/ 117580 h 154399"/>
                  <a:gd name="connsiteX133" fmla="*/ 8788 w 148187"/>
                  <a:gd name="connsiteY133" fmla="*/ 118944 h 154399"/>
                  <a:gd name="connsiteX134" fmla="*/ 8334 w 148187"/>
                  <a:gd name="connsiteY134" fmla="*/ 122429 h 154399"/>
                  <a:gd name="connsiteX135" fmla="*/ 2122 w 148187"/>
                  <a:gd name="connsiteY135" fmla="*/ 128035 h 154399"/>
                  <a:gd name="connsiteX136" fmla="*/ 2273 w 148187"/>
                  <a:gd name="connsiteY136" fmla="*/ 128793 h 154399"/>
                  <a:gd name="connsiteX137" fmla="*/ 1212 w 148187"/>
                  <a:gd name="connsiteY137" fmla="*/ 133035 h 154399"/>
                  <a:gd name="connsiteX138" fmla="*/ 1212 w 148187"/>
                  <a:gd name="connsiteY138" fmla="*/ 135460 h 154399"/>
                  <a:gd name="connsiteX139" fmla="*/ 758 w 148187"/>
                  <a:gd name="connsiteY139" fmla="*/ 138338 h 154399"/>
                  <a:gd name="connsiteX140" fmla="*/ 0 w 148187"/>
                  <a:gd name="connsiteY140" fmla="*/ 140763 h 154399"/>
                  <a:gd name="connsiteX141" fmla="*/ 0 w 148187"/>
                  <a:gd name="connsiteY141" fmla="*/ 144702 h 154399"/>
                  <a:gd name="connsiteX142" fmla="*/ 455 w 148187"/>
                  <a:gd name="connsiteY142" fmla="*/ 151066 h 154399"/>
                  <a:gd name="connsiteX143" fmla="*/ 303 w 148187"/>
                  <a:gd name="connsiteY143" fmla="*/ 151975 h 154399"/>
                  <a:gd name="connsiteX144" fmla="*/ 1212 w 148187"/>
                  <a:gd name="connsiteY144" fmla="*/ 151975 h 154399"/>
                  <a:gd name="connsiteX145" fmla="*/ 7121 w 148187"/>
                  <a:gd name="connsiteY145" fmla="*/ 150612 h 154399"/>
                  <a:gd name="connsiteX146" fmla="*/ 7728 w 148187"/>
                  <a:gd name="connsiteY146" fmla="*/ 151066 h 154399"/>
                  <a:gd name="connsiteX147" fmla="*/ 8637 w 148187"/>
                  <a:gd name="connsiteY147" fmla="*/ 153794 h 154399"/>
                  <a:gd name="connsiteX148" fmla="*/ 9091 w 148187"/>
                  <a:gd name="connsiteY148" fmla="*/ 154248 h 154399"/>
                  <a:gd name="connsiteX149" fmla="*/ 9849 w 148187"/>
                  <a:gd name="connsiteY149" fmla="*/ 154400 h 154399"/>
                  <a:gd name="connsiteX150" fmla="*/ 11516 w 148187"/>
                  <a:gd name="connsiteY150" fmla="*/ 153794 h 154399"/>
                  <a:gd name="connsiteX151" fmla="*/ 14546 w 148187"/>
                  <a:gd name="connsiteY151" fmla="*/ 151672 h 154399"/>
                  <a:gd name="connsiteX152" fmla="*/ 15910 w 148187"/>
                  <a:gd name="connsiteY152" fmla="*/ 150308 h 154399"/>
                  <a:gd name="connsiteX153" fmla="*/ 17425 w 148187"/>
                  <a:gd name="connsiteY153" fmla="*/ 148490 h 154399"/>
                  <a:gd name="connsiteX154" fmla="*/ 19395 w 148187"/>
                  <a:gd name="connsiteY154" fmla="*/ 146369 h 154399"/>
                  <a:gd name="connsiteX155" fmla="*/ 20455 w 148187"/>
                  <a:gd name="connsiteY155" fmla="*/ 144551 h 154399"/>
                  <a:gd name="connsiteX156" fmla="*/ 21516 w 148187"/>
                  <a:gd name="connsiteY156" fmla="*/ 143490 h 154399"/>
                  <a:gd name="connsiteX157" fmla="*/ 22880 w 148187"/>
                  <a:gd name="connsiteY157" fmla="*/ 143187 h 154399"/>
                  <a:gd name="connsiteX158" fmla="*/ 24395 w 148187"/>
                  <a:gd name="connsiteY158" fmla="*/ 143339 h 154399"/>
                  <a:gd name="connsiteX159" fmla="*/ 25455 w 148187"/>
                  <a:gd name="connsiteY159" fmla="*/ 143339 h 154399"/>
                  <a:gd name="connsiteX160" fmla="*/ 25759 w 148187"/>
                  <a:gd name="connsiteY160" fmla="*/ 143187 h 154399"/>
                  <a:gd name="connsiteX161" fmla="*/ 27880 w 148187"/>
                  <a:gd name="connsiteY161" fmla="*/ 143339 h 154399"/>
                  <a:gd name="connsiteX162" fmla="*/ 29850 w 148187"/>
                  <a:gd name="connsiteY162" fmla="*/ 142884 h 154399"/>
                  <a:gd name="connsiteX163" fmla="*/ 31819 w 148187"/>
                  <a:gd name="connsiteY163" fmla="*/ 141672 h 154399"/>
                  <a:gd name="connsiteX164" fmla="*/ 33638 w 148187"/>
                  <a:gd name="connsiteY164" fmla="*/ 141369 h 154399"/>
                  <a:gd name="connsiteX165" fmla="*/ 34092 w 148187"/>
                  <a:gd name="connsiteY165" fmla="*/ 141520 h 154399"/>
                  <a:gd name="connsiteX166" fmla="*/ 34698 w 148187"/>
                  <a:gd name="connsiteY166" fmla="*/ 141672 h 154399"/>
                  <a:gd name="connsiteX167" fmla="*/ 37577 w 148187"/>
                  <a:gd name="connsiteY167" fmla="*/ 141672 h 154399"/>
                  <a:gd name="connsiteX168" fmla="*/ 42426 w 148187"/>
                  <a:gd name="connsiteY168" fmla="*/ 141672 h 154399"/>
                  <a:gd name="connsiteX169" fmla="*/ 47274 w 148187"/>
                  <a:gd name="connsiteY169" fmla="*/ 141672 h 154399"/>
                  <a:gd name="connsiteX170" fmla="*/ 52123 w 148187"/>
                  <a:gd name="connsiteY170" fmla="*/ 141672 h 154399"/>
                  <a:gd name="connsiteX171" fmla="*/ 56972 w 148187"/>
                  <a:gd name="connsiteY171" fmla="*/ 141672 h 154399"/>
                  <a:gd name="connsiteX172" fmla="*/ 60305 w 148187"/>
                  <a:gd name="connsiteY172" fmla="*/ 141672 h 154399"/>
                  <a:gd name="connsiteX173" fmla="*/ 60002 w 148187"/>
                  <a:gd name="connsiteY173" fmla="*/ 139854 h 154399"/>
                  <a:gd name="connsiteX174" fmla="*/ 59699 w 148187"/>
                  <a:gd name="connsiteY174" fmla="*/ 138490 h 154399"/>
                  <a:gd name="connsiteX175" fmla="*/ 59093 w 148187"/>
                  <a:gd name="connsiteY175" fmla="*/ 137126 h 154399"/>
                  <a:gd name="connsiteX176" fmla="*/ 58790 w 148187"/>
                  <a:gd name="connsiteY176" fmla="*/ 135914 h 154399"/>
                  <a:gd name="connsiteX177" fmla="*/ 61366 w 148187"/>
                  <a:gd name="connsiteY177" fmla="*/ 129853 h 154399"/>
                  <a:gd name="connsiteX178" fmla="*/ 62730 w 148187"/>
                  <a:gd name="connsiteY178" fmla="*/ 127429 h 154399"/>
                  <a:gd name="connsiteX179" fmla="*/ 66215 w 148187"/>
                  <a:gd name="connsiteY179" fmla="*/ 123035 h 154399"/>
                  <a:gd name="connsiteX180" fmla="*/ 66366 w 148187"/>
                  <a:gd name="connsiteY180" fmla="*/ 121217 h 154399"/>
                  <a:gd name="connsiteX181" fmla="*/ 65609 w 148187"/>
                  <a:gd name="connsiteY181" fmla="*/ 120004 h 154399"/>
                  <a:gd name="connsiteX182" fmla="*/ 64700 w 148187"/>
                  <a:gd name="connsiteY182" fmla="*/ 119095 h 154399"/>
                  <a:gd name="connsiteX183" fmla="*/ 64548 w 148187"/>
                  <a:gd name="connsiteY183" fmla="*/ 118489 h 154399"/>
                  <a:gd name="connsiteX184" fmla="*/ 65003 w 148187"/>
                  <a:gd name="connsiteY184" fmla="*/ 117732 h 154399"/>
                  <a:gd name="connsiteX185" fmla="*/ 67275 w 148187"/>
                  <a:gd name="connsiteY185" fmla="*/ 116671 h 154399"/>
                  <a:gd name="connsiteX186" fmla="*/ 67881 w 148187"/>
                  <a:gd name="connsiteY186" fmla="*/ 115762 h 154399"/>
                  <a:gd name="connsiteX187" fmla="*/ 70760 w 148187"/>
                  <a:gd name="connsiteY187" fmla="*/ 115307 h 154399"/>
                  <a:gd name="connsiteX188" fmla="*/ 72124 w 148187"/>
                  <a:gd name="connsiteY188" fmla="*/ 113944 h 154399"/>
                  <a:gd name="connsiteX189" fmla="*/ 73488 w 148187"/>
                  <a:gd name="connsiteY189" fmla="*/ 114247 h 154399"/>
                  <a:gd name="connsiteX190" fmla="*/ 74245 w 148187"/>
                  <a:gd name="connsiteY190" fmla="*/ 113489 h 154399"/>
                  <a:gd name="connsiteX191" fmla="*/ 76064 w 148187"/>
                  <a:gd name="connsiteY191" fmla="*/ 113641 h 154399"/>
                  <a:gd name="connsiteX192" fmla="*/ 76973 w 148187"/>
                  <a:gd name="connsiteY192" fmla="*/ 112277 h 154399"/>
                  <a:gd name="connsiteX193" fmla="*/ 77730 w 148187"/>
                  <a:gd name="connsiteY193" fmla="*/ 111671 h 154399"/>
                  <a:gd name="connsiteX194" fmla="*/ 78336 w 148187"/>
                  <a:gd name="connsiteY194" fmla="*/ 111519 h 154399"/>
                  <a:gd name="connsiteX195" fmla="*/ 78639 w 148187"/>
                  <a:gd name="connsiteY195" fmla="*/ 112580 h 154399"/>
                  <a:gd name="connsiteX196" fmla="*/ 79700 w 148187"/>
                  <a:gd name="connsiteY196" fmla="*/ 112731 h 154399"/>
                  <a:gd name="connsiteX197" fmla="*/ 80912 w 148187"/>
                  <a:gd name="connsiteY197" fmla="*/ 112277 h 154399"/>
                  <a:gd name="connsiteX198" fmla="*/ 81821 w 148187"/>
                  <a:gd name="connsiteY198" fmla="*/ 111519 h 154399"/>
                  <a:gd name="connsiteX199" fmla="*/ 82427 w 148187"/>
                  <a:gd name="connsiteY199" fmla="*/ 108943 h 154399"/>
                  <a:gd name="connsiteX200" fmla="*/ 83185 w 148187"/>
                  <a:gd name="connsiteY200" fmla="*/ 107883 h 154399"/>
                  <a:gd name="connsiteX201" fmla="*/ 84094 w 148187"/>
                  <a:gd name="connsiteY201" fmla="*/ 107428 h 154399"/>
                  <a:gd name="connsiteX202" fmla="*/ 85003 w 148187"/>
                  <a:gd name="connsiteY202" fmla="*/ 109095 h 154399"/>
                  <a:gd name="connsiteX203" fmla="*/ 85912 w 148187"/>
                  <a:gd name="connsiteY203" fmla="*/ 109398 h 154399"/>
                  <a:gd name="connsiteX204" fmla="*/ 85003 w 148187"/>
                  <a:gd name="connsiteY204" fmla="*/ 110610 h 154399"/>
                  <a:gd name="connsiteX205" fmla="*/ 84852 w 148187"/>
                  <a:gd name="connsiteY205" fmla="*/ 111216 h 154399"/>
                  <a:gd name="connsiteX206" fmla="*/ 85458 w 148187"/>
                  <a:gd name="connsiteY206" fmla="*/ 111519 h 154399"/>
                  <a:gd name="connsiteX207" fmla="*/ 86670 w 148187"/>
                  <a:gd name="connsiteY207" fmla="*/ 111519 h 154399"/>
                  <a:gd name="connsiteX208" fmla="*/ 87882 w 148187"/>
                  <a:gd name="connsiteY208" fmla="*/ 111216 h 154399"/>
                  <a:gd name="connsiteX209" fmla="*/ 89852 w 148187"/>
                  <a:gd name="connsiteY209" fmla="*/ 109852 h 154399"/>
                  <a:gd name="connsiteX210" fmla="*/ 90610 w 148187"/>
                  <a:gd name="connsiteY210" fmla="*/ 109852 h 154399"/>
                  <a:gd name="connsiteX211" fmla="*/ 91064 w 148187"/>
                  <a:gd name="connsiteY211" fmla="*/ 111368 h 154399"/>
                  <a:gd name="connsiteX212" fmla="*/ 91670 w 148187"/>
                  <a:gd name="connsiteY212" fmla="*/ 111822 h 154399"/>
                  <a:gd name="connsiteX213" fmla="*/ 92882 w 148187"/>
                  <a:gd name="connsiteY213" fmla="*/ 111519 h 154399"/>
                  <a:gd name="connsiteX214" fmla="*/ 94549 w 148187"/>
                  <a:gd name="connsiteY214" fmla="*/ 110459 h 154399"/>
                  <a:gd name="connsiteX215" fmla="*/ 95913 w 148187"/>
                  <a:gd name="connsiteY215" fmla="*/ 109247 h 154399"/>
                  <a:gd name="connsiteX216" fmla="*/ 96064 w 148187"/>
                  <a:gd name="connsiteY216" fmla="*/ 108034 h 154399"/>
                  <a:gd name="connsiteX217" fmla="*/ 97731 w 148187"/>
                  <a:gd name="connsiteY217" fmla="*/ 107731 h 154399"/>
                  <a:gd name="connsiteX218" fmla="*/ 99549 w 148187"/>
                  <a:gd name="connsiteY218" fmla="*/ 104095 h 154399"/>
                  <a:gd name="connsiteX219" fmla="*/ 99246 w 148187"/>
                  <a:gd name="connsiteY219" fmla="*/ 103034 h 154399"/>
                  <a:gd name="connsiteX220" fmla="*/ 100761 w 148187"/>
                  <a:gd name="connsiteY220" fmla="*/ 102428 h 154399"/>
                  <a:gd name="connsiteX221" fmla="*/ 101519 w 148187"/>
                  <a:gd name="connsiteY221" fmla="*/ 102125 h 154399"/>
                  <a:gd name="connsiteX222" fmla="*/ 102580 w 148187"/>
                  <a:gd name="connsiteY222" fmla="*/ 102428 h 154399"/>
                  <a:gd name="connsiteX223" fmla="*/ 103943 w 148187"/>
                  <a:gd name="connsiteY223" fmla="*/ 101822 h 154399"/>
                  <a:gd name="connsiteX224" fmla="*/ 104095 w 148187"/>
                  <a:gd name="connsiteY224" fmla="*/ 102276 h 154399"/>
                  <a:gd name="connsiteX225" fmla="*/ 103186 w 148187"/>
                  <a:gd name="connsiteY225" fmla="*/ 104549 h 154399"/>
                  <a:gd name="connsiteX226" fmla="*/ 103792 w 148187"/>
                  <a:gd name="connsiteY226" fmla="*/ 105004 h 154399"/>
                  <a:gd name="connsiteX227" fmla="*/ 106671 w 148187"/>
                  <a:gd name="connsiteY227" fmla="*/ 105458 h 154399"/>
                  <a:gd name="connsiteX228" fmla="*/ 107277 w 148187"/>
                  <a:gd name="connsiteY228" fmla="*/ 105913 h 154399"/>
                  <a:gd name="connsiteX229" fmla="*/ 107277 w 148187"/>
                  <a:gd name="connsiteY229" fmla="*/ 106519 h 154399"/>
                  <a:gd name="connsiteX230" fmla="*/ 106065 w 148187"/>
                  <a:gd name="connsiteY230" fmla="*/ 107125 h 154399"/>
                  <a:gd name="connsiteX231" fmla="*/ 106216 w 148187"/>
                  <a:gd name="connsiteY231" fmla="*/ 107883 h 154399"/>
                  <a:gd name="connsiteX232" fmla="*/ 107125 w 148187"/>
                  <a:gd name="connsiteY232" fmla="*/ 108640 h 154399"/>
                  <a:gd name="connsiteX233" fmla="*/ 108489 w 148187"/>
                  <a:gd name="connsiteY233" fmla="*/ 108943 h 154399"/>
                  <a:gd name="connsiteX234" fmla="*/ 109853 w 148187"/>
                  <a:gd name="connsiteY234" fmla="*/ 108489 h 154399"/>
                  <a:gd name="connsiteX235" fmla="*/ 111520 w 148187"/>
                  <a:gd name="connsiteY235" fmla="*/ 106368 h 154399"/>
                  <a:gd name="connsiteX236" fmla="*/ 112580 w 148187"/>
                  <a:gd name="connsiteY236" fmla="*/ 105913 h 154399"/>
                  <a:gd name="connsiteX237" fmla="*/ 113489 w 148187"/>
                  <a:gd name="connsiteY237" fmla="*/ 106064 h 154399"/>
                  <a:gd name="connsiteX238" fmla="*/ 113944 w 148187"/>
                  <a:gd name="connsiteY238" fmla="*/ 108186 h 154399"/>
                  <a:gd name="connsiteX239" fmla="*/ 114398 w 148187"/>
                  <a:gd name="connsiteY239" fmla="*/ 108792 h 154399"/>
                  <a:gd name="connsiteX240" fmla="*/ 117580 w 148187"/>
                  <a:gd name="connsiteY240" fmla="*/ 109398 h 154399"/>
                  <a:gd name="connsiteX241" fmla="*/ 119853 w 148187"/>
                  <a:gd name="connsiteY241" fmla="*/ 108489 h 154399"/>
                  <a:gd name="connsiteX242" fmla="*/ 120610 w 148187"/>
                  <a:gd name="connsiteY242" fmla="*/ 108640 h 154399"/>
                  <a:gd name="connsiteX243" fmla="*/ 122277 w 148187"/>
                  <a:gd name="connsiteY243" fmla="*/ 106368 h 154399"/>
                  <a:gd name="connsiteX244" fmla="*/ 123489 w 148187"/>
                  <a:gd name="connsiteY244" fmla="*/ 103943 h 154399"/>
                  <a:gd name="connsiteX245" fmla="*/ 124398 w 148187"/>
                  <a:gd name="connsiteY245" fmla="*/ 100610 h 154399"/>
                  <a:gd name="connsiteX246" fmla="*/ 125763 w 148187"/>
                  <a:gd name="connsiteY246" fmla="*/ 97882 h 154399"/>
                  <a:gd name="connsiteX247" fmla="*/ 128793 w 148187"/>
                  <a:gd name="connsiteY247" fmla="*/ 95610 h 154399"/>
                  <a:gd name="connsiteX248" fmla="*/ 129399 w 148187"/>
                  <a:gd name="connsiteY248" fmla="*/ 94397 h 154399"/>
                  <a:gd name="connsiteX249" fmla="*/ 132581 w 148187"/>
                  <a:gd name="connsiteY249" fmla="*/ 90761 h 154399"/>
                  <a:gd name="connsiteX250" fmla="*/ 134551 w 148187"/>
                  <a:gd name="connsiteY250" fmla="*/ 86064 h 154399"/>
                  <a:gd name="connsiteX251" fmla="*/ 136066 w 148187"/>
                  <a:gd name="connsiteY251" fmla="*/ 84397 h 154399"/>
                  <a:gd name="connsiteX252" fmla="*/ 137884 w 148187"/>
                  <a:gd name="connsiteY252" fmla="*/ 82882 h 154399"/>
                  <a:gd name="connsiteX253" fmla="*/ 139248 w 148187"/>
                  <a:gd name="connsiteY253" fmla="*/ 82124 h 154399"/>
                  <a:gd name="connsiteX254" fmla="*/ 141369 w 148187"/>
                  <a:gd name="connsiteY254" fmla="*/ 81367 h 154399"/>
                  <a:gd name="connsiteX255" fmla="*/ 143036 w 148187"/>
                  <a:gd name="connsiteY255" fmla="*/ 80912 h 154399"/>
                  <a:gd name="connsiteX256" fmla="*/ 143339 w 148187"/>
                  <a:gd name="connsiteY256" fmla="*/ 80609 h 154399"/>
                  <a:gd name="connsiteX257" fmla="*/ 143490 w 148187"/>
                  <a:gd name="connsiteY257" fmla="*/ 79851 h 154399"/>
                  <a:gd name="connsiteX258" fmla="*/ 142884 w 148187"/>
                  <a:gd name="connsiteY258" fmla="*/ 76973 h 154399"/>
                  <a:gd name="connsiteX259" fmla="*/ 143642 w 148187"/>
                  <a:gd name="connsiteY259" fmla="*/ 76063 h 154399"/>
                  <a:gd name="connsiteX260" fmla="*/ 144703 w 148187"/>
                  <a:gd name="connsiteY260" fmla="*/ 74094 h 154399"/>
                  <a:gd name="connsiteX261" fmla="*/ 146066 w 148187"/>
                  <a:gd name="connsiteY261" fmla="*/ 72275 h 154399"/>
                  <a:gd name="connsiteX262" fmla="*/ 147278 w 148187"/>
                  <a:gd name="connsiteY262" fmla="*/ 71063 h 154399"/>
                  <a:gd name="connsiteX263" fmla="*/ 147884 w 148187"/>
                  <a:gd name="connsiteY263" fmla="*/ 69851 h 154399"/>
                  <a:gd name="connsiteX264" fmla="*/ 148187 w 148187"/>
                  <a:gd name="connsiteY264" fmla="*/ 67730 h 154399"/>
                  <a:gd name="connsiteX265" fmla="*/ 148187 w 148187"/>
                  <a:gd name="connsiteY265" fmla="*/ 66214 h 154399"/>
                  <a:gd name="connsiteX266" fmla="*/ 147733 w 148187"/>
                  <a:gd name="connsiteY266" fmla="*/ 63942 h 154399"/>
                  <a:gd name="connsiteX267" fmla="*/ 71518 w 148187"/>
                  <a:gd name="connsiteY267" fmla="*/ 123489 h 154399"/>
                  <a:gd name="connsiteX268" fmla="*/ 71063 w 148187"/>
                  <a:gd name="connsiteY268" fmla="*/ 122883 h 154399"/>
                  <a:gd name="connsiteX269" fmla="*/ 71215 w 148187"/>
                  <a:gd name="connsiteY269" fmla="*/ 120913 h 154399"/>
                  <a:gd name="connsiteX270" fmla="*/ 70306 w 148187"/>
                  <a:gd name="connsiteY270" fmla="*/ 120762 h 154399"/>
                  <a:gd name="connsiteX271" fmla="*/ 68639 w 148187"/>
                  <a:gd name="connsiteY271" fmla="*/ 120762 h 154399"/>
                  <a:gd name="connsiteX272" fmla="*/ 68033 w 148187"/>
                  <a:gd name="connsiteY272" fmla="*/ 121368 h 154399"/>
                  <a:gd name="connsiteX273" fmla="*/ 68488 w 148187"/>
                  <a:gd name="connsiteY273" fmla="*/ 122277 h 154399"/>
                  <a:gd name="connsiteX274" fmla="*/ 69093 w 148187"/>
                  <a:gd name="connsiteY274" fmla="*/ 123186 h 154399"/>
                  <a:gd name="connsiteX275" fmla="*/ 69851 w 148187"/>
                  <a:gd name="connsiteY275" fmla="*/ 123641 h 154399"/>
                  <a:gd name="connsiteX276" fmla="*/ 71972 w 148187"/>
                  <a:gd name="connsiteY276" fmla="*/ 124399 h 154399"/>
                  <a:gd name="connsiteX277" fmla="*/ 71821 w 148187"/>
                  <a:gd name="connsiteY277" fmla="*/ 125308 h 154399"/>
                  <a:gd name="connsiteX278" fmla="*/ 70760 w 148187"/>
                  <a:gd name="connsiteY278" fmla="*/ 126520 h 154399"/>
                  <a:gd name="connsiteX279" fmla="*/ 70154 w 148187"/>
                  <a:gd name="connsiteY279" fmla="*/ 127732 h 154399"/>
                  <a:gd name="connsiteX280" fmla="*/ 69851 w 148187"/>
                  <a:gd name="connsiteY280" fmla="*/ 128793 h 154399"/>
                  <a:gd name="connsiteX281" fmla="*/ 73639 w 148187"/>
                  <a:gd name="connsiteY281" fmla="*/ 127429 h 154399"/>
                  <a:gd name="connsiteX282" fmla="*/ 74397 w 148187"/>
                  <a:gd name="connsiteY282" fmla="*/ 125156 h 154399"/>
                  <a:gd name="connsiteX283" fmla="*/ 75003 w 148187"/>
                  <a:gd name="connsiteY283" fmla="*/ 123641 h 154399"/>
                  <a:gd name="connsiteX284" fmla="*/ 73639 w 148187"/>
                  <a:gd name="connsiteY284" fmla="*/ 122429 h 154399"/>
                  <a:gd name="connsiteX285" fmla="*/ 71518 w 148187"/>
                  <a:gd name="connsiteY285" fmla="*/ 123489 h 154399"/>
                  <a:gd name="connsiteX286" fmla="*/ 99701 w 148187"/>
                  <a:gd name="connsiteY286" fmla="*/ 106974 h 154399"/>
                  <a:gd name="connsiteX287" fmla="*/ 99549 w 148187"/>
                  <a:gd name="connsiteY287" fmla="*/ 108186 h 154399"/>
                  <a:gd name="connsiteX288" fmla="*/ 99398 w 148187"/>
                  <a:gd name="connsiteY288" fmla="*/ 109398 h 154399"/>
                  <a:gd name="connsiteX289" fmla="*/ 98337 w 148187"/>
                  <a:gd name="connsiteY289" fmla="*/ 109852 h 154399"/>
                  <a:gd name="connsiteX290" fmla="*/ 98489 w 148187"/>
                  <a:gd name="connsiteY290" fmla="*/ 110610 h 154399"/>
                  <a:gd name="connsiteX291" fmla="*/ 100610 w 148187"/>
                  <a:gd name="connsiteY291" fmla="*/ 110762 h 154399"/>
                  <a:gd name="connsiteX292" fmla="*/ 100913 w 148187"/>
                  <a:gd name="connsiteY292" fmla="*/ 111368 h 154399"/>
                  <a:gd name="connsiteX293" fmla="*/ 102731 w 148187"/>
                  <a:gd name="connsiteY293" fmla="*/ 112428 h 154399"/>
                  <a:gd name="connsiteX294" fmla="*/ 102277 w 148187"/>
                  <a:gd name="connsiteY294" fmla="*/ 110762 h 154399"/>
                  <a:gd name="connsiteX295" fmla="*/ 102125 w 148187"/>
                  <a:gd name="connsiteY295" fmla="*/ 109549 h 154399"/>
                  <a:gd name="connsiteX296" fmla="*/ 103640 w 148187"/>
                  <a:gd name="connsiteY296" fmla="*/ 108640 h 154399"/>
                  <a:gd name="connsiteX297" fmla="*/ 104095 w 148187"/>
                  <a:gd name="connsiteY297" fmla="*/ 107125 h 154399"/>
                  <a:gd name="connsiteX298" fmla="*/ 102125 w 148187"/>
                  <a:gd name="connsiteY298" fmla="*/ 106368 h 154399"/>
                  <a:gd name="connsiteX299" fmla="*/ 99701 w 148187"/>
                  <a:gd name="connsiteY299" fmla="*/ 106974 h 15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148187" h="154399">
                    <a:moveTo>
                      <a:pt x="147733" y="63942"/>
                    </a:moveTo>
                    <a:lnTo>
                      <a:pt x="147430" y="58487"/>
                    </a:lnTo>
                    <a:lnTo>
                      <a:pt x="146066" y="53941"/>
                    </a:lnTo>
                    <a:lnTo>
                      <a:pt x="145157" y="48790"/>
                    </a:lnTo>
                    <a:lnTo>
                      <a:pt x="145763" y="47123"/>
                    </a:lnTo>
                    <a:lnTo>
                      <a:pt x="144703" y="44093"/>
                    </a:lnTo>
                    <a:lnTo>
                      <a:pt x="144096" y="43941"/>
                    </a:lnTo>
                    <a:lnTo>
                      <a:pt x="143187" y="43335"/>
                    </a:lnTo>
                    <a:lnTo>
                      <a:pt x="142127" y="40456"/>
                    </a:lnTo>
                    <a:lnTo>
                      <a:pt x="141217" y="37880"/>
                    </a:lnTo>
                    <a:lnTo>
                      <a:pt x="140763" y="37274"/>
                    </a:lnTo>
                    <a:lnTo>
                      <a:pt x="137127" y="35001"/>
                    </a:lnTo>
                    <a:lnTo>
                      <a:pt x="135308" y="29698"/>
                    </a:lnTo>
                    <a:lnTo>
                      <a:pt x="133339" y="28486"/>
                    </a:lnTo>
                    <a:lnTo>
                      <a:pt x="132278" y="23183"/>
                    </a:lnTo>
                    <a:lnTo>
                      <a:pt x="132126" y="21668"/>
                    </a:lnTo>
                    <a:lnTo>
                      <a:pt x="133339" y="16364"/>
                    </a:lnTo>
                    <a:lnTo>
                      <a:pt x="133187" y="15152"/>
                    </a:lnTo>
                    <a:lnTo>
                      <a:pt x="131974" y="14092"/>
                    </a:lnTo>
                    <a:lnTo>
                      <a:pt x="128490" y="13031"/>
                    </a:lnTo>
                    <a:lnTo>
                      <a:pt x="125763" y="10910"/>
                    </a:lnTo>
                    <a:lnTo>
                      <a:pt x="126065" y="10152"/>
                    </a:lnTo>
                    <a:lnTo>
                      <a:pt x="126217" y="9394"/>
                    </a:lnTo>
                    <a:lnTo>
                      <a:pt x="124702" y="8940"/>
                    </a:lnTo>
                    <a:lnTo>
                      <a:pt x="120459" y="0"/>
                    </a:lnTo>
                    <a:lnTo>
                      <a:pt x="114095" y="6364"/>
                    </a:lnTo>
                    <a:lnTo>
                      <a:pt x="109398" y="11061"/>
                    </a:lnTo>
                    <a:lnTo>
                      <a:pt x="108641" y="11667"/>
                    </a:lnTo>
                    <a:lnTo>
                      <a:pt x="107277" y="12576"/>
                    </a:lnTo>
                    <a:lnTo>
                      <a:pt x="102731" y="12576"/>
                    </a:lnTo>
                    <a:lnTo>
                      <a:pt x="98034" y="11970"/>
                    </a:lnTo>
                    <a:lnTo>
                      <a:pt x="93791" y="9091"/>
                    </a:lnTo>
                    <a:lnTo>
                      <a:pt x="89397" y="11364"/>
                    </a:lnTo>
                    <a:lnTo>
                      <a:pt x="86670" y="12122"/>
                    </a:lnTo>
                    <a:lnTo>
                      <a:pt x="85003" y="12425"/>
                    </a:lnTo>
                    <a:lnTo>
                      <a:pt x="81064" y="12728"/>
                    </a:lnTo>
                    <a:lnTo>
                      <a:pt x="75609" y="13940"/>
                    </a:lnTo>
                    <a:lnTo>
                      <a:pt x="73185" y="15455"/>
                    </a:lnTo>
                    <a:lnTo>
                      <a:pt x="71821" y="16667"/>
                    </a:lnTo>
                    <a:lnTo>
                      <a:pt x="70760" y="18789"/>
                    </a:lnTo>
                    <a:lnTo>
                      <a:pt x="70154" y="18940"/>
                    </a:lnTo>
                    <a:lnTo>
                      <a:pt x="69093" y="18637"/>
                    </a:lnTo>
                    <a:lnTo>
                      <a:pt x="67730" y="17728"/>
                    </a:lnTo>
                    <a:lnTo>
                      <a:pt x="64851" y="16516"/>
                    </a:lnTo>
                    <a:lnTo>
                      <a:pt x="63336" y="13788"/>
                    </a:lnTo>
                    <a:lnTo>
                      <a:pt x="61972" y="12122"/>
                    </a:lnTo>
                    <a:lnTo>
                      <a:pt x="60912" y="11213"/>
                    </a:lnTo>
                    <a:lnTo>
                      <a:pt x="56214" y="13940"/>
                    </a:lnTo>
                    <a:lnTo>
                      <a:pt x="53941" y="14546"/>
                    </a:lnTo>
                    <a:lnTo>
                      <a:pt x="52123" y="14394"/>
                    </a:lnTo>
                    <a:lnTo>
                      <a:pt x="48790" y="12879"/>
                    </a:lnTo>
                    <a:lnTo>
                      <a:pt x="45153" y="11516"/>
                    </a:lnTo>
                    <a:lnTo>
                      <a:pt x="43184" y="11516"/>
                    </a:lnTo>
                    <a:lnTo>
                      <a:pt x="40305" y="13182"/>
                    </a:lnTo>
                    <a:lnTo>
                      <a:pt x="37123" y="15607"/>
                    </a:lnTo>
                    <a:lnTo>
                      <a:pt x="35456" y="18031"/>
                    </a:lnTo>
                    <a:lnTo>
                      <a:pt x="34698" y="19546"/>
                    </a:lnTo>
                    <a:lnTo>
                      <a:pt x="36214" y="20304"/>
                    </a:lnTo>
                    <a:lnTo>
                      <a:pt x="36517" y="21819"/>
                    </a:lnTo>
                    <a:lnTo>
                      <a:pt x="35456" y="23637"/>
                    </a:lnTo>
                    <a:lnTo>
                      <a:pt x="34396" y="25304"/>
                    </a:lnTo>
                    <a:lnTo>
                      <a:pt x="33031" y="28486"/>
                    </a:lnTo>
                    <a:lnTo>
                      <a:pt x="32274" y="31819"/>
                    </a:lnTo>
                    <a:lnTo>
                      <a:pt x="33183" y="32880"/>
                    </a:lnTo>
                    <a:lnTo>
                      <a:pt x="34092" y="33789"/>
                    </a:lnTo>
                    <a:lnTo>
                      <a:pt x="34547" y="34698"/>
                    </a:lnTo>
                    <a:lnTo>
                      <a:pt x="34850" y="35759"/>
                    </a:lnTo>
                    <a:lnTo>
                      <a:pt x="34698" y="36971"/>
                    </a:lnTo>
                    <a:lnTo>
                      <a:pt x="32577" y="41517"/>
                    </a:lnTo>
                    <a:lnTo>
                      <a:pt x="31517" y="45608"/>
                    </a:lnTo>
                    <a:lnTo>
                      <a:pt x="31517" y="47577"/>
                    </a:lnTo>
                    <a:lnTo>
                      <a:pt x="34244" y="49093"/>
                    </a:lnTo>
                    <a:lnTo>
                      <a:pt x="37880" y="48941"/>
                    </a:lnTo>
                    <a:lnTo>
                      <a:pt x="39093" y="49850"/>
                    </a:lnTo>
                    <a:lnTo>
                      <a:pt x="40305" y="51366"/>
                    </a:lnTo>
                    <a:lnTo>
                      <a:pt x="41365" y="52123"/>
                    </a:lnTo>
                    <a:lnTo>
                      <a:pt x="42881" y="52123"/>
                    </a:lnTo>
                    <a:lnTo>
                      <a:pt x="43941" y="52578"/>
                    </a:lnTo>
                    <a:lnTo>
                      <a:pt x="44395" y="53638"/>
                    </a:lnTo>
                    <a:lnTo>
                      <a:pt x="45608" y="54699"/>
                    </a:lnTo>
                    <a:lnTo>
                      <a:pt x="46365" y="55608"/>
                    </a:lnTo>
                    <a:lnTo>
                      <a:pt x="47426" y="53790"/>
                    </a:lnTo>
                    <a:lnTo>
                      <a:pt x="48487" y="51972"/>
                    </a:lnTo>
                    <a:lnTo>
                      <a:pt x="50911" y="49396"/>
                    </a:lnTo>
                    <a:lnTo>
                      <a:pt x="52123" y="49093"/>
                    </a:lnTo>
                    <a:lnTo>
                      <a:pt x="51972" y="49547"/>
                    </a:lnTo>
                    <a:lnTo>
                      <a:pt x="49850" y="52426"/>
                    </a:lnTo>
                    <a:lnTo>
                      <a:pt x="49548" y="53032"/>
                    </a:lnTo>
                    <a:lnTo>
                      <a:pt x="49699" y="54699"/>
                    </a:lnTo>
                    <a:lnTo>
                      <a:pt x="50002" y="63033"/>
                    </a:lnTo>
                    <a:lnTo>
                      <a:pt x="49699" y="64093"/>
                    </a:lnTo>
                    <a:lnTo>
                      <a:pt x="49244" y="64699"/>
                    </a:lnTo>
                    <a:lnTo>
                      <a:pt x="48487" y="64699"/>
                    </a:lnTo>
                    <a:lnTo>
                      <a:pt x="47881" y="65608"/>
                    </a:lnTo>
                    <a:lnTo>
                      <a:pt x="47426" y="67275"/>
                    </a:lnTo>
                    <a:lnTo>
                      <a:pt x="46365" y="68791"/>
                    </a:lnTo>
                    <a:lnTo>
                      <a:pt x="43638" y="71063"/>
                    </a:lnTo>
                    <a:lnTo>
                      <a:pt x="42577" y="71518"/>
                    </a:lnTo>
                    <a:lnTo>
                      <a:pt x="40153" y="72124"/>
                    </a:lnTo>
                    <a:lnTo>
                      <a:pt x="39395" y="72579"/>
                    </a:lnTo>
                    <a:lnTo>
                      <a:pt x="38184" y="73033"/>
                    </a:lnTo>
                    <a:lnTo>
                      <a:pt x="36062" y="75154"/>
                    </a:lnTo>
                    <a:lnTo>
                      <a:pt x="33183" y="78942"/>
                    </a:lnTo>
                    <a:lnTo>
                      <a:pt x="31668" y="81215"/>
                    </a:lnTo>
                    <a:lnTo>
                      <a:pt x="31365" y="82124"/>
                    </a:lnTo>
                    <a:lnTo>
                      <a:pt x="27880" y="86215"/>
                    </a:lnTo>
                    <a:lnTo>
                      <a:pt x="27122" y="86518"/>
                    </a:lnTo>
                    <a:lnTo>
                      <a:pt x="26364" y="86670"/>
                    </a:lnTo>
                    <a:lnTo>
                      <a:pt x="25455" y="86215"/>
                    </a:lnTo>
                    <a:lnTo>
                      <a:pt x="25304" y="85912"/>
                    </a:lnTo>
                    <a:lnTo>
                      <a:pt x="25455" y="83943"/>
                    </a:lnTo>
                    <a:lnTo>
                      <a:pt x="25153" y="82579"/>
                    </a:lnTo>
                    <a:lnTo>
                      <a:pt x="25153" y="81821"/>
                    </a:lnTo>
                    <a:lnTo>
                      <a:pt x="25455" y="81518"/>
                    </a:lnTo>
                    <a:lnTo>
                      <a:pt x="25304" y="81064"/>
                    </a:lnTo>
                    <a:lnTo>
                      <a:pt x="24850" y="80761"/>
                    </a:lnTo>
                    <a:lnTo>
                      <a:pt x="20607" y="82276"/>
                    </a:lnTo>
                    <a:lnTo>
                      <a:pt x="18334" y="84549"/>
                    </a:lnTo>
                    <a:lnTo>
                      <a:pt x="16819" y="88033"/>
                    </a:lnTo>
                    <a:lnTo>
                      <a:pt x="13182" y="91064"/>
                    </a:lnTo>
                    <a:lnTo>
                      <a:pt x="10303" y="92276"/>
                    </a:lnTo>
                    <a:lnTo>
                      <a:pt x="10000" y="93034"/>
                    </a:lnTo>
                    <a:lnTo>
                      <a:pt x="9849" y="96216"/>
                    </a:lnTo>
                    <a:lnTo>
                      <a:pt x="10152" y="100913"/>
                    </a:lnTo>
                    <a:lnTo>
                      <a:pt x="8788" y="103034"/>
                    </a:lnTo>
                    <a:lnTo>
                      <a:pt x="6819" y="107277"/>
                    </a:lnTo>
                    <a:lnTo>
                      <a:pt x="5758" y="109852"/>
                    </a:lnTo>
                    <a:lnTo>
                      <a:pt x="5000" y="110307"/>
                    </a:lnTo>
                    <a:lnTo>
                      <a:pt x="4091" y="111671"/>
                    </a:lnTo>
                    <a:lnTo>
                      <a:pt x="3485" y="115913"/>
                    </a:lnTo>
                    <a:lnTo>
                      <a:pt x="3182" y="117429"/>
                    </a:lnTo>
                    <a:lnTo>
                      <a:pt x="3182" y="117580"/>
                    </a:lnTo>
                    <a:lnTo>
                      <a:pt x="5910" y="117580"/>
                    </a:lnTo>
                    <a:lnTo>
                      <a:pt x="8788" y="118944"/>
                    </a:lnTo>
                    <a:lnTo>
                      <a:pt x="8334" y="122429"/>
                    </a:lnTo>
                    <a:lnTo>
                      <a:pt x="2122" y="128035"/>
                    </a:lnTo>
                    <a:lnTo>
                      <a:pt x="2273" y="128793"/>
                    </a:lnTo>
                    <a:lnTo>
                      <a:pt x="1212" y="133035"/>
                    </a:lnTo>
                    <a:lnTo>
                      <a:pt x="1212" y="135460"/>
                    </a:lnTo>
                    <a:lnTo>
                      <a:pt x="758" y="138338"/>
                    </a:lnTo>
                    <a:lnTo>
                      <a:pt x="0" y="140763"/>
                    </a:lnTo>
                    <a:lnTo>
                      <a:pt x="0" y="144702"/>
                    </a:lnTo>
                    <a:lnTo>
                      <a:pt x="455" y="151066"/>
                    </a:lnTo>
                    <a:lnTo>
                      <a:pt x="303" y="151975"/>
                    </a:lnTo>
                    <a:lnTo>
                      <a:pt x="1212" y="151975"/>
                    </a:lnTo>
                    <a:lnTo>
                      <a:pt x="7121" y="150612"/>
                    </a:lnTo>
                    <a:lnTo>
                      <a:pt x="7728" y="151066"/>
                    </a:lnTo>
                    <a:lnTo>
                      <a:pt x="8637" y="153794"/>
                    </a:lnTo>
                    <a:lnTo>
                      <a:pt x="9091" y="154248"/>
                    </a:lnTo>
                    <a:lnTo>
                      <a:pt x="9849" y="154400"/>
                    </a:lnTo>
                    <a:lnTo>
                      <a:pt x="11516" y="153794"/>
                    </a:lnTo>
                    <a:lnTo>
                      <a:pt x="14546" y="151672"/>
                    </a:lnTo>
                    <a:lnTo>
                      <a:pt x="15910" y="150308"/>
                    </a:lnTo>
                    <a:lnTo>
                      <a:pt x="17425" y="148490"/>
                    </a:lnTo>
                    <a:lnTo>
                      <a:pt x="19395" y="146369"/>
                    </a:lnTo>
                    <a:lnTo>
                      <a:pt x="20455" y="144551"/>
                    </a:lnTo>
                    <a:lnTo>
                      <a:pt x="21516" y="143490"/>
                    </a:lnTo>
                    <a:lnTo>
                      <a:pt x="22880" y="143187"/>
                    </a:lnTo>
                    <a:lnTo>
                      <a:pt x="24395" y="143339"/>
                    </a:lnTo>
                    <a:lnTo>
                      <a:pt x="25455" y="143339"/>
                    </a:lnTo>
                    <a:lnTo>
                      <a:pt x="25759" y="143187"/>
                    </a:lnTo>
                    <a:lnTo>
                      <a:pt x="27880" y="143339"/>
                    </a:lnTo>
                    <a:lnTo>
                      <a:pt x="29850" y="142884"/>
                    </a:lnTo>
                    <a:lnTo>
                      <a:pt x="31819" y="141672"/>
                    </a:lnTo>
                    <a:lnTo>
                      <a:pt x="33638" y="141369"/>
                    </a:lnTo>
                    <a:lnTo>
                      <a:pt x="34092" y="141520"/>
                    </a:lnTo>
                    <a:lnTo>
                      <a:pt x="34698" y="141672"/>
                    </a:lnTo>
                    <a:lnTo>
                      <a:pt x="37577" y="141672"/>
                    </a:lnTo>
                    <a:lnTo>
                      <a:pt x="42426" y="141672"/>
                    </a:lnTo>
                    <a:lnTo>
                      <a:pt x="47274" y="141672"/>
                    </a:lnTo>
                    <a:lnTo>
                      <a:pt x="52123" y="141672"/>
                    </a:lnTo>
                    <a:lnTo>
                      <a:pt x="56972" y="141672"/>
                    </a:lnTo>
                    <a:lnTo>
                      <a:pt x="60305" y="141672"/>
                    </a:lnTo>
                    <a:lnTo>
                      <a:pt x="60002" y="139854"/>
                    </a:lnTo>
                    <a:lnTo>
                      <a:pt x="59699" y="138490"/>
                    </a:lnTo>
                    <a:lnTo>
                      <a:pt x="59093" y="137126"/>
                    </a:lnTo>
                    <a:lnTo>
                      <a:pt x="58790" y="135914"/>
                    </a:lnTo>
                    <a:lnTo>
                      <a:pt x="61366" y="129853"/>
                    </a:lnTo>
                    <a:lnTo>
                      <a:pt x="62730" y="127429"/>
                    </a:lnTo>
                    <a:lnTo>
                      <a:pt x="66215" y="123035"/>
                    </a:lnTo>
                    <a:lnTo>
                      <a:pt x="66366" y="121217"/>
                    </a:lnTo>
                    <a:lnTo>
                      <a:pt x="65609" y="120004"/>
                    </a:lnTo>
                    <a:lnTo>
                      <a:pt x="64700" y="119095"/>
                    </a:lnTo>
                    <a:lnTo>
                      <a:pt x="64548" y="118489"/>
                    </a:lnTo>
                    <a:lnTo>
                      <a:pt x="65003" y="117732"/>
                    </a:lnTo>
                    <a:lnTo>
                      <a:pt x="67275" y="116671"/>
                    </a:lnTo>
                    <a:lnTo>
                      <a:pt x="67881" y="115762"/>
                    </a:lnTo>
                    <a:lnTo>
                      <a:pt x="70760" y="115307"/>
                    </a:lnTo>
                    <a:lnTo>
                      <a:pt x="72124" y="113944"/>
                    </a:lnTo>
                    <a:lnTo>
                      <a:pt x="73488" y="114247"/>
                    </a:lnTo>
                    <a:lnTo>
                      <a:pt x="74245" y="113489"/>
                    </a:lnTo>
                    <a:lnTo>
                      <a:pt x="76064" y="113641"/>
                    </a:lnTo>
                    <a:lnTo>
                      <a:pt x="76973" y="112277"/>
                    </a:lnTo>
                    <a:lnTo>
                      <a:pt x="77730" y="111671"/>
                    </a:lnTo>
                    <a:lnTo>
                      <a:pt x="78336" y="111519"/>
                    </a:lnTo>
                    <a:lnTo>
                      <a:pt x="78639" y="112580"/>
                    </a:lnTo>
                    <a:lnTo>
                      <a:pt x="79700" y="112731"/>
                    </a:lnTo>
                    <a:lnTo>
                      <a:pt x="80912" y="112277"/>
                    </a:lnTo>
                    <a:lnTo>
                      <a:pt x="81821" y="111519"/>
                    </a:lnTo>
                    <a:lnTo>
                      <a:pt x="82427" y="108943"/>
                    </a:lnTo>
                    <a:lnTo>
                      <a:pt x="83185" y="107883"/>
                    </a:lnTo>
                    <a:lnTo>
                      <a:pt x="84094" y="107428"/>
                    </a:lnTo>
                    <a:lnTo>
                      <a:pt x="85003" y="109095"/>
                    </a:lnTo>
                    <a:lnTo>
                      <a:pt x="85912" y="109398"/>
                    </a:lnTo>
                    <a:lnTo>
                      <a:pt x="85003" y="110610"/>
                    </a:lnTo>
                    <a:lnTo>
                      <a:pt x="84852" y="111216"/>
                    </a:lnTo>
                    <a:lnTo>
                      <a:pt x="85458" y="111519"/>
                    </a:lnTo>
                    <a:lnTo>
                      <a:pt x="86670" y="111519"/>
                    </a:lnTo>
                    <a:lnTo>
                      <a:pt x="87882" y="111216"/>
                    </a:lnTo>
                    <a:lnTo>
                      <a:pt x="89852" y="109852"/>
                    </a:lnTo>
                    <a:lnTo>
                      <a:pt x="90610" y="109852"/>
                    </a:lnTo>
                    <a:lnTo>
                      <a:pt x="91064" y="111368"/>
                    </a:lnTo>
                    <a:lnTo>
                      <a:pt x="91670" y="111822"/>
                    </a:lnTo>
                    <a:lnTo>
                      <a:pt x="92882" y="111519"/>
                    </a:lnTo>
                    <a:lnTo>
                      <a:pt x="94549" y="110459"/>
                    </a:lnTo>
                    <a:lnTo>
                      <a:pt x="95913" y="109247"/>
                    </a:lnTo>
                    <a:lnTo>
                      <a:pt x="96064" y="108034"/>
                    </a:lnTo>
                    <a:lnTo>
                      <a:pt x="97731" y="107731"/>
                    </a:lnTo>
                    <a:lnTo>
                      <a:pt x="99549" y="104095"/>
                    </a:lnTo>
                    <a:lnTo>
                      <a:pt x="99246" y="103034"/>
                    </a:lnTo>
                    <a:lnTo>
                      <a:pt x="100761" y="102428"/>
                    </a:lnTo>
                    <a:lnTo>
                      <a:pt x="101519" y="102125"/>
                    </a:lnTo>
                    <a:lnTo>
                      <a:pt x="102580" y="102428"/>
                    </a:lnTo>
                    <a:lnTo>
                      <a:pt x="103943" y="101822"/>
                    </a:lnTo>
                    <a:lnTo>
                      <a:pt x="104095" y="102276"/>
                    </a:lnTo>
                    <a:lnTo>
                      <a:pt x="103186" y="104549"/>
                    </a:lnTo>
                    <a:lnTo>
                      <a:pt x="103792" y="105004"/>
                    </a:lnTo>
                    <a:lnTo>
                      <a:pt x="106671" y="105458"/>
                    </a:lnTo>
                    <a:lnTo>
                      <a:pt x="107277" y="105913"/>
                    </a:lnTo>
                    <a:lnTo>
                      <a:pt x="107277" y="106519"/>
                    </a:lnTo>
                    <a:lnTo>
                      <a:pt x="106065" y="107125"/>
                    </a:lnTo>
                    <a:lnTo>
                      <a:pt x="106216" y="107883"/>
                    </a:lnTo>
                    <a:lnTo>
                      <a:pt x="107125" y="108640"/>
                    </a:lnTo>
                    <a:lnTo>
                      <a:pt x="108489" y="108943"/>
                    </a:lnTo>
                    <a:lnTo>
                      <a:pt x="109853" y="108489"/>
                    </a:lnTo>
                    <a:lnTo>
                      <a:pt x="111520" y="106368"/>
                    </a:lnTo>
                    <a:lnTo>
                      <a:pt x="112580" y="105913"/>
                    </a:lnTo>
                    <a:lnTo>
                      <a:pt x="113489" y="106064"/>
                    </a:lnTo>
                    <a:lnTo>
                      <a:pt x="113944" y="108186"/>
                    </a:lnTo>
                    <a:lnTo>
                      <a:pt x="114398" y="108792"/>
                    </a:lnTo>
                    <a:lnTo>
                      <a:pt x="117580" y="109398"/>
                    </a:lnTo>
                    <a:lnTo>
                      <a:pt x="119853" y="108489"/>
                    </a:lnTo>
                    <a:lnTo>
                      <a:pt x="120610" y="108640"/>
                    </a:lnTo>
                    <a:lnTo>
                      <a:pt x="122277" y="106368"/>
                    </a:lnTo>
                    <a:lnTo>
                      <a:pt x="123489" y="103943"/>
                    </a:lnTo>
                    <a:lnTo>
                      <a:pt x="124398" y="100610"/>
                    </a:lnTo>
                    <a:lnTo>
                      <a:pt x="125763" y="97882"/>
                    </a:lnTo>
                    <a:lnTo>
                      <a:pt x="128793" y="95610"/>
                    </a:lnTo>
                    <a:lnTo>
                      <a:pt x="129399" y="94397"/>
                    </a:lnTo>
                    <a:lnTo>
                      <a:pt x="132581" y="90761"/>
                    </a:lnTo>
                    <a:lnTo>
                      <a:pt x="134551" y="86064"/>
                    </a:lnTo>
                    <a:lnTo>
                      <a:pt x="136066" y="84397"/>
                    </a:lnTo>
                    <a:lnTo>
                      <a:pt x="137884" y="82882"/>
                    </a:lnTo>
                    <a:lnTo>
                      <a:pt x="139248" y="82124"/>
                    </a:lnTo>
                    <a:lnTo>
                      <a:pt x="141369" y="81367"/>
                    </a:lnTo>
                    <a:lnTo>
                      <a:pt x="143036" y="80912"/>
                    </a:lnTo>
                    <a:lnTo>
                      <a:pt x="143339" y="80609"/>
                    </a:lnTo>
                    <a:lnTo>
                      <a:pt x="143490" y="79851"/>
                    </a:lnTo>
                    <a:lnTo>
                      <a:pt x="142884" y="76973"/>
                    </a:lnTo>
                    <a:lnTo>
                      <a:pt x="143642" y="76063"/>
                    </a:lnTo>
                    <a:lnTo>
                      <a:pt x="144703" y="74094"/>
                    </a:lnTo>
                    <a:lnTo>
                      <a:pt x="146066" y="72275"/>
                    </a:lnTo>
                    <a:lnTo>
                      <a:pt x="147278" y="71063"/>
                    </a:lnTo>
                    <a:lnTo>
                      <a:pt x="147884" y="69851"/>
                    </a:lnTo>
                    <a:lnTo>
                      <a:pt x="148187" y="67730"/>
                    </a:lnTo>
                    <a:lnTo>
                      <a:pt x="148187" y="66214"/>
                    </a:lnTo>
                    <a:lnTo>
                      <a:pt x="147733" y="63942"/>
                    </a:lnTo>
                    <a:close/>
                    <a:moveTo>
                      <a:pt x="71518" y="123489"/>
                    </a:moveTo>
                    <a:lnTo>
                      <a:pt x="71063" y="122883"/>
                    </a:lnTo>
                    <a:lnTo>
                      <a:pt x="71215" y="120913"/>
                    </a:lnTo>
                    <a:lnTo>
                      <a:pt x="70306" y="120762"/>
                    </a:lnTo>
                    <a:lnTo>
                      <a:pt x="68639" y="120762"/>
                    </a:lnTo>
                    <a:lnTo>
                      <a:pt x="68033" y="121368"/>
                    </a:lnTo>
                    <a:lnTo>
                      <a:pt x="68488" y="122277"/>
                    </a:lnTo>
                    <a:lnTo>
                      <a:pt x="69093" y="123186"/>
                    </a:lnTo>
                    <a:lnTo>
                      <a:pt x="69851" y="123641"/>
                    </a:lnTo>
                    <a:lnTo>
                      <a:pt x="71972" y="124399"/>
                    </a:lnTo>
                    <a:lnTo>
                      <a:pt x="71821" y="125308"/>
                    </a:lnTo>
                    <a:lnTo>
                      <a:pt x="70760" y="126520"/>
                    </a:lnTo>
                    <a:lnTo>
                      <a:pt x="70154" y="127732"/>
                    </a:lnTo>
                    <a:lnTo>
                      <a:pt x="69851" y="128793"/>
                    </a:lnTo>
                    <a:lnTo>
                      <a:pt x="73639" y="127429"/>
                    </a:lnTo>
                    <a:lnTo>
                      <a:pt x="74397" y="125156"/>
                    </a:lnTo>
                    <a:lnTo>
                      <a:pt x="75003" y="123641"/>
                    </a:lnTo>
                    <a:lnTo>
                      <a:pt x="73639" y="122429"/>
                    </a:lnTo>
                    <a:lnTo>
                      <a:pt x="71518" y="123489"/>
                    </a:lnTo>
                    <a:close/>
                    <a:moveTo>
                      <a:pt x="99701" y="106974"/>
                    </a:moveTo>
                    <a:lnTo>
                      <a:pt x="99549" y="108186"/>
                    </a:lnTo>
                    <a:lnTo>
                      <a:pt x="99398" y="109398"/>
                    </a:lnTo>
                    <a:lnTo>
                      <a:pt x="98337" y="109852"/>
                    </a:lnTo>
                    <a:lnTo>
                      <a:pt x="98489" y="110610"/>
                    </a:lnTo>
                    <a:lnTo>
                      <a:pt x="100610" y="110762"/>
                    </a:lnTo>
                    <a:lnTo>
                      <a:pt x="100913" y="111368"/>
                    </a:lnTo>
                    <a:lnTo>
                      <a:pt x="102731" y="112428"/>
                    </a:lnTo>
                    <a:lnTo>
                      <a:pt x="102277" y="110762"/>
                    </a:lnTo>
                    <a:lnTo>
                      <a:pt x="102125" y="109549"/>
                    </a:lnTo>
                    <a:lnTo>
                      <a:pt x="103640" y="108640"/>
                    </a:lnTo>
                    <a:lnTo>
                      <a:pt x="104095" y="107125"/>
                    </a:lnTo>
                    <a:lnTo>
                      <a:pt x="102125" y="106368"/>
                    </a:lnTo>
                    <a:lnTo>
                      <a:pt x="99701" y="10697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4DAD5186-0867-4593-8DE5-98183BCEE1AF}"/>
                  </a:ext>
                </a:extLst>
              </p:cNvPr>
              <p:cNvSpPr/>
              <p:nvPr/>
            </p:nvSpPr>
            <p:spPr>
              <a:xfrm>
                <a:off x="6383132" y="2988905"/>
                <a:ext cx="491987" cy="281222"/>
              </a:xfrm>
              <a:custGeom>
                <a:avLst/>
                <a:gdLst>
                  <a:gd name="connsiteX0" fmla="*/ 259706 w 491987"/>
                  <a:gd name="connsiteY0" fmla="*/ 215159 h 281222"/>
                  <a:gd name="connsiteX1" fmla="*/ 258191 w 491987"/>
                  <a:gd name="connsiteY1" fmla="*/ 214099 h 281222"/>
                  <a:gd name="connsiteX2" fmla="*/ 256070 w 491987"/>
                  <a:gd name="connsiteY2" fmla="*/ 211674 h 281222"/>
                  <a:gd name="connsiteX3" fmla="*/ 256676 w 491987"/>
                  <a:gd name="connsiteY3" fmla="*/ 213947 h 281222"/>
                  <a:gd name="connsiteX4" fmla="*/ 257585 w 491987"/>
                  <a:gd name="connsiteY4" fmla="*/ 215614 h 281222"/>
                  <a:gd name="connsiteX5" fmla="*/ 261373 w 491987"/>
                  <a:gd name="connsiteY5" fmla="*/ 217129 h 281222"/>
                  <a:gd name="connsiteX6" fmla="*/ 269858 w 491987"/>
                  <a:gd name="connsiteY6" fmla="*/ 218644 h 281222"/>
                  <a:gd name="connsiteX7" fmla="*/ 273646 w 491987"/>
                  <a:gd name="connsiteY7" fmla="*/ 219099 h 281222"/>
                  <a:gd name="connsiteX8" fmla="*/ 269858 w 491987"/>
                  <a:gd name="connsiteY8" fmla="*/ 217432 h 281222"/>
                  <a:gd name="connsiteX9" fmla="*/ 259706 w 491987"/>
                  <a:gd name="connsiteY9" fmla="*/ 215159 h 281222"/>
                  <a:gd name="connsiteX10" fmla="*/ 491988 w 491987"/>
                  <a:gd name="connsiteY10" fmla="*/ 107428 h 281222"/>
                  <a:gd name="connsiteX11" fmla="*/ 490169 w 491987"/>
                  <a:gd name="connsiteY11" fmla="*/ 105155 h 281222"/>
                  <a:gd name="connsiteX12" fmla="*/ 490169 w 491987"/>
                  <a:gd name="connsiteY12" fmla="*/ 102883 h 281222"/>
                  <a:gd name="connsiteX13" fmla="*/ 491230 w 491987"/>
                  <a:gd name="connsiteY13" fmla="*/ 101216 h 281222"/>
                  <a:gd name="connsiteX14" fmla="*/ 490776 w 491987"/>
                  <a:gd name="connsiteY14" fmla="*/ 100004 h 281222"/>
                  <a:gd name="connsiteX15" fmla="*/ 489412 w 491987"/>
                  <a:gd name="connsiteY15" fmla="*/ 99246 h 281222"/>
                  <a:gd name="connsiteX16" fmla="*/ 487442 w 491987"/>
                  <a:gd name="connsiteY16" fmla="*/ 99398 h 281222"/>
                  <a:gd name="connsiteX17" fmla="*/ 485169 w 491987"/>
                  <a:gd name="connsiteY17" fmla="*/ 100155 h 281222"/>
                  <a:gd name="connsiteX18" fmla="*/ 482593 w 491987"/>
                  <a:gd name="connsiteY18" fmla="*/ 100004 h 281222"/>
                  <a:gd name="connsiteX19" fmla="*/ 478351 w 491987"/>
                  <a:gd name="connsiteY19" fmla="*/ 97276 h 281222"/>
                  <a:gd name="connsiteX20" fmla="*/ 473805 w 491987"/>
                  <a:gd name="connsiteY20" fmla="*/ 94549 h 281222"/>
                  <a:gd name="connsiteX21" fmla="*/ 471229 w 491987"/>
                  <a:gd name="connsiteY21" fmla="*/ 94397 h 281222"/>
                  <a:gd name="connsiteX22" fmla="*/ 469411 w 491987"/>
                  <a:gd name="connsiteY22" fmla="*/ 93943 h 281222"/>
                  <a:gd name="connsiteX23" fmla="*/ 467896 w 491987"/>
                  <a:gd name="connsiteY23" fmla="*/ 92579 h 281222"/>
                  <a:gd name="connsiteX24" fmla="*/ 466987 w 491987"/>
                  <a:gd name="connsiteY24" fmla="*/ 90761 h 281222"/>
                  <a:gd name="connsiteX25" fmla="*/ 465926 w 491987"/>
                  <a:gd name="connsiteY25" fmla="*/ 90003 h 281222"/>
                  <a:gd name="connsiteX26" fmla="*/ 464259 w 491987"/>
                  <a:gd name="connsiteY26" fmla="*/ 90458 h 281222"/>
                  <a:gd name="connsiteX27" fmla="*/ 461835 w 491987"/>
                  <a:gd name="connsiteY27" fmla="*/ 91215 h 281222"/>
                  <a:gd name="connsiteX28" fmla="*/ 458805 w 491987"/>
                  <a:gd name="connsiteY28" fmla="*/ 91064 h 281222"/>
                  <a:gd name="connsiteX29" fmla="*/ 454865 w 491987"/>
                  <a:gd name="connsiteY29" fmla="*/ 88943 h 281222"/>
                  <a:gd name="connsiteX30" fmla="*/ 451380 w 491987"/>
                  <a:gd name="connsiteY30" fmla="*/ 86518 h 281222"/>
                  <a:gd name="connsiteX31" fmla="*/ 448804 w 491987"/>
                  <a:gd name="connsiteY31" fmla="*/ 86518 h 281222"/>
                  <a:gd name="connsiteX32" fmla="*/ 446077 w 491987"/>
                  <a:gd name="connsiteY32" fmla="*/ 86215 h 281222"/>
                  <a:gd name="connsiteX33" fmla="*/ 440774 w 491987"/>
                  <a:gd name="connsiteY33" fmla="*/ 83033 h 281222"/>
                  <a:gd name="connsiteX34" fmla="*/ 439410 w 491987"/>
                  <a:gd name="connsiteY34" fmla="*/ 83033 h 281222"/>
                  <a:gd name="connsiteX35" fmla="*/ 438501 w 491987"/>
                  <a:gd name="connsiteY35" fmla="*/ 83942 h 281222"/>
                  <a:gd name="connsiteX36" fmla="*/ 438046 w 491987"/>
                  <a:gd name="connsiteY36" fmla="*/ 86518 h 281222"/>
                  <a:gd name="connsiteX37" fmla="*/ 437592 w 491987"/>
                  <a:gd name="connsiteY37" fmla="*/ 87124 h 281222"/>
                  <a:gd name="connsiteX38" fmla="*/ 436683 w 491987"/>
                  <a:gd name="connsiteY38" fmla="*/ 87579 h 281222"/>
                  <a:gd name="connsiteX39" fmla="*/ 434864 w 491987"/>
                  <a:gd name="connsiteY39" fmla="*/ 87882 h 281222"/>
                  <a:gd name="connsiteX40" fmla="*/ 432289 w 491987"/>
                  <a:gd name="connsiteY40" fmla="*/ 86367 h 281222"/>
                  <a:gd name="connsiteX41" fmla="*/ 425622 w 491987"/>
                  <a:gd name="connsiteY41" fmla="*/ 81215 h 281222"/>
                  <a:gd name="connsiteX42" fmla="*/ 422894 w 491987"/>
                  <a:gd name="connsiteY42" fmla="*/ 77427 h 281222"/>
                  <a:gd name="connsiteX43" fmla="*/ 422288 w 491987"/>
                  <a:gd name="connsiteY43" fmla="*/ 74700 h 281222"/>
                  <a:gd name="connsiteX44" fmla="*/ 420016 w 491987"/>
                  <a:gd name="connsiteY44" fmla="*/ 72881 h 281222"/>
                  <a:gd name="connsiteX45" fmla="*/ 417894 w 491987"/>
                  <a:gd name="connsiteY45" fmla="*/ 70306 h 281222"/>
                  <a:gd name="connsiteX46" fmla="*/ 415773 w 491987"/>
                  <a:gd name="connsiteY46" fmla="*/ 70154 h 281222"/>
                  <a:gd name="connsiteX47" fmla="*/ 413349 w 491987"/>
                  <a:gd name="connsiteY47" fmla="*/ 70912 h 281222"/>
                  <a:gd name="connsiteX48" fmla="*/ 411075 w 491987"/>
                  <a:gd name="connsiteY48" fmla="*/ 72124 h 281222"/>
                  <a:gd name="connsiteX49" fmla="*/ 410015 w 491987"/>
                  <a:gd name="connsiteY49" fmla="*/ 72427 h 281222"/>
                  <a:gd name="connsiteX50" fmla="*/ 406075 w 491987"/>
                  <a:gd name="connsiteY50" fmla="*/ 72881 h 281222"/>
                  <a:gd name="connsiteX51" fmla="*/ 399863 w 491987"/>
                  <a:gd name="connsiteY51" fmla="*/ 74548 h 281222"/>
                  <a:gd name="connsiteX52" fmla="*/ 398197 w 491987"/>
                  <a:gd name="connsiteY52" fmla="*/ 76215 h 281222"/>
                  <a:gd name="connsiteX53" fmla="*/ 396075 w 491987"/>
                  <a:gd name="connsiteY53" fmla="*/ 77579 h 281222"/>
                  <a:gd name="connsiteX54" fmla="*/ 394409 w 491987"/>
                  <a:gd name="connsiteY54" fmla="*/ 76669 h 281222"/>
                  <a:gd name="connsiteX55" fmla="*/ 392742 w 491987"/>
                  <a:gd name="connsiteY55" fmla="*/ 75003 h 281222"/>
                  <a:gd name="connsiteX56" fmla="*/ 389105 w 491987"/>
                  <a:gd name="connsiteY56" fmla="*/ 74397 h 281222"/>
                  <a:gd name="connsiteX57" fmla="*/ 387438 w 491987"/>
                  <a:gd name="connsiteY57" fmla="*/ 75003 h 281222"/>
                  <a:gd name="connsiteX58" fmla="*/ 385772 w 491987"/>
                  <a:gd name="connsiteY58" fmla="*/ 73942 h 281222"/>
                  <a:gd name="connsiteX59" fmla="*/ 384256 w 491987"/>
                  <a:gd name="connsiteY59" fmla="*/ 71972 h 281222"/>
                  <a:gd name="connsiteX60" fmla="*/ 382287 w 491987"/>
                  <a:gd name="connsiteY60" fmla="*/ 70457 h 281222"/>
                  <a:gd name="connsiteX61" fmla="*/ 379256 w 491987"/>
                  <a:gd name="connsiteY61" fmla="*/ 70003 h 281222"/>
                  <a:gd name="connsiteX62" fmla="*/ 376074 w 491987"/>
                  <a:gd name="connsiteY62" fmla="*/ 69397 h 281222"/>
                  <a:gd name="connsiteX63" fmla="*/ 373499 w 491987"/>
                  <a:gd name="connsiteY63" fmla="*/ 70457 h 281222"/>
                  <a:gd name="connsiteX64" fmla="*/ 370165 w 491987"/>
                  <a:gd name="connsiteY64" fmla="*/ 72578 h 281222"/>
                  <a:gd name="connsiteX65" fmla="*/ 367892 w 491987"/>
                  <a:gd name="connsiteY65" fmla="*/ 71821 h 281222"/>
                  <a:gd name="connsiteX66" fmla="*/ 366680 w 491987"/>
                  <a:gd name="connsiteY66" fmla="*/ 69245 h 281222"/>
                  <a:gd name="connsiteX67" fmla="*/ 365165 w 491987"/>
                  <a:gd name="connsiteY67" fmla="*/ 68487 h 281222"/>
                  <a:gd name="connsiteX68" fmla="*/ 363044 w 491987"/>
                  <a:gd name="connsiteY68" fmla="*/ 65608 h 281222"/>
                  <a:gd name="connsiteX69" fmla="*/ 362437 w 491987"/>
                  <a:gd name="connsiteY69" fmla="*/ 63033 h 281222"/>
                  <a:gd name="connsiteX70" fmla="*/ 363044 w 491987"/>
                  <a:gd name="connsiteY70" fmla="*/ 61972 h 281222"/>
                  <a:gd name="connsiteX71" fmla="*/ 363801 w 491987"/>
                  <a:gd name="connsiteY71" fmla="*/ 60608 h 281222"/>
                  <a:gd name="connsiteX72" fmla="*/ 363801 w 491987"/>
                  <a:gd name="connsiteY72" fmla="*/ 58942 h 281222"/>
                  <a:gd name="connsiteX73" fmla="*/ 363195 w 491987"/>
                  <a:gd name="connsiteY73" fmla="*/ 57578 h 281222"/>
                  <a:gd name="connsiteX74" fmla="*/ 362286 w 491987"/>
                  <a:gd name="connsiteY74" fmla="*/ 56517 h 281222"/>
                  <a:gd name="connsiteX75" fmla="*/ 361225 w 491987"/>
                  <a:gd name="connsiteY75" fmla="*/ 52729 h 281222"/>
                  <a:gd name="connsiteX76" fmla="*/ 360316 w 491987"/>
                  <a:gd name="connsiteY76" fmla="*/ 51063 h 281222"/>
                  <a:gd name="connsiteX77" fmla="*/ 360165 w 491987"/>
                  <a:gd name="connsiteY77" fmla="*/ 49699 h 281222"/>
                  <a:gd name="connsiteX78" fmla="*/ 360922 w 491987"/>
                  <a:gd name="connsiteY78" fmla="*/ 48487 h 281222"/>
                  <a:gd name="connsiteX79" fmla="*/ 360316 w 491987"/>
                  <a:gd name="connsiteY79" fmla="*/ 47729 h 281222"/>
                  <a:gd name="connsiteX80" fmla="*/ 359104 w 491987"/>
                  <a:gd name="connsiteY80" fmla="*/ 47577 h 281222"/>
                  <a:gd name="connsiteX81" fmla="*/ 357134 w 491987"/>
                  <a:gd name="connsiteY81" fmla="*/ 47729 h 281222"/>
                  <a:gd name="connsiteX82" fmla="*/ 356074 w 491987"/>
                  <a:gd name="connsiteY82" fmla="*/ 47123 h 281222"/>
                  <a:gd name="connsiteX83" fmla="*/ 354861 w 491987"/>
                  <a:gd name="connsiteY83" fmla="*/ 45002 h 281222"/>
                  <a:gd name="connsiteX84" fmla="*/ 354255 w 491987"/>
                  <a:gd name="connsiteY84" fmla="*/ 42880 h 281222"/>
                  <a:gd name="connsiteX85" fmla="*/ 353498 w 491987"/>
                  <a:gd name="connsiteY85" fmla="*/ 42123 h 281222"/>
                  <a:gd name="connsiteX86" fmla="*/ 351528 w 491987"/>
                  <a:gd name="connsiteY86" fmla="*/ 42123 h 281222"/>
                  <a:gd name="connsiteX87" fmla="*/ 348194 w 491987"/>
                  <a:gd name="connsiteY87" fmla="*/ 42577 h 281222"/>
                  <a:gd name="connsiteX88" fmla="*/ 345164 w 491987"/>
                  <a:gd name="connsiteY88" fmla="*/ 43335 h 281222"/>
                  <a:gd name="connsiteX89" fmla="*/ 343801 w 491987"/>
                  <a:gd name="connsiteY89" fmla="*/ 43183 h 281222"/>
                  <a:gd name="connsiteX90" fmla="*/ 341225 w 491987"/>
                  <a:gd name="connsiteY90" fmla="*/ 42123 h 281222"/>
                  <a:gd name="connsiteX91" fmla="*/ 337739 w 491987"/>
                  <a:gd name="connsiteY91" fmla="*/ 40911 h 281222"/>
                  <a:gd name="connsiteX92" fmla="*/ 330770 w 491987"/>
                  <a:gd name="connsiteY92" fmla="*/ 40608 h 281222"/>
                  <a:gd name="connsiteX93" fmla="*/ 330163 w 491987"/>
                  <a:gd name="connsiteY93" fmla="*/ 40153 h 281222"/>
                  <a:gd name="connsiteX94" fmla="*/ 330618 w 491987"/>
                  <a:gd name="connsiteY94" fmla="*/ 39395 h 281222"/>
                  <a:gd name="connsiteX95" fmla="*/ 331982 w 491987"/>
                  <a:gd name="connsiteY95" fmla="*/ 38183 h 281222"/>
                  <a:gd name="connsiteX96" fmla="*/ 331830 w 491987"/>
                  <a:gd name="connsiteY96" fmla="*/ 37123 h 281222"/>
                  <a:gd name="connsiteX97" fmla="*/ 330618 w 491987"/>
                  <a:gd name="connsiteY97" fmla="*/ 36213 h 281222"/>
                  <a:gd name="connsiteX98" fmla="*/ 330012 w 491987"/>
                  <a:gd name="connsiteY98" fmla="*/ 34092 h 281222"/>
                  <a:gd name="connsiteX99" fmla="*/ 330012 w 491987"/>
                  <a:gd name="connsiteY99" fmla="*/ 31819 h 281222"/>
                  <a:gd name="connsiteX100" fmla="*/ 329709 w 491987"/>
                  <a:gd name="connsiteY100" fmla="*/ 29243 h 281222"/>
                  <a:gd name="connsiteX101" fmla="*/ 328194 w 491987"/>
                  <a:gd name="connsiteY101" fmla="*/ 27274 h 281222"/>
                  <a:gd name="connsiteX102" fmla="*/ 327285 w 491987"/>
                  <a:gd name="connsiteY102" fmla="*/ 25910 h 281222"/>
                  <a:gd name="connsiteX103" fmla="*/ 327436 w 491987"/>
                  <a:gd name="connsiteY103" fmla="*/ 24698 h 281222"/>
                  <a:gd name="connsiteX104" fmla="*/ 330618 w 491987"/>
                  <a:gd name="connsiteY104" fmla="*/ 24243 h 281222"/>
                  <a:gd name="connsiteX105" fmla="*/ 334406 w 491987"/>
                  <a:gd name="connsiteY105" fmla="*/ 23334 h 281222"/>
                  <a:gd name="connsiteX106" fmla="*/ 335012 w 491987"/>
                  <a:gd name="connsiteY106" fmla="*/ 22425 h 281222"/>
                  <a:gd name="connsiteX107" fmla="*/ 334861 w 491987"/>
                  <a:gd name="connsiteY107" fmla="*/ 21061 h 281222"/>
                  <a:gd name="connsiteX108" fmla="*/ 327133 w 491987"/>
                  <a:gd name="connsiteY108" fmla="*/ 13788 h 281222"/>
                  <a:gd name="connsiteX109" fmla="*/ 324406 w 491987"/>
                  <a:gd name="connsiteY109" fmla="*/ 7273 h 281222"/>
                  <a:gd name="connsiteX110" fmla="*/ 321830 w 491987"/>
                  <a:gd name="connsiteY110" fmla="*/ 3788 h 281222"/>
                  <a:gd name="connsiteX111" fmla="*/ 318951 w 491987"/>
                  <a:gd name="connsiteY111" fmla="*/ 1364 h 281222"/>
                  <a:gd name="connsiteX112" fmla="*/ 316678 w 491987"/>
                  <a:gd name="connsiteY112" fmla="*/ 303 h 281222"/>
                  <a:gd name="connsiteX113" fmla="*/ 313345 w 491987"/>
                  <a:gd name="connsiteY113" fmla="*/ 758 h 281222"/>
                  <a:gd name="connsiteX114" fmla="*/ 308951 w 491987"/>
                  <a:gd name="connsiteY114" fmla="*/ 758 h 281222"/>
                  <a:gd name="connsiteX115" fmla="*/ 304405 w 491987"/>
                  <a:gd name="connsiteY115" fmla="*/ 0 h 281222"/>
                  <a:gd name="connsiteX116" fmla="*/ 300617 w 491987"/>
                  <a:gd name="connsiteY116" fmla="*/ 455 h 281222"/>
                  <a:gd name="connsiteX117" fmla="*/ 293799 w 491987"/>
                  <a:gd name="connsiteY117" fmla="*/ 3485 h 281222"/>
                  <a:gd name="connsiteX118" fmla="*/ 291223 w 491987"/>
                  <a:gd name="connsiteY118" fmla="*/ 3636 h 281222"/>
                  <a:gd name="connsiteX119" fmla="*/ 286829 w 491987"/>
                  <a:gd name="connsiteY119" fmla="*/ 2727 h 281222"/>
                  <a:gd name="connsiteX120" fmla="*/ 283041 w 491987"/>
                  <a:gd name="connsiteY120" fmla="*/ 1667 h 281222"/>
                  <a:gd name="connsiteX121" fmla="*/ 281071 w 491987"/>
                  <a:gd name="connsiteY121" fmla="*/ 1667 h 281222"/>
                  <a:gd name="connsiteX122" fmla="*/ 279859 w 491987"/>
                  <a:gd name="connsiteY122" fmla="*/ 2121 h 281222"/>
                  <a:gd name="connsiteX123" fmla="*/ 279101 w 491987"/>
                  <a:gd name="connsiteY123" fmla="*/ 2879 h 281222"/>
                  <a:gd name="connsiteX124" fmla="*/ 276980 w 491987"/>
                  <a:gd name="connsiteY124" fmla="*/ 8637 h 281222"/>
                  <a:gd name="connsiteX125" fmla="*/ 275161 w 491987"/>
                  <a:gd name="connsiteY125" fmla="*/ 9849 h 281222"/>
                  <a:gd name="connsiteX126" fmla="*/ 272586 w 491987"/>
                  <a:gd name="connsiteY126" fmla="*/ 11061 h 281222"/>
                  <a:gd name="connsiteX127" fmla="*/ 270313 w 491987"/>
                  <a:gd name="connsiteY127" fmla="*/ 11212 h 281222"/>
                  <a:gd name="connsiteX128" fmla="*/ 268495 w 491987"/>
                  <a:gd name="connsiteY128" fmla="*/ 11212 h 281222"/>
                  <a:gd name="connsiteX129" fmla="*/ 265767 w 491987"/>
                  <a:gd name="connsiteY129" fmla="*/ 10303 h 281222"/>
                  <a:gd name="connsiteX130" fmla="*/ 263192 w 491987"/>
                  <a:gd name="connsiteY130" fmla="*/ 9243 h 281222"/>
                  <a:gd name="connsiteX131" fmla="*/ 262737 w 491987"/>
                  <a:gd name="connsiteY131" fmla="*/ 9243 h 281222"/>
                  <a:gd name="connsiteX132" fmla="*/ 257585 w 491987"/>
                  <a:gd name="connsiteY132" fmla="*/ 8940 h 281222"/>
                  <a:gd name="connsiteX133" fmla="*/ 251373 w 491987"/>
                  <a:gd name="connsiteY133" fmla="*/ 9091 h 281222"/>
                  <a:gd name="connsiteX134" fmla="*/ 247888 w 491987"/>
                  <a:gd name="connsiteY134" fmla="*/ 11061 h 281222"/>
                  <a:gd name="connsiteX135" fmla="*/ 246524 w 491987"/>
                  <a:gd name="connsiteY135" fmla="*/ 10606 h 281222"/>
                  <a:gd name="connsiteX136" fmla="*/ 244100 w 491987"/>
                  <a:gd name="connsiteY136" fmla="*/ 10152 h 281222"/>
                  <a:gd name="connsiteX137" fmla="*/ 241372 w 491987"/>
                  <a:gd name="connsiteY137" fmla="*/ 11212 h 281222"/>
                  <a:gd name="connsiteX138" fmla="*/ 237736 w 491987"/>
                  <a:gd name="connsiteY138" fmla="*/ 14546 h 281222"/>
                  <a:gd name="connsiteX139" fmla="*/ 235312 w 491987"/>
                  <a:gd name="connsiteY139" fmla="*/ 16667 h 281222"/>
                  <a:gd name="connsiteX140" fmla="*/ 232887 w 491987"/>
                  <a:gd name="connsiteY140" fmla="*/ 19698 h 281222"/>
                  <a:gd name="connsiteX141" fmla="*/ 232129 w 491987"/>
                  <a:gd name="connsiteY141" fmla="*/ 21364 h 281222"/>
                  <a:gd name="connsiteX142" fmla="*/ 230615 w 491987"/>
                  <a:gd name="connsiteY142" fmla="*/ 24395 h 281222"/>
                  <a:gd name="connsiteX143" fmla="*/ 229251 w 491987"/>
                  <a:gd name="connsiteY143" fmla="*/ 27728 h 281222"/>
                  <a:gd name="connsiteX144" fmla="*/ 230008 w 491987"/>
                  <a:gd name="connsiteY144" fmla="*/ 30153 h 281222"/>
                  <a:gd name="connsiteX145" fmla="*/ 231220 w 491987"/>
                  <a:gd name="connsiteY145" fmla="*/ 32274 h 281222"/>
                  <a:gd name="connsiteX146" fmla="*/ 231524 w 491987"/>
                  <a:gd name="connsiteY146" fmla="*/ 34698 h 281222"/>
                  <a:gd name="connsiteX147" fmla="*/ 232129 w 491987"/>
                  <a:gd name="connsiteY147" fmla="*/ 36516 h 281222"/>
                  <a:gd name="connsiteX148" fmla="*/ 230615 w 491987"/>
                  <a:gd name="connsiteY148" fmla="*/ 37880 h 281222"/>
                  <a:gd name="connsiteX149" fmla="*/ 229705 w 491987"/>
                  <a:gd name="connsiteY149" fmla="*/ 39850 h 281222"/>
                  <a:gd name="connsiteX150" fmla="*/ 227129 w 491987"/>
                  <a:gd name="connsiteY150" fmla="*/ 39547 h 281222"/>
                  <a:gd name="connsiteX151" fmla="*/ 223948 w 491987"/>
                  <a:gd name="connsiteY151" fmla="*/ 37729 h 281222"/>
                  <a:gd name="connsiteX152" fmla="*/ 223341 w 491987"/>
                  <a:gd name="connsiteY152" fmla="*/ 35001 h 281222"/>
                  <a:gd name="connsiteX153" fmla="*/ 220917 w 491987"/>
                  <a:gd name="connsiteY153" fmla="*/ 33183 h 281222"/>
                  <a:gd name="connsiteX154" fmla="*/ 219251 w 491987"/>
                  <a:gd name="connsiteY154" fmla="*/ 32274 h 281222"/>
                  <a:gd name="connsiteX155" fmla="*/ 216523 w 491987"/>
                  <a:gd name="connsiteY155" fmla="*/ 32122 h 281222"/>
                  <a:gd name="connsiteX156" fmla="*/ 212280 w 491987"/>
                  <a:gd name="connsiteY156" fmla="*/ 33032 h 281222"/>
                  <a:gd name="connsiteX157" fmla="*/ 206674 w 491987"/>
                  <a:gd name="connsiteY157" fmla="*/ 33638 h 281222"/>
                  <a:gd name="connsiteX158" fmla="*/ 202432 w 491987"/>
                  <a:gd name="connsiteY158" fmla="*/ 33789 h 281222"/>
                  <a:gd name="connsiteX159" fmla="*/ 200159 w 491987"/>
                  <a:gd name="connsiteY159" fmla="*/ 34698 h 281222"/>
                  <a:gd name="connsiteX160" fmla="*/ 196825 w 491987"/>
                  <a:gd name="connsiteY160" fmla="*/ 35607 h 281222"/>
                  <a:gd name="connsiteX161" fmla="*/ 195462 w 491987"/>
                  <a:gd name="connsiteY161" fmla="*/ 34547 h 281222"/>
                  <a:gd name="connsiteX162" fmla="*/ 193644 w 491987"/>
                  <a:gd name="connsiteY162" fmla="*/ 31516 h 281222"/>
                  <a:gd name="connsiteX163" fmla="*/ 192128 w 491987"/>
                  <a:gd name="connsiteY163" fmla="*/ 28486 h 281222"/>
                  <a:gd name="connsiteX164" fmla="*/ 191067 w 491987"/>
                  <a:gd name="connsiteY164" fmla="*/ 27122 h 281222"/>
                  <a:gd name="connsiteX165" fmla="*/ 190158 w 491987"/>
                  <a:gd name="connsiteY165" fmla="*/ 26819 h 281222"/>
                  <a:gd name="connsiteX166" fmla="*/ 189098 w 491987"/>
                  <a:gd name="connsiteY166" fmla="*/ 26971 h 281222"/>
                  <a:gd name="connsiteX167" fmla="*/ 187734 w 491987"/>
                  <a:gd name="connsiteY167" fmla="*/ 27880 h 281222"/>
                  <a:gd name="connsiteX168" fmla="*/ 186825 w 491987"/>
                  <a:gd name="connsiteY168" fmla="*/ 28940 h 281222"/>
                  <a:gd name="connsiteX169" fmla="*/ 185461 w 491987"/>
                  <a:gd name="connsiteY169" fmla="*/ 29243 h 281222"/>
                  <a:gd name="connsiteX170" fmla="*/ 183340 w 491987"/>
                  <a:gd name="connsiteY170" fmla="*/ 30001 h 281222"/>
                  <a:gd name="connsiteX171" fmla="*/ 181825 w 491987"/>
                  <a:gd name="connsiteY171" fmla="*/ 31062 h 281222"/>
                  <a:gd name="connsiteX172" fmla="*/ 180158 w 491987"/>
                  <a:gd name="connsiteY172" fmla="*/ 33789 h 281222"/>
                  <a:gd name="connsiteX173" fmla="*/ 179097 w 491987"/>
                  <a:gd name="connsiteY173" fmla="*/ 33638 h 281222"/>
                  <a:gd name="connsiteX174" fmla="*/ 177885 w 491987"/>
                  <a:gd name="connsiteY174" fmla="*/ 33032 h 281222"/>
                  <a:gd name="connsiteX175" fmla="*/ 176522 w 491987"/>
                  <a:gd name="connsiteY175" fmla="*/ 29850 h 281222"/>
                  <a:gd name="connsiteX176" fmla="*/ 174703 w 491987"/>
                  <a:gd name="connsiteY176" fmla="*/ 29092 h 281222"/>
                  <a:gd name="connsiteX177" fmla="*/ 171825 w 491987"/>
                  <a:gd name="connsiteY177" fmla="*/ 29092 h 281222"/>
                  <a:gd name="connsiteX178" fmla="*/ 168188 w 491987"/>
                  <a:gd name="connsiteY178" fmla="*/ 28486 h 281222"/>
                  <a:gd name="connsiteX179" fmla="*/ 165309 w 491987"/>
                  <a:gd name="connsiteY179" fmla="*/ 27577 h 281222"/>
                  <a:gd name="connsiteX180" fmla="*/ 164248 w 491987"/>
                  <a:gd name="connsiteY180" fmla="*/ 27728 h 281222"/>
                  <a:gd name="connsiteX181" fmla="*/ 162430 w 491987"/>
                  <a:gd name="connsiteY181" fmla="*/ 29092 h 281222"/>
                  <a:gd name="connsiteX182" fmla="*/ 160460 w 491987"/>
                  <a:gd name="connsiteY182" fmla="*/ 29243 h 281222"/>
                  <a:gd name="connsiteX183" fmla="*/ 156369 w 491987"/>
                  <a:gd name="connsiteY183" fmla="*/ 28031 h 281222"/>
                  <a:gd name="connsiteX184" fmla="*/ 155612 w 491987"/>
                  <a:gd name="connsiteY184" fmla="*/ 28637 h 281222"/>
                  <a:gd name="connsiteX185" fmla="*/ 154551 w 491987"/>
                  <a:gd name="connsiteY185" fmla="*/ 30456 h 281222"/>
                  <a:gd name="connsiteX186" fmla="*/ 153187 w 491987"/>
                  <a:gd name="connsiteY186" fmla="*/ 32122 h 281222"/>
                  <a:gd name="connsiteX187" fmla="*/ 152127 w 491987"/>
                  <a:gd name="connsiteY187" fmla="*/ 32274 h 281222"/>
                  <a:gd name="connsiteX188" fmla="*/ 151521 w 491987"/>
                  <a:gd name="connsiteY188" fmla="*/ 31819 h 281222"/>
                  <a:gd name="connsiteX189" fmla="*/ 151824 w 491987"/>
                  <a:gd name="connsiteY189" fmla="*/ 28789 h 281222"/>
                  <a:gd name="connsiteX190" fmla="*/ 149399 w 491987"/>
                  <a:gd name="connsiteY190" fmla="*/ 27728 h 281222"/>
                  <a:gd name="connsiteX191" fmla="*/ 145308 w 491987"/>
                  <a:gd name="connsiteY191" fmla="*/ 27577 h 281222"/>
                  <a:gd name="connsiteX192" fmla="*/ 142429 w 491987"/>
                  <a:gd name="connsiteY192" fmla="*/ 28031 h 281222"/>
                  <a:gd name="connsiteX193" fmla="*/ 141066 w 491987"/>
                  <a:gd name="connsiteY193" fmla="*/ 27880 h 281222"/>
                  <a:gd name="connsiteX194" fmla="*/ 140308 w 491987"/>
                  <a:gd name="connsiteY194" fmla="*/ 27274 h 281222"/>
                  <a:gd name="connsiteX195" fmla="*/ 136823 w 491987"/>
                  <a:gd name="connsiteY195" fmla="*/ 22274 h 281222"/>
                  <a:gd name="connsiteX196" fmla="*/ 135005 w 491987"/>
                  <a:gd name="connsiteY196" fmla="*/ 21970 h 281222"/>
                  <a:gd name="connsiteX197" fmla="*/ 131672 w 491987"/>
                  <a:gd name="connsiteY197" fmla="*/ 22274 h 281222"/>
                  <a:gd name="connsiteX198" fmla="*/ 126823 w 491987"/>
                  <a:gd name="connsiteY198" fmla="*/ 21667 h 281222"/>
                  <a:gd name="connsiteX199" fmla="*/ 121217 w 491987"/>
                  <a:gd name="connsiteY199" fmla="*/ 20455 h 281222"/>
                  <a:gd name="connsiteX200" fmla="*/ 118186 w 491987"/>
                  <a:gd name="connsiteY200" fmla="*/ 20001 h 281222"/>
                  <a:gd name="connsiteX201" fmla="*/ 116520 w 491987"/>
                  <a:gd name="connsiteY201" fmla="*/ 18940 h 281222"/>
                  <a:gd name="connsiteX202" fmla="*/ 113034 w 491987"/>
                  <a:gd name="connsiteY202" fmla="*/ 18486 h 281222"/>
                  <a:gd name="connsiteX203" fmla="*/ 103640 w 491987"/>
                  <a:gd name="connsiteY203" fmla="*/ 16364 h 281222"/>
                  <a:gd name="connsiteX204" fmla="*/ 99852 w 491987"/>
                  <a:gd name="connsiteY204" fmla="*/ 16061 h 281222"/>
                  <a:gd name="connsiteX205" fmla="*/ 94246 w 491987"/>
                  <a:gd name="connsiteY205" fmla="*/ 16061 h 281222"/>
                  <a:gd name="connsiteX206" fmla="*/ 85609 w 491987"/>
                  <a:gd name="connsiteY206" fmla="*/ 15607 h 281222"/>
                  <a:gd name="connsiteX207" fmla="*/ 80154 w 491987"/>
                  <a:gd name="connsiteY207" fmla="*/ 15910 h 281222"/>
                  <a:gd name="connsiteX208" fmla="*/ 77579 w 491987"/>
                  <a:gd name="connsiteY208" fmla="*/ 16667 h 281222"/>
                  <a:gd name="connsiteX209" fmla="*/ 74700 w 491987"/>
                  <a:gd name="connsiteY209" fmla="*/ 17122 h 281222"/>
                  <a:gd name="connsiteX210" fmla="*/ 69699 w 491987"/>
                  <a:gd name="connsiteY210" fmla="*/ 17576 h 281222"/>
                  <a:gd name="connsiteX211" fmla="*/ 67730 w 491987"/>
                  <a:gd name="connsiteY211" fmla="*/ 17576 h 281222"/>
                  <a:gd name="connsiteX212" fmla="*/ 64548 w 491987"/>
                  <a:gd name="connsiteY212" fmla="*/ 17879 h 281222"/>
                  <a:gd name="connsiteX213" fmla="*/ 60911 w 491987"/>
                  <a:gd name="connsiteY213" fmla="*/ 18486 h 281222"/>
                  <a:gd name="connsiteX214" fmla="*/ 59850 w 491987"/>
                  <a:gd name="connsiteY214" fmla="*/ 19546 h 281222"/>
                  <a:gd name="connsiteX215" fmla="*/ 58638 w 491987"/>
                  <a:gd name="connsiteY215" fmla="*/ 21819 h 281222"/>
                  <a:gd name="connsiteX216" fmla="*/ 54396 w 491987"/>
                  <a:gd name="connsiteY216" fmla="*/ 25758 h 281222"/>
                  <a:gd name="connsiteX217" fmla="*/ 50305 w 491987"/>
                  <a:gd name="connsiteY217" fmla="*/ 28486 h 281222"/>
                  <a:gd name="connsiteX218" fmla="*/ 49547 w 491987"/>
                  <a:gd name="connsiteY218" fmla="*/ 28637 h 281222"/>
                  <a:gd name="connsiteX219" fmla="*/ 47123 w 491987"/>
                  <a:gd name="connsiteY219" fmla="*/ 27274 h 281222"/>
                  <a:gd name="connsiteX220" fmla="*/ 45153 w 491987"/>
                  <a:gd name="connsiteY220" fmla="*/ 26819 h 281222"/>
                  <a:gd name="connsiteX221" fmla="*/ 42880 w 491987"/>
                  <a:gd name="connsiteY221" fmla="*/ 26668 h 281222"/>
                  <a:gd name="connsiteX222" fmla="*/ 41214 w 491987"/>
                  <a:gd name="connsiteY222" fmla="*/ 27122 h 281222"/>
                  <a:gd name="connsiteX223" fmla="*/ 40153 w 491987"/>
                  <a:gd name="connsiteY223" fmla="*/ 27728 h 281222"/>
                  <a:gd name="connsiteX224" fmla="*/ 40304 w 491987"/>
                  <a:gd name="connsiteY224" fmla="*/ 30759 h 281222"/>
                  <a:gd name="connsiteX225" fmla="*/ 40001 w 491987"/>
                  <a:gd name="connsiteY225" fmla="*/ 31062 h 281222"/>
                  <a:gd name="connsiteX226" fmla="*/ 41517 w 491987"/>
                  <a:gd name="connsiteY226" fmla="*/ 33638 h 281222"/>
                  <a:gd name="connsiteX227" fmla="*/ 42123 w 491987"/>
                  <a:gd name="connsiteY227" fmla="*/ 35607 h 281222"/>
                  <a:gd name="connsiteX228" fmla="*/ 41517 w 491987"/>
                  <a:gd name="connsiteY228" fmla="*/ 37123 h 281222"/>
                  <a:gd name="connsiteX229" fmla="*/ 41668 w 491987"/>
                  <a:gd name="connsiteY229" fmla="*/ 38638 h 281222"/>
                  <a:gd name="connsiteX230" fmla="*/ 43032 w 491987"/>
                  <a:gd name="connsiteY230" fmla="*/ 40304 h 281222"/>
                  <a:gd name="connsiteX231" fmla="*/ 47123 w 491987"/>
                  <a:gd name="connsiteY231" fmla="*/ 45305 h 281222"/>
                  <a:gd name="connsiteX232" fmla="*/ 49093 w 491987"/>
                  <a:gd name="connsiteY232" fmla="*/ 50153 h 281222"/>
                  <a:gd name="connsiteX233" fmla="*/ 50456 w 491987"/>
                  <a:gd name="connsiteY233" fmla="*/ 51972 h 281222"/>
                  <a:gd name="connsiteX234" fmla="*/ 53487 w 491987"/>
                  <a:gd name="connsiteY234" fmla="*/ 54396 h 281222"/>
                  <a:gd name="connsiteX235" fmla="*/ 53790 w 491987"/>
                  <a:gd name="connsiteY235" fmla="*/ 55457 h 281222"/>
                  <a:gd name="connsiteX236" fmla="*/ 52578 w 491987"/>
                  <a:gd name="connsiteY236" fmla="*/ 56366 h 281222"/>
                  <a:gd name="connsiteX237" fmla="*/ 51668 w 491987"/>
                  <a:gd name="connsiteY237" fmla="*/ 56517 h 281222"/>
                  <a:gd name="connsiteX238" fmla="*/ 50911 w 491987"/>
                  <a:gd name="connsiteY238" fmla="*/ 56820 h 281222"/>
                  <a:gd name="connsiteX239" fmla="*/ 50456 w 491987"/>
                  <a:gd name="connsiteY239" fmla="*/ 57729 h 281222"/>
                  <a:gd name="connsiteX240" fmla="*/ 51214 w 491987"/>
                  <a:gd name="connsiteY240" fmla="*/ 58639 h 281222"/>
                  <a:gd name="connsiteX241" fmla="*/ 52274 w 491987"/>
                  <a:gd name="connsiteY241" fmla="*/ 60002 h 281222"/>
                  <a:gd name="connsiteX242" fmla="*/ 53638 w 491987"/>
                  <a:gd name="connsiteY242" fmla="*/ 63790 h 281222"/>
                  <a:gd name="connsiteX243" fmla="*/ 53487 w 491987"/>
                  <a:gd name="connsiteY243" fmla="*/ 66972 h 281222"/>
                  <a:gd name="connsiteX244" fmla="*/ 52426 w 491987"/>
                  <a:gd name="connsiteY244" fmla="*/ 67730 h 281222"/>
                  <a:gd name="connsiteX245" fmla="*/ 51062 w 491987"/>
                  <a:gd name="connsiteY245" fmla="*/ 69548 h 281222"/>
                  <a:gd name="connsiteX246" fmla="*/ 50153 w 491987"/>
                  <a:gd name="connsiteY246" fmla="*/ 71215 h 281222"/>
                  <a:gd name="connsiteX247" fmla="*/ 43032 w 491987"/>
                  <a:gd name="connsiteY247" fmla="*/ 72427 h 281222"/>
                  <a:gd name="connsiteX248" fmla="*/ 41365 w 491987"/>
                  <a:gd name="connsiteY248" fmla="*/ 74245 h 281222"/>
                  <a:gd name="connsiteX249" fmla="*/ 37426 w 491987"/>
                  <a:gd name="connsiteY249" fmla="*/ 77730 h 281222"/>
                  <a:gd name="connsiteX250" fmla="*/ 34698 w 491987"/>
                  <a:gd name="connsiteY250" fmla="*/ 79700 h 281222"/>
                  <a:gd name="connsiteX251" fmla="*/ 30759 w 491987"/>
                  <a:gd name="connsiteY251" fmla="*/ 83336 h 281222"/>
                  <a:gd name="connsiteX252" fmla="*/ 24546 w 491987"/>
                  <a:gd name="connsiteY252" fmla="*/ 89549 h 281222"/>
                  <a:gd name="connsiteX253" fmla="*/ 22274 w 491987"/>
                  <a:gd name="connsiteY253" fmla="*/ 92125 h 281222"/>
                  <a:gd name="connsiteX254" fmla="*/ 20607 w 491987"/>
                  <a:gd name="connsiteY254" fmla="*/ 94246 h 281222"/>
                  <a:gd name="connsiteX255" fmla="*/ 15607 w 491987"/>
                  <a:gd name="connsiteY255" fmla="*/ 100004 h 281222"/>
                  <a:gd name="connsiteX256" fmla="*/ 14091 w 491987"/>
                  <a:gd name="connsiteY256" fmla="*/ 102428 h 281222"/>
                  <a:gd name="connsiteX257" fmla="*/ 14394 w 491987"/>
                  <a:gd name="connsiteY257" fmla="*/ 104398 h 281222"/>
                  <a:gd name="connsiteX258" fmla="*/ 16061 w 491987"/>
                  <a:gd name="connsiteY258" fmla="*/ 108943 h 281222"/>
                  <a:gd name="connsiteX259" fmla="*/ 16364 w 491987"/>
                  <a:gd name="connsiteY259" fmla="*/ 111065 h 281222"/>
                  <a:gd name="connsiteX260" fmla="*/ 16061 w 491987"/>
                  <a:gd name="connsiteY260" fmla="*/ 113034 h 281222"/>
                  <a:gd name="connsiteX261" fmla="*/ 15455 w 491987"/>
                  <a:gd name="connsiteY261" fmla="*/ 114701 h 281222"/>
                  <a:gd name="connsiteX262" fmla="*/ 15607 w 491987"/>
                  <a:gd name="connsiteY262" fmla="*/ 115459 h 281222"/>
                  <a:gd name="connsiteX263" fmla="*/ 17121 w 491987"/>
                  <a:gd name="connsiteY263" fmla="*/ 116671 h 281222"/>
                  <a:gd name="connsiteX264" fmla="*/ 19546 w 491987"/>
                  <a:gd name="connsiteY264" fmla="*/ 118641 h 281222"/>
                  <a:gd name="connsiteX265" fmla="*/ 19698 w 491987"/>
                  <a:gd name="connsiteY265" fmla="*/ 119247 h 281222"/>
                  <a:gd name="connsiteX266" fmla="*/ 19395 w 491987"/>
                  <a:gd name="connsiteY266" fmla="*/ 120156 h 281222"/>
                  <a:gd name="connsiteX267" fmla="*/ 18637 w 491987"/>
                  <a:gd name="connsiteY267" fmla="*/ 120762 h 281222"/>
                  <a:gd name="connsiteX268" fmla="*/ 15607 w 491987"/>
                  <a:gd name="connsiteY268" fmla="*/ 120156 h 281222"/>
                  <a:gd name="connsiteX269" fmla="*/ 12273 w 491987"/>
                  <a:gd name="connsiteY269" fmla="*/ 118792 h 281222"/>
                  <a:gd name="connsiteX270" fmla="*/ 11212 w 491987"/>
                  <a:gd name="connsiteY270" fmla="*/ 118944 h 281222"/>
                  <a:gd name="connsiteX271" fmla="*/ 10758 w 491987"/>
                  <a:gd name="connsiteY271" fmla="*/ 120459 h 281222"/>
                  <a:gd name="connsiteX272" fmla="*/ 9697 w 491987"/>
                  <a:gd name="connsiteY272" fmla="*/ 122126 h 281222"/>
                  <a:gd name="connsiteX273" fmla="*/ 8333 w 491987"/>
                  <a:gd name="connsiteY273" fmla="*/ 123944 h 281222"/>
                  <a:gd name="connsiteX274" fmla="*/ 7121 w 491987"/>
                  <a:gd name="connsiteY274" fmla="*/ 126065 h 281222"/>
                  <a:gd name="connsiteX275" fmla="*/ 5606 w 491987"/>
                  <a:gd name="connsiteY275" fmla="*/ 130611 h 281222"/>
                  <a:gd name="connsiteX276" fmla="*/ 4545 w 491987"/>
                  <a:gd name="connsiteY276" fmla="*/ 132732 h 281222"/>
                  <a:gd name="connsiteX277" fmla="*/ 303 w 491987"/>
                  <a:gd name="connsiteY277" fmla="*/ 136823 h 281222"/>
                  <a:gd name="connsiteX278" fmla="*/ 0 w 491987"/>
                  <a:gd name="connsiteY278" fmla="*/ 142581 h 281222"/>
                  <a:gd name="connsiteX279" fmla="*/ 2576 w 491987"/>
                  <a:gd name="connsiteY279" fmla="*/ 142278 h 281222"/>
                  <a:gd name="connsiteX280" fmla="*/ 2727 w 491987"/>
                  <a:gd name="connsiteY280" fmla="*/ 142278 h 281222"/>
                  <a:gd name="connsiteX281" fmla="*/ 3333 w 491987"/>
                  <a:gd name="connsiteY281" fmla="*/ 142429 h 281222"/>
                  <a:gd name="connsiteX282" fmla="*/ 3788 w 491987"/>
                  <a:gd name="connsiteY282" fmla="*/ 144096 h 281222"/>
                  <a:gd name="connsiteX283" fmla="*/ 3788 w 491987"/>
                  <a:gd name="connsiteY283" fmla="*/ 144248 h 281222"/>
                  <a:gd name="connsiteX284" fmla="*/ 4394 w 491987"/>
                  <a:gd name="connsiteY284" fmla="*/ 145308 h 281222"/>
                  <a:gd name="connsiteX285" fmla="*/ 5000 w 491987"/>
                  <a:gd name="connsiteY285" fmla="*/ 146672 h 281222"/>
                  <a:gd name="connsiteX286" fmla="*/ 5909 w 491987"/>
                  <a:gd name="connsiteY286" fmla="*/ 147733 h 281222"/>
                  <a:gd name="connsiteX287" fmla="*/ 7879 w 491987"/>
                  <a:gd name="connsiteY287" fmla="*/ 148187 h 281222"/>
                  <a:gd name="connsiteX288" fmla="*/ 10455 w 491987"/>
                  <a:gd name="connsiteY288" fmla="*/ 149551 h 281222"/>
                  <a:gd name="connsiteX289" fmla="*/ 12121 w 491987"/>
                  <a:gd name="connsiteY289" fmla="*/ 151975 h 281222"/>
                  <a:gd name="connsiteX290" fmla="*/ 14698 w 491987"/>
                  <a:gd name="connsiteY290" fmla="*/ 153036 h 281222"/>
                  <a:gd name="connsiteX291" fmla="*/ 14849 w 491987"/>
                  <a:gd name="connsiteY291" fmla="*/ 153036 h 281222"/>
                  <a:gd name="connsiteX292" fmla="*/ 15303 w 491987"/>
                  <a:gd name="connsiteY292" fmla="*/ 152884 h 281222"/>
                  <a:gd name="connsiteX293" fmla="*/ 17121 w 491987"/>
                  <a:gd name="connsiteY293" fmla="*/ 152733 h 281222"/>
                  <a:gd name="connsiteX294" fmla="*/ 17425 w 491987"/>
                  <a:gd name="connsiteY294" fmla="*/ 153187 h 281222"/>
                  <a:gd name="connsiteX295" fmla="*/ 18940 w 491987"/>
                  <a:gd name="connsiteY295" fmla="*/ 154400 h 281222"/>
                  <a:gd name="connsiteX296" fmla="*/ 19546 w 491987"/>
                  <a:gd name="connsiteY296" fmla="*/ 155460 h 281222"/>
                  <a:gd name="connsiteX297" fmla="*/ 19243 w 491987"/>
                  <a:gd name="connsiteY297" fmla="*/ 156521 h 281222"/>
                  <a:gd name="connsiteX298" fmla="*/ 19546 w 491987"/>
                  <a:gd name="connsiteY298" fmla="*/ 157733 h 281222"/>
                  <a:gd name="connsiteX299" fmla="*/ 20152 w 491987"/>
                  <a:gd name="connsiteY299" fmla="*/ 158188 h 281222"/>
                  <a:gd name="connsiteX300" fmla="*/ 21213 w 491987"/>
                  <a:gd name="connsiteY300" fmla="*/ 157582 h 281222"/>
                  <a:gd name="connsiteX301" fmla="*/ 25152 w 491987"/>
                  <a:gd name="connsiteY301" fmla="*/ 156066 h 281222"/>
                  <a:gd name="connsiteX302" fmla="*/ 26213 w 491987"/>
                  <a:gd name="connsiteY302" fmla="*/ 154551 h 281222"/>
                  <a:gd name="connsiteX303" fmla="*/ 27576 w 491987"/>
                  <a:gd name="connsiteY303" fmla="*/ 153187 h 281222"/>
                  <a:gd name="connsiteX304" fmla="*/ 29243 w 491987"/>
                  <a:gd name="connsiteY304" fmla="*/ 153339 h 281222"/>
                  <a:gd name="connsiteX305" fmla="*/ 34850 w 491987"/>
                  <a:gd name="connsiteY305" fmla="*/ 156672 h 281222"/>
                  <a:gd name="connsiteX306" fmla="*/ 40910 w 491987"/>
                  <a:gd name="connsiteY306" fmla="*/ 156521 h 281222"/>
                  <a:gd name="connsiteX307" fmla="*/ 41971 w 491987"/>
                  <a:gd name="connsiteY307" fmla="*/ 156672 h 281222"/>
                  <a:gd name="connsiteX308" fmla="*/ 42274 w 491987"/>
                  <a:gd name="connsiteY308" fmla="*/ 156672 h 281222"/>
                  <a:gd name="connsiteX309" fmla="*/ 43032 w 491987"/>
                  <a:gd name="connsiteY309" fmla="*/ 156975 h 281222"/>
                  <a:gd name="connsiteX310" fmla="*/ 51062 w 491987"/>
                  <a:gd name="connsiteY310" fmla="*/ 158642 h 281222"/>
                  <a:gd name="connsiteX311" fmla="*/ 52274 w 491987"/>
                  <a:gd name="connsiteY311" fmla="*/ 158491 h 281222"/>
                  <a:gd name="connsiteX312" fmla="*/ 52578 w 491987"/>
                  <a:gd name="connsiteY312" fmla="*/ 158339 h 281222"/>
                  <a:gd name="connsiteX313" fmla="*/ 55760 w 491987"/>
                  <a:gd name="connsiteY313" fmla="*/ 159703 h 281222"/>
                  <a:gd name="connsiteX314" fmla="*/ 58638 w 491987"/>
                  <a:gd name="connsiteY314" fmla="*/ 159551 h 281222"/>
                  <a:gd name="connsiteX315" fmla="*/ 61366 w 491987"/>
                  <a:gd name="connsiteY315" fmla="*/ 158642 h 281222"/>
                  <a:gd name="connsiteX316" fmla="*/ 64245 w 491987"/>
                  <a:gd name="connsiteY316" fmla="*/ 158339 h 281222"/>
                  <a:gd name="connsiteX317" fmla="*/ 66820 w 491987"/>
                  <a:gd name="connsiteY317" fmla="*/ 158945 h 281222"/>
                  <a:gd name="connsiteX318" fmla="*/ 68790 w 491987"/>
                  <a:gd name="connsiteY318" fmla="*/ 160915 h 281222"/>
                  <a:gd name="connsiteX319" fmla="*/ 73942 w 491987"/>
                  <a:gd name="connsiteY319" fmla="*/ 165006 h 281222"/>
                  <a:gd name="connsiteX320" fmla="*/ 75457 w 491987"/>
                  <a:gd name="connsiteY320" fmla="*/ 166521 h 281222"/>
                  <a:gd name="connsiteX321" fmla="*/ 77730 w 491987"/>
                  <a:gd name="connsiteY321" fmla="*/ 166370 h 281222"/>
                  <a:gd name="connsiteX322" fmla="*/ 80306 w 491987"/>
                  <a:gd name="connsiteY322" fmla="*/ 165612 h 281222"/>
                  <a:gd name="connsiteX323" fmla="*/ 82882 w 491987"/>
                  <a:gd name="connsiteY323" fmla="*/ 162885 h 281222"/>
                  <a:gd name="connsiteX324" fmla="*/ 90912 w 491987"/>
                  <a:gd name="connsiteY324" fmla="*/ 159854 h 281222"/>
                  <a:gd name="connsiteX325" fmla="*/ 97124 w 491987"/>
                  <a:gd name="connsiteY325" fmla="*/ 159097 h 281222"/>
                  <a:gd name="connsiteX326" fmla="*/ 103186 w 491987"/>
                  <a:gd name="connsiteY326" fmla="*/ 157885 h 281222"/>
                  <a:gd name="connsiteX327" fmla="*/ 110155 w 491987"/>
                  <a:gd name="connsiteY327" fmla="*/ 156975 h 281222"/>
                  <a:gd name="connsiteX328" fmla="*/ 112125 w 491987"/>
                  <a:gd name="connsiteY328" fmla="*/ 154400 h 281222"/>
                  <a:gd name="connsiteX329" fmla="*/ 113186 w 491987"/>
                  <a:gd name="connsiteY329" fmla="*/ 152733 h 281222"/>
                  <a:gd name="connsiteX330" fmla="*/ 113943 w 491987"/>
                  <a:gd name="connsiteY330" fmla="*/ 149551 h 281222"/>
                  <a:gd name="connsiteX331" fmla="*/ 117731 w 491987"/>
                  <a:gd name="connsiteY331" fmla="*/ 148642 h 281222"/>
                  <a:gd name="connsiteX332" fmla="*/ 121217 w 491987"/>
                  <a:gd name="connsiteY332" fmla="*/ 148036 h 281222"/>
                  <a:gd name="connsiteX333" fmla="*/ 122429 w 491987"/>
                  <a:gd name="connsiteY333" fmla="*/ 147581 h 281222"/>
                  <a:gd name="connsiteX334" fmla="*/ 123035 w 491987"/>
                  <a:gd name="connsiteY334" fmla="*/ 146369 h 281222"/>
                  <a:gd name="connsiteX335" fmla="*/ 128641 w 491987"/>
                  <a:gd name="connsiteY335" fmla="*/ 143187 h 281222"/>
                  <a:gd name="connsiteX336" fmla="*/ 130156 w 491987"/>
                  <a:gd name="connsiteY336" fmla="*/ 143793 h 281222"/>
                  <a:gd name="connsiteX337" fmla="*/ 133035 w 491987"/>
                  <a:gd name="connsiteY337" fmla="*/ 143945 h 281222"/>
                  <a:gd name="connsiteX338" fmla="*/ 139096 w 491987"/>
                  <a:gd name="connsiteY338" fmla="*/ 143793 h 281222"/>
                  <a:gd name="connsiteX339" fmla="*/ 142126 w 491987"/>
                  <a:gd name="connsiteY339" fmla="*/ 141672 h 281222"/>
                  <a:gd name="connsiteX340" fmla="*/ 143945 w 491987"/>
                  <a:gd name="connsiteY340" fmla="*/ 142278 h 281222"/>
                  <a:gd name="connsiteX341" fmla="*/ 145460 w 491987"/>
                  <a:gd name="connsiteY341" fmla="*/ 141369 h 281222"/>
                  <a:gd name="connsiteX342" fmla="*/ 147884 w 491987"/>
                  <a:gd name="connsiteY342" fmla="*/ 140157 h 281222"/>
                  <a:gd name="connsiteX343" fmla="*/ 148187 w 491987"/>
                  <a:gd name="connsiteY343" fmla="*/ 140460 h 281222"/>
                  <a:gd name="connsiteX344" fmla="*/ 148490 w 491987"/>
                  <a:gd name="connsiteY344" fmla="*/ 140611 h 281222"/>
                  <a:gd name="connsiteX345" fmla="*/ 152278 w 491987"/>
                  <a:gd name="connsiteY345" fmla="*/ 141217 h 281222"/>
                  <a:gd name="connsiteX346" fmla="*/ 155157 w 491987"/>
                  <a:gd name="connsiteY346" fmla="*/ 142429 h 281222"/>
                  <a:gd name="connsiteX347" fmla="*/ 157127 w 491987"/>
                  <a:gd name="connsiteY347" fmla="*/ 144248 h 281222"/>
                  <a:gd name="connsiteX348" fmla="*/ 159097 w 491987"/>
                  <a:gd name="connsiteY348" fmla="*/ 145308 h 281222"/>
                  <a:gd name="connsiteX349" fmla="*/ 161218 w 491987"/>
                  <a:gd name="connsiteY349" fmla="*/ 145763 h 281222"/>
                  <a:gd name="connsiteX350" fmla="*/ 162430 w 491987"/>
                  <a:gd name="connsiteY350" fmla="*/ 146672 h 281222"/>
                  <a:gd name="connsiteX351" fmla="*/ 162733 w 491987"/>
                  <a:gd name="connsiteY351" fmla="*/ 148036 h 281222"/>
                  <a:gd name="connsiteX352" fmla="*/ 164703 w 491987"/>
                  <a:gd name="connsiteY352" fmla="*/ 148642 h 281222"/>
                  <a:gd name="connsiteX353" fmla="*/ 168339 w 491987"/>
                  <a:gd name="connsiteY353" fmla="*/ 148642 h 281222"/>
                  <a:gd name="connsiteX354" fmla="*/ 169855 w 491987"/>
                  <a:gd name="connsiteY354" fmla="*/ 149551 h 281222"/>
                  <a:gd name="connsiteX355" fmla="*/ 169248 w 491987"/>
                  <a:gd name="connsiteY355" fmla="*/ 151369 h 281222"/>
                  <a:gd name="connsiteX356" fmla="*/ 169552 w 491987"/>
                  <a:gd name="connsiteY356" fmla="*/ 151975 h 281222"/>
                  <a:gd name="connsiteX357" fmla="*/ 170764 w 491987"/>
                  <a:gd name="connsiteY357" fmla="*/ 151369 h 281222"/>
                  <a:gd name="connsiteX358" fmla="*/ 171673 w 491987"/>
                  <a:gd name="connsiteY358" fmla="*/ 151975 h 281222"/>
                  <a:gd name="connsiteX359" fmla="*/ 172127 w 491987"/>
                  <a:gd name="connsiteY359" fmla="*/ 153339 h 281222"/>
                  <a:gd name="connsiteX360" fmla="*/ 172734 w 491987"/>
                  <a:gd name="connsiteY360" fmla="*/ 153945 h 281222"/>
                  <a:gd name="connsiteX361" fmla="*/ 174552 w 491987"/>
                  <a:gd name="connsiteY361" fmla="*/ 151824 h 281222"/>
                  <a:gd name="connsiteX362" fmla="*/ 176522 w 491987"/>
                  <a:gd name="connsiteY362" fmla="*/ 151975 h 281222"/>
                  <a:gd name="connsiteX363" fmla="*/ 181219 w 491987"/>
                  <a:gd name="connsiteY363" fmla="*/ 152884 h 281222"/>
                  <a:gd name="connsiteX364" fmla="*/ 183794 w 491987"/>
                  <a:gd name="connsiteY364" fmla="*/ 157278 h 281222"/>
                  <a:gd name="connsiteX365" fmla="*/ 185310 w 491987"/>
                  <a:gd name="connsiteY365" fmla="*/ 158794 h 281222"/>
                  <a:gd name="connsiteX366" fmla="*/ 186673 w 491987"/>
                  <a:gd name="connsiteY366" fmla="*/ 159400 h 281222"/>
                  <a:gd name="connsiteX367" fmla="*/ 188340 w 491987"/>
                  <a:gd name="connsiteY367" fmla="*/ 158794 h 281222"/>
                  <a:gd name="connsiteX368" fmla="*/ 189856 w 491987"/>
                  <a:gd name="connsiteY368" fmla="*/ 158036 h 281222"/>
                  <a:gd name="connsiteX369" fmla="*/ 190765 w 491987"/>
                  <a:gd name="connsiteY369" fmla="*/ 158491 h 281222"/>
                  <a:gd name="connsiteX370" fmla="*/ 192734 w 491987"/>
                  <a:gd name="connsiteY370" fmla="*/ 161370 h 281222"/>
                  <a:gd name="connsiteX371" fmla="*/ 193189 w 491987"/>
                  <a:gd name="connsiteY371" fmla="*/ 165158 h 281222"/>
                  <a:gd name="connsiteX372" fmla="*/ 193189 w 491987"/>
                  <a:gd name="connsiteY372" fmla="*/ 166673 h 281222"/>
                  <a:gd name="connsiteX373" fmla="*/ 192583 w 491987"/>
                  <a:gd name="connsiteY373" fmla="*/ 169249 h 281222"/>
                  <a:gd name="connsiteX374" fmla="*/ 191674 w 491987"/>
                  <a:gd name="connsiteY374" fmla="*/ 171976 h 281222"/>
                  <a:gd name="connsiteX375" fmla="*/ 190916 w 491987"/>
                  <a:gd name="connsiteY375" fmla="*/ 173794 h 281222"/>
                  <a:gd name="connsiteX376" fmla="*/ 191219 w 491987"/>
                  <a:gd name="connsiteY376" fmla="*/ 175158 h 281222"/>
                  <a:gd name="connsiteX377" fmla="*/ 191825 w 491987"/>
                  <a:gd name="connsiteY377" fmla="*/ 176370 h 281222"/>
                  <a:gd name="connsiteX378" fmla="*/ 192886 w 491987"/>
                  <a:gd name="connsiteY378" fmla="*/ 176825 h 281222"/>
                  <a:gd name="connsiteX379" fmla="*/ 196522 w 491987"/>
                  <a:gd name="connsiteY379" fmla="*/ 179249 h 281222"/>
                  <a:gd name="connsiteX380" fmla="*/ 197886 w 491987"/>
                  <a:gd name="connsiteY380" fmla="*/ 180916 h 281222"/>
                  <a:gd name="connsiteX381" fmla="*/ 199856 w 491987"/>
                  <a:gd name="connsiteY381" fmla="*/ 182128 h 281222"/>
                  <a:gd name="connsiteX382" fmla="*/ 201371 w 491987"/>
                  <a:gd name="connsiteY382" fmla="*/ 182128 h 281222"/>
                  <a:gd name="connsiteX383" fmla="*/ 202129 w 491987"/>
                  <a:gd name="connsiteY383" fmla="*/ 182885 h 281222"/>
                  <a:gd name="connsiteX384" fmla="*/ 202432 w 491987"/>
                  <a:gd name="connsiteY384" fmla="*/ 183795 h 281222"/>
                  <a:gd name="connsiteX385" fmla="*/ 202280 w 491987"/>
                  <a:gd name="connsiteY385" fmla="*/ 185916 h 281222"/>
                  <a:gd name="connsiteX386" fmla="*/ 201371 w 491987"/>
                  <a:gd name="connsiteY386" fmla="*/ 187886 h 281222"/>
                  <a:gd name="connsiteX387" fmla="*/ 201522 w 491987"/>
                  <a:gd name="connsiteY387" fmla="*/ 189098 h 281222"/>
                  <a:gd name="connsiteX388" fmla="*/ 202886 w 491987"/>
                  <a:gd name="connsiteY388" fmla="*/ 190613 h 281222"/>
                  <a:gd name="connsiteX389" fmla="*/ 203038 w 491987"/>
                  <a:gd name="connsiteY389" fmla="*/ 192431 h 281222"/>
                  <a:gd name="connsiteX390" fmla="*/ 203189 w 491987"/>
                  <a:gd name="connsiteY390" fmla="*/ 193492 h 281222"/>
                  <a:gd name="connsiteX391" fmla="*/ 203947 w 491987"/>
                  <a:gd name="connsiteY391" fmla="*/ 194401 h 281222"/>
                  <a:gd name="connsiteX392" fmla="*/ 207280 w 491987"/>
                  <a:gd name="connsiteY392" fmla="*/ 196371 h 281222"/>
                  <a:gd name="connsiteX393" fmla="*/ 211675 w 491987"/>
                  <a:gd name="connsiteY393" fmla="*/ 198189 h 281222"/>
                  <a:gd name="connsiteX394" fmla="*/ 212735 w 491987"/>
                  <a:gd name="connsiteY394" fmla="*/ 199856 h 281222"/>
                  <a:gd name="connsiteX395" fmla="*/ 213341 w 491987"/>
                  <a:gd name="connsiteY395" fmla="*/ 201826 h 281222"/>
                  <a:gd name="connsiteX396" fmla="*/ 213189 w 491987"/>
                  <a:gd name="connsiteY396" fmla="*/ 205159 h 281222"/>
                  <a:gd name="connsiteX397" fmla="*/ 212887 w 491987"/>
                  <a:gd name="connsiteY397" fmla="*/ 208189 h 281222"/>
                  <a:gd name="connsiteX398" fmla="*/ 218493 w 491987"/>
                  <a:gd name="connsiteY398" fmla="*/ 212129 h 281222"/>
                  <a:gd name="connsiteX399" fmla="*/ 217886 w 491987"/>
                  <a:gd name="connsiteY399" fmla="*/ 212886 h 281222"/>
                  <a:gd name="connsiteX400" fmla="*/ 216977 w 491987"/>
                  <a:gd name="connsiteY400" fmla="*/ 213644 h 281222"/>
                  <a:gd name="connsiteX401" fmla="*/ 211523 w 491987"/>
                  <a:gd name="connsiteY401" fmla="*/ 214250 h 281222"/>
                  <a:gd name="connsiteX402" fmla="*/ 210462 w 491987"/>
                  <a:gd name="connsiteY402" fmla="*/ 214553 h 281222"/>
                  <a:gd name="connsiteX403" fmla="*/ 208038 w 491987"/>
                  <a:gd name="connsiteY403" fmla="*/ 211523 h 281222"/>
                  <a:gd name="connsiteX404" fmla="*/ 206826 w 491987"/>
                  <a:gd name="connsiteY404" fmla="*/ 211220 h 281222"/>
                  <a:gd name="connsiteX405" fmla="*/ 205613 w 491987"/>
                  <a:gd name="connsiteY405" fmla="*/ 212281 h 281222"/>
                  <a:gd name="connsiteX406" fmla="*/ 204250 w 491987"/>
                  <a:gd name="connsiteY406" fmla="*/ 212886 h 281222"/>
                  <a:gd name="connsiteX407" fmla="*/ 202583 w 491987"/>
                  <a:gd name="connsiteY407" fmla="*/ 212583 h 281222"/>
                  <a:gd name="connsiteX408" fmla="*/ 200765 w 491987"/>
                  <a:gd name="connsiteY408" fmla="*/ 211674 h 281222"/>
                  <a:gd name="connsiteX409" fmla="*/ 199856 w 491987"/>
                  <a:gd name="connsiteY409" fmla="*/ 211068 h 281222"/>
                  <a:gd name="connsiteX410" fmla="*/ 199098 w 491987"/>
                  <a:gd name="connsiteY410" fmla="*/ 210917 h 281222"/>
                  <a:gd name="connsiteX411" fmla="*/ 198037 w 491987"/>
                  <a:gd name="connsiteY411" fmla="*/ 211523 h 281222"/>
                  <a:gd name="connsiteX412" fmla="*/ 196522 w 491987"/>
                  <a:gd name="connsiteY412" fmla="*/ 211220 h 281222"/>
                  <a:gd name="connsiteX413" fmla="*/ 195613 w 491987"/>
                  <a:gd name="connsiteY413" fmla="*/ 210462 h 281222"/>
                  <a:gd name="connsiteX414" fmla="*/ 194249 w 491987"/>
                  <a:gd name="connsiteY414" fmla="*/ 213038 h 281222"/>
                  <a:gd name="connsiteX415" fmla="*/ 193340 w 491987"/>
                  <a:gd name="connsiteY415" fmla="*/ 213644 h 281222"/>
                  <a:gd name="connsiteX416" fmla="*/ 192886 w 491987"/>
                  <a:gd name="connsiteY416" fmla="*/ 213493 h 281222"/>
                  <a:gd name="connsiteX417" fmla="*/ 192734 w 491987"/>
                  <a:gd name="connsiteY417" fmla="*/ 209250 h 281222"/>
                  <a:gd name="connsiteX418" fmla="*/ 192280 w 491987"/>
                  <a:gd name="connsiteY418" fmla="*/ 208644 h 281222"/>
                  <a:gd name="connsiteX419" fmla="*/ 191219 w 491987"/>
                  <a:gd name="connsiteY419" fmla="*/ 208492 h 281222"/>
                  <a:gd name="connsiteX420" fmla="*/ 188643 w 491987"/>
                  <a:gd name="connsiteY420" fmla="*/ 209553 h 281222"/>
                  <a:gd name="connsiteX421" fmla="*/ 186067 w 491987"/>
                  <a:gd name="connsiteY421" fmla="*/ 210917 h 281222"/>
                  <a:gd name="connsiteX422" fmla="*/ 185158 w 491987"/>
                  <a:gd name="connsiteY422" fmla="*/ 212129 h 281222"/>
                  <a:gd name="connsiteX423" fmla="*/ 185310 w 491987"/>
                  <a:gd name="connsiteY423" fmla="*/ 214250 h 281222"/>
                  <a:gd name="connsiteX424" fmla="*/ 185613 w 491987"/>
                  <a:gd name="connsiteY424" fmla="*/ 216826 h 281222"/>
                  <a:gd name="connsiteX425" fmla="*/ 187279 w 491987"/>
                  <a:gd name="connsiteY425" fmla="*/ 220614 h 281222"/>
                  <a:gd name="connsiteX426" fmla="*/ 186370 w 491987"/>
                  <a:gd name="connsiteY426" fmla="*/ 222281 h 281222"/>
                  <a:gd name="connsiteX427" fmla="*/ 185764 w 491987"/>
                  <a:gd name="connsiteY427" fmla="*/ 225008 h 281222"/>
                  <a:gd name="connsiteX428" fmla="*/ 183037 w 491987"/>
                  <a:gd name="connsiteY428" fmla="*/ 227433 h 281222"/>
                  <a:gd name="connsiteX429" fmla="*/ 180006 w 491987"/>
                  <a:gd name="connsiteY429" fmla="*/ 228796 h 281222"/>
                  <a:gd name="connsiteX430" fmla="*/ 179703 w 491987"/>
                  <a:gd name="connsiteY430" fmla="*/ 231675 h 281222"/>
                  <a:gd name="connsiteX431" fmla="*/ 178037 w 491987"/>
                  <a:gd name="connsiteY431" fmla="*/ 233645 h 281222"/>
                  <a:gd name="connsiteX432" fmla="*/ 175158 w 491987"/>
                  <a:gd name="connsiteY432" fmla="*/ 235615 h 281222"/>
                  <a:gd name="connsiteX433" fmla="*/ 173188 w 491987"/>
                  <a:gd name="connsiteY433" fmla="*/ 238039 h 281222"/>
                  <a:gd name="connsiteX434" fmla="*/ 173643 w 491987"/>
                  <a:gd name="connsiteY434" fmla="*/ 239706 h 281222"/>
                  <a:gd name="connsiteX435" fmla="*/ 173794 w 491987"/>
                  <a:gd name="connsiteY435" fmla="*/ 241221 h 281222"/>
                  <a:gd name="connsiteX436" fmla="*/ 173491 w 491987"/>
                  <a:gd name="connsiteY436" fmla="*/ 242282 h 281222"/>
                  <a:gd name="connsiteX437" fmla="*/ 173491 w 491987"/>
                  <a:gd name="connsiteY437" fmla="*/ 243039 h 281222"/>
                  <a:gd name="connsiteX438" fmla="*/ 172734 w 491987"/>
                  <a:gd name="connsiteY438" fmla="*/ 243342 h 281222"/>
                  <a:gd name="connsiteX439" fmla="*/ 168339 w 491987"/>
                  <a:gd name="connsiteY439" fmla="*/ 243645 h 281222"/>
                  <a:gd name="connsiteX440" fmla="*/ 167127 w 491987"/>
                  <a:gd name="connsiteY440" fmla="*/ 244100 h 281222"/>
                  <a:gd name="connsiteX441" fmla="*/ 165764 w 491987"/>
                  <a:gd name="connsiteY441" fmla="*/ 245160 h 281222"/>
                  <a:gd name="connsiteX442" fmla="*/ 168642 w 491987"/>
                  <a:gd name="connsiteY442" fmla="*/ 248645 h 281222"/>
                  <a:gd name="connsiteX443" fmla="*/ 172279 w 491987"/>
                  <a:gd name="connsiteY443" fmla="*/ 250464 h 281222"/>
                  <a:gd name="connsiteX444" fmla="*/ 180764 w 491987"/>
                  <a:gd name="connsiteY444" fmla="*/ 252433 h 281222"/>
                  <a:gd name="connsiteX445" fmla="*/ 181522 w 491987"/>
                  <a:gd name="connsiteY445" fmla="*/ 252130 h 281222"/>
                  <a:gd name="connsiteX446" fmla="*/ 181673 w 491987"/>
                  <a:gd name="connsiteY446" fmla="*/ 251827 h 281222"/>
                  <a:gd name="connsiteX447" fmla="*/ 181067 w 491987"/>
                  <a:gd name="connsiteY447" fmla="*/ 251373 h 281222"/>
                  <a:gd name="connsiteX448" fmla="*/ 180916 w 491987"/>
                  <a:gd name="connsiteY448" fmla="*/ 250767 h 281222"/>
                  <a:gd name="connsiteX449" fmla="*/ 181370 w 491987"/>
                  <a:gd name="connsiteY449" fmla="*/ 250009 h 281222"/>
                  <a:gd name="connsiteX450" fmla="*/ 182582 w 491987"/>
                  <a:gd name="connsiteY450" fmla="*/ 250009 h 281222"/>
                  <a:gd name="connsiteX451" fmla="*/ 184552 w 491987"/>
                  <a:gd name="connsiteY451" fmla="*/ 250767 h 281222"/>
                  <a:gd name="connsiteX452" fmla="*/ 188189 w 491987"/>
                  <a:gd name="connsiteY452" fmla="*/ 249706 h 281222"/>
                  <a:gd name="connsiteX453" fmla="*/ 193492 w 491987"/>
                  <a:gd name="connsiteY453" fmla="*/ 246979 h 281222"/>
                  <a:gd name="connsiteX454" fmla="*/ 198492 w 491987"/>
                  <a:gd name="connsiteY454" fmla="*/ 246373 h 281222"/>
                  <a:gd name="connsiteX455" fmla="*/ 203038 w 491987"/>
                  <a:gd name="connsiteY455" fmla="*/ 248039 h 281222"/>
                  <a:gd name="connsiteX456" fmla="*/ 205310 w 491987"/>
                  <a:gd name="connsiteY456" fmla="*/ 250009 h 281222"/>
                  <a:gd name="connsiteX457" fmla="*/ 206826 w 491987"/>
                  <a:gd name="connsiteY457" fmla="*/ 251827 h 281222"/>
                  <a:gd name="connsiteX458" fmla="*/ 207432 w 491987"/>
                  <a:gd name="connsiteY458" fmla="*/ 248948 h 281222"/>
                  <a:gd name="connsiteX459" fmla="*/ 205917 w 491987"/>
                  <a:gd name="connsiteY459" fmla="*/ 242282 h 281222"/>
                  <a:gd name="connsiteX460" fmla="*/ 204099 w 491987"/>
                  <a:gd name="connsiteY460" fmla="*/ 240312 h 281222"/>
                  <a:gd name="connsiteX461" fmla="*/ 204099 w 491987"/>
                  <a:gd name="connsiteY461" fmla="*/ 237433 h 281222"/>
                  <a:gd name="connsiteX462" fmla="*/ 204856 w 491987"/>
                  <a:gd name="connsiteY462" fmla="*/ 236069 h 281222"/>
                  <a:gd name="connsiteX463" fmla="*/ 206371 w 491987"/>
                  <a:gd name="connsiteY463" fmla="*/ 235009 h 281222"/>
                  <a:gd name="connsiteX464" fmla="*/ 210159 w 491987"/>
                  <a:gd name="connsiteY464" fmla="*/ 235766 h 281222"/>
                  <a:gd name="connsiteX465" fmla="*/ 212432 w 491987"/>
                  <a:gd name="connsiteY465" fmla="*/ 235009 h 281222"/>
                  <a:gd name="connsiteX466" fmla="*/ 215311 w 491987"/>
                  <a:gd name="connsiteY466" fmla="*/ 233493 h 281222"/>
                  <a:gd name="connsiteX467" fmla="*/ 220160 w 491987"/>
                  <a:gd name="connsiteY467" fmla="*/ 231675 h 281222"/>
                  <a:gd name="connsiteX468" fmla="*/ 221069 w 491987"/>
                  <a:gd name="connsiteY468" fmla="*/ 231069 h 281222"/>
                  <a:gd name="connsiteX469" fmla="*/ 228493 w 491987"/>
                  <a:gd name="connsiteY469" fmla="*/ 223493 h 281222"/>
                  <a:gd name="connsiteX470" fmla="*/ 228948 w 491987"/>
                  <a:gd name="connsiteY470" fmla="*/ 223038 h 281222"/>
                  <a:gd name="connsiteX471" fmla="*/ 232887 w 491987"/>
                  <a:gd name="connsiteY471" fmla="*/ 217584 h 281222"/>
                  <a:gd name="connsiteX472" fmla="*/ 233342 w 491987"/>
                  <a:gd name="connsiteY472" fmla="*/ 216372 h 281222"/>
                  <a:gd name="connsiteX473" fmla="*/ 234706 w 491987"/>
                  <a:gd name="connsiteY473" fmla="*/ 214250 h 281222"/>
                  <a:gd name="connsiteX474" fmla="*/ 236069 w 491987"/>
                  <a:gd name="connsiteY474" fmla="*/ 210614 h 281222"/>
                  <a:gd name="connsiteX475" fmla="*/ 236675 w 491987"/>
                  <a:gd name="connsiteY475" fmla="*/ 207886 h 281222"/>
                  <a:gd name="connsiteX476" fmla="*/ 245918 w 491987"/>
                  <a:gd name="connsiteY476" fmla="*/ 205462 h 281222"/>
                  <a:gd name="connsiteX477" fmla="*/ 250918 w 491987"/>
                  <a:gd name="connsiteY477" fmla="*/ 205917 h 281222"/>
                  <a:gd name="connsiteX478" fmla="*/ 253191 w 491987"/>
                  <a:gd name="connsiteY478" fmla="*/ 205310 h 281222"/>
                  <a:gd name="connsiteX479" fmla="*/ 255767 w 491987"/>
                  <a:gd name="connsiteY479" fmla="*/ 201522 h 281222"/>
                  <a:gd name="connsiteX480" fmla="*/ 257585 w 491987"/>
                  <a:gd name="connsiteY480" fmla="*/ 200159 h 281222"/>
                  <a:gd name="connsiteX481" fmla="*/ 256676 w 491987"/>
                  <a:gd name="connsiteY481" fmla="*/ 204098 h 281222"/>
                  <a:gd name="connsiteX482" fmla="*/ 260161 w 491987"/>
                  <a:gd name="connsiteY482" fmla="*/ 204856 h 281222"/>
                  <a:gd name="connsiteX483" fmla="*/ 263494 w 491987"/>
                  <a:gd name="connsiteY483" fmla="*/ 205159 h 281222"/>
                  <a:gd name="connsiteX484" fmla="*/ 266070 w 491987"/>
                  <a:gd name="connsiteY484" fmla="*/ 204553 h 281222"/>
                  <a:gd name="connsiteX485" fmla="*/ 266828 w 491987"/>
                  <a:gd name="connsiteY485" fmla="*/ 202129 h 281222"/>
                  <a:gd name="connsiteX486" fmla="*/ 267131 w 491987"/>
                  <a:gd name="connsiteY486" fmla="*/ 195159 h 281222"/>
                  <a:gd name="connsiteX487" fmla="*/ 265919 w 491987"/>
                  <a:gd name="connsiteY487" fmla="*/ 192431 h 281222"/>
                  <a:gd name="connsiteX488" fmla="*/ 265161 w 491987"/>
                  <a:gd name="connsiteY488" fmla="*/ 189552 h 281222"/>
                  <a:gd name="connsiteX489" fmla="*/ 263040 w 491987"/>
                  <a:gd name="connsiteY489" fmla="*/ 185158 h 281222"/>
                  <a:gd name="connsiteX490" fmla="*/ 265161 w 491987"/>
                  <a:gd name="connsiteY490" fmla="*/ 187128 h 281222"/>
                  <a:gd name="connsiteX491" fmla="*/ 265919 w 491987"/>
                  <a:gd name="connsiteY491" fmla="*/ 189249 h 281222"/>
                  <a:gd name="connsiteX492" fmla="*/ 268040 w 491987"/>
                  <a:gd name="connsiteY492" fmla="*/ 193189 h 281222"/>
                  <a:gd name="connsiteX493" fmla="*/ 268646 w 491987"/>
                  <a:gd name="connsiteY493" fmla="*/ 197583 h 281222"/>
                  <a:gd name="connsiteX494" fmla="*/ 268191 w 491987"/>
                  <a:gd name="connsiteY494" fmla="*/ 200007 h 281222"/>
                  <a:gd name="connsiteX495" fmla="*/ 268949 w 491987"/>
                  <a:gd name="connsiteY495" fmla="*/ 202583 h 281222"/>
                  <a:gd name="connsiteX496" fmla="*/ 270919 w 491987"/>
                  <a:gd name="connsiteY496" fmla="*/ 204856 h 281222"/>
                  <a:gd name="connsiteX497" fmla="*/ 273192 w 491987"/>
                  <a:gd name="connsiteY497" fmla="*/ 206371 h 281222"/>
                  <a:gd name="connsiteX498" fmla="*/ 279404 w 491987"/>
                  <a:gd name="connsiteY498" fmla="*/ 207432 h 281222"/>
                  <a:gd name="connsiteX499" fmla="*/ 285465 w 491987"/>
                  <a:gd name="connsiteY499" fmla="*/ 205614 h 281222"/>
                  <a:gd name="connsiteX500" fmla="*/ 284707 w 491987"/>
                  <a:gd name="connsiteY500" fmla="*/ 206371 h 281222"/>
                  <a:gd name="connsiteX501" fmla="*/ 281071 w 491987"/>
                  <a:gd name="connsiteY501" fmla="*/ 208947 h 281222"/>
                  <a:gd name="connsiteX502" fmla="*/ 279556 w 491987"/>
                  <a:gd name="connsiteY502" fmla="*/ 210462 h 281222"/>
                  <a:gd name="connsiteX503" fmla="*/ 273192 w 491987"/>
                  <a:gd name="connsiteY503" fmla="*/ 209250 h 281222"/>
                  <a:gd name="connsiteX504" fmla="*/ 266222 w 491987"/>
                  <a:gd name="connsiteY504" fmla="*/ 208795 h 281222"/>
                  <a:gd name="connsiteX505" fmla="*/ 261828 w 491987"/>
                  <a:gd name="connsiteY505" fmla="*/ 207583 h 281222"/>
                  <a:gd name="connsiteX506" fmla="*/ 257434 w 491987"/>
                  <a:gd name="connsiteY506" fmla="*/ 207583 h 281222"/>
                  <a:gd name="connsiteX507" fmla="*/ 259252 w 491987"/>
                  <a:gd name="connsiteY507" fmla="*/ 209098 h 281222"/>
                  <a:gd name="connsiteX508" fmla="*/ 261676 w 491987"/>
                  <a:gd name="connsiteY508" fmla="*/ 210462 h 281222"/>
                  <a:gd name="connsiteX509" fmla="*/ 265616 w 491987"/>
                  <a:gd name="connsiteY509" fmla="*/ 210765 h 281222"/>
                  <a:gd name="connsiteX510" fmla="*/ 269858 w 491987"/>
                  <a:gd name="connsiteY510" fmla="*/ 211826 h 281222"/>
                  <a:gd name="connsiteX511" fmla="*/ 270010 w 491987"/>
                  <a:gd name="connsiteY511" fmla="*/ 213341 h 281222"/>
                  <a:gd name="connsiteX512" fmla="*/ 269404 w 491987"/>
                  <a:gd name="connsiteY512" fmla="*/ 214099 h 281222"/>
                  <a:gd name="connsiteX513" fmla="*/ 267282 w 491987"/>
                  <a:gd name="connsiteY513" fmla="*/ 214705 h 281222"/>
                  <a:gd name="connsiteX514" fmla="*/ 265313 w 491987"/>
                  <a:gd name="connsiteY514" fmla="*/ 214856 h 281222"/>
                  <a:gd name="connsiteX515" fmla="*/ 263646 w 491987"/>
                  <a:gd name="connsiteY515" fmla="*/ 215614 h 281222"/>
                  <a:gd name="connsiteX516" fmla="*/ 265010 w 491987"/>
                  <a:gd name="connsiteY516" fmla="*/ 217129 h 281222"/>
                  <a:gd name="connsiteX517" fmla="*/ 267585 w 491987"/>
                  <a:gd name="connsiteY517" fmla="*/ 216978 h 281222"/>
                  <a:gd name="connsiteX518" fmla="*/ 270616 w 491987"/>
                  <a:gd name="connsiteY518" fmla="*/ 217887 h 281222"/>
                  <a:gd name="connsiteX519" fmla="*/ 278646 w 491987"/>
                  <a:gd name="connsiteY519" fmla="*/ 222281 h 281222"/>
                  <a:gd name="connsiteX520" fmla="*/ 282737 w 491987"/>
                  <a:gd name="connsiteY520" fmla="*/ 223948 h 281222"/>
                  <a:gd name="connsiteX521" fmla="*/ 291526 w 491987"/>
                  <a:gd name="connsiteY521" fmla="*/ 222281 h 281222"/>
                  <a:gd name="connsiteX522" fmla="*/ 295466 w 491987"/>
                  <a:gd name="connsiteY522" fmla="*/ 222584 h 281222"/>
                  <a:gd name="connsiteX523" fmla="*/ 302587 w 491987"/>
                  <a:gd name="connsiteY523" fmla="*/ 220766 h 281222"/>
                  <a:gd name="connsiteX524" fmla="*/ 304254 w 491987"/>
                  <a:gd name="connsiteY524" fmla="*/ 222432 h 281222"/>
                  <a:gd name="connsiteX525" fmla="*/ 308799 w 491987"/>
                  <a:gd name="connsiteY525" fmla="*/ 224705 h 281222"/>
                  <a:gd name="connsiteX526" fmla="*/ 310618 w 491987"/>
                  <a:gd name="connsiteY526" fmla="*/ 223948 h 281222"/>
                  <a:gd name="connsiteX527" fmla="*/ 313193 w 491987"/>
                  <a:gd name="connsiteY527" fmla="*/ 223341 h 281222"/>
                  <a:gd name="connsiteX528" fmla="*/ 314406 w 491987"/>
                  <a:gd name="connsiteY528" fmla="*/ 225463 h 281222"/>
                  <a:gd name="connsiteX529" fmla="*/ 315163 w 491987"/>
                  <a:gd name="connsiteY529" fmla="*/ 228342 h 281222"/>
                  <a:gd name="connsiteX530" fmla="*/ 309709 w 491987"/>
                  <a:gd name="connsiteY530" fmla="*/ 232130 h 281222"/>
                  <a:gd name="connsiteX531" fmla="*/ 304556 w 491987"/>
                  <a:gd name="connsiteY531" fmla="*/ 234554 h 281222"/>
                  <a:gd name="connsiteX532" fmla="*/ 300768 w 491987"/>
                  <a:gd name="connsiteY532" fmla="*/ 235160 h 281222"/>
                  <a:gd name="connsiteX533" fmla="*/ 292132 w 491987"/>
                  <a:gd name="connsiteY533" fmla="*/ 240463 h 281222"/>
                  <a:gd name="connsiteX534" fmla="*/ 283344 w 491987"/>
                  <a:gd name="connsiteY534" fmla="*/ 246827 h 281222"/>
                  <a:gd name="connsiteX535" fmla="*/ 284556 w 491987"/>
                  <a:gd name="connsiteY535" fmla="*/ 248645 h 281222"/>
                  <a:gd name="connsiteX536" fmla="*/ 286223 w 491987"/>
                  <a:gd name="connsiteY536" fmla="*/ 249403 h 281222"/>
                  <a:gd name="connsiteX537" fmla="*/ 290617 w 491987"/>
                  <a:gd name="connsiteY537" fmla="*/ 248342 h 281222"/>
                  <a:gd name="connsiteX538" fmla="*/ 294556 w 491987"/>
                  <a:gd name="connsiteY538" fmla="*/ 248645 h 281222"/>
                  <a:gd name="connsiteX539" fmla="*/ 301829 w 491987"/>
                  <a:gd name="connsiteY539" fmla="*/ 253797 h 281222"/>
                  <a:gd name="connsiteX540" fmla="*/ 303799 w 491987"/>
                  <a:gd name="connsiteY540" fmla="*/ 254555 h 281222"/>
                  <a:gd name="connsiteX541" fmla="*/ 307435 w 491987"/>
                  <a:gd name="connsiteY541" fmla="*/ 253949 h 281222"/>
                  <a:gd name="connsiteX542" fmla="*/ 311830 w 491987"/>
                  <a:gd name="connsiteY542" fmla="*/ 256979 h 281222"/>
                  <a:gd name="connsiteX543" fmla="*/ 313042 w 491987"/>
                  <a:gd name="connsiteY543" fmla="*/ 260919 h 281222"/>
                  <a:gd name="connsiteX544" fmla="*/ 313345 w 491987"/>
                  <a:gd name="connsiteY544" fmla="*/ 263343 h 281222"/>
                  <a:gd name="connsiteX545" fmla="*/ 311072 w 491987"/>
                  <a:gd name="connsiteY545" fmla="*/ 271070 h 281222"/>
                  <a:gd name="connsiteX546" fmla="*/ 310011 w 491987"/>
                  <a:gd name="connsiteY546" fmla="*/ 273192 h 281222"/>
                  <a:gd name="connsiteX547" fmla="*/ 309253 w 491987"/>
                  <a:gd name="connsiteY547" fmla="*/ 273949 h 281222"/>
                  <a:gd name="connsiteX548" fmla="*/ 308951 w 491987"/>
                  <a:gd name="connsiteY548" fmla="*/ 275465 h 281222"/>
                  <a:gd name="connsiteX549" fmla="*/ 314557 w 491987"/>
                  <a:gd name="connsiteY549" fmla="*/ 279556 h 281222"/>
                  <a:gd name="connsiteX550" fmla="*/ 317285 w 491987"/>
                  <a:gd name="connsiteY550" fmla="*/ 280768 h 281222"/>
                  <a:gd name="connsiteX551" fmla="*/ 321527 w 491987"/>
                  <a:gd name="connsiteY551" fmla="*/ 281222 h 281222"/>
                  <a:gd name="connsiteX552" fmla="*/ 326073 w 491987"/>
                  <a:gd name="connsiteY552" fmla="*/ 280010 h 281222"/>
                  <a:gd name="connsiteX553" fmla="*/ 331679 w 491987"/>
                  <a:gd name="connsiteY553" fmla="*/ 276222 h 281222"/>
                  <a:gd name="connsiteX554" fmla="*/ 336830 w 491987"/>
                  <a:gd name="connsiteY554" fmla="*/ 270010 h 281222"/>
                  <a:gd name="connsiteX555" fmla="*/ 343649 w 491987"/>
                  <a:gd name="connsiteY555" fmla="*/ 267131 h 281222"/>
                  <a:gd name="connsiteX556" fmla="*/ 348346 w 491987"/>
                  <a:gd name="connsiteY556" fmla="*/ 266525 h 281222"/>
                  <a:gd name="connsiteX557" fmla="*/ 353801 w 491987"/>
                  <a:gd name="connsiteY557" fmla="*/ 267282 h 281222"/>
                  <a:gd name="connsiteX558" fmla="*/ 355619 w 491987"/>
                  <a:gd name="connsiteY558" fmla="*/ 264101 h 281222"/>
                  <a:gd name="connsiteX559" fmla="*/ 361225 w 491987"/>
                  <a:gd name="connsiteY559" fmla="*/ 261373 h 281222"/>
                  <a:gd name="connsiteX560" fmla="*/ 364407 w 491987"/>
                  <a:gd name="connsiteY560" fmla="*/ 257282 h 281222"/>
                  <a:gd name="connsiteX561" fmla="*/ 367135 w 491987"/>
                  <a:gd name="connsiteY561" fmla="*/ 256525 h 281222"/>
                  <a:gd name="connsiteX562" fmla="*/ 370165 w 491987"/>
                  <a:gd name="connsiteY562" fmla="*/ 257131 h 281222"/>
                  <a:gd name="connsiteX563" fmla="*/ 372438 w 491987"/>
                  <a:gd name="connsiteY563" fmla="*/ 258191 h 281222"/>
                  <a:gd name="connsiteX564" fmla="*/ 373650 w 491987"/>
                  <a:gd name="connsiteY564" fmla="*/ 259252 h 281222"/>
                  <a:gd name="connsiteX565" fmla="*/ 375468 w 491987"/>
                  <a:gd name="connsiteY565" fmla="*/ 260464 h 281222"/>
                  <a:gd name="connsiteX566" fmla="*/ 380468 w 491987"/>
                  <a:gd name="connsiteY566" fmla="*/ 259555 h 281222"/>
                  <a:gd name="connsiteX567" fmla="*/ 385317 w 491987"/>
                  <a:gd name="connsiteY567" fmla="*/ 259706 h 281222"/>
                  <a:gd name="connsiteX568" fmla="*/ 389863 w 491987"/>
                  <a:gd name="connsiteY568" fmla="*/ 258343 h 281222"/>
                  <a:gd name="connsiteX569" fmla="*/ 390772 w 491987"/>
                  <a:gd name="connsiteY569" fmla="*/ 255312 h 281222"/>
                  <a:gd name="connsiteX570" fmla="*/ 391378 w 491987"/>
                  <a:gd name="connsiteY570" fmla="*/ 252585 h 281222"/>
                  <a:gd name="connsiteX571" fmla="*/ 393045 w 491987"/>
                  <a:gd name="connsiteY571" fmla="*/ 250161 h 281222"/>
                  <a:gd name="connsiteX572" fmla="*/ 394711 w 491987"/>
                  <a:gd name="connsiteY572" fmla="*/ 247130 h 281222"/>
                  <a:gd name="connsiteX573" fmla="*/ 390621 w 491987"/>
                  <a:gd name="connsiteY573" fmla="*/ 245767 h 281222"/>
                  <a:gd name="connsiteX574" fmla="*/ 386833 w 491987"/>
                  <a:gd name="connsiteY574" fmla="*/ 245009 h 281222"/>
                  <a:gd name="connsiteX575" fmla="*/ 383499 w 491987"/>
                  <a:gd name="connsiteY575" fmla="*/ 245160 h 281222"/>
                  <a:gd name="connsiteX576" fmla="*/ 380923 w 491987"/>
                  <a:gd name="connsiteY576" fmla="*/ 246070 h 281222"/>
                  <a:gd name="connsiteX577" fmla="*/ 379105 w 491987"/>
                  <a:gd name="connsiteY577" fmla="*/ 247888 h 281222"/>
                  <a:gd name="connsiteX578" fmla="*/ 374256 w 491987"/>
                  <a:gd name="connsiteY578" fmla="*/ 246827 h 281222"/>
                  <a:gd name="connsiteX579" fmla="*/ 371983 w 491987"/>
                  <a:gd name="connsiteY579" fmla="*/ 247282 h 281222"/>
                  <a:gd name="connsiteX580" fmla="*/ 366680 w 491987"/>
                  <a:gd name="connsiteY580" fmla="*/ 250009 h 281222"/>
                  <a:gd name="connsiteX581" fmla="*/ 363953 w 491987"/>
                  <a:gd name="connsiteY581" fmla="*/ 249858 h 281222"/>
                  <a:gd name="connsiteX582" fmla="*/ 361680 w 491987"/>
                  <a:gd name="connsiteY582" fmla="*/ 248645 h 281222"/>
                  <a:gd name="connsiteX583" fmla="*/ 358498 w 491987"/>
                  <a:gd name="connsiteY583" fmla="*/ 245463 h 281222"/>
                  <a:gd name="connsiteX584" fmla="*/ 351982 w 491987"/>
                  <a:gd name="connsiteY584" fmla="*/ 236827 h 281222"/>
                  <a:gd name="connsiteX585" fmla="*/ 348801 w 491987"/>
                  <a:gd name="connsiteY585" fmla="*/ 230766 h 281222"/>
                  <a:gd name="connsiteX586" fmla="*/ 347437 w 491987"/>
                  <a:gd name="connsiteY586" fmla="*/ 227129 h 281222"/>
                  <a:gd name="connsiteX587" fmla="*/ 347134 w 491987"/>
                  <a:gd name="connsiteY587" fmla="*/ 224251 h 281222"/>
                  <a:gd name="connsiteX588" fmla="*/ 347285 w 491987"/>
                  <a:gd name="connsiteY588" fmla="*/ 220311 h 281222"/>
                  <a:gd name="connsiteX589" fmla="*/ 350619 w 491987"/>
                  <a:gd name="connsiteY589" fmla="*/ 218493 h 281222"/>
                  <a:gd name="connsiteX590" fmla="*/ 353195 w 491987"/>
                  <a:gd name="connsiteY590" fmla="*/ 217584 h 281222"/>
                  <a:gd name="connsiteX591" fmla="*/ 357740 w 491987"/>
                  <a:gd name="connsiteY591" fmla="*/ 211674 h 281222"/>
                  <a:gd name="connsiteX592" fmla="*/ 359407 w 491987"/>
                  <a:gd name="connsiteY592" fmla="*/ 214099 h 281222"/>
                  <a:gd name="connsiteX593" fmla="*/ 359407 w 491987"/>
                  <a:gd name="connsiteY593" fmla="*/ 216069 h 281222"/>
                  <a:gd name="connsiteX594" fmla="*/ 359104 w 491987"/>
                  <a:gd name="connsiteY594" fmla="*/ 217281 h 281222"/>
                  <a:gd name="connsiteX595" fmla="*/ 357437 w 491987"/>
                  <a:gd name="connsiteY595" fmla="*/ 218947 h 281222"/>
                  <a:gd name="connsiteX596" fmla="*/ 351831 w 491987"/>
                  <a:gd name="connsiteY596" fmla="*/ 223190 h 281222"/>
                  <a:gd name="connsiteX597" fmla="*/ 352892 w 491987"/>
                  <a:gd name="connsiteY597" fmla="*/ 223190 h 281222"/>
                  <a:gd name="connsiteX598" fmla="*/ 355013 w 491987"/>
                  <a:gd name="connsiteY598" fmla="*/ 222432 h 281222"/>
                  <a:gd name="connsiteX599" fmla="*/ 356983 w 491987"/>
                  <a:gd name="connsiteY599" fmla="*/ 220917 h 281222"/>
                  <a:gd name="connsiteX600" fmla="*/ 358347 w 491987"/>
                  <a:gd name="connsiteY600" fmla="*/ 219705 h 281222"/>
                  <a:gd name="connsiteX601" fmla="*/ 362286 w 491987"/>
                  <a:gd name="connsiteY601" fmla="*/ 213644 h 281222"/>
                  <a:gd name="connsiteX602" fmla="*/ 373953 w 491987"/>
                  <a:gd name="connsiteY602" fmla="*/ 205310 h 281222"/>
                  <a:gd name="connsiteX603" fmla="*/ 379408 w 491987"/>
                  <a:gd name="connsiteY603" fmla="*/ 203795 h 281222"/>
                  <a:gd name="connsiteX604" fmla="*/ 384105 w 491987"/>
                  <a:gd name="connsiteY604" fmla="*/ 204553 h 281222"/>
                  <a:gd name="connsiteX605" fmla="*/ 386378 w 491987"/>
                  <a:gd name="connsiteY605" fmla="*/ 204098 h 281222"/>
                  <a:gd name="connsiteX606" fmla="*/ 390621 w 491987"/>
                  <a:gd name="connsiteY606" fmla="*/ 201522 h 281222"/>
                  <a:gd name="connsiteX607" fmla="*/ 394105 w 491987"/>
                  <a:gd name="connsiteY607" fmla="*/ 200462 h 281222"/>
                  <a:gd name="connsiteX608" fmla="*/ 397590 w 491987"/>
                  <a:gd name="connsiteY608" fmla="*/ 200462 h 281222"/>
                  <a:gd name="connsiteX609" fmla="*/ 400469 w 491987"/>
                  <a:gd name="connsiteY609" fmla="*/ 202129 h 281222"/>
                  <a:gd name="connsiteX610" fmla="*/ 404257 w 491987"/>
                  <a:gd name="connsiteY610" fmla="*/ 198341 h 281222"/>
                  <a:gd name="connsiteX611" fmla="*/ 407439 w 491987"/>
                  <a:gd name="connsiteY611" fmla="*/ 196522 h 281222"/>
                  <a:gd name="connsiteX612" fmla="*/ 412136 w 491987"/>
                  <a:gd name="connsiteY612" fmla="*/ 195159 h 281222"/>
                  <a:gd name="connsiteX613" fmla="*/ 415470 w 491987"/>
                  <a:gd name="connsiteY613" fmla="*/ 195159 h 281222"/>
                  <a:gd name="connsiteX614" fmla="*/ 421076 w 491987"/>
                  <a:gd name="connsiteY614" fmla="*/ 189704 h 281222"/>
                  <a:gd name="connsiteX615" fmla="*/ 428955 w 491987"/>
                  <a:gd name="connsiteY615" fmla="*/ 188946 h 281222"/>
                  <a:gd name="connsiteX616" fmla="*/ 438501 w 491987"/>
                  <a:gd name="connsiteY616" fmla="*/ 189552 h 281222"/>
                  <a:gd name="connsiteX617" fmla="*/ 439561 w 491987"/>
                  <a:gd name="connsiteY617" fmla="*/ 189098 h 281222"/>
                  <a:gd name="connsiteX618" fmla="*/ 439259 w 491987"/>
                  <a:gd name="connsiteY618" fmla="*/ 187583 h 281222"/>
                  <a:gd name="connsiteX619" fmla="*/ 439107 w 491987"/>
                  <a:gd name="connsiteY619" fmla="*/ 186219 h 281222"/>
                  <a:gd name="connsiteX620" fmla="*/ 439713 w 491987"/>
                  <a:gd name="connsiteY620" fmla="*/ 184855 h 281222"/>
                  <a:gd name="connsiteX621" fmla="*/ 440925 w 491987"/>
                  <a:gd name="connsiteY621" fmla="*/ 183946 h 281222"/>
                  <a:gd name="connsiteX622" fmla="*/ 441380 w 491987"/>
                  <a:gd name="connsiteY622" fmla="*/ 183188 h 281222"/>
                  <a:gd name="connsiteX623" fmla="*/ 441380 w 491987"/>
                  <a:gd name="connsiteY623" fmla="*/ 182582 h 281222"/>
                  <a:gd name="connsiteX624" fmla="*/ 440319 w 491987"/>
                  <a:gd name="connsiteY624" fmla="*/ 182128 h 281222"/>
                  <a:gd name="connsiteX625" fmla="*/ 439410 w 491987"/>
                  <a:gd name="connsiteY625" fmla="*/ 181825 h 281222"/>
                  <a:gd name="connsiteX626" fmla="*/ 439259 w 491987"/>
                  <a:gd name="connsiteY626" fmla="*/ 180916 h 281222"/>
                  <a:gd name="connsiteX627" fmla="*/ 439561 w 491987"/>
                  <a:gd name="connsiteY627" fmla="*/ 180158 h 281222"/>
                  <a:gd name="connsiteX628" fmla="*/ 440471 w 491987"/>
                  <a:gd name="connsiteY628" fmla="*/ 179097 h 281222"/>
                  <a:gd name="connsiteX629" fmla="*/ 440774 w 491987"/>
                  <a:gd name="connsiteY629" fmla="*/ 177885 h 281222"/>
                  <a:gd name="connsiteX630" fmla="*/ 440774 w 491987"/>
                  <a:gd name="connsiteY630" fmla="*/ 175461 h 281222"/>
                  <a:gd name="connsiteX631" fmla="*/ 441531 w 491987"/>
                  <a:gd name="connsiteY631" fmla="*/ 172734 h 281222"/>
                  <a:gd name="connsiteX632" fmla="*/ 443804 w 491987"/>
                  <a:gd name="connsiteY632" fmla="*/ 170915 h 281222"/>
                  <a:gd name="connsiteX633" fmla="*/ 447744 w 491987"/>
                  <a:gd name="connsiteY633" fmla="*/ 170461 h 281222"/>
                  <a:gd name="connsiteX634" fmla="*/ 451229 w 491987"/>
                  <a:gd name="connsiteY634" fmla="*/ 168946 h 281222"/>
                  <a:gd name="connsiteX635" fmla="*/ 453350 w 491987"/>
                  <a:gd name="connsiteY635" fmla="*/ 167279 h 281222"/>
                  <a:gd name="connsiteX636" fmla="*/ 456229 w 491987"/>
                  <a:gd name="connsiteY636" fmla="*/ 163036 h 281222"/>
                  <a:gd name="connsiteX637" fmla="*/ 458350 w 491987"/>
                  <a:gd name="connsiteY637" fmla="*/ 162430 h 281222"/>
                  <a:gd name="connsiteX638" fmla="*/ 462593 w 491987"/>
                  <a:gd name="connsiteY638" fmla="*/ 162733 h 281222"/>
                  <a:gd name="connsiteX639" fmla="*/ 465320 w 491987"/>
                  <a:gd name="connsiteY639" fmla="*/ 163188 h 281222"/>
                  <a:gd name="connsiteX640" fmla="*/ 471684 w 491987"/>
                  <a:gd name="connsiteY640" fmla="*/ 163339 h 281222"/>
                  <a:gd name="connsiteX641" fmla="*/ 478957 w 491987"/>
                  <a:gd name="connsiteY641" fmla="*/ 163036 h 281222"/>
                  <a:gd name="connsiteX642" fmla="*/ 481078 w 491987"/>
                  <a:gd name="connsiteY642" fmla="*/ 162885 h 281222"/>
                  <a:gd name="connsiteX643" fmla="*/ 482290 w 491987"/>
                  <a:gd name="connsiteY643" fmla="*/ 161370 h 281222"/>
                  <a:gd name="connsiteX644" fmla="*/ 482139 w 491987"/>
                  <a:gd name="connsiteY644" fmla="*/ 158642 h 281222"/>
                  <a:gd name="connsiteX645" fmla="*/ 483200 w 491987"/>
                  <a:gd name="connsiteY645" fmla="*/ 156218 h 281222"/>
                  <a:gd name="connsiteX646" fmla="*/ 485169 w 491987"/>
                  <a:gd name="connsiteY646" fmla="*/ 151521 h 281222"/>
                  <a:gd name="connsiteX647" fmla="*/ 487290 w 491987"/>
                  <a:gd name="connsiteY647" fmla="*/ 149096 h 281222"/>
                  <a:gd name="connsiteX648" fmla="*/ 487139 w 491987"/>
                  <a:gd name="connsiteY648" fmla="*/ 148036 h 281222"/>
                  <a:gd name="connsiteX649" fmla="*/ 486078 w 491987"/>
                  <a:gd name="connsiteY649" fmla="*/ 147581 h 281222"/>
                  <a:gd name="connsiteX650" fmla="*/ 484715 w 491987"/>
                  <a:gd name="connsiteY650" fmla="*/ 147430 h 281222"/>
                  <a:gd name="connsiteX651" fmla="*/ 484260 w 491987"/>
                  <a:gd name="connsiteY651" fmla="*/ 146975 h 281222"/>
                  <a:gd name="connsiteX652" fmla="*/ 484260 w 491987"/>
                  <a:gd name="connsiteY652" fmla="*/ 145914 h 281222"/>
                  <a:gd name="connsiteX653" fmla="*/ 485321 w 491987"/>
                  <a:gd name="connsiteY653" fmla="*/ 144854 h 281222"/>
                  <a:gd name="connsiteX654" fmla="*/ 485169 w 491987"/>
                  <a:gd name="connsiteY654" fmla="*/ 142732 h 281222"/>
                  <a:gd name="connsiteX655" fmla="*/ 484412 w 491987"/>
                  <a:gd name="connsiteY655" fmla="*/ 140460 h 281222"/>
                  <a:gd name="connsiteX656" fmla="*/ 483806 w 491987"/>
                  <a:gd name="connsiteY656" fmla="*/ 138338 h 281222"/>
                  <a:gd name="connsiteX657" fmla="*/ 481836 w 491987"/>
                  <a:gd name="connsiteY657" fmla="*/ 137278 h 281222"/>
                  <a:gd name="connsiteX658" fmla="*/ 478502 w 491987"/>
                  <a:gd name="connsiteY658" fmla="*/ 136672 h 281222"/>
                  <a:gd name="connsiteX659" fmla="*/ 479260 w 491987"/>
                  <a:gd name="connsiteY659" fmla="*/ 134096 h 281222"/>
                  <a:gd name="connsiteX660" fmla="*/ 480169 w 491987"/>
                  <a:gd name="connsiteY660" fmla="*/ 131368 h 281222"/>
                  <a:gd name="connsiteX661" fmla="*/ 481533 w 491987"/>
                  <a:gd name="connsiteY661" fmla="*/ 129853 h 281222"/>
                  <a:gd name="connsiteX662" fmla="*/ 482593 w 491987"/>
                  <a:gd name="connsiteY662" fmla="*/ 128944 h 281222"/>
                  <a:gd name="connsiteX663" fmla="*/ 485624 w 491987"/>
                  <a:gd name="connsiteY663" fmla="*/ 129399 h 281222"/>
                  <a:gd name="connsiteX664" fmla="*/ 487897 w 491987"/>
                  <a:gd name="connsiteY664" fmla="*/ 128944 h 281222"/>
                  <a:gd name="connsiteX665" fmla="*/ 488351 w 491987"/>
                  <a:gd name="connsiteY665" fmla="*/ 128489 h 281222"/>
                  <a:gd name="connsiteX666" fmla="*/ 487897 w 491987"/>
                  <a:gd name="connsiteY666" fmla="*/ 127429 h 281222"/>
                  <a:gd name="connsiteX667" fmla="*/ 484412 w 491987"/>
                  <a:gd name="connsiteY667" fmla="*/ 126520 h 281222"/>
                  <a:gd name="connsiteX668" fmla="*/ 481381 w 491987"/>
                  <a:gd name="connsiteY668" fmla="*/ 125308 h 281222"/>
                  <a:gd name="connsiteX669" fmla="*/ 480018 w 491987"/>
                  <a:gd name="connsiteY669" fmla="*/ 123792 h 281222"/>
                  <a:gd name="connsiteX670" fmla="*/ 479563 w 491987"/>
                  <a:gd name="connsiteY670" fmla="*/ 122126 h 281222"/>
                  <a:gd name="connsiteX671" fmla="*/ 481533 w 491987"/>
                  <a:gd name="connsiteY671" fmla="*/ 121065 h 281222"/>
                  <a:gd name="connsiteX672" fmla="*/ 485169 w 491987"/>
                  <a:gd name="connsiteY672" fmla="*/ 120156 h 281222"/>
                  <a:gd name="connsiteX673" fmla="*/ 487594 w 491987"/>
                  <a:gd name="connsiteY673" fmla="*/ 117883 h 281222"/>
                  <a:gd name="connsiteX674" fmla="*/ 490169 w 491987"/>
                  <a:gd name="connsiteY674" fmla="*/ 115459 h 281222"/>
                  <a:gd name="connsiteX675" fmla="*/ 491230 w 491987"/>
                  <a:gd name="connsiteY675" fmla="*/ 113641 h 281222"/>
                  <a:gd name="connsiteX676" fmla="*/ 491836 w 491987"/>
                  <a:gd name="connsiteY676" fmla="*/ 111671 h 281222"/>
                  <a:gd name="connsiteX677" fmla="*/ 491988 w 491987"/>
                  <a:gd name="connsiteY677" fmla="*/ 107428 h 28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Lst>
                <a:rect l="l" t="t" r="r" b="b"/>
                <a:pathLst>
                  <a:path w="491987" h="281222">
                    <a:moveTo>
                      <a:pt x="259706" y="215159"/>
                    </a:moveTo>
                    <a:lnTo>
                      <a:pt x="258191" y="214099"/>
                    </a:lnTo>
                    <a:lnTo>
                      <a:pt x="256070" y="211674"/>
                    </a:lnTo>
                    <a:lnTo>
                      <a:pt x="256676" y="213947"/>
                    </a:lnTo>
                    <a:lnTo>
                      <a:pt x="257585" y="215614"/>
                    </a:lnTo>
                    <a:lnTo>
                      <a:pt x="261373" y="217129"/>
                    </a:lnTo>
                    <a:lnTo>
                      <a:pt x="269858" y="218644"/>
                    </a:lnTo>
                    <a:lnTo>
                      <a:pt x="273646" y="219099"/>
                    </a:lnTo>
                    <a:lnTo>
                      <a:pt x="269858" y="217432"/>
                    </a:lnTo>
                    <a:lnTo>
                      <a:pt x="259706" y="215159"/>
                    </a:lnTo>
                    <a:close/>
                    <a:moveTo>
                      <a:pt x="491988" y="107428"/>
                    </a:moveTo>
                    <a:lnTo>
                      <a:pt x="490169" y="105155"/>
                    </a:lnTo>
                    <a:lnTo>
                      <a:pt x="490169" y="102883"/>
                    </a:lnTo>
                    <a:lnTo>
                      <a:pt x="491230" y="101216"/>
                    </a:lnTo>
                    <a:lnTo>
                      <a:pt x="490776" y="100004"/>
                    </a:lnTo>
                    <a:lnTo>
                      <a:pt x="489412" y="99246"/>
                    </a:lnTo>
                    <a:lnTo>
                      <a:pt x="487442" y="99398"/>
                    </a:lnTo>
                    <a:lnTo>
                      <a:pt x="485169" y="100155"/>
                    </a:lnTo>
                    <a:lnTo>
                      <a:pt x="482593" y="100004"/>
                    </a:lnTo>
                    <a:lnTo>
                      <a:pt x="478351" y="97276"/>
                    </a:lnTo>
                    <a:lnTo>
                      <a:pt x="473805" y="94549"/>
                    </a:lnTo>
                    <a:lnTo>
                      <a:pt x="471229" y="94397"/>
                    </a:lnTo>
                    <a:lnTo>
                      <a:pt x="469411" y="93943"/>
                    </a:lnTo>
                    <a:lnTo>
                      <a:pt x="467896" y="92579"/>
                    </a:lnTo>
                    <a:lnTo>
                      <a:pt x="466987" y="90761"/>
                    </a:lnTo>
                    <a:lnTo>
                      <a:pt x="465926" y="90003"/>
                    </a:lnTo>
                    <a:lnTo>
                      <a:pt x="464259" y="90458"/>
                    </a:lnTo>
                    <a:lnTo>
                      <a:pt x="461835" y="91215"/>
                    </a:lnTo>
                    <a:lnTo>
                      <a:pt x="458805" y="91064"/>
                    </a:lnTo>
                    <a:lnTo>
                      <a:pt x="454865" y="88943"/>
                    </a:lnTo>
                    <a:lnTo>
                      <a:pt x="451380" y="86518"/>
                    </a:lnTo>
                    <a:lnTo>
                      <a:pt x="448804" y="86518"/>
                    </a:lnTo>
                    <a:lnTo>
                      <a:pt x="446077" y="86215"/>
                    </a:lnTo>
                    <a:lnTo>
                      <a:pt x="440774" y="83033"/>
                    </a:lnTo>
                    <a:lnTo>
                      <a:pt x="439410" y="83033"/>
                    </a:lnTo>
                    <a:lnTo>
                      <a:pt x="438501" y="83942"/>
                    </a:lnTo>
                    <a:lnTo>
                      <a:pt x="438046" y="86518"/>
                    </a:lnTo>
                    <a:lnTo>
                      <a:pt x="437592" y="87124"/>
                    </a:lnTo>
                    <a:lnTo>
                      <a:pt x="436683" y="87579"/>
                    </a:lnTo>
                    <a:lnTo>
                      <a:pt x="434864" y="87882"/>
                    </a:lnTo>
                    <a:lnTo>
                      <a:pt x="432289" y="86367"/>
                    </a:lnTo>
                    <a:lnTo>
                      <a:pt x="425622" y="81215"/>
                    </a:lnTo>
                    <a:lnTo>
                      <a:pt x="422894" y="77427"/>
                    </a:lnTo>
                    <a:lnTo>
                      <a:pt x="422288" y="74700"/>
                    </a:lnTo>
                    <a:lnTo>
                      <a:pt x="420016" y="72881"/>
                    </a:lnTo>
                    <a:lnTo>
                      <a:pt x="417894" y="70306"/>
                    </a:lnTo>
                    <a:lnTo>
                      <a:pt x="415773" y="70154"/>
                    </a:lnTo>
                    <a:lnTo>
                      <a:pt x="413349" y="70912"/>
                    </a:lnTo>
                    <a:lnTo>
                      <a:pt x="411075" y="72124"/>
                    </a:lnTo>
                    <a:lnTo>
                      <a:pt x="410015" y="72427"/>
                    </a:lnTo>
                    <a:lnTo>
                      <a:pt x="406075" y="72881"/>
                    </a:lnTo>
                    <a:lnTo>
                      <a:pt x="399863" y="74548"/>
                    </a:lnTo>
                    <a:lnTo>
                      <a:pt x="398197" y="76215"/>
                    </a:lnTo>
                    <a:lnTo>
                      <a:pt x="396075" y="77579"/>
                    </a:lnTo>
                    <a:lnTo>
                      <a:pt x="394409" y="76669"/>
                    </a:lnTo>
                    <a:lnTo>
                      <a:pt x="392742" y="75003"/>
                    </a:lnTo>
                    <a:lnTo>
                      <a:pt x="389105" y="74397"/>
                    </a:lnTo>
                    <a:lnTo>
                      <a:pt x="387438" y="75003"/>
                    </a:lnTo>
                    <a:lnTo>
                      <a:pt x="385772" y="73942"/>
                    </a:lnTo>
                    <a:lnTo>
                      <a:pt x="384256" y="71972"/>
                    </a:lnTo>
                    <a:lnTo>
                      <a:pt x="382287" y="70457"/>
                    </a:lnTo>
                    <a:lnTo>
                      <a:pt x="379256" y="70003"/>
                    </a:lnTo>
                    <a:lnTo>
                      <a:pt x="376074" y="69397"/>
                    </a:lnTo>
                    <a:lnTo>
                      <a:pt x="373499" y="70457"/>
                    </a:lnTo>
                    <a:lnTo>
                      <a:pt x="370165" y="72578"/>
                    </a:lnTo>
                    <a:lnTo>
                      <a:pt x="367892" y="71821"/>
                    </a:lnTo>
                    <a:lnTo>
                      <a:pt x="366680" y="69245"/>
                    </a:lnTo>
                    <a:lnTo>
                      <a:pt x="365165" y="68487"/>
                    </a:lnTo>
                    <a:lnTo>
                      <a:pt x="363044" y="65608"/>
                    </a:lnTo>
                    <a:lnTo>
                      <a:pt x="362437" y="63033"/>
                    </a:lnTo>
                    <a:lnTo>
                      <a:pt x="363044" y="61972"/>
                    </a:lnTo>
                    <a:lnTo>
                      <a:pt x="363801" y="60608"/>
                    </a:lnTo>
                    <a:lnTo>
                      <a:pt x="363801" y="58942"/>
                    </a:lnTo>
                    <a:lnTo>
                      <a:pt x="363195" y="57578"/>
                    </a:lnTo>
                    <a:lnTo>
                      <a:pt x="362286" y="56517"/>
                    </a:lnTo>
                    <a:lnTo>
                      <a:pt x="361225" y="52729"/>
                    </a:lnTo>
                    <a:lnTo>
                      <a:pt x="360316" y="51063"/>
                    </a:lnTo>
                    <a:lnTo>
                      <a:pt x="360165" y="49699"/>
                    </a:lnTo>
                    <a:lnTo>
                      <a:pt x="360922" y="48487"/>
                    </a:lnTo>
                    <a:lnTo>
                      <a:pt x="360316" y="47729"/>
                    </a:lnTo>
                    <a:lnTo>
                      <a:pt x="359104" y="47577"/>
                    </a:lnTo>
                    <a:lnTo>
                      <a:pt x="357134" y="47729"/>
                    </a:lnTo>
                    <a:lnTo>
                      <a:pt x="356074" y="47123"/>
                    </a:lnTo>
                    <a:lnTo>
                      <a:pt x="354861" y="45002"/>
                    </a:lnTo>
                    <a:lnTo>
                      <a:pt x="354255" y="42880"/>
                    </a:lnTo>
                    <a:lnTo>
                      <a:pt x="353498" y="42123"/>
                    </a:lnTo>
                    <a:lnTo>
                      <a:pt x="351528" y="42123"/>
                    </a:lnTo>
                    <a:lnTo>
                      <a:pt x="348194" y="42577"/>
                    </a:lnTo>
                    <a:lnTo>
                      <a:pt x="345164" y="43335"/>
                    </a:lnTo>
                    <a:lnTo>
                      <a:pt x="343801" y="43183"/>
                    </a:lnTo>
                    <a:lnTo>
                      <a:pt x="341225" y="42123"/>
                    </a:lnTo>
                    <a:lnTo>
                      <a:pt x="337739" y="40911"/>
                    </a:lnTo>
                    <a:lnTo>
                      <a:pt x="330770" y="40608"/>
                    </a:lnTo>
                    <a:lnTo>
                      <a:pt x="330163" y="40153"/>
                    </a:lnTo>
                    <a:lnTo>
                      <a:pt x="330618" y="39395"/>
                    </a:lnTo>
                    <a:lnTo>
                      <a:pt x="331982" y="38183"/>
                    </a:lnTo>
                    <a:lnTo>
                      <a:pt x="331830" y="37123"/>
                    </a:lnTo>
                    <a:lnTo>
                      <a:pt x="330618" y="36213"/>
                    </a:lnTo>
                    <a:lnTo>
                      <a:pt x="330012" y="34092"/>
                    </a:lnTo>
                    <a:lnTo>
                      <a:pt x="330012" y="31819"/>
                    </a:lnTo>
                    <a:lnTo>
                      <a:pt x="329709" y="29243"/>
                    </a:lnTo>
                    <a:lnTo>
                      <a:pt x="328194" y="27274"/>
                    </a:lnTo>
                    <a:lnTo>
                      <a:pt x="327285" y="25910"/>
                    </a:lnTo>
                    <a:lnTo>
                      <a:pt x="327436" y="24698"/>
                    </a:lnTo>
                    <a:lnTo>
                      <a:pt x="330618" y="24243"/>
                    </a:lnTo>
                    <a:lnTo>
                      <a:pt x="334406" y="23334"/>
                    </a:lnTo>
                    <a:lnTo>
                      <a:pt x="335012" y="22425"/>
                    </a:lnTo>
                    <a:lnTo>
                      <a:pt x="334861" y="21061"/>
                    </a:lnTo>
                    <a:lnTo>
                      <a:pt x="327133" y="13788"/>
                    </a:lnTo>
                    <a:lnTo>
                      <a:pt x="324406" y="7273"/>
                    </a:lnTo>
                    <a:lnTo>
                      <a:pt x="321830" y="3788"/>
                    </a:lnTo>
                    <a:lnTo>
                      <a:pt x="318951" y="1364"/>
                    </a:lnTo>
                    <a:lnTo>
                      <a:pt x="316678" y="303"/>
                    </a:lnTo>
                    <a:lnTo>
                      <a:pt x="313345" y="758"/>
                    </a:lnTo>
                    <a:lnTo>
                      <a:pt x="308951" y="758"/>
                    </a:lnTo>
                    <a:lnTo>
                      <a:pt x="304405" y="0"/>
                    </a:lnTo>
                    <a:lnTo>
                      <a:pt x="300617" y="455"/>
                    </a:lnTo>
                    <a:lnTo>
                      <a:pt x="293799" y="3485"/>
                    </a:lnTo>
                    <a:lnTo>
                      <a:pt x="291223" y="3636"/>
                    </a:lnTo>
                    <a:lnTo>
                      <a:pt x="286829" y="2727"/>
                    </a:lnTo>
                    <a:lnTo>
                      <a:pt x="283041" y="1667"/>
                    </a:lnTo>
                    <a:lnTo>
                      <a:pt x="281071" y="1667"/>
                    </a:lnTo>
                    <a:lnTo>
                      <a:pt x="279859" y="2121"/>
                    </a:lnTo>
                    <a:lnTo>
                      <a:pt x="279101" y="2879"/>
                    </a:lnTo>
                    <a:lnTo>
                      <a:pt x="276980" y="8637"/>
                    </a:lnTo>
                    <a:lnTo>
                      <a:pt x="275161" y="9849"/>
                    </a:lnTo>
                    <a:lnTo>
                      <a:pt x="272586" y="11061"/>
                    </a:lnTo>
                    <a:lnTo>
                      <a:pt x="270313" y="11212"/>
                    </a:lnTo>
                    <a:lnTo>
                      <a:pt x="268495" y="11212"/>
                    </a:lnTo>
                    <a:lnTo>
                      <a:pt x="265767" y="10303"/>
                    </a:lnTo>
                    <a:lnTo>
                      <a:pt x="263192" y="9243"/>
                    </a:lnTo>
                    <a:lnTo>
                      <a:pt x="262737" y="9243"/>
                    </a:lnTo>
                    <a:lnTo>
                      <a:pt x="257585" y="8940"/>
                    </a:lnTo>
                    <a:lnTo>
                      <a:pt x="251373" y="9091"/>
                    </a:lnTo>
                    <a:lnTo>
                      <a:pt x="247888" y="11061"/>
                    </a:lnTo>
                    <a:lnTo>
                      <a:pt x="246524" y="10606"/>
                    </a:lnTo>
                    <a:lnTo>
                      <a:pt x="244100" y="10152"/>
                    </a:lnTo>
                    <a:lnTo>
                      <a:pt x="241372" y="11212"/>
                    </a:lnTo>
                    <a:lnTo>
                      <a:pt x="237736" y="14546"/>
                    </a:lnTo>
                    <a:lnTo>
                      <a:pt x="235312" y="16667"/>
                    </a:lnTo>
                    <a:lnTo>
                      <a:pt x="232887" y="19698"/>
                    </a:lnTo>
                    <a:lnTo>
                      <a:pt x="232129" y="21364"/>
                    </a:lnTo>
                    <a:lnTo>
                      <a:pt x="230615" y="24395"/>
                    </a:lnTo>
                    <a:lnTo>
                      <a:pt x="229251" y="27728"/>
                    </a:lnTo>
                    <a:lnTo>
                      <a:pt x="230008" y="30153"/>
                    </a:lnTo>
                    <a:lnTo>
                      <a:pt x="231220" y="32274"/>
                    </a:lnTo>
                    <a:lnTo>
                      <a:pt x="231524" y="34698"/>
                    </a:lnTo>
                    <a:lnTo>
                      <a:pt x="232129" y="36516"/>
                    </a:lnTo>
                    <a:lnTo>
                      <a:pt x="230615" y="37880"/>
                    </a:lnTo>
                    <a:lnTo>
                      <a:pt x="229705" y="39850"/>
                    </a:lnTo>
                    <a:lnTo>
                      <a:pt x="227129" y="39547"/>
                    </a:lnTo>
                    <a:lnTo>
                      <a:pt x="223948" y="37729"/>
                    </a:lnTo>
                    <a:lnTo>
                      <a:pt x="223341" y="35001"/>
                    </a:lnTo>
                    <a:lnTo>
                      <a:pt x="220917" y="33183"/>
                    </a:lnTo>
                    <a:lnTo>
                      <a:pt x="219251" y="32274"/>
                    </a:lnTo>
                    <a:lnTo>
                      <a:pt x="216523" y="32122"/>
                    </a:lnTo>
                    <a:lnTo>
                      <a:pt x="212280" y="33032"/>
                    </a:lnTo>
                    <a:lnTo>
                      <a:pt x="206674" y="33638"/>
                    </a:lnTo>
                    <a:lnTo>
                      <a:pt x="202432" y="33789"/>
                    </a:lnTo>
                    <a:lnTo>
                      <a:pt x="200159" y="34698"/>
                    </a:lnTo>
                    <a:lnTo>
                      <a:pt x="196825" y="35607"/>
                    </a:lnTo>
                    <a:lnTo>
                      <a:pt x="195462" y="34547"/>
                    </a:lnTo>
                    <a:lnTo>
                      <a:pt x="193644" y="31516"/>
                    </a:lnTo>
                    <a:lnTo>
                      <a:pt x="192128" y="28486"/>
                    </a:lnTo>
                    <a:lnTo>
                      <a:pt x="191067" y="27122"/>
                    </a:lnTo>
                    <a:lnTo>
                      <a:pt x="190158" y="26819"/>
                    </a:lnTo>
                    <a:lnTo>
                      <a:pt x="189098" y="26971"/>
                    </a:lnTo>
                    <a:lnTo>
                      <a:pt x="187734" y="27880"/>
                    </a:lnTo>
                    <a:lnTo>
                      <a:pt x="186825" y="28940"/>
                    </a:lnTo>
                    <a:lnTo>
                      <a:pt x="185461" y="29243"/>
                    </a:lnTo>
                    <a:lnTo>
                      <a:pt x="183340" y="30001"/>
                    </a:lnTo>
                    <a:lnTo>
                      <a:pt x="181825" y="31062"/>
                    </a:lnTo>
                    <a:lnTo>
                      <a:pt x="180158" y="33789"/>
                    </a:lnTo>
                    <a:lnTo>
                      <a:pt x="179097" y="33638"/>
                    </a:lnTo>
                    <a:lnTo>
                      <a:pt x="177885" y="33032"/>
                    </a:lnTo>
                    <a:lnTo>
                      <a:pt x="176522" y="29850"/>
                    </a:lnTo>
                    <a:lnTo>
                      <a:pt x="174703" y="29092"/>
                    </a:lnTo>
                    <a:lnTo>
                      <a:pt x="171825" y="29092"/>
                    </a:lnTo>
                    <a:lnTo>
                      <a:pt x="168188" y="28486"/>
                    </a:lnTo>
                    <a:lnTo>
                      <a:pt x="165309" y="27577"/>
                    </a:lnTo>
                    <a:lnTo>
                      <a:pt x="164248" y="27728"/>
                    </a:lnTo>
                    <a:lnTo>
                      <a:pt x="162430" y="29092"/>
                    </a:lnTo>
                    <a:lnTo>
                      <a:pt x="160460" y="29243"/>
                    </a:lnTo>
                    <a:lnTo>
                      <a:pt x="156369" y="28031"/>
                    </a:lnTo>
                    <a:lnTo>
                      <a:pt x="155612" y="28637"/>
                    </a:lnTo>
                    <a:lnTo>
                      <a:pt x="154551" y="30456"/>
                    </a:lnTo>
                    <a:lnTo>
                      <a:pt x="153187" y="32122"/>
                    </a:lnTo>
                    <a:lnTo>
                      <a:pt x="152127" y="32274"/>
                    </a:lnTo>
                    <a:lnTo>
                      <a:pt x="151521" y="31819"/>
                    </a:lnTo>
                    <a:lnTo>
                      <a:pt x="151824" y="28789"/>
                    </a:lnTo>
                    <a:lnTo>
                      <a:pt x="149399" y="27728"/>
                    </a:lnTo>
                    <a:lnTo>
                      <a:pt x="145308" y="27577"/>
                    </a:lnTo>
                    <a:lnTo>
                      <a:pt x="142429" y="28031"/>
                    </a:lnTo>
                    <a:lnTo>
                      <a:pt x="141066" y="27880"/>
                    </a:lnTo>
                    <a:lnTo>
                      <a:pt x="140308" y="27274"/>
                    </a:lnTo>
                    <a:lnTo>
                      <a:pt x="136823" y="22274"/>
                    </a:lnTo>
                    <a:lnTo>
                      <a:pt x="135005" y="21970"/>
                    </a:lnTo>
                    <a:lnTo>
                      <a:pt x="131672" y="22274"/>
                    </a:lnTo>
                    <a:lnTo>
                      <a:pt x="126823" y="21667"/>
                    </a:lnTo>
                    <a:lnTo>
                      <a:pt x="121217" y="20455"/>
                    </a:lnTo>
                    <a:lnTo>
                      <a:pt x="118186" y="20001"/>
                    </a:lnTo>
                    <a:lnTo>
                      <a:pt x="116520" y="18940"/>
                    </a:lnTo>
                    <a:lnTo>
                      <a:pt x="113034" y="18486"/>
                    </a:lnTo>
                    <a:lnTo>
                      <a:pt x="103640" y="16364"/>
                    </a:lnTo>
                    <a:lnTo>
                      <a:pt x="99852" y="16061"/>
                    </a:lnTo>
                    <a:lnTo>
                      <a:pt x="94246" y="16061"/>
                    </a:lnTo>
                    <a:lnTo>
                      <a:pt x="85609" y="15607"/>
                    </a:lnTo>
                    <a:lnTo>
                      <a:pt x="80154" y="15910"/>
                    </a:lnTo>
                    <a:lnTo>
                      <a:pt x="77579" y="16667"/>
                    </a:lnTo>
                    <a:lnTo>
                      <a:pt x="74700" y="17122"/>
                    </a:lnTo>
                    <a:lnTo>
                      <a:pt x="69699" y="17576"/>
                    </a:lnTo>
                    <a:lnTo>
                      <a:pt x="67730" y="17576"/>
                    </a:lnTo>
                    <a:lnTo>
                      <a:pt x="64548" y="17879"/>
                    </a:lnTo>
                    <a:lnTo>
                      <a:pt x="60911" y="18486"/>
                    </a:lnTo>
                    <a:lnTo>
                      <a:pt x="59850" y="19546"/>
                    </a:lnTo>
                    <a:lnTo>
                      <a:pt x="58638" y="21819"/>
                    </a:lnTo>
                    <a:lnTo>
                      <a:pt x="54396" y="25758"/>
                    </a:lnTo>
                    <a:lnTo>
                      <a:pt x="50305" y="28486"/>
                    </a:lnTo>
                    <a:lnTo>
                      <a:pt x="49547" y="28637"/>
                    </a:lnTo>
                    <a:lnTo>
                      <a:pt x="47123" y="27274"/>
                    </a:lnTo>
                    <a:lnTo>
                      <a:pt x="45153" y="26819"/>
                    </a:lnTo>
                    <a:lnTo>
                      <a:pt x="42880" y="26668"/>
                    </a:lnTo>
                    <a:lnTo>
                      <a:pt x="41214" y="27122"/>
                    </a:lnTo>
                    <a:lnTo>
                      <a:pt x="40153" y="27728"/>
                    </a:lnTo>
                    <a:lnTo>
                      <a:pt x="40304" y="30759"/>
                    </a:lnTo>
                    <a:lnTo>
                      <a:pt x="40001" y="31062"/>
                    </a:lnTo>
                    <a:lnTo>
                      <a:pt x="41517" y="33638"/>
                    </a:lnTo>
                    <a:lnTo>
                      <a:pt x="42123" y="35607"/>
                    </a:lnTo>
                    <a:lnTo>
                      <a:pt x="41517" y="37123"/>
                    </a:lnTo>
                    <a:lnTo>
                      <a:pt x="41668" y="38638"/>
                    </a:lnTo>
                    <a:lnTo>
                      <a:pt x="43032" y="40304"/>
                    </a:lnTo>
                    <a:lnTo>
                      <a:pt x="47123" y="45305"/>
                    </a:lnTo>
                    <a:lnTo>
                      <a:pt x="49093" y="50153"/>
                    </a:lnTo>
                    <a:lnTo>
                      <a:pt x="50456" y="51972"/>
                    </a:lnTo>
                    <a:lnTo>
                      <a:pt x="53487" y="54396"/>
                    </a:lnTo>
                    <a:lnTo>
                      <a:pt x="53790" y="55457"/>
                    </a:lnTo>
                    <a:lnTo>
                      <a:pt x="52578" y="56366"/>
                    </a:lnTo>
                    <a:lnTo>
                      <a:pt x="51668" y="56517"/>
                    </a:lnTo>
                    <a:lnTo>
                      <a:pt x="50911" y="56820"/>
                    </a:lnTo>
                    <a:lnTo>
                      <a:pt x="50456" y="57729"/>
                    </a:lnTo>
                    <a:lnTo>
                      <a:pt x="51214" y="58639"/>
                    </a:lnTo>
                    <a:lnTo>
                      <a:pt x="52274" y="60002"/>
                    </a:lnTo>
                    <a:lnTo>
                      <a:pt x="53638" y="63790"/>
                    </a:lnTo>
                    <a:lnTo>
                      <a:pt x="53487" y="66972"/>
                    </a:lnTo>
                    <a:lnTo>
                      <a:pt x="52426" y="67730"/>
                    </a:lnTo>
                    <a:lnTo>
                      <a:pt x="51062" y="69548"/>
                    </a:lnTo>
                    <a:lnTo>
                      <a:pt x="50153" y="71215"/>
                    </a:lnTo>
                    <a:lnTo>
                      <a:pt x="43032" y="72427"/>
                    </a:lnTo>
                    <a:lnTo>
                      <a:pt x="41365" y="74245"/>
                    </a:lnTo>
                    <a:lnTo>
                      <a:pt x="37426" y="77730"/>
                    </a:lnTo>
                    <a:lnTo>
                      <a:pt x="34698" y="79700"/>
                    </a:lnTo>
                    <a:lnTo>
                      <a:pt x="30759" y="83336"/>
                    </a:lnTo>
                    <a:lnTo>
                      <a:pt x="24546" y="89549"/>
                    </a:lnTo>
                    <a:lnTo>
                      <a:pt x="22274" y="92125"/>
                    </a:lnTo>
                    <a:lnTo>
                      <a:pt x="20607" y="94246"/>
                    </a:lnTo>
                    <a:lnTo>
                      <a:pt x="15607" y="100004"/>
                    </a:lnTo>
                    <a:lnTo>
                      <a:pt x="14091" y="102428"/>
                    </a:lnTo>
                    <a:lnTo>
                      <a:pt x="14394" y="104398"/>
                    </a:lnTo>
                    <a:lnTo>
                      <a:pt x="16061" y="108943"/>
                    </a:lnTo>
                    <a:lnTo>
                      <a:pt x="16364" y="111065"/>
                    </a:lnTo>
                    <a:lnTo>
                      <a:pt x="16061" y="113034"/>
                    </a:lnTo>
                    <a:lnTo>
                      <a:pt x="15455" y="114701"/>
                    </a:lnTo>
                    <a:lnTo>
                      <a:pt x="15607" y="115459"/>
                    </a:lnTo>
                    <a:lnTo>
                      <a:pt x="17121" y="116671"/>
                    </a:lnTo>
                    <a:lnTo>
                      <a:pt x="19546" y="118641"/>
                    </a:lnTo>
                    <a:lnTo>
                      <a:pt x="19698" y="119247"/>
                    </a:lnTo>
                    <a:lnTo>
                      <a:pt x="19395" y="120156"/>
                    </a:lnTo>
                    <a:lnTo>
                      <a:pt x="18637" y="120762"/>
                    </a:lnTo>
                    <a:lnTo>
                      <a:pt x="15607" y="120156"/>
                    </a:lnTo>
                    <a:lnTo>
                      <a:pt x="12273" y="118792"/>
                    </a:lnTo>
                    <a:lnTo>
                      <a:pt x="11212" y="118944"/>
                    </a:lnTo>
                    <a:lnTo>
                      <a:pt x="10758" y="120459"/>
                    </a:lnTo>
                    <a:lnTo>
                      <a:pt x="9697" y="122126"/>
                    </a:lnTo>
                    <a:lnTo>
                      <a:pt x="8333" y="123944"/>
                    </a:lnTo>
                    <a:lnTo>
                      <a:pt x="7121" y="126065"/>
                    </a:lnTo>
                    <a:lnTo>
                      <a:pt x="5606" y="130611"/>
                    </a:lnTo>
                    <a:lnTo>
                      <a:pt x="4545" y="132732"/>
                    </a:lnTo>
                    <a:lnTo>
                      <a:pt x="303" y="136823"/>
                    </a:lnTo>
                    <a:lnTo>
                      <a:pt x="0" y="142581"/>
                    </a:lnTo>
                    <a:lnTo>
                      <a:pt x="2576" y="142278"/>
                    </a:lnTo>
                    <a:lnTo>
                      <a:pt x="2727" y="142278"/>
                    </a:lnTo>
                    <a:lnTo>
                      <a:pt x="3333" y="142429"/>
                    </a:lnTo>
                    <a:lnTo>
                      <a:pt x="3788" y="144096"/>
                    </a:lnTo>
                    <a:lnTo>
                      <a:pt x="3788" y="144248"/>
                    </a:lnTo>
                    <a:lnTo>
                      <a:pt x="4394" y="145308"/>
                    </a:lnTo>
                    <a:lnTo>
                      <a:pt x="5000" y="146672"/>
                    </a:lnTo>
                    <a:lnTo>
                      <a:pt x="5909" y="147733"/>
                    </a:lnTo>
                    <a:lnTo>
                      <a:pt x="7879" y="148187"/>
                    </a:lnTo>
                    <a:lnTo>
                      <a:pt x="10455" y="149551"/>
                    </a:lnTo>
                    <a:lnTo>
                      <a:pt x="12121" y="151975"/>
                    </a:lnTo>
                    <a:lnTo>
                      <a:pt x="14698" y="153036"/>
                    </a:lnTo>
                    <a:lnTo>
                      <a:pt x="14849" y="153036"/>
                    </a:lnTo>
                    <a:lnTo>
                      <a:pt x="15303" y="152884"/>
                    </a:lnTo>
                    <a:lnTo>
                      <a:pt x="17121" y="152733"/>
                    </a:lnTo>
                    <a:lnTo>
                      <a:pt x="17425" y="153187"/>
                    </a:lnTo>
                    <a:lnTo>
                      <a:pt x="18940" y="154400"/>
                    </a:lnTo>
                    <a:lnTo>
                      <a:pt x="19546" y="155460"/>
                    </a:lnTo>
                    <a:lnTo>
                      <a:pt x="19243" y="156521"/>
                    </a:lnTo>
                    <a:lnTo>
                      <a:pt x="19546" y="157733"/>
                    </a:lnTo>
                    <a:lnTo>
                      <a:pt x="20152" y="158188"/>
                    </a:lnTo>
                    <a:lnTo>
                      <a:pt x="21213" y="157582"/>
                    </a:lnTo>
                    <a:lnTo>
                      <a:pt x="25152" y="156066"/>
                    </a:lnTo>
                    <a:lnTo>
                      <a:pt x="26213" y="154551"/>
                    </a:lnTo>
                    <a:lnTo>
                      <a:pt x="27576" y="153187"/>
                    </a:lnTo>
                    <a:lnTo>
                      <a:pt x="29243" y="153339"/>
                    </a:lnTo>
                    <a:lnTo>
                      <a:pt x="34850" y="156672"/>
                    </a:lnTo>
                    <a:lnTo>
                      <a:pt x="40910" y="156521"/>
                    </a:lnTo>
                    <a:lnTo>
                      <a:pt x="41971" y="156672"/>
                    </a:lnTo>
                    <a:lnTo>
                      <a:pt x="42274" y="156672"/>
                    </a:lnTo>
                    <a:lnTo>
                      <a:pt x="43032" y="156975"/>
                    </a:lnTo>
                    <a:lnTo>
                      <a:pt x="51062" y="158642"/>
                    </a:lnTo>
                    <a:lnTo>
                      <a:pt x="52274" y="158491"/>
                    </a:lnTo>
                    <a:lnTo>
                      <a:pt x="52578" y="158339"/>
                    </a:lnTo>
                    <a:lnTo>
                      <a:pt x="55760" y="159703"/>
                    </a:lnTo>
                    <a:lnTo>
                      <a:pt x="58638" y="159551"/>
                    </a:lnTo>
                    <a:lnTo>
                      <a:pt x="61366" y="158642"/>
                    </a:lnTo>
                    <a:lnTo>
                      <a:pt x="64245" y="158339"/>
                    </a:lnTo>
                    <a:lnTo>
                      <a:pt x="66820" y="158945"/>
                    </a:lnTo>
                    <a:lnTo>
                      <a:pt x="68790" y="160915"/>
                    </a:lnTo>
                    <a:lnTo>
                      <a:pt x="73942" y="165006"/>
                    </a:lnTo>
                    <a:lnTo>
                      <a:pt x="75457" y="166521"/>
                    </a:lnTo>
                    <a:lnTo>
                      <a:pt x="77730" y="166370"/>
                    </a:lnTo>
                    <a:lnTo>
                      <a:pt x="80306" y="165612"/>
                    </a:lnTo>
                    <a:lnTo>
                      <a:pt x="82882" y="162885"/>
                    </a:lnTo>
                    <a:lnTo>
                      <a:pt x="90912" y="159854"/>
                    </a:lnTo>
                    <a:lnTo>
                      <a:pt x="97124" y="159097"/>
                    </a:lnTo>
                    <a:lnTo>
                      <a:pt x="103186" y="157885"/>
                    </a:lnTo>
                    <a:lnTo>
                      <a:pt x="110155" y="156975"/>
                    </a:lnTo>
                    <a:lnTo>
                      <a:pt x="112125" y="154400"/>
                    </a:lnTo>
                    <a:lnTo>
                      <a:pt x="113186" y="152733"/>
                    </a:lnTo>
                    <a:lnTo>
                      <a:pt x="113943" y="149551"/>
                    </a:lnTo>
                    <a:lnTo>
                      <a:pt x="117731" y="148642"/>
                    </a:lnTo>
                    <a:lnTo>
                      <a:pt x="121217" y="148036"/>
                    </a:lnTo>
                    <a:lnTo>
                      <a:pt x="122429" y="147581"/>
                    </a:lnTo>
                    <a:lnTo>
                      <a:pt x="123035" y="146369"/>
                    </a:lnTo>
                    <a:lnTo>
                      <a:pt x="128641" y="143187"/>
                    </a:lnTo>
                    <a:lnTo>
                      <a:pt x="130156" y="143793"/>
                    </a:lnTo>
                    <a:lnTo>
                      <a:pt x="133035" y="143945"/>
                    </a:lnTo>
                    <a:lnTo>
                      <a:pt x="139096" y="143793"/>
                    </a:lnTo>
                    <a:lnTo>
                      <a:pt x="142126" y="141672"/>
                    </a:lnTo>
                    <a:lnTo>
                      <a:pt x="143945" y="142278"/>
                    </a:lnTo>
                    <a:lnTo>
                      <a:pt x="145460" y="141369"/>
                    </a:lnTo>
                    <a:lnTo>
                      <a:pt x="147884" y="140157"/>
                    </a:lnTo>
                    <a:lnTo>
                      <a:pt x="148187" y="140460"/>
                    </a:lnTo>
                    <a:lnTo>
                      <a:pt x="148490" y="140611"/>
                    </a:lnTo>
                    <a:lnTo>
                      <a:pt x="152278" y="141217"/>
                    </a:lnTo>
                    <a:lnTo>
                      <a:pt x="155157" y="142429"/>
                    </a:lnTo>
                    <a:lnTo>
                      <a:pt x="157127" y="144248"/>
                    </a:lnTo>
                    <a:lnTo>
                      <a:pt x="159097" y="145308"/>
                    </a:lnTo>
                    <a:lnTo>
                      <a:pt x="161218" y="145763"/>
                    </a:lnTo>
                    <a:lnTo>
                      <a:pt x="162430" y="146672"/>
                    </a:lnTo>
                    <a:lnTo>
                      <a:pt x="162733" y="148036"/>
                    </a:lnTo>
                    <a:lnTo>
                      <a:pt x="164703" y="148642"/>
                    </a:lnTo>
                    <a:lnTo>
                      <a:pt x="168339" y="148642"/>
                    </a:lnTo>
                    <a:lnTo>
                      <a:pt x="169855" y="149551"/>
                    </a:lnTo>
                    <a:lnTo>
                      <a:pt x="169248" y="151369"/>
                    </a:lnTo>
                    <a:lnTo>
                      <a:pt x="169552" y="151975"/>
                    </a:lnTo>
                    <a:lnTo>
                      <a:pt x="170764" y="151369"/>
                    </a:lnTo>
                    <a:lnTo>
                      <a:pt x="171673" y="151975"/>
                    </a:lnTo>
                    <a:lnTo>
                      <a:pt x="172127" y="153339"/>
                    </a:lnTo>
                    <a:lnTo>
                      <a:pt x="172734" y="153945"/>
                    </a:lnTo>
                    <a:lnTo>
                      <a:pt x="174552" y="151824"/>
                    </a:lnTo>
                    <a:lnTo>
                      <a:pt x="176522" y="151975"/>
                    </a:lnTo>
                    <a:lnTo>
                      <a:pt x="181219" y="152884"/>
                    </a:lnTo>
                    <a:lnTo>
                      <a:pt x="183794" y="157278"/>
                    </a:lnTo>
                    <a:lnTo>
                      <a:pt x="185310" y="158794"/>
                    </a:lnTo>
                    <a:lnTo>
                      <a:pt x="186673" y="159400"/>
                    </a:lnTo>
                    <a:lnTo>
                      <a:pt x="188340" y="158794"/>
                    </a:lnTo>
                    <a:lnTo>
                      <a:pt x="189856" y="158036"/>
                    </a:lnTo>
                    <a:lnTo>
                      <a:pt x="190765" y="158491"/>
                    </a:lnTo>
                    <a:lnTo>
                      <a:pt x="192734" y="161370"/>
                    </a:lnTo>
                    <a:lnTo>
                      <a:pt x="193189" y="165158"/>
                    </a:lnTo>
                    <a:lnTo>
                      <a:pt x="193189" y="166673"/>
                    </a:lnTo>
                    <a:lnTo>
                      <a:pt x="192583" y="169249"/>
                    </a:lnTo>
                    <a:lnTo>
                      <a:pt x="191674" y="171976"/>
                    </a:lnTo>
                    <a:lnTo>
                      <a:pt x="190916" y="173794"/>
                    </a:lnTo>
                    <a:lnTo>
                      <a:pt x="191219" y="175158"/>
                    </a:lnTo>
                    <a:lnTo>
                      <a:pt x="191825" y="176370"/>
                    </a:lnTo>
                    <a:lnTo>
                      <a:pt x="192886" y="176825"/>
                    </a:lnTo>
                    <a:lnTo>
                      <a:pt x="196522" y="179249"/>
                    </a:lnTo>
                    <a:lnTo>
                      <a:pt x="197886" y="180916"/>
                    </a:lnTo>
                    <a:lnTo>
                      <a:pt x="199856" y="182128"/>
                    </a:lnTo>
                    <a:lnTo>
                      <a:pt x="201371" y="182128"/>
                    </a:lnTo>
                    <a:lnTo>
                      <a:pt x="202129" y="182885"/>
                    </a:lnTo>
                    <a:lnTo>
                      <a:pt x="202432" y="183795"/>
                    </a:lnTo>
                    <a:lnTo>
                      <a:pt x="202280" y="185916"/>
                    </a:lnTo>
                    <a:lnTo>
                      <a:pt x="201371" y="187886"/>
                    </a:lnTo>
                    <a:lnTo>
                      <a:pt x="201522" y="189098"/>
                    </a:lnTo>
                    <a:lnTo>
                      <a:pt x="202886" y="190613"/>
                    </a:lnTo>
                    <a:lnTo>
                      <a:pt x="203038" y="192431"/>
                    </a:lnTo>
                    <a:lnTo>
                      <a:pt x="203189" y="193492"/>
                    </a:lnTo>
                    <a:lnTo>
                      <a:pt x="203947" y="194401"/>
                    </a:lnTo>
                    <a:lnTo>
                      <a:pt x="207280" y="196371"/>
                    </a:lnTo>
                    <a:lnTo>
                      <a:pt x="211675" y="198189"/>
                    </a:lnTo>
                    <a:lnTo>
                      <a:pt x="212735" y="199856"/>
                    </a:lnTo>
                    <a:lnTo>
                      <a:pt x="213341" y="201826"/>
                    </a:lnTo>
                    <a:lnTo>
                      <a:pt x="213189" y="205159"/>
                    </a:lnTo>
                    <a:lnTo>
                      <a:pt x="212887" y="208189"/>
                    </a:lnTo>
                    <a:lnTo>
                      <a:pt x="218493" y="212129"/>
                    </a:lnTo>
                    <a:lnTo>
                      <a:pt x="217886" y="212886"/>
                    </a:lnTo>
                    <a:lnTo>
                      <a:pt x="216977" y="213644"/>
                    </a:lnTo>
                    <a:lnTo>
                      <a:pt x="211523" y="214250"/>
                    </a:lnTo>
                    <a:lnTo>
                      <a:pt x="210462" y="214553"/>
                    </a:lnTo>
                    <a:lnTo>
                      <a:pt x="208038" y="211523"/>
                    </a:lnTo>
                    <a:lnTo>
                      <a:pt x="206826" y="211220"/>
                    </a:lnTo>
                    <a:lnTo>
                      <a:pt x="205613" y="212281"/>
                    </a:lnTo>
                    <a:lnTo>
                      <a:pt x="204250" y="212886"/>
                    </a:lnTo>
                    <a:lnTo>
                      <a:pt x="202583" y="212583"/>
                    </a:lnTo>
                    <a:lnTo>
                      <a:pt x="200765" y="211674"/>
                    </a:lnTo>
                    <a:lnTo>
                      <a:pt x="199856" y="211068"/>
                    </a:lnTo>
                    <a:lnTo>
                      <a:pt x="199098" y="210917"/>
                    </a:lnTo>
                    <a:lnTo>
                      <a:pt x="198037" y="211523"/>
                    </a:lnTo>
                    <a:lnTo>
                      <a:pt x="196522" y="211220"/>
                    </a:lnTo>
                    <a:lnTo>
                      <a:pt x="195613" y="210462"/>
                    </a:lnTo>
                    <a:lnTo>
                      <a:pt x="194249" y="213038"/>
                    </a:lnTo>
                    <a:lnTo>
                      <a:pt x="193340" y="213644"/>
                    </a:lnTo>
                    <a:lnTo>
                      <a:pt x="192886" y="213493"/>
                    </a:lnTo>
                    <a:lnTo>
                      <a:pt x="192734" y="209250"/>
                    </a:lnTo>
                    <a:lnTo>
                      <a:pt x="192280" y="208644"/>
                    </a:lnTo>
                    <a:lnTo>
                      <a:pt x="191219" y="208492"/>
                    </a:lnTo>
                    <a:lnTo>
                      <a:pt x="188643" y="209553"/>
                    </a:lnTo>
                    <a:lnTo>
                      <a:pt x="186067" y="210917"/>
                    </a:lnTo>
                    <a:lnTo>
                      <a:pt x="185158" y="212129"/>
                    </a:lnTo>
                    <a:lnTo>
                      <a:pt x="185310" y="214250"/>
                    </a:lnTo>
                    <a:lnTo>
                      <a:pt x="185613" y="216826"/>
                    </a:lnTo>
                    <a:lnTo>
                      <a:pt x="187279" y="220614"/>
                    </a:lnTo>
                    <a:lnTo>
                      <a:pt x="186370" y="222281"/>
                    </a:lnTo>
                    <a:lnTo>
                      <a:pt x="185764" y="225008"/>
                    </a:lnTo>
                    <a:lnTo>
                      <a:pt x="183037" y="227433"/>
                    </a:lnTo>
                    <a:lnTo>
                      <a:pt x="180006" y="228796"/>
                    </a:lnTo>
                    <a:lnTo>
                      <a:pt x="179703" y="231675"/>
                    </a:lnTo>
                    <a:lnTo>
                      <a:pt x="178037" y="233645"/>
                    </a:lnTo>
                    <a:lnTo>
                      <a:pt x="175158" y="235615"/>
                    </a:lnTo>
                    <a:lnTo>
                      <a:pt x="173188" y="238039"/>
                    </a:lnTo>
                    <a:lnTo>
                      <a:pt x="173643" y="239706"/>
                    </a:lnTo>
                    <a:lnTo>
                      <a:pt x="173794" y="241221"/>
                    </a:lnTo>
                    <a:lnTo>
                      <a:pt x="173491" y="242282"/>
                    </a:lnTo>
                    <a:lnTo>
                      <a:pt x="173491" y="243039"/>
                    </a:lnTo>
                    <a:lnTo>
                      <a:pt x="172734" y="243342"/>
                    </a:lnTo>
                    <a:lnTo>
                      <a:pt x="168339" y="243645"/>
                    </a:lnTo>
                    <a:lnTo>
                      <a:pt x="167127" y="244100"/>
                    </a:lnTo>
                    <a:lnTo>
                      <a:pt x="165764" y="245160"/>
                    </a:lnTo>
                    <a:lnTo>
                      <a:pt x="168642" y="248645"/>
                    </a:lnTo>
                    <a:lnTo>
                      <a:pt x="172279" y="250464"/>
                    </a:lnTo>
                    <a:lnTo>
                      <a:pt x="180764" y="252433"/>
                    </a:lnTo>
                    <a:lnTo>
                      <a:pt x="181522" y="252130"/>
                    </a:lnTo>
                    <a:lnTo>
                      <a:pt x="181673" y="251827"/>
                    </a:lnTo>
                    <a:lnTo>
                      <a:pt x="181067" y="251373"/>
                    </a:lnTo>
                    <a:lnTo>
                      <a:pt x="180916" y="250767"/>
                    </a:lnTo>
                    <a:lnTo>
                      <a:pt x="181370" y="250009"/>
                    </a:lnTo>
                    <a:lnTo>
                      <a:pt x="182582" y="250009"/>
                    </a:lnTo>
                    <a:lnTo>
                      <a:pt x="184552" y="250767"/>
                    </a:lnTo>
                    <a:lnTo>
                      <a:pt x="188189" y="249706"/>
                    </a:lnTo>
                    <a:lnTo>
                      <a:pt x="193492" y="246979"/>
                    </a:lnTo>
                    <a:lnTo>
                      <a:pt x="198492" y="246373"/>
                    </a:lnTo>
                    <a:lnTo>
                      <a:pt x="203038" y="248039"/>
                    </a:lnTo>
                    <a:lnTo>
                      <a:pt x="205310" y="250009"/>
                    </a:lnTo>
                    <a:lnTo>
                      <a:pt x="206826" y="251827"/>
                    </a:lnTo>
                    <a:lnTo>
                      <a:pt x="207432" y="248948"/>
                    </a:lnTo>
                    <a:lnTo>
                      <a:pt x="205917" y="242282"/>
                    </a:lnTo>
                    <a:lnTo>
                      <a:pt x="204099" y="240312"/>
                    </a:lnTo>
                    <a:lnTo>
                      <a:pt x="204099" y="237433"/>
                    </a:lnTo>
                    <a:lnTo>
                      <a:pt x="204856" y="236069"/>
                    </a:lnTo>
                    <a:lnTo>
                      <a:pt x="206371" y="235009"/>
                    </a:lnTo>
                    <a:lnTo>
                      <a:pt x="210159" y="235766"/>
                    </a:lnTo>
                    <a:lnTo>
                      <a:pt x="212432" y="235009"/>
                    </a:lnTo>
                    <a:lnTo>
                      <a:pt x="215311" y="233493"/>
                    </a:lnTo>
                    <a:lnTo>
                      <a:pt x="220160" y="231675"/>
                    </a:lnTo>
                    <a:lnTo>
                      <a:pt x="221069" y="231069"/>
                    </a:lnTo>
                    <a:lnTo>
                      <a:pt x="228493" y="223493"/>
                    </a:lnTo>
                    <a:lnTo>
                      <a:pt x="228948" y="223038"/>
                    </a:lnTo>
                    <a:lnTo>
                      <a:pt x="232887" y="217584"/>
                    </a:lnTo>
                    <a:lnTo>
                      <a:pt x="233342" y="216372"/>
                    </a:lnTo>
                    <a:lnTo>
                      <a:pt x="234706" y="214250"/>
                    </a:lnTo>
                    <a:lnTo>
                      <a:pt x="236069" y="210614"/>
                    </a:lnTo>
                    <a:lnTo>
                      <a:pt x="236675" y="207886"/>
                    </a:lnTo>
                    <a:lnTo>
                      <a:pt x="245918" y="205462"/>
                    </a:lnTo>
                    <a:lnTo>
                      <a:pt x="250918" y="205917"/>
                    </a:lnTo>
                    <a:lnTo>
                      <a:pt x="253191" y="205310"/>
                    </a:lnTo>
                    <a:lnTo>
                      <a:pt x="255767" y="201522"/>
                    </a:lnTo>
                    <a:lnTo>
                      <a:pt x="257585" y="200159"/>
                    </a:lnTo>
                    <a:lnTo>
                      <a:pt x="256676" y="204098"/>
                    </a:lnTo>
                    <a:lnTo>
                      <a:pt x="260161" y="204856"/>
                    </a:lnTo>
                    <a:lnTo>
                      <a:pt x="263494" y="205159"/>
                    </a:lnTo>
                    <a:lnTo>
                      <a:pt x="266070" y="204553"/>
                    </a:lnTo>
                    <a:lnTo>
                      <a:pt x="266828" y="202129"/>
                    </a:lnTo>
                    <a:lnTo>
                      <a:pt x="267131" y="195159"/>
                    </a:lnTo>
                    <a:lnTo>
                      <a:pt x="265919" y="192431"/>
                    </a:lnTo>
                    <a:lnTo>
                      <a:pt x="265161" y="189552"/>
                    </a:lnTo>
                    <a:lnTo>
                      <a:pt x="263040" y="185158"/>
                    </a:lnTo>
                    <a:lnTo>
                      <a:pt x="265161" y="187128"/>
                    </a:lnTo>
                    <a:lnTo>
                      <a:pt x="265919" y="189249"/>
                    </a:lnTo>
                    <a:lnTo>
                      <a:pt x="268040" y="193189"/>
                    </a:lnTo>
                    <a:lnTo>
                      <a:pt x="268646" y="197583"/>
                    </a:lnTo>
                    <a:lnTo>
                      <a:pt x="268191" y="200007"/>
                    </a:lnTo>
                    <a:lnTo>
                      <a:pt x="268949" y="202583"/>
                    </a:lnTo>
                    <a:lnTo>
                      <a:pt x="270919" y="204856"/>
                    </a:lnTo>
                    <a:lnTo>
                      <a:pt x="273192" y="206371"/>
                    </a:lnTo>
                    <a:lnTo>
                      <a:pt x="279404" y="207432"/>
                    </a:lnTo>
                    <a:lnTo>
                      <a:pt x="285465" y="205614"/>
                    </a:lnTo>
                    <a:lnTo>
                      <a:pt x="284707" y="206371"/>
                    </a:lnTo>
                    <a:lnTo>
                      <a:pt x="281071" y="208947"/>
                    </a:lnTo>
                    <a:lnTo>
                      <a:pt x="279556" y="210462"/>
                    </a:lnTo>
                    <a:lnTo>
                      <a:pt x="273192" y="209250"/>
                    </a:lnTo>
                    <a:lnTo>
                      <a:pt x="266222" y="208795"/>
                    </a:lnTo>
                    <a:lnTo>
                      <a:pt x="261828" y="207583"/>
                    </a:lnTo>
                    <a:lnTo>
                      <a:pt x="257434" y="207583"/>
                    </a:lnTo>
                    <a:lnTo>
                      <a:pt x="259252" y="209098"/>
                    </a:lnTo>
                    <a:lnTo>
                      <a:pt x="261676" y="210462"/>
                    </a:lnTo>
                    <a:lnTo>
                      <a:pt x="265616" y="210765"/>
                    </a:lnTo>
                    <a:lnTo>
                      <a:pt x="269858" y="211826"/>
                    </a:lnTo>
                    <a:lnTo>
                      <a:pt x="270010" y="213341"/>
                    </a:lnTo>
                    <a:lnTo>
                      <a:pt x="269404" y="214099"/>
                    </a:lnTo>
                    <a:lnTo>
                      <a:pt x="267282" y="214705"/>
                    </a:lnTo>
                    <a:lnTo>
                      <a:pt x="265313" y="214856"/>
                    </a:lnTo>
                    <a:lnTo>
                      <a:pt x="263646" y="215614"/>
                    </a:lnTo>
                    <a:lnTo>
                      <a:pt x="265010" y="217129"/>
                    </a:lnTo>
                    <a:lnTo>
                      <a:pt x="267585" y="216978"/>
                    </a:lnTo>
                    <a:lnTo>
                      <a:pt x="270616" y="217887"/>
                    </a:lnTo>
                    <a:lnTo>
                      <a:pt x="278646" y="222281"/>
                    </a:lnTo>
                    <a:lnTo>
                      <a:pt x="282737" y="223948"/>
                    </a:lnTo>
                    <a:lnTo>
                      <a:pt x="291526" y="222281"/>
                    </a:lnTo>
                    <a:lnTo>
                      <a:pt x="295466" y="222584"/>
                    </a:lnTo>
                    <a:lnTo>
                      <a:pt x="302587" y="220766"/>
                    </a:lnTo>
                    <a:lnTo>
                      <a:pt x="304254" y="222432"/>
                    </a:lnTo>
                    <a:lnTo>
                      <a:pt x="308799" y="224705"/>
                    </a:lnTo>
                    <a:lnTo>
                      <a:pt x="310618" y="223948"/>
                    </a:lnTo>
                    <a:lnTo>
                      <a:pt x="313193" y="223341"/>
                    </a:lnTo>
                    <a:lnTo>
                      <a:pt x="314406" y="225463"/>
                    </a:lnTo>
                    <a:lnTo>
                      <a:pt x="315163" y="228342"/>
                    </a:lnTo>
                    <a:lnTo>
                      <a:pt x="309709" y="232130"/>
                    </a:lnTo>
                    <a:lnTo>
                      <a:pt x="304556" y="234554"/>
                    </a:lnTo>
                    <a:lnTo>
                      <a:pt x="300768" y="235160"/>
                    </a:lnTo>
                    <a:lnTo>
                      <a:pt x="292132" y="240463"/>
                    </a:lnTo>
                    <a:lnTo>
                      <a:pt x="283344" y="246827"/>
                    </a:lnTo>
                    <a:lnTo>
                      <a:pt x="284556" y="248645"/>
                    </a:lnTo>
                    <a:lnTo>
                      <a:pt x="286223" y="249403"/>
                    </a:lnTo>
                    <a:lnTo>
                      <a:pt x="290617" y="248342"/>
                    </a:lnTo>
                    <a:lnTo>
                      <a:pt x="294556" y="248645"/>
                    </a:lnTo>
                    <a:lnTo>
                      <a:pt x="301829" y="253797"/>
                    </a:lnTo>
                    <a:lnTo>
                      <a:pt x="303799" y="254555"/>
                    </a:lnTo>
                    <a:lnTo>
                      <a:pt x="307435" y="253949"/>
                    </a:lnTo>
                    <a:lnTo>
                      <a:pt x="311830" y="256979"/>
                    </a:lnTo>
                    <a:lnTo>
                      <a:pt x="313042" y="260919"/>
                    </a:lnTo>
                    <a:lnTo>
                      <a:pt x="313345" y="263343"/>
                    </a:lnTo>
                    <a:lnTo>
                      <a:pt x="311072" y="271070"/>
                    </a:lnTo>
                    <a:lnTo>
                      <a:pt x="310011" y="273192"/>
                    </a:lnTo>
                    <a:lnTo>
                      <a:pt x="309253" y="273949"/>
                    </a:lnTo>
                    <a:lnTo>
                      <a:pt x="308951" y="275465"/>
                    </a:lnTo>
                    <a:lnTo>
                      <a:pt x="314557" y="279556"/>
                    </a:lnTo>
                    <a:lnTo>
                      <a:pt x="317285" y="280768"/>
                    </a:lnTo>
                    <a:lnTo>
                      <a:pt x="321527" y="281222"/>
                    </a:lnTo>
                    <a:lnTo>
                      <a:pt x="326073" y="280010"/>
                    </a:lnTo>
                    <a:lnTo>
                      <a:pt x="331679" y="276222"/>
                    </a:lnTo>
                    <a:lnTo>
                      <a:pt x="336830" y="270010"/>
                    </a:lnTo>
                    <a:lnTo>
                      <a:pt x="343649" y="267131"/>
                    </a:lnTo>
                    <a:lnTo>
                      <a:pt x="348346" y="266525"/>
                    </a:lnTo>
                    <a:lnTo>
                      <a:pt x="353801" y="267282"/>
                    </a:lnTo>
                    <a:lnTo>
                      <a:pt x="355619" y="264101"/>
                    </a:lnTo>
                    <a:lnTo>
                      <a:pt x="361225" y="261373"/>
                    </a:lnTo>
                    <a:lnTo>
                      <a:pt x="364407" y="257282"/>
                    </a:lnTo>
                    <a:lnTo>
                      <a:pt x="367135" y="256525"/>
                    </a:lnTo>
                    <a:lnTo>
                      <a:pt x="370165" y="257131"/>
                    </a:lnTo>
                    <a:lnTo>
                      <a:pt x="372438" y="258191"/>
                    </a:lnTo>
                    <a:lnTo>
                      <a:pt x="373650" y="259252"/>
                    </a:lnTo>
                    <a:lnTo>
                      <a:pt x="375468" y="260464"/>
                    </a:lnTo>
                    <a:lnTo>
                      <a:pt x="380468" y="259555"/>
                    </a:lnTo>
                    <a:lnTo>
                      <a:pt x="385317" y="259706"/>
                    </a:lnTo>
                    <a:lnTo>
                      <a:pt x="389863" y="258343"/>
                    </a:lnTo>
                    <a:lnTo>
                      <a:pt x="390772" y="255312"/>
                    </a:lnTo>
                    <a:lnTo>
                      <a:pt x="391378" y="252585"/>
                    </a:lnTo>
                    <a:lnTo>
                      <a:pt x="393045" y="250161"/>
                    </a:lnTo>
                    <a:lnTo>
                      <a:pt x="394711" y="247130"/>
                    </a:lnTo>
                    <a:lnTo>
                      <a:pt x="390621" y="245767"/>
                    </a:lnTo>
                    <a:lnTo>
                      <a:pt x="386833" y="245009"/>
                    </a:lnTo>
                    <a:lnTo>
                      <a:pt x="383499" y="245160"/>
                    </a:lnTo>
                    <a:lnTo>
                      <a:pt x="380923" y="246070"/>
                    </a:lnTo>
                    <a:lnTo>
                      <a:pt x="379105" y="247888"/>
                    </a:lnTo>
                    <a:lnTo>
                      <a:pt x="374256" y="246827"/>
                    </a:lnTo>
                    <a:lnTo>
                      <a:pt x="371983" y="247282"/>
                    </a:lnTo>
                    <a:lnTo>
                      <a:pt x="366680" y="250009"/>
                    </a:lnTo>
                    <a:lnTo>
                      <a:pt x="363953" y="249858"/>
                    </a:lnTo>
                    <a:lnTo>
                      <a:pt x="361680" y="248645"/>
                    </a:lnTo>
                    <a:lnTo>
                      <a:pt x="358498" y="245463"/>
                    </a:lnTo>
                    <a:lnTo>
                      <a:pt x="351982" y="236827"/>
                    </a:lnTo>
                    <a:lnTo>
                      <a:pt x="348801" y="230766"/>
                    </a:lnTo>
                    <a:lnTo>
                      <a:pt x="347437" y="227129"/>
                    </a:lnTo>
                    <a:lnTo>
                      <a:pt x="347134" y="224251"/>
                    </a:lnTo>
                    <a:lnTo>
                      <a:pt x="347285" y="220311"/>
                    </a:lnTo>
                    <a:lnTo>
                      <a:pt x="350619" y="218493"/>
                    </a:lnTo>
                    <a:lnTo>
                      <a:pt x="353195" y="217584"/>
                    </a:lnTo>
                    <a:lnTo>
                      <a:pt x="357740" y="211674"/>
                    </a:lnTo>
                    <a:lnTo>
                      <a:pt x="359407" y="214099"/>
                    </a:lnTo>
                    <a:lnTo>
                      <a:pt x="359407" y="216069"/>
                    </a:lnTo>
                    <a:lnTo>
                      <a:pt x="359104" y="217281"/>
                    </a:lnTo>
                    <a:lnTo>
                      <a:pt x="357437" y="218947"/>
                    </a:lnTo>
                    <a:lnTo>
                      <a:pt x="351831" y="223190"/>
                    </a:lnTo>
                    <a:lnTo>
                      <a:pt x="352892" y="223190"/>
                    </a:lnTo>
                    <a:lnTo>
                      <a:pt x="355013" y="222432"/>
                    </a:lnTo>
                    <a:lnTo>
                      <a:pt x="356983" y="220917"/>
                    </a:lnTo>
                    <a:lnTo>
                      <a:pt x="358347" y="219705"/>
                    </a:lnTo>
                    <a:lnTo>
                      <a:pt x="362286" y="213644"/>
                    </a:lnTo>
                    <a:lnTo>
                      <a:pt x="373953" y="205310"/>
                    </a:lnTo>
                    <a:lnTo>
                      <a:pt x="379408" y="203795"/>
                    </a:lnTo>
                    <a:lnTo>
                      <a:pt x="384105" y="204553"/>
                    </a:lnTo>
                    <a:lnTo>
                      <a:pt x="386378" y="204098"/>
                    </a:lnTo>
                    <a:lnTo>
                      <a:pt x="390621" y="201522"/>
                    </a:lnTo>
                    <a:lnTo>
                      <a:pt x="394105" y="200462"/>
                    </a:lnTo>
                    <a:lnTo>
                      <a:pt x="397590" y="200462"/>
                    </a:lnTo>
                    <a:lnTo>
                      <a:pt x="400469" y="202129"/>
                    </a:lnTo>
                    <a:lnTo>
                      <a:pt x="404257" y="198341"/>
                    </a:lnTo>
                    <a:lnTo>
                      <a:pt x="407439" y="196522"/>
                    </a:lnTo>
                    <a:lnTo>
                      <a:pt x="412136" y="195159"/>
                    </a:lnTo>
                    <a:lnTo>
                      <a:pt x="415470" y="195159"/>
                    </a:lnTo>
                    <a:lnTo>
                      <a:pt x="421076" y="189704"/>
                    </a:lnTo>
                    <a:lnTo>
                      <a:pt x="428955" y="188946"/>
                    </a:lnTo>
                    <a:lnTo>
                      <a:pt x="438501" y="189552"/>
                    </a:lnTo>
                    <a:lnTo>
                      <a:pt x="439561" y="189098"/>
                    </a:lnTo>
                    <a:lnTo>
                      <a:pt x="439259" y="187583"/>
                    </a:lnTo>
                    <a:lnTo>
                      <a:pt x="439107" y="186219"/>
                    </a:lnTo>
                    <a:lnTo>
                      <a:pt x="439713" y="184855"/>
                    </a:lnTo>
                    <a:lnTo>
                      <a:pt x="440925" y="183946"/>
                    </a:lnTo>
                    <a:lnTo>
                      <a:pt x="441380" y="183188"/>
                    </a:lnTo>
                    <a:lnTo>
                      <a:pt x="441380" y="182582"/>
                    </a:lnTo>
                    <a:lnTo>
                      <a:pt x="440319" y="182128"/>
                    </a:lnTo>
                    <a:lnTo>
                      <a:pt x="439410" y="181825"/>
                    </a:lnTo>
                    <a:lnTo>
                      <a:pt x="439259" y="180916"/>
                    </a:lnTo>
                    <a:lnTo>
                      <a:pt x="439561" y="180158"/>
                    </a:lnTo>
                    <a:lnTo>
                      <a:pt x="440471" y="179097"/>
                    </a:lnTo>
                    <a:lnTo>
                      <a:pt x="440774" y="177885"/>
                    </a:lnTo>
                    <a:lnTo>
                      <a:pt x="440774" y="175461"/>
                    </a:lnTo>
                    <a:lnTo>
                      <a:pt x="441531" y="172734"/>
                    </a:lnTo>
                    <a:lnTo>
                      <a:pt x="443804" y="170915"/>
                    </a:lnTo>
                    <a:lnTo>
                      <a:pt x="447744" y="170461"/>
                    </a:lnTo>
                    <a:lnTo>
                      <a:pt x="451229" y="168946"/>
                    </a:lnTo>
                    <a:lnTo>
                      <a:pt x="453350" y="167279"/>
                    </a:lnTo>
                    <a:lnTo>
                      <a:pt x="456229" y="163036"/>
                    </a:lnTo>
                    <a:lnTo>
                      <a:pt x="458350" y="162430"/>
                    </a:lnTo>
                    <a:lnTo>
                      <a:pt x="462593" y="162733"/>
                    </a:lnTo>
                    <a:lnTo>
                      <a:pt x="465320" y="163188"/>
                    </a:lnTo>
                    <a:lnTo>
                      <a:pt x="471684" y="163339"/>
                    </a:lnTo>
                    <a:lnTo>
                      <a:pt x="478957" y="163036"/>
                    </a:lnTo>
                    <a:lnTo>
                      <a:pt x="481078" y="162885"/>
                    </a:lnTo>
                    <a:lnTo>
                      <a:pt x="482290" y="161370"/>
                    </a:lnTo>
                    <a:lnTo>
                      <a:pt x="482139" y="158642"/>
                    </a:lnTo>
                    <a:lnTo>
                      <a:pt x="483200" y="156218"/>
                    </a:lnTo>
                    <a:lnTo>
                      <a:pt x="485169" y="151521"/>
                    </a:lnTo>
                    <a:lnTo>
                      <a:pt x="487290" y="149096"/>
                    </a:lnTo>
                    <a:lnTo>
                      <a:pt x="487139" y="148036"/>
                    </a:lnTo>
                    <a:lnTo>
                      <a:pt x="486078" y="147581"/>
                    </a:lnTo>
                    <a:lnTo>
                      <a:pt x="484715" y="147430"/>
                    </a:lnTo>
                    <a:lnTo>
                      <a:pt x="484260" y="146975"/>
                    </a:lnTo>
                    <a:lnTo>
                      <a:pt x="484260" y="145914"/>
                    </a:lnTo>
                    <a:lnTo>
                      <a:pt x="485321" y="144854"/>
                    </a:lnTo>
                    <a:lnTo>
                      <a:pt x="485169" y="142732"/>
                    </a:lnTo>
                    <a:lnTo>
                      <a:pt x="484412" y="140460"/>
                    </a:lnTo>
                    <a:lnTo>
                      <a:pt x="483806" y="138338"/>
                    </a:lnTo>
                    <a:lnTo>
                      <a:pt x="481836" y="137278"/>
                    </a:lnTo>
                    <a:lnTo>
                      <a:pt x="478502" y="136672"/>
                    </a:lnTo>
                    <a:lnTo>
                      <a:pt x="479260" y="134096"/>
                    </a:lnTo>
                    <a:lnTo>
                      <a:pt x="480169" y="131368"/>
                    </a:lnTo>
                    <a:lnTo>
                      <a:pt x="481533" y="129853"/>
                    </a:lnTo>
                    <a:lnTo>
                      <a:pt x="482593" y="128944"/>
                    </a:lnTo>
                    <a:lnTo>
                      <a:pt x="485624" y="129399"/>
                    </a:lnTo>
                    <a:lnTo>
                      <a:pt x="487897" y="128944"/>
                    </a:lnTo>
                    <a:lnTo>
                      <a:pt x="488351" y="128489"/>
                    </a:lnTo>
                    <a:lnTo>
                      <a:pt x="487897" y="127429"/>
                    </a:lnTo>
                    <a:lnTo>
                      <a:pt x="484412" y="126520"/>
                    </a:lnTo>
                    <a:lnTo>
                      <a:pt x="481381" y="125308"/>
                    </a:lnTo>
                    <a:lnTo>
                      <a:pt x="480018" y="123792"/>
                    </a:lnTo>
                    <a:lnTo>
                      <a:pt x="479563" y="122126"/>
                    </a:lnTo>
                    <a:lnTo>
                      <a:pt x="481533" y="121065"/>
                    </a:lnTo>
                    <a:lnTo>
                      <a:pt x="485169" y="120156"/>
                    </a:lnTo>
                    <a:lnTo>
                      <a:pt x="487594" y="117883"/>
                    </a:lnTo>
                    <a:lnTo>
                      <a:pt x="490169" y="115459"/>
                    </a:lnTo>
                    <a:lnTo>
                      <a:pt x="491230" y="113641"/>
                    </a:lnTo>
                    <a:lnTo>
                      <a:pt x="491836" y="111671"/>
                    </a:lnTo>
                    <a:lnTo>
                      <a:pt x="491988" y="1074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2E04BC49-ECBE-4DBC-BAE5-2FD7FC1CD7F6}"/>
                  </a:ext>
                </a:extLst>
              </p:cNvPr>
              <p:cNvSpPr/>
              <p:nvPr/>
            </p:nvSpPr>
            <p:spPr>
              <a:xfrm>
                <a:off x="6586775" y="4588812"/>
                <a:ext cx="297586" cy="292283"/>
              </a:xfrm>
              <a:custGeom>
                <a:avLst/>
                <a:gdLst>
                  <a:gd name="connsiteX0" fmla="*/ 275465 w 297586"/>
                  <a:gd name="connsiteY0" fmla="*/ 190916 h 292283"/>
                  <a:gd name="connsiteX1" fmla="*/ 276980 w 297586"/>
                  <a:gd name="connsiteY1" fmla="*/ 190613 h 292283"/>
                  <a:gd name="connsiteX2" fmla="*/ 278344 w 297586"/>
                  <a:gd name="connsiteY2" fmla="*/ 188795 h 292283"/>
                  <a:gd name="connsiteX3" fmla="*/ 280010 w 297586"/>
                  <a:gd name="connsiteY3" fmla="*/ 188492 h 292283"/>
                  <a:gd name="connsiteX4" fmla="*/ 281980 w 297586"/>
                  <a:gd name="connsiteY4" fmla="*/ 183643 h 292283"/>
                  <a:gd name="connsiteX5" fmla="*/ 282283 w 297586"/>
                  <a:gd name="connsiteY5" fmla="*/ 181522 h 292283"/>
                  <a:gd name="connsiteX6" fmla="*/ 281828 w 297586"/>
                  <a:gd name="connsiteY6" fmla="*/ 181976 h 292283"/>
                  <a:gd name="connsiteX7" fmla="*/ 280616 w 297586"/>
                  <a:gd name="connsiteY7" fmla="*/ 183794 h 292283"/>
                  <a:gd name="connsiteX8" fmla="*/ 277131 w 297586"/>
                  <a:gd name="connsiteY8" fmla="*/ 186522 h 292283"/>
                  <a:gd name="connsiteX9" fmla="*/ 275616 w 297586"/>
                  <a:gd name="connsiteY9" fmla="*/ 188340 h 292283"/>
                  <a:gd name="connsiteX10" fmla="*/ 274101 w 297586"/>
                  <a:gd name="connsiteY10" fmla="*/ 189249 h 292283"/>
                  <a:gd name="connsiteX11" fmla="*/ 275010 w 297586"/>
                  <a:gd name="connsiteY11" fmla="*/ 190461 h 292283"/>
                  <a:gd name="connsiteX12" fmla="*/ 275465 w 297586"/>
                  <a:gd name="connsiteY12" fmla="*/ 190916 h 292283"/>
                  <a:gd name="connsiteX13" fmla="*/ 275919 w 297586"/>
                  <a:gd name="connsiteY13" fmla="*/ 120307 h 292283"/>
                  <a:gd name="connsiteX14" fmla="*/ 276828 w 297586"/>
                  <a:gd name="connsiteY14" fmla="*/ 120913 h 292283"/>
                  <a:gd name="connsiteX15" fmla="*/ 278040 w 297586"/>
                  <a:gd name="connsiteY15" fmla="*/ 121368 h 292283"/>
                  <a:gd name="connsiteX16" fmla="*/ 279253 w 297586"/>
                  <a:gd name="connsiteY16" fmla="*/ 120004 h 292283"/>
                  <a:gd name="connsiteX17" fmla="*/ 280768 w 297586"/>
                  <a:gd name="connsiteY17" fmla="*/ 116216 h 292283"/>
                  <a:gd name="connsiteX18" fmla="*/ 280919 w 297586"/>
                  <a:gd name="connsiteY18" fmla="*/ 113489 h 292283"/>
                  <a:gd name="connsiteX19" fmla="*/ 280768 w 297586"/>
                  <a:gd name="connsiteY19" fmla="*/ 109398 h 292283"/>
                  <a:gd name="connsiteX20" fmla="*/ 281223 w 297586"/>
                  <a:gd name="connsiteY20" fmla="*/ 108034 h 292283"/>
                  <a:gd name="connsiteX21" fmla="*/ 281071 w 297586"/>
                  <a:gd name="connsiteY21" fmla="*/ 106670 h 292283"/>
                  <a:gd name="connsiteX22" fmla="*/ 278798 w 297586"/>
                  <a:gd name="connsiteY22" fmla="*/ 107731 h 292283"/>
                  <a:gd name="connsiteX23" fmla="*/ 275919 w 297586"/>
                  <a:gd name="connsiteY23" fmla="*/ 107277 h 292283"/>
                  <a:gd name="connsiteX24" fmla="*/ 276677 w 297586"/>
                  <a:gd name="connsiteY24" fmla="*/ 112428 h 292283"/>
                  <a:gd name="connsiteX25" fmla="*/ 275161 w 297586"/>
                  <a:gd name="connsiteY25" fmla="*/ 119398 h 292283"/>
                  <a:gd name="connsiteX26" fmla="*/ 275919 w 297586"/>
                  <a:gd name="connsiteY26" fmla="*/ 120307 h 292283"/>
                  <a:gd name="connsiteX27" fmla="*/ 263192 w 297586"/>
                  <a:gd name="connsiteY27" fmla="*/ 138793 h 292283"/>
                  <a:gd name="connsiteX28" fmla="*/ 262585 w 297586"/>
                  <a:gd name="connsiteY28" fmla="*/ 141217 h 292283"/>
                  <a:gd name="connsiteX29" fmla="*/ 264252 w 297586"/>
                  <a:gd name="connsiteY29" fmla="*/ 143945 h 292283"/>
                  <a:gd name="connsiteX30" fmla="*/ 266070 w 297586"/>
                  <a:gd name="connsiteY30" fmla="*/ 144096 h 292283"/>
                  <a:gd name="connsiteX31" fmla="*/ 268040 w 297586"/>
                  <a:gd name="connsiteY31" fmla="*/ 146369 h 292283"/>
                  <a:gd name="connsiteX32" fmla="*/ 269101 w 297586"/>
                  <a:gd name="connsiteY32" fmla="*/ 145914 h 292283"/>
                  <a:gd name="connsiteX33" fmla="*/ 269707 w 297586"/>
                  <a:gd name="connsiteY33" fmla="*/ 147884 h 292283"/>
                  <a:gd name="connsiteX34" fmla="*/ 270616 w 297586"/>
                  <a:gd name="connsiteY34" fmla="*/ 148793 h 292283"/>
                  <a:gd name="connsiteX35" fmla="*/ 271373 w 297586"/>
                  <a:gd name="connsiteY35" fmla="*/ 148793 h 292283"/>
                  <a:gd name="connsiteX36" fmla="*/ 272889 w 297586"/>
                  <a:gd name="connsiteY36" fmla="*/ 148187 h 292283"/>
                  <a:gd name="connsiteX37" fmla="*/ 273192 w 297586"/>
                  <a:gd name="connsiteY37" fmla="*/ 147126 h 292283"/>
                  <a:gd name="connsiteX38" fmla="*/ 271070 w 297586"/>
                  <a:gd name="connsiteY38" fmla="*/ 141369 h 292283"/>
                  <a:gd name="connsiteX39" fmla="*/ 270768 w 297586"/>
                  <a:gd name="connsiteY39" fmla="*/ 141066 h 292283"/>
                  <a:gd name="connsiteX40" fmla="*/ 269252 w 297586"/>
                  <a:gd name="connsiteY40" fmla="*/ 139702 h 292283"/>
                  <a:gd name="connsiteX41" fmla="*/ 267434 w 297586"/>
                  <a:gd name="connsiteY41" fmla="*/ 135156 h 292283"/>
                  <a:gd name="connsiteX42" fmla="*/ 267131 w 297586"/>
                  <a:gd name="connsiteY42" fmla="*/ 131368 h 292283"/>
                  <a:gd name="connsiteX43" fmla="*/ 265767 w 297586"/>
                  <a:gd name="connsiteY43" fmla="*/ 128944 h 292283"/>
                  <a:gd name="connsiteX44" fmla="*/ 264555 w 297586"/>
                  <a:gd name="connsiteY44" fmla="*/ 132581 h 292283"/>
                  <a:gd name="connsiteX45" fmla="*/ 262585 w 297586"/>
                  <a:gd name="connsiteY45" fmla="*/ 134702 h 292283"/>
                  <a:gd name="connsiteX46" fmla="*/ 263192 w 297586"/>
                  <a:gd name="connsiteY46" fmla="*/ 138793 h 292283"/>
                  <a:gd name="connsiteX47" fmla="*/ 60911 w 297586"/>
                  <a:gd name="connsiteY47" fmla="*/ 32880 h 292283"/>
                  <a:gd name="connsiteX48" fmla="*/ 60153 w 297586"/>
                  <a:gd name="connsiteY48" fmla="*/ 34092 h 292283"/>
                  <a:gd name="connsiteX49" fmla="*/ 60002 w 297586"/>
                  <a:gd name="connsiteY49" fmla="*/ 36516 h 292283"/>
                  <a:gd name="connsiteX50" fmla="*/ 61669 w 297586"/>
                  <a:gd name="connsiteY50" fmla="*/ 38183 h 292283"/>
                  <a:gd name="connsiteX51" fmla="*/ 61820 w 297586"/>
                  <a:gd name="connsiteY51" fmla="*/ 40153 h 292283"/>
                  <a:gd name="connsiteX52" fmla="*/ 63184 w 297586"/>
                  <a:gd name="connsiteY52" fmla="*/ 39850 h 292283"/>
                  <a:gd name="connsiteX53" fmla="*/ 63638 w 297586"/>
                  <a:gd name="connsiteY53" fmla="*/ 37880 h 292283"/>
                  <a:gd name="connsiteX54" fmla="*/ 65002 w 297586"/>
                  <a:gd name="connsiteY54" fmla="*/ 37729 h 292283"/>
                  <a:gd name="connsiteX55" fmla="*/ 66972 w 297586"/>
                  <a:gd name="connsiteY55" fmla="*/ 37274 h 292283"/>
                  <a:gd name="connsiteX56" fmla="*/ 67426 w 297586"/>
                  <a:gd name="connsiteY56" fmla="*/ 36668 h 292283"/>
                  <a:gd name="connsiteX57" fmla="*/ 67578 w 297586"/>
                  <a:gd name="connsiteY57" fmla="*/ 35001 h 292283"/>
                  <a:gd name="connsiteX58" fmla="*/ 67124 w 297586"/>
                  <a:gd name="connsiteY58" fmla="*/ 34395 h 292283"/>
                  <a:gd name="connsiteX59" fmla="*/ 65154 w 297586"/>
                  <a:gd name="connsiteY59" fmla="*/ 35001 h 292283"/>
                  <a:gd name="connsiteX60" fmla="*/ 63184 w 297586"/>
                  <a:gd name="connsiteY60" fmla="*/ 35456 h 292283"/>
                  <a:gd name="connsiteX61" fmla="*/ 62578 w 297586"/>
                  <a:gd name="connsiteY61" fmla="*/ 34850 h 292283"/>
                  <a:gd name="connsiteX62" fmla="*/ 61669 w 297586"/>
                  <a:gd name="connsiteY62" fmla="*/ 33486 h 292283"/>
                  <a:gd name="connsiteX63" fmla="*/ 60911 w 297586"/>
                  <a:gd name="connsiteY63" fmla="*/ 32880 h 292283"/>
                  <a:gd name="connsiteX64" fmla="*/ 297284 w 297586"/>
                  <a:gd name="connsiteY64" fmla="*/ 258040 h 292283"/>
                  <a:gd name="connsiteX65" fmla="*/ 296829 w 297586"/>
                  <a:gd name="connsiteY65" fmla="*/ 257131 h 292283"/>
                  <a:gd name="connsiteX66" fmla="*/ 295617 w 297586"/>
                  <a:gd name="connsiteY66" fmla="*/ 255615 h 292283"/>
                  <a:gd name="connsiteX67" fmla="*/ 290920 w 297586"/>
                  <a:gd name="connsiteY67" fmla="*/ 252585 h 292283"/>
                  <a:gd name="connsiteX68" fmla="*/ 288799 w 297586"/>
                  <a:gd name="connsiteY68" fmla="*/ 251524 h 292283"/>
                  <a:gd name="connsiteX69" fmla="*/ 287283 w 297586"/>
                  <a:gd name="connsiteY69" fmla="*/ 250312 h 292283"/>
                  <a:gd name="connsiteX70" fmla="*/ 284556 w 297586"/>
                  <a:gd name="connsiteY70" fmla="*/ 250464 h 292283"/>
                  <a:gd name="connsiteX71" fmla="*/ 283495 w 297586"/>
                  <a:gd name="connsiteY71" fmla="*/ 248645 h 292283"/>
                  <a:gd name="connsiteX72" fmla="*/ 281223 w 297586"/>
                  <a:gd name="connsiteY72" fmla="*/ 246676 h 292283"/>
                  <a:gd name="connsiteX73" fmla="*/ 277435 w 297586"/>
                  <a:gd name="connsiteY73" fmla="*/ 246069 h 292283"/>
                  <a:gd name="connsiteX74" fmla="*/ 279101 w 297586"/>
                  <a:gd name="connsiteY74" fmla="*/ 243645 h 292283"/>
                  <a:gd name="connsiteX75" fmla="*/ 278798 w 297586"/>
                  <a:gd name="connsiteY75" fmla="*/ 241524 h 292283"/>
                  <a:gd name="connsiteX76" fmla="*/ 277586 w 297586"/>
                  <a:gd name="connsiteY76" fmla="*/ 238493 h 292283"/>
                  <a:gd name="connsiteX77" fmla="*/ 276677 w 297586"/>
                  <a:gd name="connsiteY77" fmla="*/ 234403 h 292283"/>
                  <a:gd name="connsiteX78" fmla="*/ 274707 w 297586"/>
                  <a:gd name="connsiteY78" fmla="*/ 229705 h 292283"/>
                  <a:gd name="connsiteX79" fmla="*/ 275161 w 297586"/>
                  <a:gd name="connsiteY79" fmla="*/ 223796 h 292283"/>
                  <a:gd name="connsiteX80" fmla="*/ 270010 w 297586"/>
                  <a:gd name="connsiteY80" fmla="*/ 216977 h 292283"/>
                  <a:gd name="connsiteX81" fmla="*/ 270768 w 297586"/>
                  <a:gd name="connsiteY81" fmla="*/ 215917 h 292283"/>
                  <a:gd name="connsiteX82" fmla="*/ 270919 w 297586"/>
                  <a:gd name="connsiteY82" fmla="*/ 214705 h 292283"/>
                  <a:gd name="connsiteX83" fmla="*/ 267889 w 297586"/>
                  <a:gd name="connsiteY83" fmla="*/ 210917 h 292283"/>
                  <a:gd name="connsiteX84" fmla="*/ 265919 w 297586"/>
                  <a:gd name="connsiteY84" fmla="*/ 203341 h 292283"/>
                  <a:gd name="connsiteX85" fmla="*/ 266070 w 297586"/>
                  <a:gd name="connsiteY85" fmla="*/ 200765 h 292283"/>
                  <a:gd name="connsiteX86" fmla="*/ 266980 w 297586"/>
                  <a:gd name="connsiteY86" fmla="*/ 197734 h 292283"/>
                  <a:gd name="connsiteX87" fmla="*/ 269707 w 297586"/>
                  <a:gd name="connsiteY87" fmla="*/ 191370 h 292283"/>
                  <a:gd name="connsiteX88" fmla="*/ 269404 w 297586"/>
                  <a:gd name="connsiteY88" fmla="*/ 185916 h 292283"/>
                  <a:gd name="connsiteX89" fmla="*/ 266676 w 297586"/>
                  <a:gd name="connsiteY89" fmla="*/ 184098 h 292283"/>
                  <a:gd name="connsiteX90" fmla="*/ 265464 w 297586"/>
                  <a:gd name="connsiteY90" fmla="*/ 185158 h 292283"/>
                  <a:gd name="connsiteX91" fmla="*/ 265464 w 297586"/>
                  <a:gd name="connsiteY91" fmla="*/ 177734 h 292283"/>
                  <a:gd name="connsiteX92" fmla="*/ 267282 w 297586"/>
                  <a:gd name="connsiteY92" fmla="*/ 172885 h 292283"/>
                  <a:gd name="connsiteX93" fmla="*/ 269404 w 297586"/>
                  <a:gd name="connsiteY93" fmla="*/ 169249 h 292283"/>
                  <a:gd name="connsiteX94" fmla="*/ 271677 w 297586"/>
                  <a:gd name="connsiteY94" fmla="*/ 166976 h 292283"/>
                  <a:gd name="connsiteX95" fmla="*/ 272434 w 297586"/>
                  <a:gd name="connsiteY95" fmla="*/ 164248 h 292283"/>
                  <a:gd name="connsiteX96" fmla="*/ 270464 w 297586"/>
                  <a:gd name="connsiteY96" fmla="*/ 160309 h 292283"/>
                  <a:gd name="connsiteX97" fmla="*/ 265464 w 297586"/>
                  <a:gd name="connsiteY97" fmla="*/ 158642 h 292283"/>
                  <a:gd name="connsiteX98" fmla="*/ 263797 w 297586"/>
                  <a:gd name="connsiteY98" fmla="*/ 155157 h 292283"/>
                  <a:gd name="connsiteX99" fmla="*/ 260918 w 297586"/>
                  <a:gd name="connsiteY99" fmla="*/ 151672 h 292283"/>
                  <a:gd name="connsiteX100" fmla="*/ 259403 w 297586"/>
                  <a:gd name="connsiteY100" fmla="*/ 150157 h 292283"/>
                  <a:gd name="connsiteX101" fmla="*/ 256979 w 297586"/>
                  <a:gd name="connsiteY101" fmla="*/ 148945 h 292283"/>
                  <a:gd name="connsiteX102" fmla="*/ 254100 w 297586"/>
                  <a:gd name="connsiteY102" fmla="*/ 145611 h 292283"/>
                  <a:gd name="connsiteX103" fmla="*/ 253646 w 297586"/>
                  <a:gd name="connsiteY103" fmla="*/ 142126 h 292283"/>
                  <a:gd name="connsiteX104" fmla="*/ 252282 w 297586"/>
                  <a:gd name="connsiteY104" fmla="*/ 138490 h 292283"/>
                  <a:gd name="connsiteX105" fmla="*/ 252737 w 297586"/>
                  <a:gd name="connsiteY105" fmla="*/ 133187 h 292283"/>
                  <a:gd name="connsiteX106" fmla="*/ 255312 w 297586"/>
                  <a:gd name="connsiteY106" fmla="*/ 126368 h 292283"/>
                  <a:gd name="connsiteX107" fmla="*/ 257130 w 297586"/>
                  <a:gd name="connsiteY107" fmla="*/ 123489 h 292283"/>
                  <a:gd name="connsiteX108" fmla="*/ 259252 w 297586"/>
                  <a:gd name="connsiteY108" fmla="*/ 115610 h 292283"/>
                  <a:gd name="connsiteX109" fmla="*/ 260009 w 297586"/>
                  <a:gd name="connsiteY109" fmla="*/ 113792 h 292283"/>
                  <a:gd name="connsiteX110" fmla="*/ 260918 w 297586"/>
                  <a:gd name="connsiteY110" fmla="*/ 111065 h 292283"/>
                  <a:gd name="connsiteX111" fmla="*/ 261070 w 297586"/>
                  <a:gd name="connsiteY111" fmla="*/ 108792 h 292283"/>
                  <a:gd name="connsiteX112" fmla="*/ 263192 w 297586"/>
                  <a:gd name="connsiteY112" fmla="*/ 103186 h 292283"/>
                  <a:gd name="connsiteX113" fmla="*/ 263797 w 297586"/>
                  <a:gd name="connsiteY113" fmla="*/ 100913 h 292283"/>
                  <a:gd name="connsiteX114" fmla="*/ 262888 w 297586"/>
                  <a:gd name="connsiteY114" fmla="*/ 100458 h 292283"/>
                  <a:gd name="connsiteX115" fmla="*/ 260918 w 297586"/>
                  <a:gd name="connsiteY115" fmla="*/ 98943 h 292283"/>
                  <a:gd name="connsiteX116" fmla="*/ 256676 w 297586"/>
                  <a:gd name="connsiteY116" fmla="*/ 95913 h 292283"/>
                  <a:gd name="connsiteX117" fmla="*/ 252433 w 297586"/>
                  <a:gd name="connsiteY117" fmla="*/ 92882 h 292283"/>
                  <a:gd name="connsiteX118" fmla="*/ 248191 w 297586"/>
                  <a:gd name="connsiteY118" fmla="*/ 89852 h 292283"/>
                  <a:gd name="connsiteX119" fmla="*/ 243948 w 297586"/>
                  <a:gd name="connsiteY119" fmla="*/ 86821 h 292283"/>
                  <a:gd name="connsiteX120" fmla="*/ 239706 w 297586"/>
                  <a:gd name="connsiteY120" fmla="*/ 83791 h 292283"/>
                  <a:gd name="connsiteX121" fmla="*/ 235463 w 297586"/>
                  <a:gd name="connsiteY121" fmla="*/ 80761 h 292283"/>
                  <a:gd name="connsiteX122" fmla="*/ 231220 w 297586"/>
                  <a:gd name="connsiteY122" fmla="*/ 77730 h 292283"/>
                  <a:gd name="connsiteX123" fmla="*/ 226978 w 297586"/>
                  <a:gd name="connsiteY123" fmla="*/ 74700 h 292283"/>
                  <a:gd name="connsiteX124" fmla="*/ 224553 w 297586"/>
                  <a:gd name="connsiteY124" fmla="*/ 72881 h 292283"/>
                  <a:gd name="connsiteX125" fmla="*/ 223493 w 297586"/>
                  <a:gd name="connsiteY125" fmla="*/ 71821 h 292283"/>
                  <a:gd name="connsiteX126" fmla="*/ 222584 w 297586"/>
                  <a:gd name="connsiteY126" fmla="*/ 69699 h 292283"/>
                  <a:gd name="connsiteX127" fmla="*/ 222129 w 297586"/>
                  <a:gd name="connsiteY127" fmla="*/ 69245 h 292283"/>
                  <a:gd name="connsiteX128" fmla="*/ 221069 w 297586"/>
                  <a:gd name="connsiteY128" fmla="*/ 68639 h 292283"/>
                  <a:gd name="connsiteX129" fmla="*/ 219705 w 297586"/>
                  <a:gd name="connsiteY129" fmla="*/ 68487 h 292283"/>
                  <a:gd name="connsiteX130" fmla="*/ 219250 w 297586"/>
                  <a:gd name="connsiteY130" fmla="*/ 68033 h 292283"/>
                  <a:gd name="connsiteX131" fmla="*/ 219250 w 297586"/>
                  <a:gd name="connsiteY131" fmla="*/ 66972 h 292283"/>
                  <a:gd name="connsiteX132" fmla="*/ 219705 w 297586"/>
                  <a:gd name="connsiteY132" fmla="*/ 65457 h 292283"/>
                  <a:gd name="connsiteX133" fmla="*/ 221220 w 297586"/>
                  <a:gd name="connsiteY133" fmla="*/ 62730 h 292283"/>
                  <a:gd name="connsiteX134" fmla="*/ 221372 w 297586"/>
                  <a:gd name="connsiteY134" fmla="*/ 61063 h 292283"/>
                  <a:gd name="connsiteX135" fmla="*/ 221069 w 297586"/>
                  <a:gd name="connsiteY135" fmla="*/ 59244 h 292283"/>
                  <a:gd name="connsiteX136" fmla="*/ 220614 w 297586"/>
                  <a:gd name="connsiteY136" fmla="*/ 56366 h 292283"/>
                  <a:gd name="connsiteX137" fmla="*/ 220160 w 297586"/>
                  <a:gd name="connsiteY137" fmla="*/ 55760 h 292283"/>
                  <a:gd name="connsiteX138" fmla="*/ 217432 w 297586"/>
                  <a:gd name="connsiteY138" fmla="*/ 54244 h 292283"/>
                  <a:gd name="connsiteX139" fmla="*/ 211674 w 297586"/>
                  <a:gd name="connsiteY139" fmla="*/ 51062 h 292283"/>
                  <a:gd name="connsiteX140" fmla="*/ 205917 w 297586"/>
                  <a:gd name="connsiteY140" fmla="*/ 47880 h 292283"/>
                  <a:gd name="connsiteX141" fmla="*/ 200159 w 297586"/>
                  <a:gd name="connsiteY141" fmla="*/ 44699 h 292283"/>
                  <a:gd name="connsiteX142" fmla="*/ 194401 w 297586"/>
                  <a:gd name="connsiteY142" fmla="*/ 41517 h 292283"/>
                  <a:gd name="connsiteX143" fmla="*/ 188643 w 297586"/>
                  <a:gd name="connsiteY143" fmla="*/ 38335 h 292283"/>
                  <a:gd name="connsiteX144" fmla="*/ 182734 w 297586"/>
                  <a:gd name="connsiteY144" fmla="*/ 35153 h 292283"/>
                  <a:gd name="connsiteX145" fmla="*/ 176976 w 297586"/>
                  <a:gd name="connsiteY145" fmla="*/ 31971 h 292283"/>
                  <a:gd name="connsiteX146" fmla="*/ 171218 w 297586"/>
                  <a:gd name="connsiteY146" fmla="*/ 28789 h 292283"/>
                  <a:gd name="connsiteX147" fmla="*/ 165460 w 297586"/>
                  <a:gd name="connsiteY147" fmla="*/ 25607 h 292283"/>
                  <a:gd name="connsiteX148" fmla="*/ 159703 w 297586"/>
                  <a:gd name="connsiteY148" fmla="*/ 22425 h 292283"/>
                  <a:gd name="connsiteX149" fmla="*/ 153945 w 297586"/>
                  <a:gd name="connsiteY149" fmla="*/ 19243 h 292283"/>
                  <a:gd name="connsiteX150" fmla="*/ 148036 w 297586"/>
                  <a:gd name="connsiteY150" fmla="*/ 16061 h 292283"/>
                  <a:gd name="connsiteX151" fmla="*/ 142278 w 297586"/>
                  <a:gd name="connsiteY151" fmla="*/ 12879 h 292283"/>
                  <a:gd name="connsiteX152" fmla="*/ 136520 w 297586"/>
                  <a:gd name="connsiteY152" fmla="*/ 9697 h 292283"/>
                  <a:gd name="connsiteX153" fmla="*/ 130611 w 297586"/>
                  <a:gd name="connsiteY153" fmla="*/ 6515 h 292283"/>
                  <a:gd name="connsiteX154" fmla="*/ 124853 w 297586"/>
                  <a:gd name="connsiteY154" fmla="*/ 3333 h 292283"/>
                  <a:gd name="connsiteX155" fmla="*/ 122731 w 297586"/>
                  <a:gd name="connsiteY155" fmla="*/ 2121 h 292283"/>
                  <a:gd name="connsiteX156" fmla="*/ 119398 w 297586"/>
                  <a:gd name="connsiteY156" fmla="*/ 6061 h 292283"/>
                  <a:gd name="connsiteX157" fmla="*/ 118641 w 297586"/>
                  <a:gd name="connsiteY157" fmla="*/ 7727 h 292283"/>
                  <a:gd name="connsiteX158" fmla="*/ 118792 w 297586"/>
                  <a:gd name="connsiteY158" fmla="*/ 8637 h 292283"/>
                  <a:gd name="connsiteX159" fmla="*/ 120004 w 297586"/>
                  <a:gd name="connsiteY159" fmla="*/ 9849 h 292283"/>
                  <a:gd name="connsiteX160" fmla="*/ 119701 w 297586"/>
                  <a:gd name="connsiteY160" fmla="*/ 10303 h 292283"/>
                  <a:gd name="connsiteX161" fmla="*/ 116974 w 297586"/>
                  <a:gd name="connsiteY161" fmla="*/ 10303 h 292283"/>
                  <a:gd name="connsiteX162" fmla="*/ 116519 w 297586"/>
                  <a:gd name="connsiteY162" fmla="*/ 10910 h 292283"/>
                  <a:gd name="connsiteX163" fmla="*/ 116519 w 297586"/>
                  <a:gd name="connsiteY163" fmla="*/ 11667 h 292283"/>
                  <a:gd name="connsiteX164" fmla="*/ 116216 w 297586"/>
                  <a:gd name="connsiteY164" fmla="*/ 12121 h 292283"/>
                  <a:gd name="connsiteX165" fmla="*/ 116368 w 297586"/>
                  <a:gd name="connsiteY165" fmla="*/ 12576 h 292283"/>
                  <a:gd name="connsiteX166" fmla="*/ 118943 w 297586"/>
                  <a:gd name="connsiteY166" fmla="*/ 14546 h 292283"/>
                  <a:gd name="connsiteX167" fmla="*/ 119095 w 297586"/>
                  <a:gd name="connsiteY167" fmla="*/ 15000 h 292283"/>
                  <a:gd name="connsiteX168" fmla="*/ 118186 w 297586"/>
                  <a:gd name="connsiteY168" fmla="*/ 15000 h 292283"/>
                  <a:gd name="connsiteX169" fmla="*/ 115459 w 297586"/>
                  <a:gd name="connsiteY169" fmla="*/ 14243 h 292283"/>
                  <a:gd name="connsiteX170" fmla="*/ 113792 w 297586"/>
                  <a:gd name="connsiteY170" fmla="*/ 14091 h 292283"/>
                  <a:gd name="connsiteX171" fmla="*/ 112580 w 297586"/>
                  <a:gd name="connsiteY171" fmla="*/ 14243 h 292283"/>
                  <a:gd name="connsiteX172" fmla="*/ 112125 w 297586"/>
                  <a:gd name="connsiteY172" fmla="*/ 14698 h 292283"/>
                  <a:gd name="connsiteX173" fmla="*/ 111519 w 297586"/>
                  <a:gd name="connsiteY173" fmla="*/ 16516 h 292283"/>
                  <a:gd name="connsiteX174" fmla="*/ 112125 w 297586"/>
                  <a:gd name="connsiteY174" fmla="*/ 17425 h 292283"/>
                  <a:gd name="connsiteX175" fmla="*/ 112276 w 297586"/>
                  <a:gd name="connsiteY175" fmla="*/ 18334 h 292283"/>
                  <a:gd name="connsiteX176" fmla="*/ 110307 w 297586"/>
                  <a:gd name="connsiteY176" fmla="*/ 19698 h 292283"/>
                  <a:gd name="connsiteX177" fmla="*/ 110004 w 297586"/>
                  <a:gd name="connsiteY177" fmla="*/ 21667 h 292283"/>
                  <a:gd name="connsiteX178" fmla="*/ 108792 w 297586"/>
                  <a:gd name="connsiteY178" fmla="*/ 22728 h 292283"/>
                  <a:gd name="connsiteX179" fmla="*/ 107277 w 297586"/>
                  <a:gd name="connsiteY179" fmla="*/ 23334 h 292283"/>
                  <a:gd name="connsiteX180" fmla="*/ 104852 w 297586"/>
                  <a:gd name="connsiteY180" fmla="*/ 23031 h 292283"/>
                  <a:gd name="connsiteX181" fmla="*/ 103943 w 297586"/>
                  <a:gd name="connsiteY181" fmla="*/ 23486 h 292283"/>
                  <a:gd name="connsiteX182" fmla="*/ 103034 w 297586"/>
                  <a:gd name="connsiteY182" fmla="*/ 24395 h 292283"/>
                  <a:gd name="connsiteX183" fmla="*/ 102125 w 297586"/>
                  <a:gd name="connsiteY183" fmla="*/ 25910 h 292283"/>
                  <a:gd name="connsiteX184" fmla="*/ 106367 w 297586"/>
                  <a:gd name="connsiteY184" fmla="*/ 25758 h 292283"/>
                  <a:gd name="connsiteX185" fmla="*/ 107125 w 297586"/>
                  <a:gd name="connsiteY185" fmla="*/ 26062 h 292283"/>
                  <a:gd name="connsiteX186" fmla="*/ 107428 w 297586"/>
                  <a:gd name="connsiteY186" fmla="*/ 26668 h 292283"/>
                  <a:gd name="connsiteX187" fmla="*/ 108186 w 297586"/>
                  <a:gd name="connsiteY187" fmla="*/ 27425 h 292283"/>
                  <a:gd name="connsiteX188" fmla="*/ 108337 w 297586"/>
                  <a:gd name="connsiteY188" fmla="*/ 27880 h 292283"/>
                  <a:gd name="connsiteX189" fmla="*/ 105307 w 297586"/>
                  <a:gd name="connsiteY189" fmla="*/ 27880 h 292283"/>
                  <a:gd name="connsiteX190" fmla="*/ 104246 w 297586"/>
                  <a:gd name="connsiteY190" fmla="*/ 28789 h 292283"/>
                  <a:gd name="connsiteX191" fmla="*/ 102277 w 297586"/>
                  <a:gd name="connsiteY191" fmla="*/ 28486 h 292283"/>
                  <a:gd name="connsiteX192" fmla="*/ 100458 w 297586"/>
                  <a:gd name="connsiteY192" fmla="*/ 29850 h 292283"/>
                  <a:gd name="connsiteX193" fmla="*/ 100307 w 297586"/>
                  <a:gd name="connsiteY193" fmla="*/ 30456 h 292283"/>
                  <a:gd name="connsiteX194" fmla="*/ 101670 w 297586"/>
                  <a:gd name="connsiteY194" fmla="*/ 31213 h 292283"/>
                  <a:gd name="connsiteX195" fmla="*/ 108337 w 297586"/>
                  <a:gd name="connsiteY195" fmla="*/ 32274 h 292283"/>
                  <a:gd name="connsiteX196" fmla="*/ 110155 w 297586"/>
                  <a:gd name="connsiteY196" fmla="*/ 32425 h 292283"/>
                  <a:gd name="connsiteX197" fmla="*/ 114701 w 297586"/>
                  <a:gd name="connsiteY197" fmla="*/ 30910 h 292283"/>
                  <a:gd name="connsiteX198" fmla="*/ 115913 w 297586"/>
                  <a:gd name="connsiteY198" fmla="*/ 31213 h 292283"/>
                  <a:gd name="connsiteX199" fmla="*/ 116368 w 297586"/>
                  <a:gd name="connsiteY199" fmla="*/ 32122 h 292283"/>
                  <a:gd name="connsiteX200" fmla="*/ 116368 w 297586"/>
                  <a:gd name="connsiteY200" fmla="*/ 33031 h 292283"/>
                  <a:gd name="connsiteX201" fmla="*/ 115155 w 297586"/>
                  <a:gd name="connsiteY201" fmla="*/ 34244 h 292283"/>
                  <a:gd name="connsiteX202" fmla="*/ 110458 w 297586"/>
                  <a:gd name="connsiteY202" fmla="*/ 37426 h 292283"/>
                  <a:gd name="connsiteX203" fmla="*/ 108186 w 297586"/>
                  <a:gd name="connsiteY203" fmla="*/ 39395 h 292283"/>
                  <a:gd name="connsiteX204" fmla="*/ 106065 w 297586"/>
                  <a:gd name="connsiteY204" fmla="*/ 40153 h 292283"/>
                  <a:gd name="connsiteX205" fmla="*/ 106367 w 297586"/>
                  <a:gd name="connsiteY205" fmla="*/ 41365 h 292283"/>
                  <a:gd name="connsiteX206" fmla="*/ 106216 w 297586"/>
                  <a:gd name="connsiteY206" fmla="*/ 41971 h 292283"/>
                  <a:gd name="connsiteX207" fmla="*/ 105610 w 297586"/>
                  <a:gd name="connsiteY207" fmla="*/ 42274 h 292283"/>
                  <a:gd name="connsiteX208" fmla="*/ 100003 w 297586"/>
                  <a:gd name="connsiteY208" fmla="*/ 41062 h 292283"/>
                  <a:gd name="connsiteX209" fmla="*/ 96064 w 297586"/>
                  <a:gd name="connsiteY209" fmla="*/ 38941 h 292283"/>
                  <a:gd name="connsiteX210" fmla="*/ 94245 w 297586"/>
                  <a:gd name="connsiteY210" fmla="*/ 38638 h 292283"/>
                  <a:gd name="connsiteX211" fmla="*/ 92731 w 297586"/>
                  <a:gd name="connsiteY211" fmla="*/ 39092 h 292283"/>
                  <a:gd name="connsiteX212" fmla="*/ 91670 w 297586"/>
                  <a:gd name="connsiteY212" fmla="*/ 39850 h 292283"/>
                  <a:gd name="connsiteX213" fmla="*/ 91215 w 297586"/>
                  <a:gd name="connsiteY213" fmla="*/ 40759 h 292283"/>
                  <a:gd name="connsiteX214" fmla="*/ 91064 w 297586"/>
                  <a:gd name="connsiteY214" fmla="*/ 45608 h 292283"/>
                  <a:gd name="connsiteX215" fmla="*/ 92731 w 297586"/>
                  <a:gd name="connsiteY215" fmla="*/ 49850 h 292283"/>
                  <a:gd name="connsiteX216" fmla="*/ 93185 w 297586"/>
                  <a:gd name="connsiteY216" fmla="*/ 50608 h 292283"/>
                  <a:gd name="connsiteX217" fmla="*/ 91215 w 297586"/>
                  <a:gd name="connsiteY217" fmla="*/ 50911 h 292283"/>
                  <a:gd name="connsiteX218" fmla="*/ 88185 w 297586"/>
                  <a:gd name="connsiteY218" fmla="*/ 53941 h 292283"/>
                  <a:gd name="connsiteX219" fmla="*/ 87579 w 297586"/>
                  <a:gd name="connsiteY219" fmla="*/ 54244 h 292283"/>
                  <a:gd name="connsiteX220" fmla="*/ 87882 w 297586"/>
                  <a:gd name="connsiteY220" fmla="*/ 52275 h 292283"/>
                  <a:gd name="connsiteX221" fmla="*/ 87579 w 297586"/>
                  <a:gd name="connsiteY221" fmla="*/ 51062 h 292283"/>
                  <a:gd name="connsiteX222" fmla="*/ 89852 w 297586"/>
                  <a:gd name="connsiteY222" fmla="*/ 49093 h 292283"/>
                  <a:gd name="connsiteX223" fmla="*/ 90306 w 297586"/>
                  <a:gd name="connsiteY223" fmla="*/ 48032 h 292283"/>
                  <a:gd name="connsiteX224" fmla="*/ 88943 w 297586"/>
                  <a:gd name="connsiteY224" fmla="*/ 45002 h 292283"/>
                  <a:gd name="connsiteX225" fmla="*/ 89245 w 297586"/>
                  <a:gd name="connsiteY225" fmla="*/ 42123 h 292283"/>
                  <a:gd name="connsiteX226" fmla="*/ 88943 w 297586"/>
                  <a:gd name="connsiteY226" fmla="*/ 41365 h 292283"/>
                  <a:gd name="connsiteX227" fmla="*/ 87276 w 297586"/>
                  <a:gd name="connsiteY227" fmla="*/ 41365 h 292283"/>
                  <a:gd name="connsiteX228" fmla="*/ 85912 w 297586"/>
                  <a:gd name="connsiteY228" fmla="*/ 41062 h 292283"/>
                  <a:gd name="connsiteX229" fmla="*/ 85457 w 297586"/>
                  <a:gd name="connsiteY229" fmla="*/ 40759 h 292283"/>
                  <a:gd name="connsiteX230" fmla="*/ 85003 w 297586"/>
                  <a:gd name="connsiteY230" fmla="*/ 39850 h 292283"/>
                  <a:gd name="connsiteX231" fmla="*/ 84246 w 297586"/>
                  <a:gd name="connsiteY231" fmla="*/ 39395 h 292283"/>
                  <a:gd name="connsiteX232" fmla="*/ 81669 w 297586"/>
                  <a:gd name="connsiteY232" fmla="*/ 41214 h 292283"/>
                  <a:gd name="connsiteX233" fmla="*/ 81367 w 297586"/>
                  <a:gd name="connsiteY233" fmla="*/ 40911 h 292283"/>
                  <a:gd name="connsiteX234" fmla="*/ 81367 w 297586"/>
                  <a:gd name="connsiteY234" fmla="*/ 40001 h 292283"/>
                  <a:gd name="connsiteX235" fmla="*/ 80912 w 297586"/>
                  <a:gd name="connsiteY235" fmla="*/ 39698 h 292283"/>
                  <a:gd name="connsiteX236" fmla="*/ 78639 w 297586"/>
                  <a:gd name="connsiteY236" fmla="*/ 39395 h 292283"/>
                  <a:gd name="connsiteX237" fmla="*/ 77275 w 297586"/>
                  <a:gd name="connsiteY237" fmla="*/ 38789 h 292283"/>
                  <a:gd name="connsiteX238" fmla="*/ 76366 w 297586"/>
                  <a:gd name="connsiteY238" fmla="*/ 38032 h 292283"/>
                  <a:gd name="connsiteX239" fmla="*/ 75305 w 297586"/>
                  <a:gd name="connsiteY239" fmla="*/ 35607 h 292283"/>
                  <a:gd name="connsiteX240" fmla="*/ 74245 w 297586"/>
                  <a:gd name="connsiteY240" fmla="*/ 35001 h 292283"/>
                  <a:gd name="connsiteX241" fmla="*/ 73033 w 297586"/>
                  <a:gd name="connsiteY241" fmla="*/ 35001 h 292283"/>
                  <a:gd name="connsiteX242" fmla="*/ 72275 w 297586"/>
                  <a:gd name="connsiteY242" fmla="*/ 35759 h 292283"/>
                  <a:gd name="connsiteX243" fmla="*/ 71214 w 297586"/>
                  <a:gd name="connsiteY243" fmla="*/ 37274 h 292283"/>
                  <a:gd name="connsiteX244" fmla="*/ 69548 w 297586"/>
                  <a:gd name="connsiteY244" fmla="*/ 37577 h 292283"/>
                  <a:gd name="connsiteX245" fmla="*/ 69093 w 297586"/>
                  <a:gd name="connsiteY245" fmla="*/ 38032 h 292283"/>
                  <a:gd name="connsiteX246" fmla="*/ 70305 w 297586"/>
                  <a:gd name="connsiteY246" fmla="*/ 40607 h 292283"/>
                  <a:gd name="connsiteX247" fmla="*/ 70608 w 297586"/>
                  <a:gd name="connsiteY247" fmla="*/ 41668 h 292283"/>
                  <a:gd name="connsiteX248" fmla="*/ 70003 w 297586"/>
                  <a:gd name="connsiteY248" fmla="*/ 41971 h 292283"/>
                  <a:gd name="connsiteX249" fmla="*/ 67275 w 297586"/>
                  <a:gd name="connsiteY249" fmla="*/ 41365 h 292283"/>
                  <a:gd name="connsiteX250" fmla="*/ 66063 w 297586"/>
                  <a:gd name="connsiteY250" fmla="*/ 42123 h 292283"/>
                  <a:gd name="connsiteX251" fmla="*/ 65608 w 297586"/>
                  <a:gd name="connsiteY251" fmla="*/ 43789 h 292283"/>
                  <a:gd name="connsiteX252" fmla="*/ 65911 w 297586"/>
                  <a:gd name="connsiteY252" fmla="*/ 45608 h 292283"/>
                  <a:gd name="connsiteX253" fmla="*/ 66517 w 297586"/>
                  <a:gd name="connsiteY253" fmla="*/ 47729 h 292283"/>
                  <a:gd name="connsiteX254" fmla="*/ 65608 w 297586"/>
                  <a:gd name="connsiteY254" fmla="*/ 47577 h 292283"/>
                  <a:gd name="connsiteX255" fmla="*/ 64093 w 297586"/>
                  <a:gd name="connsiteY255" fmla="*/ 45456 h 292283"/>
                  <a:gd name="connsiteX256" fmla="*/ 63487 w 297586"/>
                  <a:gd name="connsiteY256" fmla="*/ 45608 h 292283"/>
                  <a:gd name="connsiteX257" fmla="*/ 63184 w 297586"/>
                  <a:gd name="connsiteY257" fmla="*/ 46214 h 292283"/>
                  <a:gd name="connsiteX258" fmla="*/ 62123 w 297586"/>
                  <a:gd name="connsiteY258" fmla="*/ 46365 h 292283"/>
                  <a:gd name="connsiteX259" fmla="*/ 61366 w 297586"/>
                  <a:gd name="connsiteY259" fmla="*/ 48941 h 292283"/>
                  <a:gd name="connsiteX260" fmla="*/ 60911 w 297586"/>
                  <a:gd name="connsiteY260" fmla="*/ 48790 h 292283"/>
                  <a:gd name="connsiteX261" fmla="*/ 60457 w 297586"/>
                  <a:gd name="connsiteY261" fmla="*/ 47729 h 292283"/>
                  <a:gd name="connsiteX262" fmla="*/ 60457 w 297586"/>
                  <a:gd name="connsiteY262" fmla="*/ 46214 h 292283"/>
                  <a:gd name="connsiteX263" fmla="*/ 61366 w 297586"/>
                  <a:gd name="connsiteY263" fmla="*/ 44244 h 292283"/>
                  <a:gd name="connsiteX264" fmla="*/ 60153 w 297586"/>
                  <a:gd name="connsiteY264" fmla="*/ 43638 h 292283"/>
                  <a:gd name="connsiteX265" fmla="*/ 59396 w 297586"/>
                  <a:gd name="connsiteY265" fmla="*/ 42880 h 292283"/>
                  <a:gd name="connsiteX266" fmla="*/ 59244 w 297586"/>
                  <a:gd name="connsiteY266" fmla="*/ 41820 h 292283"/>
                  <a:gd name="connsiteX267" fmla="*/ 60608 w 297586"/>
                  <a:gd name="connsiteY267" fmla="*/ 40001 h 292283"/>
                  <a:gd name="connsiteX268" fmla="*/ 60457 w 297586"/>
                  <a:gd name="connsiteY268" fmla="*/ 39244 h 292283"/>
                  <a:gd name="connsiteX269" fmla="*/ 60002 w 297586"/>
                  <a:gd name="connsiteY269" fmla="*/ 38183 h 292283"/>
                  <a:gd name="connsiteX270" fmla="*/ 59244 w 297586"/>
                  <a:gd name="connsiteY270" fmla="*/ 36971 h 292283"/>
                  <a:gd name="connsiteX271" fmla="*/ 58184 w 297586"/>
                  <a:gd name="connsiteY271" fmla="*/ 36213 h 292283"/>
                  <a:gd name="connsiteX272" fmla="*/ 57426 w 297586"/>
                  <a:gd name="connsiteY272" fmla="*/ 34850 h 292283"/>
                  <a:gd name="connsiteX273" fmla="*/ 57426 w 297586"/>
                  <a:gd name="connsiteY273" fmla="*/ 29546 h 292283"/>
                  <a:gd name="connsiteX274" fmla="*/ 57123 w 297586"/>
                  <a:gd name="connsiteY274" fmla="*/ 27880 h 292283"/>
                  <a:gd name="connsiteX275" fmla="*/ 57123 w 297586"/>
                  <a:gd name="connsiteY275" fmla="*/ 25607 h 292283"/>
                  <a:gd name="connsiteX276" fmla="*/ 59850 w 297586"/>
                  <a:gd name="connsiteY276" fmla="*/ 13637 h 292283"/>
                  <a:gd name="connsiteX277" fmla="*/ 61214 w 297586"/>
                  <a:gd name="connsiteY277" fmla="*/ 11667 h 292283"/>
                  <a:gd name="connsiteX278" fmla="*/ 61669 w 297586"/>
                  <a:gd name="connsiteY278" fmla="*/ 10000 h 292283"/>
                  <a:gd name="connsiteX279" fmla="*/ 62729 w 297586"/>
                  <a:gd name="connsiteY279" fmla="*/ 2727 h 292283"/>
                  <a:gd name="connsiteX280" fmla="*/ 62578 w 297586"/>
                  <a:gd name="connsiteY280" fmla="*/ 1364 h 292283"/>
                  <a:gd name="connsiteX281" fmla="*/ 62275 w 297586"/>
                  <a:gd name="connsiteY281" fmla="*/ 606 h 292283"/>
                  <a:gd name="connsiteX282" fmla="*/ 61669 w 297586"/>
                  <a:gd name="connsiteY282" fmla="*/ 455 h 292283"/>
                  <a:gd name="connsiteX283" fmla="*/ 61063 w 297586"/>
                  <a:gd name="connsiteY283" fmla="*/ 757 h 292283"/>
                  <a:gd name="connsiteX284" fmla="*/ 60457 w 297586"/>
                  <a:gd name="connsiteY284" fmla="*/ 455 h 292283"/>
                  <a:gd name="connsiteX285" fmla="*/ 60457 w 297586"/>
                  <a:gd name="connsiteY285" fmla="*/ 303 h 292283"/>
                  <a:gd name="connsiteX286" fmla="*/ 57123 w 297586"/>
                  <a:gd name="connsiteY286" fmla="*/ 303 h 292283"/>
                  <a:gd name="connsiteX287" fmla="*/ 52274 w 297586"/>
                  <a:gd name="connsiteY287" fmla="*/ 303 h 292283"/>
                  <a:gd name="connsiteX288" fmla="*/ 47426 w 297586"/>
                  <a:gd name="connsiteY288" fmla="*/ 303 h 292283"/>
                  <a:gd name="connsiteX289" fmla="*/ 42577 w 297586"/>
                  <a:gd name="connsiteY289" fmla="*/ 303 h 292283"/>
                  <a:gd name="connsiteX290" fmla="*/ 37729 w 297586"/>
                  <a:gd name="connsiteY290" fmla="*/ 303 h 292283"/>
                  <a:gd name="connsiteX291" fmla="*/ 34850 w 297586"/>
                  <a:gd name="connsiteY291" fmla="*/ 303 h 292283"/>
                  <a:gd name="connsiteX292" fmla="*/ 34243 w 297586"/>
                  <a:gd name="connsiteY292" fmla="*/ 151 h 292283"/>
                  <a:gd name="connsiteX293" fmla="*/ 33789 w 297586"/>
                  <a:gd name="connsiteY293" fmla="*/ 0 h 292283"/>
                  <a:gd name="connsiteX294" fmla="*/ 31971 w 297586"/>
                  <a:gd name="connsiteY294" fmla="*/ 303 h 292283"/>
                  <a:gd name="connsiteX295" fmla="*/ 30001 w 297586"/>
                  <a:gd name="connsiteY295" fmla="*/ 1515 h 292283"/>
                  <a:gd name="connsiteX296" fmla="*/ 28031 w 297586"/>
                  <a:gd name="connsiteY296" fmla="*/ 1970 h 292283"/>
                  <a:gd name="connsiteX297" fmla="*/ 25910 w 297586"/>
                  <a:gd name="connsiteY297" fmla="*/ 1818 h 292283"/>
                  <a:gd name="connsiteX298" fmla="*/ 25607 w 297586"/>
                  <a:gd name="connsiteY298" fmla="*/ 1970 h 292283"/>
                  <a:gd name="connsiteX299" fmla="*/ 24697 w 297586"/>
                  <a:gd name="connsiteY299" fmla="*/ 2424 h 292283"/>
                  <a:gd name="connsiteX300" fmla="*/ 24546 w 297586"/>
                  <a:gd name="connsiteY300" fmla="*/ 3788 h 292283"/>
                  <a:gd name="connsiteX301" fmla="*/ 25607 w 297586"/>
                  <a:gd name="connsiteY301" fmla="*/ 5909 h 292283"/>
                  <a:gd name="connsiteX302" fmla="*/ 28940 w 297586"/>
                  <a:gd name="connsiteY302" fmla="*/ 10303 h 292283"/>
                  <a:gd name="connsiteX303" fmla="*/ 31062 w 297586"/>
                  <a:gd name="connsiteY303" fmla="*/ 11061 h 292283"/>
                  <a:gd name="connsiteX304" fmla="*/ 32425 w 297586"/>
                  <a:gd name="connsiteY304" fmla="*/ 12728 h 292283"/>
                  <a:gd name="connsiteX305" fmla="*/ 33789 w 297586"/>
                  <a:gd name="connsiteY305" fmla="*/ 15607 h 292283"/>
                  <a:gd name="connsiteX306" fmla="*/ 34243 w 297586"/>
                  <a:gd name="connsiteY306" fmla="*/ 19092 h 292283"/>
                  <a:gd name="connsiteX307" fmla="*/ 33637 w 297586"/>
                  <a:gd name="connsiteY307" fmla="*/ 23334 h 292283"/>
                  <a:gd name="connsiteX308" fmla="*/ 33941 w 297586"/>
                  <a:gd name="connsiteY308" fmla="*/ 26516 h 292283"/>
                  <a:gd name="connsiteX309" fmla="*/ 35152 w 297586"/>
                  <a:gd name="connsiteY309" fmla="*/ 28637 h 292283"/>
                  <a:gd name="connsiteX310" fmla="*/ 35456 w 297586"/>
                  <a:gd name="connsiteY310" fmla="*/ 31365 h 292283"/>
                  <a:gd name="connsiteX311" fmla="*/ 34850 w 297586"/>
                  <a:gd name="connsiteY311" fmla="*/ 34698 h 292283"/>
                  <a:gd name="connsiteX312" fmla="*/ 34092 w 297586"/>
                  <a:gd name="connsiteY312" fmla="*/ 36668 h 292283"/>
                  <a:gd name="connsiteX313" fmla="*/ 33183 w 297586"/>
                  <a:gd name="connsiteY313" fmla="*/ 37274 h 292283"/>
                  <a:gd name="connsiteX314" fmla="*/ 32274 w 297586"/>
                  <a:gd name="connsiteY314" fmla="*/ 37577 h 292283"/>
                  <a:gd name="connsiteX315" fmla="*/ 30910 w 297586"/>
                  <a:gd name="connsiteY315" fmla="*/ 37426 h 292283"/>
                  <a:gd name="connsiteX316" fmla="*/ 29243 w 297586"/>
                  <a:gd name="connsiteY316" fmla="*/ 37729 h 292283"/>
                  <a:gd name="connsiteX317" fmla="*/ 27576 w 297586"/>
                  <a:gd name="connsiteY317" fmla="*/ 38335 h 292283"/>
                  <a:gd name="connsiteX318" fmla="*/ 26516 w 297586"/>
                  <a:gd name="connsiteY318" fmla="*/ 38486 h 292283"/>
                  <a:gd name="connsiteX319" fmla="*/ 25910 w 297586"/>
                  <a:gd name="connsiteY319" fmla="*/ 39244 h 292283"/>
                  <a:gd name="connsiteX320" fmla="*/ 23334 w 297586"/>
                  <a:gd name="connsiteY320" fmla="*/ 44395 h 292283"/>
                  <a:gd name="connsiteX321" fmla="*/ 22879 w 297586"/>
                  <a:gd name="connsiteY321" fmla="*/ 45153 h 292283"/>
                  <a:gd name="connsiteX322" fmla="*/ 23183 w 297586"/>
                  <a:gd name="connsiteY322" fmla="*/ 45608 h 292283"/>
                  <a:gd name="connsiteX323" fmla="*/ 24243 w 297586"/>
                  <a:gd name="connsiteY323" fmla="*/ 46517 h 292283"/>
                  <a:gd name="connsiteX324" fmla="*/ 23637 w 297586"/>
                  <a:gd name="connsiteY324" fmla="*/ 48183 h 292283"/>
                  <a:gd name="connsiteX325" fmla="*/ 23334 w 297586"/>
                  <a:gd name="connsiteY325" fmla="*/ 48638 h 292283"/>
                  <a:gd name="connsiteX326" fmla="*/ 22879 w 297586"/>
                  <a:gd name="connsiteY326" fmla="*/ 50153 h 292283"/>
                  <a:gd name="connsiteX327" fmla="*/ 23183 w 297586"/>
                  <a:gd name="connsiteY327" fmla="*/ 51517 h 292283"/>
                  <a:gd name="connsiteX328" fmla="*/ 23788 w 297586"/>
                  <a:gd name="connsiteY328" fmla="*/ 51971 h 292283"/>
                  <a:gd name="connsiteX329" fmla="*/ 25455 w 297586"/>
                  <a:gd name="connsiteY329" fmla="*/ 52578 h 292283"/>
                  <a:gd name="connsiteX330" fmla="*/ 27880 w 297586"/>
                  <a:gd name="connsiteY330" fmla="*/ 53032 h 292283"/>
                  <a:gd name="connsiteX331" fmla="*/ 30759 w 297586"/>
                  <a:gd name="connsiteY331" fmla="*/ 54244 h 292283"/>
                  <a:gd name="connsiteX332" fmla="*/ 32728 w 297586"/>
                  <a:gd name="connsiteY332" fmla="*/ 54396 h 292283"/>
                  <a:gd name="connsiteX333" fmla="*/ 33183 w 297586"/>
                  <a:gd name="connsiteY333" fmla="*/ 55154 h 292283"/>
                  <a:gd name="connsiteX334" fmla="*/ 33031 w 297586"/>
                  <a:gd name="connsiteY334" fmla="*/ 56669 h 292283"/>
                  <a:gd name="connsiteX335" fmla="*/ 33486 w 297586"/>
                  <a:gd name="connsiteY335" fmla="*/ 57881 h 292283"/>
                  <a:gd name="connsiteX336" fmla="*/ 33486 w 297586"/>
                  <a:gd name="connsiteY336" fmla="*/ 60154 h 292283"/>
                  <a:gd name="connsiteX337" fmla="*/ 32880 w 297586"/>
                  <a:gd name="connsiteY337" fmla="*/ 62123 h 292283"/>
                  <a:gd name="connsiteX338" fmla="*/ 29849 w 297586"/>
                  <a:gd name="connsiteY338" fmla="*/ 63032 h 292283"/>
                  <a:gd name="connsiteX339" fmla="*/ 28334 w 297586"/>
                  <a:gd name="connsiteY339" fmla="*/ 64093 h 292283"/>
                  <a:gd name="connsiteX340" fmla="*/ 27880 w 297586"/>
                  <a:gd name="connsiteY340" fmla="*/ 64548 h 292283"/>
                  <a:gd name="connsiteX341" fmla="*/ 28183 w 297586"/>
                  <a:gd name="connsiteY341" fmla="*/ 65154 h 292283"/>
                  <a:gd name="connsiteX342" fmla="*/ 28334 w 297586"/>
                  <a:gd name="connsiteY342" fmla="*/ 65911 h 292283"/>
                  <a:gd name="connsiteX343" fmla="*/ 25607 w 297586"/>
                  <a:gd name="connsiteY343" fmla="*/ 67881 h 292283"/>
                  <a:gd name="connsiteX344" fmla="*/ 22728 w 297586"/>
                  <a:gd name="connsiteY344" fmla="*/ 70457 h 292283"/>
                  <a:gd name="connsiteX345" fmla="*/ 21970 w 297586"/>
                  <a:gd name="connsiteY345" fmla="*/ 72275 h 292283"/>
                  <a:gd name="connsiteX346" fmla="*/ 21364 w 297586"/>
                  <a:gd name="connsiteY346" fmla="*/ 74396 h 292283"/>
                  <a:gd name="connsiteX347" fmla="*/ 20455 w 297586"/>
                  <a:gd name="connsiteY347" fmla="*/ 75760 h 292283"/>
                  <a:gd name="connsiteX348" fmla="*/ 18334 w 297586"/>
                  <a:gd name="connsiteY348" fmla="*/ 77730 h 292283"/>
                  <a:gd name="connsiteX349" fmla="*/ 16061 w 297586"/>
                  <a:gd name="connsiteY349" fmla="*/ 81670 h 292283"/>
                  <a:gd name="connsiteX350" fmla="*/ 15000 w 297586"/>
                  <a:gd name="connsiteY350" fmla="*/ 84245 h 292283"/>
                  <a:gd name="connsiteX351" fmla="*/ 9545 w 297586"/>
                  <a:gd name="connsiteY351" fmla="*/ 90306 h 292283"/>
                  <a:gd name="connsiteX352" fmla="*/ 4697 w 297586"/>
                  <a:gd name="connsiteY352" fmla="*/ 93337 h 292283"/>
                  <a:gd name="connsiteX353" fmla="*/ 3333 w 297586"/>
                  <a:gd name="connsiteY353" fmla="*/ 94397 h 292283"/>
                  <a:gd name="connsiteX354" fmla="*/ 1364 w 297586"/>
                  <a:gd name="connsiteY354" fmla="*/ 94397 h 292283"/>
                  <a:gd name="connsiteX355" fmla="*/ 1212 w 297586"/>
                  <a:gd name="connsiteY355" fmla="*/ 95306 h 292283"/>
                  <a:gd name="connsiteX356" fmla="*/ 303 w 297586"/>
                  <a:gd name="connsiteY356" fmla="*/ 103489 h 292283"/>
                  <a:gd name="connsiteX357" fmla="*/ 455 w 297586"/>
                  <a:gd name="connsiteY357" fmla="*/ 106064 h 292283"/>
                  <a:gd name="connsiteX358" fmla="*/ 0 w 297586"/>
                  <a:gd name="connsiteY358" fmla="*/ 106519 h 292283"/>
                  <a:gd name="connsiteX359" fmla="*/ 151 w 297586"/>
                  <a:gd name="connsiteY359" fmla="*/ 106822 h 292283"/>
                  <a:gd name="connsiteX360" fmla="*/ 909 w 297586"/>
                  <a:gd name="connsiteY360" fmla="*/ 106974 h 292283"/>
                  <a:gd name="connsiteX361" fmla="*/ 2273 w 297586"/>
                  <a:gd name="connsiteY361" fmla="*/ 107731 h 292283"/>
                  <a:gd name="connsiteX362" fmla="*/ 4091 w 297586"/>
                  <a:gd name="connsiteY362" fmla="*/ 108943 h 292283"/>
                  <a:gd name="connsiteX363" fmla="*/ 5303 w 297586"/>
                  <a:gd name="connsiteY363" fmla="*/ 110458 h 292283"/>
                  <a:gd name="connsiteX364" fmla="*/ 5909 w 297586"/>
                  <a:gd name="connsiteY364" fmla="*/ 112277 h 292283"/>
                  <a:gd name="connsiteX365" fmla="*/ 6061 w 297586"/>
                  <a:gd name="connsiteY365" fmla="*/ 113489 h 292283"/>
                  <a:gd name="connsiteX366" fmla="*/ 5757 w 297586"/>
                  <a:gd name="connsiteY366" fmla="*/ 113943 h 292283"/>
                  <a:gd name="connsiteX367" fmla="*/ 5757 w 297586"/>
                  <a:gd name="connsiteY367" fmla="*/ 116368 h 292283"/>
                  <a:gd name="connsiteX368" fmla="*/ 5455 w 297586"/>
                  <a:gd name="connsiteY368" fmla="*/ 116519 h 292283"/>
                  <a:gd name="connsiteX369" fmla="*/ 5000 w 297586"/>
                  <a:gd name="connsiteY369" fmla="*/ 118944 h 292283"/>
                  <a:gd name="connsiteX370" fmla="*/ 4394 w 297586"/>
                  <a:gd name="connsiteY370" fmla="*/ 120307 h 292283"/>
                  <a:gd name="connsiteX371" fmla="*/ 4545 w 297586"/>
                  <a:gd name="connsiteY371" fmla="*/ 121974 h 292283"/>
                  <a:gd name="connsiteX372" fmla="*/ 6061 w 297586"/>
                  <a:gd name="connsiteY372" fmla="*/ 123641 h 292283"/>
                  <a:gd name="connsiteX373" fmla="*/ 7576 w 297586"/>
                  <a:gd name="connsiteY373" fmla="*/ 126368 h 292283"/>
                  <a:gd name="connsiteX374" fmla="*/ 9243 w 297586"/>
                  <a:gd name="connsiteY374" fmla="*/ 130156 h 292283"/>
                  <a:gd name="connsiteX375" fmla="*/ 10000 w 297586"/>
                  <a:gd name="connsiteY375" fmla="*/ 132581 h 292283"/>
                  <a:gd name="connsiteX376" fmla="*/ 9849 w 297586"/>
                  <a:gd name="connsiteY376" fmla="*/ 133641 h 292283"/>
                  <a:gd name="connsiteX377" fmla="*/ 8940 w 297586"/>
                  <a:gd name="connsiteY377" fmla="*/ 134702 h 292283"/>
                  <a:gd name="connsiteX378" fmla="*/ 7273 w 297586"/>
                  <a:gd name="connsiteY378" fmla="*/ 135762 h 292283"/>
                  <a:gd name="connsiteX379" fmla="*/ 6212 w 297586"/>
                  <a:gd name="connsiteY379" fmla="*/ 136217 h 292283"/>
                  <a:gd name="connsiteX380" fmla="*/ 5757 w 297586"/>
                  <a:gd name="connsiteY380" fmla="*/ 136066 h 292283"/>
                  <a:gd name="connsiteX381" fmla="*/ 5152 w 297586"/>
                  <a:gd name="connsiteY381" fmla="*/ 136369 h 292283"/>
                  <a:gd name="connsiteX382" fmla="*/ 4394 w 297586"/>
                  <a:gd name="connsiteY382" fmla="*/ 137126 h 292283"/>
                  <a:gd name="connsiteX383" fmla="*/ 3939 w 297586"/>
                  <a:gd name="connsiteY383" fmla="*/ 138944 h 292283"/>
                  <a:gd name="connsiteX384" fmla="*/ 3636 w 297586"/>
                  <a:gd name="connsiteY384" fmla="*/ 141672 h 292283"/>
                  <a:gd name="connsiteX385" fmla="*/ 3788 w 297586"/>
                  <a:gd name="connsiteY385" fmla="*/ 143036 h 292283"/>
                  <a:gd name="connsiteX386" fmla="*/ 4545 w 297586"/>
                  <a:gd name="connsiteY386" fmla="*/ 144248 h 292283"/>
                  <a:gd name="connsiteX387" fmla="*/ 6515 w 297586"/>
                  <a:gd name="connsiteY387" fmla="*/ 146520 h 292283"/>
                  <a:gd name="connsiteX388" fmla="*/ 9849 w 297586"/>
                  <a:gd name="connsiteY388" fmla="*/ 149551 h 292283"/>
                  <a:gd name="connsiteX389" fmla="*/ 10000 w 297586"/>
                  <a:gd name="connsiteY389" fmla="*/ 150005 h 292283"/>
                  <a:gd name="connsiteX390" fmla="*/ 10455 w 297586"/>
                  <a:gd name="connsiteY390" fmla="*/ 150005 h 292283"/>
                  <a:gd name="connsiteX391" fmla="*/ 11970 w 297586"/>
                  <a:gd name="connsiteY391" fmla="*/ 149096 h 292283"/>
                  <a:gd name="connsiteX392" fmla="*/ 13940 w 297586"/>
                  <a:gd name="connsiteY392" fmla="*/ 148793 h 292283"/>
                  <a:gd name="connsiteX393" fmla="*/ 15152 w 297586"/>
                  <a:gd name="connsiteY393" fmla="*/ 148945 h 292283"/>
                  <a:gd name="connsiteX394" fmla="*/ 15909 w 297586"/>
                  <a:gd name="connsiteY394" fmla="*/ 149399 h 292283"/>
                  <a:gd name="connsiteX395" fmla="*/ 16364 w 297586"/>
                  <a:gd name="connsiteY395" fmla="*/ 150157 h 292283"/>
                  <a:gd name="connsiteX396" fmla="*/ 19546 w 297586"/>
                  <a:gd name="connsiteY396" fmla="*/ 153036 h 292283"/>
                  <a:gd name="connsiteX397" fmla="*/ 21061 w 297586"/>
                  <a:gd name="connsiteY397" fmla="*/ 155006 h 292283"/>
                  <a:gd name="connsiteX398" fmla="*/ 22122 w 297586"/>
                  <a:gd name="connsiteY398" fmla="*/ 157430 h 292283"/>
                  <a:gd name="connsiteX399" fmla="*/ 23637 w 297586"/>
                  <a:gd name="connsiteY399" fmla="*/ 159551 h 292283"/>
                  <a:gd name="connsiteX400" fmla="*/ 25607 w 297586"/>
                  <a:gd name="connsiteY400" fmla="*/ 161369 h 292283"/>
                  <a:gd name="connsiteX401" fmla="*/ 26516 w 297586"/>
                  <a:gd name="connsiteY401" fmla="*/ 163339 h 292283"/>
                  <a:gd name="connsiteX402" fmla="*/ 26516 w 297586"/>
                  <a:gd name="connsiteY402" fmla="*/ 165309 h 292283"/>
                  <a:gd name="connsiteX403" fmla="*/ 26061 w 297586"/>
                  <a:gd name="connsiteY403" fmla="*/ 166370 h 292283"/>
                  <a:gd name="connsiteX404" fmla="*/ 25455 w 297586"/>
                  <a:gd name="connsiteY404" fmla="*/ 166521 h 292283"/>
                  <a:gd name="connsiteX405" fmla="*/ 25304 w 297586"/>
                  <a:gd name="connsiteY405" fmla="*/ 166673 h 292283"/>
                  <a:gd name="connsiteX406" fmla="*/ 25607 w 297586"/>
                  <a:gd name="connsiteY406" fmla="*/ 168036 h 292283"/>
                  <a:gd name="connsiteX407" fmla="*/ 27122 w 297586"/>
                  <a:gd name="connsiteY407" fmla="*/ 171067 h 292283"/>
                  <a:gd name="connsiteX408" fmla="*/ 27728 w 297586"/>
                  <a:gd name="connsiteY408" fmla="*/ 173794 h 292283"/>
                  <a:gd name="connsiteX409" fmla="*/ 27425 w 297586"/>
                  <a:gd name="connsiteY409" fmla="*/ 176218 h 292283"/>
                  <a:gd name="connsiteX410" fmla="*/ 27880 w 297586"/>
                  <a:gd name="connsiteY410" fmla="*/ 178340 h 292283"/>
                  <a:gd name="connsiteX411" fmla="*/ 28940 w 297586"/>
                  <a:gd name="connsiteY411" fmla="*/ 180158 h 292283"/>
                  <a:gd name="connsiteX412" fmla="*/ 31062 w 297586"/>
                  <a:gd name="connsiteY412" fmla="*/ 182582 h 292283"/>
                  <a:gd name="connsiteX413" fmla="*/ 33789 w 297586"/>
                  <a:gd name="connsiteY413" fmla="*/ 188340 h 292283"/>
                  <a:gd name="connsiteX414" fmla="*/ 36062 w 297586"/>
                  <a:gd name="connsiteY414" fmla="*/ 191825 h 292283"/>
                  <a:gd name="connsiteX415" fmla="*/ 36213 w 297586"/>
                  <a:gd name="connsiteY415" fmla="*/ 192886 h 292283"/>
                  <a:gd name="connsiteX416" fmla="*/ 36516 w 297586"/>
                  <a:gd name="connsiteY416" fmla="*/ 193492 h 292283"/>
                  <a:gd name="connsiteX417" fmla="*/ 37425 w 297586"/>
                  <a:gd name="connsiteY417" fmla="*/ 194098 h 292283"/>
                  <a:gd name="connsiteX418" fmla="*/ 37577 w 297586"/>
                  <a:gd name="connsiteY418" fmla="*/ 194553 h 292283"/>
                  <a:gd name="connsiteX419" fmla="*/ 37122 w 297586"/>
                  <a:gd name="connsiteY419" fmla="*/ 195158 h 292283"/>
                  <a:gd name="connsiteX420" fmla="*/ 37122 w 297586"/>
                  <a:gd name="connsiteY420" fmla="*/ 195916 h 292283"/>
                  <a:gd name="connsiteX421" fmla="*/ 37577 w 297586"/>
                  <a:gd name="connsiteY421" fmla="*/ 197280 h 292283"/>
                  <a:gd name="connsiteX422" fmla="*/ 38940 w 297586"/>
                  <a:gd name="connsiteY422" fmla="*/ 199098 h 292283"/>
                  <a:gd name="connsiteX423" fmla="*/ 41365 w 297586"/>
                  <a:gd name="connsiteY423" fmla="*/ 201371 h 292283"/>
                  <a:gd name="connsiteX424" fmla="*/ 42426 w 297586"/>
                  <a:gd name="connsiteY424" fmla="*/ 203189 h 292283"/>
                  <a:gd name="connsiteX425" fmla="*/ 42274 w 297586"/>
                  <a:gd name="connsiteY425" fmla="*/ 204553 h 292283"/>
                  <a:gd name="connsiteX426" fmla="*/ 42577 w 297586"/>
                  <a:gd name="connsiteY426" fmla="*/ 205917 h 292283"/>
                  <a:gd name="connsiteX427" fmla="*/ 43486 w 297586"/>
                  <a:gd name="connsiteY427" fmla="*/ 207280 h 292283"/>
                  <a:gd name="connsiteX428" fmla="*/ 43486 w 297586"/>
                  <a:gd name="connsiteY428" fmla="*/ 207432 h 292283"/>
                  <a:gd name="connsiteX429" fmla="*/ 48032 w 297586"/>
                  <a:gd name="connsiteY429" fmla="*/ 207280 h 292283"/>
                  <a:gd name="connsiteX430" fmla="*/ 50759 w 297586"/>
                  <a:gd name="connsiteY430" fmla="*/ 208492 h 292283"/>
                  <a:gd name="connsiteX431" fmla="*/ 53032 w 297586"/>
                  <a:gd name="connsiteY431" fmla="*/ 210159 h 292283"/>
                  <a:gd name="connsiteX432" fmla="*/ 53638 w 297586"/>
                  <a:gd name="connsiteY432" fmla="*/ 212735 h 292283"/>
                  <a:gd name="connsiteX433" fmla="*/ 55153 w 297586"/>
                  <a:gd name="connsiteY433" fmla="*/ 214250 h 292283"/>
                  <a:gd name="connsiteX434" fmla="*/ 56820 w 297586"/>
                  <a:gd name="connsiteY434" fmla="*/ 215462 h 292283"/>
                  <a:gd name="connsiteX435" fmla="*/ 57578 w 297586"/>
                  <a:gd name="connsiteY435" fmla="*/ 215614 h 292283"/>
                  <a:gd name="connsiteX436" fmla="*/ 58790 w 297586"/>
                  <a:gd name="connsiteY436" fmla="*/ 215311 h 292283"/>
                  <a:gd name="connsiteX437" fmla="*/ 60760 w 297586"/>
                  <a:gd name="connsiteY437" fmla="*/ 215311 h 292283"/>
                  <a:gd name="connsiteX438" fmla="*/ 62578 w 297586"/>
                  <a:gd name="connsiteY438" fmla="*/ 215917 h 292283"/>
                  <a:gd name="connsiteX439" fmla="*/ 63487 w 297586"/>
                  <a:gd name="connsiteY439" fmla="*/ 216523 h 292283"/>
                  <a:gd name="connsiteX440" fmla="*/ 63638 w 297586"/>
                  <a:gd name="connsiteY440" fmla="*/ 218644 h 292283"/>
                  <a:gd name="connsiteX441" fmla="*/ 64245 w 297586"/>
                  <a:gd name="connsiteY441" fmla="*/ 219553 h 292283"/>
                  <a:gd name="connsiteX442" fmla="*/ 66820 w 297586"/>
                  <a:gd name="connsiteY442" fmla="*/ 219856 h 292283"/>
                  <a:gd name="connsiteX443" fmla="*/ 69396 w 297586"/>
                  <a:gd name="connsiteY443" fmla="*/ 220008 h 292283"/>
                  <a:gd name="connsiteX444" fmla="*/ 71821 w 297586"/>
                  <a:gd name="connsiteY444" fmla="*/ 221372 h 292283"/>
                  <a:gd name="connsiteX445" fmla="*/ 74548 w 297586"/>
                  <a:gd name="connsiteY445" fmla="*/ 221675 h 292283"/>
                  <a:gd name="connsiteX446" fmla="*/ 77730 w 297586"/>
                  <a:gd name="connsiteY446" fmla="*/ 222281 h 292283"/>
                  <a:gd name="connsiteX447" fmla="*/ 79245 w 297586"/>
                  <a:gd name="connsiteY447" fmla="*/ 223796 h 292283"/>
                  <a:gd name="connsiteX448" fmla="*/ 82579 w 297586"/>
                  <a:gd name="connsiteY448" fmla="*/ 225311 h 292283"/>
                  <a:gd name="connsiteX449" fmla="*/ 86669 w 297586"/>
                  <a:gd name="connsiteY449" fmla="*/ 226675 h 292283"/>
                  <a:gd name="connsiteX450" fmla="*/ 89548 w 297586"/>
                  <a:gd name="connsiteY450" fmla="*/ 228342 h 292283"/>
                  <a:gd name="connsiteX451" fmla="*/ 91064 w 297586"/>
                  <a:gd name="connsiteY451" fmla="*/ 229099 h 292283"/>
                  <a:gd name="connsiteX452" fmla="*/ 91518 w 297586"/>
                  <a:gd name="connsiteY452" fmla="*/ 228948 h 292283"/>
                  <a:gd name="connsiteX453" fmla="*/ 92579 w 297586"/>
                  <a:gd name="connsiteY453" fmla="*/ 228796 h 292283"/>
                  <a:gd name="connsiteX454" fmla="*/ 96822 w 297586"/>
                  <a:gd name="connsiteY454" fmla="*/ 231524 h 292283"/>
                  <a:gd name="connsiteX455" fmla="*/ 99398 w 297586"/>
                  <a:gd name="connsiteY455" fmla="*/ 231675 h 292283"/>
                  <a:gd name="connsiteX456" fmla="*/ 102277 w 297586"/>
                  <a:gd name="connsiteY456" fmla="*/ 232130 h 292283"/>
                  <a:gd name="connsiteX457" fmla="*/ 104700 w 297586"/>
                  <a:gd name="connsiteY457" fmla="*/ 234554 h 292283"/>
                  <a:gd name="connsiteX458" fmla="*/ 105913 w 297586"/>
                  <a:gd name="connsiteY458" fmla="*/ 234857 h 292283"/>
                  <a:gd name="connsiteX459" fmla="*/ 107579 w 297586"/>
                  <a:gd name="connsiteY459" fmla="*/ 234554 h 292283"/>
                  <a:gd name="connsiteX460" fmla="*/ 112276 w 297586"/>
                  <a:gd name="connsiteY460" fmla="*/ 234251 h 292283"/>
                  <a:gd name="connsiteX461" fmla="*/ 114095 w 297586"/>
                  <a:gd name="connsiteY461" fmla="*/ 234554 h 292283"/>
                  <a:gd name="connsiteX462" fmla="*/ 116519 w 297586"/>
                  <a:gd name="connsiteY462" fmla="*/ 235918 h 292283"/>
                  <a:gd name="connsiteX463" fmla="*/ 117429 w 297586"/>
                  <a:gd name="connsiteY463" fmla="*/ 236069 h 292283"/>
                  <a:gd name="connsiteX464" fmla="*/ 118943 w 297586"/>
                  <a:gd name="connsiteY464" fmla="*/ 236069 h 292283"/>
                  <a:gd name="connsiteX465" fmla="*/ 119247 w 297586"/>
                  <a:gd name="connsiteY465" fmla="*/ 235614 h 292283"/>
                  <a:gd name="connsiteX466" fmla="*/ 119398 w 297586"/>
                  <a:gd name="connsiteY466" fmla="*/ 234705 h 292283"/>
                  <a:gd name="connsiteX467" fmla="*/ 119095 w 297586"/>
                  <a:gd name="connsiteY467" fmla="*/ 233039 h 292283"/>
                  <a:gd name="connsiteX468" fmla="*/ 119398 w 297586"/>
                  <a:gd name="connsiteY468" fmla="*/ 232130 h 292283"/>
                  <a:gd name="connsiteX469" fmla="*/ 120307 w 297586"/>
                  <a:gd name="connsiteY469" fmla="*/ 231069 h 292283"/>
                  <a:gd name="connsiteX470" fmla="*/ 122883 w 297586"/>
                  <a:gd name="connsiteY470" fmla="*/ 232281 h 292283"/>
                  <a:gd name="connsiteX471" fmla="*/ 129247 w 297586"/>
                  <a:gd name="connsiteY471" fmla="*/ 237584 h 292283"/>
                  <a:gd name="connsiteX472" fmla="*/ 129398 w 297586"/>
                  <a:gd name="connsiteY472" fmla="*/ 238342 h 292283"/>
                  <a:gd name="connsiteX473" fmla="*/ 133490 w 297586"/>
                  <a:gd name="connsiteY473" fmla="*/ 243645 h 292283"/>
                  <a:gd name="connsiteX474" fmla="*/ 134853 w 297586"/>
                  <a:gd name="connsiteY474" fmla="*/ 245918 h 292283"/>
                  <a:gd name="connsiteX475" fmla="*/ 134853 w 297586"/>
                  <a:gd name="connsiteY475" fmla="*/ 247130 h 292283"/>
                  <a:gd name="connsiteX476" fmla="*/ 136065 w 297586"/>
                  <a:gd name="connsiteY476" fmla="*/ 251676 h 292283"/>
                  <a:gd name="connsiteX477" fmla="*/ 136369 w 297586"/>
                  <a:gd name="connsiteY477" fmla="*/ 253797 h 292283"/>
                  <a:gd name="connsiteX478" fmla="*/ 136065 w 297586"/>
                  <a:gd name="connsiteY478" fmla="*/ 255464 h 292283"/>
                  <a:gd name="connsiteX479" fmla="*/ 136065 w 297586"/>
                  <a:gd name="connsiteY479" fmla="*/ 256828 h 292283"/>
                  <a:gd name="connsiteX480" fmla="*/ 136520 w 297586"/>
                  <a:gd name="connsiteY480" fmla="*/ 258646 h 292283"/>
                  <a:gd name="connsiteX481" fmla="*/ 136369 w 297586"/>
                  <a:gd name="connsiteY481" fmla="*/ 259403 h 292283"/>
                  <a:gd name="connsiteX482" fmla="*/ 137884 w 297586"/>
                  <a:gd name="connsiteY482" fmla="*/ 262131 h 292283"/>
                  <a:gd name="connsiteX483" fmla="*/ 138641 w 297586"/>
                  <a:gd name="connsiteY483" fmla="*/ 264404 h 292283"/>
                  <a:gd name="connsiteX484" fmla="*/ 138793 w 297586"/>
                  <a:gd name="connsiteY484" fmla="*/ 266676 h 292283"/>
                  <a:gd name="connsiteX485" fmla="*/ 138338 w 297586"/>
                  <a:gd name="connsiteY485" fmla="*/ 268949 h 292283"/>
                  <a:gd name="connsiteX486" fmla="*/ 137126 w 297586"/>
                  <a:gd name="connsiteY486" fmla="*/ 272131 h 292283"/>
                  <a:gd name="connsiteX487" fmla="*/ 136974 w 297586"/>
                  <a:gd name="connsiteY487" fmla="*/ 273495 h 292283"/>
                  <a:gd name="connsiteX488" fmla="*/ 137278 w 297586"/>
                  <a:gd name="connsiteY488" fmla="*/ 274707 h 292283"/>
                  <a:gd name="connsiteX489" fmla="*/ 138035 w 297586"/>
                  <a:gd name="connsiteY489" fmla="*/ 275919 h 292283"/>
                  <a:gd name="connsiteX490" fmla="*/ 139399 w 297586"/>
                  <a:gd name="connsiteY490" fmla="*/ 277283 h 292283"/>
                  <a:gd name="connsiteX491" fmla="*/ 140460 w 297586"/>
                  <a:gd name="connsiteY491" fmla="*/ 278949 h 292283"/>
                  <a:gd name="connsiteX492" fmla="*/ 141217 w 297586"/>
                  <a:gd name="connsiteY492" fmla="*/ 280919 h 292283"/>
                  <a:gd name="connsiteX493" fmla="*/ 141823 w 297586"/>
                  <a:gd name="connsiteY493" fmla="*/ 281828 h 292283"/>
                  <a:gd name="connsiteX494" fmla="*/ 142581 w 297586"/>
                  <a:gd name="connsiteY494" fmla="*/ 281828 h 292283"/>
                  <a:gd name="connsiteX495" fmla="*/ 143945 w 297586"/>
                  <a:gd name="connsiteY495" fmla="*/ 282131 h 292283"/>
                  <a:gd name="connsiteX496" fmla="*/ 145005 w 297586"/>
                  <a:gd name="connsiteY496" fmla="*/ 283344 h 292283"/>
                  <a:gd name="connsiteX497" fmla="*/ 146217 w 297586"/>
                  <a:gd name="connsiteY497" fmla="*/ 285313 h 292283"/>
                  <a:gd name="connsiteX498" fmla="*/ 146672 w 297586"/>
                  <a:gd name="connsiteY498" fmla="*/ 287586 h 292283"/>
                  <a:gd name="connsiteX499" fmla="*/ 146823 w 297586"/>
                  <a:gd name="connsiteY499" fmla="*/ 288495 h 292283"/>
                  <a:gd name="connsiteX500" fmla="*/ 152884 w 297586"/>
                  <a:gd name="connsiteY500" fmla="*/ 288344 h 292283"/>
                  <a:gd name="connsiteX501" fmla="*/ 159400 w 297586"/>
                  <a:gd name="connsiteY501" fmla="*/ 288647 h 292283"/>
                  <a:gd name="connsiteX502" fmla="*/ 160309 w 297586"/>
                  <a:gd name="connsiteY502" fmla="*/ 288798 h 292283"/>
                  <a:gd name="connsiteX503" fmla="*/ 161824 w 297586"/>
                  <a:gd name="connsiteY503" fmla="*/ 289253 h 292283"/>
                  <a:gd name="connsiteX504" fmla="*/ 163491 w 297586"/>
                  <a:gd name="connsiteY504" fmla="*/ 289253 h 292283"/>
                  <a:gd name="connsiteX505" fmla="*/ 165309 w 297586"/>
                  <a:gd name="connsiteY505" fmla="*/ 288647 h 292283"/>
                  <a:gd name="connsiteX506" fmla="*/ 167279 w 297586"/>
                  <a:gd name="connsiteY506" fmla="*/ 287283 h 292283"/>
                  <a:gd name="connsiteX507" fmla="*/ 169551 w 297586"/>
                  <a:gd name="connsiteY507" fmla="*/ 285162 h 292283"/>
                  <a:gd name="connsiteX508" fmla="*/ 173036 w 297586"/>
                  <a:gd name="connsiteY508" fmla="*/ 285162 h 292283"/>
                  <a:gd name="connsiteX509" fmla="*/ 177734 w 297586"/>
                  <a:gd name="connsiteY509" fmla="*/ 287435 h 292283"/>
                  <a:gd name="connsiteX510" fmla="*/ 180310 w 297586"/>
                  <a:gd name="connsiteY510" fmla="*/ 289404 h 292283"/>
                  <a:gd name="connsiteX511" fmla="*/ 180764 w 297586"/>
                  <a:gd name="connsiteY511" fmla="*/ 291071 h 292283"/>
                  <a:gd name="connsiteX512" fmla="*/ 183946 w 297586"/>
                  <a:gd name="connsiteY512" fmla="*/ 291980 h 292283"/>
                  <a:gd name="connsiteX513" fmla="*/ 189704 w 297586"/>
                  <a:gd name="connsiteY513" fmla="*/ 292283 h 292283"/>
                  <a:gd name="connsiteX514" fmla="*/ 193946 w 297586"/>
                  <a:gd name="connsiteY514" fmla="*/ 291374 h 292283"/>
                  <a:gd name="connsiteX515" fmla="*/ 196674 w 297586"/>
                  <a:gd name="connsiteY515" fmla="*/ 289404 h 292283"/>
                  <a:gd name="connsiteX516" fmla="*/ 199401 w 297586"/>
                  <a:gd name="connsiteY516" fmla="*/ 288344 h 292283"/>
                  <a:gd name="connsiteX517" fmla="*/ 202280 w 297586"/>
                  <a:gd name="connsiteY517" fmla="*/ 288192 h 292283"/>
                  <a:gd name="connsiteX518" fmla="*/ 204401 w 297586"/>
                  <a:gd name="connsiteY518" fmla="*/ 288950 h 292283"/>
                  <a:gd name="connsiteX519" fmla="*/ 205917 w 297586"/>
                  <a:gd name="connsiteY519" fmla="*/ 290465 h 292283"/>
                  <a:gd name="connsiteX520" fmla="*/ 208796 w 297586"/>
                  <a:gd name="connsiteY520" fmla="*/ 291526 h 292283"/>
                  <a:gd name="connsiteX521" fmla="*/ 213038 w 297586"/>
                  <a:gd name="connsiteY521" fmla="*/ 292132 h 292283"/>
                  <a:gd name="connsiteX522" fmla="*/ 217584 w 297586"/>
                  <a:gd name="connsiteY522" fmla="*/ 291223 h 292283"/>
                  <a:gd name="connsiteX523" fmla="*/ 222584 w 297586"/>
                  <a:gd name="connsiteY523" fmla="*/ 288647 h 292283"/>
                  <a:gd name="connsiteX524" fmla="*/ 225463 w 297586"/>
                  <a:gd name="connsiteY524" fmla="*/ 285919 h 292283"/>
                  <a:gd name="connsiteX525" fmla="*/ 226220 w 297586"/>
                  <a:gd name="connsiteY525" fmla="*/ 283041 h 292283"/>
                  <a:gd name="connsiteX526" fmla="*/ 226978 w 297586"/>
                  <a:gd name="connsiteY526" fmla="*/ 281374 h 292283"/>
                  <a:gd name="connsiteX527" fmla="*/ 227887 w 297586"/>
                  <a:gd name="connsiteY527" fmla="*/ 280768 h 292283"/>
                  <a:gd name="connsiteX528" fmla="*/ 230614 w 297586"/>
                  <a:gd name="connsiteY528" fmla="*/ 280465 h 292283"/>
                  <a:gd name="connsiteX529" fmla="*/ 235008 w 297586"/>
                  <a:gd name="connsiteY529" fmla="*/ 280313 h 292283"/>
                  <a:gd name="connsiteX530" fmla="*/ 238796 w 297586"/>
                  <a:gd name="connsiteY530" fmla="*/ 281222 h 292283"/>
                  <a:gd name="connsiteX531" fmla="*/ 243645 w 297586"/>
                  <a:gd name="connsiteY531" fmla="*/ 284101 h 292283"/>
                  <a:gd name="connsiteX532" fmla="*/ 246676 w 297586"/>
                  <a:gd name="connsiteY532" fmla="*/ 282283 h 292283"/>
                  <a:gd name="connsiteX533" fmla="*/ 251979 w 297586"/>
                  <a:gd name="connsiteY533" fmla="*/ 279101 h 292283"/>
                  <a:gd name="connsiteX534" fmla="*/ 257282 w 297586"/>
                  <a:gd name="connsiteY534" fmla="*/ 277434 h 292283"/>
                  <a:gd name="connsiteX535" fmla="*/ 262282 w 297586"/>
                  <a:gd name="connsiteY535" fmla="*/ 277434 h 292283"/>
                  <a:gd name="connsiteX536" fmla="*/ 266373 w 297586"/>
                  <a:gd name="connsiteY536" fmla="*/ 276222 h 292283"/>
                  <a:gd name="connsiteX537" fmla="*/ 269555 w 297586"/>
                  <a:gd name="connsiteY537" fmla="*/ 273798 h 292283"/>
                  <a:gd name="connsiteX538" fmla="*/ 272889 w 297586"/>
                  <a:gd name="connsiteY538" fmla="*/ 272283 h 292283"/>
                  <a:gd name="connsiteX539" fmla="*/ 276525 w 297586"/>
                  <a:gd name="connsiteY539" fmla="*/ 271676 h 292283"/>
                  <a:gd name="connsiteX540" fmla="*/ 279858 w 297586"/>
                  <a:gd name="connsiteY540" fmla="*/ 270464 h 292283"/>
                  <a:gd name="connsiteX541" fmla="*/ 284556 w 297586"/>
                  <a:gd name="connsiteY541" fmla="*/ 267888 h 292283"/>
                  <a:gd name="connsiteX542" fmla="*/ 289404 w 297586"/>
                  <a:gd name="connsiteY542" fmla="*/ 264252 h 292283"/>
                  <a:gd name="connsiteX543" fmla="*/ 294405 w 297586"/>
                  <a:gd name="connsiteY543" fmla="*/ 260464 h 292283"/>
                  <a:gd name="connsiteX544" fmla="*/ 297587 w 297586"/>
                  <a:gd name="connsiteY544" fmla="*/ 258040 h 292283"/>
                  <a:gd name="connsiteX545" fmla="*/ 297284 w 297586"/>
                  <a:gd name="connsiteY545" fmla="*/ 258040 h 292283"/>
                  <a:gd name="connsiteX546" fmla="*/ 89245 w 297586"/>
                  <a:gd name="connsiteY546" fmla="*/ 29243 h 292283"/>
                  <a:gd name="connsiteX547" fmla="*/ 90609 w 297586"/>
                  <a:gd name="connsiteY547" fmla="*/ 29850 h 292283"/>
                  <a:gd name="connsiteX548" fmla="*/ 93034 w 297586"/>
                  <a:gd name="connsiteY548" fmla="*/ 30456 h 292283"/>
                  <a:gd name="connsiteX549" fmla="*/ 95003 w 297586"/>
                  <a:gd name="connsiteY549" fmla="*/ 31213 h 292283"/>
                  <a:gd name="connsiteX550" fmla="*/ 96822 w 297586"/>
                  <a:gd name="connsiteY550" fmla="*/ 31819 h 292283"/>
                  <a:gd name="connsiteX551" fmla="*/ 98185 w 297586"/>
                  <a:gd name="connsiteY551" fmla="*/ 31819 h 292283"/>
                  <a:gd name="connsiteX552" fmla="*/ 98337 w 297586"/>
                  <a:gd name="connsiteY552" fmla="*/ 30607 h 292283"/>
                  <a:gd name="connsiteX553" fmla="*/ 97124 w 297586"/>
                  <a:gd name="connsiteY553" fmla="*/ 29395 h 292283"/>
                  <a:gd name="connsiteX554" fmla="*/ 96519 w 297586"/>
                  <a:gd name="connsiteY554" fmla="*/ 27880 h 292283"/>
                  <a:gd name="connsiteX555" fmla="*/ 95912 w 297586"/>
                  <a:gd name="connsiteY555" fmla="*/ 26668 h 292283"/>
                  <a:gd name="connsiteX556" fmla="*/ 93943 w 297586"/>
                  <a:gd name="connsiteY556" fmla="*/ 26819 h 292283"/>
                  <a:gd name="connsiteX557" fmla="*/ 92427 w 297586"/>
                  <a:gd name="connsiteY557" fmla="*/ 26819 h 292283"/>
                  <a:gd name="connsiteX558" fmla="*/ 91822 w 297586"/>
                  <a:gd name="connsiteY558" fmla="*/ 24849 h 292283"/>
                  <a:gd name="connsiteX559" fmla="*/ 90003 w 297586"/>
                  <a:gd name="connsiteY559" fmla="*/ 25001 h 292283"/>
                  <a:gd name="connsiteX560" fmla="*/ 88488 w 297586"/>
                  <a:gd name="connsiteY560" fmla="*/ 25910 h 292283"/>
                  <a:gd name="connsiteX561" fmla="*/ 88943 w 297586"/>
                  <a:gd name="connsiteY561" fmla="*/ 26971 h 292283"/>
                  <a:gd name="connsiteX562" fmla="*/ 89245 w 297586"/>
                  <a:gd name="connsiteY562" fmla="*/ 29243 h 29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Lst>
                <a:rect l="l" t="t" r="r" b="b"/>
                <a:pathLst>
                  <a:path w="297586" h="292283">
                    <a:moveTo>
                      <a:pt x="275465" y="190916"/>
                    </a:moveTo>
                    <a:lnTo>
                      <a:pt x="276980" y="190613"/>
                    </a:lnTo>
                    <a:lnTo>
                      <a:pt x="278344" y="188795"/>
                    </a:lnTo>
                    <a:lnTo>
                      <a:pt x="280010" y="188492"/>
                    </a:lnTo>
                    <a:lnTo>
                      <a:pt x="281980" y="183643"/>
                    </a:lnTo>
                    <a:lnTo>
                      <a:pt x="282283" y="181522"/>
                    </a:lnTo>
                    <a:lnTo>
                      <a:pt x="281828" y="181976"/>
                    </a:lnTo>
                    <a:lnTo>
                      <a:pt x="280616" y="183794"/>
                    </a:lnTo>
                    <a:lnTo>
                      <a:pt x="277131" y="186522"/>
                    </a:lnTo>
                    <a:lnTo>
                      <a:pt x="275616" y="188340"/>
                    </a:lnTo>
                    <a:lnTo>
                      <a:pt x="274101" y="189249"/>
                    </a:lnTo>
                    <a:lnTo>
                      <a:pt x="275010" y="190461"/>
                    </a:lnTo>
                    <a:lnTo>
                      <a:pt x="275465" y="190916"/>
                    </a:lnTo>
                    <a:close/>
                    <a:moveTo>
                      <a:pt x="275919" y="120307"/>
                    </a:moveTo>
                    <a:lnTo>
                      <a:pt x="276828" y="120913"/>
                    </a:lnTo>
                    <a:lnTo>
                      <a:pt x="278040" y="121368"/>
                    </a:lnTo>
                    <a:lnTo>
                      <a:pt x="279253" y="120004"/>
                    </a:lnTo>
                    <a:lnTo>
                      <a:pt x="280768" y="116216"/>
                    </a:lnTo>
                    <a:lnTo>
                      <a:pt x="280919" y="113489"/>
                    </a:lnTo>
                    <a:lnTo>
                      <a:pt x="280768" y="109398"/>
                    </a:lnTo>
                    <a:lnTo>
                      <a:pt x="281223" y="108034"/>
                    </a:lnTo>
                    <a:lnTo>
                      <a:pt x="281071" y="106670"/>
                    </a:lnTo>
                    <a:lnTo>
                      <a:pt x="278798" y="107731"/>
                    </a:lnTo>
                    <a:lnTo>
                      <a:pt x="275919" y="107277"/>
                    </a:lnTo>
                    <a:lnTo>
                      <a:pt x="276677" y="112428"/>
                    </a:lnTo>
                    <a:lnTo>
                      <a:pt x="275161" y="119398"/>
                    </a:lnTo>
                    <a:lnTo>
                      <a:pt x="275919" y="120307"/>
                    </a:lnTo>
                    <a:close/>
                    <a:moveTo>
                      <a:pt x="263192" y="138793"/>
                    </a:moveTo>
                    <a:lnTo>
                      <a:pt x="262585" y="141217"/>
                    </a:lnTo>
                    <a:lnTo>
                      <a:pt x="264252" y="143945"/>
                    </a:lnTo>
                    <a:lnTo>
                      <a:pt x="266070" y="144096"/>
                    </a:lnTo>
                    <a:lnTo>
                      <a:pt x="268040" y="146369"/>
                    </a:lnTo>
                    <a:lnTo>
                      <a:pt x="269101" y="145914"/>
                    </a:lnTo>
                    <a:lnTo>
                      <a:pt x="269707" y="147884"/>
                    </a:lnTo>
                    <a:lnTo>
                      <a:pt x="270616" y="148793"/>
                    </a:lnTo>
                    <a:lnTo>
                      <a:pt x="271373" y="148793"/>
                    </a:lnTo>
                    <a:lnTo>
                      <a:pt x="272889" y="148187"/>
                    </a:lnTo>
                    <a:lnTo>
                      <a:pt x="273192" y="147126"/>
                    </a:lnTo>
                    <a:lnTo>
                      <a:pt x="271070" y="141369"/>
                    </a:lnTo>
                    <a:lnTo>
                      <a:pt x="270768" y="141066"/>
                    </a:lnTo>
                    <a:lnTo>
                      <a:pt x="269252" y="139702"/>
                    </a:lnTo>
                    <a:lnTo>
                      <a:pt x="267434" y="135156"/>
                    </a:lnTo>
                    <a:lnTo>
                      <a:pt x="267131" y="131368"/>
                    </a:lnTo>
                    <a:lnTo>
                      <a:pt x="265767" y="128944"/>
                    </a:lnTo>
                    <a:lnTo>
                      <a:pt x="264555" y="132581"/>
                    </a:lnTo>
                    <a:lnTo>
                      <a:pt x="262585" y="134702"/>
                    </a:lnTo>
                    <a:lnTo>
                      <a:pt x="263192" y="138793"/>
                    </a:lnTo>
                    <a:close/>
                    <a:moveTo>
                      <a:pt x="60911" y="32880"/>
                    </a:moveTo>
                    <a:lnTo>
                      <a:pt x="60153" y="34092"/>
                    </a:lnTo>
                    <a:lnTo>
                      <a:pt x="60002" y="36516"/>
                    </a:lnTo>
                    <a:lnTo>
                      <a:pt x="61669" y="38183"/>
                    </a:lnTo>
                    <a:lnTo>
                      <a:pt x="61820" y="40153"/>
                    </a:lnTo>
                    <a:lnTo>
                      <a:pt x="63184" y="39850"/>
                    </a:lnTo>
                    <a:lnTo>
                      <a:pt x="63638" y="37880"/>
                    </a:lnTo>
                    <a:lnTo>
                      <a:pt x="65002" y="37729"/>
                    </a:lnTo>
                    <a:lnTo>
                      <a:pt x="66972" y="37274"/>
                    </a:lnTo>
                    <a:lnTo>
                      <a:pt x="67426" y="36668"/>
                    </a:lnTo>
                    <a:lnTo>
                      <a:pt x="67578" y="35001"/>
                    </a:lnTo>
                    <a:lnTo>
                      <a:pt x="67124" y="34395"/>
                    </a:lnTo>
                    <a:lnTo>
                      <a:pt x="65154" y="35001"/>
                    </a:lnTo>
                    <a:lnTo>
                      <a:pt x="63184" y="35456"/>
                    </a:lnTo>
                    <a:lnTo>
                      <a:pt x="62578" y="34850"/>
                    </a:lnTo>
                    <a:lnTo>
                      <a:pt x="61669" y="33486"/>
                    </a:lnTo>
                    <a:lnTo>
                      <a:pt x="60911" y="32880"/>
                    </a:lnTo>
                    <a:close/>
                    <a:moveTo>
                      <a:pt x="297284" y="258040"/>
                    </a:moveTo>
                    <a:lnTo>
                      <a:pt x="296829" y="257131"/>
                    </a:lnTo>
                    <a:lnTo>
                      <a:pt x="295617" y="255615"/>
                    </a:lnTo>
                    <a:lnTo>
                      <a:pt x="290920" y="252585"/>
                    </a:lnTo>
                    <a:lnTo>
                      <a:pt x="288799" y="251524"/>
                    </a:lnTo>
                    <a:lnTo>
                      <a:pt x="287283" y="250312"/>
                    </a:lnTo>
                    <a:lnTo>
                      <a:pt x="284556" y="250464"/>
                    </a:lnTo>
                    <a:lnTo>
                      <a:pt x="283495" y="248645"/>
                    </a:lnTo>
                    <a:lnTo>
                      <a:pt x="281223" y="246676"/>
                    </a:lnTo>
                    <a:lnTo>
                      <a:pt x="277435" y="246069"/>
                    </a:lnTo>
                    <a:lnTo>
                      <a:pt x="279101" y="243645"/>
                    </a:lnTo>
                    <a:lnTo>
                      <a:pt x="278798" y="241524"/>
                    </a:lnTo>
                    <a:lnTo>
                      <a:pt x="277586" y="238493"/>
                    </a:lnTo>
                    <a:lnTo>
                      <a:pt x="276677" y="234403"/>
                    </a:lnTo>
                    <a:lnTo>
                      <a:pt x="274707" y="229705"/>
                    </a:lnTo>
                    <a:lnTo>
                      <a:pt x="275161" y="223796"/>
                    </a:lnTo>
                    <a:lnTo>
                      <a:pt x="270010" y="216977"/>
                    </a:lnTo>
                    <a:lnTo>
                      <a:pt x="270768" y="215917"/>
                    </a:lnTo>
                    <a:lnTo>
                      <a:pt x="270919" y="214705"/>
                    </a:lnTo>
                    <a:lnTo>
                      <a:pt x="267889" y="210917"/>
                    </a:lnTo>
                    <a:lnTo>
                      <a:pt x="265919" y="203341"/>
                    </a:lnTo>
                    <a:lnTo>
                      <a:pt x="266070" y="200765"/>
                    </a:lnTo>
                    <a:lnTo>
                      <a:pt x="266980" y="197734"/>
                    </a:lnTo>
                    <a:lnTo>
                      <a:pt x="269707" y="191370"/>
                    </a:lnTo>
                    <a:lnTo>
                      <a:pt x="269404" y="185916"/>
                    </a:lnTo>
                    <a:lnTo>
                      <a:pt x="266676" y="184098"/>
                    </a:lnTo>
                    <a:lnTo>
                      <a:pt x="265464" y="185158"/>
                    </a:lnTo>
                    <a:lnTo>
                      <a:pt x="265464" y="177734"/>
                    </a:lnTo>
                    <a:lnTo>
                      <a:pt x="267282" y="172885"/>
                    </a:lnTo>
                    <a:lnTo>
                      <a:pt x="269404" y="169249"/>
                    </a:lnTo>
                    <a:lnTo>
                      <a:pt x="271677" y="166976"/>
                    </a:lnTo>
                    <a:lnTo>
                      <a:pt x="272434" y="164248"/>
                    </a:lnTo>
                    <a:lnTo>
                      <a:pt x="270464" y="160309"/>
                    </a:lnTo>
                    <a:lnTo>
                      <a:pt x="265464" y="158642"/>
                    </a:lnTo>
                    <a:lnTo>
                      <a:pt x="263797" y="155157"/>
                    </a:lnTo>
                    <a:lnTo>
                      <a:pt x="260918" y="151672"/>
                    </a:lnTo>
                    <a:lnTo>
                      <a:pt x="259403" y="150157"/>
                    </a:lnTo>
                    <a:lnTo>
                      <a:pt x="256979" y="148945"/>
                    </a:lnTo>
                    <a:lnTo>
                      <a:pt x="254100" y="145611"/>
                    </a:lnTo>
                    <a:lnTo>
                      <a:pt x="253646" y="142126"/>
                    </a:lnTo>
                    <a:lnTo>
                      <a:pt x="252282" y="138490"/>
                    </a:lnTo>
                    <a:lnTo>
                      <a:pt x="252737" y="133187"/>
                    </a:lnTo>
                    <a:lnTo>
                      <a:pt x="255312" y="126368"/>
                    </a:lnTo>
                    <a:lnTo>
                      <a:pt x="257130" y="123489"/>
                    </a:lnTo>
                    <a:lnTo>
                      <a:pt x="259252" y="115610"/>
                    </a:lnTo>
                    <a:lnTo>
                      <a:pt x="260009" y="113792"/>
                    </a:lnTo>
                    <a:lnTo>
                      <a:pt x="260918" y="111065"/>
                    </a:lnTo>
                    <a:lnTo>
                      <a:pt x="261070" y="108792"/>
                    </a:lnTo>
                    <a:lnTo>
                      <a:pt x="263192" y="103186"/>
                    </a:lnTo>
                    <a:lnTo>
                      <a:pt x="263797" y="100913"/>
                    </a:lnTo>
                    <a:lnTo>
                      <a:pt x="262888" y="100458"/>
                    </a:lnTo>
                    <a:lnTo>
                      <a:pt x="260918" y="98943"/>
                    </a:lnTo>
                    <a:lnTo>
                      <a:pt x="256676" y="95913"/>
                    </a:lnTo>
                    <a:lnTo>
                      <a:pt x="252433" y="92882"/>
                    </a:lnTo>
                    <a:lnTo>
                      <a:pt x="248191" y="89852"/>
                    </a:lnTo>
                    <a:lnTo>
                      <a:pt x="243948" y="86821"/>
                    </a:lnTo>
                    <a:lnTo>
                      <a:pt x="239706" y="83791"/>
                    </a:lnTo>
                    <a:lnTo>
                      <a:pt x="235463" y="80761"/>
                    </a:lnTo>
                    <a:lnTo>
                      <a:pt x="231220" y="77730"/>
                    </a:lnTo>
                    <a:lnTo>
                      <a:pt x="226978" y="74700"/>
                    </a:lnTo>
                    <a:lnTo>
                      <a:pt x="224553" y="72881"/>
                    </a:lnTo>
                    <a:lnTo>
                      <a:pt x="223493" y="71821"/>
                    </a:lnTo>
                    <a:lnTo>
                      <a:pt x="222584" y="69699"/>
                    </a:lnTo>
                    <a:lnTo>
                      <a:pt x="222129" y="69245"/>
                    </a:lnTo>
                    <a:lnTo>
                      <a:pt x="221069" y="68639"/>
                    </a:lnTo>
                    <a:lnTo>
                      <a:pt x="219705" y="68487"/>
                    </a:lnTo>
                    <a:lnTo>
                      <a:pt x="219250" y="68033"/>
                    </a:lnTo>
                    <a:lnTo>
                      <a:pt x="219250" y="66972"/>
                    </a:lnTo>
                    <a:lnTo>
                      <a:pt x="219705" y="65457"/>
                    </a:lnTo>
                    <a:lnTo>
                      <a:pt x="221220" y="62730"/>
                    </a:lnTo>
                    <a:lnTo>
                      <a:pt x="221372" y="61063"/>
                    </a:lnTo>
                    <a:lnTo>
                      <a:pt x="221069" y="59244"/>
                    </a:lnTo>
                    <a:lnTo>
                      <a:pt x="220614" y="56366"/>
                    </a:lnTo>
                    <a:lnTo>
                      <a:pt x="220160" y="55760"/>
                    </a:lnTo>
                    <a:lnTo>
                      <a:pt x="217432" y="54244"/>
                    </a:lnTo>
                    <a:lnTo>
                      <a:pt x="211674" y="51062"/>
                    </a:lnTo>
                    <a:lnTo>
                      <a:pt x="205917" y="47880"/>
                    </a:lnTo>
                    <a:lnTo>
                      <a:pt x="200159" y="44699"/>
                    </a:lnTo>
                    <a:lnTo>
                      <a:pt x="194401" y="41517"/>
                    </a:lnTo>
                    <a:lnTo>
                      <a:pt x="188643" y="38335"/>
                    </a:lnTo>
                    <a:lnTo>
                      <a:pt x="182734" y="35153"/>
                    </a:lnTo>
                    <a:lnTo>
                      <a:pt x="176976" y="31971"/>
                    </a:lnTo>
                    <a:lnTo>
                      <a:pt x="171218" y="28789"/>
                    </a:lnTo>
                    <a:lnTo>
                      <a:pt x="165460" y="25607"/>
                    </a:lnTo>
                    <a:lnTo>
                      <a:pt x="159703" y="22425"/>
                    </a:lnTo>
                    <a:lnTo>
                      <a:pt x="153945" y="19243"/>
                    </a:lnTo>
                    <a:lnTo>
                      <a:pt x="148036" y="16061"/>
                    </a:lnTo>
                    <a:lnTo>
                      <a:pt x="142278" y="12879"/>
                    </a:lnTo>
                    <a:lnTo>
                      <a:pt x="136520" y="9697"/>
                    </a:lnTo>
                    <a:lnTo>
                      <a:pt x="130611" y="6515"/>
                    </a:lnTo>
                    <a:lnTo>
                      <a:pt x="124853" y="3333"/>
                    </a:lnTo>
                    <a:lnTo>
                      <a:pt x="122731" y="2121"/>
                    </a:lnTo>
                    <a:lnTo>
                      <a:pt x="119398" y="6061"/>
                    </a:lnTo>
                    <a:lnTo>
                      <a:pt x="118641" y="7727"/>
                    </a:lnTo>
                    <a:lnTo>
                      <a:pt x="118792" y="8637"/>
                    </a:lnTo>
                    <a:lnTo>
                      <a:pt x="120004" y="9849"/>
                    </a:lnTo>
                    <a:lnTo>
                      <a:pt x="119701" y="10303"/>
                    </a:lnTo>
                    <a:lnTo>
                      <a:pt x="116974" y="10303"/>
                    </a:lnTo>
                    <a:lnTo>
                      <a:pt x="116519" y="10910"/>
                    </a:lnTo>
                    <a:lnTo>
                      <a:pt x="116519" y="11667"/>
                    </a:lnTo>
                    <a:lnTo>
                      <a:pt x="116216" y="12121"/>
                    </a:lnTo>
                    <a:lnTo>
                      <a:pt x="116368" y="12576"/>
                    </a:lnTo>
                    <a:lnTo>
                      <a:pt x="118943" y="14546"/>
                    </a:lnTo>
                    <a:lnTo>
                      <a:pt x="119095" y="15000"/>
                    </a:lnTo>
                    <a:lnTo>
                      <a:pt x="118186" y="15000"/>
                    </a:lnTo>
                    <a:lnTo>
                      <a:pt x="115459" y="14243"/>
                    </a:lnTo>
                    <a:lnTo>
                      <a:pt x="113792" y="14091"/>
                    </a:lnTo>
                    <a:lnTo>
                      <a:pt x="112580" y="14243"/>
                    </a:lnTo>
                    <a:lnTo>
                      <a:pt x="112125" y="14698"/>
                    </a:lnTo>
                    <a:lnTo>
                      <a:pt x="111519" y="16516"/>
                    </a:lnTo>
                    <a:lnTo>
                      <a:pt x="112125" y="17425"/>
                    </a:lnTo>
                    <a:lnTo>
                      <a:pt x="112276" y="18334"/>
                    </a:lnTo>
                    <a:lnTo>
                      <a:pt x="110307" y="19698"/>
                    </a:lnTo>
                    <a:lnTo>
                      <a:pt x="110004" y="21667"/>
                    </a:lnTo>
                    <a:lnTo>
                      <a:pt x="108792" y="22728"/>
                    </a:lnTo>
                    <a:lnTo>
                      <a:pt x="107277" y="23334"/>
                    </a:lnTo>
                    <a:lnTo>
                      <a:pt x="104852" y="23031"/>
                    </a:lnTo>
                    <a:lnTo>
                      <a:pt x="103943" y="23486"/>
                    </a:lnTo>
                    <a:lnTo>
                      <a:pt x="103034" y="24395"/>
                    </a:lnTo>
                    <a:lnTo>
                      <a:pt x="102125" y="25910"/>
                    </a:lnTo>
                    <a:lnTo>
                      <a:pt x="106367" y="25758"/>
                    </a:lnTo>
                    <a:lnTo>
                      <a:pt x="107125" y="26062"/>
                    </a:lnTo>
                    <a:lnTo>
                      <a:pt x="107428" y="26668"/>
                    </a:lnTo>
                    <a:lnTo>
                      <a:pt x="108186" y="27425"/>
                    </a:lnTo>
                    <a:lnTo>
                      <a:pt x="108337" y="27880"/>
                    </a:lnTo>
                    <a:lnTo>
                      <a:pt x="105307" y="27880"/>
                    </a:lnTo>
                    <a:lnTo>
                      <a:pt x="104246" y="28789"/>
                    </a:lnTo>
                    <a:lnTo>
                      <a:pt x="102277" y="28486"/>
                    </a:lnTo>
                    <a:lnTo>
                      <a:pt x="100458" y="29850"/>
                    </a:lnTo>
                    <a:lnTo>
                      <a:pt x="100307" y="30456"/>
                    </a:lnTo>
                    <a:lnTo>
                      <a:pt x="101670" y="31213"/>
                    </a:lnTo>
                    <a:lnTo>
                      <a:pt x="108337" y="32274"/>
                    </a:lnTo>
                    <a:lnTo>
                      <a:pt x="110155" y="32425"/>
                    </a:lnTo>
                    <a:lnTo>
                      <a:pt x="114701" y="30910"/>
                    </a:lnTo>
                    <a:lnTo>
                      <a:pt x="115913" y="31213"/>
                    </a:lnTo>
                    <a:lnTo>
                      <a:pt x="116368" y="32122"/>
                    </a:lnTo>
                    <a:lnTo>
                      <a:pt x="116368" y="33031"/>
                    </a:lnTo>
                    <a:lnTo>
                      <a:pt x="115155" y="34244"/>
                    </a:lnTo>
                    <a:lnTo>
                      <a:pt x="110458" y="37426"/>
                    </a:lnTo>
                    <a:lnTo>
                      <a:pt x="108186" y="39395"/>
                    </a:lnTo>
                    <a:lnTo>
                      <a:pt x="106065" y="40153"/>
                    </a:lnTo>
                    <a:lnTo>
                      <a:pt x="106367" y="41365"/>
                    </a:lnTo>
                    <a:lnTo>
                      <a:pt x="106216" y="41971"/>
                    </a:lnTo>
                    <a:lnTo>
                      <a:pt x="105610" y="42274"/>
                    </a:lnTo>
                    <a:lnTo>
                      <a:pt x="100003" y="41062"/>
                    </a:lnTo>
                    <a:lnTo>
                      <a:pt x="96064" y="38941"/>
                    </a:lnTo>
                    <a:lnTo>
                      <a:pt x="94245" y="38638"/>
                    </a:lnTo>
                    <a:lnTo>
                      <a:pt x="92731" y="39092"/>
                    </a:lnTo>
                    <a:lnTo>
                      <a:pt x="91670" y="39850"/>
                    </a:lnTo>
                    <a:lnTo>
                      <a:pt x="91215" y="40759"/>
                    </a:lnTo>
                    <a:lnTo>
                      <a:pt x="91064" y="45608"/>
                    </a:lnTo>
                    <a:lnTo>
                      <a:pt x="92731" y="49850"/>
                    </a:lnTo>
                    <a:lnTo>
                      <a:pt x="93185" y="50608"/>
                    </a:lnTo>
                    <a:lnTo>
                      <a:pt x="91215" y="50911"/>
                    </a:lnTo>
                    <a:lnTo>
                      <a:pt x="88185" y="53941"/>
                    </a:lnTo>
                    <a:lnTo>
                      <a:pt x="87579" y="54244"/>
                    </a:lnTo>
                    <a:lnTo>
                      <a:pt x="87882" y="52275"/>
                    </a:lnTo>
                    <a:lnTo>
                      <a:pt x="87579" y="51062"/>
                    </a:lnTo>
                    <a:lnTo>
                      <a:pt x="89852" y="49093"/>
                    </a:lnTo>
                    <a:lnTo>
                      <a:pt x="90306" y="48032"/>
                    </a:lnTo>
                    <a:lnTo>
                      <a:pt x="88943" y="45002"/>
                    </a:lnTo>
                    <a:lnTo>
                      <a:pt x="89245" y="42123"/>
                    </a:lnTo>
                    <a:lnTo>
                      <a:pt x="88943" y="41365"/>
                    </a:lnTo>
                    <a:lnTo>
                      <a:pt x="87276" y="41365"/>
                    </a:lnTo>
                    <a:lnTo>
                      <a:pt x="85912" y="41062"/>
                    </a:lnTo>
                    <a:lnTo>
                      <a:pt x="85457" y="40759"/>
                    </a:lnTo>
                    <a:lnTo>
                      <a:pt x="85003" y="39850"/>
                    </a:lnTo>
                    <a:lnTo>
                      <a:pt x="84246" y="39395"/>
                    </a:lnTo>
                    <a:lnTo>
                      <a:pt x="81669" y="41214"/>
                    </a:lnTo>
                    <a:lnTo>
                      <a:pt x="81367" y="40911"/>
                    </a:lnTo>
                    <a:lnTo>
                      <a:pt x="81367" y="40001"/>
                    </a:lnTo>
                    <a:lnTo>
                      <a:pt x="80912" y="39698"/>
                    </a:lnTo>
                    <a:lnTo>
                      <a:pt x="78639" y="39395"/>
                    </a:lnTo>
                    <a:lnTo>
                      <a:pt x="77275" y="38789"/>
                    </a:lnTo>
                    <a:lnTo>
                      <a:pt x="76366" y="38032"/>
                    </a:lnTo>
                    <a:lnTo>
                      <a:pt x="75305" y="35607"/>
                    </a:lnTo>
                    <a:lnTo>
                      <a:pt x="74245" y="35001"/>
                    </a:lnTo>
                    <a:lnTo>
                      <a:pt x="73033" y="35001"/>
                    </a:lnTo>
                    <a:lnTo>
                      <a:pt x="72275" y="35759"/>
                    </a:lnTo>
                    <a:lnTo>
                      <a:pt x="71214" y="37274"/>
                    </a:lnTo>
                    <a:lnTo>
                      <a:pt x="69548" y="37577"/>
                    </a:lnTo>
                    <a:lnTo>
                      <a:pt x="69093" y="38032"/>
                    </a:lnTo>
                    <a:lnTo>
                      <a:pt x="70305" y="40607"/>
                    </a:lnTo>
                    <a:lnTo>
                      <a:pt x="70608" y="41668"/>
                    </a:lnTo>
                    <a:lnTo>
                      <a:pt x="70003" y="41971"/>
                    </a:lnTo>
                    <a:lnTo>
                      <a:pt x="67275" y="41365"/>
                    </a:lnTo>
                    <a:lnTo>
                      <a:pt x="66063" y="42123"/>
                    </a:lnTo>
                    <a:lnTo>
                      <a:pt x="65608" y="43789"/>
                    </a:lnTo>
                    <a:lnTo>
                      <a:pt x="65911" y="45608"/>
                    </a:lnTo>
                    <a:lnTo>
                      <a:pt x="66517" y="47729"/>
                    </a:lnTo>
                    <a:lnTo>
                      <a:pt x="65608" y="47577"/>
                    </a:lnTo>
                    <a:lnTo>
                      <a:pt x="64093" y="45456"/>
                    </a:lnTo>
                    <a:lnTo>
                      <a:pt x="63487" y="45608"/>
                    </a:lnTo>
                    <a:lnTo>
                      <a:pt x="63184" y="46214"/>
                    </a:lnTo>
                    <a:lnTo>
                      <a:pt x="62123" y="46365"/>
                    </a:lnTo>
                    <a:lnTo>
                      <a:pt x="61366" y="48941"/>
                    </a:lnTo>
                    <a:lnTo>
                      <a:pt x="60911" y="48790"/>
                    </a:lnTo>
                    <a:lnTo>
                      <a:pt x="60457" y="47729"/>
                    </a:lnTo>
                    <a:lnTo>
                      <a:pt x="60457" y="46214"/>
                    </a:lnTo>
                    <a:lnTo>
                      <a:pt x="61366" y="44244"/>
                    </a:lnTo>
                    <a:lnTo>
                      <a:pt x="60153" y="43638"/>
                    </a:lnTo>
                    <a:lnTo>
                      <a:pt x="59396" y="42880"/>
                    </a:lnTo>
                    <a:lnTo>
                      <a:pt x="59244" y="41820"/>
                    </a:lnTo>
                    <a:lnTo>
                      <a:pt x="60608" y="40001"/>
                    </a:lnTo>
                    <a:lnTo>
                      <a:pt x="60457" y="39244"/>
                    </a:lnTo>
                    <a:lnTo>
                      <a:pt x="60002" y="38183"/>
                    </a:lnTo>
                    <a:lnTo>
                      <a:pt x="59244" y="36971"/>
                    </a:lnTo>
                    <a:lnTo>
                      <a:pt x="58184" y="36213"/>
                    </a:lnTo>
                    <a:lnTo>
                      <a:pt x="57426" y="34850"/>
                    </a:lnTo>
                    <a:lnTo>
                      <a:pt x="57426" y="29546"/>
                    </a:lnTo>
                    <a:lnTo>
                      <a:pt x="57123" y="27880"/>
                    </a:lnTo>
                    <a:lnTo>
                      <a:pt x="57123" y="25607"/>
                    </a:lnTo>
                    <a:lnTo>
                      <a:pt x="59850" y="13637"/>
                    </a:lnTo>
                    <a:lnTo>
                      <a:pt x="61214" y="11667"/>
                    </a:lnTo>
                    <a:lnTo>
                      <a:pt x="61669" y="10000"/>
                    </a:lnTo>
                    <a:lnTo>
                      <a:pt x="62729" y="2727"/>
                    </a:lnTo>
                    <a:lnTo>
                      <a:pt x="62578" y="1364"/>
                    </a:lnTo>
                    <a:lnTo>
                      <a:pt x="62275" y="606"/>
                    </a:lnTo>
                    <a:lnTo>
                      <a:pt x="61669" y="455"/>
                    </a:lnTo>
                    <a:lnTo>
                      <a:pt x="61063" y="757"/>
                    </a:lnTo>
                    <a:lnTo>
                      <a:pt x="60457" y="455"/>
                    </a:lnTo>
                    <a:lnTo>
                      <a:pt x="60457" y="303"/>
                    </a:lnTo>
                    <a:lnTo>
                      <a:pt x="57123" y="303"/>
                    </a:lnTo>
                    <a:lnTo>
                      <a:pt x="52274" y="303"/>
                    </a:lnTo>
                    <a:lnTo>
                      <a:pt x="47426" y="303"/>
                    </a:lnTo>
                    <a:lnTo>
                      <a:pt x="42577" y="303"/>
                    </a:lnTo>
                    <a:lnTo>
                      <a:pt x="37729" y="303"/>
                    </a:lnTo>
                    <a:lnTo>
                      <a:pt x="34850" y="303"/>
                    </a:lnTo>
                    <a:lnTo>
                      <a:pt x="34243" y="151"/>
                    </a:lnTo>
                    <a:lnTo>
                      <a:pt x="33789" y="0"/>
                    </a:lnTo>
                    <a:lnTo>
                      <a:pt x="31971" y="303"/>
                    </a:lnTo>
                    <a:lnTo>
                      <a:pt x="30001" y="1515"/>
                    </a:lnTo>
                    <a:lnTo>
                      <a:pt x="28031" y="1970"/>
                    </a:lnTo>
                    <a:lnTo>
                      <a:pt x="25910" y="1818"/>
                    </a:lnTo>
                    <a:lnTo>
                      <a:pt x="25607" y="1970"/>
                    </a:lnTo>
                    <a:lnTo>
                      <a:pt x="24697" y="2424"/>
                    </a:lnTo>
                    <a:lnTo>
                      <a:pt x="24546" y="3788"/>
                    </a:lnTo>
                    <a:lnTo>
                      <a:pt x="25607" y="5909"/>
                    </a:lnTo>
                    <a:lnTo>
                      <a:pt x="28940" y="10303"/>
                    </a:lnTo>
                    <a:lnTo>
                      <a:pt x="31062" y="11061"/>
                    </a:lnTo>
                    <a:lnTo>
                      <a:pt x="32425" y="12728"/>
                    </a:lnTo>
                    <a:lnTo>
                      <a:pt x="33789" y="15607"/>
                    </a:lnTo>
                    <a:lnTo>
                      <a:pt x="34243" y="19092"/>
                    </a:lnTo>
                    <a:lnTo>
                      <a:pt x="33637" y="23334"/>
                    </a:lnTo>
                    <a:lnTo>
                      <a:pt x="33941" y="26516"/>
                    </a:lnTo>
                    <a:lnTo>
                      <a:pt x="35152" y="28637"/>
                    </a:lnTo>
                    <a:lnTo>
                      <a:pt x="35456" y="31365"/>
                    </a:lnTo>
                    <a:lnTo>
                      <a:pt x="34850" y="34698"/>
                    </a:lnTo>
                    <a:lnTo>
                      <a:pt x="34092" y="36668"/>
                    </a:lnTo>
                    <a:lnTo>
                      <a:pt x="33183" y="37274"/>
                    </a:lnTo>
                    <a:lnTo>
                      <a:pt x="32274" y="37577"/>
                    </a:lnTo>
                    <a:lnTo>
                      <a:pt x="30910" y="37426"/>
                    </a:lnTo>
                    <a:lnTo>
                      <a:pt x="29243" y="37729"/>
                    </a:lnTo>
                    <a:lnTo>
                      <a:pt x="27576" y="38335"/>
                    </a:lnTo>
                    <a:lnTo>
                      <a:pt x="26516" y="38486"/>
                    </a:lnTo>
                    <a:lnTo>
                      <a:pt x="25910" y="39244"/>
                    </a:lnTo>
                    <a:lnTo>
                      <a:pt x="23334" y="44395"/>
                    </a:lnTo>
                    <a:lnTo>
                      <a:pt x="22879" y="45153"/>
                    </a:lnTo>
                    <a:lnTo>
                      <a:pt x="23183" y="45608"/>
                    </a:lnTo>
                    <a:lnTo>
                      <a:pt x="24243" y="46517"/>
                    </a:lnTo>
                    <a:lnTo>
                      <a:pt x="23637" y="48183"/>
                    </a:lnTo>
                    <a:lnTo>
                      <a:pt x="23334" y="48638"/>
                    </a:lnTo>
                    <a:lnTo>
                      <a:pt x="22879" y="50153"/>
                    </a:lnTo>
                    <a:lnTo>
                      <a:pt x="23183" y="51517"/>
                    </a:lnTo>
                    <a:lnTo>
                      <a:pt x="23788" y="51971"/>
                    </a:lnTo>
                    <a:lnTo>
                      <a:pt x="25455" y="52578"/>
                    </a:lnTo>
                    <a:lnTo>
                      <a:pt x="27880" y="53032"/>
                    </a:lnTo>
                    <a:lnTo>
                      <a:pt x="30759" y="54244"/>
                    </a:lnTo>
                    <a:lnTo>
                      <a:pt x="32728" y="54396"/>
                    </a:lnTo>
                    <a:lnTo>
                      <a:pt x="33183" y="55154"/>
                    </a:lnTo>
                    <a:lnTo>
                      <a:pt x="33031" y="56669"/>
                    </a:lnTo>
                    <a:lnTo>
                      <a:pt x="33486" y="57881"/>
                    </a:lnTo>
                    <a:lnTo>
                      <a:pt x="33486" y="60154"/>
                    </a:lnTo>
                    <a:lnTo>
                      <a:pt x="32880" y="62123"/>
                    </a:lnTo>
                    <a:lnTo>
                      <a:pt x="29849" y="63032"/>
                    </a:lnTo>
                    <a:lnTo>
                      <a:pt x="28334" y="64093"/>
                    </a:lnTo>
                    <a:lnTo>
                      <a:pt x="27880" y="64548"/>
                    </a:lnTo>
                    <a:lnTo>
                      <a:pt x="28183" y="65154"/>
                    </a:lnTo>
                    <a:lnTo>
                      <a:pt x="28334" y="65911"/>
                    </a:lnTo>
                    <a:lnTo>
                      <a:pt x="25607" y="67881"/>
                    </a:lnTo>
                    <a:lnTo>
                      <a:pt x="22728" y="70457"/>
                    </a:lnTo>
                    <a:lnTo>
                      <a:pt x="21970" y="72275"/>
                    </a:lnTo>
                    <a:lnTo>
                      <a:pt x="21364" y="74396"/>
                    </a:lnTo>
                    <a:lnTo>
                      <a:pt x="20455" y="75760"/>
                    </a:lnTo>
                    <a:lnTo>
                      <a:pt x="18334" y="77730"/>
                    </a:lnTo>
                    <a:lnTo>
                      <a:pt x="16061" y="81670"/>
                    </a:lnTo>
                    <a:lnTo>
                      <a:pt x="15000" y="84245"/>
                    </a:lnTo>
                    <a:lnTo>
                      <a:pt x="9545" y="90306"/>
                    </a:lnTo>
                    <a:lnTo>
                      <a:pt x="4697" y="93337"/>
                    </a:lnTo>
                    <a:lnTo>
                      <a:pt x="3333" y="94397"/>
                    </a:lnTo>
                    <a:lnTo>
                      <a:pt x="1364" y="94397"/>
                    </a:lnTo>
                    <a:lnTo>
                      <a:pt x="1212" y="95306"/>
                    </a:lnTo>
                    <a:lnTo>
                      <a:pt x="303" y="103489"/>
                    </a:lnTo>
                    <a:lnTo>
                      <a:pt x="455" y="106064"/>
                    </a:lnTo>
                    <a:lnTo>
                      <a:pt x="0" y="106519"/>
                    </a:lnTo>
                    <a:lnTo>
                      <a:pt x="151" y="106822"/>
                    </a:lnTo>
                    <a:lnTo>
                      <a:pt x="909" y="106974"/>
                    </a:lnTo>
                    <a:lnTo>
                      <a:pt x="2273" y="107731"/>
                    </a:lnTo>
                    <a:lnTo>
                      <a:pt x="4091" y="108943"/>
                    </a:lnTo>
                    <a:lnTo>
                      <a:pt x="5303" y="110458"/>
                    </a:lnTo>
                    <a:lnTo>
                      <a:pt x="5909" y="112277"/>
                    </a:lnTo>
                    <a:lnTo>
                      <a:pt x="6061" y="113489"/>
                    </a:lnTo>
                    <a:lnTo>
                      <a:pt x="5757" y="113943"/>
                    </a:lnTo>
                    <a:lnTo>
                      <a:pt x="5757" y="116368"/>
                    </a:lnTo>
                    <a:lnTo>
                      <a:pt x="5455" y="116519"/>
                    </a:lnTo>
                    <a:lnTo>
                      <a:pt x="5000" y="118944"/>
                    </a:lnTo>
                    <a:lnTo>
                      <a:pt x="4394" y="120307"/>
                    </a:lnTo>
                    <a:lnTo>
                      <a:pt x="4545" y="121974"/>
                    </a:lnTo>
                    <a:lnTo>
                      <a:pt x="6061" y="123641"/>
                    </a:lnTo>
                    <a:lnTo>
                      <a:pt x="7576" y="126368"/>
                    </a:lnTo>
                    <a:lnTo>
                      <a:pt x="9243" y="130156"/>
                    </a:lnTo>
                    <a:lnTo>
                      <a:pt x="10000" y="132581"/>
                    </a:lnTo>
                    <a:lnTo>
                      <a:pt x="9849" y="133641"/>
                    </a:lnTo>
                    <a:lnTo>
                      <a:pt x="8940" y="134702"/>
                    </a:lnTo>
                    <a:lnTo>
                      <a:pt x="7273" y="135762"/>
                    </a:lnTo>
                    <a:lnTo>
                      <a:pt x="6212" y="136217"/>
                    </a:lnTo>
                    <a:lnTo>
                      <a:pt x="5757" y="136066"/>
                    </a:lnTo>
                    <a:lnTo>
                      <a:pt x="5152" y="136369"/>
                    </a:lnTo>
                    <a:lnTo>
                      <a:pt x="4394" y="137126"/>
                    </a:lnTo>
                    <a:lnTo>
                      <a:pt x="3939" y="138944"/>
                    </a:lnTo>
                    <a:lnTo>
                      <a:pt x="3636" y="141672"/>
                    </a:lnTo>
                    <a:lnTo>
                      <a:pt x="3788" y="143036"/>
                    </a:lnTo>
                    <a:lnTo>
                      <a:pt x="4545" y="144248"/>
                    </a:lnTo>
                    <a:lnTo>
                      <a:pt x="6515" y="146520"/>
                    </a:lnTo>
                    <a:lnTo>
                      <a:pt x="9849" y="149551"/>
                    </a:lnTo>
                    <a:lnTo>
                      <a:pt x="10000" y="150005"/>
                    </a:lnTo>
                    <a:lnTo>
                      <a:pt x="10455" y="150005"/>
                    </a:lnTo>
                    <a:lnTo>
                      <a:pt x="11970" y="149096"/>
                    </a:lnTo>
                    <a:lnTo>
                      <a:pt x="13940" y="148793"/>
                    </a:lnTo>
                    <a:lnTo>
                      <a:pt x="15152" y="148945"/>
                    </a:lnTo>
                    <a:lnTo>
                      <a:pt x="15909" y="149399"/>
                    </a:lnTo>
                    <a:lnTo>
                      <a:pt x="16364" y="150157"/>
                    </a:lnTo>
                    <a:lnTo>
                      <a:pt x="19546" y="153036"/>
                    </a:lnTo>
                    <a:lnTo>
                      <a:pt x="21061" y="155006"/>
                    </a:lnTo>
                    <a:lnTo>
                      <a:pt x="22122" y="157430"/>
                    </a:lnTo>
                    <a:lnTo>
                      <a:pt x="23637" y="159551"/>
                    </a:lnTo>
                    <a:lnTo>
                      <a:pt x="25607" y="161369"/>
                    </a:lnTo>
                    <a:lnTo>
                      <a:pt x="26516" y="163339"/>
                    </a:lnTo>
                    <a:lnTo>
                      <a:pt x="26516" y="165309"/>
                    </a:lnTo>
                    <a:lnTo>
                      <a:pt x="26061" y="166370"/>
                    </a:lnTo>
                    <a:lnTo>
                      <a:pt x="25455" y="166521"/>
                    </a:lnTo>
                    <a:lnTo>
                      <a:pt x="25304" y="166673"/>
                    </a:lnTo>
                    <a:lnTo>
                      <a:pt x="25607" y="168036"/>
                    </a:lnTo>
                    <a:lnTo>
                      <a:pt x="27122" y="171067"/>
                    </a:lnTo>
                    <a:lnTo>
                      <a:pt x="27728" y="173794"/>
                    </a:lnTo>
                    <a:lnTo>
                      <a:pt x="27425" y="176218"/>
                    </a:lnTo>
                    <a:lnTo>
                      <a:pt x="27880" y="178340"/>
                    </a:lnTo>
                    <a:lnTo>
                      <a:pt x="28940" y="180158"/>
                    </a:lnTo>
                    <a:lnTo>
                      <a:pt x="31062" y="182582"/>
                    </a:lnTo>
                    <a:lnTo>
                      <a:pt x="33789" y="188340"/>
                    </a:lnTo>
                    <a:lnTo>
                      <a:pt x="36062" y="191825"/>
                    </a:lnTo>
                    <a:lnTo>
                      <a:pt x="36213" y="192886"/>
                    </a:lnTo>
                    <a:lnTo>
                      <a:pt x="36516" y="193492"/>
                    </a:lnTo>
                    <a:lnTo>
                      <a:pt x="37425" y="194098"/>
                    </a:lnTo>
                    <a:lnTo>
                      <a:pt x="37577" y="194553"/>
                    </a:lnTo>
                    <a:lnTo>
                      <a:pt x="37122" y="195158"/>
                    </a:lnTo>
                    <a:lnTo>
                      <a:pt x="37122" y="195916"/>
                    </a:lnTo>
                    <a:lnTo>
                      <a:pt x="37577" y="197280"/>
                    </a:lnTo>
                    <a:lnTo>
                      <a:pt x="38940" y="199098"/>
                    </a:lnTo>
                    <a:lnTo>
                      <a:pt x="41365" y="201371"/>
                    </a:lnTo>
                    <a:lnTo>
                      <a:pt x="42426" y="203189"/>
                    </a:lnTo>
                    <a:lnTo>
                      <a:pt x="42274" y="204553"/>
                    </a:lnTo>
                    <a:lnTo>
                      <a:pt x="42577" y="205917"/>
                    </a:lnTo>
                    <a:lnTo>
                      <a:pt x="43486" y="207280"/>
                    </a:lnTo>
                    <a:lnTo>
                      <a:pt x="43486" y="207432"/>
                    </a:lnTo>
                    <a:lnTo>
                      <a:pt x="48032" y="207280"/>
                    </a:lnTo>
                    <a:lnTo>
                      <a:pt x="50759" y="208492"/>
                    </a:lnTo>
                    <a:lnTo>
                      <a:pt x="53032" y="210159"/>
                    </a:lnTo>
                    <a:lnTo>
                      <a:pt x="53638" y="212735"/>
                    </a:lnTo>
                    <a:lnTo>
                      <a:pt x="55153" y="214250"/>
                    </a:lnTo>
                    <a:lnTo>
                      <a:pt x="56820" y="215462"/>
                    </a:lnTo>
                    <a:lnTo>
                      <a:pt x="57578" y="215614"/>
                    </a:lnTo>
                    <a:lnTo>
                      <a:pt x="58790" y="215311"/>
                    </a:lnTo>
                    <a:lnTo>
                      <a:pt x="60760" y="215311"/>
                    </a:lnTo>
                    <a:lnTo>
                      <a:pt x="62578" y="215917"/>
                    </a:lnTo>
                    <a:lnTo>
                      <a:pt x="63487" y="216523"/>
                    </a:lnTo>
                    <a:lnTo>
                      <a:pt x="63638" y="218644"/>
                    </a:lnTo>
                    <a:lnTo>
                      <a:pt x="64245" y="219553"/>
                    </a:lnTo>
                    <a:lnTo>
                      <a:pt x="66820" y="219856"/>
                    </a:lnTo>
                    <a:lnTo>
                      <a:pt x="69396" y="220008"/>
                    </a:lnTo>
                    <a:lnTo>
                      <a:pt x="71821" y="221372"/>
                    </a:lnTo>
                    <a:lnTo>
                      <a:pt x="74548" y="221675"/>
                    </a:lnTo>
                    <a:lnTo>
                      <a:pt x="77730" y="222281"/>
                    </a:lnTo>
                    <a:lnTo>
                      <a:pt x="79245" y="223796"/>
                    </a:lnTo>
                    <a:lnTo>
                      <a:pt x="82579" y="225311"/>
                    </a:lnTo>
                    <a:lnTo>
                      <a:pt x="86669" y="226675"/>
                    </a:lnTo>
                    <a:lnTo>
                      <a:pt x="89548" y="228342"/>
                    </a:lnTo>
                    <a:lnTo>
                      <a:pt x="91064" y="229099"/>
                    </a:lnTo>
                    <a:lnTo>
                      <a:pt x="91518" y="228948"/>
                    </a:lnTo>
                    <a:lnTo>
                      <a:pt x="92579" y="228796"/>
                    </a:lnTo>
                    <a:lnTo>
                      <a:pt x="96822" y="231524"/>
                    </a:lnTo>
                    <a:lnTo>
                      <a:pt x="99398" y="231675"/>
                    </a:lnTo>
                    <a:lnTo>
                      <a:pt x="102277" y="232130"/>
                    </a:lnTo>
                    <a:lnTo>
                      <a:pt x="104700" y="234554"/>
                    </a:lnTo>
                    <a:lnTo>
                      <a:pt x="105913" y="234857"/>
                    </a:lnTo>
                    <a:lnTo>
                      <a:pt x="107579" y="234554"/>
                    </a:lnTo>
                    <a:lnTo>
                      <a:pt x="112276" y="234251"/>
                    </a:lnTo>
                    <a:lnTo>
                      <a:pt x="114095" y="234554"/>
                    </a:lnTo>
                    <a:lnTo>
                      <a:pt x="116519" y="235918"/>
                    </a:lnTo>
                    <a:lnTo>
                      <a:pt x="117429" y="236069"/>
                    </a:lnTo>
                    <a:lnTo>
                      <a:pt x="118943" y="236069"/>
                    </a:lnTo>
                    <a:lnTo>
                      <a:pt x="119247" y="235614"/>
                    </a:lnTo>
                    <a:lnTo>
                      <a:pt x="119398" y="234705"/>
                    </a:lnTo>
                    <a:lnTo>
                      <a:pt x="119095" y="233039"/>
                    </a:lnTo>
                    <a:lnTo>
                      <a:pt x="119398" y="232130"/>
                    </a:lnTo>
                    <a:lnTo>
                      <a:pt x="120307" y="231069"/>
                    </a:lnTo>
                    <a:lnTo>
                      <a:pt x="122883" y="232281"/>
                    </a:lnTo>
                    <a:lnTo>
                      <a:pt x="129247" y="237584"/>
                    </a:lnTo>
                    <a:lnTo>
                      <a:pt x="129398" y="238342"/>
                    </a:lnTo>
                    <a:lnTo>
                      <a:pt x="133490" y="243645"/>
                    </a:lnTo>
                    <a:lnTo>
                      <a:pt x="134853" y="245918"/>
                    </a:lnTo>
                    <a:lnTo>
                      <a:pt x="134853" y="247130"/>
                    </a:lnTo>
                    <a:lnTo>
                      <a:pt x="136065" y="251676"/>
                    </a:lnTo>
                    <a:lnTo>
                      <a:pt x="136369" y="253797"/>
                    </a:lnTo>
                    <a:lnTo>
                      <a:pt x="136065" y="255464"/>
                    </a:lnTo>
                    <a:lnTo>
                      <a:pt x="136065" y="256828"/>
                    </a:lnTo>
                    <a:lnTo>
                      <a:pt x="136520" y="258646"/>
                    </a:lnTo>
                    <a:lnTo>
                      <a:pt x="136369" y="259403"/>
                    </a:lnTo>
                    <a:lnTo>
                      <a:pt x="137884" y="262131"/>
                    </a:lnTo>
                    <a:lnTo>
                      <a:pt x="138641" y="264404"/>
                    </a:lnTo>
                    <a:lnTo>
                      <a:pt x="138793" y="266676"/>
                    </a:lnTo>
                    <a:lnTo>
                      <a:pt x="138338" y="268949"/>
                    </a:lnTo>
                    <a:lnTo>
                      <a:pt x="137126" y="272131"/>
                    </a:lnTo>
                    <a:lnTo>
                      <a:pt x="136974" y="273495"/>
                    </a:lnTo>
                    <a:lnTo>
                      <a:pt x="137278" y="274707"/>
                    </a:lnTo>
                    <a:lnTo>
                      <a:pt x="138035" y="275919"/>
                    </a:lnTo>
                    <a:lnTo>
                      <a:pt x="139399" y="277283"/>
                    </a:lnTo>
                    <a:lnTo>
                      <a:pt x="140460" y="278949"/>
                    </a:lnTo>
                    <a:lnTo>
                      <a:pt x="141217" y="280919"/>
                    </a:lnTo>
                    <a:lnTo>
                      <a:pt x="141823" y="281828"/>
                    </a:lnTo>
                    <a:lnTo>
                      <a:pt x="142581" y="281828"/>
                    </a:lnTo>
                    <a:lnTo>
                      <a:pt x="143945" y="282131"/>
                    </a:lnTo>
                    <a:lnTo>
                      <a:pt x="145005" y="283344"/>
                    </a:lnTo>
                    <a:lnTo>
                      <a:pt x="146217" y="285313"/>
                    </a:lnTo>
                    <a:lnTo>
                      <a:pt x="146672" y="287586"/>
                    </a:lnTo>
                    <a:lnTo>
                      <a:pt x="146823" y="288495"/>
                    </a:lnTo>
                    <a:lnTo>
                      <a:pt x="152884" y="288344"/>
                    </a:lnTo>
                    <a:lnTo>
                      <a:pt x="159400" y="288647"/>
                    </a:lnTo>
                    <a:lnTo>
                      <a:pt x="160309" y="288798"/>
                    </a:lnTo>
                    <a:lnTo>
                      <a:pt x="161824" y="289253"/>
                    </a:lnTo>
                    <a:lnTo>
                      <a:pt x="163491" y="289253"/>
                    </a:lnTo>
                    <a:lnTo>
                      <a:pt x="165309" y="288647"/>
                    </a:lnTo>
                    <a:lnTo>
                      <a:pt x="167279" y="287283"/>
                    </a:lnTo>
                    <a:lnTo>
                      <a:pt x="169551" y="285162"/>
                    </a:lnTo>
                    <a:lnTo>
                      <a:pt x="173036" y="285162"/>
                    </a:lnTo>
                    <a:lnTo>
                      <a:pt x="177734" y="287435"/>
                    </a:lnTo>
                    <a:lnTo>
                      <a:pt x="180310" y="289404"/>
                    </a:lnTo>
                    <a:lnTo>
                      <a:pt x="180764" y="291071"/>
                    </a:lnTo>
                    <a:lnTo>
                      <a:pt x="183946" y="291980"/>
                    </a:lnTo>
                    <a:lnTo>
                      <a:pt x="189704" y="292283"/>
                    </a:lnTo>
                    <a:lnTo>
                      <a:pt x="193946" y="291374"/>
                    </a:lnTo>
                    <a:lnTo>
                      <a:pt x="196674" y="289404"/>
                    </a:lnTo>
                    <a:lnTo>
                      <a:pt x="199401" y="288344"/>
                    </a:lnTo>
                    <a:lnTo>
                      <a:pt x="202280" y="288192"/>
                    </a:lnTo>
                    <a:lnTo>
                      <a:pt x="204401" y="288950"/>
                    </a:lnTo>
                    <a:lnTo>
                      <a:pt x="205917" y="290465"/>
                    </a:lnTo>
                    <a:lnTo>
                      <a:pt x="208796" y="291526"/>
                    </a:lnTo>
                    <a:lnTo>
                      <a:pt x="213038" y="292132"/>
                    </a:lnTo>
                    <a:lnTo>
                      <a:pt x="217584" y="291223"/>
                    </a:lnTo>
                    <a:lnTo>
                      <a:pt x="222584" y="288647"/>
                    </a:lnTo>
                    <a:lnTo>
                      <a:pt x="225463" y="285919"/>
                    </a:lnTo>
                    <a:lnTo>
                      <a:pt x="226220" y="283041"/>
                    </a:lnTo>
                    <a:lnTo>
                      <a:pt x="226978" y="281374"/>
                    </a:lnTo>
                    <a:lnTo>
                      <a:pt x="227887" y="280768"/>
                    </a:lnTo>
                    <a:lnTo>
                      <a:pt x="230614" y="280465"/>
                    </a:lnTo>
                    <a:lnTo>
                      <a:pt x="235008" y="280313"/>
                    </a:lnTo>
                    <a:lnTo>
                      <a:pt x="238796" y="281222"/>
                    </a:lnTo>
                    <a:lnTo>
                      <a:pt x="243645" y="284101"/>
                    </a:lnTo>
                    <a:lnTo>
                      <a:pt x="246676" y="282283"/>
                    </a:lnTo>
                    <a:lnTo>
                      <a:pt x="251979" y="279101"/>
                    </a:lnTo>
                    <a:lnTo>
                      <a:pt x="257282" y="277434"/>
                    </a:lnTo>
                    <a:lnTo>
                      <a:pt x="262282" y="277434"/>
                    </a:lnTo>
                    <a:lnTo>
                      <a:pt x="266373" y="276222"/>
                    </a:lnTo>
                    <a:lnTo>
                      <a:pt x="269555" y="273798"/>
                    </a:lnTo>
                    <a:lnTo>
                      <a:pt x="272889" y="272283"/>
                    </a:lnTo>
                    <a:lnTo>
                      <a:pt x="276525" y="271676"/>
                    </a:lnTo>
                    <a:lnTo>
                      <a:pt x="279858" y="270464"/>
                    </a:lnTo>
                    <a:lnTo>
                      <a:pt x="284556" y="267888"/>
                    </a:lnTo>
                    <a:lnTo>
                      <a:pt x="289404" y="264252"/>
                    </a:lnTo>
                    <a:lnTo>
                      <a:pt x="294405" y="260464"/>
                    </a:lnTo>
                    <a:lnTo>
                      <a:pt x="297587" y="258040"/>
                    </a:lnTo>
                    <a:lnTo>
                      <a:pt x="297284" y="258040"/>
                    </a:lnTo>
                    <a:close/>
                    <a:moveTo>
                      <a:pt x="89245" y="29243"/>
                    </a:moveTo>
                    <a:lnTo>
                      <a:pt x="90609" y="29850"/>
                    </a:lnTo>
                    <a:lnTo>
                      <a:pt x="93034" y="30456"/>
                    </a:lnTo>
                    <a:lnTo>
                      <a:pt x="95003" y="31213"/>
                    </a:lnTo>
                    <a:lnTo>
                      <a:pt x="96822" y="31819"/>
                    </a:lnTo>
                    <a:lnTo>
                      <a:pt x="98185" y="31819"/>
                    </a:lnTo>
                    <a:lnTo>
                      <a:pt x="98337" y="30607"/>
                    </a:lnTo>
                    <a:lnTo>
                      <a:pt x="97124" y="29395"/>
                    </a:lnTo>
                    <a:lnTo>
                      <a:pt x="96519" y="27880"/>
                    </a:lnTo>
                    <a:lnTo>
                      <a:pt x="95912" y="26668"/>
                    </a:lnTo>
                    <a:lnTo>
                      <a:pt x="93943" y="26819"/>
                    </a:lnTo>
                    <a:lnTo>
                      <a:pt x="92427" y="26819"/>
                    </a:lnTo>
                    <a:lnTo>
                      <a:pt x="91822" y="24849"/>
                    </a:lnTo>
                    <a:lnTo>
                      <a:pt x="90003" y="25001"/>
                    </a:lnTo>
                    <a:lnTo>
                      <a:pt x="88488" y="25910"/>
                    </a:lnTo>
                    <a:lnTo>
                      <a:pt x="88943" y="26971"/>
                    </a:lnTo>
                    <a:lnTo>
                      <a:pt x="89245" y="29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525A226A-6C11-4EC7-BD05-74A01C834D4D}"/>
                  </a:ext>
                </a:extLst>
              </p:cNvPr>
              <p:cNvSpPr/>
              <p:nvPr/>
            </p:nvSpPr>
            <p:spPr>
              <a:xfrm>
                <a:off x="9013683" y="3860149"/>
                <a:ext cx="99549" cy="96518"/>
              </a:xfrm>
              <a:custGeom>
                <a:avLst/>
                <a:gdLst>
                  <a:gd name="connsiteX0" fmla="*/ 1364 w 99549"/>
                  <a:gd name="connsiteY0" fmla="*/ 23183 h 96518"/>
                  <a:gd name="connsiteX1" fmla="*/ 0 w 99549"/>
                  <a:gd name="connsiteY1" fmla="*/ 23031 h 96518"/>
                  <a:gd name="connsiteX2" fmla="*/ 152 w 99549"/>
                  <a:gd name="connsiteY2" fmla="*/ 24243 h 96518"/>
                  <a:gd name="connsiteX3" fmla="*/ 3940 w 99549"/>
                  <a:gd name="connsiteY3" fmla="*/ 24849 h 96518"/>
                  <a:gd name="connsiteX4" fmla="*/ 4394 w 99549"/>
                  <a:gd name="connsiteY4" fmla="*/ 23637 h 96518"/>
                  <a:gd name="connsiteX5" fmla="*/ 3182 w 99549"/>
                  <a:gd name="connsiteY5" fmla="*/ 21668 h 96518"/>
                  <a:gd name="connsiteX6" fmla="*/ 1364 w 99549"/>
                  <a:gd name="connsiteY6" fmla="*/ 23183 h 96518"/>
                  <a:gd name="connsiteX7" fmla="*/ 97579 w 99549"/>
                  <a:gd name="connsiteY7" fmla="*/ 10910 h 96518"/>
                  <a:gd name="connsiteX8" fmla="*/ 99549 w 99549"/>
                  <a:gd name="connsiteY8" fmla="*/ 8637 h 96518"/>
                  <a:gd name="connsiteX9" fmla="*/ 98944 w 99549"/>
                  <a:gd name="connsiteY9" fmla="*/ 6212 h 96518"/>
                  <a:gd name="connsiteX10" fmla="*/ 97579 w 99549"/>
                  <a:gd name="connsiteY10" fmla="*/ 4849 h 96518"/>
                  <a:gd name="connsiteX11" fmla="*/ 94246 w 99549"/>
                  <a:gd name="connsiteY11" fmla="*/ 3485 h 96518"/>
                  <a:gd name="connsiteX12" fmla="*/ 93034 w 99549"/>
                  <a:gd name="connsiteY12" fmla="*/ 2727 h 96518"/>
                  <a:gd name="connsiteX13" fmla="*/ 91822 w 99549"/>
                  <a:gd name="connsiteY13" fmla="*/ 1212 h 96518"/>
                  <a:gd name="connsiteX14" fmla="*/ 90458 w 99549"/>
                  <a:gd name="connsiteY14" fmla="*/ 0 h 96518"/>
                  <a:gd name="connsiteX15" fmla="*/ 88337 w 99549"/>
                  <a:gd name="connsiteY15" fmla="*/ 0 h 96518"/>
                  <a:gd name="connsiteX16" fmla="*/ 86519 w 99549"/>
                  <a:gd name="connsiteY16" fmla="*/ 758 h 96518"/>
                  <a:gd name="connsiteX17" fmla="*/ 84246 w 99549"/>
                  <a:gd name="connsiteY17" fmla="*/ 3333 h 96518"/>
                  <a:gd name="connsiteX18" fmla="*/ 76821 w 99549"/>
                  <a:gd name="connsiteY18" fmla="*/ 6061 h 96518"/>
                  <a:gd name="connsiteX19" fmla="*/ 75306 w 99549"/>
                  <a:gd name="connsiteY19" fmla="*/ 6970 h 96518"/>
                  <a:gd name="connsiteX20" fmla="*/ 73185 w 99549"/>
                  <a:gd name="connsiteY20" fmla="*/ 10000 h 96518"/>
                  <a:gd name="connsiteX21" fmla="*/ 71518 w 99549"/>
                  <a:gd name="connsiteY21" fmla="*/ 13334 h 96518"/>
                  <a:gd name="connsiteX22" fmla="*/ 69699 w 99549"/>
                  <a:gd name="connsiteY22" fmla="*/ 15910 h 96518"/>
                  <a:gd name="connsiteX23" fmla="*/ 67579 w 99549"/>
                  <a:gd name="connsiteY23" fmla="*/ 18183 h 96518"/>
                  <a:gd name="connsiteX24" fmla="*/ 64093 w 99549"/>
                  <a:gd name="connsiteY24" fmla="*/ 22880 h 96518"/>
                  <a:gd name="connsiteX25" fmla="*/ 51214 w 99549"/>
                  <a:gd name="connsiteY25" fmla="*/ 45002 h 96518"/>
                  <a:gd name="connsiteX26" fmla="*/ 50457 w 99549"/>
                  <a:gd name="connsiteY26" fmla="*/ 46668 h 96518"/>
                  <a:gd name="connsiteX27" fmla="*/ 50305 w 99549"/>
                  <a:gd name="connsiteY27" fmla="*/ 50305 h 96518"/>
                  <a:gd name="connsiteX28" fmla="*/ 50759 w 99549"/>
                  <a:gd name="connsiteY28" fmla="*/ 53942 h 96518"/>
                  <a:gd name="connsiteX29" fmla="*/ 50153 w 99549"/>
                  <a:gd name="connsiteY29" fmla="*/ 56669 h 96518"/>
                  <a:gd name="connsiteX30" fmla="*/ 49244 w 99549"/>
                  <a:gd name="connsiteY30" fmla="*/ 59396 h 96518"/>
                  <a:gd name="connsiteX31" fmla="*/ 48941 w 99549"/>
                  <a:gd name="connsiteY31" fmla="*/ 61214 h 96518"/>
                  <a:gd name="connsiteX32" fmla="*/ 49244 w 99549"/>
                  <a:gd name="connsiteY32" fmla="*/ 62881 h 96518"/>
                  <a:gd name="connsiteX33" fmla="*/ 50305 w 99549"/>
                  <a:gd name="connsiteY33" fmla="*/ 64548 h 96518"/>
                  <a:gd name="connsiteX34" fmla="*/ 51062 w 99549"/>
                  <a:gd name="connsiteY34" fmla="*/ 66366 h 96518"/>
                  <a:gd name="connsiteX35" fmla="*/ 53336 w 99549"/>
                  <a:gd name="connsiteY35" fmla="*/ 73791 h 96518"/>
                  <a:gd name="connsiteX36" fmla="*/ 54396 w 99549"/>
                  <a:gd name="connsiteY36" fmla="*/ 76367 h 96518"/>
                  <a:gd name="connsiteX37" fmla="*/ 55911 w 99549"/>
                  <a:gd name="connsiteY37" fmla="*/ 78791 h 96518"/>
                  <a:gd name="connsiteX38" fmla="*/ 55608 w 99549"/>
                  <a:gd name="connsiteY38" fmla="*/ 78639 h 96518"/>
                  <a:gd name="connsiteX39" fmla="*/ 57578 w 99549"/>
                  <a:gd name="connsiteY39" fmla="*/ 80458 h 96518"/>
                  <a:gd name="connsiteX40" fmla="*/ 60154 w 99549"/>
                  <a:gd name="connsiteY40" fmla="*/ 81670 h 96518"/>
                  <a:gd name="connsiteX41" fmla="*/ 62881 w 99549"/>
                  <a:gd name="connsiteY41" fmla="*/ 84094 h 96518"/>
                  <a:gd name="connsiteX42" fmla="*/ 63639 w 99549"/>
                  <a:gd name="connsiteY42" fmla="*/ 85306 h 96518"/>
                  <a:gd name="connsiteX43" fmla="*/ 65609 w 99549"/>
                  <a:gd name="connsiteY43" fmla="*/ 89700 h 96518"/>
                  <a:gd name="connsiteX44" fmla="*/ 65911 w 99549"/>
                  <a:gd name="connsiteY44" fmla="*/ 93337 h 96518"/>
                  <a:gd name="connsiteX45" fmla="*/ 67427 w 99549"/>
                  <a:gd name="connsiteY45" fmla="*/ 95610 h 96518"/>
                  <a:gd name="connsiteX46" fmla="*/ 70154 w 99549"/>
                  <a:gd name="connsiteY46" fmla="*/ 96519 h 96518"/>
                  <a:gd name="connsiteX47" fmla="*/ 70760 w 99549"/>
                  <a:gd name="connsiteY47" fmla="*/ 93488 h 96518"/>
                  <a:gd name="connsiteX48" fmla="*/ 71215 w 99549"/>
                  <a:gd name="connsiteY48" fmla="*/ 90306 h 96518"/>
                  <a:gd name="connsiteX49" fmla="*/ 71215 w 99549"/>
                  <a:gd name="connsiteY49" fmla="*/ 86822 h 96518"/>
                  <a:gd name="connsiteX50" fmla="*/ 71821 w 99549"/>
                  <a:gd name="connsiteY50" fmla="*/ 83488 h 96518"/>
                  <a:gd name="connsiteX51" fmla="*/ 73185 w 99549"/>
                  <a:gd name="connsiteY51" fmla="*/ 80003 h 96518"/>
                  <a:gd name="connsiteX52" fmla="*/ 74851 w 99549"/>
                  <a:gd name="connsiteY52" fmla="*/ 76670 h 96518"/>
                  <a:gd name="connsiteX53" fmla="*/ 79094 w 99549"/>
                  <a:gd name="connsiteY53" fmla="*/ 72275 h 96518"/>
                  <a:gd name="connsiteX54" fmla="*/ 82731 w 99549"/>
                  <a:gd name="connsiteY54" fmla="*/ 66821 h 96518"/>
                  <a:gd name="connsiteX55" fmla="*/ 84246 w 99549"/>
                  <a:gd name="connsiteY55" fmla="*/ 63942 h 96518"/>
                  <a:gd name="connsiteX56" fmla="*/ 85458 w 99549"/>
                  <a:gd name="connsiteY56" fmla="*/ 60911 h 96518"/>
                  <a:gd name="connsiteX57" fmla="*/ 87579 w 99549"/>
                  <a:gd name="connsiteY57" fmla="*/ 53638 h 96518"/>
                  <a:gd name="connsiteX58" fmla="*/ 88943 w 99549"/>
                  <a:gd name="connsiteY58" fmla="*/ 46668 h 96518"/>
                  <a:gd name="connsiteX59" fmla="*/ 90458 w 99549"/>
                  <a:gd name="connsiteY59" fmla="*/ 41062 h 96518"/>
                  <a:gd name="connsiteX60" fmla="*/ 91216 w 99549"/>
                  <a:gd name="connsiteY60" fmla="*/ 35607 h 96518"/>
                  <a:gd name="connsiteX61" fmla="*/ 91973 w 99549"/>
                  <a:gd name="connsiteY61" fmla="*/ 33335 h 96518"/>
                  <a:gd name="connsiteX62" fmla="*/ 94700 w 99549"/>
                  <a:gd name="connsiteY62" fmla="*/ 28789 h 96518"/>
                  <a:gd name="connsiteX63" fmla="*/ 97124 w 99549"/>
                  <a:gd name="connsiteY63" fmla="*/ 21668 h 96518"/>
                  <a:gd name="connsiteX64" fmla="*/ 97124 w 99549"/>
                  <a:gd name="connsiteY64" fmla="*/ 18637 h 96518"/>
                  <a:gd name="connsiteX65" fmla="*/ 96822 w 99549"/>
                  <a:gd name="connsiteY65" fmla="*/ 15607 h 96518"/>
                  <a:gd name="connsiteX66" fmla="*/ 96974 w 99549"/>
                  <a:gd name="connsiteY66" fmla="*/ 13334 h 96518"/>
                  <a:gd name="connsiteX67" fmla="*/ 97579 w 99549"/>
                  <a:gd name="connsiteY67" fmla="*/ 10910 h 9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99549" h="96518">
                    <a:moveTo>
                      <a:pt x="1364" y="23183"/>
                    </a:moveTo>
                    <a:lnTo>
                      <a:pt x="0" y="23031"/>
                    </a:lnTo>
                    <a:lnTo>
                      <a:pt x="152" y="24243"/>
                    </a:lnTo>
                    <a:lnTo>
                      <a:pt x="3940" y="24849"/>
                    </a:lnTo>
                    <a:lnTo>
                      <a:pt x="4394" y="23637"/>
                    </a:lnTo>
                    <a:lnTo>
                      <a:pt x="3182" y="21668"/>
                    </a:lnTo>
                    <a:lnTo>
                      <a:pt x="1364" y="23183"/>
                    </a:lnTo>
                    <a:close/>
                    <a:moveTo>
                      <a:pt x="97579" y="10910"/>
                    </a:moveTo>
                    <a:lnTo>
                      <a:pt x="99549" y="8637"/>
                    </a:lnTo>
                    <a:lnTo>
                      <a:pt x="98944" y="6212"/>
                    </a:lnTo>
                    <a:lnTo>
                      <a:pt x="97579" y="4849"/>
                    </a:lnTo>
                    <a:lnTo>
                      <a:pt x="94246" y="3485"/>
                    </a:lnTo>
                    <a:lnTo>
                      <a:pt x="93034" y="2727"/>
                    </a:lnTo>
                    <a:lnTo>
                      <a:pt x="91822" y="1212"/>
                    </a:lnTo>
                    <a:lnTo>
                      <a:pt x="90458" y="0"/>
                    </a:lnTo>
                    <a:lnTo>
                      <a:pt x="88337" y="0"/>
                    </a:lnTo>
                    <a:lnTo>
                      <a:pt x="86519" y="758"/>
                    </a:lnTo>
                    <a:lnTo>
                      <a:pt x="84246" y="3333"/>
                    </a:lnTo>
                    <a:lnTo>
                      <a:pt x="76821" y="6061"/>
                    </a:lnTo>
                    <a:lnTo>
                      <a:pt x="75306" y="6970"/>
                    </a:lnTo>
                    <a:lnTo>
                      <a:pt x="73185" y="10000"/>
                    </a:lnTo>
                    <a:lnTo>
                      <a:pt x="71518" y="13334"/>
                    </a:lnTo>
                    <a:lnTo>
                      <a:pt x="69699" y="15910"/>
                    </a:lnTo>
                    <a:lnTo>
                      <a:pt x="67579" y="18183"/>
                    </a:lnTo>
                    <a:lnTo>
                      <a:pt x="64093" y="22880"/>
                    </a:lnTo>
                    <a:lnTo>
                      <a:pt x="51214" y="45002"/>
                    </a:lnTo>
                    <a:lnTo>
                      <a:pt x="50457" y="46668"/>
                    </a:lnTo>
                    <a:lnTo>
                      <a:pt x="50305" y="50305"/>
                    </a:lnTo>
                    <a:lnTo>
                      <a:pt x="50759" y="53942"/>
                    </a:lnTo>
                    <a:lnTo>
                      <a:pt x="50153" y="56669"/>
                    </a:lnTo>
                    <a:lnTo>
                      <a:pt x="49244" y="59396"/>
                    </a:lnTo>
                    <a:lnTo>
                      <a:pt x="48941" y="61214"/>
                    </a:lnTo>
                    <a:lnTo>
                      <a:pt x="49244" y="62881"/>
                    </a:lnTo>
                    <a:lnTo>
                      <a:pt x="50305" y="64548"/>
                    </a:lnTo>
                    <a:lnTo>
                      <a:pt x="51062" y="66366"/>
                    </a:lnTo>
                    <a:lnTo>
                      <a:pt x="53336" y="73791"/>
                    </a:lnTo>
                    <a:lnTo>
                      <a:pt x="54396" y="76367"/>
                    </a:lnTo>
                    <a:lnTo>
                      <a:pt x="55911" y="78791"/>
                    </a:lnTo>
                    <a:lnTo>
                      <a:pt x="55608" y="78639"/>
                    </a:lnTo>
                    <a:lnTo>
                      <a:pt x="57578" y="80458"/>
                    </a:lnTo>
                    <a:lnTo>
                      <a:pt x="60154" y="81670"/>
                    </a:lnTo>
                    <a:lnTo>
                      <a:pt x="62881" y="84094"/>
                    </a:lnTo>
                    <a:lnTo>
                      <a:pt x="63639" y="85306"/>
                    </a:lnTo>
                    <a:lnTo>
                      <a:pt x="65609" y="89700"/>
                    </a:lnTo>
                    <a:lnTo>
                      <a:pt x="65911" y="93337"/>
                    </a:lnTo>
                    <a:lnTo>
                      <a:pt x="67427" y="95610"/>
                    </a:lnTo>
                    <a:lnTo>
                      <a:pt x="70154" y="96519"/>
                    </a:lnTo>
                    <a:lnTo>
                      <a:pt x="70760" y="93488"/>
                    </a:lnTo>
                    <a:lnTo>
                      <a:pt x="71215" y="90306"/>
                    </a:lnTo>
                    <a:lnTo>
                      <a:pt x="71215" y="86822"/>
                    </a:lnTo>
                    <a:lnTo>
                      <a:pt x="71821" y="83488"/>
                    </a:lnTo>
                    <a:lnTo>
                      <a:pt x="73185" y="80003"/>
                    </a:lnTo>
                    <a:lnTo>
                      <a:pt x="74851" y="76670"/>
                    </a:lnTo>
                    <a:lnTo>
                      <a:pt x="79094" y="72275"/>
                    </a:lnTo>
                    <a:lnTo>
                      <a:pt x="82731" y="66821"/>
                    </a:lnTo>
                    <a:lnTo>
                      <a:pt x="84246" y="63942"/>
                    </a:lnTo>
                    <a:lnTo>
                      <a:pt x="85458" y="60911"/>
                    </a:lnTo>
                    <a:lnTo>
                      <a:pt x="87579" y="53638"/>
                    </a:lnTo>
                    <a:lnTo>
                      <a:pt x="88943" y="46668"/>
                    </a:lnTo>
                    <a:lnTo>
                      <a:pt x="90458" y="41062"/>
                    </a:lnTo>
                    <a:lnTo>
                      <a:pt x="91216" y="35607"/>
                    </a:lnTo>
                    <a:lnTo>
                      <a:pt x="91973" y="33335"/>
                    </a:lnTo>
                    <a:lnTo>
                      <a:pt x="94700" y="28789"/>
                    </a:lnTo>
                    <a:lnTo>
                      <a:pt x="97124" y="21668"/>
                    </a:lnTo>
                    <a:lnTo>
                      <a:pt x="97124" y="18637"/>
                    </a:lnTo>
                    <a:lnTo>
                      <a:pt x="96822" y="15607"/>
                    </a:lnTo>
                    <a:lnTo>
                      <a:pt x="96974" y="13334"/>
                    </a:lnTo>
                    <a:lnTo>
                      <a:pt x="97579" y="10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FE6E96F8-191A-4E81-BE8F-745FD2FEF12E}"/>
                  </a:ext>
                </a:extLst>
              </p:cNvPr>
              <p:cNvSpPr/>
              <p:nvPr/>
            </p:nvSpPr>
            <p:spPr>
              <a:xfrm>
                <a:off x="4083652" y="4253042"/>
                <a:ext cx="37728" cy="34395"/>
              </a:xfrm>
              <a:custGeom>
                <a:avLst/>
                <a:gdLst>
                  <a:gd name="connsiteX0" fmla="*/ 26819 w 37728"/>
                  <a:gd name="connsiteY0" fmla="*/ 13182 h 34395"/>
                  <a:gd name="connsiteX1" fmla="*/ 22425 w 37728"/>
                  <a:gd name="connsiteY1" fmla="*/ 13485 h 34395"/>
                  <a:gd name="connsiteX2" fmla="*/ 19849 w 37728"/>
                  <a:gd name="connsiteY2" fmla="*/ 14243 h 34395"/>
                  <a:gd name="connsiteX3" fmla="*/ 14546 w 37728"/>
                  <a:gd name="connsiteY3" fmla="*/ 14394 h 34395"/>
                  <a:gd name="connsiteX4" fmla="*/ 11970 w 37728"/>
                  <a:gd name="connsiteY4" fmla="*/ 15304 h 34395"/>
                  <a:gd name="connsiteX5" fmla="*/ 8485 w 37728"/>
                  <a:gd name="connsiteY5" fmla="*/ 15758 h 34395"/>
                  <a:gd name="connsiteX6" fmla="*/ 6818 w 37728"/>
                  <a:gd name="connsiteY6" fmla="*/ 16516 h 34395"/>
                  <a:gd name="connsiteX7" fmla="*/ 7273 w 37728"/>
                  <a:gd name="connsiteY7" fmla="*/ 16970 h 34395"/>
                  <a:gd name="connsiteX8" fmla="*/ 9849 w 37728"/>
                  <a:gd name="connsiteY8" fmla="*/ 17879 h 34395"/>
                  <a:gd name="connsiteX9" fmla="*/ 11061 w 37728"/>
                  <a:gd name="connsiteY9" fmla="*/ 18637 h 34395"/>
                  <a:gd name="connsiteX10" fmla="*/ 11667 w 37728"/>
                  <a:gd name="connsiteY10" fmla="*/ 19546 h 34395"/>
                  <a:gd name="connsiteX11" fmla="*/ 11970 w 37728"/>
                  <a:gd name="connsiteY11" fmla="*/ 21364 h 34395"/>
                  <a:gd name="connsiteX12" fmla="*/ 11061 w 37728"/>
                  <a:gd name="connsiteY12" fmla="*/ 28789 h 34395"/>
                  <a:gd name="connsiteX13" fmla="*/ 10303 w 37728"/>
                  <a:gd name="connsiteY13" fmla="*/ 29243 h 34395"/>
                  <a:gd name="connsiteX14" fmla="*/ 7424 w 37728"/>
                  <a:gd name="connsiteY14" fmla="*/ 29546 h 34395"/>
                  <a:gd name="connsiteX15" fmla="*/ 6667 w 37728"/>
                  <a:gd name="connsiteY15" fmla="*/ 30910 h 34395"/>
                  <a:gd name="connsiteX16" fmla="*/ 0 w 37728"/>
                  <a:gd name="connsiteY16" fmla="*/ 34244 h 34395"/>
                  <a:gd name="connsiteX17" fmla="*/ 3636 w 37728"/>
                  <a:gd name="connsiteY17" fmla="*/ 33789 h 34395"/>
                  <a:gd name="connsiteX18" fmla="*/ 8485 w 37728"/>
                  <a:gd name="connsiteY18" fmla="*/ 34395 h 34395"/>
                  <a:gd name="connsiteX19" fmla="*/ 20001 w 37728"/>
                  <a:gd name="connsiteY19" fmla="*/ 34092 h 34395"/>
                  <a:gd name="connsiteX20" fmla="*/ 24395 w 37728"/>
                  <a:gd name="connsiteY20" fmla="*/ 32577 h 34395"/>
                  <a:gd name="connsiteX21" fmla="*/ 24546 w 37728"/>
                  <a:gd name="connsiteY21" fmla="*/ 31668 h 34395"/>
                  <a:gd name="connsiteX22" fmla="*/ 24698 w 37728"/>
                  <a:gd name="connsiteY22" fmla="*/ 29092 h 34395"/>
                  <a:gd name="connsiteX23" fmla="*/ 25607 w 37728"/>
                  <a:gd name="connsiteY23" fmla="*/ 27425 h 34395"/>
                  <a:gd name="connsiteX24" fmla="*/ 24243 w 37728"/>
                  <a:gd name="connsiteY24" fmla="*/ 25758 h 34395"/>
                  <a:gd name="connsiteX25" fmla="*/ 23637 w 37728"/>
                  <a:gd name="connsiteY25" fmla="*/ 23183 h 34395"/>
                  <a:gd name="connsiteX26" fmla="*/ 24092 w 37728"/>
                  <a:gd name="connsiteY26" fmla="*/ 21061 h 34395"/>
                  <a:gd name="connsiteX27" fmla="*/ 23637 w 37728"/>
                  <a:gd name="connsiteY27" fmla="*/ 18031 h 34395"/>
                  <a:gd name="connsiteX28" fmla="*/ 24698 w 37728"/>
                  <a:gd name="connsiteY28" fmla="*/ 16819 h 34395"/>
                  <a:gd name="connsiteX29" fmla="*/ 26819 w 37728"/>
                  <a:gd name="connsiteY29" fmla="*/ 13182 h 34395"/>
                  <a:gd name="connsiteX30" fmla="*/ 36517 w 37728"/>
                  <a:gd name="connsiteY30" fmla="*/ 0 h 34395"/>
                  <a:gd name="connsiteX31" fmla="*/ 32577 w 37728"/>
                  <a:gd name="connsiteY31" fmla="*/ 1212 h 34395"/>
                  <a:gd name="connsiteX32" fmla="*/ 30001 w 37728"/>
                  <a:gd name="connsiteY32" fmla="*/ 3182 h 34395"/>
                  <a:gd name="connsiteX33" fmla="*/ 29850 w 37728"/>
                  <a:gd name="connsiteY33" fmla="*/ 4243 h 34395"/>
                  <a:gd name="connsiteX34" fmla="*/ 31365 w 37728"/>
                  <a:gd name="connsiteY34" fmla="*/ 3939 h 34395"/>
                  <a:gd name="connsiteX35" fmla="*/ 37123 w 37728"/>
                  <a:gd name="connsiteY35" fmla="*/ 1667 h 34395"/>
                  <a:gd name="connsiteX36" fmla="*/ 37729 w 37728"/>
                  <a:gd name="connsiteY36" fmla="*/ 0 h 34395"/>
                  <a:gd name="connsiteX37" fmla="*/ 36517 w 37728"/>
                  <a:gd name="connsiteY37" fmla="*/ 0 h 3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7728" h="34395">
                    <a:moveTo>
                      <a:pt x="26819" y="13182"/>
                    </a:moveTo>
                    <a:lnTo>
                      <a:pt x="22425" y="13485"/>
                    </a:lnTo>
                    <a:lnTo>
                      <a:pt x="19849" y="14243"/>
                    </a:lnTo>
                    <a:lnTo>
                      <a:pt x="14546" y="14394"/>
                    </a:lnTo>
                    <a:lnTo>
                      <a:pt x="11970" y="15304"/>
                    </a:lnTo>
                    <a:lnTo>
                      <a:pt x="8485" y="15758"/>
                    </a:lnTo>
                    <a:lnTo>
                      <a:pt x="6818" y="16516"/>
                    </a:lnTo>
                    <a:lnTo>
                      <a:pt x="7273" y="16970"/>
                    </a:lnTo>
                    <a:lnTo>
                      <a:pt x="9849" y="17879"/>
                    </a:lnTo>
                    <a:lnTo>
                      <a:pt x="11061" y="18637"/>
                    </a:lnTo>
                    <a:lnTo>
                      <a:pt x="11667" y="19546"/>
                    </a:lnTo>
                    <a:lnTo>
                      <a:pt x="11970" y="21364"/>
                    </a:lnTo>
                    <a:lnTo>
                      <a:pt x="11061" y="28789"/>
                    </a:lnTo>
                    <a:lnTo>
                      <a:pt x="10303" y="29243"/>
                    </a:lnTo>
                    <a:lnTo>
                      <a:pt x="7424" y="29546"/>
                    </a:lnTo>
                    <a:lnTo>
                      <a:pt x="6667" y="30910"/>
                    </a:lnTo>
                    <a:lnTo>
                      <a:pt x="0" y="34244"/>
                    </a:lnTo>
                    <a:lnTo>
                      <a:pt x="3636" y="33789"/>
                    </a:lnTo>
                    <a:lnTo>
                      <a:pt x="8485" y="34395"/>
                    </a:lnTo>
                    <a:lnTo>
                      <a:pt x="20001" y="34092"/>
                    </a:lnTo>
                    <a:lnTo>
                      <a:pt x="24395" y="32577"/>
                    </a:lnTo>
                    <a:lnTo>
                      <a:pt x="24546" y="31668"/>
                    </a:lnTo>
                    <a:lnTo>
                      <a:pt x="24698" y="29092"/>
                    </a:lnTo>
                    <a:lnTo>
                      <a:pt x="25607" y="27425"/>
                    </a:lnTo>
                    <a:lnTo>
                      <a:pt x="24243" y="25758"/>
                    </a:lnTo>
                    <a:lnTo>
                      <a:pt x="23637" y="23183"/>
                    </a:lnTo>
                    <a:lnTo>
                      <a:pt x="24092" y="21061"/>
                    </a:lnTo>
                    <a:lnTo>
                      <a:pt x="23637" y="18031"/>
                    </a:lnTo>
                    <a:lnTo>
                      <a:pt x="24698" y="16819"/>
                    </a:lnTo>
                    <a:lnTo>
                      <a:pt x="26819" y="13182"/>
                    </a:lnTo>
                    <a:close/>
                    <a:moveTo>
                      <a:pt x="36517" y="0"/>
                    </a:moveTo>
                    <a:lnTo>
                      <a:pt x="32577" y="1212"/>
                    </a:lnTo>
                    <a:lnTo>
                      <a:pt x="30001" y="3182"/>
                    </a:lnTo>
                    <a:lnTo>
                      <a:pt x="29850" y="4243"/>
                    </a:lnTo>
                    <a:lnTo>
                      <a:pt x="31365" y="3939"/>
                    </a:lnTo>
                    <a:lnTo>
                      <a:pt x="37123" y="1667"/>
                    </a:lnTo>
                    <a:lnTo>
                      <a:pt x="37729" y="0"/>
                    </a:lnTo>
                    <a:lnTo>
                      <a:pt x="36517"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CC96BF14-B764-4A9A-A396-415C455045C0}"/>
                  </a:ext>
                </a:extLst>
              </p:cNvPr>
              <p:cNvSpPr/>
              <p:nvPr/>
            </p:nvSpPr>
            <p:spPr>
              <a:xfrm>
                <a:off x="6479499" y="3344070"/>
                <a:ext cx="524261" cy="199855"/>
              </a:xfrm>
              <a:custGeom>
                <a:avLst/>
                <a:gdLst>
                  <a:gd name="connsiteX0" fmla="*/ 15152 w 524261"/>
                  <a:gd name="connsiteY0" fmla="*/ 48032 h 199855"/>
                  <a:gd name="connsiteX1" fmla="*/ 18940 w 524261"/>
                  <a:gd name="connsiteY1" fmla="*/ 48487 h 199855"/>
                  <a:gd name="connsiteX2" fmla="*/ 24850 w 524261"/>
                  <a:gd name="connsiteY2" fmla="*/ 47880 h 199855"/>
                  <a:gd name="connsiteX3" fmla="*/ 30759 w 524261"/>
                  <a:gd name="connsiteY3" fmla="*/ 47880 h 199855"/>
                  <a:gd name="connsiteX4" fmla="*/ 28789 w 524261"/>
                  <a:gd name="connsiteY4" fmla="*/ 50608 h 199855"/>
                  <a:gd name="connsiteX5" fmla="*/ 21364 w 524261"/>
                  <a:gd name="connsiteY5" fmla="*/ 53790 h 199855"/>
                  <a:gd name="connsiteX6" fmla="*/ 18788 w 524261"/>
                  <a:gd name="connsiteY6" fmla="*/ 55608 h 199855"/>
                  <a:gd name="connsiteX7" fmla="*/ 16061 w 524261"/>
                  <a:gd name="connsiteY7" fmla="*/ 58032 h 199855"/>
                  <a:gd name="connsiteX8" fmla="*/ 16061 w 524261"/>
                  <a:gd name="connsiteY8" fmla="*/ 60154 h 199855"/>
                  <a:gd name="connsiteX9" fmla="*/ 16213 w 524261"/>
                  <a:gd name="connsiteY9" fmla="*/ 61669 h 199855"/>
                  <a:gd name="connsiteX10" fmla="*/ 15304 w 524261"/>
                  <a:gd name="connsiteY10" fmla="*/ 63639 h 199855"/>
                  <a:gd name="connsiteX11" fmla="*/ 14698 w 524261"/>
                  <a:gd name="connsiteY11" fmla="*/ 65760 h 199855"/>
                  <a:gd name="connsiteX12" fmla="*/ 16516 w 524261"/>
                  <a:gd name="connsiteY12" fmla="*/ 65002 h 199855"/>
                  <a:gd name="connsiteX13" fmla="*/ 18183 w 524261"/>
                  <a:gd name="connsiteY13" fmla="*/ 64093 h 199855"/>
                  <a:gd name="connsiteX14" fmla="*/ 21971 w 524261"/>
                  <a:gd name="connsiteY14" fmla="*/ 59699 h 199855"/>
                  <a:gd name="connsiteX15" fmla="*/ 30304 w 524261"/>
                  <a:gd name="connsiteY15" fmla="*/ 52123 h 199855"/>
                  <a:gd name="connsiteX16" fmla="*/ 35910 w 524261"/>
                  <a:gd name="connsiteY16" fmla="*/ 50002 h 199855"/>
                  <a:gd name="connsiteX17" fmla="*/ 43638 w 524261"/>
                  <a:gd name="connsiteY17" fmla="*/ 46062 h 199855"/>
                  <a:gd name="connsiteX18" fmla="*/ 48335 w 524261"/>
                  <a:gd name="connsiteY18" fmla="*/ 41062 h 199855"/>
                  <a:gd name="connsiteX19" fmla="*/ 50153 w 524261"/>
                  <a:gd name="connsiteY19" fmla="*/ 36668 h 199855"/>
                  <a:gd name="connsiteX20" fmla="*/ 56972 w 524261"/>
                  <a:gd name="connsiteY20" fmla="*/ 35304 h 199855"/>
                  <a:gd name="connsiteX21" fmla="*/ 61821 w 524261"/>
                  <a:gd name="connsiteY21" fmla="*/ 36062 h 199855"/>
                  <a:gd name="connsiteX22" fmla="*/ 66215 w 524261"/>
                  <a:gd name="connsiteY22" fmla="*/ 33789 h 199855"/>
                  <a:gd name="connsiteX23" fmla="*/ 68639 w 524261"/>
                  <a:gd name="connsiteY23" fmla="*/ 33183 h 199855"/>
                  <a:gd name="connsiteX24" fmla="*/ 71972 w 524261"/>
                  <a:gd name="connsiteY24" fmla="*/ 33486 h 199855"/>
                  <a:gd name="connsiteX25" fmla="*/ 85306 w 524261"/>
                  <a:gd name="connsiteY25" fmla="*/ 36668 h 199855"/>
                  <a:gd name="connsiteX26" fmla="*/ 90155 w 524261"/>
                  <a:gd name="connsiteY26" fmla="*/ 35607 h 199855"/>
                  <a:gd name="connsiteX27" fmla="*/ 91215 w 524261"/>
                  <a:gd name="connsiteY27" fmla="*/ 33941 h 199855"/>
                  <a:gd name="connsiteX28" fmla="*/ 92276 w 524261"/>
                  <a:gd name="connsiteY28" fmla="*/ 31365 h 199855"/>
                  <a:gd name="connsiteX29" fmla="*/ 93034 w 524261"/>
                  <a:gd name="connsiteY29" fmla="*/ 28486 h 199855"/>
                  <a:gd name="connsiteX30" fmla="*/ 90003 w 524261"/>
                  <a:gd name="connsiteY30" fmla="*/ 27880 h 199855"/>
                  <a:gd name="connsiteX31" fmla="*/ 73639 w 524261"/>
                  <a:gd name="connsiteY31" fmla="*/ 20758 h 199855"/>
                  <a:gd name="connsiteX32" fmla="*/ 69548 w 524261"/>
                  <a:gd name="connsiteY32" fmla="*/ 17879 h 199855"/>
                  <a:gd name="connsiteX33" fmla="*/ 65457 w 524261"/>
                  <a:gd name="connsiteY33" fmla="*/ 12122 h 199855"/>
                  <a:gd name="connsiteX34" fmla="*/ 63790 w 524261"/>
                  <a:gd name="connsiteY34" fmla="*/ 8031 h 199855"/>
                  <a:gd name="connsiteX35" fmla="*/ 64548 w 524261"/>
                  <a:gd name="connsiteY35" fmla="*/ 4243 h 199855"/>
                  <a:gd name="connsiteX36" fmla="*/ 60911 w 524261"/>
                  <a:gd name="connsiteY36" fmla="*/ 3636 h 199855"/>
                  <a:gd name="connsiteX37" fmla="*/ 59548 w 524261"/>
                  <a:gd name="connsiteY37" fmla="*/ 3788 h 199855"/>
                  <a:gd name="connsiteX38" fmla="*/ 58790 w 524261"/>
                  <a:gd name="connsiteY38" fmla="*/ 4546 h 199855"/>
                  <a:gd name="connsiteX39" fmla="*/ 57123 w 524261"/>
                  <a:gd name="connsiteY39" fmla="*/ 4394 h 199855"/>
                  <a:gd name="connsiteX40" fmla="*/ 55002 w 524261"/>
                  <a:gd name="connsiteY40" fmla="*/ 4394 h 199855"/>
                  <a:gd name="connsiteX41" fmla="*/ 52729 w 524261"/>
                  <a:gd name="connsiteY41" fmla="*/ 5303 h 199855"/>
                  <a:gd name="connsiteX42" fmla="*/ 51517 w 524261"/>
                  <a:gd name="connsiteY42" fmla="*/ 5758 h 199855"/>
                  <a:gd name="connsiteX43" fmla="*/ 49850 w 524261"/>
                  <a:gd name="connsiteY43" fmla="*/ 4849 h 199855"/>
                  <a:gd name="connsiteX44" fmla="*/ 46820 w 524261"/>
                  <a:gd name="connsiteY44" fmla="*/ 2273 h 199855"/>
                  <a:gd name="connsiteX45" fmla="*/ 45002 w 524261"/>
                  <a:gd name="connsiteY45" fmla="*/ 455 h 199855"/>
                  <a:gd name="connsiteX46" fmla="*/ 43638 w 524261"/>
                  <a:gd name="connsiteY46" fmla="*/ 0 h 199855"/>
                  <a:gd name="connsiteX47" fmla="*/ 42274 w 524261"/>
                  <a:gd name="connsiteY47" fmla="*/ 606 h 199855"/>
                  <a:gd name="connsiteX48" fmla="*/ 37274 w 524261"/>
                  <a:gd name="connsiteY48" fmla="*/ 1212 h 199855"/>
                  <a:gd name="connsiteX49" fmla="*/ 36062 w 524261"/>
                  <a:gd name="connsiteY49" fmla="*/ 2273 h 199855"/>
                  <a:gd name="connsiteX50" fmla="*/ 33789 w 524261"/>
                  <a:gd name="connsiteY50" fmla="*/ 3485 h 199855"/>
                  <a:gd name="connsiteX51" fmla="*/ 31517 w 524261"/>
                  <a:gd name="connsiteY51" fmla="*/ 4091 h 199855"/>
                  <a:gd name="connsiteX52" fmla="*/ 28183 w 524261"/>
                  <a:gd name="connsiteY52" fmla="*/ 4546 h 199855"/>
                  <a:gd name="connsiteX53" fmla="*/ 26364 w 524261"/>
                  <a:gd name="connsiteY53" fmla="*/ 4546 h 199855"/>
                  <a:gd name="connsiteX54" fmla="*/ 25455 w 524261"/>
                  <a:gd name="connsiteY54" fmla="*/ 5152 h 199855"/>
                  <a:gd name="connsiteX55" fmla="*/ 24698 w 524261"/>
                  <a:gd name="connsiteY55" fmla="*/ 6818 h 199855"/>
                  <a:gd name="connsiteX56" fmla="*/ 24092 w 524261"/>
                  <a:gd name="connsiteY56" fmla="*/ 8485 h 199855"/>
                  <a:gd name="connsiteX57" fmla="*/ 23637 w 524261"/>
                  <a:gd name="connsiteY57" fmla="*/ 9091 h 199855"/>
                  <a:gd name="connsiteX58" fmla="*/ 19546 w 524261"/>
                  <a:gd name="connsiteY58" fmla="*/ 9849 h 199855"/>
                  <a:gd name="connsiteX59" fmla="*/ 18637 w 524261"/>
                  <a:gd name="connsiteY59" fmla="*/ 10758 h 199855"/>
                  <a:gd name="connsiteX60" fmla="*/ 18334 w 524261"/>
                  <a:gd name="connsiteY60" fmla="*/ 11667 h 199855"/>
                  <a:gd name="connsiteX61" fmla="*/ 18486 w 524261"/>
                  <a:gd name="connsiteY61" fmla="*/ 12576 h 199855"/>
                  <a:gd name="connsiteX62" fmla="*/ 20910 w 524261"/>
                  <a:gd name="connsiteY62" fmla="*/ 13182 h 199855"/>
                  <a:gd name="connsiteX63" fmla="*/ 22274 w 524261"/>
                  <a:gd name="connsiteY63" fmla="*/ 14243 h 199855"/>
                  <a:gd name="connsiteX64" fmla="*/ 23183 w 524261"/>
                  <a:gd name="connsiteY64" fmla="*/ 15152 h 199855"/>
                  <a:gd name="connsiteX65" fmla="*/ 24546 w 524261"/>
                  <a:gd name="connsiteY65" fmla="*/ 16061 h 199855"/>
                  <a:gd name="connsiteX66" fmla="*/ 25607 w 524261"/>
                  <a:gd name="connsiteY66" fmla="*/ 16213 h 199855"/>
                  <a:gd name="connsiteX67" fmla="*/ 26364 w 524261"/>
                  <a:gd name="connsiteY67" fmla="*/ 19092 h 199855"/>
                  <a:gd name="connsiteX68" fmla="*/ 26819 w 524261"/>
                  <a:gd name="connsiteY68" fmla="*/ 22728 h 199855"/>
                  <a:gd name="connsiteX69" fmla="*/ 26213 w 524261"/>
                  <a:gd name="connsiteY69" fmla="*/ 24243 h 199855"/>
                  <a:gd name="connsiteX70" fmla="*/ 24395 w 524261"/>
                  <a:gd name="connsiteY70" fmla="*/ 24546 h 199855"/>
                  <a:gd name="connsiteX71" fmla="*/ 18788 w 524261"/>
                  <a:gd name="connsiteY71" fmla="*/ 27880 h 199855"/>
                  <a:gd name="connsiteX72" fmla="*/ 18637 w 524261"/>
                  <a:gd name="connsiteY72" fmla="*/ 31062 h 199855"/>
                  <a:gd name="connsiteX73" fmla="*/ 18637 w 524261"/>
                  <a:gd name="connsiteY73" fmla="*/ 32577 h 199855"/>
                  <a:gd name="connsiteX74" fmla="*/ 18788 w 524261"/>
                  <a:gd name="connsiteY74" fmla="*/ 33637 h 199855"/>
                  <a:gd name="connsiteX75" fmla="*/ 19395 w 524261"/>
                  <a:gd name="connsiteY75" fmla="*/ 34547 h 199855"/>
                  <a:gd name="connsiteX76" fmla="*/ 19395 w 524261"/>
                  <a:gd name="connsiteY76" fmla="*/ 35910 h 199855"/>
                  <a:gd name="connsiteX77" fmla="*/ 18788 w 524261"/>
                  <a:gd name="connsiteY77" fmla="*/ 37274 h 199855"/>
                  <a:gd name="connsiteX78" fmla="*/ 16365 w 524261"/>
                  <a:gd name="connsiteY78" fmla="*/ 39547 h 199855"/>
                  <a:gd name="connsiteX79" fmla="*/ 14698 w 524261"/>
                  <a:gd name="connsiteY79" fmla="*/ 41365 h 199855"/>
                  <a:gd name="connsiteX80" fmla="*/ 12728 w 524261"/>
                  <a:gd name="connsiteY80" fmla="*/ 43789 h 199855"/>
                  <a:gd name="connsiteX81" fmla="*/ 11667 w 524261"/>
                  <a:gd name="connsiteY81" fmla="*/ 44092 h 199855"/>
                  <a:gd name="connsiteX82" fmla="*/ 10758 w 524261"/>
                  <a:gd name="connsiteY82" fmla="*/ 44547 h 199855"/>
                  <a:gd name="connsiteX83" fmla="*/ 11516 w 524261"/>
                  <a:gd name="connsiteY83" fmla="*/ 45911 h 199855"/>
                  <a:gd name="connsiteX84" fmla="*/ 12576 w 524261"/>
                  <a:gd name="connsiteY84" fmla="*/ 48184 h 199855"/>
                  <a:gd name="connsiteX85" fmla="*/ 15152 w 524261"/>
                  <a:gd name="connsiteY85" fmla="*/ 48032 h 199855"/>
                  <a:gd name="connsiteX86" fmla="*/ 5606 w 524261"/>
                  <a:gd name="connsiteY86" fmla="*/ 60305 h 199855"/>
                  <a:gd name="connsiteX87" fmla="*/ 1970 w 524261"/>
                  <a:gd name="connsiteY87" fmla="*/ 61517 h 199855"/>
                  <a:gd name="connsiteX88" fmla="*/ 0 w 524261"/>
                  <a:gd name="connsiteY88" fmla="*/ 63487 h 199855"/>
                  <a:gd name="connsiteX89" fmla="*/ 1970 w 524261"/>
                  <a:gd name="connsiteY89" fmla="*/ 64396 h 199855"/>
                  <a:gd name="connsiteX90" fmla="*/ 8182 w 524261"/>
                  <a:gd name="connsiteY90" fmla="*/ 63336 h 199855"/>
                  <a:gd name="connsiteX91" fmla="*/ 8333 w 524261"/>
                  <a:gd name="connsiteY91" fmla="*/ 61972 h 199855"/>
                  <a:gd name="connsiteX92" fmla="*/ 6667 w 524261"/>
                  <a:gd name="connsiteY92" fmla="*/ 60002 h 199855"/>
                  <a:gd name="connsiteX93" fmla="*/ 5606 w 524261"/>
                  <a:gd name="connsiteY93" fmla="*/ 60305 h 199855"/>
                  <a:gd name="connsiteX94" fmla="*/ 523353 w 524261"/>
                  <a:gd name="connsiteY94" fmla="*/ 154096 h 199855"/>
                  <a:gd name="connsiteX95" fmla="*/ 521231 w 524261"/>
                  <a:gd name="connsiteY95" fmla="*/ 151975 h 199855"/>
                  <a:gd name="connsiteX96" fmla="*/ 518201 w 524261"/>
                  <a:gd name="connsiteY96" fmla="*/ 149854 h 199855"/>
                  <a:gd name="connsiteX97" fmla="*/ 517443 w 524261"/>
                  <a:gd name="connsiteY97" fmla="*/ 149551 h 199855"/>
                  <a:gd name="connsiteX98" fmla="*/ 517443 w 524261"/>
                  <a:gd name="connsiteY98" fmla="*/ 147278 h 199855"/>
                  <a:gd name="connsiteX99" fmla="*/ 517595 w 524261"/>
                  <a:gd name="connsiteY99" fmla="*/ 145611 h 199855"/>
                  <a:gd name="connsiteX100" fmla="*/ 517292 w 524261"/>
                  <a:gd name="connsiteY100" fmla="*/ 144096 h 199855"/>
                  <a:gd name="connsiteX101" fmla="*/ 516686 w 524261"/>
                  <a:gd name="connsiteY101" fmla="*/ 143187 h 199855"/>
                  <a:gd name="connsiteX102" fmla="*/ 516686 w 524261"/>
                  <a:gd name="connsiteY102" fmla="*/ 142429 h 199855"/>
                  <a:gd name="connsiteX103" fmla="*/ 517898 w 524261"/>
                  <a:gd name="connsiteY103" fmla="*/ 140763 h 199855"/>
                  <a:gd name="connsiteX104" fmla="*/ 517140 w 524261"/>
                  <a:gd name="connsiteY104" fmla="*/ 139702 h 199855"/>
                  <a:gd name="connsiteX105" fmla="*/ 512595 w 524261"/>
                  <a:gd name="connsiteY105" fmla="*/ 136975 h 199855"/>
                  <a:gd name="connsiteX106" fmla="*/ 510928 w 524261"/>
                  <a:gd name="connsiteY106" fmla="*/ 135611 h 199855"/>
                  <a:gd name="connsiteX107" fmla="*/ 507897 w 524261"/>
                  <a:gd name="connsiteY107" fmla="*/ 135308 h 199855"/>
                  <a:gd name="connsiteX108" fmla="*/ 507595 w 524261"/>
                  <a:gd name="connsiteY108" fmla="*/ 134399 h 199855"/>
                  <a:gd name="connsiteX109" fmla="*/ 508049 w 524261"/>
                  <a:gd name="connsiteY109" fmla="*/ 132580 h 199855"/>
                  <a:gd name="connsiteX110" fmla="*/ 509110 w 524261"/>
                  <a:gd name="connsiteY110" fmla="*/ 130308 h 199855"/>
                  <a:gd name="connsiteX111" fmla="*/ 510776 w 524261"/>
                  <a:gd name="connsiteY111" fmla="*/ 128035 h 199855"/>
                  <a:gd name="connsiteX112" fmla="*/ 511383 w 524261"/>
                  <a:gd name="connsiteY112" fmla="*/ 126823 h 199855"/>
                  <a:gd name="connsiteX113" fmla="*/ 511989 w 524261"/>
                  <a:gd name="connsiteY113" fmla="*/ 124853 h 199855"/>
                  <a:gd name="connsiteX114" fmla="*/ 512140 w 524261"/>
                  <a:gd name="connsiteY114" fmla="*/ 123489 h 199855"/>
                  <a:gd name="connsiteX115" fmla="*/ 513959 w 524261"/>
                  <a:gd name="connsiteY115" fmla="*/ 121520 h 199855"/>
                  <a:gd name="connsiteX116" fmla="*/ 513959 w 524261"/>
                  <a:gd name="connsiteY116" fmla="*/ 121065 h 199855"/>
                  <a:gd name="connsiteX117" fmla="*/ 513504 w 524261"/>
                  <a:gd name="connsiteY117" fmla="*/ 120307 h 199855"/>
                  <a:gd name="connsiteX118" fmla="*/ 511989 w 524261"/>
                  <a:gd name="connsiteY118" fmla="*/ 119853 h 199855"/>
                  <a:gd name="connsiteX119" fmla="*/ 510474 w 524261"/>
                  <a:gd name="connsiteY119" fmla="*/ 119701 h 199855"/>
                  <a:gd name="connsiteX120" fmla="*/ 509867 w 524261"/>
                  <a:gd name="connsiteY120" fmla="*/ 119398 h 199855"/>
                  <a:gd name="connsiteX121" fmla="*/ 509716 w 524261"/>
                  <a:gd name="connsiteY121" fmla="*/ 118337 h 199855"/>
                  <a:gd name="connsiteX122" fmla="*/ 509867 w 524261"/>
                  <a:gd name="connsiteY122" fmla="*/ 113944 h 199855"/>
                  <a:gd name="connsiteX123" fmla="*/ 509413 w 524261"/>
                  <a:gd name="connsiteY123" fmla="*/ 111368 h 199855"/>
                  <a:gd name="connsiteX124" fmla="*/ 508807 w 524261"/>
                  <a:gd name="connsiteY124" fmla="*/ 109398 h 199855"/>
                  <a:gd name="connsiteX125" fmla="*/ 509262 w 524261"/>
                  <a:gd name="connsiteY125" fmla="*/ 105155 h 199855"/>
                  <a:gd name="connsiteX126" fmla="*/ 508201 w 524261"/>
                  <a:gd name="connsiteY126" fmla="*/ 104246 h 199855"/>
                  <a:gd name="connsiteX127" fmla="*/ 506534 w 524261"/>
                  <a:gd name="connsiteY127" fmla="*/ 101973 h 199855"/>
                  <a:gd name="connsiteX128" fmla="*/ 505776 w 524261"/>
                  <a:gd name="connsiteY128" fmla="*/ 100004 h 199855"/>
                  <a:gd name="connsiteX129" fmla="*/ 506231 w 524261"/>
                  <a:gd name="connsiteY129" fmla="*/ 99246 h 199855"/>
                  <a:gd name="connsiteX130" fmla="*/ 506534 w 524261"/>
                  <a:gd name="connsiteY130" fmla="*/ 98034 h 199855"/>
                  <a:gd name="connsiteX131" fmla="*/ 506837 w 524261"/>
                  <a:gd name="connsiteY131" fmla="*/ 96367 h 199855"/>
                  <a:gd name="connsiteX132" fmla="*/ 506837 w 524261"/>
                  <a:gd name="connsiteY132" fmla="*/ 95155 h 199855"/>
                  <a:gd name="connsiteX133" fmla="*/ 505322 w 524261"/>
                  <a:gd name="connsiteY133" fmla="*/ 93943 h 199855"/>
                  <a:gd name="connsiteX134" fmla="*/ 504109 w 524261"/>
                  <a:gd name="connsiteY134" fmla="*/ 92731 h 199855"/>
                  <a:gd name="connsiteX135" fmla="*/ 503958 w 524261"/>
                  <a:gd name="connsiteY135" fmla="*/ 91367 h 199855"/>
                  <a:gd name="connsiteX136" fmla="*/ 503504 w 524261"/>
                  <a:gd name="connsiteY136" fmla="*/ 89700 h 199855"/>
                  <a:gd name="connsiteX137" fmla="*/ 502897 w 524261"/>
                  <a:gd name="connsiteY137" fmla="*/ 88488 h 199855"/>
                  <a:gd name="connsiteX138" fmla="*/ 502595 w 524261"/>
                  <a:gd name="connsiteY138" fmla="*/ 87579 h 199855"/>
                  <a:gd name="connsiteX139" fmla="*/ 503200 w 524261"/>
                  <a:gd name="connsiteY139" fmla="*/ 87124 h 199855"/>
                  <a:gd name="connsiteX140" fmla="*/ 505322 w 524261"/>
                  <a:gd name="connsiteY140" fmla="*/ 86670 h 199855"/>
                  <a:gd name="connsiteX141" fmla="*/ 508504 w 524261"/>
                  <a:gd name="connsiteY141" fmla="*/ 86973 h 199855"/>
                  <a:gd name="connsiteX142" fmla="*/ 511080 w 524261"/>
                  <a:gd name="connsiteY142" fmla="*/ 86973 h 199855"/>
                  <a:gd name="connsiteX143" fmla="*/ 512595 w 524261"/>
                  <a:gd name="connsiteY143" fmla="*/ 86064 h 199855"/>
                  <a:gd name="connsiteX144" fmla="*/ 514413 w 524261"/>
                  <a:gd name="connsiteY144" fmla="*/ 78185 h 199855"/>
                  <a:gd name="connsiteX145" fmla="*/ 516080 w 524261"/>
                  <a:gd name="connsiteY145" fmla="*/ 76063 h 199855"/>
                  <a:gd name="connsiteX146" fmla="*/ 518050 w 524261"/>
                  <a:gd name="connsiteY146" fmla="*/ 74851 h 199855"/>
                  <a:gd name="connsiteX147" fmla="*/ 521838 w 524261"/>
                  <a:gd name="connsiteY147" fmla="*/ 77579 h 199855"/>
                  <a:gd name="connsiteX148" fmla="*/ 523353 w 524261"/>
                  <a:gd name="connsiteY148" fmla="*/ 78488 h 199855"/>
                  <a:gd name="connsiteX149" fmla="*/ 524262 w 524261"/>
                  <a:gd name="connsiteY149" fmla="*/ 78488 h 199855"/>
                  <a:gd name="connsiteX150" fmla="*/ 523353 w 524261"/>
                  <a:gd name="connsiteY150" fmla="*/ 77427 h 199855"/>
                  <a:gd name="connsiteX151" fmla="*/ 522898 w 524261"/>
                  <a:gd name="connsiteY151" fmla="*/ 76821 h 199855"/>
                  <a:gd name="connsiteX152" fmla="*/ 521989 w 524261"/>
                  <a:gd name="connsiteY152" fmla="*/ 75457 h 199855"/>
                  <a:gd name="connsiteX153" fmla="*/ 517292 w 524261"/>
                  <a:gd name="connsiteY153" fmla="*/ 70912 h 199855"/>
                  <a:gd name="connsiteX154" fmla="*/ 512898 w 524261"/>
                  <a:gd name="connsiteY154" fmla="*/ 67427 h 199855"/>
                  <a:gd name="connsiteX155" fmla="*/ 509867 w 524261"/>
                  <a:gd name="connsiteY155" fmla="*/ 66063 h 199855"/>
                  <a:gd name="connsiteX156" fmla="*/ 506837 w 524261"/>
                  <a:gd name="connsiteY156" fmla="*/ 66215 h 199855"/>
                  <a:gd name="connsiteX157" fmla="*/ 502140 w 524261"/>
                  <a:gd name="connsiteY157" fmla="*/ 66972 h 199855"/>
                  <a:gd name="connsiteX158" fmla="*/ 500473 w 524261"/>
                  <a:gd name="connsiteY158" fmla="*/ 66669 h 199855"/>
                  <a:gd name="connsiteX159" fmla="*/ 496382 w 524261"/>
                  <a:gd name="connsiteY159" fmla="*/ 65154 h 199855"/>
                  <a:gd name="connsiteX160" fmla="*/ 492897 w 524261"/>
                  <a:gd name="connsiteY160" fmla="*/ 63336 h 199855"/>
                  <a:gd name="connsiteX161" fmla="*/ 493352 w 524261"/>
                  <a:gd name="connsiteY161" fmla="*/ 62578 h 199855"/>
                  <a:gd name="connsiteX162" fmla="*/ 494109 w 524261"/>
                  <a:gd name="connsiteY162" fmla="*/ 61972 h 199855"/>
                  <a:gd name="connsiteX163" fmla="*/ 493200 w 524261"/>
                  <a:gd name="connsiteY163" fmla="*/ 59699 h 199855"/>
                  <a:gd name="connsiteX164" fmla="*/ 491231 w 524261"/>
                  <a:gd name="connsiteY164" fmla="*/ 55911 h 199855"/>
                  <a:gd name="connsiteX165" fmla="*/ 491382 w 524261"/>
                  <a:gd name="connsiteY165" fmla="*/ 54699 h 199855"/>
                  <a:gd name="connsiteX166" fmla="*/ 490776 w 524261"/>
                  <a:gd name="connsiteY166" fmla="*/ 53032 h 199855"/>
                  <a:gd name="connsiteX167" fmla="*/ 490170 w 524261"/>
                  <a:gd name="connsiteY167" fmla="*/ 51820 h 199855"/>
                  <a:gd name="connsiteX168" fmla="*/ 492897 w 524261"/>
                  <a:gd name="connsiteY168" fmla="*/ 48790 h 199855"/>
                  <a:gd name="connsiteX169" fmla="*/ 494109 w 524261"/>
                  <a:gd name="connsiteY169" fmla="*/ 46365 h 199855"/>
                  <a:gd name="connsiteX170" fmla="*/ 494412 w 524261"/>
                  <a:gd name="connsiteY170" fmla="*/ 44092 h 199855"/>
                  <a:gd name="connsiteX171" fmla="*/ 493655 w 524261"/>
                  <a:gd name="connsiteY171" fmla="*/ 41668 h 199855"/>
                  <a:gd name="connsiteX172" fmla="*/ 491836 w 524261"/>
                  <a:gd name="connsiteY172" fmla="*/ 37274 h 199855"/>
                  <a:gd name="connsiteX173" fmla="*/ 490776 w 524261"/>
                  <a:gd name="connsiteY173" fmla="*/ 36062 h 199855"/>
                  <a:gd name="connsiteX174" fmla="*/ 488806 w 524261"/>
                  <a:gd name="connsiteY174" fmla="*/ 34850 h 199855"/>
                  <a:gd name="connsiteX175" fmla="*/ 487139 w 524261"/>
                  <a:gd name="connsiteY175" fmla="*/ 32880 h 199855"/>
                  <a:gd name="connsiteX176" fmla="*/ 486685 w 524261"/>
                  <a:gd name="connsiteY176" fmla="*/ 31516 h 199855"/>
                  <a:gd name="connsiteX177" fmla="*/ 486685 w 524261"/>
                  <a:gd name="connsiteY177" fmla="*/ 30910 h 199855"/>
                  <a:gd name="connsiteX178" fmla="*/ 486533 w 524261"/>
                  <a:gd name="connsiteY178" fmla="*/ 30001 h 199855"/>
                  <a:gd name="connsiteX179" fmla="*/ 485624 w 524261"/>
                  <a:gd name="connsiteY179" fmla="*/ 29243 h 199855"/>
                  <a:gd name="connsiteX180" fmla="*/ 484412 w 524261"/>
                  <a:gd name="connsiteY180" fmla="*/ 28789 h 199855"/>
                  <a:gd name="connsiteX181" fmla="*/ 482291 w 524261"/>
                  <a:gd name="connsiteY181" fmla="*/ 28940 h 199855"/>
                  <a:gd name="connsiteX182" fmla="*/ 480321 w 524261"/>
                  <a:gd name="connsiteY182" fmla="*/ 28486 h 199855"/>
                  <a:gd name="connsiteX183" fmla="*/ 478806 w 524261"/>
                  <a:gd name="connsiteY183" fmla="*/ 27274 h 199855"/>
                  <a:gd name="connsiteX184" fmla="*/ 478503 w 524261"/>
                  <a:gd name="connsiteY184" fmla="*/ 26365 h 199855"/>
                  <a:gd name="connsiteX185" fmla="*/ 479260 w 524261"/>
                  <a:gd name="connsiteY185" fmla="*/ 25607 h 199855"/>
                  <a:gd name="connsiteX186" fmla="*/ 478654 w 524261"/>
                  <a:gd name="connsiteY186" fmla="*/ 25001 h 199855"/>
                  <a:gd name="connsiteX187" fmla="*/ 476078 w 524261"/>
                  <a:gd name="connsiteY187" fmla="*/ 23486 h 199855"/>
                  <a:gd name="connsiteX188" fmla="*/ 471987 w 524261"/>
                  <a:gd name="connsiteY188" fmla="*/ 19698 h 199855"/>
                  <a:gd name="connsiteX189" fmla="*/ 469714 w 524261"/>
                  <a:gd name="connsiteY189" fmla="*/ 18940 h 199855"/>
                  <a:gd name="connsiteX190" fmla="*/ 468805 w 524261"/>
                  <a:gd name="connsiteY190" fmla="*/ 16667 h 199855"/>
                  <a:gd name="connsiteX191" fmla="*/ 467896 w 524261"/>
                  <a:gd name="connsiteY191" fmla="*/ 16213 h 199855"/>
                  <a:gd name="connsiteX192" fmla="*/ 465926 w 524261"/>
                  <a:gd name="connsiteY192" fmla="*/ 16061 h 199855"/>
                  <a:gd name="connsiteX193" fmla="*/ 463805 w 524261"/>
                  <a:gd name="connsiteY193" fmla="*/ 16213 h 199855"/>
                  <a:gd name="connsiteX194" fmla="*/ 463351 w 524261"/>
                  <a:gd name="connsiteY194" fmla="*/ 16516 h 199855"/>
                  <a:gd name="connsiteX195" fmla="*/ 462745 w 524261"/>
                  <a:gd name="connsiteY195" fmla="*/ 16819 h 199855"/>
                  <a:gd name="connsiteX196" fmla="*/ 461078 w 524261"/>
                  <a:gd name="connsiteY196" fmla="*/ 19698 h 199855"/>
                  <a:gd name="connsiteX197" fmla="*/ 460017 w 524261"/>
                  <a:gd name="connsiteY197" fmla="*/ 20758 h 199855"/>
                  <a:gd name="connsiteX198" fmla="*/ 457290 w 524261"/>
                  <a:gd name="connsiteY198" fmla="*/ 20304 h 199855"/>
                  <a:gd name="connsiteX199" fmla="*/ 455017 w 524261"/>
                  <a:gd name="connsiteY199" fmla="*/ 19546 h 199855"/>
                  <a:gd name="connsiteX200" fmla="*/ 453199 w 524261"/>
                  <a:gd name="connsiteY200" fmla="*/ 19092 h 199855"/>
                  <a:gd name="connsiteX201" fmla="*/ 449562 w 524261"/>
                  <a:gd name="connsiteY201" fmla="*/ 18789 h 199855"/>
                  <a:gd name="connsiteX202" fmla="*/ 445471 w 524261"/>
                  <a:gd name="connsiteY202" fmla="*/ 18789 h 199855"/>
                  <a:gd name="connsiteX203" fmla="*/ 442744 w 524261"/>
                  <a:gd name="connsiteY203" fmla="*/ 20910 h 199855"/>
                  <a:gd name="connsiteX204" fmla="*/ 441532 w 524261"/>
                  <a:gd name="connsiteY204" fmla="*/ 20607 h 199855"/>
                  <a:gd name="connsiteX205" fmla="*/ 439410 w 524261"/>
                  <a:gd name="connsiteY205" fmla="*/ 19546 h 199855"/>
                  <a:gd name="connsiteX206" fmla="*/ 435925 w 524261"/>
                  <a:gd name="connsiteY206" fmla="*/ 18637 h 199855"/>
                  <a:gd name="connsiteX207" fmla="*/ 434107 w 524261"/>
                  <a:gd name="connsiteY207" fmla="*/ 18031 h 199855"/>
                  <a:gd name="connsiteX208" fmla="*/ 431531 w 524261"/>
                  <a:gd name="connsiteY208" fmla="*/ 21061 h 199855"/>
                  <a:gd name="connsiteX209" fmla="*/ 422440 w 524261"/>
                  <a:gd name="connsiteY209" fmla="*/ 26365 h 199855"/>
                  <a:gd name="connsiteX210" fmla="*/ 419107 w 524261"/>
                  <a:gd name="connsiteY210" fmla="*/ 28031 h 199855"/>
                  <a:gd name="connsiteX211" fmla="*/ 415318 w 524261"/>
                  <a:gd name="connsiteY211" fmla="*/ 28789 h 199855"/>
                  <a:gd name="connsiteX212" fmla="*/ 411682 w 524261"/>
                  <a:gd name="connsiteY212" fmla="*/ 31516 h 199855"/>
                  <a:gd name="connsiteX213" fmla="*/ 400166 w 524261"/>
                  <a:gd name="connsiteY213" fmla="*/ 36213 h 199855"/>
                  <a:gd name="connsiteX214" fmla="*/ 396378 w 524261"/>
                  <a:gd name="connsiteY214" fmla="*/ 36820 h 199855"/>
                  <a:gd name="connsiteX215" fmla="*/ 392893 w 524261"/>
                  <a:gd name="connsiteY215" fmla="*/ 35759 h 199855"/>
                  <a:gd name="connsiteX216" fmla="*/ 390469 w 524261"/>
                  <a:gd name="connsiteY216" fmla="*/ 36062 h 199855"/>
                  <a:gd name="connsiteX217" fmla="*/ 387590 w 524261"/>
                  <a:gd name="connsiteY217" fmla="*/ 35607 h 199855"/>
                  <a:gd name="connsiteX218" fmla="*/ 377135 w 524261"/>
                  <a:gd name="connsiteY218" fmla="*/ 31516 h 199855"/>
                  <a:gd name="connsiteX219" fmla="*/ 361377 w 524261"/>
                  <a:gd name="connsiteY219" fmla="*/ 34395 h 199855"/>
                  <a:gd name="connsiteX220" fmla="*/ 353347 w 524261"/>
                  <a:gd name="connsiteY220" fmla="*/ 36971 h 199855"/>
                  <a:gd name="connsiteX221" fmla="*/ 348498 w 524261"/>
                  <a:gd name="connsiteY221" fmla="*/ 37426 h 199855"/>
                  <a:gd name="connsiteX222" fmla="*/ 335618 w 524261"/>
                  <a:gd name="connsiteY222" fmla="*/ 34850 h 199855"/>
                  <a:gd name="connsiteX223" fmla="*/ 331679 w 524261"/>
                  <a:gd name="connsiteY223" fmla="*/ 32274 h 199855"/>
                  <a:gd name="connsiteX224" fmla="*/ 322588 w 524261"/>
                  <a:gd name="connsiteY224" fmla="*/ 31062 h 199855"/>
                  <a:gd name="connsiteX225" fmla="*/ 312587 w 524261"/>
                  <a:gd name="connsiteY225" fmla="*/ 28789 h 199855"/>
                  <a:gd name="connsiteX226" fmla="*/ 310618 w 524261"/>
                  <a:gd name="connsiteY226" fmla="*/ 25758 h 199855"/>
                  <a:gd name="connsiteX227" fmla="*/ 304709 w 524261"/>
                  <a:gd name="connsiteY227" fmla="*/ 22880 h 199855"/>
                  <a:gd name="connsiteX228" fmla="*/ 301072 w 524261"/>
                  <a:gd name="connsiteY228" fmla="*/ 23183 h 199855"/>
                  <a:gd name="connsiteX229" fmla="*/ 299405 w 524261"/>
                  <a:gd name="connsiteY229" fmla="*/ 24092 h 199855"/>
                  <a:gd name="connsiteX230" fmla="*/ 297284 w 524261"/>
                  <a:gd name="connsiteY230" fmla="*/ 26213 h 199855"/>
                  <a:gd name="connsiteX231" fmla="*/ 294405 w 524261"/>
                  <a:gd name="connsiteY231" fmla="*/ 25758 h 199855"/>
                  <a:gd name="connsiteX232" fmla="*/ 290920 w 524261"/>
                  <a:gd name="connsiteY232" fmla="*/ 23789 h 199855"/>
                  <a:gd name="connsiteX233" fmla="*/ 288192 w 524261"/>
                  <a:gd name="connsiteY233" fmla="*/ 20910 h 199855"/>
                  <a:gd name="connsiteX234" fmla="*/ 284708 w 524261"/>
                  <a:gd name="connsiteY234" fmla="*/ 12576 h 199855"/>
                  <a:gd name="connsiteX235" fmla="*/ 282738 w 524261"/>
                  <a:gd name="connsiteY235" fmla="*/ 11819 h 199855"/>
                  <a:gd name="connsiteX236" fmla="*/ 281071 w 524261"/>
                  <a:gd name="connsiteY236" fmla="*/ 11515 h 199855"/>
                  <a:gd name="connsiteX237" fmla="*/ 271222 w 524261"/>
                  <a:gd name="connsiteY237" fmla="*/ 14091 h 199855"/>
                  <a:gd name="connsiteX238" fmla="*/ 264101 w 524261"/>
                  <a:gd name="connsiteY238" fmla="*/ 11061 h 199855"/>
                  <a:gd name="connsiteX239" fmla="*/ 261676 w 524261"/>
                  <a:gd name="connsiteY239" fmla="*/ 8940 h 199855"/>
                  <a:gd name="connsiteX240" fmla="*/ 259252 w 524261"/>
                  <a:gd name="connsiteY240" fmla="*/ 5758 h 199855"/>
                  <a:gd name="connsiteX241" fmla="*/ 259101 w 524261"/>
                  <a:gd name="connsiteY241" fmla="*/ 3636 h 199855"/>
                  <a:gd name="connsiteX242" fmla="*/ 259858 w 524261"/>
                  <a:gd name="connsiteY242" fmla="*/ 2576 h 199855"/>
                  <a:gd name="connsiteX243" fmla="*/ 260313 w 524261"/>
                  <a:gd name="connsiteY243" fmla="*/ 1364 h 199855"/>
                  <a:gd name="connsiteX244" fmla="*/ 256222 w 524261"/>
                  <a:gd name="connsiteY244" fmla="*/ 151 h 199855"/>
                  <a:gd name="connsiteX245" fmla="*/ 249252 w 524261"/>
                  <a:gd name="connsiteY245" fmla="*/ 3636 h 199855"/>
                  <a:gd name="connsiteX246" fmla="*/ 233191 w 524261"/>
                  <a:gd name="connsiteY246" fmla="*/ 4091 h 199855"/>
                  <a:gd name="connsiteX247" fmla="*/ 210917 w 524261"/>
                  <a:gd name="connsiteY247" fmla="*/ 2273 h 199855"/>
                  <a:gd name="connsiteX248" fmla="*/ 208341 w 524261"/>
                  <a:gd name="connsiteY248" fmla="*/ 2727 h 199855"/>
                  <a:gd name="connsiteX249" fmla="*/ 199099 w 524261"/>
                  <a:gd name="connsiteY249" fmla="*/ 6364 h 199855"/>
                  <a:gd name="connsiteX250" fmla="*/ 188037 w 524261"/>
                  <a:gd name="connsiteY250" fmla="*/ 9091 h 199855"/>
                  <a:gd name="connsiteX251" fmla="*/ 181522 w 524261"/>
                  <a:gd name="connsiteY251" fmla="*/ 11667 h 199855"/>
                  <a:gd name="connsiteX252" fmla="*/ 175461 w 524261"/>
                  <a:gd name="connsiteY252" fmla="*/ 16213 h 199855"/>
                  <a:gd name="connsiteX253" fmla="*/ 158339 w 524261"/>
                  <a:gd name="connsiteY253" fmla="*/ 25001 h 199855"/>
                  <a:gd name="connsiteX254" fmla="*/ 155309 w 524261"/>
                  <a:gd name="connsiteY254" fmla="*/ 30304 h 199855"/>
                  <a:gd name="connsiteX255" fmla="*/ 152733 w 524261"/>
                  <a:gd name="connsiteY255" fmla="*/ 31971 h 199855"/>
                  <a:gd name="connsiteX256" fmla="*/ 140611 w 524261"/>
                  <a:gd name="connsiteY256" fmla="*/ 32728 h 199855"/>
                  <a:gd name="connsiteX257" fmla="*/ 127884 w 524261"/>
                  <a:gd name="connsiteY257" fmla="*/ 29092 h 199855"/>
                  <a:gd name="connsiteX258" fmla="*/ 116217 w 524261"/>
                  <a:gd name="connsiteY258" fmla="*/ 30607 h 199855"/>
                  <a:gd name="connsiteX259" fmla="*/ 99852 w 524261"/>
                  <a:gd name="connsiteY259" fmla="*/ 28031 h 199855"/>
                  <a:gd name="connsiteX260" fmla="*/ 95155 w 524261"/>
                  <a:gd name="connsiteY260" fmla="*/ 28183 h 199855"/>
                  <a:gd name="connsiteX261" fmla="*/ 93640 w 524261"/>
                  <a:gd name="connsiteY261" fmla="*/ 29546 h 199855"/>
                  <a:gd name="connsiteX262" fmla="*/ 92882 w 524261"/>
                  <a:gd name="connsiteY262" fmla="*/ 31971 h 199855"/>
                  <a:gd name="connsiteX263" fmla="*/ 92276 w 524261"/>
                  <a:gd name="connsiteY263" fmla="*/ 35001 h 199855"/>
                  <a:gd name="connsiteX264" fmla="*/ 93337 w 524261"/>
                  <a:gd name="connsiteY264" fmla="*/ 36365 h 199855"/>
                  <a:gd name="connsiteX265" fmla="*/ 94246 w 524261"/>
                  <a:gd name="connsiteY265" fmla="*/ 37123 h 199855"/>
                  <a:gd name="connsiteX266" fmla="*/ 98186 w 524261"/>
                  <a:gd name="connsiteY266" fmla="*/ 40001 h 199855"/>
                  <a:gd name="connsiteX267" fmla="*/ 101065 w 524261"/>
                  <a:gd name="connsiteY267" fmla="*/ 41214 h 199855"/>
                  <a:gd name="connsiteX268" fmla="*/ 113034 w 524261"/>
                  <a:gd name="connsiteY268" fmla="*/ 42880 h 199855"/>
                  <a:gd name="connsiteX269" fmla="*/ 114398 w 524261"/>
                  <a:gd name="connsiteY269" fmla="*/ 42880 h 199855"/>
                  <a:gd name="connsiteX270" fmla="*/ 114247 w 524261"/>
                  <a:gd name="connsiteY270" fmla="*/ 43638 h 199855"/>
                  <a:gd name="connsiteX271" fmla="*/ 105004 w 524261"/>
                  <a:gd name="connsiteY271" fmla="*/ 44547 h 199855"/>
                  <a:gd name="connsiteX272" fmla="*/ 92579 w 524261"/>
                  <a:gd name="connsiteY272" fmla="*/ 46517 h 199855"/>
                  <a:gd name="connsiteX273" fmla="*/ 90003 w 524261"/>
                  <a:gd name="connsiteY273" fmla="*/ 47123 h 199855"/>
                  <a:gd name="connsiteX274" fmla="*/ 85306 w 524261"/>
                  <a:gd name="connsiteY274" fmla="*/ 50305 h 199855"/>
                  <a:gd name="connsiteX275" fmla="*/ 86822 w 524261"/>
                  <a:gd name="connsiteY275" fmla="*/ 51365 h 199855"/>
                  <a:gd name="connsiteX276" fmla="*/ 88337 w 524261"/>
                  <a:gd name="connsiteY276" fmla="*/ 51972 h 199855"/>
                  <a:gd name="connsiteX277" fmla="*/ 90458 w 524261"/>
                  <a:gd name="connsiteY277" fmla="*/ 52426 h 199855"/>
                  <a:gd name="connsiteX278" fmla="*/ 92731 w 524261"/>
                  <a:gd name="connsiteY278" fmla="*/ 53790 h 199855"/>
                  <a:gd name="connsiteX279" fmla="*/ 91367 w 524261"/>
                  <a:gd name="connsiteY279" fmla="*/ 54851 h 199855"/>
                  <a:gd name="connsiteX280" fmla="*/ 84094 w 524261"/>
                  <a:gd name="connsiteY280" fmla="*/ 54851 h 199855"/>
                  <a:gd name="connsiteX281" fmla="*/ 81064 w 524261"/>
                  <a:gd name="connsiteY281" fmla="*/ 55305 h 199855"/>
                  <a:gd name="connsiteX282" fmla="*/ 71669 w 524261"/>
                  <a:gd name="connsiteY282" fmla="*/ 54396 h 199855"/>
                  <a:gd name="connsiteX283" fmla="*/ 62730 w 524261"/>
                  <a:gd name="connsiteY283" fmla="*/ 55457 h 199855"/>
                  <a:gd name="connsiteX284" fmla="*/ 61821 w 524261"/>
                  <a:gd name="connsiteY284" fmla="*/ 55153 h 199855"/>
                  <a:gd name="connsiteX285" fmla="*/ 62730 w 524261"/>
                  <a:gd name="connsiteY285" fmla="*/ 53335 h 199855"/>
                  <a:gd name="connsiteX286" fmla="*/ 63639 w 524261"/>
                  <a:gd name="connsiteY286" fmla="*/ 52274 h 199855"/>
                  <a:gd name="connsiteX287" fmla="*/ 63487 w 524261"/>
                  <a:gd name="connsiteY287" fmla="*/ 51517 h 199855"/>
                  <a:gd name="connsiteX288" fmla="*/ 60305 w 524261"/>
                  <a:gd name="connsiteY288" fmla="*/ 50759 h 199855"/>
                  <a:gd name="connsiteX289" fmla="*/ 57427 w 524261"/>
                  <a:gd name="connsiteY289" fmla="*/ 50911 h 199855"/>
                  <a:gd name="connsiteX290" fmla="*/ 56366 w 524261"/>
                  <a:gd name="connsiteY290" fmla="*/ 51820 h 199855"/>
                  <a:gd name="connsiteX291" fmla="*/ 59548 w 524261"/>
                  <a:gd name="connsiteY291" fmla="*/ 55002 h 199855"/>
                  <a:gd name="connsiteX292" fmla="*/ 57881 w 524261"/>
                  <a:gd name="connsiteY292" fmla="*/ 56062 h 199855"/>
                  <a:gd name="connsiteX293" fmla="*/ 56214 w 524261"/>
                  <a:gd name="connsiteY293" fmla="*/ 56820 h 199855"/>
                  <a:gd name="connsiteX294" fmla="*/ 49244 w 524261"/>
                  <a:gd name="connsiteY294" fmla="*/ 57123 h 199855"/>
                  <a:gd name="connsiteX295" fmla="*/ 45305 w 524261"/>
                  <a:gd name="connsiteY295" fmla="*/ 55305 h 199855"/>
                  <a:gd name="connsiteX296" fmla="*/ 44850 w 524261"/>
                  <a:gd name="connsiteY296" fmla="*/ 54093 h 199855"/>
                  <a:gd name="connsiteX297" fmla="*/ 44093 w 524261"/>
                  <a:gd name="connsiteY297" fmla="*/ 52729 h 199855"/>
                  <a:gd name="connsiteX298" fmla="*/ 39698 w 524261"/>
                  <a:gd name="connsiteY298" fmla="*/ 52881 h 199855"/>
                  <a:gd name="connsiteX299" fmla="*/ 36668 w 524261"/>
                  <a:gd name="connsiteY299" fmla="*/ 54699 h 199855"/>
                  <a:gd name="connsiteX300" fmla="*/ 29243 w 524261"/>
                  <a:gd name="connsiteY300" fmla="*/ 54547 h 199855"/>
                  <a:gd name="connsiteX301" fmla="*/ 22122 w 524261"/>
                  <a:gd name="connsiteY301" fmla="*/ 61063 h 199855"/>
                  <a:gd name="connsiteX302" fmla="*/ 17728 w 524261"/>
                  <a:gd name="connsiteY302" fmla="*/ 66669 h 199855"/>
                  <a:gd name="connsiteX303" fmla="*/ 14091 w 524261"/>
                  <a:gd name="connsiteY303" fmla="*/ 67730 h 199855"/>
                  <a:gd name="connsiteX304" fmla="*/ 13182 w 524261"/>
                  <a:gd name="connsiteY304" fmla="*/ 71518 h 199855"/>
                  <a:gd name="connsiteX305" fmla="*/ 13334 w 524261"/>
                  <a:gd name="connsiteY305" fmla="*/ 78488 h 199855"/>
                  <a:gd name="connsiteX306" fmla="*/ 11819 w 524261"/>
                  <a:gd name="connsiteY306" fmla="*/ 81367 h 199855"/>
                  <a:gd name="connsiteX307" fmla="*/ 11667 w 524261"/>
                  <a:gd name="connsiteY307" fmla="*/ 82882 h 199855"/>
                  <a:gd name="connsiteX308" fmla="*/ 12121 w 524261"/>
                  <a:gd name="connsiteY308" fmla="*/ 84548 h 199855"/>
                  <a:gd name="connsiteX309" fmla="*/ 18637 w 524261"/>
                  <a:gd name="connsiteY309" fmla="*/ 83942 h 199855"/>
                  <a:gd name="connsiteX310" fmla="*/ 22274 w 524261"/>
                  <a:gd name="connsiteY310" fmla="*/ 82730 h 199855"/>
                  <a:gd name="connsiteX311" fmla="*/ 31668 w 524261"/>
                  <a:gd name="connsiteY311" fmla="*/ 81367 h 199855"/>
                  <a:gd name="connsiteX312" fmla="*/ 33638 w 524261"/>
                  <a:gd name="connsiteY312" fmla="*/ 81821 h 199855"/>
                  <a:gd name="connsiteX313" fmla="*/ 33941 w 524261"/>
                  <a:gd name="connsiteY313" fmla="*/ 82882 h 199855"/>
                  <a:gd name="connsiteX314" fmla="*/ 31213 w 524261"/>
                  <a:gd name="connsiteY314" fmla="*/ 86064 h 199855"/>
                  <a:gd name="connsiteX315" fmla="*/ 28334 w 524261"/>
                  <a:gd name="connsiteY315" fmla="*/ 88640 h 199855"/>
                  <a:gd name="connsiteX316" fmla="*/ 27577 w 524261"/>
                  <a:gd name="connsiteY316" fmla="*/ 90155 h 199855"/>
                  <a:gd name="connsiteX317" fmla="*/ 28638 w 524261"/>
                  <a:gd name="connsiteY317" fmla="*/ 91215 h 199855"/>
                  <a:gd name="connsiteX318" fmla="*/ 32274 w 524261"/>
                  <a:gd name="connsiteY318" fmla="*/ 95913 h 199855"/>
                  <a:gd name="connsiteX319" fmla="*/ 32122 w 524261"/>
                  <a:gd name="connsiteY319" fmla="*/ 97731 h 199855"/>
                  <a:gd name="connsiteX320" fmla="*/ 31062 w 524261"/>
                  <a:gd name="connsiteY320" fmla="*/ 99095 h 199855"/>
                  <a:gd name="connsiteX321" fmla="*/ 31213 w 524261"/>
                  <a:gd name="connsiteY321" fmla="*/ 100761 h 199855"/>
                  <a:gd name="connsiteX322" fmla="*/ 32577 w 524261"/>
                  <a:gd name="connsiteY322" fmla="*/ 101973 h 199855"/>
                  <a:gd name="connsiteX323" fmla="*/ 34092 w 524261"/>
                  <a:gd name="connsiteY323" fmla="*/ 101670 h 199855"/>
                  <a:gd name="connsiteX324" fmla="*/ 35456 w 524261"/>
                  <a:gd name="connsiteY324" fmla="*/ 102125 h 199855"/>
                  <a:gd name="connsiteX325" fmla="*/ 36668 w 524261"/>
                  <a:gd name="connsiteY325" fmla="*/ 103185 h 199855"/>
                  <a:gd name="connsiteX326" fmla="*/ 33789 w 524261"/>
                  <a:gd name="connsiteY326" fmla="*/ 106671 h 199855"/>
                  <a:gd name="connsiteX327" fmla="*/ 30607 w 524261"/>
                  <a:gd name="connsiteY327" fmla="*/ 107883 h 199855"/>
                  <a:gd name="connsiteX328" fmla="*/ 29850 w 524261"/>
                  <a:gd name="connsiteY328" fmla="*/ 108792 h 199855"/>
                  <a:gd name="connsiteX329" fmla="*/ 30456 w 524261"/>
                  <a:gd name="connsiteY329" fmla="*/ 110307 h 199855"/>
                  <a:gd name="connsiteX330" fmla="*/ 30607 w 524261"/>
                  <a:gd name="connsiteY330" fmla="*/ 111368 h 199855"/>
                  <a:gd name="connsiteX331" fmla="*/ 31819 w 524261"/>
                  <a:gd name="connsiteY331" fmla="*/ 113489 h 199855"/>
                  <a:gd name="connsiteX332" fmla="*/ 33638 w 524261"/>
                  <a:gd name="connsiteY332" fmla="*/ 115913 h 199855"/>
                  <a:gd name="connsiteX333" fmla="*/ 35305 w 524261"/>
                  <a:gd name="connsiteY333" fmla="*/ 116974 h 199855"/>
                  <a:gd name="connsiteX334" fmla="*/ 40002 w 524261"/>
                  <a:gd name="connsiteY334" fmla="*/ 116822 h 199855"/>
                  <a:gd name="connsiteX335" fmla="*/ 38789 w 524261"/>
                  <a:gd name="connsiteY335" fmla="*/ 118035 h 199855"/>
                  <a:gd name="connsiteX336" fmla="*/ 32274 w 524261"/>
                  <a:gd name="connsiteY336" fmla="*/ 119398 h 199855"/>
                  <a:gd name="connsiteX337" fmla="*/ 29698 w 524261"/>
                  <a:gd name="connsiteY337" fmla="*/ 118944 h 199855"/>
                  <a:gd name="connsiteX338" fmla="*/ 28486 w 524261"/>
                  <a:gd name="connsiteY338" fmla="*/ 118035 h 199855"/>
                  <a:gd name="connsiteX339" fmla="*/ 27577 w 524261"/>
                  <a:gd name="connsiteY339" fmla="*/ 118489 h 199855"/>
                  <a:gd name="connsiteX340" fmla="*/ 26971 w 524261"/>
                  <a:gd name="connsiteY340" fmla="*/ 120762 h 199855"/>
                  <a:gd name="connsiteX341" fmla="*/ 26062 w 524261"/>
                  <a:gd name="connsiteY341" fmla="*/ 120307 h 199855"/>
                  <a:gd name="connsiteX342" fmla="*/ 24850 w 524261"/>
                  <a:gd name="connsiteY342" fmla="*/ 118186 h 199855"/>
                  <a:gd name="connsiteX343" fmla="*/ 25304 w 524261"/>
                  <a:gd name="connsiteY343" fmla="*/ 116065 h 199855"/>
                  <a:gd name="connsiteX344" fmla="*/ 24698 w 524261"/>
                  <a:gd name="connsiteY344" fmla="*/ 113792 h 199855"/>
                  <a:gd name="connsiteX345" fmla="*/ 22728 w 524261"/>
                  <a:gd name="connsiteY345" fmla="*/ 111519 h 199855"/>
                  <a:gd name="connsiteX346" fmla="*/ 20758 w 524261"/>
                  <a:gd name="connsiteY346" fmla="*/ 111216 h 199855"/>
                  <a:gd name="connsiteX347" fmla="*/ 19092 w 524261"/>
                  <a:gd name="connsiteY347" fmla="*/ 111822 h 199855"/>
                  <a:gd name="connsiteX348" fmla="*/ 18940 w 524261"/>
                  <a:gd name="connsiteY348" fmla="*/ 113792 h 199855"/>
                  <a:gd name="connsiteX349" fmla="*/ 20455 w 524261"/>
                  <a:gd name="connsiteY349" fmla="*/ 117580 h 199855"/>
                  <a:gd name="connsiteX350" fmla="*/ 20153 w 524261"/>
                  <a:gd name="connsiteY350" fmla="*/ 119853 h 199855"/>
                  <a:gd name="connsiteX351" fmla="*/ 18183 w 524261"/>
                  <a:gd name="connsiteY351" fmla="*/ 119853 h 199855"/>
                  <a:gd name="connsiteX352" fmla="*/ 16667 w 524261"/>
                  <a:gd name="connsiteY352" fmla="*/ 122732 h 199855"/>
                  <a:gd name="connsiteX353" fmla="*/ 17879 w 524261"/>
                  <a:gd name="connsiteY353" fmla="*/ 123792 h 199855"/>
                  <a:gd name="connsiteX354" fmla="*/ 20455 w 524261"/>
                  <a:gd name="connsiteY354" fmla="*/ 124702 h 199855"/>
                  <a:gd name="connsiteX355" fmla="*/ 23031 w 524261"/>
                  <a:gd name="connsiteY355" fmla="*/ 126368 h 199855"/>
                  <a:gd name="connsiteX356" fmla="*/ 24546 w 524261"/>
                  <a:gd name="connsiteY356" fmla="*/ 126823 h 199855"/>
                  <a:gd name="connsiteX357" fmla="*/ 25607 w 524261"/>
                  <a:gd name="connsiteY357" fmla="*/ 125914 h 199855"/>
                  <a:gd name="connsiteX358" fmla="*/ 27274 w 524261"/>
                  <a:gd name="connsiteY358" fmla="*/ 125156 h 199855"/>
                  <a:gd name="connsiteX359" fmla="*/ 30759 w 524261"/>
                  <a:gd name="connsiteY359" fmla="*/ 127126 h 199855"/>
                  <a:gd name="connsiteX360" fmla="*/ 32729 w 524261"/>
                  <a:gd name="connsiteY360" fmla="*/ 129702 h 199855"/>
                  <a:gd name="connsiteX361" fmla="*/ 34547 w 524261"/>
                  <a:gd name="connsiteY361" fmla="*/ 129399 h 199855"/>
                  <a:gd name="connsiteX362" fmla="*/ 40456 w 524261"/>
                  <a:gd name="connsiteY362" fmla="*/ 131823 h 199855"/>
                  <a:gd name="connsiteX363" fmla="*/ 42426 w 524261"/>
                  <a:gd name="connsiteY363" fmla="*/ 132126 h 199855"/>
                  <a:gd name="connsiteX364" fmla="*/ 43032 w 524261"/>
                  <a:gd name="connsiteY364" fmla="*/ 135156 h 199855"/>
                  <a:gd name="connsiteX365" fmla="*/ 42274 w 524261"/>
                  <a:gd name="connsiteY365" fmla="*/ 140157 h 199855"/>
                  <a:gd name="connsiteX366" fmla="*/ 38335 w 524261"/>
                  <a:gd name="connsiteY366" fmla="*/ 141369 h 199855"/>
                  <a:gd name="connsiteX367" fmla="*/ 38032 w 524261"/>
                  <a:gd name="connsiteY367" fmla="*/ 142278 h 199855"/>
                  <a:gd name="connsiteX368" fmla="*/ 40153 w 524261"/>
                  <a:gd name="connsiteY368" fmla="*/ 143945 h 199855"/>
                  <a:gd name="connsiteX369" fmla="*/ 41668 w 524261"/>
                  <a:gd name="connsiteY369" fmla="*/ 147430 h 199855"/>
                  <a:gd name="connsiteX370" fmla="*/ 42123 w 524261"/>
                  <a:gd name="connsiteY370" fmla="*/ 150611 h 199855"/>
                  <a:gd name="connsiteX371" fmla="*/ 44093 w 524261"/>
                  <a:gd name="connsiteY371" fmla="*/ 151824 h 199855"/>
                  <a:gd name="connsiteX372" fmla="*/ 46517 w 524261"/>
                  <a:gd name="connsiteY372" fmla="*/ 152127 h 199855"/>
                  <a:gd name="connsiteX373" fmla="*/ 47123 w 524261"/>
                  <a:gd name="connsiteY373" fmla="*/ 153187 h 199855"/>
                  <a:gd name="connsiteX374" fmla="*/ 50457 w 524261"/>
                  <a:gd name="connsiteY374" fmla="*/ 155006 h 199855"/>
                  <a:gd name="connsiteX375" fmla="*/ 50911 w 524261"/>
                  <a:gd name="connsiteY375" fmla="*/ 157733 h 199855"/>
                  <a:gd name="connsiteX376" fmla="*/ 46365 w 524261"/>
                  <a:gd name="connsiteY376" fmla="*/ 159097 h 199855"/>
                  <a:gd name="connsiteX377" fmla="*/ 44547 w 524261"/>
                  <a:gd name="connsiteY377" fmla="*/ 158945 h 199855"/>
                  <a:gd name="connsiteX378" fmla="*/ 43184 w 524261"/>
                  <a:gd name="connsiteY378" fmla="*/ 160460 h 199855"/>
                  <a:gd name="connsiteX379" fmla="*/ 43486 w 524261"/>
                  <a:gd name="connsiteY379" fmla="*/ 163642 h 199855"/>
                  <a:gd name="connsiteX380" fmla="*/ 44850 w 524261"/>
                  <a:gd name="connsiteY380" fmla="*/ 163491 h 199855"/>
                  <a:gd name="connsiteX381" fmla="*/ 45911 w 524261"/>
                  <a:gd name="connsiteY381" fmla="*/ 162279 h 199855"/>
                  <a:gd name="connsiteX382" fmla="*/ 54699 w 524261"/>
                  <a:gd name="connsiteY382" fmla="*/ 162733 h 199855"/>
                  <a:gd name="connsiteX383" fmla="*/ 67427 w 524261"/>
                  <a:gd name="connsiteY383" fmla="*/ 161976 h 199855"/>
                  <a:gd name="connsiteX384" fmla="*/ 70457 w 524261"/>
                  <a:gd name="connsiteY384" fmla="*/ 161976 h 199855"/>
                  <a:gd name="connsiteX385" fmla="*/ 70003 w 524261"/>
                  <a:gd name="connsiteY385" fmla="*/ 163036 h 199855"/>
                  <a:gd name="connsiteX386" fmla="*/ 66063 w 524261"/>
                  <a:gd name="connsiteY386" fmla="*/ 165460 h 199855"/>
                  <a:gd name="connsiteX387" fmla="*/ 63942 w 524261"/>
                  <a:gd name="connsiteY387" fmla="*/ 168188 h 199855"/>
                  <a:gd name="connsiteX388" fmla="*/ 61972 w 524261"/>
                  <a:gd name="connsiteY388" fmla="*/ 168946 h 199855"/>
                  <a:gd name="connsiteX389" fmla="*/ 53638 w 524261"/>
                  <a:gd name="connsiteY389" fmla="*/ 169703 h 199855"/>
                  <a:gd name="connsiteX390" fmla="*/ 51517 w 524261"/>
                  <a:gd name="connsiteY390" fmla="*/ 170612 h 199855"/>
                  <a:gd name="connsiteX391" fmla="*/ 49093 w 524261"/>
                  <a:gd name="connsiteY391" fmla="*/ 171067 h 199855"/>
                  <a:gd name="connsiteX392" fmla="*/ 48790 w 524261"/>
                  <a:gd name="connsiteY392" fmla="*/ 172127 h 199855"/>
                  <a:gd name="connsiteX393" fmla="*/ 51214 w 524261"/>
                  <a:gd name="connsiteY393" fmla="*/ 173036 h 199855"/>
                  <a:gd name="connsiteX394" fmla="*/ 54396 w 524261"/>
                  <a:gd name="connsiteY394" fmla="*/ 173340 h 199855"/>
                  <a:gd name="connsiteX395" fmla="*/ 58487 w 524261"/>
                  <a:gd name="connsiteY395" fmla="*/ 171370 h 199855"/>
                  <a:gd name="connsiteX396" fmla="*/ 66215 w 524261"/>
                  <a:gd name="connsiteY396" fmla="*/ 170915 h 199855"/>
                  <a:gd name="connsiteX397" fmla="*/ 64245 w 524261"/>
                  <a:gd name="connsiteY397" fmla="*/ 173491 h 199855"/>
                  <a:gd name="connsiteX398" fmla="*/ 64396 w 524261"/>
                  <a:gd name="connsiteY398" fmla="*/ 174552 h 199855"/>
                  <a:gd name="connsiteX399" fmla="*/ 66972 w 524261"/>
                  <a:gd name="connsiteY399" fmla="*/ 174249 h 199855"/>
                  <a:gd name="connsiteX400" fmla="*/ 69245 w 524261"/>
                  <a:gd name="connsiteY400" fmla="*/ 173036 h 199855"/>
                  <a:gd name="connsiteX401" fmla="*/ 72275 w 524261"/>
                  <a:gd name="connsiteY401" fmla="*/ 169097 h 199855"/>
                  <a:gd name="connsiteX402" fmla="*/ 77124 w 524261"/>
                  <a:gd name="connsiteY402" fmla="*/ 169400 h 199855"/>
                  <a:gd name="connsiteX403" fmla="*/ 83488 w 524261"/>
                  <a:gd name="connsiteY403" fmla="*/ 172582 h 199855"/>
                  <a:gd name="connsiteX404" fmla="*/ 86215 w 524261"/>
                  <a:gd name="connsiteY404" fmla="*/ 173340 h 199855"/>
                  <a:gd name="connsiteX405" fmla="*/ 88337 w 524261"/>
                  <a:gd name="connsiteY405" fmla="*/ 173340 h 199855"/>
                  <a:gd name="connsiteX406" fmla="*/ 90306 w 524261"/>
                  <a:gd name="connsiteY406" fmla="*/ 171976 h 199855"/>
                  <a:gd name="connsiteX407" fmla="*/ 92125 w 524261"/>
                  <a:gd name="connsiteY407" fmla="*/ 172734 h 199855"/>
                  <a:gd name="connsiteX408" fmla="*/ 92731 w 524261"/>
                  <a:gd name="connsiteY408" fmla="*/ 174400 h 199855"/>
                  <a:gd name="connsiteX409" fmla="*/ 92882 w 524261"/>
                  <a:gd name="connsiteY409" fmla="*/ 175915 h 199855"/>
                  <a:gd name="connsiteX410" fmla="*/ 94246 w 524261"/>
                  <a:gd name="connsiteY410" fmla="*/ 178037 h 199855"/>
                  <a:gd name="connsiteX411" fmla="*/ 95003 w 524261"/>
                  <a:gd name="connsiteY411" fmla="*/ 181825 h 199855"/>
                  <a:gd name="connsiteX412" fmla="*/ 97277 w 524261"/>
                  <a:gd name="connsiteY412" fmla="*/ 184098 h 199855"/>
                  <a:gd name="connsiteX413" fmla="*/ 100761 w 524261"/>
                  <a:gd name="connsiteY413" fmla="*/ 186219 h 199855"/>
                  <a:gd name="connsiteX414" fmla="*/ 110155 w 524261"/>
                  <a:gd name="connsiteY414" fmla="*/ 189401 h 199855"/>
                  <a:gd name="connsiteX415" fmla="*/ 112883 w 524261"/>
                  <a:gd name="connsiteY415" fmla="*/ 189098 h 199855"/>
                  <a:gd name="connsiteX416" fmla="*/ 120914 w 524261"/>
                  <a:gd name="connsiteY416" fmla="*/ 186522 h 199855"/>
                  <a:gd name="connsiteX417" fmla="*/ 125005 w 524261"/>
                  <a:gd name="connsiteY417" fmla="*/ 184704 h 199855"/>
                  <a:gd name="connsiteX418" fmla="*/ 126823 w 524261"/>
                  <a:gd name="connsiteY418" fmla="*/ 185310 h 199855"/>
                  <a:gd name="connsiteX419" fmla="*/ 129399 w 524261"/>
                  <a:gd name="connsiteY419" fmla="*/ 186673 h 199855"/>
                  <a:gd name="connsiteX420" fmla="*/ 131065 w 524261"/>
                  <a:gd name="connsiteY420" fmla="*/ 185916 h 199855"/>
                  <a:gd name="connsiteX421" fmla="*/ 132126 w 524261"/>
                  <a:gd name="connsiteY421" fmla="*/ 184704 h 199855"/>
                  <a:gd name="connsiteX422" fmla="*/ 132732 w 524261"/>
                  <a:gd name="connsiteY422" fmla="*/ 180310 h 199855"/>
                  <a:gd name="connsiteX423" fmla="*/ 134096 w 524261"/>
                  <a:gd name="connsiteY423" fmla="*/ 178037 h 199855"/>
                  <a:gd name="connsiteX424" fmla="*/ 134702 w 524261"/>
                  <a:gd name="connsiteY424" fmla="*/ 169552 h 199855"/>
                  <a:gd name="connsiteX425" fmla="*/ 136369 w 524261"/>
                  <a:gd name="connsiteY425" fmla="*/ 167430 h 199855"/>
                  <a:gd name="connsiteX426" fmla="*/ 144702 w 524261"/>
                  <a:gd name="connsiteY426" fmla="*/ 168036 h 199855"/>
                  <a:gd name="connsiteX427" fmla="*/ 152582 w 524261"/>
                  <a:gd name="connsiteY427" fmla="*/ 168946 h 199855"/>
                  <a:gd name="connsiteX428" fmla="*/ 155612 w 524261"/>
                  <a:gd name="connsiteY428" fmla="*/ 169552 h 199855"/>
                  <a:gd name="connsiteX429" fmla="*/ 167279 w 524261"/>
                  <a:gd name="connsiteY429" fmla="*/ 175461 h 199855"/>
                  <a:gd name="connsiteX430" fmla="*/ 173946 w 524261"/>
                  <a:gd name="connsiteY430" fmla="*/ 177885 h 199855"/>
                  <a:gd name="connsiteX431" fmla="*/ 176976 w 524261"/>
                  <a:gd name="connsiteY431" fmla="*/ 180613 h 199855"/>
                  <a:gd name="connsiteX432" fmla="*/ 181219 w 524261"/>
                  <a:gd name="connsiteY432" fmla="*/ 186219 h 199855"/>
                  <a:gd name="connsiteX433" fmla="*/ 183795 w 524261"/>
                  <a:gd name="connsiteY433" fmla="*/ 188795 h 199855"/>
                  <a:gd name="connsiteX434" fmla="*/ 188037 w 524261"/>
                  <a:gd name="connsiteY434" fmla="*/ 191371 h 199855"/>
                  <a:gd name="connsiteX435" fmla="*/ 195159 w 524261"/>
                  <a:gd name="connsiteY435" fmla="*/ 193340 h 199855"/>
                  <a:gd name="connsiteX436" fmla="*/ 198795 w 524261"/>
                  <a:gd name="connsiteY436" fmla="*/ 191522 h 199855"/>
                  <a:gd name="connsiteX437" fmla="*/ 203492 w 524261"/>
                  <a:gd name="connsiteY437" fmla="*/ 191371 h 199855"/>
                  <a:gd name="connsiteX438" fmla="*/ 212887 w 524261"/>
                  <a:gd name="connsiteY438" fmla="*/ 189855 h 199855"/>
                  <a:gd name="connsiteX439" fmla="*/ 215160 w 524261"/>
                  <a:gd name="connsiteY439" fmla="*/ 190158 h 199855"/>
                  <a:gd name="connsiteX440" fmla="*/ 219857 w 524261"/>
                  <a:gd name="connsiteY440" fmla="*/ 188946 h 199855"/>
                  <a:gd name="connsiteX441" fmla="*/ 226978 w 524261"/>
                  <a:gd name="connsiteY441" fmla="*/ 185461 h 199855"/>
                  <a:gd name="connsiteX442" fmla="*/ 228796 w 524261"/>
                  <a:gd name="connsiteY442" fmla="*/ 184098 h 199855"/>
                  <a:gd name="connsiteX443" fmla="*/ 236373 w 524261"/>
                  <a:gd name="connsiteY443" fmla="*/ 175915 h 199855"/>
                  <a:gd name="connsiteX444" fmla="*/ 244555 w 524261"/>
                  <a:gd name="connsiteY444" fmla="*/ 170309 h 199855"/>
                  <a:gd name="connsiteX445" fmla="*/ 247282 w 524261"/>
                  <a:gd name="connsiteY445" fmla="*/ 169248 h 199855"/>
                  <a:gd name="connsiteX446" fmla="*/ 250161 w 524261"/>
                  <a:gd name="connsiteY446" fmla="*/ 169855 h 199855"/>
                  <a:gd name="connsiteX447" fmla="*/ 253797 w 524261"/>
                  <a:gd name="connsiteY447" fmla="*/ 172127 h 199855"/>
                  <a:gd name="connsiteX448" fmla="*/ 260161 w 524261"/>
                  <a:gd name="connsiteY448" fmla="*/ 175006 h 199855"/>
                  <a:gd name="connsiteX449" fmla="*/ 266070 w 524261"/>
                  <a:gd name="connsiteY449" fmla="*/ 176824 h 199855"/>
                  <a:gd name="connsiteX450" fmla="*/ 270010 w 524261"/>
                  <a:gd name="connsiteY450" fmla="*/ 176219 h 199855"/>
                  <a:gd name="connsiteX451" fmla="*/ 272435 w 524261"/>
                  <a:gd name="connsiteY451" fmla="*/ 174400 h 199855"/>
                  <a:gd name="connsiteX452" fmla="*/ 273344 w 524261"/>
                  <a:gd name="connsiteY452" fmla="*/ 172127 h 199855"/>
                  <a:gd name="connsiteX453" fmla="*/ 275313 w 524261"/>
                  <a:gd name="connsiteY453" fmla="*/ 170915 h 199855"/>
                  <a:gd name="connsiteX454" fmla="*/ 277132 w 524261"/>
                  <a:gd name="connsiteY454" fmla="*/ 170461 h 199855"/>
                  <a:gd name="connsiteX455" fmla="*/ 280011 w 524261"/>
                  <a:gd name="connsiteY455" fmla="*/ 168339 h 199855"/>
                  <a:gd name="connsiteX456" fmla="*/ 283950 w 524261"/>
                  <a:gd name="connsiteY456" fmla="*/ 166370 h 199855"/>
                  <a:gd name="connsiteX457" fmla="*/ 286374 w 524261"/>
                  <a:gd name="connsiteY457" fmla="*/ 168188 h 199855"/>
                  <a:gd name="connsiteX458" fmla="*/ 287587 w 524261"/>
                  <a:gd name="connsiteY458" fmla="*/ 169552 h 199855"/>
                  <a:gd name="connsiteX459" fmla="*/ 287738 w 524261"/>
                  <a:gd name="connsiteY459" fmla="*/ 171521 h 199855"/>
                  <a:gd name="connsiteX460" fmla="*/ 287738 w 524261"/>
                  <a:gd name="connsiteY460" fmla="*/ 174097 h 199855"/>
                  <a:gd name="connsiteX461" fmla="*/ 283495 w 524261"/>
                  <a:gd name="connsiteY461" fmla="*/ 178340 h 199855"/>
                  <a:gd name="connsiteX462" fmla="*/ 279404 w 524261"/>
                  <a:gd name="connsiteY462" fmla="*/ 181976 h 199855"/>
                  <a:gd name="connsiteX463" fmla="*/ 277435 w 524261"/>
                  <a:gd name="connsiteY463" fmla="*/ 185007 h 199855"/>
                  <a:gd name="connsiteX464" fmla="*/ 279556 w 524261"/>
                  <a:gd name="connsiteY464" fmla="*/ 189704 h 199855"/>
                  <a:gd name="connsiteX465" fmla="*/ 281526 w 524261"/>
                  <a:gd name="connsiteY465" fmla="*/ 194704 h 199855"/>
                  <a:gd name="connsiteX466" fmla="*/ 279707 w 524261"/>
                  <a:gd name="connsiteY466" fmla="*/ 197280 h 199855"/>
                  <a:gd name="connsiteX467" fmla="*/ 281829 w 524261"/>
                  <a:gd name="connsiteY467" fmla="*/ 197431 h 199855"/>
                  <a:gd name="connsiteX468" fmla="*/ 286223 w 524261"/>
                  <a:gd name="connsiteY468" fmla="*/ 199856 h 199855"/>
                  <a:gd name="connsiteX469" fmla="*/ 286980 w 524261"/>
                  <a:gd name="connsiteY469" fmla="*/ 199704 h 199855"/>
                  <a:gd name="connsiteX470" fmla="*/ 288344 w 524261"/>
                  <a:gd name="connsiteY470" fmla="*/ 196522 h 199855"/>
                  <a:gd name="connsiteX471" fmla="*/ 289556 w 524261"/>
                  <a:gd name="connsiteY471" fmla="*/ 195462 h 199855"/>
                  <a:gd name="connsiteX472" fmla="*/ 292284 w 524261"/>
                  <a:gd name="connsiteY472" fmla="*/ 194553 h 199855"/>
                  <a:gd name="connsiteX473" fmla="*/ 293041 w 524261"/>
                  <a:gd name="connsiteY473" fmla="*/ 189401 h 199855"/>
                  <a:gd name="connsiteX474" fmla="*/ 294254 w 524261"/>
                  <a:gd name="connsiteY474" fmla="*/ 188340 h 199855"/>
                  <a:gd name="connsiteX475" fmla="*/ 295768 w 524261"/>
                  <a:gd name="connsiteY475" fmla="*/ 187734 h 199855"/>
                  <a:gd name="connsiteX476" fmla="*/ 298042 w 524261"/>
                  <a:gd name="connsiteY476" fmla="*/ 187583 h 199855"/>
                  <a:gd name="connsiteX477" fmla="*/ 300011 w 524261"/>
                  <a:gd name="connsiteY477" fmla="*/ 187279 h 199855"/>
                  <a:gd name="connsiteX478" fmla="*/ 300163 w 524261"/>
                  <a:gd name="connsiteY478" fmla="*/ 186370 h 199855"/>
                  <a:gd name="connsiteX479" fmla="*/ 297284 w 524261"/>
                  <a:gd name="connsiteY479" fmla="*/ 180310 h 199855"/>
                  <a:gd name="connsiteX480" fmla="*/ 297587 w 524261"/>
                  <a:gd name="connsiteY480" fmla="*/ 178794 h 199855"/>
                  <a:gd name="connsiteX481" fmla="*/ 298951 w 524261"/>
                  <a:gd name="connsiteY481" fmla="*/ 172734 h 199855"/>
                  <a:gd name="connsiteX482" fmla="*/ 299860 w 524261"/>
                  <a:gd name="connsiteY482" fmla="*/ 170309 h 199855"/>
                  <a:gd name="connsiteX483" fmla="*/ 300617 w 524261"/>
                  <a:gd name="connsiteY483" fmla="*/ 169552 h 199855"/>
                  <a:gd name="connsiteX484" fmla="*/ 303799 w 524261"/>
                  <a:gd name="connsiteY484" fmla="*/ 169855 h 199855"/>
                  <a:gd name="connsiteX485" fmla="*/ 308345 w 524261"/>
                  <a:gd name="connsiteY485" fmla="*/ 170915 h 199855"/>
                  <a:gd name="connsiteX486" fmla="*/ 309557 w 524261"/>
                  <a:gd name="connsiteY486" fmla="*/ 172734 h 199855"/>
                  <a:gd name="connsiteX487" fmla="*/ 311830 w 524261"/>
                  <a:gd name="connsiteY487" fmla="*/ 174249 h 199855"/>
                  <a:gd name="connsiteX488" fmla="*/ 315163 w 524261"/>
                  <a:gd name="connsiteY488" fmla="*/ 174097 h 199855"/>
                  <a:gd name="connsiteX489" fmla="*/ 318951 w 524261"/>
                  <a:gd name="connsiteY489" fmla="*/ 174400 h 199855"/>
                  <a:gd name="connsiteX490" fmla="*/ 321982 w 524261"/>
                  <a:gd name="connsiteY490" fmla="*/ 174552 h 199855"/>
                  <a:gd name="connsiteX491" fmla="*/ 324406 w 524261"/>
                  <a:gd name="connsiteY491" fmla="*/ 173491 h 199855"/>
                  <a:gd name="connsiteX492" fmla="*/ 329861 w 524261"/>
                  <a:gd name="connsiteY492" fmla="*/ 171370 h 199855"/>
                  <a:gd name="connsiteX493" fmla="*/ 332588 w 524261"/>
                  <a:gd name="connsiteY493" fmla="*/ 170612 h 199855"/>
                  <a:gd name="connsiteX494" fmla="*/ 335013 w 524261"/>
                  <a:gd name="connsiteY494" fmla="*/ 169703 h 199855"/>
                  <a:gd name="connsiteX495" fmla="*/ 342740 w 524261"/>
                  <a:gd name="connsiteY495" fmla="*/ 166370 h 199855"/>
                  <a:gd name="connsiteX496" fmla="*/ 345922 w 524261"/>
                  <a:gd name="connsiteY496" fmla="*/ 166673 h 199855"/>
                  <a:gd name="connsiteX497" fmla="*/ 348043 w 524261"/>
                  <a:gd name="connsiteY497" fmla="*/ 167127 h 199855"/>
                  <a:gd name="connsiteX498" fmla="*/ 349710 w 524261"/>
                  <a:gd name="connsiteY498" fmla="*/ 167733 h 199855"/>
                  <a:gd name="connsiteX499" fmla="*/ 353347 w 524261"/>
                  <a:gd name="connsiteY499" fmla="*/ 170006 h 199855"/>
                  <a:gd name="connsiteX500" fmla="*/ 356377 w 524261"/>
                  <a:gd name="connsiteY500" fmla="*/ 172279 h 199855"/>
                  <a:gd name="connsiteX501" fmla="*/ 358498 w 524261"/>
                  <a:gd name="connsiteY501" fmla="*/ 173036 h 199855"/>
                  <a:gd name="connsiteX502" fmla="*/ 362286 w 524261"/>
                  <a:gd name="connsiteY502" fmla="*/ 173036 h 199855"/>
                  <a:gd name="connsiteX503" fmla="*/ 367741 w 524261"/>
                  <a:gd name="connsiteY503" fmla="*/ 173491 h 199855"/>
                  <a:gd name="connsiteX504" fmla="*/ 374559 w 524261"/>
                  <a:gd name="connsiteY504" fmla="*/ 173491 h 199855"/>
                  <a:gd name="connsiteX505" fmla="*/ 378499 w 524261"/>
                  <a:gd name="connsiteY505" fmla="*/ 172885 h 199855"/>
                  <a:gd name="connsiteX506" fmla="*/ 383499 w 524261"/>
                  <a:gd name="connsiteY506" fmla="*/ 171673 h 199855"/>
                  <a:gd name="connsiteX507" fmla="*/ 392590 w 524261"/>
                  <a:gd name="connsiteY507" fmla="*/ 168946 h 199855"/>
                  <a:gd name="connsiteX508" fmla="*/ 404409 w 524261"/>
                  <a:gd name="connsiteY508" fmla="*/ 163188 h 199855"/>
                  <a:gd name="connsiteX509" fmla="*/ 411379 w 524261"/>
                  <a:gd name="connsiteY509" fmla="*/ 160460 h 199855"/>
                  <a:gd name="connsiteX510" fmla="*/ 414409 w 524261"/>
                  <a:gd name="connsiteY510" fmla="*/ 160157 h 199855"/>
                  <a:gd name="connsiteX511" fmla="*/ 418349 w 524261"/>
                  <a:gd name="connsiteY511" fmla="*/ 160157 h 199855"/>
                  <a:gd name="connsiteX512" fmla="*/ 422288 w 524261"/>
                  <a:gd name="connsiteY512" fmla="*/ 160915 h 199855"/>
                  <a:gd name="connsiteX513" fmla="*/ 426683 w 524261"/>
                  <a:gd name="connsiteY513" fmla="*/ 161370 h 199855"/>
                  <a:gd name="connsiteX514" fmla="*/ 428804 w 524261"/>
                  <a:gd name="connsiteY514" fmla="*/ 161370 h 199855"/>
                  <a:gd name="connsiteX515" fmla="*/ 433652 w 524261"/>
                  <a:gd name="connsiteY515" fmla="*/ 160763 h 199855"/>
                  <a:gd name="connsiteX516" fmla="*/ 439865 w 524261"/>
                  <a:gd name="connsiteY516" fmla="*/ 159551 h 199855"/>
                  <a:gd name="connsiteX517" fmla="*/ 443804 w 524261"/>
                  <a:gd name="connsiteY517" fmla="*/ 158642 h 199855"/>
                  <a:gd name="connsiteX518" fmla="*/ 448502 w 524261"/>
                  <a:gd name="connsiteY518" fmla="*/ 157127 h 199855"/>
                  <a:gd name="connsiteX519" fmla="*/ 451532 w 524261"/>
                  <a:gd name="connsiteY519" fmla="*/ 154551 h 199855"/>
                  <a:gd name="connsiteX520" fmla="*/ 452441 w 524261"/>
                  <a:gd name="connsiteY520" fmla="*/ 154248 h 199855"/>
                  <a:gd name="connsiteX521" fmla="*/ 453653 w 524261"/>
                  <a:gd name="connsiteY521" fmla="*/ 154703 h 199855"/>
                  <a:gd name="connsiteX522" fmla="*/ 454259 w 524261"/>
                  <a:gd name="connsiteY522" fmla="*/ 154854 h 199855"/>
                  <a:gd name="connsiteX523" fmla="*/ 455471 w 524261"/>
                  <a:gd name="connsiteY523" fmla="*/ 156369 h 199855"/>
                  <a:gd name="connsiteX524" fmla="*/ 456684 w 524261"/>
                  <a:gd name="connsiteY524" fmla="*/ 160157 h 199855"/>
                  <a:gd name="connsiteX525" fmla="*/ 459259 w 524261"/>
                  <a:gd name="connsiteY525" fmla="*/ 159551 h 199855"/>
                  <a:gd name="connsiteX526" fmla="*/ 464108 w 524261"/>
                  <a:gd name="connsiteY526" fmla="*/ 155763 h 199855"/>
                  <a:gd name="connsiteX527" fmla="*/ 466987 w 524261"/>
                  <a:gd name="connsiteY527" fmla="*/ 152278 h 199855"/>
                  <a:gd name="connsiteX528" fmla="*/ 467896 w 524261"/>
                  <a:gd name="connsiteY528" fmla="*/ 151975 h 199855"/>
                  <a:gd name="connsiteX529" fmla="*/ 470472 w 524261"/>
                  <a:gd name="connsiteY529" fmla="*/ 153187 h 199855"/>
                  <a:gd name="connsiteX530" fmla="*/ 472290 w 524261"/>
                  <a:gd name="connsiteY530" fmla="*/ 153490 h 199855"/>
                  <a:gd name="connsiteX531" fmla="*/ 476533 w 524261"/>
                  <a:gd name="connsiteY531" fmla="*/ 152127 h 199855"/>
                  <a:gd name="connsiteX532" fmla="*/ 479109 w 524261"/>
                  <a:gd name="connsiteY532" fmla="*/ 152884 h 199855"/>
                  <a:gd name="connsiteX533" fmla="*/ 481230 w 524261"/>
                  <a:gd name="connsiteY533" fmla="*/ 153794 h 199855"/>
                  <a:gd name="connsiteX534" fmla="*/ 482442 w 524261"/>
                  <a:gd name="connsiteY534" fmla="*/ 153794 h 199855"/>
                  <a:gd name="connsiteX535" fmla="*/ 488200 w 524261"/>
                  <a:gd name="connsiteY535" fmla="*/ 156066 h 199855"/>
                  <a:gd name="connsiteX536" fmla="*/ 489564 w 524261"/>
                  <a:gd name="connsiteY536" fmla="*/ 156369 h 199855"/>
                  <a:gd name="connsiteX537" fmla="*/ 492443 w 524261"/>
                  <a:gd name="connsiteY537" fmla="*/ 156672 h 199855"/>
                  <a:gd name="connsiteX538" fmla="*/ 496837 w 524261"/>
                  <a:gd name="connsiteY538" fmla="*/ 156824 h 199855"/>
                  <a:gd name="connsiteX539" fmla="*/ 499716 w 524261"/>
                  <a:gd name="connsiteY539" fmla="*/ 155460 h 199855"/>
                  <a:gd name="connsiteX540" fmla="*/ 501686 w 524261"/>
                  <a:gd name="connsiteY540" fmla="*/ 154096 h 199855"/>
                  <a:gd name="connsiteX541" fmla="*/ 503049 w 524261"/>
                  <a:gd name="connsiteY541" fmla="*/ 154096 h 199855"/>
                  <a:gd name="connsiteX542" fmla="*/ 504413 w 524261"/>
                  <a:gd name="connsiteY542" fmla="*/ 154399 h 199855"/>
                  <a:gd name="connsiteX543" fmla="*/ 505625 w 524261"/>
                  <a:gd name="connsiteY543" fmla="*/ 155006 h 199855"/>
                  <a:gd name="connsiteX544" fmla="*/ 506534 w 524261"/>
                  <a:gd name="connsiteY544" fmla="*/ 156066 h 199855"/>
                  <a:gd name="connsiteX545" fmla="*/ 506988 w 524261"/>
                  <a:gd name="connsiteY545" fmla="*/ 157582 h 199855"/>
                  <a:gd name="connsiteX546" fmla="*/ 506837 w 524261"/>
                  <a:gd name="connsiteY546" fmla="*/ 162279 h 199855"/>
                  <a:gd name="connsiteX547" fmla="*/ 507292 w 524261"/>
                  <a:gd name="connsiteY547" fmla="*/ 163491 h 199855"/>
                  <a:gd name="connsiteX548" fmla="*/ 508049 w 524261"/>
                  <a:gd name="connsiteY548" fmla="*/ 164400 h 199855"/>
                  <a:gd name="connsiteX549" fmla="*/ 509110 w 524261"/>
                  <a:gd name="connsiteY549" fmla="*/ 164551 h 199855"/>
                  <a:gd name="connsiteX550" fmla="*/ 510322 w 524261"/>
                  <a:gd name="connsiteY550" fmla="*/ 163491 h 199855"/>
                  <a:gd name="connsiteX551" fmla="*/ 512443 w 524261"/>
                  <a:gd name="connsiteY551" fmla="*/ 161976 h 199855"/>
                  <a:gd name="connsiteX552" fmla="*/ 515019 w 524261"/>
                  <a:gd name="connsiteY552" fmla="*/ 160309 h 199855"/>
                  <a:gd name="connsiteX553" fmla="*/ 516989 w 524261"/>
                  <a:gd name="connsiteY553" fmla="*/ 158794 h 199855"/>
                  <a:gd name="connsiteX554" fmla="*/ 518050 w 524261"/>
                  <a:gd name="connsiteY554" fmla="*/ 158188 h 199855"/>
                  <a:gd name="connsiteX555" fmla="*/ 519716 w 524261"/>
                  <a:gd name="connsiteY555" fmla="*/ 158339 h 199855"/>
                  <a:gd name="connsiteX556" fmla="*/ 521383 w 524261"/>
                  <a:gd name="connsiteY556" fmla="*/ 158642 h 199855"/>
                  <a:gd name="connsiteX557" fmla="*/ 522292 w 524261"/>
                  <a:gd name="connsiteY557" fmla="*/ 159400 h 199855"/>
                  <a:gd name="connsiteX558" fmla="*/ 522292 w 524261"/>
                  <a:gd name="connsiteY558" fmla="*/ 158945 h 199855"/>
                  <a:gd name="connsiteX559" fmla="*/ 521989 w 524261"/>
                  <a:gd name="connsiteY559" fmla="*/ 156975 h 199855"/>
                  <a:gd name="connsiteX560" fmla="*/ 523050 w 524261"/>
                  <a:gd name="connsiteY560" fmla="*/ 155309 h 199855"/>
                  <a:gd name="connsiteX561" fmla="*/ 523353 w 524261"/>
                  <a:gd name="connsiteY561" fmla="*/ 154096 h 19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524261" h="199855">
                    <a:moveTo>
                      <a:pt x="15152" y="48032"/>
                    </a:moveTo>
                    <a:lnTo>
                      <a:pt x="18940" y="48487"/>
                    </a:lnTo>
                    <a:lnTo>
                      <a:pt x="24850" y="47880"/>
                    </a:lnTo>
                    <a:lnTo>
                      <a:pt x="30759" y="47880"/>
                    </a:lnTo>
                    <a:lnTo>
                      <a:pt x="28789" y="50608"/>
                    </a:lnTo>
                    <a:lnTo>
                      <a:pt x="21364" y="53790"/>
                    </a:lnTo>
                    <a:lnTo>
                      <a:pt x="18788" y="55608"/>
                    </a:lnTo>
                    <a:lnTo>
                      <a:pt x="16061" y="58032"/>
                    </a:lnTo>
                    <a:lnTo>
                      <a:pt x="16061" y="60154"/>
                    </a:lnTo>
                    <a:lnTo>
                      <a:pt x="16213" y="61669"/>
                    </a:lnTo>
                    <a:lnTo>
                      <a:pt x="15304" y="63639"/>
                    </a:lnTo>
                    <a:lnTo>
                      <a:pt x="14698" y="65760"/>
                    </a:lnTo>
                    <a:lnTo>
                      <a:pt x="16516" y="65002"/>
                    </a:lnTo>
                    <a:lnTo>
                      <a:pt x="18183" y="64093"/>
                    </a:lnTo>
                    <a:lnTo>
                      <a:pt x="21971" y="59699"/>
                    </a:lnTo>
                    <a:lnTo>
                      <a:pt x="30304" y="52123"/>
                    </a:lnTo>
                    <a:lnTo>
                      <a:pt x="35910" y="50002"/>
                    </a:lnTo>
                    <a:lnTo>
                      <a:pt x="43638" y="46062"/>
                    </a:lnTo>
                    <a:lnTo>
                      <a:pt x="48335" y="41062"/>
                    </a:lnTo>
                    <a:lnTo>
                      <a:pt x="50153" y="36668"/>
                    </a:lnTo>
                    <a:lnTo>
                      <a:pt x="56972" y="35304"/>
                    </a:lnTo>
                    <a:lnTo>
                      <a:pt x="61821" y="36062"/>
                    </a:lnTo>
                    <a:lnTo>
                      <a:pt x="66215" y="33789"/>
                    </a:lnTo>
                    <a:lnTo>
                      <a:pt x="68639" y="33183"/>
                    </a:lnTo>
                    <a:lnTo>
                      <a:pt x="71972" y="33486"/>
                    </a:lnTo>
                    <a:lnTo>
                      <a:pt x="85306" y="36668"/>
                    </a:lnTo>
                    <a:lnTo>
                      <a:pt x="90155" y="35607"/>
                    </a:lnTo>
                    <a:lnTo>
                      <a:pt x="91215" y="33941"/>
                    </a:lnTo>
                    <a:lnTo>
                      <a:pt x="92276" y="31365"/>
                    </a:lnTo>
                    <a:lnTo>
                      <a:pt x="93034" y="28486"/>
                    </a:lnTo>
                    <a:lnTo>
                      <a:pt x="90003" y="27880"/>
                    </a:lnTo>
                    <a:lnTo>
                      <a:pt x="73639" y="20758"/>
                    </a:lnTo>
                    <a:lnTo>
                      <a:pt x="69548" y="17879"/>
                    </a:lnTo>
                    <a:lnTo>
                      <a:pt x="65457" y="12122"/>
                    </a:lnTo>
                    <a:lnTo>
                      <a:pt x="63790" y="8031"/>
                    </a:lnTo>
                    <a:lnTo>
                      <a:pt x="64548" y="4243"/>
                    </a:lnTo>
                    <a:lnTo>
                      <a:pt x="60911" y="3636"/>
                    </a:lnTo>
                    <a:lnTo>
                      <a:pt x="59548" y="3788"/>
                    </a:lnTo>
                    <a:lnTo>
                      <a:pt x="58790" y="4546"/>
                    </a:lnTo>
                    <a:lnTo>
                      <a:pt x="57123" y="4394"/>
                    </a:lnTo>
                    <a:lnTo>
                      <a:pt x="55002" y="4394"/>
                    </a:lnTo>
                    <a:lnTo>
                      <a:pt x="52729" y="5303"/>
                    </a:lnTo>
                    <a:lnTo>
                      <a:pt x="51517" y="5758"/>
                    </a:lnTo>
                    <a:lnTo>
                      <a:pt x="49850" y="4849"/>
                    </a:lnTo>
                    <a:lnTo>
                      <a:pt x="46820" y="2273"/>
                    </a:lnTo>
                    <a:lnTo>
                      <a:pt x="45002" y="455"/>
                    </a:lnTo>
                    <a:lnTo>
                      <a:pt x="43638" y="0"/>
                    </a:lnTo>
                    <a:lnTo>
                      <a:pt x="42274" y="606"/>
                    </a:lnTo>
                    <a:lnTo>
                      <a:pt x="37274" y="1212"/>
                    </a:lnTo>
                    <a:lnTo>
                      <a:pt x="36062" y="2273"/>
                    </a:lnTo>
                    <a:lnTo>
                      <a:pt x="33789" y="3485"/>
                    </a:lnTo>
                    <a:lnTo>
                      <a:pt x="31517" y="4091"/>
                    </a:lnTo>
                    <a:lnTo>
                      <a:pt x="28183" y="4546"/>
                    </a:lnTo>
                    <a:lnTo>
                      <a:pt x="26364" y="4546"/>
                    </a:lnTo>
                    <a:lnTo>
                      <a:pt x="25455" y="5152"/>
                    </a:lnTo>
                    <a:lnTo>
                      <a:pt x="24698" y="6818"/>
                    </a:lnTo>
                    <a:lnTo>
                      <a:pt x="24092" y="8485"/>
                    </a:lnTo>
                    <a:lnTo>
                      <a:pt x="23637" y="9091"/>
                    </a:lnTo>
                    <a:lnTo>
                      <a:pt x="19546" y="9849"/>
                    </a:lnTo>
                    <a:lnTo>
                      <a:pt x="18637" y="10758"/>
                    </a:lnTo>
                    <a:lnTo>
                      <a:pt x="18334" y="11667"/>
                    </a:lnTo>
                    <a:lnTo>
                      <a:pt x="18486" y="12576"/>
                    </a:lnTo>
                    <a:lnTo>
                      <a:pt x="20910" y="13182"/>
                    </a:lnTo>
                    <a:lnTo>
                      <a:pt x="22274" y="14243"/>
                    </a:lnTo>
                    <a:lnTo>
                      <a:pt x="23183" y="15152"/>
                    </a:lnTo>
                    <a:lnTo>
                      <a:pt x="24546" y="16061"/>
                    </a:lnTo>
                    <a:lnTo>
                      <a:pt x="25607" y="16213"/>
                    </a:lnTo>
                    <a:lnTo>
                      <a:pt x="26364" y="19092"/>
                    </a:lnTo>
                    <a:lnTo>
                      <a:pt x="26819" y="22728"/>
                    </a:lnTo>
                    <a:lnTo>
                      <a:pt x="26213" y="24243"/>
                    </a:lnTo>
                    <a:lnTo>
                      <a:pt x="24395" y="24546"/>
                    </a:lnTo>
                    <a:lnTo>
                      <a:pt x="18788" y="27880"/>
                    </a:lnTo>
                    <a:lnTo>
                      <a:pt x="18637" y="31062"/>
                    </a:lnTo>
                    <a:lnTo>
                      <a:pt x="18637" y="32577"/>
                    </a:lnTo>
                    <a:lnTo>
                      <a:pt x="18788" y="33637"/>
                    </a:lnTo>
                    <a:lnTo>
                      <a:pt x="19395" y="34547"/>
                    </a:lnTo>
                    <a:lnTo>
                      <a:pt x="19395" y="35910"/>
                    </a:lnTo>
                    <a:lnTo>
                      <a:pt x="18788" y="37274"/>
                    </a:lnTo>
                    <a:lnTo>
                      <a:pt x="16365" y="39547"/>
                    </a:lnTo>
                    <a:lnTo>
                      <a:pt x="14698" y="41365"/>
                    </a:lnTo>
                    <a:lnTo>
                      <a:pt x="12728" y="43789"/>
                    </a:lnTo>
                    <a:lnTo>
                      <a:pt x="11667" y="44092"/>
                    </a:lnTo>
                    <a:lnTo>
                      <a:pt x="10758" y="44547"/>
                    </a:lnTo>
                    <a:lnTo>
                      <a:pt x="11516" y="45911"/>
                    </a:lnTo>
                    <a:lnTo>
                      <a:pt x="12576" y="48184"/>
                    </a:lnTo>
                    <a:lnTo>
                      <a:pt x="15152" y="48032"/>
                    </a:lnTo>
                    <a:close/>
                    <a:moveTo>
                      <a:pt x="5606" y="60305"/>
                    </a:moveTo>
                    <a:lnTo>
                      <a:pt x="1970" y="61517"/>
                    </a:lnTo>
                    <a:lnTo>
                      <a:pt x="0" y="63487"/>
                    </a:lnTo>
                    <a:lnTo>
                      <a:pt x="1970" y="64396"/>
                    </a:lnTo>
                    <a:lnTo>
                      <a:pt x="8182" y="63336"/>
                    </a:lnTo>
                    <a:lnTo>
                      <a:pt x="8333" y="61972"/>
                    </a:lnTo>
                    <a:lnTo>
                      <a:pt x="6667" y="60002"/>
                    </a:lnTo>
                    <a:lnTo>
                      <a:pt x="5606" y="60305"/>
                    </a:lnTo>
                    <a:close/>
                    <a:moveTo>
                      <a:pt x="523353" y="154096"/>
                    </a:moveTo>
                    <a:lnTo>
                      <a:pt x="521231" y="151975"/>
                    </a:lnTo>
                    <a:lnTo>
                      <a:pt x="518201" y="149854"/>
                    </a:lnTo>
                    <a:lnTo>
                      <a:pt x="517443" y="149551"/>
                    </a:lnTo>
                    <a:lnTo>
                      <a:pt x="517443" y="147278"/>
                    </a:lnTo>
                    <a:lnTo>
                      <a:pt x="517595" y="145611"/>
                    </a:lnTo>
                    <a:lnTo>
                      <a:pt x="517292" y="144096"/>
                    </a:lnTo>
                    <a:lnTo>
                      <a:pt x="516686" y="143187"/>
                    </a:lnTo>
                    <a:lnTo>
                      <a:pt x="516686" y="142429"/>
                    </a:lnTo>
                    <a:lnTo>
                      <a:pt x="517898" y="140763"/>
                    </a:lnTo>
                    <a:lnTo>
                      <a:pt x="517140" y="139702"/>
                    </a:lnTo>
                    <a:lnTo>
                      <a:pt x="512595" y="136975"/>
                    </a:lnTo>
                    <a:lnTo>
                      <a:pt x="510928" y="135611"/>
                    </a:lnTo>
                    <a:lnTo>
                      <a:pt x="507897" y="135308"/>
                    </a:lnTo>
                    <a:lnTo>
                      <a:pt x="507595" y="134399"/>
                    </a:lnTo>
                    <a:lnTo>
                      <a:pt x="508049" y="132580"/>
                    </a:lnTo>
                    <a:lnTo>
                      <a:pt x="509110" y="130308"/>
                    </a:lnTo>
                    <a:lnTo>
                      <a:pt x="510776" y="128035"/>
                    </a:lnTo>
                    <a:lnTo>
                      <a:pt x="511383" y="126823"/>
                    </a:lnTo>
                    <a:lnTo>
                      <a:pt x="511989" y="124853"/>
                    </a:lnTo>
                    <a:lnTo>
                      <a:pt x="512140" y="123489"/>
                    </a:lnTo>
                    <a:lnTo>
                      <a:pt x="513959" y="121520"/>
                    </a:lnTo>
                    <a:lnTo>
                      <a:pt x="513959" y="121065"/>
                    </a:lnTo>
                    <a:lnTo>
                      <a:pt x="513504" y="120307"/>
                    </a:lnTo>
                    <a:lnTo>
                      <a:pt x="511989" y="119853"/>
                    </a:lnTo>
                    <a:lnTo>
                      <a:pt x="510474" y="119701"/>
                    </a:lnTo>
                    <a:lnTo>
                      <a:pt x="509867" y="119398"/>
                    </a:lnTo>
                    <a:lnTo>
                      <a:pt x="509716" y="118337"/>
                    </a:lnTo>
                    <a:lnTo>
                      <a:pt x="509867" y="113944"/>
                    </a:lnTo>
                    <a:lnTo>
                      <a:pt x="509413" y="111368"/>
                    </a:lnTo>
                    <a:lnTo>
                      <a:pt x="508807" y="109398"/>
                    </a:lnTo>
                    <a:lnTo>
                      <a:pt x="509262" y="105155"/>
                    </a:lnTo>
                    <a:lnTo>
                      <a:pt x="508201" y="104246"/>
                    </a:lnTo>
                    <a:lnTo>
                      <a:pt x="506534" y="101973"/>
                    </a:lnTo>
                    <a:lnTo>
                      <a:pt x="505776" y="100004"/>
                    </a:lnTo>
                    <a:lnTo>
                      <a:pt x="506231" y="99246"/>
                    </a:lnTo>
                    <a:lnTo>
                      <a:pt x="506534" y="98034"/>
                    </a:lnTo>
                    <a:lnTo>
                      <a:pt x="506837" y="96367"/>
                    </a:lnTo>
                    <a:lnTo>
                      <a:pt x="506837" y="95155"/>
                    </a:lnTo>
                    <a:lnTo>
                      <a:pt x="505322" y="93943"/>
                    </a:lnTo>
                    <a:lnTo>
                      <a:pt x="504109" y="92731"/>
                    </a:lnTo>
                    <a:lnTo>
                      <a:pt x="503958" y="91367"/>
                    </a:lnTo>
                    <a:lnTo>
                      <a:pt x="503504" y="89700"/>
                    </a:lnTo>
                    <a:lnTo>
                      <a:pt x="502897" y="88488"/>
                    </a:lnTo>
                    <a:lnTo>
                      <a:pt x="502595" y="87579"/>
                    </a:lnTo>
                    <a:lnTo>
                      <a:pt x="503200" y="87124"/>
                    </a:lnTo>
                    <a:lnTo>
                      <a:pt x="505322" y="86670"/>
                    </a:lnTo>
                    <a:lnTo>
                      <a:pt x="508504" y="86973"/>
                    </a:lnTo>
                    <a:lnTo>
                      <a:pt x="511080" y="86973"/>
                    </a:lnTo>
                    <a:lnTo>
                      <a:pt x="512595" y="86064"/>
                    </a:lnTo>
                    <a:lnTo>
                      <a:pt x="514413" y="78185"/>
                    </a:lnTo>
                    <a:lnTo>
                      <a:pt x="516080" y="76063"/>
                    </a:lnTo>
                    <a:lnTo>
                      <a:pt x="518050" y="74851"/>
                    </a:lnTo>
                    <a:lnTo>
                      <a:pt x="521838" y="77579"/>
                    </a:lnTo>
                    <a:lnTo>
                      <a:pt x="523353" y="78488"/>
                    </a:lnTo>
                    <a:lnTo>
                      <a:pt x="524262" y="78488"/>
                    </a:lnTo>
                    <a:lnTo>
                      <a:pt x="523353" y="77427"/>
                    </a:lnTo>
                    <a:lnTo>
                      <a:pt x="522898" y="76821"/>
                    </a:lnTo>
                    <a:lnTo>
                      <a:pt x="521989" y="75457"/>
                    </a:lnTo>
                    <a:lnTo>
                      <a:pt x="517292" y="70912"/>
                    </a:lnTo>
                    <a:lnTo>
                      <a:pt x="512898" y="67427"/>
                    </a:lnTo>
                    <a:lnTo>
                      <a:pt x="509867" y="66063"/>
                    </a:lnTo>
                    <a:lnTo>
                      <a:pt x="506837" y="66215"/>
                    </a:lnTo>
                    <a:lnTo>
                      <a:pt x="502140" y="66972"/>
                    </a:lnTo>
                    <a:lnTo>
                      <a:pt x="500473" y="66669"/>
                    </a:lnTo>
                    <a:lnTo>
                      <a:pt x="496382" y="65154"/>
                    </a:lnTo>
                    <a:lnTo>
                      <a:pt x="492897" y="63336"/>
                    </a:lnTo>
                    <a:lnTo>
                      <a:pt x="493352" y="62578"/>
                    </a:lnTo>
                    <a:lnTo>
                      <a:pt x="494109" y="61972"/>
                    </a:lnTo>
                    <a:lnTo>
                      <a:pt x="493200" y="59699"/>
                    </a:lnTo>
                    <a:lnTo>
                      <a:pt x="491231" y="55911"/>
                    </a:lnTo>
                    <a:lnTo>
                      <a:pt x="491382" y="54699"/>
                    </a:lnTo>
                    <a:lnTo>
                      <a:pt x="490776" y="53032"/>
                    </a:lnTo>
                    <a:lnTo>
                      <a:pt x="490170" y="51820"/>
                    </a:lnTo>
                    <a:lnTo>
                      <a:pt x="492897" y="48790"/>
                    </a:lnTo>
                    <a:lnTo>
                      <a:pt x="494109" y="46365"/>
                    </a:lnTo>
                    <a:lnTo>
                      <a:pt x="494412" y="44092"/>
                    </a:lnTo>
                    <a:lnTo>
                      <a:pt x="493655" y="41668"/>
                    </a:lnTo>
                    <a:lnTo>
                      <a:pt x="491836" y="37274"/>
                    </a:lnTo>
                    <a:lnTo>
                      <a:pt x="490776" y="36062"/>
                    </a:lnTo>
                    <a:lnTo>
                      <a:pt x="488806" y="34850"/>
                    </a:lnTo>
                    <a:lnTo>
                      <a:pt x="487139" y="32880"/>
                    </a:lnTo>
                    <a:lnTo>
                      <a:pt x="486685" y="31516"/>
                    </a:lnTo>
                    <a:lnTo>
                      <a:pt x="486685" y="30910"/>
                    </a:lnTo>
                    <a:lnTo>
                      <a:pt x="486533" y="30001"/>
                    </a:lnTo>
                    <a:lnTo>
                      <a:pt x="485624" y="29243"/>
                    </a:lnTo>
                    <a:lnTo>
                      <a:pt x="484412" y="28789"/>
                    </a:lnTo>
                    <a:lnTo>
                      <a:pt x="482291" y="28940"/>
                    </a:lnTo>
                    <a:lnTo>
                      <a:pt x="480321" y="28486"/>
                    </a:lnTo>
                    <a:lnTo>
                      <a:pt x="478806" y="27274"/>
                    </a:lnTo>
                    <a:lnTo>
                      <a:pt x="478503" y="26365"/>
                    </a:lnTo>
                    <a:lnTo>
                      <a:pt x="479260" y="25607"/>
                    </a:lnTo>
                    <a:lnTo>
                      <a:pt x="478654" y="25001"/>
                    </a:lnTo>
                    <a:lnTo>
                      <a:pt x="476078" y="23486"/>
                    </a:lnTo>
                    <a:lnTo>
                      <a:pt x="471987" y="19698"/>
                    </a:lnTo>
                    <a:lnTo>
                      <a:pt x="469714" y="18940"/>
                    </a:lnTo>
                    <a:lnTo>
                      <a:pt x="468805" y="16667"/>
                    </a:lnTo>
                    <a:lnTo>
                      <a:pt x="467896" y="16213"/>
                    </a:lnTo>
                    <a:lnTo>
                      <a:pt x="465926" y="16061"/>
                    </a:lnTo>
                    <a:lnTo>
                      <a:pt x="463805" y="16213"/>
                    </a:lnTo>
                    <a:lnTo>
                      <a:pt x="463351" y="16516"/>
                    </a:lnTo>
                    <a:lnTo>
                      <a:pt x="462745" y="16819"/>
                    </a:lnTo>
                    <a:lnTo>
                      <a:pt x="461078" y="19698"/>
                    </a:lnTo>
                    <a:lnTo>
                      <a:pt x="460017" y="20758"/>
                    </a:lnTo>
                    <a:lnTo>
                      <a:pt x="457290" y="20304"/>
                    </a:lnTo>
                    <a:lnTo>
                      <a:pt x="455017" y="19546"/>
                    </a:lnTo>
                    <a:lnTo>
                      <a:pt x="453199" y="19092"/>
                    </a:lnTo>
                    <a:lnTo>
                      <a:pt x="449562" y="18789"/>
                    </a:lnTo>
                    <a:lnTo>
                      <a:pt x="445471" y="18789"/>
                    </a:lnTo>
                    <a:lnTo>
                      <a:pt x="442744" y="20910"/>
                    </a:lnTo>
                    <a:lnTo>
                      <a:pt x="441532" y="20607"/>
                    </a:lnTo>
                    <a:lnTo>
                      <a:pt x="439410" y="19546"/>
                    </a:lnTo>
                    <a:lnTo>
                      <a:pt x="435925" y="18637"/>
                    </a:lnTo>
                    <a:lnTo>
                      <a:pt x="434107" y="18031"/>
                    </a:lnTo>
                    <a:lnTo>
                      <a:pt x="431531" y="21061"/>
                    </a:lnTo>
                    <a:lnTo>
                      <a:pt x="422440" y="26365"/>
                    </a:lnTo>
                    <a:lnTo>
                      <a:pt x="419107" y="28031"/>
                    </a:lnTo>
                    <a:lnTo>
                      <a:pt x="415318" y="28789"/>
                    </a:lnTo>
                    <a:lnTo>
                      <a:pt x="411682" y="31516"/>
                    </a:lnTo>
                    <a:lnTo>
                      <a:pt x="400166" y="36213"/>
                    </a:lnTo>
                    <a:lnTo>
                      <a:pt x="396378" y="36820"/>
                    </a:lnTo>
                    <a:lnTo>
                      <a:pt x="392893" y="35759"/>
                    </a:lnTo>
                    <a:lnTo>
                      <a:pt x="390469" y="36062"/>
                    </a:lnTo>
                    <a:lnTo>
                      <a:pt x="387590" y="35607"/>
                    </a:lnTo>
                    <a:lnTo>
                      <a:pt x="377135" y="31516"/>
                    </a:lnTo>
                    <a:lnTo>
                      <a:pt x="361377" y="34395"/>
                    </a:lnTo>
                    <a:lnTo>
                      <a:pt x="353347" y="36971"/>
                    </a:lnTo>
                    <a:lnTo>
                      <a:pt x="348498" y="37426"/>
                    </a:lnTo>
                    <a:lnTo>
                      <a:pt x="335618" y="34850"/>
                    </a:lnTo>
                    <a:lnTo>
                      <a:pt x="331679" y="32274"/>
                    </a:lnTo>
                    <a:lnTo>
                      <a:pt x="322588" y="31062"/>
                    </a:lnTo>
                    <a:lnTo>
                      <a:pt x="312587" y="28789"/>
                    </a:lnTo>
                    <a:lnTo>
                      <a:pt x="310618" y="25758"/>
                    </a:lnTo>
                    <a:lnTo>
                      <a:pt x="304709" y="22880"/>
                    </a:lnTo>
                    <a:lnTo>
                      <a:pt x="301072" y="23183"/>
                    </a:lnTo>
                    <a:lnTo>
                      <a:pt x="299405" y="24092"/>
                    </a:lnTo>
                    <a:lnTo>
                      <a:pt x="297284" y="26213"/>
                    </a:lnTo>
                    <a:lnTo>
                      <a:pt x="294405" y="25758"/>
                    </a:lnTo>
                    <a:lnTo>
                      <a:pt x="290920" y="23789"/>
                    </a:lnTo>
                    <a:lnTo>
                      <a:pt x="288192" y="20910"/>
                    </a:lnTo>
                    <a:lnTo>
                      <a:pt x="284708" y="12576"/>
                    </a:lnTo>
                    <a:lnTo>
                      <a:pt x="282738" y="11819"/>
                    </a:lnTo>
                    <a:lnTo>
                      <a:pt x="281071" y="11515"/>
                    </a:lnTo>
                    <a:lnTo>
                      <a:pt x="271222" y="14091"/>
                    </a:lnTo>
                    <a:lnTo>
                      <a:pt x="264101" y="11061"/>
                    </a:lnTo>
                    <a:lnTo>
                      <a:pt x="261676" y="8940"/>
                    </a:lnTo>
                    <a:lnTo>
                      <a:pt x="259252" y="5758"/>
                    </a:lnTo>
                    <a:lnTo>
                      <a:pt x="259101" y="3636"/>
                    </a:lnTo>
                    <a:lnTo>
                      <a:pt x="259858" y="2576"/>
                    </a:lnTo>
                    <a:lnTo>
                      <a:pt x="260313" y="1364"/>
                    </a:lnTo>
                    <a:lnTo>
                      <a:pt x="256222" y="151"/>
                    </a:lnTo>
                    <a:lnTo>
                      <a:pt x="249252" y="3636"/>
                    </a:lnTo>
                    <a:lnTo>
                      <a:pt x="233191" y="4091"/>
                    </a:lnTo>
                    <a:lnTo>
                      <a:pt x="210917" y="2273"/>
                    </a:lnTo>
                    <a:lnTo>
                      <a:pt x="208341" y="2727"/>
                    </a:lnTo>
                    <a:lnTo>
                      <a:pt x="199099" y="6364"/>
                    </a:lnTo>
                    <a:lnTo>
                      <a:pt x="188037" y="9091"/>
                    </a:lnTo>
                    <a:lnTo>
                      <a:pt x="181522" y="11667"/>
                    </a:lnTo>
                    <a:lnTo>
                      <a:pt x="175461" y="16213"/>
                    </a:lnTo>
                    <a:lnTo>
                      <a:pt x="158339" y="25001"/>
                    </a:lnTo>
                    <a:lnTo>
                      <a:pt x="155309" y="30304"/>
                    </a:lnTo>
                    <a:lnTo>
                      <a:pt x="152733" y="31971"/>
                    </a:lnTo>
                    <a:lnTo>
                      <a:pt x="140611" y="32728"/>
                    </a:lnTo>
                    <a:lnTo>
                      <a:pt x="127884" y="29092"/>
                    </a:lnTo>
                    <a:lnTo>
                      <a:pt x="116217" y="30607"/>
                    </a:lnTo>
                    <a:lnTo>
                      <a:pt x="99852" y="28031"/>
                    </a:lnTo>
                    <a:lnTo>
                      <a:pt x="95155" y="28183"/>
                    </a:lnTo>
                    <a:lnTo>
                      <a:pt x="93640" y="29546"/>
                    </a:lnTo>
                    <a:lnTo>
                      <a:pt x="92882" y="31971"/>
                    </a:lnTo>
                    <a:lnTo>
                      <a:pt x="92276" y="35001"/>
                    </a:lnTo>
                    <a:lnTo>
                      <a:pt x="93337" y="36365"/>
                    </a:lnTo>
                    <a:lnTo>
                      <a:pt x="94246" y="37123"/>
                    </a:lnTo>
                    <a:lnTo>
                      <a:pt x="98186" y="40001"/>
                    </a:lnTo>
                    <a:lnTo>
                      <a:pt x="101065" y="41214"/>
                    </a:lnTo>
                    <a:lnTo>
                      <a:pt x="113034" y="42880"/>
                    </a:lnTo>
                    <a:lnTo>
                      <a:pt x="114398" y="42880"/>
                    </a:lnTo>
                    <a:lnTo>
                      <a:pt x="114247" y="43638"/>
                    </a:lnTo>
                    <a:lnTo>
                      <a:pt x="105004" y="44547"/>
                    </a:lnTo>
                    <a:lnTo>
                      <a:pt x="92579" y="46517"/>
                    </a:lnTo>
                    <a:lnTo>
                      <a:pt x="90003" y="47123"/>
                    </a:lnTo>
                    <a:lnTo>
                      <a:pt x="85306" y="50305"/>
                    </a:lnTo>
                    <a:lnTo>
                      <a:pt x="86822" y="51365"/>
                    </a:lnTo>
                    <a:lnTo>
                      <a:pt x="88337" y="51972"/>
                    </a:lnTo>
                    <a:lnTo>
                      <a:pt x="90458" y="52426"/>
                    </a:lnTo>
                    <a:lnTo>
                      <a:pt x="92731" y="53790"/>
                    </a:lnTo>
                    <a:lnTo>
                      <a:pt x="91367" y="54851"/>
                    </a:lnTo>
                    <a:lnTo>
                      <a:pt x="84094" y="54851"/>
                    </a:lnTo>
                    <a:lnTo>
                      <a:pt x="81064" y="55305"/>
                    </a:lnTo>
                    <a:lnTo>
                      <a:pt x="71669" y="54396"/>
                    </a:lnTo>
                    <a:lnTo>
                      <a:pt x="62730" y="55457"/>
                    </a:lnTo>
                    <a:lnTo>
                      <a:pt x="61821" y="55153"/>
                    </a:lnTo>
                    <a:lnTo>
                      <a:pt x="62730" y="53335"/>
                    </a:lnTo>
                    <a:lnTo>
                      <a:pt x="63639" y="52274"/>
                    </a:lnTo>
                    <a:lnTo>
                      <a:pt x="63487" y="51517"/>
                    </a:lnTo>
                    <a:lnTo>
                      <a:pt x="60305" y="50759"/>
                    </a:lnTo>
                    <a:lnTo>
                      <a:pt x="57427" y="50911"/>
                    </a:lnTo>
                    <a:lnTo>
                      <a:pt x="56366" y="51820"/>
                    </a:lnTo>
                    <a:lnTo>
                      <a:pt x="59548" y="55002"/>
                    </a:lnTo>
                    <a:lnTo>
                      <a:pt x="57881" y="56062"/>
                    </a:lnTo>
                    <a:lnTo>
                      <a:pt x="56214" y="56820"/>
                    </a:lnTo>
                    <a:lnTo>
                      <a:pt x="49244" y="57123"/>
                    </a:lnTo>
                    <a:lnTo>
                      <a:pt x="45305" y="55305"/>
                    </a:lnTo>
                    <a:lnTo>
                      <a:pt x="44850" y="54093"/>
                    </a:lnTo>
                    <a:lnTo>
                      <a:pt x="44093" y="52729"/>
                    </a:lnTo>
                    <a:lnTo>
                      <a:pt x="39698" y="52881"/>
                    </a:lnTo>
                    <a:lnTo>
                      <a:pt x="36668" y="54699"/>
                    </a:lnTo>
                    <a:lnTo>
                      <a:pt x="29243" y="54547"/>
                    </a:lnTo>
                    <a:lnTo>
                      <a:pt x="22122" y="61063"/>
                    </a:lnTo>
                    <a:lnTo>
                      <a:pt x="17728" y="66669"/>
                    </a:lnTo>
                    <a:lnTo>
                      <a:pt x="14091" y="67730"/>
                    </a:lnTo>
                    <a:lnTo>
                      <a:pt x="13182" y="71518"/>
                    </a:lnTo>
                    <a:lnTo>
                      <a:pt x="13334" y="78488"/>
                    </a:lnTo>
                    <a:lnTo>
                      <a:pt x="11819" y="81367"/>
                    </a:lnTo>
                    <a:lnTo>
                      <a:pt x="11667" y="82882"/>
                    </a:lnTo>
                    <a:lnTo>
                      <a:pt x="12121" y="84548"/>
                    </a:lnTo>
                    <a:lnTo>
                      <a:pt x="18637" y="83942"/>
                    </a:lnTo>
                    <a:lnTo>
                      <a:pt x="22274" y="82730"/>
                    </a:lnTo>
                    <a:lnTo>
                      <a:pt x="31668" y="81367"/>
                    </a:lnTo>
                    <a:lnTo>
                      <a:pt x="33638" y="81821"/>
                    </a:lnTo>
                    <a:lnTo>
                      <a:pt x="33941" y="82882"/>
                    </a:lnTo>
                    <a:lnTo>
                      <a:pt x="31213" y="86064"/>
                    </a:lnTo>
                    <a:lnTo>
                      <a:pt x="28334" y="88640"/>
                    </a:lnTo>
                    <a:lnTo>
                      <a:pt x="27577" y="90155"/>
                    </a:lnTo>
                    <a:lnTo>
                      <a:pt x="28638" y="91215"/>
                    </a:lnTo>
                    <a:lnTo>
                      <a:pt x="32274" y="95913"/>
                    </a:lnTo>
                    <a:lnTo>
                      <a:pt x="32122" y="97731"/>
                    </a:lnTo>
                    <a:lnTo>
                      <a:pt x="31062" y="99095"/>
                    </a:lnTo>
                    <a:lnTo>
                      <a:pt x="31213" y="100761"/>
                    </a:lnTo>
                    <a:lnTo>
                      <a:pt x="32577" y="101973"/>
                    </a:lnTo>
                    <a:lnTo>
                      <a:pt x="34092" y="101670"/>
                    </a:lnTo>
                    <a:lnTo>
                      <a:pt x="35456" y="102125"/>
                    </a:lnTo>
                    <a:lnTo>
                      <a:pt x="36668" y="103185"/>
                    </a:lnTo>
                    <a:lnTo>
                      <a:pt x="33789" y="106671"/>
                    </a:lnTo>
                    <a:lnTo>
                      <a:pt x="30607" y="107883"/>
                    </a:lnTo>
                    <a:lnTo>
                      <a:pt x="29850" y="108792"/>
                    </a:lnTo>
                    <a:lnTo>
                      <a:pt x="30456" y="110307"/>
                    </a:lnTo>
                    <a:lnTo>
                      <a:pt x="30607" y="111368"/>
                    </a:lnTo>
                    <a:lnTo>
                      <a:pt x="31819" y="113489"/>
                    </a:lnTo>
                    <a:lnTo>
                      <a:pt x="33638" y="115913"/>
                    </a:lnTo>
                    <a:lnTo>
                      <a:pt x="35305" y="116974"/>
                    </a:lnTo>
                    <a:lnTo>
                      <a:pt x="40002" y="116822"/>
                    </a:lnTo>
                    <a:lnTo>
                      <a:pt x="38789" y="118035"/>
                    </a:lnTo>
                    <a:lnTo>
                      <a:pt x="32274" y="119398"/>
                    </a:lnTo>
                    <a:lnTo>
                      <a:pt x="29698" y="118944"/>
                    </a:lnTo>
                    <a:lnTo>
                      <a:pt x="28486" y="118035"/>
                    </a:lnTo>
                    <a:lnTo>
                      <a:pt x="27577" y="118489"/>
                    </a:lnTo>
                    <a:lnTo>
                      <a:pt x="26971" y="120762"/>
                    </a:lnTo>
                    <a:lnTo>
                      <a:pt x="26062" y="120307"/>
                    </a:lnTo>
                    <a:lnTo>
                      <a:pt x="24850" y="118186"/>
                    </a:lnTo>
                    <a:lnTo>
                      <a:pt x="25304" y="116065"/>
                    </a:lnTo>
                    <a:lnTo>
                      <a:pt x="24698" y="113792"/>
                    </a:lnTo>
                    <a:lnTo>
                      <a:pt x="22728" y="111519"/>
                    </a:lnTo>
                    <a:lnTo>
                      <a:pt x="20758" y="111216"/>
                    </a:lnTo>
                    <a:lnTo>
                      <a:pt x="19092" y="111822"/>
                    </a:lnTo>
                    <a:lnTo>
                      <a:pt x="18940" y="113792"/>
                    </a:lnTo>
                    <a:lnTo>
                      <a:pt x="20455" y="117580"/>
                    </a:lnTo>
                    <a:lnTo>
                      <a:pt x="20153" y="119853"/>
                    </a:lnTo>
                    <a:lnTo>
                      <a:pt x="18183" y="119853"/>
                    </a:lnTo>
                    <a:lnTo>
                      <a:pt x="16667" y="122732"/>
                    </a:lnTo>
                    <a:lnTo>
                      <a:pt x="17879" y="123792"/>
                    </a:lnTo>
                    <a:lnTo>
                      <a:pt x="20455" y="124702"/>
                    </a:lnTo>
                    <a:lnTo>
                      <a:pt x="23031" y="126368"/>
                    </a:lnTo>
                    <a:lnTo>
                      <a:pt x="24546" y="126823"/>
                    </a:lnTo>
                    <a:lnTo>
                      <a:pt x="25607" y="125914"/>
                    </a:lnTo>
                    <a:lnTo>
                      <a:pt x="27274" y="125156"/>
                    </a:lnTo>
                    <a:lnTo>
                      <a:pt x="30759" y="127126"/>
                    </a:lnTo>
                    <a:lnTo>
                      <a:pt x="32729" y="129702"/>
                    </a:lnTo>
                    <a:lnTo>
                      <a:pt x="34547" y="129399"/>
                    </a:lnTo>
                    <a:lnTo>
                      <a:pt x="40456" y="131823"/>
                    </a:lnTo>
                    <a:lnTo>
                      <a:pt x="42426" y="132126"/>
                    </a:lnTo>
                    <a:lnTo>
                      <a:pt x="43032" y="135156"/>
                    </a:lnTo>
                    <a:lnTo>
                      <a:pt x="42274" y="140157"/>
                    </a:lnTo>
                    <a:lnTo>
                      <a:pt x="38335" y="141369"/>
                    </a:lnTo>
                    <a:lnTo>
                      <a:pt x="38032" y="142278"/>
                    </a:lnTo>
                    <a:lnTo>
                      <a:pt x="40153" y="143945"/>
                    </a:lnTo>
                    <a:lnTo>
                      <a:pt x="41668" y="147430"/>
                    </a:lnTo>
                    <a:lnTo>
                      <a:pt x="42123" y="150611"/>
                    </a:lnTo>
                    <a:lnTo>
                      <a:pt x="44093" y="151824"/>
                    </a:lnTo>
                    <a:lnTo>
                      <a:pt x="46517" y="152127"/>
                    </a:lnTo>
                    <a:lnTo>
                      <a:pt x="47123" y="153187"/>
                    </a:lnTo>
                    <a:lnTo>
                      <a:pt x="50457" y="155006"/>
                    </a:lnTo>
                    <a:lnTo>
                      <a:pt x="50911" y="157733"/>
                    </a:lnTo>
                    <a:lnTo>
                      <a:pt x="46365" y="159097"/>
                    </a:lnTo>
                    <a:lnTo>
                      <a:pt x="44547" y="158945"/>
                    </a:lnTo>
                    <a:lnTo>
                      <a:pt x="43184" y="160460"/>
                    </a:lnTo>
                    <a:lnTo>
                      <a:pt x="43486" y="163642"/>
                    </a:lnTo>
                    <a:lnTo>
                      <a:pt x="44850" y="163491"/>
                    </a:lnTo>
                    <a:lnTo>
                      <a:pt x="45911" y="162279"/>
                    </a:lnTo>
                    <a:lnTo>
                      <a:pt x="54699" y="162733"/>
                    </a:lnTo>
                    <a:lnTo>
                      <a:pt x="67427" y="161976"/>
                    </a:lnTo>
                    <a:lnTo>
                      <a:pt x="70457" y="161976"/>
                    </a:lnTo>
                    <a:lnTo>
                      <a:pt x="70003" y="163036"/>
                    </a:lnTo>
                    <a:lnTo>
                      <a:pt x="66063" y="165460"/>
                    </a:lnTo>
                    <a:lnTo>
                      <a:pt x="63942" y="168188"/>
                    </a:lnTo>
                    <a:lnTo>
                      <a:pt x="61972" y="168946"/>
                    </a:lnTo>
                    <a:lnTo>
                      <a:pt x="53638" y="169703"/>
                    </a:lnTo>
                    <a:lnTo>
                      <a:pt x="51517" y="170612"/>
                    </a:lnTo>
                    <a:lnTo>
                      <a:pt x="49093" y="171067"/>
                    </a:lnTo>
                    <a:lnTo>
                      <a:pt x="48790" y="172127"/>
                    </a:lnTo>
                    <a:lnTo>
                      <a:pt x="51214" y="173036"/>
                    </a:lnTo>
                    <a:lnTo>
                      <a:pt x="54396" y="173340"/>
                    </a:lnTo>
                    <a:lnTo>
                      <a:pt x="58487" y="171370"/>
                    </a:lnTo>
                    <a:lnTo>
                      <a:pt x="66215" y="170915"/>
                    </a:lnTo>
                    <a:lnTo>
                      <a:pt x="64245" y="173491"/>
                    </a:lnTo>
                    <a:lnTo>
                      <a:pt x="64396" y="174552"/>
                    </a:lnTo>
                    <a:lnTo>
                      <a:pt x="66972" y="174249"/>
                    </a:lnTo>
                    <a:lnTo>
                      <a:pt x="69245" y="173036"/>
                    </a:lnTo>
                    <a:lnTo>
                      <a:pt x="72275" y="169097"/>
                    </a:lnTo>
                    <a:lnTo>
                      <a:pt x="77124" y="169400"/>
                    </a:lnTo>
                    <a:lnTo>
                      <a:pt x="83488" y="172582"/>
                    </a:lnTo>
                    <a:lnTo>
                      <a:pt x="86215" y="173340"/>
                    </a:lnTo>
                    <a:lnTo>
                      <a:pt x="88337" y="173340"/>
                    </a:lnTo>
                    <a:lnTo>
                      <a:pt x="90306" y="171976"/>
                    </a:lnTo>
                    <a:lnTo>
                      <a:pt x="92125" y="172734"/>
                    </a:lnTo>
                    <a:lnTo>
                      <a:pt x="92731" y="174400"/>
                    </a:lnTo>
                    <a:lnTo>
                      <a:pt x="92882" y="175915"/>
                    </a:lnTo>
                    <a:lnTo>
                      <a:pt x="94246" y="178037"/>
                    </a:lnTo>
                    <a:lnTo>
                      <a:pt x="95003" y="181825"/>
                    </a:lnTo>
                    <a:lnTo>
                      <a:pt x="97277" y="184098"/>
                    </a:lnTo>
                    <a:lnTo>
                      <a:pt x="100761" y="186219"/>
                    </a:lnTo>
                    <a:lnTo>
                      <a:pt x="110155" y="189401"/>
                    </a:lnTo>
                    <a:lnTo>
                      <a:pt x="112883" y="189098"/>
                    </a:lnTo>
                    <a:lnTo>
                      <a:pt x="120914" y="186522"/>
                    </a:lnTo>
                    <a:lnTo>
                      <a:pt x="125005" y="184704"/>
                    </a:lnTo>
                    <a:lnTo>
                      <a:pt x="126823" y="185310"/>
                    </a:lnTo>
                    <a:lnTo>
                      <a:pt x="129399" y="186673"/>
                    </a:lnTo>
                    <a:lnTo>
                      <a:pt x="131065" y="185916"/>
                    </a:lnTo>
                    <a:lnTo>
                      <a:pt x="132126" y="184704"/>
                    </a:lnTo>
                    <a:lnTo>
                      <a:pt x="132732" y="180310"/>
                    </a:lnTo>
                    <a:lnTo>
                      <a:pt x="134096" y="178037"/>
                    </a:lnTo>
                    <a:lnTo>
                      <a:pt x="134702" y="169552"/>
                    </a:lnTo>
                    <a:lnTo>
                      <a:pt x="136369" y="167430"/>
                    </a:lnTo>
                    <a:lnTo>
                      <a:pt x="144702" y="168036"/>
                    </a:lnTo>
                    <a:lnTo>
                      <a:pt x="152582" y="168946"/>
                    </a:lnTo>
                    <a:lnTo>
                      <a:pt x="155612" y="169552"/>
                    </a:lnTo>
                    <a:lnTo>
                      <a:pt x="167279" y="175461"/>
                    </a:lnTo>
                    <a:lnTo>
                      <a:pt x="173946" y="177885"/>
                    </a:lnTo>
                    <a:lnTo>
                      <a:pt x="176976" y="180613"/>
                    </a:lnTo>
                    <a:lnTo>
                      <a:pt x="181219" y="186219"/>
                    </a:lnTo>
                    <a:lnTo>
                      <a:pt x="183795" y="188795"/>
                    </a:lnTo>
                    <a:lnTo>
                      <a:pt x="188037" y="191371"/>
                    </a:lnTo>
                    <a:lnTo>
                      <a:pt x="195159" y="193340"/>
                    </a:lnTo>
                    <a:lnTo>
                      <a:pt x="198795" y="191522"/>
                    </a:lnTo>
                    <a:lnTo>
                      <a:pt x="203492" y="191371"/>
                    </a:lnTo>
                    <a:lnTo>
                      <a:pt x="212887" y="189855"/>
                    </a:lnTo>
                    <a:lnTo>
                      <a:pt x="215160" y="190158"/>
                    </a:lnTo>
                    <a:lnTo>
                      <a:pt x="219857" y="188946"/>
                    </a:lnTo>
                    <a:lnTo>
                      <a:pt x="226978" y="185461"/>
                    </a:lnTo>
                    <a:lnTo>
                      <a:pt x="228796" y="184098"/>
                    </a:lnTo>
                    <a:lnTo>
                      <a:pt x="236373" y="175915"/>
                    </a:lnTo>
                    <a:lnTo>
                      <a:pt x="244555" y="170309"/>
                    </a:lnTo>
                    <a:lnTo>
                      <a:pt x="247282" y="169248"/>
                    </a:lnTo>
                    <a:lnTo>
                      <a:pt x="250161" y="169855"/>
                    </a:lnTo>
                    <a:lnTo>
                      <a:pt x="253797" y="172127"/>
                    </a:lnTo>
                    <a:lnTo>
                      <a:pt x="260161" y="175006"/>
                    </a:lnTo>
                    <a:lnTo>
                      <a:pt x="266070" y="176824"/>
                    </a:lnTo>
                    <a:lnTo>
                      <a:pt x="270010" y="176219"/>
                    </a:lnTo>
                    <a:lnTo>
                      <a:pt x="272435" y="174400"/>
                    </a:lnTo>
                    <a:lnTo>
                      <a:pt x="273344" y="172127"/>
                    </a:lnTo>
                    <a:lnTo>
                      <a:pt x="275313" y="170915"/>
                    </a:lnTo>
                    <a:lnTo>
                      <a:pt x="277132" y="170461"/>
                    </a:lnTo>
                    <a:lnTo>
                      <a:pt x="280011" y="168339"/>
                    </a:lnTo>
                    <a:lnTo>
                      <a:pt x="283950" y="166370"/>
                    </a:lnTo>
                    <a:lnTo>
                      <a:pt x="286374" y="168188"/>
                    </a:lnTo>
                    <a:lnTo>
                      <a:pt x="287587" y="169552"/>
                    </a:lnTo>
                    <a:lnTo>
                      <a:pt x="287738" y="171521"/>
                    </a:lnTo>
                    <a:lnTo>
                      <a:pt x="287738" y="174097"/>
                    </a:lnTo>
                    <a:lnTo>
                      <a:pt x="283495" y="178340"/>
                    </a:lnTo>
                    <a:lnTo>
                      <a:pt x="279404" y="181976"/>
                    </a:lnTo>
                    <a:lnTo>
                      <a:pt x="277435" y="185007"/>
                    </a:lnTo>
                    <a:lnTo>
                      <a:pt x="279556" y="189704"/>
                    </a:lnTo>
                    <a:lnTo>
                      <a:pt x="281526" y="194704"/>
                    </a:lnTo>
                    <a:lnTo>
                      <a:pt x="279707" y="197280"/>
                    </a:lnTo>
                    <a:lnTo>
                      <a:pt x="281829" y="197431"/>
                    </a:lnTo>
                    <a:lnTo>
                      <a:pt x="286223" y="199856"/>
                    </a:lnTo>
                    <a:lnTo>
                      <a:pt x="286980" y="199704"/>
                    </a:lnTo>
                    <a:lnTo>
                      <a:pt x="288344" y="196522"/>
                    </a:lnTo>
                    <a:lnTo>
                      <a:pt x="289556" y="195462"/>
                    </a:lnTo>
                    <a:lnTo>
                      <a:pt x="292284" y="194553"/>
                    </a:lnTo>
                    <a:lnTo>
                      <a:pt x="293041" y="189401"/>
                    </a:lnTo>
                    <a:lnTo>
                      <a:pt x="294254" y="188340"/>
                    </a:lnTo>
                    <a:lnTo>
                      <a:pt x="295768" y="187734"/>
                    </a:lnTo>
                    <a:lnTo>
                      <a:pt x="298042" y="187583"/>
                    </a:lnTo>
                    <a:lnTo>
                      <a:pt x="300011" y="187279"/>
                    </a:lnTo>
                    <a:lnTo>
                      <a:pt x="300163" y="186370"/>
                    </a:lnTo>
                    <a:lnTo>
                      <a:pt x="297284" y="180310"/>
                    </a:lnTo>
                    <a:lnTo>
                      <a:pt x="297587" y="178794"/>
                    </a:lnTo>
                    <a:lnTo>
                      <a:pt x="298951" y="172734"/>
                    </a:lnTo>
                    <a:lnTo>
                      <a:pt x="299860" y="170309"/>
                    </a:lnTo>
                    <a:lnTo>
                      <a:pt x="300617" y="169552"/>
                    </a:lnTo>
                    <a:lnTo>
                      <a:pt x="303799" y="169855"/>
                    </a:lnTo>
                    <a:lnTo>
                      <a:pt x="308345" y="170915"/>
                    </a:lnTo>
                    <a:lnTo>
                      <a:pt x="309557" y="172734"/>
                    </a:lnTo>
                    <a:lnTo>
                      <a:pt x="311830" y="174249"/>
                    </a:lnTo>
                    <a:lnTo>
                      <a:pt x="315163" y="174097"/>
                    </a:lnTo>
                    <a:lnTo>
                      <a:pt x="318951" y="174400"/>
                    </a:lnTo>
                    <a:lnTo>
                      <a:pt x="321982" y="174552"/>
                    </a:lnTo>
                    <a:lnTo>
                      <a:pt x="324406" y="173491"/>
                    </a:lnTo>
                    <a:lnTo>
                      <a:pt x="329861" y="171370"/>
                    </a:lnTo>
                    <a:lnTo>
                      <a:pt x="332588" y="170612"/>
                    </a:lnTo>
                    <a:lnTo>
                      <a:pt x="335013" y="169703"/>
                    </a:lnTo>
                    <a:lnTo>
                      <a:pt x="342740" y="166370"/>
                    </a:lnTo>
                    <a:lnTo>
                      <a:pt x="345922" y="166673"/>
                    </a:lnTo>
                    <a:lnTo>
                      <a:pt x="348043" y="167127"/>
                    </a:lnTo>
                    <a:lnTo>
                      <a:pt x="349710" y="167733"/>
                    </a:lnTo>
                    <a:lnTo>
                      <a:pt x="353347" y="170006"/>
                    </a:lnTo>
                    <a:lnTo>
                      <a:pt x="356377" y="172279"/>
                    </a:lnTo>
                    <a:lnTo>
                      <a:pt x="358498" y="173036"/>
                    </a:lnTo>
                    <a:lnTo>
                      <a:pt x="362286" y="173036"/>
                    </a:lnTo>
                    <a:lnTo>
                      <a:pt x="367741" y="173491"/>
                    </a:lnTo>
                    <a:lnTo>
                      <a:pt x="374559" y="173491"/>
                    </a:lnTo>
                    <a:lnTo>
                      <a:pt x="378499" y="172885"/>
                    </a:lnTo>
                    <a:lnTo>
                      <a:pt x="383499" y="171673"/>
                    </a:lnTo>
                    <a:lnTo>
                      <a:pt x="392590" y="168946"/>
                    </a:lnTo>
                    <a:lnTo>
                      <a:pt x="404409" y="163188"/>
                    </a:lnTo>
                    <a:lnTo>
                      <a:pt x="411379" y="160460"/>
                    </a:lnTo>
                    <a:lnTo>
                      <a:pt x="414409" y="160157"/>
                    </a:lnTo>
                    <a:lnTo>
                      <a:pt x="418349" y="160157"/>
                    </a:lnTo>
                    <a:lnTo>
                      <a:pt x="422288" y="160915"/>
                    </a:lnTo>
                    <a:lnTo>
                      <a:pt x="426683" y="161370"/>
                    </a:lnTo>
                    <a:lnTo>
                      <a:pt x="428804" y="161370"/>
                    </a:lnTo>
                    <a:lnTo>
                      <a:pt x="433652" y="160763"/>
                    </a:lnTo>
                    <a:lnTo>
                      <a:pt x="439865" y="159551"/>
                    </a:lnTo>
                    <a:lnTo>
                      <a:pt x="443804" y="158642"/>
                    </a:lnTo>
                    <a:lnTo>
                      <a:pt x="448502" y="157127"/>
                    </a:lnTo>
                    <a:lnTo>
                      <a:pt x="451532" y="154551"/>
                    </a:lnTo>
                    <a:lnTo>
                      <a:pt x="452441" y="154248"/>
                    </a:lnTo>
                    <a:lnTo>
                      <a:pt x="453653" y="154703"/>
                    </a:lnTo>
                    <a:lnTo>
                      <a:pt x="454259" y="154854"/>
                    </a:lnTo>
                    <a:lnTo>
                      <a:pt x="455471" y="156369"/>
                    </a:lnTo>
                    <a:lnTo>
                      <a:pt x="456684" y="160157"/>
                    </a:lnTo>
                    <a:lnTo>
                      <a:pt x="459259" y="159551"/>
                    </a:lnTo>
                    <a:lnTo>
                      <a:pt x="464108" y="155763"/>
                    </a:lnTo>
                    <a:lnTo>
                      <a:pt x="466987" y="152278"/>
                    </a:lnTo>
                    <a:lnTo>
                      <a:pt x="467896" y="151975"/>
                    </a:lnTo>
                    <a:lnTo>
                      <a:pt x="470472" y="153187"/>
                    </a:lnTo>
                    <a:lnTo>
                      <a:pt x="472290" y="153490"/>
                    </a:lnTo>
                    <a:lnTo>
                      <a:pt x="476533" y="152127"/>
                    </a:lnTo>
                    <a:lnTo>
                      <a:pt x="479109" y="152884"/>
                    </a:lnTo>
                    <a:lnTo>
                      <a:pt x="481230" y="153794"/>
                    </a:lnTo>
                    <a:lnTo>
                      <a:pt x="482442" y="153794"/>
                    </a:lnTo>
                    <a:lnTo>
                      <a:pt x="488200" y="156066"/>
                    </a:lnTo>
                    <a:lnTo>
                      <a:pt x="489564" y="156369"/>
                    </a:lnTo>
                    <a:lnTo>
                      <a:pt x="492443" y="156672"/>
                    </a:lnTo>
                    <a:lnTo>
                      <a:pt x="496837" y="156824"/>
                    </a:lnTo>
                    <a:lnTo>
                      <a:pt x="499716" y="155460"/>
                    </a:lnTo>
                    <a:lnTo>
                      <a:pt x="501686" y="154096"/>
                    </a:lnTo>
                    <a:lnTo>
                      <a:pt x="503049" y="154096"/>
                    </a:lnTo>
                    <a:lnTo>
                      <a:pt x="504413" y="154399"/>
                    </a:lnTo>
                    <a:lnTo>
                      <a:pt x="505625" y="155006"/>
                    </a:lnTo>
                    <a:lnTo>
                      <a:pt x="506534" y="156066"/>
                    </a:lnTo>
                    <a:lnTo>
                      <a:pt x="506988" y="157582"/>
                    </a:lnTo>
                    <a:lnTo>
                      <a:pt x="506837" y="162279"/>
                    </a:lnTo>
                    <a:lnTo>
                      <a:pt x="507292" y="163491"/>
                    </a:lnTo>
                    <a:lnTo>
                      <a:pt x="508049" y="164400"/>
                    </a:lnTo>
                    <a:lnTo>
                      <a:pt x="509110" y="164551"/>
                    </a:lnTo>
                    <a:lnTo>
                      <a:pt x="510322" y="163491"/>
                    </a:lnTo>
                    <a:lnTo>
                      <a:pt x="512443" y="161976"/>
                    </a:lnTo>
                    <a:lnTo>
                      <a:pt x="515019" y="160309"/>
                    </a:lnTo>
                    <a:lnTo>
                      <a:pt x="516989" y="158794"/>
                    </a:lnTo>
                    <a:lnTo>
                      <a:pt x="518050" y="158188"/>
                    </a:lnTo>
                    <a:lnTo>
                      <a:pt x="519716" y="158339"/>
                    </a:lnTo>
                    <a:lnTo>
                      <a:pt x="521383" y="158642"/>
                    </a:lnTo>
                    <a:lnTo>
                      <a:pt x="522292" y="159400"/>
                    </a:lnTo>
                    <a:lnTo>
                      <a:pt x="522292" y="158945"/>
                    </a:lnTo>
                    <a:lnTo>
                      <a:pt x="521989" y="156975"/>
                    </a:lnTo>
                    <a:lnTo>
                      <a:pt x="523050" y="155309"/>
                    </a:lnTo>
                    <a:lnTo>
                      <a:pt x="523353" y="154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FD6CF59-499E-44E0-A64A-74AD6A9C4680}"/>
                  </a:ext>
                </a:extLst>
              </p:cNvPr>
              <p:cNvSpPr/>
              <p:nvPr/>
            </p:nvSpPr>
            <p:spPr>
              <a:xfrm>
                <a:off x="10829054" y="5072466"/>
                <a:ext cx="39395" cy="81821"/>
              </a:xfrm>
              <a:custGeom>
                <a:avLst/>
                <a:gdLst>
                  <a:gd name="connsiteX0" fmla="*/ 10607 w 39395"/>
                  <a:gd name="connsiteY0" fmla="*/ 78942 h 81821"/>
                  <a:gd name="connsiteX1" fmla="*/ 10758 w 39395"/>
                  <a:gd name="connsiteY1" fmla="*/ 79851 h 81821"/>
                  <a:gd name="connsiteX2" fmla="*/ 12121 w 39395"/>
                  <a:gd name="connsiteY2" fmla="*/ 81821 h 81821"/>
                  <a:gd name="connsiteX3" fmla="*/ 12273 w 39395"/>
                  <a:gd name="connsiteY3" fmla="*/ 77579 h 81821"/>
                  <a:gd name="connsiteX4" fmla="*/ 11970 w 39395"/>
                  <a:gd name="connsiteY4" fmla="*/ 77730 h 81821"/>
                  <a:gd name="connsiteX5" fmla="*/ 10607 w 39395"/>
                  <a:gd name="connsiteY5" fmla="*/ 78942 h 81821"/>
                  <a:gd name="connsiteX6" fmla="*/ 5910 w 39395"/>
                  <a:gd name="connsiteY6" fmla="*/ 73790 h 81821"/>
                  <a:gd name="connsiteX7" fmla="*/ 5455 w 39395"/>
                  <a:gd name="connsiteY7" fmla="*/ 73790 h 81821"/>
                  <a:gd name="connsiteX8" fmla="*/ 4394 w 39395"/>
                  <a:gd name="connsiteY8" fmla="*/ 73336 h 81821"/>
                  <a:gd name="connsiteX9" fmla="*/ 5606 w 39395"/>
                  <a:gd name="connsiteY9" fmla="*/ 73033 h 81821"/>
                  <a:gd name="connsiteX10" fmla="*/ 3788 w 39395"/>
                  <a:gd name="connsiteY10" fmla="*/ 72275 h 81821"/>
                  <a:gd name="connsiteX11" fmla="*/ 1667 w 39395"/>
                  <a:gd name="connsiteY11" fmla="*/ 72124 h 81821"/>
                  <a:gd name="connsiteX12" fmla="*/ 1061 w 39395"/>
                  <a:gd name="connsiteY12" fmla="*/ 71669 h 81821"/>
                  <a:gd name="connsiteX13" fmla="*/ 1212 w 39395"/>
                  <a:gd name="connsiteY13" fmla="*/ 70760 h 81821"/>
                  <a:gd name="connsiteX14" fmla="*/ 0 w 39395"/>
                  <a:gd name="connsiteY14" fmla="*/ 71821 h 81821"/>
                  <a:gd name="connsiteX15" fmla="*/ 757 w 39395"/>
                  <a:gd name="connsiteY15" fmla="*/ 73336 h 81821"/>
                  <a:gd name="connsiteX16" fmla="*/ 4394 w 39395"/>
                  <a:gd name="connsiteY16" fmla="*/ 75154 h 81821"/>
                  <a:gd name="connsiteX17" fmla="*/ 5606 w 39395"/>
                  <a:gd name="connsiteY17" fmla="*/ 76366 h 81821"/>
                  <a:gd name="connsiteX18" fmla="*/ 7576 w 39395"/>
                  <a:gd name="connsiteY18" fmla="*/ 73487 h 81821"/>
                  <a:gd name="connsiteX19" fmla="*/ 7728 w 39395"/>
                  <a:gd name="connsiteY19" fmla="*/ 72578 h 81821"/>
                  <a:gd name="connsiteX20" fmla="*/ 6213 w 39395"/>
                  <a:gd name="connsiteY20" fmla="*/ 72881 h 81821"/>
                  <a:gd name="connsiteX21" fmla="*/ 5910 w 39395"/>
                  <a:gd name="connsiteY21" fmla="*/ 73790 h 81821"/>
                  <a:gd name="connsiteX22" fmla="*/ 38184 w 39395"/>
                  <a:gd name="connsiteY22" fmla="*/ 0 h 81821"/>
                  <a:gd name="connsiteX23" fmla="*/ 37274 w 39395"/>
                  <a:gd name="connsiteY23" fmla="*/ 151 h 81821"/>
                  <a:gd name="connsiteX24" fmla="*/ 35456 w 39395"/>
                  <a:gd name="connsiteY24" fmla="*/ 2121 h 81821"/>
                  <a:gd name="connsiteX25" fmla="*/ 35910 w 39395"/>
                  <a:gd name="connsiteY25" fmla="*/ 2727 h 81821"/>
                  <a:gd name="connsiteX26" fmla="*/ 37123 w 39395"/>
                  <a:gd name="connsiteY26" fmla="*/ 3636 h 81821"/>
                  <a:gd name="connsiteX27" fmla="*/ 37577 w 39395"/>
                  <a:gd name="connsiteY27" fmla="*/ 3636 h 81821"/>
                  <a:gd name="connsiteX28" fmla="*/ 38638 w 39395"/>
                  <a:gd name="connsiteY28" fmla="*/ 1970 h 81821"/>
                  <a:gd name="connsiteX29" fmla="*/ 39395 w 39395"/>
                  <a:gd name="connsiteY29" fmla="*/ 1061 h 81821"/>
                  <a:gd name="connsiteX30" fmla="*/ 39395 w 39395"/>
                  <a:gd name="connsiteY30" fmla="*/ 455 h 81821"/>
                  <a:gd name="connsiteX31" fmla="*/ 38184 w 39395"/>
                  <a:gd name="connsiteY31" fmla="*/ 0 h 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95" h="81821">
                    <a:moveTo>
                      <a:pt x="10607" y="78942"/>
                    </a:moveTo>
                    <a:lnTo>
                      <a:pt x="10758" y="79851"/>
                    </a:lnTo>
                    <a:lnTo>
                      <a:pt x="12121" y="81821"/>
                    </a:lnTo>
                    <a:lnTo>
                      <a:pt x="12273" y="77579"/>
                    </a:lnTo>
                    <a:lnTo>
                      <a:pt x="11970" y="77730"/>
                    </a:lnTo>
                    <a:lnTo>
                      <a:pt x="10607" y="78942"/>
                    </a:lnTo>
                    <a:close/>
                    <a:moveTo>
                      <a:pt x="5910" y="73790"/>
                    </a:moveTo>
                    <a:lnTo>
                      <a:pt x="5455" y="73790"/>
                    </a:lnTo>
                    <a:lnTo>
                      <a:pt x="4394" y="73336"/>
                    </a:lnTo>
                    <a:lnTo>
                      <a:pt x="5606" y="73033"/>
                    </a:lnTo>
                    <a:lnTo>
                      <a:pt x="3788" y="72275"/>
                    </a:lnTo>
                    <a:lnTo>
                      <a:pt x="1667" y="72124"/>
                    </a:lnTo>
                    <a:lnTo>
                      <a:pt x="1061" y="71669"/>
                    </a:lnTo>
                    <a:lnTo>
                      <a:pt x="1212" y="70760"/>
                    </a:lnTo>
                    <a:lnTo>
                      <a:pt x="0" y="71821"/>
                    </a:lnTo>
                    <a:lnTo>
                      <a:pt x="757" y="73336"/>
                    </a:lnTo>
                    <a:lnTo>
                      <a:pt x="4394" y="75154"/>
                    </a:lnTo>
                    <a:lnTo>
                      <a:pt x="5606" y="76366"/>
                    </a:lnTo>
                    <a:lnTo>
                      <a:pt x="7576" y="73487"/>
                    </a:lnTo>
                    <a:lnTo>
                      <a:pt x="7728" y="72578"/>
                    </a:lnTo>
                    <a:lnTo>
                      <a:pt x="6213" y="72881"/>
                    </a:lnTo>
                    <a:lnTo>
                      <a:pt x="5910" y="73790"/>
                    </a:lnTo>
                    <a:close/>
                    <a:moveTo>
                      <a:pt x="38184" y="0"/>
                    </a:moveTo>
                    <a:lnTo>
                      <a:pt x="37274" y="151"/>
                    </a:lnTo>
                    <a:lnTo>
                      <a:pt x="35456" y="2121"/>
                    </a:lnTo>
                    <a:lnTo>
                      <a:pt x="35910" y="2727"/>
                    </a:lnTo>
                    <a:lnTo>
                      <a:pt x="37123" y="3636"/>
                    </a:lnTo>
                    <a:lnTo>
                      <a:pt x="37577" y="3636"/>
                    </a:lnTo>
                    <a:lnTo>
                      <a:pt x="38638" y="1970"/>
                    </a:lnTo>
                    <a:lnTo>
                      <a:pt x="39395" y="1061"/>
                    </a:lnTo>
                    <a:lnTo>
                      <a:pt x="39395" y="455"/>
                    </a:lnTo>
                    <a:lnTo>
                      <a:pt x="3818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254AEF86-FF10-47BC-998F-F79AE14FAB38}"/>
                  </a:ext>
                </a:extLst>
              </p:cNvPr>
              <p:cNvSpPr/>
              <p:nvPr/>
            </p:nvSpPr>
            <p:spPr>
              <a:xfrm>
                <a:off x="5982511" y="3496954"/>
                <a:ext cx="111216" cy="217735"/>
              </a:xfrm>
              <a:custGeom>
                <a:avLst/>
                <a:gdLst>
                  <a:gd name="connsiteX0" fmla="*/ 103186 w 111216"/>
                  <a:gd name="connsiteY0" fmla="*/ 80154 h 217735"/>
                  <a:gd name="connsiteX1" fmla="*/ 103337 w 111216"/>
                  <a:gd name="connsiteY1" fmla="*/ 78639 h 217735"/>
                  <a:gd name="connsiteX2" fmla="*/ 102579 w 111216"/>
                  <a:gd name="connsiteY2" fmla="*/ 78033 h 217735"/>
                  <a:gd name="connsiteX3" fmla="*/ 99852 w 111216"/>
                  <a:gd name="connsiteY3" fmla="*/ 80306 h 217735"/>
                  <a:gd name="connsiteX4" fmla="*/ 99094 w 111216"/>
                  <a:gd name="connsiteY4" fmla="*/ 82276 h 217735"/>
                  <a:gd name="connsiteX5" fmla="*/ 103186 w 111216"/>
                  <a:gd name="connsiteY5" fmla="*/ 80154 h 217735"/>
                  <a:gd name="connsiteX6" fmla="*/ 110307 w 111216"/>
                  <a:gd name="connsiteY6" fmla="*/ 148187 h 217735"/>
                  <a:gd name="connsiteX7" fmla="*/ 108186 w 111216"/>
                  <a:gd name="connsiteY7" fmla="*/ 144551 h 217735"/>
                  <a:gd name="connsiteX8" fmla="*/ 108186 w 111216"/>
                  <a:gd name="connsiteY8" fmla="*/ 140308 h 217735"/>
                  <a:gd name="connsiteX9" fmla="*/ 108337 w 111216"/>
                  <a:gd name="connsiteY9" fmla="*/ 136823 h 217735"/>
                  <a:gd name="connsiteX10" fmla="*/ 108489 w 111216"/>
                  <a:gd name="connsiteY10" fmla="*/ 134702 h 217735"/>
                  <a:gd name="connsiteX11" fmla="*/ 109398 w 111216"/>
                  <a:gd name="connsiteY11" fmla="*/ 128944 h 217735"/>
                  <a:gd name="connsiteX12" fmla="*/ 109398 w 111216"/>
                  <a:gd name="connsiteY12" fmla="*/ 128186 h 217735"/>
                  <a:gd name="connsiteX13" fmla="*/ 106519 w 111216"/>
                  <a:gd name="connsiteY13" fmla="*/ 126823 h 217735"/>
                  <a:gd name="connsiteX14" fmla="*/ 104852 w 111216"/>
                  <a:gd name="connsiteY14" fmla="*/ 127277 h 217735"/>
                  <a:gd name="connsiteX15" fmla="*/ 101973 w 111216"/>
                  <a:gd name="connsiteY15" fmla="*/ 126520 h 217735"/>
                  <a:gd name="connsiteX16" fmla="*/ 101064 w 111216"/>
                  <a:gd name="connsiteY16" fmla="*/ 126065 h 217735"/>
                  <a:gd name="connsiteX17" fmla="*/ 101822 w 111216"/>
                  <a:gd name="connsiteY17" fmla="*/ 125307 h 217735"/>
                  <a:gd name="connsiteX18" fmla="*/ 102882 w 111216"/>
                  <a:gd name="connsiteY18" fmla="*/ 124853 h 217735"/>
                  <a:gd name="connsiteX19" fmla="*/ 102579 w 111216"/>
                  <a:gd name="connsiteY19" fmla="*/ 124095 h 217735"/>
                  <a:gd name="connsiteX20" fmla="*/ 99700 w 111216"/>
                  <a:gd name="connsiteY20" fmla="*/ 122277 h 217735"/>
                  <a:gd name="connsiteX21" fmla="*/ 97882 w 111216"/>
                  <a:gd name="connsiteY21" fmla="*/ 116368 h 217735"/>
                  <a:gd name="connsiteX22" fmla="*/ 94397 w 111216"/>
                  <a:gd name="connsiteY22" fmla="*/ 114398 h 217735"/>
                  <a:gd name="connsiteX23" fmla="*/ 92731 w 111216"/>
                  <a:gd name="connsiteY23" fmla="*/ 117277 h 217735"/>
                  <a:gd name="connsiteX24" fmla="*/ 90761 w 111216"/>
                  <a:gd name="connsiteY24" fmla="*/ 117731 h 217735"/>
                  <a:gd name="connsiteX25" fmla="*/ 87882 w 111216"/>
                  <a:gd name="connsiteY25" fmla="*/ 117883 h 217735"/>
                  <a:gd name="connsiteX26" fmla="*/ 87427 w 111216"/>
                  <a:gd name="connsiteY26" fmla="*/ 115004 h 217735"/>
                  <a:gd name="connsiteX27" fmla="*/ 87730 w 111216"/>
                  <a:gd name="connsiteY27" fmla="*/ 112580 h 217735"/>
                  <a:gd name="connsiteX28" fmla="*/ 80609 w 111216"/>
                  <a:gd name="connsiteY28" fmla="*/ 113337 h 217735"/>
                  <a:gd name="connsiteX29" fmla="*/ 76518 w 111216"/>
                  <a:gd name="connsiteY29" fmla="*/ 111368 h 217735"/>
                  <a:gd name="connsiteX30" fmla="*/ 72578 w 111216"/>
                  <a:gd name="connsiteY30" fmla="*/ 107580 h 217735"/>
                  <a:gd name="connsiteX31" fmla="*/ 69548 w 111216"/>
                  <a:gd name="connsiteY31" fmla="*/ 101216 h 217735"/>
                  <a:gd name="connsiteX32" fmla="*/ 69245 w 111216"/>
                  <a:gd name="connsiteY32" fmla="*/ 98640 h 217735"/>
                  <a:gd name="connsiteX33" fmla="*/ 69851 w 111216"/>
                  <a:gd name="connsiteY33" fmla="*/ 96519 h 217735"/>
                  <a:gd name="connsiteX34" fmla="*/ 71366 w 111216"/>
                  <a:gd name="connsiteY34" fmla="*/ 94397 h 217735"/>
                  <a:gd name="connsiteX35" fmla="*/ 73639 w 111216"/>
                  <a:gd name="connsiteY35" fmla="*/ 92427 h 217735"/>
                  <a:gd name="connsiteX36" fmla="*/ 82730 w 111216"/>
                  <a:gd name="connsiteY36" fmla="*/ 86367 h 217735"/>
                  <a:gd name="connsiteX37" fmla="*/ 86973 w 111216"/>
                  <a:gd name="connsiteY37" fmla="*/ 82276 h 217735"/>
                  <a:gd name="connsiteX38" fmla="*/ 91822 w 111216"/>
                  <a:gd name="connsiteY38" fmla="*/ 75912 h 217735"/>
                  <a:gd name="connsiteX39" fmla="*/ 94246 w 111216"/>
                  <a:gd name="connsiteY39" fmla="*/ 71366 h 217735"/>
                  <a:gd name="connsiteX40" fmla="*/ 98791 w 111216"/>
                  <a:gd name="connsiteY40" fmla="*/ 65002 h 217735"/>
                  <a:gd name="connsiteX41" fmla="*/ 96670 w 111216"/>
                  <a:gd name="connsiteY41" fmla="*/ 62123 h 217735"/>
                  <a:gd name="connsiteX42" fmla="*/ 96367 w 111216"/>
                  <a:gd name="connsiteY42" fmla="*/ 58487 h 217735"/>
                  <a:gd name="connsiteX43" fmla="*/ 95458 w 111216"/>
                  <a:gd name="connsiteY43" fmla="*/ 55456 h 217735"/>
                  <a:gd name="connsiteX44" fmla="*/ 95610 w 111216"/>
                  <a:gd name="connsiteY44" fmla="*/ 52881 h 217735"/>
                  <a:gd name="connsiteX45" fmla="*/ 89549 w 111216"/>
                  <a:gd name="connsiteY45" fmla="*/ 48638 h 217735"/>
                  <a:gd name="connsiteX46" fmla="*/ 86973 w 111216"/>
                  <a:gd name="connsiteY46" fmla="*/ 47729 h 217735"/>
                  <a:gd name="connsiteX47" fmla="*/ 84246 w 111216"/>
                  <a:gd name="connsiteY47" fmla="*/ 45001 h 217735"/>
                  <a:gd name="connsiteX48" fmla="*/ 81973 w 111216"/>
                  <a:gd name="connsiteY48" fmla="*/ 40456 h 217735"/>
                  <a:gd name="connsiteX49" fmla="*/ 81215 w 111216"/>
                  <a:gd name="connsiteY49" fmla="*/ 36062 h 217735"/>
                  <a:gd name="connsiteX50" fmla="*/ 81518 w 111216"/>
                  <a:gd name="connsiteY50" fmla="*/ 33637 h 217735"/>
                  <a:gd name="connsiteX51" fmla="*/ 82579 w 111216"/>
                  <a:gd name="connsiteY51" fmla="*/ 31516 h 217735"/>
                  <a:gd name="connsiteX52" fmla="*/ 85761 w 111216"/>
                  <a:gd name="connsiteY52" fmla="*/ 28486 h 217735"/>
                  <a:gd name="connsiteX53" fmla="*/ 90003 w 111216"/>
                  <a:gd name="connsiteY53" fmla="*/ 26213 h 217735"/>
                  <a:gd name="connsiteX54" fmla="*/ 94700 w 111216"/>
                  <a:gd name="connsiteY54" fmla="*/ 18334 h 217735"/>
                  <a:gd name="connsiteX55" fmla="*/ 97125 w 111216"/>
                  <a:gd name="connsiteY55" fmla="*/ 15304 h 217735"/>
                  <a:gd name="connsiteX56" fmla="*/ 99094 w 111216"/>
                  <a:gd name="connsiteY56" fmla="*/ 14243 h 217735"/>
                  <a:gd name="connsiteX57" fmla="*/ 97731 w 111216"/>
                  <a:gd name="connsiteY57" fmla="*/ 11364 h 217735"/>
                  <a:gd name="connsiteX58" fmla="*/ 97125 w 111216"/>
                  <a:gd name="connsiteY58" fmla="*/ 8031 h 217735"/>
                  <a:gd name="connsiteX59" fmla="*/ 94246 w 111216"/>
                  <a:gd name="connsiteY59" fmla="*/ 8485 h 217735"/>
                  <a:gd name="connsiteX60" fmla="*/ 89245 w 111216"/>
                  <a:gd name="connsiteY60" fmla="*/ 12576 h 217735"/>
                  <a:gd name="connsiteX61" fmla="*/ 83942 w 111216"/>
                  <a:gd name="connsiteY61" fmla="*/ 14243 h 217735"/>
                  <a:gd name="connsiteX62" fmla="*/ 82427 w 111216"/>
                  <a:gd name="connsiteY62" fmla="*/ 16970 h 217735"/>
                  <a:gd name="connsiteX63" fmla="*/ 79548 w 111216"/>
                  <a:gd name="connsiteY63" fmla="*/ 18788 h 217735"/>
                  <a:gd name="connsiteX64" fmla="*/ 76366 w 111216"/>
                  <a:gd name="connsiteY64" fmla="*/ 17273 h 217735"/>
                  <a:gd name="connsiteX65" fmla="*/ 77427 w 111216"/>
                  <a:gd name="connsiteY65" fmla="*/ 14697 h 217735"/>
                  <a:gd name="connsiteX66" fmla="*/ 73487 w 111216"/>
                  <a:gd name="connsiteY66" fmla="*/ 9394 h 217735"/>
                  <a:gd name="connsiteX67" fmla="*/ 73639 w 111216"/>
                  <a:gd name="connsiteY67" fmla="*/ 3939 h 217735"/>
                  <a:gd name="connsiteX68" fmla="*/ 70609 w 111216"/>
                  <a:gd name="connsiteY68" fmla="*/ 2576 h 217735"/>
                  <a:gd name="connsiteX69" fmla="*/ 67881 w 111216"/>
                  <a:gd name="connsiteY69" fmla="*/ 2424 h 217735"/>
                  <a:gd name="connsiteX70" fmla="*/ 64851 w 111216"/>
                  <a:gd name="connsiteY70" fmla="*/ 2576 h 217735"/>
                  <a:gd name="connsiteX71" fmla="*/ 65002 w 111216"/>
                  <a:gd name="connsiteY71" fmla="*/ 3939 h 217735"/>
                  <a:gd name="connsiteX72" fmla="*/ 65457 w 111216"/>
                  <a:gd name="connsiteY72" fmla="*/ 4849 h 217735"/>
                  <a:gd name="connsiteX73" fmla="*/ 63638 w 111216"/>
                  <a:gd name="connsiteY73" fmla="*/ 6364 h 217735"/>
                  <a:gd name="connsiteX74" fmla="*/ 62426 w 111216"/>
                  <a:gd name="connsiteY74" fmla="*/ 3939 h 217735"/>
                  <a:gd name="connsiteX75" fmla="*/ 63336 w 111216"/>
                  <a:gd name="connsiteY75" fmla="*/ 2576 h 217735"/>
                  <a:gd name="connsiteX76" fmla="*/ 63942 w 111216"/>
                  <a:gd name="connsiteY76" fmla="*/ 909 h 217735"/>
                  <a:gd name="connsiteX77" fmla="*/ 61820 w 111216"/>
                  <a:gd name="connsiteY77" fmla="*/ 303 h 217735"/>
                  <a:gd name="connsiteX78" fmla="*/ 59850 w 111216"/>
                  <a:gd name="connsiteY78" fmla="*/ 0 h 217735"/>
                  <a:gd name="connsiteX79" fmla="*/ 44850 w 111216"/>
                  <a:gd name="connsiteY79" fmla="*/ 4545 h 217735"/>
                  <a:gd name="connsiteX80" fmla="*/ 42577 w 111216"/>
                  <a:gd name="connsiteY80" fmla="*/ 5758 h 217735"/>
                  <a:gd name="connsiteX81" fmla="*/ 36213 w 111216"/>
                  <a:gd name="connsiteY81" fmla="*/ 10758 h 217735"/>
                  <a:gd name="connsiteX82" fmla="*/ 29395 w 111216"/>
                  <a:gd name="connsiteY82" fmla="*/ 12576 h 217735"/>
                  <a:gd name="connsiteX83" fmla="*/ 30001 w 111216"/>
                  <a:gd name="connsiteY83" fmla="*/ 14243 h 217735"/>
                  <a:gd name="connsiteX84" fmla="*/ 30152 w 111216"/>
                  <a:gd name="connsiteY84" fmla="*/ 15758 h 217735"/>
                  <a:gd name="connsiteX85" fmla="*/ 27576 w 111216"/>
                  <a:gd name="connsiteY85" fmla="*/ 17273 h 217735"/>
                  <a:gd name="connsiteX86" fmla="*/ 25910 w 111216"/>
                  <a:gd name="connsiteY86" fmla="*/ 18182 h 217735"/>
                  <a:gd name="connsiteX87" fmla="*/ 23940 w 111216"/>
                  <a:gd name="connsiteY87" fmla="*/ 22122 h 217735"/>
                  <a:gd name="connsiteX88" fmla="*/ 20152 w 111216"/>
                  <a:gd name="connsiteY88" fmla="*/ 24849 h 217735"/>
                  <a:gd name="connsiteX89" fmla="*/ 19546 w 111216"/>
                  <a:gd name="connsiteY89" fmla="*/ 25607 h 217735"/>
                  <a:gd name="connsiteX90" fmla="*/ 19546 w 111216"/>
                  <a:gd name="connsiteY90" fmla="*/ 26364 h 217735"/>
                  <a:gd name="connsiteX91" fmla="*/ 22122 w 111216"/>
                  <a:gd name="connsiteY91" fmla="*/ 27577 h 217735"/>
                  <a:gd name="connsiteX92" fmla="*/ 23031 w 111216"/>
                  <a:gd name="connsiteY92" fmla="*/ 28789 h 217735"/>
                  <a:gd name="connsiteX93" fmla="*/ 23486 w 111216"/>
                  <a:gd name="connsiteY93" fmla="*/ 30304 h 217735"/>
                  <a:gd name="connsiteX94" fmla="*/ 22274 w 111216"/>
                  <a:gd name="connsiteY94" fmla="*/ 35910 h 217735"/>
                  <a:gd name="connsiteX95" fmla="*/ 21516 w 111216"/>
                  <a:gd name="connsiteY95" fmla="*/ 40153 h 217735"/>
                  <a:gd name="connsiteX96" fmla="*/ 20607 w 111216"/>
                  <a:gd name="connsiteY96" fmla="*/ 45759 h 217735"/>
                  <a:gd name="connsiteX97" fmla="*/ 20607 w 111216"/>
                  <a:gd name="connsiteY97" fmla="*/ 47880 h 217735"/>
                  <a:gd name="connsiteX98" fmla="*/ 21516 w 111216"/>
                  <a:gd name="connsiteY98" fmla="*/ 50456 h 217735"/>
                  <a:gd name="connsiteX99" fmla="*/ 22425 w 111216"/>
                  <a:gd name="connsiteY99" fmla="*/ 52426 h 217735"/>
                  <a:gd name="connsiteX100" fmla="*/ 22728 w 111216"/>
                  <a:gd name="connsiteY100" fmla="*/ 54699 h 217735"/>
                  <a:gd name="connsiteX101" fmla="*/ 22425 w 111216"/>
                  <a:gd name="connsiteY101" fmla="*/ 60305 h 217735"/>
                  <a:gd name="connsiteX102" fmla="*/ 23637 w 111216"/>
                  <a:gd name="connsiteY102" fmla="*/ 63487 h 217735"/>
                  <a:gd name="connsiteX103" fmla="*/ 24546 w 111216"/>
                  <a:gd name="connsiteY103" fmla="*/ 66518 h 217735"/>
                  <a:gd name="connsiteX104" fmla="*/ 22274 w 111216"/>
                  <a:gd name="connsiteY104" fmla="*/ 70154 h 217735"/>
                  <a:gd name="connsiteX105" fmla="*/ 21364 w 111216"/>
                  <a:gd name="connsiteY105" fmla="*/ 73336 h 217735"/>
                  <a:gd name="connsiteX106" fmla="*/ 20758 w 111216"/>
                  <a:gd name="connsiteY106" fmla="*/ 78033 h 217735"/>
                  <a:gd name="connsiteX107" fmla="*/ 20455 w 111216"/>
                  <a:gd name="connsiteY107" fmla="*/ 80912 h 217735"/>
                  <a:gd name="connsiteX108" fmla="*/ 18940 w 111216"/>
                  <a:gd name="connsiteY108" fmla="*/ 83639 h 217735"/>
                  <a:gd name="connsiteX109" fmla="*/ 16970 w 111216"/>
                  <a:gd name="connsiteY109" fmla="*/ 86215 h 217735"/>
                  <a:gd name="connsiteX110" fmla="*/ 14849 w 111216"/>
                  <a:gd name="connsiteY110" fmla="*/ 87730 h 217735"/>
                  <a:gd name="connsiteX111" fmla="*/ 12273 w 111216"/>
                  <a:gd name="connsiteY111" fmla="*/ 89094 h 217735"/>
                  <a:gd name="connsiteX112" fmla="*/ 9243 w 111216"/>
                  <a:gd name="connsiteY112" fmla="*/ 90912 h 217735"/>
                  <a:gd name="connsiteX113" fmla="*/ 6818 w 111216"/>
                  <a:gd name="connsiteY113" fmla="*/ 95761 h 217735"/>
                  <a:gd name="connsiteX114" fmla="*/ 1515 w 111216"/>
                  <a:gd name="connsiteY114" fmla="*/ 99700 h 217735"/>
                  <a:gd name="connsiteX115" fmla="*/ 455 w 111216"/>
                  <a:gd name="connsiteY115" fmla="*/ 101064 h 217735"/>
                  <a:gd name="connsiteX116" fmla="*/ 0 w 111216"/>
                  <a:gd name="connsiteY116" fmla="*/ 104246 h 217735"/>
                  <a:gd name="connsiteX117" fmla="*/ 151 w 111216"/>
                  <a:gd name="connsiteY117" fmla="*/ 108640 h 217735"/>
                  <a:gd name="connsiteX118" fmla="*/ 1060 w 111216"/>
                  <a:gd name="connsiteY118" fmla="*/ 112125 h 217735"/>
                  <a:gd name="connsiteX119" fmla="*/ 3636 w 111216"/>
                  <a:gd name="connsiteY119" fmla="*/ 117277 h 217735"/>
                  <a:gd name="connsiteX120" fmla="*/ 5909 w 111216"/>
                  <a:gd name="connsiteY120" fmla="*/ 123035 h 217735"/>
                  <a:gd name="connsiteX121" fmla="*/ 6515 w 111216"/>
                  <a:gd name="connsiteY121" fmla="*/ 125914 h 217735"/>
                  <a:gd name="connsiteX122" fmla="*/ 7424 w 111216"/>
                  <a:gd name="connsiteY122" fmla="*/ 126974 h 217735"/>
                  <a:gd name="connsiteX123" fmla="*/ 10606 w 111216"/>
                  <a:gd name="connsiteY123" fmla="*/ 128793 h 217735"/>
                  <a:gd name="connsiteX124" fmla="*/ 16061 w 111216"/>
                  <a:gd name="connsiteY124" fmla="*/ 131368 h 217735"/>
                  <a:gd name="connsiteX125" fmla="*/ 17122 w 111216"/>
                  <a:gd name="connsiteY125" fmla="*/ 132429 h 217735"/>
                  <a:gd name="connsiteX126" fmla="*/ 19849 w 111216"/>
                  <a:gd name="connsiteY126" fmla="*/ 136369 h 217735"/>
                  <a:gd name="connsiteX127" fmla="*/ 22425 w 111216"/>
                  <a:gd name="connsiteY127" fmla="*/ 143338 h 217735"/>
                  <a:gd name="connsiteX128" fmla="*/ 23183 w 111216"/>
                  <a:gd name="connsiteY128" fmla="*/ 148036 h 217735"/>
                  <a:gd name="connsiteX129" fmla="*/ 28183 w 111216"/>
                  <a:gd name="connsiteY129" fmla="*/ 151672 h 217735"/>
                  <a:gd name="connsiteX130" fmla="*/ 32729 w 111216"/>
                  <a:gd name="connsiteY130" fmla="*/ 155006 h 217735"/>
                  <a:gd name="connsiteX131" fmla="*/ 37122 w 111216"/>
                  <a:gd name="connsiteY131" fmla="*/ 158036 h 217735"/>
                  <a:gd name="connsiteX132" fmla="*/ 41971 w 111216"/>
                  <a:gd name="connsiteY132" fmla="*/ 161218 h 217735"/>
                  <a:gd name="connsiteX133" fmla="*/ 42729 w 111216"/>
                  <a:gd name="connsiteY133" fmla="*/ 162279 h 217735"/>
                  <a:gd name="connsiteX134" fmla="*/ 44395 w 111216"/>
                  <a:gd name="connsiteY134" fmla="*/ 169097 h 217735"/>
                  <a:gd name="connsiteX135" fmla="*/ 45911 w 111216"/>
                  <a:gd name="connsiteY135" fmla="*/ 175915 h 217735"/>
                  <a:gd name="connsiteX136" fmla="*/ 47729 w 111216"/>
                  <a:gd name="connsiteY136" fmla="*/ 183340 h 217735"/>
                  <a:gd name="connsiteX137" fmla="*/ 49547 w 111216"/>
                  <a:gd name="connsiteY137" fmla="*/ 190764 h 217735"/>
                  <a:gd name="connsiteX138" fmla="*/ 51669 w 111216"/>
                  <a:gd name="connsiteY138" fmla="*/ 199553 h 217735"/>
                  <a:gd name="connsiteX139" fmla="*/ 52881 w 111216"/>
                  <a:gd name="connsiteY139" fmla="*/ 204553 h 217735"/>
                  <a:gd name="connsiteX140" fmla="*/ 54244 w 111216"/>
                  <a:gd name="connsiteY140" fmla="*/ 210614 h 217735"/>
                  <a:gd name="connsiteX141" fmla="*/ 55911 w 111216"/>
                  <a:gd name="connsiteY141" fmla="*/ 217735 h 217735"/>
                  <a:gd name="connsiteX142" fmla="*/ 59245 w 111216"/>
                  <a:gd name="connsiteY142" fmla="*/ 216220 h 217735"/>
                  <a:gd name="connsiteX143" fmla="*/ 63942 w 111216"/>
                  <a:gd name="connsiteY143" fmla="*/ 214402 h 217735"/>
                  <a:gd name="connsiteX144" fmla="*/ 66366 w 111216"/>
                  <a:gd name="connsiteY144" fmla="*/ 213038 h 217735"/>
                  <a:gd name="connsiteX145" fmla="*/ 67426 w 111216"/>
                  <a:gd name="connsiteY145" fmla="*/ 211826 h 217735"/>
                  <a:gd name="connsiteX146" fmla="*/ 70912 w 111216"/>
                  <a:gd name="connsiteY146" fmla="*/ 207129 h 217735"/>
                  <a:gd name="connsiteX147" fmla="*/ 72730 w 111216"/>
                  <a:gd name="connsiteY147" fmla="*/ 204553 h 217735"/>
                  <a:gd name="connsiteX148" fmla="*/ 75154 w 111216"/>
                  <a:gd name="connsiteY148" fmla="*/ 201068 h 217735"/>
                  <a:gd name="connsiteX149" fmla="*/ 76215 w 111216"/>
                  <a:gd name="connsiteY149" fmla="*/ 198643 h 217735"/>
                  <a:gd name="connsiteX150" fmla="*/ 76215 w 111216"/>
                  <a:gd name="connsiteY150" fmla="*/ 196371 h 217735"/>
                  <a:gd name="connsiteX151" fmla="*/ 75912 w 111216"/>
                  <a:gd name="connsiteY151" fmla="*/ 193643 h 217735"/>
                  <a:gd name="connsiteX152" fmla="*/ 73942 w 111216"/>
                  <a:gd name="connsiteY152" fmla="*/ 187128 h 217735"/>
                  <a:gd name="connsiteX153" fmla="*/ 72427 w 111216"/>
                  <a:gd name="connsiteY153" fmla="*/ 180764 h 217735"/>
                  <a:gd name="connsiteX154" fmla="*/ 73639 w 111216"/>
                  <a:gd name="connsiteY154" fmla="*/ 178340 h 217735"/>
                  <a:gd name="connsiteX155" fmla="*/ 74700 w 111216"/>
                  <a:gd name="connsiteY155" fmla="*/ 177127 h 217735"/>
                  <a:gd name="connsiteX156" fmla="*/ 76821 w 111216"/>
                  <a:gd name="connsiteY156" fmla="*/ 174097 h 217735"/>
                  <a:gd name="connsiteX157" fmla="*/ 77730 w 111216"/>
                  <a:gd name="connsiteY157" fmla="*/ 173491 h 217735"/>
                  <a:gd name="connsiteX158" fmla="*/ 82427 w 111216"/>
                  <a:gd name="connsiteY158" fmla="*/ 172582 h 217735"/>
                  <a:gd name="connsiteX159" fmla="*/ 84246 w 111216"/>
                  <a:gd name="connsiteY159" fmla="*/ 170612 h 217735"/>
                  <a:gd name="connsiteX160" fmla="*/ 85609 w 111216"/>
                  <a:gd name="connsiteY160" fmla="*/ 168036 h 217735"/>
                  <a:gd name="connsiteX161" fmla="*/ 85912 w 111216"/>
                  <a:gd name="connsiteY161" fmla="*/ 166673 h 217735"/>
                  <a:gd name="connsiteX162" fmla="*/ 87882 w 111216"/>
                  <a:gd name="connsiteY162" fmla="*/ 165309 h 217735"/>
                  <a:gd name="connsiteX163" fmla="*/ 90306 w 111216"/>
                  <a:gd name="connsiteY163" fmla="*/ 163945 h 217735"/>
                  <a:gd name="connsiteX164" fmla="*/ 91822 w 111216"/>
                  <a:gd name="connsiteY164" fmla="*/ 162127 h 217735"/>
                  <a:gd name="connsiteX165" fmla="*/ 96670 w 111216"/>
                  <a:gd name="connsiteY165" fmla="*/ 159400 h 217735"/>
                  <a:gd name="connsiteX166" fmla="*/ 101064 w 111216"/>
                  <a:gd name="connsiteY166" fmla="*/ 156824 h 217735"/>
                  <a:gd name="connsiteX167" fmla="*/ 106216 w 111216"/>
                  <a:gd name="connsiteY167" fmla="*/ 154097 h 217735"/>
                  <a:gd name="connsiteX168" fmla="*/ 110307 w 111216"/>
                  <a:gd name="connsiteY168" fmla="*/ 151975 h 217735"/>
                  <a:gd name="connsiteX169" fmla="*/ 111216 w 111216"/>
                  <a:gd name="connsiteY169" fmla="*/ 150157 h 217735"/>
                  <a:gd name="connsiteX170" fmla="*/ 110307 w 111216"/>
                  <a:gd name="connsiteY170" fmla="*/ 148187 h 217735"/>
                  <a:gd name="connsiteX171" fmla="*/ 93488 w 111216"/>
                  <a:gd name="connsiteY171" fmla="*/ 106519 h 217735"/>
                  <a:gd name="connsiteX172" fmla="*/ 88639 w 111216"/>
                  <a:gd name="connsiteY172" fmla="*/ 106670 h 217735"/>
                  <a:gd name="connsiteX173" fmla="*/ 88336 w 111216"/>
                  <a:gd name="connsiteY173" fmla="*/ 107731 h 217735"/>
                  <a:gd name="connsiteX174" fmla="*/ 88034 w 111216"/>
                  <a:gd name="connsiteY174" fmla="*/ 111368 h 217735"/>
                  <a:gd name="connsiteX175" fmla="*/ 88943 w 111216"/>
                  <a:gd name="connsiteY175" fmla="*/ 111974 h 217735"/>
                  <a:gd name="connsiteX176" fmla="*/ 89700 w 111216"/>
                  <a:gd name="connsiteY176" fmla="*/ 111974 h 217735"/>
                  <a:gd name="connsiteX177" fmla="*/ 91670 w 111216"/>
                  <a:gd name="connsiteY177" fmla="*/ 112883 h 217735"/>
                  <a:gd name="connsiteX178" fmla="*/ 92427 w 111216"/>
                  <a:gd name="connsiteY178" fmla="*/ 112731 h 217735"/>
                  <a:gd name="connsiteX179" fmla="*/ 93791 w 111216"/>
                  <a:gd name="connsiteY179" fmla="*/ 111822 h 217735"/>
                  <a:gd name="connsiteX180" fmla="*/ 94549 w 111216"/>
                  <a:gd name="connsiteY180" fmla="*/ 111671 h 217735"/>
                  <a:gd name="connsiteX181" fmla="*/ 95458 w 111216"/>
                  <a:gd name="connsiteY181" fmla="*/ 110913 h 217735"/>
                  <a:gd name="connsiteX182" fmla="*/ 96670 w 111216"/>
                  <a:gd name="connsiteY182" fmla="*/ 109701 h 217735"/>
                  <a:gd name="connsiteX183" fmla="*/ 96519 w 111216"/>
                  <a:gd name="connsiteY183" fmla="*/ 109095 h 217735"/>
                  <a:gd name="connsiteX184" fmla="*/ 96064 w 111216"/>
                  <a:gd name="connsiteY184" fmla="*/ 108489 h 217735"/>
                  <a:gd name="connsiteX185" fmla="*/ 93488 w 111216"/>
                  <a:gd name="connsiteY185" fmla="*/ 106519 h 21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11216" h="217735">
                    <a:moveTo>
                      <a:pt x="103186" y="80154"/>
                    </a:moveTo>
                    <a:lnTo>
                      <a:pt x="103337" y="78639"/>
                    </a:lnTo>
                    <a:lnTo>
                      <a:pt x="102579" y="78033"/>
                    </a:lnTo>
                    <a:lnTo>
                      <a:pt x="99852" y="80306"/>
                    </a:lnTo>
                    <a:lnTo>
                      <a:pt x="99094" y="82276"/>
                    </a:lnTo>
                    <a:lnTo>
                      <a:pt x="103186" y="80154"/>
                    </a:lnTo>
                    <a:close/>
                    <a:moveTo>
                      <a:pt x="110307" y="148187"/>
                    </a:moveTo>
                    <a:lnTo>
                      <a:pt x="108186" y="144551"/>
                    </a:lnTo>
                    <a:lnTo>
                      <a:pt x="108186" y="140308"/>
                    </a:lnTo>
                    <a:lnTo>
                      <a:pt x="108337" y="136823"/>
                    </a:lnTo>
                    <a:lnTo>
                      <a:pt x="108489" y="134702"/>
                    </a:lnTo>
                    <a:lnTo>
                      <a:pt x="109398" y="128944"/>
                    </a:lnTo>
                    <a:lnTo>
                      <a:pt x="109398" y="128186"/>
                    </a:lnTo>
                    <a:lnTo>
                      <a:pt x="106519" y="126823"/>
                    </a:lnTo>
                    <a:lnTo>
                      <a:pt x="104852" y="127277"/>
                    </a:lnTo>
                    <a:lnTo>
                      <a:pt x="101973" y="126520"/>
                    </a:lnTo>
                    <a:lnTo>
                      <a:pt x="101064" y="126065"/>
                    </a:lnTo>
                    <a:lnTo>
                      <a:pt x="101822" y="125307"/>
                    </a:lnTo>
                    <a:lnTo>
                      <a:pt x="102882" y="124853"/>
                    </a:lnTo>
                    <a:lnTo>
                      <a:pt x="102579" y="124095"/>
                    </a:lnTo>
                    <a:lnTo>
                      <a:pt x="99700" y="122277"/>
                    </a:lnTo>
                    <a:lnTo>
                      <a:pt x="97882" y="116368"/>
                    </a:lnTo>
                    <a:lnTo>
                      <a:pt x="94397" y="114398"/>
                    </a:lnTo>
                    <a:lnTo>
                      <a:pt x="92731" y="117277"/>
                    </a:lnTo>
                    <a:lnTo>
                      <a:pt x="90761" y="117731"/>
                    </a:lnTo>
                    <a:lnTo>
                      <a:pt x="87882" y="117883"/>
                    </a:lnTo>
                    <a:lnTo>
                      <a:pt x="87427" y="115004"/>
                    </a:lnTo>
                    <a:lnTo>
                      <a:pt x="87730" y="112580"/>
                    </a:lnTo>
                    <a:lnTo>
                      <a:pt x="80609" y="113337"/>
                    </a:lnTo>
                    <a:lnTo>
                      <a:pt x="76518" y="111368"/>
                    </a:lnTo>
                    <a:lnTo>
                      <a:pt x="72578" y="107580"/>
                    </a:lnTo>
                    <a:lnTo>
                      <a:pt x="69548" y="101216"/>
                    </a:lnTo>
                    <a:lnTo>
                      <a:pt x="69245" y="98640"/>
                    </a:lnTo>
                    <a:lnTo>
                      <a:pt x="69851" y="96519"/>
                    </a:lnTo>
                    <a:lnTo>
                      <a:pt x="71366" y="94397"/>
                    </a:lnTo>
                    <a:lnTo>
                      <a:pt x="73639" y="92427"/>
                    </a:lnTo>
                    <a:lnTo>
                      <a:pt x="82730" y="86367"/>
                    </a:lnTo>
                    <a:lnTo>
                      <a:pt x="86973" y="82276"/>
                    </a:lnTo>
                    <a:lnTo>
                      <a:pt x="91822" y="75912"/>
                    </a:lnTo>
                    <a:lnTo>
                      <a:pt x="94246" y="71366"/>
                    </a:lnTo>
                    <a:lnTo>
                      <a:pt x="98791" y="65002"/>
                    </a:lnTo>
                    <a:lnTo>
                      <a:pt x="96670" y="62123"/>
                    </a:lnTo>
                    <a:lnTo>
                      <a:pt x="96367" y="58487"/>
                    </a:lnTo>
                    <a:lnTo>
                      <a:pt x="95458" y="55456"/>
                    </a:lnTo>
                    <a:lnTo>
                      <a:pt x="95610" y="52881"/>
                    </a:lnTo>
                    <a:lnTo>
                      <a:pt x="89549" y="48638"/>
                    </a:lnTo>
                    <a:lnTo>
                      <a:pt x="86973" y="47729"/>
                    </a:lnTo>
                    <a:lnTo>
                      <a:pt x="84246" y="45001"/>
                    </a:lnTo>
                    <a:lnTo>
                      <a:pt x="81973" y="40456"/>
                    </a:lnTo>
                    <a:lnTo>
                      <a:pt x="81215" y="36062"/>
                    </a:lnTo>
                    <a:lnTo>
                      <a:pt x="81518" y="33637"/>
                    </a:lnTo>
                    <a:lnTo>
                      <a:pt x="82579" y="31516"/>
                    </a:lnTo>
                    <a:lnTo>
                      <a:pt x="85761" y="28486"/>
                    </a:lnTo>
                    <a:lnTo>
                      <a:pt x="90003" y="26213"/>
                    </a:lnTo>
                    <a:lnTo>
                      <a:pt x="94700" y="18334"/>
                    </a:lnTo>
                    <a:lnTo>
                      <a:pt x="97125" y="15304"/>
                    </a:lnTo>
                    <a:lnTo>
                      <a:pt x="99094" y="14243"/>
                    </a:lnTo>
                    <a:lnTo>
                      <a:pt x="97731" y="11364"/>
                    </a:lnTo>
                    <a:lnTo>
                      <a:pt x="97125" y="8031"/>
                    </a:lnTo>
                    <a:lnTo>
                      <a:pt x="94246" y="8485"/>
                    </a:lnTo>
                    <a:lnTo>
                      <a:pt x="89245" y="12576"/>
                    </a:lnTo>
                    <a:lnTo>
                      <a:pt x="83942" y="14243"/>
                    </a:lnTo>
                    <a:lnTo>
                      <a:pt x="82427" y="16970"/>
                    </a:lnTo>
                    <a:lnTo>
                      <a:pt x="79548" y="18788"/>
                    </a:lnTo>
                    <a:lnTo>
                      <a:pt x="76366" y="17273"/>
                    </a:lnTo>
                    <a:lnTo>
                      <a:pt x="77427" y="14697"/>
                    </a:lnTo>
                    <a:lnTo>
                      <a:pt x="73487" y="9394"/>
                    </a:lnTo>
                    <a:lnTo>
                      <a:pt x="73639" y="3939"/>
                    </a:lnTo>
                    <a:lnTo>
                      <a:pt x="70609" y="2576"/>
                    </a:lnTo>
                    <a:lnTo>
                      <a:pt x="67881" y="2424"/>
                    </a:lnTo>
                    <a:lnTo>
                      <a:pt x="64851" y="2576"/>
                    </a:lnTo>
                    <a:lnTo>
                      <a:pt x="65002" y="3939"/>
                    </a:lnTo>
                    <a:lnTo>
                      <a:pt x="65457" y="4849"/>
                    </a:lnTo>
                    <a:lnTo>
                      <a:pt x="63638" y="6364"/>
                    </a:lnTo>
                    <a:lnTo>
                      <a:pt x="62426" y="3939"/>
                    </a:lnTo>
                    <a:lnTo>
                      <a:pt x="63336" y="2576"/>
                    </a:lnTo>
                    <a:lnTo>
                      <a:pt x="63942" y="909"/>
                    </a:lnTo>
                    <a:lnTo>
                      <a:pt x="61820" y="303"/>
                    </a:lnTo>
                    <a:lnTo>
                      <a:pt x="59850" y="0"/>
                    </a:lnTo>
                    <a:lnTo>
                      <a:pt x="44850" y="4545"/>
                    </a:lnTo>
                    <a:lnTo>
                      <a:pt x="42577" y="5758"/>
                    </a:lnTo>
                    <a:lnTo>
                      <a:pt x="36213" y="10758"/>
                    </a:lnTo>
                    <a:lnTo>
                      <a:pt x="29395" y="12576"/>
                    </a:lnTo>
                    <a:lnTo>
                      <a:pt x="30001" y="14243"/>
                    </a:lnTo>
                    <a:lnTo>
                      <a:pt x="30152" y="15758"/>
                    </a:lnTo>
                    <a:lnTo>
                      <a:pt x="27576" y="17273"/>
                    </a:lnTo>
                    <a:lnTo>
                      <a:pt x="25910" y="18182"/>
                    </a:lnTo>
                    <a:lnTo>
                      <a:pt x="23940" y="22122"/>
                    </a:lnTo>
                    <a:lnTo>
                      <a:pt x="20152" y="24849"/>
                    </a:lnTo>
                    <a:lnTo>
                      <a:pt x="19546" y="25607"/>
                    </a:lnTo>
                    <a:lnTo>
                      <a:pt x="19546" y="26364"/>
                    </a:lnTo>
                    <a:lnTo>
                      <a:pt x="22122" y="27577"/>
                    </a:lnTo>
                    <a:lnTo>
                      <a:pt x="23031" y="28789"/>
                    </a:lnTo>
                    <a:lnTo>
                      <a:pt x="23486" y="30304"/>
                    </a:lnTo>
                    <a:lnTo>
                      <a:pt x="22274" y="35910"/>
                    </a:lnTo>
                    <a:lnTo>
                      <a:pt x="21516" y="40153"/>
                    </a:lnTo>
                    <a:lnTo>
                      <a:pt x="20607" y="45759"/>
                    </a:lnTo>
                    <a:lnTo>
                      <a:pt x="20607" y="47880"/>
                    </a:lnTo>
                    <a:lnTo>
                      <a:pt x="21516" y="50456"/>
                    </a:lnTo>
                    <a:lnTo>
                      <a:pt x="22425" y="52426"/>
                    </a:lnTo>
                    <a:lnTo>
                      <a:pt x="22728" y="54699"/>
                    </a:lnTo>
                    <a:lnTo>
                      <a:pt x="22425" y="60305"/>
                    </a:lnTo>
                    <a:lnTo>
                      <a:pt x="23637" y="63487"/>
                    </a:lnTo>
                    <a:lnTo>
                      <a:pt x="24546" y="66518"/>
                    </a:lnTo>
                    <a:lnTo>
                      <a:pt x="22274" y="70154"/>
                    </a:lnTo>
                    <a:lnTo>
                      <a:pt x="21364" y="73336"/>
                    </a:lnTo>
                    <a:lnTo>
                      <a:pt x="20758" y="78033"/>
                    </a:lnTo>
                    <a:lnTo>
                      <a:pt x="20455" y="80912"/>
                    </a:lnTo>
                    <a:lnTo>
                      <a:pt x="18940" y="83639"/>
                    </a:lnTo>
                    <a:lnTo>
                      <a:pt x="16970" y="86215"/>
                    </a:lnTo>
                    <a:lnTo>
                      <a:pt x="14849" y="87730"/>
                    </a:lnTo>
                    <a:lnTo>
                      <a:pt x="12273" y="89094"/>
                    </a:lnTo>
                    <a:lnTo>
                      <a:pt x="9243" y="90912"/>
                    </a:lnTo>
                    <a:lnTo>
                      <a:pt x="6818" y="95761"/>
                    </a:lnTo>
                    <a:lnTo>
                      <a:pt x="1515" y="99700"/>
                    </a:lnTo>
                    <a:lnTo>
                      <a:pt x="455" y="101064"/>
                    </a:lnTo>
                    <a:lnTo>
                      <a:pt x="0" y="104246"/>
                    </a:lnTo>
                    <a:lnTo>
                      <a:pt x="151" y="108640"/>
                    </a:lnTo>
                    <a:lnTo>
                      <a:pt x="1060" y="112125"/>
                    </a:lnTo>
                    <a:lnTo>
                      <a:pt x="3636" y="117277"/>
                    </a:lnTo>
                    <a:lnTo>
                      <a:pt x="5909" y="123035"/>
                    </a:lnTo>
                    <a:lnTo>
                      <a:pt x="6515" y="125914"/>
                    </a:lnTo>
                    <a:lnTo>
                      <a:pt x="7424" y="126974"/>
                    </a:lnTo>
                    <a:lnTo>
                      <a:pt x="10606" y="128793"/>
                    </a:lnTo>
                    <a:lnTo>
                      <a:pt x="16061" y="131368"/>
                    </a:lnTo>
                    <a:lnTo>
                      <a:pt x="17122" y="132429"/>
                    </a:lnTo>
                    <a:lnTo>
                      <a:pt x="19849" y="136369"/>
                    </a:lnTo>
                    <a:lnTo>
                      <a:pt x="22425" y="143338"/>
                    </a:lnTo>
                    <a:lnTo>
                      <a:pt x="23183" y="148036"/>
                    </a:lnTo>
                    <a:lnTo>
                      <a:pt x="28183" y="151672"/>
                    </a:lnTo>
                    <a:lnTo>
                      <a:pt x="32729" y="155006"/>
                    </a:lnTo>
                    <a:lnTo>
                      <a:pt x="37122" y="158036"/>
                    </a:lnTo>
                    <a:lnTo>
                      <a:pt x="41971" y="161218"/>
                    </a:lnTo>
                    <a:lnTo>
                      <a:pt x="42729" y="162279"/>
                    </a:lnTo>
                    <a:lnTo>
                      <a:pt x="44395" y="169097"/>
                    </a:lnTo>
                    <a:lnTo>
                      <a:pt x="45911" y="175915"/>
                    </a:lnTo>
                    <a:lnTo>
                      <a:pt x="47729" y="183340"/>
                    </a:lnTo>
                    <a:lnTo>
                      <a:pt x="49547" y="190764"/>
                    </a:lnTo>
                    <a:lnTo>
                      <a:pt x="51669" y="199553"/>
                    </a:lnTo>
                    <a:lnTo>
                      <a:pt x="52881" y="204553"/>
                    </a:lnTo>
                    <a:lnTo>
                      <a:pt x="54244" y="210614"/>
                    </a:lnTo>
                    <a:lnTo>
                      <a:pt x="55911" y="217735"/>
                    </a:lnTo>
                    <a:lnTo>
                      <a:pt x="59245" y="216220"/>
                    </a:lnTo>
                    <a:lnTo>
                      <a:pt x="63942" y="214402"/>
                    </a:lnTo>
                    <a:lnTo>
                      <a:pt x="66366" y="213038"/>
                    </a:lnTo>
                    <a:lnTo>
                      <a:pt x="67426" y="211826"/>
                    </a:lnTo>
                    <a:lnTo>
                      <a:pt x="70912" y="207129"/>
                    </a:lnTo>
                    <a:lnTo>
                      <a:pt x="72730" y="204553"/>
                    </a:lnTo>
                    <a:lnTo>
                      <a:pt x="75154" y="201068"/>
                    </a:lnTo>
                    <a:lnTo>
                      <a:pt x="76215" y="198643"/>
                    </a:lnTo>
                    <a:lnTo>
                      <a:pt x="76215" y="196371"/>
                    </a:lnTo>
                    <a:lnTo>
                      <a:pt x="75912" y="193643"/>
                    </a:lnTo>
                    <a:lnTo>
                      <a:pt x="73942" y="187128"/>
                    </a:lnTo>
                    <a:lnTo>
                      <a:pt x="72427" y="180764"/>
                    </a:lnTo>
                    <a:lnTo>
                      <a:pt x="73639" y="178340"/>
                    </a:lnTo>
                    <a:lnTo>
                      <a:pt x="74700" y="177127"/>
                    </a:lnTo>
                    <a:lnTo>
                      <a:pt x="76821" y="174097"/>
                    </a:lnTo>
                    <a:lnTo>
                      <a:pt x="77730" y="173491"/>
                    </a:lnTo>
                    <a:lnTo>
                      <a:pt x="82427" y="172582"/>
                    </a:lnTo>
                    <a:lnTo>
                      <a:pt x="84246" y="170612"/>
                    </a:lnTo>
                    <a:lnTo>
                      <a:pt x="85609" y="168036"/>
                    </a:lnTo>
                    <a:lnTo>
                      <a:pt x="85912" y="166673"/>
                    </a:lnTo>
                    <a:lnTo>
                      <a:pt x="87882" y="165309"/>
                    </a:lnTo>
                    <a:lnTo>
                      <a:pt x="90306" y="163945"/>
                    </a:lnTo>
                    <a:lnTo>
                      <a:pt x="91822" y="162127"/>
                    </a:lnTo>
                    <a:lnTo>
                      <a:pt x="96670" y="159400"/>
                    </a:lnTo>
                    <a:lnTo>
                      <a:pt x="101064" y="156824"/>
                    </a:lnTo>
                    <a:lnTo>
                      <a:pt x="106216" y="154097"/>
                    </a:lnTo>
                    <a:lnTo>
                      <a:pt x="110307" y="151975"/>
                    </a:lnTo>
                    <a:lnTo>
                      <a:pt x="111216" y="150157"/>
                    </a:lnTo>
                    <a:lnTo>
                      <a:pt x="110307" y="148187"/>
                    </a:lnTo>
                    <a:close/>
                    <a:moveTo>
                      <a:pt x="93488" y="106519"/>
                    </a:moveTo>
                    <a:lnTo>
                      <a:pt x="88639" y="106670"/>
                    </a:lnTo>
                    <a:lnTo>
                      <a:pt x="88336" y="107731"/>
                    </a:lnTo>
                    <a:lnTo>
                      <a:pt x="88034" y="111368"/>
                    </a:lnTo>
                    <a:lnTo>
                      <a:pt x="88943" y="111974"/>
                    </a:lnTo>
                    <a:lnTo>
                      <a:pt x="89700" y="111974"/>
                    </a:lnTo>
                    <a:lnTo>
                      <a:pt x="91670" y="112883"/>
                    </a:lnTo>
                    <a:lnTo>
                      <a:pt x="92427" y="112731"/>
                    </a:lnTo>
                    <a:lnTo>
                      <a:pt x="93791" y="111822"/>
                    </a:lnTo>
                    <a:lnTo>
                      <a:pt x="94549" y="111671"/>
                    </a:lnTo>
                    <a:lnTo>
                      <a:pt x="95458" y="110913"/>
                    </a:lnTo>
                    <a:lnTo>
                      <a:pt x="96670" y="109701"/>
                    </a:lnTo>
                    <a:lnTo>
                      <a:pt x="96519" y="109095"/>
                    </a:lnTo>
                    <a:lnTo>
                      <a:pt x="96064" y="108489"/>
                    </a:lnTo>
                    <a:lnTo>
                      <a:pt x="93488" y="10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B105560-8CC6-444F-8C9B-7096F427BAEE}"/>
                  </a:ext>
                </a:extLst>
              </p:cNvPr>
              <p:cNvSpPr/>
              <p:nvPr/>
            </p:nvSpPr>
            <p:spPr>
              <a:xfrm>
                <a:off x="7213011" y="3321039"/>
                <a:ext cx="387287" cy="243342"/>
              </a:xfrm>
              <a:custGeom>
                <a:avLst/>
                <a:gdLst>
                  <a:gd name="connsiteX0" fmla="*/ 16819 w 387287"/>
                  <a:gd name="connsiteY0" fmla="*/ 120004 h 243342"/>
                  <a:gd name="connsiteX1" fmla="*/ 15758 w 387287"/>
                  <a:gd name="connsiteY1" fmla="*/ 119853 h 243342"/>
                  <a:gd name="connsiteX2" fmla="*/ 14849 w 387287"/>
                  <a:gd name="connsiteY2" fmla="*/ 121217 h 243342"/>
                  <a:gd name="connsiteX3" fmla="*/ 15607 w 387287"/>
                  <a:gd name="connsiteY3" fmla="*/ 126217 h 243342"/>
                  <a:gd name="connsiteX4" fmla="*/ 17122 w 387287"/>
                  <a:gd name="connsiteY4" fmla="*/ 130762 h 243342"/>
                  <a:gd name="connsiteX5" fmla="*/ 17425 w 387287"/>
                  <a:gd name="connsiteY5" fmla="*/ 129247 h 243342"/>
                  <a:gd name="connsiteX6" fmla="*/ 15909 w 387287"/>
                  <a:gd name="connsiteY6" fmla="*/ 121823 h 243342"/>
                  <a:gd name="connsiteX7" fmla="*/ 16819 w 387287"/>
                  <a:gd name="connsiteY7" fmla="*/ 120004 h 243342"/>
                  <a:gd name="connsiteX8" fmla="*/ 384408 w 387287"/>
                  <a:gd name="connsiteY8" fmla="*/ 161521 h 243342"/>
                  <a:gd name="connsiteX9" fmla="*/ 387287 w 387287"/>
                  <a:gd name="connsiteY9" fmla="*/ 156976 h 243342"/>
                  <a:gd name="connsiteX10" fmla="*/ 387135 w 387287"/>
                  <a:gd name="connsiteY10" fmla="*/ 156066 h 243342"/>
                  <a:gd name="connsiteX11" fmla="*/ 386530 w 387287"/>
                  <a:gd name="connsiteY11" fmla="*/ 155157 h 243342"/>
                  <a:gd name="connsiteX12" fmla="*/ 385621 w 387287"/>
                  <a:gd name="connsiteY12" fmla="*/ 154399 h 243342"/>
                  <a:gd name="connsiteX13" fmla="*/ 380620 w 387287"/>
                  <a:gd name="connsiteY13" fmla="*/ 153188 h 243342"/>
                  <a:gd name="connsiteX14" fmla="*/ 379105 w 387287"/>
                  <a:gd name="connsiteY14" fmla="*/ 152581 h 243342"/>
                  <a:gd name="connsiteX15" fmla="*/ 377135 w 387287"/>
                  <a:gd name="connsiteY15" fmla="*/ 151066 h 243342"/>
                  <a:gd name="connsiteX16" fmla="*/ 374711 w 387287"/>
                  <a:gd name="connsiteY16" fmla="*/ 149551 h 243342"/>
                  <a:gd name="connsiteX17" fmla="*/ 372590 w 387287"/>
                  <a:gd name="connsiteY17" fmla="*/ 148490 h 243342"/>
                  <a:gd name="connsiteX18" fmla="*/ 369256 w 387287"/>
                  <a:gd name="connsiteY18" fmla="*/ 147127 h 243342"/>
                  <a:gd name="connsiteX19" fmla="*/ 366074 w 387287"/>
                  <a:gd name="connsiteY19" fmla="*/ 146369 h 243342"/>
                  <a:gd name="connsiteX20" fmla="*/ 364256 w 387287"/>
                  <a:gd name="connsiteY20" fmla="*/ 146975 h 243342"/>
                  <a:gd name="connsiteX21" fmla="*/ 362589 w 387287"/>
                  <a:gd name="connsiteY21" fmla="*/ 147733 h 243342"/>
                  <a:gd name="connsiteX22" fmla="*/ 361074 w 387287"/>
                  <a:gd name="connsiteY22" fmla="*/ 147733 h 243342"/>
                  <a:gd name="connsiteX23" fmla="*/ 359559 w 387287"/>
                  <a:gd name="connsiteY23" fmla="*/ 147278 h 243342"/>
                  <a:gd name="connsiteX24" fmla="*/ 353649 w 387287"/>
                  <a:gd name="connsiteY24" fmla="*/ 143793 h 243342"/>
                  <a:gd name="connsiteX25" fmla="*/ 344861 w 387287"/>
                  <a:gd name="connsiteY25" fmla="*/ 137732 h 243342"/>
                  <a:gd name="connsiteX26" fmla="*/ 337891 w 387287"/>
                  <a:gd name="connsiteY26" fmla="*/ 133490 h 243342"/>
                  <a:gd name="connsiteX27" fmla="*/ 333497 w 387287"/>
                  <a:gd name="connsiteY27" fmla="*/ 131520 h 243342"/>
                  <a:gd name="connsiteX28" fmla="*/ 332437 w 387287"/>
                  <a:gd name="connsiteY28" fmla="*/ 130914 h 243342"/>
                  <a:gd name="connsiteX29" fmla="*/ 330012 w 387287"/>
                  <a:gd name="connsiteY29" fmla="*/ 128944 h 243342"/>
                  <a:gd name="connsiteX30" fmla="*/ 323951 w 387287"/>
                  <a:gd name="connsiteY30" fmla="*/ 123792 h 243342"/>
                  <a:gd name="connsiteX31" fmla="*/ 319860 w 387287"/>
                  <a:gd name="connsiteY31" fmla="*/ 124550 h 243342"/>
                  <a:gd name="connsiteX32" fmla="*/ 314103 w 387287"/>
                  <a:gd name="connsiteY32" fmla="*/ 121217 h 243342"/>
                  <a:gd name="connsiteX33" fmla="*/ 308951 w 387287"/>
                  <a:gd name="connsiteY33" fmla="*/ 117883 h 243342"/>
                  <a:gd name="connsiteX34" fmla="*/ 307739 w 387287"/>
                  <a:gd name="connsiteY34" fmla="*/ 116974 h 243342"/>
                  <a:gd name="connsiteX35" fmla="*/ 301830 w 387287"/>
                  <a:gd name="connsiteY35" fmla="*/ 110913 h 243342"/>
                  <a:gd name="connsiteX36" fmla="*/ 295920 w 387287"/>
                  <a:gd name="connsiteY36" fmla="*/ 106974 h 243342"/>
                  <a:gd name="connsiteX37" fmla="*/ 289556 w 387287"/>
                  <a:gd name="connsiteY37" fmla="*/ 102731 h 243342"/>
                  <a:gd name="connsiteX38" fmla="*/ 285465 w 387287"/>
                  <a:gd name="connsiteY38" fmla="*/ 100004 h 243342"/>
                  <a:gd name="connsiteX39" fmla="*/ 278495 w 387287"/>
                  <a:gd name="connsiteY39" fmla="*/ 95458 h 243342"/>
                  <a:gd name="connsiteX40" fmla="*/ 275010 w 387287"/>
                  <a:gd name="connsiteY40" fmla="*/ 92731 h 243342"/>
                  <a:gd name="connsiteX41" fmla="*/ 273798 w 387287"/>
                  <a:gd name="connsiteY41" fmla="*/ 91670 h 243342"/>
                  <a:gd name="connsiteX42" fmla="*/ 272586 w 387287"/>
                  <a:gd name="connsiteY42" fmla="*/ 89700 h 243342"/>
                  <a:gd name="connsiteX43" fmla="*/ 270768 w 387287"/>
                  <a:gd name="connsiteY43" fmla="*/ 80154 h 243342"/>
                  <a:gd name="connsiteX44" fmla="*/ 268647 w 387287"/>
                  <a:gd name="connsiteY44" fmla="*/ 75760 h 243342"/>
                  <a:gd name="connsiteX45" fmla="*/ 265616 w 387287"/>
                  <a:gd name="connsiteY45" fmla="*/ 73336 h 243342"/>
                  <a:gd name="connsiteX46" fmla="*/ 263040 w 387287"/>
                  <a:gd name="connsiteY46" fmla="*/ 68790 h 243342"/>
                  <a:gd name="connsiteX47" fmla="*/ 260919 w 387287"/>
                  <a:gd name="connsiteY47" fmla="*/ 61972 h 243342"/>
                  <a:gd name="connsiteX48" fmla="*/ 259101 w 387287"/>
                  <a:gd name="connsiteY48" fmla="*/ 57578 h 243342"/>
                  <a:gd name="connsiteX49" fmla="*/ 257737 w 387287"/>
                  <a:gd name="connsiteY49" fmla="*/ 55457 h 243342"/>
                  <a:gd name="connsiteX50" fmla="*/ 254858 w 387287"/>
                  <a:gd name="connsiteY50" fmla="*/ 53184 h 243342"/>
                  <a:gd name="connsiteX51" fmla="*/ 250615 w 387287"/>
                  <a:gd name="connsiteY51" fmla="*/ 50759 h 243342"/>
                  <a:gd name="connsiteX52" fmla="*/ 246524 w 387287"/>
                  <a:gd name="connsiteY52" fmla="*/ 49547 h 243342"/>
                  <a:gd name="connsiteX53" fmla="*/ 245009 w 387287"/>
                  <a:gd name="connsiteY53" fmla="*/ 49547 h 243342"/>
                  <a:gd name="connsiteX54" fmla="*/ 244251 w 387287"/>
                  <a:gd name="connsiteY54" fmla="*/ 49850 h 243342"/>
                  <a:gd name="connsiteX55" fmla="*/ 243494 w 387287"/>
                  <a:gd name="connsiteY55" fmla="*/ 50305 h 243342"/>
                  <a:gd name="connsiteX56" fmla="*/ 241827 w 387287"/>
                  <a:gd name="connsiteY56" fmla="*/ 52123 h 243342"/>
                  <a:gd name="connsiteX57" fmla="*/ 239403 w 387287"/>
                  <a:gd name="connsiteY57" fmla="*/ 52275 h 243342"/>
                  <a:gd name="connsiteX58" fmla="*/ 237736 w 387287"/>
                  <a:gd name="connsiteY58" fmla="*/ 52275 h 243342"/>
                  <a:gd name="connsiteX59" fmla="*/ 236069 w 387287"/>
                  <a:gd name="connsiteY59" fmla="*/ 51669 h 243342"/>
                  <a:gd name="connsiteX60" fmla="*/ 230918 w 387287"/>
                  <a:gd name="connsiteY60" fmla="*/ 51063 h 243342"/>
                  <a:gd name="connsiteX61" fmla="*/ 229099 w 387287"/>
                  <a:gd name="connsiteY61" fmla="*/ 50456 h 243342"/>
                  <a:gd name="connsiteX62" fmla="*/ 226069 w 387287"/>
                  <a:gd name="connsiteY62" fmla="*/ 50608 h 243342"/>
                  <a:gd name="connsiteX63" fmla="*/ 219402 w 387287"/>
                  <a:gd name="connsiteY63" fmla="*/ 51517 h 243342"/>
                  <a:gd name="connsiteX64" fmla="*/ 217735 w 387287"/>
                  <a:gd name="connsiteY64" fmla="*/ 51366 h 243342"/>
                  <a:gd name="connsiteX65" fmla="*/ 210765 w 387287"/>
                  <a:gd name="connsiteY65" fmla="*/ 47274 h 243342"/>
                  <a:gd name="connsiteX66" fmla="*/ 207735 w 387287"/>
                  <a:gd name="connsiteY66" fmla="*/ 45608 h 243342"/>
                  <a:gd name="connsiteX67" fmla="*/ 207129 w 387287"/>
                  <a:gd name="connsiteY67" fmla="*/ 44699 h 243342"/>
                  <a:gd name="connsiteX68" fmla="*/ 207129 w 387287"/>
                  <a:gd name="connsiteY68" fmla="*/ 43032 h 243342"/>
                  <a:gd name="connsiteX69" fmla="*/ 208189 w 387287"/>
                  <a:gd name="connsiteY69" fmla="*/ 40759 h 243342"/>
                  <a:gd name="connsiteX70" fmla="*/ 209098 w 387287"/>
                  <a:gd name="connsiteY70" fmla="*/ 39092 h 243342"/>
                  <a:gd name="connsiteX71" fmla="*/ 208644 w 387287"/>
                  <a:gd name="connsiteY71" fmla="*/ 37426 h 243342"/>
                  <a:gd name="connsiteX72" fmla="*/ 207280 w 387287"/>
                  <a:gd name="connsiteY72" fmla="*/ 35607 h 243342"/>
                  <a:gd name="connsiteX73" fmla="*/ 207280 w 387287"/>
                  <a:gd name="connsiteY73" fmla="*/ 33638 h 243342"/>
                  <a:gd name="connsiteX74" fmla="*/ 208189 w 387287"/>
                  <a:gd name="connsiteY74" fmla="*/ 32577 h 243342"/>
                  <a:gd name="connsiteX75" fmla="*/ 210008 w 387287"/>
                  <a:gd name="connsiteY75" fmla="*/ 32880 h 243342"/>
                  <a:gd name="connsiteX76" fmla="*/ 210614 w 387287"/>
                  <a:gd name="connsiteY76" fmla="*/ 32274 h 243342"/>
                  <a:gd name="connsiteX77" fmla="*/ 210311 w 387287"/>
                  <a:gd name="connsiteY77" fmla="*/ 31213 h 243342"/>
                  <a:gd name="connsiteX78" fmla="*/ 209250 w 387287"/>
                  <a:gd name="connsiteY78" fmla="*/ 30456 h 243342"/>
                  <a:gd name="connsiteX79" fmla="*/ 207887 w 387287"/>
                  <a:gd name="connsiteY79" fmla="*/ 28789 h 243342"/>
                  <a:gd name="connsiteX80" fmla="*/ 203947 w 387287"/>
                  <a:gd name="connsiteY80" fmla="*/ 27274 h 243342"/>
                  <a:gd name="connsiteX81" fmla="*/ 203341 w 387287"/>
                  <a:gd name="connsiteY81" fmla="*/ 26668 h 243342"/>
                  <a:gd name="connsiteX82" fmla="*/ 203492 w 387287"/>
                  <a:gd name="connsiteY82" fmla="*/ 25910 h 243342"/>
                  <a:gd name="connsiteX83" fmla="*/ 204099 w 387287"/>
                  <a:gd name="connsiteY83" fmla="*/ 25152 h 243342"/>
                  <a:gd name="connsiteX84" fmla="*/ 204250 w 387287"/>
                  <a:gd name="connsiteY84" fmla="*/ 23486 h 243342"/>
                  <a:gd name="connsiteX85" fmla="*/ 204250 w 387287"/>
                  <a:gd name="connsiteY85" fmla="*/ 21364 h 243342"/>
                  <a:gd name="connsiteX86" fmla="*/ 204705 w 387287"/>
                  <a:gd name="connsiteY86" fmla="*/ 20304 h 243342"/>
                  <a:gd name="connsiteX87" fmla="*/ 204856 w 387287"/>
                  <a:gd name="connsiteY87" fmla="*/ 19395 h 243342"/>
                  <a:gd name="connsiteX88" fmla="*/ 204250 w 387287"/>
                  <a:gd name="connsiteY88" fmla="*/ 18637 h 243342"/>
                  <a:gd name="connsiteX89" fmla="*/ 202886 w 387287"/>
                  <a:gd name="connsiteY89" fmla="*/ 17879 h 243342"/>
                  <a:gd name="connsiteX90" fmla="*/ 200765 w 387287"/>
                  <a:gd name="connsiteY90" fmla="*/ 15910 h 243342"/>
                  <a:gd name="connsiteX91" fmla="*/ 198189 w 387287"/>
                  <a:gd name="connsiteY91" fmla="*/ 15758 h 243342"/>
                  <a:gd name="connsiteX92" fmla="*/ 189704 w 387287"/>
                  <a:gd name="connsiteY92" fmla="*/ 15758 h 243342"/>
                  <a:gd name="connsiteX93" fmla="*/ 187128 w 387287"/>
                  <a:gd name="connsiteY93" fmla="*/ 15001 h 243342"/>
                  <a:gd name="connsiteX94" fmla="*/ 185007 w 387287"/>
                  <a:gd name="connsiteY94" fmla="*/ 13940 h 243342"/>
                  <a:gd name="connsiteX95" fmla="*/ 182886 w 387287"/>
                  <a:gd name="connsiteY95" fmla="*/ 9849 h 243342"/>
                  <a:gd name="connsiteX96" fmla="*/ 181825 w 387287"/>
                  <a:gd name="connsiteY96" fmla="*/ 8940 h 243342"/>
                  <a:gd name="connsiteX97" fmla="*/ 180764 w 387287"/>
                  <a:gd name="connsiteY97" fmla="*/ 8485 h 243342"/>
                  <a:gd name="connsiteX98" fmla="*/ 178340 w 387287"/>
                  <a:gd name="connsiteY98" fmla="*/ 8334 h 243342"/>
                  <a:gd name="connsiteX99" fmla="*/ 175461 w 387287"/>
                  <a:gd name="connsiteY99" fmla="*/ 7879 h 243342"/>
                  <a:gd name="connsiteX100" fmla="*/ 173946 w 387287"/>
                  <a:gd name="connsiteY100" fmla="*/ 7121 h 243342"/>
                  <a:gd name="connsiteX101" fmla="*/ 169855 w 387287"/>
                  <a:gd name="connsiteY101" fmla="*/ 3333 h 243342"/>
                  <a:gd name="connsiteX102" fmla="*/ 166067 w 387287"/>
                  <a:gd name="connsiteY102" fmla="*/ 0 h 243342"/>
                  <a:gd name="connsiteX103" fmla="*/ 164551 w 387287"/>
                  <a:gd name="connsiteY103" fmla="*/ 3182 h 243342"/>
                  <a:gd name="connsiteX104" fmla="*/ 163037 w 387287"/>
                  <a:gd name="connsiteY104" fmla="*/ 3788 h 243342"/>
                  <a:gd name="connsiteX105" fmla="*/ 159703 w 387287"/>
                  <a:gd name="connsiteY105" fmla="*/ 3485 h 243342"/>
                  <a:gd name="connsiteX106" fmla="*/ 157127 w 387287"/>
                  <a:gd name="connsiteY106" fmla="*/ 2879 h 243342"/>
                  <a:gd name="connsiteX107" fmla="*/ 155612 w 387287"/>
                  <a:gd name="connsiteY107" fmla="*/ 3636 h 243342"/>
                  <a:gd name="connsiteX108" fmla="*/ 154097 w 387287"/>
                  <a:gd name="connsiteY108" fmla="*/ 4849 h 243342"/>
                  <a:gd name="connsiteX109" fmla="*/ 154400 w 387287"/>
                  <a:gd name="connsiteY109" fmla="*/ 5606 h 243342"/>
                  <a:gd name="connsiteX110" fmla="*/ 155612 w 387287"/>
                  <a:gd name="connsiteY110" fmla="*/ 6515 h 243342"/>
                  <a:gd name="connsiteX111" fmla="*/ 157885 w 387287"/>
                  <a:gd name="connsiteY111" fmla="*/ 8182 h 243342"/>
                  <a:gd name="connsiteX112" fmla="*/ 161370 w 387287"/>
                  <a:gd name="connsiteY112" fmla="*/ 12122 h 243342"/>
                  <a:gd name="connsiteX113" fmla="*/ 163037 w 387287"/>
                  <a:gd name="connsiteY113" fmla="*/ 14243 h 243342"/>
                  <a:gd name="connsiteX114" fmla="*/ 163339 w 387287"/>
                  <a:gd name="connsiteY114" fmla="*/ 15001 h 243342"/>
                  <a:gd name="connsiteX115" fmla="*/ 163037 w 387287"/>
                  <a:gd name="connsiteY115" fmla="*/ 15607 h 243342"/>
                  <a:gd name="connsiteX116" fmla="*/ 162582 w 387287"/>
                  <a:gd name="connsiteY116" fmla="*/ 15910 h 243342"/>
                  <a:gd name="connsiteX117" fmla="*/ 161824 w 387287"/>
                  <a:gd name="connsiteY117" fmla="*/ 15910 h 243342"/>
                  <a:gd name="connsiteX118" fmla="*/ 160915 w 387287"/>
                  <a:gd name="connsiteY118" fmla="*/ 15910 h 243342"/>
                  <a:gd name="connsiteX119" fmla="*/ 160309 w 387287"/>
                  <a:gd name="connsiteY119" fmla="*/ 15304 h 243342"/>
                  <a:gd name="connsiteX120" fmla="*/ 160158 w 387287"/>
                  <a:gd name="connsiteY120" fmla="*/ 14243 h 243342"/>
                  <a:gd name="connsiteX121" fmla="*/ 158945 w 387287"/>
                  <a:gd name="connsiteY121" fmla="*/ 12576 h 243342"/>
                  <a:gd name="connsiteX122" fmla="*/ 158794 w 387287"/>
                  <a:gd name="connsiteY122" fmla="*/ 11970 h 243342"/>
                  <a:gd name="connsiteX123" fmla="*/ 157430 w 387287"/>
                  <a:gd name="connsiteY123" fmla="*/ 11364 h 243342"/>
                  <a:gd name="connsiteX124" fmla="*/ 155612 w 387287"/>
                  <a:gd name="connsiteY124" fmla="*/ 10910 h 243342"/>
                  <a:gd name="connsiteX125" fmla="*/ 153187 w 387287"/>
                  <a:gd name="connsiteY125" fmla="*/ 10152 h 243342"/>
                  <a:gd name="connsiteX126" fmla="*/ 151975 w 387287"/>
                  <a:gd name="connsiteY126" fmla="*/ 10152 h 243342"/>
                  <a:gd name="connsiteX127" fmla="*/ 150763 w 387287"/>
                  <a:gd name="connsiteY127" fmla="*/ 11061 h 243342"/>
                  <a:gd name="connsiteX128" fmla="*/ 149703 w 387287"/>
                  <a:gd name="connsiteY128" fmla="*/ 12273 h 243342"/>
                  <a:gd name="connsiteX129" fmla="*/ 149096 w 387287"/>
                  <a:gd name="connsiteY129" fmla="*/ 15001 h 243342"/>
                  <a:gd name="connsiteX130" fmla="*/ 147278 w 387287"/>
                  <a:gd name="connsiteY130" fmla="*/ 18486 h 243342"/>
                  <a:gd name="connsiteX131" fmla="*/ 146066 w 387287"/>
                  <a:gd name="connsiteY131" fmla="*/ 19849 h 243342"/>
                  <a:gd name="connsiteX132" fmla="*/ 142581 w 387287"/>
                  <a:gd name="connsiteY132" fmla="*/ 20607 h 243342"/>
                  <a:gd name="connsiteX133" fmla="*/ 140763 w 387287"/>
                  <a:gd name="connsiteY133" fmla="*/ 20607 h 243342"/>
                  <a:gd name="connsiteX134" fmla="*/ 141066 w 387287"/>
                  <a:gd name="connsiteY134" fmla="*/ 21061 h 243342"/>
                  <a:gd name="connsiteX135" fmla="*/ 140611 w 387287"/>
                  <a:gd name="connsiteY135" fmla="*/ 22577 h 243342"/>
                  <a:gd name="connsiteX136" fmla="*/ 141066 w 387287"/>
                  <a:gd name="connsiteY136" fmla="*/ 23940 h 243342"/>
                  <a:gd name="connsiteX137" fmla="*/ 142429 w 387287"/>
                  <a:gd name="connsiteY137" fmla="*/ 25759 h 243342"/>
                  <a:gd name="connsiteX138" fmla="*/ 142884 w 387287"/>
                  <a:gd name="connsiteY138" fmla="*/ 28941 h 243342"/>
                  <a:gd name="connsiteX139" fmla="*/ 146824 w 387287"/>
                  <a:gd name="connsiteY139" fmla="*/ 31365 h 243342"/>
                  <a:gd name="connsiteX140" fmla="*/ 147430 w 387287"/>
                  <a:gd name="connsiteY140" fmla="*/ 33486 h 243342"/>
                  <a:gd name="connsiteX141" fmla="*/ 146066 w 387287"/>
                  <a:gd name="connsiteY141" fmla="*/ 35910 h 243342"/>
                  <a:gd name="connsiteX142" fmla="*/ 142429 w 387287"/>
                  <a:gd name="connsiteY142" fmla="*/ 38032 h 243342"/>
                  <a:gd name="connsiteX143" fmla="*/ 138035 w 387287"/>
                  <a:gd name="connsiteY143" fmla="*/ 39395 h 243342"/>
                  <a:gd name="connsiteX144" fmla="*/ 135308 w 387287"/>
                  <a:gd name="connsiteY144" fmla="*/ 39850 h 243342"/>
                  <a:gd name="connsiteX145" fmla="*/ 133035 w 387287"/>
                  <a:gd name="connsiteY145" fmla="*/ 40001 h 243342"/>
                  <a:gd name="connsiteX146" fmla="*/ 130308 w 387287"/>
                  <a:gd name="connsiteY146" fmla="*/ 37426 h 243342"/>
                  <a:gd name="connsiteX147" fmla="*/ 128338 w 387287"/>
                  <a:gd name="connsiteY147" fmla="*/ 34698 h 243342"/>
                  <a:gd name="connsiteX148" fmla="*/ 126671 w 387287"/>
                  <a:gd name="connsiteY148" fmla="*/ 34850 h 243342"/>
                  <a:gd name="connsiteX149" fmla="*/ 125156 w 387287"/>
                  <a:gd name="connsiteY149" fmla="*/ 35001 h 243342"/>
                  <a:gd name="connsiteX150" fmla="*/ 124853 w 387287"/>
                  <a:gd name="connsiteY150" fmla="*/ 33486 h 243342"/>
                  <a:gd name="connsiteX151" fmla="*/ 125762 w 387287"/>
                  <a:gd name="connsiteY151" fmla="*/ 27880 h 243342"/>
                  <a:gd name="connsiteX152" fmla="*/ 124247 w 387287"/>
                  <a:gd name="connsiteY152" fmla="*/ 28789 h 243342"/>
                  <a:gd name="connsiteX153" fmla="*/ 122277 w 387287"/>
                  <a:gd name="connsiteY153" fmla="*/ 30759 h 243342"/>
                  <a:gd name="connsiteX154" fmla="*/ 122883 w 387287"/>
                  <a:gd name="connsiteY154" fmla="*/ 36820 h 243342"/>
                  <a:gd name="connsiteX155" fmla="*/ 123793 w 387287"/>
                  <a:gd name="connsiteY155" fmla="*/ 43941 h 243342"/>
                  <a:gd name="connsiteX156" fmla="*/ 125459 w 387287"/>
                  <a:gd name="connsiteY156" fmla="*/ 45911 h 243342"/>
                  <a:gd name="connsiteX157" fmla="*/ 126520 w 387287"/>
                  <a:gd name="connsiteY157" fmla="*/ 46517 h 243342"/>
                  <a:gd name="connsiteX158" fmla="*/ 126671 w 387287"/>
                  <a:gd name="connsiteY158" fmla="*/ 47274 h 243342"/>
                  <a:gd name="connsiteX159" fmla="*/ 126065 w 387287"/>
                  <a:gd name="connsiteY159" fmla="*/ 47881 h 243342"/>
                  <a:gd name="connsiteX160" fmla="*/ 125156 w 387287"/>
                  <a:gd name="connsiteY160" fmla="*/ 48638 h 243342"/>
                  <a:gd name="connsiteX161" fmla="*/ 123944 w 387287"/>
                  <a:gd name="connsiteY161" fmla="*/ 50002 h 243342"/>
                  <a:gd name="connsiteX162" fmla="*/ 122580 w 387287"/>
                  <a:gd name="connsiteY162" fmla="*/ 50002 h 243342"/>
                  <a:gd name="connsiteX163" fmla="*/ 119701 w 387287"/>
                  <a:gd name="connsiteY163" fmla="*/ 49699 h 243342"/>
                  <a:gd name="connsiteX164" fmla="*/ 117277 w 387287"/>
                  <a:gd name="connsiteY164" fmla="*/ 49244 h 243342"/>
                  <a:gd name="connsiteX165" fmla="*/ 109246 w 387287"/>
                  <a:gd name="connsiteY165" fmla="*/ 48790 h 243342"/>
                  <a:gd name="connsiteX166" fmla="*/ 102731 w 387287"/>
                  <a:gd name="connsiteY166" fmla="*/ 48487 h 243342"/>
                  <a:gd name="connsiteX167" fmla="*/ 95458 w 387287"/>
                  <a:gd name="connsiteY167" fmla="*/ 48184 h 243342"/>
                  <a:gd name="connsiteX168" fmla="*/ 94246 w 387287"/>
                  <a:gd name="connsiteY168" fmla="*/ 48184 h 243342"/>
                  <a:gd name="connsiteX169" fmla="*/ 91670 w 387287"/>
                  <a:gd name="connsiteY169" fmla="*/ 48638 h 243342"/>
                  <a:gd name="connsiteX170" fmla="*/ 87276 w 387287"/>
                  <a:gd name="connsiteY170" fmla="*/ 49699 h 243342"/>
                  <a:gd name="connsiteX171" fmla="*/ 83639 w 387287"/>
                  <a:gd name="connsiteY171" fmla="*/ 50153 h 243342"/>
                  <a:gd name="connsiteX172" fmla="*/ 81973 w 387287"/>
                  <a:gd name="connsiteY172" fmla="*/ 49850 h 243342"/>
                  <a:gd name="connsiteX173" fmla="*/ 80457 w 387287"/>
                  <a:gd name="connsiteY173" fmla="*/ 49093 h 243342"/>
                  <a:gd name="connsiteX174" fmla="*/ 79246 w 387287"/>
                  <a:gd name="connsiteY174" fmla="*/ 47426 h 243342"/>
                  <a:gd name="connsiteX175" fmla="*/ 77427 w 387287"/>
                  <a:gd name="connsiteY175" fmla="*/ 45456 h 243342"/>
                  <a:gd name="connsiteX176" fmla="*/ 75458 w 387287"/>
                  <a:gd name="connsiteY176" fmla="*/ 43789 h 243342"/>
                  <a:gd name="connsiteX177" fmla="*/ 73033 w 387287"/>
                  <a:gd name="connsiteY177" fmla="*/ 40456 h 243342"/>
                  <a:gd name="connsiteX178" fmla="*/ 71366 w 387287"/>
                  <a:gd name="connsiteY178" fmla="*/ 37880 h 243342"/>
                  <a:gd name="connsiteX179" fmla="*/ 67275 w 387287"/>
                  <a:gd name="connsiteY179" fmla="*/ 32274 h 243342"/>
                  <a:gd name="connsiteX180" fmla="*/ 66669 w 387287"/>
                  <a:gd name="connsiteY180" fmla="*/ 30456 h 243342"/>
                  <a:gd name="connsiteX181" fmla="*/ 65912 w 387287"/>
                  <a:gd name="connsiteY181" fmla="*/ 28637 h 243342"/>
                  <a:gd name="connsiteX182" fmla="*/ 64548 w 387287"/>
                  <a:gd name="connsiteY182" fmla="*/ 27122 h 243342"/>
                  <a:gd name="connsiteX183" fmla="*/ 59699 w 387287"/>
                  <a:gd name="connsiteY183" fmla="*/ 23486 h 243342"/>
                  <a:gd name="connsiteX184" fmla="*/ 54093 w 387287"/>
                  <a:gd name="connsiteY184" fmla="*/ 20152 h 243342"/>
                  <a:gd name="connsiteX185" fmla="*/ 48638 w 387287"/>
                  <a:gd name="connsiteY185" fmla="*/ 16819 h 243342"/>
                  <a:gd name="connsiteX186" fmla="*/ 47123 w 387287"/>
                  <a:gd name="connsiteY186" fmla="*/ 16061 h 243342"/>
                  <a:gd name="connsiteX187" fmla="*/ 44547 w 387287"/>
                  <a:gd name="connsiteY187" fmla="*/ 15001 h 243342"/>
                  <a:gd name="connsiteX188" fmla="*/ 41365 w 387287"/>
                  <a:gd name="connsiteY188" fmla="*/ 15001 h 243342"/>
                  <a:gd name="connsiteX189" fmla="*/ 39244 w 387287"/>
                  <a:gd name="connsiteY189" fmla="*/ 15152 h 243342"/>
                  <a:gd name="connsiteX190" fmla="*/ 32577 w 387287"/>
                  <a:gd name="connsiteY190" fmla="*/ 16213 h 243342"/>
                  <a:gd name="connsiteX191" fmla="*/ 27577 w 387287"/>
                  <a:gd name="connsiteY191" fmla="*/ 17425 h 243342"/>
                  <a:gd name="connsiteX192" fmla="*/ 20758 w 387287"/>
                  <a:gd name="connsiteY192" fmla="*/ 19092 h 243342"/>
                  <a:gd name="connsiteX193" fmla="*/ 15455 w 387287"/>
                  <a:gd name="connsiteY193" fmla="*/ 21061 h 243342"/>
                  <a:gd name="connsiteX194" fmla="*/ 14243 w 387287"/>
                  <a:gd name="connsiteY194" fmla="*/ 21667 h 243342"/>
                  <a:gd name="connsiteX195" fmla="*/ 10303 w 387287"/>
                  <a:gd name="connsiteY195" fmla="*/ 23940 h 243342"/>
                  <a:gd name="connsiteX196" fmla="*/ 5606 w 387287"/>
                  <a:gd name="connsiteY196" fmla="*/ 27728 h 243342"/>
                  <a:gd name="connsiteX197" fmla="*/ 0 w 387287"/>
                  <a:gd name="connsiteY197" fmla="*/ 33032 h 243342"/>
                  <a:gd name="connsiteX198" fmla="*/ 3182 w 387287"/>
                  <a:gd name="connsiteY198" fmla="*/ 41214 h 243342"/>
                  <a:gd name="connsiteX199" fmla="*/ 6970 w 387287"/>
                  <a:gd name="connsiteY199" fmla="*/ 46517 h 243342"/>
                  <a:gd name="connsiteX200" fmla="*/ 9091 w 387287"/>
                  <a:gd name="connsiteY200" fmla="*/ 50911 h 243342"/>
                  <a:gd name="connsiteX201" fmla="*/ 9697 w 387287"/>
                  <a:gd name="connsiteY201" fmla="*/ 51972 h 243342"/>
                  <a:gd name="connsiteX202" fmla="*/ 10000 w 387287"/>
                  <a:gd name="connsiteY202" fmla="*/ 51669 h 243342"/>
                  <a:gd name="connsiteX203" fmla="*/ 9091 w 387287"/>
                  <a:gd name="connsiteY203" fmla="*/ 47426 h 243342"/>
                  <a:gd name="connsiteX204" fmla="*/ 10455 w 387287"/>
                  <a:gd name="connsiteY204" fmla="*/ 38638 h 243342"/>
                  <a:gd name="connsiteX205" fmla="*/ 10455 w 387287"/>
                  <a:gd name="connsiteY205" fmla="*/ 37426 h 243342"/>
                  <a:gd name="connsiteX206" fmla="*/ 8637 w 387287"/>
                  <a:gd name="connsiteY206" fmla="*/ 35456 h 243342"/>
                  <a:gd name="connsiteX207" fmla="*/ 11061 w 387287"/>
                  <a:gd name="connsiteY207" fmla="*/ 29395 h 243342"/>
                  <a:gd name="connsiteX208" fmla="*/ 12879 w 387287"/>
                  <a:gd name="connsiteY208" fmla="*/ 26819 h 243342"/>
                  <a:gd name="connsiteX209" fmla="*/ 16667 w 387287"/>
                  <a:gd name="connsiteY209" fmla="*/ 23789 h 243342"/>
                  <a:gd name="connsiteX210" fmla="*/ 18183 w 387287"/>
                  <a:gd name="connsiteY210" fmla="*/ 23031 h 243342"/>
                  <a:gd name="connsiteX211" fmla="*/ 21516 w 387287"/>
                  <a:gd name="connsiteY211" fmla="*/ 23486 h 243342"/>
                  <a:gd name="connsiteX212" fmla="*/ 27274 w 387287"/>
                  <a:gd name="connsiteY212" fmla="*/ 22274 h 243342"/>
                  <a:gd name="connsiteX213" fmla="*/ 30759 w 387287"/>
                  <a:gd name="connsiteY213" fmla="*/ 21667 h 243342"/>
                  <a:gd name="connsiteX214" fmla="*/ 34244 w 387287"/>
                  <a:gd name="connsiteY214" fmla="*/ 21971 h 243342"/>
                  <a:gd name="connsiteX215" fmla="*/ 35607 w 387287"/>
                  <a:gd name="connsiteY215" fmla="*/ 22425 h 243342"/>
                  <a:gd name="connsiteX216" fmla="*/ 36819 w 387287"/>
                  <a:gd name="connsiteY216" fmla="*/ 23334 h 243342"/>
                  <a:gd name="connsiteX217" fmla="*/ 39698 w 387287"/>
                  <a:gd name="connsiteY217" fmla="*/ 30607 h 243342"/>
                  <a:gd name="connsiteX218" fmla="*/ 40759 w 387287"/>
                  <a:gd name="connsiteY218" fmla="*/ 33789 h 243342"/>
                  <a:gd name="connsiteX219" fmla="*/ 41971 w 387287"/>
                  <a:gd name="connsiteY219" fmla="*/ 38032 h 243342"/>
                  <a:gd name="connsiteX220" fmla="*/ 43486 w 387287"/>
                  <a:gd name="connsiteY220" fmla="*/ 42123 h 243342"/>
                  <a:gd name="connsiteX221" fmla="*/ 45911 w 387287"/>
                  <a:gd name="connsiteY221" fmla="*/ 45002 h 243342"/>
                  <a:gd name="connsiteX222" fmla="*/ 48790 w 387287"/>
                  <a:gd name="connsiteY222" fmla="*/ 47274 h 243342"/>
                  <a:gd name="connsiteX223" fmla="*/ 57275 w 387287"/>
                  <a:gd name="connsiteY223" fmla="*/ 52881 h 243342"/>
                  <a:gd name="connsiteX224" fmla="*/ 59396 w 387287"/>
                  <a:gd name="connsiteY224" fmla="*/ 55154 h 243342"/>
                  <a:gd name="connsiteX225" fmla="*/ 60305 w 387287"/>
                  <a:gd name="connsiteY225" fmla="*/ 56820 h 243342"/>
                  <a:gd name="connsiteX226" fmla="*/ 60760 w 387287"/>
                  <a:gd name="connsiteY226" fmla="*/ 58639 h 243342"/>
                  <a:gd name="connsiteX227" fmla="*/ 60911 w 387287"/>
                  <a:gd name="connsiteY227" fmla="*/ 60608 h 243342"/>
                  <a:gd name="connsiteX228" fmla="*/ 60608 w 387287"/>
                  <a:gd name="connsiteY228" fmla="*/ 62578 h 243342"/>
                  <a:gd name="connsiteX229" fmla="*/ 59851 w 387287"/>
                  <a:gd name="connsiteY229" fmla="*/ 63184 h 243342"/>
                  <a:gd name="connsiteX230" fmla="*/ 59093 w 387287"/>
                  <a:gd name="connsiteY230" fmla="*/ 63639 h 243342"/>
                  <a:gd name="connsiteX231" fmla="*/ 56063 w 387287"/>
                  <a:gd name="connsiteY231" fmla="*/ 64548 h 243342"/>
                  <a:gd name="connsiteX232" fmla="*/ 51365 w 387287"/>
                  <a:gd name="connsiteY232" fmla="*/ 63336 h 243342"/>
                  <a:gd name="connsiteX233" fmla="*/ 49850 w 387287"/>
                  <a:gd name="connsiteY233" fmla="*/ 64548 h 243342"/>
                  <a:gd name="connsiteX234" fmla="*/ 50305 w 387287"/>
                  <a:gd name="connsiteY234" fmla="*/ 66821 h 243342"/>
                  <a:gd name="connsiteX235" fmla="*/ 51365 w 387287"/>
                  <a:gd name="connsiteY235" fmla="*/ 69093 h 243342"/>
                  <a:gd name="connsiteX236" fmla="*/ 50002 w 387287"/>
                  <a:gd name="connsiteY236" fmla="*/ 69245 h 243342"/>
                  <a:gd name="connsiteX237" fmla="*/ 48790 w 387287"/>
                  <a:gd name="connsiteY237" fmla="*/ 69093 h 243342"/>
                  <a:gd name="connsiteX238" fmla="*/ 46365 w 387287"/>
                  <a:gd name="connsiteY238" fmla="*/ 68184 h 243342"/>
                  <a:gd name="connsiteX239" fmla="*/ 43486 w 387287"/>
                  <a:gd name="connsiteY239" fmla="*/ 68639 h 243342"/>
                  <a:gd name="connsiteX240" fmla="*/ 37426 w 387287"/>
                  <a:gd name="connsiteY240" fmla="*/ 70457 h 243342"/>
                  <a:gd name="connsiteX241" fmla="*/ 34547 w 387287"/>
                  <a:gd name="connsiteY241" fmla="*/ 69851 h 243342"/>
                  <a:gd name="connsiteX242" fmla="*/ 32577 w 387287"/>
                  <a:gd name="connsiteY242" fmla="*/ 67275 h 243342"/>
                  <a:gd name="connsiteX243" fmla="*/ 30456 w 387287"/>
                  <a:gd name="connsiteY243" fmla="*/ 65002 h 243342"/>
                  <a:gd name="connsiteX244" fmla="*/ 27880 w 387287"/>
                  <a:gd name="connsiteY244" fmla="*/ 64548 h 243342"/>
                  <a:gd name="connsiteX245" fmla="*/ 25304 w 387287"/>
                  <a:gd name="connsiteY245" fmla="*/ 65760 h 243342"/>
                  <a:gd name="connsiteX246" fmla="*/ 22880 w 387287"/>
                  <a:gd name="connsiteY246" fmla="*/ 66063 h 243342"/>
                  <a:gd name="connsiteX247" fmla="*/ 19092 w 387287"/>
                  <a:gd name="connsiteY247" fmla="*/ 65154 h 243342"/>
                  <a:gd name="connsiteX248" fmla="*/ 17879 w 387287"/>
                  <a:gd name="connsiteY248" fmla="*/ 64699 h 243342"/>
                  <a:gd name="connsiteX249" fmla="*/ 15607 w 387287"/>
                  <a:gd name="connsiteY249" fmla="*/ 62578 h 243342"/>
                  <a:gd name="connsiteX250" fmla="*/ 13940 w 387287"/>
                  <a:gd name="connsiteY250" fmla="*/ 60305 h 243342"/>
                  <a:gd name="connsiteX251" fmla="*/ 12425 w 387287"/>
                  <a:gd name="connsiteY251" fmla="*/ 57729 h 243342"/>
                  <a:gd name="connsiteX252" fmla="*/ 10910 w 387287"/>
                  <a:gd name="connsiteY252" fmla="*/ 63336 h 243342"/>
                  <a:gd name="connsiteX253" fmla="*/ 9849 w 387287"/>
                  <a:gd name="connsiteY253" fmla="*/ 69093 h 243342"/>
                  <a:gd name="connsiteX254" fmla="*/ 8031 w 387287"/>
                  <a:gd name="connsiteY254" fmla="*/ 73639 h 243342"/>
                  <a:gd name="connsiteX255" fmla="*/ 6667 w 387287"/>
                  <a:gd name="connsiteY255" fmla="*/ 78488 h 243342"/>
                  <a:gd name="connsiteX256" fmla="*/ 6970 w 387287"/>
                  <a:gd name="connsiteY256" fmla="*/ 84246 h 243342"/>
                  <a:gd name="connsiteX257" fmla="*/ 8637 w 387287"/>
                  <a:gd name="connsiteY257" fmla="*/ 89549 h 243342"/>
                  <a:gd name="connsiteX258" fmla="*/ 11212 w 387287"/>
                  <a:gd name="connsiteY258" fmla="*/ 94094 h 243342"/>
                  <a:gd name="connsiteX259" fmla="*/ 13031 w 387287"/>
                  <a:gd name="connsiteY259" fmla="*/ 96670 h 243342"/>
                  <a:gd name="connsiteX260" fmla="*/ 15000 w 387287"/>
                  <a:gd name="connsiteY260" fmla="*/ 98640 h 243342"/>
                  <a:gd name="connsiteX261" fmla="*/ 12728 w 387287"/>
                  <a:gd name="connsiteY261" fmla="*/ 94701 h 243342"/>
                  <a:gd name="connsiteX262" fmla="*/ 13637 w 387287"/>
                  <a:gd name="connsiteY262" fmla="*/ 91670 h 243342"/>
                  <a:gd name="connsiteX263" fmla="*/ 17728 w 387287"/>
                  <a:gd name="connsiteY263" fmla="*/ 91973 h 243342"/>
                  <a:gd name="connsiteX264" fmla="*/ 21819 w 387287"/>
                  <a:gd name="connsiteY264" fmla="*/ 92579 h 243342"/>
                  <a:gd name="connsiteX265" fmla="*/ 25001 w 387287"/>
                  <a:gd name="connsiteY265" fmla="*/ 92428 h 243342"/>
                  <a:gd name="connsiteX266" fmla="*/ 26364 w 387287"/>
                  <a:gd name="connsiteY266" fmla="*/ 93034 h 243342"/>
                  <a:gd name="connsiteX267" fmla="*/ 27274 w 387287"/>
                  <a:gd name="connsiteY267" fmla="*/ 94094 h 243342"/>
                  <a:gd name="connsiteX268" fmla="*/ 26516 w 387287"/>
                  <a:gd name="connsiteY268" fmla="*/ 96670 h 243342"/>
                  <a:gd name="connsiteX269" fmla="*/ 26364 w 387287"/>
                  <a:gd name="connsiteY269" fmla="*/ 99398 h 243342"/>
                  <a:gd name="connsiteX270" fmla="*/ 26971 w 387287"/>
                  <a:gd name="connsiteY270" fmla="*/ 101973 h 243342"/>
                  <a:gd name="connsiteX271" fmla="*/ 28637 w 387287"/>
                  <a:gd name="connsiteY271" fmla="*/ 102883 h 243342"/>
                  <a:gd name="connsiteX272" fmla="*/ 30001 w 387287"/>
                  <a:gd name="connsiteY272" fmla="*/ 103943 h 243342"/>
                  <a:gd name="connsiteX273" fmla="*/ 30607 w 387287"/>
                  <a:gd name="connsiteY273" fmla="*/ 105913 h 243342"/>
                  <a:gd name="connsiteX274" fmla="*/ 27728 w 387287"/>
                  <a:gd name="connsiteY274" fmla="*/ 106367 h 243342"/>
                  <a:gd name="connsiteX275" fmla="*/ 24849 w 387287"/>
                  <a:gd name="connsiteY275" fmla="*/ 106216 h 243342"/>
                  <a:gd name="connsiteX276" fmla="*/ 22576 w 387287"/>
                  <a:gd name="connsiteY276" fmla="*/ 105610 h 243342"/>
                  <a:gd name="connsiteX277" fmla="*/ 20607 w 387287"/>
                  <a:gd name="connsiteY277" fmla="*/ 103943 h 243342"/>
                  <a:gd name="connsiteX278" fmla="*/ 17576 w 387287"/>
                  <a:gd name="connsiteY278" fmla="*/ 109550 h 243342"/>
                  <a:gd name="connsiteX279" fmla="*/ 17576 w 387287"/>
                  <a:gd name="connsiteY279" fmla="*/ 112277 h 243342"/>
                  <a:gd name="connsiteX280" fmla="*/ 18486 w 387287"/>
                  <a:gd name="connsiteY280" fmla="*/ 114853 h 243342"/>
                  <a:gd name="connsiteX281" fmla="*/ 19698 w 387287"/>
                  <a:gd name="connsiteY281" fmla="*/ 113186 h 243342"/>
                  <a:gd name="connsiteX282" fmla="*/ 21364 w 387287"/>
                  <a:gd name="connsiteY282" fmla="*/ 112428 h 243342"/>
                  <a:gd name="connsiteX283" fmla="*/ 23334 w 387287"/>
                  <a:gd name="connsiteY283" fmla="*/ 112428 h 243342"/>
                  <a:gd name="connsiteX284" fmla="*/ 27122 w 387287"/>
                  <a:gd name="connsiteY284" fmla="*/ 113489 h 243342"/>
                  <a:gd name="connsiteX285" fmla="*/ 28941 w 387287"/>
                  <a:gd name="connsiteY285" fmla="*/ 114550 h 243342"/>
                  <a:gd name="connsiteX286" fmla="*/ 31062 w 387287"/>
                  <a:gd name="connsiteY286" fmla="*/ 116368 h 243342"/>
                  <a:gd name="connsiteX287" fmla="*/ 33486 w 387287"/>
                  <a:gd name="connsiteY287" fmla="*/ 116519 h 243342"/>
                  <a:gd name="connsiteX288" fmla="*/ 33638 w 387287"/>
                  <a:gd name="connsiteY288" fmla="*/ 118338 h 243342"/>
                  <a:gd name="connsiteX289" fmla="*/ 34092 w 387287"/>
                  <a:gd name="connsiteY289" fmla="*/ 120004 h 243342"/>
                  <a:gd name="connsiteX290" fmla="*/ 36517 w 387287"/>
                  <a:gd name="connsiteY290" fmla="*/ 122732 h 243342"/>
                  <a:gd name="connsiteX291" fmla="*/ 38032 w 387287"/>
                  <a:gd name="connsiteY291" fmla="*/ 124853 h 243342"/>
                  <a:gd name="connsiteX292" fmla="*/ 38486 w 387287"/>
                  <a:gd name="connsiteY292" fmla="*/ 127581 h 243342"/>
                  <a:gd name="connsiteX293" fmla="*/ 38183 w 387287"/>
                  <a:gd name="connsiteY293" fmla="*/ 131520 h 243342"/>
                  <a:gd name="connsiteX294" fmla="*/ 37577 w 387287"/>
                  <a:gd name="connsiteY294" fmla="*/ 135308 h 243342"/>
                  <a:gd name="connsiteX295" fmla="*/ 37274 w 387287"/>
                  <a:gd name="connsiteY295" fmla="*/ 138641 h 243342"/>
                  <a:gd name="connsiteX296" fmla="*/ 37577 w 387287"/>
                  <a:gd name="connsiteY296" fmla="*/ 142126 h 243342"/>
                  <a:gd name="connsiteX297" fmla="*/ 37577 w 387287"/>
                  <a:gd name="connsiteY297" fmla="*/ 145914 h 243342"/>
                  <a:gd name="connsiteX298" fmla="*/ 36819 w 387287"/>
                  <a:gd name="connsiteY298" fmla="*/ 153490 h 243342"/>
                  <a:gd name="connsiteX299" fmla="*/ 36819 w 387287"/>
                  <a:gd name="connsiteY299" fmla="*/ 157278 h 243342"/>
                  <a:gd name="connsiteX300" fmla="*/ 37426 w 387287"/>
                  <a:gd name="connsiteY300" fmla="*/ 165461 h 243342"/>
                  <a:gd name="connsiteX301" fmla="*/ 38789 w 387287"/>
                  <a:gd name="connsiteY301" fmla="*/ 173491 h 243342"/>
                  <a:gd name="connsiteX302" fmla="*/ 39244 w 387287"/>
                  <a:gd name="connsiteY302" fmla="*/ 175764 h 243342"/>
                  <a:gd name="connsiteX303" fmla="*/ 46820 w 387287"/>
                  <a:gd name="connsiteY303" fmla="*/ 176067 h 243342"/>
                  <a:gd name="connsiteX304" fmla="*/ 49850 w 387287"/>
                  <a:gd name="connsiteY304" fmla="*/ 175461 h 243342"/>
                  <a:gd name="connsiteX305" fmla="*/ 54244 w 387287"/>
                  <a:gd name="connsiteY305" fmla="*/ 173794 h 243342"/>
                  <a:gd name="connsiteX306" fmla="*/ 57578 w 387287"/>
                  <a:gd name="connsiteY306" fmla="*/ 172734 h 243342"/>
                  <a:gd name="connsiteX307" fmla="*/ 59245 w 387287"/>
                  <a:gd name="connsiteY307" fmla="*/ 172582 h 243342"/>
                  <a:gd name="connsiteX308" fmla="*/ 60911 w 387287"/>
                  <a:gd name="connsiteY308" fmla="*/ 171825 h 243342"/>
                  <a:gd name="connsiteX309" fmla="*/ 62124 w 387287"/>
                  <a:gd name="connsiteY309" fmla="*/ 170764 h 243342"/>
                  <a:gd name="connsiteX310" fmla="*/ 64851 w 387287"/>
                  <a:gd name="connsiteY310" fmla="*/ 163491 h 243342"/>
                  <a:gd name="connsiteX311" fmla="*/ 66215 w 387287"/>
                  <a:gd name="connsiteY311" fmla="*/ 161673 h 243342"/>
                  <a:gd name="connsiteX312" fmla="*/ 71063 w 387287"/>
                  <a:gd name="connsiteY312" fmla="*/ 157733 h 243342"/>
                  <a:gd name="connsiteX313" fmla="*/ 75154 w 387287"/>
                  <a:gd name="connsiteY313" fmla="*/ 155309 h 243342"/>
                  <a:gd name="connsiteX314" fmla="*/ 79397 w 387287"/>
                  <a:gd name="connsiteY314" fmla="*/ 153036 h 243342"/>
                  <a:gd name="connsiteX315" fmla="*/ 84852 w 387287"/>
                  <a:gd name="connsiteY315" fmla="*/ 151521 h 243342"/>
                  <a:gd name="connsiteX316" fmla="*/ 91973 w 387287"/>
                  <a:gd name="connsiteY316" fmla="*/ 151672 h 243342"/>
                  <a:gd name="connsiteX317" fmla="*/ 97731 w 387287"/>
                  <a:gd name="connsiteY317" fmla="*/ 152278 h 243342"/>
                  <a:gd name="connsiteX318" fmla="*/ 101065 w 387287"/>
                  <a:gd name="connsiteY318" fmla="*/ 152278 h 243342"/>
                  <a:gd name="connsiteX319" fmla="*/ 102579 w 387287"/>
                  <a:gd name="connsiteY319" fmla="*/ 152430 h 243342"/>
                  <a:gd name="connsiteX320" fmla="*/ 103792 w 387287"/>
                  <a:gd name="connsiteY320" fmla="*/ 152278 h 243342"/>
                  <a:gd name="connsiteX321" fmla="*/ 104549 w 387287"/>
                  <a:gd name="connsiteY321" fmla="*/ 151824 h 243342"/>
                  <a:gd name="connsiteX322" fmla="*/ 105307 w 387287"/>
                  <a:gd name="connsiteY322" fmla="*/ 148793 h 243342"/>
                  <a:gd name="connsiteX323" fmla="*/ 106519 w 387287"/>
                  <a:gd name="connsiteY323" fmla="*/ 147733 h 243342"/>
                  <a:gd name="connsiteX324" fmla="*/ 108489 w 387287"/>
                  <a:gd name="connsiteY324" fmla="*/ 146823 h 243342"/>
                  <a:gd name="connsiteX325" fmla="*/ 111368 w 387287"/>
                  <a:gd name="connsiteY325" fmla="*/ 146823 h 243342"/>
                  <a:gd name="connsiteX326" fmla="*/ 114853 w 387287"/>
                  <a:gd name="connsiteY326" fmla="*/ 146672 h 243342"/>
                  <a:gd name="connsiteX327" fmla="*/ 117731 w 387287"/>
                  <a:gd name="connsiteY327" fmla="*/ 146823 h 243342"/>
                  <a:gd name="connsiteX328" fmla="*/ 121368 w 387287"/>
                  <a:gd name="connsiteY328" fmla="*/ 148036 h 243342"/>
                  <a:gd name="connsiteX329" fmla="*/ 126065 w 387287"/>
                  <a:gd name="connsiteY329" fmla="*/ 148187 h 243342"/>
                  <a:gd name="connsiteX330" fmla="*/ 129247 w 387287"/>
                  <a:gd name="connsiteY330" fmla="*/ 148036 h 243342"/>
                  <a:gd name="connsiteX331" fmla="*/ 131065 w 387287"/>
                  <a:gd name="connsiteY331" fmla="*/ 149248 h 243342"/>
                  <a:gd name="connsiteX332" fmla="*/ 132429 w 387287"/>
                  <a:gd name="connsiteY332" fmla="*/ 150763 h 243342"/>
                  <a:gd name="connsiteX333" fmla="*/ 133035 w 387287"/>
                  <a:gd name="connsiteY333" fmla="*/ 152127 h 243342"/>
                  <a:gd name="connsiteX334" fmla="*/ 133187 w 387287"/>
                  <a:gd name="connsiteY334" fmla="*/ 153945 h 243342"/>
                  <a:gd name="connsiteX335" fmla="*/ 133187 w 387287"/>
                  <a:gd name="connsiteY335" fmla="*/ 155309 h 243342"/>
                  <a:gd name="connsiteX336" fmla="*/ 133641 w 387287"/>
                  <a:gd name="connsiteY336" fmla="*/ 155763 h 243342"/>
                  <a:gd name="connsiteX337" fmla="*/ 135611 w 387287"/>
                  <a:gd name="connsiteY337" fmla="*/ 156521 h 243342"/>
                  <a:gd name="connsiteX338" fmla="*/ 138339 w 387287"/>
                  <a:gd name="connsiteY338" fmla="*/ 157127 h 243342"/>
                  <a:gd name="connsiteX339" fmla="*/ 143490 w 387287"/>
                  <a:gd name="connsiteY339" fmla="*/ 157885 h 243342"/>
                  <a:gd name="connsiteX340" fmla="*/ 148339 w 387287"/>
                  <a:gd name="connsiteY340" fmla="*/ 159248 h 243342"/>
                  <a:gd name="connsiteX341" fmla="*/ 150915 w 387287"/>
                  <a:gd name="connsiteY341" fmla="*/ 160157 h 243342"/>
                  <a:gd name="connsiteX342" fmla="*/ 154400 w 387287"/>
                  <a:gd name="connsiteY342" fmla="*/ 161673 h 243342"/>
                  <a:gd name="connsiteX343" fmla="*/ 158642 w 387287"/>
                  <a:gd name="connsiteY343" fmla="*/ 165309 h 243342"/>
                  <a:gd name="connsiteX344" fmla="*/ 160158 w 387287"/>
                  <a:gd name="connsiteY344" fmla="*/ 165915 h 243342"/>
                  <a:gd name="connsiteX345" fmla="*/ 161976 w 387287"/>
                  <a:gd name="connsiteY345" fmla="*/ 166218 h 243342"/>
                  <a:gd name="connsiteX346" fmla="*/ 163339 w 387287"/>
                  <a:gd name="connsiteY346" fmla="*/ 166067 h 243342"/>
                  <a:gd name="connsiteX347" fmla="*/ 166521 w 387287"/>
                  <a:gd name="connsiteY347" fmla="*/ 164552 h 243342"/>
                  <a:gd name="connsiteX348" fmla="*/ 169249 w 387287"/>
                  <a:gd name="connsiteY348" fmla="*/ 165764 h 243342"/>
                  <a:gd name="connsiteX349" fmla="*/ 170613 w 387287"/>
                  <a:gd name="connsiteY349" fmla="*/ 165612 h 243342"/>
                  <a:gd name="connsiteX350" fmla="*/ 173794 w 387287"/>
                  <a:gd name="connsiteY350" fmla="*/ 164703 h 243342"/>
                  <a:gd name="connsiteX351" fmla="*/ 177128 w 387287"/>
                  <a:gd name="connsiteY351" fmla="*/ 165764 h 243342"/>
                  <a:gd name="connsiteX352" fmla="*/ 185461 w 387287"/>
                  <a:gd name="connsiteY352" fmla="*/ 169855 h 243342"/>
                  <a:gd name="connsiteX353" fmla="*/ 186370 w 387287"/>
                  <a:gd name="connsiteY353" fmla="*/ 169703 h 243342"/>
                  <a:gd name="connsiteX354" fmla="*/ 187128 w 387287"/>
                  <a:gd name="connsiteY354" fmla="*/ 170158 h 243342"/>
                  <a:gd name="connsiteX355" fmla="*/ 187886 w 387287"/>
                  <a:gd name="connsiteY355" fmla="*/ 171067 h 243342"/>
                  <a:gd name="connsiteX356" fmla="*/ 188340 w 387287"/>
                  <a:gd name="connsiteY356" fmla="*/ 172279 h 243342"/>
                  <a:gd name="connsiteX357" fmla="*/ 188946 w 387287"/>
                  <a:gd name="connsiteY357" fmla="*/ 175764 h 243342"/>
                  <a:gd name="connsiteX358" fmla="*/ 191371 w 387287"/>
                  <a:gd name="connsiteY358" fmla="*/ 178340 h 243342"/>
                  <a:gd name="connsiteX359" fmla="*/ 194250 w 387287"/>
                  <a:gd name="connsiteY359" fmla="*/ 180613 h 243342"/>
                  <a:gd name="connsiteX360" fmla="*/ 197734 w 387287"/>
                  <a:gd name="connsiteY360" fmla="*/ 181825 h 243342"/>
                  <a:gd name="connsiteX361" fmla="*/ 204856 w 387287"/>
                  <a:gd name="connsiteY361" fmla="*/ 184855 h 243342"/>
                  <a:gd name="connsiteX362" fmla="*/ 208038 w 387287"/>
                  <a:gd name="connsiteY362" fmla="*/ 187280 h 243342"/>
                  <a:gd name="connsiteX363" fmla="*/ 211220 w 387287"/>
                  <a:gd name="connsiteY363" fmla="*/ 191522 h 243342"/>
                  <a:gd name="connsiteX364" fmla="*/ 215160 w 387287"/>
                  <a:gd name="connsiteY364" fmla="*/ 196977 h 243342"/>
                  <a:gd name="connsiteX365" fmla="*/ 215765 w 387287"/>
                  <a:gd name="connsiteY365" fmla="*/ 197432 h 243342"/>
                  <a:gd name="connsiteX366" fmla="*/ 225766 w 387287"/>
                  <a:gd name="connsiteY366" fmla="*/ 197280 h 243342"/>
                  <a:gd name="connsiteX367" fmla="*/ 236978 w 387287"/>
                  <a:gd name="connsiteY367" fmla="*/ 197280 h 243342"/>
                  <a:gd name="connsiteX368" fmla="*/ 238342 w 387287"/>
                  <a:gd name="connsiteY368" fmla="*/ 199553 h 243342"/>
                  <a:gd name="connsiteX369" fmla="*/ 238039 w 387287"/>
                  <a:gd name="connsiteY369" fmla="*/ 203947 h 243342"/>
                  <a:gd name="connsiteX370" fmla="*/ 238494 w 387287"/>
                  <a:gd name="connsiteY370" fmla="*/ 208341 h 243342"/>
                  <a:gd name="connsiteX371" fmla="*/ 239554 w 387287"/>
                  <a:gd name="connsiteY371" fmla="*/ 211371 h 243342"/>
                  <a:gd name="connsiteX372" fmla="*/ 239554 w 387287"/>
                  <a:gd name="connsiteY372" fmla="*/ 214250 h 243342"/>
                  <a:gd name="connsiteX373" fmla="*/ 238797 w 387287"/>
                  <a:gd name="connsiteY373" fmla="*/ 215765 h 243342"/>
                  <a:gd name="connsiteX374" fmla="*/ 238191 w 387287"/>
                  <a:gd name="connsiteY374" fmla="*/ 217432 h 243342"/>
                  <a:gd name="connsiteX375" fmla="*/ 238039 w 387287"/>
                  <a:gd name="connsiteY375" fmla="*/ 218190 h 243342"/>
                  <a:gd name="connsiteX376" fmla="*/ 239554 w 387287"/>
                  <a:gd name="connsiteY376" fmla="*/ 219250 h 243342"/>
                  <a:gd name="connsiteX377" fmla="*/ 240766 w 387287"/>
                  <a:gd name="connsiteY377" fmla="*/ 221675 h 243342"/>
                  <a:gd name="connsiteX378" fmla="*/ 240918 w 387287"/>
                  <a:gd name="connsiteY378" fmla="*/ 225008 h 243342"/>
                  <a:gd name="connsiteX379" fmla="*/ 240312 w 387287"/>
                  <a:gd name="connsiteY379" fmla="*/ 226826 h 243342"/>
                  <a:gd name="connsiteX380" fmla="*/ 240463 w 387287"/>
                  <a:gd name="connsiteY380" fmla="*/ 228190 h 243342"/>
                  <a:gd name="connsiteX381" fmla="*/ 241070 w 387287"/>
                  <a:gd name="connsiteY381" fmla="*/ 229402 h 243342"/>
                  <a:gd name="connsiteX382" fmla="*/ 243342 w 387287"/>
                  <a:gd name="connsiteY382" fmla="*/ 229099 h 243342"/>
                  <a:gd name="connsiteX383" fmla="*/ 244251 w 387287"/>
                  <a:gd name="connsiteY383" fmla="*/ 230160 h 243342"/>
                  <a:gd name="connsiteX384" fmla="*/ 245464 w 387287"/>
                  <a:gd name="connsiteY384" fmla="*/ 231675 h 243342"/>
                  <a:gd name="connsiteX385" fmla="*/ 248797 w 387287"/>
                  <a:gd name="connsiteY385" fmla="*/ 234402 h 243342"/>
                  <a:gd name="connsiteX386" fmla="*/ 250918 w 387287"/>
                  <a:gd name="connsiteY386" fmla="*/ 235160 h 243342"/>
                  <a:gd name="connsiteX387" fmla="*/ 253646 w 387287"/>
                  <a:gd name="connsiteY387" fmla="*/ 235615 h 243342"/>
                  <a:gd name="connsiteX388" fmla="*/ 256979 w 387287"/>
                  <a:gd name="connsiteY388" fmla="*/ 235312 h 243342"/>
                  <a:gd name="connsiteX389" fmla="*/ 259706 w 387287"/>
                  <a:gd name="connsiteY389" fmla="*/ 234857 h 243342"/>
                  <a:gd name="connsiteX390" fmla="*/ 260919 w 387287"/>
                  <a:gd name="connsiteY390" fmla="*/ 235009 h 243342"/>
                  <a:gd name="connsiteX391" fmla="*/ 263798 w 387287"/>
                  <a:gd name="connsiteY391" fmla="*/ 236978 h 243342"/>
                  <a:gd name="connsiteX392" fmla="*/ 267131 w 387287"/>
                  <a:gd name="connsiteY392" fmla="*/ 239706 h 243342"/>
                  <a:gd name="connsiteX393" fmla="*/ 268192 w 387287"/>
                  <a:gd name="connsiteY393" fmla="*/ 240918 h 243342"/>
                  <a:gd name="connsiteX394" fmla="*/ 268647 w 387287"/>
                  <a:gd name="connsiteY394" fmla="*/ 242736 h 243342"/>
                  <a:gd name="connsiteX395" fmla="*/ 269707 w 387287"/>
                  <a:gd name="connsiteY395" fmla="*/ 243342 h 243342"/>
                  <a:gd name="connsiteX396" fmla="*/ 271828 w 387287"/>
                  <a:gd name="connsiteY396" fmla="*/ 241524 h 243342"/>
                  <a:gd name="connsiteX397" fmla="*/ 273949 w 387287"/>
                  <a:gd name="connsiteY397" fmla="*/ 240918 h 243342"/>
                  <a:gd name="connsiteX398" fmla="*/ 275919 w 387287"/>
                  <a:gd name="connsiteY398" fmla="*/ 241221 h 243342"/>
                  <a:gd name="connsiteX399" fmla="*/ 278041 w 387287"/>
                  <a:gd name="connsiteY399" fmla="*/ 241372 h 243342"/>
                  <a:gd name="connsiteX400" fmla="*/ 280162 w 387287"/>
                  <a:gd name="connsiteY400" fmla="*/ 240615 h 243342"/>
                  <a:gd name="connsiteX401" fmla="*/ 281071 w 387287"/>
                  <a:gd name="connsiteY401" fmla="*/ 240160 h 243342"/>
                  <a:gd name="connsiteX402" fmla="*/ 284708 w 387287"/>
                  <a:gd name="connsiteY402" fmla="*/ 237736 h 243342"/>
                  <a:gd name="connsiteX403" fmla="*/ 288041 w 387287"/>
                  <a:gd name="connsiteY403" fmla="*/ 235918 h 243342"/>
                  <a:gd name="connsiteX404" fmla="*/ 290162 w 387287"/>
                  <a:gd name="connsiteY404" fmla="*/ 234857 h 243342"/>
                  <a:gd name="connsiteX405" fmla="*/ 290920 w 387287"/>
                  <a:gd name="connsiteY405" fmla="*/ 231069 h 243342"/>
                  <a:gd name="connsiteX406" fmla="*/ 291829 w 387287"/>
                  <a:gd name="connsiteY406" fmla="*/ 228948 h 243342"/>
                  <a:gd name="connsiteX407" fmla="*/ 293193 w 387287"/>
                  <a:gd name="connsiteY407" fmla="*/ 227736 h 243342"/>
                  <a:gd name="connsiteX408" fmla="*/ 292738 w 387287"/>
                  <a:gd name="connsiteY408" fmla="*/ 226220 h 243342"/>
                  <a:gd name="connsiteX409" fmla="*/ 292132 w 387287"/>
                  <a:gd name="connsiteY409" fmla="*/ 225008 h 243342"/>
                  <a:gd name="connsiteX410" fmla="*/ 291526 w 387287"/>
                  <a:gd name="connsiteY410" fmla="*/ 223341 h 243342"/>
                  <a:gd name="connsiteX411" fmla="*/ 292132 w 387287"/>
                  <a:gd name="connsiteY411" fmla="*/ 222432 h 243342"/>
                  <a:gd name="connsiteX412" fmla="*/ 293496 w 387287"/>
                  <a:gd name="connsiteY412" fmla="*/ 221978 h 243342"/>
                  <a:gd name="connsiteX413" fmla="*/ 296829 w 387287"/>
                  <a:gd name="connsiteY413" fmla="*/ 221978 h 243342"/>
                  <a:gd name="connsiteX414" fmla="*/ 302739 w 387287"/>
                  <a:gd name="connsiteY414" fmla="*/ 220311 h 243342"/>
                  <a:gd name="connsiteX415" fmla="*/ 307587 w 387287"/>
                  <a:gd name="connsiteY415" fmla="*/ 218644 h 243342"/>
                  <a:gd name="connsiteX416" fmla="*/ 312133 w 387287"/>
                  <a:gd name="connsiteY416" fmla="*/ 217281 h 243342"/>
                  <a:gd name="connsiteX417" fmla="*/ 314254 w 387287"/>
                  <a:gd name="connsiteY417" fmla="*/ 216978 h 243342"/>
                  <a:gd name="connsiteX418" fmla="*/ 316224 w 387287"/>
                  <a:gd name="connsiteY418" fmla="*/ 217281 h 243342"/>
                  <a:gd name="connsiteX419" fmla="*/ 317133 w 387287"/>
                  <a:gd name="connsiteY419" fmla="*/ 216826 h 243342"/>
                  <a:gd name="connsiteX420" fmla="*/ 317436 w 387287"/>
                  <a:gd name="connsiteY420" fmla="*/ 215462 h 243342"/>
                  <a:gd name="connsiteX421" fmla="*/ 318497 w 387287"/>
                  <a:gd name="connsiteY421" fmla="*/ 214099 h 243342"/>
                  <a:gd name="connsiteX422" fmla="*/ 321073 w 387287"/>
                  <a:gd name="connsiteY422" fmla="*/ 213038 h 243342"/>
                  <a:gd name="connsiteX423" fmla="*/ 325770 w 387287"/>
                  <a:gd name="connsiteY423" fmla="*/ 210614 h 243342"/>
                  <a:gd name="connsiteX424" fmla="*/ 330012 w 387287"/>
                  <a:gd name="connsiteY424" fmla="*/ 206977 h 243342"/>
                  <a:gd name="connsiteX425" fmla="*/ 331528 w 387287"/>
                  <a:gd name="connsiteY425" fmla="*/ 204250 h 243342"/>
                  <a:gd name="connsiteX426" fmla="*/ 332588 w 387287"/>
                  <a:gd name="connsiteY426" fmla="*/ 200310 h 243342"/>
                  <a:gd name="connsiteX427" fmla="*/ 334558 w 387287"/>
                  <a:gd name="connsiteY427" fmla="*/ 194250 h 243342"/>
                  <a:gd name="connsiteX428" fmla="*/ 336679 w 387287"/>
                  <a:gd name="connsiteY428" fmla="*/ 187583 h 243342"/>
                  <a:gd name="connsiteX429" fmla="*/ 337437 w 387287"/>
                  <a:gd name="connsiteY429" fmla="*/ 184552 h 243342"/>
                  <a:gd name="connsiteX430" fmla="*/ 338346 w 387287"/>
                  <a:gd name="connsiteY430" fmla="*/ 182279 h 243342"/>
                  <a:gd name="connsiteX431" fmla="*/ 341983 w 387287"/>
                  <a:gd name="connsiteY431" fmla="*/ 180310 h 243342"/>
                  <a:gd name="connsiteX432" fmla="*/ 345771 w 387287"/>
                  <a:gd name="connsiteY432" fmla="*/ 178946 h 243342"/>
                  <a:gd name="connsiteX433" fmla="*/ 351680 w 387287"/>
                  <a:gd name="connsiteY433" fmla="*/ 178643 h 243342"/>
                  <a:gd name="connsiteX434" fmla="*/ 358498 w 387287"/>
                  <a:gd name="connsiteY434" fmla="*/ 178491 h 243342"/>
                  <a:gd name="connsiteX435" fmla="*/ 360014 w 387287"/>
                  <a:gd name="connsiteY435" fmla="*/ 174855 h 243342"/>
                  <a:gd name="connsiteX436" fmla="*/ 360923 w 387287"/>
                  <a:gd name="connsiteY436" fmla="*/ 171673 h 243342"/>
                  <a:gd name="connsiteX437" fmla="*/ 362135 w 387287"/>
                  <a:gd name="connsiteY437" fmla="*/ 170006 h 243342"/>
                  <a:gd name="connsiteX438" fmla="*/ 363802 w 387287"/>
                  <a:gd name="connsiteY438" fmla="*/ 168642 h 243342"/>
                  <a:gd name="connsiteX439" fmla="*/ 364407 w 387287"/>
                  <a:gd name="connsiteY439" fmla="*/ 168340 h 243342"/>
                  <a:gd name="connsiteX440" fmla="*/ 368044 w 387287"/>
                  <a:gd name="connsiteY440" fmla="*/ 170309 h 243342"/>
                  <a:gd name="connsiteX441" fmla="*/ 373802 w 387287"/>
                  <a:gd name="connsiteY441" fmla="*/ 173188 h 243342"/>
                  <a:gd name="connsiteX442" fmla="*/ 380468 w 387287"/>
                  <a:gd name="connsiteY442" fmla="*/ 174703 h 243342"/>
                  <a:gd name="connsiteX443" fmla="*/ 383802 w 387287"/>
                  <a:gd name="connsiteY443" fmla="*/ 175461 h 243342"/>
                  <a:gd name="connsiteX444" fmla="*/ 385166 w 387287"/>
                  <a:gd name="connsiteY444" fmla="*/ 175309 h 243342"/>
                  <a:gd name="connsiteX445" fmla="*/ 384863 w 387287"/>
                  <a:gd name="connsiteY445" fmla="*/ 171825 h 243342"/>
                  <a:gd name="connsiteX446" fmla="*/ 384863 w 387287"/>
                  <a:gd name="connsiteY446" fmla="*/ 167430 h 243342"/>
                  <a:gd name="connsiteX447" fmla="*/ 384408 w 387287"/>
                  <a:gd name="connsiteY447" fmla="*/ 161521 h 24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387287" h="243342">
                    <a:moveTo>
                      <a:pt x="16819" y="120004"/>
                    </a:moveTo>
                    <a:lnTo>
                      <a:pt x="15758" y="119853"/>
                    </a:lnTo>
                    <a:lnTo>
                      <a:pt x="14849" y="121217"/>
                    </a:lnTo>
                    <a:lnTo>
                      <a:pt x="15607" y="126217"/>
                    </a:lnTo>
                    <a:lnTo>
                      <a:pt x="17122" y="130762"/>
                    </a:lnTo>
                    <a:lnTo>
                      <a:pt x="17425" y="129247"/>
                    </a:lnTo>
                    <a:lnTo>
                      <a:pt x="15909" y="121823"/>
                    </a:lnTo>
                    <a:lnTo>
                      <a:pt x="16819" y="120004"/>
                    </a:lnTo>
                    <a:close/>
                    <a:moveTo>
                      <a:pt x="384408" y="161521"/>
                    </a:moveTo>
                    <a:lnTo>
                      <a:pt x="387287" y="156976"/>
                    </a:lnTo>
                    <a:lnTo>
                      <a:pt x="387135" y="156066"/>
                    </a:lnTo>
                    <a:lnTo>
                      <a:pt x="386530" y="155157"/>
                    </a:lnTo>
                    <a:lnTo>
                      <a:pt x="385621" y="154399"/>
                    </a:lnTo>
                    <a:lnTo>
                      <a:pt x="380620" y="153188"/>
                    </a:lnTo>
                    <a:lnTo>
                      <a:pt x="379105" y="152581"/>
                    </a:lnTo>
                    <a:lnTo>
                      <a:pt x="377135" y="151066"/>
                    </a:lnTo>
                    <a:lnTo>
                      <a:pt x="374711" y="149551"/>
                    </a:lnTo>
                    <a:lnTo>
                      <a:pt x="372590" y="148490"/>
                    </a:lnTo>
                    <a:lnTo>
                      <a:pt x="369256" y="147127"/>
                    </a:lnTo>
                    <a:lnTo>
                      <a:pt x="366074" y="146369"/>
                    </a:lnTo>
                    <a:lnTo>
                      <a:pt x="364256" y="146975"/>
                    </a:lnTo>
                    <a:lnTo>
                      <a:pt x="362589" y="147733"/>
                    </a:lnTo>
                    <a:lnTo>
                      <a:pt x="361074" y="147733"/>
                    </a:lnTo>
                    <a:lnTo>
                      <a:pt x="359559" y="147278"/>
                    </a:lnTo>
                    <a:lnTo>
                      <a:pt x="353649" y="143793"/>
                    </a:lnTo>
                    <a:lnTo>
                      <a:pt x="344861" y="137732"/>
                    </a:lnTo>
                    <a:lnTo>
                      <a:pt x="337891" y="133490"/>
                    </a:lnTo>
                    <a:lnTo>
                      <a:pt x="333497" y="131520"/>
                    </a:lnTo>
                    <a:lnTo>
                      <a:pt x="332437" y="130914"/>
                    </a:lnTo>
                    <a:lnTo>
                      <a:pt x="330012" y="128944"/>
                    </a:lnTo>
                    <a:lnTo>
                      <a:pt x="323951" y="123792"/>
                    </a:lnTo>
                    <a:lnTo>
                      <a:pt x="319860" y="124550"/>
                    </a:lnTo>
                    <a:lnTo>
                      <a:pt x="314103" y="121217"/>
                    </a:lnTo>
                    <a:lnTo>
                      <a:pt x="308951" y="117883"/>
                    </a:lnTo>
                    <a:lnTo>
                      <a:pt x="307739" y="116974"/>
                    </a:lnTo>
                    <a:lnTo>
                      <a:pt x="301830" y="110913"/>
                    </a:lnTo>
                    <a:lnTo>
                      <a:pt x="295920" y="106974"/>
                    </a:lnTo>
                    <a:lnTo>
                      <a:pt x="289556" y="102731"/>
                    </a:lnTo>
                    <a:lnTo>
                      <a:pt x="285465" y="100004"/>
                    </a:lnTo>
                    <a:lnTo>
                      <a:pt x="278495" y="95458"/>
                    </a:lnTo>
                    <a:lnTo>
                      <a:pt x="275010" y="92731"/>
                    </a:lnTo>
                    <a:lnTo>
                      <a:pt x="273798" y="91670"/>
                    </a:lnTo>
                    <a:lnTo>
                      <a:pt x="272586" y="89700"/>
                    </a:lnTo>
                    <a:lnTo>
                      <a:pt x="270768" y="80154"/>
                    </a:lnTo>
                    <a:lnTo>
                      <a:pt x="268647" y="75760"/>
                    </a:lnTo>
                    <a:lnTo>
                      <a:pt x="265616" y="73336"/>
                    </a:lnTo>
                    <a:lnTo>
                      <a:pt x="263040" y="68790"/>
                    </a:lnTo>
                    <a:lnTo>
                      <a:pt x="260919" y="61972"/>
                    </a:lnTo>
                    <a:lnTo>
                      <a:pt x="259101" y="57578"/>
                    </a:lnTo>
                    <a:lnTo>
                      <a:pt x="257737" y="55457"/>
                    </a:lnTo>
                    <a:lnTo>
                      <a:pt x="254858" y="53184"/>
                    </a:lnTo>
                    <a:lnTo>
                      <a:pt x="250615" y="50759"/>
                    </a:lnTo>
                    <a:lnTo>
                      <a:pt x="246524" y="49547"/>
                    </a:lnTo>
                    <a:lnTo>
                      <a:pt x="245009" y="49547"/>
                    </a:lnTo>
                    <a:lnTo>
                      <a:pt x="244251" y="49850"/>
                    </a:lnTo>
                    <a:lnTo>
                      <a:pt x="243494" y="50305"/>
                    </a:lnTo>
                    <a:lnTo>
                      <a:pt x="241827" y="52123"/>
                    </a:lnTo>
                    <a:lnTo>
                      <a:pt x="239403" y="52275"/>
                    </a:lnTo>
                    <a:lnTo>
                      <a:pt x="237736" y="52275"/>
                    </a:lnTo>
                    <a:lnTo>
                      <a:pt x="236069" y="51669"/>
                    </a:lnTo>
                    <a:lnTo>
                      <a:pt x="230918" y="51063"/>
                    </a:lnTo>
                    <a:lnTo>
                      <a:pt x="229099" y="50456"/>
                    </a:lnTo>
                    <a:lnTo>
                      <a:pt x="226069" y="50608"/>
                    </a:lnTo>
                    <a:lnTo>
                      <a:pt x="219402" y="51517"/>
                    </a:lnTo>
                    <a:lnTo>
                      <a:pt x="217735" y="51366"/>
                    </a:lnTo>
                    <a:lnTo>
                      <a:pt x="210765" y="47274"/>
                    </a:lnTo>
                    <a:lnTo>
                      <a:pt x="207735" y="45608"/>
                    </a:lnTo>
                    <a:lnTo>
                      <a:pt x="207129" y="44699"/>
                    </a:lnTo>
                    <a:lnTo>
                      <a:pt x="207129" y="43032"/>
                    </a:lnTo>
                    <a:lnTo>
                      <a:pt x="208189" y="40759"/>
                    </a:lnTo>
                    <a:lnTo>
                      <a:pt x="209098" y="39092"/>
                    </a:lnTo>
                    <a:lnTo>
                      <a:pt x="208644" y="37426"/>
                    </a:lnTo>
                    <a:lnTo>
                      <a:pt x="207280" y="35607"/>
                    </a:lnTo>
                    <a:lnTo>
                      <a:pt x="207280" y="33638"/>
                    </a:lnTo>
                    <a:lnTo>
                      <a:pt x="208189" y="32577"/>
                    </a:lnTo>
                    <a:lnTo>
                      <a:pt x="210008" y="32880"/>
                    </a:lnTo>
                    <a:lnTo>
                      <a:pt x="210614" y="32274"/>
                    </a:lnTo>
                    <a:lnTo>
                      <a:pt x="210311" y="31213"/>
                    </a:lnTo>
                    <a:lnTo>
                      <a:pt x="209250" y="30456"/>
                    </a:lnTo>
                    <a:lnTo>
                      <a:pt x="207887" y="28789"/>
                    </a:lnTo>
                    <a:lnTo>
                      <a:pt x="203947" y="27274"/>
                    </a:lnTo>
                    <a:lnTo>
                      <a:pt x="203341" y="26668"/>
                    </a:lnTo>
                    <a:lnTo>
                      <a:pt x="203492" y="25910"/>
                    </a:lnTo>
                    <a:lnTo>
                      <a:pt x="204099" y="25152"/>
                    </a:lnTo>
                    <a:lnTo>
                      <a:pt x="204250" y="23486"/>
                    </a:lnTo>
                    <a:lnTo>
                      <a:pt x="204250" y="21364"/>
                    </a:lnTo>
                    <a:lnTo>
                      <a:pt x="204705" y="20304"/>
                    </a:lnTo>
                    <a:lnTo>
                      <a:pt x="204856" y="19395"/>
                    </a:lnTo>
                    <a:lnTo>
                      <a:pt x="204250" y="18637"/>
                    </a:lnTo>
                    <a:lnTo>
                      <a:pt x="202886" y="17879"/>
                    </a:lnTo>
                    <a:lnTo>
                      <a:pt x="200765" y="15910"/>
                    </a:lnTo>
                    <a:lnTo>
                      <a:pt x="198189" y="15758"/>
                    </a:lnTo>
                    <a:lnTo>
                      <a:pt x="189704" y="15758"/>
                    </a:lnTo>
                    <a:lnTo>
                      <a:pt x="187128" y="15001"/>
                    </a:lnTo>
                    <a:lnTo>
                      <a:pt x="185007" y="13940"/>
                    </a:lnTo>
                    <a:lnTo>
                      <a:pt x="182886" y="9849"/>
                    </a:lnTo>
                    <a:lnTo>
                      <a:pt x="181825" y="8940"/>
                    </a:lnTo>
                    <a:lnTo>
                      <a:pt x="180764" y="8485"/>
                    </a:lnTo>
                    <a:lnTo>
                      <a:pt x="178340" y="8334"/>
                    </a:lnTo>
                    <a:lnTo>
                      <a:pt x="175461" y="7879"/>
                    </a:lnTo>
                    <a:lnTo>
                      <a:pt x="173946" y="7121"/>
                    </a:lnTo>
                    <a:lnTo>
                      <a:pt x="169855" y="3333"/>
                    </a:lnTo>
                    <a:lnTo>
                      <a:pt x="166067" y="0"/>
                    </a:lnTo>
                    <a:lnTo>
                      <a:pt x="164551" y="3182"/>
                    </a:lnTo>
                    <a:lnTo>
                      <a:pt x="163037" y="3788"/>
                    </a:lnTo>
                    <a:lnTo>
                      <a:pt x="159703" y="3485"/>
                    </a:lnTo>
                    <a:lnTo>
                      <a:pt x="157127" y="2879"/>
                    </a:lnTo>
                    <a:lnTo>
                      <a:pt x="155612" y="3636"/>
                    </a:lnTo>
                    <a:lnTo>
                      <a:pt x="154097" y="4849"/>
                    </a:lnTo>
                    <a:lnTo>
                      <a:pt x="154400" y="5606"/>
                    </a:lnTo>
                    <a:lnTo>
                      <a:pt x="155612" y="6515"/>
                    </a:lnTo>
                    <a:lnTo>
                      <a:pt x="157885" y="8182"/>
                    </a:lnTo>
                    <a:lnTo>
                      <a:pt x="161370" y="12122"/>
                    </a:lnTo>
                    <a:lnTo>
                      <a:pt x="163037" y="14243"/>
                    </a:lnTo>
                    <a:lnTo>
                      <a:pt x="163339" y="15001"/>
                    </a:lnTo>
                    <a:lnTo>
                      <a:pt x="163037" y="15607"/>
                    </a:lnTo>
                    <a:lnTo>
                      <a:pt x="162582" y="15910"/>
                    </a:lnTo>
                    <a:lnTo>
                      <a:pt x="161824" y="15910"/>
                    </a:lnTo>
                    <a:lnTo>
                      <a:pt x="160915" y="15910"/>
                    </a:lnTo>
                    <a:lnTo>
                      <a:pt x="160309" y="15304"/>
                    </a:lnTo>
                    <a:lnTo>
                      <a:pt x="160158" y="14243"/>
                    </a:lnTo>
                    <a:lnTo>
                      <a:pt x="158945" y="12576"/>
                    </a:lnTo>
                    <a:lnTo>
                      <a:pt x="158794" y="11970"/>
                    </a:lnTo>
                    <a:lnTo>
                      <a:pt x="157430" y="11364"/>
                    </a:lnTo>
                    <a:lnTo>
                      <a:pt x="155612" y="10910"/>
                    </a:lnTo>
                    <a:lnTo>
                      <a:pt x="153187" y="10152"/>
                    </a:lnTo>
                    <a:lnTo>
                      <a:pt x="151975" y="10152"/>
                    </a:lnTo>
                    <a:lnTo>
                      <a:pt x="150763" y="11061"/>
                    </a:lnTo>
                    <a:lnTo>
                      <a:pt x="149703" y="12273"/>
                    </a:lnTo>
                    <a:lnTo>
                      <a:pt x="149096" y="15001"/>
                    </a:lnTo>
                    <a:lnTo>
                      <a:pt x="147278" y="18486"/>
                    </a:lnTo>
                    <a:lnTo>
                      <a:pt x="146066" y="19849"/>
                    </a:lnTo>
                    <a:lnTo>
                      <a:pt x="142581" y="20607"/>
                    </a:lnTo>
                    <a:lnTo>
                      <a:pt x="140763" y="20607"/>
                    </a:lnTo>
                    <a:lnTo>
                      <a:pt x="141066" y="21061"/>
                    </a:lnTo>
                    <a:lnTo>
                      <a:pt x="140611" y="22577"/>
                    </a:lnTo>
                    <a:lnTo>
                      <a:pt x="141066" y="23940"/>
                    </a:lnTo>
                    <a:lnTo>
                      <a:pt x="142429" y="25759"/>
                    </a:lnTo>
                    <a:lnTo>
                      <a:pt x="142884" y="28941"/>
                    </a:lnTo>
                    <a:lnTo>
                      <a:pt x="146824" y="31365"/>
                    </a:lnTo>
                    <a:lnTo>
                      <a:pt x="147430" y="33486"/>
                    </a:lnTo>
                    <a:lnTo>
                      <a:pt x="146066" y="35910"/>
                    </a:lnTo>
                    <a:lnTo>
                      <a:pt x="142429" y="38032"/>
                    </a:lnTo>
                    <a:lnTo>
                      <a:pt x="138035" y="39395"/>
                    </a:lnTo>
                    <a:lnTo>
                      <a:pt x="135308" y="39850"/>
                    </a:lnTo>
                    <a:lnTo>
                      <a:pt x="133035" y="40001"/>
                    </a:lnTo>
                    <a:lnTo>
                      <a:pt x="130308" y="37426"/>
                    </a:lnTo>
                    <a:lnTo>
                      <a:pt x="128338" y="34698"/>
                    </a:lnTo>
                    <a:lnTo>
                      <a:pt x="126671" y="34850"/>
                    </a:lnTo>
                    <a:lnTo>
                      <a:pt x="125156" y="35001"/>
                    </a:lnTo>
                    <a:lnTo>
                      <a:pt x="124853" y="33486"/>
                    </a:lnTo>
                    <a:lnTo>
                      <a:pt x="125762" y="27880"/>
                    </a:lnTo>
                    <a:lnTo>
                      <a:pt x="124247" y="28789"/>
                    </a:lnTo>
                    <a:lnTo>
                      <a:pt x="122277" y="30759"/>
                    </a:lnTo>
                    <a:lnTo>
                      <a:pt x="122883" y="36820"/>
                    </a:lnTo>
                    <a:lnTo>
                      <a:pt x="123793" y="43941"/>
                    </a:lnTo>
                    <a:lnTo>
                      <a:pt x="125459" y="45911"/>
                    </a:lnTo>
                    <a:lnTo>
                      <a:pt x="126520" y="46517"/>
                    </a:lnTo>
                    <a:lnTo>
                      <a:pt x="126671" y="47274"/>
                    </a:lnTo>
                    <a:lnTo>
                      <a:pt x="126065" y="47881"/>
                    </a:lnTo>
                    <a:lnTo>
                      <a:pt x="125156" y="48638"/>
                    </a:lnTo>
                    <a:lnTo>
                      <a:pt x="123944" y="50002"/>
                    </a:lnTo>
                    <a:lnTo>
                      <a:pt x="122580" y="50002"/>
                    </a:lnTo>
                    <a:lnTo>
                      <a:pt x="119701" y="49699"/>
                    </a:lnTo>
                    <a:lnTo>
                      <a:pt x="117277" y="49244"/>
                    </a:lnTo>
                    <a:lnTo>
                      <a:pt x="109246" y="48790"/>
                    </a:lnTo>
                    <a:lnTo>
                      <a:pt x="102731" y="48487"/>
                    </a:lnTo>
                    <a:lnTo>
                      <a:pt x="95458" y="48184"/>
                    </a:lnTo>
                    <a:lnTo>
                      <a:pt x="94246" y="48184"/>
                    </a:lnTo>
                    <a:lnTo>
                      <a:pt x="91670" y="48638"/>
                    </a:lnTo>
                    <a:lnTo>
                      <a:pt x="87276" y="49699"/>
                    </a:lnTo>
                    <a:lnTo>
                      <a:pt x="83639" y="50153"/>
                    </a:lnTo>
                    <a:lnTo>
                      <a:pt x="81973" y="49850"/>
                    </a:lnTo>
                    <a:lnTo>
                      <a:pt x="80457" y="49093"/>
                    </a:lnTo>
                    <a:lnTo>
                      <a:pt x="79246" y="47426"/>
                    </a:lnTo>
                    <a:lnTo>
                      <a:pt x="77427" y="45456"/>
                    </a:lnTo>
                    <a:lnTo>
                      <a:pt x="75458" y="43789"/>
                    </a:lnTo>
                    <a:lnTo>
                      <a:pt x="73033" y="40456"/>
                    </a:lnTo>
                    <a:lnTo>
                      <a:pt x="71366" y="37880"/>
                    </a:lnTo>
                    <a:lnTo>
                      <a:pt x="67275" y="32274"/>
                    </a:lnTo>
                    <a:lnTo>
                      <a:pt x="66669" y="30456"/>
                    </a:lnTo>
                    <a:lnTo>
                      <a:pt x="65912" y="28637"/>
                    </a:lnTo>
                    <a:lnTo>
                      <a:pt x="64548" y="27122"/>
                    </a:lnTo>
                    <a:lnTo>
                      <a:pt x="59699" y="23486"/>
                    </a:lnTo>
                    <a:lnTo>
                      <a:pt x="54093" y="20152"/>
                    </a:lnTo>
                    <a:lnTo>
                      <a:pt x="48638" y="16819"/>
                    </a:lnTo>
                    <a:lnTo>
                      <a:pt x="47123" y="16061"/>
                    </a:lnTo>
                    <a:lnTo>
                      <a:pt x="44547" y="15001"/>
                    </a:lnTo>
                    <a:lnTo>
                      <a:pt x="41365" y="15001"/>
                    </a:lnTo>
                    <a:lnTo>
                      <a:pt x="39244" y="15152"/>
                    </a:lnTo>
                    <a:lnTo>
                      <a:pt x="32577" y="16213"/>
                    </a:lnTo>
                    <a:lnTo>
                      <a:pt x="27577" y="17425"/>
                    </a:lnTo>
                    <a:lnTo>
                      <a:pt x="20758" y="19092"/>
                    </a:lnTo>
                    <a:lnTo>
                      <a:pt x="15455" y="21061"/>
                    </a:lnTo>
                    <a:lnTo>
                      <a:pt x="14243" y="21667"/>
                    </a:lnTo>
                    <a:lnTo>
                      <a:pt x="10303" y="23940"/>
                    </a:lnTo>
                    <a:lnTo>
                      <a:pt x="5606" y="27728"/>
                    </a:lnTo>
                    <a:lnTo>
                      <a:pt x="0" y="33032"/>
                    </a:lnTo>
                    <a:lnTo>
                      <a:pt x="3182" y="41214"/>
                    </a:lnTo>
                    <a:lnTo>
                      <a:pt x="6970" y="46517"/>
                    </a:lnTo>
                    <a:lnTo>
                      <a:pt x="9091" y="50911"/>
                    </a:lnTo>
                    <a:lnTo>
                      <a:pt x="9697" y="51972"/>
                    </a:lnTo>
                    <a:lnTo>
                      <a:pt x="10000" y="51669"/>
                    </a:lnTo>
                    <a:lnTo>
                      <a:pt x="9091" y="47426"/>
                    </a:lnTo>
                    <a:lnTo>
                      <a:pt x="10455" y="38638"/>
                    </a:lnTo>
                    <a:lnTo>
                      <a:pt x="10455" y="37426"/>
                    </a:lnTo>
                    <a:lnTo>
                      <a:pt x="8637" y="35456"/>
                    </a:lnTo>
                    <a:lnTo>
                      <a:pt x="11061" y="29395"/>
                    </a:lnTo>
                    <a:lnTo>
                      <a:pt x="12879" y="26819"/>
                    </a:lnTo>
                    <a:lnTo>
                      <a:pt x="16667" y="23789"/>
                    </a:lnTo>
                    <a:lnTo>
                      <a:pt x="18183" y="23031"/>
                    </a:lnTo>
                    <a:lnTo>
                      <a:pt x="21516" y="23486"/>
                    </a:lnTo>
                    <a:lnTo>
                      <a:pt x="27274" y="22274"/>
                    </a:lnTo>
                    <a:lnTo>
                      <a:pt x="30759" y="21667"/>
                    </a:lnTo>
                    <a:lnTo>
                      <a:pt x="34244" y="21971"/>
                    </a:lnTo>
                    <a:lnTo>
                      <a:pt x="35607" y="22425"/>
                    </a:lnTo>
                    <a:lnTo>
                      <a:pt x="36819" y="23334"/>
                    </a:lnTo>
                    <a:lnTo>
                      <a:pt x="39698" y="30607"/>
                    </a:lnTo>
                    <a:lnTo>
                      <a:pt x="40759" y="33789"/>
                    </a:lnTo>
                    <a:lnTo>
                      <a:pt x="41971" y="38032"/>
                    </a:lnTo>
                    <a:lnTo>
                      <a:pt x="43486" y="42123"/>
                    </a:lnTo>
                    <a:lnTo>
                      <a:pt x="45911" y="45002"/>
                    </a:lnTo>
                    <a:lnTo>
                      <a:pt x="48790" y="47274"/>
                    </a:lnTo>
                    <a:lnTo>
                      <a:pt x="57275" y="52881"/>
                    </a:lnTo>
                    <a:lnTo>
                      <a:pt x="59396" y="55154"/>
                    </a:lnTo>
                    <a:lnTo>
                      <a:pt x="60305" y="56820"/>
                    </a:lnTo>
                    <a:lnTo>
                      <a:pt x="60760" y="58639"/>
                    </a:lnTo>
                    <a:lnTo>
                      <a:pt x="60911" y="60608"/>
                    </a:lnTo>
                    <a:lnTo>
                      <a:pt x="60608" y="62578"/>
                    </a:lnTo>
                    <a:lnTo>
                      <a:pt x="59851" y="63184"/>
                    </a:lnTo>
                    <a:lnTo>
                      <a:pt x="59093" y="63639"/>
                    </a:lnTo>
                    <a:lnTo>
                      <a:pt x="56063" y="64548"/>
                    </a:lnTo>
                    <a:lnTo>
                      <a:pt x="51365" y="63336"/>
                    </a:lnTo>
                    <a:lnTo>
                      <a:pt x="49850" y="64548"/>
                    </a:lnTo>
                    <a:lnTo>
                      <a:pt x="50305" y="66821"/>
                    </a:lnTo>
                    <a:lnTo>
                      <a:pt x="51365" y="69093"/>
                    </a:lnTo>
                    <a:lnTo>
                      <a:pt x="50002" y="69245"/>
                    </a:lnTo>
                    <a:lnTo>
                      <a:pt x="48790" y="69093"/>
                    </a:lnTo>
                    <a:lnTo>
                      <a:pt x="46365" y="68184"/>
                    </a:lnTo>
                    <a:lnTo>
                      <a:pt x="43486" y="68639"/>
                    </a:lnTo>
                    <a:lnTo>
                      <a:pt x="37426" y="70457"/>
                    </a:lnTo>
                    <a:lnTo>
                      <a:pt x="34547" y="69851"/>
                    </a:lnTo>
                    <a:lnTo>
                      <a:pt x="32577" y="67275"/>
                    </a:lnTo>
                    <a:lnTo>
                      <a:pt x="30456" y="65002"/>
                    </a:lnTo>
                    <a:lnTo>
                      <a:pt x="27880" y="64548"/>
                    </a:lnTo>
                    <a:lnTo>
                      <a:pt x="25304" y="65760"/>
                    </a:lnTo>
                    <a:lnTo>
                      <a:pt x="22880" y="66063"/>
                    </a:lnTo>
                    <a:lnTo>
                      <a:pt x="19092" y="65154"/>
                    </a:lnTo>
                    <a:lnTo>
                      <a:pt x="17879" y="64699"/>
                    </a:lnTo>
                    <a:lnTo>
                      <a:pt x="15607" y="62578"/>
                    </a:lnTo>
                    <a:lnTo>
                      <a:pt x="13940" y="60305"/>
                    </a:lnTo>
                    <a:lnTo>
                      <a:pt x="12425" y="57729"/>
                    </a:lnTo>
                    <a:lnTo>
                      <a:pt x="10910" y="63336"/>
                    </a:lnTo>
                    <a:lnTo>
                      <a:pt x="9849" y="69093"/>
                    </a:lnTo>
                    <a:lnTo>
                      <a:pt x="8031" y="73639"/>
                    </a:lnTo>
                    <a:lnTo>
                      <a:pt x="6667" y="78488"/>
                    </a:lnTo>
                    <a:lnTo>
                      <a:pt x="6970" y="84246"/>
                    </a:lnTo>
                    <a:lnTo>
                      <a:pt x="8637" y="89549"/>
                    </a:lnTo>
                    <a:lnTo>
                      <a:pt x="11212" y="94094"/>
                    </a:lnTo>
                    <a:lnTo>
                      <a:pt x="13031" y="96670"/>
                    </a:lnTo>
                    <a:lnTo>
                      <a:pt x="15000" y="98640"/>
                    </a:lnTo>
                    <a:lnTo>
                      <a:pt x="12728" y="94701"/>
                    </a:lnTo>
                    <a:lnTo>
                      <a:pt x="13637" y="91670"/>
                    </a:lnTo>
                    <a:lnTo>
                      <a:pt x="17728" y="91973"/>
                    </a:lnTo>
                    <a:lnTo>
                      <a:pt x="21819" y="92579"/>
                    </a:lnTo>
                    <a:lnTo>
                      <a:pt x="25001" y="92428"/>
                    </a:lnTo>
                    <a:lnTo>
                      <a:pt x="26364" y="93034"/>
                    </a:lnTo>
                    <a:lnTo>
                      <a:pt x="27274" y="94094"/>
                    </a:lnTo>
                    <a:lnTo>
                      <a:pt x="26516" y="96670"/>
                    </a:lnTo>
                    <a:lnTo>
                      <a:pt x="26364" y="99398"/>
                    </a:lnTo>
                    <a:lnTo>
                      <a:pt x="26971" y="101973"/>
                    </a:lnTo>
                    <a:lnTo>
                      <a:pt x="28637" y="102883"/>
                    </a:lnTo>
                    <a:lnTo>
                      <a:pt x="30001" y="103943"/>
                    </a:lnTo>
                    <a:lnTo>
                      <a:pt x="30607" y="105913"/>
                    </a:lnTo>
                    <a:lnTo>
                      <a:pt x="27728" y="106367"/>
                    </a:lnTo>
                    <a:lnTo>
                      <a:pt x="24849" y="106216"/>
                    </a:lnTo>
                    <a:lnTo>
                      <a:pt x="22576" y="105610"/>
                    </a:lnTo>
                    <a:lnTo>
                      <a:pt x="20607" y="103943"/>
                    </a:lnTo>
                    <a:lnTo>
                      <a:pt x="17576" y="109550"/>
                    </a:lnTo>
                    <a:lnTo>
                      <a:pt x="17576" y="112277"/>
                    </a:lnTo>
                    <a:lnTo>
                      <a:pt x="18486" y="114853"/>
                    </a:lnTo>
                    <a:lnTo>
                      <a:pt x="19698" y="113186"/>
                    </a:lnTo>
                    <a:lnTo>
                      <a:pt x="21364" y="112428"/>
                    </a:lnTo>
                    <a:lnTo>
                      <a:pt x="23334" y="112428"/>
                    </a:lnTo>
                    <a:lnTo>
                      <a:pt x="27122" y="113489"/>
                    </a:lnTo>
                    <a:lnTo>
                      <a:pt x="28941" y="114550"/>
                    </a:lnTo>
                    <a:lnTo>
                      <a:pt x="31062" y="116368"/>
                    </a:lnTo>
                    <a:lnTo>
                      <a:pt x="33486" y="116519"/>
                    </a:lnTo>
                    <a:lnTo>
                      <a:pt x="33638" y="118338"/>
                    </a:lnTo>
                    <a:lnTo>
                      <a:pt x="34092" y="120004"/>
                    </a:lnTo>
                    <a:lnTo>
                      <a:pt x="36517" y="122732"/>
                    </a:lnTo>
                    <a:lnTo>
                      <a:pt x="38032" y="124853"/>
                    </a:lnTo>
                    <a:lnTo>
                      <a:pt x="38486" y="127581"/>
                    </a:lnTo>
                    <a:lnTo>
                      <a:pt x="38183" y="131520"/>
                    </a:lnTo>
                    <a:lnTo>
                      <a:pt x="37577" y="135308"/>
                    </a:lnTo>
                    <a:lnTo>
                      <a:pt x="37274" y="138641"/>
                    </a:lnTo>
                    <a:lnTo>
                      <a:pt x="37577" y="142126"/>
                    </a:lnTo>
                    <a:lnTo>
                      <a:pt x="37577" y="145914"/>
                    </a:lnTo>
                    <a:lnTo>
                      <a:pt x="36819" y="153490"/>
                    </a:lnTo>
                    <a:lnTo>
                      <a:pt x="36819" y="157278"/>
                    </a:lnTo>
                    <a:lnTo>
                      <a:pt x="37426" y="165461"/>
                    </a:lnTo>
                    <a:lnTo>
                      <a:pt x="38789" y="173491"/>
                    </a:lnTo>
                    <a:lnTo>
                      <a:pt x="39244" y="175764"/>
                    </a:lnTo>
                    <a:lnTo>
                      <a:pt x="46820" y="176067"/>
                    </a:lnTo>
                    <a:lnTo>
                      <a:pt x="49850" y="175461"/>
                    </a:lnTo>
                    <a:lnTo>
                      <a:pt x="54244" y="173794"/>
                    </a:lnTo>
                    <a:lnTo>
                      <a:pt x="57578" y="172734"/>
                    </a:lnTo>
                    <a:lnTo>
                      <a:pt x="59245" y="172582"/>
                    </a:lnTo>
                    <a:lnTo>
                      <a:pt x="60911" y="171825"/>
                    </a:lnTo>
                    <a:lnTo>
                      <a:pt x="62124" y="170764"/>
                    </a:lnTo>
                    <a:lnTo>
                      <a:pt x="64851" y="163491"/>
                    </a:lnTo>
                    <a:lnTo>
                      <a:pt x="66215" y="161673"/>
                    </a:lnTo>
                    <a:lnTo>
                      <a:pt x="71063" y="157733"/>
                    </a:lnTo>
                    <a:lnTo>
                      <a:pt x="75154" y="155309"/>
                    </a:lnTo>
                    <a:lnTo>
                      <a:pt x="79397" y="153036"/>
                    </a:lnTo>
                    <a:lnTo>
                      <a:pt x="84852" y="151521"/>
                    </a:lnTo>
                    <a:lnTo>
                      <a:pt x="91973" y="151672"/>
                    </a:lnTo>
                    <a:lnTo>
                      <a:pt x="97731" y="152278"/>
                    </a:lnTo>
                    <a:lnTo>
                      <a:pt x="101065" y="152278"/>
                    </a:lnTo>
                    <a:lnTo>
                      <a:pt x="102579" y="152430"/>
                    </a:lnTo>
                    <a:lnTo>
                      <a:pt x="103792" y="152278"/>
                    </a:lnTo>
                    <a:lnTo>
                      <a:pt x="104549" y="151824"/>
                    </a:lnTo>
                    <a:lnTo>
                      <a:pt x="105307" y="148793"/>
                    </a:lnTo>
                    <a:lnTo>
                      <a:pt x="106519" y="147733"/>
                    </a:lnTo>
                    <a:lnTo>
                      <a:pt x="108489" y="146823"/>
                    </a:lnTo>
                    <a:lnTo>
                      <a:pt x="111368" y="146823"/>
                    </a:lnTo>
                    <a:lnTo>
                      <a:pt x="114853" y="146672"/>
                    </a:lnTo>
                    <a:lnTo>
                      <a:pt x="117731" y="146823"/>
                    </a:lnTo>
                    <a:lnTo>
                      <a:pt x="121368" y="148036"/>
                    </a:lnTo>
                    <a:lnTo>
                      <a:pt x="126065" y="148187"/>
                    </a:lnTo>
                    <a:lnTo>
                      <a:pt x="129247" y="148036"/>
                    </a:lnTo>
                    <a:lnTo>
                      <a:pt x="131065" y="149248"/>
                    </a:lnTo>
                    <a:lnTo>
                      <a:pt x="132429" y="150763"/>
                    </a:lnTo>
                    <a:lnTo>
                      <a:pt x="133035" y="152127"/>
                    </a:lnTo>
                    <a:lnTo>
                      <a:pt x="133187" y="153945"/>
                    </a:lnTo>
                    <a:lnTo>
                      <a:pt x="133187" y="155309"/>
                    </a:lnTo>
                    <a:lnTo>
                      <a:pt x="133641" y="155763"/>
                    </a:lnTo>
                    <a:lnTo>
                      <a:pt x="135611" y="156521"/>
                    </a:lnTo>
                    <a:lnTo>
                      <a:pt x="138339" y="157127"/>
                    </a:lnTo>
                    <a:lnTo>
                      <a:pt x="143490" y="157885"/>
                    </a:lnTo>
                    <a:lnTo>
                      <a:pt x="148339" y="159248"/>
                    </a:lnTo>
                    <a:lnTo>
                      <a:pt x="150915" y="160157"/>
                    </a:lnTo>
                    <a:lnTo>
                      <a:pt x="154400" y="161673"/>
                    </a:lnTo>
                    <a:lnTo>
                      <a:pt x="158642" y="165309"/>
                    </a:lnTo>
                    <a:lnTo>
                      <a:pt x="160158" y="165915"/>
                    </a:lnTo>
                    <a:lnTo>
                      <a:pt x="161976" y="166218"/>
                    </a:lnTo>
                    <a:lnTo>
                      <a:pt x="163339" y="166067"/>
                    </a:lnTo>
                    <a:lnTo>
                      <a:pt x="166521" y="164552"/>
                    </a:lnTo>
                    <a:lnTo>
                      <a:pt x="169249" y="165764"/>
                    </a:lnTo>
                    <a:lnTo>
                      <a:pt x="170613" y="165612"/>
                    </a:lnTo>
                    <a:lnTo>
                      <a:pt x="173794" y="164703"/>
                    </a:lnTo>
                    <a:lnTo>
                      <a:pt x="177128" y="165764"/>
                    </a:lnTo>
                    <a:lnTo>
                      <a:pt x="185461" y="169855"/>
                    </a:lnTo>
                    <a:lnTo>
                      <a:pt x="186370" y="169703"/>
                    </a:lnTo>
                    <a:lnTo>
                      <a:pt x="187128" y="170158"/>
                    </a:lnTo>
                    <a:lnTo>
                      <a:pt x="187886" y="171067"/>
                    </a:lnTo>
                    <a:lnTo>
                      <a:pt x="188340" y="172279"/>
                    </a:lnTo>
                    <a:lnTo>
                      <a:pt x="188946" y="175764"/>
                    </a:lnTo>
                    <a:lnTo>
                      <a:pt x="191371" y="178340"/>
                    </a:lnTo>
                    <a:lnTo>
                      <a:pt x="194250" y="180613"/>
                    </a:lnTo>
                    <a:lnTo>
                      <a:pt x="197734" y="181825"/>
                    </a:lnTo>
                    <a:lnTo>
                      <a:pt x="204856" y="184855"/>
                    </a:lnTo>
                    <a:lnTo>
                      <a:pt x="208038" y="187280"/>
                    </a:lnTo>
                    <a:lnTo>
                      <a:pt x="211220" y="191522"/>
                    </a:lnTo>
                    <a:lnTo>
                      <a:pt x="215160" y="196977"/>
                    </a:lnTo>
                    <a:lnTo>
                      <a:pt x="215765" y="197432"/>
                    </a:lnTo>
                    <a:lnTo>
                      <a:pt x="225766" y="197280"/>
                    </a:lnTo>
                    <a:lnTo>
                      <a:pt x="236978" y="197280"/>
                    </a:lnTo>
                    <a:lnTo>
                      <a:pt x="238342" y="199553"/>
                    </a:lnTo>
                    <a:lnTo>
                      <a:pt x="238039" y="203947"/>
                    </a:lnTo>
                    <a:lnTo>
                      <a:pt x="238494" y="208341"/>
                    </a:lnTo>
                    <a:lnTo>
                      <a:pt x="239554" y="211371"/>
                    </a:lnTo>
                    <a:lnTo>
                      <a:pt x="239554" y="214250"/>
                    </a:lnTo>
                    <a:lnTo>
                      <a:pt x="238797" y="215765"/>
                    </a:lnTo>
                    <a:lnTo>
                      <a:pt x="238191" y="217432"/>
                    </a:lnTo>
                    <a:lnTo>
                      <a:pt x="238039" y="218190"/>
                    </a:lnTo>
                    <a:lnTo>
                      <a:pt x="239554" y="219250"/>
                    </a:lnTo>
                    <a:lnTo>
                      <a:pt x="240766" y="221675"/>
                    </a:lnTo>
                    <a:lnTo>
                      <a:pt x="240918" y="225008"/>
                    </a:lnTo>
                    <a:lnTo>
                      <a:pt x="240312" y="226826"/>
                    </a:lnTo>
                    <a:lnTo>
                      <a:pt x="240463" y="228190"/>
                    </a:lnTo>
                    <a:lnTo>
                      <a:pt x="241070" y="229402"/>
                    </a:lnTo>
                    <a:lnTo>
                      <a:pt x="243342" y="229099"/>
                    </a:lnTo>
                    <a:lnTo>
                      <a:pt x="244251" y="230160"/>
                    </a:lnTo>
                    <a:lnTo>
                      <a:pt x="245464" y="231675"/>
                    </a:lnTo>
                    <a:lnTo>
                      <a:pt x="248797" y="234402"/>
                    </a:lnTo>
                    <a:lnTo>
                      <a:pt x="250918" y="235160"/>
                    </a:lnTo>
                    <a:lnTo>
                      <a:pt x="253646" y="235615"/>
                    </a:lnTo>
                    <a:lnTo>
                      <a:pt x="256979" y="235312"/>
                    </a:lnTo>
                    <a:lnTo>
                      <a:pt x="259706" y="234857"/>
                    </a:lnTo>
                    <a:lnTo>
                      <a:pt x="260919" y="235009"/>
                    </a:lnTo>
                    <a:lnTo>
                      <a:pt x="263798" y="236978"/>
                    </a:lnTo>
                    <a:lnTo>
                      <a:pt x="267131" y="239706"/>
                    </a:lnTo>
                    <a:lnTo>
                      <a:pt x="268192" y="240918"/>
                    </a:lnTo>
                    <a:lnTo>
                      <a:pt x="268647" y="242736"/>
                    </a:lnTo>
                    <a:lnTo>
                      <a:pt x="269707" y="243342"/>
                    </a:lnTo>
                    <a:lnTo>
                      <a:pt x="271828" y="241524"/>
                    </a:lnTo>
                    <a:lnTo>
                      <a:pt x="273949" y="240918"/>
                    </a:lnTo>
                    <a:lnTo>
                      <a:pt x="275919" y="241221"/>
                    </a:lnTo>
                    <a:lnTo>
                      <a:pt x="278041" y="241372"/>
                    </a:lnTo>
                    <a:lnTo>
                      <a:pt x="280162" y="240615"/>
                    </a:lnTo>
                    <a:lnTo>
                      <a:pt x="281071" y="240160"/>
                    </a:lnTo>
                    <a:lnTo>
                      <a:pt x="284708" y="237736"/>
                    </a:lnTo>
                    <a:lnTo>
                      <a:pt x="288041" y="235918"/>
                    </a:lnTo>
                    <a:lnTo>
                      <a:pt x="290162" y="234857"/>
                    </a:lnTo>
                    <a:lnTo>
                      <a:pt x="290920" y="231069"/>
                    </a:lnTo>
                    <a:lnTo>
                      <a:pt x="291829" y="228948"/>
                    </a:lnTo>
                    <a:lnTo>
                      <a:pt x="293193" y="227736"/>
                    </a:lnTo>
                    <a:lnTo>
                      <a:pt x="292738" y="226220"/>
                    </a:lnTo>
                    <a:lnTo>
                      <a:pt x="292132" y="225008"/>
                    </a:lnTo>
                    <a:lnTo>
                      <a:pt x="291526" y="223341"/>
                    </a:lnTo>
                    <a:lnTo>
                      <a:pt x="292132" y="222432"/>
                    </a:lnTo>
                    <a:lnTo>
                      <a:pt x="293496" y="221978"/>
                    </a:lnTo>
                    <a:lnTo>
                      <a:pt x="296829" y="221978"/>
                    </a:lnTo>
                    <a:lnTo>
                      <a:pt x="302739" y="220311"/>
                    </a:lnTo>
                    <a:lnTo>
                      <a:pt x="307587" y="218644"/>
                    </a:lnTo>
                    <a:lnTo>
                      <a:pt x="312133" y="217281"/>
                    </a:lnTo>
                    <a:lnTo>
                      <a:pt x="314254" y="216978"/>
                    </a:lnTo>
                    <a:lnTo>
                      <a:pt x="316224" y="217281"/>
                    </a:lnTo>
                    <a:lnTo>
                      <a:pt x="317133" y="216826"/>
                    </a:lnTo>
                    <a:lnTo>
                      <a:pt x="317436" y="215462"/>
                    </a:lnTo>
                    <a:lnTo>
                      <a:pt x="318497" y="214099"/>
                    </a:lnTo>
                    <a:lnTo>
                      <a:pt x="321073" y="213038"/>
                    </a:lnTo>
                    <a:lnTo>
                      <a:pt x="325770" y="210614"/>
                    </a:lnTo>
                    <a:lnTo>
                      <a:pt x="330012" y="206977"/>
                    </a:lnTo>
                    <a:lnTo>
                      <a:pt x="331528" y="204250"/>
                    </a:lnTo>
                    <a:lnTo>
                      <a:pt x="332588" y="200310"/>
                    </a:lnTo>
                    <a:lnTo>
                      <a:pt x="334558" y="194250"/>
                    </a:lnTo>
                    <a:lnTo>
                      <a:pt x="336679" y="187583"/>
                    </a:lnTo>
                    <a:lnTo>
                      <a:pt x="337437" y="184552"/>
                    </a:lnTo>
                    <a:lnTo>
                      <a:pt x="338346" y="182279"/>
                    </a:lnTo>
                    <a:lnTo>
                      <a:pt x="341983" y="180310"/>
                    </a:lnTo>
                    <a:lnTo>
                      <a:pt x="345771" y="178946"/>
                    </a:lnTo>
                    <a:lnTo>
                      <a:pt x="351680" y="178643"/>
                    </a:lnTo>
                    <a:lnTo>
                      <a:pt x="358498" y="178491"/>
                    </a:lnTo>
                    <a:lnTo>
                      <a:pt x="360014" y="174855"/>
                    </a:lnTo>
                    <a:lnTo>
                      <a:pt x="360923" y="171673"/>
                    </a:lnTo>
                    <a:lnTo>
                      <a:pt x="362135" y="170006"/>
                    </a:lnTo>
                    <a:lnTo>
                      <a:pt x="363802" y="168642"/>
                    </a:lnTo>
                    <a:lnTo>
                      <a:pt x="364407" y="168340"/>
                    </a:lnTo>
                    <a:lnTo>
                      <a:pt x="368044" y="170309"/>
                    </a:lnTo>
                    <a:lnTo>
                      <a:pt x="373802" y="173188"/>
                    </a:lnTo>
                    <a:lnTo>
                      <a:pt x="380468" y="174703"/>
                    </a:lnTo>
                    <a:lnTo>
                      <a:pt x="383802" y="175461"/>
                    </a:lnTo>
                    <a:lnTo>
                      <a:pt x="385166" y="175309"/>
                    </a:lnTo>
                    <a:lnTo>
                      <a:pt x="384863" y="171825"/>
                    </a:lnTo>
                    <a:lnTo>
                      <a:pt x="384863" y="167430"/>
                    </a:lnTo>
                    <a:lnTo>
                      <a:pt x="384408" y="1615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0FE20B1B-48AD-42D1-AA67-71F1A05E80E1}"/>
                  </a:ext>
                </a:extLst>
              </p:cNvPr>
              <p:cNvSpPr/>
              <p:nvPr/>
            </p:nvSpPr>
            <p:spPr>
              <a:xfrm>
                <a:off x="9170962" y="4783819"/>
                <a:ext cx="89094" cy="37577"/>
              </a:xfrm>
              <a:custGeom>
                <a:avLst/>
                <a:gdLst>
                  <a:gd name="connsiteX0" fmla="*/ 43941 w 89094"/>
                  <a:gd name="connsiteY0" fmla="*/ 0 h 37577"/>
                  <a:gd name="connsiteX1" fmla="*/ 43183 w 89094"/>
                  <a:gd name="connsiteY1" fmla="*/ 303 h 37577"/>
                  <a:gd name="connsiteX2" fmla="*/ 42122 w 89094"/>
                  <a:gd name="connsiteY2" fmla="*/ 1061 h 37577"/>
                  <a:gd name="connsiteX3" fmla="*/ 40002 w 89094"/>
                  <a:gd name="connsiteY3" fmla="*/ 3637 h 37577"/>
                  <a:gd name="connsiteX4" fmla="*/ 41972 w 89094"/>
                  <a:gd name="connsiteY4" fmla="*/ 4697 h 37577"/>
                  <a:gd name="connsiteX5" fmla="*/ 43941 w 89094"/>
                  <a:gd name="connsiteY5" fmla="*/ 0 h 37577"/>
                  <a:gd name="connsiteX6" fmla="*/ 88034 w 89094"/>
                  <a:gd name="connsiteY6" fmla="*/ 6970 h 37577"/>
                  <a:gd name="connsiteX7" fmla="*/ 86821 w 89094"/>
                  <a:gd name="connsiteY7" fmla="*/ 6364 h 37577"/>
                  <a:gd name="connsiteX8" fmla="*/ 82579 w 89094"/>
                  <a:gd name="connsiteY8" fmla="*/ 5758 h 37577"/>
                  <a:gd name="connsiteX9" fmla="*/ 80002 w 89094"/>
                  <a:gd name="connsiteY9" fmla="*/ 4849 h 37577"/>
                  <a:gd name="connsiteX10" fmla="*/ 78336 w 89094"/>
                  <a:gd name="connsiteY10" fmla="*/ 5606 h 37577"/>
                  <a:gd name="connsiteX11" fmla="*/ 76669 w 89094"/>
                  <a:gd name="connsiteY11" fmla="*/ 6515 h 37577"/>
                  <a:gd name="connsiteX12" fmla="*/ 73639 w 89094"/>
                  <a:gd name="connsiteY12" fmla="*/ 7727 h 37577"/>
                  <a:gd name="connsiteX13" fmla="*/ 70458 w 89094"/>
                  <a:gd name="connsiteY13" fmla="*/ 8788 h 37577"/>
                  <a:gd name="connsiteX14" fmla="*/ 68033 w 89094"/>
                  <a:gd name="connsiteY14" fmla="*/ 9091 h 37577"/>
                  <a:gd name="connsiteX15" fmla="*/ 58184 w 89094"/>
                  <a:gd name="connsiteY15" fmla="*/ 9546 h 37577"/>
                  <a:gd name="connsiteX16" fmla="*/ 50911 w 89094"/>
                  <a:gd name="connsiteY16" fmla="*/ 9546 h 37577"/>
                  <a:gd name="connsiteX17" fmla="*/ 48183 w 89094"/>
                  <a:gd name="connsiteY17" fmla="*/ 9697 h 37577"/>
                  <a:gd name="connsiteX18" fmla="*/ 36668 w 89094"/>
                  <a:gd name="connsiteY18" fmla="*/ 11970 h 37577"/>
                  <a:gd name="connsiteX19" fmla="*/ 35001 w 89094"/>
                  <a:gd name="connsiteY19" fmla="*/ 12425 h 37577"/>
                  <a:gd name="connsiteX20" fmla="*/ 31062 w 89094"/>
                  <a:gd name="connsiteY20" fmla="*/ 13940 h 37577"/>
                  <a:gd name="connsiteX21" fmla="*/ 29395 w 89094"/>
                  <a:gd name="connsiteY21" fmla="*/ 15607 h 37577"/>
                  <a:gd name="connsiteX22" fmla="*/ 26970 w 89094"/>
                  <a:gd name="connsiteY22" fmla="*/ 19698 h 37577"/>
                  <a:gd name="connsiteX23" fmla="*/ 24092 w 89094"/>
                  <a:gd name="connsiteY23" fmla="*/ 21970 h 37577"/>
                  <a:gd name="connsiteX24" fmla="*/ 23941 w 89094"/>
                  <a:gd name="connsiteY24" fmla="*/ 24395 h 37577"/>
                  <a:gd name="connsiteX25" fmla="*/ 24546 w 89094"/>
                  <a:gd name="connsiteY25" fmla="*/ 25001 h 37577"/>
                  <a:gd name="connsiteX26" fmla="*/ 25607 w 89094"/>
                  <a:gd name="connsiteY26" fmla="*/ 25304 h 37577"/>
                  <a:gd name="connsiteX27" fmla="*/ 29092 w 89094"/>
                  <a:gd name="connsiteY27" fmla="*/ 23637 h 37577"/>
                  <a:gd name="connsiteX28" fmla="*/ 29698 w 89094"/>
                  <a:gd name="connsiteY28" fmla="*/ 23940 h 37577"/>
                  <a:gd name="connsiteX29" fmla="*/ 30304 w 89094"/>
                  <a:gd name="connsiteY29" fmla="*/ 24698 h 37577"/>
                  <a:gd name="connsiteX30" fmla="*/ 30304 w 89094"/>
                  <a:gd name="connsiteY30" fmla="*/ 26971 h 37577"/>
                  <a:gd name="connsiteX31" fmla="*/ 28940 w 89094"/>
                  <a:gd name="connsiteY31" fmla="*/ 28789 h 37577"/>
                  <a:gd name="connsiteX32" fmla="*/ 25607 w 89094"/>
                  <a:gd name="connsiteY32" fmla="*/ 28941 h 37577"/>
                  <a:gd name="connsiteX33" fmla="*/ 25152 w 89094"/>
                  <a:gd name="connsiteY33" fmla="*/ 29395 h 37577"/>
                  <a:gd name="connsiteX34" fmla="*/ 25152 w 89094"/>
                  <a:gd name="connsiteY34" fmla="*/ 30456 h 37577"/>
                  <a:gd name="connsiteX35" fmla="*/ 25455 w 89094"/>
                  <a:gd name="connsiteY35" fmla="*/ 31516 h 37577"/>
                  <a:gd name="connsiteX36" fmla="*/ 26213 w 89094"/>
                  <a:gd name="connsiteY36" fmla="*/ 32425 h 37577"/>
                  <a:gd name="connsiteX37" fmla="*/ 27274 w 89094"/>
                  <a:gd name="connsiteY37" fmla="*/ 33941 h 37577"/>
                  <a:gd name="connsiteX38" fmla="*/ 28183 w 89094"/>
                  <a:gd name="connsiteY38" fmla="*/ 37577 h 37577"/>
                  <a:gd name="connsiteX39" fmla="*/ 32122 w 89094"/>
                  <a:gd name="connsiteY39" fmla="*/ 34547 h 37577"/>
                  <a:gd name="connsiteX40" fmla="*/ 37577 w 89094"/>
                  <a:gd name="connsiteY40" fmla="*/ 31062 h 37577"/>
                  <a:gd name="connsiteX41" fmla="*/ 46517 w 89094"/>
                  <a:gd name="connsiteY41" fmla="*/ 27880 h 37577"/>
                  <a:gd name="connsiteX42" fmla="*/ 49396 w 89094"/>
                  <a:gd name="connsiteY42" fmla="*/ 26971 h 37577"/>
                  <a:gd name="connsiteX43" fmla="*/ 50911 w 89094"/>
                  <a:gd name="connsiteY43" fmla="*/ 26971 h 37577"/>
                  <a:gd name="connsiteX44" fmla="*/ 52275 w 89094"/>
                  <a:gd name="connsiteY44" fmla="*/ 26819 h 37577"/>
                  <a:gd name="connsiteX45" fmla="*/ 55760 w 89094"/>
                  <a:gd name="connsiteY45" fmla="*/ 24546 h 37577"/>
                  <a:gd name="connsiteX46" fmla="*/ 58184 w 89094"/>
                  <a:gd name="connsiteY46" fmla="*/ 23334 h 37577"/>
                  <a:gd name="connsiteX47" fmla="*/ 60912 w 89094"/>
                  <a:gd name="connsiteY47" fmla="*/ 22728 h 37577"/>
                  <a:gd name="connsiteX48" fmla="*/ 64093 w 89094"/>
                  <a:gd name="connsiteY48" fmla="*/ 22274 h 37577"/>
                  <a:gd name="connsiteX49" fmla="*/ 66972 w 89094"/>
                  <a:gd name="connsiteY49" fmla="*/ 21061 h 37577"/>
                  <a:gd name="connsiteX50" fmla="*/ 69245 w 89094"/>
                  <a:gd name="connsiteY50" fmla="*/ 18940 h 37577"/>
                  <a:gd name="connsiteX51" fmla="*/ 71821 w 89094"/>
                  <a:gd name="connsiteY51" fmla="*/ 17576 h 37577"/>
                  <a:gd name="connsiteX52" fmla="*/ 75305 w 89094"/>
                  <a:gd name="connsiteY52" fmla="*/ 16819 h 37577"/>
                  <a:gd name="connsiteX53" fmla="*/ 78639 w 89094"/>
                  <a:gd name="connsiteY53" fmla="*/ 15758 h 37577"/>
                  <a:gd name="connsiteX54" fmla="*/ 84094 w 89094"/>
                  <a:gd name="connsiteY54" fmla="*/ 12122 h 37577"/>
                  <a:gd name="connsiteX55" fmla="*/ 89094 w 89094"/>
                  <a:gd name="connsiteY55" fmla="*/ 7727 h 37577"/>
                  <a:gd name="connsiteX56" fmla="*/ 88034 w 89094"/>
                  <a:gd name="connsiteY56" fmla="*/ 6970 h 37577"/>
                  <a:gd name="connsiteX57" fmla="*/ 0 w 89094"/>
                  <a:gd name="connsiteY57" fmla="*/ 32880 h 37577"/>
                  <a:gd name="connsiteX58" fmla="*/ 454 w 89094"/>
                  <a:gd name="connsiteY58" fmla="*/ 33789 h 37577"/>
                  <a:gd name="connsiteX59" fmla="*/ 1515 w 89094"/>
                  <a:gd name="connsiteY59" fmla="*/ 34850 h 37577"/>
                  <a:gd name="connsiteX60" fmla="*/ 2273 w 89094"/>
                  <a:gd name="connsiteY60" fmla="*/ 35001 h 37577"/>
                  <a:gd name="connsiteX61" fmla="*/ 2727 w 89094"/>
                  <a:gd name="connsiteY61" fmla="*/ 34698 h 37577"/>
                  <a:gd name="connsiteX62" fmla="*/ 6819 w 89094"/>
                  <a:gd name="connsiteY62" fmla="*/ 35153 h 37577"/>
                  <a:gd name="connsiteX63" fmla="*/ 7879 w 89094"/>
                  <a:gd name="connsiteY63" fmla="*/ 34698 h 37577"/>
                  <a:gd name="connsiteX64" fmla="*/ 9394 w 89094"/>
                  <a:gd name="connsiteY64" fmla="*/ 32880 h 37577"/>
                  <a:gd name="connsiteX65" fmla="*/ 10455 w 89094"/>
                  <a:gd name="connsiteY65" fmla="*/ 31971 h 37577"/>
                  <a:gd name="connsiteX66" fmla="*/ 11212 w 89094"/>
                  <a:gd name="connsiteY66" fmla="*/ 29850 h 37577"/>
                  <a:gd name="connsiteX67" fmla="*/ 11364 w 89094"/>
                  <a:gd name="connsiteY67" fmla="*/ 28486 h 37577"/>
                  <a:gd name="connsiteX68" fmla="*/ 4697 w 89094"/>
                  <a:gd name="connsiteY68" fmla="*/ 30304 h 37577"/>
                  <a:gd name="connsiteX69" fmla="*/ 0 w 89094"/>
                  <a:gd name="connsiteY69" fmla="*/ 32880 h 37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9094" h="37577">
                    <a:moveTo>
                      <a:pt x="43941" y="0"/>
                    </a:moveTo>
                    <a:lnTo>
                      <a:pt x="43183" y="303"/>
                    </a:lnTo>
                    <a:lnTo>
                      <a:pt x="42122" y="1061"/>
                    </a:lnTo>
                    <a:lnTo>
                      <a:pt x="40002" y="3637"/>
                    </a:lnTo>
                    <a:lnTo>
                      <a:pt x="41972" y="4697"/>
                    </a:lnTo>
                    <a:lnTo>
                      <a:pt x="43941" y="0"/>
                    </a:lnTo>
                    <a:close/>
                    <a:moveTo>
                      <a:pt x="88034" y="6970"/>
                    </a:moveTo>
                    <a:lnTo>
                      <a:pt x="86821" y="6364"/>
                    </a:lnTo>
                    <a:lnTo>
                      <a:pt x="82579" y="5758"/>
                    </a:lnTo>
                    <a:lnTo>
                      <a:pt x="80002" y="4849"/>
                    </a:lnTo>
                    <a:lnTo>
                      <a:pt x="78336" y="5606"/>
                    </a:lnTo>
                    <a:lnTo>
                      <a:pt x="76669" y="6515"/>
                    </a:lnTo>
                    <a:lnTo>
                      <a:pt x="73639" y="7727"/>
                    </a:lnTo>
                    <a:lnTo>
                      <a:pt x="70458" y="8788"/>
                    </a:lnTo>
                    <a:lnTo>
                      <a:pt x="68033" y="9091"/>
                    </a:lnTo>
                    <a:lnTo>
                      <a:pt x="58184" y="9546"/>
                    </a:lnTo>
                    <a:lnTo>
                      <a:pt x="50911" y="9546"/>
                    </a:lnTo>
                    <a:lnTo>
                      <a:pt x="48183" y="9697"/>
                    </a:lnTo>
                    <a:lnTo>
                      <a:pt x="36668" y="11970"/>
                    </a:lnTo>
                    <a:lnTo>
                      <a:pt x="35001" y="12425"/>
                    </a:lnTo>
                    <a:lnTo>
                      <a:pt x="31062" y="13940"/>
                    </a:lnTo>
                    <a:lnTo>
                      <a:pt x="29395" y="15607"/>
                    </a:lnTo>
                    <a:lnTo>
                      <a:pt x="26970" y="19698"/>
                    </a:lnTo>
                    <a:lnTo>
                      <a:pt x="24092" y="21970"/>
                    </a:lnTo>
                    <a:lnTo>
                      <a:pt x="23941" y="24395"/>
                    </a:lnTo>
                    <a:lnTo>
                      <a:pt x="24546" y="25001"/>
                    </a:lnTo>
                    <a:lnTo>
                      <a:pt x="25607" y="25304"/>
                    </a:lnTo>
                    <a:lnTo>
                      <a:pt x="29092" y="23637"/>
                    </a:lnTo>
                    <a:lnTo>
                      <a:pt x="29698" y="23940"/>
                    </a:lnTo>
                    <a:lnTo>
                      <a:pt x="30304" y="24698"/>
                    </a:lnTo>
                    <a:lnTo>
                      <a:pt x="30304" y="26971"/>
                    </a:lnTo>
                    <a:lnTo>
                      <a:pt x="28940" y="28789"/>
                    </a:lnTo>
                    <a:lnTo>
                      <a:pt x="25607" y="28941"/>
                    </a:lnTo>
                    <a:lnTo>
                      <a:pt x="25152" y="29395"/>
                    </a:lnTo>
                    <a:lnTo>
                      <a:pt x="25152" y="30456"/>
                    </a:lnTo>
                    <a:lnTo>
                      <a:pt x="25455" y="31516"/>
                    </a:lnTo>
                    <a:lnTo>
                      <a:pt x="26213" y="32425"/>
                    </a:lnTo>
                    <a:lnTo>
                      <a:pt x="27274" y="33941"/>
                    </a:lnTo>
                    <a:lnTo>
                      <a:pt x="28183" y="37577"/>
                    </a:lnTo>
                    <a:lnTo>
                      <a:pt x="32122" y="34547"/>
                    </a:lnTo>
                    <a:lnTo>
                      <a:pt x="37577" y="31062"/>
                    </a:lnTo>
                    <a:lnTo>
                      <a:pt x="46517" y="27880"/>
                    </a:lnTo>
                    <a:lnTo>
                      <a:pt x="49396" y="26971"/>
                    </a:lnTo>
                    <a:lnTo>
                      <a:pt x="50911" y="26971"/>
                    </a:lnTo>
                    <a:lnTo>
                      <a:pt x="52275" y="26819"/>
                    </a:lnTo>
                    <a:lnTo>
                      <a:pt x="55760" y="24546"/>
                    </a:lnTo>
                    <a:lnTo>
                      <a:pt x="58184" y="23334"/>
                    </a:lnTo>
                    <a:lnTo>
                      <a:pt x="60912" y="22728"/>
                    </a:lnTo>
                    <a:lnTo>
                      <a:pt x="64093" y="22274"/>
                    </a:lnTo>
                    <a:lnTo>
                      <a:pt x="66972" y="21061"/>
                    </a:lnTo>
                    <a:lnTo>
                      <a:pt x="69245" y="18940"/>
                    </a:lnTo>
                    <a:lnTo>
                      <a:pt x="71821" y="17576"/>
                    </a:lnTo>
                    <a:lnTo>
                      <a:pt x="75305" y="16819"/>
                    </a:lnTo>
                    <a:lnTo>
                      <a:pt x="78639" y="15758"/>
                    </a:lnTo>
                    <a:lnTo>
                      <a:pt x="84094" y="12122"/>
                    </a:lnTo>
                    <a:lnTo>
                      <a:pt x="89094" y="7727"/>
                    </a:lnTo>
                    <a:lnTo>
                      <a:pt x="88034" y="6970"/>
                    </a:lnTo>
                    <a:close/>
                    <a:moveTo>
                      <a:pt x="0" y="32880"/>
                    </a:moveTo>
                    <a:lnTo>
                      <a:pt x="454" y="33789"/>
                    </a:lnTo>
                    <a:lnTo>
                      <a:pt x="1515" y="34850"/>
                    </a:lnTo>
                    <a:lnTo>
                      <a:pt x="2273" y="35001"/>
                    </a:lnTo>
                    <a:lnTo>
                      <a:pt x="2727" y="34698"/>
                    </a:lnTo>
                    <a:lnTo>
                      <a:pt x="6819" y="35153"/>
                    </a:lnTo>
                    <a:lnTo>
                      <a:pt x="7879" y="34698"/>
                    </a:lnTo>
                    <a:lnTo>
                      <a:pt x="9394" y="32880"/>
                    </a:lnTo>
                    <a:lnTo>
                      <a:pt x="10455" y="31971"/>
                    </a:lnTo>
                    <a:lnTo>
                      <a:pt x="11212" y="29850"/>
                    </a:lnTo>
                    <a:lnTo>
                      <a:pt x="11364" y="28486"/>
                    </a:lnTo>
                    <a:lnTo>
                      <a:pt x="4697" y="30304"/>
                    </a:lnTo>
                    <a:lnTo>
                      <a:pt x="0" y="328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87085A45-605C-4B7D-9E65-B113B8C9FC92}"/>
                  </a:ext>
                </a:extLst>
              </p:cNvPr>
              <p:cNvSpPr/>
              <p:nvPr/>
            </p:nvSpPr>
            <p:spPr>
              <a:xfrm>
                <a:off x="7619238" y="3378011"/>
                <a:ext cx="212735" cy="138792"/>
              </a:xfrm>
              <a:custGeom>
                <a:avLst/>
                <a:gdLst>
                  <a:gd name="connsiteX0" fmla="*/ 90306 w 212735"/>
                  <a:gd name="connsiteY0" fmla="*/ 3788 h 138792"/>
                  <a:gd name="connsiteX1" fmla="*/ 91064 w 212735"/>
                  <a:gd name="connsiteY1" fmla="*/ 3788 h 138792"/>
                  <a:gd name="connsiteX2" fmla="*/ 90912 w 212735"/>
                  <a:gd name="connsiteY2" fmla="*/ 3030 h 138792"/>
                  <a:gd name="connsiteX3" fmla="*/ 90003 w 212735"/>
                  <a:gd name="connsiteY3" fmla="*/ 1667 h 138792"/>
                  <a:gd name="connsiteX4" fmla="*/ 88791 w 212735"/>
                  <a:gd name="connsiteY4" fmla="*/ 909 h 138792"/>
                  <a:gd name="connsiteX5" fmla="*/ 88185 w 212735"/>
                  <a:gd name="connsiteY5" fmla="*/ 1212 h 138792"/>
                  <a:gd name="connsiteX6" fmla="*/ 88640 w 212735"/>
                  <a:gd name="connsiteY6" fmla="*/ 2273 h 138792"/>
                  <a:gd name="connsiteX7" fmla="*/ 90306 w 212735"/>
                  <a:gd name="connsiteY7" fmla="*/ 3788 h 138792"/>
                  <a:gd name="connsiteX8" fmla="*/ 88791 w 212735"/>
                  <a:gd name="connsiteY8" fmla="*/ 38183 h 138792"/>
                  <a:gd name="connsiteX9" fmla="*/ 86822 w 212735"/>
                  <a:gd name="connsiteY9" fmla="*/ 37729 h 138792"/>
                  <a:gd name="connsiteX10" fmla="*/ 86367 w 212735"/>
                  <a:gd name="connsiteY10" fmla="*/ 37729 h 138792"/>
                  <a:gd name="connsiteX11" fmla="*/ 86518 w 212735"/>
                  <a:gd name="connsiteY11" fmla="*/ 38335 h 138792"/>
                  <a:gd name="connsiteX12" fmla="*/ 87276 w 212735"/>
                  <a:gd name="connsiteY12" fmla="*/ 39395 h 138792"/>
                  <a:gd name="connsiteX13" fmla="*/ 88336 w 212735"/>
                  <a:gd name="connsiteY13" fmla="*/ 40607 h 138792"/>
                  <a:gd name="connsiteX14" fmla="*/ 89701 w 212735"/>
                  <a:gd name="connsiteY14" fmla="*/ 40759 h 138792"/>
                  <a:gd name="connsiteX15" fmla="*/ 92124 w 212735"/>
                  <a:gd name="connsiteY15" fmla="*/ 39547 h 138792"/>
                  <a:gd name="connsiteX16" fmla="*/ 91973 w 212735"/>
                  <a:gd name="connsiteY16" fmla="*/ 38941 h 138792"/>
                  <a:gd name="connsiteX17" fmla="*/ 91064 w 212735"/>
                  <a:gd name="connsiteY17" fmla="*/ 38638 h 138792"/>
                  <a:gd name="connsiteX18" fmla="*/ 88791 w 212735"/>
                  <a:gd name="connsiteY18" fmla="*/ 38183 h 138792"/>
                  <a:gd name="connsiteX19" fmla="*/ 212735 w 212735"/>
                  <a:gd name="connsiteY19" fmla="*/ 115004 h 138792"/>
                  <a:gd name="connsiteX20" fmla="*/ 209705 w 212735"/>
                  <a:gd name="connsiteY20" fmla="*/ 112580 h 138792"/>
                  <a:gd name="connsiteX21" fmla="*/ 207735 w 212735"/>
                  <a:gd name="connsiteY21" fmla="*/ 111216 h 138792"/>
                  <a:gd name="connsiteX22" fmla="*/ 207129 w 212735"/>
                  <a:gd name="connsiteY22" fmla="*/ 110307 h 138792"/>
                  <a:gd name="connsiteX23" fmla="*/ 207584 w 212735"/>
                  <a:gd name="connsiteY23" fmla="*/ 107580 h 138792"/>
                  <a:gd name="connsiteX24" fmla="*/ 208341 w 212735"/>
                  <a:gd name="connsiteY24" fmla="*/ 104852 h 138792"/>
                  <a:gd name="connsiteX25" fmla="*/ 207887 w 212735"/>
                  <a:gd name="connsiteY25" fmla="*/ 103792 h 138792"/>
                  <a:gd name="connsiteX26" fmla="*/ 207280 w 212735"/>
                  <a:gd name="connsiteY26" fmla="*/ 102882 h 138792"/>
                  <a:gd name="connsiteX27" fmla="*/ 206977 w 212735"/>
                  <a:gd name="connsiteY27" fmla="*/ 100004 h 138792"/>
                  <a:gd name="connsiteX28" fmla="*/ 205614 w 212735"/>
                  <a:gd name="connsiteY28" fmla="*/ 96519 h 138792"/>
                  <a:gd name="connsiteX29" fmla="*/ 204099 w 212735"/>
                  <a:gd name="connsiteY29" fmla="*/ 94397 h 138792"/>
                  <a:gd name="connsiteX30" fmla="*/ 203644 w 212735"/>
                  <a:gd name="connsiteY30" fmla="*/ 91670 h 138792"/>
                  <a:gd name="connsiteX31" fmla="*/ 203492 w 212735"/>
                  <a:gd name="connsiteY31" fmla="*/ 89094 h 138792"/>
                  <a:gd name="connsiteX32" fmla="*/ 205310 w 212735"/>
                  <a:gd name="connsiteY32" fmla="*/ 85003 h 138792"/>
                  <a:gd name="connsiteX33" fmla="*/ 204705 w 212735"/>
                  <a:gd name="connsiteY33" fmla="*/ 83185 h 138792"/>
                  <a:gd name="connsiteX34" fmla="*/ 202887 w 212735"/>
                  <a:gd name="connsiteY34" fmla="*/ 81670 h 138792"/>
                  <a:gd name="connsiteX35" fmla="*/ 196522 w 212735"/>
                  <a:gd name="connsiteY35" fmla="*/ 78791 h 138792"/>
                  <a:gd name="connsiteX36" fmla="*/ 190007 w 212735"/>
                  <a:gd name="connsiteY36" fmla="*/ 76821 h 138792"/>
                  <a:gd name="connsiteX37" fmla="*/ 187583 w 212735"/>
                  <a:gd name="connsiteY37" fmla="*/ 76821 h 138792"/>
                  <a:gd name="connsiteX38" fmla="*/ 186067 w 212735"/>
                  <a:gd name="connsiteY38" fmla="*/ 76669 h 138792"/>
                  <a:gd name="connsiteX39" fmla="*/ 184249 w 212735"/>
                  <a:gd name="connsiteY39" fmla="*/ 78336 h 138792"/>
                  <a:gd name="connsiteX40" fmla="*/ 183189 w 212735"/>
                  <a:gd name="connsiteY40" fmla="*/ 80457 h 138792"/>
                  <a:gd name="connsiteX41" fmla="*/ 181673 w 212735"/>
                  <a:gd name="connsiteY41" fmla="*/ 80609 h 138792"/>
                  <a:gd name="connsiteX42" fmla="*/ 178946 w 212735"/>
                  <a:gd name="connsiteY42" fmla="*/ 79700 h 138792"/>
                  <a:gd name="connsiteX43" fmla="*/ 177128 w 212735"/>
                  <a:gd name="connsiteY43" fmla="*/ 78336 h 138792"/>
                  <a:gd name="connsiteX44" fmla="*/ 175764 w 212735"/>
                  <a:gd name="connsiteY44" fmla="*/ 75457 h 138792"/>
                  <a:gd name="connsiteX45" fmla="*/ 174703 w 212735"/>
                  <a:gd name="connsiteY45" fmla="*/ 71669 h 138792"/>
                  <a:gd name="connsiteX46" fmla="*/ 174097 w 212735"/>
                  <a:gd name="connsiteY46" fmla="*/ 70457 h 138792"/>
                  <a:gd name="connsiteX47" fmla="*/ 174401 w 212735"/>
                  <a:gd name="connsiteY47" fmla="*/ 69397 h 138792"/>
                  <a:gd name="connsiteX48" fmla="*/ 175006 w 212735"/>
                  <a:gd name="connsiteY48" fmla="*/ 68487 h 138792"/>
                  <a:gd name="connsiteX49" fmla="*/ 176825 w 212735"/>
                  <a:gd name="connsiteY49" fmla="*/ 67578 h 138792"/>
                  <a:gd name="connsiteX50" fmla="*/ 177128 w 212735"/>
                  <a:gd name="connsiteY50" fmla="*/ 66669 h 138792"/>
                  <a:gd name="connsiteX51" fmla="*/ 176825 w 212735"/>
                  <a:gd name="connsiteY51" fmla="*/ 65608 h 138792"/>
                  <a:gd name="connsiteX52" fmla="*/ 175461 w 212735"/>
                  <a:gd name="connsiteY52" fmla="*/ 64245 h 138792"/>
                  <a:gd name="connsiteX53" fmla="*/ 173946 w 212735"/>
                  <a:gd name="connsiteY53" fmla="*/ 62275 h 138792"/>
                  <a:gd name="connsiteX54" fmla="*/ 171673 w 212735"/>
                  <a:gd name="connsiteY54" fmla="*/ 58336 h 138792"/>
                  <a:gd name="connsiteX55" fmla="*/ 172128 w 212735"/>
                  <a:gd name="connsiteY55" fmla="*/ 56214 h 138792"/>
                  <a:gd name="connsiteX56" fmla="*/ 172431 w 212735"/>
                  <a:gd name="connsiteY56" fmla="*/ 53032 h 138792"/>
                  <a:gd name="connsiteX57" fmla="*/ 172279 w 212735"/>
                  <a:gd name="connsiteY57" fmla="*/ 51366 h 138792"/>
                  <a:gd name="connsiteX58" fmla="*/ 170764 w 212735"/>
                  <a:gd name="connsiteY58" fmla="*/ 51062 h 138792"/>
                  <a:gd name="connsiteX59" fmla="*/ 167885 w 212735"/>
                  <a:gd name="connsiteY59" fmla="*/ 50911 h 138792"/>
                  <a:gd name="connsiteX60" fmla="*/ 165612 w 212735"/>
                  <a:gd name="connsiteY60" fmla="*/ 51517 h 138792"/>
                  <a:gd name="connsiteX61" fmla="*/ 164248 w 212735"/>
                  <a:gd name="connsiteY61" fmla="*/ 52426 h 138792"/>
                  <a:gd name="connsiteX62" fmla="*/ 161521 w 212735"/>
                  <a:gd name="connsiteY62" fmla="*/ 53638 h 138792"/>
                  <a:gd name="connsiteX63" fmla="*/ 158036 w 212735"/>
                  <a:gd name="connsiteY63" fmla="*/ 54093 h 138792"/>
                  <a:gd name="connsiteX64" fmla="*/ 153642 w 212735"/>
                  <a:gd name="connsiteY64" fmla="*/ 54244 h 138792"/>
                  <a:gd name="connsiteX65" fmla="*/ 151521 w 212735"/>
                  <a:gd name="connsiteY65" fmla="*/ 54093 h 138792"/>
                  <a:gd name="connsiteX66" fmla="*/ 145157 w 212735"/>
                  <a:gd name="connsiteY66" fmla="*/ 53335 h 138792"/>
                  <a:gd name="connsiteX67" fmla="*/ 143036 w 212735"/>
                  <a:gd name="connsiteY67" fmla="*/ 53638 h 138792"/>
                  <a:gd name="connsiteX68" fmla="*/ 141066 w 212735"/>
                  <a:gd name="connsiteY68" fmla="*/ 54244 h 138792"/>
                  <a:gd name="connsiteX69" fmla="*/ 137429 w 212735"/>
                  <a:gd name="connsiteY69" fmla="*/ 54850 h 138792"/>
                  <a:gd name="connsiteX70" fmla="*/ 135460 w 212735"/>
                  <a:gd name="connsiteY70" fmla="*/ 56820 h 138792"/>
                  <a:gd name="connsiteX71" fmla="*/ 134399 w 212735"/>
                  <a:gd name="connsiteY71" fmla="*/ 58638 h 138792"/>
                  <a:gd name="connsiteX72" fmla="*/ 133793 w 212735"/>
                  <a:gd name="connsiteY72" fmla="*/ 58942 h 138792"/>
                  <a:gd name="connsiteX73" fmla="*/ 131520 w 212735"/>
                  <a:gd name="connsiteY73" fmla="*/ 57275 h 138792"/>
                  <a:gd name="connsiteX74" fmla="*/ 129853 w 212735"/>
                  <a:gd name="connsiteY74" fmla="*/ 55608 h 138792"/>
                  <a:gd name="connsiteX75" fmla="*/ 128793 w 212735"/>
                  <a:gd name="connsiteY75" fmla="*/ 54244 h 138792"/>
                  <a:gd name="connsiteX76" fmla="*/ 127429 w 212735"/>
                  <a:gd name="connsiteY76" fmla="*/ 54244 h 138792"/>
                  <a:gd name="connsiteX77" fmla="*/ 122429 w 212735"/>
                  <a:gd name="connsiteY77" fmla="*/ 56669 h 138792"/>
                  <a:gd name="connsiteX78" fmla="*/ 121671 w 212735"/>
                  <a:gd name="connsiteY78" fmla="*/ 56517 h 138792"/>
                  <a:gd name="connsiteX79" fmla="*/ 120156 w 212735"/>
                  <a:gd name="connsiteY79" fmla="*/ 55608 h 138792"/>
                  <a:gd name="connsiteX80" fmla="*/ 120459 w 212735"/>
                  <a:gd name="connsiteY80" fmla="*/ 53335 h 138792"/>
                  <a:gd name="connsiteX81" fmla="*/ 120308 w 212735"/>
                  <a:gd name="connsiteY81" fmla="*/ 51820 h 138792"/>
                  <a:gd name="connsiteX82" fmla="*/ 118641 w 212735"/>
                  <a:gd name="connsiteY82" fmla="*/ 51062 h 138792"/>
                  <a:gd name="connsiteX83" fmla="*/ 115156 w 212735"/>
                  <a:gd name="connsiteY83" fmla="*/ 50911 h 138792"/>
                  <a:gd name="connsiteX84" fmla="*/ 113943 w 212735"/>
                  <a:gd name="connsiteY84" fmla="*/ 50153 h 138792"/>
                  <a:gd name="connsiteX85" fmla="*/ 113943 w 212735"/>
                  <a:gd name="connsiteY85" fmla="*/ 48941 h 138792"/>
                  <a:gd name="connsiteX86" fmla="*/ 114247 w 212735"/>
                  <a:gd name="connsiteY86" fmla="*/ 47729 h 138792"/>
                  <a:gd name="connsiteX87" fmla="*/ 113792 w 212735"/>
                  <a:gd name="connsiteY87" fmla="*/ 46820 h 138792"/>
                  <a:gd name="connsiteX88" fmla="*/ 112883 w 212735"/>
                  <a:gd name="connsiteY88" fmla="*/ 46062 h 138792"/>
                  <a:gd name="connsiteX89" fmla="*/ 111065 w 212735"/>
                  <a:gd name="connsiteY89" fmla="*/ 46214 h 138792"/>
                  <a:gd name="connsiteX90" fmla="*/ 108943 w 212735"/>
                  <a:gd name="connsiteY90" fmla="*/ 47123 h 138792"/>
                  <a:gd name="connsiteX91" fmla="*/ 107428 w 212735"/>
                  <a:gd name="connsiteY91" fmla="*/ 48183 h 138792"/>
                  <a:gd name="connsiteX92" fmla="*/ 105458 w 212735"/>
                  <a:gd name="connsiteY92" fmla="*/ 48638 h 138792"/>
                  <a:gd name="connsiteX93" fmla="*/ 103186 w 212735"/>
                  <a:gd name="connsiteY93" fmla="*/ 48790 h 138792"/>
                  <a:gd name="connsiteX94" fmla="*/ 101670 w 212735"/>
                  <a:gd name="connsiteY94" fmla="*/ 49396 h 138792"/>
                  <a:gd name="connsiteX95" fmla="*/ 100004 w 212735"/>
                  <a:gd name="connsiteY95" fmla="*/ 51971 h 138792"/>
                  <a:gd name="connsiteX96" fmla="*/ 94398 w 212735"/>
                  <a:gd name="connsiteY96" fmla="*/ 52578 h 138792"/>
                  <a:gd name="connsiteX97" fmla="*/ 92579 w 212735"/>
                  <a:gd name="connsiteY97" fmla="*/ 51971 h 138792"/>
                  <a:gd name="connsiteX98" fmla="*/ 91064 w 212735"/>
                  <a:gd name="connsiteY98" fmla="*/ 50153 h 138792"/>
                  <a:gd name="connsiteX99" fmla="*/ 89094 w 212735"/>
                  <a:gd name="connsiteY99" fmla="*/ 47123 h 138792"/>
                  <a:gd name="connsiteX100" fmla="*/ 88034 w 212735"/>
                  <a:gd name="connsiteY100" fmla="*/ 46820 h 138792"/>
                  <a:gd name="connsiteX101" fmla="*/ 86215 w 212735"/>
                  <a:gd name="connsiteY101" fmla="*/ 46517 h 138792"/>
                  <a:gd name="connsiteX102" fmla="*/ 83185 w 212735"/>
                  <a:gd name="connsiteY102" fmla="*/ 46668 h 138792"/>
                  <a:gd name="connsiteX103" fmla="*/ 79094 w 212735"/>
                  <a:gd name="connsiteY103" fmla="*/ 47881 h 138792"/>
                  <a:gd name="connsiteX104" fmla="*/ 78185 w 212735"/>
                  <a:gd name="connsiteY104" fmla="*/ 46820 h 138792"/>
                  <a:gd name="connsiteX105" fmla="*/ 77124 w 212735"/>
                  <a:gd name="connsiteY105" fmla="*/ 46517 h 138792"/>
                  <a:gd name="connsiteX106" fmla="*/ 76215 w 212735"/>
                  <a:gd name="connsiteY106" fmla="*/ 47426 h 138792"/>
                  <a:gd name="connsiteX107" fmla="*/ 75306 w 212735"/>
                  <a:gd name="connsiteY107" fmla="*/ 47274 h 138792"/>
                  <a:gd name="connsiteX108" fmla="*/ 71366 w 212735"/>
                  <a:gd name="connsiteY108" fmla="*/ 47577 h 138792"/>
                  <a:gd name="connsiteX109" fmla="*/ 66366 w 212735"/>
                  <a:gd name="connsiteY109" fmla="*/ 47426 h 138792"/>
                  <a:gd name="connsiteX110" fmla="*/ 63487 w 212735"/>
                  <a:gd name="connsiteY110" fmla="*/ 46820 h 138792"/>
                  <a:gd name="connsiteX111" fmla="*/ 61669 w 212735"/>
                  <a:gd name="connsiteY111" fmla="*/ 46820 h 138792"/>
                  <a:gd name="connsiteX112" fmla="*/ 58032 w 212735"/>
                  <a:gd name="connsiteY112" fmla="*/ 48183 h 138792"/>
                  <a:gd name="connsiteX113" fmla="*/ 56063 w 212735"/>
                  <a:gd name="connsiteY113" fmla="*/ 48183 h 138792"/>
                  <a:gd name="connsiteX114" fmla="*/ 53487 w 212735"/>
                  <a:gd name="connsiteY114" fmla="*/ 48487 h 138792"/>
                  <a:gd name="connsiteX115" fmla="*/ 53032 w 212735"/>
                  <a:gd name="connsiteY115" fmla="*/ 43941 h 138792"/>
                  <a:gd name="connsiteX116" fmla="*/ 51669 w 212735"/>
                  <a:gd name="connsiteY116" fmla="*/ 40911 h 138792"/>
                  <a:gd name="connsiteX117" fmla="*/ 52123 w 212735"/>
                  <a:gd name="connsiteY117" fmla="*/ 38789 h 138792"/>
                  <a:gd name="connsiteX118" fmla="*/ 53032 w 212735"/>
                  <a:gd name="connsiteY118" fmla="*/ 35910 h 138792"/>
                  <a:gd name="connsiteX119" fmla="*/ 53790 w 212735"/>
                  <a:gd name="connsiteY119" fmla="*/ 34244 h 138792"/>
                  <a:gd name="connsiteX120" fmla="*/ 55457 w 212735"/>
                  <a:gd name="connsiteY120" fmla="*/ 35001 h 138792"/>
                  <a:gd name="connsiteX121" fmla="*/ 57275 w 212735"/>
                  <a:gd name="connsiteY121" fmla="*/ 36213 h 138792"/>
                  <a:gd name="connsiteX122" fmla="*/ 58487 w 212735"/>
                  <a:gd name="connsiteY122" fmla="*/ 35910 h 138792"/>
                  <a:gd name="connsiteX123" fmla="*/ 58790 w 212735"/>
                  <a:gd name="connsiteY123" fmla="*/ 34850 h 138792"/>
                  <a:gd name="connsiteX124" fmla="*/ 58336 w 212735"/>
                  <a:gd name="connsiteY124" fmla="*/ 33486 h 138792"/>
                  <a:gd name="connsiteX125" fmla="*/ 58336 w 212735"/>
                  <a:gd name="connsiteY125" fmla="*/ 32577 h 138792"/>
                  <a:gd name="connsiteX126" fmla="*/ 58942 w 212735"/>
                  <a:gd name="connsiteY126" fmla="*/ 31365 h 138792"/>
                  <a:gd name="connsiteX127" fmla="*/ 60002 w 212735"/>
                  <a:gd name="connsiteY127" fmla="*/ 30153 h 138792"/>
                  <a:gd name="connsiteX128" fmla="*/ 66366 w 212735"/>
                  <a:gd name="connsiteY128" fmla="*/ 28183 h 138792"/>
                  <a:gd name="connsiteX129" fmla="*/ 71821 w 212735"/>
                  <a:gd name="connsiteY129" fmla="*/ 26819 h 138792"/>
                  <a:gd name="connsiteX130" fmla="*/ 74700 w 212735"/>
                  <a:gd name="connsiteY130" fmla="*/ 27728 h 138792"/>
                  <a:gd name="connsiteX131" fmla="*/ 80306 w 212735"/>
                  <a:gd name="connsiteY131" fmla="*/ 29850 h 138792"/>
                  <a:gd name="connsiteX132" fmla="*/ 83185 w 212735"/>
                  <a:gd name="connsiteY132" fmla="*/ 30910 h 138792"/>
                  <a:gd name="connsiteX133" fmla="*/ 85155 w 212735"/>
                  <a:gd name="connsiteY133" fmla="*/ 31516 h 138792"/>
                  <a:gd name="connsiteX134" fmla="*/ 86973 w 212735"/>
                  <a:gd name="connsiteY134" fmla="*/ 34698 h 138792"/>
                  <a:gd name="connsiteX135" fmla="*/ 88185 w 212735"/>
                  <a:gd name="connsiteY135" fmla="*/ 34547 h 138792"/>
                  <a:gd name="connsiteX136" fmla="*/ 89397 w 212735"/>
                  <a:gd name="connsiteY136" fmla="*/ 33941 h 138792"/>
                  <a:gd name="connsiteX137" fmla="*/ 90003 w 212735"/>
                  <a:gd name="connsiteY137" fmla="*/ 33183 h 138792"/>
                  <a:gd name="connsiteX138" fmla="*/ 90610 w 212735"/>
                  <a:gd name="connsiteY138" fmla="*/ 30456 h 138792"/>
                  <a:gd name="connsiteX139" fmla="*/ 93185 w 212735"/>
                  <a:gd name="connsiteY139" fmla="*/ 28941 h 138792"/>
                  <a:gd name="connsiteX140" fmla="*/ 98943 w 212735"/>
                  <a:gd name="connsiteY140" fmla="*/ 27122 h 138792"/>
                  <a:gd name="connsiteX141" fmla="*/ 99398 w 212735"/>
                  <a:gd name="connsiteY141" fmla="*/ 26062 h 138792"/>
                  <a:gd name="connsiteX142" fmla="*/ 99246 w 212735"/>
                  <a:gd name="connsiteY142" fmla="*/ 25455 h 138792"/>
                  <a:gd name="connsiteX143" fmla="*/ 97579 w 212735"/>
                  <a:gd name="connsiteY143" fmla="*/ 25607 h 138792"/>
                  <a:gd name="connsiteX144" fmla="*/ 90912 w 212735"/>
                  <a:gd name="connsiteY144" fmla="*/ 26668 h 138792"/>
                  <a:gd name="connsiteX145" fmla="*/ 89549 w 212735"/>
                  <a:gd name="connsiteY145" fmla="*/ 26213 h 138792"/>
                  <a:gd name="connsiteX146" fmla="*/ 88488 w 212735"/>
                  <a:gd name="connsiteY146" fmla="*/ 24546 h 138792"/>
                  <a:gd name="connsiteX147" fmla="*/ 87579 w 212735"/>
                  <a:gd name="connsiteY147" fmla="*/ 22728 h 138792"/>
                  <a:gd name="connsiteX148" fmla="*/ 85912 w 212735"/>
                  <a:gd name="connsiteY148" fmla="*/ 22122 h 138792"/>
                  <a:gd name="connsiteX149" fmla="*/ 83943 w 212735"/>
                  <a:gd name="connsiteY149" fmla="*/ 21667 h 138792"/>
                  <a:gd name="connsiteX150" fmla="*/ 83185 w 212735"/>
                  <a:gd name="connsiteY150" fmla="*/ 20910 h 138792"/>
                  <a:gd name="connsiteX151" fmla="*/ 83185 w 212735"/>
                  <a:gd name="connsiteY151" fmla="*/ 20001 h 138792"/>
                  <a:gd name="connsiteX152" fmla="*/ 83336 w 212735"/>
                  <a:gd name="connsiteY152" fmla="*/ 19092 h 138792"/>
                  <a:gd name="connsiteX153" fmla="*/ 83488 w 212735"/>
                  <a:gd name="connsiteY153" fmla="*/ 18637 h 138792"/>
                  <a:gd name="connsiteX154" fmla="*/ 88034 w 212735"/>
                  <a:gd name="connsiteY154" fmla="*/ 15152 h 138792"/>
                  <a:gd name="connsiteX155" fmla="*/ 92124 w 212735"/>
                  <a:gd name="connsiteY155" fmla="*/ 11970 h 138792"/>
                  <a:gd name="connsiteX156" fmla="*/ 92428 w 212735"/>
                  <a:gd name="connsiteY156" fmla="*/ 11667 h 138792"/>
                  <a:gd name="connsiteX157" fmla="*/ 92731 w 212735"/>
                  <a:gd name="connsiteY157" fmla="*/ 11061 h 138792"/>
                  <a:gd name="connsiteX158" fmla="*/ 93489 w 212735"/>
                  <a:gd name="connsiteY158" fmla="*/ 10000 h 138792"/>
                  <a:gd name="connsiteX159" fmla="*/ 93489 w 212735"/>
                  <a:gd name="connsiteY159" fmla="*/ 9394 h 138792"/>
                  <a:gd name="connsiteX160" fmla="*/ 90458 w 212735"/>
                  <a:gd name="connsiteY160" fmla="*/ 8182 h 138792"/>
                  <a:gd name="connsiteX161" fmla="*/ 90306 w 212735"/>
                  <a:gd name="connsiteY161" fmla="*/ 7576 h 138792"/>
                  <a:gd name="connsiteX162" fmla="*/ 90912 w 212735"/>
                  <a:gd name="connsiteY162" fmla="*/ 6970 h 138792"/>
                  <a:gd name="connsiteX163" fmla="*/ 90912 w 212735"/>
                  <a:gd name="connsiteY163" fmla="*/ 6212 h 138792"/>
                  <a:gd name="connsiteX164" fmla="*/ 88791 w 212735"/>
                  <a:gd name="connsiteY164" fmla="*/ 3940 h 138792"/>
                  <a:gd name="connsiteX165" fmla="*/ 85003 w 212735"/>
                  <a:gd name="connsiteY165" fmla="*/ 303 h 138792"/>
                  <a:gd name="connsiteX166" fmla="*/ 83943 w 212735"/>
                  <a:gd name="connsiteY166" fmla="*/ 0 h 138792"/>
                  <a:gd name="connsiteX167" fmla="*/ 83185 w 212735"/>
                  <a:gd name="connsiteY167" fmla="*/ 303 h 138792"/>
                  <a:gd name="connsiteX168" fmla="*/ 81670 w 212735"/>
                  <a:gd name="connsiteY168" fmla="*/ 3788 h 138792"/>
                  <a:gd name="connsiteX169" fmla="*/ 80912 w 212735"/>
                  <a:gd name="connsiteY169" fmla="*/ 4697 h 138792"/>
                  <a:gd name="connsiteX170" fmla="*/ 76669 w 212735"/>
                  <a:gd name="connsiteY170" fmla="*/ 6970 h 138792"/>
                  <a:gd name="connsiteX171" fmla="*/ 73033 w 212735"/>
                  <a:gd name="connsiteY171" fmla="*/ 8485 h 138792"/>
                  <a:gd name="connsiteX172" fmla="*/ 66669 w 212735"/>
                  <a:gd name="connsiteY172" fmla="*/ 11364 h 138792"/>
                  <a:gd name="connsiteX173" fmla="*/ 65003 w 212735"/>
                  <a:gd name="connsiteY173" fmla="*/ 12273 h 138792"/>
                  <a:gd name="connsiteX174" fmla="*/ 63790 w 212735"/>
                  <a:gd name="connsiteY174" fmla="*/ 12122 h 138792"/>
                  <a:gd name="connsiteX175" fmla="*/ 62578 w 212735"/>
                  <a:gd name="connsiteY175" fmla="*/ 11516 h 138792"/>
                  <a:gd name="connsiteX176" fmla="*/ 58942 w 212735"/>
                  <a:gd name="connsiteY176" fmla="*/ 8637 h 138792"/>
                  <a:gd name="connsiteX177" fmla="*/ 56669 w 212735"/>
                  <a:gd name="connsiteY177" fmla="*/ 7728 h 138792"/>
                  <a:gd name="connsiteX178" fmla="*/ 55154 w 212735"/>
                  <a:gd name="connsiteY178" fmla="*/ 8637 h 138792"/>
                  <a:gd name="connsiteX179" fmla="*/ 53790 w 212735"/>
                  <a:gd name="connsiteY179" fmla="*/ 10000 h 138792"/>
                  <a:gd name="connsiteX180" fmla="*/ 53941 w 212735"/>
                  <a:gd name="connsiteY180" fmla="*/ 12879 h 138792"/>
                  <a:gd name="connsiteX181" fmla="*/ 52426 w 212735"/>
                  <a:gd name="connsiteY181" fmla="*/ 14394 h 138792"/>
                  <a:gd name="connsiteX182" fmla="*/ 50911 w 212735"/>
                  <a:gd name="connsiteY182" fmla="*/ 15001 h 138792"/>
                  <a:gd name="connsiteX183" fmla="*/ 53638 w 212735"/>
                  <a:gd name="connsiteY183" fmla="*/ 22728 h 138792"/>
                  <a:gd name="connsiteX184" fmla="*/ 53335 w 212735"/>
                  <a:gd name="connsiteY184" fmla="*/ 23789 h 138792"/>
                  <a:gd name="connsiteX185" fmla="*/ 51214 w 212735"/>
                  <a:gd name="connsiteY185" fmla="*/ 24092 h 138792"/>
                  <a:gd name="connsiteX186" fmla="*/ 52729 w 212735"/>
                  <a:gd name="connsiteY186" fmla="*/ 26971 h 138792"/>
                  <a:gd name="connsiteX187" fmla="*/ 51517 w 212735"/>
                  <a:gd name="connsiteY187" fmla="*/ 27274 h 138792"/>
                  <a:gd name="connsiteX188" fmla="*/ 48335 w 212735"/>
                  <a:gd name="connsiteY188" fmla="*/ 26668 h 138792"/>
                  <a:gd name="connsiteX189" fmla="*/ 43941 w 212735"/>
                  <a:gd name="connsiteY189" fmla="*/ 26213 h 138792"/>
                  <a:gd name="connsiteX190" fmla="*/ 35759 w 212735"/>
                  <a:gd name="connsiteY190" fmla="*/ 27425 h 138792"/>
                  <a:gd name="connsiteX191" fmla="*/ 35153 w 212735"/>
                  <a:gd name="connsiteY191" fmla="*/ 27880 h 138792"/>
                  <a:gd name="connsiteX192" fmla="*/ 35001 w 212735"/>
                  <a:gd name="connsiteY192" fmla="*/ 28486 h 138792"/>
                  <a:gd name="connsiteX193" fmla="*/ 35456 w 212735"/>
                  <a:gd name="connsiteY193" fmla="*/ 29092 h 138792"/>
                  <a:gd name="connsiteX194" fmla="*/ 39395 w 212735"/>
                  <a:gd name="connsiteY194" fmla="*/ 29092 h 138792"/>
                  <a:gd name="connsiteX195" fmla="*/ 43335 w 212735"/>
                  <a:gd name="connsiteY195" fmla="*/ 28789 h 138792"/>
                  <a:gd name="connsiteX196" fmla="*/ 44395 w 212735"/>
                  <a:gd name="connsiteY196" fmla="*/ 29395 h 138792"/>
                  <a:gd name="connsiteX197" fmla="*/ 44547 w 212735"/>
                  <a:gd name="connsiteY197" fmla="*/ 30304 h 138792"/>
                  <a:gd name="connsiteX198" fmla="*/ 44093 w 212735"/>
                  <a:gd name="connsiteY198" fmla="*/ 30910 h 138792"/>
                  <a:gd name="connsiteX199" fmla="*/ 42729 w 212735"/>
                  <a:gd name="connsiteY199" fmla="*/ 31062 h 138792"/>
                  <a:gd name="connsiteX200" fmla="*/ 39850 w 212735"/>
                  <a:gd name="connsiteY200" fmla="*/ 31668 h 138792"/>
                  <a:gd name="connsiteX201" fmla="*/ 39547 w 212735"/>
                  <a:gd name="connsiteY201" fmla="*/ 32274 h 138792"/>
                  <a:gd name="connsiteX202" fmla="*/ 39395 w 212735"/>
                  <a:gd name="connsiteY202" fmla="*/ 32880 h 138792"/>
                  <a:gd name="connsiteX203" fmla="*/ 40305 w 212735"/>
                  <a:gd name="connsiteY203" fmla="*/ 34547 h 138792"/>
                  <a:gd name="connsiteX204" fmla="*/ 41365 w 212735"/>
                  <a:gd name="connsiteY204" fmla="*/ 35607 h 138792"/>
                  <a:gd name="connsiteX205" fmla="*/ 41517 w 212735"/>
                  <a:gd name="connsiteY205" fmla="*/ 36213 h 138792"/>
                  <a:gd name="connsiteX206" fmla="*/ 41062 w 212735"/>
                  <a:gd name="connsiteY206" fmla="*/ 36668 h 138792"/>
                  <a:gd name="connsiteX207" fmla="*/ 40456 w 212735"/>
                  <a:gd name="connsiteY207" fmla="*/ 36819 h 138792"/>
                  <a:gd name="connsiteX208" fmla="*/ 39547 w 212735"/>
                  <a:gd name="connsiteY208" fmla="*/ 36062 h 138792"/>
                  <a:gd name="connsiteX209" fmla="*/ 38941 w 212735"/>
                  <a:gd name="connsiteY209" fmla="*/ 36213 h 138792"/>
                  <a:gd name="connsiteX210" fmla="*/ 38638 w 212735"/>
                  <a:gd name="connsiteY210" fmla="*/ 36971 h 138792"/>
                  <a:gd name="connsiteX211" fmla="*/ 38335 w 212735"/>
                  <a:gd name="connsiteY211" fmla="*/ 37880 h 138792"/>
                  <a:gd name="connsiteX212" fmla="*/ 37729 w 212735"/>
                  <a:gd name="connsiteY212" fmla="*/ 38486 h 138792"/>
                  <a:gd name="connsiteX213" fmla="*/ 36365 w 212735"/>
                  <a:gd name="connsiteY213" fmla="*/ 38183 h 138792"/>
                  <a:gd name="connsiteX214" fmla="*/ 35001 w 212735"/>
                  <a:gd name="connsiteY214" fmla="*/ 38486 h 138792"/>
                  <a:gd name="connsiteX215" fmla="*/ 34244 w 212735"/>
                  <a:gd name="connsiteY215" fmla="*/ 41517 h 138792"/>
                  <a:gd name="connsiteX216" fmla="*/ 33638 w 212735"/>
                  <a:gd name="connsiteY216" fmla="*/ 45002 h 138792"/>
                  <a:gd name="connsiteX217" fmla="*/ 31516 w 212735"/>
                  <a:gd name="connsiteY217" fmla="*/ 47274 h 138792"/>
                  <a:gd name="connsiteX218" fmla="*/ 30304 w 212735"/>
                  <a:gd name="connsiteY218" fmla="*/ 48183 h 138792"/>
                  <a:gd name="connsiteX219" fmla="*/ 28486 w 212735"/>
                  <a:gd name="connsiteY219" fmla="*/ 48487 h 138792"/>
                  <a:gd name="connsiteX220" fmla="*/ 25910 w 212735"/>
                  <a:gd name="connsiteY220" fmla="*/ 48183 h 138792"/>
                  <a:gd name="connsiteX221" fmla="*/ 24395 w 212735"/>
                  <a:gd name="connsiteY221" fmla="*/ 47881 h 138792"/>
                  <a:gd name="connsiteX222" fmla="*/ 19849 w 212735"/>
                  <a:gd name="connsiteY222" fmla="*/ 47426 h 138792"/>
                  <a:gd name="connsiteX223" fmla="*/ 15304 w 212735"/>
                  <a:gd name="connsiteY223" fmla="*/ 46517 h 138792"/>
                  <a:gd name="connsiteX224" fmla="*/ 10152 w 212735"/>
                  <a:gd name="connsiteY224" fmla="*/ 45608 h 138792"/>
                  <a:gd name="connsiteX225" fmla="*/ 5303 w 212735"/>
                  <a:gd name="connsiteY225" fmla="*/ 47577 h 138792"/>
                  <a:gd name="connsiteX226" fmla="*/ 3940 w 212735"/>
                  <a:gd name="connsiteY226" fmla="*/ 48790 h 138792"/>
                  <a:gd name="connsiteX227" fmla="*/ 3031 w 212735"/>
                  <a:gd name="connsiteY227" fmla="*/ 50002 h 138792"/>
                  <a:gd name="connsiteX228" fmla="*/ 2122 w 212735"/>
                  <a:gd name="connsiteY228" fmla="*/ 50608 h 138792"/>
                  <a:gd name="connsiteX229" fmla="*/ 0 w 212735"/>
                  <a:gd name="connsiteY229" fmla="*/ 57729 h 138792"/>
                  <a:gd name="connsiteX230" fmla="*/ 152 w 212735"/>
                  <a:gd name="connsiteY230" fmla="*/ 58487 h 138792"/>
                  <a:gd name="connsiteX231" fmla="*/ 1364 w 212735"/>
                  <a:gd name="connsiteY231" fmla="*/ 59093 h 138792"/>
                  <a:gd name="connsiteX232" fmla="*/ 7273 w 212735"/>
                  <a:gd name="connsiteY232" fmla="*/ 60608 h 138792"/>
                  <a:gd name="connsiteX233" fmla="*/ 8182 w 212735"/>
                  <a:gd name="connsiteY233" fmla="*/ 61214 h 138792"/>
                  <a:gd name="connsiteX234" fmla="*/ 8637 w 212735"/>
                  <a:gd name="connsiteY234" fmla="*/ 61972 h 138792"/>
                  <a:gd name="connsiteX235" fmla="*/ 8940 w 212735"/>
                  <a:gd name="connsiteY235" fmla="*/ 65154 h 138792"/>
                  <a:gd name="connsiteX236" fmla="*/ 9394 w 212735"/>
                  <a:gd name="connsiteY236" fmla="*/ 65608 h 138792"/>
                  <a:gd name="connsiteX237" fmla="*/ 11364 w 212735"/>
                  <a:gd name="connsiteY237" fmla="*/ 66063 h 138792"/>
                  <a:gd name="connsiteX238" fmla="*/ 14243 w 212735"/>
                  <a:gd name="connsiteY238" fmla="*/ 66063 h 138792"/>
                  <a:gd name="connsiteX239" fmla="*/ 16516 w 212735"/>
                  <a:gd name="connsiteY239" fmla="*/ 65760 h 138792"/>
                  <a:gd name="connsiteX240" fmla="*/ 18788 w 212735"/>
                  <a:gd name="connsiteY240" fmla="*/ 66063 h 138792"/>
                  <a:gd name="connsiteX241" fmla="*/ 20455 w 212735"/>
                  <a:gd name="connsiteY241" fmla="*/ 66821 h 138792"/>
                  <a:gd name="connsiteX242" fmla="*/ 21213 w 212735"/>
                  <a:gd name="connsiteY242" fmla="*/ 67881 h 138792"/>
                  <a:gd name="connsiteX243" fmla="*/ 21667 w 212735"/>
                  <a:gd name="connsiteY243" fmla="*/ 69093 h 138792"/>
                  <a:gd name="connsiteX244" fmla="*/ 18940 w 212735"/>
                  <a:gd name="connsiteY244" fmla="*/ 76215 h 138792"/>
                  <a:gd name="connsiteX245" fmla="*/ 19092 w 212735"/>
                  <a:gd name="connsiteY245" fmla="*/ 78791 h 138792"/>
                  <a:gd name="connsiteX246" fmla="*/ 20001 w 212735"/>
                  <a:gd name="connsiteY246" fmla="*/ 82427 h 138792"/>
                  <a:gd name="connsiteX247" fmla="*/ 21516 w 212735"/>
                  <a:gd name="connsiteY247" fmla="*/ 85306 h 138792"/>
                  <a:gd name="connsiteX248" fmla="*/ 24395 w 212735"/>
                  <a:gd name="connsiteY248" fmla="*/ 88185 h 138792"/>
                  <a:gd name="connsiteX249" fmla="*/ 26668 w 212735"/>
                  <a:gd name="connsiteY249" fmla="*/ 90003 h 138792"/>
                  <a:gd name="connsiteX250" fmla="*/ 27122 w 212735"/>
                  <a:gd name="connsiteY250" fmla="*/ 90912 h 138792"/>
                  <a:gd name="connsiteX251" fmla="*/ 27274 w 212735"/>
                  <a:gd name="connsiteY251" fmla="*/ 92276 h 138792"/>
                  <a:gd name="connsiteX252" fmla="*/ 26971 w 212735"/>
                  <a:gd name="connsiteY252" fmla="*/ 93943 h 138792"/>
                  <a:gd name="connsiteX253" fmla="*/ 25607 w 212735"/>
                  <a:gd name="connsiteY253" fmla="*/ 96670 h 138792"/>
                  <a:gd name="connsiteX254" fmla="*/ 24092 w 212735"/>
                  <a:gd name="connsiteY254" fmla="*/ 98943 h 138792"/>
                  <a:gd name="connsiteX255" fmla="*/ 22425 w 212735"/>
                  <a:gd name="connsiteY255" fmla="*/ 100004 h 138792"/>
                  <a:gd name="connsiteX256" fmla="*/ 20001 w 212735"/>
                  <a:gd name="connsiteY256" fmla="*/ 102882 h 138792"/>
                  <a:gd name="connsiteX257" fmla="*/ 17879 w 212735"/>
                  <a:gd name="connsiteY257" fmla="*/ 106519 h 138792"/>
                  <a:gd name="connsiteX258" fmla="*/ 13788 w 212735"/>
                  <a:gd name="connsiteY258" fmla="*/ 111216 h 138792"/>
                  <a:gd name="connsiteX259" fmla="*/ 12425 w 212735"/>
                  <a:gd name="connsiteY259" fmla="*/ 113792 h 138792"/>
                  <a:gd name="connsiteX260" fmla="*/ 11970 w 212735"/>
                  <a:gd name="connsiteY260" fmla="*/ 121368 h 138792"/>
                  <a:gd name="connsiteX261" fmla="*/ 10910 w 212735"/>
                  <a:gd name="connsiteY261" fmla="*/ 123641 h 138792"/>
                  <a:gd name="connsiteX262" fmla="*/ 11061 w 212735"/>
                  <a:gd name="connsiteY262" fmla="*/ 124701 h 138792"/>
                  <a:gd name="connsiteX263" fmla="*/ 12879 w 212735"/>
                  <a:gd name="connsiteY263" fmla="*/ 127126 h 138792"/>
                  <a:gd name="connsiteX264" fmla="*/ 16213 w 212735"/>
                  <a:gd name="connsiteY264" fmla="*/ 130005 h 138792"/>
                  <a:gd name="connsiteX265" fmla="*/ 19243 w 212735"/>
                  <a:gd name="connsiteY265" fmla="*/ 130762 h 138792"/>
                  <a:gd name="connsiteX266" fmla="*/ 23183 w 212735"/>
                  <a:gd name="connsiteY266" fmla="*/ 128489 h 138792"/>
                  <a:gd name="connsiteX267" fmla="*/ 24546 w 212735"/>
                  <a:gd name="connsiteY267" fmla="*/ 128793 h 138792"/>
                  <a:gd name="connsiteX268" fmla="*/ 25153 w 212735"/>
                  <a:gd name="connsiteY268" fmla="*/ 128035 h 138792"/>
                  <a:gd name="connsiteX269" fmla="*/ 25607 w 212735"/>
                  <a:gd name="connsiteY269" fmla="*/ 126368 h 138792"/>
                  <a:gd name="connsiteX270" fmla="*/ 28031 w 212735"/>
                  <a:gd name="connsiteY270" fmla="*/ 124853 h 138792"/>
                  <a:gd name="connsiteX271" fmla="*/ 32426 w 212735"/>
                  <a:gd name="connsiteY271" fmla="*/ 123338 h 138792"/>
                  <a:gd name="connsiteX272" fmla="*/ 34850 w 212735"/>
                  <a:gd name="connsiteY272" fmla="*/ 121974 h 138792"/>
                  <a:gd name="connsiteX273" fmla="*/ 35759 w 212735"/>
                  <a:gd name="connsiteY273" fmla="*/ 120913 h 138792"/>
                  <a:gd name="connsiteX274" fmla="*/ 37274 w 212735"/>
                  <a:gd name="connsiteY274" fmla="*/ 120610 h 138792"/>
                  <a:gd name="connsiteX275" fmla="*/ 38941 w 212735"/>
                  <a:gd name="connsiteY275" fmla="*/ 120913 h 138792"/>
                  <a:gd name="connsiteX276" fmla="*/ 40153 w 212735"/>
                  <a:gd name="connsiteY276" fmla="*/ 120459 h 138792"/>
                  <a:gd name="connsiteX277" fmla="*/ 40607 w 212735"/>
                  <a:gd name="connsiteY277" fmla="*/ 119398 h 138792"/>
                  <a:gd name="connsiteX278" fmla="*/ 41062 w 212735"/>
                  <a:gd name="connsiteY278" fmla="*/ 118944 h 138792"/>
                  <a:gd name="connsiteX279" fmla="*/ 41820 w 212735"/>
                  <a:gd name="connsiteY279" fmla="*/ 118641 h 138792"/>
                  <a:gd name="connsiteX280" fmla="*/ 42577 w 212735"/>
                  <a:gd name="connsiteY280" fmla="*/ 118489 h 138792"/>
                  <a:gd name="connsiteX281" fmla="*/ 43941 w 212735"/>
                  <a:gd name="connsiteY281" fmla="*/ 118792 h 138792"/>
                  <a:gd name="connsiteX282" fmla="*/ 46365 w 212735"/>
                  <a:gd name="connsiteY282" fmla="*/ 120610 h 138792"/>
                  <a:gd name="connsiteX283" fmla="*/ 49850 w 212735"/>
                  <a:gd name="connsiteY283" fmla="*/ 123944 h 138792"/>
                  <a:gd name="connsiteX284" fmla="*/ 52123 w 212735"/>
                  <a:gd name="connsiteY284" fmla="*/ 125459 h 138792"/>
                  <a:gd name="connsiteX285" fmla="*/ 53184 w 212735"/>
                  <a:gd name="connsiteY285" fmla="*/ 125156 h 138792"/>
                  <a:gd name="connsiteX286" fmla="*/ 54548 w 212735"/>
                  <a:gd name="connsiteY286" fmla="*/ 124095 h 138792"/>
                  <a:gd name="connsiteX287" fmla="*/ 56214 w 212735"/>
                  <a:gd name="connsiteY287" fmla="*/ 122277 h 138792"/>
                  <a:gd name="connsiteX288" fmla="*/ 56669 w 212735"/>
                  <a:gd name="connsiteY288" fmla="*/ 119701 h 138792"/>
                  <a:gd name="connsiteX289" fmla="*/ 55911 w 212735"/>
                  <a:gd name="connsiteY289" fmla="*/ 116216 h 138792"/>
                  <a:gd name="connsiteX290" fmla="*/ 56517 w 212735"/>
                  <a:gd name="connsiteY290" fmla="*/ 113489 h 138792"/>
                  <a:gd name="connsiteX291" fmla="*/ 58487 w 212735"/>
                  <a:gd name="connsiteY291" fmla="*/ 111368 h 138792"/>
                  <a:gd name="connsiteX292" fmla="*/ 62124 w 212735"/>
                  <a:gd name="connsiteY292" fmla="*/ 110004 h 138792"/>
                  <a:gd name="connsiteX293" fmla="*/ 67427 w 212735"/>
                  <a:gd name="connsiteY293" fmla="*/ 109549 h 138792"/>
                  <a:gd name="connsiteX294" fmla="*/ 70760 w 212735"/>
                  <a:gd name="connsiteY294" fmla="*/ 109852 h 138792"/>
                  <a:gd name="connsiteX295" fmla="*/ 71972 w 212735"/>
                  <a:gd name="connsiteY295" fmla="*/ 110913 h 138792"/>
                  <a:gd name="connsiteX296" fmla="*/ 73639 w 212735"/>
                  <a:gd name="connsiteY296" fmla="*/ 111519 h 138792"/>
                  <a:gd name="connsiteX297" fmla="*/ 75760 w 212735"/>
                  <a:gd name="connsiteY297" fmla="*/ 111671 h 138792"/>
                  <a:gd name="connsiteX298" fmla="*/ 77579 w 212735"/>
                  <a:gd name="connsiteY298" fmla="*/ 110458 h 138792"/>
                  <a:gd name="connsiteX299" fmla="*/ 79246 w 212735"/>
                  <a:gd name="connsiteY299" fmla="*/ 107883 h 138792"/>
                  <a:gd name="connsiteX300" fmla="*/ 79397 w 212735"/>
                  <a:gd name="connsiteY300" fmla="*/ 104701 h 138792"/>
                  <a:gd name="connsiteX301" fmla="*/ 77882 w 212735"/>
                  <a:gd name="connsiteY301" fmla="*/ 100913 h 138792"/>
                  <a:gd name="connsiteX302" fmla="*/ 78336 w 212735"/>
                  <a:gd name="connsiteY302" fmla="*/ 99701 h 138792"/>
                  <a:gd name="connsiteX303" fmla="*/ 78942 w 212735"/>
                  <a:gd name="connsiteY303" fmla="*/ 99094 h 138792"/>
                  <a:gd name="connsiteX304" fmla="*/ 80912 w 212735"/>
                  <a:gd name="connsiteY304" fmla="*/ 97731 h 138792"/>
                  <a:gd name="connsiteX305" fmla="*/ 83791 w 212735"/>
                  <a:gd name="connsiteY305" fmla="*/ 94852 h 138792"/>
                  <a:gd name="connsiteX306" fmla="*/ 86518 w 212735"/>
                  <a:gd name="connsiteY306" fmla="*/ 91216 h 138792"/>
                  <a:gd name="connsiteX307" fmla="*/ 89246 w 212735"/>
                  <a:gd name="connsiteY307" fmla="*/ 86670 h 138792"/>
                  <a:gd name="connsiteX308" fmla="*/ 92579 w 212735"/>
                  <a:gd name="connsiteY308" fmla="*/ 83942 h 138792"/>
                  <a:gd name="connsiteX309" fmla="*/ 96519 w 212735"/>
                  <a:gd name="connsiteY309" fmla="*/ 82882 h 138792"/>
                  <a:gd name="connsiteX310" fmla="*/ 101216 w 212735"/>
                  <a:gd name="connsiteY310" fmla="*/ 84094 h 138792"/>
                  <a:gd name="connsiteX311" fmla="*/ 106822 w 212735"/>
                  <a:gd name="connsiteY311" fmla="*/ 87579 h 138792"/>
                  <a:gd name="connsiteX312" fmla="*/ 108943 w 212735"/>
                  <a:gd name="connsiteY312" fmla="*/ 91973 h 138792"/>
                  <a:gd name="connsiteX313" fmla="*/ 107580 w 212735"/>
                  <a:gd name="connsiteY313" fmla="*/ 97125 h 138792"/>
                  <a:gd name="connsiteX314" fmla="*/ 107428 w 212735"/>
                  <a:gd name="connsiteY314" fmla="*/ 100004 h 138792"/>
                  <a:gd name="connsiteX315" fmla="*/ 108489 w 212735"/>
                  <a:gd name="connsiteY315" fmla="*/ 100458 h 138792"/>
                  <a:gd name="connsiteX316" fmla="*/ 110459 w 212735"/>
                  <a:gd name="connsiteY316" fmla="*/ 100307 h 138792"/>
                  <a:gd name="connsiteX317" fmla="*/ 113186 w 212735"/>
                  <a:gd name="connsiteY317" fmla="*/ 99549 h 138792"/>
                  <a:gd name="connsiteX318" fmla="*/ 115004 w 212735"/>
                  <a:gd name="connsiteY318" fmla="*/ 99549 h 138792"/>
                  <a:gd name="connsiteX319" fmla="*/ 115762 w 212735"/>
                  <a:gd name="connsiteY319" fmla="*/ 100307 h 138792"/>
                  <a:gd name="connsiteX320" fmla="*/ 115762 w 212735"/>
                  <a:gd name="connsiteY320" fmla="*/ 101822 h 138792"/>
                  <a:gd name="connsiteX321" fmla="*/ 114853 w 212735"/>
                  <a:gd name="connsiteY321" fmla="*/ 103943 h 138792"/>
                  <a:gd name="connsiteX322" fmla="*/ 113792 w 212735"/>
                  <a:gd name="connsiteY322" fmla="*/ 110004 h 138792"/>
                  <a:gd name="connsiteX323" fmla="*/ 113034 w 212735"/>
                  <a:gd name="connsiteY323" fmla="*/ 115307 h 138792"/>
                  <a:gd name="connsiteX324" fmla="*/ 112429 w 212735"/>
                  <a:gd name="connsiteY324" fmla="*/ 120459 h 138792"/>
                  <a:gd name="connsiteX325" fmla="*/ 111822 w 212735"/>
                  <a:gd name="connsiteY325" fmla="*/ 125005 h 138792"/>
                  <a:gd name="connsiteX326" fmla="*/ 112883 w 212735"/>
                  <a:gd name="connsiteY326" fmla="*/ 128489 h 138792"/>
                  <a:gd name="connsiteX327" fmla="*/ 114550 w 212735"/>
                  <a:gd name="connsiteY327" fmla="*/ 133793 h 138792"/>
                  <a:gd name="connsiteX328" fmla="*/ 116368 w 212735"/>
                  <a:gd name="connsiteY328" fmla="*/ 137278 h 138792"/>
                  <a:gd name="connsiteX329" fmla="*/ 118186 w 212735"/>
                  <a:gd name="connsiteY329" fmla="*/ 138338 h 138792"/>
                  <a:gd name="connsiteX330" fmla="*/ 120005 w 212735"/>
                  <a:gd name="connsiteY330" fmla="*/ 138793 h 138792"/>
                  <a:gd name="connsiteX331" fmla="*/ 121823 w 212735"/>
                  <a:gd name="connsiteY331" fmla="*/ 138490 h 138792"/>
                  <a:gd name="connsiteX332" fmla="*/ 125611 w 212735"/>
                  <a:gd name="connsiteY332" fmla="*/ 136217 h 138792"/>
                  <a:gd name="connsiteX333" fmla="*/ 131369 w 212735"/>
                  <a:gd name="connsiteY333" fmla="*/ 131974 h 138792"/>
                  <a:gd name="connsiteX334" fmla="*/ 136975 w 212735"/>
                  <a:gd name="connsiteY334" fmla="*/ 129399 h 138792"/>
                  <a:gd name="connsiteX335" fmla="*/ 145157 w 212735"/>
                  <a:gd name="connsiteY335" fmla="*/ 127883 h 138792"/>
                  <a:gd name="connsiteX336" fmla="*/ 147884 w 212735"/>
                  <a:gd name="connsiteY336" fmla="*/ 123338 h 138792"/>
                  <a:gd name="connsiteX337" fmla="*/ 151672 w 212735"/>
                  <a:gd name="connsiteY337" fmla="*/ 120307 h 138792"/>
                  <a:gd name="connsiteX338" fmla="*/ 160309 w 212735"/>
                  <a:gd name="connsiteY338" fmla="*/ 115913 h 138792"/>
                  <a:gd name="connsiteX339" fmla="*/ 165006 w 212735"/>
                  <a:gd name="connsiteY339" fmla="*/ 114246 h 138792"/>
                  <a:gd name="connsiteX340" fmla="*/ 167734 w 212735"/>
                  <a:gd name="connsiteY340" fmla="*/ 113944 h 138792"/>
                  <a:gd name="connsiteX341" fmla="*/ 171067 w 212735"/>
                  <a:gd name="connsiteY341" fmla="*/ 114701 h 138792"/>
                  <a:gd name="connsiteX342" fmla="*/ 171825 w 212735"/>
                  <a:gd name="connsiteY342" fmla="*/ 115004 h 138792"/>
                  <a:gd name="connsiteX343" fmla="*/ 172431 w 212735"/>
                  <a:gd name="connsiteY343" fmla="*/ 115156 h 138792"/>
                  <a:gd name="connsiteX344" fmla="*/ 174097 w 212735"/>
                  <a:gd name="connsiteY344" fmla="*/ 115459 h 138792"/>
                  <a:gd name="connsiteX345" fmla="*/ 174401 w 212735"/>
                  <a:gd name="connsiteY345" fmla="*/ 116822 h 138792"/>
                  <a:gd name="connsiteX346" fmla="*/ 173946 w 212735"/>
                  <a:gd name="connsiteY346" fmla="*/ 118338 h 138792"/>
                  <a:gd name="connsiteX347" fmla="*/ 172128 w 212735"/>
                  <a:gd name="connsiteY347" fmla="*/ 119550 h 138792"/>
                  <a:gd name="connsiteX348" fmla="*/ 171522 w 212735"/>
                  <a:gd name="connsiteY348" fmla="*/ 120459 h 138792"/>
                  <a:gd name="connsiteX349" fmla="*/ 172279 w 212735"/>
                  <a:gd name="connsiteY349" fmla="*/ 121217 h 138792"/>
                  <a:gd name="connsiteX350" fmla="*/ 174855 w 212735"/>
                  <a:gd name="connsiteY350" fmla="*/ 121520 h 138792"/>
                  <a:gd name="connsiteX351" fmla="*/ 180310 w 212735"/>
                  <a:gd name="connsiteY351" fmla="*/ 119853 h 138792"/>
                  <a:gd name="connsiteX352" fmla="*/ 183795 w 212735"/>
                  <a:gd name="connsiteY352" fmla="*/ 118792 h 138792"/>
                  <a:gd name="connsiteX353" fmla="*/ 186219 w 212735"/>
                  <a:gd name="connsiteY353" fmla="*/ 118338 h 138792"/>
                  <a:gd name="connsiteX354" fmla="*/ 187280 w 212735"/>
                  <a:gd name="connsiteY354" fmla="*/ 116974 h 138792"/>
                  <a:gd name="connsiteX355" fmla="*/ 188795 w 212735"/>
                  <a:gd name="connsiteY355" fmla="*/ 115610 h 138792"/>
                  <a:gd name="connsiteX356" fmla="*/ 191219 w 212735"/>
                  <a:gd name="connsiteY356" fmla="*/ 115459 h 138792"/>
                  <a:gd name="connsiteX357" fmla="*/ 193795 w 212735"/>
                  <a:gd name="connsiteY357" fmla="*/ 116216 h 138792"/>
                  <a:gd name="connsiteX358" fmla="*/ 195916 w 212735"/>
                  <a:gd name="connsiteY358" fmla="*/ 116671 h 138792"/>
                  <a:gd name="connsiteX359" fmla="*/ 199553 w 212735"/>
                  <a:gd name="connsiteY359" fmla="*/ 116216 h 138792"/>
                  <a:gd name="connsiteX360" fmla="*/ 201522 w 212735"/>
                  <a:gd name="connsiteY360" fmla="*/ 117429 h 138792"/>
                  <a:gd name="connsiteX361" fmla="*/ 204250 w 212735"/>
                  <a:gd name="connsiteY361" fmla="*/ 119701 h 138792"/>
                  <a:gd name="connsiteX362" fmla="*/ 205462 w 212735"/>
                  <a:gd name="connsiteY362" fmla="*/ 121065 h 138792"/>
                  <a:gd name="connsiteX363" fmla="*/ 205917 w 212735"/>
                  <a:gd name="connsiteY363" fmla="*/ 121368 h 138792"/>
                  <a:gd name="connsiteX364" fmla="*/ 206675 w 212735"/>
                  <a:gd name="connsiteY364" fmla="*/ 120762 h 138792"/>
                  <a:gd name="connsiteX365" fmla="*/ 209098 w 212735"/>
                  <a:gd name="connsiteY365" fmla="*/ 119398 h 138792"/>
                  <a:gd name="connsiteX366" fmla="*/ 211068 w 212735"/>
                  <a:gd name="connsiteY366" fmla="*/ 117883 h 138792"/>
                  <a:gd name="connsiteX367" fmla="*/ 212129 w 212735"/>
                  <a:gd name="connsiteY367" fmla="*/ 116519 h 138792"/>
                  <a:gd name="connsiteX368" fmla="*/ 212735 w 212735"/>
                  <a:gd name="connsiteY368" fmla="*/ 115004 h 13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Lst>
                <a:rect l="l" t="t" r="r" b="b"/>
                <a:pathLst>
                  <a:path w="212735" h="138792">
                    <a:moveTo>
                      <a:pt x="90306" y="3788"/>
                    </a:moveTo>
                    <a:lnTo>
                      <a:pt x="91064" y="3788"/>
                    </a:lnTo>
                    <a:lnTo>
                      <a:pt x="90912" y="3030"/>
                    </a:lnTo>
                    <a:lnTo>
                      <a:pt x="90003" y="1667"/>
                    </a:lnTo>
                    <a:lnTo>
                      <a:pt x="88791" y="909"/>
                    </a:lnTo>
                    <a:lnTo>
                      <a:pt x="88185" y="1212"/>
                    </a:lnTo>
                    <a:lnTo>
                      <a:pt x="88640" y="2273"/>
                    </a:lnTo>
                    <a:lnTo>
                      <a:pt x="90306" y="3788"/>
                    </a:lnTo>
                    <a:close/>
                    <a:moveTo>
                      <a:pt x="88791" y="38183"/>
                    </a:moveTo>
                    <a:lnTo>
                      <a:pt x="86822" y="37729"/>
                    </a:lnTo>
                    <a:lnTo>
                      <a:pt x="86367" y="37729"/>
                    </a:lnTo>
                    <a:lnTo>
                      <a:pt x="86518" y="38335"/>
                    </a:lnTo>
                    <a:lnTo>
                      <a:pt x="87276" y="39395"/>
                    </a:lnTo>
                    <a:lnTo>
                      <a:pt x="88336" y="40607"/>
                    </a:lnTo>
                    <a:lnTo>
                      <a:pt x="89701" y="40759"/>
                    </a:lnTo>
                    <a:lnTo>
                      <a:pt x="92124" y="39547"/>
                    </a:lnTo>
                    <a:lnTo>
                      <a:pt x="91973" y="38941"/>
                    </a:lnTo>
                    <a:lnTo>
                      <a:pt x="91064" y="38638"/>
                    </a:lnTo>
                    <a:lnTo>
                      <a:pt x="88791" y="38183"/>
                    </a:lnTo>
                    <a:close/>
                    <a:moveTo>
                      <a:pt x="212735" y="115004"/>
                    </a:moveTo>
                    <a:lnTo>
                      <a:pt x="209705" y="112580"/>
                    </a:lnTo>
                    <a:lnTo>
                      <a:pt x="207735" y="111216"/>
                    </a:lnTo>
                    <a:lnTo>
                      <a:pt x="207129" y="110307"/>
                    </a:lnTo>
                    <a:lnTo>
                      <a:pt x="207584" y="107580"/>
                    </a:lnTo>
                    <a:lnTo>
                      <a:pt x="208341" y="104852"/>
                    </a:lnTo>
                    <a:lnTo>
                      <a:pt x="207887" y="103792"/>
                    </a:lnTo>
                    <a:lnTo>
                      <a:pt x="207280" y="102882"/>
                    </a:lnTo>
                    <a:lnTo>
                      <a:pt x="206977" y="100004"/>
                    </a:lnTo>
                    <a:lnTo>
                      <a:pt x="205614" y="96519"/>
                    </a:lnTo>
                    <a:lnTo>
                      <a:pt x="204099" y="94397"/>
                    </a:lnTo>
                    <a:lnTo>
                      <a:pt x="203644" y="91670"/>
                    </a:lnTo>
                    <a:lnTo>
                      <a:pt x="203492" y="89094"/>
                    </a:lnTo>
                    <a:lnTo>
                      <a:pt x="205310" y="85003"/>
                    </a:lnTo>
                    <a:lnTo>
                      <a:pt x="204705" y="83185"/>
                    </a:lnTo>
                    <a:lnTo>
                      <a:pt x="202887" y="81670"/>
                    </a:lnTo>
                    <a:lnTo>
                      <a:pt x="196522" y="78791"/>
                    </a:lnTo>
                    <a:lnTo>
                      <a:pt x="190007" y="76821"/>
                    </a:lnTo>
                    <a:lnTo>
                      <a:pt x="187583" y="76821"/>
                    </a:lnTo>
                    <a:lnTo>
                      <a:pt x="186067" y="76669"/>
                    </a:lnTo>
                    <a:lnTo>
                      <a:pt x="184249" y="78336"/>
                    </a:lnTo>
                    <a:lnTo>
                      <a:pt x="183189" y="80457"/>
                    </a:lnTo>
                    <a:lnTo>
                      <a:pt x="181673" y="80609"/>
                    </a:lnTo>
                    <a:lnTo>
                      <a:pt x="178946" y="79700"/>
                    </a:lnTo>
                    <a:lnTo>
                      <a:pt x="177128" y="78336"/>
                    </a:lnTo>
                    <a:lnTo>
                      <a:pt x="175764" y="75457"/>
                    </a:lnTo>
                    <a:lnTo>
                      <a:pt x="174703" y="71669"/>
                    </a:lnTo>
                    <a:lnTo>
                      <a:pt x="174097" y="70457"/>
                    </a:lnTo>
                    <a:lnTo>
                      <a:pt x="174401" y="69397"/>
                    </a:lnTo>
                    <a:lnTo>
                      <a:pt x="175006" y="68487"/>
                    </a:lnTo>
                    <a:lnTo>
                      <a:pt x="176825" y="67578"/>
                    </a:lnTo>
                    <a:lnTo>
                      <a:pt x="177128" y="66669"/>
                    </a:lnTo>
                    <a:lnTo>
                      <a:pt x="176825" y="65608"/>
                    </a:lnTo>
                    <a:lnTo>
                      <a:pt x="175461" y="64245"/>
                    </a:lnTo>
                    <a:lnTo>
                      <a:pt x="173946" y="62275"/>
                    </a:lnTo>
                    <a:lnTo>
                      <a:pt x="171673" y="58336"/>
                    </a:lnTo>
                    <a:lnTo>
                      <a:pt x="172128" y="56214"/>
                    </a:lnTo>
                    <a:lnTo>
                      <a:pt x="172431" y="53032"/>
                    </a:lnTo>
                    <a:lnTo>
                      <a:pt x="172279" y="51366"/>
                    </a:lnTo>
                    <a:lnTo>
                      <a:pt x="170764" y="51062"/>
                    </a:lnTo>
                    <a:lnTo>
                      <a:pt x="167885" y="50911"/>
                    </a:lnTo>
                    <a:lnTo>
                      <a:pt x="165612" y="51517"/>
                    </a:lnTo>
                    <a:lnTo>
                      <a:pt x="164248" y="52426"/>
                    </a:lnTo>
                    <a:lnTo>
                      <a:pt x="161521" y="53638"/>
                    </a:lnTo>
                    <a:lnTo>
                      <a:pt x="158036" y="54093"/>
                    </a:lnTo>
                    <a:lnTo>
                      <a:pt x="153642" y="54244"/>
                    </a:lnTo>
                    <a:lnTo>
                      <a:pt x="151521" y="54093"/>
                    </a:lnTo>
                    <a:lnTo>
                      <a:pt x="145157" y="53335"/>
                    </a:lnTo>
                    <a:lnTo>
                      <a:pt x="143036" y="53638"/>
                    </a:lnTo>
                    <a:lnTo>
                      <a:pt x="141066" y="54244"/>
                    </a:lnTo>
                    <a:lnTo>
                      <a:pt x="137429" y="54850"/>
                    </a:lnTo>
                    <a:lnTo>
                      <a:pt x="135460" y="56820"/>
                    </a:lnTo>
                    <a:lnTo>
                      <a:pt x="134399" y="58638"/>
                    </a:lnTo>
                    <a:lnTo>
                      <a:pt x="133793" y="58942"/>
                    </a:lnTo>
                    <a:lnTo>
                      <a:pt x="131520" y="57275"/>
                    </a:lnTo>
                    <a:lnTo>
                      <a:pt x="129853" y="55608"/>
                    </a:lnTo>
                    <a:lnTo>
                      <a:pt x="128793" y="54244"/>
                    </a:lnTo>
                    <a:lnTo>
                      <a:pt x="127429" y="54244"/>
                    </a:lnTo>
                    <a:lnTo>
                      <a:pt x="122429" y="56669"/>
                    </a:lnTo>
                    <a:lnTo>
                      <a:pt x="121671" y="56517"/>
                    </a:lnTo>
                    <a:lnTo>
                      <a:pt x="120156" y="55608"/>
                    </a:lnTo>
                    <a:lnTo>
                      <a:pt x="120459" y="53335"/>
                    </a:lnTo>
                    <a:lnTo>
                      <a:pt x="120308" y="51820"/>
                    </a:lnTo>
                    <a:lnTo>
                      <a:pt x="118641" y="51062"/>
                    </a:lnTo>
                    <a:lnTo>
                      <a:pt x="115156" y="50911"/>
                    </a:lnTo>
                    <a:lnTo>
                      <a:pt x="113943" y="50153"/>
                    </a:lnTo>
                    <a:lnTo>
                      <a:pt x="113943" y="48941"/>
                    </a:lnTo>
                    <a:lnTo>
                      <a:pt x="114247" y="47729"/>
                    </a:lnTo>
                    <a:lnTo>
                      <a:pt x="113792" y="46820"/>
                    </a:lnTo>
                    <a:lnTo>
                      <a:pt x="112883" y="46062"/>
                    </a:lnTo>
                    <a:lnTo>
                      <a:pt x="111065" y="46214"/>
                    </a:lnTo>
                    <a:lnTo>
                      <a:pt x="108943" y="47123"/>
                    </a:lnTo>
                    <a:lnTo>
                      <a:pt x="107428" y="48183"/>
                    </a:lnTo>
                    <a:lnTo>
                      <a:pt x="105458" y="48638"/>
                    </a:lnTo>
                    <a:lnTo>
                      <a:pt x="103186" y="48790"/>
                    </a:lnTo>
                    <a:lnTo>
                      <a:pt x="101670" y="49396"/>
                    </a:lnTo>
                    <a:lnTo>
                      <a:pt x="100004" y="51971"/>
                    </a:lnTo>
                    <a:lnTo>
                      <a:pt x="94398" y="52578"/>
                    </a:lnTo>
                    <a:lnTo>
                      <a:pt x="92579" y="51971"/>
                    </a:lnTo>
                    <a:lnTo>
                      <a:pt x="91064" y="50153"/>
                    </a:lnTo>
                    <a:lnTo>
                      <a:pt x="89094" y="47123"/>
                    </a:lnTo>
                    <a:lnTo>
                      <a:pt x="88034" y="46820"/>
                    </a:lnTo>
                    <a:lnTo>
                      <a:pt x="86215" y="46517"/>
                    </a:lnTo>
                    <a:lnTo>
                      <a:pt x="83185" y="46668"/>
                    </a:lnTo>
                    <a:lnTo>
                      <a:pt x="79094" y="47881"/>
                    </a:lnTo>
                    <a:lnTo>
                      <a:pt x="78185" y="46820"/>
                    </a:lnTo>
                    <a:lnTo>
                      <a:pt x="77124" y="46517"/>
                    </a:lnTo>
                    <a:lnTo>
                      <a:pt x="76215" y="47426"/>
                    </a:lnTo>
                    <a:lnTo>
                      <a:pt x="75306" y="47274"/>
                    </a:lnTo>
                    <a:lnTo>
                      <a:pt x="71366" y="47577"/>
                    </a:lnTo>
                    <a:lnTo>
                      <a:pt x="66366" y="47426"/>
                    </a:lnTo>
                    <a:lnTo>
                      <a:pt x="63487" y="46820"/>
                    </a:lnTo>
                    <a:lnTo>
                      <a:pt x="61669" y="46820"/>
                    </a:lnTo>
                    <a:lnTo>
                      <a:pt x="58032" y="48183"/>
                    </a:lnTo>
                    <a:lnTo>
                      <a:pt x="56063" y="48183"/>
                    </a:lnTo>
                    <a:lnTo>
                      <a:pt x="53487" y="48487"/>
                    </a:lnTo>
                    <a:lnTo>
                      <a:pt x="53032" y="43941"/>
                    </a:lnTo>
                    <a:lnTo>
                      <a:pt x="51669" y="40911"/>
                    </a:lnTo>
                    <a:lnTo>
                      <a:pt x="52123" y="38789"/>
                    </a:lnTo>
                    <a:lnTo>
                      <a:pt x="53032" y="35910"/>
                    </a:lnTo>
                    <a:lnTo>
                      <a:pt x="53790" y="34244"/>
                    </a:lnTo>
                    <a:lnTo>
                      <a:pt x="55457" y="35001"/>
                    </a:lnTo>
                    <a:lnTo>
                      <a:pt x="57275" y="36213"/>
                    </a:lnTo>
                    <a:lnTo>
                      <a:pt x="58487" y="35910"/>
                    </a:lnTo>
                    <a:lnTo>
                      <a:pt x="58790" y="34850"/>
                    </a:lnTo>
                    <a:lnTo>
                      <a:pt x="58336" y="33486"/>
                    </a:lnTo>
                    <a:lnTo>
                      <a:pt x="58336" y="32577"/>
                    </a:lnTo>
                    <a:lnTo>
                      <a:pt x="58942" y="31365"/>
                    </a:lnTo>
                    <a:lnTo>
                      <a:pt x="60002" y="30153"/>
                    </a:lnTo>
                    <a:lnTo>
                      <a:pt x="66366" y="28183"/>
                    </a:lnTo>
                    <a:lnTo>
                      <a:pt x="71821" y="26819"/>
                    </a:lnTo>
                    <a:lnTo>
                      <a:pt x="74700" y="27728"/>
                    </a:lnTo>
                    <a:lnTo>
                      <a:pt x="80306" y="29850"/>
                    </a:lnTo>
                    <a:lnTo>
                      <a:pt x="83185" y="30910"/>
                    </a:lnTo>
                    <a:lnTo>
                      <a:pt x="85155" y="31516"/>
                    </a:lnTo>
                    <a:lnTo>
                      <a:pt x="86973" y="34698"/>
                    </a:lnTo>
                    <a:lnTo>
                      <a:pt x="88185" y="34547"/>
                    </a:lnTo>
                    <a:lnTo>
                      <a:pt x="89397" y="33941"/>
                    </a:lnTo>
                    <a:lnTo>
                      <a:pt x="90003" y="33183"/>
                    </a:lnTo>
                    <a:lnTo>
                      <a:pt x="90610" y="30456"/>
                    </a:lnTo>
                    <a:lnTo>
                      <a:pt x="93185" y="28941"/>
                    </a:lnTo>
                    <a:lnTo>
                      <a:pt x="98943" y="27122"/>
                    </a:lnTo>
                    <a:lnTo>
                      <a:pt x="99398" y="26062"/>
                    </a:lnTo>
                    <a:lnTo>
                      <a:pt x="99246" y="25455"/>
                    </a:lnTo>
                    <a:lnTo>
                      <a:pt x="97579" y="25607"/>
                    </a:lnTo>
                    <a:lnTo>
                      <a:pt x="90912" y="26668"/>
                    </a:lnTo>
                    <a:lnTo>
                      <a:pt x="89549" y="26213"/>
                    </a:lnTo>
                    <a:lnTo>
                      <a:pt x="88488" y="24546"/>
                    </a:lnTo>
                    <a:lnTo>
                      <a:pt x="87579" y="22728"/>
                    </a:lnTo>
                    <a:lnTo>
                      <a:pt x="85912" y="22122"/>
                    </a:lnTo>
                    <a:lnTo>
                      <a:pt x="83943" y="21667"/>
                    </a:lnTo>
                    <a:lnTo>
                      <a:pt x="83185" y="20910"/>
                    </a:lnTo>
                    <a:lnTo>
                      <a:pt x="83185" y="20001"/>
                    </a:lnTo>
                    <a:lnTo>
                      <a:pt x="83336" y="19092"/>
                    </a:lnTo>
                    <a:lnTo>
                      <a:pt x="83488" y="18637"/>
                    </a:lnTo>
                    <a:lnTo>
                      <a:pt x="88034" y="15152"/>
                    </a:lnTo>
                    <a:lnTo>
                      <a:pt x="92124" y="11970"/>
                    </a:lnTo>
                    <a:lnTo>
                      <a:pt x="92428" y="11667"/>
                    </a:lnTo>
                    <a:lnTo>
                      <a:pt x="92731" y="11061"/>
                    </a:lnTo>
                    <a:lnTo>
                      <a:pt x="93489" y="10000"/>
                    </a:lnTo>
                    <a:lnTo>
                      <a:pt x="93489" y="9394"/>
                    </a:lnTo>
                    <a:lnTo>
                      <a:pt x="90458" y="8182"/>
                    </a:lnTo>
                    <a:lnTo>
                      <a:pt x="90306" y="7576"/>
                    </a:lnTo>
                    <a:lnTo>
                      <a:pt x="90912" y="6970"/>
                    </a:lnTo>
                    <a:lnTo>
                      <a:pt x="90912" y="6212"/>
                    </a:lnTo>
                    <a:lnTo>
                      <a:pt x="88791" y="3940"/>
                    </a:lnTo>
                    <a:lnTo>
                      <a:pt x="85003" y="303"/>
                    </a:lnTo>
                    <a:lnTo>
                      <a:pt x="83943" y="0"/>
                    </a:lnTo>
                    <a:lnTo>
                      <a:pt x="83185" y="303"/>
                    </a:lnTo>
                    <a:lnTo>
                      <a:pt x="81670" y="3788"/>
                    </a:lnTo>
                    <a:lnTo>
                      <a:pt x="80912" y="4697"/>
                    </a:lnTo>
                    <a:lnTo>
                      <a:pt x="76669" y="6970"/>
                    </a:lnTo>
                    <a:lnTo>
                      <a:pt x="73033" y="8485"/>
                    </a:lnTo>
                    <a:lnTo>
                      <a:pt x="66669" y="11364"/>
                    </a:lnTo>
                    <a:lnTo>
                      <a:pt x="65003" y="12273"/>
                    </a:lnTo>
                    <a:lnTo>
                      <a:pt x="63790" y="12122"/>
                    </a:lnTo>
                    <a:lnTo>
                      <a:pt x="62578" y="11516"/>
                    </a:lnTo>
                    <a:lnTo>
                      <a:pt x="58942" y="8637"/>
                    </a:lnTo>
                    <a:lnTo>
                      <a:pt x="56669" y="7728"/>
                    </a:lnTo>
                    <a:lnTo>
                      <a:pt x="55154" y="8637"/>
                    </a:lnTo>
                    <a:lnTo>
                      <a:pt x="53790" y="10000"/>
                    </a:lnTo>
                    <a:lnTo>
                      <a:pt x="53941" y="12879"/>
                    </a:lnTo>
                    <a:lnTo>
                      <a:pt x="52426" y="14394"/>
                    </a:lnTo>
                    <a:lnTo>
                      <a:pt x="50911" y="15001"/>
                    </a:lnTo>
                    <a:lnTo>
                      <a:pt x="53638" y="22728"/>
                    </a:lnTo>
                    <a:lnTo>
                      <a:pt x="53335" y="23789"/>
                    </a:lnTo>
                    <a:lnTo>
                      <a:pt x="51214" y="24092"/>
                    </a:lnTo>
                    <a:lnTo>
                      <a:pt x="52729" y="26971"/>
                    </a:lnTo>
                    <a:lnTo>
                      <a:pt x="51517" y="27274"/>
                    </a:lnTo>
                    <a:lnTo>
                      <a:pt x="48335" y="26668"/>
                    </a:lnTo>
                    <a:lnTo>
                      <a:pt x="43941" y="26213"/>
                    </a:lnTo>
                    <a:lnTo>
                      <a:pt x="35759" y="27425"/>
                    </a:lnTo>
                    <a:lnTo>
                      <a:pt x="35153" y="27880"/>
                    </a:lnTo>
                    <a:lnTo>
                      <a:pt x="35001" y="28486"/>
                    </a:lnTo>
                    <a:lnTo>
                      <a:pt x="35456" y="29092"/>
                    </a:lnTo>
                    <a:lnTo>
                      <a:pt x="39395" y="29092"/>
                    </a:lnTo>
                    <a:lnTo>
                      <a:pt x="43335" y="28789"/>
                    </a:lnTo>
                    <a:lnTo>
                      <a:pt x="44395" y="29395"/>
                    </a:lnTo>
                    <a:lnTo>
                      <a:pt x="44547" y="30304"/>
                    </a:lnTo>
                    <a:lnTo>
                      <a:pt x="44093" y="30910"/>
                    </a:lnTo>
                    <a:lnTo>
                      <a:pt x="42729" y="31062"/>
                    </a:lnTo>
                    <a:lnTo>
                      <a:pt x="39850" y="31668"/>
                    </a:lnTo>
                    <a:lnTo>
                      <a:pt x="39547" y="32274"/>
                    </a:lnTo>
                    <a:lnTo>
                      <a:pt x="39395" y="32880"/>
                    </a:lnTo>
                    <a:lnTo>
                      <a:pt x="40305" y="34547"/>
                    </a:lnTo>
                    <a:lnTo>
                      <a:pt x="41365" y="35607"/>
                    </a:lnTo>
                    <a:lnTo>
                      <a:pt x="41517" y="36213"/>
                    </a:lnTo>
                    <a:lnTo>
                      <a:pt x="41062" y="36668"/>
                    </a:lnTo>
                    <a:lnTo>
                      <a:pt x="40456" y="36819"/>
                    </a:lnTo>
                    <a:lnTo>
                      <a:pt x="39547" y="36062"/>
                    </a:lnTo>
                    <a:lnTo>
                      <a:pt x="38941" y="36213"/>
                    </a:lnTo>
                    <a:lnTo>
                      <a:pt x="38638" y="36971"/>
                    </a:lnTo>
                    <a:lnTo>
                      <a:pt x="38335" y="37880"/>
                    </a:lnTo>
                    <a:lnTo>
                      <a:pt x="37729" y="38486"/>
                    </a:lnTo>
                    <a:lnTo>
                      <a:pt x="36365" y="38183"/>
                    </a:lnTo>
                    <a:lnTo>
                      <a:pt x="35001" y="38486"/>
                    </a:lnTo>
                    <a:lnTo>
                      <a:pt x="34244" y="41517"/>
                    </a:lnTo>
                    <a:lnTo>
                      <a:pt x="33638" y="45002"/>
                    </a:lnTo>
                    <a:lnTo>
                      <a:pt x="31516" y="47274"/>
                    </a:lnTo>
                    <a:lnTo>
                      <a:pt x="30304" y="48183"/>
                    </a:lnTo>
                    <a:lnTo>
                      <a:pt x="28486" y="48487"/>
                    </a:lnTo>
                    <a:lnTo>
                      <a:pt x="25910" y="48183"/>
                    </a:lnTo>
                    <a:lnTo>
                      <a:pt x="24395" y="47881"/>
                    </a:lnTo>
                    <a:lnTo>
                      <a:pt x="19849" y="47426"/>
                    </a:lnTo>
                    <a:lnTo>
                      <a:pt x="15304" y="46517"/>
                    </a:lnTo>
                    <a:lnTo>
                      <a:pt x="10152" y="45608"/>
                    </a:lnTo>
                    <a:lnTo>
                      <a:pt x="5303" y="47577"/>
                    </a:lnTo>
                    <a:lnTo>
                      <a:pt x="3940" y="48790"/>
                    </a:lnTo>
                    <a:lnTo>
                      <a:pt x="3031" y="50002"/>
                    </a:lnTo>
                    <a:lnTo>
                      <a:pt x="2122" y="50608"/>
                    </a:lnTo>
                    <a:lnTo>
                      <a:pt x="0" y="57729"/>
                    </a:lnTo>
                    <a:lnTo>
                      <a:pt x="152" y="58487"/>
                    </a:lnTo>
                    <a:lnTo>
                      <a:pt x="1364" y="59093"/>
                    </a:lnTo>
                    <a:lnTo>
                      <a:pt x="7273" y="60608"/>
                    </a:lnTo>
                    <a:lnTo>
                      <a:pt x="8182" y="61214"/>
                    </a:lnTo>
                    <a:lnTo>
                      <a:pt x="8637" y="61972"/>
                    </a:lnTo>
                    <a:lnTo>
                      <a:pt x="8940" y="65154"/>
                    </a:lnTo>
                    <a:lnTo>
                      <a:pt x="9394" y="65608"/>
                    </a:lnTo>
                    <a:lnTo>
                      <a:pt x="11364" y="66063"/>
                    </a:lnTo>
                    <a:lnTo>
                      <a:pt x="14243" y="66063"/>
                    </a:lnTo>
                    <a:lnTo>
                      <a:pt x="16516" y="65760"/>
                    </a:lnTo>
                    <a:lnTo>
                      <a:pt x="18788" y="66063"/>
                    </a:lnTo>
                    <a:lnTo>
                      <a:pt x="20455" y="66821"/>
                    </a:lnTo>
                    <a:lnTo>
                      <a:pt x="21213" y="67881"/>
                    </a:lnTo>
                    <a:lnTo>
                      <a:pt x="21667" y="69093"/>
                    </a:lnTo>
                    <a:lnTo>
                      <a:pt x="18940" y="76215"/>
                    </a:lnTo>
                    <a:lnTo>
                      <a:pt x="19092" y="78791"/>
                    </a:lnTo>
                    <a:lnTo>
                      <a:pt x="20001" y="82427"/>
                    </a:lnTo>
                    <a:lnTo>
                      <a:pt x="21516" y="85306"/>
                    </a:lnTo>
                    <a:lnTo>
                      <a:pt x="24395" y="88185"/>
                    </a:lnTo>
                    <a:lnTo>
                      <a:pt x="26668" y="90003"/>
                    </a:lnTo>
                    <a:lnTo>
                      <a:pt x="27122" y="90912"/>
                    </a:lnTo>
                    <a:lnTo>
                      <a:pt x="27274" y="92276"/>
                    </a:lnTo>
                    <a:lnTo>
                      <a:pt x="26971" y="93943"/>
                    </a:lnTo>
                    <a:lnTo>
                      <a:pt x="25607" y="96670"/>
                    </a:lnTo>
                    <a:lnTo>
                      <a:pt x="24092" y="98943"/>
                    </a:lnTo>
                    <a:lnTo>
                      <a:pt x="22425" y="100004"/>
                    </a:lnTo>
                    <a:lnTo>
                      <a:pt x="20001" y="102882"/>
                    </a:lnTo>
                    <a:lnTo>
                      <a:pt x="17879" y="106519"/>
                    </a:lnTo>
                    <a:lnTo>
                      <a:pt x="13788" y="111216"/>
                    </a:lnTo>
                    <a:lnTo>
                      <a:pt x="12425" y="113792"/>
                    </a:lnTo>
                    <a:lnTo>
                      <a:pt x="11970" y="121368"/>
                    </a:lnTo>
                    <a:lnTo>
                      <a:pt x="10910" y="123641"/>
                    </a:lnTo>
                    <a:lnTo>
                      <a:pt x="11061" y="124701"/>
                    </a:lnTo>
                    <a:lnTo>
                      <a:pt x="12879" y="127126"/>
                    </a:lnTo>
                    <a:lnTo>
                      <a:pt x="16213" y="130005"/>
                    </a:lnTo>
                    <a:lnTo>
                      <a:pt x="19243" y="130762"/>
                    </a:lnTo>
                    <a:lnTo>
                      <a:pt x="23183" y="128489"/>
                    </a:lnTo>
                    <a:lnTo>
                      <a:pt x="24546" y="128793"/>
                    </a:lnTo>
                    <a:lnTo>
                      <a:pt x="25153" y="128035"/>
                    </a:lnTo>
                    <a:lnTo>
                      <a:pt x="25607" y="126368"/>
                    </a:lnTo>
                    <a:lnTo>
                      <a:pt x="28031" y="124853"/>
                    </a:lnTo>
                    <a:lnTo>
                      <a:pt x="32426" y="123338"/>
                    </a:lnTo>
                    <a:lnTo>
                      <a:pt x="34850" y="121974"/>
                    </a:lnTo>
                    <a:lnTo>
                      <a:pt x="35759" y="120913"/>
                    </a:lnTo>
                    <a:lnTo>
                      <a:pt x="37274" y="120610"/>
                    </a:lnTo>
                    <a:lnTo>
                      <a:pt x="38941" y="120913"/>
                    </a:lnTo>
                    <a:lnTo>
                      <a:pt x="40153" y="120459"/>
                    </a:lnTo>
                    <a:lnTo>
                      <a:pt x="40607" y="119398"/>
                    </a:lnTo>
                    <a:lnTo>
                      <a:pt x="41062" y="118944"/>
                    </a:lnTo>
                    <a:lnTo>
                      <a:pt x="41820" y="118641"/>
                    </a:lnTo>
                    <a:lnTo>
                      <a:pt x="42577" y="118489"/>
                    </a:lnTo>
                    <a:lnTo>
                      <a:pt x="43941" y="118792"/>
                    </a:lnTo>
                    <a:lnTo>
                      <a:pt x="46365" y="120610"/>
                    </a:lnTo>
                    <a:lnTo>
                      <a:pt x="49850" y="123944"/>
                    </a:lnTo>
                    <a:lnTo>
                      <a:pt x="52123" y="125459"/>
                    </a:lnTo>
                    <a:lnTo>
                      <a:pt x="53184" y="125156"/>
                    </a:lnTo>
                    <a:lnTo>
                      <a:pt x="54548" y="124095"/>
                    </a:lnTo>
                    <a:lnTo>
                      <a:pt x="56214" y="122277"/>
                    </a:lnTo>
                    <a:lnTo>
                      <a:pt x="56669" y="119701"/>
                    </a:lnTo>
                    <a:lnTo>
                      <a:pt x="55911" y="116216"/>
                    </a:lnTo>
                    <a:lnTo>
                      <a:pt x="56517" y="113489"/>
                    </a:lnTo>
                    <a:lnTo>
                      <a:pt x="58487" y="111368"/>
                    </a:lnTo>
                    <a:lnTo>
                      <a:pt x="62124" y="110004"/>
                    </a:lnTo>
                    <a:lnTo>
                      <a:pt x="67427" y="109549"/>
                    </a:lnTo>
                    <a:lnTo>
                      <a:pt x="70760" y="109852"/>
                    </a:lnTo>
                    <a:lnTo>
                      <a:pt x="71972" y="110913"/>
                    </a:lnTo>
                    <a:lnTo>
                      <a:pt x="73639" y="111519"/>
                    </a:lnTo>
                    <a:lnTo>
                      <a:pt x="75760" y="111671"/>
                    </a:lnTo>
                    <a:lnTo>
                      <a:pt x="77579" y="110458"/>
                    </a:lnTo>
                    <a:lnTo>
                      <a:pt x="79246" y="107883"/>
                    </a:lnTo>
                    <a:lnTo>
                      <a:pt x="79397" y="104701"/>
                    </a:lnTo>
                    <a:lnTo>
                      <a:pt x="77882" y="100913"/>
                    </a:lnTo>
                    <a:lnTo>
                      <a:pt x="78336" y="99701"/>
                    </a:lnTo>
                    <a:lnTo>
                      <a:pt x="78942" y="99094"/>
                    </a:lnTo>
                    <a:lnTo>
                      <a:pt x="80912" y="97731"/>
                    </a:lnTo>
                    <a:lnTo>
                      <a:pt x="83791" y="94852"/>
                    </a:lnTo>
                    <a:lnTo>
                      <a:pt x="86518" y="91216"/>
                    </a:lnTo>
                    <a:lnTo>
                      <a:pt x="89246" y="86670"/>
                    </a:lnTo>
                    <a:lnTo>
                      <a:pt x="92579" y="83942"/>
                    </a:lnTo>
                    <a:lnTo>
                      <a:pt x="96519" y="82882"/>
                    </a:lnTo>
                    <a:lnTo>
                      <a:pt x="101216" y="84094"/>
                    </a:lnTo>
                    <a:lnTo>
                      <a:pt x="106822" y="87579"/>
                    </a:lnTo>
                    <a:lnTo>
                      <a:pt x="108943" y="91973"/>
                    </a:lnTo>
                    <a:lnTo>
                      <a:pt x="107580" y="97125"/>
                    </a:lnTo>
                    <a:lnTo>
                      <a:pt x="107428" y="100004"/>
                    </a:lnTo>
                    <a:lnTo>
                      <a:pt x="108489" y="100458"/>
                    </a:lnTo>
                    <a:lnTo>
                      <a:pt x="110459" y="100307"/>
                    </a:lnTo>
                    <a:lnTo>
                      <a:pt x="113186" y="99549"/>
                    </a:lnTo>
                    <a:lnTo>
                      <a:pt x="115004" y="99549"/>
                    </a:lnTo>
                    <a:lnTo>
                      <a:pt x="115762" y="100307"/>
                    </a:lnTo>
                    <a:lnTo>
                      <a:pt x="115762" y="101822"/>
                    </a:lnTo>
                    <a:lnTo>
                      <a:pt x="114853" y="103943"/>
                    </a:lnTo>
                    <a:lnTo>
                      <a:pt x="113792" y="110004"/>
                    </a:lnTo>
                    <a:lnTo>
                      <a:pt x="113034" y="115307"/>
                    </a:lnTo>
                    <a:lnTo>
                      <a:pt x="112429" y="120459"/>
                    </a:lnTo>
                    <a:lnTo>
                      <a:pt x="111822" y="125005"/>
                    </a:lnTo>
                    <a:lnTo>
                      <a:pt x="112883" y="128489"/>
                    </a:lnTo>
                    <a:lnTo>
                      <a:pt x="114550" y="133793"/>
                    </a:lnTo>
                    <a:lnTo>
                      <a:pt x="116368" y="137278"/>
                    </a:lnTo>
                    <a:lnTo>
                      <a:pt x="118186" y="138338"/>
                    </a:lnTo>
                    <a:lnTo>
                      <a:pt x="120005" y="138793"/>
                    </a:lnTo>
                    <a:lnTo>
                      <a:pt x="121823" y="138490"/>
                    </a:lnTo>
                    <a:lnTo>
                      <a:pt x="125611" y="136217"/>
                    </a:lnTo>
                    <a:lnTo>
                      <a:pt x="131369" y="131974"/>
                    </a:lnTo>
                    <a:lnTo>
                      <a:pt x="136975" y="129399"/>
                    </a:lnTo>
                    <a:lnTo>
                      <a:pt x="145157" y="127883"/>
                    </a:lnTo>
                    <a:lnTo>
                      <a:pt x="147884" y="123338"/>
                    </a:lnTo>
                    <a:lnTo>
                      <a:pt x="151672" y="120307"/>
                    </a:lnTo>
                    <a:lnTo>
                      <a:pt x="160309" y="115913"/>
                    </a:lnTo>
                    <a:lnTo>
                      <a:pt x="165006" y="114246"/>
                    </a:lnTo>
                    <a:lnTo>
                      <a:pt x="167734" y="113944"/>
                    </a:lnTo>
                    <a:lnTo>
                      <a:pt x="171067" y="114701"/>
                    </a:lnTo>
                    <a:lnTo>
                      <a:pt x="171825" y="115004"/>
                    </a:lnTo>
                    <a:lnTo>
                      <a:pt x="172431" y="115156"/>
                    </a:lnTo>
                    <a:lnTo>
                      <a:pt x="174097" y="115459"/>
                    </a:lnTo>
                    <a:lnTo>
                      <a:pt x="174401" y="116822"/>
                    </a:lnTo>
                    <a:lnTo>
                      <a:pt x="173946" y="118338"/>
                    </a:lnTo>
                    <a:lnTo>
                      <a:pt x="172128" y="119550"/>
                    </a:lnTo>
                    <a:lnTo>
                      <a:pt x="171522" y="120459"/>
                    </a:lnTo>
                    <a:lnTo>
                      <a:pt x="172279" y="121217"/>
                    </a:lnTo>
                    <a:lnTo>
                      <a:pt x="174855" y="121520"/>
                    </a:lnTo>
                    <a:lnTo>
                      <a:pt x="180310" y="119853"/>
                    </a:lnTo>
                    <a:lnTo>
                      <a:pt x="183795" y="118792"/>
                    </a:lnTo>
                    <a:lnTo>
                      <a:pt x="186219" y="118338"/>
                    </a:lnTo>
                    <a:lnTo>
                      <a:pt x="187280" y="116974"/>
                    </a:lnTo>
                    <a:lnTo>
                      <a:pt x="188795" y="115610"/>
                    </a:lnTo>
                    <a:lnTo>
                      <a:pt x="191219" y="115459"/>
                    </a:lnTo>
                    <a:lnTo>
                      <a:pt x="193795" y="116216"/>
                    </a:lnTo>
                    <a:lnTo>
                      <a:pt x="195916" y="116671"/>
                    </a:lnTo>
                    <a:lnTo>
                      <a:pt x="199553" y="116216"/>
                    </a:lnTo>
                    <a:lnTo>
                      <a:pt x="201522" y="117429"/>
                    </a:lnTo>
                    <a:lnTo>
                      <a:pt x="204250" y="119701"/>
                    </a:lnTo>
                    <a:lnTo>
                      <a:pt x="205462" y="121065"/>
                    </a:lnTo>
                    <a:lnTo>
                      <a:pt x="205917" y="121368"/>
                    </a:lnTo>
                    <a:lnTo>
                      <a:pt x="206675" y="120762"/>
                    </a:lnTo>
                    <a:lnTo>
                      <a:pt x="209098" y="119398"/>
                    </a:lnTo>
                    <a:lnTo>
                      <a:pt x="211068" y="117883"/>
                    </a:lnTo>
                    <a:lnTo>
                      <a:pt x="212129" y="116519"/>
                    </a:lnTo>
                    <a:lnTo>
                      <a:pt x="212735" y="1150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3C9C6133-142E-4286-ABEE-DF387153C330}"/>
                  </a:ext>
                </a:extLst>
              </p:cNvPr>
              <p:cNvSpPr/>
              <p:nvPr/>
            </p:nvSpPr>
            <p:spPr>
              <a:xfrm>
                <a:off x="8441844" y="3998336"/>
                <a:ext cx="225462" cy="410772"/>
              </a:xfrm>
              <a:custGeom>
                <a:avLst/>
                <a:gdLst>
                  <a:gd name="connsiteX0" fmla="*/ 60608 w 225462"/>
                  <a:gd name="connsiteY0" fmla="*/ 384256 h 410772"/>
                  <a:gd name="connsiteX1" fmla="*/ 61669 w 225462"/>
                  <a:gd name="connsiteY1" fmla="*/ 386529 h 410772"/>
                  <a:gd name="connsiteX2" fmla="*/ 62124 w 225462"/>
                  <a:gd name="connsiteY2" fmla="*/ 386378 h 410772"/>
                  <a:gd name="connsiteX3" fmla="*/ 63184 w 225462"/>
                  <a:gd name="connsiteY3" fmla="*/ 385014 h 410772"/>
                  <a:gd name="connsiteX4" fmla="*/ 61820 w 225462"/>
                  <a:gd name="connsiteY4" fmla="*/ 381074 h 410772"/>
                  <a:gd name="connsiteX5" fmla="*/ 60608 w 225462"/>
                  <a:gd name="connsiteY5" fmla="*/ 384256 h 410772"/>
                  <a:gd name="connsiteX6" fmla="*/ 45305 w 225462"/>
                  <a:gd name="connsiteY6" fmla="*/ 355771 h 410772"/>
                  <a:gd name="connsiteX7" fmla="*/ 45153 w 225462"/>
                  <a:gd name="connsiteY7" fmla="*/ 356074 h 410772"/>
                  <a:gd name="connsiteX8" fmla="*/ 45153 w 225462"/>
                  <a:gd name="connsiteY8" fmla="*/ 358195 h 410772"/>
                  <a:gd name="connsiteX9" fmla="*/ 45911 w 225462"/>
                  <a:gd name="connsiteY9" fmla="*/ 359559 h 410772"/>
                  <a:gd name="connsiteX10" fmla="*/ 46972 w 225462"/>
                  <a:gd name="connsiteY10" fmla="*/ 360164 h 410772"/>
                  <a:gd name="connsiteX11" fmla="*/ 46214 w 225462"/>
                  <a:gd name="connsiteY11" fmla="*/ 356831 h 410772"/>
                  <a:gd name="connsiteX12" fmla="*/ 45305 w 225462"/>
                  <a:gd name="connsiteY12" fmla="*/ 355771 h 410772"/>
                  <a:gd name="connsiteX13" fmla="*/ 26364 w 225462"/>
                  <a:gd name="connsiteY13" fmla="*/ 342891 h 410772"/>
                  <a:gd name="connsiteX14" fmla="*/ 25607 w 225462"/>
                  <a:gd name="connsiteY14" fmla="*/ 341376 h 410772"/>
                  <a:gd name="connsiteX15" fmla="*/ 25001 w 225462"/>
                  <a:gd name="connsiteY15" fmla="*/ 342134 h 410772"/>
                  <a:gd name="connsiteX16" fmla="*/ 23940 w 225462"/>
                  <a:gd name="connsiteY16" fmla="*/ 347891 h 410772"/>
                  <a:gd name="connsiteX17" fmla="*/ 24849 w 225462"/>
                  <a:gd name="connsiteY17" fmla="*/ 351982 h 410772"/>
                  <a:gd name="connsiteX18" fmla="*/ 25304 w 225462"/>
                  <a:gd name="connsiteY18" fmla="*/ 351831 h 410772"/>
                  <a:gd name="connsiteX19" fmla="*/ 26516 w 225462"/>
                  <a:gd name="connsiteY19" fmla="*/ 350619 h 410772"/>
                  <a:gd name="connsiteX20" fmla="*/ 27577 w 225462"/>
                  <a:gd name="connsiteY20" fmla="*/ 350619 h 410772"/>
                  <a:gd name="connsiteX21" fmla="*/ 27880 w 225462"/>
                  <a:gd name="connsiteY21" fmla="*/ 348649 h 410772"/>
                  <a:gd name="connsiteX22" fmla="*/ 27577 w 225462"/>
                  <a:gd name="connsiteY22" fmla="*/ 346982 h 410772"/>
                  <a:gd name="connsiteX23" fmla="*/ 28637 w 225462"/>
                  <a:gd name="connsiteY23" fmla="*/ 343649 h 410772"/>
                  <a:gd name="connsiteX24" fmla="*/ 26364 w 225462"/>
                  <a:gd name="connsiteY24" fmla="*/ 342891 h 410772"/>
                  <a:gd name="connsiteX25" fmla="*/ 32577 w 225462"/>
                  <a:gd name="connsiteY25" fmla="*/ 348043 h 410772"/>
                  <a:gd name="connsiteX26" fmla="*/ 32880 w 225462"/>
                  <a:gd name="connsiteY26" fmla="*/ 347588 h 410772"/>
                  <a:gd name="connsiteX27" fmla="*/ 33183 w 225462"/>
                  <a:gd name="connsiteY27" fmla="*/ 344255 h 410772"/>
                  <a:gd name="connsiteX28" fmla="*/ 31062 w 225462"/>
                  <a:gd name="connsiteY28" fmla="*/ 342891 h 410772"/>
                  <a:gd name="connsiteX29" fmla="*/ 32577 w 225462"/>
                  <a:gd name="connsiteY29" fmla="*/ 348043 h 410772"/>
                  <a:gd name="connsiteX30" fmla="*/ 137278 w 225462"/>
                  <a:gd name="connsiteY30" fmla="*/ 235312 h 410772"/>
                  <a:gd name="connsiteX31" fmla="*/ 136520 w 225462"/>
                  <a:gd name="connsiteY31" fmla="*/ 233948 h 410772"/>
                  <a:gd name="connsiteX32" fmla="*/ 134853 w 225462"/>
                  <a:gd name="connsiteY32" fmla="*/ 231978 h 410772"/>
                  <a:gd name="connsiteX33" fmla="*/ 133793 w 225462"/>
                  <a:gd name="connsiteY33" fmla="*/ 231675 h 410772"/>
                  <a:gd name="connsiteX34" fmla="*/ 133641 w 225462"/>
                  <a:gd name="connsiteY34" fmla="*/ 232584 h 410772"/>
                  <a:gd name="connsiteX35" fmla="*/ 134399 w 225462"/>
                  <a:gd name="connsiteY35" fmla="*/ 236372 h 410772"/>
                  <a:gd name="connsiteX36" fmla="*/ 135914 w 225462"/>
                  <a:gd name="connsiteY36" fmla="*/ 236524 h 410772"/>
                  <a:gd name="connsiteX37" fmla="*/ 136369 w 225462"/>
                  <a:gd name="connsiteY37" fmla="*/ 236221 h 410772"/>
                  <a:gd name="connsiteX38" fmla="*/ 137732 w 225462"/>
                  <a:gd name="connsiteY38" fmla="*/ 236675 h 410772"/>
                  <a:gd name="connsiteX39" fmla="*/ 137581 w 225462"/>
                  <a:gd name="connsiteY39" fmla="*/ 236069 h 410772"/>
                  <a:gd name="connsiteX40" fmla="*/ 137278 w 225462"/>
                  <a:gd name="connsiteY40" fmla="*/ 235312 h 410772"/>
                  <a:gd name="connsiteX41" fmla="*/ 73184 w 225462"/>
                  <a:gd name="connsiteY41" fmla="*/ 299859 h 410772"/>
                  <a:gd name="connsiteX42" fmla="*/ 73488 w 225462"/>
                  <a:gd name="connsiteY42" fmla="*/ 299405 h 410772"/>
                  <a:gd name="connsiteX43" fmla="*/ 73488 w 225462"/>
                  <a:gd name="connsiteY43" fmla="*/ 298041 h 410772"/>
                  <a:gd name="connsiteX44" fmla="*/ 72730 w 225462"/>
                  <a:gd name="connsiteY44" fmla="*/ 296829 h 410772"/>
                  <a:gd name="connsiteX45" fmla="*/ 71063 w 225462"/>
                  <a:gd name="connsiteY45" fmla="*/ 296829 h 410772"/>
                  <a:gd name="connsiteX46" fmla="*/ 71518 w 225462"/>
                  <a:gd name="connsiteY46" fmla="*/ 298041 h 410772"/>
                  <a:gd name="connsiteX47" fmla="*/ 72275 w 225462"/>
                  <a:gd name="connsiteY47" fmla="*/ 298950 h 410772"/>
                  <a:gd name="connsiteX48" fmla="*/ 73184 w 225462"/>
                  <a:gd name="connsiteY48" fmla="*/ 299859 h 410772"/>
                  <a:gd name="connsiteX49" fmla="*/ 141066 w 225462"/>
                  <a:gd name="connsiteY49" fmla="*/ 245160 h 410772"/>
                  <a:gd name="connsiteX50" fmla="*/ 140762 w 225462"/>
                  <a:gd name="connsiteY50" fmla="*/ 246676 h 410772"/>
                  <a:gd name="connsiteX51" fmla="*/ 142278 w 225462"/>
                  <a:gd name="connsiteY51" fmla="*/ 247888 h 410772"/>
                  <a:gd name="connsiteX52" fmla="*/ 142732 w 225462"/>
                  <a:gd name="connsiteY52" fmla="*/ 245009 h 410772"/>
                  <a:gd name="connsiteX53" fmla="*/ 141672 w 225462"/>
                  <a:gd name="connsiteY53" fmla="*/ 244554 h 410772"/>
                  <a:gd name="connsiteX54" fmla="*/ 141066 w 225462"/>
                  <a:gd name="connsiteY54" fmla="*/ 245160 h 410772"/>
                  <a:gd name="connsiteX55" fmla="*/ 25001 w 225462"/>
                  <a:gd name="connsiteY55" fmla="*/ 314708 h 410772"/>
                  <a:gd name="connsiteX56" fmla="*/ 24243 w 225462"/>
                  <a:gd name="connsiteY56" fmla="*/ 315011 h 410772"/>
                  <a:gd name="connsiteX57" fmla="*/ 23789 w 225462"/>
                  <a:gd name="connsiteY57" fmla="*/ 315920 h 410772"/>
                  <a:gd name="connsiteX58" fmla="*/ 23637 w 225462"/>
                  <a:gd name="connsiteY58" fmla="*/ 317436 h 410772"/>
                  <a:gd name="connsiteX59" fmla="*/ 25153 w 225462"/>
                  <a:gd name="connsiteY59" fmla="*/ 317133 h 410772"/>
                  <a:gd name="connsiteX60" fmla="*/ 25304 w 225462"/>
                  <a:gd name="connsiteY60" fmla="*/ 316375 h 410772"/>
                  <a:gd name="connsiteX61" fmla="*/ 25001 w 225462"/>
                  <a:gd name="connsiteY61" fmla="*/ 314708 h 410772"/>
                  <a:gd name="connsiteX62" fmla="*/ 69700 w 225462"/>
                  <a:gd name="connsiteY62" fmla="*/ 303193 h 410772"/>
                  <a:gd name="connsiteX63" fmla="*/ 69396 w 225462"/>
                  <a:gd name="connsiteY63" fmla="*/ 305466 h 410772"/>
                  <a:gd name="connsiteX64" fmla="*/ 70305 w 225462"/>
                  <a:gd name="connsiteY64" fmla="*/ 306981 h 410772"/>
                  <a:gd name="connsiteX65" fmla="*/ 72730 w 225462"/>
                  <a:gd name="connsiteY65" fmla="*/ 305920 h 410772"/>
                  <a:gd name="connsiteX66" fmla="*/ 73336 w 225462"/>
                  <a:gd name="connsiteY66" fmla="*/ 304102 h 410772"/>
                  <a:gd name="connsiteX67" fmla="*/ 73184 w 225462"/>
                  <a:gd name="connsiteY67" fmla="*/ 302587 h 410772"/>
                  <a:gd name="connsiteX68" fmla="*/ 72427 w 225462"/>
                  <a:gd name="connsiteY68" fmla="*/ 302890 h 410772"/>
                  <a:gd name="connsiteX69" fmla="*/ 70003 w 225462"/>
                  <a:gd name="connsiteY69" fmla="*/ 302738 h 410772"/>
                  <a:gd name="connsiteX70" fmla="*/ 69700 w 225462"/>
                  <a:gd name="connsiteY70" fmla="*/ 303193 h 410772"/>
                  <a:gd name="connsiteX71" fmla="*/ 225311 w 225462"/>
                  <a:gd name="connsiteY71" fmla="*/ 133490 h 410772"/>
                  <a:gd name="connsiteX72" fmla="*/ 223644 w 225462"/>
                  <a:gd name="connsiteY72" fmla="*/ 132277 h 410772"/>
                  <a:gd name="connsiteX73" fmla="*/ 220917 w 225462"/>
                  <a:gd name="connsiteY73" fmla="*/ 131217 h 410772"/>
                  <a:gd name="connsiteX74" fmla="*/ 219251 w 225462"/>
                  <a:gd name="connsiteY74" fmla="*/ 129853 h 410772"/>
                  <a:gd name="connsiteX75" fmla="*/ 218493 w 225462"/>
                  <a:gd name="connsiteY75" fmla="*/ 128186 h 410772"/>
                  <a:gd name="connsiteX76" fmla="*/ 218493 w 225462"/>
                  <a:gd name="connsiteY76" fmla="*/ 126671 h 410772"/>
                  <a:gd name="connsiteX77" fmla="*/ 219402 w 225462"/>
                  <a:gd name="connsiteY77" fmla="*/ 125459 h 410772"/>
                  <a:gd name="connsiteX78" fmla="*/ 217281 w 225462"/>
                  <a:gd name="connsiteY78" fmla="*/ 124095 h 410772"/>
                  <a:gd name="connsiteX79" fmla="*/ 212280 w 225462"/>
                  <a:gd name="connsiteY79" fmla="*/ 122580 h 410772"/>
                  <a:gd name="connsiteX80" fmla="*/ 209553 w 225462"/>
                  <a:gd name="connsiteY80" fmla="*/ 120762 h 410772"/>
                  <a:gd name="connsiteX81" fmla="*/ 208947 w 225462"/>
                  <a:gd name="connsiteY81" fmla="*/ 118641 h 410772"/>
                  <a:gd name="connsiteX82" fmla="*/ 206826 w 225462"/>
                  <a:gd name="connsiteY82" fmla="*/ 115762 h 410772"/>
                  <a:gd name="connsiteX83" fmla="*/ 203189 w 225462"/>
                  <a:gd name="connsiteY83" fmla="*/ 112277 h 410772"/>
                  <a:gd name="connsiteX84" fmla="*/ 201371 w 225462"/>
                  <a:gd name="connsiteY84" fmla="*/ 107277 h 410772"/>
                  <a:gd name="connsiteX85" fmla="*/ 201220 w 225462"/>
                  <a:gd name="connsiteY85" fmla="*/ 100610 h 410772"/>
                  <a:gd name="connsiteX86" fmla="*/ 201674 w 225462"/>
                  <a:gd name="connsiteY86" fmla="*/ 95155 h 410772"/>
                  <a:gd name="connsiteX87" fmla="*/ 203189 w 225462"/>
                  <a:gd name="connsiteY87" fmla="*/ 88943 h 410772"/>
                  <a:gd name="connsiteX88" fmla="*/ 201068 w 225462"/>
                  <a:gd name="connsiteY88" fmla="*/ 84397 h 410772"/>
                  <a:gd name="connsiteX89" fmla="*/ 198795 w 225462"/>
                  <a:gd name="connsiteY89" fmla="*/ 81973 h 410772"/>
                  <a:gd name="connsiteX90" fmla="*/ 195613 w 225462"/>
                  <a:gd name="connsiteY90" fmla="*/ 80154 h 410772"/>
                  <a:gd name="connsiteX91" fmla="*/ 192583 w 225462"/>
                  <a:gd name="connsiteY91" fmla="*/ 77579 h 410772"/>
                  <a:gd name="connsiteX92" fmla="*/ 189704 w 225462"/>
                  <a:gd name="connsiteY92" fmla="*/ 74245 h 410772"/>
                  <a:gd name="connsiteX93" fmla="*/ 186219 w 225462"/>
                  <a:gd name="connsiteY93" fmla="*/ 69397 h 410772"/>
                  <a:gd name="connsiteX94" fmla="*/ 182128 w 225462"/>
                  <a:gd name="connsiteY94" fmla="*/ 63033 h 410772"/>
                  <a:gd name="connsiteX95" fmla="*/ 179401 w 225462"/>
                  <a:gd name="connsiteY95" fmla="*/ 60154 h 410772"/>
                  <a:gd name="connsiteX96" fmla="*/ 178037 w 225462"/>
                  <a:gd name="connsiteY96" fmla="*/ 60760 h 410772"/>
                  <a:gd name="connsiteX97" fmla="*/ 175158 w 225462"/>
                  <a:gd name="connsiteY97" fmla="*/ 60154 h 410772"/>
                  <a:gd name="connsiteX98" fmla="*/ 170764 w 225462"/>
                  <a:gd name="connsiteY98" fmla="*/ 58335 h 410772"/>
                  <a:gd name="connsiteX99" fmla="*/ 166824 w 225462"/>
                  <a:gd name="connsiteY99" fmla="*/ 57275 h 410772"/>
                  <a:gd name="connsiteX100" fmla="*/ 163491 w 225462"/>
                  <a:gd name="connsiteY100" fmla="*/ 57123 h 410772"/>
                  <a:gd name="connsiteX101" fmla="*/ 161370 w 225462"/>
                  <a:gd name="connsiteY101" fmla="*/ 57578 h 410772"/>
                  <a:gd name="connsiteX102" fmla="*/ 160309 w 225462"/>
                  <a:gd name="connsiteY102" fmla="*/ 58487 h 410772"/>
                  <a:gd name="connsiteX103" fmla="*/ 160158 w 225462"/>
                  <a:gd name="connsiteY103" fmla="*/ 59396 h 410772"/>
                  <a:gd name="connsiteX104" fmla="*/ 161067 w 225462"/>
                  <a:gd name="connsiteY104" fmla="*/ 60305 h 410772"/>
                  <a:gd name="connsiteX105" fmla="*/ 160612 w 225462"/>
                  <a:gd name="connsiteY105" fmla="*/ 61063 h 410772"/>
                  <a:gd name="connsiteX106" fmla="*/ 158945 w 225462"/>
                  <a:gd name="connsiteY106" fmla="*/ 61669 h 410772"/>
                  <a:gd name="connsiteX107" fmla="*/ 157582 w 225462"/>
                  <a:gd name="connsiteY107" fmla="*/ 62730 h 410772"/>
                  <a:gd name="connsiteX108" fmla="*/ 156066 w 225462"/>
                  <a:gd name="connsiteY108" fmla="*/ 65002 h 410772"/>
                  <a:gd name="connsiteX109" fmla="*/ 155005 w 225462"/>
                  <a:gd name="connsiteY109" fmla="*/ 68033 h 410772"/>
                  <a:gd name="connsiteX110" fmla="*/ 153339 w 225462"/>
                  <a:gd name="connsiteY110" fmla="*/ 69245 h 410772"/>
                  <a:gd name="connsiteX111" fmla="*/ 150763 w 225462"/>
                  <a:gd name="connsiteY111" fmla="*/ 69548 h 410772"/>
                  <a:gd name="connsiteX112" fmla="*/ 148339 w 225462"/>
                  <a:gd name="connsiteY112" fmla="*/ 70457 h 410772"/>
                  <a:gd name="connsiteX113" fmla="*/ 145915 w 225462"/>
                  <a:gd name="connsiteY113" fmla="*/ 71972 h 410772"/>
                  <a:gd name="connsiteX114" fmla="*/ 144702 w 225462"/>
                  <a:gd name="connsiteY114" fmla="*/ 73185 h 410772"/>
                  <a:gd name="connsiteX115" fmla="*/ 144854 w 225462"/>
                  <a:gd name="connsiteY115" fmla="*/ 73942 h 410772"/>
                  <a:gd name="connsiteX116" fmla="*/ 144248 w 225462"/>
                  <a:gd name="connsiteY116" fmla="*/ 74094 h 410772"/>
                  <a:gd name="connsiteX117" fmla="*/ 143036 w 225462"/>
                  <a:gd name="connsiteY117" fmla="*/ 73639 h 410772"/>
                  <a:gd name="connsiteX118" fmla="*/ 142429 w 225462"/>
                  <a:gd name="connsiteY118" fmla="*/ 72578 h 410772"/>
                  <a:gd name="connsiteX119" fmla="*/ 142429 w 225462"/>
                  <a:gd name="connsiteY119" fmla="*/ 70912 h 410772"/>
                  <a:gd name="connsiteX120" fmla="*/ 141217 w 225462"/>
                  <a:gd name="connsiteY120" fmla="*/ 69851 h 410772"/>
                  <a:gd name="connsiteX121" fmla="*/ 138641 w 225462"/>
                  <a:gd name="connsiteY121" fmla="*/ 69245 h 410772"/>
                  <a:gd name="connsiteX122" fmla="*/ 135762 w 225462"/>
                  <a:gd name="connsiteY122" fmla="*/ 67578 h 410772"/>
                  <a:gd name="connsiteX123" fmla="*/ 132429 w 225462"/>
                  <a:gd name="connsiteY123" fmla="*/ 64699 h 410772"/>
                  <a:gd name="connsiteX124" fmla="*/ 130156 w 225462"/>
                  <a:gd name="connsiteY124" fmla="*/ 63184 h 410772"/>
                  <a:gd name="connsiteX125" fmla="*/ 128944 w 225462"/>
                  <a:gd name="connsiteY125" fmla="*/ 63033 h 410772"/>
                  <a:gd name="connsiteX126" fmla="*/ 127126 w 225462"/>
                  <a:gd name="connsiteY126" fmla="*/ 64245 h 410772"/>
                  <a:gd name="connsiteX127" fmla="*/ 124701 w 225462"/>
                  <a:gd name="connsiteY127" fmla="*/ 66669 h 410772"/>
                  <a:gd name="connsiteX128" fmla="*/ 122732 w 225462"/>
                  <a:gd name="connsiteY128" fmla="*/ 67578 h 410772"/>
                  <a:gd name="connsiteX129" fmla="*/ 121217 w 225462"/>
                  <a:gd name="connsiteY129" fmla="*/ 67124 h 410772"/>
                  <a:gd name="connsiteX130" fmla="*/ 120004 w 225462"/>
                  <a:gd name="connsiteY130" fmla="*/ 68033 h 410772"/>
                  <a:gd name="connsiteX131" fmla="*/ 119095 w 225462"/>
                  <a:gd name="connsiteY131" fmla="*/ 70306 h 410772"/>
                  <a:gd name="connsiteX132" fmla="*/ 117580 w 225462"/>
                  <a:gd name="connsiteY132" fmla="*/ 72124 h 410772"/>
                  <a:gd name="connsiteX133" fmla="*/ 114246 w 225462"/>
                  <a:gd name="connsiteY133" fmla="*/ 74094 h 410772"/>
                  <a:gd name="connsiteX134" fmla="*/ 113943 w 225462"/>
                  <a:gd name="connsiteY134" fmla="*/ 74397 h 410772"/>
                  <a:gd name="connsiteX135" fmla="*/ 110004 w 225462"/>
                  <a:gd name="connsiteY135" fmla="*/ 76973 h 410772"/>
                  <a:gd name="connsiteX136" fmla="*/ 106822 w 225462"/>
                  <a:gd name="connsiteY136" fmla="*/ 79548 h 410772"/>
                  <a:gd name="connsiteX137" fmla="*/ 103186 w 225462"/>
                  <a:gd name="connsiteY137" fmla="*/ 83033 h 410772"/>
                  <a:gd name="connsiteX138" fmla="*/ 101519 w 225462"/>
                  <a:gd name="connsiteY138" fmla="*/ 83639 h 410772"/>
                  <a:gd name="connsiteX139" fmla="*/ 99852 w 225462"/>
                  <a:gd name="connsiteY139" fmla="*/ 82730 h 410772"/>
                  <a:gd name="connsiteX140" fmla="*/ 97428 w 225462"/>
                  <a:gd name="connsiteY140" fmla="*/ 81821 h 410772"/>
                  <a:gd name="connsiteX141" fmla="*/ 96064 w 225462"/>
                  <a:gd name="connsiteY141" fmla="*/ 80609 h 410772"/>
                  <a:gd name="connsiteX142" fmla="*/ 98489 w 225462"/>
                  <a:gd name="connsiteY142" fmla="*/ 74700 h 410772"/>
                  <a:gd name="connsiteX143" fmla="*/ 101670 w 225462"/>
                  <a:gd name="connsiteY143" fmla="*/ 68033 h 410772"/>
                  <a:gd name="connsiteX144" fmla="*/ 102579 w 225462"/>
                  <a:gd name="connsiteY144" fmla="*/ 65002 h 410772"/>
                  <a:gd name="connsiteX145" fmla="*/ 102731 w 225462"/>
                  <a:gd name="connsiteY145" fmla="*/ 62730 h 410772"/>
                  <a:gd name="connsiteX146" fmla="*/ 102428 w 225462"/>
                  <a:gd name="connsiteY146" fmla="*/ 60911 h 410772"/>
                  <a:gd name="connsiteX147" fmla="*/ 101216 w 225462"/>
                  <a:gd name="connsiteY147" fmla="*/ 58942 h 410772"/>
                  <a:gd name="connsiteX148" fmla="*/ 100004 w 225462"/>
                  <a:gd name="connsiteY148" fmla="*/ 57426 h 410772"/>
                  <a:gd name="connsiteX149" fmla="*/ 99852 w 225462"/>
                  <a:gd name="connsiteY149" fmla="*/ 56517 h 410772"/>
                  <a:gd name="connsiteX150" fmla="*/ 100155 w 225462"/>
                  <a:gd name="connsiteY150" fmla="*/ 55457 h 410772"/>
                  <a:gd name="connsiteX151" fmla="*/ 101367 w 225462"/>
                  <a:gd name="connsiteY151" fmla="*/ 53941 h 410772"/>
                  <a:gd name="connsiteX152" fmla="*/ 103034 w 225462"/>
                  <a:gd name="connsiteY152" fmla="*/ 51517 h 410772"/>
                  <a:gd name="connsiteX153" fmla="*/ 104549 w 225462"/>
                  <a:gd name="connsiteY153" fmla="*/ 46668 h 410772"/>
                  <a:gd name="connsiteX154" fmla="*/ 106367 w 225462"/>
                  <a:gd name="connsiteY154" fmla="*/ 41517 h 410772"/>
                  <a:gd name="connsiteX155" fmla="*/ 106216 w 225462"/>
                  <a:gd name="connsiteY155" fmla="*/ 38335 h 410772"/>
                  <a:gd name="connsiteX156" fmla="*/ 104701 w 225462"/>
                  <a:gd name="connsiteY156" fmla="*/ 34850 h 410772"/>
                  <a:gd name="connsiteX157" fmla="*/ 103943 w 225462"/>
                  <a:gd name="connsiteY157" fmla="*/ 31516 h 410772"/>
                  <a:gd name="connsiteX158" fmla="*/ 104549 w 225462"/>
                  <a:gd name="connsiteY158" fmla="*/ 26971 h 410772"/>
                  <a:gd name="connsiteX159" fmla="*/ 104246 w 225462"/>
                  <a:gd name="connsiteY159" fmla="*/ 25152 h 410772"/>
                  <a:gd name="connsiteX160" fmla="*/ 102731 w 225462"/>
                  <a:gd name="connsiteY160" fmla="*/ 24243 h 410772"/>
                  <a:gd name="connsiteX161" fmla="*/ 97579 w 225462"/>
                  <a:gd name="connsiteY161" fmla="*/ 23334 h 410772"/>
                  <a:gd name="connsiteX162" fmla="*/ 95912 w 225462"/>
                  <a:gd name="connsiteY162" fmla="*/ 23486 h 410772"/>
                  <a:gd name="connsiteX163" fmla="*/ 94549 w 225462"/>
                  <a:gd name="connsiteY163" fmla="*/ 24092 h 410772"/>
                  <a:gd name="connsiteX164" fmla="*/ 93185 w 225462"/>
                  <a:gd name="connsiteY164" fmla="*/ 25304 h 410772"/>
                  <a:gd name="connsiteX165" fmla="*/ 91518 w 225462"/>
                  <a:gd name="connsiteY165" fmla="*/ 26062 h 410772"/>
                  <a:gd name="connsiteX166" fmla="*/ 88336 w 225462"/>
                  <a:gd name="connsiteY166" fmla="*/ 26516 h 410772"/>
                  <a:gd name="connsiteX167" fmla="*/ 85306 w 225462"/>
                  <a:gd name="connsiteY167" fmla="*/ 25001 h 410772"/>
                  <a:gd name="connsiteX168" fmla="*/ 82730 w 225462"/>
                  <a:gd name="connsiteY168" fmla="*/ 22425 h 410772"/>
                  <a:gd name="connsiteX169" fmla="*/ 82124 w 225462"/>
                  <a:gd name="connsiteY169" fmla="*/ 19243 h 410772"/>
                  <a:gd name="connsiteX170" fmla="*/ 83942 w 225462"/>
                  <a:gd name="connsiteY170" fmla="*/ 15455 h 410772"/>
                  <a:gd name="connsiteX171" fmla="*/ 85306 w 225462"/>
                  <a:gd name="connsiteY171" fmla="*/ 12425 h 410772"/>
                  <a:gd name="connsiteX172" fmla="*/ 86064 w 225462"/>
                  <a:gd name="connsiteY172" fmla="*/ 9849 h 410772"/>
                  <a:gd name="connsiteX173" fmla="*/ 85912 w 225462"/>
                  <a:gd name="connsiteY173" fmla="*/ 8637 h 410772"/>
                  <a:gd name="connsiteX174" fmla="*/ 85306 w 225462"/>
                  <a:gd name="connsiteY174" fmla="*/ 7273 h 410772"/>
                  <a:gd name="connsiteX175" fmla="*/ 84548 w 225462"/>
                  <a:gd name="connsiteY175" fmla="*/ 7121 h 410772"/>
                  <a:gd name="connsiteX176" fmla="*/ 82882 w 225462"/>
                  <a:gd name="connsiteY176" fmla="*/ 5455 h 410772"/>
                  <a:gd name="connsiteX177" fmla="*/ 81215 w 225462"/>
                  <a:gd name="connsiteY177" fmla="*/ 2576 h 410772"/>
                  <a:gd name="connsiteX178" fmla="*/ 79700 w 225462"/>
                  <a:gd name="connsiteY178" fmla="*/ 1212 h 410772"/>
                  <a:gd name="connsiteX179" fmla="*/ 78336 w 225462"/>
                  <a:gd name="connsiteY179" fmla="*/ 1515 h 410772"/>
                  <a:gd name="connsiteX180" fmla="*/ 76972 w 225462"/>
                  <a:gd name="connsiteY180" fmla="*/ 2576 h 410772"/>
                  <a:gd name="connsiteX181" fmla="*/ 75760 w 225462"/>
                  <a:gd name="connsiteY181" fmla="*/ 4394 h 410772"/>
                  <a:gd name="connsiteX182" fmla="*/ 74851 w 225462"/>
                  <a:gd name="connsiteY182" fmla="*/ 5152 h 410772"/>
                  <a:gd name="connsiteX183" fmla="*/ 74245 w 225462"/>
                  <a:gd name="connsiteY183" fmla="*/ 4849 h 410772"/>
                  <a:gd name="connsiteX184" fmla="*/ 74397 w 225462"/>
                  <a:gd name="connsiteY184" fmla="*/ 3182 h 410772"/>
                  <a:gd name="connsiteX185" fmla="*/ 71214 w 225462"/>
                  <a:gd name="connsiteY185" fmla="*/ 1364 h 410772"/>
                  <a:gd name="connsiteX186" fmla="*/ 69851 w 225462"/>
                  <a:gd name="connsiteY186" fmla="*/ 303 h 410772"/>
                  <a:gd name="connsiteX187" fmla="*/ 68033 w 225462"/>
                  <a:gd name="connsiteY187" fmla="*/ 0 h 410772"/>
                  <a:gd name="connsiteX188" fmla="*/ 66215 w 225462"/>
                  <a:gd name="connsiteY188" fmla="*/ 1061 h 410772"/>
                  <a:gd name="connsiteX189" fmla="*/ 64851 w 225462"/>
                  <a:gd name="connsiteY189" fmla="*/ 2273 h 410772"/>
                  <a:gd name="connsiteX190" fmla="*/ 63336 w 225462"/>
                  <a:gd name="connsiteY190" fmla="*/ 2727 h 410772"/>
                  <a:gd name="connsiteX191" fmla="*/ 61063 w 225462"/>
                  <a:gd name="connsiteY191" fmla="*/ 2879 h 410772"/>
                  <a:gd name="connsiteX192" fmla="*/ 58184 w 225462"/>
                  <a:gd name="connsiteY192" fmla="*/ 2273 h 410772"/>
                  <a:gd name="connsiteX193" fmla="*/ 56214 w 225462"/>
                  <a:gd name="connsiteY193" fmla="*/ 1667 h 410772"/>
                  <a:gd name="connsiteX194" fmla="*/ 55911 w 225462"/>
                  <a:gd name="connsiteY194" fmla="*/ 1970 h 410772"/>
                  <a:gd name="connsiteX195" fmla="*/ 56971 w 225462"/>
                  <a:gd name="connsiteY195" fmla="*/ 4546 h 410772"/>
                  <a:gd name="connsiteX196" fmla="*/ 57426 w 225462"/>
                  <a:gd name="connsiteY196" fmla="*/ 6667 h 410772"/>
                  <a:gd name="connsiteX197" fmla="*/ 56971 w 225462"/>
                  <a:gd name="connsiteY197" fmla="*/ 7727 h 410772"/>
                  <a:gd name="connsiteX198" fmla="*/ 56062 w 225462"/>
                  <a:gd name="connsiteY198" fmla="*/ 8637 h 410772"/>
                  <a:gd name="connsiteX199" fmla="*/ 54699 w 225462"/>
                  <a:gd name="connsiteY199" fmla="*/ 9394 h 410772"/>
                  <a:gd name="connsiteX200" fmla="*/ 53032 w 225462"/>
                  <a:gd name="connsiteY200" fmla="*/ 9849 h 410772"/>
                  <a:gd name="connsiteX201" fmla="*/ 51517 w 225462"/>
                  <a:gd name="connsiteY201" fmla="*/ 9849 h 410772"/>
                  <a:gd name="connsiteX202" fmla="*/ 49093 w 225462"/>
                  <a:gd name="connsiteY202" fmla="*/ 8940 h 410772"/>
                  <a:gd name="connsiteX203" fmla="*/ 47274 w 225462"/>
                  <a:gd name="connsiteY203" fmla="*/ 8940 h 410772"/>
                  <a:gd name="connsiteX204" fmla="*/ 45759 w 225462"/>
                  <a:gd name="connsiteY204" fmla="*/ 9394 h 410772"/>
                  <a:gd name="connsiteX205" fmla="*/ 44850 w 225462"/>
                  <a:gd name="connsiteY205" fmla="*/ 10152 h 410772"/>
                  <a:gd name="connsiteX206" fmla="*/ 44395 w 225462"/>
                  <a:gd name="connsiteY206" fmla="*/ 11061 h 410772"/>
                  <a:gd name="connsiteX207" fmla="*/ 43486 w 225462"/>
                  <a:gd name="connsiteY207" fmla="*/ 16213 h 410772"/>
                  <a:gd name="connsiteX208" fmla="*/ 42729 w 225462"/>
                  <a:gd name="connsiteY208" fmla="*/ 17879 h 410772"/>
                  <a:gd name="connsiteX209" fmla="*/ 41668 w 225462"/>
                  <a:gd name="connsiteY209" fmla="*/ 18788 h 410772"/>
                  <a:gd name="connsiteX210" fmla="*/ 40607 w 225462"/>
                  <a:gd name="connsiteY210" fmla="*/ 18940 h 410772"/>
                  <a:gd name="connsiteX211" fmla="*/ 39092 w 225462"/>
                  <a:gd name="connsiteY211" fmla="*/ 18637 h 410772"/>
                  <a:gd name="connsiteX212" fmla="*/ 37426 w 225462"/>
                  <a:gd name="connsiteY212" fmla="*/ 18788 h 410772"/>
                  <a:gd name="connsiteX213" fmla="*/ 30152 w 225462"/>
                  <a:gd name="connsiteY213" fmla="*/ 20758 h 410772"/>
                  <a:gd name="connsiteX214" fmla="*/ 29092 w 225462"/>
                  <a:gd name="connsiteY214" fmla="*/ 20910 h 410772"/>
                  <a:gd name="connsiteX215" fmla="*/ 26819 w 225462"/>
                  <a:gd name="connsiteY215" fmla="*/ 21061 h 410772"/>
                  <a:gd name="connsiteX216" fmla="*/ 24698 w 225462"/>
                  <a:gd name="connsiteY216" fmla="*/ 21061 h 410772"/>
                  <a:gd name="connsiteX217" fmla="*/ 23183 w 225462"/>
                  <a:gd name="connsiteY217" fmla="*/ 20910 h 410772"/>
                  <a:gd name="connsiteX218" fmla="*/ 19698 w 225462"/>
                  <a:gd name="connsiteY218" fmla="*/ 18940 h 410772"/>
                  <a:gd name="connsiteX219" fmla="*/ 18031 w 225462"/>
                  <a:gd name="connsiteY219" fmla="*/ 18788 h 410772"/>
                  <a:gd name="connsiteX220" fmla="*/ 17122 w 225462"/>
                  <a:gd name="connsiteY220" fmla="*/ 19395 h 410772"/>
                  <a:gd name="connsiteX221" fmla="*/ 16516 w 225462"/>
                  <a:gd name="connsiteY221" fmla="*/ 22122 h 410772"/>
                  <a:gd name="connsiteX222" fmla="*/ 14394 w 225462"/>
                  <a:gd name="connsiteY222" fmla="*/ 23789 h 410772"/>
                  <a:gd name="connsiteX223" fmla="*/ 11667 w 225462"/>
                  <a:gd name="connsiteY223" fmla="*/ 27577 h 410772"/>
                  <a:gd name="connsiteX224" fmla="*/ 11061 w 225462"/>
                  <a:gd name="connsiteY224" fmla="*/ 33031 h 410772"/>
                  <a:gd name="connsiteX225" fmla="*/ 11364 w 225462"/>
                  <a:gd name="connsiteY225" fmla="*/ 36819 h 410772"/>
                  <a:gd name="connsiteX226" fmla="*/ 8940 w 225462"/>
                  <a:gd name="connsiteY226" fmla="*/ 40607 h 410772"/>
                  <a:gd name="connsiteX227" fmla="*/ 8788 w 225462"/>
                  <a:gd name="connsiteY227" fmla="*/ 42426 h 410772"/>
                  <a:gd name="connsiteX228" fmla="*/ 10152 w 225462"/>
                  <a:gd name="connsiteY228" fmla="*/ 51214 h 410772"/>
                  <a:gd name="connsiteX229" fmla="*/ 10000 w 225462"/>
                  <a:gd name="connsiteY229" fmla="*/ 52123 h 410772"/>
                  <a:gd name="connsiteX230" fmla="*/ 9546 w 225462"/>
                  <a:gd name="connsiteY230" fmla="*/ 52578 h 410772"/>
                  <a:gd name="connsiteX231" fmla="*/ 8031 w 225462"/>
                  <a:gd name="connsiteY231" fmla="*/ 52881 h 410772"/>
                  <a:gd name="connsiteX232" fmla="*/ 5455 w 225462"/>
                  <a:gd name="connsiteY232" fmla="*/ 53790 h 410772"/>
                  <a:gd name="connsiteX233" fmla="*/ 3788 w 225462"/>
                  <a:gd name="connsiteY233" fmla="*/ 54699 h 410772"/>
                  <a:gd name="connsiteX234" fmla="*/ 3030 w 225462"/>
                  <a:gd name="connsiteY234" fmla="*/ 54850 h 410772"/>
                  <a:gd name="connsiteX235" fmla="*/ 606 w 225462"/>
                  <a:gd name="connsiteY235" fmla="*/ 54244 h 410772"/>
                  <a:gd name="connsiteX236" fmla="*/ 0 w 225462"/>
                  <a:gd name="connsiteY236" fmla="*/ 54244 h 410772"/>
                  <a:gd name="connsiteX237" fmla="*/ 151 w 225462"/>
                  <a:gd name="connsiteY237" fmla="*/ 54850 h 410772"/>
                  <a:gd name="connsiteX238" fmla="*/ 2121 w 225462"/>
                  <a:gd name="connsiteY238" fmla="*/ 58638 h 410772"/>
                  <a:gd name="connsiteX239" fmla="*/ 4091 w 225462"/>
                  <a:gd name="connsiteY239" fmla="*/ 60457 h 410772"/>
                  <a:gd name="connsiteX240" fmla="*/ 6212 w 225462"/>
                  <a:gd name="connsiteY240" fmla="*/ 60305 h 410772"/>
                  <a:gd name="connsiteX241" fmla="*/ 7121 w 225462"/>
                  <a:gd name="connsiteY241" fmla="*/ 60608 h 410772"/>
                  <a:gd name="connsiteX242" fmla="*/ 6818 w 225462"/>
                  <a:gd name="connsiteY242" fmla="*/ 61517 h 410772"/>
                  <a:gd name="connsiteX243" fmla="*/ 7576 w 225462"/>
                  <a:gd name="connsiteY243" fmla="*/ 63942 h 410772"/>
                  <a:gd name="connsiteX244" fmla="*/ 9394 w 225462"/>
                  <a:gd name="connsiteY244" fmla="*/ 67730 h 410772"/>
                  <a:gd name="connsiteX245" fmla="*/ 10000 w 225462"/>
                  <a:gd name="connsiteY245" fmla="*/ 70609 h 410772"/>
                  <a:gd name="connsiteX246" fmla="*/ 8940 w 225462"/>
                  <a:gd name="connsiteY246" fmla="*/ 73487 h 410772"/>
                  <a:gd name="connsiteX247" fmla="*/ 9091 w 225462"/>
                  <a:gd name="connsiteY247" fmla="*/ 74548 h 410772"/>
                  <a:gd name="connsiteX248" fmla="*/ 9697 w 225462"/>
                  <a:gd name="connsiteY248" fmla="*/ 75154 h 410772"/>
                  <a:gd name="connsiteX249" fmla="*/ 11515 w 225462"/>
                  <a:gd name="connsiteY249" fmla="*/ 77882 h 410772"/>
                  <a:gd name="connsiteX250" fmla="*/ 15303 w 225462"/>
                  <a:gd name="connsiteY250" fmla="*/ 81973 h 410772"/>
                  <a:gd name="connsiteX251" fmla="*/ 18940 w 225462"/>
                  <a:gd name="connsiteY251" fmla="*/ 86518 h 410772"/>
                  <a:gd name="connsiteX252" fmla="*/ 21970 w 225462"/>
                  <a:gd name="connsiteY252" fmla="*/ 90306 h 410772"/>
                  <a:gd name="connsiteX253" fmla="*/ 24243 w 225462"/>
                  <a:gd name="connsiteY253" fmla="*/ 92882 h 410772"/>
                  <a:gd name="connsiteX254" fmla="*/ 29243 w 225462"/>
                  <a:gd name="connsiteY254" fmla="*/ 97731 h 410772"/>
                  <a:gd name="connsiteX255" fmla="*/ 30152 w 225462"/>
                  <a:gd name="connsiteY255" fmla="*/ 100004 h 410772"/>
                  <a:gd name="connsiteX256" fmla="*/ 30304 w 225462"/>
                  <a:gd name="connsiteY256" fmla="*/ 104549 h 410772"/>
                  <a:gd name="connsiteX257" fmla="*/ 31516 w 225462"/>
                  <a:gd name="connsiteY257" fmla="*/ 107125 h 410772"/>
                  <a:gd name="connsiteX258" fmla="*/ 32729 w 225462"/>
                  <a:gd name="connsiteY258" fmla="*/ 108943 h 410772"/>
                  <a:gd name="connsiteX259" fmla="*/ 33486 w 225462"/>
                  <a:gd name="connsiteY259" fmla="*/ 110458 h 410772"/>
                  <a:gd name="connsiteX260" fmla="*/ 35304 w 225462"/>
                  <a:gd name="connsiteY260" fmla="*/ 115610 h 410772"/>
                  <a:gd name="connsiteX261" fmla="*/ 36062 w 225462"/>
                  <a:gd name="connsiteY261" fmla="*/ 116368 h 410772"/>
                  <a:gd name="connsiteX262" fmla="*/ 40001 w 225462"/>
                  <a:gd name="connsiteY262" fmla="*/ 113186 h 410772"/>
                  <a:gd name="connsiteX263" fmla="*/ 40910 w 225462"/>
                  <a:gd name="connsiteY263" fmla="*/ 113792 h 410772"/>
                  <a:gd name="connsiteX264" fmla="*/ 41365 w 225462"/>
                  <a:gd name="connsiteY264" fmla="*/ 115004 h 410772"/>
                  <a:gd name="connsiteX265" fmla="*/ 41365 w 225462"/>
                  <a:gd name="connsiteY265" fmla="*/ 116519 h 410772"/>
                  <a:gd name="connsiteX266" fmla="*/ 40759 w 225462"/>
                  <a:gd name="connsiteY266" fmla="*/ 118186 h 410772"/>
                  <a:gd name="connsiteX267" fmla="*/ 39395 w 225462"/>
                  <a:gd name="connsiteY267" fmla="*/ 119701 h 410772"/>
                  <a:gd name="connsiteX268" fmla="*/ 33183 w 225462"/>
                  <a:gd name="connsiteY268" fmla="*/ 123338 h 410772"/>
                  <a:gd name="connsiteX269" fmla="*/ 32729 w 225462"/>
                  <a:gd name="connsiteY269" fmla="*/ 126520 h 410772"/>
                  <a:gd name="connsiteX270" fmla="*/ 32274 w 225462"/>
                  <a:gd name="connsiteY270" fmla="*/ 131217 h 410772"/>
                  <a:gd name="connsiteX271" fmla="*/ 32122 w 225462"/>
                  <a:gd name="connsiteY271" fmla="*/ 136975 h 410772"/>
                  <a:gd name="connsiteX272" fmla="*/ 32425 w 225462"/>
                  <a:gd name="connsiteY272" fmla="*/ 141369 h 410772"/>
                  <a:gd name="connsiteX273" fmla="*/ 32122 w 225462"/>
                  <a:gd name="connsiteY273" fmla="*/ 142429 h 410772"/>
                  <a:gd name="connsiteX274" fmla="*/ 31516 w 225462"/>
                  <a:gd name="connsiteY274" fmla="*/ 142884 h 410772"/>
                  <a:gd name="connsiteX275" fmla="*/ 29243 w 225462"/>
                  <a:gd name="connsiteY275" fmla="*/ 142732 h 410772"/>
                  <a:gd name="connsiteX276" fmla="*/ 25910 w 225462"/>
                  <a:gd name="connsiteY276" fmla="*/ 144854 h 410772"/>
                  <a:gd name="connsiteX277" fmla="*/ 24698 w 225462"/>
                  <a:gd name="connsiteY277" fmla="*/ 145005 h 410772"/>
                  <a:gd name="connsiteX278" fmla="*/ 23183 w 225462"/>
                  <a:gd name="connsiteY278" fmla="*/ 145914 h 410772"/>
                  <a:gd name="connsiteX279" fmla="*/ 22122 w 225462"/>
                  <a:gd name="connsiteY279" fmla="*/ 146975 h 410772"/>
                  <a:gd name="connsiteX280" fmla="*/ 21819 w 225462"/>
                  <a:gd name="connsiteY280" fmla="*/ 148490 h 410772"/>
                  <a:gd name="connsiteX281" fmla="*/ 22425 w 225462"/>
                  <a:gd name="connsiteY281" fmla="*/ 153187 h 410772"/>
                  <a:gd name="connsiteX282" fmla="*/ 23637 w 225462"/>
                  <a:gd name="connsiteY282" fmla="*/ 157733 h 410772"/>
                  <a:gd name="connsiteX283" fmla="*/ 26062 w 225462"/>
                  <a:gd name="connsiteY283" fmla="*/ 161066 h 410772"/>
                  <a:gd name="connsiteX284" fmla="*/ 27880 w 225462"/>
                  <a:gd name="connsiteY284" fmla="*/ 163642 h 410772"/>
                  <a:gd name="connsiteX285" fmla="*/ 30455 w 225462"/>
                  <a:gd name="connsiteY285" fmla="*/ 167279 h 410772"/>
                  <a:gd name="connsiteX286" fmla="*/ 32577 w 225462"/>
                  <a:gd name="connsiteY286" fmla="*/ 170461 h 410772"/>
                  <a:gd name="connsiteX287" fmla="*/ 36668 w 225462"/>
                  <a:gd name="connsiteY287" fmla="*/ 173946 h 410772"/>
                  <a:gd name="connsiteX288" fmla="*/ 42426 w 225462"/>
                  <a:gd name="connsiteY288" fmla="*/ 179097 h 410772"/>
                  <a:gd name="connsiteX289" fmla="*/ 44698 w 225462"/>
                  <a:gd name="connsiteY289" fmla="*/ 181976 h 410772"/>
                  <a:gd name="connsiteX290" fmla="*/ 46668 w 225462"/>
                  <a:gd name="connsiteY290" fmla="*/ 185461 h 410772"/>
                  <a:gd name="connsiteX291" fmla="*/ 48032 w 225462"/>
                  <a:gd name="connsiteY291" fmla="*/ 188340 h 410772"/>
                  <a:gd name="connsiteX292" fmla="*/ 48486 w 225462"/>
                  <a:gd name="connsiteY292" fmla="*/ 192280 h 410772"/>
                  <a:gd name="connsiteX293" fmla="*/ 48941 w 225462"/>
                  <a:gd name="connsiteY293" fmla="*/ 194401 h 410772"/>
                  <a:gd name="connsiteX294" fmla="*/ 49093 w 225462"/>
                  <a:gd name="connsiteY294" fmla="*/ 201674 h 410772"/>
                  <a:gd name="connsiteX295" fmla="*/ 48032 w 225462"/>
                  <a:gd name="connsiteY295" fmla="*/ 203341 h 410772"/>
                  <a:gd name="connsiteX296" fmla="*/ 47274 w 225462"/>
                  <a:gd name="connsiteY296" fmla="*/ 205311 h 410772"/>
                  <a:gd name="connsiteX297" fmla="*/ 47729 w 225462"/>
                  <a:gd name="connsiteY297" fmla="*/ 207280 h 410772"/>
                  <a:gd name="connsiteX298" fmla="*/ 49093 w 225462"/>
                  <a:gd name="connsiteY298" fmla="*/ 209250 h 410772"/>
                  <a:gd name="connsiteX299" fmla="*/ 49093 w 225462"/>
                  <a:gd name="connsiteY299" fmla="*/ 211371 h 410772"/>
                  <a:gd name="connsiteX300" fmla="*/ 50305 w 225462"/>
                  <a:gd name="connsiteY300" fmla="*/ 215311 h 410772"/>
                  <a:gd name="connsiteX301" fmla="*/ 52426 w 225462"/>
                  <a:gd name="connsiteY301" fmla="*/ 217735 h 410772"/>
                  <a:gd name="connsiteX302" fmla="*/ 54396 w 225462"/>
                  <a:gd name="connsiteY302" fmla="*/ 219402 h 410772"/>
                  <a:gd name="connsiteX303" fmla="*/ 55305 w 225462"/>
                  <a:gd name="connsiteY303" fmla="*/ 220614 h 410772"/>
                  <a:gd name="connsiteX304" fmla="*/ 55002 w 225462"/>
                  <a:gd name="connsiteY304" fmla="*/ 222735 h 410772"/>
                  <a:gd name="connsiteX305" fmla="*/ 55608 w 225462"/>
                  <a:gd name="connsiteY305" fmla="*/ 224857 h 410772"/>
                  <a:gd name="connsiteX306" fmla="*/ 56062 w 225462"/>
                  <a:gd name="connsiteY306" fmla="*/ 227281 h 410772"/>
                  <a:gd name="connsiteX307" fmla="*/ 56820 w 225462"/>
                  <a:gd name="connsiteY307" fmla="*/ 230614 h 410772"/>
                  <a:gd name="connsiteX308" fmla="*/ 58487 w 225462"/>
                  <a:gd name="connsiteY308" fmla="*/ 233342 h 410772"/>
                  <a:gd name="connsiteX309" fmla="*/ 61063 w 225462"/>
                  <a:gd name="connsiteY309" fmla="*/ 241827 h 410772"/>
                  <a:gd name="connsiteX310" fmla="*/ 61063 w 225462"/>
                  <a:gd name="connsiteY310" fmla="*/ 242736 h 410772"/>
                  <a:gd name="connsiteX311" fmla="*/ 60002 w 225462"/>
                  <a:gd name="connsiteY311" fmla="*/ 244403 h 410772"/>
                  <a:gd name="connsiteX312" fmla="*/ 58487 w 225462"/>
                  <a:gd name="connsiteY312" fmla="*/ 245918 h 410772"/>
                  <a:gd name="connsiteX313" fmla="*/ 57426 w 225462"/>
                  <a:gd name="connsiteY313" fmla="*/ 246373 h 410772"/>
                  <a:gd name="connsiteX314" fmla="*/ 56517 w 225462"/>
                  <a:gd name="connsiteY314" fmla="*/ 248039 h 410772"/>
                  <a:gd name="connsiteX315" fmla="*/ 54244 w 225462"/>
                  <a:gd name="connsiteY315" fmla="*/ 252585 h 410772"/>
                  <a:gd name="connsiteX316" fmla="*/ 49699 w 225462"/>
                  <a:gd name="connsiteY316" fmla="*/ 260464 h 410772"/>
                  <a:gd name="connsiteX317" fmla="*/ 45153 w 225462"/>
                  <a:gd name="connsiteY317" fmla="*/ 265616 h 410772"/>
                  <a:gd name="connsiteX318" fmla="*/ 41365 w 225462"/>
                  <a:gd name="connsiteY318" fmla="*/ 269252 h 410772"/>
                  <a:gd name="connsiteX319" fmla="*/ 38638 w 225462"/>
                  <a:gd name="connsiteY319" fmla="*/ 271374 h 410772"/>
                  <a:gd name="connsiteX320" fmla="*/ 37880 w 225462"/>
                  <a:gd name="connsiteY320" fmla="*/ 272737 h 410772"/>
                  <a:gd name="connsiteX321" fmla="*/ 37880 w 225462"/>
                  <a:gd name="connsiteY321" fmla="*/ 273798 h 410772"/>
                  <a:gd name="connsiteX322" fmla="*/ 38335 w 225462"/>
                  <a:gd name="connsiteY322" fmla="*/ 275616 h 410772"/>
                  <a:gd name="connsiteX323" fmla="*/ 38183 w 225462"/>
                  <a:gd name="connsiteY323" fmla="*/ 279101 h 410772"/>
                  <a:gd name="connsiteX324" fmla="*/ 37577 w 225462"/>
                  <a:gd name="connsiteY324" fmla="*/ 281374 h 410772"/>
                  <a:gd name="connsiteX325" fmla="*/ 36819 w 225462"/>
                  <a:gd name="connsiteY325" fmla="*/ 283647 h 410772"/>
                  <a:gd name="connsiteX326" fmla="*/ 36365 w 225462"/>
                  <a:gd name="connsiteY326" fmla="*/ 285768 h 410772"/>
                  <a:gd name="connsiteX327" fmla="*/ 32577 w 225462"/>
                  <a:gd name="connsiteY327" fmla="*/ 295465 h 410772"/>
                  <a:gd name="connsiteX328" fmla="*/ 30759 w 225462"/>
                  <a:gd name="connsiteY328" fmla="*/ 303041 h 410772"/>
                  <a:gd name="connsiteX329" fmla="*/ 29395 w 225462"/>
                  <a:gd name="connsiteY329" fmla="*/ 304860 h 410772"/>
                  <a:gd name="connsiteX330" fmla="*/ 27425 w 225462"/>
                  <a:gd name="connsiteY330" fmla="*/ 310466 h 410772"/>
                  <a:gd name="connsiteX331" fmla="*/ 26213 w 225462"/>
                  <a:gd name="connsiteY331" fmla="*/ 319254 h 410772"/>
                  <a:gd name="connsiteX332" fmla="*/ 23940 w 225462"/>
                  <a:gd name="connsiteY332" fmla="*/ 324709 h 410772"/>
                  <a:gd name="connsiteX333" fmla="*/ 23486 w 225462"/>
                  <a:gd name="connsiteY333" fmla="*/ 330921 h 410772"/>
                  <a:gd name="connsiteX334" fmla="*/ 23789 w 225462"/>
                  <a:gd name="connsiteY334" fmla="*/ 334255 h 410772"/>
                  <a:gd name="connsiteX335" fmla="*/ 25607 w 225462"/>
                  <a:gd name="connsiteY335" fmla="*/ 339709 h 410772"/>
                  <a:gd name="connsiteX336" fmla="*/ 27122 w 225462"/>
                  <a:gd name="connsiteY336" fmla="*/ 340770 h 410772"/>
                  <a:gd name="connsiteX337" fmla="*/ 28789 w 225462"/>
                  <a:gd name="connsiteY337" fmla="*/ 341073 h 410772"/>
                  <a:gd name="connsiteX338" fmla="*/ 30304 w 225462"/>
                  <a:gd name="connsiteY338" fmla="*/ 339255 h 410772"/>
                  <a:gd name="connsiteX339" fmla="*/ 31062 w 225462"/>
                  <a:gd name="connsiteY339" fmla="*/ 337285 h 410772"/>
                  <a:gd name="connsiteX340" fmla="*/ 33183 w 225462"/>
                  <a:gd name="connsiteY340" fmla="*/ 336527 h 410772"/>
                  <a:gd name="connsiteX341" fmla="*/ 34698 w 225462"/>
                  <a:gd name="connsiteY341" fmla="*/ 337588 h 410772"/>
                  <a:gd name="connsiteX342" fmla="*/ 36517 w 225462"/>
                  <a:gd name="connsiteY342" fmla="*/ 338952 h 410772"/>
                  <a:gd name="connsiteX343" fmla="*/ 38789 w 225462"/>
                  <a:gd name="connsiteY343" fmla="*/ 344406 h 410772"/>
                  <a:gd name="connsiteX344" fmla="*/ 41062 w 225462"/>
                  <a:gd name="connsiteY344" fmla="*/ 345316 h 410772"/>
                  <a:gd name="connsiteX345" fmla="*/ 43789 w 225462"/>
                  <a:gd name="connsiteY345" fmla="*/ 346982 h 410772"/>
                  <a:gd name="connsiteX346" fmla="*/ 45911 w 225462"/>
                  <a:gd name="connsiteY346" fmla="*/ 349104 h 410772"/>
                  <a:gd name="connsiteX347" fmla="*/ 45607 w 225462"/>
                  <a:gd name="connsiteY347" fmla="*/ 352437 h 410772"/>
                  <a:gd name="connsiteX348" fmla="*/ 46517 w 225462"/>
                  <a:gd name="connsiteY348" fmla="*/ 353801 h 410772"/>
                  <a:gd name="connsiteX349" fmla="*/ 49395 w 225462"/>
                  <a:gd name="connsiteY349" fmla="*/ 353801 h 410772"/>
                  <a:gd name="connsiteX350" fmla="*/ 51517 w 225462"/>
                  <a:gd name="connsiteY350" fmla="*/ 356528 h 410772"/>
                  <a:gd name="connsiteX351" fmla="*/ 52578 w 225462"/>
                  <a:gd name="connsiteY351" fmla="*/ 358043 h 410772"/>
                  <a:gd name="connsiteX352" fmla="*/ 54244 w 225462"/>
                  <a:gd name="connsiteY352" fmla="*/ 363195 h 410772"/>
                  <a:gd name="connsiteX353" fmla="*/ 56366 w 225462"/>
                  <a:gd name="connsiteY353" fmla="*/ 364256 h 410772"/>
                  <a:gd name="connsiteX354" fmla="*/ 58941 w 225462"/>
                  <a:gd name="connsiteY354" fmla="*/ 364407 h 410772"/>
                  <a:gd name="connsiteX355" fmla="*/ 60760 w 225462"/>
                  <a:gd name="connsiteY355" fmla="*/ 363650 h 410772"/>
                  <a:gd name="connsiteX356" fmla="*/ 59548 w 225462"/>
                  <a:gd name="connsiteY356" fmla="*/ 367438 h 410772"/>
                  <a:gd name="connsiteX357" fmla="*/ 60911 w 225462"/>
                  <a:gd name="connsiteY357" fmla="*/ 369104 h 410772"/>
                  <a:gd name="connsiteX358" fmla="*/ 62729 w 225462"/>
                  <a:gd name="connsiteY358" fmla="*/ 369256 h 410772"/>
                  <a:gd name="connsiteX359" fmla="*/ 64093 w 225462"/>
                  <a:gd name="connsiteY359" fmla="*/ 370468 h 410772"/>
                  <a:gd name="connsiteX360" fmla="*/ 63487 w 225462"/>
                  <a:gd name="connsiteY360" fmla="*/ 376680 h 410772"/>
                  <a:gd name="connsiteX361" fmla="*/ 68184 w 225462"/>
                  <a:gd name="connsiteY361" fmla="*/ 380165 h 410772"/>
                  <a:gd name="connsiteX362" fmla="*/ 75003 w 225462"/>
                  <a:gd name="connsiteY362" fmla="*/ 388499 h 410772"/>
                  <a:gd name="connsiteX363" fmla="*/ 75457 w 225462"/>
                  <a:gd name="connsiteY363" fmla="*/ 387287 h 410772"/>
                  <a:gd name="connsiteX364" fmla="*/ 76063 w 225462"/>
                  <a:gd name="connsiteY364" fmla="*/ 383044 h 410772"/>
                  <a:gd name="connsiteX365" fmla="*/ 76518 w 225462"/>
                  <a:gd name="connsiteY365" fmla="*/ 382287 h 410772"/>
                  <a:gd name="connsiteX366" fmla="*/ 77579 w 225462"/>
                  <a:gd name="connsiteY366" fmla="*/ 381832 h 410772"/>
                  <a:gd name="connsiteX367" fmla="*/ 78791 w 225462"/>
                  <a:gd name="connsiteY367" fmla="*/ 381984 h 410772"/>
                  <a:gd name="connsiteX368" fmla="*/ 81064 w 225462"/>
                  <a:gd name="connsiteY368" fmla="*/ 385620 h 410772"/>
                  <a:gd name="connsiteX369" fmla="*/ 86973 w 225462"/>
                  <a:gd name="connsiteY369" fmla="*/ 387893 h 410772"/>
                  <a:gd name="connsiteX370" fmla="*/ 88791 w 225462"/>
                  <a:gd name="connsiteY370" fmla="*/ 388499 h 410772"/>
                  <a:gd name="connsiteX371" fmla="*/ 91215 w 225462"/>
                  <a:gd name="connsiteY371" fmla="*/ 387590 h 410772"/>
                  <a:gd name="connsiteX372" fmla="*/ 92276 w 225462"/>
                  <a:gd name="connsiteY372" fmla="*/ 388196 h 410772"/>
                  <a:gd name="connsiteX373" fmla="*/ 93337 w 225462"/>
                  <a:gd name="connsiteY373" fmla="*/ 389105 h 410772"/>
                  <a:gd name="connsiteX374" fmla="*/ 93943 w 225462"/>
                  <a:gd name="connsiteY374" fmla="*/ 391681 h 410772"/>
                  <a:gd name="connsiteX375" fmla="*/ 95458 w 225462"/>
                  <a:gd name="connsiteY375" fmla="*/ 394105 h 410772"/>
                  <a:gd name="connsiteX376" fmla="*/ 98640 w 225462"/>
                  <a:gd name="connsiteY376" fmla="*/ 393802 h 410772"/>
                  <a:gd name="connsiteX377" fmla="*/ 99700 w 225462"/>
                  <a:gd name="connsiteY377" fmla="*/ 394105 h 410772"/>
                  <a:gd name="connsiteX378" fmla="*/ 100307 w 225462"/>
                  <a:gd name="connsiteY378" fmla="*/ 394105 h 410772"/>
                  <a:gd name="connsiteX379" fmla="*/ 100913 w 225462"/>
                  <a:gd name="connsiteY379" fmla="*/ 396226 h 410772"/>
                  <a:gd name="connsiteX380" fmla="*/ 101216 w 225462"/>
                  <a:gd name="connsiteY380" fmla="*/ 399863 h 410772"/>
                  <a:gd name="connsiteX381" fmla="*/ 100913 w 225462"/>
                  <a:gd name="connsiteY381" fmla="*/ 401984 h 410772"/>
                  <a:gd name="connsiteX382" fmla="*/ 98640 w 225462"/>
                  <a:gd name="connsiteY382" fmla="*/ 405015 h 410772"/>
                  <a:gd name="connsiteX383" fmla="*/ 98337 w 225462"/>
                  <a:gd name="connsiteY383" fmla="*/ 407136 h 410772"/>
                  <a:gd name="connsiteX384" fmla="*/ 99549 w 225462"/>
                  <a:gd name="connsiteY384" fmla="*/ 408348 h 410772"/>
                  <a:gd name="connsiteX385" fmla="*/ 101064 w 225462"/>
                  <a:gd name="connsiteY385" fmla="*/ 409712 h 410772"/>
                  <a:gd name="connsiteX386" fmla="*/ 101973 w 225462"/>
                  <a:gd name="connsiteY386" fmla="*/ 410773 h 410772"/>
                  <a:gd name="connsiteX387" fmla="*/ 102882 w 225462"/>
                  <a:gd name="connsiteY387" fmla="*/ 410621 h 410772"/>
                  <a:gd name="connsiteX388" fmla="*/ 104095 w 225462"/>
                  <a:gd name="connsiteY388" fmla="*/ 409863 h 410772"/>
                  <a:gd name="connsiteX389" fmla="*/ 105155 w 225462"/>
                  <a:gd name="connsiteY389" fmla="*/ 408045 h 410772"/>
                  <a:gd name="connsiteX390" fmla="*/ 105913 w 225462"/>
                  <a:gd name="connsiteY390" fmla="*/ 406530 h 410772"/>
                  <a:gd name="connsiteX391" fmla="*/ 110004 w 225462"/>
                  <a:gd name="connsiteY391" fmla="*/ 404863 h 410772"/>
                  <a:gd name="connsiteX392" fmla="*/ 114095 w 225462"/>
                  <a:gd name="connsiteY392" fmla="*/ 403348 h 410772"/>
                  <a:gd name="connsiteX393" fmla="*/ 114701 w 225462"/>
                  <a:gd name="connsiteY393" fmla="*/ 403499 h 410772"/>
                  <a:gd name="connsiteX394" fmla="*/ 115307 w 225462"/>
                  <a:gd name="connsiteY394" fmla="*/ 404106 h 410772"/>
                  <a:gd name="connsiteX395" fmla="*/ 116671 w 225462"/>
                  <a:gd name="connsiteY395" fmla="*/ 406378 h 410772"/>
                  <a:gd name="connsiteX396" fmla="*/ 117429 w 225462"/>
                  <a:gd name="connsiteY396" fmla="*/ 406833 h 410772"/>
                  <a:gd name="connsiteX397" fmla="*/ 118489 w 225462"/>
                  <a:gd name="connsiteY397" fmla="*/ 406985 h 410772"/>
                  <a:gd name="connsiteX398" fmla="*/ 120459 w 225462"/>
                  <a:gd name="connsiteY398" fmla="*/ 406681 h 410772"/>
                  <a:gd name="connsiteX399" fmla="*/ 122732 w 225462"/>
                  <a:gd name="connsiteY399" fmla="*/ 405469 h 410772"/>
                  <a:gd name="connsiteX400" fmla="*/ 123944 w 225462"/>
                  <a:gd name="connsiteY400" fmla="*/ 403197 h 410772"/>
                  <a:gd name="connsiteX401" fmla="*/ 124398 w 225462"/>
                  <a:gd name="connsiteY401" fmla="*/ 401378 h 410772"/>
                  <a:gd name="connsiteX402" fmla="*/ 127732 w 225462"/>
                  <a:gd name="connsiteY402" fmla="*/ 398196 h 410772"/>
                  <a:gd name="connsiteX403" fmla="*/ 128035 w 225462"/>
                  <a:gd name="connsiteY403" fmla="*/ 395772 h 410772"/>
                  <a:gd name="connsiteX404" fmla="*/ 128944 w 225462"/>
                  <a:gd name="connsiteY404" fmla="*/ 394257 h 410772"/>
                  <a:gd name="connsiteX405" fmla="*/ 120610 w 225462"/>
                  <a:gd name="connsiteY405" fmla="*/ 387893 h 410772"/>
                  <a:gd name="connsiteX406" fmla="*/ 115610 w 225462"/>
                  <a:gd name="connsiteY406" fmla="*/ 380317 h 410772"/>
                  <a:gd name="connsiteX407" fmla="*/ 112428 w 225462"/>
                  <a:gd name="connsiteY407" fmla="*/ 377286 h 410772"/>
                  <a:gd name="connsiteX408" fmla="*/ 109701 w 225462"/>
                  <a:gd name="connsiteY408" fmla="*/ 376377 h 410772"/>
                  <a:gd name="connsiteX409" fmla="*/ 106974 w 225462"/>
                  <a:gd name="connsiteY409" fmla="*/ 376074 h 410772"/>
                  <a:gd name="connsiteX410" fmla="*/ 102882 w 225462"/>
                  <a:gd name="connsiteY410" fmla="*/ 376983 h 410772"/>
                  <a:gd name="connsiteX411" fmla="*/ 99094 w 225462"/>
                  <a:gd name="connsiteY411" fmla="*/ 377438 h 410772"/>
                  <a:gd name="connsiteX412" fmla="*/ 92882 w 225462"/>
                  <a:gd name="connsiteY412" fmla="*/ 373801 h 410772"/>
                  <a:gd name="connsiteX413" fmla="*/ 90458 w 225462"/>
                  <a:gd name="connsiteY413" fmla="*/ 371377 h 410772"/>
                  <a:gd name="connsiteX414" fmla="*/ 87276 w 225462"/>
                  <a:gd name="connsiteY414" fmla="*/ 368801 h 410772"/>
                  <a:gd name="connsiteX415" fmla="*/ 84700 w 225462"/>
                  <a:gd name="connsiteY415" fmla="*/ 369256 h 410772"/>
                  <a:gd name="connsiteX416" fmla="*/ 82882 w 225462"/>
                  <a:gd name="connsiteY416" fmla="*/ 368498 h 410772"/>
                  <a:gd name="connsiteX417" fmla="*/ 81518 w 225462"/>
                  <a:gd name="connsiteY417" fmla="*/ 365922 h 410772"/>
                  <a:gd name="connsiteX418" fmla="*/ 76972 w 225462"/>
                  <a:gd name="connsiteY418" fmla="*/ 359862 h 410772"/>
                  <a:gd name="connsiteX419" fmla="*/ 75760 w 225462"/>
                  <a:gd name="connsiteY419" fmla="*/ 357134 h 410772"/>
                  <a:gd name="connsiteX420" fmla="*/ 75760 w 225462"/>
                  <a:gd name="connsiteY420" fmla="*/ 353649 h 410772"/>
                  <a:gd name="connsiteX421" fmla="*/ 78488 w 225462"/>
                  <a:gd name="connsiteY421" fmla="*/ 352437 h 410772"/>
                  <a:gd name="connsiteX422" fmla="*/ 80154 w 225462"/>
                  <a:gd name="connsiteY422" fmla="*/ 354104 h 410772"/>
                  <a:gd name="connsiteX423" fmla="*/ 80306 w 225462"/>
                  <a:gd name="connsiteY423" fmla="*/ 356074 h 410772"/>
                  <a:gd name="connsiteX424" fmla="*/ 79094 w 225462"/>
                  <a:gd name="connsiteY424" fmla="*/ 357740 h 410772"/>
                  <a:gd name="connsiteX425" fmla="*/ 79245 w 225462"/>
                  <a:gd name="connsiteY425" fmla="*/ 358649 h 410772"/>
                  <a:gd name="connsiteX426" fmla="*/ 80912 w 225462"/>
                  <a:gd name="connsiteY426" fmla="*/ 358649 h 410772"/>
                  <a:gd name="connsiteX427" fmla="*/ 81973 w 225462"/>
                  <a:gd name="connsiteY427" fmla="*/ 358953 h 410772"/>
                  <a:gd name="connsiteX428" fmla="*/ 82730 w 225462"/>
                  <a:gd name="connsiteY428" fmla="*/ 361074 h 410772"/>
                  <a:gd name="connsiteX429" fmla="*/ 83488 w 225462"/>
                  <a:gd name="connsiteY429" fmla="*/ 366074 h 410772"/>
                  <a:gd name="connsiteX430" fmla="*/ 86367 w 225462"/>
                  <a:gd name="connsiteY430" fmla="*/ 367589 h 410772"/>
                  <a:gd name="connsiteX431" fmla="*/ 85155 w 225462"/>
                  <a:gd name="connsiteY431" fmla="*/ 364559 h 410772"/>
                  <a:gd name="connsiteX432" fmla="*/ 83791 w 225462"/>
                  <a:gd name="connsiteY432" fmla="*/ 361680 h 410772"/>
                  <a:gd name="connsiteX433" fmla="*/ 79094 w 225462"/>
                  <a:gd name="connsiteY433" fmla="*/ 339103 h 410772"/>
                  <a:gd name="connsiteX434" fmla="*/ 77730 w 225462"/>
                  <a:gd name="connsiteY434" fmla="*/ 334861 h 410772"/>
                  <a:gd name="connsiteX435" fmla="*/ 75912 w 225462"/>
                  <a:gd name="connsiteY435" fmla="*/ 332588 h 410772"/>
                  <a:gd name="connsiteX436" fmla="*/ 75760 w 225462"/>
                  <a:gd name="connsiteY436" fmla="*/ 333497 h 410772"/>
                  <a:gd name="connsiteX437" fmla="*/ 75609 w 225462"/>
                  <a:gd name="connsiteY437" fmla="*/ 334406 h 410772"/>
                  <a:gd name="connsiteX438" fmla="*/ 75003 w 225462"/>
                  <a:gd name="connsiteY438" fmla="*/ 334861 h 410772"/>
                  <a:gd name="connsiteX439" fmla="*/ 73033 w 225462"/>
                  <a:gd name="connsiteY439" fmla="*/ 332588 h 410772"/>
                  <a:gd name="connsiteX440" fmla="*/ 71214 w 225462"/>
                  <a:gd name="connsiteY440" fmla="*/ 330467 h 410772"/>
                  <a:gd name="connsiteX441" fmla="*/ 70457 w 225462"/>
                  <a:gd name="connsiteY441" fmla="*/ 328194 h 410772"/>
                  <a:gd name="connsiteX442" fmla="*/ 68942 w 225462"/>
                  <a:gd name="connsiteY442" fmla="*/ 316072 h 410772"/>
                  <a:gd name="connsiteX443" fmla="*/ 68184 w 225462"/>
                  <a:gd name="connsiteY443" fmla="*/ 313799 h 410772"/>
                  <a:gd name="connsiteX444" fmla="*/ 66972 w 225462"/>
                  <a:gd name="connsiteY444" fmla="*/ 311223 h 410772"/>
                  <a:gd name="connsiteX445" fmla="*/ 63942 w 225462"/>
                  <a:gd name="connsiteY445" fmla="*/ 310466 h 410772"/>
                  <a:gd name="connsiteX446" fmla="*/ 54850 w 225462"/>
                  <a:gd name="connsiteY446" fmla="*/ 313193 h 410772"/>
                  <a:gd name="connsiteX447" fmla="*/ 53183 w 225462"/>
                  <a:gd name="connsiteY447" fmla="*/ 312890 h 410772"/>
                  <a:gd name="connsiteX448" fmla="*/ 50911 w 225462"/>
                  <a:gd name="connsiteY448" fmla="*/ 311830 h 410772"/>
                  <a:gd name="connsiteX449" fmla="*/ 51214 w 225462"/>
                  <a:gd name="connsiteY449" fmla="*/ 309405 h 410772"/>
                  <a:gd name="connsiteX450" fmla="*/ 51820 w 225462"/>
                  <a:gd name="connsiteY450" fmla="*/ 307738 h 410772"/>
                  <a:gd name="connsiteX451" fmla="*/ 49093 w 225462"/>
                  <a:gd name="connsiteY451" fmla="*/ 301981 h 410772"/>
                  <a:gd name="connsiteX452" fmla="*/ 48183 w 225462"/>
                  <a:gd name="connsiteY452" fmla="*/ 299102 h 410772"/>
                  <a:gd name="connsiteX453" fmla="*/ 48486 w 225462"/>
                  <a:gd name="connsiteY453" fmla="*/ 293647 h 410772"/>
                  <a:gd name="connsiteX454" fmla="*/ 49244 w 225462"/>
                  <a:gd name="connsiteY454" fmla="*/ 286980 h 410772"/>
                  <a:gd name="connsiteX455" fmla="*/ 49093 w 225462"/>
                  <a:gd name="connsiteY455" fmla="*/ 284556 h 410772"/>
                  <a:gd name="connsiteX456" fmla="*/ 48335 w 225462"/>
                  <a:gd name="connsiteY456" fmla="*/ 283041 h 410772"/>
                  <a:gd name="connsiteX457" fmla="*/ 50305 w 225462"/>
                  <a:gd name="connsiteY457" fmla="*/ 281222 h 410772"/>
                  <a:gd name="connsiteX458" fmla="*/ 51669 w 225462"/>
                  <a:gd name="connsiteY458" fmla="*/ 276222 h 410772"/>
                  <a:gd name="connsiteX459" fmla="*/ 57123 w 225462"/>
                  <a:gd name="connsiteY459" fmla="*/ 267434 h 410772"/>
                  <a:gd name="connsiteX460" fmla="*/ 57881 w 225462"/>
                  <a:gd name="connsiteY460" fmla="*/ 261676 h 410772"/>
                  <a:gd name="connsiteX461" fmla="*/ 59093 w 225462"/>
                  <a:gd name="connsiteY461" fmla="*/ 258494 h 410772"/>
                  <a:gd name="connsiteX462" fmla="*/ 60911 w 225462"/>
                  <a:gd name="connsiteY462" fmla="*/ 251676 h 410772"/>
                  <a:gd name="connsiteX463" fmla="*/ 63638 w 225462"/>
                  <a:gd name="connsiteY463" fmla="*/ 246221 h 410772"/>
                  <a:gd name="connsiteX464" fmla="*/ 65608 w 225462"/>
                  <a:gd name="connsiteY464" fmla="*/ 243797 h 410772"/>
                  <a:gd name="connsiteX465" fmla="*/ 66669 w 225462"/>
                  <a:gd name="connsiteY465" fmla="*/ 238645 h 410772"/>
                  <a:gd name="connsiteX466" fmla="*/ 69245 w 225462"/>
                  <a:gd name="connsiteY466" fmla="*/ 235615 h 410772"/>
                  <a:gd name="connsiteX467" fmla="*/ 70912 w 225462"/>
                  <a:gd name="connsiteY467" fmla="*/ 232281 h 410772"/>
                  <a:gd name="connsiteX468" fmla="*/ 71366 w 225462"/>
                  <a:gd name="connsiteY468" fmla="*/ 227281 h 410772"/>
                  <a:gd name="connsiteX469" fmla="*/ 70154 w 225462"/>
                  <a:gd name="connsiteY469" fmla="*/ 218038 h 410772"/>
                  <a:gd name="connsiteX470" fmla="*/ 70609 w 225462"/>
                  <a:gd name="connsiteY470" fmla="*/ 215765 h 410772"/>
                  <a:gd name="connsiteX471" fmla="*/ 73488 w 225462"/>
                  <a:gd name="connsiteY471" fmla="*/ 208189 h 410772"/>
                  <a:gd name="connsiteX472" fmla="*/ 72427 w 225462"/>
                  <a:gd name="connsiteY472" fmla="*/ 204704 h 410772"/>
                  <a:gd name="connsiteX473" fmla="*/ 70760 w 225462"/>
                  <a:gd name="connsiteY473" fmla="*/ 202735 h 410772"/>
                  <a:gd name="connsiteX474" fmla="*/ 71518 w 225462"/>
                  <a:gd name="connsiteY474" fmla="*/ 199704 h 410772"/>
                  <a:gd name="connsiteX475" fmla="*/ 74397 w 225462"/>
                  <a:gd name="connsiteY475" fmla="*/ 197280 h 410772"/>
                  <a:gd name="connsiteX476" fmla="*/ 77427 w 225462"/>
                  <a:gd name="connsiteY476" fmla="*/ 196068 h 410772"/>
                  <a:gd name="connsiteX477" fmla="*/ 85609 w 225462"/>
                  <a:gd name="connsiteY477" fmla="*/ 195310 h 410772"/>
                  <a:gd name="connsiteX478" fmla="*/ 87427 w 225462"/>
                  <a:gd name="connsiteY478" fmla="*/ 193795 h 410772"/>
                  <a:gd name="connsiteX479" fmla="*/ 88943 w 225462"/>
                  <a:gd name="connsiteY479" fmla="*/ 195158 h 410772"/>
                  <a:gd name="connsiteX480" fmla="*/ 95761 w 225462"/>
                  <a:gd name="connsiteY480" fmla="*/ 196825 h 410772"/>
                  <a:gd name="connsiteX481" fmla="*/ 97276 w 225462"/>
                  <a:gd name="connsiteY481" fmla="*/ 197735 h 410772"/>
                  <a:gd name="connsiteX482" fmla="*/ 96822 w 225462"/>
                  <a:gd name="connsiteY482" fmla="*/ 199856 h 410772"/>
                  <a:gd name="connsiteX483" fmla="*/ 96216 w 225462"/>
                  <a:gd name="connsiteY483" fmla="*/ 201371 h 410772"/>
                  <a:gd name="connsiteX484" fmla="*/ 96822 w 225462"/>
                  <a:gd name="connsiteY484" fmla="*/ 204553 h 410772"/>
                  <a:gd name="connsiteX485" fmla="*/ 95610 w 225462"/>
                  <a:gd name="connsiteY485" fmla="*/ 208795 h 410772"/>
                  <a:gd name="connsiteX486" fmla="*/ 95458 w 225462"/>
                  <a:gd name="connsiteY486" fmla="*/ 214856 h 410772"/>
                  <a:gd name="connsiteX487" fmla="*/ 94549 w 225462"/>
                  <a:gd name="connsiteY487" fmla="*/ 217735 h 410772"/>
                  <a:gd name="connsiteX488" fmla="*/ 95458 w 225462"/>
                  <a:gd name="connsiteY488" fmla="*/ 219402 h 410772"/>
                  <a:gd name="connsiteX489" fmla="*/ 96973 w 225462"/>
                  <a:gd name="connsiteY489" fmla="*/ 220311 h 410772"/>
                  <a:gd name="connsiteX490" fmla="*/ 100761 w 225462"/>
                  <a:gd name="connsiteY490" fmla="*/ 218796 h 410772"/>
                  <a:gd name="connsiteX491" fmla="*/ 110458 w 225462"/>
                  <a:gd name="connsiteY491" fmla="*/ 220311 h 410772"/>
                  <a:gd name="connsiteX492" fmla="*/ 118034 w 225462"/>
                  <a:gd name="connsiteY492" fmla="*/ 218341 h 410772"/>
                  <a:gd name="connsiteX493" fmla="*/ 121065 w 225462"/>
                  <a:gd name="connsiteY493" fmla="*/ 219705 h 410772"/>
                  <a:gd name="connsiteX494" fmla="*/ 122580 w 225462"/>
                  <a:gd name="connsiteY494" fmla="*/ 221069 h 410772"/>
                  <a:gd name="connsiteX495" fmla="*/ 124096 w 225462"/>
                  <a:gd name="connsiteY495" fmla="*/ 221826 h 410772"/>
                  <a:gd name="connsiteX496" fmla="*/ 126520 w 225462"/>
                  <a:gd name="connsiteY496" fmla="*/ 222735 h 410772"/>
                  <a:gd name="connsiteX497" fmla="*/ 129247 w 225462"/>
                  <a:gd name="connsiteY497" fmla="*/ 225160 h 410772"/>
                  <a:gd name="connsiteX498" fmla="*/ 131823 w 225462"/>
                  <a:gd name="connsiteY498" fmla="*/ 228190 h 410772"/>
                  <a:gd name="connsiteX499" fmla="*/ 132277 w 225462"/>
                  <a:gd name="connsiteY499" fmla="*/ 227432 h 410772"/>
                  <a:gd name="connsiteX500" fmla="*/ 132581 w 225462"/>
                  <a:gd name="connsiteY500" fmla="*/ 226523 h 410772"/>
                  <a:gd name="connsiteX501" fmla="*/ 134853 w 225462"/>
                  <a:gd name="connsiteY501" fmla="*/ 230463 h 410772"/>
                  <a:gd name="connsiteX502" fmla="*/ 137278 w 225462"/>
                  <a:gd name="connsiteY502" fmla="*/ 232433 h 410772"/>
                  <a:gd name="connsiteX503" fmla="*/ 140157 w 225462"/>
                  <a:gd name="connsiteY503" fmla="*/ 234403 h 410772"/>
                  <a:gd name="connsiteX504" fmla="*/ 141066 w 225462"/>
                  <a:gd name="connsiteY504" fmla="*/ 233039 h 410772"/>
                  <a:gd name="connsiteX505" fmla="*/ 141520 w 225462"/>
                  <a:gd name="connsiteY505" fmla="*/ 231827 h 410772"/>
                  <a:gd name="connsiteX506" fmla="*/ 143187 w 225462"/>
                  <a:gd name="connsiteY506" fmla="*/ 233342 h 410772"/>
                  <a:gd name="connsiteX507" fmla="*/ 146217 w 225462"/>
                  <a:gd name="connsiteY507" fmla="*/ 237130 h 410772"/>
                  <a:gd name="connsiteX508" fmla="*/ 146975 w 225462"/>
                  <a:gd name="connsiteY508" fmla="*/ 240615 h 410772"/>
                  <a:gd name="connsiteX509" fmla="*/ 149551 w 225462"/>
                  <a:gd name="connsiteY509" fmla="*/ 243797 h 410772"/>
                  <a:gd name="connsiteX510" fmla="*/ 150308 w 225462"/>
                  <a:gd name="connsiteY510" fmla="*/ 245767 h 410772"/>
                  <a:gd name="connsiteX511" fmla="*/ 150915 w 225462"/>
                  <a:gd name="connsiteY511" fmla="*/ 245615 h 410772"/>
                  <a:gd name="connsiteX512" fmla="*/ 150460 w 225462"/>
                  <a:gd name="connsiteY512" fmla="*/ 244857 h 410772"/>
                  <a:gd name="connsiteX513" fmla="*/ 145460 w 225462"/>
                  <a:gd name="connsiteY513" fmla="*/ 235008 h 410772"/>
                  <a:gd name="connsiteX514" fmla="*/ 144702 w 225462"/>
                  <a:gd name="connsiteY514" fmla="*/ 230463 h 410772"/>
                  <a:gd name="connsiteX515" fmla="*/ 145611 w 225462"/>
                  <a:gd name="connsiteY515" fmla="*/ 226978 h 410772"/>
                  <a:gd name="connsiteX516" fmla="*/ 146066 w 225462"/>
                  <a:gd name="connsiteY516" fmla="*/ 225766 h 410772"/>
                  <a:gd name="connsiteX517" fmla="*/ 144702 w 225462"/>
                  <a:gd name="connsiteY517" fmla="*/ 223948 h 410772"/>
                  <a:gd name="connsiteX518" fmla="*/ 142732 w 225462"/>
                  <a:gd name="connsiteY518" fmla="*/ 221826 h 410772"/>
                  <a:gd name="connsiteX519" fmla="*/ 139248 w 225462"/>
                  <a:gd name="connsiteY519" fmla="*/ 219099 h 410772"/>
                  <a:gd name="connsiteX520" fmla="*/ 138944 w 225462"/>
                  <a:gd name="connsiteY520" fmla="*/ 214705 h 410772"/>
                  <a:gd name="connsiteX521" fmla="*/ 138187 w 225462"/>
                  <a:gd name="connsiteY521" fmla="*/ 209553 h 410772"/>
                  <a:gd name="connsiteX522" fmla="*/ 137126 w 225462"/>
                  <a:gd name="connsiteY522" fmla="*/ 207886 h 410772"/>
                  <a:gd name="connsiteX523" fmla="*/ 135460 w 225462"/>
                  <a:gd name="connsiteY523" fmla="*/ 204704 h 410772"/>
                  <a:gd name="connsiteX524" fmla="*/ 134551 w 225462"/>
                  <a:gd name="connsiteY524" fmla="*/ 202129 h 410772"/>
                  <a:gd name="connsiteX525" fmla="*/ 134247 w 225462"/>
                  <a:gd name="connsiteY525" fmla="*/ 195158 h 410772"/>
                  <a:gd name="connsiteX526" fmla="*/ 134702 w 225462"/>
                  <a:gd name="connsiteY526" fmla="*/ 194553 h 410772"/>
                  <a:gd name="connsiteX527" fmla="*/ 137278 w 225462"/>
                  <a:gd name="connsiteY527" fmla="*/ 194401 h 410772"/>
                  <a:gd name="connsiteX528" fmla="*/ 140460 w 225462"/>
                  <a:gd name="connsiteY528" fmla="*/ 193947 h 410772"/>
                  <a:gd name="connsiteX529" fmla="*/ 140914 w 225462"/>
                  <a:gd name="connsiteY529" fmla="*/ 192886 h 410772"/>
                  <a:gd name="connsiteX530" fmla="*/ 140308 w 225462"/>
                  <a:gd name="connsiteY530" fmla="*/ 191977 h 410772"/>
                  <a:gd name="connsiteX531" fmla="*/ 142429 w 225462"/>
                  <a:gd name="connsiteY531" fmla="*/ 190461 h 410772"/>
                  <a:gd name="connsiteX532" fmla="*/ 145460 w 225462"/>
                  <a:gd name="connsiteY532" fmla="*/ 186976 h 410772"/>
                  <a:gd name="connsiteX533" fmla="*/ 147733 w 225462"/>
                  <a:gd name="connsiteY533" fmla="*/ 183340 h 410772"/>
                  <a:gd name="connsiteX534" fmla="*/ 149399 w 225462"/>
                  <a:gd name="connsiteY534" fmla="*/ 181067 h 410772"/>
                  <a:gd name="connsiteX535" fmla="*/ 150460 w 225462"/>
                  <a:gd name="connsiteY535" fmla="*/ 178794 h 410772"/>
                  <a:gd name="connsiteX536" fmla="*/ 153793 w 225462"/>
                  <a:gd name="connsiteY536" fmla="*/ 175612 h 410772"/>
                  <a:gd name="connsiteX537" fmla="*/ 158339 w 225462"/>
                  <a:gd name="connsiteY537" fmla="*/ 173340 h 410772"/>
                  <a:gd name="connsiteX538" fmla="*/ 161521 w 225462"/>
                  <a:gd name="connsiteY538" fmla="*/ 172885 h 410772"/>
                  <a:gd name="connsiteX539" fmla="*/ 164703 w 225462"/>
                  <a:gd name="connsiteY539" fmla="*/ 172128 h 410772"/>
                  <a:gd name="connsiteX540" fmla="*/ 167885 w 225462"/>
                  <a:gd name="connsiteY540" fmla="*/ 171067 h 410772"/>
                  <a:gd name="connsiteX541" fmla="*/ 169400 w 225462"/>
                  <a:gd name="connsiteY541" fmla="*/ 170915 h 410772"/>
                  <a:gd name="connsiteX542" fmla="*/ 173340 w 225462"/>
                  <a:gd name="connsiteY542" fmla="*/ 172279 h 410772"/>
                  <a:gd name="connsiteX543" fmla="*/ 175461 w 225462"/>
                  <a:gd name="connsiteY543" fmla="*/ 172582 h 410772"/>
                  <a:gd name="connsiteX544" fmla="*/ 177734 w 225462"/>
                  <a:gd name="connsiteY544" fmla="*/ 172582 h 410772"/>
                  <a:gd name="connsiteX545" fmla="*/ 180007 w 225462"/>
                  <a:gd name="connsiteY545" fmla="*/ 172733 h 410772"/>
                  <a:gd name="connsiteX546" fmla="*/ 181976 w 225462"/>
                  <a:gd name="connsiteY546" fmla="*/ 172582 h 410772"/>
                  <a:gd name="connsiteX547" fmla="*/ 186674 w 225462"/>
                  <a:gd name="connsiteY547" fmla="*/ 171673 h 410772"/>
                  <a:gd name="connsiteX548" fmla="*/ 191674 w 225462"/>
                  <a:gd name="connsiteY548" fmla="*/ 172430 h 410772"/>
                  <a:gd name="connsiteX549" fmla="*/ 196219 w 225462"/>
                  <a:gd name="connsiteY549" fmla="*/ 171824 h 410772"/>
                  <a:gd name="connsiteX550" fmla="*/ 201826 w 225462"/>
                  <a:gd name="connsiteY550" fmla="*/ 170764 h 410772"/>
                  <a:gd name="connsiteX551" fmla="*/ 204553 w 225462"/>
                  <a:gd name="connsiteY551" fmla="*/ 171370 h 410772"/>
                  <a:gd name="connsiteX552" fmla="*/ 206977 w 225462"/>
                  <a:gd name="connsiteY552" fmla="*/ 172430 h 410772"/>
                  <a:gd name="connsiteX553" fmla="*/ 207280 w 225462"/>
                  <a:gd name="connsiteY553" fmla="*/ 174552 h 410772"/>
                  <a:gd name="connsiteX554" fmla="*/ 207887 w 225462"/>
                  <a:gd name="connsiteY554" fmla="*/ 175461 h 410772"/>
                  <a:gd name="connsiteX555" fmla="*/ 208644 w 225462"/>
                  <a:gd name="connsiteY555" fmla="*/ 176218 h 410772"/>
                  <a:gd name="connsiteX556" fmla="*/ 209705 w 225462"/>
                  <a:gd name="connsiteY556" fmla="*/ 176218 h 410772"/>
                  <a:gd name="connsiteX557" fmla="*/ 211068 w 225462"/>
                  <a:gd name="connsiteY557" fmla="*/ 174703 h 410772"/>
                  <a:gd name="connsiteX558" fmla="*/ 212280 w 225462"/>
                  <a:gd name="connsiteY558" fmla="*/ 173188 h 410772"/>
                  <a:gd name="connsiteX559" fmla="*/ 212735 w 225462"/>
                  <a:gd name="connsiteY559" fmla="*/ 172885 h 410772"/>
                  <a:gd name="connsiteX560" fmla="*/ 214402 w 225462"/>
                  <a:gd name="connsiteY560" fmla="*/ 172279 h 410772"/>
                  <a:gd name="connsiteX561" fmla="*/ 217129 w 225462"/>
                  <a:gd name="connsiteY561" fmla="*/ 170915 h 410772"/>
                  <a:gd name="connsiteX562" fmla="*/ 219402 w 225462"/>
                  <a:gd name="connsiteY562" fmla="*/ 169400 h 410772"/>
                  <a:gd name="connsiteX563" fmla="*/ 220917 w 225462"/>
                  <a:gd name="connsiteY563" fmla="*/ 167733 h 410772"/>
                  <a:gd name="connsiteX564" fmla="*/ 221523 w 225462"/>
                  <a:gd name="connsiteY564" fmla="*/ 166067 h 410772"/>
                  <a:gd name="connsiteX565" fmla="*/ 221675 w 225462"/>
                  <a:gd name="connsiteY565" fmla="*/ 164097 h 410772"/>
                  <a:gd name="connsiteX566" fmla="*/ 222281 w 225462"/>
                  <a:gd name="connsiteY566" fmla="*/ 159097 h 410772"/>
                  <a:gd name="connsiteX567" fmla="*/ 222887 w 225462"/>
                  <a:gd name="connsiteY567" fmla="*/ 156672 h 410772"/>
                  <a:gd name="connsiteX568" fmla="*/ 222584 w 225462"/>
                  <a:gd name="connsiteY568" fmla="*/ 153642 h 410772"/>
                  <a:gd name="connsiteX569" fmla="*/ 221372 w 225462"/>
                  <a:gd name="connsiteY569" fmla="*/ 151218 h 410772"/>
                  <a:gd name="connsiteX570" fmla="*/ 221372 w 225462"/>
                  <a:gd name="connsiteY570" fmla="*/ 147581 h 410772"/>
                  <a:gd name="connsiteX571" fmla="*/ 221826 w 225462"/>
                  <a:gd name="connsiteY571" fmla="*/ 145763 h 410772"/>
                  <a:gd name="connsiteX572" fmla="*/ 221978 w 225462"/>
                  <a:gd name="connsiteY572" fmla="*/ 144551 h 410772"/>
                  <a:gd name="connsiteX573" fmla="*/ 223644 w 225462"/>
                  <a:gd name="connsiteY573" fmla="*/ 143036 h 410772"/>
                  <a:gd name="connsiteX574" fmla="*/ 224857 w 225462"/>
                  <a:gd name="connsiteY574" fmla="*/ 140914 h 410772"/>
                  <a:gd name="connsiteX575" fmla="*/ 225463 w 225462"/>
                  <a:gd name="connsiteY575" fmla="*/ 138187 h 410772"/>
                  <a:gd name="connsiteX576" fmla="*/ 225463 w 225462"/>
                  <a:gd name="connsiteY576" fmla="*/ 136217 h 410772"/>
                  <a:gd name="connsiteX577" fmla="*/ 225311 w 225462"/>
                  <a:gd name="connsiteY577" fmla="*/ 133490 h 41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225462" h="410772">
                    <a:moveTo>
                      <a:pt x="60608" y="384256"/>
                    </a:moveTo>
                    <a:lnTo>
                      <a:pt x="61669" y="386529"/>
                    </a:lnTo>
                    <a:lnTo>
                      <a:pt x="62124" y="386378"/>
                    </a:lnTo>
                    <a:lnTo>
                      <a:pt x="63184" y="385014"/>
                    </a:lnTo>
                    <a:lnTo>
                      <a:pt x="61820" y="381074"/>
                    </a:lnTo>
                    <a:lnTo>
                      <a:pt x="60608" y="384256"/>
                    </a:lnTo>
                    <a:close/>
                    <a:moveTo>
                      <a:pt x="45305" y="355771"/>
                    </a:moveTo>
                    <a:lnTo>
                      <a:pt x="45153" y="356074"/>
                    </a:lnTo>
                    <a:lnTo>
                      <a:pt x="45153" y="358195"/>
                    </a:lnTo>
                    <a:lnTo>
                      <a:pt x="45911" y="359559"/>
                    </a:lnTo>
                    <a:lnTo>
                      <a:pt x="46972" y="360164"/>
                    </a:lnTo>
                    <a:lnTo>
                      <a:pt x="46214" y="356831"/>
                    </a:lnTo>
                    <a:lnTo>
                      <a:pt x="45305" y="355771"/>
                    </a:lnTo>
                    <a:close/>
                    <a:moveTo>
                      <a:pt x="26364" y="342891"/>
                    </a:moveTo>
                    <a:lnTo>
                      <a:pt x="25607" y="341376"/>
                    </a:lnTo>
                    <a:lnTo>
                      <a:pt x="25001" y="342134"/>
                    </a:lnTo>
                    <a:lnTo>
                      <a:pt x="23940" y="347891"/>
                    </a:lnTo>
                    <a:lnTo>
                      <a:pt x="24849" y="351982"/>
                    </a:lnTo>
                    <a:lnTo>
                      <a:pt x="25304" y="351831"/>
                    </a:lnTo>
                    <a:lnTo>
                      <a:pt x="26516" y="350619"/>
                    </a:lnTo>
                    <a:lnTo>
                      <a:pt x="27577" y="350619"/>
                    </a:lnTo>
                    <a:lnTo>
                      <a:pt x="27880" y="348649"/>
                    </a:lnTo>
                    <a:lnTo>
                      <a:pt x="27577" y="346982"/>
                    </a:lnTo>
                    <a:lnTo>
                      <a:pt x="28637" y="343649"/>
                    </a:lnTo>
                    <a:lnTo>
                      <a:pt x="26364" y="342891"/>
                    </a:lnTo>
                    <a:close/>
                    <a:moveTo>
                      <a:pt x="32577" y="348043"/>
                    </a:moveTo>
                    <a:lnTo>
                      <a:pt x="32880" y="347588"/>
                    </a:lnTo>
                    <a:lnTo>
                      <a:pt x="33183" y="344255"/>
                    </a:lnTo>
                    <a:lnTo>
                      <a:pt x="31062" y="342891"/>
                    </a:lnTo>
                    <a:lnTo>
                      <a:pt x="32577" y="348043"/>
                    </a:lnTo>
                    <a:close/>
                    <a:moveTo>
                      <a:pt x="137278" y="235312"/>
                    </a:moveTo>
                    <a:lnTo>
                      <a:pt x="136520" y="233948"/>
                    </a:lnTo>
                    <a:lnTo>
                      <a:pt x="134853" y="231978"/>
                    </a:lnTo>
                    <a:lnTo>
                      <a:pt x="133793" y="231675"/>
                    </a:lnTo>
                    <a:lnTo>
                      <a:pt x="133641" y="232584"/>
                    </a:lnTo>
                    <a:lnTo>
                      <a:pt x="134399" y="236372"/>
                    </a:lnTo>
                    <a:lnTo>
                      <a:pt x="135914" y="236524"/>
                    </a:lnTo>
                    <a:lnTo>
                      <a:pt x="136369" y="236221"/>
                    </a:lnTo>
                    <a:lnTo>
                      <a:pt x="137732" y="236675"/>
                    </a:lnTo>
                    <a:lnTo>
                      <a:pt x="137581" y="236069"/>
                    </a:lnTo>
                    <a:lnTo>
                      <a:pt x="137278" y="235312"/>
                    </a:lnTo>
                    <a:close/>
                    <a:moveTo>
                      <a:pt x="73184" y="299859"/>
                    </a:moveTo>
                    <a:lnTo>
                      <a:pt x="73488" y="299405"/>
                    </a:lnTo>
                    <a:lnTo>
                      <a:pt x="73488" y="298041"/>
                    </a:lnTo>
                    <a:lnTo>
                      <a:pt x="72730" y="296829"/>
                    </a:lnTo>
                    <a:lnTo>
                      <a:pt x="71063" y="296829"/>
                    </a:lnTo>
                    <a:lnTo>
                      <a:pt x="71518" y="298041"/>
                    </a:lnTo>
                    <a:lnTo>
                      <a:pt x="72275" y="298950"/>
                    </a:lnTo>
                    <a:lnTo>
                      <a:pt x="73184" y="299859"/>
                    </a:lnTo>
                    <a:close/>
                    <a:moveTo>
                      <a:pt x="141066" y="245160"/>
                    </a:moveTo>
                    <a:lnTo>
                      <a:pt x="140762" y="246676"/>
                    </a:lnTo>
                    <a:lnTo>
                      <a:pt x="142278" y="247888"/>
                    </a:lnTo>
                    <a:lnTo>
                      <a:pt x="142732" y="245009"/>
                    </a:lnTo>
                    <a:lnTo>
                      <a:pt x="141672" y="244554"/>
                    </a:lnTo>
                    <a:lnTo>
                      <a:pt x="141066" y="245160"/>
                    </a:lnTo>
                    <a:close/>
                    <a:moveTo>
                      <a:pt x="25001" y="314708"/>
                    </a:moveTo>
                    <a:lnTo>
                      <a:pt x="24243" y="315011"/>
                    </a:lnTo>
                    <a:lnTo>
                      <a:pt x="23789" y="315920"/>
                    </a:lnTo>
                    <a:lnTo>
                      <a:pt x="23637" y="317436"/>
                    </a:lnTo>
                    <a:lnTo>
                      <a:pt x="25153" y="317133"/>
                    </a:lnTo>
                    <a:lnTo>
                      <a:pt x="25304" y="316375"/>
                    </a:lnTo>
                    <a:lnTo>
                      <a:pt x="25001" y="314708"/>
                    </a:lnTo>
                    <a:close/>
                    <a:moveTo>
                      <a:pt x="69700" y="303193"/>
                    </a:moveTo>
                    <a:lnTo>
                      <a:pt x="69396" y="305466"/>
                    </a:lnTo>
                    <a:lnTo>
                      <a:pt x="70305" y="306981"/>
                    </a:lnTo>
                    <a:lnTo>
                      <a:pt x="72730" y="305920"/>
                    </a:lnTo>
                    <a:lnTo>
                      <a:pt x="73336" y="304102"/>
                    </a:lnTo>
                    <a:lnTo>
                      <a:pt x="73184" y="302587"/>
                    </a:lnTo>
                    <a:lnTo>
                      <a:pt x="72427" y="302890"/>
                    </a:lnTo>
                    <a:lnTo>
                      <a:pt x="70003" y="302738"/>
                    </a:lnTo>
                    <a:lnTo>
                      <a:pt x="69700" y="303193"/>
                    </a:lnTo>
                    <a:close/>
                    <a:moveTo>
                      <a:pt x="225311" y="133490"/>
                    </a:moveTo>
                    <a:lnTo>
                      <a:pt x="223644" y="132277"/>
                    </a:lnTo>
                    <a:lnTo>
                      <a:pt x="220917" y="131217"/>
                    </a:lnTo>
                    <a:lnTo>
                      <a:pt x="219251" y="129853"/>
                    </a:lnTo>
                    <a:lnTo>
                      <a:pt x="218493" y="128186"/>
                    </a:lnTo>
                    <a:lnTo>
                      <a:pt x="218493" y="126671"/>
                    </a:lnTo>
                    <a:lnTo>
                      <a:pt x="219402" y="125459"/>
                    </a:lnTo>
                    <a:lnTo>
                      <a:pt x="217281" y="124095"/>
                    </a:lnTo>
                    <a:lnTo>
                      <a:pt x="212280" y="122580"/>
                    </a:lnTo>
                    <a:lnTo>
                      <a:pt x="209553" y="120762"/>
                    </a:lnTo>
                    <a:lnTo>
                      <a:pt x="208947" y="118641"/>
                    </a:lnTo>
                    <a:lnTo>
                      <a:pt x="206826" y="115762"/>
                    </a:lnTo>
                    <a:lnTo>
                      <a:pt x="203189" y="112277"/>
                    </a:lnTo>
                    <a:lnTo>
                      <a:pt x="201371" y="107277"/>
                    </a:lnTo>
                    <a:lnTo>
                      <a:pt x="201220" y="100610"/>
                    </a:lnTo>
                    <a:lnTo>
                      <a:pt x="201674" y="95155"/>
                    </a:lnTo>
                    <a:lnTo>
                      <a:pt x="203189" y="88943"/>
                    </a:lnTo>
                    <a:lnTo>
                      <a:pt x="201068" y="84397"/>
                    </a:lnTo>
                    <a:lnTo>
                      <a:pt x="198795" y="81973"/>
                    </a:lnTo>
                    <a:lnTo>
                      <a:pt x="195613" y="80154"/>
                    </a:lnTo>
                    <a:lnTo>
                      <a:pt x="192583" y="77579"/>
                    </a:lnTo>
                    <a:lnTo>
                      <a:pt x="189704" y="74245"/>
                    </a:lnTo>
                    <a:lnTo>
                      <a:pt x="186219" y="69397"/>
                    </a:lnTo>
                    <a:lnTo>
                      <a:pt x="182128" y="63033"/>
                    </a:lnTo>
                    <a:lnTo>
                      <a:pt x="179401" y="60154"/>
                    </a:lnTo>
                    <a:lnTo>
                      <a:pt x="178037" y="60760"/>
                    </a:lnTo>
                    <a:lnTo>
                      <a:pt x="175158" y="60154"/>
                    </a:lnTo>
                    <a:lnTo>
                      <a:pt x="170764" y="58335"/>
                    </a:lnTo>
                    <a:lnTo>
                      <a:pt x="166824" y="57275"/>
                    </a:lnTo>
                    <a:lnTo>
                      <a:pt x="163491" y="57123"/>
                    </a:lnTo>
                    <a:lnTo>
                      <a:pt x="161370" y="57578"/>
                    </a:lnTo>
                    <a:lnTo>
                      <a:pt x="160309" y="58487"/>
                    </a:lnTo>
                    <a:lnTo>
                      <a:pt x="160158" y="59396"/>
                    </a:lnTo>
                    <a:lnTo>
                      <a:pt x="161067" y="60305"/>
                    </a:lnTo>
                    <a:lnTo>
                      <a:pt x="160612" y="61063"/>
                    </a:lnTo>
                    <a:lnTo>
                      <a:pt x="158945" y="61669"/>
                    </a:lnTo>
                    <a:lnTo>
                      <a:pt x="157582" y="62730"/>
                    </a:lnTo>
                    <a:lnTo>
                      <a:pt x="156066" y="65002"/>
                    </a:lnTo>
                    <a:lnTo>
                      <a:pt x="155005" y="68033"/>
                    </a:lnTo>
                    <a:lnTo>
                      <a:pt x="153339" y="69245"/>
                    </a:lnTo>
                    <a:lnTo>
                      <a:pt x="150763" y="69548"/>
                    </a:lnTo>
                    <a:lnTo>
                      <a:pt x="148339" y="70457"/>
                    </a:lnTo>
                    <a:lnTo>
                      <a:pt x="145915" y="71972"/>
                    </a:lnTo>
                    <a:lnTo>
                      <a:pt x="144702" y="73185"/>
                    </a:lnTo>
                    <a:lnTo>
                      <a:pt x="144854" y="73942"/>
                    </a:lnTo>
                    <a:lnTo>
                      <a:pt x="144248" y="74094"/>
                    </a:lnTo>
                    <a:lnTo>
                      <a:pt x="143036" y="73639"/>
                    </a:lnTo>
                    <a:lnTo>
                      <a:pt x="142429" y="72578"/>
                    </a:lnTo>
                    <a:lnTo>
                      <a:pt x="142429" y="70912"/>
                    </a:lnTo>
                    <a:lnTo>
                      <a:pt x="141217" y="69851"/>
                    </a:lnTo>
                    <a:lnTo>
                      <a:pt x="138641" y="69245"/>
                    </a:lnTo>
                    <a:lnTo>
                      <a:pt x="135762" y="67578"/>
                    </a:lnTo>
                    <a:lnTo>
                      <a:pt x="132429" y="64699"/>
                    </a:lnTo>
                    <a:lnTo>
                      <a:pt x="130156" y="63184"/>
                    </a:lnTo>
                    <a:lnTo>
                      <a:pt x="128944" y="63033"/>
                    </a:lnTo>
                    <a:lnTo>
                      <a:pt x="127126" y="64245"/>
                    </a:lnTo>
                    <a:lnTo>
                      <a:pt x="124701" y="66669"/>
                    </a:lnTo>
                    <a:lnTo>
                      <a:pt x="122732" y="67578"/>
                    </a:lnTo>
                    <a:lnTo>
                      <a:pt x="121217" y="67124"/>
                    </a:lnTo>
                    <a:lnTo>
                      <a:pt x="120004" y="68033"/>
                    </a:lnTo>
                    <a:lnTo>
                      <a:pt x="119095" y="70306"/>
                    </a:lnTo>
                    <a:lnTo>
                      <a:pt x="117580" y="72124"/>
                    </a:lnTo>
                    <a:lnTo>
                      <a:pt x="114246" y="74094"/>
                    </a:lnTo>
                    <a:lnTo>
                      <a:pt x="113943" y="74397"/>
                    </a:lnTo>
                    <a:lnTo>
                      <a:pt x="110004" y="76973"/>
                    </a:lnTo>
                    <a:lnTo>
                      <a:pt x="106822" y="79548"/>
                    </a:lnTo>
                    <a:lnTo>
                      <a:pt x="103186" y="83033"/>
                    </a:lnTo>
                    <a:lnTo>
                      <a:pt x="101519" y="83639"/>
                    </a:lnTo>
                    <a:lnTo>
                      <a:pt x="99852" y="82730"/>
                    </a:lnTo>
                    <a:lnTo>
                      <a:pt x="97428" y="81821"/>
                    </a:lnTo>
                    <a:lnTo>
                      <a:pt x="96064" y="80609"/>
                    </a:lnTo>
                    <a:lnTo>
                      <a:pt x="98489" y="74700"/>
                    </a:lnTo>
                    <a:lnTo>
                      <a:pt x="101670" y="68033"/>
                    </a:lnTo>
                    <a:lnTo>
                      <a:pt x="102579" y="65002"/>
                    </a:lnTo>
                    <a:lnTo>
                      <a:pt x="102731" y="62730"/>
                    </a:lnTo>
                    <a:lnTo>
                      <a:pt x="102428" y="60911"/>
                    </a:lnTo>
                    <a:lnTo>
                      <a:pt x="101216" y="58942"/>
                    </a:lnTo>
                    <a:lnTo>
                      <a:pt x="100004" y="57426"/>
                    </a:lnTo>
                    <a:lnTo>
                      <a:pt x="99852" y="56517"/>
                    </a:lnTo>
                    <a:lnTo>
                      <a:pt x="100155" y="55457"/>
                    </a:lnTo>
                    <a:lnTo>
                      <a:pt x="101367" y="53941"/>
                    </a:lnTo>
                    <a:lnTo>
                      <a:pt x="103034" y="51517"/>
                    </a:lnTo>
                    <a:lnTo>
                      <a:pt x="104549" y="46668"/>
                    </a:lnTo>
                    <a:lnTo>
                      <a:pt x="106367" y="41517"/>
                    </a:lnTo>
                    <a:lnTo>
                      <a:pt x="106216" y="38335"/>
                    </a:lnTo>
                    <a:lnTo>
                      <a:pt x="104701" y="34850"/>
                    </a:lnTo>
                    <a:lnTo>
                      <a:pt x="103943" y="31516"/>
                    </a:lnTo>
                    <a:lnTo>
                      <a:pt x="104549" y="26971"/>
                    </a:lnTo>
                    <a:lnTo>
                      <a:pt x="104246" y="25152"/>
                    </a:lnTo>
                    <a:lnTo>
                      <a:pt x="102731" y="24243"/>
                    </a:lnTo>
                    <a:lnTo>
                      <a:pt x="97579" y="23334"/>
                    </a:lnTo>
                    <a:lnTo>
                      <a:pt x="95912" y="23486"/>
                    </a:lnTo>
                    <a:lnTo>
                      <a:pt x="94549" y="24092"/>
                    </a:lnTo>
                    <a:lnTo>
                      <a:pt x="93185" y="25304"/>
                    </a:lnTo>
                    <a:lnTo>
                      <a:pt x="91518" y="26062"/>
                    </a:lnTo>
                    <a:lnTo>
                      <a:pt x="88336" y="26516"/>
                    </a:lnTo>
                    <a:lnTo>
                      <a:pt x="85306" y="25001"/>
                    </a:lnTo>
                    <a:lnTo>
                      <a:pt x="82730" y="22425"/>
                    </a:lnTo>
                    <a:lnTo>
                      <a:pt x="82124" y="19243"/>
                    </a:lnTo>
                    <a:lnTo>
                      <a:pt x="83942" y="15455"/>
                    </a:lnTo>
                    <a:lnTo>
                      <a:pt x="85306" y="12425"/>
                    </a:lnTo>
                    <a:lnTo>
                      <a:pt x="86064" y="9849"/>
                    </a:lnTo>
                    <a:lnTo>
                      <a:pt x="85912" y="8637"/>
                    </a:lnTo>
                    <a:lnTo>
                      <a:pt x="85306" y="7273"/>
                    </a:lnTo>
                    <a:lnTo>
                      <a:pt x="84548" y="7121"/>
                    </a:lnTo>
                    <a:lnTo>
                      <a:pt x="82882" y="5455"/>
                    </a:lnTo>
                    <a:lnTo>
                      <a:pt x="81215" y="2576"/>
                    </a:lnTo>
                    <a:lnTo>
                      <a:pt x="79700" y="1212"/>
                    </a:lnTo>
                    <a:lnTo>
                      <a:pt x="78336" y="1515"/>
                    </a:lnTo>
                    <a:lnTo>
                      <a:pt x="76972" y="2576"/>
                    </a:lnTo>
                    <a:lnTo>
                      <a:pt x="75760" y="4394"/>
                    </a:lnTo>
                    <a:lnTo>
                      <a:pt x="74851" y="5152"/>
                    </a:lnTo>
                    <a:lnTo>
                      <a:pt x="74245" y="4849"/>
                    </a:lnTo>
                    <a:lnTo>
                      <a:pt x="74397" y="3182"/>
                    </a:lnTo>
                    <a:lnTo>
                      <a:pt x="71214" y="1364"/>
                    </a:lnTo>
                    <a:lnTo>
                      <a:pt x="69851" y="303"/>
                    </a:lnTo>
                    <a:lnTo>
                      <a:pt x="68033" y="0"/>
                    </a:lnTo>
                    <a:lnTo>
                      <a:pt x="66215" y="1061"/>
                    </a:lnTo>
                    <a:lnTo>
                      <a:pt x="64851" y="2273"/>
                    </a:lnTo>
                    <a:lnTo>
                      <a:pt x="63336" y="2727"/>
                    </a:lnTo>
                    <a:lnTo>
                      <a:pt x="61063" y="2879"/>
                    </a:lnTo>
                    <a:lnTo>
                      <a:pt x="58184" y="2273"/>
                    </a:lnTo>
                    <a:lnTo>
                      <a:pt x="56214" y="1667"/>
                    </a:lnTo>
                    <a:lnTo>
                      <a:pt x="55911" y="1970"/>
                    </a:lnTo>
                    <a:lnTo>
                      <a:pt x="56971" y="4546"/>
                    </a:lnTo>
                    <a:lnTo>
                      <a:pt x="57426" y="6667"/>
                    </a:lnTo>
                    <a:lnTo>
                      <a:pt x="56971" y="7727"/>
                    </a:lnTo>
                    <a:lnTo>
                      <a:pt x="56062" y="8637"/>
                    </a:lnTo>
                    <a:lnTo>
                      <a:pt x="54699" y="9394"/>
                    </a:lnTo>
                    <a:lnTo>
                      <a:pt x="53032" y="9849"/>
                    </a:lnTo>
                    <a:lnTo>
                      <a:pt x="51517" y="9849"/>
                    </a:lnTo>
                    <a:lnTo>
                      <a:pt x="49093" y="8940"/>
                    </a:lnTo>
                    <a:lnTo>
                      <a:pt x="47274" y="8940"/>
                    </a:lnTo>
                    <a:lnTo>
                      <a:pt x="45759" y="9394"/>
                    </a:lnTo>
                    <a:lnTo>
                      <a:pt x="44850" y="10152"/>
                    </a:lnTo>
                    <a:lnTo>
                      <a:pt x="44395" y="11061"/>
                    </a:lnTo>
                    <a:lnTo>
                      <a:pt x="43486" y="16213"/>
                    </a:lnTo>
                    <a:lnTo>
                      <a:pt x="42729" y="17879"/>
                    </a:lnTo>
                    <a:lnTo>
                      <a:pt x="41668" y="18788"/>
                    </a:lnTo>
                    <a:lnTo>
                      <a:pt x="40607" y="18940"/>
                    </a:lnTo>
                    <a:lnTo>
                      <a:pt x="39092" y="18637"/>
                    </a:lnTo>
                    <a:lnTo>
                      <a:pt x="37426" y="18788"/>
                    </a:lnTo>
                    <a:lnTo>
                      <a:pt x="30152" y="20758"/>
                    </a:lnTo>
                    <a:lnTo>
                      <a:pt x="29092" y="20910"/>
                    </a:lnTo>
                    <a:lnTo>
                      <a:pt x="26819" y="21061"/>
                    </a:lnTo>
                    <a:lnTo>
                      <a:pt x="24698" y="21061"/>
                    </a:lnTo>
                    <a:lnTo>
                      <a:pt x="23183" y="20910"/>
                    </a:lnTo>
                    <a:lnTo>
                      <a:pt x="19698" y="18940"/>
                    </a:lnTo>
                    <a:lnTo>
                      <a:pt x="18031" y="18788"/>
                    </a:lnTo>
                    <a:lnTo>
                      <a:pt x="17122" y="19395"/>
                    </a:lnTo>
                    <a:lnTo>
                      <a:pt x="16516" y="22122"/>
                    </a:lnTo>
                    <a:lnTo>
                      <a:pt x="14394" y="23789"/>
                    </a:lnTo>
                    <a:lnTo>
                      <a:pt x="11667" y="27577"/>
                    </a:lnTo>
                    <a:lnTo>
                      <a:pt x="11061" y="33031"/>
                    </a:lnTo>
                    <a:lnTo>
                      <a:pt x="11364" y="36819"/>
                    </a:lnTo>
                    <a:lnTo>
                      <a:pt x="8940" y="40607"/>
                    </a:lnTo>
                    <a:lnTo>
                      <a:pt x="8788" y="42426"/>
                    </a:lnTo>
                    <a:lnTo>
                      <a:pt x="10152" y="51214"/>
                    </a:lnTo>
                    <a:lnTo>
                      <a:pt x="10000" y="52123"/>
                    </a:lnTo>
                    <a:lnTo>
                      <a:pt x="9546" y="52578"/>
                    </a:lnTo>
                    <a:lnTo>
                      <a:pt x="8031" y="52881"/>
                    </a:lnTo>
                    <a:lnTo>
                      <a:pt x="5455" y="53790"/>
                    </a:lnTo>
                    <a:lnTo>
                      <a:pt x="3788" y="54699"/>
                    </a:lnTo>
                    <a:lnTo>
                      <a:pt x="3030" y="54850"/>
                    </a:lnTo>
                    <a:lnTo>
                      <a:pt x="606" y="54244"/>
                    </a:lnTo>
                    <a:lnTo>
                      <a:pt x="0" y="54244"/>
                    </a:lnTo>
                    <a:lnTo>
                      <a:pt x="151" y="54850"/>
                    </a:lnTo>
                    <a:lnTo>
                      <a:pt x="2121" y="58638"/>
                    </a:lnTo>
                    <a:lnTo>
                      <a:pt x="4091" y="60457"/>
                    </a:lnTo>
                    <a:lnTo>
                      <a:pt x="6212" y="60305"/>
                    </a:lnTo>
                    <a:lnTo>
                      <a:pt x="7121" y="60608"/>
                    </a:lnTo>
                    <a:lnTo>
                      <a:pt x="6818" y="61517"/>
                    </a:lnTo>
                    <a:lnTo>
                      <a:pt x="7576" y="63942"/>
                    </a:lnTo>
                    <a:lnTo>
                      <a:pt x="9394" y="67730"/>
                    </a:lnTo>
                    <a:lnTo>
                      <a:pt x="10000" y="70609"/>
                    </a:lnTo>
                    <a:lnTo>
                      <a:pt x="8940" y="73487"/>
                    </a:lnTo>
                    <a:lnTo>
                      <a:pt x="9091" y="74548"/>
                    </a:lnTo>
                    <a:lnTo>
                      <a:pt x="9697" y="75154"/>
                    </a:lnTo>
                    <a:lnTo>
                      <a:pt x="11515" y="77882"/>
                    </a:lnTo>
                    <a:lnTo>
                      <a:pt x="15303" y="81973"/>
                    </a:lnTo>
                    <a:lnTo>
                      <a:pt x="18940" y="86518"/>
                    </a:lnTo>
                    <a:lnTo>
                      <a:pt x="21970" y="90306"/>
                    </a:lnTo>
                    <a:lnTo>
                      <a:pt x="24243" y="92882"/>
                    </a:lnTo>
                    <a:lnTo>
                      <a:pt x="29243" y="97731"/>
                    </a:lnTo>
                    <a:lnTo>
                      <a:pt x="30152" y="100004"/>
                    </a:lnTo>
                    <a:lnTo>
                      <a:pt x="30304" y="104549"/>
                    </a:lnTo>
                    <a:lnTo>
                      <a:pt x="31516" y="107125"/>
                    </a:lnTo>
                    <a:lnTo>
                      <a:pt x="32729" y="108943"/>
                    </a:lnTo>
                    <a:lnTo>
                      <a:pt x="33486" y="110458"/>
                    </a:lnTo>
                    <a:lnTo>
                      <a:pt x="35304" y="115610"/>
                    </a:lnTo>
                    <a:lnTo>
                      <a:pt x="36062" y="116368"/>
                    </a:lnTo>
                    <a:lnTo>
                      <a:pt x="40001" y="113186"/>
                    </a:lnTo>
                    <a:lnTo>
                      <a:pt x="40910" y="113792"/>
                    </a:lnTo>
                    <a:lnTo>
                      <a:pt x="41365" y="115004"/>
                    </a:lnTo>
                    <a:lnTo>
                      <a:pt x="41365" y="116519"/>
                    </a:lnTo>
                    <a:lnTo>
                      <a:pt x="40759" y="118186"/>
                    </a:lnTo>
                    <a:lnTo>
                      <a:pt x="39395" y="119701"/>
                    </a:lnTo>
                    <a:lnTo>
                      <a:pt x="33183" y="123338"/>
                    </a:lnTo>
                    <a:lnTo>
                      <a:pt x="32729" y="126520"/>
                    </a:lnTo>
                    <a:lnTo>
                      <a:pt x="32274" y="131217"/>
                    </a:lnTo>
                    <a:lnTo>
                      <a:pt x="32122" y="136975"/>
                    </a:lnTo>
                    <a:lnTo>
                      <a:pt x="32425" y="141369"/>
                    </a:lnTo>
                    <a:lnTo>
                      <a:pt x="32122" y="142429"/>
                    </a:lnTo>
                    <a:lnTo>
                      <a:pt x="31516" y="142884"/>
                    </a:lnTo>
                    <a:lnTo>
                      <a:pt x="29243" y="142732"/>
                    </a:lnTo>
                    <a:lnTo>
                      <a:pt x="25910" y="144854"/>
                    </a:lnTo>
                    <a:lnTo>
                      <a:pt x="24698" y="145005"/>
                    </a:lnTo>
                    <a:lnTo>
                      <a:pt x="23183" y="145914"/>
                    </a:lnTo>
                    <a:lnTo>
                      <a:pt x="22122" y="146975"/>
                    </a:lnTo>
                    <a:lnTo>
                      <a:pt x="21819" y="148490"/>
                    </a:lnTo>
                    <a:lnTo>
                      <a:pt x="22425" y="153187"/>
                    </a:lnTo>
                    <a:lnTo>
                      <a:pt x="23637" y="157733"/>
                    </a:lnTo>
                    <a:lnTo>
                      <a:pt x="26062" y="161066"/>
                    </a:lnTo>
                    <a:lnTo>
                      <a:pt x="27880" y="163642"/>
                    </a:lnTo>
                    <a:lnTo>
                      <a:pt x="30455" y="167279"/>
                    </a:lnTo>
                    <a:lnTo>
                      <a:pt x="32577" y="170461"/>
                    </a:lnTo>
                    <a:lnTo>
                      <a:pt x="36668" y="173946"/>
                    </a:lnTo>
                    <a:lnTo>
                      <a:pt x="42426" y="179097"/>
                    </a:lnTo>
                    <a:lnTo>
                      <a:pt x="44698" y="181976"/>
                    </a:lnTo>
                    <a:lnTo>
                      <a:pt x="46668" y="185461"/>
                    </a:lnTo>
                    <a:lnTo>
                      <a:pt x="48032" y="188340"/>
                    </a:lnTo>
                    <a:lnTo>
                      <a:pt x="48486" y="192280"/>
                    </a:lnTo>
                    <a:lnTo>
                      <a:pt x="48941" y="194401"/>
                    </a:lnTo>
                    <a:lnTo>
                      <a:pt x="49093" y="201674"/>
                    </a:lnTo>
                    <a:lnTo>
                      <a:pt x="48032" y="203341"/>
                    </a:lnTo>
                    <a:lnTo>
                      <a:pt x="47274" y="205311"/>
                    </a:lnTo>
                    <a:lnTo>
                      <a:pt x="47729" y="207280"/>
                    </a:lnTo>
                    <a:lnTo>
                      <a:pt x="49093" y="209250"/>
                    </a:lnTo>
                    <a:lnTo>
                      <a:pt x="49093" y="211371"/>
                    </a:lnTo>
                    <a:lnTo>
                      <a:pt x="50305" y="215311"/>
                    </a:lnTo>
                    <a:lnTo>
                      <a:pt x="52426" y="217735"/>
                    </a:lnTo>
                    <a:lnTo>
                      <a:pt x="54396" y="219402"/>
                    </a:lnTo>
                    <a:lnTo>
                      <a:pt x="55305" y="220614"/>
                    </a:lnTo>
                    <a:lnTo>
                      <a:pt x="55002" y="222735"/>
                    </a:lnTo>
                    <a:lnTo>
                      <a:pt x="55608" y="224857"/>
                    </a:lnTo>
                    <a:lnTo>
                      <a:pt x="56062" y="227281"/>
                    </a:lnTo>
                    <a:lnTo>
                      <a:pt x="56820" y="230614"/>
                    </a:lnTo>
                    <a:lnTo>
                      <a:pt x="58487" y="233342"/>
                    </a:lnTo>
                    <a:lnTo>
                      <a:pt x="61063" y="241827"/>
                    </a:lnTo>
                    <a:lnTo>
                      <a:pt x="61063" y="242736"/>
                    </a:lnTo>
                    <a:lnTo>
                      <a:pt x="60002" y="244403"/>
                    </a:lnTo>
                    <a:lnTo>
                      <a:pt x="58487" y="245918"/>
                    </a:lnTo>
                    <a:lnTo>
                      <a:pt x="57426" y="246373"/>
                    </a:lnTo>
                    <a:lnTo>
                      <a:pt x="56517" y="248039"/>
                    </a:lnTo>
                    <a:lnTo>
                      <a:pt x="54244" y="252585"/>
                    </a:lnTo>
                    <a:lnTo>
                      <a:pt x="49699" y="260464"/>
                    </a:lnTo>
                    <a:lnTo>
                      <a:pt x="45153" y="265616"/>
                    </a:lnTo>
                    <a:lnTo>
                      <a:pt x="41365" y="269252"/>
                    </a:lnTo>
                    <a:lnTo>
                      <a:pt x="38638" y="271374"/>
                    </a:lnTo>
                    <a:lnTo>
                      <a:pt x="37880" y="272737"/>
                    </a:lnTo>
                    <a:lnTo>
                      <a:pt x="37880" y="273798"/>
                    </a:lnTo>
                    <a:lnTo>
                      <a:pt x="38335" y="275616"/>
                    </a:lnTo>
                    <a:lnTo>
                      <a:pt x="38183" y="279101"/>
                    </a:lnTo>
                    <a:lnTo>
                      <a:pt x="37577" y="281374"/>
                    </a:lnTo>
                    <a:lnTo>
                      <a:pt x="36819" y="283647"/>
                    </a:lnTo>
                    <a:lnTo>
                      <a:pt x="36365" y="285768"/>
                    </a:lnTo>
                    <a:lnTo>
                      <a:pt x="32577" y="295465"/>
                    </a:lnTo>
                    <a:lnTo>
                      <a:pt x="30759" y="303041"/>
                    </a:lnTo>
                    <a:lnTo>
                      <a:pt x="29395" y="304860"/>
                    </a:lnTo>
                    <a:lnTo>
                      <a:pt x="27425" y="310466"/>
                    </a:lnTo>
                    <a:lnTo>
                      <a:pt x="26213" y="319254"/>
                    </a:lnTo>
                    <a:lnTo>
                      <a:pt x="23940" y="324709"/>
                    </a:lnTo>
                    <a:lnTo>
                      <a:pt x="23486" y="330921"/>
                    </a:lnTo>
                    <a:lnTo>
                      <a:pt x="23789" y="334255"/>
                    </a:lnTo>
                    <a:lnTo>
                      <a:pt x="25607" y="339709"/>
                    </a:lnTo>
                    <a:lnTo>
                      <a:pt x="27122" y="340770"/>
                    </a:lnTo>
                    <a:lnTo>
                      <a:pt x="28789" y="341073"/>
                    </a:lnTo>
                    <a:lnTo>
                      <a:pt x="30304" y="339255"/>
                    </a:lnTo>
                    <a:lnTo>
                      <a:pt x="31062" y="337285"/>
                    </a:lnTo>
                    <a:lnTo>
                      <a:pt x="33183" y="336527"/>
                    </a:lnTo>
                    <a:lnTo>
                      <a:pt x="34698" y="337588"/>
                    </a:lnTo>
                    <a:lnTo>
                      <a:pt x="36517" y="338952"/>
                    </a:lnTo>
                    <a:lnTo>
                      <a:pt x="38789" y="344406"/>
                    </a:lnTo>
                    <a:lnTo>
                      <a:pt x="41062" y="345316"/>
                    </a:lnTo>
                    <a:lnTo>
                      <a:pt x="43789" y="346982"/>
                    </a:lnTo>
                    <a:lnTo>
                      <a:pt x="45911" y="349104"/>
                    </a:lnTo>
                    <a:lnTo>
                      <a:pt x="45607" y="352437"/>
                    </a:lnTo>
                    <a:lnTo>
                      <a:pt x="46517" y="353801"/>
                    </a:lnTo>
                    <a:lnTo>
                      <a:pt x="49395" y="353801"/>
                    </a:lnTo>
                    <a:lnTo>
                      <a:pt x="51517" y="356528"/>
                    </a:lnTo>
                    <a:lnTo>
                      <a:pt x="52578" y="358043"/>
                    </a:lnTo>
                    <a:lnTo>
                      <a:pt x="54244" y="363195"/>
                    </a:lnTo>
                    <a:lnTo>
                      <a:pt x="56366" y="364256"/>
                    </a:lnTo>
                    <a:lnTo>
                      <a:pt x="58941" y="364407"/>
                    </a:lnTo>
                    <a:lnTo>
                      <a:pt x="60760" y="363650"/>
                    </a:lnTo>
                    <a:lnTo>
                      <a:pt x="59548" y="367438"/>
                    </a:lnTo>
                    <a:lnTo>
                      <a:pt x="60911" y="369104"/>
                    </a:lnTo>
                    <a:lnTo>
                      <a:pt x="62729" y="369256"/>
                    </a:lnTo>
                    <a:lnTo>
                      <a:pt x="64093" y="370468"/>
                    </a:lnTo>
                    <a:lnTo>
                      <a:pt x="63487" y="376680"/>
                    </a:lnTo>
                    <a:lnTo>
                      <a:pt x="68184" y="380165"/>
                    </a:lnTo>
                    <a:lnTo>
                      <a:pt x="75003" y="388499"/>
                    </a:lnTo>
                    <a:lnTo>
                      <a:pt x="75457" y="387287"/>
                    </a:lnTo>
                    <a:lnTo>
                      <a:pt x="76063" y="383044"/>
                    </a:lnTo>
                    <a:lnTo>
                      <a:pt x="76518" y="382287"/>
                    </a:lnTo>
                    <a:lnTo>
                      <a:pt x="77579" y="381832"/>
                    </a:lnTo>
                    <a:lnTo>
                      <a:pt x="78791" y="381984"/>
                    </a:lnTo>
                    <a:lnTo>
                      <a:pt x="81064" y="385620"/>
                    </a:lnTo>
                    <a:lnTo>
                      <a:pt x="86973" y="387893"/>
                    </a:lnTo>
                    <a:lnTo>
                      <a:pt x="88791" y="388499"/>
                    </a:lnTo>
                    <a:lnTo>
                      <a:pt x="91215" y="387590"/>
                    </a:lnTo>
                    <a:lnTo>
                      <a:pt x="92276" y="388196"/>
                    </a:lnTo>
                    <a:lnTo>
                      <a:pt x="93337" y="389105"/>
                    </a:lnTo>
                    <a:lnTo>
                      <a:pt x="93943" y="391681"/>
                    </a:lnTo>
                    <a:lnTo>
                      <a:pt x="95458" y="394105"/>
                    </a:lnTo>
                    <a:lnTo>
                      <a:pt x="98640" y="393802"/>
                    </a:lnTo>
                    <a:lnTo>
                      <a:pt x="99700" y="394105"/>
                    </a:lnTo>
                    <a:lnTo>
                      <a:pt x="100307" y="394105"/>
                    </a:lnTo>
                    <a:lnTo>
                      <a:pt x="100913" y="396226"/>
                    </a:lnTo>
                    <a:lnTo>
                      <a:pt x="101216" y="399863"/>
                    </a:lnTo>
                    <a:lnTo>
                      <a:pt x="100913" y="401984"/>
                    </a:lnTo>
                    <a:lnTo>
                      <a:pt x="98640" y="405015"/>
                    </a:lnTo>
                    <a:lnTo>
                      <a:pt x="98337" y="407136"/>
                    </a:lnTo>
                    <a:lnTo>
                      <a:pt x="99549" y="408348"/>
                    </a:lnTo>
                    <a:lnTo>
                      <a:pt x="101064" y="409712"/>
                    </a:lnTo>
                    <a:lnTo>
                      <a:pt x="101973" y="410773"/>
                    </a:lnTo>
                    <a:lnTo>
                      <a:pt x="102882" y="410621"/>
                    </a:lnTo>
                    <a:lnTo>
                      <a:pt x="104095" y="409863"/>
                    </a:lnTo>
                    <a:lnTo>
                      <a:pt x="105155" y="408045"/>
                    </a:lnTo>
                    <a:lnTo>
                      <a:pt x="105913" y="406530"/>
                    </a:lnTo>
                    <a:lnTo>
                      <a:pt x="110004" y="404863"/>
                    </a:lnTo>
                    <a:lnTo>
                      <a:pt x="114095" y="403348"/>
                    </a:lnTo>
                    <a:lnTo>
                      <a:pt x="114701" y="403499"/>
                    </a:lnTo>
                    <a:lnTo>
                      <a:pt x="115307" y="404106"/>
                    </a:lnTo>
                    <a:lnTo>
                      <a:pt x="116671" y="406378"/>
                    </a:lnTo>
                    <a:lnTo>
                      <a:pt x="117429" y="406833"/>
                    </a:lnTo>
                    <a:lnTo>
                      <a:pt x="118489" y="406985"/>
                    </a:lnTo>
                    <a:lnTo>
                      <a:pt x="120459" y="406681"/>
                    </a:lnTo>
                    <a:lnTo>
                      <a:pt x="122732" y="405469"/>
                    </a:lnTo>
                    <a:lnTo>
                      <a:pt x="123944" y="403197"/>
                    </a:lnTo>
                    <a:lnTo>
                      <a:pt x="124398" y="401378"/>
                    </a:lnTo>
                    <a:lnTo>
                      <a:pt x="127732" y="398196"/>
                    </a:lnTo>
                    <a:lnTo>
                      <a:pt x="128035" y="395772"/>
                    </a:lnTo>
                    <a:lnTo>
                      <a:pt x="128944" y="394257"/>
                    </a:lnTo>
                    <a:lnTo>
                      <a:pt x="120610" y="387893"/>
                    </a:lnTo>
                    <a:lnTo>
                      <a:pt x="115610" y="380317"/>
                    </a:lnTo>
                    <a:lnTo>
                      <a:pt x="112428" y="377286"/>
                    </a:lnTo>
                    <a:lnTo>
                      <a:pt x="109701" y="376377"/>
                    </a:lnTo>
                    <a:lnTo>
                      <a:pt x="106974" y="376074"/>
                    </a:lnTo>
                    <a:lnTo>
                      <a:pt x="102882" y="376983"/>
                    </a:lnTo>
                    <a:lnTo>
                      <a:pt x="99094" y="377438"/>
                    </a:lnTo>
                    <a:lnTo>
                      <a:pt x="92882" y="373801"/>
                    </a:lnTo>
                    <a:lnTo>
                      <a:pt x="90458" y="371377"/>
                    </a:lnTo>
                    <a:lnTo>
                      <a:pt x="87276" y="368801"/>
                    </a:lnTo>
                    <a:lnTo>
                      <a:pt x="84700" y="369256"/>
                    </a:lnTo>
                    <a:lnTo>
                      <a:pt x="82882" y="368498"/>
                    </a:lnTo>
                    <a:lnTo>
                      <a:pt x="81518" y="365922"/>
                    </a:lnTo>
                    <a:lnTo>
                      <a:pt x="76972" y="359862"/>
                    </a:lnTo>
                    <a:lnTo>
                      <a:pt x="75760" y="357134"/>
                    </a:lnTo>
                    <a:lnTo>
                      <a:pt x="75760" y="353649"/>
                    </a:lnTo>
                    <a:lnTo>
                      <a:pt x="78488" y="352437"/>
                    </a:lnTo>
                    <a:lnTo>
                      <a:pt x="80154" y="354104"/>
                    </a:lnTo>
                    <a:lnTo>
                      <a:pt x="80306" y="356074"/>
                    </a:lnTo>
                    <a:lnTo>
                      <a:pt x="79094" y="357740"/>
                    </a:lnTo>
                    <a:lnTo>
                      <a:pt x="79245" y="358649"/>
                    </a:lnTo>
                    <a:lnTo>
                      <a:pt x="80912" y="358649"/>
                    </a:lnTo>
                    <a:lnTo>
                      <a:pt x="81973" y="358953"/>
                    </a:lnTo>
                    <a:lnTo>
                      <a:pt x="82730" y="361074"/>
                    </a:lnTo>
                    <a:lnTo>
                      <a:pt x="83488" y="366074"/>
                    </a:lnTo>
                    <a:lnTo>
                      <a:pt x="86367" y="367589"/>
                    </a:lnTo>
                    <a:lnTo>
                      <a:pt x="85155" y="364559"/>
                    </a:lnTo>
                    <a:lnTo>
                      <a:pt x="83791" y="361680"/>
                    </a:lnTo>
                    <a:lnTo>
                      <a:pt x="79094" y="339103"/>
                    </a:lnTo>
                    <a:lnTo>
                      <a:pt x="77730" y="334861"/>
                    </a:lnTo>
                    <a:lnTo>
                      <a:pt x="75912" y="332588"/>
                    </a:lnTo>
                    <a:lnTo>
                      <a:pt x="75760" y="333497"/>
                    </a:lnTo>
                    <a:lnTo>
                      <a:pt x="75609" y="334406"/>
                    </a:lnTo>
                    <a:lnTo>
                      <a:pt x="75003" y="334861"/>
                    </a:lnTo>
                    <a:lnTo>
                      <a:pt x="73033" y="332588"/>
                    </a:lnTo>
                    <a:lnTo>
                      <a:pt x="71214" y="330467"/>
                    </a:lnTo>
                    <a:lnTo>
                      <a:pt x="70457" y="328194"/>
                    </a:lnTo>
                    <a:lnTo>
                      <a:pt x="68942" y="316072"/>
                    </a:lnTo>
                    <a:lnTo>
                      <a:pt x="68184" y="313799"/>
                    </a:lnTo>
                    <a:lnTo>
                      <a:pt x="66972" y="311223"/>
                    </a:lnTo>
                    <a:lnTo>
                      <a:pt x="63942" y="310466"/>
                    </a:lnTo>
                    <a:lnTo>
                      <a:pt x="54850" y="313193"/>
                    </a:lnTo>
                    <a:lnTo>
                      <a:pt x="53183" y="312890"/>
                    </a:lnTo>
                    <a:lnTo>
                      <a:pt x="50911" y="311830"/>
                    </a:lnTo>
                    <a:lnTo>
                      <a:pt x="51214" y="309405"/>
                    </a:lnTo>
                    <a:lnTo>
                      <a:pt x="51820" y="307738"/>
                    </a:lnTo>
                    <a:lnTo>
                      <a:pt x="49093" y="301981"/>
                    </a:lnTo>
                    <a:lnTo>
                      <a:pt x="48183" y="299102"/>
                    </a:lnTo>
                    <a:lnTo>
                      <a:pt x="48486" y="293647"/>
                    </a:lnTo>
                    <a:lnTo>
                      <a:pt x="49244" y="286980"/>
                    </a:lnTo>
                    <a:lnTo>
                      <a:pt x="49093" y="284556"/>
                    </a:lnTo>
                    <a:lnTo>
                      <a:pt x="48335" y="283041"/>
                    </a:lnTo>
                    <a:lnTo>
                      <a:pt x="50305" y="281222"/>
                    </a:lnTo>
                    <a:lnTo>
                      <a:pt x="51669" y="276222"/>
                    </a:lnTo>
                    <a:lnTo>
                      <a:pt x="57123" y="267434"/>
                    </a:lnTo>
                    <a:lnTo>
                      <a:pt x="57881" y="261676"/>
                    </a:lnTo>
                    <a:lnTo>
                      <a:pt x="59093" y="258494"/>
                    </a:lnTo>
                    <a:lnTo>
                      <a:pt x="60911" y="251676"/>
                    </a:lnTo>
                    <a:lnTo>
                      <a:pt x="63638" y="246221"/>
                    </a:lnTo>
                    <a:lnTo>
                      <a:pt x="65608" y="243797"/>
                    </a:lnTo>
                    <a:lnTo>
                      <a:pt x="66669" y="238645"/>
                    </a:lnTo>
                    <a:lnTo>
                      <a:pt x="69245" y="235615"/>
                    </a:lnTo>
                    <a:lnTo>
                      <a:pt x="70912" y="232281"/>
                    </a:lnTo>
                    <a:lnTo>
                      <a:pt x="71366" y="227281"/>
                    </a:lnTo>
                    <a:lnTo>
                      <a:pt x="70154" y="218038"/>
                    </a:lnTo>
                    <a:lnTo>
                      <a:pt x="70609" y="215765"/>
                    </a:lnTo>
                    <a:lnTo>
                      <a:pt x="73488" y="208189"/>
                    </a:lnTo>
                    <a:lnTo>
                      <a:pt x="72427" y="204704"/>
                    </a:lnTo>
                    <a:lnTo>
                      <a:pt x="70760" y="202735"/>
                    </a:lnTo>
                    <a:lnTo>
                      <a:pt x="71518" y="199704"/>
                    </a:lnTo>
                    <a:lnTo>
                      <a:pt x="74397" y="197280"/>
                    </a:lnTo>
                    <a:lnTo>
                      <a:pt x="77427" y="196068"/>
                    </a:lnTo>
                    <a:lnTo>
                      <a:pt x="85609" y="195310"/>
                    </a:lnTo>
                    <a:lnTo>
                      <a:pt x="87427" y="193795"/>
                    </a:lnTo>
                    <a:lnTo>
                      <a:pt x="88943" y="195158"/>
                    </a:lnTo>
                    <a:lnTo>
                      <a:pt x="95761" y="196825"/>
                    </a:lnTo>
                    <a:lnTo>
                      <a:pt x="97276" y="197735"/>
                    </a:lnTo>
                    <a:lnTo>
                      <a:pt x="96822" y="199856"/>
                    </a:lnTo>
                    <a:lnTo>
                      <a:pt x="96216" y="201371"/>
                    </a:lnTo>
                    <a:lnTo>
                      <a:pt x="96822" y="204553"/>
                    </a:lnTo>
                    <a:lnTo>
                      <a:pt x="95610" y="208795"/>
                    </a:lnTo>
                    <a:lnTo>
                      <a:pt x="95458" y="214856"/>
                    </a:lnTo>
                    <a:lnTo>
                      <a:pt x="94549" y="217735"/>
                    </a:lnTo>
                    <a:lnTo>
                      <a:pt x="95458" y="219402"/>
                    </a:lnTo>
                    <a:lnTo>
                      <a:pt x="96973" y="220311"/>
                    </a:lnTo>
                    <a:lnTo>
                      <a:pt x="100761" y="218796"/>
                    </a:lnTo>
                    <a:lnTo>
                      <a:pt x="110458" y="220311"/>
                    </a:lnTo>
                    <a:lnTo>
                      <a:pt x="118034" y="218341"/>
                    </a:lnTo>
                    <a:lnTo>
                      <a:pt x="121065" y="219705"/>
                    </a:lnTo>
                    <a:lnTo>
                      <a:pt x="122580" y="221069"/>
                    </a:lnTo>
                    <a:lnTo>
                      <a:pt x="124096" y="221826"/>
                    </a:lnTo>
                    <a:lnTo>
                      <a:pt x="126520" y="222735"/>
                    </a:lnTo>
                    <a:lnTo>
                      <a:pt x="129247" y="225160"/>
                    </a:lnTo>
                    <a:lnTo>
                      <a:pt x="131823" y="228190"/>
                    </a:lnTo>
                    <a:lnTo>
                      <a:pt x="132277" y="227432"/>
                    </a:lnTo>
                    <a:lnTo>
                      <a:pt x="132581" y="226523"/>
                    </a:lnTo>
                    <a:lnTo>
                      <a:pt x="134853" y="230463"/>
                    </a:lnTo>
                    <a:lnTo>
                      <a:pt x="137278" y="232433"/>
                    </a:lnTo>
                    <a:lnTo>
                      <a:pt x="140157" y="234403"/>
                    </a:lnTo>
                    <a:lnTo>
                      <a:pt x="141066" y="233039"/>
                    </a:lnTo>
                    <a:lnTo>
                      <a:pt x="141520" y="231827"/>
                    </a:lnTo>
                    <a:lnTo>
                      <a:pt x="143187" y="233342"/>
                    </a:lnTo>
                    <a:lnTo>
                      <a:pt x="146217" y="237130"/>
                    </a:lnTo>
                    <a:lnTo>
                      <a:pt x="146975" y="240615"/>
                    </a:lnTo>
                    <a:lnTo>
                      <a:pt x="149551" y="243797"/>
                    </a:lnTo>
                    <a:lnTo>
                      <a:pt x="150308" y="245767"/>
                    </a:lnTo>
                    <a:lnTo>
                      <a:pt x="150915" y="245615"/>
                    </a:lnTo>
                    <a:lnTo>
                      <a:pt x="150460" y="244857"/>
                    </a:lnTo>
                    <a:lnTo>
                      <a:pt x="145460" y="235008"/>
                    </a:lnTo>
                    <a:lnTo>
                      <a:pt x="144702" y="230463"/>
                    </a:lnTo>
                    <a:lnTo>
                      <a:pt x="145611" y="226978"/>
                    </a:lnTo>
                    <a:lnTo>
                      <a:pt x="146066" y="225766"/>
                    </a:lnTo>
                    <a:lnTo>
                      <a:pt x="144702" y="223948"/>
                    </a:lnTo>
                    <a:lnTo>
                      <a:pt x="142732" y="221826"/>
                    </a:lnTo>
                    <a:lnTo>
                      <a:pt x="139248" y="219099"/>
                    </a:lnTo>
                    <a:lnTo>
                      <a:pt x="138944" y="214705"/>
                    </a:lnTo>
                    <a:lnTo>
                      <a:pt x="138187" y="209553"/>
                    </a:lnTo>
                    <a:lnTo>
                      <a:pt x="137126" y="207886"/>
                    </a:lnTo>
                    <a:lnTo>
                      <a:pt x="135460" y="204704"/>
                    </a:lnTo>
                    <a:lnTo>
                      <a:pt x="134551" y="202129"/>
                    </a:lnTo>
                    <a:lnTo>
                      <a:pt x="134247" y="195158"/>
                    </a:lnTo>
                    <a:lnTo>
                      <a:pt x="134702" y="194553"/>
                    </a:lnTo>
                    <a:lnTo>
                      <a:pt x="137278" y="194401"/>
                    </a:lnTo>
                    <a:lnTo>
                      <a:pt x="140460" y="193947"/>
                    </a:lnTo>
                    <a:lnTo>
                      <a:pt x="140914" y="192886"/>
                    </a:lnTo>
                    <a:lnTo>
                      <a:pt x="140308" y="191977"/>
                    </a:lnTo>
                    <a:lnTo>
                      <a:pt x="142429" y="190461"/>
                    </a:lnTo>
                    <a:lnTo>
                      <a:pt x="145460" y="186976"/>
                    </a:lnTo>
                    <a:lnTo>
                      <a:pt x="147733" y="183340"/>
                    </a:lnTo>
                    <a:lnTo>
                      <a:pt x="149399" y="181067"/>
                    </a:lnTo>
                    <a:lnTo>
                      <a:pt x="150460" y="178794"/>
                    </a:lnTo>
                    <a:lnTo>
                      <a:pt x="153793" y="175612"/>
                    </a:lnTo>
                    <a:lnTo>
                      <a:pt x="158339" y="173340"/>
                    </a:lnTo>
                    <a:lnTo>
                      <a:pt x="161521" y="172885"/>
                    </a:lnTo>
                    <a:lnTo>
                      <a:pt x="164703" y="172128"/>
                    </a:lnTo>
                    <a:lnTo>
                      <a:pt x="167885" y="171067"/>
                    </a:lnTo>
                    <a:lnTo>
                      <a:pt x="169400" y="170915"/>
                    </a:lnTo>
                    <a:lnTo>
                      <a:pt x="173340" y="172279"/>
                    </a:lnTo>
                    <a:lnTo>
                      <a:pt x="175461" y="172582"/>
                    </a:lnTo>
                    <a:lnTo>
                      <a:pt x="177734" y="172582"/>
                    </a:lnTo>
                    <a:lnTo>
                      <a:pt x="180007" y="172733"/>
                    </a:lnTo>
                    <a:lnTo>
                      <a:pt x="181976" y="172582"/>
                    </a:lnTo>
                    <a:lnTo>
                      <a:pt x="186674" y="171673"/>
                    </a:lnTo>
                    <a:lnTo>
                      <a:pt x="191674" y="172430"/>
                    </a:lnTo>
                    <a:lnTo>
                      <a:pt x="196219" y="171824"/>
                    </a:lnTo>
                    <a:lnTo>
                      <a:pt x="201826" y="170764"/>
                    </a:lnTo>
                    <a:lnTo>
                      <a:pt x="204553" y="171370"/>
                    </a:lnTo>
                    <a:lnTo>
                      <a:pt x="206977" y="172430"/>
                    </a:lnTo>
                    <a:lnTo>
                      <a:pt x="207280" y="174552"/>
                    </a:lnTo>
                    <a:lnTo>
                      <a:pt x="207887" y="175461"/>
                    </a:lnTo>
                    <a:lnTo>
                      <a:pt x="208644" y="176218"/>
                    </a:lnTo>
                    <a:lnTo>
                      <a:pt x="209705" y="176218"/>
                    </a:lnTo>
                    <a:lnTo>
                      <a:pt x="211068" y="174703"/>
                    </a:lnTo>
                    <a:lnTo>
                      <a:pt x="212280" y="173188"/>
                    </a:lnTo>
                    <a:lnTo>
                      <a:pt x="212735" y="172885"/>
                    </a:lnTo>
                    <a:lnTo>
                      <a:pt x="214402" y="172279"/>
                    </a:lnTo>
                    <a:lnTo>
                      <a:pt x="217129" y="170915"/>
                    </a:lnTo>
                    <a:lnTo>
                      <a:pt x="219402" y="169400"/>
                    </a:lnTo>
                    <a:lnTo>
                      <a:pt x="220917" y="167733"/>
                    </a:lnTo>
                    <a:lnTo>
                      <a:pt x="221523" y="166067"/>
                    </a:lnTo>
                    <a:lnTo>
                      <a:pt x="221675" y="164097"/>
                    </a:lnTo>
                    <a:lnTo>
                      <a:pt x="222281" y="159097"/>
                    </a:lnTo>
                    <a:lnTo>
                      <a:pt x="222887" y="156672"/>
                    </a:lnTo>
                    <a:lnTo>
                      <a:pt x="222584" y="153642"/>
                    </a:lnTo>
                    <a:lnTo>
                      <a:pt x="221372" y="151218"/>
                    </a:lnTo>
                    <a:lnTo>
                      <a:pt x="221372" y="147581"/>
                    </a:lnTo>
                    <a:lnTo>
                      <a:pt x="221826" y="145763"/>
                    </a:lnTo>
                    <a:lnTo>
                      <a:pt x="221978" y="144551"/>
                    </a:lnTo>
                    <a:lnTo>
                      <a:pt x="223644" y="143036"/>
                    </a:lnTo>
                    <a:lnTo>
                      <a:pt x="224857" y="140914"/>
                    </a:lnTo>
                    <a:lnTo>
                      <a:pt x="225463" y="138187"/>
                    </a:lnTo>
                    <a:lnTo>
                      <a:pt x="225463" y="136217"/>
                    </a:lnTo>
                    <a:lnTo>
                      <a:pt x="225311" y="13349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36FD85A-76A3-4004-BF29-26DD38CF5FA1}"/>
                  </a:ext>
                </a:extLst>
              </p:cNvPr>
              <p:cNvSpPr/>
              <p:nvPr/>
            </p:nvSpPr>
            <p:spPr>
              <a:xfrm>
                <a:off x="5774775" y="4258649"/>
                <a:ext cx="51062" cy="137732"/>
              </a:xfrm>
              <a:custGeom>
                <a:avLst/>
                <a:gdLst>
                  <a:gd name="connsiteX0" fmla="*/ 51063 w 51062"/>
                  <a:gd name="connsiteY0" fmla="*/ 132126 h 137732"/>
                  <a:gd name="connsiteX1" fmla="*/ 50153 w 51062"/>
                  <a:gd name="connsiteY1" fmla="*/ 128490 h 137732"/>
                  <a:gd name="connsiteX2" fmla="*/ 47275 w 51062"/>
                  <a:gd name="connsiteY2" fmla="*/ 124247 h 137732"/>
                  <a:gd name="connsiteX3" fmla="*/ 46214 w 51062"/>
                  <a:gd name="connsiteY3" fmla="*/ 123489 h 137732"/>
                  <a:gd name="connsiteX4" fmla="*/ 45608 w 51062"/>
                  <a:gd name="connsiteY4" fmla="*/ 121368 h 137732"/>
                  <a:gd name="connsiteX5" fmla="*/ 46214 w 51062"/>
                  <a:gd name="connsiteY5" fmla="*/ 120004 h 137732"/>
                  <a:gd name="connsiteX6" fmla="*/ 45911 w 51062"/>
                  <a:gd name="connsiteY6" fmla="*/ 119095 h 137732"/>
                  <a:gd name="connsiteX7" fmla="*/ 45760 w 51062"/>
                  <a:gd name="connsiteY7" fmla="*/ 116216 h 137732"/>
                  <a:gd name="connsiteX8" fmla="*/ 44244 w 51062"/>
                  <a:gd name="connsiteY8" fmla="*/ 113035 h 137732"/>
                  <a:gd name="connsiteX9" fmla="*/ 46820 w 51062"/>
                  <a:gd name="connsiteY9" fmla="*/ 112883 h 137732"/>
                  <a:gd name="connsiteX10" fmla="*/ 46820 w 51062"/>
                  <a:gd name="connsiteY10" fmla="*/ 102731 h 137732"/>
                  <a:gd name="connsiteX11" fmla="*/ 46820 w 51062"/>
                  <a:gd name="connsiteY11" fmla="*/ 93034 h 137732"/>
                  <a:gd name="connsiteX12" fmla="*/ 46820 w 51062"/>
                  <a:gd name="connsiteY12" fmla="*/ 84700 h 137732"/>
                  <a:gd name="connsiteX13" fmla="*/ 46820 w 51062"/>
                  <a:gd name="connsiteY13" fmla="*/ 78185 h 137732"/>
                  <a:gd name="connsiteX14" fmla="*/ 46365 w 51062"/>
                  <a:gd name="connsiteY14" fmla="*/ 70306 h 137732"/>
                  <a:gd name="connsiteX15" fmla="*/ 46365 w 51062"/>
                  <a:gd name="connsiteY15" fmla="*/ 64396 h 137732"/>
                  <a:gd name="connsiteX16" fmla="*/ 46214 w 51062"/>
                  <a:gd name="connsiteY16" fmla="*/ 56820 h 137732"/>
                  <a:gd name="connsiteX17" fmla="*/ 45305 w 51062"/>
                  <a:gd name="connsiteY17" fmla="*/ 54396 h 137732"/>
                  <a:gd name="connsiteX18" fmla="*/ 41365 w 51062"/>
                  <a:gd name="connsiteY18" fmla="*/ 50305 h 137732"/>
                  <a:gd name="connsiteX19" fmla="*/ 40305 w 51062"/>
                  <a:gd name="connsiteY19" fmla="*/ 48184 h 137732"/>
                  <a:gd name="connsiteX20" fmla="*/ 40153 w 51062"/>
                  <a:gd name="connsiteY20" fmla="*/ 45456 h 137732"/>
                  <a:gd name="connsiteX21" fmla="*/ 39244 w 51062"/>
                  <a:gd name="connsiteY21" fmla="*/ 42577 h 137732"/>
                  <a:gd name="connsiteX22" fmla="*/ 39244 w 51062"/>
                  <a:gd name="connsiteY22" fmla="*/ 37577 h 137732"/>
                  <a:gd name="connsiteX23" fmla="*/ 39093 w 51062"/>
                  <a:gd name="connsiteY23" fmla="*/ 31819 h 137732"/>
                  <a:gd name="connsiteX24" fmla="*/ 38789 w 51062"/>
                  <a:gd name="connsiteY24" fmla="*/ 30759 h 137732"/>
                  <a:gd name="connsiteX25" fmla="*/ 34547 w 51062"/>
                  <a:gd name="connsiteY25" fmla="*/ 28031 h 137732"/>
                  <a:gd name="connsiteX26" fmla="*/ 28638 w 51062"/>
                  <a:gd name="connsiteY26" fmla="*/ 24092 h 137732"/>
                  <a:gd name="connsiteX27" fmla="*/ 24092 w 51062"/>
                  <a:gd name="connsiteY27" fmla="*/ 21061 h 137732"/>
                  <a:gd name="connsiteX28" fmla="*/ 23789 w 51062"/>
                  <a:gd name="connsiteY28" fmla="*/ 20910 h 137732"/>
                  <a:gd name="connsiteX29" fmla="*/ 23334 w 51062"/>
                  <a:gd name="connsiteY29" fmla="*/ 20152 h 137732"/>
                  <a:gd name="connsiteX30" fmla="*/ 23941 w 51062"/>
                  <a:gd name="connsiteY30" fmla="*/ 11213 h 137732"/>
                  <a:gd name="connsiteX31" fmla="*/ 24850 w 51062"/>
                  <a:gd name="connsiteY31" fmla="*/ 10000 h 137732"/>
                  <a:gd name="connsiteX32" fmla="*/ 26365 w 51062"/>
                  <a:gd name="connsiteY32" fmla="*/ 6364 h 137732"/>
                  <a:gd name="connsiteX33" fmla="*/ 27122 w 51062"/>
                  <a:gd name="connsiteY33" fmla="*/ 3485 h 137732"/>
                  <a:gd name="connsiteX34" fmla="*/ 20001 w 51062"/>
                  <a:gd name="connsiteY34" fmla="*/ 3788 h 137732"/>
                  <a:gd name="connsiteX35" fmla="*/ 17425 w 51062"/>
                  <a:gd name="connsiteY35" fmla="*/ 4546 h 137732"/>
                  <a:gd name="connsiteX36" fmla="*/ 15910 w 51062"/>
                  <a:gd name="connsiteY36" fmla="*/ 4546 h 137732"/>
                  <a:gd name="connsiteX37" fmla="*/ 15910 w 51062"/>
                  <a:gd name="connsiteY37" fmla="*/ 3788 h 137732"/>
                  <a:gd name="connsiteX38" fmla="*/ 15607 w 51062"/>
                  <a:gd name="connsiteY38" fmla="*/ 3485 h 137732"/>
                  <a:gd name="connsiteX39" fmla="*/ 6819 w 51062"/>
                  <a:gd name="connsiteY39" fmla="*/ 1364 h 137732"/>
                  <a:gd name="connsiteX40" fmla="*/ 606 w 51062"/>
                  <a:gd name="connsiteY40" fmla="*/ 0 h 137732"/>
                  <a:gd name="connsiteX41" fmla="*/ 2273 w 51062"/>
                  <a:gd name="connsiteY41" fmla="*/ 1667 h 137732"/>
                  <a:gd name="connsiteX42" fmla="*/ 2728 w 51062"/>
                  <a:gd name="connsiteY42" fmla="*/ 2727 h 137732"/>
                  <a:gd name="connsiteX43" fmla="*/ 1970 w 51062"/>
                  <a:gd name="connsiteY43" fmla="*/ 6212 h 137732"/>
                  <a:gd name="connsiteX44" fmla="*/ 758 w 51062"/>
                  <a:gd name="connsiteY44" fmla="*/ 8788 h 137732"/>
                  <a:gd name="connsiteX45" fmla="*/ 0 w 51062"/>
                  <a:gd name="connsiteY45" fmla="*/ 11061 h 137732"/>
                  <a:gd name="connsiteX46" fmla="*/ 0 w 51062"/>
                  <a:gd name="connsiteY46" fmla="*/ 12273 h 137732"/>
                  <a:gd name="connsiteX47" fmla="*/ 909 w 51062"/>
                  <a:gd name="connsiteY47" fmla="*/ 13485 h 137732"/>
                  <a:gd name="connsiteX48" fmla="*/ 3485 w 51062"/>
                  <a:gd name="connsiteY48" fmla="*/ 15304 h 137732"/>
                  <a:gd name="connsiteX49" fmla="*/ 4849 w 51062"/>
                  <a:gd name="connsiteY49" fmla="*/ 16364 h 137732"/>
                  <a:gd name="connsiteX50" fmla="*/ 6516 w 51062"/>
                  <a:gd name="connsiteY50" fmla="*/ 18182 h 137732"/>
                  <a:gd name="connsiteX51" fmla="*/ 8334 w 51062"/>
                  <a:gd name="connsiteY51" fmla="*/ 20001 h 137732"/>
                  <a:gd name="connsiteX52" fmla="*/ 11516 w 51062"/>
                  <a:gd name="connsiteY52" fmla="*/ 22274 h 137732"/>
                  <a:gd name="connsiteX53" fmla="*/ 12879 w 51062"/>
                  <a:gd name="connsiteY53" fmla="*/ 22728 h 137732"/>
                  <a:gd name="connsiteX54" fmla="*/ 12728 w 51062"/>
                  <a:gd name="connsiteY54" fmla="*/ 23334 h 137732"/>
                  <a:gd name="connsiteX55" fmla="*/ 12273 w 51062"/>
                  <a:gd name="connsiteY55" fmla="*/ 24243 h 137732"/>
                  <a:gd name="connsiteX56" fmla="*/ 11970 w 51062"/>
                  <a:gd name="connsiteY56" fmla="*/ 32729 h 137732"/>
                  <a:gd name="connsiteX57" fmla="*/ 11819 w 51062"/>
                  <a:gd name="connsiteY57" fmla="*/ 35001 h 137732"/>
                  <a:gd name="connsiteX58" fmla="*/ 11516 w 51062"/>
                  <a:gd name="connsiteY58" fmla="*/ 36062 h 137732"/>
                  <a:gd name="connsiteX59" fmla="*/ 11213 w 51062"/>
                  <a:gd name="connsiteY59" fmla="*/ 39244 h 137732"/>
                  <a:gd name="connsiteX60" fmla="*/ 10910 w 51062"/>
                  <a:gd name="connsiteY60" fmla="*/ 39699 h 137732"/>
                  <a:gd name="connsiteX61" fmla="*/ 10304 w 51062"/>
                  <a:gd name="connsiteY61" fmla="*/ 39699 h 137732"/>
                  <a:gd name="connsiteX62" fmla="*/ 9849 w 51062"/>
                  <a:gd name="connsiteY62" fmla="*/ 39850 h 137732"/>
                  <a:gd name="connsiteX63" fmla="*/ 9698 w 51062"/>
                  <a:gd name="connsiteY63" fmla="*/ 40456 h 137732"/>
                  <a:gd name="connsiteX64" fmla="*/ 9849 w 51062"/>
                  <a:gd name="connsiteY64" fmla="*/ 41062 h 137732"/>
                  <a:gd name="connsiteX65" fmla="*/ 11819 w 51062"/>
                  <a:gd name="connsiteY65" fmla="*/ 41668 h 137732"/>
                  <a:gd name="connsiteX66" fmla="*/ 11364 w 51062"/>
                  <a:gd name="connsiteY66" fmla="*/ 42123 h 137732"/>
                  <a:gd name="connsiteX67" fmla="*/ 10000 w 51062"/>
                  <a:gd name="connsiteY67" fmla="*/ 42577 h 137732"/>
                  <a:gd name="connsiteX68" fmla="*/ 9243 w 51062"/>
                  <a:gd name="connsiteY68" fmla="*/ 43487 h 137732"/>
                  <a:gd name="connsiteX69" fmla="*/ 9546 w 51062"/>
                  <a:gd name="connsiteY69" fmla="*/ 44547 h 137732"/>
                  <a:gd name="connsiteX70" fmla="*/ 8788 w 51062"/>
                  <a:gd name="connsiteY70" fmla="*/ 45456 h 137732"/>
                  <a:gd name="connsiteX71" fmla="*/ 9091 w 51062"/>
                  <a:gd name="connsiteY71" fmla="*/ 46062 h 137732"/>
                  <a:gd name="connsiteX72" fmla="*/ 9546 w 51062"/>
                  <a:gd name="connsiteY72" fmla="*/ 46517 h 137732"/>
                  <a:gd name="connsiteX73" fmla="*/ 10304 w 51062"/>
                  <a:gd name="connsiteY73" fmla="*/ 46365 h 137732"/>
                  <a:gd name="connsiteX74" fmla="*/ 12576 w 51062"/>
                  <a:gd name="connsiteY74" fmla="*/ 44850 h 137732"/>
                  <a:gd name="connsiteX75" fmla="*/ 13486 w 51062"/>
                  <a:gd name="connsiteY75" fmla="*/ 44699 h 137732"/>
                  <a:gd name="connsiteX76" fmla="*/ 14698 w 51062"/>
                  <a:gd name="connsiteY76" fmla="*/ 45002 h 137732"/>
                  <a:gd name="connsiteX77" fmla="*/ 16819 w 51062"/>
                  <a:gd name="connsiteY77" fmla="*/ 47275 h 137732"/>
                  <a:gd name="connsiteX78" fmla="*/ 16819 w 51062"/>
                  <a:gd name="connsiteY78" fmla="*/ 48335 h 137732"/>
                  <a:gd name="connsiteX79" fmla="*/ 16061 w 51062"/>
                  <a:gd name="connsiteY79" fmla="*/ 52123 h 137732"/>
                  <a:gd name="connsiteX80" fmla="*/ 15152 w 51062"/>
                  <a:gd name="connsiteY80" fmla="*/ 55002 h 137732"/>
                  <a:gd name="connsiteX81" fmla="*/ 15001 w 51062"/>
                  <a:gd name="connsiteY81" fmla="*/ 58942 h 137732"/>
                  <a:gd name="connsiteX82" fmla="*/ 15910 w 51062"/>
                  <a:gd name="connsiteY82" fmla="*/ 61063 h 137732"/>
                  <a:gd name="connsiteX83" fmla="*/ 15758 w 51062"/>
                  <a:gd name="connsiteY83" fmla="*/ 62275 h 137732"/>
                  <a:gd name="connsiteX84" fmla="*/ 14849 w 51062"/>
                  <a:gd name="connsiteY84" fmla="*/ 63336 h 137732"/>
                  <a:gd name="connsiteX85" fmla="*/ 12576 w 51062"/>
                  <a:gd name="connsiteY85" fmla="*/ 64699 h 137732"/>
                  <a:gd name="connsiteX86" fmla="*/ 12728 w 51062"/>
                  <a:gd name="connsiteY86" fmla="*/ 65760 h 137732"/>
                  <a:gd name="connsiteX87" fmla="*/ 13788 w 51062"/>
                  <a:gd name="connsiteY87" fmla="*/ 67730 h 137732"/>
                  <a:gd name="connsiteX88" fmla="*/ 15607 w 51062"/>
                  <a:gd name="connsiteY88" fmla="*/ 69851 h 137732"/>
                  <a:gd name="connsiteX89" fmla="*/ 19243 w 51062"/>
                  <a:gd name="connsiteY89" fmla="*/ 72427 h 137732"/>
                  <a:gd name="connsiteX90" fmla="*/ 21213 w 51062"/>
                  <a:gd name="connsiteY90" fmla="*/ 75760 h 137732"/>
                  <a:gd name="connsiteX91" fmla="*/ 21213 w 51062"/>
                  <a:gd name="connsiteY91" fmla="*/ 77276 h 137732"/>
                  <a:gd name="connsiteX92" fmla="*/ 20153 w 51062"/>
                  <a:gd name="connsiteY92" fmla="*/ 78639 h 137732"/>
                  <a:gd name="connsiteX93" fmla="*/ 18789 w 51062"/>
                  <a:gd name="connsiteY93" fmla="*/ 79851 h 137732"/>
                  <a:gd name="connsiteX94" fmla="*/ 18334 w 51062"/>
                  <a:gd name="connsiteY94" fmla="*/ 81518 h 137732"/>
                  <a:gd name="connsiteX95" fmla="*/ 18940 w 51062"/>
                  <a:gd name="connsiteY95" fmla="*/ 93034 h 137732"/>
                  <a:gd name="connsiteX96" fmla="*/ 16061 w 51062"/>
                  <a:gd name="connsiteY96" fmla="*/ 97882 h 137732"/>
                  <a:gd name="connsiteX97" fmla="*/ 16061 w 51062"/>
                  <a:gd name="connsiteY97" fmla="*/ 99398 h 137732"/>
                  <a:gd name="connsiteX98" fmla="*/ 16365 w 51062"/>
                  <a:gd name="connsiteY98" fmla="*/ 100913 h 137732"/>
                  <a:gd name="connsiteX99" fmla="*/ 17122 w 51062"/>
                  <a:gd name="connsiteY99" fmla="*/ 101974 h 137732"/>
                  <a:gd name="connsiteX100" fmla="*/ 18637 w 51062"/>
                  <a:gd name="connsiteY100" fmla="*/ 102276 h 137732"/>
                  <a:gd name="connsiteX101" fmla="*/ 19849 w 51062"/>
                  <a:gd name="connsiteY101" fmla="*/ 103186 h 137732"/>
                  <a:gd name="connsiteX102" fmla="*/ 19395 w 51062"/>
                  <a:gd name="connsiteY102" fmla="*/ 106671 h 137732"/>
                  <a:gd name="connsiteX103" fmla="*/ 18789 w 51062"/>
                  <a:gd name="connsiteY103" fmla="*/ 110156 h 137732"/>
                  <a:gd name="connsiteX104" fmla="*/ 18637 w 51062"/>
                  <a:gd name="connsiteY104" fmla="*/ 111974 h 137732"/>
                  <a:gd name="connsiteX105" fmla="*/ 18334 w 51062"/>
                  <a:gd name="connsiteY105" fmla="*/ 112731 h 137732"/>
                  <a:gd name="connsiteX106" fmla="*/ 17122 w 51062"/>
                  <a:gd name="connsiteY106" fmla="*/ 113489 h 137732"/>
                  <a:gd name="connsiteX107" fmla="*/ 16667 w 51062"/>
                  <a:gd name="connsiteY107" fmla="*/ 114550 h 137732"/>
                  <a:gd name="connsiteX108" fmla="*/ 16971 w 51062"/>
                  <a:gd name="connsiteY108" fmla="*/ 115913 h 137732"/>
                  <a:gd name="connsiteX109" fmla="*/ 16819 w 51062"/>
                  <a:gd name="connsiteY109" fmla="*/ 116974 h 137732"/>
                  <a:gd name="connsiteX110" fmla="*/ 17425 w 51062"/>
                  <a:gd name="connsiteY110" fmla="*/ 118338 h 137732"/>
                  <a:gd name="connsiteX111" fmla="*/ 18789 w 51062"/>
                  <a:gd name="connsiteY111" fmla="*/ 119853 h 137732"/>
                  <a:gd name="connsiteX112" fmla="*/ 20759 w 51062"/>
                  <a:gd name="connsiteY112" fmla="*/ 123944 h 137732"/>
                  <a:gd name="connsiteX113" fmla="*/ 21668 w 51062"/>
                  <a:gd name="connsiteY113" fmla="*/ 124247 h 137732"/>
                  <a:gd name="connsiteX114" fmla="*/ 21971 w 51062"/>
                  <a:gd name="connsiteY114" fmla="*/ 125156 h 137732"/>
                  <a:gd name="connsiteX115" fmla="*/ 21819 w 51062"/>
                  <a:gd name="connsiteY115" fmla="*/ 126065 h 137732"/>
                  <a:gd name="connsiteX116" fmla="*/ 22577 w 51062"/>
                  <a:gd name="connsiteY116" fmla="*/ 127883 h 137732"/>
                  <a:gd name="connsiteX117" fmla="*/ 24850 w 51062"/>
                  <a:gd name="connsiteY117" fmla="*/ 129550 h 137732"/>
                  <a:gd name="connsiteX118" fmla="*/ 27425 w 51062"/>
                  <a:gd name="connsiteY118" fmla="*/ 131217 h 137732"/>
                  <a:gd name="connsiteX119" fmla="*/ 29395 w 51062"/>
                  <a:gd name="connsiteY119" fmla="*/ 131368 h 137732"/>
                  <a:gd name="connsiteX120" fmla="*/ 29850 w 51062"/>
                  <a:gd name="connsiteY120" fmla="*/ 132884 h 137732"/>
                  <a:gd name="connsiteX121" fmla="*/ 31213 w 51062"/>
                  <a:gd name="connsiteY121" fmla="*/ 134702 h 137732"/>
                  <a:gd name="connsiteX122" fmla="*/ 32123 w 51062"/>
                  <a:gd name="connsiteY122" fmla="*/ 135460 h 137732"/>
                  <a:gd name="connsiteX123" fmla="*/ 33638 w 51062"/>
                  <a:gd name="connsiteY123" fmla="*/ 135914 h 137732"/>
                  <a:gd name="connsiteX124" fmla="*/ 34850 w 51062"/>
                  <a:gd name="connsiteY124" fmla="*/ 136217 h 137732"/>
                  <a:gd name="connsiteX125" fmla="*/ 34850 w 51062"/>
                  <a:gd name="connsiteY125" fmla="*/ 137732 h 137732"/>
                  <a:gd name="connsiteX126" fmla="*/ 38335 w 51062"/>
                  <a:gd name="connsiteY126" fmla="*/ 136217 h 137732"/>
                  <a:gd name="connsiteX127" fmla="*/ 46820 w 51062"/>
                  <a:gd name="connsiteY127" fmla="*/ 134247 h 137732"/>
                  <a:gd name="connsiteX128" fmla="*/ 46517 w 51062"/>
                  <a:gd name="connsiteY128" fmla="*/ 133338 h 13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51062" h="137732">
                    <a:moveTo>
                      <a:pt x="51063" y="132126"/>
                    </a:moveTo>
                    <a:lnTo>
                      <a:pt x="50153" y="128490"/>
                    </a:lnTo>
                    <a:lnTo>
                      <a:pt x="47275" y="124247"/>
                    </a:lnTo>
                    <a:lnTo>
                      <a:pt x="46214" y="123489"/>
                    </a:lnTo>
                    <a:lnTo>
                      <a:pt x="45608" y="121368"/>
                    </a:lnTo>
                    <a:lnTo>
                      <a:pt x="46214" y="120004"/>
                    </a:lnTo>
                    <a:lnTo>
                      <a:pt x="45911" y="119095"/>
                    </a:lnTo>
                    <a:lnTo>
                      <a:pt x="45760" y="116216"/>
                    </a:lnTo>
                    <a:lnTo>
                      <a:pt x="44244" y="113035"/>
                    </a:lnTo>
                    <a:lnTo>
                      <a:pt x="46820" y="112883"/>
                    </a:lnTo>
                    <a:lnTo>
                      <a:pt x="46820" y="102731"/>
                    </a:lnTo>
                    <a:lnTo>
                      <a:pt x="46820" y="93034"/>
                    </a:lnTo>
                    <a:lnTo>
                      <a:pt x="46820" y="84700"/>
                    </a:lnTo>
                    <a:lnTo>
                      <a:pt x="46820" y="78185"/>
                    </a:lnTo>
                    <a:lnTo>
                      <a:pt x="46365" y="70306"/>
                    </a:lnTo>
                    <a:lnTo>
                      <a:pt x="46365" y="64396"/>
                    </a:lnTo>
                    <a:lnTo>
                      <a:pt x="46214" y="56820"/>
                    </a:lnTo>
                    <a:lnTo>
                      <a:pt x="45305" y="54396"/>
                    </a:lnTo>
                    <a:lnTo>
                      <a:pt x="41365" y="50305"/>
                    </a:lnTo>
                    <a:lnTo>
                      <a:pt x="40305" y="48184"/>
                    </a:lnTo>
                    <a:lnTo>
                      <a:pt x="40153" y="45456"/>
                    </a:lnTo>
                    <a:lnTo>
                      <a:pt x="39244" y="42577"/>
                    </a:lnTo>
                    <a:lnTo>
                      <a:pt x="39244" y="37577"/>
                    </a:lnTo>
                    <a:lnTo>
                      <a:pt x="39093" y="31819"/>
                    </a:lnTo>
                    <a:lnTo>
                      <a:pt x="38789" y="30759"/>
                    </a:lnTo>
                    <a:lnTo>
                      <a:pt x="34547" y="28031"/>
                    </a:lnTo>
                    <a:lnTo>
                      <a:pt x="28638" y="24092"/>
                    </a:lnTo>
                    <a:lnTo>
                      <a:pt x="24092" y="21061"/>
                    </a:lnTo>
                    <a:lnTo>
                      <a:pt x="23789" y="20910"/>
                    </a:lnTo>
                    <a:lnTo>
                      <a:pt x="23334" y="20152"/>
                    </a:lnTo>
                    <a:lnTo>
                      <a:pt x="23941" y="11213"/>
                    </a:lnTo>
                    <a:lnTo>
                      <a:pt x="24850" y="10000"/>
                    </a:lnTo>
                    <a:lnTo>
                      <a:pt x="26365" y="6364"/>
                    </a:lnTo>
                    <a:lnTo>
                      <a:pt x="27122" y="3485"/>
                    </a:lnTo>
                    <a:lnTo>
                      <a:pt x="20001" y="3788"/>
                    </a:lnTo>
                    <a:lnTo>
                      <a:pt x="17425" y="4546"/>
                    </a:lnTo>
                    <a:lnTo>
                      <a:pt x="15910" y="4546"/>
                    </a:lnTo>
                    <a:lnTo>
                      <a:pt x="15910" y="3788"/>
                    </a:lnTo>
                    <a:lnTo>
                      <a:pt x="15607" y="3485"/>
                    </a:lnTo>
                    <a:lnTo>
                      <a:pt x="6819" y="1364"/>
                    </a:lnTo>
                    <a:lnTo>
                      <a:pt x="606" y="0"/>
                    </a:lnTo>
                    <a:lnTo>
                      <a:pt x="2273" y="1667"/>
                    </a:lnTo>
                    <a:lnTo>
                      <a:pt x="2728" y="2727"/>
                    </a:lnTo>
                    <a:lnTo>
                      <a:pt x="1970" y="6212"/>
                    </a:lnTo>
                    <a:lnTo>
                      <a:pt x="758" y="8788"/>
                    </a:lnTo>
                    <a:lnTo>
                      <a:pt x="0" y="11061"/>
                    </a:lnTo>
                    <a:lnTo>
                      <a:pt x="0" y="12273"/>
                    </a:lnTo>
                    <a:lnTo>
                      <a:pt x="909" y="13485"/>
                    </a:lnTo>
                    <a:lnTo>
                      <a:pt x="3485" y="15304"/>
                    </a:lnTo>
                    <a:lnTo>
                      <a:pt x="4849" y="16364"/>
                    </a:lnTo>
                    <a:lnTo>
                      <a:pt x="6516" y="18182"/>
                    </a:lnTo>
                    <a:lnTo>
                      <a:pt x="8334" y="20001"/>
                    </a:lnTo>
                    <a:lnTo>
                      <a:pt x="11516" y="22274"/>
                    </a:lnTo>
                    <a:lnTo>
                      <a:pt x="12879" y="22728"/>
                    </a:lnTo>
                    <a:lnTo>
                      <a:pt x="12728" y="23334"/>
                    </a:lnTo>
                    <a:lnTo>
                      <a:pt x="12273" y="24243"/>
                    </a:lnTo>
                    <a:lnTo>
                      <a:pt x="11970" y="32729"/>
                    </a:lnTo>
                    <a:lnTo>
                      <a:pt x="11819" y="35001"/>
                    </a:lnTo>
                    <a:lnTo>
                      <a:pt x="11516" y="36062"/>
                    </a:lnTo>
                    <a:lnTo>
                      <a:pt x="11213" y="39244"/>
                    </a:lnTo>
                    <a:lnTo>
                      <a:pt x="10910" y="39699"/>
                    </a:lnTo>
                    <a:lnTo>
                      <a:pt x="10304" y="39699"/>
                    </a:lnTo>
                    <a:lnTo>
                      <a:pt x="9849" y="39850"/>
                    </a:lnTo>
                    <a:lnTo>
                      <a:pt x="9698" y="40456"/>
                    </a:lnTo>
                    <a:lnTo>
                      <a:pt x="9849" y="41062"/>
                    </a:lnTo>
                    <a:lnTo>
                      <a:pt x="11819" y="41668"/>
                    </a:lnTo>
                    <a:lnTo>
                      <a:pt x="11364" y="42123"/>
                    </a:lnTo>
                    <a:lnTo>
                      <a:pt x="10000" y="42577"/>
                    </a:lnTo>
                    <a:lnTo>
                      <a:pt x="9243" y="43487"/>
                    </a:lnTo>
                    <a:lnTo>
                      <a:pt x="9546" y="44547"/>
                    </a:lnTo>
                    <a:lnTo>
                      <a:pt x="8788" y="45456"/>
                    </a:lnTo>
                    <a:lnTo>
                      <a:pt x="9091" y="46062"/>
                    </a:lnTo>
                    <a:lnTo>
                      <a:pt x="9546" y="46517"/>
                    </a:lnTo>
                    <a:lnTo>
                      <a:pt x="10304" y="46365"/>
                    </a:lnTo>
                    <a:lnTo>
                      <a:pt x="12576" y="44850"/>
                    </a:lnTo>
                    <a:lnTo>
                      <a:pt x="13486" y="44699"/>
                    </a:lnTo>
                    <a:lnTo>
                      <a:pt x="14698" y="45002"/>
                    </a:lnTo>
                    <a:lnTo>
                      <a:pt x="16819" y="47275"/>
                    </a:lnTo>
                    <a:lnTo>
                      <a:pt x="16819" y="48335"/>
                    </a:lnTo>
                    <a:lnTo>
                      <a:pt x="16061" y="52123"/>
                    </a:lnTo>
                    <a:lnTo>
                      <a:pt x="15152" y="55002"/>
                    </a:lnTo>
                    <a:lnTo>
                      <a:pt x="15001" y="58942"/>
                    </a:lnTo>
                    <a:lnTo>
                      <a:pt x="15910" y="61063"/>
                    </a:lnTo>
                    <a:lnTo>
                      <a:pt x="15758" y="62275"/>
                    </a:lnTo>
                    <a:lnTo>
                      <a:pt x="14849" y="63336"/>
                    </a:lnTo>
                    <a:lnTo>
                      <a:pt x="12576" y="64699"/>
                    </a:lnTo>
                    <a:lnTo>
                      <a:pt x="12728" y="65760"/>
                    </a:lnTo>
                    <a:lnTo>
                      <a:pt x="13788" y="67730"/>
                    </a:lnTo>
                    <a:lnTo>
                      <a:pt x="15607" y="69851"/>
                    </a:lnTo>
                    <a:lnTo>
                      <a:pt x="19243" y="72427"/>
                    </a:lnTo>
                    <a:lnTo>
                      <a:pt x="21213" y="75760"/>
                    </a:lnTo>
                    <a:lnTo>
                      <a:pt x="21213" y="77276"/>
                    </a:lnTo>
                    <a:lnTo>
                      <a:pt x="20153" y="78639"/>
                    </a:lnTo>
                    <a:lnTo>
                      <a:pt x="18789" y="79851"/>
                    </a:lnTo>
                    <a:lnTo>
                      <a:pt x="18334" y="81518"/>
                    </a:lnTo>
                    <a:lnTo>
                      <a:pt x="18940" y="93034"/>
                    </a:lnTo>
                    <a:lnTo>
                      <a:pt x="16061" y="97882"/>
                    </a:lnTo>
                    <a:lnTo>
                      <a:pt x="16061" y="99398"/>
                    </a:lnTo>
                    <a:lnTo>
                      <a:pt x="16365" y="100913"/>
                    </a:lnTo>
                    <a:lnTo>
                      <a:pt x="17122" y="101974"/>
                    </a:lnTo>
                    <a:lnTo>
                      <a:pt x="18637" y="102276"/>
                    </a:lnTo>
                    <a:lnTo>
                      <a:pt x="19849" y="103186"/>
                    </a:lnTo>
                    <a:lnTo>
                      <a:pt x="19395" y="106671"/>
                    </a:lnTo>
                    <a:lnTo>
                      <a:pt x="18789" y="110156"/>
                    </a:lnTo>
                    <a:lnTo>
                      <a:pt x="18637" y="111974"/>
                    </a:lnTo>
                    <a:lnTo>
                      <a:pt x="18334" y="112731"/>
                    </a:lnTo>
                    <a:lnTo>
                      <a:pt x="17122" y="113489"/>
                    </a:lnTo>
                    <a:lnTo>
                      <a:pt x="16667" y="114550"/>
                    </a:lnTo>
                    <a:lnTo>
                      <a:pt x="16971" y="115913"/>
                    </a:lnTo>
                    <a:lnTo>
                      <a:pt x="16819" y="116974"/>
                    </a:lnTo>
                    <a:lnTo>
                      <a:pt x="17425" y="118338"/>
                    </a:lnTo>
                    <a:lnTo>
                      <a:pt x="18789" y="119853"/>
                    </a:lnTo>
                    <a:lnTo>
                      <a:pt x="20759" y="123944"/>
                    </a:lnTo>
                    <a:lnTo>
                      <a:pt x="21668" y="124247"/>
                    </a:lnTo>
                    <a:lnTo>
                      <a:pt x="21971" y="125156"/>
                    </a:lnTo>
                    <a:lnTo>
                      <a:pt x="21819" y="126065"/>
                    </a:lnTo>
                    <a:lnTo>
                      <a:pt x="22577" y="127883"/>
                    </a:lnTo>
                    <a:lnTo>
                      <a:pt x="24850" y="129550"/>
                    </a:lnTo>
                    <a:lnTo>
                      <a:pt x="27425" y="131217"/>
                    </a:lnTo>
                    <a:lnTo>
                      <a:pt x="29395" y="131368"/>
                    </a:lnTo>
                    <a:lnTo>
                      <a:pt x="29850" y="132884"/>
                    </a:lnTo>
                    <a:lnTo>
                      <a:pt x="31213" y="134702"/>
                    </a:lnTo>
                    <a:lnTo>
                      <a:pt x="32123" y="135460"/>
                    </a:lnTo>
                    <a:lnTo>
                      <a:pt x="33638" y="135914"/>
                    </a:lnTo>
                    <a:lnTo>
                      <a:pt x="34850" y="136217"/>
                    </a:lnTo>
                    <a:lnTo>
                      <a:pt x="34850" y="137732"/>
                    </a:lnTo>
                    <a:lnTo>
                      <a:pt x="38335" y="136217"/>
                    </a:lnTo>
                    <a:lnTo>
                      <a:pt x="46820" y="134247"/>
                    </a:lnTo>
                    <a:lnTo>
                      <a:pt x="46517" y="1333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4B9A646E-C472-43BC-B1F0-650D9B4217E2}"/>
                  </a:ext>
                </a:extLst>
              </p:cNvPr>
              <p:cNvSpPr/>
              <p:nvPr/>
            </p:nvSpPr>
            <p:spPr>
              <a:xfrm>
                <a:off x="7190585" y="5922043"/>
                <a:ext cx="517292" cy="118186"/>
              </a:xfrm>
              <a:custGeom>
                <a:avLst/>
                <a:gdLst>
                  <a:gd name="connsiteX0" fmla="*/ 480018 w 517292"/>
                  <a:gd name="connsiteY0" fmla="*/ 92428 h 118186"/>
                  <a:gd name="connsiteX1" fmla="*/ 480018 w 517292"/>
                  <a:gd name="connsiteY1" fmla="*/ 93943 h 118186"/>
                  <a:gd name="connsiteX2" fmla="*/ 480473 w 517292"/>
                  <a:gd name="connsiteY2" fmla="*/ 95155 h 118186"/>
                  <a:gd name="connsiteX3" fmla="*/ 482139 w 517292"/>
                  <a:gd name="connsiteY3" fmla="*/ 94852 h 118186"/>
                  <a:gd name="connsiteX4" fmla="*/ 483200 w 517292"/>
                  <a:gd name="connsiteY4" fmla="*/ 93943 h 118186"/>
                  <a:gd name="connsiteX5" fmla="*/ 485170 w 517292"/>
                  <a:gd name="connsiteY5" fmla="*/ 91064 h 118186"/>
                  <a:gd name="connsiteX6" fmla="*/ 484412 w 517292"/>
                  <a:gd name="connsiteY6" fmla="*/ 88943 h 118186"/>
                  <a:gd name="connsiteX7" fmla="*/ 481685 w 517292"/>
                  <a:gd name="connsiteY7" fmla="*/ 88488 h 118186"/>
                  <a:gd name="connsiteX8" fmla="*/ 478957 w 517292"/>
                  <a:gd name="connsiteY8" fmla="*/ 88640 h 118186"/>
                  <a:gd name="connsiteX9" fmla="*/ 478503 w 517292"/>
                  <a:gd name="connsiteY9" fmla="*/ 89852 h 118186"/>
                  <a:gd name="connsiteX10" fmla="*/ 479109 w 517292"/>
                  <a:gd name="connsiteY10" fmla="*/ 91216 h 118186"/>
                  <a:gd name="connsiteX11" fmla="*/ 480018 w 517292"/>
                  <a:gd name="connsiteY11" fmla="*/ 92428 h 118186"/>
                  <a:gd name="connsiteX12" fmla="*/ 3485 w 517292"/>
                  <a:gd name="connsiteY12" fmla="*/ 1061 h 118186"/>
                  <a:gd name="connsiteX13" fmla="*/ 2273 w 517292"/>
                  <a:gd name="connsiteY13" fmla="*/ 0 h 118186"/>
                  <a:gd name="connsiteX14" fmla="*/ 0 w 517292"/>
                  <a:gd name="connsiteY14" fmla="*/ 1667 h 118186"/>
                  <a:gd name="connsiteX15" fmla="*/ 1061 w 517292"/>
                  <a:gd name="connsiteY15" fmla="*/ 3485 h 118186"/>
                  <a:gd name="connsiteX16" fmla="*/ 2879 w 517292"/>
                  <a:gd name="connsiteY16" fmla="*/ 4243 h 118186"/>
                  <a:gd name="connsiteX17" fmla="*/ 4849 w 517292"/>
                  <a:gd name="connsiteY17" fmla="*/ 3940 h 118186"/>
                  <a:gd name="connsiteX18" fmla="*/ 4394 w 517292"/>
                  <a:gd name="connsiteY18" fmla="*/ 2424 h 118186"/>
                  <a:gd name="connsiteX19" fmla="*/ 3485 w 517292"/>
                  <a:gd name="connsiteY19" fmla="*/ 1061 h 118186"/>
                  <a:gd name="connsiteX20" fmla="*/ 516383 w 517292"/>
                  <a:gd name="connsiteY20" fmla="*/ 97579 h 118186"/>
                  <a:gd name="connsiteX21" fmla="*/ 515171 w 517292"/>
                  <a:gd name="connsiteY21" fmla="*/ 95761 h 118186"/>
                  <a:gd name="connsiteX22" fmla="*/ 513050 w 517292"/>
                  <a:gd name="connsiteY22" fmla="*/ 95004 h 118186"/>
                  <a:gd name="connsiteX23" fmla="*/ 510625 w 517292"/>
                  <a:gd name="connsiteY23" fmla="*/ 94852 h 118186"/>
                  <a:gd name="connsiteX24" fmla="*/ 509716 w 517292"/>
                  <a:gd name="connsiteY24" fmla="*/ 95458 h 118186"/>
                  <a:gd name="connsiteX25" fmla="*/ 507595 w 517292"/>
                  <a:gd name="connsiteY25" fmla="*/ 97579 h 118186"/>
                  <a:gd name="connsiteX26" fmla="*/ 503504 w 517292"/>
                  <a:gd name="connsiteY26" fmla="*/ 97579 h 118186"/>
                  <a:gd name="connsiteX27" fmla="*/ 501382 w 517292"/>
                  <a:gd name="connsiteY27" fmla="*/ 98488 h 118186"/>
                  <a:gd name="connsiteX28" fmla="*/ 497898 w 517292"/>
                  <a:gd name="connsiteY28" fmla="*/ 100610 h 118186"/>
                  <a:gd name="connsiteX29" fmla="*/ 495625 w 517292"/>
                  <a:gd name="connsiteY29" fmla="*/ 101519 h 118186"/>
                  <a:gd name="connsiteX30" fmla="*/ 492746 w 517292"/>
                  <a:gd name="connsiteY30" fmla="*/ 102125 h 118186"/>
                  <a:gd name="connsiteX31" fmla="*/ 491231 w 517292"/>
                  <a:gd name="connsiteY31" fmla="*/ 102125 h 118186"/>
                  <a:gd name="connsiteX32" fmla="*/ 489412 w 517292"/>
                  <a:gd name="connsiteY32" fmla="*/ 101822 h 118186"/>
                  <a:gd name="connsiteX33" fmla="*/ 485624 w 517292"/>
                  <a:gd name="connsiteY33" fmla="*/ 99246 h 118186"/>
                  <a:gd name="connsiteX34" fmla="*/ 486533 w 517292"/>
                  <a:gd name="connsiteY34" fmla="*/ 97276 h 118186"/>
                  <a:gd name="connsiteX35" fmla="*/ 490321 w 517292"/>
                  <a:gd name="connsiteY35" fmla="*/ 97428 h 118186"/>
                  <a:gd name="connsiteX36" fmla="*/ 492291 w 517292"/>
                  <a:gd name="connsiteY36" fmla="*/ 96973 h 118186"/>
                  <a:gd name="connsiteX37" fmla="*/ 490776 w 517292"/>
                  <a:gd name="connsiteY37" fmla="*/ 95307 h 118186"/>
                  <a:gd name="connsiteX38" fmla="*/ 490928 w 517292"/>
                  <a:gd name="connsiteY38" fmla="*/ 91670 h 118186"/>
                  <a:gd name="connsiteX39" fmla="*/ 489412 w 517292"/>
                  <a:gd name="connsiteY39" fmla="*/ 91821 h 118186"/>
                  <a:gd name="connsiteX40" fmla="*/ 483352 w 517292"/>
                  <a:gd name="connsiteY40" fmla="*/ 96519 h 118186"/>
                  <a:gd name="connsiteX41" fmla="*/ 481988 w 517292"/>
                  <a:gd name="connsiteY41" fmla="*/ 96822 h 118186"/>
                  <a:gd name="connsiteX42" fmla="*/ 479866 w 517292"/>
                  <a:gd name="connsiteY42" fmla="*/ 96670 h 118186"/>
                  <a:gd name="connsiteX43" fmla="*/ 476230 w 517292"/>
                  <a:gd name="connsiteY43" fmla="*/ 95761 h 118186"/>
                  <a:gd name="connsiteX44" fmla="*/ 475624 w 517292"/>
                  <a:gd name="connsiteY44" fmla="*/ 93488 h 118186"/>
                  <a:gd name="connsiteX45" fmla="*/ 477442 w 517292"/>
                  <a:gd name="connsiteY45" fmla="*/ 90610 h 118186"/>
                  <a:gd name="connsiteX46" fmla="*/ 477594 w 517292"/>
                  <a:gd name="connsiteY46" fmla="*/ 89246 h 118186"/>
                  <a:gd name="connsiteX47" fmla="*/ 478503 w 517292"/>
                  <a:gd name="connsiteY47" fmla="*/ 87882 h 118186"/>
                  <a:gd name="connsiteX48" fmla="*/ 478200 w 517292"/>
                  <a:gd name="connsiteY48" fmla="*/ 84549 h 118186"/>
                  <a:gd name="connsiteX49" fmla="*/ 476836 w 517292"/>
                  <a:gd name="connsiteY49" fmla="*/ 84094 h 118186"/>
                  <a:gd name="connsiteX50" fmla="*/ 477442 w 517292"/>
                  <a:gd name="connsiteY50" fmla="*/ 83034 h 118186"/>
                  <a:gd name="connsiteX51" fmla="*/ 477139 w 517292"/>
                  <a:gd name="connsiteY51" fmla="*/ 81518 h 118186"/>
                  <a:gd name="connsiteX52" fmla="*/ 476533 w 517292"/>
                  <a:gd name="connsiteY52" fmla="*/ 80761 h 118186"/>
                  <a:gd name="connsiteX53" fmla="*/ 475018 w 517292"/>
                  <a:gd name="connsiteY53" fmla="*/ 80912 h 118186"/>
                  <a:gd name="connsiteX54" fmla="*/ 473806 w 517292"/>
                  <a:gd name="connsiteY54" fmla="*/ 82124 h 118186"/>
                  <a:gd name="connsiteX55" fmla="*/ 472139 w 517292"/>
                  <a:gd name="connsiteY55" fmla="*/ 85003 h 118186"/>
                  <a:gd name="connsiteX56" fmla="*/ 470321 w 517292"/>
                  <a:gd name="connsiteY56" fmla="*/ 87579 h 118186"/>
                  <a:gd name="connsiteX57" fmla="*/ 470472 w 517292"/>
                  <a:gd name="connsiteY57" fmla="*/ 90306 h 118186"/>
                  <a:gd name="connsiteX58" fmla="*/ 469412 w 517292"/>
                  <a:gd name="connsiteY58" fmla="*/ 92731 h 118186"/>
                  <a:gd name="connsiteX59" fmla="*/ 468654 w 517292"/>
                  <a:gd name="connsiteY59" fmla="*/ 95307 h 118186"/>
                  <a:gd name="connsiteX60" fmla="*/ 469260 w 517292"/>
                  <a:gd name="connsiteY60" fmla="*/ 96670 h 118186"/>
                  <a:gd name="connsiteX61" fmla="*/ 470018 w 517292"/>
                  <a:gd name="connsiteY61" fmla="*/ 97731 h 118186"/>
                  <a:gd name="connsiteX62" fmla="*/ 471078 w 517292"/>
                  <a:gd name="connsiteY62" fmla="*/ 97882 h 118186"/>
                  <a:gd name="connsiteX63" fmla="*/ 471836 w 517292"/>
                  <a:gd name="connsiteY63" fmla="*/ 98792 h 118186"/>
                  <a:gd name="connsiteX64" fmla="*/ 469866 w 517292"/>
                  <a:gd name="connsiteY64" fmla="*/ 99701 h 118186"/>
                  <a:gd name="connsiteX65" fmla="*/ 469412 w 517292"/>
                  <a:gd name="connsiteY65" fmla="*/ 101064 h 118186"/>
                  <a:gd name="connsiteX66" fmla="*/ 470623 w 517292"/>
                  <a:gd name="connsiteY66" fmla="*/ 103034 h 118186"/>
                  <a:gd name="connsiteX67" fmla="*/ 470018 w 517292"/>
                  <a:gd name="connsiteY67" fmla="*/ 105458 h 118186"/>
                  <a:gd name="connsiteX68" fmla="*/ 471230 w 517292"/>
                  <a:gd name="connsiteY68" fmla="*/ 106822 h 118186"/>
                  <a:gd name="connsiteX69" fmla="*/ 471533 w 517292"/>
                  <a:gd name="connsiteY69" fmla="*/ 108641 h 118186"/>
                  <a:gd name="connsiteX70" fmla="*/ 470927 w 517292"/>
                  <a:gd name="connsiteY70" fmla="*/ 110610 h 118186"/>
                  <a:gd name="connsiteX71" fmla="*/ 469866 w 517292"/>
                  <a:gd name="connsiteY71" fmla="*/ 112429 h 118186"/>
                  <a:gd name="connsiteX72" fmla="*/ 469412 w 517292"/>
                  <a:gd name="connsiteY72" fmla="*/ 114247 h 118186"/>
                  <a:gd name="connsiteX73" fmla="*/ 469109 w 517292"/>
                  <a:gd name="connsiteY73" fmla="*/ 116065 h 118186"/>
                  <a:gd name="connsiteX74" fmla="*/ 470018 w 517292"/>
                  <a:gd name="connsiteY74" fmla="*/ 117732 h 118186"/>
                  <a:gd name="connsiteX75" fmla="*/ 471533 w 517292"/>
                  <a:gd name="connsiteY75" fmla="*/ 118035 h 118186"/>
                  <a:gd name="connsiteX76" fmla="*/ 474866 w 517292"/>
                  <a:gd name="connsiteY76" fmla="*/ 117883 h 118186"/>
                  <a:gd name="connsiteX77" fmla="*/ 477442 w 517292"/>
                  <a:gd name="connsiteY77" fmla="*/ 116065 h 118186"/>
                  <a:gd name="connsiteX78" fmla="*/ 479260 w 517292"/>
                  <a:gd name="connsiteY78" fmla="*/ 111671 h 118186"/>
                  <a:gd name="connsiteX79" fmla="*/ 482594 w 517292"/>
                  <a:gd name="connsiteY79" fmla="*/ 112125 h 118186"/>
                  <a:gd name="connsiteX80" fmla="*/ 484715 w 517292"/>
                  <a:gd name="connsiteY80" fmla="*/ 112883 h 118186"/>
                  <a:gd name="connsiteX81" fmla="*/ 488200 w 517292"/>
                  <a:gd name="connsiteY81" fmla="*/ 114853 h 118186"/>
                  <a:gd name="connsiteX82" fmla="*/ 491837 w 517292"/>
                  <a:gd name="connsiteY82" fmla="*/ 116065 h 118186"/>
                  <a:gd name="connsiteX83" fmla="*/ 493655 w 517292"/>
                  <a:gd name="connsiteY83" fmla="*/ 115762 h 118186"/>
                  <a:gd name="connsiteX84" fmla="*/ 495473 w 517292"/>
                  <a:gd name="connsiteY84" fmla="*/ 114398 h 118186"/>
                  <a:gd name="connsiteX85" fmla="*/ 496988 w 517292"/>
                  <a:gd name="connsiteY85" fmla="*/ 114853 h 118186"/>
                  <a:gd name="connsiteX86" fmla="*/ 497594 w 517292"/>
                  <a:gd name="connsiteY86" fmla="*/ 115913 h 118186"/>
                  <a:gd name="connsiteX87" fmla="*/ 500170 w 517292"/>
                  <a:gd name="connsiteY87" fmla="*/ 117429 h 118186"/>
                  <a:gd name="connsiteX88" fmla="*/ 504413 w 517292"/>
                  <a:gd name="connsiteY88" fmla="*/ 118186 h 118186"/>
                  <a:gd name="connsiteX89" fmla="*/ 505776 w 517292"/>
                  <a:gd name="connsiteY89" fmla="*/ 118035 h 118186"/>
                  <a:gd name="connsiteX90" fmla="*/ 508049 w 517292"/>
                  <a:gd name="connsiteY90" fmla="*/ 116671 h 118186"/>
                  <a:gd name="connsiteX91" fmla="*/ 508352 w 517292"/>
                  <a:gd name="connsiteY91" fmla="*/ 115459 h 118186"/>
                  <a:gd name="connsiteX92" fmla="*/ 509564 w 517292"/>
                  <a:gd name="connsiteY92" fmla="*/ 114398 h 118186"/>
                  <a:gd name="connsiteX93" fmla="*/ 510928 w 517292"/>
                  <a:gd name="connsiteY93" fmla="*/ 113792 h 118186"/>
                  <a:gd name="connsiteX94" fmla="*/ 509262 w 517292"/>
                  <a:gd name="connsiteY94" fmla="*/ 111974 h 118186"/>
                  <a:gd name="connsiteX95" fmla="*/ 506989 w 517292"/>
                  <a:gd name="connsiteY95" fmla="*/ 111216 h 118186"/>
                  <a:gd name="connsiteX96" fmla="*/ 504413 w 517292"/>
                  <a:gd name="connsiteY96" fmla="*/ 111519 h 118186"/>
                  <a:gd name="connsiteX97" fmla="*/ 504110 w 517292"/>
                  <a:gd name="connsiteY97" fmla="*/ 114095 h 118186"/>
                  <a:gd name="connsiteX98" fmla="*/ 501988 w 517292"/>
                  <a:gd name="connsiteY98" fmla="*/ 113792 h 118186"/>
                  <a:gd name="connsiteX99" fmla="*/ 498352 w 517292"/>
                  <a:gd name="connsiteY99" fmla="*/ 112429 h 118186"/>
                  <a:gd name="connsiteX100" fmla="*/ 496231 w 517292"/>
                  <a:gd name="connsiteY100" fmla="*/ 110459 h 118186"/>
                  <a:gd name="connsiteX101" fmla="*/ 495321 w 517292"/>
                  <a:gd name="connsiteY101" fmla="*/ 108943 h 118186"/>
                  <a:gd name="connsiteX102" fmla="*/ 495625 w 517292"/>
                  <a:gd name="connsiteY102" fmla="*/ 108337 h 118186"/>
                  <a:gd name="connsiteX103" fmla="*/ 497291 w 517292"/>
                  <a:gd name="connsiteY103" fmla="*/ 108641 h 118186"/>
                  <a:gd name="connsiteX104" fmla="*/ 498504 w 517292"/>
                  <a:gd name="connsiteY104" fmla="*/ 108034 h 118186"/>
                  <a:gd name="connsiteX105" fmla="*/ 499564 w 517292"/>
                  <a:gd name="connsiteY105" fmla="*/ 106974 h 118186"/>
                  <a:gd name="connsiteX106" fmla="*/ 499867 w 517292"/>
                  <a:gd name="connsiteY106" fmla="*/ 105458 h 118186"/>
                  <a:gd name="connsiteX107" fmla="*/ 501988 w 517292"/>
                  <a:gd name="connsiteY107" fmla="*/ 105307 h 118186"/>
                  <a:gd name="connsiteX108" fmla="*/ 506686 w 517292"/>
                  <a:gd name="connsiteY108" fmla="*/ 105307 h 118186"/>
                  <a:gd name="connsiteX109" fmla="*/ 508655 w 517292"/>
                  <a:gd name="connsiteY109" fmla="*/ 106368 h 118186"/>
                  <a:gd name="connsiteX110" fmla="*/ 510322 w 517292"/>
                  <a:gd name="connsiteY110" fmla="*/ 108186 h 118186"/>
                  <a:gd name="connsiteX111" fmla="*/ 511383 w 517292"/>
                  <a:gd name="connsiteY111" fmla="*/ 108489 h 118186"/>
                  <a:gd name="connsiteX112" fmla="*/ 512746 w 517292"/>
                  <a:gd name="connsiteY112" fmla="*/ 108489 h 118186"/>
                  <a:gd name="connsiteX113" fmla="*/ 513504 w 517292"/>
                  <a:gd name="connsiteY113" fmla="*/ 107731 h 118186"/>
                  <a:gd name="connsiteX114" fmla="*/ 512898 w 517292"/>
                  <a:gd name="connsiteY114" fmla="*/ 106064 h 118186"/>
                  <a:gd name="connsiteX115" fmla="*/ 515474 w 517292"/>
                  <a:gd name="connsiteY115" fmla="*/ 104701 h 118186"/>
                  <a:gd name="connsiteX116" fmla="*/ 516838 w 517292"/>
                  <a:gd name="connsiteY116" fmla="*/ 102428 h 118186"/>
                  <a:gd name="connsiteX117" fmla="*/ 517292 w 517292"/>
                  <a:gd name="connsiteY117" fmla="*/ 100155 h 118186"/>
                  <a:gd name="connsiteX118" fmla="*/ 516383 w 517292"/>
                  <a:gd name="connsiteY118" fmla="*/ 97579 h 11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517292" h="118186">
                    <a:moveTo>
                      <a:pt x="480018" y="92428"/>
                    </a:moveTo>
                    <a:lnTo>
                      <a:pt x="480018" y="93943"/>
                    </a:lnTo>
                    <a:lnTo>
                      <a:pt x="480473" y="95155"/>
                    </a:lnTo>
                    <a:lnTo>
                      <a:pt x="482139" y="94852"/>
                    </a:lnTo>
                    <a:lnTo>
                      <a:pt x="483200" y="93943"/>
                    </a:lnTo>
                    <a:lnTo>
                      <a:pt x="485170" y="91064"/>
                    </a:lnTo>
                    <a:lnTo>
                      <a:pt x="484412" y="88943"/>
                    </a:lnTo>
                    <a:lnTo>
                      <a:pt x="481685" y="88488"/>
                    </a:lnTo>
                    <a:lnTo>
                      <a:pt x="478957" y="88640"/>
                    </a:lnTo>
                    <a:lnTo>
                      <a:pt x="478503" y="89852"/>
                    </a:lnTo>
                    <a:lnTo>
                      <a:pt x="479109" y="91216"/>
                    </a:lnTo>
                    <a:lnTo>
                      <a:pt x="480018" y="92428"/>
                    </a:lnTo>
                    <a:close/>
                    <a:moveTo>
                      <a:pt x="3485" y="1061"/>
                    </a:moveTo>
                    <a:lnTo>
                      <a:pt x="2273" y="0"/>
                    </a:lnTo>
                    <a:lnTo>
                      <a:pt x="0" y="1667"/>
                    </a:lnTo>
                    <a:lnTo>
                      <a:pt x="1061" y="3485"/>
                    </a:lnTo>
                    <a:lnTo>
                      <a:pt x="2879" y="4243"/>
                    </a:lnTo>
                    <a:lnTo>
                      <a:pt x="4849" y="3940"/>
                    </a:lnTo>
                    <a:lnTo>
                      <a:pt x="4394" y="2424"/>
                    </a:lnTo>
                    <a:lnTo>
                      <a:pt x="3485" y="1061"/>
                    </a:lnTo>
                    <a:close/>
                    <a:moveTo>
                      <a:pt x="516383" y="97579"/>
                    </a:moveTo>
                    <a:lnTo>
                      <a:pt x="515171" y="95761"/>
                    </a:lnTo>
                    <a:lnTo>
                      <a:pt x="513050" y="95004"/>
                    </a:lnTo>
                    <a:lnTo>
                      <a:pt x="510625" y="94852"/>
                    </a:lnTo>
                    <a:lnTo>
                      <a:pt x="509716" y="95458"/>
                    </a:lnTo>
                    <a:lnTo>
                      <a:pt x="507595" y="97579"/>
                    </a:lnTo>
                    <a:lnTo>
                      <a:pt x="503504" y="97579"/>
                    </a:lnTo>
                    <a:lnTo>
                      <a:pt x="501382" y="98488"/>
                    </a:lnTo>
                    <a:lnTo>
                      <a:pt x="497898" y="100610"/>
                    </a:lnTo>
                    <a:lnTo>
                      <a:pt x="495625" y="101519"/>
                    </a:lnTo>
                    <a:lnTo>
                      <a:pt x="492746" y="102125"/>
                    </a:lnTo>
                    <a:lnTo>
                      <a:pt x="491231" y="102125"/>
                    </a:lnTo>
                    <a:lnTo>
                      <a:pt x="489412" y="101822"/>
                    </a:lnTo>
                    <a:lnTo>
                      <a:pt x="485624" y="99246"/>
                    </a:lnTo>
                    <a:lnTo>
                      <a:pt x="486533" y="97276"/>
                    </a:lnTo>
                    <a:lnTo>
                      <a:pt x="490321" y="97428"/>
                    </a:lnTo>
                    <a:lnTo>
                      <a:pt x="492291" y="96973"/>
                    </a:lnTo>
                    <a:lnTo>
                      <a:pt x="490776" y="95307"/>
                    </a:lnTo>
                    <a:lnTo>
                      <a:pt x="490928" y="91670"/>
                    </a:lnTo>
                    <a:lnTo>
                      <a:pt x="489412" y="91821"/>
                    </a:lnTo>
                    <a:lnTo>
                      <a:pt x="483352" y="96519"/>
                    </a:lnTo>
                    <a:lnTo>
                      <a:pt x="481988" y="96822"/>
                    </a:lnTo>
                    <a:lnTo>
                      <a:pt x="479866" y="96670"/>
                    </a:lnTo>
                    <a:lnTo>
                      <a:pt x="476230" y="95761"/>
                    </a:lnTo>
                    <a:lnTo>
                      <a:pt x="475624" y="93488"/>
                    </a:lnTo>
                    <a:lnTo>
                      <a:pt x="477442" y="90610"/>
                    </a:lnTo>
                    <a:lnTo>
                      <a:pt x="477594" y="89246"/>
                    </a:lnTo>
                    <a:lnTo>
                      <a:pt x="478503" y="87882"/>
                    </a:lnTo>
                    <a:lnTo>
                      <a:pt x="478200" y="84549"/>
                    </a:lnTo>
                    <a:lnTo>
                      <a:pt x="476836" y="84094"/>
                    </a:lnTo>
                    <a:lnTo>
                      <a:pt x="477442" y="83034"/>
                    </a:lnTo>
                    <a:lnTo>
                      <a:pt x="477139" y="81518"/>
                    </a:lnTo>
                    <a:lnTo>
                      <a:pt x="476533" y="80761"/>
                    </a:lnTo>
                    <a:lnTo>
                      <a:pt x="475018" y="80912"/>
                    </a:lnTo>
                    <a:lnTo>
                      <a:pt x="473806" y="82124"/>
                    </a:lnTo>
                    <a:lnTo>
                      <a:pt x="472139" y="85003"/>
                    </a:lnTo>
                    <a:lnTo>
                      <a:pt x="470321" y="87579"/>
                    </a:lnTo>
                    <a:lnTo>
                      <a:pt x="470472" y="90306"/>
                    </a:lnTo>
                    <a:lnTo>
                      <a:pt x="469412" y="92731"/>
                    </a:lnTo>
                    <a:lnTo>
                      <a:pt x="468654" y="95307"/>
                    </a:lnTo>
                    <a:lnTo>
                      <a:pt x="469260" y="96670"/>
                    </a:lnTo>
                    <a:lnTo>
                      <a:pt x="470018" y="97731"/>
                    </a:lnTo>
                    <a:lnTo>
                      <a:pt x="471078" y="97882"/>
                    </a:lnTo>
                    <a:lnTo>
                      <a:pt x="471836" y="98792"/>
                    </a:lnTo>
                    <a:lnTo>
                      <a:pt x="469866" y="99701"/>
                    </a:lnTo>
                    <a:lnTo>
                      <a:pt x="469412" y="101064"/>
                    </a:lnTo>
                    <a:lnTo>
                      <a:pt x="470623" y="103034"/>
                    </a:lnTo>
                    <a:lnTo>
                      <a:pt x="470018" y="105458"/>
                    </a:lnTo>
                    <a:lnTo>
                      <a:pt x="471230" y="106822"/>
                    </a:lnTo>
                    <a:lnTo>
                      <a:pt x="471533" y="108641"/>
                    </a:lnTo>
                    <a:lnTo>
                      <a:pt x="470927" y="110610"/>
                    </a:lnTo>
                    <a:lnTo>
                      <a:pt x="469866" y="112429"/>
                    </a:lnTo>
                    <a:lnTo>
                      <a:pt x="469412" y="114247"/>
                    </a:lnTo>
                    <a:lnTo>
                      <a:pt x="469109" y="116065"/>
                    </a:lnTo>
                    <a:lnTo>
                      <a:pt x="470018" y="117732"/>
                    </a:lnTo>
                    <a:lnTo>
                      <a:pt x="471533" y="118035"/>
                    </a:lnTo>
                    <a:lnTo>
                      <a:pt x="474866" y="117883"/>
                    </a:lnTo>
                    <a:lnTo>
                      <a:pt x="477442" y="116065"/>
                    </a:lnTo>
                    <a:lnTo>
                      <a:pt x="479260" y="111671"/>
                    </a:lnTo>
                    <a:lnTo>
                      <a:pt x="482594" y="112125"/>
                    </a:lnTo>
                    <a:lnTo>
                      <a:pt x="484715" y="112883"/>
                    </a:lnTo>
                    <a:lnTo>
                      <a:pt x="488200" y="114853"/>
                    </a:lnTo>
                    <a:lnTo>
                      <a:pt x="491837" y="116065"/>
                    </a:lnTo>
                    <a:lnTo>
                      <a:pt x="493655" y="115762"/>
                    </a:lnTo>
                    <a:lnTo>
                      <a:pt x="495473" y="114398"/>
                    </a:lnTo>
                    <a:lnTo>
                      <a:pt x="496988" y="114853"/>
                    </a:lnTo>
                    <a:lnTo>
                      <a:pt x="497594" y="115913"/>
                    </a:lnTo>
                    <a:lnTo>
                      <a:pt x="500170" y="117429"/>
                    </a:lnTo>
                    <a:lnTo>
                      <a:pt x="504413" y="118186"/>
                    </a:lnTo>
                    <a:lnTo>
                      <a:pt x="505776" y="118035"/>
                    </a:lnTo>
                    <a:lnTo>
                      <a:pt x="508049" y="116671"/>
                    </a:lnTo>
                    <a:lnTo>
                      <a:pt x="508352" y="115459"/>
                    </a:lnTo>
                    <a:lnTo>
                      <a:pt x="509564" y="114398"/>
                    </a:lnTo>
                    <a:lnTo>
                      <a:pt x="510928" y="113792"/>
                    </a:lnTo>
                    <a:lnTo>
                      <a:pt x="509262" y="111974"/>
                    </a:lnTo>
                    <a:lnTo>
                      <a:pt x="506989" y="111216"/>
                    </a:lnTo>
                    <a:lnTo>
                      <a:pt x="504413" y="111519"/>
                    </a:lnTo>
                    <a:lnTo>
                      <a:pt x="504110" y="114095"/>
                    </a:lnTo>
                    <a:lnTo>
                      <a:pt x="501988" y="113792"/>
                    </a:lnTo>
                    <a:lnTo>
                      <a:pt x="498352" y="112429"/>
                    </a:lnTo>
                    <a:lnTo>
                      <a:pt x="496231" y="110459"/>
                    </a:lnTo>
                    <a:lnTo>
                      <a:pt x="495321" y="108943"/>
                    </a:lnTo>
                    <a:lnTo>
                      <a:pt x="495625" y="108337"/>
                    </a:lnTo>
                    <a:lnTo>
                      <a:pt x="497291" y="108641"/>
                    </a:lnTo>
                    <a:lnTo>
                      <a:pt x="498504" y="108034"/>
                    </a:lnTo>
                    <a:lnTo>
                      <a:pt x="499564" y="106974"/>
                    </a:lnTo>
                    <a:lnTo>
                      <a:pt x="499867" y="105458"/>
                    </a:lnTo>
                    <a:lnTo>
                      <a:pt x="501988" y="105307"/>
                    </a:lnTo>
                    <a:lnTo>
                      <a:pt x="506686" y="105307"/>
                    </a:lnTo>
                    <a:lnTo>
                      <a:pt x="508655" y="106368"/>
                    </a:lnTo>
                    <a:lnTo>
                      <a:pt x="510322" y="108186"/>
                    </a:lnTo>
                    <a:lnTo>
                      <a:pt x="511383" y="108489"/>
                    </a:lnTo>
                    <a:lnTo>
                      <a:pt x="512746" y="108489"/>
                    </a:lnTo>
                    <a:lnTo>
                      <a:pt x="513504" y="107731"/>
                    </a:lnTo>
                    <a:lnTo>
                      <a:pt x="512898" y="106064"/>
                    </a:lnTo>
                    <a:lnTo>
                      <a:pt x="515474" y="104701"/>
                    </a:lnTo>
                    <a:lnTo>
                      <a:pt x="516838" y="102428"/>
                    </a:lnTo>
                    <a:lnTo>
                      <a:pt x="517292" y="100155"/>
                    </a:lnTo>
                    <a:lnTo>
                      <a:pt x="516383" y="975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F08B30D0-4394-4166-9BF7-3207D7181B44}"/>
                  </a:ext>
                </a:extLst>
              </p:cNvPr>
              <p:cNvSpPr/>
              <p:nvPr/>
            </p:nvSpPr>
            <p:spPr>
              <a:xfrm>
                <a:off x="6145092" y="3912879"/>
                <a:ext cx="288344" cy="445622"/>
              </a:xfrm>
              <a:custGeom>
                <a:avLst/>
                <a:gdLst>
                  <a:gd name="connsiteX0" fmla="*/ 288344 w 288344"/>
                  <a:gd name="connsiteY0" fmla="*/ 212583 h 445622"/>
                  <a:gd name="connsiteX1" fmla="*/ 288344 w 288344"/>
                  <a:gd name="connsiteY1" fmla="*/ 200159 h 445622"/>
                  <a:gd name="connsiteX2" fmla="*/ 288344 w 288344"/>
                  <a:gd name="connsiteY2" fmla="*/ 187734 h 445622"/>
                  <a:gd name="connsiteX3" fmla="*/ 288344 w 288344"/>
                  <a:gd name="connsiteY3" fmla="*/ 175158 h 445622"/>
                  <a:gd name="connsiteX4" fmla="*/ 288193 w 288344"/>
                  <a:gd name="connsiteY4" fmla="*/ 162733 h 445622"/>
                  <a:gd name="connsiteX5" fmla="*/ 288193 w 288344"/>
                  <a:gd name="connsiteY5" fmla="*/ 150157 h 445622"/>
                  <a:gd name="connsiteX6" fmla="*/ 288193 w 288344"/>
                  <a:gd name="connsiteY6" fmla="*/ 137581 h 445622"/>
                  <a:gd name="connsiteX7" fmla="*/ 288193 w 288344"/>
                  <a:gd name="connsiteY7" fmla="*/ 125005 h 445622"/>
                  <a:gd name="connsiteX8" fmla="*/ 288193 w 288344"/>
                  <a:gd name="connsiteY8" fmla="*/ 112428 h 445622"/>
                  <a:gd name="connsiteX9" fmla="*/ 275162 w 288344"/>
                  <a:gd name="connsiteY9" fmla="*/ 105761 h 445622"/>
                  <a:gd name="connsiteX10" fmla="*/ 261980 w 288344"/>
                  <a:gd name="connsiteY10" fmla="*/ 99094 h 445622"/>
                  <a:gd name="connsiteX11" fmla="*/ 248949 w 288344"/>
                  <a:gd name="connsiteY11" fmla="*/ 92427 h 445622"/>
                  <a:gd name="connsiteX12" fmla="*/ 235766 w 288344"/>
                  <a:gd name="connsiteY12" fmla="*/ 85761 h 445622"/>
                  <a:gd name="connsiteX13" fmla="*/ 222736 w 288344"/>
                  <a:gd name="connsiteY13" fmla="*/ 78942 h 445622"/>
                  <a:gd name="connsiteX14" fmla="*/ 209553 w 288344"/>
                  <a:gd name="connsiteY14" fmla="*/ 72275 h 445622"/>
                  <a:gd name="connsiteX15" fmla="*/ 196522 w 288344"/>
                  <a:gd name="connsiteY15" fmla="*/ 65608 h 445622"/>
                  <a:gd name="connsiteX16" fmla="*/ 183340 w 288344"/>
                  <a:gd name="connsiteY16" fmla="*/ 58790 h 445622"/>
                  <a:gd name="connsiteX17" fmla="*/ 170310 w 288344"/>
                  <a:gd name="connsiteY17" fmla="*/ 52123 h 445622"/>
                  <a:gd name="connsiteX18" fmla="*/ 157127 w 288344"/>
                  <a:gd name="connsiteY18" fmla="*/ 45305 h 445622"/>
                  <a:gd name="connsiteX19" fmla="*/ 144096 w 288344"/>
                  <a:gd name="connsiteY19" fmla="*/ 38638 h 445622"/>
                  <a:gd name="connsiteX20" fmla="*/ 130914 w 288344"/>
                  <a:gd name="connsiteY20" fmla="*/ 31819 h 445622"/>
                  <a:gd name="connsiteX21" fmla="*/ 117883 w 288344"/>
                  <a:gd name="connsiteY21" fmla="*/ 25001 h 445622"/>
                  <a:gd name="connsiteX22" fmla="*/ 104701 w 288344"/>
                  <a:gd name="connsiteY22" fmla="*/ 18334 h 445622"/>
                  <a:gd name="connsiteX23" fmla="*/ 91670 w 288344"/>
                  <a:gd name="connsiteY23" fmla="*/ 11515 h 445622"/>
                  <a:gd name="connsiteX24" fmla="*/ 78488 w 288344"/>
                  <a:gd name="connsiteY24" fmla="*/ 4697 h 445622"/>
                  <a:gd name="connsiteX25" fmla="*/ 69397 w 288344"/>
                  <a:gd name="connsiteY25" fmla="*/ 0 h 445622"/>
                  <a:gd name="connsiteX26" fmla="*/ 59699 w 288344"/>
                  <a:gd name="connsiteY26" fmla="*/ 4546 h 445622"/>
                  <a:gd name="connsiteX27" fmla="*/ 51972 w 288344"/>
                  <a:gd name="connsiteY27" fmla="*/ 8182 h 445622"/>
                  <a:gd name="connsiteX28" fmla="*/ 41972 w 288344"/>
                  <a:gd name="connsiteY28" fmla="*/ 12879 h 445622"/>
                  <a:gd name="connsiteX29" fmla="*/ 45002 w 288344"/>
                  <a:gd name="connsiteY29" fmla="*/ 29395 h 445622"/>
                  <a:gd name="connsiteX30" fmla="*/ 47274 w 288344"/>
                  <a:gd name="connsiteY30" fmla="*/ 43638 h 445622"/>
                  <a:gd name="connsiteX31" fmla="*/ 47426 w 288344"/>
                  <a:gd name="connsiteY31" fmla="*/ 52578 h 445622"/>
                  <a:gd name="connsiteX32" fmla="*/ 47426 w 288344"/>
                  <a:gd name="connsiteY32" fmla="*/ 55002 h 445622"/>
                  <a:gd name="connsiteX33" fmla="*/ 48487 w 288344"/>
                  <a:gd name="connsiteY33" fmla="*/ 56517 h 445622"/>
                  <a:gd name="connsiteX34" fmla="*/ 50608 w 288344"/>
                  <a:gd name="connsiteY34" fmla="*/ 58184 h 445622"/>
                  <a:gd name="connsiteX35" fmla="*/ 59093 w 288344"/>
                  <a:gd name="connsiteY35" fmla="*/ 71215 h 445622"/>
                  <a:gd name="connsiteX36" fmla="*/ 57275 w 288344"/>
                  <a:gd name="connsiteY36" fmla="*/ 73487 h 445622"/>
                  <a:gd name="connsiteX37" fmla="*/ 58638 w 288344"/>
                  <a:gd name="connsiteY37" fmla="*/ 77427 h 445622"/>
                  <a:gd name="connsiteX38" fmla="*/ 60760 w 288344"/>
                  <a:gd name="connsiteY38" fmla="*/ 79245 h 445622"/>
                  <a:gd name="connsiteX39" fmla="*/ 67881 w 288344"/>
                  <a:gd name="connsiteY39" fmla="*/ 86973 h 445622"/>
                  <a:gd name="connsiteX40" fmla="*/ 68791 w 288344"/>
                  <a:gd name="connsiteY40" fmla="*/ 88488 h 445622"/>
                  <a:gd name="connsiteX41" fmla="*/ 68488 w 288344"/>
                  <a:gd name="connsiteY41" fmla="*/ 89700 h 445622"/>
                  <a:gd name="connsiteX42" fmla="*/ 63487 w 288344"/>
                  <a:gd name="connsiteY42" fmla="*/ 98791 h 445622"/>
                  <a:gd name="connsiteX43" fmla="*/ 62578 w 288344"/>
                  <a:gd name="connsiteY43" fmla="*/ 100913 h 445622"/>
                  <a:gd name="connsiteX44" fmla="*/ 61669 w 288344"/>
                  <a:gd name="connsiteY44" fmla="*/ 112580 h 445622"/>
                  <a:gd name="connsiteX45" fmla="*/ 60912 w 288344"/>
                  <a:gd name="connsiteY45" fmla="*/ 120610 h 445622"/>
                  <a:gd name="connsiteX46" fmla="*/ 60003 w 288344"/>
                  <a:gd name="connsiteY46" fmla="*/ 131823 h 445622"/>
                  <a:gd name="connsiteX47" fmla="*/ 58790 w 288344"/>
                  <a:gd name="connsiteY47" fmla="*/ 145157 h 445622"/>
                  <a:gd name="connsiteX48" fmla="*/ 57881 w 288344"/>
                  <a:gd name="connsiteY48" fmla="*/ 156369 h 445622"/>
                  <a:gd name="connsiteX49" fmla="*/ 56669 w 288344"/>
                  <a:gd name="connsiteY49" fmla="*/ 171218 h 445622"/>
                  <a:gd name="connsiteX50" fmla="*/ 55457 w 288344"/>
                  <a:gd name="connsiteY50" fmla="*/ 185158 h 445622"/>
                  <a:gd name="connsiteX51" fmla="*/ 48335 w 288344"/>
                  <a:gd name="connsiteY51" fmla="*/ 192886 h 445622"/>
                  <a:gd name="connsiteX52" fmla="*/ 35607 w 288344"/>
                  <a:gd name="connsiteY52" fmla="*/ 206523 h 445622"/>
                  <a:gd name="connsiteX53" fmla="*/ 25153 w 288344"/>
                  <a:gd name="connsiteY53" fmla="*/ 217584 h 445622"/>
                  <a:gd name="connsiteX54" fmla="*/ 20001 w 288344"/>
                  <a:gd name="connsiteY54" fmla="*/ 225008 h 445622"/>
                  <a:gd name="connsiteX55" fmla="*/ 9849 w 288344"/>
                  <a:gd name="connsiteY55" fmla="*/ 239403 h 445622"/>
                  <a:gd name="connsiteX56" fmla="*/ 5303 w 288344"/>
                  <a:gd name="connsiteY56" fmla="*/ 248645 h 445622"/>
                  <a:gd name="connsiteX57" fmla="*/ 1818 w 288344"/>
                  <a:gd name="connsiteY57" fmla="*/ 253494 h 445622"/>
                  <a:gd name="connsiteX58" fmla="*/ 0 w 288344"/>
                  <a:gd name="connsiteY58" fmla="*/ 255615 h 445622"/>
                  <a:gd name="connsiteX59" fmla="*/ 1667 w 288344"/>
                  <a:gd name="connsiteY59" fmla="*/ 262434 h 445622"/>
                  <a:gd name="connsiteX60" fmla="*/ 4394 w 288344"/>
                  <a:gd name="connsiteY60" fmla="*/ 274404 h 445622"/>
                  <a:gd name="connsiteX61" fmla="*/ 8637 w 288344"/>
                  <a:gd name="connsiteY61" fmla="*/ 280313 h 445622"/>
                  <a:gd name="connsiteX62" fmla="*/ 13334 w 288344"/>
                  <a:gd name="connsiteY62" fmla="*/ 286677 h 445622"/>
                  <a:gd name="connsiteX63" fmla="*/ 16970 w 288344"/>
                  <a:gd name="connsiteY63" fmla="*/ 291677 h 445622"/>
                  <a:gd name="connsiteX64" fmla="*/ 21819 w 288344"/>
                  <a:gd name="connsiteY64" fmla="*/ 291677 h 445622"/>
                  <a:gd name="connsiteX65" fmla="*/ 27729 w 288344"/>
                  <a:gd name="connsiteY65" fmla="*/ 293344 h 445622"/>
                  <a:gd name="connsiteX66" fmla="*/ 29244 w 288344"/>
                  <a:gd name="connsiteY66" fmla="*/ 294405 h 445622"/>
                  <a:gd name="connsiteX67" fmla="*/ 30001 w 288344"/>
                  <a:gd name="connsiteY67" fmla="*/ 298799 h 445622"/>
                  <a:gd name="connsiteX68" fmla="*/ 32274 w 288344"/>
                  <a:gd name="connsiteY68" fmla="*/ 301375 h 445622"/>
                  <a:gd name="connsiteX69" fmla="*/ 35910 w 288344"/>
                  <a:gd name="connsiteY69" fmla="*/ 303344 h 445622"/>
                  <a:gd name="connsiteX70" fmla="*/ 38335 w 288344"/>
                  <a:gd name="connsiteY70" fmla="*/ 307587 h 445622"/>
                  <a:gd name="connsiteX71" fmla="*/ 39244 w 288344"/>
                  <a:gd name="connsiteY71" fmla="*/ 314102 h 445622"/>
                  <a:gd name="connsiteX72" fmla="*/ 41365 w 288344"/>
                  <a:gd name="connsiteY72" fmla="*/ 317890 h 445622"/>
                  <a:gd name="connsiteX73" fmla="*/ 41820 w 288344"/>
                  <a:gd name="connsiteY73" fmla="*/ 318496 h 445622"/>
                  <a:gd name="connsiteX74" fmla="*/ 44093 w 288344"/>
                  <a:gd name="connsiteY74" fmla="*/ 324103 h 445622"/>
                  <a:gd name="connsiteX75" fmla="*/ 44699 w 288344"/>
                  <a:gd name="connsiteY75" fmla="*/ 325769 h 445622"/>
                  <a:gd name="connsiteX76" fmla="*/ 44850 w 288344"/>
                  <a:gd name="connsiteY76" fmla="*/ 329103 h 445622"/>
                  <a:gd name="connsiteX77" fmla="*/ 44699 w 288344"/>
                  <a:gd name="connsiteY77" fmla="*/ 331376 h 445622"/>
                  <a:gd name="connsiteX78" fmla="*/ 45911 w 288344"/>
                  <a:gd name="connsiteY78" fmla="*/ 334103 h 445622"/>
                  <a:gd name="connsiteX79" fmla="*/ 44093 w 288344"/>
                  <a:gd name="connsiteY79" fmla="*/ 338952 h 445622"/>
                  <a:gd name="connsiteX80" fmla="*/ 43486 w 288344"/>
                  <a:gd name="connsiteY80" fmla="*/ 341831 h 445622"/>
                  <a:gd name="connsiteX81" fmla="*/ 43335 w 288344"/>
                  <a:gd name="connsiteY81" fmla="*/ 345922 h 445622"/>
                  <a:gd name="connsiteX82" fmla="*/ 44396 w 288344"/>
                  <a:gd name="connsiteY82" fmla="*/ 353195 h 445622"/>
                  <a:gd name="connsiteX83" fmla="*/ 46062 w 288344"/>
                  <a:gd name="connsiteY83" fmla="*/ 358649 h 445622"/>
                  <a:gd name="connsiteX84" fmla="*/ 48032 w 288344"/>
                  <a:gd name="connsiteY84" fmla="*/ 363195 h 445622"/>
                  <a:gd name="connsiteX85" fmla="*/ 50002 w 288344"/>
                  <a:gd name="connsiteY85" fmla="*/ 366680 h 445622"/>
                  <a:gd name="connsiteX86" fmla="*/ 53487 w 288344"/>
                  <a:gd name="connsiteY86" fmla="*/ 370619 h 445622"/>
                  <a:gd name="connsiteX87" fmla="*/ 57124 w 288344"/>
                  <a:gd name="connsiteY87" fmla="*/ 374105 h 445622"/>
                  <a:gd name="connsiteX88" fmla="*/ 60457 w 288344"/>
                  <a:gd name="connsiteY88" fmla="*/ 376226 h 445622"/>
                  <a:gd name="connsiteX89" fmla="*/ 57275 w 288344"/>
                  <a:gd name="connsiteY89" fmla="*/ 377590 h 445622"/>
                  <a:gd name="connsiteX90" fmla="*/ 51214 w 288344"/>
                  <a:gd name="connsiteY90" fmla="*/ 377741 h 445622"/>
                  <a:gd name="connsiteX91" fmla="*/ 47729 w 288344"/>
                  <a:gd name="connsiteY91" fmla="*/ 376983 h 445622"/>
                  <a:gd name="connsiteX92" fmla="*/ 46214 w 288344"/>
                  <a:gd name="connsiteY92" fmla="*/ 376983 h 445622"/>
                  <a:gd name="connsiteX93" fmla="*/ 44396 w 288344"/>
                  <a:gd name="connsiteY93" fmla="*/ 377438 h 445622"/>
                  <a:gd name="connsiteX94" fmla="*/ 38032 w 288344"/>
                  <a:gd name="connsiteY94" fmla="*/ 378044 h 445622"/>
                  <a:gd name="connsiteX95" fmla="*/ 31517 w 288344"/>
                  <a:gd name="connsiteY95" fmla="*/ 377741 h 445622"/>
                  <a:gd name="connsiteX96" fmla="*/ 25456 w 288344"/>
                  <a:gd name="connsiteY96" fmla="*/ 376983 h 445622"/>
                  <a:gd name="connsiteX97" fmla="*/ 21819 w 288344"/>
                  <a:gd name="connsiteY97" fmla="*/ 377135 h 445622"/>
                  <a:gd name="connsiteX98" fmla="*/ 18940 w 288344"/>
                  <a:gd name="connsiteY98" fmla="*/ 379256 h 445622"/>
                  <a:gd name="connsiteX99" fmla="*/ 16667 w 288344"/>
                  <a:gd name="connsiteY99" fmla="*/ 382438 h 445622"/>
                  <a:gd name="connsiteX100" fmla="*/ 14546 w 288344"/>
                  <a:gd name="connsiteY100" fmla="*/ 385014 h 445622"/>
                  <a:gd name="connsiteX101" fmla="*/ 15304 w 288344"/>
                  <a:gd name="connsiteY101" fmla="*/ 387741 h 445622"/>
                  <a:gd name="connsiteX102" fmla="*/ 16970 w 288344"/>
                  <a:gd name="connsiteY102" fmla="*/ 389408 h 445622"/>
                  <a:gd name="connsiteX103" fmla="*/ 20001 w 288344"/>
                  <a:gd name="connsiteY103" fmla="*/ 392742 h 445622"/>
                  <a:gd name="connsiteX104" fmla="*/ 22880 w 288344"/>
                  <a:gd name="connsiteY104" fmla="*/ 396075 h 445622"/>
                  <a:gd name="connsiteX105" fmla="*/ 24243 w 288344"/>
                  <a:gd name="connsiteY105" fmla="*/ 398348 h 445622"/>
                  <a:gd name="connsiteX106" fmla="*/ 29850 w 288344"/>
                  <a:gd name="connsiteY106" fmla="*/ 403197 h 445622"/>
                  <a:gd name="connsiteX107" fmla="*/ 35153 w 288344"/>
                  <a:gd name="connsiteY107" fmla="*/ 407591 h 445622"/>
                  <a:gd name="connsiteX108" fmla="*/ 36214 w 288344"/>
                  <a:gd name="connsiteY108" fmla="*/ 408348 h 445622"/>
                  <a:gd name="connsiteX109" fmla="*/ 37729 w 288344"/>
                  <a:gd name="connsiteY109" fmla="*/ 409106 h 445622"/>
                  <a:gd name="connsiteX110" fmla="*/ 38638 w 288344"/>
                  <a:gd name="connsiteY110" fmla="*/ 409409 h 445622"/>
                  <a:gd name="connsiteX111" fmla="*/ 41668 w 288344"/>
                  <a:gd name="connsiteY111" fmla="*/ 411985 h 445622"/>
                  <a:gd name="connsiteX112" fmla="*/ 45760 w 288344"/>
                  <a:gd name="connsiteY112" fmla="*/ 416076 h 445622"/>
                  <a:gd name="connsiteX113" fmla="*/ 49396 w 288344"/>
                  <a:gd name="connsiteY113" fmla="*/ 422440 h 445622"/>
                  <a:gd name="connsiteX114" fmla="*/ 52123 w 288344"/>
                  <a:gd name="connsiteY114" fmla="*/ 428955 h 445622"/>
                  <a:gd name="connsiteX115" fmla="*/ 54699 w 288344"/>
                  <a:gd name="connsiteY115" fmla="*/ 435319 h 445622"/>
                  <a:gd name="connsiteX116" fmla="*/ 55760 w 288344"/>
                  <a:gd name="connsiteY116" fmla="*/ 436380 h 445622"/>
                  <a:gd name="connsiteX117" fmla="*/ 57578 w 288344"/>
                  <a:gd name="connsiteY117" fmla="*/ 437137 h 445622"/>
                  <a:gd name="connsiteX118" fmla="*/ 57729 w 288344"/>
                  <a:gd name="connsiteY118" fmla="*/ 438501 h 445622"/>
                  <a:gd name="connsiteX119" fmla="*/ 57578 w 288344"/>
                  <a:gd name="connsiteY119" fmla="*/ 440471 h 445622"/>
                  <a:gd name="connsiteX120" fmla="*/ 57124 w 288344"/>
                  <a:gd name="connsiteY120" fmla="*/ 442137 h 445622"/>
                  <a:gd name="connsiteX121" fmla="*/ 55608 w 288344"/>
                  <a:gd name="connsiteY121" fmla="*/ 444259 h 445622"/>
                  <a:gd name="connsiteX122" fmla="*/ 58638 w 288344"/>
                  <a:gd name="connsiteY122" fmla="*/ 444562 h 445622"/>
                  <a:gd name="connsiteX123" fmla="*/ 61669 w 288344"/>
                  <a:gd name="connsiteY123" fmla="*/ 445319 h 445622"/>
                  <a:gd name="connsiteX124" fmla="*/ 65609 w 288344"/>
                  <a:gd name="connsiteY124" fmla="*/ 445622 h 445622"/>
                  <a:gd name="connsiteX125" fmla="*/ 68639 w 288344"/>
                  <a:gd name="connsiteY125" fmla="*/ 444713 h 445622"/>
                  <a:gd name="connsiteX126" fmla="*/ 70760 w 288344"/>
                  <a:gd name="connsiteY126" fmla="*/ 443046 h 445622"/>
                  <a:gd name="connsiteX127" fmla="*/ 75155 w 288344"/>
                  <a:gd name="connsiteY127" fmla="*/ 441531 h 445622"/>
                  <a:gd name="connsiteX128" fmla="*/ 80306 w 288344"/>
                  <a:gd name="connsiteY128" fmla="*/ 440016 h 445622"/>
                  <a:gd name="connsiteX129" fmla="*/ 80912 w 288344"/>
                  <a:gd name="connsiteY129" fmla="*/ 437592 h 445622"/>
                  <a:gd name="connsiteX130" fmla="*/ 82427 w 288344"/>
                  <a:gd name="connsiteY130" fmla="*/ 436228 h 445622"/>
                  <a:gd name="connsiteX131" fmla="*/ 84246 w 288344"/>
                  <a:gd name="connsiteY131" fmla="*/ 435167 h 445622"/>
                  <a:gd name="connsiteX132" fmla="*/ 84852 w 288344"/>
                  <a:gd name="connsiteY132" fmla="*/ 435016 h 445622"/>
                  <a:gd name="connsiteX133" fmla="*/ 84852 w 288344"/>
                  <a:gd name="connsiteY133" fmla="*/ 435773 h 445622"/>
                  <a:gd name="connsiteX134" fmla="*/ 85912 w 288344"/>
                  <a:gd name="connsiteY134" fmla="*/ 438349 h 445622"/>
                  <a:gd name="connsiteX135" fmla="*/ 88185 w 288344"/>
                  <a:gd name="connsiteY135" fmla="*/ 440774 h 445622"/>
                  <a:gd name="connsiteX136" fmla="*/ 91367 w 288344"/>
                  <a:gd name="connsiteY136" fmla="*/ 443653 h 445622"/>
                  <a:gd name="connsiteX137" fmla="*/ 92276 w 288344"/>
                  <a:gd name="connsiteY137" fmla="*/ 443349 h 445622"/>
                  <a:gd name="connsiteX138" fmla="*/ 94246 w 288344"/>
                  <a:gd name="connsiteY138" fmla="*/ 441380 h 445622"/>
                  <a:gd name="connsiteX139" fmla="*/ 99246 w 288344"/>
                  <a:gd name="connsiteY139" fmla="*/ 440016 h 445622"/>
                  <a:gd name="connsiteX140" fmla="*/ 100458 w 288344"/>
                  <a:gd name="connsiteY140" fmla="*/ 439410 h 445622"/>
                  <a:gd name="connsiteX141" fmla="*/ 103943 w 288344"/>
                  <a:gd name="connsiteY141" fmla="*/ 436380 h 445622"/>
                  <a:gd name="connsiteX142" fmla="*/ 108186 w 288344"/>
                  <a:gd name="connsiteY142" fmla="*/ 434410 h 445622"/>
                  <a:gd name="connsiteX143" fmla="*/ 109095 w 288344"/>
                  <a:gd name="connsiteY143" fmla="*/ 434258 h 445622"/>
                  <a:gd name="connsiteX144" fmla="*/ 110762 w 288344"/>
                  <a:gd name="connsiteY144" fmla="*/ 433804 h 445622"/>
                  <a:gd name="connsiteX145" fmla="*/ 115004 w 288344"/>
                  <a:gd name="connsiteY145" fmla="*/ 431682 h 445622"/>
                  <a:gd name="connsiteX146" fmla="*/ 118035 w 288344"/>
                  <a:gd name="connsiteY146" fmla="*/ 431985 h 445622"/>
                  <a:gd name="connsiteX147" fmla="*/ 122884 w 288344"/>
                  <a:gd name="connsiteY147" fmla="*/ 431682 h 445622"/>
                  <a:gd name="connsiteX148" fmla="*/ 131066 w 288344"/>
                  <a:gd name="connsiteY148" fmla="*/ 430773 h 445622"/>
                  <a:gd name="connsiteX149" fmla="*/ 136975 w 288344"/>
                  <a:gd name="connsiteY149" fmla="*/ 430470 h 445622"/>
                  <a:gd name="connsiteX150" fmla="*/ 140006 w 288344"/>
                  <a:gd name="connsiteY150" fmla="*/ 430016 h 445622"/>
                  <a:gd name="connsiteX151" fmla="*/ 140763 w 288344"/>
                  <a:gd name="connsiteY151" fmla="*/ 429713 h 445622"/>
                  <a:gd name="connsiteX152" fmla="*/ 141975 w 288344"/>
                  <a:gd name="connsiteY152" fmla="*/ 426682 h 445622"/>
                  <a:gd name="connsiteX153" fmla="*/ 142884 w 288344"/>
                  <a:gd name="connsiteY153" fmla="*/ 425925 h 445622"/>
                  <a:gd name="connsiteX154" fmla="*/ 145005 w 288344"/>
                  <a:gd name="connsiteY154" fmla="*/ 424712 h 445622"/>
                  <a:gd name="connsiteX155" fmla="*/ 149400 w 288344"/>
                  <a:gd name="connsiteY155" fmla="*/ 420167 h 445622"/>
                  <a:gd name="connsiteX156" fmla="*/ 152279 w 288344"/>
                  <a:gd name="connsiteY156" fmla="*/ 416530 h 445622"/>
                  <a:gd name="connsiteX157" fmla="*/ 153036 w 288344"/>
                  <a:gd name="connsiteY157" fmla="*/ 415318 h 445622"/>
                  <a:gd name="connsiteX158" fmla="*/ 153036 w 288344"/>
                  <a:gd name="connsiteY158" fmla="*/ 415167 h 445622"/>
                  <a:gd name="connsiteX159" fmla="*/ 153642 w 288344"/>
                  <a:gd name="connsiteY159" fmla="*/ 414863 h 445622"/>
                  <a:gd name="connsiteX160" fmla="*/ 154854 w 288344"/>
                  <a:gd name="connsiteY160" fmla="*/ 413348 h 445622"/>
                  <a:gd name="connsiteX161" fmla="*/ 153642 w 288344"/>
                  <a:gd name="connsiteY161" fmla="*/ 411682 h 445622"/>
                  <a:gd name="connsiteX162" fmla="*/ 148794 w 288344"/>
                  <a:gd name="connsiteY162" fmla="*/ 408348 h 445622"/>
                  <a:gd name="connsiteX163" fmla="*/ 148945 w 288344"/>
                  <a:gd name="connsiteY163" fmla="*/ 408045 h 445622"/>
                  <a:gd name="connsiteX164" fmla="*/ 148642 w 288344"/>
                  <a:gd name="connsiteY164" fmla="*/ 407439 h 445622"/>
                  <a:gd name="connsiteX165" fmla="*/ 148945 w 288344"/>
                  <a:gd name="connsiteY165" fmla="*/ 406985 h 445622"/>
                  <a:gd name="connsiteX166" fmla="*/ 150763 w 288344"/>
                  <a:gd name="connsiteY166" fmla="*/ 405621 h 445622"/>
                  <a:gd name="connsiteX167" fmla="*/ 153188 w 288344"/>
                  <a:gd name="connsiteY167" fmla="*/ 404106 h 445622"/>
                  <a:gd name="connsiteX168" fmla="*/ 155915 w 288344"/>
                  <a:gd name="connsiteY168" fmla="*/ 403499 h 445622"/>
                  <a:gd name="connsiteX169" fmla="*/ 162885 w 288344"/>
                  <a:gd name="connsiteY169" fmla="*/ 403651 h 445622"/>
                  <a:gd name="connsiteX170" fmla="*/ 168794 w 288344"/>
                  <a:gd name="connsiteY170" fmla="*/ 403348 h 445622"/>
                  <a:gd name="connsiteX171" fmla="*/ 170310 w 288344"/>
                  <a:gd name="connsiteY171" fmla="*/ 403348 h 445622"/>
                  <a:gd name="connsiteX172" fmla="*/ 174855 w 288344"/>
                  <a:gd name="connsiteY172" fmla="*/ 402590 h 445622"/>
                  <a:gd name="connsiteX173" fmla="*/ 178037 w 288344"/>
                  <a:gd name="connsiteY173" fmla="*/ 401833 h 445622"/>
                  <a:gd name="connsiteX174" fmla="*/ 181370 w 288344"/>
                  <a:gd name="connsiteY174" fmla="*/ 400318 h 445622"/>
                  <a:gd name="connsiteX175" fmla="*/ 188644 w 288344"/>
                  <a:gd name="connsiteY175" fmla="*/ 400469 h 445622"/>
                  <a:gd name="connsiteX176" fmla="*/ 194856 w 288344"/>
                  <a:gd name="connsiteY176" fmla="*/ 396378 h 445622"/>
                  <a:gd name="connsiteX177" fmla="*/ 196522 w 288344"/>
                  <a:gd name="connsiteY177" fmla="*/ 395621 h 445622"/>
                  <a:gd name="connsiteX178" fmla="*/ 197432 w 288344"/>
                  <a:gd name="connsiteY178" fmla="*/ 395014 h 445622"/>
                  <a:gd name="connsiteX179" fmla="*/ 197583 w 288344"/>
                  <a:gd name="connsiteY179" fmla="*/ 394408 h 445622"/>
                  <a:gd name="connsiteX180" fmla="*/ 200462 w 288344"/>
                  <a:gd name="connsiteY180" fmla="*/ 392742 h 445622"/>
                  <a:gd name="connsiteX181" fmla="*/ 203644 w 288344"/>
                  <a:gd name="connsiteY181" fmla="*/ 389408 h 445622"/>
                  <a:gd name="connsiteX182" fmla="*/ 206220 w 288344"/>
                  <a:gd name="connsiteY182" fmla="*/ 386529 h 445622"/>
                  <a:gd name="connsiteX183" fmla="*/ 206977 w 288344"/>
                  <a:gd name="connsiteY183" fmla="*/ 384408 h 445622"/>
                  <a:gd name="connsiteX184" fmla="*/ 213947 w 288344"/>
                  <a:gd name="connsiteY184" fmla="*/ 377135 h 445622"/>
                  <a:gd name="connsiteX185" fmla="*/ 216372 w 288344"/>
                  <a:gd name="connsiteY185" fmla="*/ 377286 h 445622"/>
                  <a:gd name="connsiteX186" fmla="*/ 217432 w 288344"/>
                  <a:gd name="connsiteY186" fmla="*/ 376529 h 445622"/>
                  <a:gd name="connsiteX187" fmla="*/ 220311 w 288344"/>
                  <a:gd name="connsiteY187" fmla="*/ 371680 h 445622"/>
                  <a:gd name="connsiteX188" fmla="*/ 221069 w 288344"/>
                  <a:gd name="connsiteY188" fmla="*/ 370771 h 445622"/>
                  <a:gd name="connsiteX189" fmla="*/ 222433 w 288344"/>
                  <a:gd name="connsiteY189" fmla="*/ 370468 h 445622"/>
                  <a:gd name="connsiteX190" fmla="*/ 223948 w 288344"/>
                  <a:gd name="connsiteY190" fmla="*/ 370013 h 445622"/>
                  <a:gd name="connsiteX191" fmla="*/ 225311 w 288344"/>
                  <a:gd name="connsiteY191" fmla="*/ 368498 h 445622"/>
                  <a:gd name="connsiteX192" fmla="*/ 226524 w 288344"/>
                  <a:gd name="connsiteY192" fmla="*/ 366377 h 445622"/>
                  <a:gd name="connsiteX193" fmla="*/ 226524 w 288344"/>
                  <a:gd name="connsiteY193" fmla="*/ 363801 h 445622"/>
                  <a:gd name="connsiteX194" fmla="*/ 226069 w 288344"/>
                  <a:gd name="connsiteY194" fmla="*/ 361680 h 445622"/>
                  <a:gd name="connsiteX195" fmla="*/ 226069 w 288344"/>
                  <a:gd name="connsiteY195" fmla="*/ 360771 h 445622"/>
                  <a:gd name="connsiteX196" fmla="*/ 226675 w 288344"/>
                  <a:gd name="connsiteY196" fmla="*/ 359710 h 445622"/>
                  <a:gd name="connsiteX197" fmla="*/ 227736 w 288344"/>
                  <a:gd name="connsiteY197" fmla="*/ 358801 h 445622"/>
                  <a:gd name="connsiteX198" fmla="*/ 233039 w 288344"/>
                  <a:gd name="connsiteY198" fmla="*/ 356225 h 445622"/>
                  <a:gd name="connsiteX199" fmla="*/ 234403 w 288344"/>
                  <a:gd name="connsiteY199" fmla="*/ 355013 h 445622"/>
                  <a:gd name="connsiteX200" fmla="*/ 235161 w 288344"/>
                  <a:gd name="connsiteY200" fmla="*/ 353952 h 445622"/>
                  <a:gd name="connsiteX201" fmla="*/ 236675 w 288344"/>
                  <a:gd name="connsiteY201" fmla="*/ 353649 h 445622"/>
                  <a:gd name="connsiteX202" fmla="*/ 238342 w 288344"/>
                  <a:gd name="connsiteY202" fmla="*/ 353801 h 445622"/>
                  <a:gd name="connsiteX203" fmla="*/ 239403 w 288344"/>
                  <a:gd name="connsiteY203" fmla="*/ 353043 h 445622"/>
                  <a:gd name="connsiteX204" fmla="*/ 240463 w 288344"/>
                  <a:gd name="connsiteY204" fmla="*/ 351982 h 445622"/>
                  <a:gd name="connsiteX205" fmla="*/ 244100 w 288344"/>
                  <a:gd name="connsiteY205" fmla="*/ 350316 h 445622"/>
                  <a:gd name="connsiteX206" fmla="*/ 247585 w 288344"/>
                  <a:gd name="connsiteY206" fmla="*/ 349104 h 445622"/>
                  <a:gd name="connsiteX207" fmla="*/ 251070 w 288344"/>
                  <a:gd name="connsiteY207" fmla="*/ 349710 h 445622"/>
                  <a:gd name="connsiteX208" fmla="*/ 253949 w 288344"/>
                  <a:gd name="connsiteY208" fmla="*/ 350316 h 445622"/>
                  <a:gd name="connsiteX209" fmla="*/ 256373 w 288344"/>
                  <a:gd name="connsiteY209" fmla="*/ 351073 h 445622"/>
                  <a:gd name="connsiteX210" fmla="*/ 257585 w 288344"/>
                  <a:gd name="connsiteY210" fmla="*/ 351225 h 445622"/>
                  <a:gd name="connsiteX211" fmla="*/ 258494 w 288344"/>
                  <a:gd name="connsiteY211" fmla="*/ 348194 h 445622"/>
                  <a:gd name="connsiteX212" fmla="*/ 259707 w 288344"/>
                  <a:gd name="connsiteY212" fmla="*/ 343800 h 445622"/>
                  <a:gd name="connsiteX213" fmla="*/ 259858 w 288344"/>
                  <a:gd name="connsiteY213" fmla="*/ 341679 h 445622"/>
                  <a:gd name="connsiteX214" fmla="*/ 259252 w 288344"/>
                  <a:gd name="connsiteY214" fmla="*/ 339558 h 445622"/>
                  <a:gd name="connsiteX215" fmla="*/ 257282 w 288344"/>
                  <a:gd name="connsiteY215" fmla="*/ 337891 h 445622"/>
                  <a:gd name="connsiteX216" fmla="*/ 255464 w 288344"/>
                  <a:gd name="connsiteY216" fmla="*/ 337740 h 445622"/>
                  <a:gd name="connsiteX217" fmla="*/ 254706 w 288344"/>
                  <a:gd name="connsiteY217" fmla="*/ 336982 h 445622"/>
                  <a:gd name="connsiteX218" fmla="*/ 253040 w 288344"/>
                  <a:gd name="connsiteY218" fmla="*/ 335770 h 445622"/>
                  <a:gd name="connsiteX219" fmla="*/ 251525 w 288344"/>
                  <a:gd name="connsiteY219" fmla="*/ 334861 h 445622"/>
                  <a:gd name="connsiteX220" fmla="*/ 250161 w 288344"/>
                  <a:gd name="connsiteY220" fmla="*/ 333042 h 445622"/>
                  <a:gd name="connsiteX221" fmla="*/ 249252 w 288344"/>
                  <a:gd name="connsiteY221" fmla="*/ 330618 h 445622"/>
                  <a:gd name="connsiteX222" fmla="*/ 249858 w 288344"/>
                  <a:gd name="connsiteY222" fmla="*/ 321830 h 445622"/>
                  <a:gd name="connsiteX223" fmla="*/ 249404 w 288344"/>
                  <a:gd name="connsiteY223" fmla="*/ 320618 h 445622"/>
                  <a:gd name="connsiteX224" fmla="*/ 247434 w 288344"/>
                  <a:gd name="connsiteY224" fmla="*/ 320315 h 445622"/>
                  <a:gd name="connsiteX225" fmla="*/ 246979 w 288344"/>
                  <a:gd name="connsiteY225" fmla="*/ 319557 h 445622"/>
                  <a:gd name="connsiteX226" fmla="*/ 246979 w 288344"/>
                  <a:gd name="connsiteY226" fmla="*/ 317890 h 445622"/>
                  <a:gd name="connsiteX227" fmla="*/ 245918 w 288344"/>
                  <a:gd name="connsiteY227" fmla="*/ 312890 h 445622"/>
                  <a:gd name="connsiteX228" fmla="*/ 244706 w 288344"/>
                  <a:gd name="connsiteY228" fmla="*/ 308648 h 445622"/>
                  <a:gd name="connsiteX229" fmla="*/ 245312 w 288344"/>
                  <a:gd name="connsiteY229" fmla="*/ 306375 h 445622"/>
                  <a:gd name="connsiteX230" fmla="*/ 243646 w 288344"/>
                  <a:gd name="connsiteY230" fmla="*/ 303193 h 445622"/>
                  <a:gd name="connsiteX231" fmla="*/ 240463 w 288344"/>
                  <a:gd name="connsiteY231" fmla="*/ 301829 h 445622"/>
                  <a:gd name="connsiteX232" fmla="*/ 237282 w 288344"/>
                  <a:gd name="connsiteY232" fmla="*/ 302284 h 445622"/>
                  <a:gd name="connsiteX233" fmla="*/ 234100 w 288344"/>
                  <a:gd name="connsiteY233" fmla="*/ 302890 h 445622"/>
                  <a:gd name="connsiteX234" fmla="*/ 232130 w 288344"/>
                  <a:gd name="connsiteY234" fmla="*/ 302738 h 445622"/>
                  <a:gd name="connsiteX235" fmla="*/ 230766 w 288344"/>
                  <a:gd name="connsiteY235" fmla="*/ 302132 h 445622"/>
                  <a:gd name="connsiteX236" fmla="*/ 229706 w 288344"/>
                  <a:gd name="connsiteY236" fmla="*/ 301072 h 445622"/>
                  <a:gd name="connsiteX237" fmla="*/ 229251 w 288344"/>
                  <a:gd name="connsiteY237" fmla="*/ 299708 h 445622"/>
                  <a:gd name="connsiteX238" fmla="*/ 229706 w 288344"/>
                  <a:gd name="connsiteY238" fmla="*/ 297587 h 445622"/>
                  <a:gd name="connsiteX239" fmla="*/ 231524 w 288344"/>
                  <a:gd name="connsiteY239" fmla="*/ 293799 h 445622"/>
                  <a:gd name="connsiteX240" fmla="*/ 233797 w 288344"/>
                  <a:gd name="connsiteY240" fmla="*/ 290768 h 445622"/>
                  <a:gd name="connsiteX241" fmla="*/ 238342 w 288344"/>
                  <a:gd name="connsiteY241" fmla="*/ 287889 h 445622"/>
                  <a:gd name="connsiteX242" fmla="*/ 239554 w 288344"/>
                  <a:gd name="connsiteY242" fmla="*/ 286374 h 445622"/>
                  <a:gd name="connsiteX243" fmla="*/ 240312 w 288344"/>
                  <a:gd name="connsiteY243" fmla="*/ 284707 h 445622"/>
                  <a:gd name="connsiteX244" fmla="*/ 240463 w 288344"/>
                  <a:gd name="connsiteY244" fmla="*/ 282889 h 445622"/>
                  <a:gd name="connsiteX245" fmla="*/ 240161 w 288344"/>
                  <a:gd name="connsiteY245" fmla="*/ 280768 h 445622"/>
                  <a:gd name="connsiteX246" fmla="*/ 239554 w 288344"/>
                  <a:gd name="connsiteY246" fmla="*/ 278949 h 445622"/>
                  <a:gd name="connsiteX247" fmla="*/ 238191 w 288344"/>
                  <a:gd name="connsiteY247" fmla="*/ 276525 h 445622"/>
                  <a:gd name="connsiteX248" fmla="*/ 236979 w 288344"/>
                  <a:gd name="connsiteY248" fmla="*/ 273646 h 445622"/>
                  <a:gd name="connsiteX249" fmla="*/ 236979 w 288344"/>
                  <a:gd name="connsiteY249" fmla="*/ 271676 h 445622"/>
                  <a:gd name="connsiteX250" fmla="*/ 237585 w 288344"/>
                  <a:gd name="connsiteY250" fmla="*/ 270313 h 445622"/>
                  <a:gd name="connsiteX251" fmla="*/ 238797 w 288344"/>
                  <a:gd name="connsiteY251" fmla="*/ 268646 h 445622"/>
                  <a:gd name="connsiteX252" fmla="*/ 241221 w 288344"/>
                  <a:gd name="connsiteY252" fmla="*/ 266828 h 445622"/>
                  <a:gd name="connsiteX253" fmla="*/ 241827 w 288344"/>
                  <a:gd name="connsiteY253" fmla="*/ 266373 h 445622"/>
                  <a:gd name="connsiteX254" fmla="*/ 243342 w 288344"/>
                  <a:gd name="connsiteY254" fmla="*/ 265464 h 445622"/>
                  <a:gd name="connsiteX255" fmla="*/ 244706 w 288344"/>
                  <a:gd name="connsiteY255" fmla="*/ 264707 h 445622"/>
                  <a:gd name="connsiteX256" fmla="*/ 248039 w 288344"/>
                  <a:gd name="connsiteY256" fmla="*/ 262585 h 445622"/>
                  <a:gd name="connsiteX257" fmla="*/ 248797 w 288344"/>
                  <a:gd name="connsiteY257" fmla="*/ 261676 h 445622"/>
                  <a:gd name="connsiteX258" fmla="*/ 248494 w 288344"/>
                  <a:gd name="connsiteY258" fmla="*/ 260616 h 445622"/>
                  <a:gd name="connsiteX259" fmla="*/ 247737 w 288344"/>
                  <a:gd name="connsiteY259" fmla="*/ 259555 h 445622"/>
                  <a:gd name="connsiteX260" fmla="*/ 246373 w 288344"/>
                  <a:gd name="connsiteY260" fmla="*/ 258343 h 445622"/>
                  <a:gd name="connsiteX261" fmla="*/ 246070 w 288344"/>
                  <a:gd name="connsiteY261" fmla="*/ 256676 h 445622"/>
                  <a:gd name="connsiteX262" fmla="*/ 245616 w 288344"/>
                  <a:gd name="connsiteY262" fmla="*/ 253949 h 445622"/>
                  <a:gd name="connsiteX263" fmla="*/ 245009 w 288344"/>
                  <a:gd name="connsiteY263" fmla="*/ 252282 h 445622"/>
                  <a:gd name="connsiteX264" fmla="*/ 244403 w 288344"/>
                  <a:gd name="connsiteY264" fmla="*/ 250918 h 445622"/>
                  <a:gd name="connsiteX265" fmla="*/ 245464 w 288344"/>
                  <a:gd name="connsiteY265" fmla="*/ 250009 h 445622"/>
                  <a:gd name="connsiteX266" fmla="*/ 246827 w 288344"/>
                  <a:gd name="connsiteY266" fmla="*/ 248645 h 445622"/>
                  <a:gd name="connsiteX267" fmla="*/ 248646 w 288344"/>
                  <a:gd name="connsiteY267" fmla="*/ 247736 h 445622"/>
                  <a:gd name="connsiteX268" fmla="*/ 251373 w 288344"/>
                  <a:gd name="connsiteY268" fmla="*/ 247130 h 445622"/>
                  <a:gd name="connsiteX269" fmla="*/ 252434 w 288344"/>
                  <a:gd name="connsiteY269" fmla="*/ 246069 h 445622"/>
                  <a:gd name="connsiteX270" fmla="*/ 252737 w 288344"/>
                  <a:gd name="connsiteY270" fmla="*/ 244251 h 445622"/>
                  <a:gd name="connsiteX271" fmla="*/ 252585 w 288344"/>
                  <a:gd name="connsiteY271" fmla="*/ 242585 h 445622"/>
                  <a:gd name="connsiteX272" fmla="*/ 253646 w 288344"/>
                  <a:gd name="connsiteY272" fmla="*/ 241221 h 445622"/>
                  <a:gd name="connsiteX273" fmla="*/ 254858 w 288344"/>
                  <a:gd name="connsiteY273" fmla="*/ 238493 h 445622"/>
                  <a:gd name="connsiteX274" fmla="*/ 255919 w 288344"/>
                  <a:gd name="connsiteY274" fmla="*/ 237130 h 445622"/>
                  <a:gd name="connsiteX275" fmla="*/ 257737 w 288344"/>
                  <a:gd name="connsiteY275" fmla="*/ 235766 h 445622"/>
                  <a:gd name="connsiteX276" fmla="*/ 259555 w 288344"/>
                  <a:gd name="connsiteY276" fmla="*/ 233948 h 445622"/>
                  <a:gd name="connsiteX277" fmla="*/ 260313 w 288344"/>
                  <a:gd name="connsiteY277" fmla="*/ 231827 h 445622"/>
                  <a:gd name="connsiteX278" fmla="*/ 260616 w 288344"/>
                  <a:gd name="connsiteY278" fmla="*/ 229705 h 445622"/>
                  <a:gd name="connsiteX279" fmla="*/ 259555 w 288344"/>
                  <a:gd name="connsiteY279" fmla="*/ 223644 h 445622"/>
                  <a:gd name="connsiteX280" fmla="*/ 261677 w 288344"/>
                  <a:gd name="connsiteY280" fmla="*/ 221069 h 445622"/>
                  <a:gd name="connsiteX281" fmla="*/ 264252 w 288344"/>
                  <a:gd name="connsiteY281" fmla="*/ 218947 h 445622"/>
                  <a:gd name="connsiteX282" fmla="*/ 268040 w 288344"/>
                  <a:gd name="connsiteY282" fmla="*/ 219099 h 445622"/>
                  <a:gd name="connsiteX283" fmla="*/ 273950 w 288344"/>
                  <a:gd name="connsiteY283" fmla="*/ 218493 h 445622"/>
                  <a:gd name="connsiteX284" fmla="*/ 277889 w 288344"/>
                  <a:gd name="connsiteY284" fmla="*/ 217735 h 445622"/>
                  <a:gd name="connsiteX285" fmla="*/ 280768 w 288344"/>
                  <a:gd name="connsiteY285" fmla="*/ 217735 h 445622"/>
                  <a:gd name="connsiteX286" fmla="*/ 287284 w 288344"/>
                  <a:gd name="connsiteY286" fmla="*/ 218796 h 445622"/>
                  <a:gd name="connsiteX287" fmla="*/ 287738 w 288344"/>
                  <a:gd name="connsiteY287" fmla="*/ 218644 h 445622"/>
                  <a:gd name="connsiteX288" fmla="*/ 287889 w 288344"/>
                  <a:gd name="connsiteY288" fmla="*/ 218341 h 445622"/>
                  <a:gd name="connsiteX289" fmla="*/ 288344 w 288344"/>
                  <a:gd name="connsiteY289" fmla="*/ 216675 h 44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288344" h="445622">
                    <a:moveTo>
                      <a:pt x="288344" y="212583"/>
                    </a:moveTo>
                    <a:lnTo>
                      <a:pt x="288344" y="200159"/>
                    </a:lnTo>
                    <a:lnTo>
                      <a:pt x="288344" y="187734"/>
                    </a:lnTo>
                    <a:lnTo>
                      <a:pt x="288344" y="175158"/>
                    </a:lnTo>
                    <a:lnTo>
                      <a:pt x="288193" y="162733"/>
                    </a:lnTo>
                    <a:lnTo>
                      <a:pt x="288193" y="150157"/>
                    </a:lnTo>
                    <a:lnTo>
                      <a:pt x="288193" y="137581"/>
                    </a:lnTo>
                    <a:lnTo>
                      <a:pt x="288193" y="125005"/>
                    </a:lnTo>
                    <a:lnTo>
                      <a:pt x="288193" y="112428"/>
                    </a:lnTo>
                    <a:lnTo>
                      <a:pt x="275162" y="105761"/>
                    </a:lnTo>
                    <a:lnTo>
                      <a:pt x="261980" y="99094"/>
                    </a:lnTo>
                    <a:lnTo>
                      <a:pt x="248949" y="92427"/>
                    </a:lnTo>
                    <a:lnTo>
                      <a:pt x="235766" y="85761"/>
                    </a:lnTo>
                    <a:lnTo>
                      <a:pt x="222736" y="78942"/>
                    </a:lnTo>
                    <a:lnTo>
                      <a:pt x="209553" y="72275"/>
                    </a:lnTo>
                    <a:lnTo>
                      <a:pt x="196522" y="65608"/>
                    </a:lnTo>
                    <a:lnTo>
                      <a:pt x="183340" y="58790"/>
                    </a:lnTo>
                    <a:lnTo>
                      <a:pt x="170310" y="52123"/>
                    </a:lnTo>
                    <a:lnTo>
                      <a:pt x="157127" y="45305"/>
                    </a:lnTo>
                    <a:lnTo>
                      <a:pt x="144096" y="38638"/>
                    </a:lnTo>
                    <a:lnTo>
                      <a:pt x="130914" y="31819"/>
                    </a:lnTo>
                    <a:lnTo>
                      <a:pt x="117883" y="25001"/>
                    </a:lnTo>
                    <a:lnTo>
                      <a:pt x="104701" y="18334"/>
                    </a:lnTo>
                    <a:lnTo>
                      <a:pt x="91670" y="11515"/>
                    </a:lnTo>
                    <a:lnTo>
                      <a:pt x="78488" y="4697"/>
                    </a:lnTo>
                    <a:lnTo>
                      <a:pt x="69397" y="0"/>
                    </a:lnTo>
                    <a:lnTo>
                      <a:pt x="59699" y="4546"/>
                    </a:lnTo>
                    <a:lnTo>
                      <a:pt x="51972" y="8182"/>
                    </a:lnTo>
                    <a:lnTo>
                      <a:pt x="41972" y="12879"/>
                    </a:lnTo>
                    <a:lnTo>
                      <a:pt x="45002" y="29395"/>
                    </a:lnTo>
                    <a:lnTo>
                      <a:pt x="47274" y="43638"/>
                    </a:lnTo>
                    <a:lnTo>
                      <a:pt x="47426" y="52578"/>
                    </a:lnTo>
                    <a:lnTo>
                      <a:pt x="47426" y="55002"/>
                    </a:lnTo>
                    <a:lnTo>
                      <a:pt x="48487" y="56517"/>
                    </a:lnTo>
                    <a:lnTo>
                      <a:pt x="50608" y="58184"/>
                    </a:lnTo>
                    <a:lnTo>
                      <a:pt x="59093" y="71215"/>
                    </a:lnTo>
                    <a:lnTo>
                      <a:pt x="57275" y="73487"/>
                    </a:lnTo>
                    <a:lnTo>
                      <a:pt x="58638" y="77427"/>
                    </a:lnTo>
                    <a:lnTo>
                      <a:pt x="60760" y="79245"/>
                    </a:lnTo>
                    <a:lnTo>
                      <a:pt x="67881" y="86973"/>
                    </a:lnTo>
                    <a:lnTo>
                      <a:pt x="68791" y="88488"/>
                    </a:lnTo>
                    <a:lnTo>
                      <a:pt x="68488" y="89700"/>
                    </a:lnTo>
                    <a:lnTo>
                      <a:pt x="63487" y="98791"/>
                    </a:lnTo>
                    <a:lnTo>
                      <a:pt x="62578" y="100913"/>
                    </a:lnTo>
                    <a:lnTo>
                      <a:pt x="61669" y="112580"/>
                    </a:lnTo>
                    <a:lnTo>
                      <a:pt x="60912" y="120610"/>
                    </a:lnTo>
                    <a:lnTo>
                      <a:pt x="60003" y="131823"/>
                    </a:lnTo>
                    <a:lnTo>
                      <a:pt x="58790" y="145157"/>
                    </a:lnTo>
                    <a:lnTo>
                      <a:pt x="57881" y="156369"/>
                    </a:lnTo>
                    <a:lnTo>
                      <a:pt x="56669" y="171218"/>
                    </a:lnTo>
                    <a:lnTo>
                      <a:pt x="55457" y="185158"/>
                    </a:lnTo>
                    <a:lnTo>
                      <a:pt x="48335" y="192886"/>
                    </a:lnTo>
                    <a:lnTo>
                      <a:pt x="35607" y="206523"/>
                    </a:lnTo>
                    <a:lnTo>
                      <a:pt x="25153" y="217584"/>
                    </a:lnTo>
                    <a:lnTo>
                      <a:pt x="20001" y="225008"/>
                    </a:lnTo>
                    <a:lnTo>
                      <a:pt x="9849" y="239403"/>
                    </a:lnTo>
                    <a:lnTo>
                      <a:pt x="5303" y="248645"/>
                    </a:lnTo>
                    <a:lnTo>
                      <a:pt x="1818" y="253494"/>
                    </a:lnTo>
                    <a:lnTo>
                      <a:pt x="0" y="255615"/>
                    </a:lnTo>
                    <a:lnTo>
                      <a:pt x="1667" y="262434"/>
                    </a:lnTo>
                    <a:lnTo>
                      <a:pt x="4394" y="274404"/>
                    </a:lnTo>
                    <a:lnTo>
                      <a:pt x="8637" y="280313"/>
                    </a:lnTo>
                    <a:lnTo>
                      <a:pt x="13334" y="286677"/>
                    </a:lnTo>
                    <a:lnTo>
                      <a:pt x="16970" y="291677"/>
                    </a:lnTo>
                    <a:lnTo>
                      <a:pt x="21819" y="291677"/>
                    </a:lnTo>
                    <a:lnTo>
                      <a:pt x="27729" y="293344"/>
                    </a:lnTo>
                    <a:lnTo>
                      <a:pt x="29244" y="294405"/>
                    </a:lnTo>
                    <a:lnTo>
                      <a:pt x="30001" y="298799"/>
                    </a:lnTo>
                    <a:lnTo>
                      <a:pt x="32274" y="301375"/>
                    </a:lnTo>
                    <a:lnTo>
                      <a:pt x="35910" y="303344"/>
                    </a:lnTo>
                    <a:lnTo>
                      <a:pt x="38335" y="307587"/>
                    </a:lnTo>
                    <a:lnTo>
                      <a:pt x="39244" y="314102"/>
                    </a:lnTo>
                    <a:lnTo>
                      <a:pt x="41365" y="317890"/>
                    </a:lnTo>
                    <a:lnTo>
                      <a:pt x="41820" y="318496"/>
                    </a:lnTo>
                    <a:lnTo>
                      <a:pt x="44093" y="324103"/>
                    </a:lnTo>
                    <a:lnTo>
                      <a:pt x="44699" y="325769"/>
                    </a:lnTo>
                    <a:lnTo>
                      <a:pt x="44850" y="329103"/>
                    </a:lnTo>
                    <a:lnTo>
                      <a:pt x="44699" y="331376"/>
                    </a:lnTo>
                    <a:lnTo>
                      <a:pt x="45911" y="334103"/>
                    </a:lnTo>
                    <a:lnTo>
                      <a:pt x="44093" y="338952"/>
                    </a:lnTo>
                    <a:lnTo>
                      <a:pt x="43486" y="341831"/>
                    </a:lnTo>
                    <a:lnTo>
                      <a:pt x="43335" y="345922"/>
                    </a:lnTo>
                    <a:lnTo>
                      <a:pt x="44396" y="353195"/>
                    </a:lnTo>
                    <a:lnTo>
                      <a:pt x="46062" y="358649"/>
                    </a:lnTo>
                    <a:lnTo>
                      <a:pt x="48032" y="363195"/>
                    </a:lnTo>
                    <a:lnTo>
                      <a:pt x="50002" y="366680"/>
                    </a:lnTo>
                    <a:lnTo>
                      <a:pt x="53487" y="370619"/>
                    </a:lnTo>
                    <a:lnTo>
                      <a:pt x="57124" y="374105"/>
                    </a:lnTo>
                    <a:lnTo>
                      <a:pt x="60457" y="376226"/>
                    </a:lnTo>
                    <a:lnTo>
                      <a:pt x="57275" y="377590"/>
                    </a:lnTo>
                    <a:lnTo>
                      <a:pt x="51214" y="377741"/>
                    </a:lnTo>
                    <a:lnTo>
                      <a:pt x="47729" y="376983"/>
                    </a:lnTo>
                    <a:lnTo>
                      <a:pt x="46214" y="376983"/>
                    </a:lnTo>
                    <a:lnTo>
                      <a:pt x="44396" y="377438"/>
                    </a:lnTo>
                    <a:lnTo>
                      <a:pt x="38032" y="378044"/>
                    </a:lnTo>
                    <a:lnTo>
                      <a:pt x="31517" y="377741"/>
                    </a:lnTo>
                    <a:lnTo>
                      <a:pt x="25456" y="376983"/>
                    </a:lnTo>
                    <a:lnTo>
                      <a:pt x="21819" y="377135"/>
                    </a:lnTo>
                    <a:lnTo>
                      <a:pt x="18940" y="379256"/>
                    </a:lnTo>
                    <a:lnTo>
                      <a:pt x="16667" y="382438"/>
                    </a:lnTo>
                    <a:lnTo>
                      <a:pt x="14546" y="385014"/>
                    </a:lnTo>
                    <a:lnTo>
                      <a:pt x="15304" y="387741"/>
                    </a:lnTo>
                    <a:lnTo>
                      <a:pt x="16970" y="389408"/>
                    </a:lnTo>
                    <a:lnTo>
                      <a:pt x="20001" y="392742"/>
                    </a:lnTo>
                    <a:lnTo>
                      <a:pt x="22880" y="396075"/>
                    </a:lnTo>
                    <a:lnTo>
                      <a:pt x="24243" y="398348"/>
                    </a:lnTo>
                    <a:lnTo>
                      <a:pt x="29850" y="403197"/>
                    </a:lnTo>
                    <a:lnTo>
                      <a:pt x="35153" y="407591"/>
                    </a:lnTo>
                    <a:lnTo>
                      <a:pt x="36214" y="408348"/>
                    </a:lnTo>
                    <a:lnTo>
                      <a:pt x="37729" y="409106"/>
                    </a:lnTo>
                    <a:lnTo>
                      <a:pt x="38638" y="409409"/>
                    </a:lnTo>
                    <a:lnTo>
                      <a:pt x="41668" y="411985"/>
                    </a:lnTo>
                    <a:lnTo>
                      <a:pt x="45760" y="416076"/>
                    </a:lnTo>
                    <a:lnTo>
                      <a:pt x="49396" y="422440"/>
                    </a:lnTo>
                    <a:lnTo>
                      <a:pt x="52123" y="428955"/>
                    </a:lnTo>
                    <a:lnTo>
                      <a:pt x="54699" y="435319"/>
                    </a:lnTo>
                    <a:lnTo>
                      <a:pt x="55760" y="436380"/>
                    </a:lnTo>
                    <a:lnTo>
                      <a:pt x="57578" y="437137"/>
                    </a:lnTo>
                    <a:lnTo>
                      <a:pt x="57729" y="438501"/>
                    </a:lnTo>
                    <a:lnTo>
                      <a:pt x="57578" y="440471"/>
                    </a:lnTo>
                    <a:lnTo>
                      <a:pt x="57124" y="442137"/>
                    </a:lnTo>
                    <a:lnTo>
                      <a:pt x="55608" y="444259"/>
                    </a:lnTo>
                    <a:lnTo>
                      <a:pt x="58638" y="444562"/>
                    </a:lnTo>
                    <a:lnTo>
                      <a:pt x="61669" y="445319"/>
                    </a:lnTo>
                    <a:lnTo>
                      <a:pt x="65609" y="445622"/>
                    </a:lnTo>
                    <a:lnTo>
                      <a:pt x="68639" y="444713"/>
                    </a:lnTo>
                    <a:lnTo>
                      <a:pt x="70760" y="443046"/>
                    </a:lnTo>
                    <a:lnTo>
                      <a:pt x="75155" y="441531"/>
                    </a:lnTo>
                    <a:lnTo>
                      <a:pt x="80306" y="440016"/>
                    </a:lnTo>
                    <a:lnTo>
                      <a:pt x="80912" y="437592"/>
                    </a:lnTo>
                    <a:lnTo>
                      <a:pt x="82427" y="436228"/>
                    </a:lnTo>
                    <a:lnTo>
                      <a:pt x="84246" y="435167"/>
                    </a:lnTo>
                    <a:lnTo>
                      <a:pt x="84852" y="435016"/>
                    </a:lnTo>
                    <a:lnTo>
                      <a:pt x="84852" y="435773"/>
                    </a:lnTo>
                    <a:lnTo>
                      <a:pt x="85912" y="438349"/>
                    </a:lnTo>
                    <a:lnTo>
                      <a:pt x="88185" y="440774"/>
                    </a:lnTo>
                    <a:lnTo>
                      <a:pt x="91367" y="443653"/>
                    </a:lnTo>
                    <a:lnTo>
                      <a:pt x="92276" y="443349"/>
                    </a:lnTo>
                    <a:lnTo>
                      <a:pt x="94246" y="441380"/>
                    </a:lnTo>
                    <a:lnTo>
                      <a:pt x="99246" y="440016"/>
                    </a:lnTo>
                    <a:lnTo>
                      <a:pt x="100458" y="439410"/>
                    </a:lnTo>
                    <a:lnTo>
                      <a:pt x="103943" y="436380"/>
                    </a:lnTo>
                    <a:lnTo>
                      <a:pt x="108186" y="434410"/>
                    </a:lnTo>
                    <a:lnTo>
                      <a:pt x="109095" y="434258"/>
                    </a:lnTo>
                    <a:lnTo>
                      <a:pt x="110762" y="433804"/>
                    </a:lnTo>
                    <a:lnTo>
                      <a:pt x="115004" y="431682"/>
                    </a:lnTo>
                    <a:lnTo>
                      <a:pt x="118035" y="431985"/>
                    </a:lnTo>
                    <a:lnTo>
                      <a:pt x="122884" y="431682"/>
                    </a:lnTo>
                    <a:lnTo>
                      <a:pt x="131066" y="430773"/>
                    </a:lnTo>
                    <a:lnTo>
                      <a:pt x="136975" y="430470"/>
                    </a:lnTo>
                    <a:lnTo>
                      <a:pt x="140006" y="430016"/>
                    </a:lnTo>
                    <a:lnTo>
                      <a:pt x="140763" y="429713"/>
                    </a:lnTo>
                    <a:lnTo>
                      <a:pt x="141975" y="426682"/>
                    </a:lnTo>
                    <a:lnTo>
                      <a:pt x="142884" y="425925"/>
                    </a:lnTo>
                    <a:lnTo>
                      <a:pt x="145005" y="424712"/>
                    </a:lnTo>
                    <a:lnTo>
                      <a:pt x="149400" y="420167"/>
                    </a:lnTo>
                    <a:lnTo>
                      <a:pt x="152279" y="416530"/>
                    </a:lnTo>
                    <a:lnTo>
                      <a:pt x="153036" y="415318"/>
                    </a:lnTo>
                    <a:lnTo>
                      <a:pt x="153036" y="415167"/>
                    </a:lnTo>
                    <a:lnTo>
                      <a:pt x="153642" y="414863"/>
                    </a:lnTo>
                    <a:lnTo>
                      <a:pt x="154854" y="413348"/>
                    </a:lnTo>
                    <a:lnTo>
                      <a:pt x="153642" y="411682"/>
                    </a:lnTo>
                    <a:lnTo>
                      <a:pt x="148794" y="408348"/>
                    </a:lnTo>
                    <a:lnTo>
                      <a:pt x="148945" y="408045"/>
                    </a:lnTo>
                    <a:lnTo>
                      <a:pt x="148642" y="407439"/>
                    </a:lnTo>
                    <a:lnTo>
                      <a:pt x="148945" y="406985"/>
                    </a:lnTo>
                    <a:lnTo>
                      <a:pt x="150763" y="405621"/>
                    </a:lnTo>
                    <a:lnTo>
                      <a:pt x="153188" y="404106"/>
                    </a:lnTo>
                    <a:lnTo>
                      <a:pt x="155915" y="403499"/>
                    </a:lnTo>
                    <a:lnTo>
                      <a:pt x="162885" y="403651"/>
                    </a:lnTo>
                    <a:lnTo>
                      <a:pt x="168794" y="403348"/>
                    </a:lnTo>
                    <a:lnTo>
                      <a:pt x="170310" y="403348"/>
                    </a:lnTo>
                    <a:lnTo>
                      <a:pt x="174855" y="402590"/>
                    </a:lnTo>
                    <a:lnTo>
                      <a:pt x="178037" y="401833"/>
                    </a:lnTo>
                    <a:lnTo>
                      <a:pt x="181370" y="400318"/>
                    </a:lnTo>
                    <a:lnTo>
                      <a:pt x="188644" y="400469"/>
                    </a:lnTo>
                    <a:lnTo>
                      <a:pt x="194856" y="396378"/>
                    </a:lnTo>
                    <a:lnTo>
                      <a:pt x="196522" y="395621"/>
                    </a:lnTo>
                    <a:lnTo>
                      <a:pt x="197432" y="395014"/>
                    </a:lnTo>
                    <a:lnTo>
                      <a:pt x="197583" y="394408"/>
                    </a:lnTo>
                    <a:lnTo>
                      <a:pt x="200462" y="392742"/>
                    </a:lnTo>
                    <a:lnTo>
                      <a:pt x="203644" y="389408"/>
                    </a:lnTo>
                    <a:lnTo>
                      <a:pt x="206220" y="386529"/>
                    </a:lnTo>
                    <a:lnTo>
                      <a:pt x="206977" y="384408"/>
                    </a:lnTo>
                    <a:lnTo>
                      <a:pt x="213947" y="377135"/>
                    </a:lnTo>
                    <a:lnTo>
                      <a:pt x="216372" y="377286"/>
                    </a:lnTo>
                    <a:lnTo>
                      <a:pt x="217432" y="376529"/>
                    </a:lnTo>
                    <a:lnTo>
                      <a:pt x="220311" y="371680"/>
                    </a:lnTo>
                    <a:lnTo>
                      <a:pt x="221069" y="370771"/>
                    </a:lnTo>
                    <a:lnTo>
                      <a:pt x="222433" y="370468"/>
                    </a:lnTo>
                    <a:lnTo>
                      <a:pt x="223948" y="370013"/>
                    </a:lnTo>
                    <a:lnTo>
                      <a:pt x="225311" y="368498"/>
                    </a:lnTo>
                    <a:lnTo>
                      <a:pt x="226524" y="366377"/>
                    </a:lnTo>
                    <a:lnTo>
                      <a:pt x="226524" y="363801"/>
                    </a:lnTo>
                    <a:lnTo>
                      <a:pt x="226069" y="361680"/>
                    </a:lnTo>
                    <a:lnTo>
                      <a:pt x="226069" y="360771"/>
                    </a:lnTo>
                    <a:lnTo>
                      <a:pt x="226675" y="359710"/>
                    </a:lnTo>
                    <a:lnTo>
                      <a:pt x="227736" y="358801"/>
                    </a:lnTo>
                    <a:lnTo>
                      <a:pt x="233039" y="356225"/>
                    </a:lnTo>
                    <a:lnTo>
                      <a:pt x="234403" y="355013"/>
                    </a:lnTo>
                    <a:lnTo>
                      <a:pt x="235161" y="353952"/>
                    </a:lnTo>
                    <a:lnTo>
                      <a:pt x="236675" y="353649"/>
                    </a:lnTo>
                    <a:lnTo>
                      <a:pt x="238342" y="353801"/>
                    </a:lnTo>
                    <a:lnTo>
                      <a:pt x="239403" y="353043"/>
                    </a:lnTo>
                    <a:lnTo>
                      <a:pt x="240463" y="351982"/>
                    </a:lnTo>
                    <a:lnTo>
                      <a:pt x="244100" y="350316"/>
                    </a:lnTo>
                    <a:lnTo>
                      <a:pt x="247585" y="349104"/>
                    </a:lnTo>
                    <a:lnTo>
                      <a:pt x="251070" y="349710"/>
                    </a:lnTo>
                    <a:lnTo>
                      <a:pt x="253949" y="350316"/>
                    </a:lnTo>
                    <a:lnTo>
                      <a:pt x="256373" y="351073"/>
                    </a:lnTo>
                    <a:lnTo>
                      <a:pt x="257585" y="351225"/>
                    </a:lnTo>
                    <a:lnTo>
                      <a:pt x="258494" y="348194"/>
                    </a:lnTo>
                    <a:lnTo>
                      <a:pt x="259707" y="343800"/>
                    </a:lnTo>
                    <a:lnTo>
                      <a:pt x="259858" y="341679"/>
                    </a:lnTo>
                    <a:lnTo>
                      <a:pt x="259252" y="339558"/>
                    </a:lnTo>
                    <a:lnTo>
                      <a:pt x="257282" y="337891"/>
                    </a:lnTo>
                    <a:lnTo>
                      <a:pt x="255464" y="337740"/>
                    </a:lnTo>
                    <a:lnTo>
                      <a:pt x="254706" y="336982"/>
                    </a:lnTo>
                    <a:lnTo>
                      <a:pt x="253040" y="335770"/>
                    </a:lnTo>
                    <a:lnTo>
                      <a:pt x="251525" y="334861"/>
                    </a:lnTo>
                    <a:lnTo>
                      <a:pt x="250161" y="333042"/>
                    </a:lnTo>
                    <a:lnTo>
                      <a:pt x="249252" y="330618"/>
                    </a:lnTo>
                    <a:lnTo>
                      <a:pt x="249858" y="321830"/>
                    </a:lnTo>
                    <a:lnTo>
                      <a:pt x="249404" y="320618"/>
                    </a:lnTo>
                    <a:lnTo>
                      <a:pt x="247434" y="320315"/>
                    </a:lnTo>
                    <a:lnTo>
                      <a:pt x="246979" y="319557"/>
                    </a:lnTo>
                    <a:lnTo>
                      <a:pt x="246979" y="317890"/>
                    </a:lnTo>
                    <a:lnTo>
                      <a:pt x="245918" y="312890"/>
                    </a:lnTo>
                    <a:lnTo>
                      <a:pt x="244706" y="308648"/>
                    </a:lnTo>
                    <a:lnTo>
                      <a:pt x="245312" y="306375"/>
                    </a:lnTo>
                    <a:lnTo>
                      <a:pt x="243646" y="303193"/>
                    </a:lnTo>
                    <a:lnTo>
                      <a:pt x="240463" y="301829"/>
                    </a:lnTo>
                    <a:lnTo>
                      <a:pt x="237282" y="302284"/>
                    </a:lnTo>
                    <a:lnTo>
                      <a:pt x="234100" y="302890"/>
                    </a:lnTo>
                    <a:lnTo>
                      <a:pt x="232130" y="302738"/>
                    </a:lnTo>
                    <a:lnTo>
                      <a:pt x="230766" y="302132"/>
                    </a:lnTo>
                    <a:lnTo>
                      <a:pt x="229706" y="301072"/>
                    </a:lnTo>
                    <a:lnTo>
                      <a:pt x="229251" y="299708"/>
                    </a:lnTo>
                    <a:lnTo>
                      <a:pt x="229706" y="297587"/>
                    </a:lnTo>
                    <a:lnTo>
                      <a:pt x="231524" y="293799"/>
                    </a:lnTo>
                    <a:lnTo>
                      <a:pt x="233797" y="290768"/>
                    </a:lnTo>
                    <a:lnTo>
                      <a:pt x="238342" y="287889"/>
                    </a:lnTo>
                    <a:lnTo>
                      <a:pt x="239554" y="286374"/>
                    </a:lnTo>
                    <a:lnTo>
                      <a:pt x="240312" y="284707"/>
                    </a:lnTo>
                    <a:lnTo>
                      <a:pt x="240463" y="282889"/>
                    </a:lnTo>
                    <a:lnTo>
                      <a:pt x="240161" y="280768"/>
                    </a:lnTo>
                    <a:lnTo>
                      <a:pt x="239554" y="278949"/>
                    </a:lnTo>
                    <a:lnTo>
                      <a:pt x="238191" y="276525"/>
                    </a:lnTo>
                    <a:lnTo>
                      <a:pt x="236979" y="273646"/>
                    </a:lnTo>
                    <a:lnTo>
                      <a:pt x="236979" y="271676"/>
                    </a:lnTo>
                    <a:lnTo>
                      <a:pt x="237585" y="270313"/>
                    </a:lnTo>
                    <a:lnTo>
                      <a:pt x="238797" y="268646"/>
                    </a:lnTo>
                    <a:lnTo>
                      <a:pt x="241221" y="266828"/>
                    </a:lnTo>
                    <a:lnTo>
                      <a:pt x="241827" y="266373"/>
                    </a:lnTo>
                    <a:lnTo>
                      <a:pt x="243342" y="265464"/>
                    </a:lnTo>
                    <a:lnTo>
                      <a:pt x="244706" y="264707"/>
                    </a:lnTo>
                    <a:lnTo>
                      <a:pt x="248039" y="262585"/>
                    </a:lnTo>
                    <a:lnTo>
                      <a:pt x="248797" y="261676"/>
                    </a:lnTo>
                    <a:lnTo>
                      <a:pt x="248494" y="260616"/>
                    </a:lnTo>
                    <a:lnTo>
                      <a:pt x="247737" y="259555"/>
                    </a:lnTo>
                    <a:lnTo>
                      <a:pt x="246373" y="258343"/>
                    </a:lnTo>
                    <a:lnTo>
                      <a:pt x="246070" y="256676"/>
                    </a:lnTo>
                    <a:lnTo>
                      <a:pt x="245616" y="253949"/>
                    </a:lnTo>
                    <a:lnTo>
                      <a:pt x="245009" y="252282"/>
                    </a:lnTo>
                    <a:lnTo>
                      <a:pt x="244403" y="250918"/>
                    </a:lnTo>
                    <a:lnTo>
                      <a:pt x="245464" y="250009"/>
                    </a:lnTo>
                    <a:lnTo>
                      <a:pt x="246827" y="248645"/>
                    </a:lnTo>
                    <a:lnTo>
                      <a:pt x="248646" y="247736"/>
                    </a:lnTo>
                    <a:lnTo>
                      <a:pt x="251373" y="247130"/>
                    </a:lnTo>
                    <a:lnTo>
                      <a:pt x="252434" y="246069"/>
                    </a:lnTo>
                    <a:lnTo>
                      <a:pt x="252737" y="244251"/>
                    </a:lnTo>
                    <a:lnTo>
                      <a:pt x="252585" y="242585"/>
                    </a:lnTo>
                    <a:lnTo>
                      <a:pt x="253646" y="241221"/>
                    </a:lnTo>
                    <a:lnTo>
                      <a:pt x="254858" y="238493"/>
                    </a:lnTo>
                    <a:lnTo>
                      <a:pt x="255919" y="237130"/>
                    </a:lnTo>
                    <a:lnTo>
                      <a:pt x="257737" y="235766"/>
                    </a:lnTo>
                    <a:lnTo>
                      <a:pt x="259555" y="233948"/>
                    </a:lnTo>
                    <a:lnTo>
                      <a:pt x="260313" y="231827"/>
                    </a:lnTo>
                    <a:lnTo>
                      <a:pt x="260616" y="229705"/>
                    </a:lnTo>
                    <a:lnTo>
                      <a:pt x="259555" y="223644"/>
                    </a:lnTo>
                    <a:lnTo>
                      <a:pt x="261677" y="221069"/>
                    </a:lnTo>
                    <a:lnTo>
                      <a:pt x="264252" y="218947"/>
                    </a:lnTo>
                    <a:lnTo>
                      <a:pt x="268040" y="219099"/>
                    </a:lnTo>
                    <a:lnTo>
                      <a:pt x="273950" y="218493"/>
                    </a:lnTo>
                    <a:lnTo>
                      <a:pt x="277889" y="217735"/>
                    </a:lnTo>
                    <a:lnTo>
                      <a:pt x="280768" y="217735"/>
                    </a:lnTo>
                    <a:lnTo>
                      <a:pt x="287284" y="218796"/>
                    </a:lnTo>
                    <a:lnTo>
                      <a:pt x="287738" y="218644"/>
                    </a:lnTo>
                    <a:lnTo>
                      <a:pt x="287889" y="218341"/>
                    </a:lnTo>
                    <a:lnTo>
                      <a:pt x="288344" y="2166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122334DD-F042-48FA-817C-A39024959367}"/>
                  </a:ext>
                </a:extLst>
              </p:cNvPr>
              <p:cNvSpPr/>
              <p:nvPr/>
            </p:nvSpPr>
            <p:spPr>
              <a:xfrm>
                <a:off x="3797733" y="3955607"/>
                <a:ext cx="19394" cy="5909"/>
              </a:xfrm>
              <a:custGeom>
                <a:avLst/>
                <a:gdLst>
                  <a:gd name="connsiteX0" fmla="*/ 3485 w 19394"/>
                  <a:gd name="connsiteY0" fmla="*/ 4546 h 5909"/>
                  <a:gd name="connsiteX1" fmla="*/ 303 w 19394"/>
                  <a:gd name="connsiteY1" fmla="*/ 3030 h 5909"/>
                  <a:gd name="connsiteX2" fmla="*/ 0 w 19394"/>
                  <a:gd name="connsiteY2" fmla="*/ 4697 h 5909"/>
                  <a:gd name="connsiteX3" fmla="*/ 151 w 19394"/>
                  <a:gd name="connsiteY3" fmla="*/ 5758 h 5909"/>
                  <a:gd name="connsiteX4" fmla="*/ 1061 w 19394"/>
                  <a:gd name="connsiteY4" fmla="*/ 5909 h 5909"/>
                  <a:gd name="connsiteX5" fmla="*/ 4091 w 19394"/>
                  <a:gd name="connsiteY5" fmla="*/ 5455 h 5909"/>
                  <a:gd name="connsiteX6" fmla="*/ 4394 w 19394"/>
                  <a:gd name="connsiteY6" fmla="*/ 5152 h 5909"/>
                  <a:gd name="connsiteX7" fmla="*/ 5455 w 19394"/>
                  <a:gd name="connsiteY7" fmla="*/ 4849 h 5909"/>
                  <a:gd name="connsiteX8" fmla="*/ 5303 w 19394"/>
                  <a:gd name="connsiteY8" fmla="*/ 4546 h 5909"/>
                  <a:gd name="connsiteX9" fmla="*/ 3485 w 19394"/>
                  <a:gd name="connsiteY9" fmla="*/ 4546 h 5909"/>
                  <a:gd name="connsiteX10" fmla="*/ 18485 w 19394"/>
                  <a:gd name="connsiteY10" fmla="*/ 3485 h 5909"/>
                  <a:gd name="connsiteX11" fmla="*/ 14697 w 19394"/>
                  <a:gd name="connsiteY11" fmla="*/ 2879 h 5909"/>
                  <a:gd name="connsiteX12" fmla="*/ 13637 w 19394"/>
                  <a:gd name="connsiteY12" fmla="*/ 3182 h 5909"/>
                  <a:gd name="connsiteX13" fmla="*/ 14091 w 19394"/>
                  <a:gd name="connsiteY13" fmla="*/ 4697 h 5909"/>
                  <a:gd name="connsiteX14" fmla="*/ 17122 w 19394"/>
                  <a:gd name="connsiteY14" fmla="*/ 4697 h 5909"/>
                  <a:gd name="connsiteX15" fmla="*/ 18637 w 19394"/>
                  <a:gd name="connsiteY15" fmla="*/ 5758 h 5909"/>
                  <a:gd name="connsiteX16" fmla="*/ 18788 w 19394"/>
                  <a:gd name="connsiteY16" fmla="*/ 5303 h 5909"/>
                  <a:gd name="connsiteX17" fmla="*/ 19395 w 19394"/>
                  <a:gd name="connsiteY17" fmla="*/ 4697 h 5909"/>
                  <a:gd name="connsiteX18" fmla="*/ 18485 w 19394"/>
                  <a:gd name="connsiteY18" fmla="*/ 3485 h 5909"/>
                  <a:gd name="connsiteX19" fmla="*/ 11364 w 19394"/>
                  <a:gd name="connsiteY19" fmla="*/ 0 h 5909"/>
                  <a:gd name="connsiteX20" fmla="*/ 9243 w 19394"/>
                  <a:gd name="connsiteY20" fmla="*/ 0 h 5909"/>
                  <a:gd name="connsiteX21" fmla="*/ 8940 w 19394"/>
                  <a:gd name="connsiteY21" fmla="*/ 909 h 5909"/>
                  <a:gd name="connsiteX22" fmla="*/ 9849 w 19394"/>
                  <a:gd name="connsiteY22" fmla="*/ 1667 h 5909"/>
                  <a:gd name="connsiteX23" fmla="*/ 10455 w 19394"/>
                  <a:gd name="connsiteY23" fmla="*/ 1667 h 5909"/>
                  <a:gd name="connsiteX24" fmla="*/ 10758 w 19394"/>
                  <a:gd name="connsiteY24" fmla="*/ 2424 h 5909"/>
                  <a:gd name="connsiteX25" fmla="*/ 12273 w 19394"/>
                  <a:gd name="connsiteY25" fmla="*/ 3485 h 5909"/>
                  <a:gd name="connsiteX26" fmla="*/ 12728 w 19394"/>
                  <a:gd name="connsiteY26" fmla="*/ 3182 h 5909"/>
                  <a:gd name="connsiteX27" fmla="*/ 12121 w 19394"/>
                  <a:gd name="connsiteY27" fmla="*/ 2576 h 5909"/>
                  <a:gd name="connsiteX28" fmla="*/ 11364 w 19394"/>
                  <a:gd name="connsiteY28" fmla="*/ 0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94" h="5909">
                    <a:moveTo>
                      <a:pt x="3485" y="4546"/>
                    </a:moveTo>
                    <a:lnTo>
                      <a:pt x="303" y="3030"/>
                    </a:lnTo>
                    <a:lnTo>
                      <a:pt x="0" y="4697"/>
                    </a:lnTo>
                    <a:lnTo>
                      <a:pt x="151" y="5758"/>
                    </a:lnTo>
                    <a:lnTo>
                      <a:pt x="1061" y="5909"/>
                    </a:lnTo>
                    <a:lnTo>
                      <a:pt x="4091" y="5455"/>
                    </a:lnTo>
                    <a:lnTo>
                      <a:pt x="4394" y="5152"/>
                    </a:lnTo>
                    <a:lnTo>
                      <a:pt x="5455" y="4849"/>
                    </a:lnTo>
                    <a:lnTo>
                      <a:pt x="5303" y="4546"/>
                    </a:lnTo>
                    <a:lnTo>
                      <a:pt x="3485" y="4546"/>
                    </a:lnTo>
                    <a:close/>
                    <a:moveTo>
                      <a:pt x="18485" y="3485"/>
                    </a:moveTo>
                    <a:lnTo>
                      <a:pt x="14697" y="2879"/>
                    </a:lnTo>
                    <a:lnTo>
                      <a:pt x="13637" y="3182"/>
                    </a:lnTo>
                    <a:lnTo>
                      <a:pt x="14091" y="4697"/>
                    </a:lnTo>
                    <a:lnTo>
                      <a:pt x="17122" y="4697"/>
                    </a:lnTo>
                    <a:lnTo>
                      <a:pt x="18637" y="5758"/>
                    </a:lnTo>
                    <a:lnTo>
                      <a:pt x="18788" y="5303"/>
                    </a:lnTo>
                    <a:lnTo>
                      <a:pt x="19395" y="4697"/>
                    </a:lnTo>
                    <a:lnTo>
                      <a:pt x="18485" y="3485"/>
                    </a:lnTo>
                    <a:close/>
                    <a:moveTo>
                      <a:pt x="11364" y="0"/>
                    </a:moveTo>
                    <a:lnTo>
                      <a:pt x="9243" y="0"/>
                    </a:lnTo>
                    <a:lnTo>
                      <a:pt x="8940" y="909"/>
                    </a:lnTo>
                    <a:lnTo>
                      <a:pt x="9849" y="1667"/>
                    </a:lnTo>
                    <a:lnTo>
                      <a:pt x="10455" y="1667"/>
                    </a:lnTo>
                    <a:lnTo>
                      <a:pt x="10758" y="2424"/>
                    </a:lnTo>
                    <a:lnTo>
                      <a:pt x="12273" y="3485"/>
                    </a:lnTo>
                    <a:lnTo>
                      <a:pt x="12728" y="3182"/>
                    </a:lnTo>
                    <a:lnTo>
                      <a:pt x="12121" y="2576"/>
                    </a:lnTo>
                    <a:lnTo>
                      <a:pt x="1136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678F848-A721-498B-A10A-C9A2DDA250BE}"/>
                  </a:ext>
                </a:extLst>
              </p:cNvPr>
              <p:cNvSpPr/>
              <p:nvPr/>
            </p:nvSpPr>
            <p:spPr>
              <a:xfrm>
                <a:off x="6619504" y="5277777"/>
                <a:ext cx="36365" cy="45759"/>
              </a:xfrm>
              <a:custGeom>
                <a:avLst/>
                <a:gdLst>
                  <a:gd name="connsiteX0" fmla="*/ 36062 w 36365"/>
                  <a:gd name="connsiteY0" fmla="*/ 22576 h 45759"/>
                  <a:gd name="connsiteX1" fmla="*/ 35305 w 36365"/>
                  <a:gd name="connsiteY1" fmla="*/ 20455 h 45759"/>
                  <a:gd name="connsiteX2" fmla="*/ 34547 w 36365"/>
                  <a:gd name="connsiteY2" fmla="*/ 17576 h 45759"/>
                  <a:gd name="connsiteX3" fmla="*/ 34396 w 36365"/>
                  <a:gd name="connsiteY3" fmla="*/ 15607 h 45759"/>
                  <a:gd name="connsiteX4" fmla="*/ 34850 w 36365"/>
                  <a:gd name="connsiteY4" fmla="*/ 13637 h 45759"/>
                  <a:gd name="connsiteX5" fmla="*/ 35153 w 36365"/>
                  <a:gd name="connsiteY5" fmla="*/ 10606 h 45759"/>
                  <a:gd name="connsiteX6" fmla="*/ 34850 w 36365"/>
                  <a:gd name="connsiteY6" fmla="*/ 7879 h 45759"/>
                  <a:gd name="connsiteX7" fmla="*/ 32426 w 36365"/>
                  <a:gd name="connsiteY7" fmla="*/ 6667 h 45759"/>
                  <a:gd name="connsiteX8" fmla="*/ 31819 w 36365"/>
                  <a:gd name="connsiteY8" fmla="*/ 6212 h 45759"/>
                  <a:gd name="connsiteX9" fmla="*/ 31062 w 36365"/>
                  <a:gd name="connsiteY9" fmla="*/ 6515 h 45759"/>
                  <a:gd name="connsiteX10" fmla="*/ 29698 w 36365"/>
                  <a:gd name="connsiteY10" fmla="*/ 6818 h 45759"/>
                  <a:gd name="connsiteX11" fmla="*/ 23334 w 36365"/>
                  <a:gd name="connsiteY11" fmla="*/ 3485 h 45759"/>
                  <a:gd name="connsiteX12" fmla="*/ 17274 w 36365"/>
                  <a:gd name="connsiteY12" fmla="*/ 0 h 45759"/>
                  <a:gd name="connsiteX13" fmla="*/ 16365 w 36365"/>
                  <a:gd name="connsiteY13" fmla="*/ 0 h 45759"/>
                  <a:gd name="connsiteX14" fmla="*/ 15001 w 36365"/>
                  <a:gd name="connsiteY14" fmla="*/ 303 h 45759"/>
                  <a:gd name="connsiteX15" fmla="*/ 11516 w 36365"/>
                  <a:gd name="connsiteY15" fmla="*/ 2879 h 45759"/>
                  <a:gd name="connsiteX16" fmla="*/ 8334 w 36365"/>
                  <a:gd name="connsiteY16" fmla="*/ 6818 h 45759"/>
                  <a:gd name="connsiteX17" fmla="*/ 6819 w 36365"/>
                  <a:gd name="connsiteY17" fmla="*/ 10303 h 45759"/>
                  <a:gd name="connsiteX18" fmla="*/ 4394 w 36365"/>
                  <a:gd name="connsiteY18" fmla="*/ 13788 h 45759"/>
                  <a:gd name="connsiteX19" fmla="*/ 455 w 36365"/>
                  <a:gd name="connsiteY19" fmla="*/ 19395 h 45759"/>
                  <a:gd name="connsiteX20" fmla="*/ 152 w 36365"/>
                  <a:gd name="connsiteY20" fmla="*/ 20758 h 45759"/>
                  <a:gd name="connsiteX21" fmla="*/ 0 w 36365"/>
                  <a:gd name="connsiteY21" fmla="*/ 25304 h 45759"/>
                  <a:gd name="connsiteX22" fmla="*/ 303 w 36365"/>
                  <a:gd name="connsiteY22" fmla="*/ 29698 h 45759"/>
                  <a:gd name="connsiteX23" fmla="*/ 606 w 36365"/>
                  <a:gd name="connsiteY23" fmla="*/ 30304 h 45759"/>
                  <a:gd name="connsiteX24" fmla="*/ 2728 w 36365"/>
                  <a:gd name="connsiteY24" fmla="*/ 30607 h 45759"/>
                  <a:gd name="connsiteX25" fmla="*/ 4243 w 36365"/>
                  <a:gd name="connsiteY25" fmla="*/ 34092 h 45759"/>
                  <a:gd name="connsiteX26" fmla="*/ 7576 w 36365"/>
                  <a:gd name="connsiteY26" fmla="*/ 39850 h 45759"/>
                  <a:gd name="connsiteX27" fmla="*/ 13334 w 36365"/>
                  <a:gd name="connsiteY27" fmla="*/ 43638 h 45759"/>
                  <a:gd name="connsiteX28" fmla="*/ 18789 w 36365"/>
                  <a:gd name="connsiteY28" fmla="*/ 45305 h 45759"/>
                  <a:gd name="connsiteX29" fmla="*/ 26213 w 36365"/>
                  <a:gd name="connsiteY29" fmla="*/ 45759 h 45759"/>
                  <a:gd name="connsiteX30" fmla="*/ 32123 w 36365"/>
                  <a:gd name="connsiteY30" fmla="*/ 45608 h 45759"/>
                  <a:gd name="connsiteX31" fmla="*/ 31819 w 36365"/>
                  <a:gd name="connsiteY31" fmla="*/ 41668 h 45759"/>
                  <a:gd name="connsiteX32" fmla="*/ 32274 w 36365"/>
                  <a:gd name="connsiteY32" fmla="*/ 35456 h 45759"/>
                  <a:gd name="connsiteX33" fmla="*/ 33032 w 36365"/>
                  <a:gd name="connsiteY33" fmla="*/ 31213 h 45759"/>
                  <a:gd name="connsiteX34" fmla="*/ 33941 w 36365"/>
                  <a:gd name="connsiteY34" fmla="*/ 31062 h 45759"/>
                  <a:gd name="connsiteX35" fmla="*/ 35456 w 36365"/>
                  <a:gd name="connsiteY35" fmla="*/ 31516 h 45759"/>
                  <a:gd name="connsiteX36" fmla="*/ 36365 w 36365"/>
                  <a:gd name="connsiteY36" fmla="*/ 31971 h 4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365" h="45759">
                    <a:moveTo>
                      <a:pt x="36062" y="22576"/>
                    </a:moveTo>
                    <a:lnTo>
                      <a:pt x="35305" y="20455"/>
                    </a:lnTo>
                    <a:lnTo>
                      <a:pt x="34547" y="17576"/>
                    </a:lnTo>
                    <a:lnTo>
                      <a:pt x="34396" y="15607"/>
                    </a:lnTo>
                    <a:lnTo>
                      <a:pt x="34850" y="13637"/>
                    </a:lnTo>
                    <a:lnTo>
                      <a:pt x="35153" y="10606"/>
                    </a:lnTo>
                    <a:lnTo>
                      <a:pt x="34850" y="7879"/>
                    </a:lnTo>
                    <a:lnTo>
                      <a:pt x="32426" y="6667"/>
                    </a:lnTo>
                    <a:lnTo>
                      <a:pt x="31819" y="6212"/>
                    </a:lnTo>
                    <a:lnTo>
                      <a:pt x="31062" y="6515"/>
                    </a:lnTo>
                    <a:lnTo>
                      <a:pt x="29698" y="6818"/>
                    </a:lnTo>
                    <a:lnTo>
                      <a:pt x="23334" y="3485"/>
                    </a:lnTo>
                    <a:lnTo>
                      <a:pt x="17274" y="0"/>
                    </a:lnTo>
                    <a:lnTo>
                      <a:pt x="16365" y="0"/>
                    </a:lnTo>
                    <a:lnTo>
                      <a:pt x="15001" y="303"/>
                    </a:lnTo>
                    <a:lnTo>
                      <a:pt x="11516" y="2879"/>
                    </a:lnTo>
                    <a:lnTo>
                      <a:pt x="8334" y="6818"/>
                    </a:lnTo>
                    <a:lnTo>
                      <a:pt x="6819" y="10303"/>
                    </a:lnTo>
                    <a:lnTo>
                      <a:pt x="4394" y="13788"/>
                    </a:lnTo>
                    <a:lnTo>
                      <a:pt x="455" y="19395"/>
                    </a:lnTo>
                    <a:lnTo>
                      <a:pt x="152" y="20758"/>
                    </a:lnTo>
                    <a:lnTo>
                      <a:pt x="0" y="25304"/>
                    </a:lnTo>
                    <a:lnTo>
                      <a:pt x="303" y="29698"/>
                    </a:lnTo>
                    <a:lnTo>
                      <a:pt x="606" y="30304"/>
                    </a:lnTo>
                    <a:lnTo>
                      <a:pt x="2728" y="30607"/>
                    </a:lnTo>
                    <a:lnTo>
                      <a:pt x="4243" y="34092"/>
                    </a:lnTo>
                    <a:lnTo>
                      <a:pt x="7576" y="39850"/>
                    </a:lnTo>
                    <a:lnTo>
                      <a:pt x="13334" y="43638"/>
                    </a:lnTo>
                    <a:lnTo>
                      <a:pt x="18789" y="45305"/>
                    </a:lnTo>
                    <a:lnTo>
                      <a:pt x="26213" y="45759"/>
                    </a:lnTo>
                    <a:lnTo>
                      <a:pt x="32123" y="45608"/>
                    </a:lnTo>
                    <a:lnTo>
                      <a:pt x="31819" y="41668"/>
                    </a:lnTo>
                    <a:lnTo>
                      <a:pt x="32274" y="35456"/>
                    </a:lnTo>
                    <a:lnTo>
                      <a:pt x="33032" y="31213"/>
                    </a:lnTo>
                    <a:lnTo>
                      <a:pt x="33941" y="31062"/>
                    </a:lnTo>
                    <a:lnTo>
                      <a:pt x="35456" y="31516"/>
                    </a:lnTo>
                    <a:lnTo>
                      <a:pt x="36365" y="31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B8916F04-0423-406B-8C51-AB5AC8EF873D}"/>
                  </a:ext>
                </a:extLst>
              </p:cNvPr>
              <p:cNvSpPr/>
              <p:nvPr/>
            </p:nvSpPr>
            <p:spPr>
              <a:xfrm>
                <a:off x="6755721" y="3497863"/>
                <a:ext cx="180461" cy="153641"/>
              </a:xfrm>
              <a:custGeom>
                <a:avLst/>
                <a:gdLst>
                  <a:gd name="connsiteX0" fmla="*/ 180461 w 180461"/>
                  <a:gd name="connsiteY0" fmla="*/ 5909 h 153641"/>
                  <a:gd name="connsiteX1" fmla="*/ 179249 w 180461"/>
                  <a:gd name="connsiteY1" fmla="*/ 2121 h 153641"/>
                  <a:gd name="connsiteX2" fmla="*/ 178037 w 180461"/>
                  <a:gd name="connsiteY2" fmla="*/ 757 h 153641"/>
                  <a:gd name="connsiteX3" fmla="*/ 177431 w 180461"/>
                  <a:gd name="connsiteY3" fmla="*/ 455 h 153641"/>
                  <a:gd name="connsiteX4" fmla="*/ 176219 w 180461"/>
                  <a:gd name="connsiteY4" fmla="*/ 0 h 153641"/>
                  <a:gd name="connsiteX5" fmla="*/ 175158 w 180461"/>
                  <a:gd name="connsiteY5" fmla="*/ 303 h 153641"/>
                  <a:gd name="connsiteX6" fmla="*/ 172279 w 180461"/>
                  <a:gd name="connsiteY6" fmla="*/ 2879 h 153641"/>
                  <a:gd name="connsiteX7" fmla="*/ 167582 w 180461"/>
                  <a:gd name="connsiteY7" fmla="*/ 4545 h 153641"/>
                  <a:gd name="connsiteX8" fmla="*/ 163642 w 180461"/>
                  <a:gd name="connsiteY8" fmla="*/ 5455 h 153641"/>
                  <a:gd name="connsiteX9" fmla="*/ 157430 w 180461"/>
                  <a:gd name="connsiteY9" fmla="*/ 6515 h 153641"/>
                  <a:gd name="connsiteX10" fmla="*/ 152581 w 180461"/>
                  <a:gd name="connsiteY10" fmla="*/ 7121 h 153641"/>
                  <a:gd name="connsiteX11" fmla="*/ 150460 w 180461"/>
                  <a:gd name="connsiteY11" fmla="*/ 7273 h 153641"/>
                  <a:gd name="connsiteX12" fmla="*/ 146066 w 180461"/>
                  <a:gd name="connsiteY12" fmla="*/ 6667 h 153641"/>
                  <a:gd name="connsiteX13" fmla="*/ 142127 w 180461"/>
                  <a:gd name="connsiteY13" fmla="*/ 5909 h 153641"/>
                  <a:gd name="connsiteX14" fmla="*/ 138187 w 180461"/>
                  <a:gd name="connsiteY14" fmla="*/ 6061 h 153641"/>
                  <a:gd name="connsiteX15" fmla="*/ 135156 w 180461"/>
                  <a:gd name="connsiteY15" fmla="*/ 6364 h 153641"/>
                  <a:gd name="connsiteX16" fmla="*/ 128186 w 180461"/>
                  <a:gd name="connsiteY16" fmla="*/ 9091 h 153641"/>
                  <a:gd name="connsiteX17" fmla="*/ 116368 w 180461"/>
                  <a:gd name="connsiteY17" fmla="*/ 14849 h 153641"/>
                  <a:gd name="connsiteX18" fmla="*/ 107277 w 180461"/>
                  <a:gd name="connsiteY18" fmla="*/ 17576 h 153641"/>
                  <a:gd name="connsiteX19" fmla="*/ 102277 w 180461"/>
                  <a:gd name="connsiteY19" fmla="*/ 18637 h 153641"/>
                  <a:gd name="connsiteX20" fmla="*/ 98337 w 180461"/>
                  <a:gd name="connsiteY20" fmla="*/ 19395 h 153641"/>
                  <a:gd name="connsiteX21" fmla="*/ 91518 w 180461"/>
                  <a:gd name="connsiteY21" fmla="*/ 19395 h 153641"/>
                  <a:gd name="connsiteX22" fmla="*/ 85912 w 180461"/>
                  <a:gd name="connsiteY22" fmla="*/ 18940 h 153641"/>
                  <a:gd name="connsiteX23" fmla="*/ 82124 w 180461"/>
                  <a:gd name="connsiteY23" fmla="*/ 18940 h 153641"/>
                  <a:gd name="connsiteX24" fmla="*/ 80003 w 180461"/>
                  <a:gd name="connsiteY24" fmla="*/ 18334 h 153641"/>
                  <a:gd name="connsiteX25" fmla="*/ 76972 w 180461"/>
                  <a:gd name="connsiteY25" fmla="*/ 16061 h 153641"/>
                  <a:gd name="connsiteX26" fmla="*/ 73336 w 180461"/>
                  <a:gd name="connsiteY26" fmla="*/ 13637 h 153641"/>
                  <a:gd name="connsiteX27" fmla="*/ 71669 w 180461"/>
                  <a:gd name="connsiteY27" fmla="*/ 13182 h 153641"/>
                  <a:gd name="connsiteX28" fmla="*/ 69548 w 180461"/>
                  <a:gd name="connsiteY28" fmla="*/ 12728 h 153641"/>
                  <a:gd name="connsiteX29" fmla="*/ 66366 w 180461"/>
                  <a:gd name="connsiteY29" fmla="*/ 12425 h 153641"/>
                  <a:gd name="connsiteX30" fmla="*/ 58638 w 180461"/>
                  <a:gd name="connsiteY30" fmla="*/ 15758 h 153641"/>
                  <a:gd name="connsiteX31" fmla="*/ 56214 w 180461"/>
                  <a:gd name="connsiteY31" fmla="*/ 16667 h 153641"/>
                  <a:gd name="connsiteX32" fmla="*/ 53487 w 180461"/>
                  <a:gd name="connsiteY32" fmla="*/ 17425 h 153641"/>
                  <a:gd name="connsiteX33" fmla="*/ 48183 w 180461"/>
                  <a:gd name="connsiteY33" fmla="*/ 19395 h 153641"/>
                  <a:gd name="connsiteX34" fmla="*/ 45759 w 180461"/>
                  <a:gd name="connsiteY34" fmla="*/ 20607 h 153641"/>
                  <a:gd name="connsiteX35" fmla="*/ 42729 w 180461"/>
                  <a:gd name="connsiteY35" fmla="*/ 20455 h 153641"/>
                  <a:gd name="connsiteX36" fmla="*/ 38940 w 180461"/>
                  <a:gd name="connsiteY36" fmla="*/ 20152 h 153641"/>
                  <a:gd name="connsiteX37" fmla="*/ 35607 w 180461"/>
                  <a:gd name="connsiteY37" fmla="*/ 20304 h 153641"/>
                  <a:gd name="connsiteX38" fmla="*/ 33486 w 180461"/>
                  <a:gd name="connsiteY38" fmla="*/ 18637 h 153641"/>
                  <a:gd name="connsiteX39" fmla="*/ 32274 w 180461"/>
                  <a:gd name="connsiteY39" fmla="*/ 16970 h 153641"/>
                  <a:gd name="connsiteX40" fmla="*/ 27728 w 180461"/>
                  <a:gd name="connsiteY40" fmla="*/ 15909 h 153641"/>
                  <a:gd name="connsiteX41" fmla="*/ 24546 w 180461"/>
                  <a:gd name="connsiteY41" fmla="*/ 15607 h 153641"/>
                  <a:gd name="connsiteX42" fmla="*/ 23637 w 180461"/>
                  <a:gd name="connsiteY42" fmla="*/ 16364 h 153641"/>
                  <a:gd name="connsiteX43" fmla="*/ 22728 w 180461"/>
                  <a:gd name="connsiteY43" fmla="*/ 18788 h 153641"/>
                  <a:gd name="connsiteX44" fmla="*/ 21364 w 180461"/>
                  <a:gd name="connsiteY44" fmla="*/ 24849 h 153641"/>
                  <a:gd name="connsiteX45" fmla="*/ 21213 w 180461"/>
                  <a:gd name="connsiteY45" fmla="*/ 26364 h 153641"/>
                  <a:gd name="connsiteX46" fmla="*/ 23940 w 180461"/>
                  <a:gd name="connsiteY46" fmla="*/ 32425 h 153641"/>
                  <a:gd name="connsiteX47" fmla="*/ 23940 w 180461"/>
                  <a:gd name="connsiteY47" fmla="*/ 33335 h 153641"/>
                  <a:gd name="connsiteX48" fmla="*/ 21819 w 180461"/>
                  <a:gd name="connsiteY48" fmla="*/ 33638 h 153641"/>
                  <a:gd name="connsiteX49" fmla="*/ 19546 w 180461"/>
                  <a:gd name="connsiteY49" fmla="*/ 33789 h 153641"/>
                  <a:gd name="connsiteX50" fmla="*/ 18031 w 180461"/>
                  <a:gd name="connsiteY50" fmla="*/ 34244 h 153641"/>
                  <a:gd name="connsiteX51" fmla="*/ 16667 w 180461"/>
                  <a:gd name="connsiteY51" fmla="*/ 35304 h 153641"/>
                  <a:gd name="connsiteX52" fmla="*/ 15909 w 180461"/>
                  <a:gd name="connsiteY52" fmla="*/ 40456 h 153641"/>
                  <a:gd name="connsiteX53" fmla="*/ 13334 w 180461"/>
                  <a:gd name="connsiteY53" fmla="*/ 41517 h 153641"/>
                  <a:gd name="connsiteX54" fmla="*/ 11970 w 180461"/>
                  <a:gd name="connsiteY54" fmla="*/ 42577 h 153641"/>
                  <a:gd name="connsiteX55" fmla="*/ 10606 w 180461"/>
                  <a:gd name="connsiteY55" fmla="*/ 45759 h 153641"/>
                  <a:gd name="connsiteX56" fmla="*/ 10000 w 180461"/>
                  <a:gd name="connsiteY56" fmla="*/ 45911 h 153641"/>
                  <a:gd name="connsiteX57" fmla="*/ 5606 w 180461"/>
                  <a:gd name="connsiteY57" fmla="*/ 43486 h 153641"/>
                  <a:gd name="connsiteX58" fmla="*/ 3485 w 180461"/>
                  <a:gd name="connsiteY58" fmla="*/ 43183 h 153641"/>
                  <a:gd name="connsiteX59" fmla="*/ 2121 w 180461"/>
                  <a:gd name="connsiteY59" fmla="*/ 45305 h 153641"/>
                  <a:gd name="connsiteX60" fmla="*/ 0 w 180461"/>
                  <a:gd name="connsiteY60" fmla="*/ 53941 h 153641"/>
                  <a:gd name="connsiteX61" fmla="*/ 3788 w 180461"/>
                  <a:gd name="connsiteY61" fmla="*/ 58638 h 153641"/>
                  <a:gd name="connsiteX62" fmla="*/ 4091 w 180461"/>
                  <a:gd name="connsiteY62" fmla="*/ 60760 h 153641"/>
                  <a:gd name="connsiteX63" fmla="*/ 4243 w 180461"/>
                  <a:gd name="connsiteY63" fmla="*/ 62426 h 153641"/>
                  <a:gd name="connsiteX64" fmla="*/ 4848 w 180461"/>
                  <a:gd name="connsiteY64" fmla="*/ 64699 h 153641"/>
                  <a:gd name="connsiteX65" fmla="*/ 3485 w 180461"/>
                  <a:gd name="connsiteY65" fmla="*/ 69699 h 153641"/>
                  <a:gd name="connsiteX66" fmla="*/ 3333 w 180461"/>
                  <a:gd name="connsiteY66" fmla="*/ 73185 h 153641"/>
                  <a:gd name="connsiteX67" fmla="*/ 3636 w 180461"/>
                  <a:gd name="connsiteY67" fmla="*/ 76215 h 153641"/>
                  <a:gd name="connsiteX68" fmla="*/ 5758 w 180461"/>
                  <a:gd name="connsiteY68" fmla="*/ 83033 h 153641"/>
                  <a:gd name="connsiteX69" fmla="*/ 10606 w 180461"/>
                  <a:gd name="connsiteY69" fmla="*/ 83033 h 153641"/>
                  <a:gd name="connsiteX70" fmla="*/ 13637 w 180461"/>
                  <a:gd name="connsiteY70" fmla="*/ 82882 h 153641"/>
                  <a:gd name="connsiteX71" fmla="*/ 14546 w 180461"/>
                  <a:gd name="connsiteY71" fmla="*/ 81518 h 153641"/>
                  <a:gd name="connsiteX72" fmla="*/ 16970 w 180461"/>
                  <a:gd name="connsiteY72" fmla="*/ 82124 h 153641"/>
                  <a:gd name="connsiteX73" fmla="*/ 18334 w 180461"/>
                  <a:gd name="connsiteY73" fmla="*/ 83488 h 153641"/>
                  <a:gd name="connsiteX74" fmla="*/ 17122 w 180461"/>
                  <a:gd name="connsiteY74" fmla="*/ 85003 h 153641"/>
                  <a:gd name="connsiteX75" fmla="*/ 15455 w 180461"/>
                  <a:gd name="connsiteY75" fmla="*/ 86670 h 153641"/>
                  <a:gd name="connsiteX76" fmla="*/ 15455 w 180461"/>
                  <a:gd name="connsiteY76" fmla="*/ 86973 h 153641"/>
                  <a:gd name="connsiteX77" fmla="*/ 16819 w 180461"/>
                  <a:gd name="connsiteY77" fmla="*/ 87124 h 153641"/>
                  <a:gd name="connsiteX78" fmla="*/ 18940 w 180461"/>
                  <a:gd name="connsiteY78" fmla="*/ 88033 h 153641"/>
                  <a:gd name="connsiteX79" fmla="*/ 20304 w 180461"/>
                  <a:gd name="connsiteY79" fmla="*/ 89094 h 153641"/>
                  <a:gd name="connsiteX80" fmla="*/ 22425 w 180461"/>
                  <a:gd name="connsiteY80" fmla="*/ 95610 h 153641"/>
                  <a:gd name="connsiteX81" fmla="*/ 21061 w 180461"/>
                  <a:gd name="connsiteY81" fmla="*/ 98185 h 153641"/>
                  <a:gd name="connsiteX82" fmla="*/ 18940 w 180461"/>
                  <a:gd name="connsiteY82" fmla="*/ 100610 h 153641"/>
                  <a:gd name="connsiteX83" fmla="*/ 18031 w 180461"/>
                  <a:gd name="connsiteY83" fmla="*/ 100913 h 153641"/>
                  <a:gd name="connsiteX84" fmla="*/ 16212 w 180461"/>
                  <a:gd name="connsiteY84" fmla="*/ 101973 h 153641"/>
                  <a:gd name="connsiteX85" fmla="*/ 14546 w 180461"/>
                  <a:gd name="connsiteY85" fmla="*/ 103640 h 153641"/>
                  <a:gd name="connsiteX86" fmla="*/ 14091 w 180461"/>
                  <a:gd name="connsiteY86" fmla="*/ 104701 h 153641"/>
                  <a:gd name="connsiteX87" fmla="*/ 14243 w 180461"/>
                  <a:gd name="connsiteY87" fmla="*/ 105610 h 153641"/>
                  <a:gd name="connsiteX88" fmla="*/ 16364 w 180461"/>
                  <a:gd name="connsiteY88" fmla="*/ 106822 h 153641"/>
                  <a:gd name="connsiteX89" fmla="*/ 16516 w 180461"/>
                  <a:gd name="connsiteY89" fmla="*/ 107277 h 153641"/>
                  <a:gd name="connsiteX90" fmla="*/ 16061 w 180461"/>
                  <a:gd name="connsiteY90" fmla="*/ 107731 h 153641"/>
                  <a:gd name="connsiteX91" fmla="*/ 14243 w 180461"/>
                  <a:gd name="connsiteY91" fmla="*/ 107428 h 153641"/>
                  <a:gd name="connsiteX92" fmla="*/ 11970 w 180461"/>
                  <a:gd name="connsiteY92" fmla="*/ 107277 h 153641"/>
                  <a:gd name="connsiteX93" fmla="*/ 10606 w 180461"/>
                  <a:gd name="connsiteY93" fmla="*/ 107277 h 153641"/>
                  <a:gd name="connsiteX94" fmla="*/ 8940 w 180461"/>
                  <a:gd name="connsiteY94" fmla="*/ 107580 h 153641"/>
                  <a:gd name="connsiteX95" fmla="*/ 6970 w 180461"/>
                  <a:gd name="connsiteY95" fmla="*/ 108943 h 153641"/>
                  <a:gd name="connsiteX96" fmla="*/ 6061 w 180461"/>
                  <a:gd name="connsiteY96" fmla="*/ 110004 h 153641"/>
                  <a:gd name="connsiteX97" fmla="*/ 5606 w 180461"/>
                  <a:gd name="connsiteY97" fmla="*/ 110610 h 153641"/>
                  <a:gd name="connsiteX98" fmla="*/ 4848 w 180461"/>
                  <a:gd name="connsiteY98" fmla="*/ 112580 h 153641"/>
                  <a:gd name="connsiteX99" fmla="*/ 5606 w 180461"/>
                  <a:gd name="connsiteY99" fmla="*/ 113943 h 153641"/>
                  <a:gd name="connsiteX100" fmla="*/ 7121 w 180461"/>
                  <a:gd name="connsiteY100" fmla="*/ 114701 h 153641"/>
                  <a:gd name="connsiteX101" fmla="*/ 7424 w 180461"/>
                  <a:gd name="connsiteY101" fmla="*/ 115004 h 153641"/>
                  <a:gd name="connsiteX102" fmla="*/ 7121 w 180461"/>
                  <a:gd name="connsiteY102" fmla="*/ 115762 h 153641"/>
                  <a:gd name="connsiteX103" fmla="*/ 5606 w 180461"/>
                  <a:gd name="connsiteY103" fmla="*/ 116671 h 153641"/>
                  <a:gd name="connsiteX104" fmla="*/ 4394 w 180461"/>
                  <a:gd name="connsiteY104" fmla="*/ 117731 h 153641"/>
                  <a:gd name="connsiteX105" fmla="*/ 4091 w 180461"/>
                  <a:gd name="connsiteY105" fmla="*/ 118792 h 153641"/>
                  <a:gd name="connsiteX106" fmla="*/ 2879 w 180461"/>
                  <a:gd name="connsiteY106" fmla="*/ 119701 h 153641"/>
                  <a:gd name="connsiteX107" fmla="*/ 2424 w 180461"/>
                  <a:gd name="connsiteY107" fmla="*/ 121671 h 153641"/>
                  <a:gd name="connsiteX108" fmla="*/ 1970 w 180461"/>
                  <a:gd name="connsiteY108" fmla="*/ 122883 h 153641"/>
                  <a:gd name="connsiteX109" fmla="*/ 1970 w 180461"/>
                  <a:gd name="connsiteY109" fmla="*/ 124398 h 153641"/>
                  <a:gd name="connsiteX110" fmla="*/ 2576 w 180461"/>
                  <a:gd name="connsiteY110" fmla="*/ 125307 h 153641"/>
                  <a:gd name="connsiteX111" fmla="*/ 3333 w 180461"/>
                  <a:gd name="connsiteY111" fmla="*/ 126974 h 153641"/>
                  <a:gd name="connsiteX112" fmla="*/ 3939 w 180461"/>
                  <a:gd name="connsiteY112" fmla="*/ 128793 h 153641"/>
                  <a:gd name="connsiteX113" fmla="*/ 2879 w 180461"/>
                  <a:gd name="connsiteY113" fmla="*/ 130156 h 153641"/>
                  <a:gd name="connsiteX114" fmla="*/ 2879 w 180461"/>
                  <a:gd name="connsiteY114" fmla="*/ 131672 h 153641"/>
                  <a:gd name="connsiteX115" fmla="*/ 3182 w 180461"/>
                  <a:gd name="connsiteY115" fmla="*/ 133035 h 153641"/>
                  <a:gd name="connsiteX116" fmla="*/ 4091 w 180461"/>
                  <a:gd name="connsiteY116" fmla="*/ 134399 h 153641"/>
                  <a:gd name="connsiteX117" fmla="*/ 2576 w 180461"/>
                  <a:gd name="connsiteY117" fmla="*/ 137126 h 153641"/>
                  <a:gd name="connsiteX118" fmla="*/ 1060 w 180461"/>
                  <a:gd name="connsiteY118" fmla="*/ 139550 h 153641"/>
                  <a:gd name="connsiteX119" fmla="*/ 606 w 180461"/>
                  <a:gd name="connsiteY119" fmla="*/ 140914 h 153641"/>
                  <a:gd name="connsiteX120" fmla="*/ 3636 w 180461"/>
                  <a:gd name="connsiteY120" fmla="*/ 141672 h 153641"/>
                  <a:gd name="connsiteX121" fmla="*/ 5303 w 180461"/>
                  <a:gd name="connsiteY121" fmla="*/ 143036 h 153641"/>
                  <a:gd name="connsiteX122" fmla="*/ 8031 w 180461"/>
                  <a:gd name="connsiteY122" fmla="*/ 147126 h 153641"/>
                  <a:gd name="connsiteX123" fmla="*/ 12424 w 180461"/>
                  <a:gd name="connsiteY123" fmla="*/ 148187 h 153641"/>
                  <a:gd name="connsiteX124" fmla="*/ 14243 w 180461"/>
                  <a:gd name="connsiteY124" fmla="*/ 149399 h 153641"/>
                  <a:gd name="connsiteX125" fmla="*/ 16667 w 180461"/>
                  <a:gd name="connsiteY125" fmla="*/ 151521 h 153641"/>
                  <a:gd name="connsiteX126" fmla="*/ 19546 w 180461"/>
                  <a:gd name="connsiteY126" fmla="*/ 152278 h 153641"/>
                  <a:gd name="connsiteX127" fmla="*/ 28789 w 180461"/>
                  <a:gd name="connsiteY127" fmla="*/ 153642 h 153641"/>
                  <a:gd name="connsiteX128" fmla="*/ 36213 w 180461"/>
                  <a:gd name="connsiteY128" fmla="*/ 149096 h 153641"/>
                  <a:gd name="connsiteX129" fmla="*/ 42577 w 180461"/>
                  <a:gd name="connsiteY129" fmla="*/ 145308 h 153641"/>
                  <a:gd name="connsiteX130" fmla="*/ 49547 w 180461"/>
                  <a:gd name="connsiteY130" fmla="*/ 141066 h 153641"/>
                  <a:gd name="connsiteX131" fmla="*/ 54396 w 180461"/>
                  <a:gd name="connsiteY131" fmla="*/ 138035 h 153641"/>
                  <a:gd name="connsiteX132" fmla="*/ 62729 w 180461"/>
                  <a:gd name="connsiteY132" fmla="*/ 133035 h 153641"/>
                  <a:gd name="connsiteX133" fmla="*/ 68184 w 180461"/>
                  <a:gd name="connsiteY133" fmla="*/ 129853 h 153641"/>
                  <a:gd name="connsiteX134" fmla="*/ 75306 w 180461"/>
                  <a:gd name="connsiteY134" fmla="*/ 125762 h 153641"/>
                  <a:gd name="connsiteX135" fmla="*/ 82276 w 180461"/>
                  <a:gd name="connsiteY135" fmla="*/ 121519 h 153641"/>
                  <a:gd name="connsiteX136" fmla="*/ 90155 w 180461"/>
                  <a:gd name="connsiteY136" fmla="*/ 117277 h 153641"/>
                  <a:gd name="connsiteX137" fmla="*/ 95912 w 180461"/>
                  <a:gd name="connsiteY137" fmla="*/ 113943 h 153641"/>
                  <a:gd name="connsiteX138" fmla="*/ 103943 w 180461"/>
                  <a:gd name="connsiteY138" fmla="*/ 109398 h 153641"/>
                  <a:gd name="connsiteX139" fmla="*/ 111822 w 180461"/>
                  <a:gd name="connsiteY139" fmla="*/ 105155 h 153641"/>
                  <a:gd name="connsiteX140" fmla="*/ 119247 w 180461"/>
                  <a:gd name="connsiteY140" fmla="*/ 100913 h 153641"/>
                  <a:gd name="connsiteX141" fmla="*/ 127429 w 180461"/>
                  <a:gd name="connsiteY141" fmla="*/ 96367 h 153641"/>
                  <a:gd name="connsiteX142" fmla="*/ 134702 w 180461"/>
                  <a:gd name="connsiteY142" fmla="*/ 92125 h 153641"/>
                  <a:gd name="connsiteX143" fmla="*/ 141520 w 180461"/>
                  <a:gd name="connsiteY143" fmla="*/ 90458 h 153641"/>
                  <a:gd name="connsiteX144" fmla="*/ 142884 w 180461"/>
                  <a:gd name="connsiteY144" fmla="*/ 89246 h 153641"/>
                  <a:gd name="connsiteX145" fmla="*/ 145915 w 180461"/>
                  <a:gd name="connsiteY145" fmla="*/ 83639 h 153641"/>
                  <a:gd name="connsiteX146" fmla="*/ 148642 w 180461"/>
                  <a:gd name="connsiteY146" fmla="*/ 78791 h 153641"/>
                  <a:gd name="connsiteX147" fmla="*/ 148642 w 180461"/>
                  <a:gd name="connsiteY147" fmla="*/ 77579 h 153641"/>
                  <a:gd name="connsiteX148" fmla="*/ 148793 w 180461"/>
                  <a:gd name="connsiteY148" fmla="*/ 70760 h 153641"/>
                  <a:gd name="connsiteX149" fmla="*/ 149248 w 180461"/>
                  <a:gd name="connsiteY149" fmla="*/ 62730 h 153641"/>
                  <a:gd name="connsiteX150" fmla="*/ 150005 w 180461"/>
                  <a:gd name="connsiteY150" fmla="*/ 58335 h 153641"/>
                  <a:gd name="connsiteX151" fmla="*/ 151521 w 180461"/>
                  <a:gd name="connsiteY151" fmla="*/ 54547 h 153641"/>
                  <a:gd name="connsiteX152" fmla="*/ 152884 w 180461"/>
                  <a:gd name="connsiteY152" fmla="*/ 51820 h 153641"/>
                  <a:gd name="connsiteX153" fmla="*/ 153036 w 180461"/>
                  <a:gd name="connsiteY153" fmla="*/ 49244 h 153641"/>
                  <a:gd name="connsiteX154" fmla="*/ 152884 w 180461"/>
                  <a:gd name="connsiteY154" fmla="*/ 46517 h 153641"/>
                  <a:gd name="connsiteX155" fmla="*/ 151521 w 180461"/>
                  <a:gd name="connsiteY155" fmla="*/ 42577 h 153641"/>
                  <a:gd name="connsiteX156" fmla="*/ 150005 w 180461"/>
                  <a:gd name="connsiteY156" fmla="*/ 38335 h 153641"/>
                  <a:gd name="connsiteX157" fmla="*/ 150157 w 180461"/>
                  <a:gd name="connsiteY157" fmla="*/ 34244 h 153641"/>
                  <a:gd name="connsiteX158" fmla="*/ 150460 w 180461"/>
                  <a:gd name="connsiteY158" fmla="*/ 32122 h 153641"/>
                  <a:gd name="connsiteX159" fmla="*/ 151369 w 180461"/>
                  <a:gd name="connsiteY159" fmla="*/ 28637 h 153641"/>
                  <a:gd name="connsiteX160" fmla="*/ 152884 w 180461"/>
                  <a:gd name="connsiteY160" fmla="*/ 26213 h 153641"/>
                  <a:gd name="connsiteX161" fmla="*/ 154703 w 180461"/>
                  <a:gd name="connsiteY161" fmla="*/ 24546 h 153641"/>
                  <a:gd name="connsiteX162" fmla="*/ 161067 w 180461"/>
                  <a:gd name="connsiteY162" fmla="*/ 23031 h 153641"/>
                  <a:gd name="connsiteX163" fmla="*/ 164855 w 180461"/>
                  <a:gd name="connsiteY163" fmla="*/ 21970 h 153641"/>
                  <a:gd name="connsiteX164" fmla="*/ 169855 w 180461"/>
                  <a:gd name="connsiteY164" fmla="*/ 17576 h 153641"/>
                  <a:gd name="connsiteX165" fmla="*/ 172885 w 180461"/>
                  <a:gd name="connsiteY165" fmla="*/ 14849 h 153641"/>
                  <a:gd name="connsiteX166" fmla="*/ 177128 w 180461"/>
                  <a:gd name="connsiteY166" fmla="*/ 10606 h 153641"/>
                  <a:gd name="connsiteX167" fmla="*/ 180158 w 180461"/>
                  <a:gd name="connsiteY167" fmla="*/ 7424 h 153641"/>
                  <a:gd name="connsiteX168" fmla="*/ 180461 w 180461"/>
                  <a:gd name="connsiteY168" fmla="*/ 6364 h 153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80461" h="153641">
                    <a:moveTo>
                      <a:pt x="180461" y="5909"/>
                    </a:moveTo>
                    <a:lnTo>
                      <a:pt x="179249" y="2121"/>
                    </a:lnTo>
                    <a:lnTo>
                      <a:pt x="178037" y="757"/>
                    </a:lnTo>
                    <a:lnTo>
                      <a:pt x="177431" y="455"/>
                    </a:lnTo>
                    <a:lnTo>
                      <a:pt x="176219" y="0"/>
                    </a:lnTo>
                    <a:lnTo>
                      <a:pt x="175158" y="303"/>
                    </a:lnTo>
                    <a:lnTo>
                      <a:pt x="172279" y="2879"/>
                    </a:lnTo>
                    <a:lnTo>
                      <a:pt x="167582" y="4545"/>
                    </a:lnTo>
                    <a:lnTo>
                      <a:pt x="163642" y="5455"/>
                    </a:lnTo>
                    <a:lnTo>
                      <a:pt x="157430" y="6515"/>
                    </a:lnTo>
                    <a:lnTo>
                      <a:pt x="152581" y="7121"/>
                    </a:lnTo>
                    <a:lnTo>
                      <a:pt x="150460" y="7273"/>
                    </a:lnTo>
                    <a:lnTo>
                      <a:pt x="146066" y="6667"/>
                    </a:lnTo>
                    <a:lnTo>
                      <a:pt x="142127" y="5909"/>
                    </a:lnTo>
                    <a:lnTo>
                      <a:pt x="138187" y="6061"/>
                    </a:lnTo>
                    <a:lnTo>
                      <a:pt x="135156" y="6364"/>
                    </a:lnTo>
                    <a:lnTo>
                      <a:pt x="128186" y="9091"/>
                    </a:lnTo>
                    <a:lnTo>
                      <a:pt x="116368" y="14849"/>
                    </a:lnTo>
                    <a:lnTo>
                      <a:pt x="107277" y="17576"/>
                    </a:lnTo>
                    <a:lnTo>
                      <a:pt x="102277" y="18637"/>
                    </a:lnTo>
                    <a:lnTo>
                      <a:pt x="98337" y="19395"/>
                    </a:lnTo>
                    <a:lnTo>
                      <a:pt x="91518" y="19395"/>
                    </a:lnTo>
                    <a:lnTo>
                      <a:pt x="85912" y="18940"/>
                    </a:lnTo>
                    <a:lnTo>
                      <a:pt x="82124" y="18940"/>
                    </a:lnTo>
                    <a:lnTo>
                      <a:pt x="80003" y="18334"/>
                    </a:lnTo>
                    <a:lnTo>
                      <a:pt x="76972" y="16061"/>
                    </a:lnTo>
                    <a:lnTo>
                      <a:pt x="73336" y="13637"/>
                    </a:lnTo>
                    <a:lnTo>
                      <a:pt x="71669" y="13182"/>
                    </a:lnTo>
                    <a:lnTo>
                      <a:pt x="69548" y="12728"/>
                    </a:lnTo>
                    <a:lnTo>
                      <a:pt x="66366" y="12425"/>
                    </a:lnTo>
                    <a:lnTo>
                      <a:pt x="58638" y="15758"/>
                    </a:lnTo>
                    <a:lnTo>
                      <a:pt x="56214" y="16667"/>
                    </a:lnTo>
                    <a:lnTo>
                      <a:pt x="53487" y="17425"/>
                    </a:lnTo>
                    <a:lnTo>
                      <a:pt x="48183" y="19395"/>
                    </a:lnTo>
                    <a:lnTo>
                      <a:pt x="45759" y="20607"/>
                    </a:lnTo>
                    <a:lnTo>
                      <a:pt x="42729" y="20455"/>
                    </a:lnTo>
                    <a:lnTo>
                      <a:pt x="38940" y="20152"/>
                    </a:lnTo>
                    <a:lnTo>
                      <a:pt x="35607" y="20304"/>
                    </a:lnTo>
                    <a:lnTo>
                      <a:pt x="33486" y="18637"/>
                    </a:lnTo>
                    <a:lnTo>
                      <a:pt x="32274" y="16970"/>
                    </a:lnTo>
                    <a:lnTo>
                      <a:pt x="27728" y="15909"/>
                    </a:lnTo>
                    <a:lnTo>
                      <a:pt x="24546" y="15607"/>
                    </a:lnTo>
                    <a:lnTo>
                      <a:pt x="23637" y="16364"/>
                    </a:lnTo>
                    <a:lnTo>
                      <a:pt x="22728" y="18788"/>
                    </a:lnTo>
                    <a:lnTo>
                      <a:pt x="21364" y="24849"/>
                    </a:lnTo>
                    <a:lnTo>
                      <a:pt x="21213" y="26364"/>
                    </a:lnTo>
                    <a:lnTo>
                      <a:pt x="23940" y="32425"/>
                    </a:lnTo>
                    <a:lnTo>
                      <a:pt x="23940" y="33335"/>
                    </a:lnTo>
                    <a:lnTo>
                      <a:pt x="21819" y="33638"/>
                    </a:lnTo>
                    <a:lnTo>
                      <a:pt x="19546" y="33789"/>
                    </a:lnTo>
                    <a:lnTo>
                      <a:pt x="18031" y="34244"/>
                    </a:lnTo>
                    <a:lnTo>
                      <a:pt x="16667" y="35304"/>
                    </a:lnTo>
                    <a:lnTo>
                      <a:pt x="15909" y="40456"/>
                    </a:lnTo>
                    <a:lnTo>
                      <a:pt x="13334" y="41517"/>
                    </a:lnTo>
                    <a:lnTo>
                      <a:pt x="11970" y="42577"/>
                    </a:lnTo>
                    <a:lnTo>
                      <a:pt x="10606" y="45759"/>
                    </a:lnTo>
                    <a:lnTo>
                      <a:pt x="10000" y="45911"/>
                    </a:lnTo>
                    <a:lnTo>
                      <a:pt x="5606" y="43486"/>
                    </a:lnTo>
                    <a:lnTo>
                      <a:pt x="3485" y="43183"/>
                    </a:lnTo>
                    <a:lnTo>
                      <a:pt x="2121" y="45305"/>
                    </a:lnTo>
                    <a:lnTo>
                      <a:pt x="0" y="53941"/>
                    </a:lnTo>
                    <a:lnTo>
                      <a:pt x="3788" y="58638"/>
                    </a:lnTo>
                    <a:lnTo>
                      <a:pt x="4091" y="60760"/>
                    </a:lnTo>
                    <a:lnTo>
                      <a:pt x="4243" y="62426"/>
                    </a:lnTo>
                    <a:lnTo>
                      <a:pt x="4848" y="64699"/>
                    </a:lnTo>
                    <a:lnTo>
                      <a:pt x="3485" y="69699"/>
                    </a:lnTo>
                    <a:lnTo>
                      <a:pt x="3333" y="73185"/>
                    </a:lnTo>
                    <a:lnTo>
                      <a:pt x="3636" y="76215"/>
                    </a:lnTo>
                    <a:lnTo>
                      <a:pt x="5758" y="83033"/>
                    </a:lnTo>
                    <a:lnTo>
                      <a:pt x="10606" y="83033"/>
                    </a:lnTo>
                    <a:lnTo>
                      <a:pt x="13637" y="82882"/>
                    </a:lnTo>
                    <a:lnTo>
                      <a:pt x="14546" y="81518"/>
                    </a:lnTo>
                    <a:lnTo>
                      <a:pt x="16970" y="82124"/>
                    </a:lnTo>
                    <a:lnTo>
                      <a:pt x="18334" y="83488"/>
                    </a:lnTo>
                    <a:lnTo>
                      <a:pt x="17122" y="85003"/>
                    </a:lnTo>
                    <a:lnTo>
                      <a:pt x="15455" y="86670"/>
                    </a:lnTo>
                    <a:lnTo>
                      <a:pt x="15455" y="86973"/>
                    </a:lnTo>
                    <a:lnTo>
                      <a:pt x="16819" y="87124"/>
                    </a:lnTo>
                    <a:lnTo>
                      <a:pt x="18940" y="88033"/>
                    </a:lnTo>
                    <a:lnTo>
                      <a:pt x="20304" y="89094"/>
                    </a:lnTo>
                    <a:lnTo>
                      <a:pt x="22425" y="95610"/>
                    </a:lnTo>
                    <a:lnTo>
                      <a:pt x="21061" y="98185"/>
                    </a:lnTo>
                    <a:lnTo>
                      <a:pt x="18940" y="100610"/>
                    </a:lnTo>
                    <a:lnTo>
                      <a:pt x="18031" y="100913"/>
                    </a:lnTo>
                    <a:lnTo>
                      <a:pt x="16212" y="101973"/>
                    </a:lnTo>
                    <a:lnTo>
                      <a:pt x="14546" y="103640"/>
                    </a:lnTo>
                    <a:lnTo>
                      <a:pt x="14091" y="104701"/>
                    </a:lnTo>
                    <a:lnTo>
                      <a:pt x="14243" y="105610"/>
                    </a:lnTo>
                    <a:lnTo>
                      <a:pt x="16364" y="106822"/>
                    </a:lnTo>
                    <a:lnTo>
                      <a:pt x="16516" y="107277"/>
                    </a:lnTo>
                    <a:lnTo>
                      <a:pt x="16061" y="107731"/>
                    </a:lnTo>
                    <a:lnTo>
                      <a:pt x="14243" y="107428"/>
                    </a:lnTo>
                    <a:lnTo>
                      <a:pt x="11970" y="107277"/>
                    </a:lnTo>
                    <a:lnTo>
                      <a:pt x="10606" y="107277"/>
                    </a:lnTo>
                    <a:lnTo>
                      <a:pt x="8940" y="107580"/>
                    </a:lnTo>
                    <a:lnTo>
                      <a:pt x="6970" y="108943"/>
                    </a:lnTo>
                    <a:lnTo>
                      <a:pt x="6061" y="110004"/>
                    </a:lnTo>
                    <a:lnTo>
                      <a:pt x="5606" y="110610"/>
                    </a:lnTo>
                    <a:lnTo>
                      <a:pt x="4848" y="112580"/>
                    </a:lnTo>
                    <a:lnTo>
                      <a:pt x="5606" y="113943"/>
                    </a:lnTo>
                    <a:lnTo>
                      <a:pt x="7121" y="114701"/>
                    </a:lnTo>
                    <a:lnTo>
                      <a:pt x="7424" y="115004"/>
                    </a:lnTo>
                    <a:lnTo>
                      <a:pt x="7121" y="115762"/>
                    </a:lnTo>
                    <a:lnTo>
                      <a:pt x="5606" y="116671"/>
                    </a:lnTo>
                    <a:lnTo>
                      <a:pt x="4394" y="117731"/>
                    </a:lnTo>
                    <a:lnTo>
                      <a:pt x="4091" y="118792"/>
                    </a:lnTo>
                    <a:lnTo>
                      <a:pt x="2879" y="119701"/>
                    </a:lnTo>
                    <a:lnTo>
                      <a:pt x="2424" y="121671"/>
                    </a:lnTo>
                    <a:lnTo>
                      <a:pt x="1970" y="122883"/>
                    </a:lnTo>
                    <a:lnTo>
                      <a:pt x="1970" y="124398"/>
                    </a:lnTo>
                    <a:lnTo>
                      <a:pt x="2576" y="125307"/>
                    </a:lnTo>
                    <a:lnTo>
                      <a:pt x="3333" y="126974"/>
                    </a:lnTo>
                    <a:lnTo>
                      <a:pt x="3939" y="128793"/>
                    </a:lnTo>
                    <a:lnTo>
                      <a:pt x="2879" y="130156"/>
                    </a:lnTo>
                    <a:lnTo>
                      <a:pt x="2879" y="131672"/>
                    </a:lnTo>
                    <a:lnTo>
                      <a:pt x="3182" y="133035"/>
                    </a:lnTo>
                    <a:lnTo>
                      <a:pt x="4091" y="134399"/>
                    </a:lnTo>
                    <a:lnTo>
                      <a:pt x="2576" y="137126"/>
                    </a:lnTo>
                    <a:lnTo>
                      <a:pt x="1060" y="139550"/>
                    </a:lnTo>
                    <a:lnTo>
                      <a:pt x="606" y="140914"/>
                    </a:lnTo>
                    <a:lnTo>
                      <a:pt x="3636" y="141672"/>
                    </a:lnTo>
                    <a:lnTo>
                      <a:pt x="5303" y="143036"/>
                    </a:lnTo>
                    <a:lnTo>
                      <a:pt x="8031" y="147126"/>
                    </a:lnTo>
                    <a:lnTo>
                      <a:pt x="12424" y="148187"/>
                    </a:lnTo>
                    <a:lnTo>
                      <a:pt x="14243" y="149399"/>
                    </a:lnTo>
                    <a:lnTo>
                      <a:pt x="16667" y="151521"/>
                    </a:lnTo>
                    <a:lnTo>
                      <a:pt x="19546" y="152278"/>
                    </a:lnTo>
                    <a:lnTo>
                      <a:pt x="28789" y="153642"/>
                    </a:lnTo>
                    <a:lnTo>
                      <a:pt x="36213" y="149096"/>
                    </a:lnTo>
                    <a:lnTo>
                      <a:pt x="42577" y="145308"/>
                    </a:lnTo>
                    <a:lnTo>
                      <a:pt x="49547" y="141066"/>
                    </a:lnTo>
                    <a:lnTo>
                      <a:pt x="54396" y="138035"/>
                    </a:lnTo>
                    <a:lnTo>
                      <a:pt x="62729" y="133035"/>
                    </a:lnTo>
                    <a:lnTo>
                      <a:pt x="68184" y="129853"/>
                    </a:lnTo>
                    <a:lnTo>
                      <a:pt x="75306" y="125762"/>
                    </a:lnTo>
                    <a:lnTo>
                      <a:pt x="82276" y="121519"/>
                    </a:lnTo>
                    <a:lnTo>
                      <a:pt x="90155" y="117277"/>
                    </a:lnTo>
                    <a:lnTo>
                      <a:pt x="95912" y="113943"/>
                    </a:lnTo>
                    <a:lnTo>
                      <a:pt x="103943" y="109398"/>
                    </a:lnTo>
                    <a:lnTo>
                      <a:pt x="111822" y="105155"/>
                    </a:lnTo>
                    <a:lnTo>
                      <a:pt x="119247" y="100913"/>
                    </a:lnTo>
                    <a:lnTo>
                      <a:pt x="127429" y="96367"/>
                    </a:lnTo>
                    <a:lnTo>
                      <a:pt x="134702" y="92125"/>
                    </a:lnTo>
                    <a:lnTo>
                      <a:pt x="141520" y="90458"/>
                    </a:lnTo>
                    <a:lnTo>
                      <a:pt x="142884" y="89246"/>
                    </a:lnTo>
                    <a:lnTo>
                      <a:pt x="145915" y="83639"/>
                    </a:lnTo>
                    <a:lnTo>
                      <a:pt x="148642" y="78791"/>
                    </a:lnTo>
                    <a:lnTo>
                      <a:pt x="148642" y="77579"/>
                    </a:lnTo>
                    <a:lnTo>
                      <a:pt x="148793" y="70760"/>
                    </a:lnTo>
                    <a:lnTo>
                      <a:pt x="149248" y="62730"/>
                    </a:lnTo>
                    <a:lnTo>
                      <a:pt x="150005" y="58335"/>
                    </a:lnTo>
                    <a:lnTo>
                      <a:pt x="151521" y="54547"/>
                    </a:lnTo>
                    <a:lnTo>
                      <a:pt x="152884" y="51820"/>
                    </a:lnTo>
                    <a:lnTo>
                      <a:pt x="153036" y="49244"/>
                    </a:lnTo>
                    <a:lnTo>
                      <a:pt x="152884" y="46517"/>
                    </a:lnTo>
                    <a:lnTo>
                      <a:pt x="151521" y="42577"/>
                    </a:lnTo>
                    <a:lnTo>
                      <a:pt x="150005" y="38335"/>
                    </a:lnTo>
                    <a:lnTo>
                      <a:pt x="150157" y="34244"/>
                    </a:lnTo>
                    <a:lnTo>
                      <a:pt x="150460" y="32122"/>
                    </a:lnTo>
                    <a:lnTo>
                      <a:pt x="151369" y="28637"/>
                    </a:lnTo>
                    <a:lnTo>
                      <a:pt x="152884" y="26213"/>
                    </a:lnTo>
                    <a:lnTo>
                      <a:pt x="154703" y="24546"/>
                    </a:lnTo>
                    <a:lnTo>
                      <a:pt x="161067" y="23031"/>
                    </a:lnTo>
                    <a:lnTo>
                      <a:pt x="164855" y="21970"/>
                    </a:lnTo>
                    <a:lnTo>
                      <a:pt x="169855" y="17576"/>
                    </a:lnTo>
                    <a:lnTo>
                      <a:pt x="172885" y="14849"/>
                    </a:lnTo>
                    <a:lnTo>
                      <a:pt x="177128" y="10606"/>
                    </a:lnTo>
                    <a:lnTo>
                      <a:pt x="180158" y="7424"/>
                    </a:lnTo>
                    <a:lnTo>
                      <a:pt x="180461" y="6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5DE80125-3E00-4F6A-AF6B-CAE01B4664BD}"/>
                  </a:ext>
                </a:extLst>
              </p:cNvPr>
              <p:cNvSpPr/>
              <p:nvPr/>
            </p:nvSpPr>
            <p:spPr>
              <a:xfrm>
                <a:off x="4050015" y="4065611"/>
                <a:ext cx="3181" cy="1363"/>
              </a:xfrm>
              <a:custGeom>
                <a:avLst/>
                <a:gdLst>
                  <a:gd name="connsiteX0" fmla="*/ 151 w 3181"/>
                  <a:gd name="connsiteY0" fmla="*/ 0 h 1363"/>
                  <a:gd name="connsiteX1" fmla="*/ 0 w 3181"/>
                  <a:gd name="connsiteY1" fmla="*/ 151 h 1363"/>
                  <a:gd name="connsiteX2" fmla="*/ 909 w 3181"/>
                  <a:gd name="connsiteY2" fmla="*/ 757 h 1363"/>
                  <a:gd name="connsiteX3" fmla="*/ 2879 w 3181"/>
                  <a:gd name="connsiteY3" fmla="*/ 1364 h 1363"/>
                  <a:gd name="connsiteX4" fmla="*/ 3182 w 3181"/>
                  <a:gd name="connsiteY4" fmla="*/ 606 h 1363"/>
                  <a:gd name="connsiteX5" fmla="*/ 3182 w 3181"/>
                  <a:gd name="connsiteY5" fmla="*/ 0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1" h="1363">
                    <a:moveTo>
                      <a:pt x="151" y="0"/>
                    </a:moveTo>
                    <a:lnTo>
                      <a:pt x="0" y="151"/>
                    </a:lnTo>
                    <a:lnTo>
                      <a:pt x="909" y="757"/>
                    </a:lnTo>
                    <a:lnTo>
                      <a:pt x="2879" y="1364"/>
                    </a:lnTo>
                    <a:lnTo>
                      <a:pt x="3182" y="606"/>
                    </a:lnTo>
                    <a:lnTo>
                      <a:pt x="3182"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80CAC523-28A1-40DB-AB4A-56419A3CF68B}"/>
                  </a:ext>
                </a:extLst>
              </p:cNvPr>
              <p:cNvSpPr/>
              <p:nvPr/>
            </p:nvSpPr>
            <p:spPr>
              <a:xfrm>
                <a:off x="3311805" y="4167130"/>
                <a:ext cx="65457" cy="35152"/>
              </a:xfrm>
              <a:custGeom>
                <a:avLst/>
                <a:gdLst>
                  <a:gd name="connsiteX0" fmla="*/ 63639 w 65457"/>
                  <a:gd name="connsiteY0" fmla="*/ 25152 h 35152"/>
                  <a:gd name="connsiteX1" fmla="*/ 63790 w 65457"/>
                  <a:gd name="connsiteY1" fmla="*/ 23637 h 35152"/>
                  <a:gd name="connsiteX2" fmla="*/ 64245 w 65457"/>
                  <a:gd name="connsiteY2" fmla="*/ 21667 h 35152"/>
                  <a:gd name="connsiteX3" fmla="*/ 65457 w 65457"/>
                  <a:gd name="connsiteY3" fmla="*/ 17122 h 35152"/>
                  <a:gd name="connsiteX4" fmla="*/ 65002 w 65457"/>
                  <a:gd name="connsiteY4" fmla="*/ 16364 h 35152"/>
                  <a:gd name="connsiteX5" fmla="*/ 63033 w 65457"/>
                  <a:gd name="connsiteY5" fmla="*/ 15000 h 35152"/>
                  <a:gd name="connsiteX6" fmla="*/ 60608 w 65457"/>
                  <a:gd name="connsiteY6" fmla="*/ 14849 h 35152"/>
                  <a:gd name="connsiteX7" fmla="*/ 57881 w 65457"/>
                  <a:gd name="connsiteY7" fmla="*/ 15304 h 35152"/>
                  <a:gd name="connsiteX8" fmla="*/ 56517 w 65457"/>
                  <a:gd name="connsiteY8" fmla="*/ 14546 h 35152"/>
                  <a:gd name="connsiteX9" fmla="*/ 55457 w 65457"/>
                  <a:gd name="connsiteY9" fmla="*/ 13031 h 35152"/>
                  <a:gd name="connsiteX10" fmla="*/ 53487 w 65457"/>
                  <a:gd name="connsiteY10" fmla="*/ 12273 h 35152"/>
                  <a:gd name="connsiteX11" fmla="*/ 50153 w 65457"/>
                  <a:gd name="connsiteY11" fmla="*/ 13485 h 35152"/>
                  <a:gd name="connsiteX12" fmla="*/ 46517 w 65457"/>
                  <a:gd name="connsiteY12" fmla="*/ 15455 h 35152"/>
                  <a:gd name="connsiteX13" fmla="*/ 45305 w 65457"/>
                  <a:gd name="connsiteY13" fmla="*/ 16061 h 35152"/>
                  <a:gd name="connsiteX14" fmla="*/ 44395 w 65457"/>
                  <a:gd name="connsiteY14" fmla="*/ 15910 h 35152"/>
                  <a:gd name="connsiteX15" fmla="*/ 44093 w 65457"/>
                  <a:gd name="connsiteY15" fmla="*/ 14546 h 35152"/>
                  <a:gd name="connsiteX16" fmla="*/ 43789 w 65457"/>
                  <a:gd name="connsiteY16" fmla="*/ 12879 h 35152"/>
                  <a:gd name="connsiteX17" fmla="*/ 43638 w 65457"/>
                  <a:gd name="connsiteY17" fmla="*/ 12576 h 35152"/>
                  <a:gd name="connsiteX18" fmla="*/ 41668 w 65457"/>
                  <a:gd name="connsiteY18" fmla="*/ 11970 h 35152"/>
                  <a:gd name="connsiteX19" fmla="*/ 39395 w 65457"/>
                  <a:gd name="connsiteY19" fmla="*/ 11515 h 35152"/>
                  <a:gd name="connsiteX20" fmla="*/ 38335 w 65457"/>
                  <a:gd name="connsiteY20" fmla="*/ 11061 h 35152"/>
                  <a:gd name="connsiteX21" fmla="*/ 37123 w 65457"/>
                  <a:gd name="connsiteY21" fmla="*/ 10000 h 35152"/>
                  <a:gd name="connsiteX22" fmla="*/ 34547 w 65457"/>
                  <a:gd name="connsiteY22" fmla="*/ 8485 h 35152"/>
                  <a:gd name="connsiteX23" fmla="*/ 33941 w 65457"/>
                  <a:gd name="connsiteY23" fmla="*/ 7424 h 35152"/>
                  <a:gd name="connsiteX24" fmla="*/ 30304 w 65457"/>
                  <a:gd name="connsiteY24" fmla="*/ 5000 h 35152"/>
                  <a:gd name="connsiteX25" fmla="*/ 29547 w 65457"/>
                  <a:gd name="connsiteY25" fmla="*/ 3636 h 35152"/>
                  <a:gd name="connsiteX26" fmla="*/ 28789 w 65457"/>
                  <a:gd name="connsiteY26" fmla="*/ 2879 h 35152"/>
                  <a:gd name="connsiteX27" fmla="*/ 26971 w 65457"/>
                  <a:gd name="connsiteY27" fmla="*/ 1667 h 35152"/>
                  <a:gd name="connsiteX28" fmla="*/ 25607 w 65457"/>
                  <a:gd name="connsiteY28" fmla="*/ 1970 h 35152"/>
                  <a:gd name="connsiteX29" fmla="*/ 21061 w 65457"/>
                  <a:gd name="connsiteY29" fmla="*/ 606 h 35152"/>
                  <a:gd name="connsiteX30" fmla="*/ 20304 w 65457"/>
                  <a:gd name="connsiteY30" fmla="*/ 455 h 35152"/>
                  <a:gd name="connsiteX31" fmla="*/ 19849 w 65457"/>
                  <a:gd name="connsiteY31" fmla="*/ 151 h 35152"/>
                  <a:gd name="connsiteX32" fmla="*/ 18789 w 65457"/>
                  <a:gd name="connsiteY32" fmla="*/ 0 h 35152"/>
                  <a:gd name="connsiteX33" fmla="*/ 16516 w 65457"/>
                  <a:gd name="connsiteY33" fmla="*/ 455 h 35152"/>
                  <a:gd name="connsiteX34" fmla="*/ 15455 w 65457"/>
                  <a:gd name="connsiteY34" fmla="*/ 606 h 35152"/>
                  <a:gd name="connsiteX35" fmla="*/ 14546 w 65457"/>
                  <a:gd name="connsiteY35" fmla="*/ 1061 h 35152"/>
                  <a:gd name="connsiteX36" fmla="*/ 14546 w 65457"/>
                  <a:gd name="connsiteY36" fmla="*/ 2273 h 35152"/>
                  <a:gd name="connsiteX37" fmla="*/ 15152 w 65457"/>
                  <a:gd name="connsiteY37" fmla="*/ 4243 h 35152"/>
                  <a:gd name="connsiteX38" fmla="*/ 15304 w 65457"/>
                  <a:gd name="connsiteY38" fmla="*/ 5303 h 35152"/>
                  <a:gd name="connsiteX39" fmla="*/ 14698 w 65457"/>
                  <a:gd name="connsiteY39" fmla="*/ 5758 h 35152"/>
                  <a:gd name="connsiteX40" fmla="*/ 11970 w 65457"/>
                  <a:gd name="connsiteY40" fmla="*/ 6818 h 35152"/>
                  <a:gd name="connsiteX41" fmla="*/ 10758 w 65457"/>
                  <a:gd name="connsiteY41" fmla="*/ 8031 h 35152"/>
                  <a:gd name="connsiteX42" fmla="*/ 9849 w 65457"/>
                  <a:gd name="connsiteY42" fmla="*/ 9849 h 35152"/>
                  <a:gd name="connsiteX43" fmla="*/ 8485 w 65457"/>
                  <a:gd name="connsiteY43" fmla="*/ 10606 h 35152"/>
                  <a:gd name="connsiteX44" fmla="*/ 7273 w 65457"/>
                  <a:gd name="connsiteY44" fmla="*/ 10455 h 35152"/>
                  <a:gd name="connsiteX45" fmla="*/ 6364 w 65457"/>
                  <a:gd name="connsiteY45" fmla="*/ 10606 h 35152"/>
                  <a:gd name="connsiteX46" fmla="*/ 4546 w 65457"/>
                  <a:gd name="connsiteY46" fmla="*/ 11970 h 35152"/>
                  <a:gd name="connsiteX47" fmla="*/ 1667 w 65457"/>
                  <a:gd name="connsiteY47" fmla="*/ 14546 h 35152"/>
                  <a:gd name="connsiteX48" fmla="*/ 0 w 65457"/>
                  <a:gd name="connsiteY48" fmla="*/ 16516 h 35152"/>
                  <a:gd name="connsiteX49" fmla="*/ 0 w 65457"/>
                  <a:gd name="connsiteY49" fmla="*/ 17879 h 35152"/>
                  <a:gd name="connsiteX50" fmla="*/ 303 w 65457"/>
                  <a:gd name="connsiteY50" fmla="*/ 19243 h 35152"/>
                  <a:gd name="connsiteX51" fmla="*/ 3788 w 65457"/>
                  <a:gd name="connsiteY51" fmla="*/ 20758 h 35152"/>
                  <a:gd name="connsiteX52" fmla="*/ 8334 w 65457"/>
                  <a:gd name="connsiteY52" fmla="*/ 24092 h 35152"/>
                  <a:gd name="connsiteX53" fmla="*/ 15910 w 65457"/>
                  <a:gd name="connsiteY53" fmla="*/ 25607 h 35152"/>
                  <a:gd name="connsiteX54" fmla="*/ 22728 w 65457"/>
                  <a:gd name="connsiteY54" fmla="*/ 26364 h 35152"/>
                  <a:gd name="connsiteX55" fmla="*/ 33941 w 65457"/>
                  <a:gd name="connsiteY55" fmla="*/ 31819 h 35152"/>
                  <a:gd name="connsiteX56" fmla="*/ 43638 w 65457"/>
                  <a:gd name="connsiteY56" fmla="*/ 34547 h 35152"/>
                  <a:gd name="connsiteX57" fmla="*/ 44395 w 65457"/>
                  <a:gd name="connsiteY57" fmla="*/ 34244 h 35152"/>
                  <a:gd name="connsiteX58" fmla="*/ 41668 w 65457"/>
                  <a:gd name="connsiteY58" fmla="*/ 32880 h 35152"/>
                  <a:gd name="connsiteX59" fmla="*/ 39698 w 65457"/>
                  <a:gd name="connsiteY59" fmla="*/ 32425 h 35152"/>
                  <a:gd name="connsiteX60" fmla="*/ 38941 w 65457"/>
                  <a:gd name="connsiteY60" fmla="*/ 31819 h 35152"/>
                  <a:gd name="connsiteX61" fmla="*/ 41517 w 65457"/>
                  <a:gd name="connsiteY61" fmla="*/ 31819 h 35152"/>
                  <a:gd name="connsiteX62" fmla="*/ 46214 w 65457"/>
                  <a:gd name="connsiteY62" fmla="*/ 33789 h 35152"/>
                  <a:gd name="connsiteX63" fmla="*/ 52729 w 65457"/>
                  <a:gd name="connsiteY63" fmla="*/ 35153 h 35152"/>
                  <a:gd name="connsiteX64" fmla="*/ 56972 w 65457"/>
                  <a:gd name="connsiteY64" fmla="*/ 35001 h 35152"/>
                  <a:gd name="connsiteX65" fmla="*/ 59548 w 65457"/>
                  <a:gd name="connsiteY65" fmla="*/ 34698 h 35152"/>
                  <a:gd name="connsiteX66" fmla="*/ 60911 w 65457"/>
                  <a:gd name="connsiteY66" fmla="*/ 33486 h 35152"/>
                  <a:gd name="connsiteX67" fmla="*/ 62578 w 65457"/>
                  <a:gd name="connsiteY67" fmla="*/ 31668 h 35152"/>
                  <a:gd name="connsiteX68" fmla="*/ 62124 w 65457"/>
                  <a:gd name="connsiteY68" fmla="*/ 28941 h 35152"/>
                  <a:gd name="connsiteX69" fmla="*/ 62730 w 65457"/>
                  <a:gd name="connsiteY69" fmla="*/ 28637 h 35152"/>
                  <a:gd name="connsiteX70" fmla="*/ 64851 w 65457"/>
                  <a:gd name="connsiteY70" fmla="*/ 27122 h 35152"/>
                  <a:gd name="connsiteX71" fmla="*/ 65002 w 65457"/>
                  <a:gd name="connsiteY71" fmla="*/ 26213 h 35152"/>
                  <a:gd name="connsiteX72" fmla="*/ 64245 w 65457"/>
                  <a:gd name="connsiteY72" fmla="*/ 25607 h 3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5457" h="35152">
                    <a:moveTo>
                      <a:pt x="63639" y="25152"/>
                    </a:moveTo>
                    <a:lnTo>
                      <a:pt x="63790" y="23637"/>
                    </a:lnTo>
                    <a:lnTo>
                      <a:pt x="64245" y="21667"/>
                    </a:lnTo>
                    <a:lnTo>
                      <a:pt x="65457" y="17122"/>
                    </a:lnTo>
                    <a:lnTo>
                      <a:pt x="65002" y="16364"/>
                    </a:lnTo>
                    <a:lnTo>
                      <a:pt x="63033" y="15000"/>
                    </a:lnTo>
                    <a:lnTo>
                      <a:pt x="60608" y="14849"/>
                    </a:lnTo>
                    <a:lnTo>
                      <a:pt x="57881" y="15304"/>
                    </a:lnTo>
                    <a:lnTo>
                      <a:pt x="56517" y="14546"/>
                    </a:lnTo>
                    <a:lnTo>
                      <a:pt x="55457" y="13031"/>
                    </a:lnTo>
                    <a:lnTo>
                      <a:pt x="53487" y="12273"/>
                    </a:lnTo>
                    <a:lnTo>
                      <a:pt x="50153" y="13485"/>
                    </a:lnTo>
                    <a:lnTo>
                      <a:pt x="46517" y="15455"/>
                    </a:lnTo>
                    <a:lnTo>
                      <a:pt x="45305" y="16061"/>
                    </a:lnTo>
                    <a:lnTo>
                      <a:pt x="44395" y="15910"/>
                    </a:lnTo>
                    <a:lnTo>
                      <a:pt x="44093" y="14546"/>
                    </a:lnTo>
                    <a:lnTo>
                      <a:pt x="43789" y="12879"/>
                    </a:lnTo>
                    <a:lnTo>
                      <a:pt x="43638" y="12576"/>
                    </a:lnTo>
                    <a:lnTo>
                      <a:pt x="41668" y="11970"/>
                    </a:lnTo>
                    <a:lnTo>
                      <a:pt x="39395" y="11515"/>
                    </a:lnTo>
                    <a:lnTo>
                      <a:pt x="38335" y="11061"/>
                    </a:lnTo>
                    <a:lnTo>
                      <a:pt x="37123" y="10000"/>
                    </a:lnTo>
                    <a:lnTo>
                      <a:pt x="34547" y="8485"/>
                    </a:lnTo>
                    <a:lnTo>
                      <a:pt x="33941" y="7424"/>
                    </a:lnTo>
                    <a:lnTo>
                      <a:pt x="30304" y="5000"/>
                    </a:lnTo>
                    <a:lnTo>
                      <a:pt x="29547" y="3636"/>
                    </a:lnTo>
                    <a:lnTo>
                      <a:pt x="28789" y="2879"/>
                    </a:lnTo>
                    <a:lnTo>
                      <a:pt x="26971" y="1667"/>
                    </a:lnTo>
                    <a:lnTo>
                      <a:pt x="25607" y="1970"/>
                    </a:lnTo>
                    <a:lnTo>
                      <a:pt x="21061" y="606"/>
                    </a:lnTo>
                    <a:lnTo>
                      <a:pt x="20304" y="455"/>
                    </a:lnTo>
                    <a:lnTo>
                      <a:pt x="19849" y="151"/>
                    </a:lnTo>
                    <a:lnTo>
                      <a:pt x="18789" y="0"/>
                    </a:lnTo>
                    <a:lnTo>
                      <a:pt x="16516" y="455"/>
                    </a:lnTo>
                    <a:lnTo>
                      <a:pt x="15455" y="606"/>
                    </a:lnTo>
                    <a:lnTo>
                      <a:pt x="14546" y="1061"/>
                    </a:lnTo>
                    <a:lnTo>
                      <a:pt x="14546" y="2273"/>
                    </a:lnTo>
                    <a:lnTo>
                      <a:pt x="15152" y="4243"/>
                    </a:lnTo>
                    <a:lnTo>
                      <a:pt x="15304" y="5303"/>
                    </a:lnTo>
                    <a:lnTo>
                      <a:pt x="14698" y="5758"/>
                    </a:lnTo>
                    <a:lnTo>
                      <a:pt x="11970" y="6818"/>
                    </a:lnTo>
                    <a:lnTo>
                      <a:pt x="10758" y="8031"/>
                    </a:lnTo>
                    <a:lnTo>
                      <a:pt x="9849" y="9849"/>
                    </a:lnTo>
                    <a:lnTo>
                      <a:pt x="8485" y="10606"/>
                    </a:lnTo>
                    <a:lnTo>
                      <a:pt x="7273" y="10455"/>
                    </a:lnTo>
                    <a:lnTo>
                      <a:pt x="6364" y="10606"/>
                    </a:lnTo>
                    <a:lnTo>
                      <a:pt x="4546" y="11970"/>
                    </a:lnTo>
                    <a:lnTo>
                      <a:pt x="1667" y="14546"/>
                    </a:lnTo>
                    <a:lnTo>
                      <a:pt x="0" y="16516"/>
                    </a:lnTo>
                    <a:lnTo>
                      <a:pt x="0" y="17879"/>
                    </a:lnTo>
                    <a:lnTo>
                      <a:pt x="303" y="19243"/>
                    </a:lnTo>
                    <a:lnTo>
                      <a:pt x="3788" y="20758"/>
                    </a:lnTo>
                    <a:lnTo>
                      <a:pt x="8334" y="24092"/>
                    </a:lnTo>
                    <a:lnTo>
                      <a:pt x="15910" y="25607"/>
                    </a:lnTo>
                    <a:lnTo>
                      <a:pt x="22728" y="26364"/>
                    </a:lnTo>
                    <a:lnTo>
                      <a:pt x="33941" y="31819"/>
                    </a:lnTo>
                    <a:lnTo>
                      <a:pt x="43638" y="34547"/>
                    </a:lnTo>
                    <a:lnTo>
                      <a:pt x="44395" y="34244"/>
                    </a:lnTo>
                    <a:lnTo>
                      <a:pt x="41668" y="32880"/>
                    </a:lnTo>
                    <a:lnTo>
                      <a:pt x="39698" y="32425"/>
                    </a:lnTo>
                    <a:lnTo>
                      <a:pt x="38941" y="31819"/>
                    </a:lnTo>
                    <a:lnTo>
                      <a:pt x="41517" y="31819"/>
                    </a:lnTo>
                    <a:lnTo>
                      <a:pt x="46214" y="33789"/>
                    </a:lnTo>
                    <a:lnTo>
                      <a:pt x="52729" y="35153"/>
                    </a:lnTo>
                    <a:lnTo>
                      <a:pt x="56972" y="35001"/>
                    </a:lnTo>
                    <a:lnTo>
                      <a:pt x="59548" y="34698"/>
                    </a:lnTo>
                    <a:lnTo>
                      <a:pt x="60911" y="33486"/>
                    </a:lnTo>
                    <a:lnTo>
                      <a:pt x="62578" y="31668"/>
                    </a:lnTo>
                    <a:lnTo>
                      <a:pt x="62124" y="28941"/>
                    </a:lnTo>
                    <a:lnTo>
                      <a:pt x="62730" y="28637"/>
                    </a:lnTo>
                    <a:lnTo>
                      <a:pt x="64851" y="27122"/>
                    </a:lnTo>
                    <a:lnTo>
                      <a:pt x="65002" y="26213"/>
                    </a:lnTo>
                    <a:lnTo>
                      <a:pt x="64245" y="256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E0D0AB82-95E5-4827-916A-B3046E4460E9}"/>
                  </a:ext>
                </a:extLst>
              </p:cNvPr>
              <p:cNvSpPr/>
              <p:nvPr/>
            </p:nvSpPr>
            <p:spPr>
              <a:xfrm>
                <a:off x="5954176" y="4515779"/>
                <a:ext cx="26970" cy="45001"/>
              </a:xfrm>
              <a:custGeom>
                <a:avLst/>
                <a:gdLst>
                  <a:gd name="connsiteX0" fmla="*/ 5909 w 26970"/>
                  <a:gd name="connsiteY0" fmla="*/ 35304 h 45001"/>
                  <a:gd name="connsiteX1" fmla="*/ 4243 w 26970"/>
                  <a:gd name="connsiteY1" fmla="*/ 35456 h 45001"/>
                  <a:gd name="connsiteX2" fmla="*/ 1515 w 26970"/>
                  <a:gd name="connsiteY2" fmla="*/ 37123 h 45001"/>
                  <a:gd name="connsiteX3" fmla="*/ 303 w 26970"/>
                  <a:gd name="connsiteY3" fmla="*/ 38789 h 45001"/>
                  <a:gd name="connsiteX4" fmla="*/ 0 w 26970"/>
                  <a:gd name="connsiteY4" fmla="*/ 40153 h 45001"/>
                  <a:gd name="connsiteX5" fmla="*/ 757 w 26970"/>
                  <a:gd name="connsiteY5" fmla="*/ 43183 h 45001"/>
                  <a:gd name="connsiteX6" fmla="*/ 1364 w 26970"/>
                  <a:gd name="connsiteY6" fmla="*/ 44547 h 45001"/>
                  <a:gd name="connsiteX7" fmla="*/ 2424 w 26970"/>
                  <a:gd name="connsiteY7" fmla="*/ 45002 h 45001"/>
                  <a:gd name="connsiteX8" fmla="*/ 5303 w 26970"/>
                  <a:gd name="connsiteY8" fmla="*/ 43032 h 45001"/>
                  <a:gd name="connsiteX9" fmla="*/ 7727 w 26970"/>
                  <a:gd name="connsiteY9" fmla="*/ 39698 h 45001"/>
                  <a:gd name="connsiteX10" fmla="*/ 7727 w 26970"/>
                  <a:gd name="connsiteY10" fmla="*/ 37426 h 45001"/>
                  <a:gd name="connsiteX11" fmla="*/ 5909 w 26970"/>
                  <a:gd name="connsiteY11" fmla="*/ 35304 h 45001"/>
                  <a:gd name="connsiteX12" fmla="*/ 26819 w 26970"/>
                  <a:gd name="connsiteY12" fmla="*/ 1061 h 45001"/>
                  <a:gd name="connsiteX13" fmla="*/ 26516 w 26970"/>
                  <a:gd name="connsiteY13" fmla="*/ 455 h 45001"/>
                  <a:gd name="connsiteX14" fmla="*/ 25910 w 26970"/>
                  <a:gd name="connsiteY14" fmla="*/ 0 h 45001"/>
                  <a:gd name="connsiteX15" fmla="*/ 25152 w 26970"/>
                  <a:gd name="connsiteY15" fmla="*/ 455 h 45001"/>
                  <a:gd name="connsiteX16" fmla="*/ 23637 w 26970"/>
                  <a:gd name="connsiteY16" fmla="*/ 2576 h 45001"/>
                  <a:gd name="connsiteX17" fmla="*/ 23940 w 26970"/>
                  <a:gd name="connsiteY17" fmla="*/ 3637 h 45001"/>
                  <a:gd name="connsiteX18" fmla="*/ 25152 w 26970"/>
                  <a:gd name="connsiteY18" fmla="*/ 4243 h 45001"/>
                  <a:gd name="connsiteX19" fmla="*/ 26213 w 26970"/>
                  <a:gd name="connsiteY19" fmla="*/ 3485 h 45001"/>
                  <a:gd name="connsiteX20" fmla="*/ 26971 w 26970"/>
                  <a:gd name="connsiteY20" fmla="*/ 1818 h 45001"/>
                  <a:gd name="connsiteX21" fmla="*/ 26819 w 26970"/>
                  <a:gd name="connsiteY21" fmla="*/ 1061 h 4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970" h="45001">
                    <a:moveTo>
                      <a:pt x="5909" y="35304"/>
                    </a:moveTo>
                    <a:lnTo>
                      <a:pt x="4243" y="35456"/>
                    </a:lnTo>
                    <a:lnTo>
                      <a:pt x="1515" y="37123"/>
                    </a:lnTo>
                    <a:lnTo>
                      <a:pt x="303" y="38789"/>
                    </a:lnTo>
                    <a:lnTo>
                      <a:pt x="0" y="40153"/>
                    </a:lnTo>
                    <a:lnTo>
                      <a:pt x="757" y="43183"/>
                    </a:lnTo>
                    <a:lnTo>
                      <a:pt x="1364" y="44547"/>
                    </a:lnTo>
                    <a:lnTo>
                      <a:pt x="2424" y="45002"/>
                    </a:lnTo>
                    <a:lnTo>
                      <a:pt x="5303" y="43032"/>
                    </a:lnTo>
                    <a:lnTo>
                      <a:pt x="7727" y="39698"/>
                    </a:lnTo>
                    <a:lnTo>
                      <a:pt x="7727" y="37426"/>
                    </a:lnTo>
                    <a:lnTo>
                      <a:pt x="5909" y="35304"/>
                    </a:lnTo>
                    <a:close/>
                    <a:moveTo>
                      <a:pt x="26819" y="1061"/>
                    </a:moveTo>
                    <a:lnTo>
                      <a:pt x="26516" y="455"/>
                    </a:lnTo>
                    <a:lnTo>
                      <a:pt x="25910" y="0"/>
                    </a:lnTo>
                    <a:lnTo>
                      <a:pt x="25152" y="455"/>
                    </a:lnTo>
                    <a:lnTo>
                      <a:pt x="23637" y="2576"/>
                    </a:lnTo>
                    <a:lnTo>
                      <a:pt x="23940" y="3637"/>
                    </a:lnTo>
                    <a:lnTo>
                      <a:pt x="25152" y="4243"/>
                    </a:lnTo>
                    <a:lnTo>
                      <a:pt x="26213" y="3485"/>
                    </a:lnTo>
                    <a:lnTo>
                      <a:pt x="26971" y="1818"/>
                    </a:lnTo>
                    <a:lnTo>
                      <a:pt x="26819" y="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BE8321D8-43C5-4468-AB74-8BD2704CF93B}"/>
                  </a:ext>
                </a:extLst>
              </p:cNvPr>
              <p:cNvSpPr/>
              <p:nvPr/>
            </p:nvSpPr>
            <p:spPr>
              <a:xfrm>
                <a:off x="6437830" y="4228193"/>
                <a:ext cx="304253" cy="238948"/>
              </a:xfrm>
              <a:custGeom>
                <a:avLst/>
                <a:gdLst>
                  <a:gd name="connsiteX0" fmla="*/ 303951 w 304253"/>
                  <a:gd name="connsiteY0" fmla="*/ 183946 h 238948"/>
                  <a:gd name="connsiteX1" fmla="*/ 301526 w 304253"/>
                  <a:gd name="connsiteY1" fmla="*/ 181976 h 238948"/>
                  <a:gd name="connsiteX2" fmla="*/ 299254 w 304253"/>
                  <a:gd name="connsiteY2" fmla="*/ 179552 h 238948"/>
                  <a:gd name="connsiteX3" fmla="*/ 297890 w 304253"/>
                  <a:gd name="connsiteY3" fmla="*/ 176825 h 238948"/>
                  <a:gd name="connsiteX4" fmla="*/ 296526 w 304253"/>
                  <a:gd name="connsiteY4" fmla="*/ 174552 h 238948"/>
                  <a:gd name="connsiteX5" fmla="*/ 295920 w 304253"/>
                  <a:gd name="connsiteY5" fmla="*/ 169400 h 238948"/>
                  <a:gd name="connsiteX6" fmla="*/ 294254 w 304253"/>
                  <a:gd name="connsiteY6" fmla="*/ 166218 h 238948"/>
                  <a:gd name="connsiteX7" fmla="*/ 292587 w 304253"/>
                  <a:gd name="connsiteY7" fmla="*/ 162430 h 238948"/>
                  <a:gd name="connsiteX8" fmla="*/ 290162 w 304253"/>
                  <a:gd name="connsiteY8" fmla="*/ 155157 h 238948"/>
                  <a:gd name="connsiteX9" fmla="*/ 289102 w 304253"/>
                  <a:gd name="connsiteY9" fmla="*/ 152581 h 238948"/>
                  <a:gd name="connsiteX10" fmla="*/ 287132 w 304253"/>
                  <a:gd name="connsiteY10" fmla="*/ 150914 h 238948"/>
                  <a:gd name="connsiteX11" fmla="*/ 285011 w 304253"/>
                  <a:gd name="connsiteY11" fmla="*/ 149399 h 238948"/>
                  <a:gd name="connsiteX12" fmla="*/ 282889 w 304253"/>
                  <a:gd name="connsiteY12" fmla="*/ 146066 h 238948"/>
                  <a:gd name="connsiteX13" fmla="*/ 277283 w 304253"/>
                  <a:gd name="connsiteY13" fmla="*/ 143187 h 238948"/>
                  <a:gd name="connsiteX14" fmla="*/ 275162 w 304253"/>
                  <a:gd name="connsiteY14" fmla="*/ 141066 h 238948"/>
                  <a:gd name="connsiteX15" fmla="*/ 271374 w 304253"/>
                  <a:gd name="connsiteY15" fmla="*/ 137126 h 238948"/>
                  <a:gd name="connsiteX16" fmla="*/ 270465 w 304253"/>
                  <a:gd name="connsiteY16" fmla="*/ 135156 h 238948"/>
                  <a:gd name="connsiteX17" fmla="*/ 270162 w 304253"/>
                  <a:gd name="connsiteY17" fmla="*/ 133338 h 238948"/>
                  <a:gd name="connsiteX18" fmla="*/ 268949 w 304253"/>
                  <a:gd name="connsiteY18" fmla="*/ 131520 h 238948"/>
                  <a:gd name="connsiteX19" fmla="*/ 266980 w 304253"/>
                  <a:gd name="connsiteY19" fmla="*/ 129399 h 238948"/>
                  <a:gd name="connsiteX20" fmla="*/ 260464 w 304253"/>
                  <a:gd name="connsiteY20" fmla="*/ 125005 h 238948"/>
                  <a:gd name="connsiteX21" fmla="*/ 258646 w 304253"/>
                  <a:gd name="connsiteY21" fmla="*/ 124398 h 238948"/>
                  <a:gd name="connsiteX22" fmla="*/ 256373 w 304253"/>
                  <a:gd name="connsiteY22" fmla="*/ 123944 h 238948"/>
                  <a:gd name="connsiteX23" fmla="*/ 253040 w 304253"/>
                  <a:gd name="connsiteY23" fmla="*/ 123489 h 238948"/>
                  <a:gd name="connsiteX24" fmla="*/ 248494 w 304253"/>
                  <a:gd name="connsiteY24" fmla="*/ 122580 h 238948"/>
                  <a:gd name="connsiteX25" fmla="*/ 244403 w 304253"/>
                  <a:gd name="connsiteY25" fmla="*/ 120762 h 238948"/>
                  <a:gd name="connsiteX26" fmla="*/ 242736 w 304253"/>
                  <a:gd name="connsiteY26" fmla="*/ 119550 h 238948"/>
                  <a:gd name="connsiteX27" fmla="*/ 242282 w 304253"/>
                  <a:gd name="connsiteY27" fmla="*/ 118792 h 238948"/>
                  <a:gd name="connsiteX28" fmla="*/ 242585 w 304253"/>
                  <a:gd name="connsiteY28" fmla="*/ 117277 h 238948"/>
                  <a:gd name="connsiteX29" fmla="*/ 244100 w 304253"/>
                  <a:gd name="connsiteY29" fmla="*/ 114853 h 238948"/>
                  <a:gd name="connsiteX30" fmla="*/ 246827 w 304253"/>
                  <a:gd name="connsiteY30" fmla="*/ 109095 h 238948"/>
                  <a:gd name="connsiteX31" fmla="*/ 248646 w 304253"/>
                  <a:gd name="connsiteY31" fmla="*/ 105155 h 238948"/>
                  <a:gd name="connsiteX32" fmla="*/ 250009 w 304253"/>
                  <a:gd name="connsiteY32" fmla="*/ 104095 h 238948"/>
                  <a:gd name="connsiteX33" fmla="*/ 253494 w 304253"/>
                  <a:gd name="connsiteY33" fmla="*/ 103792 h 238948"/>
                  <a:gd name="connsiteX34" fmla="*/ 257131 w 304253"/>
                  <a:gd name="connsiteY34" fmla="*/ 103792 h 238948"/>
                  <a:gd name="connsiteX35" fmla="*/ 259858 w 304253"/>
                  <a:gd name="connsiteY35" fmla="*/ 104095 h 238948"/>
                  <a:gd name="connsiteX36" fmla="*/ 263798 w 304253"/>
                  <a:gd name="connsiteY36" fmla="*/ 104246 h 238948"/>
                  <a:gd name="connsiteX37" fmla="*/ 268343 w 304253"/>
                  <a:gd name="connsiteY37" fmla="*/ 103792 h 238948"/>
                  <a:gd name="connsiteX38" fmla="*/ 270162 w 304253"/>
                  <a:gd name="connsiteY38" fmla="*/ 102580 h 238948"/>
                  <a:gd name="connsiteX39" fmla="*/ 271677 w 304253"/>
                  <a:gd name="connsiteY39" fmla="*/ 101064 h 238948"/>
                  <a:gd name="connsiteX40" fmla="*/ 272283 w 304253"/>
                  <a:gd name="connsiteY40" fmla="*/ 100004 h 238948"/>
                  <a:gd name="connsiteX41" fmla="*/ 272435 w 304253"/>
                  <a:gd name="connsiteY41" fmla="*/ 97428 h 238948"/>
                  <a:gd name="connsiteX42" fmla="*/ 272435 w 304253"/>
                  <a:gd name="connsiteY42" fmla="*/ 95458 h 238948"/>
                  <a:gd name="connsiteX43" fmla="*/ 272131 w 304253"/>
                  <a:gd name="connsiteY43" fmla="*/ 87427 h 238948"/>
                  <a:gd name="connsiteX44" fmla="*/ 271980 w 304253"/>
                  <a:gd name="connsiteY44" fmla="*/ 82579 h 238948"/>
                  <a:gd name="connsiteX45" fmla="*/ 271677 w 304253"/>
                  <a:gd name="connsiteY45" fmla="*/ 77124 h 238948"/>
                  <a:gd name="connsiteX46" fmla="*/ 271828 w 304253"/>
                  <a:gd name="connsiteY46" fmla="*/ 75912 h 238948"/>
                  <a:gd name="connsiteX47" fmla="*/ 271677 w 304253"/>
                  <a:gd name="connsiteY47" fmla="*/ 75912 h 238948"/>
                  <a:gd name="connsiteX48" fmla="*/ 266677 w 304253"/>
                  <a:gd name="connsiteY48" fmla="*/ 75912 h 238948"/>
                  <a:gd name="connsiteX49" fmla="*/ 266525 w 304253"/>
                  <a:gd name="connsiteY49" fmla="*/ 75912 h 238948"/>
                  <a:gd name="connsiteX50" fmla="*/ 266525 w 304253"/>
                  <a:gd name="connsiteY50" fmla="*/ 75760 h 238948"/>
                  <a:gd name="connsiteX51" fmla="*/ 266374 w 304253"/>
                  <a:gd name="connsiteY51" fmla="*/ 75760 h 238948"/>
                  <a:gd name="connsiteX52" fmla="*/ 266374 w 304253"/>
                  <a:gd name="connsiteY52" fmla="*/ 75457 h 238948"/>
                  <a:gd name="connsiteX53" fmla="*/ 266070 w 304253"/>
                  <a:gd name="connsiteY53" fmla="*/ 74700 h 238948"/>
                  <a:gd name="connsiteX54" fmla="*/ 266070 w 304253"/>
                  <a:gd name="connsiteY54" fmla="*/ 73487 h 238948"/>
                  <a:gd name="connsiteX55" fmla="*/ 266222 w 304253"/>
                  <a:gd name="connsiteY55" fmla="*/ 71366 h 238948"/>
                  <a:gd name="connsiteX56" fmla="*/ 266677 w 304253"/>
                  <a:gd name="connsiteY56" fmla="*/ 68942 h 238948"/>
                  <a:gd name="connsiteX57" fmla="*/ 268495 w 304253"/>
                  <a:gd name="connsiteY57" fmla="*/ 65457 h 238948"/>
                  <a:gd name="connsiteX58" fmla="*/ 268647 w 304253"/>
                  <a:gd name="connsiteY58" fmla="*/ 65154 h 238948"/>
                  <a:gd name="connsiteX59" fmla="*/ 268647 w 304253"/>
                  <a:gd name="connsiteY59" fmla="*/ 65002 h 238948"/>
                  <a:gd name="connsiteX60" fmla="*/ 268647 w 304253"/>
                  <a:gd name="connsiteY60" fmla="*/ 64851 h 238948"/>
                  <a:gd name="connsiteX61" fmla="*/ 268495 w 304253"/>
                  <a:gd name="connsiteY61" fmla="*/ 64245 h 238948"/>
                  <a:gd name="connsiteX62" fmla="*/ 268192 w 304253"/>
                  <a:gd name="connsiteY62" fmla="*/ 63639 h 238948"/>
                  <a:gd name="connsiteX63" fmla="*/ 268192 w 304253"/>
                  <a:gd name="connsiteY63" fmla="*/ 62881 h 238948"/>
                  <a:gd name="connsiteX64" fmla="*/ 268495 w 304253"/>
                  <a:gd name="connsiteY64" fmla="*/ 61063 h 238948"/>
                  <a:gd name="connsiteX65" fmla="*/ 268495 w 304253"/>
                  <a:gd name="connsiteY65" fmla="*/ 60457 h 238948"/>
                  <a:gd name="connsiteX66" fmla="*/ 268495 w 304253"/>
                  <a:gd name="connsiteY66" fmla="*/ 59699 h 238948"/>
                  <a:gd name="connsiteX67" fmla="*/ 268343 w 304253"/>
                  <a:gd name="connsiteY67" fmla="*/ 59245 h 238948"/>
                  <a:gd name="connsiteX68" fmla="*/ 267131 w 304253"/>
                  <a:gd name="connsiteY68" fmla="*/ 56214 h 238948"/>
                  <a:gd name="connsiteX69" fmla="*/ 266677 w 304253"/>
                  <a:gd name="connsiteY69" fmla="*/ 55760 h 238948"/>
                  <a:gd name="connsiteX70" fmla="*/ 254858 w 304253"/>
                  <a:gd name="connsiteY70" fmla="*/ 46062 h 238948"/>
                  <a:gd name="connsiteX71" fmla="*/ 252585 w 304253"/>
                  <a:gd name="connsiteY71" fmla="*/ 43486 h 238948"/>
                  <a:gd name="connsiteX72" fmla="*/ 252434 w 304253"/>
                  <a:gd name="connsiteY72" fmla="*/ 43335 h 238948"/>
                  <a:gd name="connsiteX73" fmla="*/ 252131 w 304253"/>
                  <a:gd name="connsiteY73" fmla="*/ 43183 h 238948"/>
                  <a:gd name="connsiteX74" fmla="*/ 246070 w 304253"/>
                  <a:gd name="connsiteY74" fmla="*/ 40911 h 238948"/>
                  <a:gd name="connsiteX75" fmla="*/ 245767 w 304253"/>
                  <a:gd name="connsiteY75" fmla="*/ 40759 h 238948"/>
                  <a:gd name="connsiteX76" fmla="*/ 245918 w 304253"/>
                  <a:gd name="connsiteY76" fmla="*/ 40305 h 238948"/>
                  <a:gd name="connsiteX77" fmla="*/ 246070 w 304253"/>
                  <a:gd name="connsiteY77" fmla="*/ 40001 h 238948"/>
                  <a:gd name="connsiteX78" fmla="*/ 246827 w 304253"/>
                  <a:gd name="connsiteY78" fmla="*/ 38638 h 238948"/>
                  <a:gd name="connsiteX79" fmla="*/ 246827 w 304253"/>
                  <a:gd name="connsiteY79" fmla="*/ 38335 h 238948"/>
                  <a:gd name="connsiteX80" fmla="*/ 246979 w 304253"/>
                  <a:gd name="connsiteY80" fmla="*/ 37880 h 238948"/>
                  <a:gd name="connsiteX81" fmla="*/ 244251 w 304253"/>
                  <a:gd name="connsiteY81" fmla="*/ 17425 h 238948"/>
                  <a:gd name="connsiteX82" fmla="*/ 244251 w 304253"/>
                  <a:gd name="connsiteY82" fmla="*/ 16970 h 238948"/>
                  <a:gd name="connsiteX83" fmla="*/ 244403 w 304253"/>
                  <a:gd name="connsiteY83" fmla="*/ 16819 h 238948"/>
                  <a:gd name="connsiteX84" fmla="*/ 244555 w 304253"/>
                  <a:gd name="connsiteY84" fmla="*/ 16667 h 238948"/>
                  <a:gd name="connsiteX85" fmla="*/ 244858 w 304253"/>
                  <a:gd name="connsiteY85" fmla="*/ 16213 h 238948"/>
                  <a:gd name="connsiteX86" fmla="*/ 245161 w 304253"/>
                  <a:gd name="connsiteY86" fmla="*/ 15758 h 238948"/>
                  <a:gd name="connsiteX87" fmla="*/ 245464 w 304253"/>
                  <a:gd name="connsiteY87" fmla="*/ 14849 h 238948"/>
                  <a:gd name="connsiteX88" fmla="*/ 245615 w 304253"/>
                  <a:gd name="connsiteY88" fmla="*/ 14698 h 238948"/>
                  <a:gd name="connsiteX89" fmla="*/ 245918 w 304253"/>
                  <a:gd name="connsiteY89" fmla="*/ 10910 h 238948"/>
                  <a:gd name="connsiteX90" fmla="*/ 245918 w 304253"/>
                  <a:gd name="connsiteY90" fmla="*/ 7727 h 238948"/>
                  <a:gd name="connsiteX91" fmla="*/ 247585 w 304253"/>
                  <a:gd name="connsiteY91" fmla="*/ 2424 h 238948"/>
                  <a:gd name="connsiteX92" fmla="*/ 247737 w 304253"/>
                  <a:gd name="connsiteY92" fmla="*/ 151 h 238948"/>
                  <a:gd name="connsiteX93" fmla="*/ 234706 w 304253"/>
                  <a:gd name="connsiteY93" fmla="*/ 0 h 238948"/>
                  <a:gd name="connsiteX94" fmla="*/ 234554 w 304253"/>
                  <a:gd name="connsiteY94" fmla="*/ 151 h 238948"/>
                  <a:gd name="connsiteX95" fmla="*/ 234554 w 304253"/>
                  <a:gd name="connsiteY95" fmla="*/ 303 h 238948"/>
                  <a:gd name="connsiteX96" fmla="*/ 234554 w 304253"/>
                  <a:gd name="connsiteY96" fmla="*/ 455 h 238948"/>
                  <a:gd name="connsiteX97" fmla="*/ 234554 w 304253"/>
                  <a:gd name="connsiteY97" fmla="*/ 606 h 238948"/>
                  <a:gd name="connsiteX98" fmla="*/ 234554 w 304253"/>
                  <a:gd name="connsiteY98" fmla="*/ 909 h 238948"/>
                  <a:gd name="connsiteX99" fmla="*/ 234554 w 304253"/>
                  <a:gd name="connsiteY99" fmla="*/ 1667 h 238948"/>
                  <a:gd name="connsiteX100" fmla="*/ 234403 w 304253"/>
                  <a:gd name="connsiteY100" fmla="*/ 1970 h 238948"/>
                  <a:gd name="connsiteX101" fmla="*/ 234554 w 304253"/>
                  <a:gd name="connsiteY101" fmla="*/ 2273 h 238948"/>
                  <a:gd name="connsiteX102" fmla="*/ 234706 w 304253"/>
                  <a:gd name="connsiteY102" fmla="*/ 3637 h 238948"/>
                  <a:gd name="connsiteX103" fmla="*/ 235009 w 304253"/>
                  <a:gd name="connsiteY103" fmla="*/ 4546 h 238948"/>
                  <a:gd name="connsiteX104" fmla="*/ 235160 w 304253"/>
                  <a:gd name="connsiteY104" fmla="*/ 4849 h 238948"/>
                  <a:gd name="connsiteX105" fmla="*/ 235160 w 304253"/>
                  <a:gd name="connsiteY105" fmla="*/ 5303 h 238948"/>
                  <a:gd name="connsiteX106" fmla="*/ 235009 w 304253"/>
                  <a:gd name="connsiteY106" fmla="*/ 5909 h 238948"/>
                  <a:gd name="connsiteX107" fmla="*/ 216826 w 304253"/>
                  <a:gd name="connsiteY107" fmla="*/ 5909 h 238948"/>
                  <a:gd name="connsiteX108" fmla="*/ 224099 w 304253"/>
                  <a:gd name="connsiteY108" fmla="*/ 13940 h 238948"/>
                  <a:gd name="connsiteX109" fmla="*/ 224099 w 304253"/>
                  <a:gd name="connsiteY109" fmla="*/ 14091 h 238948"/>
                  <a:gd name="connsiteX110" fmla="*/ 224251 w 304253"/>
                  <a:gd name="connsiteY110" fmla="*/ 14546 h 238948"/>
                  <a:gd name="connsiteX111" fmla="*/ 224402 w 304253"/>
                  <a:gd name="connsiteY111" fmla="*/ 14849 h 238948"/>
                  <a:gd name="connsiteX112" fmla="*/ 224402 w 304253"/>
                  <a:gd name="connsiteY112" fmla="*/ 17728 h 238948"/>
                  <a:gd name="connsiteX113" fmla="*/ 224099 w 304253"/>
                  <a:gd name="connsiteY113" fmla="*/ 22122 h 238948"/>
                  <a:gd name="connsiteX114" fmla="*/ 224099 w 304253"/>
                  <a:gd name="connsiteY114" fmla="*/ 25001 h 238948"/>
                  <a:gd name="connsiteX115" fmla="*/ 224554 w 304253"/>
                  <a:gd name="connsiteY115" fmla="*/ 26971 h 238948"/>
                  <a:gd name="connsiteX116" fmla="*/ 226524 w 304253"/>
                  <a:gd name="connsiteY116" fmla="*/ 30607 h 238948"/>
                  <a:gd name="connsiteX117" fmla="*/ 226372 w 304253"/>
                  <a:gd name="connsiteY117" fmla="*/ 31213 h 238948"/>
                  <a:gd name="connsiteX118" fmla="*/ 225918 w 304253"/>
                  <a:gd name="connsiteY118" fmla="*/ 32122 h 238948"/>
                  <a:gd name="connsiteX119" fmla="*/ 213038 w 304253"/>
                  <a:gd name="connsiteY119" fmla="*/ 43032 h 238948"/>
                  <a:gd name="connsiteX120" fmla="*/ 212735 w 304253"/>
                  <a:gd name="connsiteY120" fmla="*/ 43486 h 238948"/>
                  <a:gd name="connsiteX121" fmla="*/ 210917 w 304253"/>
                  <a:gd name="connsiteY121" fmla="*/ 48032 h 238948"/>
                  <a:gd name="connsiteX122" fmla="*/ 209250 w 304253"/>
                  <a:gd name="connsiteY122" fmla="*/ 50608 h 238948"/>
                  <a:gd name="connsiteX123" fmla="*/ 208493 w 304253"/>
                  <a:gd name="connsiteY123" fmla="*/ 51366 h 238948"/>
                  <a:gd name="connsiteX124" fmla="*/ 205462 w 304253"/>
                  <a:gd name="connsiteY124" fmla="*/ 55154 h 238948"/>
                  <a:gd name="connsiteX125" fmla="*/ 193644 w 304253"/>
                  <a:gd name="connsiteY125" fmla="*/ 66669 h 238948"/>
                  <a:gd name="connsiteX126" fmla="*/ 191825 w 304253"/>
                  <a:gd name="connsiteY126" fmla="*/ 67427 h 238948"/>
                  <a:gd name="connsiteX127" fmla="*/ 185916 w 304253"/>
                  <a:gd name="connsiteY127" fmla="*/ 67730 h 238948"/>
                  <a:gd name="connsiteX128" fmla="*/ 182886 w 304253"/>
                  <a:gd name="connsiteY128" fmla="*/ 67881 h 238948"/>
                  <a:gd name="connsiteX129" fmla="*/ 182431 w 304253"/>
                  <a:gd name="connsiteY129" fmla="*/ 68033 h 238948"/>
                  <a:gd name="connsiteX130" fmla="*/ 181977 w 304253"/>
                  <a:gd name="connsiteY130" fmla="*/ 68184 h 238948"/>
                  <a:gd name="connsiteX131" fmla="*/ 181673 w 304253"/>
                  <a:gd name="connsiteY131" fmla="*/ 68487 h 238948"/>
                  <a:gd name="connsiteX132" fmla="*/ 181219 w 304253"/>
                  <a:gd name="connsiteY132" fmla="*/ 68639 h 238948"/>
                  <a:gd name="connsiteX133" fmla="*/ 180916 w 304253"/>
                  <a:gd name="connsiteY133" fmla="*/ 68639 h 238948"/>
                  <a:gd name="connsiteX134" fmla="*/ 180461 w 304253"/>
                  <a:gd name="connsiteY134" fmla="*/ 68184 h 238948"/>
                  <a:gd name="connsiteX135" fmla="*/ 173188 w 304253"/>
                  <a:gd name="connsiteY135" fmla="*/ 61820 h 238948"/>
                  <a:gd name="connsiteX136" fmla="*/ 160309 w 304253"/>
                  <a:gd name="connsiteY136" fmla="*/ 53638 h 238948"/>
                  <a:gd name="connsiteX137" fmla="*/ 159097 w 304253"/>
                  <a:gd name="connsiteY137" fmla="*/ 54396 h 238948"/>
                  <a:gd name="connsiteX138" fmla="*/ 151672 w 304253"/>
                  <a:gd name="connsiteY138" fmla="*/ 57881 h 238948"/>
                  <a:gd name="connsiteX139" fmla="*/ 150157 w 304253"/>
                  <a:gd name="connsiteY139" fmla="*/ 58790 h 238948"/>
                  <a:gd name="connsiteX140" fmla="*/ 149400 w 304253"/>
                  <a:gd name="connsiteY140" fmla="*/ 59396 h 238948"/>
                  <a:gd name="connsiteX141" fmla="*/ 149400 w 304253"/>
                  <a:gd name="connsiteY141" fmla="*/ 63336 h 238948"/>
                  <a:gd name="connsiteX142" fmla="*/ 148036 w 304253"/>
                  <a:gd name="connsiteY142" fmla="*/ 65305 h 238948"/>
                  <a:gd name="connsiteX143" fmla="*/ 145763 w 304253"/>
                  <a:gd name="connsiteY143" fmla="*/ 67578 h 238948"/>
                  <a:gd name="connsiteX144" fmla="*/ 139399 w 304253"/>
                  <a:gd name="connsiteY144" fmla="*/ 68942 h 238948"/>
                  <a:gd name="connsiteX145" fmla="*/ 136217 w 304253"/>
                  <a:gd name="connsiteY145" fmla="*/ 70154 h 238948"/>
                  <a:gd name="connsiteX146" fmla="*/ 132884 w 304253"/>
                  <a:gd name="connsiteY146" fmla="*/ 71821 h 238948"/>
                  <a:gd name="connsiteX147" fmla="*/ 132278 w 304253"/>
                  <a:gd name="connsiteY147" fmla="*/ 72275 h 238948"/>
                  <a:gd name="connsiteX148" fmla="*/ 132278 w 304253"/>
                  <a:gd name="connsiteY148" fmla="*/ 72275 h 238948"/>
                  <a:gd name="connsiteX149" fmla="*/ 130914 w 304253"/>
                  <a:gd name="connsiteY149" fmla="*/ 73487 h 238948"/>
                  <a:gd name="connsiteX150" fmla="*/ 128490 w 304253"/>
                  <a:gd name="connsiteY150" fmla="*/ 76063 h 238948"/>
                  <a:gd name="connsiteX151" fmla="*/ 128186 w 304253"/>
                  <a:gd name="connsiteY151" fmla="*/ 78033 h 238948"/>
                  <a:gd name="connsiteX152" fmla="*/ 128641 w 304253"/>
                  <a:gd name="connsiteY152" fmla="*/ 79700 h 238948"/>
                  <a:gd name="connsiteX153" fmla="*/ 106822 w 304253"/>
                  <a:gd name="connsiteY153" fmla="*/ 79548 h 238948"/>
                  <a:gd name="connsiteX154" fmla="*/ 105307 w 304253"/>
                  <a:gd name="connsiteY154" fmla="*/ 78185 h 238948"/>
                  <a:gd name="connsiteX155" fmla="*/ 102277 w 304253"/>
                  <a:gd name="connsiteY155" fmla="*/ 72124 h 238948"/>
                  <a:gd name="connsiteX156" fmla="*/ 102125 w 304253"/>
                  <a:gd name="connsiteY156" fmla="*/ 72124 h 238948"/>
                  <a:gd name="connsiteX157" fmla="*/ 100004 w 304253"/>
                  <a:gd name="connsiteY157" fmla="*/ 72427 h 238948"/>
                  <a:gd name="connsiteX158" fmla="*/ 80155 w 304253"/>
                  <a:gd name="connsiteY158" fmla="*/ 71821 h 238948"/>
                  <a:gd name="connsiteX159" fmla="*/ 77276 w 304253"/>
                  <a:gd name="connsiteY159" fmla="*/ 72427 h 238948"/>
                  <a:gd name="connsiteX160" fmla="*/ 71669 w 304253"/>
                  <a:gd name="connsiteY160" fmla="*/ 75003 h 238948"/>
                  <a:gd name="connsiteX161" fmla="*/ 68791 w 304253"/>
                  <a:gd name="connsiteY161" fmla="*/ 75306 h 238948"/>
                  <a:gd name="connsiteX162" fmla="*/ 65760 w 304253"/>
                  <a:gd name="connsiteY162" fmla="*/ 74245 h 238948"/>
                  <a:gd name="connsiteX163" fmla="*/ 55305 w 304253"/>
                  <a:gd name="connsiteY163" fmla="*/ 62123 h 238948"/>
                  <a:gd name="connsiteX164" fmla="*/ 53184 w 304253"/>
                  <a:gd name="connsiteY164" fmla="*/ 60760 h 238948"/>
                  <a:gd name="connsiteX165" fmla="*/ 52275 w 304253"/>
                  <a:gd name="connsiteY165" fmla="*/ 59851 h 238948"/>
                  <a:gd name="connsiteX166" fmla="*/ 50760 w 304253"/>
                  <a:gd name="connsiteY166" fmla="*/ 57729 h 238948"/>
                  <a:gd name="connsiteX167" fmla="*/ 48487 w 304253"/>
                  <a:gd name="connsiteY167" fmla="*/ 56517 h 238948"/>
                  <a:gd name="connsiteX168" fmla="*/ 47729 w 304253"/>
                  <a:gd name="connsiteY168" fmla="*/ 55608 h 238948"/>
                  <a:gd name="connsiteX169" fmla="*/ 47578 w 304253"/>
                  <a:gd name="connsiteY169" fmla="*/ 54396 h 238948"/>
                  <a:gd name="connsiteX170" fmla="*/ 47578 w 304253"/>
                  <a:gd name="connsiteY170" fmla="*/ 51669 h 238948"/>
                  <a:gd name="connsiteX171" fmla="*/ 46820 w 304253"/>
                  <a:gd name="connsiteY171" fmla="*/ 50002 h 238948"/>
                  <a:gd name="connsiteX172" fmla="*/ 45153 w 304253"/>
                  <a:gd name="connsiteY172" fmla="*/ 49699 h 238948"/>
                  <a:gd name="connsiteX173" fmla="*/ 31213 w 304253"/>
                  <a:gd name="connsiteY173" fmla="*/ 52426 h 238948"/>
                  <a:gd name="connsiteX174" fmla="*/ 29243 w 304253"/>
                  <a:gd name="connsiteY174" fmla="*/ 52123 h 238948"/>
                  <a:gd name="connsiteX175" fmla="*/ 26213 w 304253"/>
                  <a:gd name="connsiteY175" fmla="*/ 52578 h 238948"/>
                  <a:gd name="connsiteX176" fmla="*/ 25153 w 304253"/>
                  <a:gd name="connsiteY176" fmla="*/ 53184 h 238948"/>
                  <a:gd name="connsiteX177" fmla="*/ 24092 w 304253"/>
                  <a:gd name="connsiteY177" fmla="*/ 54699 h 238948"/>
                  <a:gd name="connsiteX178" fmla="*/ 23789 w 304253"/>
                  <a:gd name="connsiteY178" fmla="*/ 56366 h 238948"/>
                  <a:gd name="connsiteX179" fmla="*/ 23789 w 304253"/>
                  <a:gd name="connsiteY179" fmla="*/ 58032 h 238948"/>
                  <a:gd name="connsiteX180" fmla="*/ 23486 w 304253"/>
                  <a:gd name="connsiteY180" fmla="*/ 59699 h 238948"/>
                  <a:gd name="connsiteX181" fmla="*/ 22425 w 304253"/>
                  <a:gd name="connsiteY181" fmla="*/ 61517 h 238948"/>
                  <a:gd name="connsiteX182" fmla="*/ 18334 w 304253"/>
                  <a:gd name="connsiteY182" fmla="*/ 65608 h 238948"/>
                  <a:gd name="connsiteX183" fmla="*/ 17576 w 304253"/>
                  <a:gd name="connsiteY183" fmla="*/ 67427 h 238948"/>
                  <a:gd name="connsiteX184" fmla="*/ 17728 w 304253"/>
                  <a:gd name="connsiteY184" fmla="*/ 71821 h 238948"/>
                  <a:gd name="connsiteX185" fmla="*/ 17425 w 304253"/>
                  <a:gd name="connsiteY185" fmla="*/ 74094 h 238948"/>
                  <a:gd name="connsiteX186" fmla="*/ 16819 w 304253"/>
                  <a:gd name="connsiteY186" fmla="*/ 75154 h 238948"/>
                  <a:gd name="connsiteX187" fmla="*/ 15152 w 304253"/>
                  <a:gd name="connsiteY187" fmla="*/ 76973 h 238948"/>
                  <a:gd name="connsiteX188" fmla="*/ 14395 w 304253"/>
                  <a:gd name="connsiteY188" fmla="*/ 77882 h 238948"/>
                  <a:gd name="connsiteX189" fmla="*/ 14091 w 304253"/>
                  <a:gd name="connsiteY189" fmla="*/ 79397 h 238948"/>
                  <a:gd name="connsiteX190" fmla="*/ 14091 w 304253"/>
                  <a:gd name="connsiteY190" fmla="*/ 82276 h 238948"/>
                  <a:gd name="connsiteX191" fmla="*/ 13788 w 304253"/>
                  <a:gd name="connsiteY191" fmla="*/ 83639 h 238948"/>
                  <a:gd name="connsiteX192" fmla="*/ 11516 w 304253"/>
                  <a:gd name="connsiteY192" fmla="*/ 87276 h 238948"/>
                  <a:gd name="connsiteX193" fmla="*/ 11061 w 304253"/>
                  <a:gd name="connsiteY193" fmla="*/ 88488 h 238948"/>
                  <a:gd name="connsiteX194" fmla="*/ 10910 w 304253"/>
                  <a:gd name="connsiteY194" fmla="*/ 90912 h 238948"/>
                  <a:gd name="connsiteX195" fmla="*/ 10607 w 304253"/>
                  <a:gd name="connsiteY195" fmla="*/ 91670 h 238948"/>
                  <a:gd name="connsiteX196" fmla="*/ 4243 w 304253"/>
                  <a:gd name="connsiteY196" fmla="*/ 93640 h 238948"/>
                  <a:gd name="connsiteX197" fmla="*/ 1818 w 304253"/>
                  <a:gd name="connsiteY197" fmla="*/ 95004 h 238948"/>
                  <a:gd name="connsiteX198" fmla="*/ 455 w 304253"/>
                  <a:gd name="connsiteY198" fmla="*/ 96973 h 238948"/>
                  <a:gd name="connsiteX199" fmla="*/ 0 w 304253"/>
                  <a:gd name="connsiteY199" fmla="*/ 97731 h 238948"/>
                  <a:gd name="connsiteX200" fmla="*/ 1364 w 304253"/>
                  <a:gd name="connsiteY200" fmla="*/ 98185 h 238948"/>
                  <a:gd name="connsiteX201" fmla="*/ 2122 w 304253"/>
                  <a:gd name="connsiteY201" fmla="*/ 99398 h 238948"/>
                  <a:gd name="connsiteX202" fmla="*/ 909 w 304253"/>
                  <a:gd name="connsiteY202" fmla="*/ 103337 h 238948"/>
                  <a:gd name="connsiteX203" fmla="*/ 1667 w 304253"/>
                  <a:gd name="connsiteY203" fmla="*/ 105913 h 238948"/>
                  <a:gd name="connsiteX204" fmla="*/ 3940 w 304253"/>
                  <a:gd name="connsiteY204" fmla="*/ 108034 h 238948"/>
                  <a:gd name="connsiteX205" fmla="*/ 6364 w 304253"/>
                  <a:gd name="connsiteY205" fmla="*/ 108943 h 238948"/>
                  <a:gd name="connsiteX206" fmla="*/ 8485 w 304253"/>
                  <a:gd name="connsiteY206" fmla="*/ 109398 h 238948"/>
                  <a:gd name="connsiteX207" fmla="*/ 16213 w 304253"/>
                  <a:gd name="connsiteY207" fmla="*/ 110762 h 238948"/>
                  <a:gd name="connsiteX208" fmla="*/ 19395 w 304253"/>
                  <a:gd name="connsiteY208" fmla="*/ 112277 h 238948"/>
                  <a:gd name="connsiteX209" fmla="*/ 23637 w 304253"/>
                  <a:gd name="connsiteY209" fmla="*/ 116974 h 238948"/>
                  <a:gd name="connsiteX210" fmla="*/ 28789 w 304253"/>
                  <a:gd name="connsiteY210" fmla="*/ 121217 h 238948"/>
                  <a:gd name="connsiteX211" fmla="*/ 30152 w 304253"/>
                  <a:gd name="connsiteY211" fmla="*/ 123489 h 238948"/>
                  <a:gd name="connsiteX212" fmla="*/ 29850 w 304253"/>
                  <a:gd name="connsiteY212" fmla="*/ 125611 h 238948"/>
                  <a:gd name="connsiteX213" fmla="*/ 28334 w 304253"/>
                  <a:gd name="connsiteY213" fmla="*/ 128035 h 238948"/>
                  <a:gd name="connsiteX214" fmla="*/ 28638 w 304253"/>
                  <a:gd name="connsiteY214" fmla="*/ 129096 h 238948"/>
                  <a:gd name="connsiteX215" fmla="*/ 31062 w 304253"/>
                  <a:gd name="connsiteY215" fmla="*/ 131672 h 238948"/>
                  <a:gd name="connsiteX216" fmla="*/ 33789 w 304253"/>
                  <a:gd name="connsiteY216" fmla="*/ 134247 h 238948"/>
                  <a:gd name="connsiteX217" fmla="*/ 38941 w 304253"/>
                  <a:gd name="connsiteY217" fmla="*/ 137126 h 238948"/>
                  <a:gd name="connsiteX218" fmla="*/ 47729 w 304253"/>
                  <a:gd name="connsiteY218" fmla="*/ 141520 h 238948"/>
                  <a:gd name="connsiteX219" fmla="*/ 51669 w 304253"/>
                  <a:gd name="connsiteY219" fmla="*/ 144551 h 238948"/>
                  <a:gd name="connsiteX220" fmla="*/ 53184 w 304253"/>
                  <a:gd name="connsiteY220" fmla="*/ 146824 h 238948"/>
                  <a:gd name="connsiteX221" fmla="*/ 55305 w 304253"/>
                  <a:gd name="connsiteY221" fmla="*/ 149248 h 238948"/>
                  <a:gd name="connsiteX222" fmla="*/ 58487 w 304253"/>
                  <a:gd name="connsiteY222" fmla="*/ 151521 h 238948"/>
                  <a:gd name="connsiteX223" fmla="*/ 60608 w 304253"/>
                  <a:gd name="connsiteY223" fmla="*/ 153339 h 238948"/>
                  <a:gd name="connsiteX224" fmla="*/ 59245 w 304253"/>
                  <a:gd name="connsiteY224" fmla="*/ 158188 h 238948"/>
                  <a:gd name="connsiteX225" fmla="*/ 59548 w 304253"/>
                  <a:gd name="connsiteY225" fmla="*/ 159854 h 238948"/>
                  <a:gd name="connsiteX226" fmla="*/ 60457 w 304253"/>
                  <a:gd name="connsiteY226" fmla="*/ 161218 h 238948"/>
                  <a:gd name="connsiteX227" fmla="*/ 62275 w 304253"/>
                  <a:gd name="connsiteY227" fmla="*/ 163188 h 238948"/>
                  <a:gd name="connsiteX228" fmla="*/ 63033 w 304253"/>
                  <a:gd name="connsiteY228" fmla="*/ 165612 h 238948"/>
                  <a:gd name="connsiteX229" fmla="*/ 64851 w 304253"/>
                  <a:gd name="connsiteY229" fmla="*/ 168794 h 238948"/>
                  <a:gd name="connsiteX230" fmla="*/ 66972 w 304253"/>
                  <a:gd name="connsiteY230" fmla="*/ 170158 h 238948"/>
                  <a:gd name="connsiteX231" fmla="*/ 70609 w 304253"/>
                  <a:gd name="connsiteY231" fmla="*/ 170612 h 238948"/>
                  <a:gd name="connsiteX232" fmla="*/ 72579 w 304253"/>
                  <a:gd name="connsiteY232" fmla="*/ 172128 h 238948"/>
                  <a:gd name="connsiteX233" fmla="*/ 76518 w 304253"/>
                  <a:gd name="connsiteY233" fmla="*/ 174552 h 238948"/>
                  <a:gd name="connsiteX234" fmla="*/ 80306 w 304253"/>
                  <a:gd name="connsiteY234" fmla="*/ 176673 h 238948"/>
                  <a:gd name="connsiteX235" fmla="*/ 81973 w 304253"/>
                  <a:gd name="connsiteY235" fmla="*/ 178188 h 238948"/>
                  <a:gd name="connsiteX236" fmla="*/ 83034 w 304253"/>
                  <a:gd name="connsiteY236" fmla="*/ 179552 h 238948"/>
                  <a:gd name="connsiteX237" fmla="*/ 83943 w 304253"/>
                  <a:gd name="connsiteY237" fmla="*/ 181067 h 238948"/>
                  <a:gd name="connsiteX238" fmla="*/ 84397 w 304253"/>
                  <a:gd name="connsiteY238" fmla="*/ 182582 h 238948"/>
                  <a:gd name="connsiteX239" fmla="*/ 84397 w 304253"/>
                  <a:gd name="connsiteY239" fmla="*/ 185916 h 238948"/>
                  <a:gd name="connsiteX240" fmla="*/ 85155 w 304253"/>
                  <a:gd name="connsiteY240" fmla="*/ 190007 h 238948"/>
                  <a:gd name="connsiteX241" fmla="*/ 87124 w 304253"/>
                  <a:gd name="connsiteY241" fmla="*/ 192734 h 238948"/>
                  <a:gd name="connsiteX242" fmla="*/ 89094 w 304253"/>
                  <a:gd name="connsiteY242" fmla="*/ 194856 h 238948"/>
                  <a:gd name="connsiteX243" fmla="*/ 90155 w 304253"/>
                  <a:gd name="connsiteY243" fmla="*/ 196825 h 238948"/>
                  <a:gd name="connsiteX244" fmla="*/ 91519 w 304253"/>
                  <a:gd name="connsiteY244" fmla="*/ 198795 h 238948"/>
                  <a:gd name="connsiteX245" fmla="*/ 96216 w 304253"/>
                  <a:gd name="connsiteY245" fmla="*/ 202129 h 238948"/>
                  <a:gd name="connsiteX246" fmla="*/ 97731 w 304253"/>
                  <a:gd name="connsiteY246" fmla="*/ 203947 h 238948"/>
                  <a:gd name="connsiteX247" fmla="*/ 98943 w 304253"/>
                  <a:gd name="connsiteY247" fmla="*/ 205917 h 238948"/>
                  <a:gd name="connsiteX248" fmla="*/ 99701 w 304253"/>
                  <a:gd name="connsiteY248" fmla="*/ 207583 h 238948"/>
                  <a:gd name="connsiteX249" fmla="*/ 101065 w 304253"/>
                  <a:gd name="connsiteY249" fmla="*/ 208795 h 238948"/>
                  <a:gd name="connsiteX250" fmla="*/ 103186 w 304253"/>
                  <a:gd name="connsiteY250" fmla="*/ 209705 h 238948"/>
                  <a:gd name="connsiteX251" fmla="*/ 105004 w 304253"/>
                  <a:gd name="connsiteY251" fmla="*/ 210614 h 238948"/>
                  <a:gd name="connsiteX252" fmla="*/ 106065 w 304253"/>
                  <a:gd name="connsiteY252" fmla="*/ 212129 h 238948"/>
                  <a:gd name="connsiteX253" fmla="*/ 107580 w 304253"/>
                  <a:gd name="connsiteY253" fmla="*/ 213493 h 238948"/>
                  <a:gd name="connsiteX254" fmla="*/ 110762 w 304253"/>
                  <a:gd name="connsiteY254" fmla="*/ 215614 h 238948"/>
                  <a:gd name="connsiteX255" fmla="*/ 112277 w 304253"/>
                  <a:gd name="connsiteY255" fmla="*/ 215614 h 238948"/>
                  <a:gd name="connsiteX256" fmla="*/ 113943 w 304253"/>
                  <a:gd name="connsiteY256" fmla="*/ 215917 h 238948"/>
                  <a:gd name="connsiteX257" fmla="*/ 115459 w 304253"/>
                  <a:gd name="connsiteY257" fmla="*/ 216372 h 238948"/>
                  <a:gd name="connsiteX258" fmla="*/ 117126 w 304253"/>
                  <a:gd name="connsiteY258" fmla="*/ 216220 h 238948"/>
                  <a:gd name="connsiteX259" fmla="*/ 119853 w 304253"/>
                  <a:gd name="connsiteY259" fmla="*/ 215008 h 238948"/>
                  <a:gd name="connsiteX260" fmla="*/ 122884 w 304253"/>
                  <a:gd name="connsiteY260" fmla="*/ 212735 h 238948"/>
                  <a:gd name="connsiteX261" fmla="*/ 125308 w 304253"/>
                  <a:gd name="connsiteY261" fmla="*/ 211371 h 238948"/>
                  <a:gd name="connsiteX262" fmla="*/ 131217 w 304253"/>
                  <a:gd name="connsiteY262" fmla="*/ 211826 h 238948"/>
                  <a:gd name="connsiteX263" fmla="*/ 134399 w 304253"/>
                  <a:gd name="connsiteY263" fmla="*/ 213038 h 238948"/>
                  <a:gd name="connsiteX264" fmla="*/ 136975 w 304253"/>
                  <a:gd name="connsiteY264" fmla="*/ 214553 h 238948"/>
                  <a:gd name="connsiteX265" fmla="*/ 138945 w 304253"/>
                  <a:gd name="connsiteY265" fmla="*/ 214402 h 238948"/>
                  <a:gd name="connsiteX266" fmla="*/ 143339 w 304253"/>
                  <a:gd name="connsiteY266" fmla="*/ 211523 h 238948"/>
                  <a:gd name="connsiteX267" fmla="*/ 145612 w 304253"/>
                  <a:gd name="connsiteY267" fmla="*/ 208492 h 238948"/>
                  <a:gd name="connsiteX268" fmla="*/ 147884 w 304253"/>
                  <a:gd name="connsiteY268" fmla="*/ 207735 h 238948"/>
                  <a:gd name="connsiteX269" fmla="*/ 151369 w 304253"/>
                  <a:gd name="connsiteY269" fmla="*/ 209099 h 238948"/>
                  <a:gd name="connsiteX270" fmla="*/ 154097 w 304253"/>
                  <a:gd name="connsiteY270" fmla="*/ 211978 h 238948"/>
                  <a:gd name="connsiteX271" fmla="*/ 156672 w 304253"/>
                  <a:gd name="connsiteY271" fmla="*/ 216220 h 238948"/>
                  <a:gd name="connsiteX272" fmla="*/ 158339 w 304253"/>
                  <a:gd name="connsiteY272" fmla="*/ 217735 h 238948"/>
                  <a:gd name="connsiteX273" fmla="*/ 160764 w 304253"/>
                  <a:gd name="connsiteY273" fmla="*/ 220311 h 238948"/>
                  <a:gd name="connsiteX274" fmla="*/ 165461 w 304253"/>
                  <a:gd name="connsiteY274" fmla="*/ 225614 h 238948"/>
                  <a:gd name="connsiteX275" fmla="*/ 171673 w 304253"/>
                  <a:gd name="connsiteY275" fmla="*/ 228342 h 238948"/>
                  <a:gd name="connsiteX276" fmla="*/ 174097 w 304253"/>
                  <a:gd name="connsiteY276" fmla="*/ 229554 h 238948"/>
                  <a:gd name="connsiteX277" fmla="*/ 174855 w 304253"/>
                  <a:gd name="connsiteY277" fmla="*/ 230918 h 238948"/>
                  <a:gd name="connsiteX278" fmla="*/ 175310 w 304253"/>
                  <a:gd name="connsiteY278" fmla="*/ 232584 h 238948"/>
                  <a:gd name="connsiteX279" fmla="*/ 175461 w 304253"/>
                  <a:gd name="connsiteY279" fmla="*/ 234554 h 238948"/>
                  <a:gd name="connsiteX280" fmla="*/ 176219 w 304253"/>
                  <a:gd name="connsiteY280" fmla="*/ 235312 h 238948"/>
                  <a:gd name="connsiteX281" fmla="*/ 177885 w 304253"/>
                  <a:gd name="connsiteY281" fmla="*/ 235008 h 238948"/>
                  <a:gd name="connsiteX282" fmla="*/ 179401 w 304253"/>
                  <a:gd name="connsiteY282" fmla="*/ 234857 h 238948"/>
                  <a:gd name="connsiteX283" fmla="*/ 180916 w 304253"/>
                  <a:gd name="connsiteY283" fmla="*/ 235312 h 238948"/>
                  <a:gd name="connsiteX284" fmla="*/ 181977 w 304253"/>
                  <a:gd name="connsiteY284" fmla="*/ 236675 h 238948"/>
                  <a:gd name="connsiteX285" fmla="*/ 182582 w 304253"/>
                  <a:gd name="connsiteY285" fmla="*/ 237887 h 238948"/>
                  <a:gd name="connsiteX286" fmla="*/ 183189 w 304253"/>
                  <a:gd name="connsiteY286" fmla="*/ 238948 h 238948"/>
                  <a:gd name="connsiteX287" fmla="*/ 183946 w 304253"/>
                  <a:gd name="connsiteY287" fmla="*/ 237584 h 238948"/>
                  <a:gd name="connsiteX288" fmla="*/ 185613 w 304253"/>
                  <a:gd name="connsiteY288" fmla="*/ 235008 h 238948"/>
                  <a:gd name="connsiteX289" fmla="*/ 188795 w 304253"/>
                  <a:gd name="connsiteY289" fmla="*/ 232584 h 238948"/>
                  <a:gd name="connsiteX290" fmla="*/ 191674 w 304253"/>
                  <a:gd name="connsiteY290" fmla="*/ 230918 h 238948"/>
                  <a:gd name="connsiteX291" fmla="*/ 193644 w 304253"/>
                  <a:gd name="connsiteY291" fmla="*/ 230918 h 238948"/>
                  <a:gd name="connsiteX292" fmla="*/ 197280 w 304253"/>
                  <a:gd name="connsiteY292" fmla="*/ 232281 h 238948"/>
                  <a:gd name="connsiteX293" fmla="*/ 200613 w 304253"/>
                  <a:gd name="connsiteY293" fmla="*/ 233796 h 238948"/>
                  <a:gd name="connsiteX294" fmla="*/ 202583 w 304253"/>
                  <a:gd name="connsiteY294" fmla="*/ 233948 h 238948"/>
                  <a:gd name="connsiteX295" fmla="*/ 204705 w 304253"/>
                  <a:gd name="connsiteY295" fmla="*/ 233190 h 238948"/>
                  <a:gd name="connsiteX296" fmla="*/ 209402 w 304253"/>
                  <a:gd name="connsiteY296" fmla="*/ 230463 h 238948"/>
                  <a:gd name="connsiteX297" fmla="*/ 210463 w 304253"/>
                  <a:gd name="connsiteY297" fmla="*/ 231372 h 238948"/>
                  <a:gd name="connsiteX298" fmla="*/ 211826 w 304253"/>
                  <a:gd name="connsiteY298" fmla="*/ 233039 h 238948"/>
                  <a:gd name="connsiteX299" fmla="*/ 213342 w 304253"/>
                  <a:gd name="connsiteY299" fmla="*/ 235766 h 238948"/>
                  <a:gd name="connsiteX300" fmla="*/ 216220 w 304253"/>
                  <a:gd name="connsiteY300" fmla="*/ 237130 h 238948"/>
                  <a:gd name="connsiteX301" fmla="*/ 217584 w 304253"/>
                  <a:gd name="connsiteY301" fmla="*/ 237887 h 238948"/>
                  <a:gd name="connsiteX302" fmla="*/ 218644 w 304253"/>
                  <a:gd name="connsiteY302" fmla="*/ 238191 h 238948"/>
                  <a:gd name="connsiteX303" fmla="*/ 219251 w 304253"/>
                  <a:gd name="connsiteY303" fmla="*/ 237887 h 238948"/>
                  <a:gd name="connsiteX304" fmla="*/ 220311 w 304253"/>
                  <a:gd name="connsiteY304" fmla="*/ 235766 h 238948"/>
                  <a:gd name="connsiteX305" fmla="*/ 221675 w 304253"/>
                  <a:gd name="connsiteY305" fmla="*/ 234554 h 238948"/>
                  <a:gd name="connsiteX306" fmla="*/ 224099 w 304253"/>
                  <a:gd name="connsiteY306" fmla="*/ 233039 h 238948"/>
                  <a:gd name="connsiteX307" fmla="*/ 229554 w 304253"/>
                  <a:gd name="connsiteY307" fmla="*/ 231978 h 238948"/>
                  <a:gd name="connsiteX308" fmla="*/ 233494 w 304253"/>
                  <a:gd name="connsiteY308" fmla="*/ 231524 h 238948"/>
                  <a:gd name="connsiteX309" fmla="*/ 235009 w 304253"/>
                  <a:gd name="connsiteY309" fmla="*/ 231372 h 238948"/>
                  <a:gd name="connsiteX310" fmla="*/ 237888 w 304253"/>
                  <a:gd name="connsiteY310" fmla="*/ 230614 h 238948"/>
                  <a:gd name="connsiteX311" fmla="*/ 242130 w 304253"/>
                  <a:gd name="connsiteY311" fmla="*/ 228342 h 238948"/>
                  <a:gd name="connsiteX312" fmla="*/ 246524 w 304253"/>
                  <a:gd name="connsiteY312" fmla="*/ 231220 h 238948"/>
                  <a:gd name="connsiteX313" fmla="*/ 251070 w 304253"/>
                  <a:gd name="connsiteY313" fmla="*/ 231827 h 238948"/>
                  <a:gd name="connsiteX314" fmla="*/ 255615 w 304253"/>
                  <a:gd name="connsiteY314" fmla="*/ 231827 h 238948"/>
                  <a:gd name="connsiteX315" fmla="*/ 256979 w 304253"/>
                  <a:gd name="connsiteY315" fmla="*/ 230918 h 238948"/>
                  <a:gd name="connsiteX316" fmla="*/ 257888 w 304253"/>
                  <a:gd name="connsiteY316" fmla="*/ 230311 h 238948"/>
                  <a:gd name="connsiteX317" fmla="*/ 262586 w 304253"/>
                  <a:gd name="connsiteY317" fmla="*/ 225463 h 238948"/>
                  <a:gd name="connsiteX318" fmla="*/ 268949 w 304253"/>
                  <a:gd name="connsiteY318" fmla="*/ 219099 h 238948"/>
                  <a:gd name="connsiteX319" fmla="*/ 274404 w 304253"/>
                  <a:gd name="connsiteY319" fmla="*/ 213644 h 238948"/>
                  <a:gd name="connsiteX320" fmla="*/ 280011 w 304253"/>
                  <a:gd name="connsiteY320" fmla="*/ 208190 h 238948"/>
                  <a:gd name="connsiteX321" fmla="*/ 287132 w 304253"/>
                  <a:gd name="connsiteY321" fmla="*/ 201219 h 238948"/>
                  <a:gd name="connsiteX322" fmla="*/ 293647 w 304253"/>
                  <a:gd name="connsiteY322" fmla="*/ 194856 h 238948"/>
                  <a:gd name="connsiteX323" fmla="*/ 299254 w 304253"/>
                  <a:gd name="connsiteY323" fmla="*/ 189401 h 238948"/>
                  <a:gd name="connsiteX324" fmla="*/ 304254 w 304253"/>
                  <a:gd name="connsiteY324" fmla="*/ 184401 h 23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Lst>
                <a:rect l="l" t="t" r="r" b="b"/>
                <a:pathLst>
                  <a:path w="304253" h="238948">
                    <a:moveTo>
                      <a:pt x="303951" y="183946"/>
                    </a:moveTo>
                    <a:lnTo>
                      <a:pt x="301526" y="181976"/>
                    </a:lnTo>
                    <a:lnTo>
                      <a:pt x="299254" y="179552"/>
                    </a:lnTo>
                    <a:lnTo>
                      <a:pt x="297890" y="176825"/>
                    </a:lnTo>
                    <a:lnTo>
                      <a:pt x="296526" y="174552"/>
                    </a:lnTo>
                    <a:lnTo>
                      <a:pt x="295920" y="169400"/>
                    </a:lnTo>
                    <a:lnTo>
                      <a:pt x="294254" y="166218"/>
                    </a:lnTo>
                    <a:lnTo>
                      <a:pt x="292587" y="162430"/>
                    </a:lnTo>
                    <a:lnTo>
                      <a:pt x="290162" y="155157"/>
                    </a:lnTo>
                    <a:lnTo>
                      <a:pt x="289102" y="152581"/>
                    </a:lnTo>
                    <a:lnTo>
                      <a:pt x="287132" y="150914"/>
                    </a:lnTo>
                    <a:lnTo>
                      <a:pt x="285011" y="149399"/>
                    </a:lnTo>
                    <a:lnTo>
                      <a:pt x="282889" y="146066"/>
                    </a:lnTo>
                    <a:lnTo>
                      <a:pt x="277283" y="143187"/>
                    </a:lnTo>
                    <a:lnTo>
                      <a:pt x="275162" y="141066"/>
                    </a:lnTo>
                    <a:lnTo>
                      <a:pt x="271374" y="137126"/>
                    </a:lnTo>
                    <a:lnTo>
                      <a:pt x="270465" y="135156"/>
                    </a:lnTo>
                    <a:lnTo>
                      <a:pt x="270162" y="133338"/>
                    </a:lnTo>
                    <a:lnTo>
                      <a:pt x="268949" y="131520"/>
                    </a:lnTo>
                    <a:lnTo>
                      <a:pt x="266980" y="129399"/>
                    </a:lnTo>
                    <a:lnTo>
                      <a:pt x="260464" y="125005"/>
                    </a:lnTo>
                    <a:lnTo>
                      <a:pt x="258646" y="124398"/>
                    </a:lnTo>
                    <a:lnTo>
                      <a:pt x="256373" y="123944"/>
                    </a:lnTo>
                    <a:lnTo>
                      <a:pt x="253040" y="123489"/>
                    </a:lnTo>
                    <a:lnTo>
                      <a:pt x="248494" y="122580"/>
                    </a:lnTo>
                    <a:lnTo>
                      <a:pt x="244403" y="120762"/>
                    </a:lnTo>
                    <a:lnTo>
                      <a:pt x="242736" y="119550"/>
                    </a:lnTo>
                    <a:lnTo>
                      <a:pt x="242282" y="118792"/>
                    </a:lnTo>
                    <a:lnTo>
                      <a:pt x="242585" y="117277"/>
                    </a:lnTo>
                    <a:lnTo>
                      <a:pt x="244100" y="114853"/>
                    </a:lnTo>
                    <a:lnTo>
                      <a:pt x="246827" y="109095"/>
                    </a:lnTo>
                    <a:lnTo>
                      <a:pt x="248646" y="105155"/>
                    </a:lnTo>
                    <a:lnTo>
                      <a:pt x="250009" y="104095"/>
                    </a:lnTo>
                    <a:lnTo>
                      <a:pt x="253494" y="103792"/>
                    </a:lnTo>
                    <a:lnTo>
                      <a:pt x="257131" y="103792"/>
                    </a:lnTo>
                    <a:lnTo>
                      <a:pt x="259858" y="104095"/>
                    </a:lnTo>
                    <a:lnTo>
                      <a:pt x="263798" y="104246"/>
                    </a:lnTo>
                    <a:lnTo>
                      <a:pt x="268343" y="103792"/>
                    </a:lnTo>
                    <a:lnTo>
                      <a:pt x="270162" y="102580"/>
                    </a:lnTo>
                    <a:lnTo>
                      <a:pt x="271677" y="101064"/>
                    </a:lnTo>
                    <a:lnTo>
                      <a:pt x="272283" y="100004"/>
                    </a:lnTo>
                    <a:lnTo>
                      <a:pt x="272435" y="97428"/>
                    </a:lnTo>
                    <a:lnTo>
                      <a:pt x="272435" y="95458"/>
                    </a:lnTo>
                    <a:lnTo>
                      <a:pt x="272131" y="87427"/>
                    </a:lnTo>
                    <a:lnTo>
                      <a:pt x="271980" y="82579"/>
                    </a:lnTo>
                    <a:lnTo>
                      <a:pt x="271677" y="77124"/>
                    </a:lnTo>
                    <a:lnTo>
                      <a:pt x="271828" y="75912"/>
                    </a:lnTo>
                    <a:lnTo>
                      <a:pt x="271677" y="75912"/>
                    </a:lnTo>
                    <a:lnTo>
                      <a:pt x="266677" y="75912"/>
                    </a:lnTo>
                    <a:lnTo>
                      <a:pt x="266525" y="75912"/>
                    </a:lnTo>
                    <a:lnTo>
                      <a:pt x="266525" y="75760"/>
                    </a:lnTo>
                    <a:lnTo>
                      <a:pt x="266374" y="75760"/>
                    </a:lnTo>
                    <a:lnTo>
                      <a:pt x="266374" y="75457"/>
                    </a:lnTo>
                    <a:lnTo>
                      <a:pt x="266070" y="74700"/>
                    </a:lnTo>
                    <a:lnTo>
                      <a:pt x="266070" y="73487"/>
                    </a:lnTo>
                    <a:lnTo>
                      <a:pt x="266222" y="71366"/>
                    </a:lnTo>
                    <a:lnTo>
                      <a:pt x="266677" y="68942"/>
                    </a:lnTo>
                    <a:lnTo>
                      <a:pt x="268495" y="65457"/>
                    </a:lnTo>
                    <a:lnTo>
                      <a:pt x="268647" y="65154"/>
                    </a:lnTo>
                    <a:lnTo>
                      <a:pt x="268647" y="65002"/>
                    </a:lnTo>
                    <a:lnTo>
                      <a:pt x="268647" y="64851"/>
                    </a:lnTo>
                    <a:lnTo>
                      <a:pt x="268495" y="64245"/>
                    </a:lnTo>
                    <a:lnTo>
                      <a:pt x="268192" y="63639"/>
                    </a:lnTo>
                    <a:lnTo>
                      <a:pt x="268192" y="62881"/>
                    </a:lnTo>
                    <a:lnTo>
                      <a:pt x="268495" y="61063"/>
                    </a:lnTo>
                    <a:lnTo>
                      <a:pt x="268495" y="60457"/>
                    </a:lnTo>
                    <a:lnTo>
                      <a:pt x="268495" y="59699"/>
                    </a:lnTo>
                    <a:lnTo>
                      <a:pt x="268343" y="59245"/>
                    </a:lnTo>
                    <a:lnTo>
                      <a:pt x="267131" y="56214"/>
                    </a:lnTo>
                    <a:lnTo>
                      <a:pt x="266677" y="55760"/>
                    </a:lnTo>
                    <a:lnTo>
                      <a:pt x="254858" y="46062"/>
                    </a:lnTo>
                    <a:lnTo>
                      <a:pt x="252585" y="43486"/>
                    </a:lnTo>
                    <a:lnTo>
                      <a:pt x="252434" y="43335"/>
                    </a:lnTo>
                    <a:lnTo>
                      <a:pt x="252131" y="43183"/>
                    </a:lnTo>
                    <a:lnTo>
                      <a:pt x="246070" y="40911"/>
                    </a:lnTo>
                    <a:lnTo>
                      <a:pt x="245767" y="40759"/>
                    </a:lnTo>
                    <a:lnTo>
                      <a:pt x="245918" y="40305"/>
                    </a:lnTo>
                    <a:lnTo>
                      <a:pt x="246070" y="40001"/>
                    </a:lnTo>
                    <a:lnTo>
                      <a:pt x="246827" y="38638"/>
                    </a:lnTo>
                    <a:lnTo>
                      <a:pt x="246827" y="38335"/>
                    </a:lnTo>
                    <a:lnTo>
                      <a:pt x="246979" y="37880"/>
                    </a:lnTo>
                    <a:lnTo>
                      <a:pt x="244251" y="17425"/>
                    </a:lnTo>
                    <a:lnTo>
                      <a:pt x="244251" y="16970"/>
                    </a:lnTo>
                    <a:lnTo>
                      <a:pt x="244403" y="16819"/>
                    </a:lnTo>
                    <a:lnTo>
                      <a:pt x="244555" y="16667"/>
                    </a:lnTo>
                    <a:lnTo>
                      <a:pt x="244858" y="16213"/>
                    </a:lnTo>
                    <a:lnTo>
                      <a:pt x="245161" y="15758"/>
                    </a:lnTo>
                    <a:lnTo>
                      <a:pt x="245464" y="14849"/>
                    </a:lnTo>
                    <a:lnTo>
                      <a:pt x="245615" y="14698"/>
                    </a:lnTo>
                    <a:lnTo>
                      <a:pt x="245918" y="10910"/>
                    </a:lnTo>
                    <a:lnTo>
                      <a:pt x="245918" y="7727"/>
                    </a:lnTo>
                    <a:lnTo>
                      <a:pt x="247585" y="2424"/>
                    </a:lnTo>
                    <a:lnTo>
                      <a:pt x="247737" y="151"/>
                    </a:lnTo>
                    <a:lnTo>
                      <a:pt x="234706" y="0"/>
                    </a:lnTo>
                    <a:lnTo>
                      <a:pt x="234554" y="151"/>
                    </a:lnTo>
                    <a:lnTo>
                      <a:pt x="234554" y="303"/>
                    </a:lnTo>
                    <a:lnTo>
                      <a:pt x="234554" y="455"/>
                    </a:lnTo>
                    <a:lnTo>
                      <a:pt x="234554" y="606"/>
                    </a:lnTo>
                    <a:lnTo>
                      <a:pt x="234554" y="909"/>
                    </a:lnTo>
                    <a:lnTo>
                      <a:pt x="234554" y="1667"/>
                    </a:lnTo>
                    <a:lnTo>
                      <a:pt x="234403" y="1970"/>
                    </a:lnTo>
                    <a:lnTo>
                      <a:pt x="234554" y="2273"/>
                    </a:lnTo>
                    <a:lnTo>
                      <a:pt x="234706" y="3637"/>
                    </a:lnTo>
                    <a:lnTo>
                      <a:pt x="235009" y="4546"/>
                    </a:lnTo>
                    <a:lnTo>
                      <a:pt x="235160" y="4849"/>
                    </a:lnTo>
                    <a:lnTo>
                      <a:pt x="235160" y="5303"/>
                    </a:lnTo>
                    <a:lnTo>
                      <a:pt x="235009" y="5909"/>
                    </a:lnTo>
                    <a:lnTo>
                      <a:pt x="216826" y="5909"/>
                    </a:lnTo>
                    <a:lnTo>
                      <a:pt x="224099" y="13940"/>
                    </a:lnTo>
                    <a:lnTo>
                      <a:pt x="224099" y="14091"/>
                    </a:lnTo>
                    <a:lnTo>
                      <a:pt x="224251" y="14546"/>
                    </a:lnTo>
                    <a:lnTo>
                      <a:pt x="224402" y="14849"/>
                    </a:lnTo>
                    <a:lnTo>
                      <a:pt x="224402" y="17728"/>
                    </a:lnTo>
                    <a:lnTo>
                      <a:pt x="224099" y="22122"/>
                    </a:lnTo>
                    <a:lnTo>
                      <a:pt x="224099" y="25001"/>
                    </a:lnTo>
                    <a:lnTo>
                      <a:pt x="224554" y="26971"/>
                    </a:lnTo>
                    <a:lnTo>
                      <a:pt x="226524" y="30607"/>
                    </a:lnTo>
                    <a:lnTo>
                      <a:pt x="226372" y="31213"/>
                    </a:lnTo>
                    <a:lnTo>
                      <a:pt x="225918" y="32122"/>
                    </a:lnTo>
                    <a:lnTo>
                      <a:pt x="213038" y="43032"/>
                    </a:lnTo>
                    <a:lnTo>
                      <a:pt x="212735" y="43486"/>
                    </a:lnTo>
                    <a:lnTo>
                      <a:pt x="210917" y="48032"/>
                    </a:lnTo>
                    <a:lnTo>
                      <a:pt x="209250" y="50608"/>
                    </a:lnTo>
                    <a:lnTo>
                      <a:pt x="208493" y="51366"/>
                    </a:lnTo>
                    <a:lnTo>
                      <a:pt x="205462" y="55154"/>
                    </a:lnTo>
                    <a:lnTo>
                      <a:pt x="193644" y="66669"/>
                    </a:lnTo>
                    <a:lnTo>
                      <a:pt x="191825" y="67427"/>
                    </a:lnTo>
                    <a:lnTo>
                      <a:pt x="185916" y="67730"/>
                    </a:lnTo>
                    <a:lnTo>
                      <a:pt x="182886" y="67881"/>
                    </a:lnTo>
                    <a:lnTo>
                      <a:pt x="182431" y="68033"/>
                    </a:lnTo>
                    <a:lnTo>
                      <a:pt x="181977" y="68184"/>
                    </a:lnTo>
                    <a:lnTo>
                      <a:pt x="181673" y="68487"/>
                    </a:lnTo>
                    <a:lnTo>
                      <a:pt x="181219" y="68639"/>
                    </a:lnTo>
                    <a:lnTo>
                      <a:pt x="180916" y="68639"/>
                    </a:lnTo>
                    <a:lnTo>
                      <a:pt x="180461" y="68184"/>
                    </a:lnTo>
                    <a:lnTo>
                      <a:pt x="173188" y="61820"/>
                    </a:lnTo>
                    <a:lnTo>
                      <a:pt x="160309" y="53638"/>
                    </a:lnTo>
                    <a:lnTo>
                      <a:pt x="159097" y="54396"/>
                    </a:lnTo>
                    <a:lnTo>
                      <a:pt x="151672" y="57881"/>
                    </a:lnTo>
                    <a:lnTo>
                      <a:pt x="150157" y="58790"/>
                    </a:lnTo>
                    <a:lnTo>
                      <a:pt x="149400" y="59396"/>
                    </a:lnTo>
                    <a:lnTo>
                      <a:pt x="149400" y="63336"/>
                    </a:lnTo>
                    <a:lnTo>
                      <a:pt x="148036" y="65305"/>
                    </a:lnTo>
                    <a:lnTo>
                      <a:pt x="145763" y="67578"/>
                    </a:lnTo>
                    <a:lnTo>
                      <a:pt x="139399" y="68942"/>
                    </a:lnTo>
                    <a:lnTo>
                      <a:pt x="136217" y="70154"/>
                    </a:lnTo>
                    <a:lnTo>
                      <a:pt x="132884" y="71821"/>
                    </a:lnTo>
                    <a:lnTo>
                      <a:pt x="132278" y="72275"/>
                    </a:lnTo>
                    <a:lnTo>
                      <a:pt x="132278" y="72275"/>
                    </a:lnTo>
                    <a:lnTo>
                      <a:pt x="130914" y="73487"/>
                    </a:lnTo>
                    <a:lnTo>
                      <a:pt x="128490" y="76063"/>
                    </a:lnTo>
                    <a:lnTo>
                      <a:pt x="128186" y="78033"/>
                    </a:lnTo>
                    <a:lnTo>
                      <a:pt x="128641" y="79700"/>
                    </a:lnTo>
                    <a:lnTo>
                      <a:pt x="106822" y="79548"/>
                    </a:lnTo>
                    <a:lnTo>
                      <a:pt x="105307" y="78185"/>
                    </a:lnTo>
                    <a:lnTo>
                      <a:pt x="102277" y="72124"/>
                    </a:lnTo>
                    <a:lnTo>
                      <a:pt x="102125" y="72124"/>
                    </a:lnTo>
                    <a:lnTo>
                      <a:pt x="100004" y="72427"/>
                    </a:lnTo>
                    <a:lnTo>
                      <a:pt x="80155" y="71821"/>
                    </a:lnTo>
                    <a:lnTo>
                      <a:pt x="77276" y="72427"/>
                    </a:lnTo>
                    <a:lnTo>
                      <a:pt x="71669" y="75003"/>
                    </a:lnTo>
                    <a:lnTo>
                      <a:pt x="68791" y="75306"/>
                    </a:lnTo>
                    <a:lnTo>
                      <a:pt x="65760" y="74245"/>
                    </a:lnTo>
                    <a:lnTo>
                      <a:pt x="55305" y="62123"/>
                    </a:lnTo>
                    <a:lnTo>
                      <a:pt x="53184" y="60760"/>
                    </a:lnTo>
                    <a:lnTo>
                      <a:pt x="52275" y="59851"/>
                    </a:lnTo>
                    <a:lnTo>
                      <a:pt x="50760" y="57729"/>
                    </a:lnTo>
                    <a:lnTo>
                      <a:pt x="48487" y="56517"/>
                    </a:lnTo>
                    <a:lnTo>
                      <a:pt x="47729" y="55608"/>
                    </a:lnTo>
                    <a:lnTo>
                      <a:pt x="47578" y="54396"/>
                    </a:lnTo>
                    <a:lnTo>
                      <a:pt x="47578" y="51669"/>
                    </a:lnTo>
                    <a:lnTo>
                      <a:pt x="46820" y="50002"/>
                    </a:lnTo>
                    <a:lnTo>
                      <a:pt x="45153" y="49699"/>
                    </a:lnTo>
                    <a:lnTo>
                      <a:pt x="31213" y="52426"/>
                    </a:lnTo>
                    <a:lnTo>
                      <a:pt x="29243" y="52123"/>
                    </a:lnTo>
                    <a:lnTo>
                      <a:pt x="26213" y="52578"/>
                    </a:lnTo>
                    <a:lnTo>
                      <a:pt x="25153" y="53184"/>
                    </a:lnTo>
                    <a:lnTo>
                      <a:pt x="24092" y="54699"/>
                    </a:lnTo>
                    <a:lnTo>
                      <a:pt x="23789" y="56366"/>
                    </a:lnTo>
                    <a:lnTo>
                      <a:pt x="23789" y="58032"/>
                    </a:lnTo>
                    <a:lnTo>
                      <a:pt x="23486" y="59699"/>
                    </a:lnTo>
                    <a:lnTo>
                      <a:pt x="22425" y="61517"/>
                    </a:lnTo>
                    <a:lnTo>
                      <a:pt x="18334" y="65608"/>
                    </a:lnTo>
                    <a:lnTo>
                      <a:pt x="17576" y="67427"/>
                    </a:lnTo>
                    <a:lnTo>
                      <a:pt x="17728" y="71821"/>
                    </a:lnTo>
                    <a:lnTo>
                      <a:pt x="17425" y="74094"/>
                    </a:lnTo>
                    <a:lnTo>
                      <a:pt x="16819" y="75154"/>
                    </a:lnTo>
                    <a:lnTo>
                      <a:pt x="15152" y="76973"/>
                    </a:lnTo>
                    <a:lnTo>
                      <a:pt x="14395" y="77882"/>
                    </a:lnTo>
                    <a:lnTo>
                      <a:pt x="14091" y="79397"/>
                    </a:lnTo>
                    <a:lnTo>
                      <a:pt x="14091" y="82276"/>
                    </a:lnTo>
                    <a:lnTo>
                      <a:pt x="13788" y="83639"/>
                    </a:lnTo>
                    <a:lnTo>
                      <a:pt x="11516" y="87276"/>
                    </a:lnTo>
                    <a:lnTo>
                      <a:pt x="11061" y="88488"/>
                    </a:lnTo>
                    <a:lnTo>
                      <a:pt x="10910" y="90912"/>
                    </a:lnTo>
                    <a:lnTo>
                      <a:pt x="10607" y="91670"/>
                    </a:lnTo>
                    <a:lnTo>
                      <a:pt x="4243" y="93640"/>
                    </a:lnTo>
                    <a:lnTo>
                      <a:pt x="1818" y="95004"/>
                    </a:lnTo>
                    <a:lnTo>
                      <a:pt x="455" y="96973"/>
                    </a:lnTo>
                    <a:lnTo>
                      <a:pt x="0" y="97731"/>
                    </a:lnTo>
                    <a:lnTo>
                      <a:pt x="1364" y="98185"/>
                    </a:lnTo>
                    <a:lnTo>
                      <a:pt x="2122" y="99398"/>
                    </a:lnTo>
                    <a:lnTo>
                      <a:pt x="909" y="103337"/>
                    </a:lnTo>
                    <a:lnTo>
                      <a:pt x="1667" y="105913"/>
                    </a:lnTo>
                    <a:lnTo>
                      <a:pt x="3940" y="108034"/>
                    </a:lnTo>
                    <a:lnTo>
                      <a:pt x="6364" y="108943"/>
                    </a:lnTo>
                    <a:lnTo>
                      <a:pt x="8485" y="109398"/>
                    </a:lnTo>
                    <a:lnTo>
                      <a:pt x="16213" y="110762"/>
                    </a:lnTo>
                    <a:lnTo>
                      <a:pt x="19395" y="112277"/>
                    </a:lnTo>
                    <a:lnTo>
                      <a:pt x="23637" y="116974"/>
                    </a:lnTo>
                    <a:lnTo>
                      <a:pt x="28789" y="121217"/>
                    </a:lnTo>
                    <a:lnTo>
                      <a:pt x="30152" y="123489"/>
                    </a:lnTo>
                    <a:lnTo>
                      <a:pt x="29850" y="125611"/>
                    </a:lnTo>
                    <a:lnTo>
                      <a:pt x="28334" y="128035"/>
                    </a:lnTo>
                    <a:lnTo>
                      <a:pt x="28638" y="129096"/>
                    </a:lnTo>
                    <a:lnTo>
                      <a:pt x="31062" y="131672"/>
                    </a:lnTo>
                    <a:lnTo>
                      <a:pt x="33789" y="134247"/>
                    </a:lnTo>
                    <a:lnTo>
                      <a:pt x="38941" y="137126"/>
                    </a:lnTo>
                    <a:lnTo>
                      <a:pt x="47729" y="141520"/>
                    </a:lnTo>
                    <a:lnTo>
                      <a:pt x="51669" y="144551"/>
                    </a:lnTo>
                    <a:lnTo>
                      <a:pt x="53184" y="146824"/>
                    </a:lnTo>
                    <a:lnTo>
                      <a:pt x="55305" y="149248"/>
                    </a:lnTo>
                    <a:lnTo>
                      <a:pt x="58487" y="151521"/>
                    </a:lnTo>
                    <a:lnTo>
                      <a:pt x="60608" y="153339"/>
                    </a:lnTo>
                    <a:lnTo>
                      <a:pt x="59245" y="158188"/>
                    </a:lnTo>
                    <a:lnTo>
                      <a:pt x="59548" y="159854"/>
                    </a:lnTo>
                    <a:lnTo>
                      <a:pt x="60457" y="161218"/>
                    </a:lnTo>
                    <a:lnTo>
                      <a:pt x="62275" y="163188"/>
                    </a:lnTo>
                    <a:lnTo>
                      <a:pt x="63033" y="165612"/>
                    </a:lnTo>
                    <a:lnTo>
                      <a:pt x="64851" y="168794"/>
                    </a:lnTo>
                    <a:lnTo>
                      <a:pt x="66972" y="170158"/>
                    </a:lnTo>
                    <a:lnTo>
                      <a:pt x="70609" y="170612"/>
                    </a:lnTo>
                    <a:lnTo>
                      <a:pt x="72579" y="172128"/>
                    </a:lnTo>
                    <a:lnTo>
                      <a:pt x="76518" y="174552"/>
                    </a:lnTo>
                    <a:lnTo>
                      <a:pt x="80306" y="176673"/>
                    </a:lnTo>
                    <a:lnTo>
                      <a:pt x="81973" y="178188"/>
                    </a:lnTo>
                    <a:lnTo>
                      <a:pt x="83034" y="179552"/>
                    </a:lnTo>
                    <a:lnTo>
                      <a:pt x="83943" y="181067"/>
                    </a:lnTo>
                    <a:lnTo>
                      <a:pt x="84397" y="182582"/>
                    </a:lnTo>
                    <a:lnTo>
                      <a:pt x="84397" y="185916"/>
                    </a:lnTo>
                    <a:lnTo>
                      <a:pt x="85155" y="190007"/>
                    </a:lnTo>
                    <a:lnTo>
                      <a:pt x="87124" y="192734"/>
                    </a:lnTo>
                    <a:lnTo>
                      <a:pt x="89094" y="194856"/>
                    </a:lnTo>
                    <a:lnTo>
                      <a:pt x="90155" y="196825"/>
                    </a:lnTo>
                    <a:lnTo>
                      <a:pt x="91519" y="198795"/>
                    </a:lnTo>
                    <a:lnTo>
                      <a:pt x="96216" y="202129"/>
                    </a:lnTo>
                    <a:lnTo>
                      <a:pt x="97731" y="203947"/>
                    </a:lnTo>
                    <a:lnTo>
                      <a:pt x="98943" y="205917"/>
                    </a:lnTo>
                    <a:lnTo>
                      <a:pt x="99701" y="207583"/>
                    </a:lnTo>
                    <a:lnTo>
                      <a:pt x="101065" y="208795"/>
                    </a:lnTo>
                    <a:lnTo>
                      <a:pt x="103186" y="209705"/>
                    </a:lnTo>
                    <a:lnTo>
                      <a:pt x="105004" y="210614"/>
                    </a:lnTo>
                    <a:lnTo>
                      <a:pt x="106065" y="212129"/>
                    </a:lnTo>
                    <a:lnTo>
                      <a:pt x="107580" y="213493"/>
                    </a:lnTo>
                    <a:lnTo>
                      <a:pt x="110762" y="215614"/>
                    </a:lnTo>
                    <a:lnTo>
                      <a:pt x="112277" y="215614"/>
                    </a:lnTo>
                    <a:lnTo>
                      <a:pt x="113943" y="215917"/>
                    </a:lnTo>
                    <a:lnTo>
                      <a:pt x="115459" y="216372"/>
                    </a:lnTo>
                    <a:lnTo>
                      <a:pt x="117126" y="216220"/>
                    </a:lnTo>
                    <a:lnTo>
                      <a:pt x="119853" y="215008"/>
                    </a:lnTo>
                    <a:lnTo>
                      <a:pt x="122884" y="212735"/>
                    </a:lnTo>
                    <a:lnTo>
                      <a:pt x="125308" y="211371"/>
                    </a:lnTo>
                    <a:lnTo>
                      <a:pt x="131217" y="211826"/>
                    </a:lnTo>
                    <a:lnTo>
                      <a:pt x="134399" y="213038"/>
                    </a:lnTo>
                    <a:lnTo>
                      <a:pt x="136975" y="214553"/>
                    </a:lnTo>
                    <a:lnTo>
                      <a:pt x="138945" y="214402"/>
                    </a:lnTo>
                    <a:lnTo>
                      <a:pt x="143339" y="211523"/>
                    </a:lnTo>
                    <a:lnTo>
                      <a:pt x="145612" y="208492"/>
                    </a:lnTo>
                    <a:lnTo>
                      <a:pt x="147884" y="207735"/>
                    </a:lnTo>
                    <a:lnTo>
                      <a:pt x="151369" y="209099"/>
                    </a:lnTo>
                    <a:lnTo>
                      <a:pt x="154097" y="211978"/>
                    </a:lnTo>
                    <a:lnTo>
                      <a:pt x="156672" y="216220"/>
                    </a:lnTo>
                    <a:lnTo>
                      <a:pt x="158339" y="217735"/>
                    </a:lnTo>
                    <a:lnTo>
                      <a:pt x="160764" y="220311"/>
                    </a:lnTo>
                    <a:lnTo>
                      <a:pt x="165461" y="225614"/>
                    </a:lnTo>
                    <a:lnTo>
                      <a:pt x="171673" y="228342"/>
                    </a:lnTo>
                    <a:lnTo>
                      <a:pt x="174097" y="229554"/>
                    </a:lnTo>
                    <a:lnTo>
                      <a:pt x="174855" y="230918"/>
                    </a:lnTo>
                    <a:lnTo>
                      <a:pt x="175310" y="232584"/>
                    </a:lnTo>
                    <a:lnTo>
                      <a:pt x="175461" y="234554"/>
                    </a:lnTo>
                    <a:lnTo>
                      <a:pt x="176219" y="235312"/>
                    </a:lnTo>
                    <a:lnTo>
                      <a:pt x="177885" y="235008"/>
                    </a:lnTo>
                    <a:lnTo>
                      <a:pt x="179401" y="234857"/>
                    </a:lnTo>
                    <a:lnTo>
                      <a:pt x="180916" y="235312"/>
                    </a:lnTo>
                    <a:lnTo>
                      <a:pt x="181977" y="236675"/>
                    </a:lnTo>
                    <a:lnTo>
                      <a:pt x="182582" y="237887"/>
                    </a:lnTo>
                    <a:lnTo>
                      <a:pt x="183189" y="238948"/>
                    </a:lnTo>
                    <a:lnTo>
                      <a:pt x="183946" y="237584"/>
                    </a:lnTo>
                    <a:lnTo>
                      <a:pt x="185613" y="235008"/>
                    </a:lnTo>
                    <a:lnTo>
                      <a:pt x="188795" y="232584"/>
                    </a:lnTo>
                    <a:lnTo>
                      <a:pt x="191674" y="230918"/>
                    </a:lnTo>
                    <a:lnTo>
                      <a:pt x="193644" y="230918"/>
                    </a:lnTo>
                    <a:lnTo>
                      <a:pt x="197280" y="232281"/>
                    </a:lnTo>
                    <a:lnTo>
                      <a:pt x="200613" y="233796"/>
                    </a:lnTo>
                    <a:lnTo>
                      <a:pt x="202583" y="233948"/>
                    </a:lnTo>
                    <a:lnTo>
                      <a:pt x="204705" y="233190"/>
                    </a:lnTo>
                    <a:lnTo>
                      <a:pt x="209402" y="230463"/>
                    </a:lnTo>
                    <a:lnTo>
                      <a:pt x="210463" y="231372"/>
                    </a:lnTo>
                    <a:lnTo>
                      <a:pt x="211826" y="233039"/>
                    </a:lnTo>
                    <a:lnTo>
                      <a:pt x="213342" y="235766"/>
                    </a:lnTo>
                    <a:lnTo>
                      <a:pt x="216220" y="237130"/>
                    </a:lnTo>
                    <a:lnTo>
                      <a:pt x="217584" y="237887"/>
                    </a:lnTo>
                    <a:lnTo>
                      <a:pt x="218644" y="238191"/>
                    </a:lnTo>
                    <a:lnTo>
                      <a:pt x="219251" y="237887"/>
                    </a:lnTo>
                    <a:lnTo>
                      <a:pt x="220311" y="235766"/>
                    </a:lnTo>
                    <a:lnTo>
                      <a:pt x="221675" y="234554"/>
                    </a:lnTo>
                    <a:lnTo>
                      <a:pt x="224099" y="233039"/>
                    </a:lnTo>
                    <a:lnTo>
                      <a:pt x="229554" y="231978"/>
                    </a:lnTo>
                    <a:lnTo>
                      <a:pt x="233494" y="231524"/>
                    </a:lnTo>
                    <a:lnTo>
                      <a:pt x="235009" y="231372"/>
                    </a:lnTo>
                    <a:lnTo>
                      <a:pt x="237888" y="230614"/>
                    </a:lnTo>
                    <a:lnTo>
                      <a:pt x="242130" y="228342"/>
                    </a:lnTo>
                    <a:lnTo>
                      <a:pt x="246524" y="231220"/>
                    </a:lnTo>
                    <a:lnTo>
                      <a:pt x="251070" y="231827"/>
                    </a:lnTo>
                    <a:lnTo>
                      <a:pt x="255615" y="231827"/>
                    </a:lnTo>
                    <a:lnTo>
                      <a:pt x="256979" y="230918"/>
                    </a:lnTo>
                    <a:lnTo>
                      <a:pt x="257888" y="230311"/>
                    </a:lnTo>
                    <a:lnTo>
                      <a:pt x="262586" y="225463"/>
                    </a:lnTo>
                    <a:lnTo>
                      <a:pt x="268949" y="219099"/>
                    </a:lnTo>
                    <a:lnTo>
                      <a:pt x="274404" y="213644"/>
                    </a:lnTo>
                    <a:lnTo>
                      <a:pt x="280011" y="208190"/>
                    </a:lnTo>
                    <a:lnTo>
                      <a:pt x="287132" y="201219"/>
                    </a:lnTo>
                    <a:lnTo>
                      <a:pt x="293647" y="194856"/>
                    </a:lnTo>
                    <a:lnTo>
                      <a:pt x="299254" y="189401"/>
                    </a:lnTo>
                    <a:lnTo>
                      <a:pt x="304254" y="18440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DB6BE895-B9F9-41B0-A031-96622EDD031F}"/>
                  </a:ext>
                </a:extLst>
              </p:cNvPr>
              <p:cNvSpPr/>
              <p:nvPr/>
            </p:nvSpPr>
            <p:spPr>
              <a:xfrm>
                <a:off x="4188808" y="4398957"/>
                <a:ext cx="111216" cy="113034"/>
              </a:xfrm>
              <a:custGeom>
                <a:avLst/>
                <a:gdLst>
                  <a:gd name="connsiteX0" fmla="*/ 110762 w 111216"/>
                  <a:gd name="connsiteY0" fmla="*/ 64699 h 113034"/>
                  <a:gd name="connsiteX1" fmla="*/ 110004 w 111216"/>
                  <a:gd name="connsiteY1" fmla="*/ 64396 h 113034"/>
                  <a:gd name="connsiteX2" fmla="*/ 108640 w 111216"/>
                  <a:gd name="connsiteY2" fmla="*/ 62426 h 113034"/>
                  <a:gd name="connsiteX3" fmla="*/ 107883 w 111216"/>
                  <a:gd name="connsiteY3" fmla="*/ 60608 h 113034"/>
                  <a:gd name="connsiteX4" fmla="*/ 105458 w 111216"/>
                  <a:gd name="connsiteY4" fmla="*/ 58790 h 113034"/>
                  <a:gd name="connsiteX5" fmla="*/ 103943 w 111216"/>
                  <a:gd name="connsiteY5" fmla="*/ 56972 h 113034"/>
                  <a:gd name="connsiteX6" fmla="*/ 101367 w 111216"/>
                  <a:gd name="connsiteY6" fmla="*/ 52881 h 113034"/>
                  <a:gd name="connsiteX7" fmla="*/ 101519 w 111216"/>
                  <a:gd name="connsiteY7" fmla="*/ 50608 h 113034"/>
                  <a:gd name="connsiteX8" fmla="*/ 100761 w 111216"/>
                  <a:gd name="connsiteY8" fmla="*/ 49699 h 113034"/>
                  <a:gd name="connsiteX9" fmla="*/ 100004 w 111216"/>
                  <a:gd name="connsiteY9" fmla="*/ 48790 h 113034"/>
                  <a:gd name="connsiteX10" fmla="*/ 100004 w 111216"/>
                  <a:gd name="connsiteY10" fmla="*/ 47729 h 113034"/>
                  <a:gd name="connsiteX11" fmla="*/ 99549 w 111216"/>
                  <a:gd name="connsiteY11" fmla="*/ 45153 h 113034"/>
                  <a:gd name="connsiteX12" fmla="*/ 98791 w 111216"/>
                  <a:gd name="connsiteY12" fmla="*/ 42729 h 113034"/>
                  <a:gd name="connsiteX13" fmla="*/ 98640 w 111216"/>
                  <a:gd name="connsiteY13" fmla="*/ 41214 h 113034"/>
                  <a:gd name="connsiteX14" fmla="*/ 99246 w 111216"/>
                  <a:gd name="connsiteY14" fmla="*/ 38486 h 113034"/>
                  <a:gd name="connsiteX15" fmla="*/ 98791 w 111216"/>
                  <a:gd name="connsiteY15" fmla="*/ 35456 h 113034"/>
                  <a:gd name="connsiteX16" fmla="*/ 98034 w 111216"/>
                  <a:gd name="connsiteY16" fmla="*/ 33940 h 113034"/>
                  <a:gd name="connsiteX17" fmla="*/ 97731 w 111216"/>
                  <a:gd name="connsiteY17" fmla="*/ 31516 h 113034"/>
                  <a:gd name="connsiteX18" fmla="*/ 97882 w 111216"/>
                  <a:gd name="connsiteY18" fmla="*/ 29395 h 113034"/>
                  <a:gd name="connsiteX19" fmla="*/ 98640 w 111216"/>
                  <a:gd name="connsiteY19" fmla="*/ 28183 h 113034"/>
                  <a:gd name="connsiteX20" fmla="*/ 98489 w 111216"/>
                  <a:gd name="connsiteY20" fmla="*/ 26819 h 113034"/>
                  <a:gd name="connsiteX21" fmla="*/ 101822 w 111216"/>
                  <a:gd name="connsiteY21" fmla="*/ 21970 h 113034"/>
                  <a:gd name="connsiteX22" fmla="*/ 104398 w 111216"/>
                  <a:gd name="connsiteY22" fmla="*/ 19243 h 113034"/>
                  <a:gd name="connsiteX23" fmla="*/ 106671 w 111216"/>
                  <a:gd name="connsiteY23" fmla="*/ 17273 h 113034"/>
                  <a:gd name="connsiteX24" fmla="*/ 108640 w 111216"/>
                  <a:gd name="connsiteY24" fmla="*/ 13485 h 113034"/>
                  <a:gd name="connsiteX25" fmla="*/ 109701 w 111216"/>
                  <a:gd name="connsiteY25" fmla="*/ 10455 h 113034"/>
                  <a:gd name="connsiteX26" fmla="*/ 109853 w 111216"/>
                  <a:gd name="connsiteY26" fmla="*/ 7424 h 113034"/>
                  <a:gd name="connsiteX27" fmla="*/ 109398 w 111216"/>
                  <a:gd name="connsiteY27" fmla="*/ 5152 h 113034"/>
                  <a:gd name="connsiteX28" fmla="*/ 106974 w 111216"/>
                  <a:gd name="connsiteY28" fmla="*/ 3788 h 113034"/>
                  <a:gd name="connsiteX29" fmla="*/ 101216 w 111216"/>
                  <a:gd name="connsiteY29" fmla="*/ 2273 h 113034"/>
                  <a:gd name="connsiteX30" fmla="*/ 88034 w 111216"/>
                  <a:gd name="connsiteY30" fmla="*/ 151 h 113034"/>
                  <a:gd name="connsiteX31" fmla="*/ 79548 w 111216"/>
                  <a:gd name="connsiteY31" fmla="*/ 0 h 113034"/>
                  <a:gd name="connsiteX32" fmla="*/ 73185 w 111216"/>
                  <a:gd name="connsiteY32" fmla="*/ 1212 h 113034"/>
                  <a:gd name="connsiteX33" fmla="*/ 65760 w 111216"/>
                  <a:gd name="connsiteY33" fmla="*/ 303 h 113034"/>
                  <a:gd name="connsiteX34" fmla="*/ 60911 w 111216"/>
                  <a:gd name="connsiteY34" fmla="*/ 909 h 113034"/>
                  <a:gd name="connsiteX35" fmla="*/ 58638 w 111216"/>
                  <a:gd name="connsiteY35" fmla="*/ 2727 h 113034"/>
                  <a:gd name="connsiteX36" fmla="*/ 59093 w 111216"/>
                  <a:gd name="connsiteY36" fmla="*/ 5455 h 113034"/>
                  <a:gd name="connsiteX37" fmla="*/ 58942 w 111216"/>
                  <a:gd name="connsiteY37" fmla="*/ 8031 h 113034"/>
                  <a:gd name="connsiteX38" fmla="*/ 57881 w 111216"/>
                  <a:gd name="connsiteY38" fmla="*/ 5455 h 113034"/>
                  <a:gd name="connsiteX39" fmla="*/ 49699 w 111216"/>
                  <a:gd name="connsiteY39" fmla="*/ 3030 h 113034"/>
                  <a:gd name="connsiteX40" fmla="*/ 43486 w 111216"/>
                  <a:gd name="connsiteY40" fmla="*/ 1515 h 113034"/>
                  <a:gd name="connsiteX41" fmla="*/ 29698 w 111216"/>
                  <a:gd name="connsiteY41" fmla="*/ 0 h 113034"/>
                  <a:gd name="connsiteX42" fmla="*/ 27274 w 111216"/>
                  <a:gd name="connsiteY42" fmla="*/ 1515 h 113034"/>
                  <a:gd name="connsiteX43" fmla="*/ 25910 w 111216"/>
                  <a:gd name="connsiteY43" fmla="*/ 4545 h 113034"/>
                  <a:gd name="connsiteX44" fmla="*/ 25152 w 111216"/>
                  <a:gd name="connsiteY44" fmla="*/ 6970 h 113034"/>
                  <a:gd name="connsiteX45" fmla="*/ 25001 w 111216"/>
                  <a:gd name="connsiteY45" fmla="*/ 9546 h 113034"/>
                  <a:gd name="connsiteX46" fmla="*/ 23789 w 111216"/>
                  <a:gd name="connsiteY46" fmla="*/ 12728 h 113034"/>
                  <a:gd name="connsiteX47" fmla="*/ 23486 w 111216"/>
                  <a:gd name="connsiteY47" fmla="*/ 12121 h 113034"/>
                  <a:gd name="connsiteX48" fmla="*/ 21970 w 111216"/>
                  <a:gd name="connsiteY48" fmla="*/ 13940 h 113034"/>
                  <a:gd name="connsiteX49" fmla="*/ 21819 w 111216"/>
                  <a:gd name="connsiteY49" fmla="*/ 15000 h 113034"/>
                  <a:gd name="connsiteX50" fmla="*/ 20758 w 111216"/>
                  <a:gd name="connsiteY50" fmla="*/ 16970 h 113034"/>
                  <a:gd name="connsiteX51" fmla="*/ 20152 w 111216"/>
                  <a:gd name="connsiteY51" fmla="*/ 18031 h 113034"/>
                  <a:gd name="connsiteX52" fmla="*/ 21213 w 111216"/>
                  <a:gd name="connsiteY52" fmla="*/ 20455 h 113034"/>
                  <a:gd name="connsiteX53" fmla="*/ 22425 w 111216"/>
                  <a:gd name="connsiteY53" fmla="*/ 20455 h 113034"/>
                  <a:gd name="connsiteX54" fmla="*/ 22880 w 111216"/>
                  <a:gd name="connsiteY54" fmla="*/ 20758 h 113034"/>
                  <a:gd name="connsiteX55" fmla="*/ 23183 w 111216"/>
                  <a:gd name="connsiteY55" fmla="*/ 21213 h 113034"/>
                  <a:gd name="connsiteX56" fmla="*/ 23031 w 111216"/>
                  <a:gd name="connsiteY56" fmla="*/ 21819 h 113034"/>
                  <a:gd name="connsiteX57" fmla="*/ 22576 w 111216"/>
                  <a:gd name="connsiteY57" fmla="*/ 22274 h 113034"/>
                  <a:gd name="connsiteX58" fmla="*/ 21516 w 111216"/>
                  <a:gd name="connsiteY58" fmla="*/ 22880 h 113034"/>
                  <a:gd name="connsiteX59" fmla="*/ 20304 w 111216"/>
                  <a:gd name="connsiteY59" fmla="*/ 24243 h 113034"/>
                  <a:gd name="connsiteX60" fmla="*/ 20455 w 111216"/>
                  <a:gd name="connsiteY60" fmla="*/ 25758 h 113034"/>
                  <a:gd name="connsiteX61" fmla="*/ 19698 w 111216"/>
                  <a:gd name="connsiteY61" fmla="*/ 26516 h 113034"/>
                  <a:gd name="connsiteX62" fmla="*/ 17576 w 111216"/>
                  <a:gd name="connsiteY62" fmla="*/ 26971 h 113034"/>
                  <a:gd name="connsiteX63" fmla="*/ 13182 w 111216"/>
                  <a:gd name="connsiteY63" fmla="*/ 26971 h 113034"/>
                  <a:gd name="connsiteX64" fmla="*/ 11061 w 111216"/>
                  <a:gd name="connsiteY64" fmla="*/ 27122 h 113034"/>
                  <a:gd name="connsiteX65" fmla="*/ 9394 w 111216"/>
                  <a:gd name="connsiteY65" fmla="*/ 27425 h 113034"/>
                  <a:gd name="connsiteX66" fmla="*/ 8182 w 111216"/>
                  <a:gd name="connsiteY66" fmla="*/ 28334 h 113034"/>
                  <a:gd name="connsiteX67" fmla="*/ 6818 w 111216"/>
                  <a:gd name="connsiteY67" fmla="*/ 29092 h 113034"/>
                  <a:gd name="connsiteX68" fmla="*/ 5758 w 111216"/>
                  <a:gd name="connsiteY68" fmla="*/ 29243 h 113034"/>
                  <a:gd name="connsiteX69" fmla="*/ 4697 w 111216"/>
                  <a:gd name="connsiteY69" fmla="*/ 30304 h 113034"/>
                  <a:gd name="connsiteX70" fmla="*/ 3788 w 111216"/>
                  <a:gd name="connsiteY70" fmla="*/ 31971 h 113034"/>
                  <a:gd name="connsiteX71" fmla="*/ 4091 w 111216"/>
                  <a:gd name="connsiteY71" fmla="*/ 33183 h 113034"/>
                  <a:gd name="connsiteX72" fmla="*/ 5000 w 111216"/>
                  <a:gd name="connsiteY72" fmla="*/ 34698 h 113034"/>
                  <a:gd name="connsiteX73" fmla="*/ 5606 w 111216"/>
                  <a:gd name="connsiteY73" fmla="*/ 36213 h 113034"/>
                  <a:gd name="connsiteX74" fmla="*/ 4849 w 111216"/>
                  <a:gd name="connsiteY74" fmla="*/ 38638 h 113034"/>
                  <a:gd name="connsiteX75" fmla="*/ 4091 w 111216"/>
                  <a:gd name="connsiteY75" fmla="*/ 40607 h 113034"/>
                  <a:gd name="connsiteX76" fmla="*/ 3485 w 111216"/>
                  <a:gd name="connsiteY76" fmla="*/ 41971 h 113034"/>
                  <a:gd name="connsiteX77" fmla="*/ 2879 w 111216"/>
                  <a:gd name="connsiteY77" fmla="*/ 44850 h 113034"/>
                  <a:gd name="connsiteX78" fmla="*/ 1212 w 111216"/>
                  <a:gd name="connsiteY78" fmla="*/ 47880 h 113034"/>
                  <a:gd name="connsiteX79" fmla="*/ 0 w 111216"/>
                  <a:gd name="connsiteY79" fmla="*/ 49699 h 113034"/>
                  <a:gd name="connsiteX80" fmla="*/ 0 w 111216"/>
                  <a:gd name="connsiteY80" fmla="*/ 51517 h 113034"/>
                  <a:gd name="connsiteX81" fmla="*/ 606 w 111216"/>
                  <a:gd name="connsiteY81" fmla="*/ 54244 h 113034"/>
                  <a:gd name="connsiteX82" fmla="*/ 3939 w 111216"/>
                  <a:gd name="connsiteY82" fmla="*/ 58184 h 113034"/>
                  <a:gd name="connsiteX83" fmla="*/ 5152 w 111216"/>
                  <a:gd name="connsiteY83" fmla="*/ 60154 h 113034"/>
                  <a:gd name="connsiteX84" fmla="*/ 6061 w 111216"/>
                  <a:gd name="connsiteY84" fmla="*/ 63184 h 113034"/>
                  <a:gd name="connsiteX85" fmla="*/ 9091 w 111216"/>
                  <a:gd name="connsiteY85" fmla="*/ 65608 h 113034"/>
                  <a:gd name="connsiteX86" fmla="*/ 11061 w 111216"/>
                  <a:gd name="connsiteY86" fmla="*/ 67427 h 113034"/>
                  <a:gd name="connsiteX87" fmla="*/ 10910 w 111216"/>
                  <a:gd name="connsiteY87" fmla="*/ 70002 h 113034"/>
                  <a:gd name="connsiteX88" fmla="*/ 11061 w 111216"/>
                  <a:gd name="connsiteY88" fmla="*/ 70760 h 113034"/>
                  <a:gd name="connsiteX89" fmla="*/ 12273 w 111216"/>
                  <a:gd name="connsiteY89" fmla="*/ 71518 h 113034"/>
                  <a:gd name="connsiteX90" fmla="*/ 13788 w 111216"/>
                  <a:gd name="connsiteY90" fmla="*/ 71972 h 113034"/>
                  <a:gd name="connsiteX91" fmla="*/ 15455 w 111216"/>
                  <a:gd name="connsiteY91" fmla="*/ 71972 h 113034"/>
                  <a:gd name="connsiteX92" fmla="*/ 16819 w 111216"/>
                  <a:gd name="connsiteY92" fmla="*/ 71669 h 113034"/>
                  <a:gd name="connsiteX93" fmla="*/ 17122 w 111216"/>
                  <a:gd name="connsiteY93" fmla="*/ 71366 h 113034"/>
                  <a:gd name="connsiteX94" fmla="*/ 20455 w 111216"/>
                  <a:gd name="connsiteY94" fmla="*/ 71366 h 113034"/>
                  <a:gd name="connsiteX95" fmla="*/ 20910 w 111216"/>
                  <a:gd name="connsiteY95" fmla="*/ 71972 h 113034"/>
                  <a:gd name="connsiteX96" fmla="*/ 21061 w 111216"/>
                  <a:gd name="connsiteY96" fmla="*/ 75609 h 113034"/>
                  <a:gd name="connsiteX97" fmla="*/ 21213 w 111216"/>
                  <a:gd name="connsiteY97" fmla="*/ 77124 h 113034"/>
                  <a:gd name="connsiteX98" fmla="*/ 21970 w 111216"/>
                  <a:gd name="connsiteY98" fmla="*/ 77730 h 113034"/>
                  <a:gd name="connsiteX99" fmla="*/ 22425 w 111216"/>
                  <a:gd name="connsiteY99" fmla="*/ 78639 h 113034"/>
                  <a:gd name="connsiteX100" fmla="*/ 22576 w 111216"/>
                  <a:gd name="connsiteY100" fmla="*/ 79397 h 113034"/>
                  <a:gd name="connsiteX101" fmla="*/ 22728 w 111216"/>
                  <a:gd name="connsiteY101" fmla="*/ 81518 h 113034"/>
                  <a:gd name="connsiteX102" fmla="*/ 23183 w 111216"/>
                  <a:gd name="connsiteY102" fmla="*/ 82579 h 113034"/>
                  <a:gd name="connsiteX103" fmla="*/ 23031 w 111216"/>
                  <a:gd name="connsiteY103" fmla="*/ 84700 h 113034"/>
                  <a:gd name="connsiteX104" fmla="*/ 23486 w 111216"/>
                  <a:gd name="connsiteY104" fmla="*/ 85609 h 113034"/>
                  <a:gd name="connsiteX105" fmla="*/ 24395 w 111216"/>
                  <a:gd name="connsiteY105" fmla="*/ 86064 h 113034"/>
                  <a:gd name="connsiteX106" fmla="*/ 25455 w 111216"/>
                  <a:gd name="connsiteY106" fmla="*/ 87730 h 113034"/>
                  <a:gd name="connsiteX107" fmla="*/ 25910 w 111216"/>
                  <a:gd name="connsiteY107" fmla="*/ 87882 h 113034"/>
                  <a:gd name="connsiteX108" fmla="*/ 26213 w 111216"/>
                  <a:gd name="connsiteY108" fmla="*/ 88488 h 113034"/>
                  <a:gd name="connsiteX109" fmla="*/ 27122 w 111216"/>
                  <a:gd name="connsiteY109" fmla="*/ 90609 h 113034"/>
                  <a:gd name="connsiteX110" fmla="*/ 27728 w 111216"/>
                  <a:gd name="connsiteY110" fmla="*/ 91367 h 113034"/>
                  <a:gd name="connsiteX111" fmla="*/ 28031 w 111216"/>
                  <a:gd name="connsiteY111" fmla="*/ 91367 h 113034"/>
                  <a:gd name="connsiteX112" fmla="*/ 28183 w 111216"/>
                  <a:gd name="connsiteY112" fmla="*/ 92124 h 113034"/>
                  <a:gd name="connsiteX113" fmla="*/ 28940 w 111216"/>
                  <a:gd name="connsiteY113" fmla="*/ 94246 h 113034"/>
                  <a:gd name="connsiteX114" fmla="*/ 29395 w 111216"/>
                  <a:gd name="connsiteY114" fmla="*/ 94852 h 113034"/>
                  <a:gd name="connsiteX115" fmla="*/ 30304 w 111216"/>
                  <a:gd name="connsiteY115" fmla="*/ 96367 h 113034"/>
                  <a:gd name="connsiteX116" fmla="*/ 30759 w 111216"/>
                  <a:gd name="connsiteY116" fmla="*/ 98034 h 113034"/>
                  <a:gd name="connsiteX117" fmla="*/ 31971 w 111216"/>
                  <a:gd name="connsiteY117" fmla="*/ 99852 h 113034"/>
                  <a:gd name="connsiteX118" fmla="*/ 33183 w 111216"/>
                  <a:gd name="connsiteY118" fmla="*/ 101216 h 113034"/>
                  <a:gd name="connsiteX119" fmla="*/ 33789 w 111216"/>
                  <a:gd name="connsiteY119" fmla="*/ 102579 h 113034"/>
                  <a:gd name="connsiteX120" fmla="*/ 35304 w 111216"/>
                  <a:gd name="connsiteY120" fmla="*/ 105610 h 113034"/>
                  <a:gd name="connsiteX121" fmla="*/ 36971 w 111216"/>
                  <a:gd name="connsiteY121" fmla="*/ 107731 h 113034"/>
                  <a:gd name="connsiteX122" fmla="*/ 39092 w 111216"/>
                  <a:gd name="connsiteY122" fmla="*/ 108337 h 113034"/>
                  <a:gd name="connsiteX123" fmla="*/ 40759 w 111216"/>
                  <a:gd name="connsiteY123" fmla="*/ 108640 h 113034"/>
                  <a:gd name="connsiteX124" fmla="*/ 41820 w 111216"/>
                  <a:gd name="connsiteY124" fmla="*/ 109398 h 113034"/>
                  <a:gd name="connsiteX125" fmla="*/ 43032 w 111216"/>
                  <a:gd name="connsiteY125" fmla="*/ 110307 h 113034"/>
                  <a:gd name="connsiteX126" fmla="*/ 43789 w 111216"/>
                  <a:gd name="connsiteY126" fmla="*/ 110610 h 113034"/>
                  <a:gd name="connsiteX127" fmla="*/ 45608 w 111216"/>
                  <a:gd name="connsiteY127" fmla="*/ 110762 h 113034"/>
                  <a:gd name="connsiteX128" fmla="*/ 50002 w 111216"/>
                  <a:gd name="connsiteY128" fmla="*/ 111822 h 113034"/>
                  <a:gd name="connsiteX129" fmla="*/ 55608 w 111216"/>
                  <a:gd name="connsiteY129" fmla="*/ 113034 h 113034"/>
                  <a:gd name="connsiteX130" fmla="*/ 57123 w 111216"/>
                  <a:gd name="connsiteY130" fmla="*/ 112580 h 113034"/>
                  <a:gd name="connsiteX131" fmla="*/ 58032 w 111216"/>
                  <a:gd name="connsiteY131" fmla="*/ 111822 h 113034"/>
                  <a:gd name="connsiteX132" fmla="*/ 58335 w 111216"/>
                  <a:gd name="connsiteY132" fmla="*/ 109398 h 113034"/>
                  <a:gd name="connsiteX133" fmla="*/ 58487 w 111216"/>
                  <a:gd name="connsiteY133" fmla="*/ 107731 h 113034"/>
                  <a:gd name="connsiteX134" fmla="*/ 57275 w 111216"/>
                  <a:gd name="connsiteY134" fmla="*/ 106216 h 113034"/>
                  <a:gd name="connsiteX135" fmla="*/ 55608 w 111216"/>
                  <a:gd name="connsiteY135" fmla="*/ 104398 h 113034"/>
                  <a:gd name="connsiteX136" fmla="*/ 54093 w 111216"/>
                  <a:gd name="connsiteY136" fmla="*/ 102276 h 113034"/>
                  <a:gd name="connsiteX137" fmla="*/ 52426 w 111216"/>
                  <a:gd name="connsiteY137" fmla="*/ 101670 h 113034"/>
                  <a:gd name="connsiteX138" fmla="*/ 52578 w 111216"/>
                  <a:gd name="connsiteY138" fmla="*/ 100610 h 113034"/>
                  <a:gd name="connsiteX139" fmla="*/ 53790 w 111216"/>
                  <a:gd name="connsiteY139" fmla="*/ 99549 h 113034"/>
                  <a:gd name="connsiteX140" fmla="*/ 55002 w 111216"/>
                  <a:gd name="connsiteY140" fmla="*/ 98791 h 113034"/>
                  <a:gd name="connsiteX141" fmla="*/ 55608 w 111216"/>
                  <a:gd name="connsiteY141" fmla="*/ 98034 h 113034"/>
                  <a:gd name="connsiteX142" fmla="*/ 56366 w 111216"/>
                  <a:gd name="connsiteY142" fmla="*/ 95155 h 113034"/>
                  <a:gd name="connsiteX143" fmla="*/ 56820 w 111216"/>
                  <a:gd name="connsiteY143" fmla="*/ 94700 h 113034"/>
                  <a:gd name="connsiteX144" fmla="*/ 57275 w 111216"/>
                  <a:gd name="connsiteY144" fmla="*/ 94549 h 113034"/>
                  <a:gd name="connsiteX145" fmla="*/ 57881 w 111216"/>
                  <a:gd name="connsiteY145" fmla="*/ 94700 h 113034"/>
                  <a:gd name="connsiteX146" fmla="*/ 59093 w 111216"/>
                  <a:gd name="connsiteY146" fmla="*/ 95458 h 113034"/>
                  <a:gd name="connsiteX147" fmla="*/ 63487 w 111216"/>
                  <a:gd name="connsiteY147" fmla="*/ 97731 h 113034"/>
                  <a:gd name="connsiteX148" fmla="*/ 65457 w 111216"/>
                  <a:gd name="connsiteY148" fmla="*/ 97428 h 113034"/>
                  <a:gd name="connsiteX149" fmla="*/ 73033 w 111216"/>
                  <a:gd name="connsiteY149" fmla="*/ 96822 h 113034"/>
                  <a:gd name="connsiteX150" fmla="*/ 74094 w 111216"/>
                  <a:gd name="connsiteY150" fmla="*/ 95458 h 113034"/>
                  <a:gd name="connsiteX151" fmla="*/ 75760 w 111216"/>
                  <a:gd name="connsiteY151" fmla="*/ 95155 h 113034"/>
                  <a:gd name="connsiteX152" fmla="*/ 78336 w 111216"/>
                  <a:gd name="connsiteY152" fmla="*/ 93791 h 113034"/>
                  <a:gd name="connsiteX153" fmla="*/ 79397 w 111216"/>
                  <a:gd name="connsiteY153" fmla="*/ 93791 h 113034"/>
                  <a:gd name="connsiteX154" fmla="*/ 80457 w 111216"/>
                  <a:gd name="connsiteY154" fmla="*/ 94094 h 113034"/>
                  <a:gd name="connsiteX155" fmla="*/ 81670 w 111216"/>
                  <a:gd name="connsiteY155" fmla="*/ 93791 h 113034"/>
                  <a:gd name="connsiteX156" fmla="*/ 83336 w 111216"/>
                  <a:gd name="connsiteY156" fmla="*/ 92579 h 113034"/>
                  <a:gd name="connsiteX157" fmla="*/ 84094 w 111216"/>
                  <a:gd name="connsiteY157" fmla="*/ 92427 h 113034"/>
                  <a:gd name="connsiteX158" fmla="*/ 84397 w 111216"/>
                  <a:gd name="connsiteY158" fmla="*/ 93791 h 113034"/>
                  <a:gd name="connsiteX159" fmla="*/ 85609 w 111216"/>
                  <a:gd name="connsiteY159" fmla="*/ 95155 h 113034"/>
                  <a:gd name="connsiteX160" fmla="*/ 86973 w 111216"/>
                  <a:gd name="connsiteY160" fmla="*/ 96519 h 113034"/>
                  <a:gd name="connsiteX161" fmla="*/ 87579 w 111216"/>
                  <a:gd name="connsiteY161" fmla="*/ 96822 h 113034"/>
                  <a:gd name="connsiteX162" fmla="*/ 89852 w 111216"/>
                  <a:gd name="connsiteY162" fmla="*/ 96367 h 113034"/>
                  <a:gd name="connsiteX163" fmla="*/ 91215 w 111216"/>
                  <a:gd name="connsiteY163" fmla="*/ 96670 h 113034"/>
                  <a:gd name="connsiteX164" fmla="*/ 91670 w 111216"/>
                  <a:gd name="connsiteY164" fmla="*/ 97882 h 113034"/>
                  <a:gd name="connsiteX165" fmla="*/ 91822 w 111216"/>
                  <a:gd name="connsiteY165" fmla="*/ 98943 h 113034"/>
                  <a:gd name="connsiteX166" fmla="*/ 92731 w 111216"/>
                  <a:gd name="connsiteY166" fmla="*/ 99852 h 113034"/>
                  <a:gd name="connsiteX167" fmla="*/ 94094 w 111216"/>
                  <a:gd name="connsiteY167" fmla="*/ 99852 h 113034"/>
                  <a:gd name="connsiteX168" fmla="*/ 94397 w 111216"/>
                  <a:gd name="connsiteY168" fmla="*/ 99549 h 113034"/>
                  <a:gd name="connsiteX169" fmla="*/ 95306 w 111216"/>
                  <a:gd name="connsiteY169" fmla="*/ 99398 h 113034"/>
                  <a:gd name="connsiteX170" fmla="*/ 96216 w 111216"/>
                  <a:gd name="connsiteY170" fmla="*/ 99398 h 113034"/>
                  <a:gd name="connsiteX171" fmla="*/ 97579 w 111216"/>
                  <a:gd name="connsiteY171" fmla="*/ 97428 h 113034"/>
                  <a:gd name="connsiteX172" fmla="*/ 99852 w 111216"/>
                  <a:gd name="connsiteY172" fmla="*/ 96215 h 113034"/>
                  <a:gd name="connsiteX173" fmla="*/ 103943 w 111216"/>
                  <a:gd name="connsiteY173" fmla="*/ 89397 h 113034"/>
                  <a:gd name="connsiteX174" fmla="*/ 105610 w 111216"/>
                  <a:gd name="connsiteY174" fmla="*/ 86518 h 113034"/>
                  <a:gd name="connsiteX175" fmla="*/ 105761 w 111216"/>
                  <a:gd name="connsiteY175" fmla="*/ 85003 h 113034"/>
                  <a:gd name="connsiteX176" fmla="*/ 106216 w 111216"/>
                  <a:gd name="connsiteY176" fmla="*/ 81670 h 113034"/>
                  <a:gd name="connsiteX177" fmla="*/ 105307 w 111216"/>
                  <a:gd name="connsiteY177" fmla="*/ 77730 h 113034"/>
                  <a:gd name="connsiteX178" fmla="*/ 105761 w 111216"/>
                  <a:gd name="connsiteY178" fmla="*/ 76669 h 113034"/>
                  <a:gd name="connsiteX179" fmla="*/ 109246 w 111216"/>
                  <a:gd name="connsiteY179" fmla="*/ 71972 h 113034"/>
                  <a:gd name="connsiteX180" fmla="*/ 110610 w 111216"/>
                  <a:gd name="connsiteY180" fmla="*/ 69396 h 113034"/>
                  <a:gd name="connsiteX181" fmla="*/ 110762 w 111216"/>
                  <a:gd name="connsiteY181" fmla="*/ 67124 h 113034"/>
                  <a:gd name="connsiteX182" fmla="*/ 111216 w 111216"/>
                  <a:gd name="connsiteY182" fmla="*/ 65457 h 11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11216" h="113034">
                    <a:moveTo>
                      <a:pt x="110762" y="64699"/>
                    </a:moveTo>
                    <a:lnTo>
                      <a:pt x="110004" y="64396"/>
                    </a:lnTo>
                    <a:lnTo>
                      <a:pt x="108640" y="62426"/>
                    </a:lnTo>
                    <a:lnTo>
                      <a:pt x="107883" y="60608"/>
                    </a:lnTo>
                    <a:lnTo>
                      <a:pt x="105458" y="58790"/>
                    </a:lnTo>
                    <a:lnTo>
                      <a:pt x="103943" y="56972"/>
                    </a:lnTo>
                    <a:lnTo>
                      <a:pt x="101367" y="52881"/>
                    </a:lnTo>
                    <a:lnTo>
                      <a:pt x="101519" y="50608"/>
                    </a:lnTo>
                    <a:lnTo>
                      <a:pt x="100761" y="49699"/>
                    </a:lnTo>
                    <a:lnTo>
                      <a:pt x="100004" y="48790"/>
                    </a:lnTo>
                    <a:lnTo>
                      <a:pt x="100004" y="47729"/>
                    </a:lnTo>
                    <a:lnTo>
                      <a:pt x="99549" y="45153"/>
                    </a:lnTo>
                    <a:lnTo>
                      <a:pt x="98791" y="42729"/>
                    </a:lnTo>
                    <a:lnTo>
                      <a:pt x="98640" y="41214"/>
                    </a:lnTo>
                    <a:lnTo>
                      <a:pt x="99246" y="38486"/>
                    </a:lnTo>
                    <a:lnTo>
                      <a:pt x="98791" y="35456"/>
                    </a:lnTo>
                    <a:lnTo>
                      <a:pt x="98034" y="33940"/>
                    </a:lnTo>
                    <a:lnTo>
                      <a:pt x="97731" y="31516"/>
                    </a:lnTo>
                    <a:lnTo>
                      <a:pt x="97882" y="29395"/>
                    </a:lnTo>
                    <a:lnTo>
                      <a:pt x="98640" y="28183"/>
                    </a:lnTo>
                    <a:lnTo>
                      <a:pt x="98489" y="26819"/>
                    </a:lnTo>
                    <a:lnTo>
                      <a:pt x="101822" y="21970"/>
                    </a:lnTo>
                    <a:lnTo>
                      <a:pt x="104398" y="19243"/>
                    </a:lnTo>
                    <a:lnTo>
                      <a:pt x="106671" y="17273"/>
                    </a:lnTo>
                    <a:lnTo>
                      <a:pt x="108640" y="13485"/>
                    </a:lnTo>
                    <a:lnTo>
                      <a:pt x="109701" y="10455"/>
                    </a:lnTo>
                    <a:lnTo>
                      <a:pt x="109853" y="7424"/>
                    </a:lnTo>
                    <a:lnTo>
                      <a:pt x="109398" y="5152"/>
                    </a:lnTo>
                    <a:lnTo>
                      <a:pt x="106974" y="3788"/>
                    </a:lnTo>
                    <a:lnTo>
                      <a:pt x="101216" y="2273"/>
                    </a:lnTo>
                    <a:lnTo>
                      <a:pt x="88034" y="151"/>
                    </a:lnTo>
                    <a:lnTo>
                      <a:pt x="79548" y="0"/>
                    </a:lnTo>
                    <a:lnTo>
                      <a:pt x="73185" y="1212"/>
                    </a:lnTo>
                    <a:lnTo>
                      <a:pt x="65760" y="303"/>
                    </a:lnTo>
                    <a:lnTo>
                      <a:pt x="60911" y="909"/>
                    </a:lnTo>
                    <a:lnTo>
                      <a:pt x="58638" y="2727"/>
                    </a:lnTo>
                    <a:lnTo>
                      <a:pt x="59093" y="5455"/>
                    </a:lnTo>
                    <a:lnTo>
                      <a:pt x="58942" y="8031"/>
                    </a:lnTo>
                    <a:lnTo>
                      <a:pt x="57881" y="5455"/>
                    </a:lnTo>
                    <a:lnTo>
                      <a:pt x="49699" y="3030"/>
                    </a:lnTo>
                    <a:lnTo>
                      <a:pt x="43486" y="1515"/>
                    </a:lnTo>
                    <a:lnTo>
                      <a:pt x="29698" y="0"/>
                    </a:lnTo>
                    <a:lnTo>
                      <a:pt x="27274" y="1515"/>
                    </a:lnTo>
                    <a:lnTo>
                      <a:pt x="25910" y="4545"/>
                    </a:lnTo>
                    <a:lnTo>
                      <a:pt x="25152" y="6970"/>
                    </a:lnTo>
                    <a:lnTo>
                      <a:pt x="25001" y="9546"/>
                    </a:lnTo>
                    <a:lnTo>
                      <a:pt x="23789" y="12728"/>
                    </a:lnTo>
                    <a:lnTo>
                      <a:pt x="23486" y="12121"/>
                    </a:lnTo>
                    <a:lnTo>
                      <a:pt x="21970" y="13940"/>
                    </a:lnTo>
                    <a:lnTo>
                      <a:pt x="21819" y="15000"/>
                    </a:lnTo>
                    <a:lnTo>
                      <a:pt x="20758" y="16970"/>
                    </a:lnTo>
                    <a:lnTo>
                      <a:pt x="20152" y="18031"/>
                    </a:lnTo>
                    <a:lnTo>
                      <a:pt x="21213" y="20455"/>
                    </a:lnTo>
                    <a:lnTo>
                      <a:pt x="22425" y="20455"/>
                    </a:lnTo>
                    <a:lnTo>
                      <a:pt x="22880" y="20758"/>
                    </a:lnTo>
                    <a:lnTo>
                      <a:pt x="23183" y="21213"/>
                    </a:lnTo>
                    <a:lnTo>
                      <a:pt x="23031" y="21819"/>
                    </a:lnTo>
                    <a:lnTo>
                      <a:pt x="22576" y="22274"/>
                    </a:lnTo>
                    <a:lnTo>
                      <a:pt x="21516" y="22880"/>
                    </a:lnTo>
                    <a:lnTo>
                      <a:pt x="20304" y="24243"/>
                    </a:lnTo>
                    <a:lnTo>
                      <a:pt x="20455" y="25758"/>
                    </a:lnTo>
                    <a:lnTo>
                      <a:pt x="19698" y="26516"/>
                    </a:lnTo>
                    <a:lnTo>
                      <a:pt x="17576" y="26971"/>
                    </a:lnTo>
                    <a:lnTo>
                      <a:pt x="13182" y="26971"/>
                    </a:lnTo>
                    <a:lnTo>
                      <a:pt x="11061" y="27122"/>
                    </a:lnTo>
                    <a:lnTo>
                      <a:pt x="9394" y="27425"/>
                    </a:lnTo>
                    <a:lnTo>
                      <a:pt x="8182" y="28334"/>
                    </a:lnTo>
                    <a:lnTo>
                      <a:pt x="6818" y="29092"/>
                    </a:lnTo>
                    <a:lnTo>
                      <a:pt x="5758" y="29243"/>
                    </a:lnTo>
                    <a:lnTo>
                      <a:pt x="4697" y="30304"/>
                    </a:lnTo>
                    <a:lnTo>
                      <a:pt x="3788" y="31971"/>
                    </a:lnTo>
                    <a:lnTo>
                      <a:pt x="4091" y="33183"/>
                    </a:lnTo>
                    <a:lnTo>
                      <a:pt x="5000" y="34698"/>
                    </a:lnTo>
                    <a:lnTo>
                      <a:pt x="5606" y="36213"/>
                    </a:lnTo>
                    <a:lnTo>
                      <a:pt x="4849" y="38638"/>
                    </a:lnTo>
                    <a:lnTo>
                      <a:pt x="4091" y="40607"/>
                    </a:lnTo>
                    <a:lnTo>
                      <a:pt x="3485" y="41971"/>
                    </a:lnTo>
                    <a:lnTo>
                      <a:pt x="2879" y="44850"/>
                    </a:lnTo>
                    <a:lnTo>
                      <a:pt x="1212" y="47880"/>
                    </a:lnTo>
                    <a:lnTo>
                      <a:pt x="0" y="49699"/>
                    </a:lnTo>
                    <a:lnTo>
                      <a:pt x="0" y="51517"/>
                    </a:lnTo>
                    <a:lnTo>
                      <a:pt x="606" y="54244"/>
                    </a:lnTo>
                    <a:lnTo>
                      <a:pt x="3939" y="58184"/>
                    </a:lnTo>
                    <a:lnTo>
                      <a:pt x="5152" y="60154"/>
                    </a:lnTo>
                    <a:lnTo>
                      <a:pt x="6061" y="63184"/>
                    </a:lnTo>
                    <a:lnTo>
                      <a:pt x="9091" y="65608"/>
                    </a:lnTo>
                    <a:lnTo>
                      <a:pt x="11061" y="67427"/>
                    </a:lnTo>
                    <a:lnTo>
                      <a:pt x="10910" y="70002"/>
                    </a:lnTo>
                    <a:lnTo>
                      <a:pt x="11061" y="70760"/>
                    </a:lnTo>
                    <a:lnTo>
                      <a:pt x="12273" y="71518"/>
                    </a:lnTo>
                    <a:lnTo>
                      <a:pt x="13788" y="71972"/>
                    </a:lnTo>
                    <a:lnTo>
                      <a:pt x="15455" y="71972"/>
                    </a:lnTo>
                    <a:lnTo>
                      <a:pt x="16819" y="71669"/>
                    </a:lnTo>
                    <a:lnTo>
                      <a:pt x="17122" y="71366"/>
                    </a:lnTo>
                    <a:lnTo>
                      <a:pt x="20455" y="71366"/>
                    </a:lnTo>
                    <a:lnTo>
                      <a:pt x="20910" y="71972"/>
                    </a:lnTo>
                    <a:lnTo>
                      <a:pt x="21061" y="75609"/>
                    </a:lnTo>
                    <a:lnTo>
                      <a:pt x="21213" y="77124"/>
                    </a:lnTo>
                    <a:lnTo>
                      <a:pt x="21970" y="77730"/>
                    </a:lnTo>
                    <a:lnTo>
                      <a:pt x="22425" y="78639"/>
                    </a:lnTo>
                    <a:lnTo>
                      <a:pt x="22576" y="79397"/>
                    </a:lnTo>
                    <a:lnTo>
                      <a:pt x="22728" y="81518"/>
                    </a:lnTo>
                    <a:lnTo>
                      <a:pt x="23183" y="82579"/>
                    </a:lnTo>
                    <a:lnTo>
                      <a:pt x="23031" y="84700"/>
                    </a:lnTo>
                    <a:lnTo>
                      <a:pt x="23486" y="85609"/>
                    </a:lnTo>
                    <a:lnTo>
                      <a:pt x="24395" y="86064"/>
                    </a:lnTo>
                    <a:lnTo>
                      <a:pt x="25455" y="87730"/>
                    </a:lnTo>
                    <a:lnTo>
                      <a:pt x="25910" y="87882"/>
                    </a:lnTo>
                    <a:lnTo>
                      <a:pt x="26213" y="88488"/>
                    </a:lnTo>
                    <a:lnTo>
                      <a:pt x="27122" y="90609"/>
                    </a:lnTo>
                    <a:lnTo>
                      <a:pt x="27728" y="91367"/>
                    </a:lnTo>
                    <a:lnTo>
                      <a:pt x="28031" y="91367"/>
                    </a:lnTo>
                    <a:lnTo>
                      <a:pt x="28183" y="92124"/>
                    </a:lnTo>
                    <a:lnTo>
                      <a:pt x="28940" y="94246"/>
                    </a:lnTo>
                    <a:lnTo>
                      <a:pt x="29395" y="94852"/>
                    </a:lnTo>
                    <a:lnTo>
                      <a:pt x="30304" y="96367"/>
                    </a:lnTo>
                    <a:lnTo>
                      <a:pt x="30759" y="98034"/>
                    </a:lnTo>
                    <a:lnTo>
                      <a:pt x="31971" y="99852"/>
                    </a:lnTo>
                    <a:lnTo>
                      <a:pt x="33183" y="101216"/>
                    </a:lnTo>
                    <a:lnTo>
                      <a:pt x="33789" y="102579"/>
                    </a:lnTo>
                    <a:lnTo>
                      <a:pt x="35304" y="105610"/>
                    </a:lnTo>
                    <a:lnTo>
                      <a:pt x="36971" y="107731"/>
                    </a:lnTo>
                    <a:lnTo>
                      <a:pt x="39092" y="108337"/>
                    </a:lnTo>
                    <a:lnTo>
                      <a:pt x="40759" y="108640"/>
                    </a:lnTo>
                    <a:lnTo>
                      <a:pt x="41820" y="109398"/>
                    </a:lnTo>
                    <a:lnTo>
                      <a:pt x="43032" y="110307"/>
                    </a:lnTo>
                    <a:lnTo>
                      <a:pt x="43789" y="110610"/>
                    </a:lnTo>
                    <a:lnTo>
                      <a:pt x="45608" y="110762"/>
                    </a:lnTo>
                    <a:lnTo>
                      <a:pt x="50002" y="111822"/>
                    </a:lnTo>
                    <a:lnTo>
                      <a:pt x="55608" y="113034"/>
                    </a:lnTo>
                    <a:lnTo>
                      <a:pt x="57123" y="112580"/>
                    </a:lnTo>
                    <a:lnTo>
                      <a:pt x="58032" y="111822"/>
                    </a:lnTo>
                    <a:lnTo>
                      <a:pt x="58335" y="109398"/>
                    </a:lnTo>
                    <a:lnTo>
                      <a:pt x="58487" y="107731"/>
                    </a:lnTo>
                    <a:lnTo>
                      <a:pt x="57275" y="106216"/>
                    </a:lnTo>
                    <a:lnTo>
                      <a:pt x="55608" y="104398"/>
                    </a:lnTo>
                    <a:lnTo>
                      <a:pt x="54093" y="102276"/>
                    </a:lnTo>
                    <a:lnTo>
                      <a:pt x="52426" y="101670"/>
                    </a:lnTo>
                    <a:lnTo>
                      <a:pt x="52578" y="100610"/>
                    </a:lnTo>
                    <a:lnTo>
                      <a:pt x="53790" y="99549"/>
                    </a:lnTo>
                    <a:lnTo>
                      <a:pt x="55002" y="98791"/>
                    </a:lnTo>
                    <a:lnTo>
                      <a:pt x="55608" y="98034"/>
                    </a:lnTo>
                    <a:lnTo>
                      <a:pt x="56366" y="95155"/>
                    </a:lnTo>
                    <a:lnTo>
                      <a:pt x="56820" y="94700"/>
                    </a:lnTo>
                    <a:lnTo>
                      <a:pt x="57275" y="94549"/>
                    </a:lnTo>
                    <a:lnTo>
                      <a:pt x="57881" y="94700"/>
                    </a:lnTo>
                    <a:lnTo>
                      <a:pt x="59093" y="95458"/>
                    </a:lnTo>
                    <a:lnTo>
                      <a:pt x="63487" y="97731"/>
                    </a:lnTo>
                    <a:lnTo>
                      <a:pt x="65457" y="97428"/>
                    </a:lnTo>
                    <a:lnTo>
                      <a:pt x="73033" y="96822"/>
                    </a:lnTo>
                    <a:lnTo>
                      <a:pt x="74094" y="95458"/>
                    </a:lnTo>
                    <a:lnTo>
                      <a:pt x="75760" y="95155"/>
                    </a:lnTo>
                    <a:lnTo>
                      <a:pt x="78336" y="93791"/>
                    </a:lnTo>
                    <a:lnTo>
                      <a:pt x="79397" y="93791"/>
                    </a:lnTo>
                    <a:lnTo>
                      <a:pt x="80457" y="94094"/>
                    </a:lnTo>
                    <a:lnTo>
                      <a:pt x="81670" y="93791"/>
                    </a:lnTo>
                    <a:lnTo>
                      <a:pt x="83336" y="92579"/>
                    </a:lnTo>
                    <a:lnTo>
                      <a:pt x="84094" y="92427"/>
                    </a:lnTo>
                    <a:lnTo>
                      <a:pt x="84397" y="93791"/>
                    </a:lnTo>
                    <a:lnTo>
                      <a:pt x="85609" y="95155"/>
                    </a:lnTo>
                    <a:lnTo>
                      <a:pt x="86973" y="96519"/>
                    </a:lnTo>
                    <a:lnTo>
                      <a:pt x="87579" y="96822"/>
                    </a:lnTo>
                    <a:lnTo>
                      <a:pt x="89852" y="96367"/>
                    </a:lnTo>
                    <a:lnTo>
                      <a:pt x="91215" y="96670"/>
                    </a:lnTo>
                    <a:lnTo>
                      <a:pt x="91670" y="97882"/>
                    </a:lnTo>
                    <a:lnTo>
                      <a:pt x="91822" y="98943"/>
                    </a:lnTo>
                    <a:lnTo>
                      <a:pt x="92731" y="99852"/>
                    </a:lnTo>
                    <a:lnTo>
                      <a:pt x="94094" y="99852"/>
                    </a:lnTo>
                    <a:lnTo>
                      <a:pt x="94397" y="99549"/>
                    </a:lnTo>
                    <a:lnTo>
                      <a:pt x="95306" y="99398"/>
                    </a:lnTo>
                    <a:lnTo>
                      <a:pt x="96216" y="99398"/>
                    </a:lnTo>
                    <a:lnTo>
                      <a:pt x="97579" y="97428"/>
                    </a:lnTo>
                    <a:lnTo>
                      <a:pt x="99852" y="96215"/>
                    </a:lnTo>
                    <a:lnTo>
                      <a:pt x="103943" y="89397"/>
                    </a:lnTo>
                    <a:lnTo>
                      <a:pt x="105610" y="86518"/>
                    </a:lnTo>
                    <a:lnTo>
                      <a:pt x="105761" y="85003"/>
                    </a:lnTo>
                    <a:lnTo>
                      <a:pt x="106216" y="81670"/>
                    </a:lnTo>
                    <a:lnTo>
                      <a:pt x="105307" y="77730"/>
                    </a:lnTo>
                    <a:lnTo>
                      <a:pt x="105761" y="76669"/>
                    </a:lnTo>
                    <a:lnTo>
                      <a:pt x="109246" y="71972"/>
                    </a:lnTo>
                    <a:lnTo>
                      <a:pt x="110610" y="69396"/>
                    </a:lnTo>
                    <a:lnTo>
                      <a:pt x="110762" y="67124"/>
                    </a:lnTo>
                    <a:lnTo>
                      <a:pt x="111216" y="6545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9B361B5-565B-4E4A-B2B4-912C3C9DE16C}"/>
                  </a:ext>
                </a:extLst>
              </p:cNvPr>
              <p:cNvSpPr/>
              <p:nvPr/>
            </p:nvSpPr>
            <p:spPr>
              <a:xfrm>
                <a:off x="6897999" y="4234860"/>
                <a:ext cx="285313" cy="373346"/>
              </a:xfrm>
              <a:custGeom>
                <a:avLst/>
                <a:gdLst>
                  <a:gd name="connsiteX0" fmla="*/ 284708 w 285313"/>
                  <a:gd name="connsiteY0" fmla="*/ 41517 h 373346"/>
                  <a:gd name="connsiteX1" fmla="*/ 282738 w 285313"/>
                  <a:gd name="connsiteY1" fmla="*/ 40759 h 373346"/>
                  <a:gd name="connsiteX2" fmla="*/ 279859 w 285313"/>
                  <a:gd name="connsiteY2" fmla="*/ 39244 h 373346"/>
                  <a:gd name="connsiteX3" fmla="*/ 279708 w 285313"/>
                  <a:gd name="connsiteY3" fmla="*/ 40001 h 373346"/>
                  <a:gd name="connsiteX4" fmla="*/ 279708 w 285313"/>
                  <a:gd name="connsiteY4" fmla="*/ 41365 h 373346"/>
                  <a:gd name="connsiteX5" fmla="*/ 276374 w 285313"/>
                  <a:gd name="connsiteY5" fmla="*/ 42577 h 373346"/>
                  <a:gd name="connsiteX6" fmla="*/ 275465 w 285313"/>
                  <a:gd name="connsiteY6" fmla="*/ 42274 h 373346"/>
                  <a:gd name="connsiteX7" fmla="*/ 275920 w 285313"/>
                  <a:gd name="connsiteY7" fmla="*/ 41517 h 373346"/>
                  <a:gd name="connsiteX8" fmla="*/ 277132 w 285313"/>
                  <a:gd name="connsiteY8" fmla="*/ 41062 h 373346"/>
                  <a:gd name="connsiteX9" fmla="*/ 277435 w 285313"/>
                  <a:gd name="connsiteY9" fmla="*/ 39850 h 373346"/>
                  <a:gd name="connsiteX10" fmla="*/ 278192 w 285313"/>
                  <a:gd name="connsiteY10" fmla="*/ 38183 h 373346"/>
                  <a:gd name="connsiteX11" fmla="*/ 278495 w 285313"/>
                  <a:gd name="connsiteY11" fmla="*/ 36516 h 373346"/>
                  <a:gd name="connsiteX12" fmla="*/ 277889 w 285313"/>
                  <a:gd name="connsiteY12" fmla="*/ 25001 h 373346"/>
                  <a:gd name="connsiteX13" fmla="*/ 276829 w 285313"/>
                  <a:gd name="connsiteY13" fmla="*/ 17879 h 373346"/>
                  <a:gd name="connsiteX14" fmla="*/ 278344 w 285313"/>
                  <a:gd name="connsiteY14" fmla="*/ 13182 h 373346"/>
                  <a:gd name="connsiteX15" fmla="*/ 280617 w 285313"/>
                  <a:gd name="connsiteY15" fmla="*/ 8940 h 373346"/>
                  <a:gd name="connsiteX16" fmla="*/ 280920 w 285313"/>
                  <a:gd name="connsiteY16" fmla="*/ 6515 h 373346"/>
                  <a:gd name="connsiteX17" fmla="*/ 281526 w 285313"/>
                  <a:gd name="connsiteY17" fmla="*/ 4243 h 373346"/>
                  <a:gd name="connsiteX18" fmla="*/ 279859 w 285313"/>
                  <a:gd name="connsiteY18" fmla="*/ 3788 h 373346"/>
                  <a:gd name="connsiteX19" fmla="*/ 268949 w 285313"/>
                  <a:gd name="connsiteY19" fmla="*/ 0 h 373346"/>
                  <a:gd name="connsiteX20" fmla="*/ 264556 w 285313"/>
                  <a:gd name="connsiteY20" fmla="*/ 1061 h 373346"/>
                  <a:gd name="connsiteX21" fmla="*/ 261677 w 285313"/>
                  <a:gd name="connsiteY21" fmla="*/ 4394 h 373346"/>
                  <a:gd name="connsiteX22" fmla="*/ 260010 w 285313"/>
                  <a:gd name="connsiteY22" fmla="*/ 6970 h 373346"/>
                  <a:gd name="connsiteX23" fmla="*/ 250313 w 285313"/>
                  <a:gd name="connsiteY23" fmla="*/ 12425 h 373346"/>
                  <a:gd name="connsiteX24" fmla="*/ 237433 w 285313"/>
                  <a:gd name="connsiteY24" fmla="*/ 14698 h 373346"/>
                  <a:gd name="connsiteX25" fmla="*/ 230463 w 285313"/>
                  <a:gd name="connsiteY25" fmla="*/ 17576 h 373346"/>
                  <a:gd name="connsiteX26" fmla="*/ 221523 w 285313"/>
                  <a:gd name="connsiteY26" fmla="*/ 19546 h 373346"/>
                  <a:gd name="connsiteX27" fmla="*/ 218190 w 285313"/>
                  <a:gd name="connsiteY27" fmla="*/ 20001 h 373346"/>
                  <a:gd name="connsiteX28" fmla="*/ 217281 w 285313"/>
                  <a:gd name="connsiteY28" fmla="*/ 20001 h 373346"/>
                  <a:gd name="connsiteX29" fmla="*/ 210917 w 285313"/>
                  <a:gd name="connsiteY29" fmla="*/ 18182 h 373346"/>
                  <a:gd name="connsiteX30" fmla="*/ 208190 w 285313"/>
                  <a:gd name="connsiteY30" fmla="*/ 18182 h 373346"/>
                  <a:gd name="connsiteX31" fmla="*/ 204553 w 285313"/>
                  <a:gd name="connsiteY31" fmla="*/ 19092 h 373346"/>
                  <a:gd name="connsiteX32" fmla="*/ 193038 w 285313"/>
                  <a:gd name="connsiteY32" fmla="*/ 23183 h 373346"/>
                  <a:gd name="connsiteX33" fmla="*/ 184704 w 285313"/>
                  <a:gd name="connsiteY33" fmla="*/ 23940 h 373346"/>
                  <a:gd name="connsiteX34" fmla="*/ 178037 w 285313"/>
                  <a:gd name="connsiteY34" fmla="*/ 22274 h 373346"/>
                  <a:gd name="connsiteX35" fmla="*/ 176219 w 285313"/>
                  <a:gd name="connsiteY35" fmla="*/ 22274 h 373346"/>
                  <a:gd name="connsiteX36" fmla="*/ 171370 w 285313"/>
                  <a:gd name="connsiteY36" fmla="*/ 24243 h 373346"/>
                  <a:gd name="connsiteX37" fmla="*/ 164400 w 285313"/>
                  <a:gd name="connsiteY37" fmla="*/ 29092 h 373346"/>
                  <a:gd name="connsiteX38" fmla="*/ 153188 w 285313"/>
                  <a:gd name="connsiteY38" fmla="*/ 34092 h 373346"/>
                  <a:gd name="connsiteX39" fmla="*/ 150309 w 285313"/>
                  <a:gd name="connsiteY39" fmla="*/ 34395 h 373346"/>
                  <a:gd name="connsiteX40" fmla="*/ 144703 w 285313"/>
                  <a:gd name="connsiteY40" fmla="*/ 33031 h 373346"/>
                  <a:gd name="connsiteX41" fmla="*/ 138490 w 285313"/>
                  <a:gd name="connsiteY41" fmla="*/ 32728 h 373346"/>
                  <a:gd name="connsiteX42" fmla="*/ 132732 w 285313"/>
                  <a:gd name="connsiteY42" fmla="*/ 31516 h 373346"/>
                  <a:gd name="connsiteX43" fmla="*/ 129399 w 285313"/>
                  <a:gd name="connsiteY43" fmla="*/ 32425 h 373346"/>
                  <a:gd name="connsiteX44" fmla="*/ 119701 w 285313"/>
                  <a:gd name="connsiteY44" fmla="*/ 36668 h 373346"/>
                  <a:gd name="connsiteX45" fmla="*/ 108792 w 285313"/>
                  <a:gd name="connsiteY45" fmla="*/ 42577 h 373346"/>
                  <a:gd name="connsiteX46" fmla="*/ 93640 w 285313"/>
                  <a:gd name="connsiteY46" fmla="*/ 42729 h 373346"/>
                  <a:gd name="connsiteX47" fmla="*/ 90761 w 285313"/>
                  <a:gd name="connsiteY47" fmla="*/ 41517 h 373346"/>
                  <a:gd name="connsiteX48" fmla="*/ 87428 w 285313"/>
                  <a:gd name="connsiteY48" fmla="*/ 39395 h 373346"/>
                  <a:gd name="connsiteX49" fmla="*/ 79094 w 285313"/>
                  <a:gd name="connsiteY49" fmla="*/ 33031 h 373346"/>
                  <a:gd name="connsiteX50" fmla="*/ 73033 w 285313"/>
                  <a:gd name="connsiteY50" fmla="*/ 26062 h 373346"/>
                  <a:gd name="connsiteX51" fmla="*/ 67730 w 285313"/>
                  <a:gd name="connsiteY51" fmla="*/ 17576 h 373346"/>
                  <a:gd name="connsiteX52" fmla="*/ 62426 w 285313"/>
                  <a:gd name="connsiteY52" fmla="*/ 13334 h 373346"/>
                  <a:gd name="connsiteX53" fmla="*/ 60003 w 285313"/>
                  <a:gd name="connsiteY53" fmla="*/ 16970 h 373346"/>
                  <a:gd name="connsiteX54" fmla="*/ 56972 w 285313"/>
                  <a:gd name="connsiteY54" fmla="*/ 21667 h 373346"/>
                  <a:gd name="connsiteX55" fmla="*/ 53638 w 285313"/>
                  <a:gd name="connsiteY55" fmla="*/ 27122 h 373346"/>
                  <a:gd name="connsiteX56" fmla="*/ 53184 w 285313"/>
                  <a:gd name="connsiteY56" fmla="*/ 28183 h 373346"/>
                  <a:gd name="connsiteX57" fmla="*/ 51972 w 285313"/>
                  <a:gd name="connsiteY57" fmla="*/ 29698 h 373346"/>
                  <a:gd name="connsiteX58" fmla="*/ 50457 w 285313"/>
                  <a:gd name="connsiteY58" fmla="*/ 31213 h 373346"/>
                  <a:gd name="connsiteX59" fmla="*/ 49244 w 285313"/>
                  <a:gd name="connsiteY59" fmla="*/ 32880 h 373346"/>
                  <a:gd name="connsiteX60" fmla="*/ 46365 w 285313"/>
                  <a:gd name="connsiteY60" fmla="*/ 37426 h 373346"/>
                  <a:gd name="connsiteX61" fmla="*/ 46365 w 285313"/>
                  <a:gd name="connsiteY61" fmla="*/ 38032 h 373346"/>
                  <a:gd name="connsiteX62" fmla="*/ 46669 w 285313"/>
                  <a:gd name="connsiteY62" fmla="*/ 38941 h 373346"/>
                  <a:gd name="connsiteX63" fmla="*/ 48183 w 285313"/>
                  <a:gd name="connsiteY63" fmla="*/ 41062 h 373346"/>
                  <a:gd name="connsiteX64" fmla="*/ 49850 w 285313"/>
                  <a:gd name="connsiteY64" fmla="*/ 44395 h 373346"/>
                  <a:gd name="connsiteX65" fmla="*/ 50608 w 285313"/>
                  <a:gd name="connsiteY65" fmla="*/ 47426 h 373346"/>
                  <a:gd name="connsiteX66" fmla="*/ 51366 w 285313"/>
                  <a:gd name="connsiteY66" fmla="*/ 48941 h 373346"/>
                  <a:gd name="connsiteX67" fmla="*/ 53336 w 285313"/>
                  <a:gd name="connsiteY67" fmla="*/ 50608 h 373346"/>
                  <a:gd name="connsiteX68" fmla="*/ 56063 w 285313"/>
                  <a:gd name="connsiteY68" fmla="*/ 54244 h 373346"/>
                  <a:gd name="connsiteX69" fmla="*/ 57578 w 285313"/>
                  <a:gd name="connsiteY69" fmla="*/ 56517 h 373346"/>
                  <a:gd name="connsiteX70" fmla="*/ 60608 w 285313"/>
                  <a:gd name="connsiteY70" fmla="*/ 57881 h 373346"/>
                  <a:gd name="connsiteX71" fmla="*/ 61669 w 285313"/>
                  <a:gd name="connsiteY71" fmla="*/ 60760 h 373346"/>
                  <a:gd name="connsiteX72" fmla="*/ 63942 w 285313"/>
                  <a:gd name="connsiteY72" fmla="*/ 65305 h 373346"/>
                  <a:gd name="connsiteX73" fmla="*/ 66518 w 285313"/>
                  <a:gd name="connsiteY73" fmla="*/ 68790 h 373346"/>
                  <a:gd name="connsiteX74" fmla="*/ 68942 w 285313"/>
                  <a:gd name="connsiteY74" fmla="*/ 71518 h 373346"/>
                  <a:gd name="connsiteX75" fmla="*/ 71669 w 285313"/>
                  <a:gd name="connsiteY75" fmla="*/ 72578 h 373346"/>
                  <a:gd name="connsiteX76" fmla="*/ 72730 w 285313"/>
                  <a:gd name="connsiteY76" fmla="*/ 72730 h 373346"/>
                  <a:gd name="connsiteX77" fmla="*/ 78336 w 285313"/>
                  <a:gd name="connsiteY77" fmla="*/ 77882 h 373346"/>
                  <a:gd name="connsiteX78" fmla="*/ 82579 w 285313"/>
                  <a:gd name="connsiteY78" fmla="*/ 81670 h 373346"/>
                  <a:gd name="connsiteX79" fmla="*/ 83640 w 285313"/>
                  <a:gd name="connsiteY79" fmla="*/ 82276 h 373346"/>
                  <a:gd name="connsiteX80" fmla="*/ 91367 w 285313"/>
                  <a:gd name="connsiteY80" fmla="*/ 84851 h 373346"/>
                  <a:gd name="connsiteX81" fmla="*/ 100307 w 285313"/>
                  <a:gd name="connsiteY81" fmla="*/ 87882 h 373346"/>
                  <a:gd name="connsiteX82" fmla="*/ 107580 w 285313"/>
                  <a:gd name="connsiteY82" fmla="*/ 90155 h 373346"/>
                  <a:gd name="connsiteX83" fmla="*/ 116671 w 285313"/>
                  <a:gd name="connsiteY83" fmla="*/ 93185 h 373346"/>
                  <a:gd name="connsiteX84" fmla="*/ 125611 w 285313"/>
                  <a:gd name="connsiteY84" fmla="*/ 96064 h 373346"/>
                  <a:gd name="connsiteX85" fmla="*/ 134096 w 285313"/>
                  <a:gd name="connsiteY85" fmla="*/ 98943 h 373346"/>
                  <a:gd name="connsiteX86" fmla="*/ 145915 w 285313"/>
                  <a:gd name="connsiteY86" fmla="*/ 102882 h 373346"/>
                  <a:gd name="connsiteX87" fmla="*/ 155460 w 285313"/>
                  <a:gd name="connsiteY87" fmla="*/ 106064 h 373346"/>
                  <a:gd name="connsiteX88" fmla="*/ 162885 w 285313"/>
                  <a:gd name="connsiteY88" fmla="*/ 108640 h 373346"/>
                  <a:gd name="connsiteX89" fmla="*/ 164552 w 285313"/>
                  <a:gd name="connsiteY89" fmla="*/ 109398 h 373346"/>
                  <a:gd name="connsiteX90" fmla="*/ 173491 w 285313"/>
                  <a:gd name="connsiteY90" fmla="*/ 109398 h 373346"/>
                  <a:gd name="connsiteX91" fmla="*/ 182583 w 285313"/>
                  <a:gd name="connsiteY91" fmla="*/ 109398 h 373346"/>
                  <a:gd name="connsiteX92" fmla="*/ 191977 w 285313"/>
                  <a:gd name="connsiteY92" fmla="*/ 109398 h 373346"/>
                  <a:gd name="connsiteX93" fmla="*/ 185158 w 285313"/>
                  <a:gd name="connsiteY93" fmla="*/ 115913 h 373346"/>
                  <a:gd name="connsiteX94" fmla="*/ 177582 w 285313"/>
                  <a:gd name="connsiteY94" fmla="*/ 123186 h 373346"/>
                  <a:gd name="connsiteX95" fmla="*/ 169552 w 285313"/>
                  <a:gd name="connsiteY95" fmla="*/ 130914 h 373346"/>
                  <a:gd name="connsiteX96" fmla="*/ 164400 w 285313"/>
                  <a:gd name="connsiteY96" fmla="*/ 135914 h 373346"/>
                  <a:gd name="connsiteX97" fmla="*/ 156218 w 285313"/>
                  <a:gd name="connsiteY97" fmla="*/ 143793 h 373346"/>
                  <a:gd name="connsiteX98" fmla="*/ 149400 w 285313"/>
                  <a:gd name="connsiteY98" fmla="*/ 150308 h 373346"/>
                  <a:gd name="connsiteX99" fmla="*/ 142278 w 285313"/>
                  <a:gd name="connsiteY99" fmla="*/ 157581 h 373346"/>
                  <a:gd name="connsiteX100" fmla="*/ 136066 w 285313"/>
                  <a:gd name="connsiteY100" fmla="*/ 164097 h 373346"/>
                  <a:gd name="connsiteX101" fmla="*/ 127732 w 285313"/>
                  <a:gd name="connsiteY101" fmla="*/ 173037 h 373346"/>
                  <a:gd name="connsiteX102" fmla="*/ 122429 w 285313"/>
                  <a:gd name="connsiteY102" fmla="*/ 178794 h 373346"/>
                  <a:gd name="connsiteX103" fmla="*/ 114095 w 285313"/>
                  <a:gd name="connsiteY103" fmla="*/ 187886 h 373346"/>
                  <a:gd name="connsiteX104" fmla="*/ 108792 w 285313"/>
                  <a:gd name="connsiteY104" fmla="*/ 193643 h 373346"/>
                  <a:gd name="connsiteX105" fmla="*/ 108034 w 285313"/>
                  <a:gd name="connsiteY105" fmla="*/ 193947 h 373346"/>
                  <a:gd name="connsiteX106" fmla="*/ 100458 w 285313"/>
                  <a:gd name="connsiteY106" fmla="*/ 193492 h 373346"/>
                  <a:gd name="connsiteX107" fmla="*/ 93185 w 285313"/>
                  <a:gd name="connsiteY107" fmla="*/ 193037 h 373346"/>
                  <a:gd name="connsiteX108" fmla="*/ 83791 w 285313"/>
                  <a:gd name="connsiteY108" fmla="*/ 192583 h 373346"/>
                  <a:gd name="connsiteX109" fmla="*/ 82731 w 285313"/>
                  <a:gd name="connsiteY109" fmla="*/ 192583 h 373346"/>
                  <a:gd name="connsiteX110" fmla="*/ 80003 w 285313"/>
                  <a:gd name="connsiteY110" fmla="*/ 193037 h 373346"/>
                  <a:gd name="connsiteX111" fmla="*/ 78336 w 285313"/>
                  <a:gd name="connsiteY111" fmla="*/ 193643 h 373346"/>
                  <a:gd name="connsiteX112" fmla="*/ 71669 w 285313"/>
                  <a:gd name="connsiteY112" fmla="*/ 195158 h 373346"/>
                  <a:gd name="connsiteX113" fmla="*/ 70457 w 285313"/>
                  <a:gd name="connsiteY113" fmla="*/ 195613 h 373346"/>
                  <a:gd name="connsiteX114" fmla="*/ 64851 w 285313"/>
                  <a:gd name="connsiteY114" fmla="*/ 198037 h 373346"/>
                  <a:gd name="connsiteX115" fmla="*/ 59093 w 285313"/>
                  <a:gd name="connsiteY115" fmla="*/ 200916 h 373346"/>
                  <a:gd name="connsiteX116" fmla="*/ 56215 w 285313"/>
                  <a:gd name="connsiteY116" fmla="*/ 203038 h 373346"/>
                  <a:gd name="connsiteX117" fmla="*/ 53790 w 285313"/>
                  <a:gd name="connsiteY117" fmla="*/ 206371 h 373346"/>
                  <a:gd name="connsiteX118" fmla="*/ 52881 w 285313"/>
                  <a:gd name="connsiteY118" fmla="*/ 208644 h 373346"/>
                  <a:gd name="connsiteX119" fmla="*/ 51820 w 285313"/>
                  <a:gd name="connsiteY119" fmla="*/ 209553 h 373346"/>
                  <a:gd name="connsiteX120" fmla="*/ 50002 w 285313"/>
                  <a:gd name="connsiteY120" fmla="*/ 210462 h 373346"/>
                  <a:gd name="connsiteX121" fmla="*/ 38032 w 285313"/>
                  <a:gd name="connsiteY121" fmla="*/ 212735 h 373346"/>
                  <a:gd name="connsiteX122" fmla="*/ 34547 w 285313"/>
                  <a:gd name="connsiteY122" fmla="*/ 212887 h 373346"/>
                  <a:gd name="connsiteX123" fmla="*/ 28941 w 285313"/>
                  <a:gd name="connsiteY123" fmla="*/ 214705 h 373346"/>
                  <a:gd name="connsiteX124" fmla="*/ 26062 w 285313"/>
                  <a:gd name="connsiteY124" fmla="*/ 217584 h 373346"/>
                  <a:gd name="connsiteX125" fmla="*/ 25153 w 285313"/>
                  <a:gd name="connsiteY125" fmla="*/ 219099 h 373346"/>
                  <a:gd name="connsiteX126" fmla="*/ 21819 w 285313"/>
                  <a:gd name="connsiteY126" fmla="*/ 223796 h 373346"/>
                  <a:gd name="connsiteX127" fmla="*/ 17728 w 285313"/>
                  <a:gd name="connsiteY127" fmla="*/ 229554 h 373346"/>
                  <a:gd name="connsiteX128" fmla="*/ 10303 w 285313"/>
                  <a:gd name="connsiteY128" fmla="*/ 240160 h 373346"/>
                  <a:gd name="connsiteX129" fmla="*/ 4697 w 285313"/>
                  <a:gd name="connsiteY129" fmla="*/ 245767 h 373346"/>
                  <a:gd name="connsiteX130" fmla="*/ 455 w 285313"/>
                  <a:gd name="connsiteY130" fmla="*/ 250009 h 373346"/>
                  <a:gd name="connsiteX131" fmla="*/ 0 w 285313"/>
                  <a:gd name="connsiteY131" fmla="*/ 250767 h 373346"/>
                  <a:gd name="connsiteX132" fmla="*/ 0 w 285313"/>
                  <a:gd name="connsiteY132" fmla="*/ 255312 h 373346"/>
                  <a:gd name="connsiteX133" fmla="*/ 0 w 285313"/>
                  <a:gd name="connsiteY133" fmla="*/ 266828 h 373346"/>
                  <a:gd name="connsiteX134" fmla="*/ 152 w 285313"/>
                  <a:gd name="connsiteY134" fmla="*/ 289707 h 373346"/>
                  <a:gd name="connsiteX135" fmla="*/ 303 w 285313"/>
                  <a:gd name="connsiteY135" fmla="*/ 312587 h 373346"/>
                  <a:gd name="connsiteX136" fmla="*/ 303 w 285313"/>
                  <a:gd name="connsiteY136" fmla="*/ 335618 h 373346"/>
                  <a:gd name="connsiteX137" fmla="*/ 455 w 285313"/>
                  <a:gd name="connsiteY137" fmla="*/ 346982 h 373346"/>
                  <a:gd name="connsiteX138" fmla="*/ 455 w 285313"/>
                  <a:gd name="connsiteY138" fmla="*/ 350922 h 373346"/>
                  <a:gd name="connsiteX139" fmla="*/ 4091 w 285313"/>
                  <a:gd name="connsiteY139" fmla="*/ 355619 h 373346"/>
                  <a:gd name="connsiteX140" fmla="*/ 7879 w 285313"/>
                  <a:gd name="connsiteY140" fmla="*/ 360316 h 373346"/>
                  <a:gd name="connsiteX141" fmla="*/ 12728 w 285313"/>
                  <a:gd name="connsiteY141" fmla="*/ 366680 h 373346"/>
                  <a:gd name="connsiteX142" fmla="*/ 15304 w 285313"/>
                  <a:gd name="connsiteY142" fmla="*/ 370013 h 373346"/>
                  <a:gd name="connsiteX143" fmla="*/ 15758 w 285313"/>
                  <a:gd name="connsiteY143" fmla="*/ 371074 h 373346"/>
                  <a:gd name="connsiteX144" fmla="*/ 15607 w 285313"/>
                  <a:gd name="connsiteY144" fmla="*/ 373347 h 373346"/>
                  <a:gd name="connsiteX145" fmla="*/ 18334 w 285313"/>
                  <a:gd name="connsiteY145" fmla="*/ 370165 h 373346"/>
                  <a:gd name="connsiteX146" fmla="*/ 21062 w 285313"/>
                  <a:gd name="connsiteY146" fmla="*/ 366074 h 373346"/>
                  <a:gd name="connsiteX147" fmla="*/ 24092 w 285313"/>
                  <a:gd name="connsiteY147" fmla="*/ 359862 h 373346"/>
                  <a:gd name="connsiteX148" fmla="*/ 25304 w 285313"/>
                  <a:gd name="connsiteY148" fmla="*/ 358498 h 373346"/>
                  <a:gd name="connsiteX149" fmla="*/ 26365 w 285313"/>
                  <a:gd name="connsiteY149" fmla="*/ 355922 h 373346"/>
                  <a:gd name="connsiteX150" fmla="*/ 27729 w 285313"/>
                  <a:gd name="connsiteY150" fmla="*/ 353649 h 373346"/>
                  <a:gd name="connsiteX151" fmla="*/ 31213 w 285313"/>
                  <a:gd name="connsiteY151" fmla="*/ 350467 h 373346"/>
                  <a:gd name="connsiteX152" fmla="*/ 34396 w 285313"/>
                  <a:gd name="connsiteY152" fmla="*/ 347285 h 373346"/>
                  <a:gd name="connsiteX153" fmla="*/ 39244 w 285313"/>
                  <a:gd name="connsiteY153" fmla="*/ 341073 h 373346"/>
                  <a:gd name="connsiteX154" fmla="*/ 41062 w 285313"/>
                  <a:gd name="connsiteY154" fmla="*/ 339558 h 373346"/>
                  <a:gd name="connsiteX155" fmla="*/ 43638 w 285313"/>
                  <a:gd name="connsiteY155" fmla="*/ 335921 h 373346"/>
                  <a:gd name="connsiteX156" fmla="*/ 45760 w 285313"/>
                  <a:gd name="connsiteY156" fmla="*/ 334103 h 373346"/>
                  <a:gd name="connsiteX157" fmla="*/ 47881 w 285313"/>
                  <a:gd name="connsiteY157" fmla="*/ 331982 h 373346"/>
                  <a:gd name="connsiteX158" fmla="*/ 68488 w 285313"/>
                  <a:gd name="connsiteY158" fmla="*/ 310314 h 373346"/>
                  <a:gd name="connsiteX159" fmla="*/ 75306 w 285313"/>
                  <a:gd name="connsiteY159" fmla="*/ 303950 h 373346"/>
                  <a:gd name="connsiteX160" fmla="*/ 83943 w 285313"/>
                  <a:gd name="connsiteY160" fmla="*/ 297132 h 373346"/>
                  <a:gd name="connsiteX161" fmla="*/ 92125 w 285313"/>
                  <a:gd name="connsiteY161" fmla="*/ 289404 h 373346"/>
                  <a:gd name="connsiteX162" fmla="*/ 108186 w 285313"/>
                  <a:gd name="connsiteY162" fmla="*/ 278040 h 373346"/>
                  <a:gd name="connsiteX163" fmla="*/ 133035 w 285313"/>
                  <a:gd name="connsiteY163" fmla="*/ 264404 h 373346"/>
                  <a:gd name="connsiteX164" fmla="*/ 139248 w 285313"/>
                  <a:gd name="connsiteY164" fmla="*/ 259858 h 373346"/>
                  <a:gd name="connsiteX165" fmla="*/ 161824 w 285313"/>
                  <a:gd name="connsiteY165" fmla="*/ 237887 h 373346"/>
                  <a:gd name="connsiteX166" fmla="*/ 179098 w 285313"/>
                  <a:gd name="connsiteY166" fmla="*/ 219250 h 373346"/>
                  <a:gd name="connsiteX167" fmla="*/ 191825 w 285313"/>
                  <a:gd name="connsiteY167" fmla="*/ 204856 h 373346"/>
                  <a:gd name="connsiteX168" fmla="*/ 198947 w 285313"/>
                  <a:gd name="connsiteY168" fmla="*/ 192431 h 373346"/>
                  <a:gd name="connsiteX169" fmla="*/ 210311 w 285313"/>
                  <a:gd name="connsiteY169" fmla="*/ 177734 h 373346"/>
                  <a:gd name="connsiteX170" fmla="*/ 221220 w 285313"/>
                  <a:gd name="connsiteY170" fmla="*/ 159248 h 373346"/>
                  <a:gd name="connsiteX171" fmla="*/ 222432 w 285313"/>
                  <a:gd name="connsiteY171" fmla="*/ 152884 h 373346"/>
                  <a:gd name="connsiteX172" fmla="*/ 226220 w 285313"/>
                  <a:gd name="connsiteY172" fmla="*/ 142732 h 373346"/>
                  <a:gd name="connsiteX173" fmla="*/ 229403 w 285313"/>
                  <a:gd name="connsiteY173" fmla="*/ 136975 h 373346"/>
                  <a:gd name="connsiteX174" fmla="*/ 235463 w 285313"/>
                  <a:gd name="connsiteY174" fmla="*/ 128489 h 373346"/>
                  <a:gd name="connsiteX175" fmla="*/ 238191 w 285313"/>
                  <a:gd name="connsiteY175" fmla="*/ 123792 h 373346"/>
                  <a:gd name="connsiteX176" fmla="*/ 240767 w 285313"/>
                  <a:gd name="connsiteY176" fmla="*/ 118641 h 373346"/>
                  <a:gd name="connsiteX177" fmla="*/ 243191 w 285313"/>
                  <a:gd name="connsiteY177" fmla="*/ 110307 h 373346"/>
                  <a:gd name="connsiteX178" fmla="*/ 250009 w 285313"/>
                  <a:gd name="connsiteY178" fmla="*/ 103792 h 373346"/>
                  <a:gd name="connsiteX179" fmla="*/ 255010 w 285313"/>
                  <a:gd name="connsiteY179" fmla="*/ 95458 h 373346"/>
                  <a:gd name="connsiteX180" fmla="*/ 256070 w 285313"/>
                  <a:gd name="connsiteY180" fmla="*/ 92427 h 373346"/>
                  <a:gd name="connsiteX181" fmla="*/ 258949 w 285313"/>
                  <a:gd name="connsiteY181" fmla="*/ 86215 h 373346"/>
                  <a:gd name="connsiteX182" fmla="*/ 264707 w 285313"/>
                  <a:gd name="connsiteY182" fmla="*/ 78942 h 373346"/>
                  <a:gd name="connsiteX183" fmla="*/ 265919 w 285313"/>
                  <a:gd name="connsiteY183" fmla="*/ 75306 h 373346"/>
                  <a:gd name="connsiteX184" fmla="*/ 269858 w 285313"/>
                  <a:gd name="connsiteY184" fmla="*/ 70154 h 373346"/>
                  <a:gd name="connsiteX185" fmla="*/ 270010 w 285313"/>
                  <a:gd name="connsiteY185" fmla="*/ 62426 h 373346"/>
                  <a:gd name="connsiteX186" fmla="*/ 271071 w 285313"/>
                  <a:gd name="connsiteY186" fmla="*/ 56669 h 373346"/>
                  <a:gd name="connsiteX187" fmla="*/ 271828 w 285313"/>
                  <a:gd name="connsiteY187" fmla="*/ 47577 h 373346"/>
                  <a:gd name="connsiteX188" fmla="*/ 272737 w 285313"/>
                  <a:gd name="connsiteY188" fmla="*/ 45305 h 373346"/>
                  <a:gd name="connsiteX189" fmla="*/ 275616 w 285313"/>
                  <a:gd name="connsiteY189" fmla="*/ 43941 h 373346"/>
                  <a:gd name="connsiteX190" fmla="*/ 280313 w 285313"/>
                  <a:gd name="connsiteY190" fmla="*/ 42729 h 373346"/>
                  <a:gd name="connsiteX191" fmla="*/ 281980 w 285313"/>
                  <a:gd name="connsiteY191" fmla="*/ 43486 h 373346"/>
                  <a:gd name="connsiteX192" fmla="*/ 285162 w 285313"/>
                  <a:gd name="connsiteY192" fmla="*/ 43941 h 373346"/>
                  <a:gd name="connsiteX193" fmla="*/ 285314 w 285313"/>
                  <a:gd name="connsiteY193" fmla="*/ 42880 h 37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285313" h="373346">
                    <a:moveTo>
                      <a:pt x="284708" y="41517"/>
                    </a:moveTo>
                    <a:lnTo>
                      <a:pt x="282738" y="40759"/>
                    </a:lnTo>
                    <a:lnTo>
                      <a:pt x="279859" y="39244"/>
                    </a:lnTo>
                    <a:lnTo>
                      <a:pt x="279708" y="40001"/>
                    </a:lnTo>
                    <a:lnTo>
                      <a:pt x="279708" y="41365"/>
                    </a:lnTo>
                    <a:lnTo>
                      <a:pt x="276374" y="42577"/>
                    </a:lnTo>
                    <a:lnTo>
                      <a:pt x="275465" y="42274"/>
                    </a:lnTo>
                    <a:lnTo>
                      <a:pt x="275920" y="41517"/>
                    </a:lnTo>
                    <a:lnTo>
                      <a:pt x="277132" y="41062"/>
                    </a:lnTo>
                    <a:lnTo>
                      <a:pt x="277435" y="39850"/>
                    </a:lnTo>
                    <a:lnTo>
                      <a:pt x="278192" y="38183"/>
                    </a:lnTo>
                    <a:lnTo>
                      <a:pt x="278495" y="36516"/>
                    </a:lnTo>
                    <a:lnTo>
                      <a:pt x="277889" y="25001"/>
                    </a:lnTo>
                    <a:lnTo>
                      <a:pt x="276829" y="17879"/>
                    </a:lnTo>
                    <a:lnTo>
                      <a:pt x="278344" y="13182"/>
                    </a:lnTo>
                    <a:lnTo>
                      <a:pt x="280617" y="8940"/>
                    </a:lnTo>
                    <a:lnTo>
                      <a:pt x="280920" y="6515"/>
                    </a:lnTo>
                    <a:lnTo>
                      <a:pt x="281526" y="4243"/>
                    </a:lnTo>
                    <a:lnTo>
                      <a:pt x="279859" y="3788"/>
                    </a:lnTo>
                    <a:lnTo>
                      <a:pt x="268949" y="0"/>
                    </a:lnTo>
                    <a:lnTo>
                      <a:pt x="264556" y="1061"/>
                    </a:lnTo>
                    <a:lnTo>
                      <a:pt x="261677" y="4394"/>
                    </a:lnTo>
                    <a:lnTo>
                      <a:pt x="260010" y="6970"/>
                    </a:lnTo>
                    <a:lnTo>
                      <a:pt x="250313" y="12425"/>
                    </a:lnTo>
                    <a:lnTo>
                      <a:pt x="237433" y="14698"/>
                    </a:lnTo>
                    <a:lnTo>
                      <a:pt x="230463" y="17576"/>
                    </a:lnTo>
                    <a:lnTo>
                      <a:pt x="221523" y="19546"/>
                    </a:lnTo>
                    <a:lnTo>
                      <a:pt x="218190" y="20001"/>
                    </a:lnTo>
                    <a:lnTo>
                      <a:pt x="217281" y="20001"/>
                    </a:lnTo>
                    <a:lnTo>
                      <a:pt x="210917" y="18182"/>
                    </a:lnTo>
                    <a:lnTo>
                      <a:pt x="208190" y="18182"/>
                    </a:lnTo>
                    <a:lnTo>
                      <a:pt x="204553" y="19092"/>
                    </a:lnTo>
                    <a:lnTo>
                      <a:pt x="193038" y="23183"/>
                    </a:lnTo>
                    <a:lnTo>
                      <a:pt x="184704" y="23940"/>
                    </a:lnTo>
                    <a:lnTo>
                      <a:pt x="178037" y="22274"/>
                    </a:lnTo>
                    <a:lnTo>
                      <a:pt x="176219" y="22274"/>
                    </a:lnTo>
                    <a:lnTo>
                      <a:pt x="171370" y="24243"/>
                    </a:lnTo>
                    <a:lnTo>
                      <a:pt x="164400" y="29092"/>
                    </a:lnTo>
                    <a:lnTo>
                      <a:pt x="153188" y="34092"/>
                    </a:lnTo>
                    <a:lnTo>
                      <a:pt x="150309" y="34395"/>
                    </a:lnTo>
                    <a:lnTo>
                      <a:pt x="144703" y="33031"/>
                    </a:lnTo>
                    <a:lnTo>
                      <a:pt x="138490" y="32728"/>
                    </a:lnTo>
                    <a:lnTo>
                      <a:pt x="132732" y="31516"/>
                    </a:lnTo>
                    <a:lnTo>
                      <a:pt x="129399" y="32425"/>
                    </a:lnTo>
                    <a:lnTo>
                      <a:pt x="119701" y="36668"/>
                    </a:lnTo>
                    <a:lnTo>
                      <a:pt x="108792" y="42577"/>
                    </a:lnTo>
                    <a:lnTo>
                      <a:pt x="93640" y="42729"/>
                    </a:lnTo>
                    <a:lnTo>
                      <a:pt x="90761" y="41517"/>
                    </a:lnTo>
                    <a:lnTo>
                      <a:pt x="87428" y="39395"/>
                    </a:lnTo>
                    <a:lnTo>
                      <a:pt x="79094" y="33031"/>
                    </a:lnTo>
                    <a:lnTo>
                      <a:pt x="73033" y="26062"/>
                    </a:lnTo>
                    <a:lnTo>
                      <a:pt x="67730" y="17576"/>
                    </a:lnTo>
                    <a:lnTo>
                      <a:pt x="62426" y="13334"/>
                    </a:lnTo>
                    <a:lnTo>
                      <a:pt x="60003" y="16970"/>
                    </a:lnTo>
                    <a:lnTo>
                      <a:pt x="56972" y="21667"/>
                    </a:lnTo>
                    <a:lnTo>
                      <a:pt x="53638" y="27122"/>
                    </a:lnTo>
                    <a:lnTo>
                      <a:pt x="53184" y="28183"/>
                    </a:lnTo>
                    <a:lnTo>
                      <a:pt x="51972" y="29698"/>
                    </a:lnTo>
                    <a:lnTo>
                      <a:pt x="50457" y="31213"/>
                    </a:lnTo>
                    <a:lnTo>
                      <a:pt x="49244" y="32880"/>
                    </a:lnTo>
                    <a:lnTo>
                      <a:pt x="46365" y="37426"/>
                    </a:lnTo>
                    <a:lnTo>
                      <a:pt x="46365" y="38032"/>
                    </a:lnTo>
                    <a:lnTo>
                      <a:pt x="46669" y="38941"/>
                    </a:lnTo>
                    <a:lnTo>
                      <a:pt x="48183" y="41062"/>
                    </a:lnTo>
                    <a:lnTo>
                      <a:pt x="49850" y="44395"/>
                    </a:lnTo>
                    <a:lnTo>
                      <a:pt x="50608" y="47426"/>
                    </a:lnTo>
                    <a:lnTo>
                      <a:pt x="51366" y="48941"/>
                    </a:lnTo>
                    <a:lnTo>
                      <a:pt x="53336" y="50608"/>
                    </a:lnTo>
                    <a:lnTo>
                      <a:pt x="56063" y="54244"/>
                    </a:lnTo>
                    <a:lnTo>
                      <a:pt x="57578" y="56517"/>
                    </a:lnTo>
                    <a:lnTo>
                      <a:pt x="60608" y="57881"/>
                    </a:lnTo>
                    <a:lnTo>
                      <a:pt x="61669" y="60760"/>
                    </a:lnTo>
                    <a:lnTo>
                      <a:pt x="63942" y="65305"/>
                    </a:lnTo>
                    <a:lnTo>
                      <a:pt x="66518" y="68790"/>
                    </a:lnTo>
                    <a:lnTo>
                      <a:pt x="68942" y="71518"/>
                    </a:lnTo>
                    <a:lnTo>
                      <a:pt x="71669" y="72578"/>
                    </a:lnTo>
                    <a:lnTo>
                      <a:pt x="72730" y="72730"/>
                    </a:lnTo>
                    <a:lnTo>
                      <a:pt x="78336" y="77882"/>
                    </a:lnTo>
                    <a:lnTo>
                      <a:pt x="82579" y="81670"/>
                    </a:lnTo>
                    <a:lnTo>
                      <a:pt x="83640" y="82276"/>
                    </a:lnTo>
                    <a:lnTo>
                      <a:pt x="91367" y="84851"/>
                    </a:lnTo>
                    <a:lnTo>
                      <a:pt x="100307" y="87882"/>
                    </a:lnTo>
                    <a:lnTo>
                      <a:pt x="107580" y="90155"/>
                    </a:lnTo>
                    <a:lnTo>
                      <a:pt x="116671" y="93185"/>
                    </a:lnTo>
                    <a:lnTo>
                      <a:pt x="125611" y="96064"/>
                    </a:lnTo>
                    <a:lnTo>
                      <a:pt x="134096" y="98943"/>
                    </a:lnTo>
                    <a:lnTo>
                      <a:pt x="145915" y="102882"/>
                    </a:lnTo>
                    <a:lnTo>
                      <a:pt x="155460" y="106064"/>
                    </a:lnTo>
                    <a:lnTo>
                      <a:pt x="162885" y="108640"/>
                    </a:lnTo>
                    <a:lnTo>
                      <a:pt x="164552" y="109398"/>
                    </a:lnTo>
                    <a:lnTo>
                      <a:pt x="173491" y="109398"/>
                    </a:lnTo>
                    <a:lnTo>
                      <a:pt x="182583" y="109398"/>
                    </a:lnTo>
                    <a:lnTo>
                      <a:pt x="191977" y="109398"/>
                    </a:lnTo>
                    <a:lnTo>
                      <a:pt x="185158" y="115913"/>
                    </a:lnTo>
                    <a:lnTo>
                      <a:pt x="177582" y="123186"/>
                    </a:lnTo>
                    <a:lnTo>
                      <a:pt x="169552" y="130914"/>
                    </a:lnTo>
                    <a:lnTo>
                      <a:pt x="164400" y="135914"/>
                    </a:lnTo>
                    <a:lnTo>
                      <a:pt x="156218" y="143793"/>
                    </a:lnTo>
                    <a:lnTo>
                      <a:pt x="149400" y="150308"/>
                    </a:lnTo>
                    <a:lnTo>
                      <a:pt x="142278" y="157581"/>
                    </a:lnTo>
                    <a:lnTo>
                      <a:pt x="136066" y="164097"/>
                    </a:lnTo>
                    <a:lnTo>
                      <a:pt x="127732" y="173037"/>
                    </a:lnTo>
                    <a:lnTo>
                      <a:pt x="122429" y="178794"/>
                    </a:lnTo>
                    <a:lnTo>
                      <a:pt x="114095" y="187886"/>
                    </a:lnTo>
                    <a:lnTo>
                      <a:pt x="108792" y="193643"/>
                    </a:lnTo>
                    <a:lnTo>
                      <a:pt x="108034" y="193947"/>
                    </a:lnTo>
                    <a:lnTo>
                      <a:pt x="100458" y="193492"/>
                    </a:lnTo>
                    <a:lnTo>
                      <a:pt x="93185" y="193037"/>
                    </a:lnTo>
                    <a:lnTo>
                      <a:pt x="83791" y="192583"/>
                    </a:lnTo>
                    <a:lnTo>
                      <a:pt x="82731" y="192583"/>
                    </a:lnTo>
                    <a:lnTo>
                      <a:pt x="80003" y="193037"/>
                    </a:lnTo>
                    <a:lnTo>
                      <a:pt x="78336" y="193643"/>
                    </a:lnTo>
                    <a:lnTo>
                      <a:pt x="71669" y="195158"/>
                    </a:lnTo>
                    <a:lnTo>
                      <a:pt x="70457" y="195613"/>
                    </a:lnTo>
                    <a:lnTo>
                      <a:pt x="64851" y="198037"/>
                    </a:lnTo>
                    <a:lnTo>
                      <a:pt x="59093" y="200916"/>
                    </a:lnTo>
                    <a:lnTo>
                      <a:pt x="56215" y="203038"/>
                    </a:lnTo>
                    <a:lnTo>
                      <a:pt x="53790" y="206371"/>
                    </a:lnTo>
                    <a:lnTo>
                      <a:pt x="52881" y="208644"/>
                    </a:lnTo>
                    <a:lnTo>
                      <a:pt x="51820" y="209553"/>
                    </a:lnTo>
                    <a:lnTo>
                      <a:pt x="50002" y="210462"/>
                    </a:lnTo>
                    <a:lnTo>
                      <a:pt x="38032" y="212735"/>
                    </a:lnTo>
                    <a:lnTo>
                      <a:pt x="34547" y="212887"/>
                    </a:lnTo>
                    <a:lnTo>
                      <a:pt x="28941" y="214705"/>
                    </a:lnTo>
                    <a:lnTo>
                      <a:pt x="26062" y="217584"/>
                    </a:lnTo>
                    <a:lnTo>
                      <a:pt x="25153" y="219099"/>
                    </a:lnTo>
                    <a:lnTo>
                      <a:pt x="21819" y="223796"/>
                    </a:lnTo>
                    <a:lnTo>
                      <a:pt x="17728" y="229554"/>
                    </a:lnTo>
                    <a:lnTo>
                      <a:pt x="10303" y="240160"/>
                    </a:lnTo>
                    <a:lnTo>
                      <a:pt x="4697" y="245767"/>
                    </a:lnTo>
                    <a:lnTo>
                      <a:pt x="455" y="250009"/>
                    </a:lnTo>
                    <a:lnTo>
                      <a:pt x="0" y="250767"/>
                    </a:lnTo>
                    <a:lnTo>
                      <a:pt x="0" y="255312"/>
                    </a:lnTo>
                    <a:lnTo>
                      <a:pt x="0" y="266828"/>
                    </a:lnTo>
                    <a:lnTo>
                      <a:pt x="152" y="289707"/>
                    </a:lnTo>
                    <a:lnTo>
                      <a:pt x="303" y="312587"/>
                    </a:lnTo>
                    <a:lnTo>
                      <a:pt x="303" y="335618"/>
                    </a:lnTo>
                    <a:lnTo>
                      <a:pt x="455" y="346982"/>
                    </a:lnTo>
                    <a:lnTo>
                      <a:pt x="455" y="350922"/>
                    </a:lnTo>
                    <a:lnTo>
                      <a:pt x="4091" y="355619"/>
                    </a:lnTo>
                    <a:lnTo>
                      <a:pt x="7879" y="360316"/>
                    </a:lnTo>
                    <a:lnTo>
                      <a:pt x="12728" y="366680"/>
                    </a:lnTo>
                    <a:lnTo>
                      <a:pt x="15304" y="370013"/>
                    </a:lnTo>
                    <a:lnTo>
                      <a:pt x="15758" y="371074"/>
                    </a:lnTo>
                    <a:lnTo>
                      <a:pt x="15607" y="373347"/>
                    </a:lnTo>
                    <a:lnTo>
                      <a:pt x="18334" y="370165"/>
                    </a:lnTo>
                    <a:lnTo>
                      <a:pt x="21062" y="366074"/>
                    </a:lnTo>
                    <a:lnTo>
                      <a:pt x="24092" y="359862"/>
                    </a:lnTo>
                    <a:lnTo>
                      <a:pt x="25304" y="358498"/>
                    </a:lnTo>
                    <a:lnTo>
                      <a:pt x="26365" y="355922"/>
                    </a:lnTo>
                    <a:lnTo>
                      <a:pt x="27729" y="353649"/>
                    </a:lnTo>
                    <a:lnTo>
                      <a:pt x="31213" y="350467"/>
                    </a:lnTo>
                    <a:lnTo>
                      <a:pt x="34396" y="347285"/>
                    </a:lnTo>
                    <a:lnTo>
                      <a:pt x="39244" y="341073"/>
                    </a:lnTo>
                    <a:lnTo>
                      <a:pt x="41062" y="339558"/>
                    </a:lnTo>
                    <a:lnTo>
                      <a:pt x="43638" y="335921"/>
                    </a:lnTo>
                    <a:lnTo>
                      <a:pt x="45760" y="334103"/>
                    </a:lnTo>
                    <a:lnTo>
                      <a:pt x="47881" y="331982"/>
                    </a:lnTo>
                    <a:lnTo>
                      <a:pt x="68488" y="310314"/>
                    </a:lnTo>
                    <a:lnTo>
                      <a:pt x="75306" y="303950"/>
                    </a:lnTo>
                    <a:lnTo>
                      <a:pt x="83943" y="297132"/>
                    </a:lnTo>
                    <a:lnTo>
                      <a:pt x="92125" y="289404"/>
                    </a:lnTo>
                    <a:lnTo>
                      <a:pt x="108186" y="278040"/>
                    </a:lnTo>
                    <a:lnTo>
                      <a:pt x="133035" y="264404"/>
                    </a:lnTo>
                    <a:lnTo>
                      <a:pt x="139248" y="259858"/>
                    </a:lnTo>
                    <a:lnTo>
                      <a:pt x="161824" y="237887"/>
                    </a:lnTo>
                    <a:lnTo>
                      <a:pt x="179098" y="219250"/>
                    </a:lnTo>
                    <a:lnTo>
                      <a:pt x="191825" y="204856"/>
                    </a:lnTo>
                    <a:lnTo>
                      <a:pt x="198947" y="192431"/>
                    </a:lnTo>
                    <a:lnTo>
                      <a:pt x="210311" y="177734"/>
                    </a:lnTo>
                    <a:lnTo>
                      <a:pt x="221220" y="159248"/>
                    </a:lnTo>
                    <a:lnTo>
                      <a:pt x="222432" y="152884"/>
                    </a:lnTo>
                    <a:lnTo>
                      <a:pt x="226220" y="142732"/>
                    </a:lnTo>
                    <a:lnTo>
                      <a:pt x="229403" y="136975"/>
                    </a:lnTo>
                    <a:lnTo>
                      <a:pt x="235463" y="128489"/>
                    </a:lnTo>
                    <a:lnTo>
                      <a:pt x="238191" y="123792"/>
                    </a:lnTo>
                    <a:lnTo>
                      <a:pt x="240767" y="118641"/>
                    </a:lnTo>
                    <a:lnTo>
                      <a:pt x="243191" y="110307"/>
                    </a:lnTo>
                    <a:lnTo>
                      <a:pt x="250009" y="103792"/>
                    </a:lnTo>
                    <a:lnTo>
                      <a:pt x="255010" y="95458"/>
                    </a:lnTo>
                    <a:lnTo>
                      <a:pt x="256070" y="92427"/>
                    </a:lnTo>
                    <a:lnTo>
                      <a:pt x="258949" y="86215"/>
                    </a:lnTo>
                    <a:lnTo>
                      <a:pt x="264707" y="78942"/>
                    </a:lnTo>
                    <a:lnTo>
                      <a:pt x="265919" y="75306"/>
                    </a:lnTo>
                    <a:lnTo>
                      <a:pt x="269858" y="70154"/>
                    </a:lnTo>
                    <a:lnTo>
                      <a:pt x="270010" y="62426"/>
                    </a:lnTo>
                    <a:lnTo>
                      <a:pt x="271071" y="56669"/>
                    </a:lnTo>
                    <a:lnTo>
                      <a:pt x="271828" y="47577"/>
                    </a:lnTo>
                    <a:lnTo>
                      <a:pt x="272737" y="45305"/>
                    </a:lnTo>
                    <a:lnTo>
                      <a:pt x="275616" y="43941"/>
                    </a:lnTo>
                    <a:lnTo>
                      <a:pt x="280313" y="42729"/>
                    </a:lnTo>
                    <a:lnTo>
                      <a:pt x="281980" y="43486"/>
                    </a:lnTo>
                    <a:lnTo>
                      <a:pt x="285162" y="43941"/>
                    </a:lnTo>
                    <a:lnTo>
                      <a:pt x="285314" y="428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437E4C89-DC52-44C0-B10E-803D89898F71}"/>
                  </a:ext>
                </a:extLst>
              </p:cNvPr>
              <p:cNvSpPr/>
              <p:nvPr/>
            </p:nvSpPr>
            <p:spPr>
              <a:xfrm>
                <a:off x="5297334" y="4104552"/>
                <a:ext cx="168491" cy="120761"/>
              </a:xfrm>
              <a:custGeom>
                <a:avLst/>
                <a:gdLst>
                  <a:gd name="connsiteX0" fmla="*/ 166673 w 168491"/>
                  <a:gd name="connsiteY0" fmla="*/ 115156 h 120761"/>
                  <a:gd name="connsiteX1" fmla="*/ 166521 w 168491"/>
                  <a:gd name="connsiteY1" fmla="*/ 114398 h 120761"/>
                  <a:gd name="connsiteX2" fmla="*/ 166673 w 168491"/>
                  <a:gd name="connsiteY2" fmla="*/ 112428 h 120761"/>
                  <a:gd name="connsiteX3" fmla="*/ 167582 w 168491"/>
                  <a:gd name="connsiteY3" fmla="*/ 108337 h 120761"/>
                  <a:gd name="connsiteX4" fmla="*/ 167430 w 168491"/>
                  <a:gd name="connsiteY4" fmla="*/ 106822 h 120761"/>
                  <a:gd name="connsiteX5" fmla="*/ 168188 w 168491"/>
                  <a:gd name="connsiteY5" fmla="*/ 103792 h 120761"/>
                  <a:gd name="connsiteX6" fmla="*/ 166976 w 168491"/>
                  <a:gd name="connsiteY6" fmla="*/ 102428 h 120761"/>
                  <a:gd name="connsiteX7" fmla="*/ 166673 w 168491"/>
                  <a:gd name="connsiteY7" fmla="*/ 101367 h 120761"/>
                  <a:gd name="connsiteX8" fmla="*/ 165460 w 168491"/>
                  <a:gd name="connsiteY8" fmla="*/ 99852 h 120761"/>
                  <a:gd name="connsiteX9" fmla="*/ 163945 w 168491"/>
                  <a:gd name="connsiteY9" fmla="*/ 97428 h 120761"/>
                  <a:gd name="connsiteX10" fmla="*/ 163491 w 168491"/>
                  <a:gd name="connsiteY10" fmla="*/ 95610 h 120761"/>
                  <a:gd name="connsiteX11" fmla="*/ 163036 w 168491"/>
                  <a:gd name="connsiteY11" fmla="*/ 94246 h 120761"/>
                  <a:gd name="connsiteX12" fmla="*/ 161521 w 168491"/>
                  <a:gd name="connsiteY12" fmla="*/ 91973 h 120761"/>
                  <a:gd name="connsiteX13" fmla="*/ 160460 w 168491"/>
                  <a:gd name="connsiteY13" fmla="*/ 91670 h 120761"/>
                  <a:gd name="connsiteX14" fmla="*/ 158188 w 168491"/>
                  <a:gd name="connsiteY14" fmla="*/ 91216 h 120761"/>
                  <a:gd name="connsiteX15" fmla="*/ 157733 w 168491"/>
                  <a:gd name="connsiteY15" fmla="*/ 91973 h 120761"/>
                  <a:gd name="connsiteX16" fmla="*/ 156975 w 168491"/>
                  <a:gd name="connsiteY16" fmla="*/ 93185 h 120761"/>
                  <a:gd name="connsiteX17" fmla="*/ 156066 w 168491"/>
                  <a:gd name="connsiteY17" fmla="*/ 93488 h 120761"/>
                  <a:gd name="connsiteX18" fmla="*/ 154854 w 168491"/>
                  <a:gd name="connsiteY18" fmla="*/ 92125 h 120761"/>
                  <a:gd name="connsiteX19" fmla="*/ 154400 w 168491"/>
                  <a:gd name="connsiteY19" fmla="*/ 90912 h 120761"/>
                  <a:gd name="connsiteX20" fmla="*/ 154400 w 168491"/>
                  <a:gd name="connsiteY20" fmla="*/ 89852 h 120761"/>
                  <a:gd name="connsiteX21" fmla="*/ 152733 w 168491"/>
                  <a:gd name="connsiteY21" fmla="*/ 88033 h 120761"/>
                  <a:gd name="connsiteX22" fmla="*/ 150005 w 168491"/>
                  <a:gd name="connsiteY22" fmla="*/ 84700 h 120761"/>
                  <a:gd name="connsiteX23" fmla="*/ 150308 w 168491"/>
                  <a:gd name="connsiteY23" fmla="*/ 81821 h 120761"/>
                  <a:gd name="connsiteX24" fmla="*/ 151975 w 168491"/>
                  <a:gd name="connsiteY24" fmla="*/ 80457 h 120761"/>
                  <a:gd name="connsiteX25" fmla="*/ 152430 w 168491"/>
                  <a:gd name="connsiteY25" fmla="*/ 79245 h 120761"/>
                  <a:gd name="connsiteX26" fmla="*/ 152581 w 168491"/>
                  <a:gd name="connsiteY26" fmla="*/ 78033 h 120761"/>
                  <a:gd name="connsiteX27" fmla="*/ 151824 w 168491"/>
                  <a:gd name="connsiteY27" fmla="*/ 76367 h 120761"/>
                  <a:gd name="connsiteX28" fmla="*/ 150915 w 168491"/>
                  <a:gd name="connsiteY28" fmla="*/ 75154 h 120761"/>
                  <a:gd name="connsiteX29" fmla="*/ 151217 w 168491"/>
                  <a:gd name="connsiteY29" fmla="*/ 72579 h 120761"/>
                  <a:gd name="connsiteX30" fmla="*/ 151066 w 168491"/>
                  <a:gd name="connsiteY30" fmla="*/ 68791 h 120761"/>
                  <a:gd name="connsiteX31" fmla="*/ 149703 w 168491"/>
                  <a:gd name="connsiteY31" fmla="*/ 66972 h 120761"/>
                  <a:gd name="connsiteX32" fmla="*/ 148490 w 168491"/>
                  <a:gd name="connsiteY32" fmla="*/ 65608 h 120761"/>
                  <a:gd name="connsiteX33" fmla="*/ 146672 w 168491"/>
                  <a:gd name="connsiteY33" fmla="*/ 64093 h 120761"/>
                  <a:gd name="connsiteX34" fmla="*/ 145308 w 168491"/>
                  <a:gd name="connsiteY34" fmla="*/ 61820 h 120761"/>
                  <a:gd name="connsiteX35" fmla="*/ 145915 w 168491"/>
                  <a:gd name="connsiteY35" fmla="*/ 58638 h 120761"/>
                  <a:gd name="connsiteX36" fmla="*/ 146369 w 168491"/>
                  <a:gd name="connsiteY36" fmla="*/ 56517 h 120761"/>
                  <a:gd name="connsiteX37" fmla="*/ 143793 w 168491"/>
                  <a:gd name="connsiteY37" fmla="*/ 52123 h 120761"/>
                  <a:gd name="connsiteX38" fmla="*/ 143187 w 168491"/>
                  <a:gd name="connsiteY38" fmla="*/ 51820 h 120761"/>
                  <a:gd name="connsiteX39" fmla="*/ 140308 w 168491"/>
                  <a:gd name="connsiteY39" fmla="*/ 49850 h 120761"/>
                  <a:gd name="connsiteX40" fmla="*/ 138944 w 168491"/>
                  <a:gd name="connsiteY40" fmla="*/ 47426 h 120761"/>
                  <a:gd name="connsiteX41" fmla="*/ 136672 w 168491"/>
                  <a:gd name="connsiteY41" fmla="*/ 45608 h 120761"/>
                  <a:gd name="connsiteX42" fmla="*/ 133490 w 168491"/>
                  <a:gd name="connsiteY42" fmla="*/ 44547 h 120761"/>
                  <a:gd name="connsiteX43" fmla="*/ 131368 w 168491"/>
                  <a:gd name="connsiteY43" fmla="*/ 43183 h 120761"/>
                  <a:gd name="connsiteX44" fmla="*/ 130459 w 168491"/>
                  <a:gd name="connsiteY44" fmla="*/ 41517 h 120761"/>
                  <a:gd name="connsiteX45" fmla="*/ 129247 w 168491"/>
                  <a:gd name="connsiteY45" fmla="*/ 40608 h 120761"/>
                  <a:gd name="connsiteX46" fmla="*/ 128035 w 168491"/>
                  <a:gd name="connsiteY46" fmla="*/ 40001 h 120761"/>
                  <a:gd name="connsiteX47" fmla="*/ 127884 w 168491"/>
                  <a:gd name="connsiteY47" fmla="*/ 39395 h 120761"/>
                  <a:gd name="connsiteX48" fmla="*/ 128186 w 168491"/>
                  <a:gd name="connsiteY48" fmla="*/ 38638 h 120761"/>
                  <a:gd name="connsiteX49" fmla="*/ 127884 w 168491"/>
                  <a:gd name="connsiteY49" fmla="*/ 37274 h 120761"/>
                  <a:gd name="connsiteX50" fmla="*/ 126065 w 168491"/>
                  <a:gd name="connsiteY50" fmla="*/ 34092 h 120761"/>
                  <a:gd name="connsiteX51" fmla="*/ 124247 w 168491"/>
                  <a:gd name="connsiteY51" fmla="*/ 32729 h 120761"/>
                  <a:gd name="connsiteX52" fmla="*/ 122883 w 168491"/>
                  <a:gd name="connsiteY52" fmla="*/ 32880 h 120761"/>
                  <a:gd name="connsiteX53" fmla="*/ 121974 w 168491"/>
                  <a:gd name="connsiteY53" fmla="*/ 32577 h 120761"/>
                  <a:gd name="connsiteX54" fmla="*/ 121519 w 168491"/>
                  <a:gd name="connsiteY54" fmla="*/ 31819 h 120761"/>
                  <a:gd name="connsiteX55" fmla="*/ 121217 w 168491"/>
                  <a:gd name="connsiteY55" fmla="*/ 30910 h 120761"/>
                  <a:gd name="connsiteX56" fmla="*/ 120308 w 168491"/>
                  <a:gd name="connsiteY56" fmla="*/ 30001 h 120761"/>
                  <a:gd name="connsiteX57" fmla="*/ 118489 w 168491"/>
                  <a:gd name="connsiteY57" fmla="*/ 29546 h 120761"/>
                  <a:gd name="connsiteX58" fmla="*/ 117125 w 168491"/>
                  <a:gd name="connsiteY58" fmla="*/ 27274 h 120761"/>
                  <a:gd name="connsiteX59" fmla="*/ 116065 w 168491"/>
                  <a:gd name="connsiteY59" fmla="*/ 23031 h 120761"/>
                  <a:gd name="connsiteX60" fmla="*/ 114701 w 168491"/>
                  <a:gd name="connsiteY60" fmla="*/ 19698 h 120761"/>
                  <a:gd name="connsiteX61" fmla="*/ 112883 w 168491"/>
                  <a:gd name="connsiteY61" fmla="*/ 17273 h 120761"/>
                  <a:gd name="connsiteX62" fmla="*/ 111671 w 168491"/>
                  <a:gd name="connsiteY62" fmla="*/ 16364 h 120761"/>
                  <a:gd name="connsiteX63" fmla="*/ 110913 w 168491"/>
                  <a:gd name="connsiteY63" fmla="*/ 16213 h 120761"/>
                  <a:gd name="connsiteX64" fmla="*/ 110610 w 168491"/>
                  <a:gd name="connsiteY64" fmla="*/ 15910 h 120761"/>
                  <a:gd name="connsiteX65" fmla="*/ 110307 w 168491"/>
                  <a:gd name="connsiteY65" fmla="*/ 15152 h 120761"/>
                  <a:gd name="connsiteX66" fmla="*/ 108943 w 168491"/>
                  <a:gd name="connsiteY66" fmla="*/ 14849 h 120761"/>
                  <a:gd name="connsiteX67" fmla="*/ 107125 w 168491"/>
                  <a:gd name="connsiteY67" fmla="*/ 15607 h 120761"/>
                  <a:gd name="connsiteX68" fmla="*/ 105458 w 168491"/>
                  <a:gd name="connsiteY68" fmla="*/ 15304 h 120761"/>
                  <a:gd name="connsiteX69" fmla="*/ 104549 w 168491"/>
                  <a:gd name="connsiteY69" fmla="*/ 14243 h 120761"/>
                  <a:gd name="connsiteX70" fmla="*/ 103488 w 168491"/>
                  <a:gd name="connsiteY70" fmla="*/ 14092 h 120761"/>
                  <a:gd name="connsiteX71" fmla="*/ 101973 w 168491"/>
                  <a:gd name="connsiteY71" fmla="*/ 15001 h 120761"/>
                  <a:gd name="connsiteX72" fmla="*/ 100458 w 168491"/>
                  <a:gd name="connsiteY72" fmla="*/ 14849 h 120761"/>
                  <a:gd name="connsiteX73" fmla="*/ 98640 w 168491"/>
                  <a:gd name="connsiteY73" fmla="*/ 13182 h 120761"/>
                  <a:gd name="connsiteX74" fmla="*/ 97731 w 168491"/>
                  <a:gd name="connsiteY74" fmla="*/ 11667 h 120761"/>
                  <a:gd name="connsiteX75" fmla="*/ 97428 w 168491"/>
                  <a:gd name="connsiteY75" fmla="*/ 10304 h 120761"/>
                  <a:gd name="connsiteX76" fmla="*/ 94397 w 168491"/>
                  <a:gd name="connsiteY76" fmla="*/ 7273 h 120761"/>
                  <a:gd name="connsiteX77" fmla="*/ 88640 w 168491"/>
                  <a:gd name="connsiteY77" fmla="*/ 2727 h 120761"/>
                  <a:gd name="connsiteX78" fmla="*/ 82276 w 168491"/>
                  <a:gd name="connsiteY78" fmla="*/ 606 h 120761"/>
                  <a:gd name="connsiteX79" fmla="*/ 75306 w 168491"/>
                  <a:gd name="connsiteY79" fmla="*/ 909 h 120761"/>
                  <a:gd name="connsiteX80" fmla="*/ 71366 w 168491"/>
                  <a:gd name="connsiteY80" fmla="*/ 606 h 120761"/>
                  <a:gd name="connsiteX81" fmla="*/ 70609 w 168491"/>
                  <a:gd name="connsiteY81" fmla="*/ 0 h 120761"/>
                  <a:gd name="connsiteX82" fmla="*/ 69700 w 168491"/>
                  <a:gd name="connsiteY82" fmla="*/ 0 h 120761"/>
                  <a:gd name="connsiteX83" fmla="*/ 68790 w 168491"/>
                  <a:gd name="connsiteY83" fmla="*/ 909 h 120761"/>
                  <a:gd name="connsiteX84" fmla="*/ 67881 w 168491"/>
                  <a:gd name="connsiteY84" fmla="*/ 1061 h 120761"/>
                  <a:gd name="connsiteX85" fmla="*/ 66972 w 168491"/>
                  <a:gd name="connsiteY85" fmla="*/ 606 h 120761"/>
                  <a:gd name="connsiteX86" fmla="*/ 66366 w 168491"/>
                  <a:gd name="connsiteY86" fmla="*/ 909 h 120761"/>
                  <a:gd name="connsiteX87" fmla="*/ 66063 w 168491"/>
                  <a:gd name="connsiteY87" fmla="*/ 2121 h 120761"/>
                  <a:gd name="connsiteX88" fmla="*/ 63638 w 168491"/>
                  <a:gd name="connsiteY88" fmla="*/ 2576 h 120761"/>
                  <a:gd name="connsiteX89" fmla="*/ 59093 w 168491"/>
                  <a:gd name="connsiteY89" fmla="*/ 2727 h 120761"/>
                  <a:gd name="connsiteX90" fmla="*/ 55305 w 168491"/>
                  <a:gd name="connsiteY90" fmla="*/ 3333 h 120761"/>
                  <a:gd name="connsiteX91" fmla="*/ 52426 w 168491"/>
                  <a:gd name="connsiteY91" fmla="*/ 4849 h 120761"/>
                  <a:gd name="connsiteX92" fmla="*/ 48486 w 168491"/>
                  <a:gd name="connsiteY92" fmla="*/ 5303 h 120761"/>
                  <a:gd name="connsiteX93" fmla="*/ 43184 w 168491"/>
                  <a:gd name="connsiteY93" fmla="*/ 5152 h 120761"/>
                  <a:gd name="connsiteX94" fmla="*/ 40001 w 168491"/>
                  <a:gd name="connsiteY94" fmla="*/ 4697 h 120761"/>
                  <a:gd name="connsiteX95" fmla="*/ 38940 w 168491"/>
                  <a:gd name="connsiteY95" fmla="*/ 3788 h 120761"/>
                  <a:gd name="connsiteX96" fmla="*/ 37426 w 168491"/>
                  <a:gd name="connsiteY96" fmla="*/ 3637 h 120761"/>
                  <a:gd name="connsiteX97" fmla="*/ 35607 w 168491"/>
                  <a:gd name="connsiteY97" fmla="*/ 4091 h 120761"/>
                  <a:gd name="connsiteX98" fmla="*/ 33789 w 168491"/>
                  <a:gd name="connsiteY98" fmla="*/ 6364 h 120761"/>
                  <a:gd name="connsiteX99" fmla="*/ 32274 w 168491"/>
                  <a:gd name="connsiteY99" fmla="*/ 10304 h 120761"/>
                  <a:gd name="connsiteX100" fmla="*/ 31062 w 168491"/>
                  <a:gd name="connsiteY100" fmla="*/ 12576 h 120761"/>
                  <a:gd name="connsiteX101" fmla="*/ 30001 w 168491"/>
                  <a:gd name="connsiteY101" fmla="*/ 13182 h 120761"/>
                  <a:gd name="connsiteX102" fmla="*/ 28941 w 168491"/>
                  <a:gd name="connsiteY102" fmla="*/ 16213 h 120761"/>
                  <a:gd name="connsiteX103" fmla="*/ 28334 w 168491"/>
                  <a:gd name="connsiteY103" fmla="*/ 21213 h 120761"/>
                  <a:gd name="connsiteX104" fmla="*/ 27425 w 168491"/>
                  <a:gd name="connsiteY104" fmla="*/ 23486 h 120761"/>
                  <a:gd name="connsiteX105" fmla="*/ 26516 w 168491"/>
                  <a:gd name="connsiteY105" fmla="*/ 26365 h 120761"/>
                  <a:gd name="connsiteX106" fmla="*/ 18940 w 168491"/>
                  <a:gd name="connsiteY106" fmla="*/ 38638 h 120761"/>
                  <a:gd name="connsiteX107" fmla="*/ 10758 w 168491"/>
                  <a:gd name="connsiteY107" fmla="*/ 48941 h 120761"/>
                  <a:gd name="connsiteX108" fmla="*/ 3485 w 168491"/>
                  <a:gd name="connsiteY108" fmla="*/ 52578 h 120761"/>
                  <a:gd name="connsiteX109" fmla="*/ 0 w 168491"/>
                  <a:gd name="connsiteY109" fmla="*/ 53638 h 120761"/>
                  <a:gd name="connsiteX110" fmla="*/ 2576 w 168491"/>
                  <a:gd name="connsiteY110" fmla="*/ 56366 h 120761"/>
                  <a:gd name="connsiteX111" fmla="*/ 3333 w 168491"/>
                  <a:gd name="connsiteY111" fmla="*/ 54396 h 120761"/>
                  <a:gd name="connsiteX112" fmla="*/ 5303 w 168491"/>
                  <a:gd name="connsiteY112" fmla="*/ 54244 h 120761"/>
                  <a:gd name="connsiteX113" fmla="*/ 7576 w 168491"/>
                  <a:gd name="connsiteY113" fmla="*/ 55002 h 120761"/>
                  <a:gd name="connsiteX114" fmla="*/ 10152 w 168491"/>
                  <a:gd name="connsiteY114" fmla="*/ 56820 h 120761"/>
                  <a:gd name="connsiteX115" fmla="*/ 12576 w 168491"/>
                  <a:gd name="connsiteY115" fmla="*/ 61063 h 120761"/>
                  <a:gd name="connsiteX116" fmla="*/ 15455 w 168491"/>
                  <a:gd name="connsiteY116" fmla="*/ 63336 h 120761"/>
                  <a:gd name="connsiteX117" fmla="*/ 18031 w 168491"/>
                  <a:gd name="connsiteY117" fmla="*/ 68791 h 120761"/>
                  <a:gd name="connsiteX118" fmla="*/ 20304 w 168491"/>
                  <a:gd name="connsiteY118" fmla="*/ 71972 h 120761"/>
                  <a:gd name="connsiteX119" fmla="*/ 20455 w 168491"/>
                  <a:gd name="connsiteY119" fmla="*/ 74397 h 120761"/>
                  <a:gd name="connsiteX120" fmla="*/ 21819 w 168491"/>
                  <a:gd name="connsiteY120" fmla="*/ 74397 h 120761"/>
                  <a:gd name="connsiteX121" fmla="*/ 23788 w 168491"/>
                  <a:gd name="connsiteY121" fmla="*/ 73488 h 120761"/>
                  <a:gd name="connsiteX122" fmla="*/ 25153 w 168491"/>
                  <a:gd name="connsiteY122" fmla="*/ 73336 h 120761"/>
                  <a:gd name="connsiteX123" fmla="*/ 24546 w 168491"/>
                  <a:gd name="connsiteY123" fmla="*/ 74245 h 120761"/>
                  <a:gd name="connsiteX124" fmla="*/ 21970 w 168491"/>
                  <a:gd name="connsiteY124" fmla="*/ 75609 h 120761"/>
                  <a:gd name="connsiteX125" fmla="*/ 21061 w 168491"/>
                  <a:gd name="connsiteY125" fmla="*/ 77124 h 120761"/>
                  <a:gd name="connsiteX126" fmla="*/ 21667 w 168491"/>
                  <a:gd name="connsiteY126" fmla="*/ 78942 h 120761"/>
                  <a:gd name="connsiteX127" fmla="*/ 24395 w 168491"/>
                  <a:gd name="connsiteY127" fmla="*/ 80912 h 120761"/>
                  <a:gd name="connsiteX128" fmla="*/ 26062 w 168491"/>
                  <a:gd name="connsiteY128" fmla="*/ 83185 h 120761"/>
                  <a:gd name="connsiteX129" fmla="*/ 26667 w 168491"/>
                  <a:gd name="connsiteY129" fmla="*/ 85912 h 120761"/>
                  <a:gd name="connsiteX130" fmla="*/ 33638 w 168491"/>
                  <a:gd name="connsiteY130" fmla="*/ 85761 h 120761"/>
                  <a:gd name="connsiteX131" fmla="*/ 41971 w 168491"/>
                  <a:gd name="connsiteY131" fmla="*/ 85761 h 120761"/>
                  <a:gd name="connsiteX132" fmla="*/ 51214 w 168491"/>
                  <a:gd name="connsiteY132" fmla="*/ 85912 h 120761"/>
                  <a:gd name="connsiteX133" fmla="*/ 55457 w 168491"/>
                  <a:gd name="connsiteY133" fmla="*/ 85912 h 120761"/>
                  <a:gd name="connsiteX134" fmla="*/ 57729 w 168491"/>
                  <a:gd name="connsiteY134" fmla="*/ 82124 h 120761"/>
                  <a:gd name="connsiteX135" fmla="*/ 62124 w 168491"/>
                  <a:gd name="connsiteY135" fmla="*/ 80306 h 120761"/>
                  <a:gd name="connsiteX136" fmla="*/ 66517 w 168491"/>
                  <a:gd name="connsiteY136" fmla="*/ 79700 h 120761"/>
                  <a:gd name="connsiteX137" fmla="*/ 68790 w 168491"/>
                  <a:gd name="connsiteY137" fmla="*/ 79851 h 120761"/>
                  <a:gd name="connsiteX138" fmla="*/ 71214 w 168491"/>
                  <a:gd name="connsiteY138" fmla="*/ 80457 h 120761"/>
                  <a:gd name="connsiteX139" fmla="*/ 75912 w 168491"/>
                  <a:gd name="connsiteY139" fmla="*/ 83639 h 120761"/>
                  <a:gd name="connsiteX140" fmla="*/ 78791 w 168491"/>
                  <a:gd name="connsiteY140" fmla="*/ 84397 h 120761"/>
                  <a:gd name="connsiteX141" fmla="*/ 81215 w 168491"/>
                  <a:gd name="connsiteY141" fmla="*/ 85155 h 120761"/>
                  <a:gd name="connsiteX142" fmla="*/ 82882 w 168491"/>
                  <a:gd name="connsiteY142" fmla="*/ 86670 h 120761"/>
                  <a:gd name="connsiteX143" fmla="*/ 85761 w 168491"/>
                  <a:gd name="connsiteY143" fmla="*/ 88337 h 120761"/>
                  <a:gd name="connsiteX144" fmla="*/ 87882 w 168491"/>
                  <a:gd name="connsiteY144" fmla="*/ 88640 h 120761"/>
                  <a:gd name="connsiteX145" fmla="*/ 89245 w 168491"/>
                  <a:gd name="connsiteY145" fmla="*/ 88488 h 120761"/>
                  <a:gd name="connsiteX146" fmla="*/ 91367 w 168491"/>
                  <a:gd name="connsiteY146" fmla="*/ 87882 h 120761"/>
                  <a:gd name="connsiteX147" fmla="*/ 92731 w 168491"/>
                  <a:gd name="connsiteY147" fmla="*/ 87427 h 120761"/>
                  <a:gd name="connsiteX148" fmla="*/ 97428 w 168491"/>
                  <a:gd name="connsiteY148" fmla="*/ 87124 h 120761"/>
                  <a:gd name="connsiteX149" fmla="*/ 100761 w 168491"/>
                  <a:gd name="connsiteY149" fmla="*/ 88943 h 120761"/>
                  <a:gd name="connsiteX150" fmla="*/ 101519 w 168491"/>
                  <a:gd name="connsiteY150" fmla="*/ 90912 h 120761"/>
                  <a:gd name="connsiteX151" fmla="*/ 100913 w 168491"/>
                  <a:gd name="connsiteY151" fmla="*/ 92882 h 120761"/>
                  <a:gd name="connsiteX152" fmla="*/ 96367 w 168491"/>
                  <a:gd name="connsiteY152" fmla="*/ 93943 h 120761"/>
                  <a:gd name="connsiteX153" fmla="*/ 90003 w 168491"/>
                  <a:gd name="connsiteY153" fmla="*/ 95610 h 120761"/>
                  <a:gd name="connsiteX154" fmla="*/ 84852 w 168491"/>
                  <a:gd name="connsiteY154" fmla="*/ 94700 h 120761"/>
                  <a:gd name="connsiteX155" fmla="*/ 78488 w 168491"/>
                  <a:gd name="connsiteY155" fmla="*/ 92428 h 120761"/>
                  <a:gd name="connsiteX156" fmla="*/ 74700 w 168491"/>
                  <a:gd name="connsiteY156" fmla="*/ 90761 h 120761"/>
                  <a:gd name="connsiteX157" fmla="*/ 73184 w 168491"/>
                  <a:gd name="connsiteY157" fmla="*/ 90155 h 120761"/>
                  <a:gd name="connsiteX158" fmla="*/ 70760 w 168491"/>
                  <a:gd name="connsiteY158" fmla="*/ 89094 h 120761"/>
                  <a:gd name="connsiteX159" fmla="*/ 68790 w 168491"/>
                  <a:gd name="connsiteY159" fmla="*/ 88033 h 120761"/>
                  <a:gd name="connsiteX160" fmla="*/ 66821 w 168491"/>
                  <a:gd name="connsiteY160" fmla="*/ 87276 h 120761"/>
                  <a:gd name="connsiteX161" fmla="*/ 65305 w 168491"/>
                  <a:gd name="connsiteY161" fmla="*/ 86821 h 120761"/>
                  <a:gd name="connsiteX162" fmla="*/ 64245 w 168491"/>
                  <a:gd name="connsiteY162" fmla="*/ 87427 h 120761"/>
                  <a:gd name="connsiteX163" fmla="*/ 63638 w 168491"/>
                  <a:gd name="connsiteY163" fmla="*/ 88791 h 120761"/>
                  <a:gd name="connsiteX164" fmla="*/ 62729 w 168491"/>
                  <a:gd name="connsiteY164" fmla="*/ 90306 h 120761"/>
                  <a:gd name="connsiteX165" fmla="*/ 61669 w 168491"/>
                  <a:gd name="connsiteY165" fmla="*/ 91216 h 120761"/>
                  <a:gd name="connsiteX166" fmla="*/ 56214 w 168491"/>
                  <a:gd name="connsiteY166" fmla="*/ 91821 h 120761"/>
                  <a:gd name="connsiteX167" fmla="*/ 51517 w 168491"/>
                  <a:gd name="connsiteY167" fmla="*/ 92428 h 120761"/>
                  <a:gd name="connsiteX168" fmla="*/ 48941 w 168491"/>
                  <a:gd name="connsiteY168" fmla="*/ 92882 h 120761"/>
                  <a:gd name="connsiteX169" fmla="*/ 47123 w 168491"/>
                  <a:gd name="connsiteY169" fmla="*/ 93185 h 120761"/>
                  <a:gd name="connsiteX170" fmla="*/ 46668 w 168491"/>
                  <a:gd name="connsiteY170" fmla="*/ 97882 h 120761"/>
                  <a:gd name="connsiteX171" fmla="*/ 41214 w 168491"/>
                  <a:gd name="connsiteY171" fmla="*/ 97882 h 120761"/>
                  <a:gd name="connsiteX172" fmla="*/ 35910 w 168491"/>
                  <a:gd name="connsiteY172" fmla="*/ 97731 h 120761"/>
                  <a:gd name="connsiteX173" fmla="*/ 30304 w 168491"/>
                  <a:gd name="connsiteY173" fmla="*/ 97882 h 120761"/>
                  <a:gd name="connsiteX174" fmla="*/ 24395 w 168491"/>
                  <a:gd name="connsiteY174" fmla="*/ 97882 h 120761"/>
                  <a:gd name="connsiteX175" fmla="*/ 22879 w 168491"/>
                  <a:gd name="connsiteY175" fmla="*/ 98943 h 120761"/>
                  <a:gd name="connsiteX176" fmla="*/ 21213 w 168491"/>
                  <a:gd name="connsiteY176" fmla="*/ 100458 h 120761"/>
                  <a:gd name="connsiteX177" fmla="*/ 21364 w 168491"/>
                  <a:gd name="connsiteY177" fmla="*/ 102731 h 120761"/>
                  <a:gd name="connsiteX178" fmla="*/ 21061 w 168491"/>
                  <a:gd name="connsiteY178" fmla="*/ 105458 h 120761"/>
                  <a:gd name="connsiteX179" fmla="*/ 21364 w 168491"/>
                  <a:gd name="connsiteY179" fmla="*/ 110459 h 120761"/>
                  <a:gd name="connsiteX180" fmla="*/ 20758 w 168491"/>
                  <a:gd name="connsiteY180" fmla="*/ 111368 h 120761"/>
                  <a:gd name="connsiteX181" fmla="*/ 21061 w 168491"/>
                  <a:gd name="connsiteY181" fmla="*/ 112428 h 120761"/>
                  <a:gd name="connsiteX182" fmla="*/ 21667 w 168491"/>
                  <a:gd name="connsiteY182" fmla="*/ 113641 h 120761"/>
                  <a:gd name="connsiteX183" fmla="*/ 22879 w 168491"/>
                  <a:gd name="connsiteY183" fmla="*/ 113186 h 120761"/>
                  <a:gd name="connsiteX184" fmla="*/ 23637 w 168491"/>
                  <a:gd name="connsiteY184" fmla="*/ 112580 h 120761"/>
                  <a:gd name="connsiteX185" fmla="*/ 24698 w 168491"/>
                  <a:gd name="connsiteY185" fmla="*/ 110913 h 120761"/>
                  <a:gd name="connsiteX186" fmla="*/ 25758 w 168491"/>
                  <a:gd name="connsiteY186" fmla="*/ 110004 h 120761"/>
                  <a:gd name="connsiteX187" fmla="*/ 27122 w 168491"/>
                  <a:gd name="connsiteY187" fmla="*/ 111519 h 120761"/>
                  <a:gd name="connsiteX188" fmla="*/ 29698 w 168491"/>
                  <a:gd name="connsiteY188" fmla="*/ 112580 h 120761"/>
                  <a:gd name="connsiteX189" fmla="*/ 30001 w 168491"/>
                  <a:gd name="connsiteY189" fmla="*/ 113035 h 120761"/>
                  <a:gd name="connsiteX190" fmla="*/ 29698 w 168491"/>
                  <a:gd name="connsiteY190" fmla="*/ 113792 h 120761"/>
                  <a:gd name="connsiteX191" fmla="*/ 28789 w 168491"/>
                  <a:gd name="connsiteY191" fmla="*/ 113792 h 120761"/>
                  <a:gd name="connsiteX192" fmla="*/ 26971 w 168491"/>
                  <a:gd name="connsiteY192" fmla="*/ 113186 h 120761"/>
                  <a:gd name="connsiteX193" fmla="*/ 23486 w 168491"/>
                  <a:gd name="connsiteY193" fmla="*/ 114398 h 120761"/>
                  <a:gd name="connsiteX194" fmla="*/ 21213 w 168491"/>
                  <a:gd name="connsiteY194" fmla="*/ 115307 h 120761"/>
                  <a:gd name="connsiteX195" fmla="*/ 20607 w 168491"/>
                  <a:gd name="connsiteY195" fmla="*/ 116823 h 120761"/>
                  <a:gd name="connsiteX196" fmla="*/ 21667 w 168491"/>
                  <a:gd name="connsiteY196" fmla="*/ 118792 h 120761"/>
                  <a:gd name="connsiteX197" fmla="*/ 22576 w 168491"/>
                  <a:gd name="connsiteY197" fmla="*/ 120004 h 120761"/>
                  <a:gd name="connsiteX198" fmla="*/ 24092 w 168491"/>
                  <a:gd name="connsiteY198" fmla="*/ 119701 h 120761"/>
                  <a:gd name="connsiteX199" fmla="*/ 27880 w 168491"/>
                  <a:gd name="connsiteY199" fmla="*/ 120156 h 120761"/>
                  <a:gd name="connsiteX200" fmla="*/ 30759 w 168491"/>
                  <a:gd name="connsiteY200" fmla="*/ 119701 h 120761"/>
                  <a:gd name="connsiteX201" fmla="*/ 32729 w 168491"/>
                  <a:gd name="connsiteY201" fmla="*/ 118792 h 120761"/>
                  <a:gd name="connsiteX202" fmla="*/ 35456 w 168491"/>
                  <a:gd name="connsiteY202" fmla="*/ 117580 h 120761"/>
                  <a:gd name="connsiteX203" fmla="*/ 38183 w 168491"/>
                  <a:gd name="connsiteY203" fmla="*/ 117125 h 120761"/>
                  <a:gd name="connsiteX204" fmla="*/ 46517 w 168491"/>
                  <a:gd name="connsiteY204" fmla="*/ 117732 h 120761"/>
                  <a:gd name="connsiteX205" fmla="*/ 53790 w 168491"/>
                  <a:gd name="connsiteY205" fmla="*/ 116216 h 120761"/>
                  <a:gd name="connsiteX206" fmla="*/ 59093 w 168491"/>
                  <a:gd name="connsiteY206" fmla="*/ 113489 h 120761"/>
                  <a:gd name="connsiteX207" fmla="*/ 64093 w 168491"/>
                  <a:gd name="connsiteY207" fmla="*/ 111065 h 120761"/>
                  <a:gd name="connsiteX208" fmla="*/ 70457 w 168491"/>
                  <a:gd name="connsiteY208" fmla="*/ 111065 h 120761"/>
                  <a:gd name="connsiteX209" fmla="*/ 77427 w 168491"/>
                  <a:gd name="connsiteY209" fmla="*/ 111065 h 120761"/>
                  <a:gd name="connsiteX210" fmla="*/ 87276 w 168491"/>
                  <a:gd name="connsiteY210" fmla="*/ 111216 h 120761"/>
                  <a:gd name="connsiteX211" fmla="*/ 95003 w 168491"/>
                  <a:gd name="connsiteY211" fmla="*/ 111216 h 120761"/>
                  <a:gd name="connsiteX212" fmla="*/ 104246 w 168491"/>
                  <a:gd name="connsiteY212" fmla="*/ 111216 h 120761"/>
                  <a:gd name="connsiteX213" fmla="*/ 113034 w 168491"/>
                  <a:gd name="connsiteY213" fmla="*/ 111519 h 120761"/>
                  <a:gd name="connsiteX214" fmla="*/ 113943 w 168491"/>
                  <a:gd name="connsiteY214" fmla="*/ 111822 h 120761"/>
                  <a:gd name="connsiteX215" fmla="*/ 117883 w 168491"/>
                  <a:gd name="connsiteY215" fmla="*/ 112125 h 120761"/>
                  <a:gd name="connsiteX216" fmla="*/ 120308 w 168491"/>
                  <a:gd name="connsiteY216" fmla="*/ 112125 h 120761"/>
                  <a:gd name="connsiteX217" fmla="*/ 121822 w 168491"/>
                  <a:gd name="connsiteY217" fmla="*/ 112277 h 120761"/>
                  <a:gd name="connsiteX218" fmla="*/ 122580 w 168491"/>
                  <a:gd name="connsiteY218" fmla="*/ 112883 h 120761"/>
                  <a:gd name="connsiteX219" fmla="*/ 122429 w 168491"/>
                  <a:gd name="connsiteY219" fmla="*/ 113792 h 120761"/>
                  <a:gd name="connsiteX220" fmla="*/ 121974 w 168491"/>
                  <a:gd name="connsiteY220" fmla="*/ 115004 h 120761"/>
                  <a:gd name="connsiteX221" fmla="*/ 122429 w 168491"/>
                  <a:gd name="connsiteY221" fmla="*/ 116216 h 120761"/>
                  <a:gd name="connsiteX222" fmla="*/ 123792 w 168491"/>
                  <a:gd name="connsiteY222" fmla="*/ 116671 h 120761"/>
                  <a:gd name="connsiteX223" fmla="*/ 124550 w 168491"/>
                  <a:gd name="connsiteY223" fmla="*/ 116216 h 120761"/>
                  <a:gd name="connsiteX224" fmla="*/ 125308 w 168491"/>
                  <a:gd name="connsiteY224" fmla="*/ 115610 h 120761"/>
                  <a:gd name="connsiteX225" fmla="*/ 126065 w 168491"/>
                  <a:gd name="connsiteY225" fmla="*/ 115156 h 120761"/>
                  <a:gd name="connsiteX226" fmla="*/ 127277 w 168491"/>
                  <a:gd name="connsiteY226" fmla="*/ 115459 h 120761"/>
                  <a:gd name="connsiteX227" fmla="*/ 129702 w 168491"/>
                  <a:gd name="connsiteY227" fmla="*/ 117277 h 120761"/>
                  <a:gd name="connsiteX228" fmla="*/ 131974 w 168491"/>
                  <a:gd name="connsiteY228" fmla="*/ 117883 h 120761"/>
                  <a:gd name="connsiteX229" fmla="*/ 134551 w 168491"/>
                  <a:gd name="connsiteY229" fmla="*/ 118944 h 120761"/>
                  <a:gd name="connsiteX230" fmla="*/ 136974 w 168491"/>
                  <a:gd name="connsiteY230" fmla="*/ 119398 h 120761"/>
                  <a:gd name="connsiteX231" fmla="*/ 138944 w 168491"/>
                  <a:gd name="connsiteY231" fmla="*/ 119398 h 120761"/>
                  <a:gd name="connsiteX232" fmla="*/ 140611 w 168491"/>
                  <a:gd name="connsiteY232" fmla="*/ 120459 h 120761"/>
                  <a:gd name="connsiteX233" fmla="*/ 143490 w 168491"/>
                  <a:gd name="connsiteY233" fmla="*/ 120762 h 120761"/>
                  <a:gd name="connsiteX234" fmla="*/ 147429 w 168491"/>
                  <a:gd name="connsiteY234" fmla="*/ 119398 h 120761"/>
                  <a:gd name="connsiteX235" fmla="*/ 150308 w 168491"/>
                  <a:gd name="connsiteY235" fmla="*/ 118792 h 120761"/>
                  <a:gd name="connsiteX236" fmla="*/ 154551 w 168491"/>
                  <a:gd name="connsiteY236" fmla="*/ 118641 h 120761"/>
                  <a:gd name="connsiteX237" fmla="*/ 156824 w 168491"/>
                  <a:gd name="connsiteY237" fmla="*/ 119095 h 120761"/>
                  <a:gd name="connsiteX238" fmla="*/ 163188 w 168491"/>
                  <a:gd name="connsiteY238" fmla="*/ 118035 h 120761"/>
                  <a:gd name="connsiteX239" fmla="*/ 166370 w 168491"/>
                  <a:gd name="connsiteY239" fmla="*/ 118338 h 120761"/>
                  <a:gd name="connsiteX240" fmla="*/ 168188 w 168491"/>
                  <a:gd name="connsiteY240" fmla="*/ 118641 h 120761"/>
                  <a:gd name="connsiteX241" fmla="*/ 168491 w 168491"/>
                  <a:gd name="connsiteY241" fmla="*/ 116519 h 12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168491" h="120761">
                    <a:moveTo>
                      <a:pt x="166673" y="115156"/>
                    </a:moveTo>
                    <a:lnTo>
                      <a:pt x="166521" y="114398"/>
                    </a:lnTo>
                    <a:lnTo>
                      <a:pt x="166673" y="112428"/>
                    </a:lnTo>
                    <a:lnTo>
                      <a:pt x="167582" y="108337"/>
                    </a:lnTo>
                    <a:lnTo>
                      <a:pt x="167430" y="106822"/>
                    </a:lnTo>
                    <a:lnTo>
                      <a:pt x="168188" y="103792"/>
                    </a:lnTo>
                    <a:lnTo>
                      <a:pt x="166976" y="102428"/>
                    </a:lnTo>
                    <a:lnTo>
                      <a:pt x="166673" y="101367"/>
                    </a:lnTo>
                    <a:lnTo>
                      <a:pt x="165460" y="99852"/>
                    </a:lnTo>
                    <a:lnTo>
                      <a:pt x="163945" y="97428"/>
                    </a:lnTo>
                    <a:lnTo>
                      <a:pt x="163491" y="95610"/>
                    </a:lnTo>
                    <a:lnTo>
                      <a:pt x="163036" y="94246"/>
                    </a:lnTo>
                    <a:lnTo>
                      <a:pt x="161521" y="91973"/>
                    </a:lnTo>
                    <a:lnTo>
                      <a:pt x="160460" y="91670"/>
                    </a:lnTo>
                    <a:lnTo>
                      <a:pt x="158188" y="91216"/>
                    </a:lnTo>
                    <a:lnTo>
                      <a:pt x="157733" y="91973"/>
                    </a:lnTo>
                    <a:lnTo>
                      <a:pt x="156975" y="93185"/>
                    </a:lnTo>
                    <a:lnTo>
                      <a:pt x="156066" y="93488"/>
                    </a:lnTo>
                    <a:lnTo>
                      <a:pt x="154854" y="92125"/>
                    </a:lnTo>
                    <a:lnTo>
                      <a:pt x="154400" y="90912"/>
                    </a:lnTo>
                    <a:lnTo>
                      <a:pt x="154400" y="89852"/>
                    </a:lnTo>
                    <a:lnTo>
                      <a:pt x="152733" y="88033"/>
                    </a:lnTo>
                    <a:lnTo>
                      <a:pt x="150005" y="84700"/>
                    </a:lnTo>
                    <a:lnTo>
                      <a:pt x="150308" y="81821"/>
                    </a:lnTo>
                    <a:lnTo>
                      <a:pt x="151975" y="80457"/>
                    </a:lnTo>
                    <a:lnTo>
                      <a:pt x="152430" y="79245"/>
                    </a:lnTo>
                    <a:lnTo>
                      <a:pt x="152581" y="78033"/>
                    </a:lnTo>
                    <a:lnTo>
                      <a:pt x="151824" y="76367"/>
                    </a:lnTo>
                    <a:lnTo>
                      <a:pt x="150915" y="75154"/>
                    </a:lnTo>
                    <a:lnTo>
                      <a:pt x="151217" y="72579"/>
                    </a:lnTo>
                    <a:lnTo>
                      <a:pt x="151066" y="68791"/>
                    </a:lnTo>
                    <a:lnTo>
                      <a:pt x="149703" y="66972"/>
                    </a:lnTo>
                    <a:lnTo>
                      <a:pt x="148490" y="65608"/>
                    </a:lnTo>
                    <a:lnTo>
                      <a:pt x="146672" y="64093"/>
                    </a:lnTo>
                    <a:lnTo>
                      <a:pt x="145308" y="61820"/>
                    </a:lnTo>
                    <a:lnTo>
                      <a:pt x="145915" y="58638"/>
                    </a:lnTo>
                    <a:lnTo>
                      <a:pt x="146369" y="56517"/>
                    </a:lnTo>
                    <a:lnTo>
                      <a:pt x="143793" y="52123"/>
                    </a:lnTo>
                    <a:lnTo>
                      <a:pt x="143187" y="51820"/>
                    </a:lnTo>
                    <a:lnTo>
                      <a:pt x="140308" y="49850"/>
                    </a:lnTo>
                    <a:lnTo>
                      <a:pt x="138944" y="47426"/>
                    </a:lnTo>
                    <a:lnTo>
                      <a:pt x="136672" y="45608"/>
                    </a:lnTo>
                    <a:lnTo>
                      <a:pt x="133490" y="44547"/>
                    </a:lnTo>
                    <a:lnTo>
                      <a:pt x="131368" y="43183"/>
                    </a:lnTo>
                    <a:lnTo>
                      <a:pt x="130459" y="41517"/>
                    </a:lnTo>
                    <a:lnTo>
                      <a:pt x="129247" y="40608"/>
                    </a:lnTo>
                    <a:lnTo>
                      <a:pt x="128035" y="40001"/>
                    </a:lnTo>
                    <a:lnTo>
                      <a:pt x="127884" y="39395"/>
                    </a:lnTo>
                    <a:lnTo>
                      <a:pt x="128186" y="38638"/>
                    </a:lnTo>
                    <a:lnTo>
                      <a:pt x="127884" y="37274"/>
                    </a:lnTo>
                    <a:lnTo>
                      <a:pt x="126065" y="34092"/>
                    </a:lnTo>
                    <a:lnTo>
                      <a:pt x="124247" y="32729"/>
                    </a:lnTo>
                    <a:lnTo>
                      <a:pt x="122883" y="32880"/>
                    </a:lnTo>
                    <a:lnTo>
                      <a:pt x="121974" y="32577"/>
                    </a:lnTo>
                    <a:lnTo>
                      <a:pt x="121519" y="31819"/>
                    </a:lnTo>
                    <a:lnTo>
                      <a:pt x="121217" y="30910"/>
                    </a:lnTo>
                    <a:lnTo>
                      <a:pt x="120308" y="30001"/>
                    </a:lnTo>
                    <a:lnTo>
                      <a:pt x="118489" y="29546"/>
                    </a:lnTo>
                    <a:lnTo>
                      <a:pt x="117125" y="27274"/>
                    </a:lnTo>
                    <a:lnTo>
                      <a:pt x="116065" y="23031"/>
                    </a:lnTo>
                    <a:lnTo>
                      <a:pt x="114701" y="19698"/>
                    </a:lnTo>
                    <a:lnTo>
                      <a:pt x="112883" y="17273"/>
                    </a:lnTo>
                    <a:lnTo>
                      <a:pt x="111671" y="16364"/>
                    </a:lnTo>
                    <a:lnTo>
                      <a:pt x="110913" y="16213"/>
                    </a:lnTo>
                    <a:lnTo>
                      <a:pt x="110610" y="15910"/>
                    </a:lnTo>
                    <a:lnTo>
                      <a:pt x="110307" y="15152"/>
                    </a:lnTo>
                    <a:lnTo>
                      <a:pt x="108943" y="14849"/>
                    </a:lnTo>
                    <a:lnTo>
                      <a:pt x="107125" y="15607"/>
                    </a:lnTo>
                    <a:lnTo>
                      <a:pt x="105458" y="15304"/>
                    </a:lnTo>
                    <a:lnTo>
                      <a:pt x="104549" y="14243"/>
                    </a:lnTo>
                    <a:lnTo>
                      <a:pt x="103488" y="14092"/>
                    </a:lnTo>
                    <a:lnTo>
                      <a:pt x="101973" y="15001"/>
                    </a:lnTo>
                    <a:lnTo>
                      <a:pt x="100458" y="14849"/>
                    </a:lnTo>
                    <a:lnTo>
                      <a:pt x="98640" y="13182"/>
                    </a:lnTo>
                    <a:lnTo>
                      <a:pt x="97731" y="11667"/>
                    </a:lnTo>
                    <a:lnTo>
                      <a:pt x="97428" y="10304"/>
                    </a:lnTo>
                    <a:lnTo>
                      <a:pt x="94397" y="7273"/>
                    </a:lnTo>
                    <a:lnTo>
                      <a:pt x="88640" y="2727"/>
                    </a:lnTo>
                    <a:lnTo>
                      <a:pt x="82276" y="606"/>
                    </a:lnTo>
                    <a:lnTo>
                      <a:pt x="75306" y="909"/>
                    </a:lnTo>
                    <a:lnTo>
                      <a:pt x="71366" y="606"/>
                    </a:lnTo>
                    <a:lnTo>
                      <a:pt x="70609" y="0"/>
                    </a:lnTo>
                    <a:lnTo>
                      <a:pt x="69700" y="0"/>
                    </a:lnTo>
                    <a:lnTo>
                      <a:pt x="68790" y="909"/>
                    </a:lnTo>
                    <a:lnTo>
                      <a:pt x="67881" y="1061"/>
                    </a:lnTo>
                    <a:lnTo>
                      <a:pt x="66972" y="606"/>
                    </a:lnTo>
                    <a:lnTo>
                      <a:pt x="66366" y="909"/>
                    </a:lnTo>
                    <a:lnTo>
                      <a:pt x="66063" y="2121"/>
                    </a:lnTo>
                    <a:lnTo>
                      <a:pt x="63638" y="2576"/>
                    </a:lnTo>
                    <a:lnTo>
                      <a:pt x="59093" y="2727"/>
                    </a:lnTo>
                    <a:lnTo>
                      <a:pt x="55305" y="3333"/>
                    </a:lnTo>
                    <a:lnTo>
                      <a:pt x="52426" y="4849"/>
                    </a:lnTo>
                    <a:lnTo>
                      <a:pt x="48486" y="5303"/>
                    </a:lnTo>
                    <a:lnTo>
                      <a:pt x="43184" y="5152"/>
                    </a:lnTo>
                    <a:lnTo>
                      <a:pt x="40001" y="4697"/>
                    </a:lnTo>
                    <a:lnTo>
                      <a:pt x="38940" y="3788"/>
                    </a:lnTo>
                    <a:lnTo>
                      <a:pt x="37426" y="3637"/>
                    </a:lnTo>
                    <a:lnTo>
                      <a:pt x="35607" y="4091"/>
                    </a:lnTo>
                    <a:lnTo>
                      <a:pt x="33789" y="6364"/>
                    </a:lnTo>
                    <a:lnTo>
                      <a:pt x="32274" y="10304"/>
                    </a:lnTo>
                    <a:lnTo>
                      <a:pt x="31062" y="12576"/>
                    </a:lnTo>
                    <a:lnTo>
                      <a:pt x="30001" y="13182"/>
                    </a:lnTo>
                    <a:lnTo>
                      <a:pt x="28941" y="16213"/>
                    </a:lnTo>
                    <a:lnTo>
                      <a:pt x="28334" y="21213"/>
                    </a:lnTo>
                    <a:lnTo>
                      <a:pt x="27425" y="23486"/>
                    </a:lnTo>
                    <a:lnTo>
                      <a:pt x="26516" y="26365"/>
                    </a:lnTo>
                    <a:lnTo>
                      <a:pt x="18940" y="38638"/>
                    </a:lnTo>
                    <a:lnTo>
                      <a:pt x="10758" y="48941"/>
                    </a:lnTo>
                    <a:lnTo>
                      <a:pt x="3485" y="52578"/>
                    </a:lnTo>
                    <a:lnTo>
                      <a:pt x="0" y="53638"/>
                    </a:lnTo>
                    <a:lnTo>
                      <a:pt x="2576" y="56366"/>
                    </a:lnTo>
                    <a:lnTo>
                      <a:pt x="3333" y="54396"/>
                    </a:lnTo>
                    <a:lnTo>
                      <a:pt x="5303" y="54244"/>
                    </a:lnTo>
                    <a:lnTo>
                      <a:pt x="7576" y="55002"/>
                    </a:lnTo>
                    <a:lnTo>
                      <a:pt x="10152" y="56820"/>
                    </a:lnTo>
                    <a:lnTo>
                      <a:pt x="12576" y="61063"/>
                    </a:lnTo>
                    <a:lnTo>
                      <a:pt x="15455" y="63336"/>
                    </a:lnTo>
                    <a:lnTo>
                      <a:pt x="18031" y="68791"/>
                    </a:lnTo>
                    <a:lnTo>
                      <a:pt x="20304" y="71972"/>
                    </a:lnTo>
                    <a:lnTo>
                      <a:pt x="20455" y="74397"/>
                    </a:lnTo>
                    <a:lnTo>
                      <a:pt x="21819" y="74397"/>
                    </a:lnTo>
                    <a:lnTo>
                      <a:pt x="23788" y="73488"/>
                    </a:lnTo>
                    <a:lnTo>
                      <a:pt x="25153" y="73336"/>
                    </a:lnTo>
                    <a:lnTo>
                      <a:pt x="24546" y="74245"/>
                    </a:lnTo>
                    <a:lnTo>
                      <a:pt x="21970" y="75609"/>
                    </a:lnTo>
                    <a:lnTo>
                      <a:pt x="21061" y="77124"/>
                    </a:lnTo>
                    <a:lnTo>
                      <a:pt x="21667" y="78942"/>
                    </a:lnTo>
                    <a:lnTo>
                      <a:pt x="24395" y="80912"/>
                    </a:lnTo>
                    <a:lnTo>
                      <a:pt x="26062" y="83185"/>
                    </a:lnTo>
                    <a:lnTo>
                      <a:pt x="26667" y="85912"/>
                    </a:lnTo>
                    <a:lnTo>
                      <a:pt x="33638" y="85761"/>
                    </a:lnTo>
                    <a:lnTo>
                      <a:pt x="41971" y="85761"/>
                    </a:lnTo>
                    <a:lnTo>
                      <a:pt x="51214" y="85912"/>
                    </a:lnTo>
                    <a:lnTo>
                      <a:pt x="55457" y="85912"/>
                    </a:lnTo>
                    <a:lnTo>
                      <a:pt x="57729" y="82124"/>
                    </a:lnTo>
                    <a:lnTo>
                      <a:pt x="62124" y="80306"/>
                    </a:lnTo>
                    <a:lnTo>
                      <a:pt x="66517" y="79700"/>
                    </a:lnTo>
                    <a:lnTo>
                      <a:pt x="68790" y="79851"/>
                    </a:lnTo>
                    <a:lnTo>
                      <a:pt x="71214" y="80457"/>
                    </a:lnTo>
                    <a:lnTo>
                      <a:pt x="75912" y="83639"/>
                    </a:lnTo>
                    <a:lnTo>
                      <a:pt x="78791" y="84397"/>
                    </a:lnTo>
                    <a:lnTo>
                      <a:pt x="81215" y="85155"/>
                    </a:lnTo>
                    <a:lnTo>
                      <a:pt x="82882" y="86670"/>
                    </a:lnTo>
                    <a:lnTo>
                      <a:pt x="85761" y="88337"/>
                    </a:lnTo>
                    <a:lnTo>
                      <a:pt x="87882" y="88640"/>
                    </a:lnTo>
                    <a:lnTo>
                      <a:pt x="89245" y="88488"/>
                    </a:lnTo>
                    <a:lnTo>
                      <a:pt x="91367" y="87882"/>
                    </a:lnTo>
                    <a:lnTo>
                      <a:pt x="92731" y="87427"/>
                    </a:lnTo>
                    <a:lnTo>
                      <a:pt x="97428" y="87124"/>
                    </a:lnTo>
                    <a:lnTo>
                      <a:pt x="100761" y="88943"/>
                    </a:lnTo>
                    <a:lnTo>
                      <a:pt x="101519" y="90912"/>
                    </a:lnTo>
                    <a:lnTo>
                      <a:pt x="100913" y="92882"/>
                    </a:lnTo>
                    <a:lnTo>
                      <a:pt x="96367" y="93943"/>
                    </a:lnTo>
                    <a:lnTo>
                      <a:pt x="90003" y="95610"/>
                    </a:lnTo>
                    <a:lnTo>
                      <a:pt x="84852" y="94700"/>
                    </a:lnTo>
                    <a:lnTo>
                      <a:pt x="78488" y="92428"/>
                    </a:lnTo>
                    <a:lnTo>
                      <a:pt x="74700" y="90761"/>
                    </a:lnTo>
                    <a:lnTo>
                      <a:pt x="73184" y="90155"/>
                    </a:lnTo>
                    <a:lnTo>
                      <a:pt x="70760" y="89094"/>
                    </a:lnTo>
                    <a:lnTo>
                      <a:pt x="68790" y="88033"/>
                    </a:lnTo>
                    <a:lnTo>
                      <a:pt x="66821" y="87276"/>
                    </a:lnTo>
                    <a:lnTo>
                      <a:pt x="65305" y="86821"/>
                    </a:lnTo>
                    <a:lnTo>
                      <a:pt x="64245" y="87427"/>
                    </a:lnTo>
                    <a:lnTo>
                      <a:pt x="63638" y="88791"/>
                    </a:lnTo>
                    <a:lnTo>
                      <a:pt x="62729" y="90306"/>
                    </a:lnTo>
                    <a:lnTo>
                      <a:pt x="61669" y="91216"/>
                    </a:lnTo>
                    <a:lnTo>
                      <a:pt x="56214" y="91821"/>
                    </a:lnTo>
                    <a:lnTo>
                      <a:pt x="51517" y="92428"/>
                    </a:lnTo>
                    <a:lnTo>
                      <a:pt x="48941" y="92882"/>
                    </a:lnTo>
                    <a:lnTo>
                      <a:pt x="47123" y="93185"/>
                    </a:lnTo>
                    <a:lnTo>
                      <a:pt x="46668" y="97882"/>
                    </a:lnTo>
                    <a:lnTo>
                      <a:pt x="41214" y="97882"/>
                    </a:lnTo>
                    <a:lnTo>
                      <a:pt x="35910" y="97731"/>
                    </a:lnTo>
                    <a:lnTo>
                      <a:pt x="30304" y="97882"/>
                    </a:lnTo>
                    <a:lnTo>
                      <a:pt x="24395" y="97882"/>
                    </a:lnTo>
                    <a:lnTo>
                      <a:pt x="22879" y="98943"/>
                    </a:lnTo>
                    <a:lnTo>
                      <a:pt x="21213" y="100458"/>
                    </a:lnTo>
                    <a:lnTo>
                      <a:pt x="21364" y="102731"/>
                    </a:lnTo>
                    <a:lnTo>
                      <a:pt x="21061" y="105458"/>
                    </a:lnTo>
                    <a:lnTo>
                      <a:pt x="21364" y="110459"/>
                    </a:lnTo>
                    <a:lnTo>
                      <a:pt x="20758" y="111368"/>
                    </a:lnTo>
                    <a:lnTo>
                      <a:pt x="21061" y="112428"/>
                    </a:lnTo>
                    <a:lnTo>
                      <a:pt x="21667" y="113641"/>
                    </a:lnTo>
                    <a:lnTo>
                      <a:pt x="22879" y="113186"/>
                    </a:lnTo>
                    <a:lnTo>
                      <a:pt x="23637" y="112580"/>
                    </a:lnTo>
                    <a:lnTo>
                      <a:pt x="24698" y="110913"/>
                    </a:lnTo>
                    <a:lnTo>
                      <a:pt x="25758" y="110004"/>
                    </a:lnTo>
                    <a:lnTo>
                      <a:pt x="27122" y="111519"/>
                    </a:lnTo>
                    <a:lnTo>
                      <a:pt x="29698" y="112580"/>
                    </a:lnTo>
                    <a:lnTo>
                      <a:pt x="30001" y="113035"/>
                    </a:lnTo>
                    <a:lnTo>
                      <a:pt x="29698" y="113792"/>
                    </a:lnTo>
                    <a:lnTo>
                      <a:pt x="28789" y="113792"/>
                    </a:lnTo>
                    <a:lnTo>
                      <a:pt x="26971" y="113186"/>
                    </a:lnTo>
                    <a:lnTo>
                      <a:pt x="23486" y="114398"/>
                    </a:lnTo>
                    <a:lnTo>
                      <a:pt x="21213" y="115307"/>
                    </a:lnTo>
                    <a:lnTo>
                      <a:pt x="20607" y="116823"/>
                    </a:lnTo>
                    <a:lnTo>
                      <a:pt x="21667" y="118792"/>
                    </a:lnTo>
                    <a:lnTo>
                      <a:pt x="22576" y="120004"/>
                    </a:lnTo>
                    <a:lnTo>
                      <a:pt x="24092" y="119701"/>
                    </a:lnTo>
                    <a:lnTo>
                      <a:pt x="27880" y="120156"/>
                    </a:lnTo>
                    <a:lnTo>
                      <a:pt x="30759" y="119701"/>
                    </a:lnTo>
                    <a:lnTo>
                      <a:pt x="32729" y="118792"/>
                    </a:lnTo>
                    <a:lnTo>
                      <a:pt x="35456" y="117580"/>
                    </a:lnTo>
                    <a:lnTo>
                      <a:pt x="38183" y="117125"/>
                    </a:lnTo>
                    <a:lnTo>
                      <a:pt x="46517" y="117732"/>
                    </a:lnTo>
                    <a:lnTo>
                      <a:pt x="53790" y="116216"/>
                    </a:lnTo>
                    <a:lnTo>
                      <a:pt x="59093" y="113489"/>
                    </a:lnTo>
                    <a:lnTo>
                      <a:pt x="64093" y="111065"/>
                    </a:lnTo>
                    <a:lnTo>
                      <a:pt x="70457" y="111065"/>
                    </a:lnTo>
                    <a:lnTo>
                      <a:pt x="77427" y="111065"/>
                    </a:lnTo>
                    <a:lnTo>
                      <a:pt x="87276" y="111216"/>
                    </a:lnTo>
                    <a:lnTo>
                      <a:pt x="95003" y="111216"/>
                    </a:lnTo>
                    <a:lnTo>
                      <a:pt x="104246" y="111216"/>
                    </a:lnTo>
                    <a:lnTo>
                      <a:pt x="113034" y="111519"/>
                    </a:lnTo>
                    <a:lnTo>
                      <a:pt x="113943" y="111822"/>
                    </a:lnTo>
                    <a:lnTo>
                      <a:pt x="117883" y="112125"/>
                    </a:lnTo>
                    <a:lnTo>
                      <a:pt x="120308" y="112125"/>
                    </a:lnTo>
                    <a:lnTo>
                      <a:pt x="121822" y="112277"/>
                    </a:lnTo>
                    <a:lnTo>
                      <a:pt x="122580" y="112883"/>
                    </a:lnTo>
                    <a:lnTo>
                      <a:pt x="122429" y="113792"/>
                    </a:lnTo>
                    <a:lnTo>
                      <a:pt x="121974" y="115004"/>
                    </a:lnTo>
                    <a:lnTo>
                      <a:pt x="122429" y="116216"/>
                    </a:lnTo>
                    <a:lnTo>
                      <a:pt x="123792" y="116671"/>
                    </a:lnTo>
                    <a:lnTo>
                      <a:pt x="124550" y="116216"/>
                    </a:lnTo>
                    <a:lnTo>
                      <a:pt x="125308" y="115610"/>
                    </a:lnTo>
                    <a:lnTo>
                      <a:pt x="126065" y="115156"/>
                    </a:lnTo>
                    <a:lnTo>
                      <a:pt x="127277" y="115459"/>
                    </a:lnTo>
                    <a:lnTo>
                      <a:pt x="129702" y="117277"/>
                    </a:lnTo>
                    <a:lnTo>
                      <a:pt x="131974" y="117883"/>
                    </a:lnTo>
                    <a:lnTo>
                      <a:pt x="134551" y="118944"/>
                    </a:lnTo>
                    <a:lnTo>
                      <a:pt x="136974" y="119398"/>
                    </a:lnTo>
                    <a:lnTo>
                      <a:pt x="138944" y="119398"/>
                    </a:lnTo>
                    <a:lnTo>
                      <a:pt x="140611" y="120459"/>
                    </a:lnTo>
                    <a:lnTo>
                      <a:pt x="143490" y="120762"/>
                    </a:lnTo>
                    <a:lnTo>
                      <a:pt x="147429" y="119398"/>
                    </a:lnTo>
                    <a:lnTo>
                      <a:pt x="150308" y="118792"/>
                    </a:lnTo>
                    <a:lnTo>
                      <a:pt x="154551" y="118641"/>
                    </a:lnTo>
                    <a:lnTo>
                      <a:pt x="156824" y="119095"/>
                    </a:lnTo>
                    <a:lnTo>
                      <a:pt x="163188" y="118035"/>
                    </a:lnTo>
                    <a:lnTo>
                      <a:pt x="166370" y="118338"/>
                    </a:lnTo>
                    <a:lnTo>
                      <a:pt x="168188" y="118641"/>
                    </a:lnTo>
                    <a:lnTo>
                      <a:pt x="168491" y="11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D985B91D-97C0-41FA-93D8-03635065C02F}"/>
                  </a:ext>
                </a:extLst>
              </p:cNvPr>
              <p:cNvSpPr/>
              <p:nvPr/>
            </p:nvSpPr>
            <p:spPr>
              <a:xfrm>
                <a:off x="6116303" y="3281189"/>
                <a:ext cx="3333" cy="3181"/>
              </a:xfrm>
              <a:custGeom>
                <a:avLst/>
                <a:gdLst>
                  <a:gd name="connsiteX0" fmla="*/ 3031 w 3333"/>
                  <a:gd name="connsiteY0" fmla="*/ 0 h 3181"/>
                  <a:gd name="connsiteX1" fmla="*/ 1212 w 3333"/>
                  <a:gd name="connsiteY1" fmla="*/ 303 h 3181"/>
                  <a:gd name="connsiteX2" fmla="*/ 0 w 3333"/>
                  <a:gd name="connsiteY2" fmla="*/ 1818 h 3181"/>
                  <a:gd name="connsiteX3" fmla="*/ 909 w 3333"/>
                  <a:gd name="connsiteY3" fmla="*/ 3182 h 3181"/>
                  <a:gd name="connsiteX4" fmla="*/ 2424 w 3333"/>
                  <a:gd name="connsiteY4" fmla="*/ 3030 h 3181"/>
                  <a:gd name="connsiteX5" fmla="*/ 3333 w 3333"/>
                  <a:gd name="connsiteY5" fmla="*/ 1212 h 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3" h="3181">
                    <a:moveTo>
                      <a:pt x="3031" y="0"/>
                    </a:moveTo>
                    <a:lnTo>
                      <a:pt x="1212" y="303"/>
                    </a:lnTo>
                    <a:lnTo>
                      <a:pt x="0" y="1818"/>
                    </a:lnTo>
                    <a:lnTo>
                      <a:pt x="909" y="3182"/>
                    </a:lnTo>
                    <a:lnTo>
                      <a:pt x="2424" y="3030"/>
                    </a:lnTo>
                    <a:lnTo>
                      <a:pt x="3333"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C3D4CB2D-D22C-478A-9F5B-BCC390065EDE}"/>
                  </a:ext>
                </a:extLst>
              </p:cNvPr>
              <p:cNvSpPr/>
              <p:nvPr/>
            </p:nvSpPr>
            <p:spPr>
              <a:xfrm>
                <a:off x="6143274" y="3183761"/>
                <a:ext cx="85760" cy="49092"/>
              </a:xfrm>
              <a:custGeom>
                <a:avLst/>
                <a:gdLst>
                  <a:gd name="connsiteX0" fmla="*/ 85458 w 85760"/>
                  <a:gd name="connsiteY0" fmla="*/ 11667 h 49092"/>
                  <a:gd name="connsiteX1" fmla="*/ 83185 w 85760"/>
                  <a:gd name="connsiteY1" fmla="*/ 8788 h 49092"/>
                  <a:gd name="connsiteX2" fmla="*/ 82124 w 85760"/>
                  <a:gd name="connsiteY2" fmla="*/ 7728 h 49092"/>
                  <a:gd name="connsiteX3" fmla="*/ 82276 w 85760"/>
                  <a:gd name="connsiteY3" fmla="*/ 6212 h 49092"/>
                  <a:gd name="connsiteX4" fmla="*/ 81670 w 85760"/>
                  <a:gd name="connsiteY4" fmla="*/ 5455 h 49092"/>
                  <a:gd name="connsiteX5" fmla="*/ 80912 w 85760"/>
                  <a:gd name="connsiteY5" fmla="*/ 4849 h 49092"/>
                  <a:gd name="connsiteX6" fmla="*/ 80457 w 85760"/>
                  <a:gd name="connsiteY6" fmla="*/ 2727 h 49092"/>
                  <a:gd name="connsiteX7" fmla="*/ 80155 w 85760"/>
                  <a:gd name="connsiteY7" fmla="*/ 1212 h 49092"/>
                  <a:gd name="connsiteX8" fmla="*/ 79397 w 85760"/>
                  <a:gd name="connsiteY8" fmla="*/ 152 h 49092"/>
                  <a:gd name="connsiteX9" fmla="*/ 74245 w 85760"/>
                  <a:gd name="connsiteY9" fmla="*/ 0 h 49092"/>
                  <a:gd name="connsiteX10" fmla="*/ 72730 w 85760"/>
                  <a:gd name="connsiteY10" fmla="*/ 606 h 49092"/>
                  <a:gd name="connsiteX11" fmla="*/ 71063 w 85760"/>
                  <a:gd name="connsiteY11" fmla="*/ 2121 h 49092"/>
                  <a:gd name="connsiteX12" fmla="*/ 71215 w 85760"/>
                  <a:gd name="connsiteY12" fmla="*/ 5455 h 49092"/>
                  <a:gd name="connsiteX13" fmla="*/ 70912 w 85760"/>
                  <a:gd name="connsiteY13" fmla="*/ 5758 h 49092"/>
                  <a:gd name="connsiteX14" fmla="*/ 70457 w 85760"/>
                  <a:gd name="connsiteY14" fmla="*/ 6364 h 49092"/>
                  <a:gd name="connsiteX15" fmla="*/ 65305 w 85760"/>
                  <a:gd name="connsiteY15" fmla="*/ 5303 h 49092"/>
                  <a:gd name="connsiteX16" fmla="*/ 65154 w 85760"/>
                  <a:gd name="connsiteY16" fmla="*/ 5303 h 49092"/>
                  <a:gd name="connsiteX17" fmla="*/ 61669 w 85760"/>
                  <a:gd name="connsiteY17" fmla="*/ 5758 h 49092"/>
                  <a:gd name="connsiteX18" fmla="*/ 59245 w 85760"/>
                  <a:gd name="connsiteY18" fmla="*/ 7121 h 49092"/>
                  <a:gd name="connsiteX19" fmla="*/ 56366 w 85760"/>
                  <a:gd name="connsiteY19" fmla="*/ 8031 h 49092"/>
                  <a:gd name="connsiteX20" fmla="*/ 50305 w 85760"/>
                  <a:gd name="connsiteY20" fmla="*/ 7576 h 49092"/>
                  <a:gd name="connsiteX21" fmla="*/ 44395 w 85760"/>
                  <a:gd name="connsiteY21" fmla="*/ 8182 h 49092"/>
                  <a:gd name="connsiteX22" fmla="*/ 42881 w 85760"/>
                  <a:gd name="connsiteY22" fmla="*/ 8637 h 49092"/>
                  <a:gd name="connsiteX23" fmla="*/ 41365 w 85760"/>
                  <a:gd name="connsiteY23" fmla="*/ 8788 h 49092"/>
                  <a:gd name="connsiteX24" fmla="*/ 40002 w 85760"/>
                  <a:gd name="connsiteY24" fmla="*/ 9697 h 49092"/>
                  <a:gd name="connsiteX25" fmla="*/ 39093 w 85760"/>
                  <a:gd name="connsiteY25" fmla="*/ 10910 h 49092"/>
                  <a:gd name="connsiteX26" fmla="*/ 37729 w 85760"/>
                  <a:gd name="connsiteY26" fmla="*/ 12576 h 49092"/>
                  <a:gd name="connsiteX27" fmla="*/ 35607 w 85760"/>
                  <a:gd name="connsiteY27" fmla="*/ 13788 h 49092"/>
                  <a:gd name="connsiteX28" fmla="*/ 33335 w 85760"/>
                  <a:gd name="connsiteY28" fmla="*/ 14698 h 49092"/>
                  <a:gd name="connsiteX29" fmla="*/ 32729 w 85760"/>
                  <a:gd name="connsiteY29" fmla="*/ 15455 h 49092"/>
                  <a:gd name="connsiteX30" fmla="*/ 31971 w 85760"/>
                  <a:gd name="connsiteY30" fmla="*/ 15910 h 49092"/>
                  <a:gd name="connsiteX31" fmla="*/ 30759 w 85760"/>
                  <a:gd name="connsiteY31" fmla="*/ 15304 h 49092"/>
                  <a:gd name="connsiteX32" fmla="*/ 29698 w 85760"/>
                  <a:gd name="connsiteY32" fmla="*/ 15304 h 49092"/>
                  <a:gd name="connsiteX33" fmla="*/ 28486 w 85760"/>
                  <a:gd name="connsiteY33" fmla="*/ 15001 h 49092"/>
                  <a:gd name="connsiteX34" fmla="*/ 24243 w 85760"/>
                  <a:gd name="connsiteY34" fmla="*/ 14546 h 49092"/>
                  <a:gd name="connsiteX35" fmla="*/ 19698 w 85760"/>
                  <a:gd name="connsiteY35" fmla="*/ 13788 h 49092"/>
                  <a:gd name="connsiteX36" fmla="*/ 17576 w 85760"/>
                  <a:gd name="connsiteY36" fmla="*/ 13031 h 49092"/>
                  <a:gd name="connsiteX37" fmla="*/ 15000 w 85760"/>
                  <a:gd name="connsiteY37" fmla="*/ 12576 h 49092"/>
                  <a:gd name="connsiteX38" fmla="*/ 12425 w 85760"/>
                  <a:gd name="connsiteY38" fmla="*/ 12122 h 49092"/>
                  <a:gd name="connsiteX39" fmla="*/ 10000 w 85760"/>
                  <a:gd name="connsiteY39" fmla="*/ 11970 h 49092"/>
                  <a:gd name="connsiteX40" fmla="*/ 8788 w 85760"/>
                  <a:gd name="connsiteY40" fmla="*/ 11819 h 49092"/>
                  <a:gd name="connsiteX41" fmla="*/ 8182 w 85760"/>
                  <a:gd name="connsiteY41" fmla="*/ 13788 h 49092"/>
                  <a:gd name="connsiteX42" fmla="*/ 6970 w 85760"/>
                  <a:gd name="connsiteY42" fmla="*/ 14243 h 49092"/>
                  <a:gd name="connsiteX43" fmla="*/ 5000 w 85760"/>
                  <a:gd name="connsiteY43" fmla="*/ 15455 h 49092"/>
                  <a:gd name="connsiteX44" fmla="*/ 2727 w 85760"/>
                  <a:gd name="connsiteY44" fmla="*/ 16970 h 49092"/>
                  <a:gd name="connsiteX45" fmla="*/ 606 w 85760"/>
                  <a:gd name="connsiteY45" fmla="*/ 18789 h 49092"/>
                  <a:gd name="connsiteX46" fmla="*/ 0 w 85760"/>
                  <a:gd name="connsiteY46" fmla="*/ 20607 h 49092"/>
                  <a:gd name="connsiteX47" fmla="*/ 606 w 85760"/>
                  <a:gd name="connsiteY47" fmla="*/ 21970 h 49092"/>
                  <a:gd name="connsiteX48" fmla="*/ 1061 w 85760"/>
                  <a:gd name="connsiteY48" fmla="*/ 22274 h 49092"/>
                  <a:gd name="connsiteX49" fmla="*/ 1970 w 85760"/>
                  <a:gd name="connsiteY49" fmla="*/ 21970 h 49092"/>
                  <a:gd name="connsiteX50" fmla="*/ 3031 w 85760"/>
                  <a:gd name="connsiteY50" fmla="*/ 22274 h 49092"/>
                  <a:gd name="connsiteX51" fmla="*/ 4546 w 85760"/>
                  <a:gd name="connsiteY51" fmla="*/ 22880 h 49092"/>
                  <a:gd name="connsiteX52" fmla="*/ 6970 w 85760"/>
                  <a:gd name="connsiteY52" fmla="*/ 23486 h 49092"/>
                  <a:gd name="connsiteX53" fmla="*/ 6970 w 85760"/>
                  <a:gd name="connsiteY53" fmla="*/ 24243 h 49092"/>
                  <a:gd name="connsiteX54" fmla="*/ 6515 w 85760"/>
                  <a:gd name="connsiteY54" fmla="*/ 25001 h 49092"/>
                  <a:gd name="connsiteX55" fmla="*/ 4546 w 85760"/>
                  <a:gd name="connsiteY55" fmla="*/ 26516 h 49092"/>
                  <a:gd name="connsiteX56" fmla="*/ 2879 w 85760"/>
                  <a:gd name="connsiteY56" fmla="*/ 28183 h 49092"/>
                  <a:gd name="connsiteX57" fmla="*/ 2727 w 85760"/>
                  <a:gd name="connsiteY57" fmla="*/ 29243 h 49092"/>
                  <a:gd name="connsiteX58" fmla="*/ 2879 w 85760"/>
                  <a:gd name="connsiteY58" fmla="*/ 30001 h 49092"/>
                  <a:gd name="connsiteX59" fmla="*/ 3485 w 85760"/>
                  <a:gd name="connsiteY59" fmla="*/ 30456 h 49092"/>
                  <a:gd name="connsiteX60" fmla="*/ 6061 w 85760"/>
                  <a:gd name="connsiteY60" fmla="*/ 30304 h 49092"/>
                  <a:gd name="connsiteX61" fmla="*/ 6364 w 85760"/>
                  <a:gd name="connsiteY61" fmla="*/ 30910 h 49092"/>
                  <a:gd name="connsiteX62" fmla="*/ 5152 w 85760"/>
                  <a:gd name="connsiteY62" fmla="*/ 35304 h 49092"/>
                  <a:gd name="connsiteX63" fmla="*/ 5606 w 85760"/>
                  <a:gd name="connsiteY63" fmla="*/ 36062 h 49092"/>
                  <a:gd name="connsiteX64" fmla="*/ 7728 w 85760"/>
                  <a:gd name="connsiteY64" fmla="*/ 36668 h 49092"/>
                  <a:gd name="connsiteX65" fmla="*/ 9394 w 85760"/>
                  <a:gd name="connsiteY65" fmla="*/ 37729 h 49092"/>
                  <a:gd name="connsiteX66" fmla="*/ 12273 w 85760"/>
                  <a:gd name="connsiteY66" fmla="*/ 40456 h 49092"/>
                  <a:gd name="connsiteX67" fmla="*/ 13486 w 85760"/>
                  <a:gd name="connsiteY67" fmla="*/ 42729 h 49092"/>
                  <a:gd name="connsiteX68" fmla="*/ 12728 w 85760"/>
                  <a:gd name="connsiteY68" fmla="*/ 43486 h 49092"/>
                  <a:gd name="connsiteX69" fmla="*/ 10910 w 85760"/>
                  <a:gd name="connsiteY69" fmla="*/ 43789 h 49092"/>
                  <a:gd name="connsiteX70" fmla="*/ 9243 w 85760"/>
                  <a:gd name="connsiteY70" fmla="*/ 43638 h 49092"/>
                  <a:gd name="connsiteX71" fmla="*/ 6970 w 85760"/>
                  <a:gd name="connsiteY71" fmla="*/ 45456 h 49092"/>
                  <a:gd name="connsiteX72" fmla="*/ 5455 w 85760"/>
                  <a:gd name="connsiteY72" fmla="*/ 46062 h 49092"/>
                  <a:gd name="connsiteX73" fmla="*/ 6364 w 85760"/>
                  <a:gd name="connsiteY73" fmla="*/ 47426 h 49092"/>
                  <a:gd name="connsiteX74" fmla="*/ 13637 w 85760"/>
                  <a:gd name="connsiteY74" fmla="*/ 49093 h 49092"/>
                  <a:gd name="connsiteX75" fmla="*/ 15152 w 85760"/>
                  <a:gd name="connsiteY75" fmla="*/ 48335 h 49092"/>
                  <a:gd name="connsiteX76" fmla="*/ 16213 w 85760"/>
                  <a:gd name="connsiteY76" fmla="*/ 47123 h 49092"/>
                  <a:gd name="connsiteX77" fmla="*/ 16213 w 85760"/>
                  <a:gd name="connsiteY77" fmla="*/ 46517 h 49092"/>
                  <a:gd name="connsiteX78" fmla="*/ 16819 w 85760"/>
                  <a:gd name="connsiteY78" fmla="*/ 46214 h 49092"/>
                  <a:gd name="connsiteX79" fmla="*/ 19243 w 85760"/>
                  <a:gd name="connsiteY79" fmla="*/ 47426 h 49092"/>
                  <a:gd name="connsiteX80" fmla="*/ 21364 w 85760"/>
                  <a:gd name="connsiteY80" fmla="*/ 47123 h 49092"/>
                  <a:gd name="connsiteX81" fmla="*/ 24698 w 85760"/>
                  <a:gd name="connsiteY81" fmla="*/ 47123 h 49092"/>
                  <a:gd name="connsiteX82" fmla="*/ 27122 w 85760"/>
                  <a:gd name="connsiteY82" fmla="*/ 47274 h 49092"/>
                  <a:gd name="connsiteX83" fmla="*/ 28638 w 85760"/>
                  <a:gd name="connsiteY83" fmla="*/ 46365 h 49092"/>
                  <a:gd name="connsiteX84" fmla="*/ 30759 w 85760"/>
                  <a:gd name="connsiteY84" fmla="*/ 43335 h 49092"/>
                  <a:gd name="connsiteX85" fmla="*/ 31517 w 85760"/>
                  <a:gd name="connsiteY85" fmla="*/ 41668 h 49092"/>
                  <a:gd name="connsiteX86" fmla="*/ 32577 w 85760"/>
                  <a:gd name="connsiteY86" fmla="*/ 41214 h 49092"/>
                  <a:gd name="connsiteX87" fmla="*/ 33183 w 85760"/>
                  <a:gd name="connsiteY87" fmla="*/ 41517 h 49092"/>
                  <a:gd name="connsiteX88" fmla="*/ 33638 w 85760"/>
                  <a:gd name="connsiteY88" fmla="*/ 42880 h 49092"/>
                  <a:gd name="connsiteX89" fmla="*/ 34698 w 85760"/>
                  <a:gd name="connsiteY89" fmla="*/ 44244 h 49092"/>
                  <a:gd name="connsiteX90" fmla="*/ 36971 w 85760"/>
                  <a:gd name="connsiteY90" fmla="*/ 46365 h 49092"/>
                  <a:gd name="connsiteX91" fmla="*/ 38638 w 85760"/>
                  <a:gd name="connsiteY91" fmla="*/ 47274 h 49092"/>
                  <a:gd name="connsiteX92" fmla="*/ 40153 w 85760"/>
                  <a:gd name="connsiteY92" fmla="*/ 47729 h 49092"/>
                  <a:gd name="connsiteX93" fmla="*/ 41517 w 85760"/>
                  <a:gd name="connsiteY93" fmla="*/ 46820 h 49092"/>
                  <a:gd name="connsiteX94" fmla="*/ 43032 w 85760"/>
                  <a:gd name="connsiteY94" fmla="*/ 46668 h 49092"/>
                  <a:gd name="connsiteX95" fmla="*/ 47274 w 85760"/>
                  <a:gd name="connsiteY95" fmla="*/ 48335 h 49092"/>
                  <a:gd name="connsiteX96" fmla="*/ 50911 w 85760"/>
                  <a:gd name="connsiteY96" fmla="*/ 48638 h 49092"/>
                  <a:gd name="connsiteX97" fmla="*/ 53638 w 85760"/>
                  <a:gd name="connsiteY97" fmla="*/ 47729 h 49092"/>
                  <a:gd name="connsiteX98" fmla="*/ 53336 w 85760"/>
                  <a:gd name="connsiteY98" fmla="*/ 46517 h 49092"/>
                  <a:gd name="connsiteX99" fmla="*/ 52275 w 85760"/>
                  <a:gd name="connsiteY99" fmla="*/ 45153 h 49092"/>
                  <a:gd name="connsiteX100" fmla="*/ 52123 w 85760"/>
                  <a:gd name="connsiteY100" fmla="*/ 43941 h 49092"/>
                  <a:gd name="connsiteX101" fmla="*/ 52275 w 85760"/>
                  <a:gd name="connsiteY101" fmla="*/ 42729 h 49092"/>
                  <a:gd name="connsiteX102" fmla="*/ 54093 w 85760"/>
                  <a:gd name="connsiteY102" fmla="*/ 41668 h 49092"/>
                  <a:gd name="connsiteX103" fmla="*/ 53941 w 85760"/>
                  <a:gd name="connsiteY103" fmla="*/ 41214 h 49092"/>
                  <a:gd name="connsiteX104" fmla="*/ 51820 w 85760"/>
                  <a:gd name="connsiteY104" fmla="*/ 39244 h 49092"/>
                  <a:gd name="connsiteX105" fmla="*/ 51972 w 85760"/>
                  <a:gd name="connsiteY105" fmla="*/ 38638 h 49092"/>
                  <a:gd name="connsiteX106" fmla="*/ 56820 w 85760"/>
                  <a:gd name="connsiteY106" fmla="*/ 36516 h 49092"/>
                  <a:gd name="connsiteX107" fmla="*/ 61366 w 85760"/>
                  <a:gd name="connsiteY107" fmla="*/ 35304 h 49092"/>
                  <a:gd name="connsiteX108" fmla="*/ 62124 w 85760"/>
                  <a:gd name="connsiteY108" fmla="*/ 34244 h 49092"/>
                  <a:gd name="connsiteX109" fmla="*/ 62578 w 85760"/>
                  <a:gd name="connsiteY109" fmla="*/ 32880 h 49092"/>
                  <a:gd name="connsiteX110" fmla="*/ 62881 w 85760"/>
                  <a:gd name="connsiteY110" fmla="*/ 30153 h 49092"/>
                  <a:gd name="connsiteX111" fmla="*/ 62578 w 85760"/>
                  <a:gd name="connsiteY111" fmla="*/ 27880 h 49092"/>
                  <a:gd name="connsiteX112" fmla="*/ 60608 w 85760"/>
                  <a:gd name="connsiteY112" fmla="*/ 25910 h 49092"/>
                  <a:gd name="connsiteX113" fmla="*/ 60608 w 85760"/>
                  <a:gd name="connsiteY113" fmla="*/ 24849 h 49092"/>
                  <a:gd name="connsiteX114" fmla="*/ 61063 w 85760"/>
                  <a:gd name="connsiteY114" fmla="*/ 23789 h 49092"/>
                  <a:gd name="connsiteX115" fmla="*/ 61669 w 85760"/>
                  <a:gd name="connsiteY115" fmla="*/ 22728 h 49092"/>
                  <a:gd name="connsiteX116" fmla="*/ 63639 w 85760"/>
                  <a:gd name="connsiteY116" fmla="*/ 22274 h 49092"/>
                  <a:gd name="connsiteX117" fmla="*/ 65760 w 85760"/>
                  <a:gd name="connsiteY117" fmla="*/ 21667 h 49092"/>
                  <a:gd name="connsiteX118" fmla="*/ 67578 w 85760"/>
                  <a:gd name="connsiteY118" fmla="*/ 20758 h 49092"/>
                  <a:gd name="connsiteX119" fmla="*/ 69851 w 85760"/>
                  <a:gd name="connsiteY119" fmla="*/ 20152 h 49092"/>
                  <a:gd name="connsiteX120" fmla="*/ 71669 w 85760"/>
                  <a:gd name="connsiteY120" fmla="*/ 19092 h 49092"/>
                  <a:gd name="connsiteX121" fmla="*/ 73488 w 85760"/>
                  <a:gd name="connsiteY121" fmla="*/ 16970 h 49092"/>
                  <a:gd name="connsiteX122" fmla="*/ 74548 w 85760"/>
                  <a:gd name="connsiteY122" fmla="*/ 16516 h 49092"/>
                  <a:gd name="connsiteX123" fmla="*/ 77882 w 85760"/>
                  <a:gd name="connsiteY123" fmla="*/ 16819 h 49092"/>
                  <a:gd name="connsiteX124" fmla="*/ 78639 w 85760"/>
                  <a:gd name="connsiteY124" fmla="*/ 16364 h 49092"/>
                  <a:gd name="connsiteX125" fmla="*/ 78185 w 85760"/>
                  <a:gd name="connsiteY125" fmla="*/ 13031 h 49092"/>
                  <a:gd name="connsiteX126" fmla="*/ 78791 w 85760"/>
                  <a:gd name="connsiteY126" fmla="*/ 12273 h 49092"/>
                  <a:gd name="connsiteX127" fmla="*/ 79852 w 85760"/>
                  <a:gd name="connsiteY127" fmla="*/ 11819 h 49092"/>
                  <a:gd name="connsiteX128" fmla="*/ 80457 w 85760"/>
                  <a:gd name="connsiteY128" fmla="*/ 11364 h 49092"/>
                  <a:gd name="connsiteX129" fmla="*/ 83336 w 85760"/>
                  <a:gd name="connsiteY129" fmla="*/ 11667 h 49092"/>
                  <a:gd name="connsiteX130" fmla="*/ 85761 w 85760"/>
                  <a:gd name="connsiteY130" fmla="*/ 12425 h 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85760" h="49092">
                    <a:moveTo>
                      <a:pt x="85458" y="11667"/>
                    </a:moveTo>
                    <a:lnTo>
                      <a:pt x="83185" y="8788"/>
                    </a:lnTo>
                    <a:lnTo>
                      <a:pt x="82124" y="7728"/>
                    </a:lnTo>
                    <a:lnTo>
                      <a:pt x="82276" y="6212"/>
                    </a:lnTo>
                    <a:lnTo>
                      <a:pt x="81670" y="5455"/>
                    </a:lnTo>
                    <a:lnTo>
                      <a:pt x="80912" y="4849"/>
                    </a:lnTo>
                    <a:lnTo>
                      <a:pt x="80457" y="2727"/>
                    </a:lnTo>
                    <a:lnTo>
                      <a:pt x="80155" y="1212"/>
                    </a:lnTo>
                    <a:lnTo>
                      <a:pt x="79397" y="152"/>
                    </a:lnTo>
                    <a:lnTo>
                      <a:pt x="74245" y="0"/>
                    </a:lnTo>
                    <a:lnTo>
                      <a:pt x="72730" y="606"/>
                    </a:lnTo>
                    <a:lnTo>
                      <a:pt x="71063" y="2121"/>
                    </a:lnTo>
                    <a:lnTo>
                      <a:pt x="71215" y="5455"/>
                    </a:lnTo>
                    <a:lnTo>
                      <a:pt x="70912" y="5758"/>
                    </a:lnTo>
                    <a:lnTo>
                      <a:pt x="70457" y="6364"/>
                    </a:lnTo>
                    <a:lnTo>
                      <a:pt x="65305" y="5303"/>
                    </a:lnTo>
                    <a:lnTo>
                      <a:pt x="65154" y="5303"/>
                    </a:lnTo>
                    <a:lnTo>
                      <a:pt x="61669" y="5758"/>
                    </a:lnTo>
                    <a:lnTo>
                      <a:pt x="59245" y="7121"/>
                    </a:lnTo>
                    <a:lnTo>
                      <a:pt x="56366" y="8031"/>
                    </a:lnTo>
                    <a:lnTo>
                      <a:pt x="50305" y="7576"/>
                    </a:lnTo>
                    <a:lnTo>
                      <a:pt x="44395" y="8182"/>
                    </a:lnTo>
                    <a:lnTo>
                      <a:pt x="42881" y="8637"/>
                    </a:lnTo>
                    <a:lnTo>
                      <a:pt x="41365" y="8788"/>
                    </a:lnTo>
                    <a:lnTo>
                      <a:pt x="40002" y="9697"/>
                    </a:lnTo>
                    <a:lnTo>
                      <a:pt x="39093" y="10910"/>
                    </a:lnTo>
                    <a:lnTo>
                      <a:pt x="37729" y="12576"/>
                    </a:lnTo>
                    <a:lnTo>
                      <a:pt x="35607" y="13788"/>
                    </a:lnTo>
                    <a:lnTo>
                      <a:pt x="33335" y="14698"/>
                    </a:lnTo>
                    <a:lnTo>
                      <a:pt x="32729" y="15455"/>
                    </a:lnTo>
                    <a:lnTo>
                      <a:pt x="31971" y="15910"/>
                    </a:lnTo>
                    <a:lnTo>
                      <a:pt x="30759" y="15304"/>
                    </a:lnTo>
                    <a:lnTo>
                      <a:pt x="29698" y="15304"/>
                    </a:lnTo>
                    <a:lnTo>
                      <a:pt x="28486" y="15001"/>
                    </a:lnTo>
                    <a:lnTo>
                      <a:pt x="24243" y="14546"/>
                    </a:lnTo>
                    <a:lnTo>
                      <a:pt x="19698" y="13788"/>
                    </a:lnTo>
                    <a:lnTo>
                      <a:pt x="17576" y="13031"/>
                    </a:lnTo>
                    <a:lnTo>
                      <a:pt x="15000" y="12576"/>
                    </a:lnTo>
                    <a:lnTo>
                      <a:pt x="12425" y="12122"/>
                    </a:lnTo>
                    <a:lnTo>
                      <a:pt x="10000" y="11970"/>
                    </a:lnTo>
                    <a:lnTo>
                      <a:pt x="8788" y="11819"/>
                    </a:lnTo>
                    <a:lnTo>
                      <a:pt x="8182" y="13788"/>
                    </a:lnTo>
                    <a:lnTo>
                      <a:pt x="6970" y="14243"/>
                    </a:lnTo>
                    <a:lnTo>
                      <a:pt x="5000" y="15455"/>
                    </a:lnTo>
                    <a:lnTo>
                      <a:pt x="2727" y="16970"/>
                    </a:lnTo>
                    <a:lnTo>
                      <a:pt x="606" y="18789"/>
                    </a:lnTo>
                    <a:lnTo>
                      <a:pt x="0" y="20607"/>
                    </a:lnTo>
                    <a:lnTo>
                      <a:pt x="606" y="21970"/>
                    </a:lnTo>
                    <a:lnTo>
                      <a:pt x="1061" y="22274"/>
                    </a:lnTo>
                    <a:lnTo>
                      <a:pt x="1970" y="21970"/>
                    </a:lnTo>
                    <a:lnTo>
                      <a:pt x="3031" y="22274"/>
                    </a:lnTo>
                    <a:lnTo>
                      <a:pt x="4546" y="22880"/>
                    </a:lnTo>
                    <a:lnTo>
                      <a:pt x="6970" y="23486"/>
                    </a:lnTo>
                    <a:lnTo>
                      <a:pt x="6970" y="24243"/>
                    </a:lnTo>
                    <a:lnTo>
                      <a:pt x="6515" y="25001"/>
                    </a:lnTo>
                    <a:lnTo>
                      <a:pt x="4546" y="26516"/>
                    </a:lnTo>
                    <a:lnTo>
                      <a:pt x="2879" y="28183"/>
                    </a:lnTo>
                    <a:lnTo>
                      <a:pt x="2727" y="29243"/>
                    </a:lnTo>
                    <a:lnTo>
                      <a:pt x="2879" y="30001"/>
                    </a:lnTo>
                    <a:lnTo>
                      <a:pt x="3485" y="30456"/>
                    </a:lnTo>
                    <a:lnTo>
                      <a:pt x="6061" y="30304"/>
                    </a:lnTo>
                    <a:lnTo>
                      <a:pt x="6364" y="30910"/>
                    </a:lnTo>
                    <a:lnTo>
                      <a:pt x="5152" y="35304"/>
                    </a:lnTo>
                    <a:lnTo>
                      <a:pt x="5606" y="36062"/>
                    </a:lnTo>
                    <a:lnTo>
                      <a:pt x="7728" y="36668"/>
                    </a:lnTo>
                    <a:lnTo>
                      <a:pt x="9394" y="37729"/>
                    </a:lnTo>
                    <a:lnTo>
                      <a:pt x="12273" y="40456"/>
                    </a:lnTo>
                    <a:lnTo>
                      <a:pt x="13486" y="42729"/>
                    </a:lnTo>
                    <a:lnTo>
                      <a:pt x="12728" y="43486"/>
                    </a:lnTo>
                    <a:lnTo>
                      <a:pt x="10910" y="43789"/>
                    </a:lnTo>
                    <a:lnTo>
                      <a:pt x="9243" y="43638"/>
                    </a:lnTo>
                    <a:lnTo>
                      <a:pt x="6970" y="45456"/>
                    </a:lnTo>
                    <a:lnTo>
                      <a:pt x="5455" y="46062"/>
                    </a:lnTo>
                    <a:lnTo>
                      <a:pt x="6364" y="47426"/>
                    </a:lnTo>
                    <a:lnTo>
                      <a:pt x="13637" y="49093"/>
                    </a:lnTo>
                    <a:lnTo>
                      <a:pt x="15152" y="48335"/>
                    </a:lnTo>
                    <a:lnTo>
                      <a:pt x="16213" y="47123"/>
                    </a:lnTo>
                    <a:lnTo>
                      <a:pt x="16213" y="46517"/>
                    </a:lnTo>
                    <a:lnTo>
                      <a:pt x="16819" y="46214"/>
                    </a:lnTo>
                    <a:lnTo>
                      <a:pt x="19243" y="47426"/>
                    </a:lnTo>
                    <a:lnTo>
                      <a:pt x="21364" y="47123"/>
                    </a:lnTo>
                    <a:lnTo>
                      <a:pt x="24698" y="47123"/>
                    </a:lnTo>
                    <a:lnTo>
                      <a:pt x="27122" y="47274"/>
                    </a:lnTo>
                    <a:lnTo>
                      <a:pt x="28638" y="46365"/>
                    </a:lnTo>
                    <a:lnTo>
                      <a:pt x="30759" y="43335"/>
                    </a:lnTo>
                    <a:lnTo>
                      <a:pt x="31517" y="41668"/>
                    </a:lnTo>
                    <a:lnTo>
                      <a:pt x="32577" y="41214"/>
                    </a:lnTo>
                    <a:lnTo>
                      <a:pt x="33183" y="41517"/>
                    </a:lnTo>
                    <a:lnTo>
                      <a:pt x="33638" y="42880"/>
                    </a:lnTo>
                    <a:lnTo>
                      <a:pt x="34698" y="44244"/>
                    </a:lnTo>
                    <a:lnTo>
                      <a:pt x="36971" y="46365"/>
                    </a:lnTo>
                    <a:lnTo>
                      <a:pt x="38638" y="47274"/>
                    </a:lnTo>
                    <a:lnTo>
                      <a:pt x="40153" y="47729"/>
                    </a:lnTo>
                    <a:lnTo>
                      <a:pt x="41517" y="46820"/>
                    </a:lnTo>
                    <a:lnTo>
                      <a:pt x="43032" y="46668"/>
                    </a:lnTo>
                    <a:lnTo>
                      <a:pt x="47274" y="48335"/>
                    </a:lnTo>
                    <a:lnTo>
                      <a:pt x="50911" y="48638"/>
                    </a:lnTo>
                    <a:lnTo>
                      <a:pt x="53638" y="47729"/>
                    </a:lnTo>
                    <a:lnTo>
                      <a:pt x="53336" y="46517"/>
                    </a:lnTo>
                    <a:lnTo>
                      <a:pt x="52275" y="45153"/>
                    </a:lnTo>
                    <a:lnTo>
                      <a:pt x="52123" y="43941"/>
                    </a:lnTo>
                    <a:lnTo>
                      <a:pt x="52275" y="42729"/>
                    </a:lnTo>
                    <a:lnTo>
                      <a:pt x="54093" y="41668"/>
                    </a:lnTo>
                    <a:lnTo>
                      <a:pt x="53941" y="41214"/>
                    </a:lnTo>
                    <a:lnTo>
                      <a:pt x="51820" y="39244"/>
                    </a:lnTo>
                    <a:lnTo>
                      <a:pt x="51972" y="38638"/>
                    </a:lnTo>
                    <a:lnTo>
                      <a:pt x="56820" y="36516"/>
                    </a:lnTo>
                    <a:lnTo>
                      <a:pt x="61366" y="35304"/>
                    </a:lnTo>
                    <a:lnTo>
                      <a:pt x="62124" y="34244"/>
                    </a:lnTo>
                    <a:lnTo>
                      <a:pt x="62578" y="32880"/>
                    </a:lnTo>
                    <a:lnTo>
                      <a:pt x="62881" y="30153"/>
                    </a:lnTo>
                    <a:lnTo>
                      <a:pt x="62578" y="27880"/>
                    </a:lnTo>
                    <a:lnTo>
                      <a:pt x="60608" y="25910"/>
                    </a:lnTo>
                    <a:lnTo>
                      <a:pt x="60608" y="24849"/>
                    </a:lnTo>
                    <a:lnTo>
                      <a:pt x="61063" y="23789"/>
                    </a:lnTo>
                    <a:lnTo>
                      <a:pt x="61669" y="22728"/>
                    </a:lnTo>
                    <a:lnTo>
                      <a:pt x="63639" y="22274"/>
                    </a:lnTo>
                    <a:lnTo>
                      <a:pt x="65760" y="21667"/>
                    </a:lnTo>
                    <a:lnTo>
                      <a:pt x="67578" y="20758"/>
                    </a:lnTo>
                    <a:lnTo>
                      <a:pt x="69851" y="20152"/>
                    </a:lnTo>
                    <a:lnTo>
                      <a:pt x="71669" y="19092"/>
                    </a:lnTo>
                    <a:lnTo>
                      <a:pt x="73488" y="16970"/>
                    </a:lnTo>
                    <a:lnTo>
                      <a:pt x="74548" y="16516"/>
                    </a:lnTo>
                    <a:lnTo>
                      <a:pt x="77882" y="16819"/>
                    </a:lnTo>
                    <a:lnTo>
                      <a:pt x="78639" y="16364"/>
                    </a:lnTo>
                    <a:lnTo>
                      <a:pt x="78185" y="13031"/>
                    </a:lnTo>
                    <a:lnTo>
                      <a:pt x="78791" y="12273"/>
                    </a:lnTo>
                    <a:lnTo>
                      <a:pt x="79852" y="11819"/>
                    </a:lnTo>
                    <a:lnTo>
                      <a:pt x="80457" y="11364"/>
                    </a:lnTo>
                    <a:lnTo>
                      <a:pt x="83336" y="11667"/>
                    </a:lnTo>
                    <a:lnTo>
                      <a:pt x="85761" y="124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86E7F33E-93BF-4ABC-B2F4-51DFD3B2AD5B}"/>
                  </a:ext>
                </a:extLst>
              </p:cNvPr>
              <p:cNvSpPr/>
              <p:nvPr/>
            </p:nvSpPr>
            <p:spPr>
              <a:xfrm>
                <a:off x="5413853" y="4289407"/>
                <a:ext cx="82275" cy="84700"/>
              </a:xfrm>
              <a:custGeom>
                <a:avLst/>
                <a:gdLst>
                  <a:gd name="connsiteX0" fmla="*/ 20152 w 82275"/>
                  <a:gd name="connsiteY0" fmla="*/ 65457 h 84700"/>
                  <a:gd name="connsiteX1" fmla="*/ 18182 w 82275"/>
                  <a:gd name="connsiteY1" fmla="*/ 64699 h 84700"/>
                  <a:gd name="connsiteX2" fmla="*/ 11667 w 82275"/>
                  <a:gd name="connsiteY2" fmla="*/ 65154 h 84700"/>
                  <a:gd name="connsiteX3" fmla="*/ 8940 w 82275"/>
                  <a:gd name="connsiteY3" fmla="*/ 66518 h 84700"/>
                  <a:gd name="connsiteX4" fmla="*/ 18334 w 82275"/>
                  <a:gd name="connsiteY4" fmla="*/ 69093 h 84700"/>
                  <a:gd name="connsiteX5" fmla="*/ 20152 w 82275"/>
                  <a:gd name="connsiteY5" fmla="*/ 70912 h 84700"/>
                  <a:gd name="connsiteX6" fmla="*/ 20607 w 82275"/>
                  <a:gd name="connsiteY6" fmla="*/ 70154 h 84700"/>
                  <a:gd name="connsiteX7" fmla="*/ 21364 w 82275"/>
                  <a:gd name="connsiteY7" fmla="*/ 67427 h 84700"/>
                  <a:gd name="connsiteX8" fmla="*/ 21061 w 82275"/>
                  <a:gd name="connsiteY8" fmla="*/ 66063 h 84700"/>
                  <a:gd name="connsiteX9" fmla="*/ 20152 w 82275"/>
                  <a:gd name="connsiteY9" fmla="*/ 65457 h 84700"/>
                  <a:gd name="connsiteX10" fmla="*/ 79851 w 82275"/>
                  <a:gd name="connsiteY10" fmla="*/ 41214 h 84700"/>
                  <a:gd name="connsiteX11" fmla="*/ 78942 w 82275"/>
                  <a:gd name="connsiteY11" fmla="*/ 41668 h 84700"/>
                  <a:gd name="connsiteX12" fmla="*/ 76215 w 82275"/>
                  <a:gd name="connsiteY12" fmla="*/ 44850 h 84700"/>
                  <a:gd name="connsiteX13" fmla="*/ 74548 w 82275"/>
                  <a:gd name="connsiteY13" fmla="*/ 46062 h 84700"/>
                  <a:gd name="connsiteX14" fmla="*/ 73336 w 82275"/>
                  <a:gd name="connsiteY14" fmla="*/ 45911 h 84700"/>
                  <a:gd name="connsiteX15" fmla="*/ 71972 w 82275"/>
                  <a:gd name="connsiteY15" fmla="*/ 45608 h 84700"/>
                  <a:gd name="connsiteX16" fmla="*/ 71063 w 82275"/>
                  <a:gd name="connsiteY16" fmla="*/ 45911 h 84700"/>
                  <a:gd name="connsiteX17" fmla="*/ 70305 w 82275"/>
                  <a:gd name="connsiteY17" fmla="*/ 45608 h 84700"/>
                  <a:gd name="connsiteX18" fmla="*/ 70609 w 82275"/>
                  <a:gd name="connsiteY18" fmla="*/ 44850 h 84700"/>
                  <a:gd name="connsiteX19" fmla="*/ 71214 w 82275"/>
                  <a:gd name="connsiteY19" fmla="*/ 43789 h 84700"/>
                  <a:gd name="connsiteX20" fmla="*/ 72578 w 82275"/>
                  <a:gd name="connsiteY20" fmla="*/ 40305 h 84700"/>
                  <a:gd name="connsiteX21" fmla="*/ 76063 w 82275"/>
                  <a:gd name="connsiteY21" fmla="*/ 36668 h 84700"/>
                  <a:gd name="connsiteX22" fmla="*/ 76063 w 82275"/>
                  <a:gd name="connsiteY22" fmla="*/ 35911 h 84700"/>
                  <a:gd name="connsiteX23" fmla="*/ 74700 w 82275"/>
                  <a:gd name="connsiteY23" fmla="*/ 33789 h 84700"/>
                  <a:gd name="connsiteX24" fmla="*/ 73184 w 82275"/>
                  <a:gd name="connsiteY24" fmla="*/ 30910 h 84700"/>
                  <a:gd name="connsiteX25" fmla="*/ 73184 w 82275"/>
                  <a:gd name="connsiteY25" fmla="*/ 27880 h 84700"/>
                  <a:gd name="connsiteX26" fmla="*/ 72881 w 82275"/>
                  <a:gd name="connsiteY26" fmla="*/ 25607 h 84700"/>
                  <a:gd name="connsiteX27" fmla="*/ 69851 w 82275"/>
                  <a:gd name="connsiteY27" fmla="*/ 25001 h 84700"/>
                  <a:gd name="connsiteX28" fmla="*/ 69245 w 82275"/>
                  <a:gd name="connsiteY28" fmla="*/ 24698 h 84700"/>
                  <a:gd name="connsiteX29" fmla="*/ 69093 w 82275"/>
                  <a:gd name="connsiteY29" fmla="*/ 23940 h 84700"/>
                  <a:gd name="connsiteX30" fmla="*/ 69851 w 82275"/>
                  <a:gd name="connsiteY30" fmla="*/ 21971 h 84700"/>
                  <a:gd name="connsiteX31" fmla="*/ 70760 w 82275"/>
                  <a:gd name="connsiteY31" fmla="*/ 20152 h 84700"/>
                  <a:gd name="connsiteX32" fmla="*/ 70912 w 82275"/>
                  <a:gd name="connsiteY32" fmla="*/ 19395 h 84700"/>
                  <a:gd name="connsiteX33" fmla="*/ 70760 w 82275"/>
                  <a:gd name="connsiteY33" fmla="*/ 18637 h 84700"/>
                  <a:gd name="connsiteX34" fmla="*/ 68942 w 82275"/>
                  <a:gd name="connsiteY34" fmla="*/ 16667 h 84700"/>
                  <a:gd name="connsiteX35" fmla="*/ 66063 w 82275"/>
                  <a:gd name="connsiteY35" fmla="*/ 13031 h 84700"/>
                  <a:gd name="connsiteX36" fmla="*/ 63336 w 82275"/>
                  <a:gd name="connsiteY36" fmla="*/ 9091 h 84700"/>
                  <a:gd name="connsiteX37" fmla="*/ 61063 w 82275"/>
                  <a:gd name="connsiteY37" fmla="*/ 5606 h 84700"/>
                  <a:gd name="connsiteX38" fmla="*/ 59245 w 82275"/>
                  <a:gd name="connsiteY38" fmla="*/ 4091 h 84700"/>
                  <a:gd name="connsiteX39" fmla="*/ 57426 w 82275"/>
                  <a:gd name="connsiteY39" fmla="*/ 1818 h 84700"/>
                  <a:gd name="connsiteX40" fmla="*/ 56820 w 82275"/>
                  <a:gd name="connsiteY40" fmla="*/ 455 h 84700"/>
                  <a:gd name="connsiteX41" fmla="*/ 55002 w 82275"/>
                  <a:gd name="connsiteY41" fmla="*/ 0 h 84700"/>
                  <a:gd name="connsiteX42" fmla="*/ 49547 w 82275"/>
                  <a:gd name="connsiteY42" fmla="*/ 0 h 84700"/>
                  <a:gd name="connsiteX43" fmla="*/ 43032 w 82275"/>
                  <a:gd name="connsiteY43" fmla="*/ 0 h 84700"/>
                  <a:gd name="connsiteX44" fmla="*/ 37577 w 82275"/>
                  <a:gd name="connsiteY44" fmla="*/ 0 h 84700"/>
                  <a:gd name="connsiteX45" fmla="*/ 37274 w 82275"/>
                  <a:gd name="connsiteY45" fmla="*/ 1970 h 84700"/>
                  <a:gd name="connsiteX46" fmla="*/ 31213 w 82275"/>
                  <a:gd name="connsiteY46" fmla="*/ 3333 h 84700"/>
                  <a:gd name="connsiteX47" fmla="*/ 27576 w 82275"/>
                  <a:gd name="connsiteY47" fmla="*/ 1818 h 84700"/>
                  <a:gd name="connsiteX48" fmla="*/ 23486 w 82275"/>
                  <a:gd name="connsiteY48" fmla="*/ 2727 h 84700"/>
                  <a:gd name="connsiteX49" fmla="*/ 21516 w 82275"/>
                  <a:gd name="connsiteY49" fmla="*/ 3788 h 84700"/>
                  <a:gd name="connsiteX50" fmla="*/ 20909 w 82275"/>
                  <a:gd name="connsiteY50" fmla="*/ 5909 h 84700"/>
                  <a:gd name="connsiteX51" fmla="*/ 20000 w 82275"/>
                  <a:gd name="connsiteY51" fmla="*/ 8182 h 84700"/>
                  <a:gd name="connsiteX52" fmla="*/ 19091 w 82275"/>
                  <a:gd name="connsiteY52" fmla="*/ 9091 h 84700"/>
                  <a:gd name="connsiteX53" fmla="*/ 18788 w 82275"/>
                  <a:gd name="connsiteY53" fmla="*/ 10152 h 84700"/>
                  <a:gd name="connsiteX54" fmla="*/ 18334 w 82275"/>
                  <a:gd name="connsiteY54" fmla="*/ 11061 h 84700"/>
                  <a:gd name="connsiteX55" fmla="*/ 17576 w 82275"/>
                  <a:gd name="connsiteY55" fmla="*/ 12122 h 84700"/>
                  <a:gd name="connsiteX56" fmla="*/ 16667 w 82275"/>
                  <a:gd name="connsiteY56" fmla="*/ 14243 h 84700"/>
                  <a:gd name="connsiteX57" fmla="*/ 14698 w 82275"/>
                  <a:gd name="connsiteY57" fmla="*/ 17273 h 84700"/>
                  <a:gd name="connsiteX58" fmla="*/ 12576 w 82275"/>
                  <a:gd name="connsiteY58" fmla="*/ 19243 h 84700"/>
                  <a:gd name="connsiteX59" fmla="*/ 9091 w 82275"/>
                  <a:gd name="connsiteY59" fmla="*/ 20304 h 84700"/>
                  <a:gd name="connsiteX60" fmla="*/ 8031 w 82275"/>
                  <a:gd name="connsiteY60" fmla="*/ 23486 h 84700"/>
                  <a:gd name="connsiteX61" fmla="*/ 7273 w 82275"/>
                  <a:gd name="connsiteY61" fmla="*/ 24698 h 84700"/>
                  <a:gd name="connsiteX62" fmla="*/ 5909 w 82275"/>
                  <a:gd name="connsiteY62" fmla="*/ 25607 h 84700"/>
                  <a:gd name="connsiteX63" fmla="*/ 4545 w 82275"/>
                  <a:gd name="connsiteY63" fmla="*/ 26213 h 84700"/>
                  <a:gd name="connsiteX64" fmla="*/ 3182 w 82275"/>
                  <a:gd name="connsiteY64" fmla="*/ 25910 h 84700"/>
                  <a:gd name="connsiteX65" fmla="*/ 1667 w 82275"/>
                  <a:gd name="connsiteY65" fmla="*/ 25607 h 84700"/>
                  <a:gd name="connsiteX66" fmla="*/ 0 w 82275"/>
                  <a:gd name="connsiteY66" fmla="*/ 26213 h 84700"/>
                  <a:gd name="connsiteX67" fmla="*/ 606 w 82275"/>
                  <a:gd name="connsiteY67" fmla="*/ 27880 h 84700"/>
                  <a:gd name="connsiteX68" fmla="*/ 3788 w 82275"/>
                  <a:gd name="connsiteY68" fmla="*/ 30304 h 84700"/>
                  <a:gd name="connsiteX69" fmla="*/ 6364 w 82275"/>
                  <a:gd name="connsiteY69" fmla="*/ 30759 h 84700"/>
                  <a:gd name="connsiteX70" fmla="*/ 6061 w 82275"/>
                  <a:gd name="connsiteY70" fmla="*/ 31365 h 84700"/>
                  <a:gd name="connsiteX71" fmla="*/ 2273 w 82275"/>
                  <a:gd name="connsiteY71" fmla="*/ 31668 h 84700"/>
                  <a:gd name="connsiteX72" fmla="*/ 1818 w 82275"/>
                  <a:gd name="connsiteY72" fmla="*/ 33789 h 84700"/>
                  <a:gd name="connsiteX73" fmla="*/ 1818 w 82275"/>
                  <a:gd name="connsiteY73" fmla="*/ 35759 h 84700"/>
                  <a:gd name="connsiteX74" fmla="*/ 3030 w 82275"/>
                  <a:gd name="connsiteY74" fmla="*/ 39092 h 84700"/>
                  <a:gd name="connsiteX75" fmla="*/ 4697 w 82275"/>
                  <a:gd name="connsiteY75" fmla="*/ 38789 h 84700"/>
                  <a:gd name="connsiteX76" fmla="*/ 5606 w 82275"/>
                  <a:gd name="connsiteY76" fmla="*/ 37729 h 84700"/>
                  <a:gd name="connsiteX77" fmla="*/ 9243 w 82275"/>
                  <a:gd name="connsiteY77" fmla="*/ 38032 h 84700"/>
                  <a:gd name="connsiteX78" fmla="*/ 10606 w 82275"/>
                  <a:gd name="connsiteY78" fmla="*/ 36971 h 84700"/>
                  <a:gd name="connsiteX79" fmla="*/ 10910 w 82275"/>
                  <a:gd name="connsiteY79" fmla="*/ 37729 h 84700"/>
                  <a:gd name="connsiteX80" fmla="*/ 10455 w 82275"/>
                  <a:gd name="connsiteY80" fmla="*/ 39092 h 84700"/>
                  <a:gd name="connsiteX81" fmla="*/ 8182 w 82275"/>
                  <a:gd name="connsiteY81" fmla="*/ 40608 h 84700"/>
                  <a:gd name="connsiteX82" fmla="*/ 5757 w 82275"/>
                  <a:gd name="connsiteY82" fmla="*/ 43335 h 84700"/>
                  <a:gd name="connsiteX83" fmla="*/ 3788 w 82275"/>
                  <a:gd name="connsiteY83" fmla="*/ 42880 h 84700"/>
                  <a:gd name="connsiteX84" fmla="*/ 2576 w 82275"/>
                  <a:gd name="connsiteY84" fmla="*/ 41668 h 84700"/>
                  <a:gd name="connsiteX85" fmla="*/ 1060 w 82275"/>
                  <a:gd name="connsiteY85" fmla="*/ 41517 h 84700"/>
                  <a:gd name="connsiteX86" fmla="*/ 757 w 82275"/>
                  <a:gd name="connsiteY86" fmla="*/ 43032 h 84700"/>
                  <a:gd name="connsiteX87" fmla="*/ 2727 w 82275"/>
                  <a:gd name="connsiteY87" fmla="*/ 45608 h 84700"/>
                  <a:gd name="connsiteX88" fmla="*/ 4243 w 82275"/>
                  <a:gd name="connsiteY88" fmla="*/ 48941 h 84700"/>
                  <a:gd name="connsiteX89" fmla="*/ 7727 w 82275"/>
                  <a:gd name="connsiteY89" fmla="*/ 49244 h 84700"/>
                  <a:gd name="connsiteX90" fmla="*/ 9545 w 82275"/>
                  <a:gd name="connsiteY90" fmla="*/ 50760 h 84700"/>
                  <a:gd name="connsiteX91" fmla="*/ 10455 w 82275"/>
                  <a:gd name="connsiteY91" fmla="*/ 53184 h 84700"/>
                  <a:gd name="connsiteX92" fmla="*/ 11667 w 82275"/>
                  <a:gd name="connsiteY92" fmla="*/ 58639 h 84700"/>
                  <a:gd name="connsiteX93" fmla="*/ 12424 w 82275"/>
                  <a:gd name="connsiteY93" fmla="*/ 59699 h 84700"/>
                  <a:gd name="connsiteX94" fmla="*/ 14243 w 82275"/>
                  <a:gd name="connsiteY94" fmla="*/ 60457 h 84700"/>
                  <a:gd name="connsiteX95" fmla="*/ 16516 w 82275"/>
                  <a:gd name="connsiteY95" fmla="*/ 62578 h 84700"/>
                  <a:gd name="connsiteX96" fmla="*/ 20000 w 82275"/>
                  <a:gd name="connsiteY96" fmla="*/ 63033 h 84700"/>
                  <a:gd name="connsiteX97" fmla="*/ 21667 w 82275"/>
                  <a:gd name="connsiteY97" fmla="*/ 61517 h 84700"/>
                  <a:gd name="connsiteX98" fmla="*/ 22425 w 82275"/>
                  <a:gd name="connsiteY98" fmla="*/ 61517 h 84700"/>
                  <a:gd name="connsiteX99" fmla="*/ 21667 w 82275"/>
                  <a:gd name="connsiteY99" fmla="*/ 63942 h 84700"/>
                  <a:gd name="connsiteX100" fmla="*/ 23788 w 82275"/>
                  <a:gd name="connsiteY100" fmla="*/ 67275 h 84700"/>
                  <a:gd name="connsiteX101" fmla="*/ 22425 w 82275"/>
                  <a:gd name="connsiteY101" fmla="*/ 70003 h 84700"/>
                  <a:gd name="connsiteX102" fmla="*/ 22274 w 82275"/>
                  <a:gd name="connsiteY102" fmla="*/ 71518 h 84700"/>
                  <a:gd name="connsiteX103" fmla="*/ 26062 w 82275"/>
                  <a:gd name="connsiteY103" fmla="*/ 72730 h 84700"/>
                  <a:gd name="connsiteX104" fmla="*/ 37426 w 82275"/>
                  <a:gd name="connsiteY104" fmla="*/ 77124 h 84700"/>
                  <a:gd name="connsiteX105" fmla="*/ 42729 w 82275"/>
                  <a:gd name="connsiteY105" fmla="*/ 79700 h 84700"/>
                  <a:gd name="connsiteX106" fmla="*/ 47881 w 82275"/>
                  <a:gd name="connsiteY106" fmla="*/ 83639 h 84700"/>
                  <a:gd name="connsiteX107" fmla="*/ 48941 w 82275"/>
                  <a:gd name="connsiteY107" fmla="*/ 84700 h 84700"/>
                  <a:gd name="connsiteX108" fmla="*/ 50456 w 82275"/>
                  <a:gd name="connsiteY108" fmla="*/ 83488 h 84700"/>
                  <a:gd name="connsiteX109" fmla="*/ 52578 w 82275"/>
                  <a:gd name="connsiteY109" fmla="*/ 79548 h 84700"/>
                  <a:gd name="connsiteX110" fmla="*/ 55608 w 82275"/>
                  <a:gd name="connsiteY110" fmla="*/ 75760 h 84700"/>
                  <a:gd name="connsiteX111" fmla="*/ 58335 w 82275"/>
                  <a:gd name="connsiteY111" fmla="*/ 73488 h 84700"/>
                  <a:gd name="connsiteX112" fmla="*/ 60608 w 82275"/>
                  <a:gd name="connsiteY112" fmla="*/ 71215 h 84700"/>
                  <a:gd name="connsiteX113" fmla="*/ 62881 w 82275"/>
                  <a:gd name="connsiteY113" fmla="*/ 69397 h 84700"/>
                  <a:gd name="connsiteX114" fmla="*/ 66215 w 82275"/>
                  <a:gd name="connsiteY114" fmla="*/ 67275 h 84700"/>
                  <a:gd name="connsiteX115" fmla="*/ 71366 w 82275"/>
                  <a:gd name="connsiteY115" fmla="*/ 61820 h 84700"/>
                  <a:gd name="connsiteX116" fmla="*/ 72578 w 82275"/>
                  <a:gd name="connsiteY116" fmla="*/ 61214 h 84700"/>
                  <a:gd name="connsiteX117" fmla="*/ 73336 w 82275"/>
                  <a:gd name="connsiteY117" fmla="*/ 57426 h 84700"/>
                  <a:gd name="connsiteX118" fmla="*/ 74548 w 82275"/>
                  <a:gd name="connsiteY118" fmla="*/ 52578 h 84700"/>
                  <a:gd name="connsiteX119" fmla="*/ 76063 w 82275"/>
                  <a:gd name="connsiteY119" fmla="*/ 51063 h 84700"/>
                  <a:gd name="connsiteX120" fmla="*/ 79548 w 82275"/>
                  <a:gd name="connsiteY120" fmla="*/ 50153 h 84700"/>
                  <a:gd name="connsiteX121" fmla="*/ 80306 w 82275"/>
                  <a:gd name="connsiteY121" fmla="*/ 49396 h 84700"/>
                  <a:gd name="connsiteX122" fmla="*/ 81518 w 82275"/>
                  <a:gd name="connsiteY122" fmla="*/ 46062 h 84700"/>
                  <a:gd name="connsiteX123" fmla="*/ 82276 w 82275"/>
                  <a:gd name="connsiteY123" fmla="*/ 42123 h 84700"/>
                  <a:gd name="connsiteX124" fmla="*/ 82276 w 82275"/>
                  <a:gd name="connsiteY124" fmla="*/ 41214 h 84700"/>
                  <a:gd name="connsiteX125" fmla="*/ 79851 w 82275"/>
                  <a:gd name="connsiteY125" fmla="*/ 41214 h 8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2275" h="84700">
                    <a:moveTo>
                      <a:pt x="20152" y="65457"/>
                    </a:moveTo>
                    <a:lnTo>
                      <a:pt x="18182" y="64699"/>
                    </a:lnTo>
                    <a:lnTo>
                      <a:pt x="11667" y="65154"/>
                    </a:lnTo>
                    <a:lnTo>
                      <a:pt x="8940" y="66518"/>
                    </a:lnTo>
                    <a:lnTo>
                      <a:pt x="18334" y="69093"/>
                    </a:lnTo>
                    <a:lnTo>
                      <a:pt x="20152" y="70912"/>
                    </a:lnTo>
                    <a:lnTo>
                      <a:pt x="20607" y="70154"/>
                    </a:lnTo>
                    <a:lnTo>
                      <a:pt x="21364" y="67427"/>
                    </a:lnTo>
                    <a:lnTo>
                      <a:pt x="21061" y="66063"/>
                    </a:lnTo>
                    <a:lnTo>
                      <a:pt x="20152" y="65457"/>
                    </a:lnTo>
                    <a:close/>
                    <a:moveTo>
                      <a:pt x="79851" y="41214"/>
                    </a:moveTo>
                    <a:lnTo>
                      <a:pt x="78942" y="41668"/>
                    </a:lnTo>
                    <a:lnTo>
                      <a:pt x="76215" y="44850"/>
                    </a:lnTo>
                    <a:lnTo>
                      <a:pt x="74548" y="46062"/>
                    </a:lnTo>
                    <a:lnTo>
                      <a:pt x="73336" y="45911"/>
                    </a:lnTo>
                    <a:lnTo>
                      <a:pt x="71972" y="45608"/>
                    </a:lnTo>
                    <a:lnTo>
                      <a:pt x="71063" y="45911"/>
                    </a:lnTo>
                    <a:lnTo>
                      <a:pt x="70305" y="45608"/>
                    </a:lnTo>
                    <a:lnTo>
                      <a:pt x="70609" y="44850"/>
                    </a:lnTo>
                    <a:lnTo>
                      <a:pt x="71214" y="43789"/>
                    </a:lnTo>
                    <a:lnTo>
                      <a:pt x="72578" y="40305"/>
                    </a:lnTo>
                    <a:lnTo>
                      <a:pt x="76063" y="36668"/>
                    </a:lnTo>
                    <a:lnTo>
                      <a:pt x="76063" y="35911"/>
                    </a:lnTo>
                    <a:lnTo>
                      <a:pt x="74700" y="33789"/>
                    </a:lnTo>
                    <a:lnTo>
                      <a:pt x="73184" y="30910"/>
                    </a:lnTo>
                    <a:lnTo>
                      <a:pt x="73184" y="27880"/>
                    </a:lnTo>
                    <a:lnTo>
                      <a:pt x="72881" y="25607"/>
                    </a:lnTo>
                    <a:lnTo>
                      <a:pt x="69851" y="25001"/>
                    </a:lnTo>
                    <a:lnTo>
                      <a:pt x="69245" y="24698"/>
                    </a:lnTo>
                    <a:lnTo>
                      <a:pt x="69093" y="23940"/>
                    </a:lnTo>
                    <a:lnTo>
                      <a:pt x="69851" y="21971"/>
                    </a:lnTo>
                    <a:lnTo>
                      <a:pt x="70760" y="20152"/>
                    </a:lnTo>
                    <a:lnTo>
                      <a:pt x="70912" y="19395"/>
                    </a:lnTo>
                    <a:lnTo>
                      <a:pt x="70760" y="18637"/>
                    </a:lnTo>
                    <a:lnTo>
                      <a:pt x="68942" y="16667"/>
                    </a:lnTo>
                    <a:lnTo>
                      <a:pt x="66063" y="13031"/>
                    </a:lnTo>
                    <a:lnTo>
                      <a:pt x="63336" y="9091"/>
                    </a:lnTo>
                    <a:lnTo>
                      <a:pt x="61063" y="5606"/>
                    </a:lnTo>
                    <a:lnTo>
                      <a:pt x="59245" y="4091"/>
                    </a:lnTo>
                    <a:lnTo>
                      <a:pt x="57426" y="1818"/>
                    </a:lnTo>
                    <a:lnTo>
                      <a:pt x="56820" y="455"/>
                    </a:lnTo>
                    <a:lnTo>
                      <a:pt x="55002" y="0"/>
                    </a:lnTo>
                    <a:lnTo>
                      <a:pt x="49547" y="0"/>
                    </a:lnTo>
                    <a:lnTo>
                      <a:pt x="43032" y="0"/>
                    </a:lnTo>
                    <a:lnTo>
                      <a:pt x="37577" y="0"/>
                    </a:lnTo>
                    <a:lnTo>
                      <a:pt x="37274" y="1970"/>
                    </a:lnTo>
                    <a:lnTo>
                      <a:pt x="31213" y="3333"/>
                    </a:lnTo>
                    <a:lnTo>
                      <a:pt x="27576" y="1818"/>
                    </a:lnTo>
                    <a:lnTo>
                      <a:pt x="23486" y="2727"/>
                    </a:lnTo>
                    <a:lnTo>
                      <a:pt x="21516" y="3788"/>
                    </a:lnTo>
                    <a:lnTo>
                      <a:pt x="20909" y="5909"/>
                    </a:lnTo>
                    <a:lnTo>
                      <a:pt x="20000" y="8182"/>
                    </a:lnTo>
                    <a:lnTo>
                      <a:pt x="19091" y="9091"/>
                    </a:lnTo>
                    <a:lnTo>
                      <a:pt x="18788" y="10152"/>
                    </a:lnTo>
                    <a:lnTo>
                      <a:pt x="18334" y="11061"/>
                    </a:lnTo>
                    <a:lnTo>
                      <a:pt x="17576" y="12122"/>
                    </a:lnTo>
                    <a:lnTo>
                      <a:pt x="16667" y="14243"/>
                    </a:lnTo>
                    <a:lnTo>
                      <a:pt x="14698" y="17273"/>
                    </a:lnTo>
                    <a:lnTo>
                      <a:pt x="12576" y="19243"/>
                    </a:lnTo>
                    <a:lnTo>
                      <a:pt x="9091" y="20304"/>
                    </a:lnTo>
                    <a:lnTo>
                      <a:pt x="8031" y="23486"/>
                    </a:lnTo>
                    <a:lnTo>
                      <a:pt x="7273" y="24698"/>
                    </a:lnTo>
                    <a:lnTo>
                      <a:pt x="5909" y="25607"/>
                    </a:lnTo>
                    <a:lnTo>
                      <a:pt x="4545" y="26213"/>
                    </a:lnTo>
                    <a:lnTo>
                      <a:pt x="3182" y="25910"/>
                    </a:lnTo>
                    <a:lnTo>
                      <a:pt x="1667" y="25607"/>
                    </a:lnTo>
                    <a:lnTo>
                      <a:pt x="0" y="26213"/>
                    </a:lnTo>
                    <a:lnTo>
                      <a:pt x="606" y="27880"/>
                    </a:lnTo>
                    <a:lnTo>
                      <a:pt x="3788" y="30304"/>
                    </a:lnTo>
                    <a:lnTo>
                      <a:pt x="6364" y="30759"/>
                    </a:lnTo>
                    <a:lnTo>
                      <a:pt x="6061" y="31365"/>
                    </a:lnTo>
                    <a:lnTo>
                      <a:pt x="2273" y="31668"/>
                    </a:lnTo>
                    <a:lnTo>
                      <a:pt x="1818" y="33789"/>
                    </a:lnTo>
                    <a:lnTo>
                      <a:pt x="1818" y="35759"/>
                    </a:lnTo>
                    <a:lnTo>
                      <a:pt x="3030" y="39092"/>
                    </a:lnTo>
                    <a:lnTo>
                      <a:pt x="4697" y="38789"/>
                    </a:lnTo>
                    <a:lnTo>
                      <a:pt x="5606" y="37729"/>
                    </a:lnTo>
                    <a:lnTo>
                      <a:pt x="9243" y="38032"/>
                    </a:lnTo>
                    <a:lnTo>
                      <a:pt x="10606" y="36971"/>
                    </a:lnTo>
                    <a:lnTo>
                      <a:pt x="10910" y="37729"/>
                    </a:lnTo>
                    <a:lnTo>
                      <a:pt x="10455" y="39092"/>
                    </a:lnTo>
                    <a:lnTo>
                      <a:pt x="8182" y="40608"/>
                    </a:lnTo>
                    <a:lnTo>
                      <a:pt x="5757" y="43335"/>
                    </a:lnTo>
                    <a:lnTo>
                      <a:pt x="3788" y="42880"/>
                    </a:lnTo>
                    <a:lnTo>
                      <a:pt x="2576" y="41668"/>
                    </a:lnTo>
                    <a:lnTo>
                      <a:pt x="1060" y="41517"/>
                    </a:lnTo>
                    <a:lnTo>
                      <a:pt x="757" y="43032"/>
                    </a:lnTo>
                    <a:lnTo>
                      <a:pt x="2727" y="45608"/>
                    </a:lnTo>
                    <a:lnTo>
                      <a:pt x="4243" y="48941"/>
                    </a:lnTo>
                    <a:lnTo>
                      <a:pt x="7727" y="49244"/>
                    </a:lnTo>
                    <a:lnTo>
                      <a:pt x="9545" y="50760"/>
                    </a:lnTo>
                    <a:lnTo>
                      <a:pt x="10455" y="53184"/>
                    </a:lnTo>
                    <a:lnTo>
                      <a:pt x="11667" y="58639"/>
                    </a:lnTo>
                    <a:lnTo>
                      <a:pt x="12424" y="59699"/>
                    </a:lnTo>
                    <a:lnTo>
                      <a:pt x="14243" y="60457"/>
                    </a:lnTo>
                    <a:lnTo>
                      <a:pt x="16516" y="62578"/>
                    </a:lnTo>
                    <a:lnTo>
                      <a:pt x="20000" y="63033"/>
                    </a:lnTo>
                    <a:lnTo>
                      <a:pt x="21667" y="61517"/>
                    </a:lnTo>
                    <a:lnTo>
                      <a:pt x="22425" y="61517"/>
                    </a:lnTo>
                    <a:lnTo>
                      <a:pt x="21667" y="63942"/>
                    </a:lnTo>
                    <a:lnTo>
                      <a:pt x="23788" y="67275"/>
                    </a:lnTo>
                    <a:lnTo>
                      <a:pt x="22425" y="70003"/>
                    </a:lnTo>
                    <a:lnTo>
                      <a:pt x="22274" y="71518"/>
                    </a:lnTo>
                    <a:lnTo>
                      <a:pt x="26062" y="72730"/>
                    </a:lnTo>
                    <a:lnTo>
                      <a:pt x="37426" y="77124"/>
                    </a:lnTo>
                    <a:lnTo>
                      <a:pt x="42729" y="79700"/>
                    </a:lnTo>
                    <a:lnTo>
                      <a:pt x="47881" y="83639"/>
                    </a:lnTo>
                    <a:lnTo>
                      <a:pt x="48941" y="84700"/>
                    </a:lnTo>
                    <a:lnTo>
                      <a:pt x="50456" y="83488"/>
                    </a:lnTo>
                    <a:lnTo>
                      <a:pt x="52578" y="79548"/>
                    </a:lnTo>
                    <a:lnTo>
                      <a:pt x="55608" y="75760"/>
                    </a:lnTo>
                    <a:lnTo>
                      <a:pt x="58335" y="73488"/>
                    </a:lnTo>
                    <a:lnTo>
                      <a:pt x="60608" y="71215"/>
                    </a:lnTo>
                    <a:lnTo>
                      <a:pt x="62881" y="69397"/>
                    </a:lnTo>
                    <a:lnTo>
                      <a:pt x="66215" y="67275"/>
                    </a:lnTo>
                    <a:lnTo>
                      <a:pt x="71366" y="61820"/>
                    </a:lnTo>
                    <a:lnTo>
                      <a:pt x="72578" y="61214"/>
                    </a:lnTo>
                    <a:lnTo>
                      <a:pt x="73336" y="57426"/>
                    </a:lnTo>
                    <a:lnTo>
                      <a:pt x="74548" y="52578"/>
                    </a:lnTo>
                    <a:lnTo>
                      <a:pt x="76063" y="51063"/>
                    </a:lnTo>
                    <a:lnTo>
                      <a:pt x="79548" y="50153"/>
                    </a:lnTo>
                    <a:lnTo>
                      <a:pt x="80306" y="49396"/>
                    </a:lnTo>
                    <a:lnTo>
                      <a:pt x="81518" y="46062"/>
                    </a:lnTo>
                    <a:lnTo>
                      <a:pt x="82276" y="42123"/>
                    </a:lnTo>
                    <a:lnTo>
                      <a:pt x="82276" y="41214"/>
                    </a:lnTo>
                    <a:lnTo>
                      <a:pt x="79851" y="4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470EACC-A813-43DB-AD0C-3806E306CA9A}"/>
                  </a:ext>
                </a:extLst>
              </p:cNvPr>
              <p:cNvSpPr/>
              <p:nvPr/>
            </p:nvSpPr>
            <p:spPr>
              <a:xfrm>
                <a:off x="6238581" y="3088151"/>
                <a:ext cx="155308" cy="64547"/>
              </a:xfrm>
              <a:custGeom>
                <a:avLst/>
                <a:gdLst>
                  <a:gd name="connsiteX0" fmla="*/ 153491 w 155308"/>
                  <a:gd name="connsiteY0" fmla="*/ 18334 h 64547"/>
                  <a:gd name="connsiteX1" fmla="*/ 146066 w 155308"/>
                  <a:gd name="connsiteY1" fmla="*/ 15758 h 64547"/>
                  <a:gd name="connsiteX2" fmla="*/ 141066 w 155308"/>
                  <a:gd name="connsiteY2" fmla="*/ 13788 h 64547"/>
                  <a:gd name="connsiteX3" fmla="*/ 140611 w 155308"/>
                  <a:gd name="connsiteY3" fmla="*/ 12425 h 64547"/>
                  <a:gd name="connsiteX4" fmla="*/ 139702 w 155308"/>
                  <a:gd name="connsiteY4" fmla="*/ 10607 h 64547"/>
                  <a:gd name="connsiteX5" fmla="*/ 137581 w 155308"/>
                  <a:gd name="connsiteY5" fmla="*/ 9091 h 64547"/>
                  <a:gd name="connsiteX6" fmla="*/ 132732 w 155308"/>
                  <a:gd name="connsiteY6" fmla="*/ 7728 h 64547"/>
                  <a:gd name="connsiteX7" fmla="*/ 130611 w 155308"/>
                  <a:gd name="connsiteY7" fmla="*/ 6667 h 64547"/>
                  <a:gd name="connsiteX8" fmla="*/ 122732 w 155308"/>
                  <a:gd name="connsiteY8" fmla="*/ 6061 h 64547"/>
                  <a:gd name="connsiteX9" fmla="*/ 119398 w 155308"/>
                  <a:gd name="connsiteY9" fmla="*/ 6061 h 64547"/>
                  <a:gd name="connsiteX10" fmla="*/ 116974 w 155308"/>
                  <a:gd name="connsiteY10" fmla="*/ 6364 h 64547"/>
                  <a:gd name="connsiteX11" fmla="*/ 115307 w 155308"/>
                  <a:gd name="connsiteY11" fmla="*/ 6364 h 64547"/>
                  <a:gd name="connsiteX12" fmla="*/ 113186 w 155308"/>
                  <a:gd name="connsiteY12" fmla="*/ 9243 h 64547"/>
                  <a:gd name="connsiteX13" fmla="*/ 111671 w 155308"/>
                  <a:gd name="connsiteY13" fmla="*/ 10000 h 64547"/>
                  <a:gd name="connsiteX14" fmla="*/ 109550 w 155308"/>
                  <a:gd name="connsiteY14" fmla="*/ 10000 h 64547"/>
                  <a:gd name="connsiteX15" fmla="*/ 107731 w 155308"/>
                  <a:gd name="connsiteY15" fmla="*/ 9546 h 64547"/>
                  <a:gd name="connsiteX16" fmla="*/ 105762 w 155308"/>
                  <a:gd name="connsiteY16" fmla="*/ 8182 h 64547"/>
                  <a:gd name="connsiteX17" fmla="*/ 102731 w 155308"/>
                  <a:gd name="connsiteY17" fmla="*/ 7273 h 64547"/>
                  <a:gd name="connsiteX18" fmla="*/ 100458 w 155308"/>
                  <a:gd name="connsiteY18" fmla="*/ 7728 h 64547"/>
                  <a:gd name="connsiteX19" fmla="*/ 98791 w 155308"/>
                  <a:gd name="connsiteY19" fmla="*/ 7425 h 64547"/>
                  <a:gd name="connsiteX20" fmla="*/ 97428 w 155308"/>
                  <a:gd name="connsiteY20" fmla="*/ 7273 h 64547"/>
                  <a:gd name="connsiteX21" fmla="*/ 96822 w 155308"/>
                  <a:gd name="connsiteY21" fmla="*/ 7576 h 64547"/>
                  <a:gd name="connsiteX22" fmla="*/ 95761 w 155308"/>
                  <a:gd name="connsiteY22" fmla="*/ 7576 h 64547"/>
                  <a:gd name="connsiteX23" fmla="*/ 94094 w 155308"/>
                  <a:gd name="connsiteY23" fmla="*/ 8334 h 64547"/>
                  <a:gd name="connsiteX24" fmla="*/ 92276 w 155308"/>
                  <a:gd name="connsiteY24" fmla="*/ 9243 h 64547"/>
                  <a:gd name="connsiteX25" fmla="*/ 90306 w 155308"/>
                  <a:gd name="connsiteY25" fmla="*/ 10000 h 64547"/>
                  <a:gd name="connsiteX26" fmla="*/ 88791 w 155308"/>
                  <a:gd name="connsiteY26" fmla="*/ 11667 h 64547"/>
                  <a:gd name="connsiteX27" fmla="*/ 87427 w 155308"/>
                  <a:gd name="connsiteY27" fmla="*/ 14849 h 64547"/>
                  <a:gd name="connsiteX28" fmla="*/ 83488 w 155308"/>
                  <a:gd name="connsiteY28" fmla="*/ 13334 h 64547"/>
                  <a:gd name="connsiteX29" fmla="*/ 82276 w 155308"/>
                  <a:gd name="connsiteY29" fmla="*/ 13940 h 64547"/>
                  <a:gd name="connsiteX30" fmla="*/ 80457 w 155308"/>
                  <a:gd name="connsiteY30" fmla="*/ 14395 h 64547"/>
                  <a:gd name="connsiteX31" fmla="*/ 79094 w 155308"/>
                  <a:gd name="connsiteY31" fmla="*/ 13940 h 64547"/>
                  <a:gd name="connsiteX32" fmla="*/ 79397 w 155308"/>
                  <a:gd name="connsiteY32" fmla="*/ 12879 h 64547"/>
                  <a:gd name="connsiteX33" fmla="*/ 80003 w 155308"/>
                  <a:gd name="connsiteY33" fmla="*/ 11667 h 64547"/>
                  <a:gd name="connsiteX34" fmla="*/ 80003 w 155308"/>
                  <a:gd name="connsiteY34" fmla="*/ 10000 h 64547"/>
                  <a:gd name="connsiteX35" fmla="*/ 79700 w 155308"/>
                  <a:gd name="connsiteY35" fmla="*/ 8031 h 64547"/>
                  <a:gd name="connsiteX36" fmla="*/ 78488 w 155308"/>
                  <a:gd name="connsiteY36" fmla="*/ 7425 h 64547"/>
                  <a:gd name="connsiteX37" fmla="*/ 76669 w 155308"/>
                  <a:gd name="connsiteY37" fmla="*/ 7121 h 64547"/>
                  <a:gd name="connsiteX38" fmla="*/ 75760 w 155308"/>
                  <a:gd name="connsiteY38" fmla="*/ 6819 h 64547"/>
                  <a:gd name="connsiteX39" fmla="*/ 75609 w 155308"/>
                  <a:gd name="connsiteY39" fmla="*/ 6212 h 64547"/>
                  <a:gd name="connsiteX40" fmla="*/ 74700 w 155308"/>
                  <a:gd name="connsiteY40" fmla="*/ 5303 h 64547"/>
                  <a:gd name="connsiteX41" fmla="*/ 73033 w 155308"/>
                  <a:gd name="connsiteY41" fmla="*/ 3333 h 64547"/>
                  <a:gd name="connsiteX42" fmla="*/ 71518 w 155308"/>
                  <a:gd name="connsiteY42" fmla="*/ 758 h 64547"/>
                  <a:gd name="connsiteX43" fmla="*/ 70609 w 155308"/>
                  <a:gd name="connsiteY43" fmla="*/ 0 h 64547"/>
                  <a:gd name="connsiteX44" fmla="*/ 69093 w 155308"/>
                  <a:gd name="connsiteY44" fmla="*/ 1212 h 64547"/>
                  <a:gd name="connsiteX45" fmla="*/ 66669 w 155308"/>
                  <a:gd name="connsiteY45" fmla="*/ 2576 h 64547"/>
                  <a:gd name="connsiteX46" fmla="*/ 65305 w 155308"/>
                  <a:gd name="connsiteY46" fmla="*/ 3030 h 64547"/>
                  <a:gd name="connsiteX47" fmla="*/ 62578 w 155308"/>
                  <a:gd name="connsiteY47" fmla="*/ 6970 h 64547"/>
                  <a:gd name="connsiteX48" fmla="*/ 57578 w 155308"/>
                  <a:gd name="connsiteY48" fmla="*/ 7121 h 64547"/>
                  <a:gd name="connsiteX49" fmla="*/ 57275 w 155308"/>
                  <a:gd name="connsiteY49" fmla="*/ 5303 h 64547"/>
                  <a:gd name="connsiteX50" fmla="*/ 56820 w 155308"/>
                  <a:gd name="connsiteY50" fmla="*/ 3485 h 64547"/>
                  <a:gd name="connsiteX51" fmla="*/ 53941 w 155308"/>
                  <a:gd name="connsiteY51" fmla="*/ 3182 h 64547"/>
                  <a:gd name="connsiteX52" fmla="*/ 53184 w 155308"/>
                  <a:gd name="connsiteY52" fmla="*/ 3182 h 64547"/>
                  <a:gd name="connsiteX53" fmla="*/ 51669 w 155308"/>
                  <a:gd name="connsiteY53" fmla="*/ 3788 h 64547"/>
                  <a:gd name="connsiteX54" fmla="*/ 49547 w 155308"/>
                  <a:gd name="connsiteY54" fmla="*/ 3940 h 64547"/>
                  <a:gd name="connsiteX55" fmla="*/ 47426 w 155308"/>
                  <a:gd name="connsiteY55" fmla="*/ 3788 h 64547"/>
                  <a:gd name="connsiteX56" fmla="*/ 45759 w 155308"/>
                  <a:gd name="connsiteY56" fmla="*/ 4697 h 64547"/>
                  <a:gd name="connsiteX57" fmla="*/ 44093 w 155308"/>
                  <a:gd name="connsiteY57" fmla="*/ 6364 h 64547"/>
                  <a:gd name="connsiteX58" fmla="*/ 42426 w 155308"/>
                  <a:gd name="connsiteY58" fmla="*/ 7425 h 64547"/>
                  <a:gd name="connsiteX59" fmla="*/ 41517 w 155308"/>
                  <a:gd name="connsiteY59" fmla="*/ 8334 h 64547"/>
                  <a:gd name="connsiteX60" fmla="*/ 41062 w 155308"/>
                  <a:gd name="connsiteY60" fmla="*/ 9243 h 64547"/>
                  <a:gd name="connsiteX61" fmla="*/ 35456 w 155308"/>
                  <a:gd name="connsiteY61" fmla="*/ 12122 h 64547"/>
                  <a:gd name="connsiteX62" fmla="*/ 34698 w 155308"/>
                  <a:gd name="connsiteY62" fmla="*/ 13182 h 64547"/>
                  <a:gd name="connsiteX63" fmla="*/ 34092 w 155308"/>
                  <a:gd name="connsiteY63" fmla="*/ 14849 h 64547"/>
                  <a:gd name="connsiteX64" fmla="*/ 33789 w 155308"/>
                  <a:gd name="connsiteY64" fmla="*/ 16970 h 64547"/>
                  <a:gd name="connsiteX65" fmla="*/ 33486 w 155308"/>
                  <a:gd name="connsiteY65" fmla="*/ 18940 h 64547"/>
                  <a:gd name="connsiteX66" fmla="*/ 32425 w 155308"/>
                  <a:gd name="connsiteY66" fmla="*/ 19849 h 64547"/>
                  <a:gd name="connsiteX67" fmla="*/ 29546 w 155308"/>
                  <a:gd name="connsiteY67" fmla="*/ 20758 h 64547"/>
                  <a:gd name="connsiteX68" fmla="*/ 28789 w 155308"/>
                  <a:gd name="connsiteY68" fmla="*/ 21213 h 64547"/>
                  <a:gd name="connsiteX69" fmla="*/ 28183 w 155308"/>
                  <a:gd name="connsiteY69" fmla="*/ 22274 h 64547"/>
                  <a:gd name="connsiteX70" fmla="*/ 26516 w 155308"/>
                  <a:gd name="connsiteY70" fmla="*/ 23637 h 64547"/>
                  <a:gd name="connsiteX71" fmla="*/ 24546 w 155308"/>
                  <a:gd name="connsiteY71" fmla="*/ 25152 h 64547"/>
                  <a:gd name="connsiteX72" fmla="*/ 20910 w 155308"/>
                  <a:gd name="connsiteY72" fmla="*/ 26819 h 64547"/>
                  <a:gd name="connsiteX73" fmla="*/ 16970 w 155308"/>
                  <a:gd name="connsiteY73" fmla="*/ 27274 h 64547"/>
                  <a:gd name="connsiteX74" fmla="*/ 11819 w 155308"/>
                  <a:gd name="connsiteY74" fmla="*/ 26668 h 64547"/>
                  <a:gd name="connsiteX75" fmla="*/ 8940 w 155308"/>
                  <a:gd name="connsiteY75" fmla="*/ 26062 h 64547"/>
                  <a:gd name="connsiteX76" fmla="*/ 7424 w 155308"/>
                  <a:gd name="connsiteY76" fmla="*/ 26819 h 64547"/>
                  <a:gd name="connsiteX77" fmla="*/ 5455 w 155308"/>
                  <a:gd name="connsiteY77" fmla="*/ 28941 h 64547"/>
                  <a:gd name="connsiteX78" fmla="*/ 3333 w 155308"/>
                  <a:gd name="connsiteY78" fmla="*/ 32577 h 64547"/>
                  <a:gd name="connsiteX79" fmla="*/ 2424 w 155308"/>
                  <a:gd name="connsiteY79" fmla="*/ 35304 h 64547"/>
                  <a:gd name="connsiteX80" fmla="*/ 2273 w 155308"/>
                  <a:gd name="connsiteY80" fmla="*/ 35607 h 64547"/>
                  <a:gd name="connsiteX81" fmla="*/ 2121 w 155308"/>
                  <a:gd name="connsiteY81" fmla="*/ 36971 h 64547"/>
                  <a:gd name="connsiteX82" fmla="*/ 1061 w 155308"/>
                  <a:gd name="connsiteY82" fmla="*/ 38638 h 64547"/>
                  <a:gd name="connsiteX83" fmla="*/ 0 w 155308"/>
                  <a:gd name="connsiteY83" fmla="*/ 40759 h 64547"/>
                  <a:gd name="connsiteX84" fmla="*/ 0 w 155308"/>
                  <a:gd name="connsiteY84" fmla="*/ 42729 h 64547"/>
                  <a:gd name="connsiteX85" fmla="*/ 3030 w 155308"/>
                  <a:gd name="connsiteY85" fmla="*/ 49396 h 64547"/>
                  <a:gd name="connsiteX86" fmla="*/ 5606 w 155308"/>
                  <a:gd name="connsiteY86" fmla="*/ 53335 h 64547"/>
                  <a:gd name="connsiteX87" fmla="*/ 6061 w 155308"/>
                  <a:gd name="connsiteY87" fmla="*/ 54851 h 64547"/>
                  <a:gd name="connsiteX88" fmla="*/ 7728 w 155308"/>
                  <a:gd name="connsiteY88" fmla="*/ 56063 h 64547"/>
                  <a:gd name="connsiteX89" fmla="*/ 8485 w 155308"/>
                  <a:gd name="connsiteY89" fmla="*/ 55760 h 64547"/>
                  <a:gd name="connsiteX90" fmla="*/ 11364 w 155308"/>
                  <a:gd name="connsiteY90" fmla="*/ 56063 h 64547"/>
                  <a:gd name="connsiteX91" fmla="*/ 11970 w 155308"/>
                  <a:gd name="connsiteY91" fmla="*/ 56517 h 64547"/>
                  <a:gd name="connsiteX92" fmla="*/ 12425 w 155308"/>
                  <a:gd name="connsiteY92" fmla="*/ 56517 h 64547"/>
                  <a:gd name="connsiteX93" fmla="*/ 16819 w 155308"/>
                  <a:gd name="connsiteY93" fmla="*/ 60154 h 64547"/>
                  <a:gd name="connsiteX94" fmla="*/ 21061 w 155308"/>
                  <a:gd name="connsiteY94" fmla="*/ 62881 h 64547"/>
                  <a:gd name="connsiteX95" fmla="*/ 24546 w 155308"/>
                  <a:gd name="connsiteY95" fmla="*/ 64245 h 64547"/>
                  <a:gd name="connsiteX96" fmla="*/ 29698 w 155308"/>
                  <a:gd name="connsiteY96" fmla="*/ 64396 h 64547"/>
                  <a:gd name="connsiteX97" fmla="*/ 35153 w 155308"/>
                  <a:gd name="connsiteY97" fmla="*/ 64548 h 64547"/>
                  <a:gd name="connsiteX98" fmla="*/ 44093 w 155308"/>
                  <a:gd name="connsiteY98" fmla="*/ 63942 h 64547"/>
                  <a:gd name="connsiteX99" fmla="*/ 50911 w 155308"/>
                  <a:gd name="connsiteY99" fmla="*/ 63639 h 64547"/>
                  <a:gd name="connsiteX100" fmla="*/ 51365 w 155308"/>
                  <a:gd name="connsiteY100" fmla="*/ 63033 h 64547"/>
                  <a:gd name="connsiteX101" fmla="*/ 52426 w 155308"/>
                  <a:gd name="connsiteY101" fmla="*/ 61366 h 64547"/>
                  <a:gd name="connsiteX102" fmla="*/ 51517 w 155308"/>
                  <a:gd name="connsiteY102" fmla="*/ 60002 h 64547"/>
                  <a:gd name="connsiteX103" fmla="*/ 51669 w 155308"/>
                  <a:gd name="connsiteY103" fmla="*/ 58336 h 64547"/>
                  <a:gd name="connsiteX104" fmla="*/ 52729 w 155308"/>
                  <a:gd name="connsiteY104" fmla="*/ 56214 h 64547"/>
                  <a:gd name="connsiteX105" fmla="*/ 56062 w 155308"/>
                  <a:gd name="connsiteY105" fmla="*/ 54396 h 64547"/>
                  <a:gd name="connsiteX106" fmla="*/ 65760 w 155308"/>
                  <a:gd name="connsiteY106" fmla="*/ 53638 h 64547"/>
                  <a:gd name="connsiteX107" fmla="*/ 71214 w 155308"/>
                  <a:gd name="connsiteY107" fmla="*/ 52426 h 64547"/>
                  <a:gd name="connsiteX108" fmla="*/ 72124 w 155308"/>
                  <a:gd name="connsiteY108" fmla="*/ 50608 h 64547"/>
                  <a:gd name="connsiteX109" fmla="*/ 73942 w 155308"/>
                  <a:gd name="connsiteY109" fmla="*/ 48790 h 64547"/>
                  <a:gd name="connsiteX110" fmla="*/ 75609 w 155308"/>
                  <a:gd name="connsiteY110" fmla="*/ 48487 h 64547"/>
                  <a:gd name="connsiteX111" fmla="*/ 77881 w 155308"/>
                  <a:gd name="connsiteY111" fmla="*/ 49244 h 64547"/>
                  <a:gd name="connsiteX112" fmla="*/ 80609 w 155308"/>
                  <a:gd name="connsiteY112" fmla="*/ 50760 h 64547"/>
                  <a:gd name="connsiteX113" fmla="*/ 83034 w 155308"/>
                  <a:gd name="connsiteY113" fmla="*/ 51669 h 64547"/>
                  <a:gd name="connsiteX114" fmla="*/ 84397 w 155308"/>
                  <a:gd name="connsiteY114" fmla="*/ 51063 h 64547"/>
                  <a:gd name="connsiteX115" fmla="*/ 89397 w 155308"/>
                  <a:gd name="connsiteY115" fmla="*/ 48487 h 64547"/>
                  <a:gd name="connsiteX116" fmla="*/ 95003 w 155308"/>
                  <a:gd name="connsiteY116" fmla="*/ 45911 h 64547"/>
                  <a:gd name="connsiteX117" fmla="*/ 98791 w 155308"/>
                  <a:gd name="connsiteY117" fmla="*/ 38941 h 64547"/>
                  <a:gd name="connsiteX118" fmla="*/ 99246 w 155308"/>
                  <a:gd name="connsiteY118" fmla="*/ 37880 h 64547"/>
                  <a:gd name="connsiteX119" fmla="*/ 103488 w 155308"/>
                  <a:gd name="connsiteY119" fmla="*/ 36971 h 64547"/>
                  <a:gd name="connsiteX120" fmla="*/ 109550 w 155308"/>
                  <a:gd name="connsiteY120" fmla="*/ 37123 h 64547"/>
                  <a:gd name="connsiteX121" fmla="*/ 112731 w 155308"/>
                  <a:gd name="connsiteY121" fmla="*/ 38032 h 64547"/>
                  <a:gd name="connsiteX122" fmla="*/ 115004 w 155308"/>
                  <a:gd name="connsiteY122" fmla="*/ 38486 h 64547"/>
                  <a:gd name="connsiteX123" fmla="*/ 118489 w 155308"/>
                  <a:gd name="connsiteY123" fmla="*/ 38335 h 64547"/>
                  <a:gd name="connsiteX124" fmla="*/ 123641 w 155308"/>
                  <a:gd name="connsiteY124" fmla="*/ 36820 h 64547"/>
                  <a:gd name="connsiteX125" fmla="*/ 125459 w 155308"/>
                  <a:gd name="connsiteY125" fmla="*/ 36971 h 64547"/>
                  <a:gd name="connsiteX126" fmla="*/ 126974 w 155308"/>
                  <a:gd name="connsiteY126" fmla="*/ 38032 h 64547"/>
                  <a:gd name="connsiteX127" fmla="*/ 128641 w 155308"/>
                  <a:gd name="connsiteY127" fmla="*/ 38941 h 64547"/>
                  <a:gd name="connsiteX128" fmla="*/ 129702 w 155308"/>
                  <a:gd name="connsiteY128" fmla="*/ 40002 h 64547"/>
                  <a:gd name="connsiteX129" fmla="*/ 130459 w 155308"/>
                  <a:gd name="connsiteY129" fmla="*/ 41668 h 64547"/>
                  <a:gd name="connsiteX130" fmla="*/ 130914 w 155308"/>
                  <a:gd name="connsiteY130" fmla="*/ 42274 h 64547"/>
                  <a:gd name="connsiteX131" fmla="*/ 131672 w 155308"/>
                  <a:gd name="connsiteY131" fmla="*/ 43032 h 64547"/>
                  <a:gd name="connsiteX132" fmla="*/ 132884 w 155308"/>
                  <a:gd name="connsiteY132" fmla="*/ 44093 h 64547"/>
                  <a:gd name="connsiteX133" fmla="*/ 134096 w 155308"/>
                  <a:gd name="connsiteY133" fmla="*/ 44396 h 64547"/>
                  <a:gd name="connsiteX134" fmla="*/ 143642 w 155308"/>
                  <a:gd name="connsiteY134" fmla="*/ 42426 h 64547"/>
                  <a:gd name="connsiteX135" fmla="*/ 144096 w 155308"/>
                  <a:gd name="connsiteY135" fmla="*/ 42123 h 64547"/>
                  <a:gd name="connsiteX136" fmla="*/ 144399 w 155308"/>
                  <a:gd name="connsiteY136" fmla="*/ 36365 h 64547"/>
                  <a:gd name="connsiteX137" fmla="*/ 148642 w 155308"/>
                  <a:gd name="connsiteY137" fmla="*/ 32274 h 64547"/>
                  <a:gd name="connsiteX138" fmla="*/ 149703 w 155308"/>
                  <a:gd name="connsiteY138" fmla="*/ 30153 h 64547"/>
                  <a:gd name="connsiteX139" fmla="*/ 151218 w 155308"/>
                  <a:gd name="connsiteY139" fmla="*/ 25607 h 64547"/>
                  <a:gd name="connsiteX140" fmla="*/ 152430 w 155308"/>
                  <a:gd name="connsiteY140" fmla="*/ 23486 h 64547"/>
                  <a:gd name="connsiteX141" fmla="*/ 153793 w 155308"/>
                  <a:gd name="connsiteY141" fmla="*/ 21819 h 64547"/>
                  <a:gd name="connsiteX142" fmla="*/ 154854 w 155308"/>
                  <a:gd name="connsiteY142" fmla="*/ 20001 h 64547"/>
                  <a:gd name="connsiteX143" fmla="*/ 155309 w 155308"/>
                  <a:gd name="connsiteY143" fmla="*/ 18637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5308" h="64547">
                    <a:moveTo>
                      <a:pt x="153491" y="18334"/>
                    </a:moveTo>
                    <a:lnTo>
                      <a:pt x="146066" y="15758"/>
                    </a:lnTo>
                    <a:lnTo>
                      <a:pt x="141066" y="13788"/>
                    </a:lnTo>
                    <a:lnTo>
                      <a:pt x="140611" y="12425"/>
                    </a:lnTo>
                    <a:lnTo>
                      <a:pt x="139702" y="10607"/>
                    </a:lnTo>
                    <a:lnTo>
                      <a:pt x="137581" y="9091"/>
                    </a:lnTo>
                    <a:lnTo>
                      <a:pt x="132732" y="7728"/>
                    </a:lnTo>
                    <a:lnTo>
                      <a:pt x="130611" y="6667"/>
                    </a:lnTo>
                    <a:lnTo>
                      <a:pt x="122732" y="6061"/>
                    </a:lnTo>
                    <a:lnTo>
                      <a:pt x="119398" y="6061"/>
                    </a:lnTo>
                    <a:lnTo>
                      <a:pt x="116974" y="6364"/>
                    </a:lnTo>
                    <a:lnTo>
                      <a:pt x="115307" y="6364"/>
                    </a:lnTo>
                    <a:lnTo>
                      <a:pt x="113186" y="9243"/>
                    </a:lnTo>
                    <a:lnTo>
                      <a:pt x="111671" y="10000"/>
                    </a:lnTo>
                    <a:lnTo>
                      <a:pt x="109550" y="10000"/>
                    </a:lnTo>
                    <a:lnTo>
                      <a:pt x="107731" y="9546"/>
                    </a:lnTo>
                    <a:lnTo>
                      <a:pt x="105762" y="8182"/>
                    </a:lnTo>
                    <a:lnTo>
                      <a:pt x="102731" y="7273"/>
                    </a:lnTo>
                    <a:lnTo>
                      <a:pt x="100458" y="7728"/>
                    </a:lnTo>
                    <a:lnTo>
                      <a:pt x="98791" y="7425"/>
                    </a:lnTo>
                    <a:lnTo>
                      <a:pt x="97428" y="7273"/>
                    </a:lnTo>
                    <a:lnTo>
                      <a:pt x="96822" y="7576"/>
                    </a:lnTo>
                    <a:lnTo>
                      <a:pt x="95761" y="7576"/>
                    </a:lnTo>
                    <a:lnTo>
                      <a:pt x="94094" y="8334"/>
                    </a:lnTo>
                    <a:lnTo>
                      <a:pt x="92276" y="9243"/>
                    </a:lnTo>
                    <a:lnTo>
                      <a:pt x="90306" y="10000"/>
                    </a:lnTo>
                    <a:lnTo>
                      <a:pt x="88791" y="11667"/>
                    </a:lnTo>
                    <a:lnTo>
                      <a:pt x="87427" y="14849"/>
                    </a:lnTo>
                    <a:lnTo>
                      <a:pt x="83488" y="13334"/>
                    </a:lnTo>
                    <a:lnTo>
                      <a:pt x="82276" y="13940"/>
                    </a:lnTo>
                    <a:lnTo>
                      <a:pt x="80457" y="14395"/>
                    </a:lnTo>
                    <a:lnTo>
                      <a:pt x="79094" y="13940"/>
                    </a:lnTo>
                    <a:lnTo>
                      <a:pt x="79397" y="12879"/>
                    </a:lnTo>
                    <a:lnTo>
                      <a:pt x="80003" y="11667"/>
                    </a:lnTo>
                    <a:lnTo>
                      <a:pt x="80003" y="10000"/>
                    </a:lnTo>
                    <a:lnTo>
                      <a:pt x="79700" y="8031"/>
                    </a:lnTo>
                    <a:lnTo>
                      <a:pt x="78488" y="7425"/>
                    </a:lnTo>
                    <a:lnTo>
                      <a:pt x="76669" y="7121"/>
                    </a:lnTo>
                    <a:lnTo>
                      <a:pt x="75760" y="6819"/>
                    </a:lnTo>
                    <a:lnTo>
                      <a:pt x="75609" y="6212"/>
                    </a:lnTo>
                    <a:lnTo>
                      <a:pt x="74700" y="5303"/>
                    </a:lnTo>
                    <a:lnTo>
                      <a:pt x="73033" y="3333"/>
                    </a:lnTo>
                    <a:lnTo>
                      <a:pt x="71518" y="758"/>
                    </a:lnTo>
                    <a:lnTo>
                      <a:pt x="70609" y="0"/>
                    </a:lnTo>
                    <a:lnTo>
                      <a:pt x="69093" y="1212"/>
                    </a:lnTo>
                    <a:lnTo>
                      <a:pt x="66669" y="2576"/>
                    </a:lnTo>
                    <a:lnTo>
                      <a:pt x="65305" y="3030"/>
                    </a:lnTo>
                    <a:lnTo>
                      <a:pt x="62578" y="6970"/>
                    </a:lnTo>
                    <a:lnTo>
                      <a:pt x="57578" y="7121"/>
                    </a:lnTo>
                    <a:lnTo>
                      <a:pt x="57275" y="5303"/>
                    </a:lnTo>
                    <a:lnTo>
                      <a:pt x="56820" y="3485"/>
                    </a:lnTo>
                    <a:lnTo>
                      <a:pt x="53941" y="3182"/>
                    </a:lnTo>
                    <a:lnTo>
                      <a:pt x="53184" y="3182"/>
                    </a:lnTo>
                    <a:lnTo>
                      <a:pt x="51669" y="3788"/>
                    </a:lnTo>
                    <a:lnTo>
                      <a:pt x="49547" y="3940"/>
                    </a:lnTo>
                    <a:lnTo>
                      <a:pt x="47426" y="3788"/>
                    </a:lnTo>
                    <a:lnTo>
                      <a:pt x="45759" y="4697"/>
                    </a:lnTo>
                    <a:lnTo>
                      <a:pt x="44093" y="6364"/>
                    </a:lnTo>
                    <a:lnTo>
                      <a:pt x="42426" y="7425"/>
                    </a:lnTo>
                    <a:lnTo>
                      <a:pt x="41517" y="8334"/>
                    </a:lnTo>
                    <a:lnTo>
                      <a:pt x="41062" y="9243"/>
                    </a:lnTo>
                    <a:lnTo>
                      <a:pt x="35456" y="12122"/>
                    </a:lnTo>
                    <a:lnTo>
                      <a:pt x="34698" y="13182"/>
                    </a:lnTo>
                    <a:lnTo>
                      <a:pt x="34092" y="14849"/>
                    </a:lnTo>
                    <a:lnTo>
                      <a:pt x="33789" y="16970"/>
                    </a:lnTo>
                    <a:lnTo>
                      <a:pt x="33486" y="18940"/>
                    </a:lnTo>
                    <a:lnTo>
                      <a:pt x="32425" y="19849"/>
                    </a:lnTo>
                    <a:lnTo>
                      <a:pt x="29546" y="20758"/>
                    </a:lnTo>
                    <a:lnTo>
                      <a:pt x="28789" y="21213"/>
                    </a:lnTo>
                    <a:lnTo>
                      <a:pt x="28183" y="22274"/>
                    </a:lnTo>
                    <a:lnTo>
                      <a:pt x="26516" y="23637"/>
                    </a:lnTo>
                    <a:lnTo>
                      <a:pt x="24546" y="25152"/>
                    </a:lnTo>
                    <a:lnTo>
                      <a:pt x="20910" y="26819"/>
                    </a:lnTo>
                    <a:lnTo>
                      <a:pt x="16970" y="27274"/>
                    </a:lnTo>
                    <a:lnTo>
                      <a:pt x="11819" y="26668"/>
                    </a:lnTo>
                    <a:lnTo>
                      <a:pt x="8940" y="26062"/>
                    </a:lnTo>
                    <a:lnTo>
                      <a:pt x="7424" y="26819"/>
                    </a:lnTo>
                    <a:lnTo>
                      <a:pt x="5455" y="28941"/>
                    </a:lnTo>
                    <a:lnTo>
                      <a:pt x="3333" y="32577"/>
                    </a:lnTo>
                    <a:lnTo>
                      <a:pt x="2424" y="35304"/>
                    </a:lnTo>
                    <a:lnTo>
                      <a:pt x="2273" y="35607"/>
                    </a:lnTo>
                    <a:lnTo>
                      <a:pt x="2121" y="36971"/>
                    </a:lnTo>
                    <a:lnTo>
                      <a:pt x="1061" y="38638"/>
                    </a:lnTo>
                    <a:lnTo>
                      <a:pt x="0" y="40759"/>
                    </a:lnTo>
                    <a:lnTo>
                      <a:pt x="0" y="42729"/>
                    </a:lnTo>
                    <a:lnTo>
                      <a:pt x="3030" y="49396"/>
                    </a:lnTo>
                    <a:lnTo>
                      <a:pt x="5606" y="53335"/>
                    </a:lnTo>
                    <a:lnTo>
                      <a:pt x="6061" y="54851"/>
                    </a:lnTo>
                    <a:lnTo>
                      <a:pt x="7728" y="56063"/>
                    </a:lnTo>
                    <a:lnTo>
                      <a:pt x="8485" y="55760"/>
                    </a:lnTo>
                    <a:lnTo>
                      <a:pt x="11364" y="56063"/>
                    </a:lnTo>
                    <a:lnTo>
                      <a:pt x="11970" y="56517"/>
                    </a:lnTo>
                    <a:lnTo>
                      <a:pt x="12425" y="56517"/>
                    </a:lnTo>
                    <a:lnTo>
                      <a:pt x="16819" y="60154"/>
                    </a:lnTo>
                    <a:lnTo>
                      <a:pt x="21061" y="62881"/>
                    </a:lnTo>
                    <a:lnTo>
                      <a:pt x="24546" y="64245"/>
                    </a:lnTo>
                    <a:lnTo>
                      <a:pt x="29698" y="64396"/>
                    </a:lnTo>
                    <a:lnTo>
                      <a:pt x="35153" y="64548"/>
                    </a:lnTo>
                    <a:lnTo>
                      <a:pt x="44093" y="63942"/>
                    </a:lnTo>
                    <a:lnTo>
                      <a:pt x="50911" y="63639"/>
                    </a:lnTo>
                    <a:lnTo>
                      <a:pt x="51365" y="63033"/>
                    </a:lnTo>
                    <a:lnTo>
                      <a:pt x="52426" y="61366"/>
                    </a:lnTo>
                    <a:lnTo>
                      <a:pt x="51517" y="60002"/>
                    </a:lnTo>
                    <a:lnTo>
                      <a:pt x="51669" y="58336"/>
                    </a:lnTo>
                    <a:lnTo>
                      <a:pt x="52729" y="56214"/>
                    </a:lnTo>
                    <a:lnTo>
                      <a:pt x="56062" y="54396"/>
                    </a:lnTo>
                    <a:lnTo>
                      <a:pt x="65760" y="53638"/>
                    </a:lnTo>
                    <a:lnTo>
                      <a:pt x="71214" y="52426"/>
                    </a:lnTo>
                    <a:lnTo>
                      <a:pt x="72124" y="50608"/>
                    </a:lnTo>
                    <a:lnTo>
                      <a:pt x="73942" y="48790"/>
                    </a:lnTo>
                    <a:lnTo>
                      <a:pt x="75609" y="48487"/>
                    </a:lnTo>
                    <a:lnTo>
                      <a:pt x="77881" y="49244"/>
                    </a:lnTo>
                    <a:lnTo>
                      <a:pt x="80609" y="50760"/>
                    </a:lnTo>
                    <a:lnTo>
                      <a:pt x="83034" y="51669"/>
                    </a:lnTo>
                    <a:lnTo>
                      <a:pt x="84397" y="51063"/>
                    </a:lnTo>
                    <a:lnTo>
                      <a:pt x="89397" y="48487"/>
                    </a:lnTo>
                    <a:lnTo>
                      <a:pt x="95003" y="45911"/>
                    </a:lnTo>
                    <a:lnTo>
                      <a:pt x="98791" y="38941"/>
                    </a:lnTo>
                    <a:lnTo>
                      <a:pt x="99246" y="37880"/>
                    </a:lnTo>
                    <a:lnTo>
                      <a:pt x="103488" y="36971"/>
                    </a:lnTo>
                    <a:lnTo>
                      <a:pt x="109550" y="37123"/>
                    </a:lnTo>
                    <a:lnTo>
                      <a:pt x="112731" y="38032"/>
                    </a:lnTo>
                    <a:lnTo>
                      <a:pt x="115004" y="38486"/>
                    </a:lnTo>
                    <a:lnTo>
                      <a:pt x="118489" y="38335"/>
                    </a:lnTo>
                    <a:lnTo>
                      <a:pt x="123641" y="36820"/>
                    </a:lnTo>
                    <a:lnTo>
                      <a:pt x="125459" y="36971"/>
                    </a:lnTo>
                    <a:lnTo>
                      <a:pt x="126974" y="38032"/>
                    </a:lnTo>
                    <a:lnTo>
                      <a:pt x="128641" y="38941"/>
                    </a:lnTo>
                    <a:lnTo>
                      <a:pt x="129702" y="40002"/>
                    </a:lnTo>
                    <a:lnTo>
                      <a:pt x="130459" y="41668"/>
                    </a:lnTo>
                    <a:lnTo>
                      <a:pt x="130914" y="42274"/>
                    </a:lnTo>
                    <a:lnTo>
                      <a:pt x="131672" y="43032"/>
                    </a:lnTo>
                    <a:lnTo>
                      <a:pt x="132884" y="44093"/>
                    </a:lnTo>
                    <a:lnTo>
                      <a:pt x="134096" y="44396"/>
                    </a:lnTo>
                    <a:lnTo>
                      <a:pt x="143642" y="42426"/>
                    </a:lnTo>
                    <a:lnTo>
                      <a:pt x="144096" y="42123"/>
                    </a:lnTo>
                    <a:lnTo>
                      <a:pt x="144399" y="36365"/>
                    </a:lnTo>
                    <a:lnTo>
                      <a:pt x="148642" y="32274"/>
                    </a:lnTo>
                    <a:lnTo>
                      <a:pt x="149703" y="30153"/>
                    </a:lnTo>
                    <a:lnTo>
                      <a:pt x="151218" y="25607"/>
                    </a:lnTo>
                    <a:lnTo>
                      <a:pt x="152430" y="23486"/>
                    </a:lnTo>
                    <a:lnTo>
                      <a:pt x="153793" y="21819"/>
                    </a:lnTo>
                    <a:lnTo>
                      <a:pt x="154854" y="20001"/>
                    </a:lnTo>
                    <a:lnTo>
                      <a:pt x="155309" y="186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16ED1F8-D2A0-4138-98C3-F584956AD101}"/>
                  </a:ext>
                </a:extLst>
              </p:cNvPr>
              <p:cNvSpPr/>
              <p:nvPr/>
            </p:nvSpPr>
            <p:spPr>
              <a:xfrm>
                <a:off x="5382791" y="4776698"/>
                <a:ext cx="239554" cy="224099"/>
              </a:xfrm>
              <a:custGeom>
                <a:avLst/>
                <a:gdLst>
                  <a:gd name="connsiteX0" fmla="*/ 1515 w 239554"/>
                  <a:gd name="connsiteY0" fmla="*/ 151 h 224099"/>
                  <a:gd name="connsiteX1" fmla="*/ 909 w 239554"/>
                  <a:gd name="connsiteY1" fmla="*/ 0 h 224099"/>
                  <a:gd name="connsiteX2" fmla="*/ 455 w 239554"/>
                  <a:gd name="connsiteY2" fmla="*/ 606 h 224099"/>
                  <a:gd name="connsiteX3" fmla="*/ 0 w 239554"/>
                  <a:gd name="connsiteY3" fmla="*/ 1667 h 224099"/>
                  <a:gd name="connsiteX4" fmla="*/ 152 w 239554"/>
                  <a:gd name="connsiteY4" fmla="*/ 2273 h 224099"/>
                  <a:gd name="connsiteX5" fmla="*/ 455 w 239554"/>
                  <a:gd name="connsiteY5" fmla="*/ 2576 h 224099"/>
                  <a:gd name="connsiteX6" fmla="*/ 1364 w 239554"/>
                  <a:gd name="connsiteY6" fmla="*/ 2576 h 224099"/>
                  <a:gd name="connsiteX7" fmla="*/ 2727 w 239554"/>
                  <a:gd name="connsiteY7" fmla="*/ 2121 h 224099"/>
                  <a:gd name="connsiteX8" fmla="*/ 3182 w 239554"/>
                  <a:gd name="connsiteY8" fmla="*/ 1515 h 224099"/>
                  <a:gd name="connsiteX9" fmla="*/ 2424 w 239554"/>
                  <a:gd name="connsiteY9" fmla="*/ 909 h 224099"/>
                  <a:gd name="connsiteX10" fmla="*/ 1515 w 239554"/>
                  <a:gd name="connsiteY10" fmla="*/ 151 h 224099"/>
                  <a:gd name="connsiteX11" fmla="*/ 239403 w 239554"/>
                  <a:gd name="connsiteY11" fmla="*/ 221523 h 224099"/>
                  <a:gd name="connsiteX12" fmla="*/ 238191 w 239554"/>
                  <a:gd name="connsiteY12" fmla="*/ 221372 h 224099"/>
                  <a:gd name="connsiteX13" fmla="*/ 236373 w 239554"/>
                  <a:gd name="connsiteY13" fmla="*/ 222735 h 224099"/>
                  <a:gd name="connsiteX14" fmla="*/ 236221 w 239554"/>
                  <a:gd name="connsiteY14" fmla="*/ 224099 h 224099"/>
                  <a:gd name="connsiteX15" fmla="*/ 238645 w 239554"/>
                  <a:gd name="connsiteY15" fmla="*/ 223948 h 224099"/>
                  <a:gd name="connsiteX16" fmla="*/ 239554 w 239554"/>
                  <a:gd name="connsiteY16" fmla="*/ 223190 h 224099"/>
                  <a:gd name="connsiteX17" fmla="*/ 239403 w 239554"/>
                  <a:gd name="connsiteY17" fmla="*/ 221523 h 224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9554" h="224099">
                    <a:moveTo>
                      <a:pt x="1515" y="151"/>
                    </a:moveTo>
                    <a:lnTo>
                      <a:pt x="909" y="0"/>
                    </a:lnTo>
                    <a:lnTo>
                      <a:pt x="455" y="606"/>
                    </a:lnTo>
                    <a:lnTo>
                      <a:pt x="0" y="1667"/>
                    </a:lnTo>
                    <a:lnTo>
                      <a:pt x="152" y="2273"/>
                    </a:lnTo>
                    <a:lnTo>
                      <a:pt x="455" y="2576"/>
                    </a:lnTo>
                    <a:lnTo>
                      <a:pt x="1364" y="2576"/>
                    </a:lnTo>
                    <a:lnTo>
                      <a:pt x="2727" y="2121"/>
                    </a:lnTo>
                    <a:lnTo>
                      <a:pt x="3182" y="1515"/>
                    </a:lnTo>
                    <a:lnTo>
                      <a:pt x="2424" y="909"/>
                    </a:lnTo>
                    <a:lnTo>
                      <a:pt x="1515" y="151"/>
                    </a:lnTo>
                    <a:close/>
                    <a:moveTo>
                      <a:pt x="239403" y="221523"/>
                    </a:moveTo>
                    <a:lnTo>
                      <a:pt x="238191" y="221372"/>
                    </a:lnTo>
                    <a:lnTo>
                      <a:pt x="236373" y="222735"/>
                    </a:lnTo>
                    <a:lnTo>
                      <a:pt x="236221" y="224099"/>
                    </a:lnTo>
                    <a:lnTo>
                      <a:pt x="238645" y="223948"/>
                    </a:lnTo>
                    <a:lnTo>
                      <a:pt x="239554" y="223190"/>
                    </a:lnTo>
                    <a:lnTo>
                      <a:pt x="239403" y="2215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9565EFD8-4BB5-4B36-8245-574A877EE757}"/>
                  </a:ext>
                </a:extLst>
              </p:cNvPr>
              <p:cNvSpPr/>
              <p:nvPr/>
            </p:nvSpPr>
            <p:spPr>
              <a:xfrm>
                <a:off x="8613062" y="4522749"/>
                <a:ext cx="9545" cy="5000"/>
              </a:xfrm>
              <a:custGeom>
                <a:avLst/>
                <a:gdLst>
                  <a:gd name="connsiteX0" fmla="*/ 8637 w 9545"/>
                  <a:gd name="connsiteY0" fmla="*/ 1515 h 5000"/>
                  <a:gd name="connsiteX1" fmla="*/ 7121 w 9545"/>
                  <a:gd name="connsiteY1" fmla="*/ 909 h 5000"/>
                  <a:gd name="connsiteX2" fmla="*/ 4697 w 9545"/>
                  <a:gd name="connsiteY2" fmla="*/ 0 h 5000"/>
                  <a:gd name="connsiteX3" fmla="*/ 1515 w 9545"/>
                  <a:gd name="connsiteY3" fmla="*/ 606 h 5000"/>
                  <a:gd name="connsiteX4" fmla="*/ 0 w 9545"/>
                  <a:gd name="connsiteY4" fmla="*/ 3333 h 5000"/>
                  <a:gd name="connsiteX5" fmla="*/ 4697 w 9545"/>
                  <a:gd name="connsiteY5" fmla="*/ 5000 h 5000"/>
                  <a:gd name="connsiteX6" fmla="*/ 8788 w 9545"/>
                  <a:gd name="connsiteY6" fmla="*/ 3182 h 5000"/>
                  <a:gd name="connsiteX7" fmla="*/ 9546 w 9545"/>
                  <a:gd name="connsiteY7" fmla="*/ 2273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5" h="5000">
                    <a:moveTo>
                      <a:pt x="8637" y="1515"/>
                    </a:moveTo>
                    <a:lnTo>
                      <a:pt x="7121" y="909"/>
                    </a:lnTo>
                    <a:lnTo>
                      <a:pt x="4697" y="0"/>
                    </a:lnTo>
                    <a:lnTo>
                      <a:pt x="1515" y="606"/>
                    </a:lnTo>
                    <a:lnTo>
                      <a:pt x="0" y="3333"/>
                    </a:lnTo>
                    <a:lnTo>
                      <a:pt x="4697" y="5000"/>
                    </a:lnTo>
                    <a:lnTo>
                      <a:pt x="8788" y="3182"/>
                    </a:lnTo>
                    <a:lnTo>
                      <a:pt x="9546"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6CA8392-5562-48F2-B868-9122EF5C2F15}"/>
                  </a:ext>
                </a:extLst>
              </p:cNvPr>
              <p:cNvSpPr/>
              <p:nvPr/>
            </p:nvSpPr>
            <p:spPr>
              <a:xfrm>
                <a:off x="6082059" y="2292668"/>
                <a:ext cx="356528" cy="584263"/>
              </a:xfrm>
              <a:custGeom>
                <a:avLst/>
                <a:gdLst>
                  <a:gd name="connsiteX0" fmla="*/ 212281 w 356528"/>
                  <a:gd name="connsiteY0" fmla="*/ 483957 h 584263"/>
                  <a:gd name="connsiteX1" fmla="*/ 210614 w 356528"/>
                  <a:gd name="connsiteY1" fmla="*/ 484563 h 584263"/>
                  <a:gd name="connsiteX2" fmla="*/ 209705 w 356528"/>
                  <a:gd name="connsiteY2" fmla="*/ 487291 h 584263"/>
                  <a:gd name="connsiteX3" fmla="*/ 207432 w 356528"/>
                  <a:gd name="connsiteY3" fmla="*/ 486078 h 584263"/>
                  <a:gd name="connsiteX4" fmla="*/ 202432 w 356528"/>
                  <a:gd name="connsiteY4" fmla="*/ 487442 h 584263"/>
                  <a:gd name="connsiteX5" fmla="*/ 198796 w 356528"/>
                  <a:gd name="connsiteY5" fmla="*/ 490321 h 584263"/>
                  <a:gd name="connsiteX6" fmla="*/ 195462 w 356528"/>
                  <a:gd name="connsiteY6" fmla="*/ 494412 h 584263"/>
                  <a:gd name="connsiteX7" fmla="*/ 193341 w 356528"/>
                  <a:gd name="connsiteY7" fmla="*/ 496230 h 584263"/>
                  <a:gd name="connsiteX8" fmla="*/ 191522 w 356528"/>
                  <a:gd name="connsiteY8" fmla="*/ 498352 h 584263"/>
                  <a:gd name="connsiteX9" fmla="*/ 191371 w 356528"/>
                  <a:gd name="connsiteY9" fmla="*/ 502594 h 584263"/>
                  <a:gd name="connsiteX10" fmla="*/ 191977 w 356528"/>
                  <a:gd name="connsiteY10" fmla="*/ 506988 h 584263"/>
                  <a:gd name="connsiteX11" fmla="*/ 190765 w 356528"/>
                  <a:gd name="connsiteY11" fmla="*/ 509564 h 584263"/>
                  <a:gd name="connsiteX12" fmla="*/ 192432 w 356528"/>
                  <a:gd name="connsiteY12" fmla="*/ 511988 h 584263"/>
                  <a:gd name="connsiteX13" fmla="*/ 193644 w 356528"/>
                  <a:gd name="connsiteY13" fmla="*/ 515019 h 584263"/>
                  <a:gd name="connsiteX14" fmla="*/ 195765 w 356528"/>
                  <a:gd name="connsiteY14" fmla="*/ 516989 h 584263"/>
                  <a:gd name="connsiteX15" fmla="*/ 193644 w 356528"/>
                  <a:gd name="connsiteY15" fmla="*/ 519867 h 584263"/>
                  <a:gd name="connsiteX16" fmla="*/ 191977 w 356528"/>
                  <a:gd name="connsiteY16" fmla="*/ 523352 h 584263"/>
                  <a:gd name="connsiteX17" fmla="*/ 194856 w 356528"/>
                  <a:gd name="connsiteY17" fmla="*/ 522898 h 584263"/>
                  <a:gd name="connsiteX18" fmla="*/ 197280 w 356528"/>
                  <a:gd name="connsiteY18" fmla="*/ 521080 h 584263"/>
                  <a:gd name="connsiteX19" fmla="*/ 198492 w 356528"/>
                  <a:gd name="connsiteY19" fmla="*/ 516837 h 584263"/>
                  <a:gd name="connsiteX20" fmla="*/ 200917 w 356528"/>
                  <a:gd name="connsiteY20" fmla="*/ 513958 h 584263"/>
                  <a:gd name="connsiteX21" fmla="*/ 202584 w 356528"/>
                  <a:gd name="connsiteY21" fmla="*/ 512594 h 584263"/>
                  <a:gd name="connsiteX22" fmla="*/ 206977 w 356528"/>
                  <a:gd name="connsiteY22" fmla="*/ 510776 h 584263"/>
                  <a:gd name="connsiteX23" fmla="*/ 208190 w 356528"/>
                  <a:gd name="connsiteY23" fmla="*/ 507594 h 584263"/>
                  <a:gd name="connsiteX24" fmla="*/ 209402 w 356528"/>
                  <a:gd name="connsiteY24" fmla="*/ 506079 h 584263"/>
                  <a:gd name="connsiteX25" fmla="*/ 211069 w 356528"/>
                  <a:gd name="connsiteY25" fmla="*/ 505018 h 584263"/>
                  <a:gd name="connsiteX26" fmla="*/ 212887 w 356528"/>
                  <a:gd name="connsiteY26" fmla="*/ 504564 h 584263"/>
                  <a:gd name="connsiteX27" fmla="*/ 209705 w 356528"/>
                  <a:gd name="connsiteY27" fmla="*/ 501230 h 584263"/>
                  <a:gd name="connsiteX28" fmla="*/ 210311 w 356528"/>
                  <a:gd name="connsiteY28" fmla="*/ 492442 h 584263"/>
                  <a:gd name="connsiteX29" fmla="*/ 212129 w 356528"/>
                  <a:gd name="connsiteY29" fmla="*/ 491533 h 584263"/>
                  <a:gd name="connsiteX30" fmla="*/ 213948 w 356528"/>
                  <a:gd name="connsiteY30" fmla="*/ 491079 h 584263"/>
                  <a:gd name="connsiteX31" fmla="*/ 215311 w 356528"/>
                  <a:gd name="connsiteY31" fmla="*/ 488351 h 584263"/>
                  <a:gd name="connsiteX32" fmla="*/ 217584 w 356528"/>
                  <a:gd name="connsiteY32" fmla="*/ 487442 h 584263"/>
                  <a:gd name="connsiteX33" fmla="*/ 214251 w 356528"/>
                  <a:gd name="connsiteY33" fmla="*/ 484866 h 584263"/>
                  <a:gd name="connsiteX34" fmla="*/ 212281 w 356528"/>
                  <a:gd name="connsiteY34" fmla="*/ 483957 h 584263"/>
                  <a:gd name="connsiteX35" fmla="*/ 162734 w 356528"/>
                  <a:gd name="connsiteY35" fmla="*/ 506988 h 584263"/>
                  <a:gd name="connsiteX36" fmla="*/ 160915 w 356528"/>
                  <a:gd name="connsiteY36" fmla="*/ 506534 h 584263"/>
                  <a:gd name="connsiteX37" fmla="*/ 160158 w 356528"/>
                  <a:gd name="connsiteY37" fmla="*/ 507594 h 584263"/>
                  <a:gd name="connsiteX38" fmla="*/ 159248 w 356528"/>
                  <a:gd name="connsiteY38" fmla="*/ 510322 h 584263"/>
                  <a:gd name="connsiteX39" fmla="*/ 157582 w 356528"/>
                  <a:gd name="connsiteY39" fmla="*/ 513352 h 584263"/>
                  <a:gd name="connsiteX40" fmla="*/ 156521 w 356528"/>
                  <a:gd name="connsiteY40" fmla="*/ 516686 h 584263"/>
                  <a:gd name="connsiteX41" fmla="*/ 152733 w 356528"/>
                  <a:gd name="connsiteY41" fmla="*/ 524110 h 584263"/>
                  <a:gd name="connsiteX42" fmla="*/ 150006 w 356528"/>
                  <a:gd name="connsiteY42" fmla="*/ 525019 h 584263"/>
                  <a:gd name="connsiteX43" fmla="*/ 144096 w 356528"/>
                  <a:gd name="connsiteY43" fmla="*/ 536989 h 584263"/>
                  <a:gd name="connsiteX44" fmla="*/ 143642 w 356528"/>
                  <a:gd name="connsiteY44" fmla="*/ 540323 h 584263"/>
                  <a:gd name="connsiteX45" fmla="*/ 143794 w 356528"/>
                  <a:gd name="connsiteY45" fmla="*/ 546990 h 584263"/>
                  <a:gd name="connsiteX46" fmla="*/ 144551 w 356528"/>
                  <a:gd name="connsiteY46" fmla="*/ 549566 h 584263"/>
                  <a:gd name="connsiteX47" fmla="*/ 145763 w 356528"/>
                  <a:gd name="connsiteY47" fmla="*/ 549717 h 584263"/>
                  <a:gd name="connsiteX48" fmla="*/ 147127 w 356528"/>
                  <a:gd name="connsiteY48" fmla="*/ 547747 h 584263"/>
                  <a:gd name="connsiteX49" fmla="*/ 153945 w 356528"/>
                  <a:gd name="connsiteY49" fmla="*/ 527747 h 584263"/>
                  <a:gd name="connsiteX50" fmla="*/ 155612 w 356528"/>
                  <a:gd name="connsiteY50" fmla="*/ 526383 h 584263"/>
                  <a:gd name="connsiteX51" fmla="*/ 156824 w 356528"/>
                  <a:gd name="connsiteY51" fmla="*/ 520777 h 584263"/>
                  <a:gd name="connsiteX52" fmla="*/ 161521 w 356528"/>
                  <a:gd name="connsiteY52" fmla="*/ 511988 h 584263"/>
                  <a:gd name="connsiteX53" fmla="*/ 161673 w 356528"/>
                  <a:gd name="connsiteY53" fmla="*/ 511079 h 584263"/>
                  <a:gd name="connsiteX54" fmla="*/ 161521 w 356528"/>
                  <a:gd name="connsiteY54" fmla="*/ 509110 h 584263"/>
                  <a:gd name="connsiteX55" fmla="*/ 163339 w 356528"/>
                  <a:gd name="connsiteY55" fmla="*/ 507594 h 584263"/>
                  <a:gd name="connsiteX56" fmla="*/ 162734 w 356528"/>
                  <a:gd name="connsiteY56" fmla="*/ 506988 h 584263"/>
                  <a:gd name="connsiteX57" fmla="*/ 200917 w 356528"/>
                  <a:gd name="connsiteY57" fmla="*/ 436380 h 584263"/>
                  <a:gd name="connsiteX58" fmla="*/ 200310 w 356528"/>
                  <a:gd name="connsiteY58" fmla="*/ 436228 h 584263"/>
                  <a:gd name="connsiteX59" fmla="*/ 198492 w 356528"/>
                  <a:gd name="connsiteY59" fmla="*/ 436986 h 584263"/>
                  <a:gd name="connsiteX60" fmla="*/ 197887 w 356528"/>
                  <a:gd name="connsiteY60" fmla="*/ 437743 h 584263"/>
                  <a:gd name="connsiteX61" fmla="*/ 197129 w 356528"/>
                  <a:gd name="connsiteY61" fmla="*/ 439561 h 584263"/>
                  <a:gd name="connsiteX62" fmla="*/ 197735 w 356528"/>
                  <a:gd name="connsiteY62" fmla="*/ 439713 h 584263"/>
                  <a:gd name="connsiteX63" fmla="*/ 198947 w 356528"/>
                  <a:gd name="connsiteY63" fmla="*/ 439258 h 584263"/>
                  <a:gd name="connsiteX64" fmla="*/ 200917 w 356528"/>
                  <a:gd name="connsiteY64" fmla="*/ 436380 h 584263"/>
                  <a:gd name="connsiteX65" fmla="*/ 353195 w 356528"/>
                  <a:gd name="connsiteY65" fmla="*/ 142278 h 584263"/>
                  <a:gd name="connsiteX66" fmla="*/ 351680 w 356528"/>
                  <a:gd name="connsiteY66" fmla="*/ 139096 h 584263"/>
                  <a:gd name="connsiteX67" fmla="*/ 349256 w 356528"/>
                  <a:gd name="connsiteY67" fmla="*/ 135156 h 584263"/>
                  <a:gd name="connsiteX68" fmla="*/ 345013 w 356528"/>
                  <a:gd name="connsiteY68" fmla="*/ 133187 h 584263"/>
                  <a:gd name="connsiteX69" fmla="*/ 344255 w 356528"/>
                  <a:gd name="connsiteY69" fmla="*/ 132126 h 584263"/>
                  <a:gd name="connsiteX70" fmla="*/ 343649 w 356528"/>
                  <a:gd name="connsiteY70" fmla="*/ 130459 h 584263"/>
                  <a:gd name="connsiteX71" fmla="*/ 343498 w 356528"/>
                  <a:gd name="connsiteY71" fmla="*/ 128035 h 584263"/>
                  <a:gd name="connsiteX72" fmla="*/ 342892 w 356528"/>
                  <a:gd name="connsiteY72" fmla="*/ 124550 h 584263"/>
                  <a:gd name="connsiteX73" fmla="*/ 343043 w 356528"/>
                  <a:gd name="connsiteY73" fmla="*/ 121671 h 584263"/>
                  <a:gd name="connsiteX74" fmla="*/ 343498 w 356528"/>
                  <a:gd name="connsiteY74" fmla="*/ 120004 h 584263"/>
                  <a:gd name="connsiteX75" fmla="*/ 345316 w 356528"/>
                  <a:gd name="connsiteY75" fmla="*/ 118792 h 584263"/>
                  <a:gd name="connsiteX76" fmla="*/ 348043 w 356528"/>
                  <a:gd name="connsiteY76" fmla="*/ 115610 h 584263"/>
                  <a:gd name="connsiteX77" fmla="*/ 348649 w 356528"/>
                  <a:gd name="connsiteY77" fmla="*/ 113186 h 584263"/>
                  <a:gd name="connsiteX78" fmla="*/ 348801 w 356528"/>
                  <a:gd name="connsiteY78" fmla="*/ 109549 h 584263"/>
                  <a:gd name="connsiteX79" fmla="*/ 350013 w 356528"/>
                  <a:gd name="connsiteY79" fmla="*/ 106368 h 584263"/>
                  <a:gd name="connsiteX80" fmla="*/ 351377 w 356528"/>
                  <a:gd name="connsiteY80" fmla="*/ 104701 h 584263"/>
                  <a:gd name="connsiteX81" fmla="*/ 351074 w 356528"/>
                  <a:gd name="connsiteY81" fmla="*/ 103489 h 584263"/>
                  <a:gd name="connsiteX82" fmla="*/ 350165 w 356528"/>
                  <a:gd name="connsiteY82" fmla="*/ 101670 h 584263"/>
                  <a:gd name="connsiteX83" fmla="*/ 348195 w 356528"/>
                  <a:gd name="connsiteY83" fmla="*/ 99095 h 584263"/>
                  <a:gd name="connsiteX84" fmla="*/ 345164 w 356528"/>
                  <a:gd name="connsiteY84" fmla="*/ 95913 h 584263"/>
                  <a:gd name="connsiteX85" fmla="*/ 342892 w 356528"/>
                  <a:gd name="connsiteY85" fmla="*/ 92882 h 584263"/>
                  <a:gd name="connsiteX86" fmla="*/ 341983 w 356528"/>
                  <a:gd name="connsiteY86" fmla="*/ 90003 h 584263"/>
                  <a:gd name="connsiteX87" fmla="*/ 341528 w 356528"/>
                  <a:gd name="connsiteY87" fmla="*/ 87427 h 584263"/>
                  <a:gd name="connsiteX88" fmla="*/ 341680 w 356528"/>
                  <a:gd name="connsiteY88" fmla="*/ 85155 h 584263"/>
                  <a:gd name="connsiteX89" fmla="*/ 342589 w 356528"/>
                  <a:gd name="connsiteY89" fmla="*/ 83639 h 584263"/>
                  <a:gd name="connsiteX90" fmla="*/ 345468 w 356528"/>
                  <a:gd name="connsiteY90" fmla="*/ 81670 h 584263"/>
                  <a:gd name="connsiteX91" fmla="*/ 345922 w 356528"/>
                  <a:gd name="connsiteY91" fmla="*/ 80760 h 584263"/>
                  <a:gd name="connsiteX92" fmla="*/ 344861 w 356528"/>
                  <a:gd name="connsiteY92" fmla="*/ 76366 h 584263"/>
                  <a:gd name="connsiteX93" fmla="*/ 342892 w 356528"/>
                  <a:gd name="connsiteY93" fmla="*/ 75609 h 584263"/>
                  <a:gd name="connsiteX94" fmla="*/ 339558 w 356528"/>
                  <a:gd name="connsiteY94" fmla="*/ 75154 h 584263"/>
                  <a:gd name="connsiteX95" fmla="*/ 337740 w 356528"/>
                  <a:gd name="connsiteY95" fmla="*/ 75154 h 584263"/>
                  <a:gd name="connsiteX96" fmla="*/ 337437 w 356528"/>
                  <a:gd name="connsiteY96" fmla="*/ 74700 h 584263"/>
                  <a:gd name="connsiteX97" fmla="*/ 337285 w 356528"/>
                  <a:gd name="connsiteY97" fmla="*/ 73791 h 584263"/>
                  <a:gd name="connsiteX98" fmla="*/ 337740 w 356528"/>
                  <a:gd name="connsiteY98" fmla="*/ 71972 h 584263"/>
                  <a:gd name="connsiteX99" fmla="*/ 338801 w 356528"/>
                  <a:gd name="connsiteY99" fmla="*/ 69851 h 584263"/>
                  <a:gd name="connsiteX100" fmla="*/ 339710 w 356528"/>
                  <a:gd name="connsiteY100" fmla="*/ 68487 h 584263"/>
                  <a:gd name="connsiteX101" fmla="*/ 339861 w 356528"/>
                  <a:gd name="connsiteY101" fmla="*/ 67427 h 584263"/>
                  <a:gd name="connsiteX102" fmla="*/ 338801 w 356528"/>
                  <a:gd name="connsiteY102" fmla="*/ 63639 h 584263"/>
                  <a:gd name="connsiteX103" fmla="*/ 338498 w 356528"/>
                  <a:gd name="connsiteY103" fmla="*/ 58942 h 584263"/>
                  <a:gd name="connsiteX104" fmla="*/ 338952 w 356528"/>
                  <a:gd name="connsiteY104" fmla="*/ 55305 h 584263"/>
                  <a:gd name="connsiteX105" fmla="*/ 342589 w 356528"/>
                  <a:gd name="connsiteY105" fmla="*/ 52578 h 584263"/>
                  <a:gd name="connsiteX106" fmla="*/ 342740 w 356528"/>
                  <a:gd name="connsiteY106" fmla="*/ 51517 h 584263"/>
                  <a:gd name="connsiteX107" fmla="*/ 338194 w 356528"/>
                  <a:gd name="connsiteY107" fmla="*/ 48487 h 584263"/>
                  <a:gd name="connsiteX108" fmla="*/ 335013 w 356528"/>
                  <a:gd name="connsiteY108" fmla="*/ 45153 h 584263"/>
                  <a:gd name="connsiteX109" fmla="*/ 333952 w 356528"/>
                  <a:gd name="connsiteY109" fmla="*/ 43183 h 584263"/>
                  <a:gd name="connsiteX110" fmla="*/ 330164 w 356528"/>
                  <a:gd name="connsiteY110" fmla="*/ 42880 h 584263"/>
                  <a:gd name="connsiteX111" fmla="*/ 327891 w 356528"/>
                  <a:gd name="connsiteY111" fmla="*/ 37123 h 584263"/>
                  <a:gd name="connsiteX112" fmla="*/ 324558 w 356528"/>
                  <a:gd name="connsiteY112" fmla="*/ 34395 h 584263"/>
                  <a:gd name="connsiteX113" fmla="*/ 321224 w 356528"/>
                  <a:gd name="connsiteY113" fmla="*/ 31971 h 584263"/>
                  <a:gd name="connsiteX114" fmla="*/ 319254 w 356528"/>
                  <a:gd name="connsiteY114" fmla="*/ 30910 h 584263"/>
                  <a:gd name="connsiteX115" fmla="*/ 307739 w 356528"/>
                  <a:gd name="connsiteY115" fmla="*/ 27425 h 584263"/>
                  <a:gd name="connsiteX116" fmla="*/ 303193 w 356528"/>
                  <a:gd name="connsiteY116" fmla="*/ 26819 h 584263"/>
                  <a:gd name="connsiteX117" fmla="*/ 297739 w 356528"/>
                  <a:gd name="connsiteY117" fmla="*/ 24849 h 584263"/>
                  <a:gd name="connsiteX118" fmla="*/ 293647 w 356528"/>
                  <a:gd name="connsiteY118" fmla="*/ 22274 h 584263"/>
                  <a:gd name="connsiteX119" fmla="*/ 290163 w 356528"/>
                  <a:gd name="connsiteY119" fmla="*/ 20607 h 584263"/>
                  <a:gd name="connsiteX120" fmla="*/ 287132 w 356528"/>
                  <a:gd name="connsiteY120" fmla="*/ 18637 h 584263"/>
                  <a:gd name="connsiteX121" fmla="*/ 283041 w 356528"/>
                  <a:gd name="connsiteY121" fmla="*/ 16667 h 584263"/>
                  <a:gd name="connsiteX122" fmla="*/ 281829 w 356528"/>
                  <a:gd name="connsiteY122" fmla="*/ 15001 h 584263"/>
                  <a:gd name="connsiteX123" fmla="*/ 277435 w 356528"/>
                  <a:gd name="connsiteY123" fmla="*/ 11970 h 584263"/>
                  <a:gd name="connsiteX124" fmla="*/ 274707 w 356528"/>
                  <a:gd name="connsiteY124" fmla="*/ 10000 h 584263"/>
                  <a:gd name="connsiteX125" fmla="*/ 267435 w 356528"/>
                  <a:gd name="connsiteY125" fmla="*/ 6212 h 584263"/>
                  <a:gd name="connsiteX126" fmla="*/ 267131 w 356528"/>
                  <a:gd name="connsiteY126" fmla="*/ 4697 h 584263"/>
                  <a:gd name="connsiteX127" fmla="*/ 267131 w 356528"/>
                  <a:gd name="connsiteY127" fmla="*/ 3333 h 584263"/>
                  <a:gd name="connsiteX128" fmla="*/ 266828 w 356528"/>
                  <a:gd name="connsiteY128" fmla="*/ 2727 h 584263"/>
                  <a:gd name="connsiteX129" fmla="*/ 259404 w 356528"/>
                  <a:gd name="connsiteY129" fmla="*/ 0 h 584263"/>
                  <a:gd name="connsiteX130" fmla="*/ 255767 w 356528"/>
                  <a:gd name="connsiteY130" fmla="*/ 151 h 584263"/>
                  <a:gd name="connsiteX131" fmla="*/ 245464 w 356528"/>
                  <a:gd name="connsiteY131" fmla="*/ 758 h 584263"/>
                  <a:gd name="connsiteX132" fmla="*/ 250009 w 356528"/>
                  <a:gd name="connsiteY132" fmla="*/ 4849 h 584263"/>
                  <a:gd name="connsiteX133" fmla="*/ 251525 w 356528"/>
                  <a:gd name="connsiteY133" fmla="*/ 6515 h 584263"/>
                  <a:gd name="connsiteX134" fmla="*/ 251828 w 356528"/>
                  <a:gd name="connsiteY134" fmla="*/ 8940 h 584263"/>
                  <a:gd name="connsiteX135" fmla="*/ 251070 w 356528"/>
                  <a:gd name="connsiteY135" fmla="*/ 13485 h 584263"/>
                  <a:gd name="connsiteX136" fmla="*/ 248949 w 356528"/>
                  <a:gd name="connsiteY136" fmla="*/ 17425 h 584263"/>
                  <a:gd name="connsiteX137" fmla="*/ 246373 w 356528"/>
                  <a:gd name="connsiteY137" fmla="*/ 20607 h 584263"/>
                  <a:gd name="connsiteX138" fmla="*/ 241524 w 356528"/>
                  <a:gd name="connsiteY138" fmla="*/ 23789 h 584263"/>
                  <a:gd name="connsiteX139" fmla="*/ 248949 w 356528"/>
                  <a:gd name="connsiteY139" fmla="*/ 26819 h 584263"/>
                  <a:gd name="connsiteX140" fmla="*/ 243949 w 356528"/>
                  <a:gd name="connsiteY140" fmla="*/ 30910 h 584263"/>
                  <a:gd name="connsiteX141" fmla="*/ 241524 w 356528"/>
                  <a:gd name="connsiteY141" fmla="*/ 32577 h 584263"/>
                  <a:gd name="connsiteX142" fmla="*/ 238797 w 356528"/>
                  <a:gd name="connsiteY142" fmla="*/ 32274 h 584263"/>
                  <a:gd name="connsiteX143" fmla="*/ 233948 w 356528"/>
                  <a:gd name="connsiteY143" fmla="*/ 30910 h 584263"/>
                  <a:gd name="connsiteX144" fmla="*/ 222130 w 356528"/>
                  <a:gd name="connsiteY144" fmla="*/ 27425 h 584263"/>
                  <a:gd name="connsiteX145" fmla="*/ 216523 w 356528"/>
                  <a:gd name="connsiteY145" fmla="*/ 26062 h 584263"/>
                  <a:gd name="connsiteX146" fmla="*/ 211523 w 356528"/>
                  <a:gd name="connsiteY146" fmla="*/ 25607 h 584263"/>
                  <a:gd name="connsiteX147" fmla="*/ 208796 w 356528"/>
                  <a:gd name="connsiteY147" fmla="*/ 25607 h 584263"/>
                  <a:gd name="connsiteX148" fmla="*/ 198038 w 356528"/>
                  <a:gd name="connsiteY148" fmla="*/ 22577 h 584263"/>
                  <a:gd name="connsiteX149" fmla="*/ 195917 w 356528"/>
                  <a:gd name="connsiteY149" fmla="*/ 22880 h 584263"/>
                  <a:gd name="connsiteX150" fmla="*/ 192129 w 356528"/>
                  <a:gd name="connsiteY150" fmla="*/ 24092 h 584263"/>
                  <a:gd name="connsiteX151" fmla="*/ 191674 w 356528"/>
                  <a:gd name="connsiteY151" fmla="*/ 26971 h 584263"/>
                  <a:gd name="connsiteX152" fmla="*/ 191977 w 356528"/>
                  <a:gd name="connsiteY152" fmla="*/ 34092 h 584263"/>
                  <a:gd name="connsiteX153" fmla="*/ 192583 w 356528"/>
                  <a:gd name="connsiteY153" fmla="*/ 39547 h 584263"/>
                  <a:gd name="connsiteX154" fmla="*/ 191220 w 356528"/>
                  <a:gd name="connsiteY154" fmla="*/ 42729 h 584263"/>
                  <a:gd name="connsiteX155" fmla="*/ 189856 w 356528"/>
                  <a:gd name="connsiteY155" fmla="*/ 44850 h 584263"/>
                  <a:gd name="connsiteX156" fmla="*/ 185613 w 356528"/>
                  <a:gd name="connsiteY156" fmla="*/ 50608 h 584263"/>
                  <a:gd name="connsiteX157" fmla="*/ 175916 w 356528"/>
                  <a:gd name="connsiteY157" fmla="*/ 46668 h 584263"/>
                  <a:gd name="connsiteX158" fmla="*/ 169401 w 356528"/>
                  <a:gd name="connsiteY158" fmla="*/ 44093 h 584263"/>
                  <a:gd name="connsiteX159" fmla="*/ 165158 w 356528"/>
                  <a:gd name="connsiteY159" fmla="*/ 47577 h 584263"/>
                  <a:gd name="connsiteX160" fmla="*/ 154551 w 356528"/>
                  <a:gd name="connsiteY160" fmla="*/ 53941 h 584263"/>
                  <a:gd name="connsiteX161" fmla="*/ 149097 w 356528"/>
                  <a:gd name="connsiteY161" fmla="*/ 66518 h 584263"/>
                  <a:gd name="connsiteX162" fmla="*/ 148794 w 356528"/>
                  <a:gd name="connsiteY162" fmla="*/ 66972 h 584263"/>
                  <a:gd name="connsiteX163" fmla="*/ 145612 w 356528"/>
                  <a:gd name="connsiteY163" fmla="*/ 70154 h 584263"/>
                  <a:gd name="connsiteX164" fmla="*/ 141521 w 356528"/>
                  <a:gd name="connsiteY164" fmla="*/ 71669 h 584263"/>
                  <a:gd name="connsiteX165" fmla="*/ 138339 w 356528"/>
                  <a:gd name="connsiteY165" fmla="*/ 72427 h 584263"/>
                  <a:gd name="connsiteX166" fmla="*/ 136520 w 356528"/>
                  <a:gd name="connsiteY166" fmla="*/ 76063 h 584263"/>
                  <a:gd name="connsiteX167" fmla="*/ 140763 w 356528"/>
                  <a:gd name="connsiteY167" fmla="*/ 81367 h 584263"/>
                  <a:gd name="connsiteX168" fmla="*/ 142884 w 356528"/>
                  <a:gd name="connsiteY168" fmla="*/ 84094 h 584263"/>
                  <a:gd name="connsiteX169" fmla="*/ 144854 w 356528"/>
                  <a:gd name="connsiteY169" fmla="*/ 88640 h 584263"/>
                  <a:gd name="connsiteX170" fmla="*/ 144551 w 356528"/>
                  <a:gd name="connsiteY170" fmla="*/ 91519 h 584263"/>
                  <a:gd name="connsiteX171" fmla="*/ 144096 w 356528"/>
                  <a:gd name="connsiteY171" fmla="*/ 93337 h 584263"/>
                  <a:gd name="connsiteX172" fmla="*/ 139551 w 356528"/>
                  <a:gd name="connsiteY172" fmla="*/ 96973 h 584263"/>
                  <a:gd name="connsiteX173" fmla="*/ 129853 w 356528"/>
                  <a:gd name="connsiteY173" fmla="*/ 106519 h 584263"/>
                  <a:gd name="connsiteX174" fmla="*/ 120914 w 356528"/>
                  <a:gd name="connsiteY174" fmla="*/ 116519 h 584263"/>
                  <a:gd name="connsiteX175" fmla="*/ 117277 w 356528"/>
                  <a:gd name="connsiteY175" fmla="*/ 119398 h 584263"/>
                  <a:gd name="connsiteX176" fmla="*/ 118944 w 356528"/>
                  <a:gd name="connsiteY176" fmla="*/ 127732 h 584263"/>
                  <a:gd name="connsiteX177" fmla="*/ 115914 w 356528"/>
                  <a:gd name="connsiteY177" fmla="*/ 130156 h 584263"/>
                  <a:gd name="connsiteX178" fmla="*/ 109853 w 356528"/>
                  <a:gd name="connsiteY178" fmla="*/ 132884 h 584263"/>
                  <a:gd name="connsiteX179" fmla="*/ 106822 w 356528"/>
                  <a:gd name="connsiteY179" fmla="*/ 133944 h 584263"/>
                  <a:gd name="connsiteX180" fmla="*/ 103489 w 356528"/>
                  <a:gd name="connsiteY180" fmla="*/ 134550 h 584263"/>
                  <a:gd name="connsiteX181" fmla="*/ 93186 w 356528"/>
                  <a:gd name="connsiteY181" fmla="*/ 135611 h 584263"/>
                  <a:gd name="connsiteX182" fmla="*/ 95004 w 356528"/>
                  <a:gd name="connsiteY182" fmla="*/ 144551 h 584263"/>
                  <a:gd name="connsiteX183" fmla="*/ 95761 w 356528"/>
                  <a:gd name="connsiteY183" fmla="*/ 148490 h 584263"/>
                  <a:gd name="connsiteX184" fmla="*/ 95761 w 356528"/>
                  <a:gd name="connsiteY184" fmla="*/ 150763 h 584263"/>
                  <a:gd name="connsiteX185" fmla="*/ 94700 w 356528"/>
                  <a:gd name="connsiteY185" fmla="*/ 153036 h 584263"/>
                  <a:gd name="connsiteX186" fmla="*/ 93489 w 356528"/>
                  <a:gd name="connsiteY186" fmla="*/ 157430 h 584263"/>
                  <a:gd name="connsiteX187" fmla="*/ 91519 w 356528"/>
                  <a:gd name="connsiteY187" fmla="*/ 172885 h 584263"/>
                  <a:gd name="connsiteX188" fmla="*/ 90003 w 356528"/>
                  <a:gd name="connsiteY188" fmla="*/ 174552 h 584263"/>
                  <a:gd name="connsiteX189" fmla="*/ 88034 w 356528"/>
                  <a:gd name="connsiteY189" fmla="*/ 178794 h 584263"/>
                  <a:gd name="connsiteX190" fmla="*/ 81518 w 356528"/>
                  <a:gd name="connsiteY190" fmla="*/ 188795 h 584263"/>
                  <a:gd name="connsiteX191" fmla="*/ 76367 w 356528"/>
                  <a:gd name="connsiteY191" fmla="*/ 195462 h 584263"/>
                  <a:gd name="connsiteX192" fmla="*/ 68791 w 356528"/>
                  <a:gd name="connsiteY192" fmla="*/ 205008 h 584263"/>
                  <a:gd name="connsiteX193" fmla="*/ 74851 w 356528"/>
                  <a:gd name="connsiteY193" fmla="*/ 208038 h 584263"/>
                  <a:gd name="connsiteX194" fmla="*/ 80458 w 356528"/>
                  <a:gd name="connsiteY194" fmla="*/ 210159 h 584263"/>
                  <a:gd name="connsiteX195" fmla="*/ 81670 w 356528"/>
                  <a:gd name="connsiteY195" fmla="*/ 213493 h 584263"/>
                  <a:gd name="connsiteX196" fmla="*/ 82427 w 356528"/>
                  <a:gd name="connsiteY196" fmla="*/ 219099 h 584263"/>
                  <a:gd name="connsiteX197" fmla="*/ 82276 w 356528"/>
                  <a:gd name="connsiteY197" fmla="*/ 222887 h 584263"/>
                  <a:gd name="connsiteX198" fmla="*/ 80155 w 356528"/>
                  <a:gd name="connsiteY198" fmla="*/ 226372 h 584263"/>
                  <a:gd name="connsiteX199" fmla="*/ 78488 w 356528"/>
                  <a:gd name="connsiteY199" fmla="*/ 228796 h 584263"/>
                  <a:gd name="connsiteX200" fmla="*/ 77276 w 356528"/>
                  <a:gd name="connsiteY200" fmla="*/ 230008 h 584263"/>
                  <a:gd name="connsiteX201" fmla="*/ 69397 w 356528"/>
                  <a:gd name="connsiteY201" fmla="*/ 228796 h 584263"/>
                  <a:gd name="connsiteX202" fmla="*/ 59245 w 356528"/>
                  <a:gd name="connsiteY202" fmla="*/ 227281 h 584263"/>
                  <a:gd name="connsiteX203" fmla="*/ 56669 w 356528"/>
                  <a:gd name="connsiteY203" fmla="*/ 227281 h 584263"/>
                  <a:gd name="connsiteX204" fmla="*/ 50760 w 356528"/>
                  <a:gd name="connsiteY204" fmla="*/ 228342 h 584263"/>
                  <a:gd name="connsiteX205" fmla="*/ 45456 w 356528"/>
                  <a:gd name="connsiteY205" fmla="*/ 230614 h 584263"/>
                  <a:gd name="connsiteX206" fmla="*/ 42578 w 356528"/>
                  <a:gd name="connsiteY206" fmla="*/ 232433 h 584263"/>
                  <a:gd name="connsiteX207" fmla="*/ 41820 w 356528"/>
                  <a:gd name="connsiteY207" fmla="*/ 233190 h 584263"/>
                  <a:gd name="connsiteX208" fmla="*/ 38335 w 356528"/>
                  <a:gd name="connsiteY208" fmla="*/ 237433 h 584263"/>
                  <a:gd name="connsiteX209" fmla="*/ 31971 w 356528"/>
                  <a:gd name="connsiteY209" fmla="*/ 245009 h 584263"/>
                  <a:gd name="connsiteX210" fmla="*/ 28486 w 356528"/>
                  <a:gd name="connsiteY210" fmla="*/ 248342 h 584263"/>
                  <a:gd name="connsiteX211" fmla="*/ 29547 w 356528"/>
                  <a:gd name="connsiteY211" fmla="*/ 252888 h 584263"/>
                  <a:gd name="connsiteX212" fmla="*/ 23789 w 356528"/>
                  <a:gd name="connsiteY212" fmla="*/ 261525 h 584263"/>
                  <a:gd name="connsiteX213" fmla="*/ 27577 w 356528"/>
                  <a:gd name="connsiteY213" fmla="*/ 270313 h 584263"/>
                  <a:gd name="connsiteX214" fmla="*/ 27729 w 356528"/>
                  <a:gd name="connsiteY214" fmla="*/ 270616 h 584263"/>
                  <a:gd name="connsiteX215" fmla="*/ 29698 w 356528"/>
                  <a:gd name="connsiteY215" fmla="*/ 274101 h 584263"/>
                  <a:gd name="connsiteX216" fmla="*/ 27577 w 356528"/>
                  <a:gd name="connsiteY216" fmla="*/ 276374 h 584263"/>
                  <a:gd name="connsiteX217" fmla="*/ 26668 w 356528"/>
                  <a:gd name="connsiteY217" fmla="*/ 277586 h 584263"/>
                  <a:gd name="connsiteX218" fmla="*/ 26971 w 356528"/>
                  <a:gd name="connsiteY218" fmla="*/ 281525 h 584263"/>
                  <a:gd name="connsiteX219" fmla="*/ 27577 w 356528"/>
                  <a:gd name="connsiteY219" fmla="*/ 286071 h 584263"/>
                  <a:gd name="connsiteX220" fmla="*/ 27122 w 356528"/>
                  <a:gd name="connsiteY220" fmla="*/ 288647 h 584263"/>
                  <a:gd name="connsiteX221" fmla="*/ 26971 w 356528"/>
                  <a:gd name="connsiteY221" fmla="*/ 291526 h 584263"/>
                  <a:gd name="connsiteX222" fmla="*/ 32123 w 356528"/>
                  <a:gd name="connsiteY222" fmla="*/ 304557 h 584263"/>
                  <a:gd name="connsiteX223" fmla="*/ 32123 w 356528"/>
                  <a:gd name="connsiteY223" fmla="*/ 307587 h 584263"/>
                  <a:gd name="connsiteX224" fmla="*/ 31819 w 356528"/>
                  <a:gd name="connsiteY224" fmla="*/ 309557 h 584263"/>
                  <a:gd name="connsiteX225" fmla="*/ 30153 w 356528"/>
                  <a:gd name="connsiteY225" fmla="*/ 317587 h 584263"/>
                  <a:gd name="connsiteX226" fmla="*/ 28031 w 356528"/>
                  <a:gd name="connsiteY226" fmla="*/ 328345 h 584263"/>
                  <a:gd name="connsiteX227" fmla="*/ 31819 w 356528"/>
                  <a:gd name="connsiteY227" fmla="*/ 331224 h 584263"/>
                  <a:gd name="connsiteX228" fmla="*/ 37123 w 356528"/>
                  <a:gd name="connsiteY228" fmla="*/ 334558 h 584263"/>
                  <a:gd name="connsiteX229" fmla="*/ 40153 w 356528"/>
                  <a:gd name="connsiteY229" fmla="*/ 335921 h 584263"/>
                  <a:gd name="connsiteX230" fmla="*/ 44547 w 356528"/>
                  <a:gd name="connsiteY230" fmla="*/ 339861 h 584263"/>
                  <a:gd name="connsiteX231" fmla="*/ 47881 w 356528"/>
                  <a:gd name="connsiteY231" fmla="*/ 343800 h 584263"/>
                  <a:gd name="connsiteX232" fmla="*/ 47426 w 356528"/>
                  <a:gd name="connsiteY232" fmla="*/ 346376 h 584263"/>
                  <a:gd name="connsiteX233" fmla="*/ 46517 w 356528"/>
                  <a:gd name="connsiteY233" fmla="*/ 349255 h 584263"/>
                  <a:gd name="connsiteX234" fmla="*/ 45153 w 356528"/>
                  <a:gd name="connsiteY234" fmla="*/ 351225 h 584263"/>
                  <a:gd name="connsiteX235" fmla="*/ 43790 w 356528"/>
                  <a:gd name="connsiteY235" fmla="*/ 353952 h 584263"/>
                  <a:gd name="connsiteX236" fmla="*/ 43184 w 356528"/>
                  <a:gd name="connsiteY236" fmla="*/ 355922 h 584263"/>
                  <a:gd name="connsiteX237" fmla="*/ 42578 w 356528"/>
                  <a:gd name="connsiteY237" fmla="*/ 356528 h 584263"/>
                  <a:gd name="connsiteX238" fmla="*/ 36668 w 356528"/>
                  <a:gd name="connsiteY238" fmla="*/ 356680 h 584263"/>
                  <a:gd name="connsiteX239" fmla="*/ 33486 w 356528"/>
                  <a:gd name="connsiteY239" fmla="*/ 357437 h 584263"/>
                  <a:gd name="connsiteX240" fmla="*/ 31819 w 356528"/>
                  <a:gd name="connsiteY240" fmla="*/ 358346 h 584263"/>
                  <a:gd name="connsiteX241" fmla="*/ 32426 w 356528"/>
                  <a:gd name="connsiteY241" fmla="*/ 362892 h 584263"/>
                  <a:gd name="connsiteX242" fmla="*/ 36062 w 356528"/>
                  <a:gd name="connsiteY242" fmla="*/ 371226 h 584263"/>
                  <a:gd name="connsiteX243" fmla="*/ 39093 w 356528"/>
                  <a:gd name="connsiteY243" fmla="*/ 377135 h 584263"/>
                  <a:gd name="connsiteX244" fmla="*/ 40002 w 356528"/>
                  <a:gd name="connsiteY244" fmla="*/ 381074 h 584263"/>
                  <a:gd name="connsiteX245" fmla="*/ 39093 w 356528"/>
                  <a:gd name="connsiteY245" fmla="*/ 385014 h 584263"/>
                  <a:gd name="connsiteX246" fmla="*/ 38032 w 356528"/>
                  <a:gd name="connsiteY246" fmla="*/ 386984 h 584263"/>
                  <a:gd name="connsiteX247" fmla="*/ 38032 w 356528"/>
                  <a:gd name="connsiteY247" fmla="*/ 389711 h 584263"/>
                  <a:gd name="connsiteX248" fmla="*/ 37274 w 356528"/>
                  <a:gd name="connsiteY248" fmla="*/ 395166 h 584263"/>
                  <a:gd name="connsiteX249" fmla="*/ 35002 w 356528"/>
                  <a:gd name="connsiteY249" fmla="*/ 397893 h 584263"/>
                  <a:gd name="connsiteX250" fmla="*/ 31971 w 356528"/>
                  <a:gd name="connsiteY250" fmla="*/ 400924 h 584263"/>
                  <a:gd name="connsiteX251" fmla="*/ 28638 w 356528"/>
                  <a:gd name="connsiteY251" fmla="*/ 403196 h 584263"/>
                  <a:gd name="connsiteX252" fmla="*/ 25910 w 356528"/>
                  <a:gd name="connsiteY252" fmla="*/ 403803 h 584263"/>
                  <a:gd name="connsiteX253" fmla="*/ 23638 w 356528"/>
                  <a:gd name="connsiteY253" fmla="*/ 404106 h 584263"/>
                  <a:gd name="connsiteX254" fmla="*/ 22122 w 356528"/>
                  <a:gd name="connsiteY254" fmla="*/ 405166 h 584263"/>
                  <a:gd name="connsiteX255" fmla="*/ 20759 w 356528"/>
                  <a:gd name="connsiteY255" fmla="*/ 408500 h 584263"/>
                  <a:gd name="connsiteX256" fmla="*/ 19546 w 356528"/>
                  <a:gd name="connsiteY256" fmla="*/ 411985 h 584263"/>
                  <a:gd name="connsiteX257" fmla="*/ 15304 w 356528"/>
                  <a:gd name="connsiteY257" fmla="*/ 416227 h 584263"/>
                  <a:gd name="connsiteX258" fmla="*/ 15455 w 356528"/>
                  <a:gd name="connsiteY258" fmla="*/ 417743 h 584263"/>
                  <a:gd name="connsiteX259" fmla="*/ 17122 w 356528"/>
                  <a:gd name="connsiteY259" fmla="*/ 422743 h 584263"/>
                  <a:gd name="connsiteX260" fmla="*/ 18637 w 356528"/>
                  <a:gd name="connsiteY260" fmla="*/ 428501 h 584263"/>
                  <a:gd name="connsiteX261" fmla="*/ 16667 w 356528"/>
                  <a:gd name="connsiteY261" fmla="*/ 434258 h 584263"/>
                  <a:gd name="connsiteX262" fmla="*/ 15607 w 356528"/>
                  <a:gd name="connsiteY262" fmla="*/ 439865 h 584263"/>
                  <a:gd name="connsiteX263" fmla="*/ 13637 w 356528"/>
                  <a:gd name="connsiteY263" fmla="*/ 443653 h 584263"/>
                  <a:gd name="connsiteX264" fmla="*/ 10910 w 356528"/>
                  <a:gd name="connsiteY264" fmla="*/ 445016 h 584263"/>
                  <a:gd name="connsiteX265" fmla="*/ 8940 w 356528"/>
                  <a:gd name="connsiteY265" fmla="*/ 444410 h 584263"/>
                  <a:gd name="connsiteX266" fmla="*/ 6667 w 356528"/>
                  <a:gd name="connsiteY266" fmla="*/ 439258 h 584263"/>
                  <a:gd name="connsiteX267" fmla="*/ 4091 w 356528"/>
                  <a:gd name="connsiteY267" fmla="*/ 437289 h 584263"/>
                  <a:gd name="connsiteX268" fmla="*/ 1364 w 356528"/>
                  <a:gd name="connsiteY268" fmla="*/ 437592 h 584263"/>
                  <a:gd name="connsiteX269" fmla="*/ 606 w 356528"/>
                  <a:gd name="connsiteY269" fmla="*/ 438955 h 584263"/>
                  <a:gd name="connsiteX270" fmla="*/ 0 w 356528"/>
                  <a:gd name="connsiteY270" fmla="*/ 441228 h 584263"/>
                  <a:gd name="connsiteX271" fmla="*/ 606 w 356528"/>
                  <a:gd name="connsiteY271" fmla="*/ 443956 h 584263"/>
                  <a:gd name="connsiteX272" fmla="*/ 1667 w 356528"/>
                  <a:gd name="connsiteY272" fmla="*/ 446228 h 584263"/>
                  <a:gd name="connsiteX273" fmla="*/ 2122 w 356528"/>
                  <a:gd name="connsiteY273" fmla="*/ 453653 h 584263"/>
                  <a:gd name="connsiteX274" fmla="*/ 3485 w 356528"/>
                  <a:gd name="connsiteY274" fmla="*/ 461835 h 584263"/>
                  <a:gd name="connsiteX275" fmla="*/ 2879 w 356528"/>
                  <a:gd name="connsiteY275" fmla="*/ 463956 h 584263"/>
                  <a:gd name="connsiteX276" fmla="*/ 2728 w 356528"/>
                  <a:gd name="connsiteY276" fmla="*/ 466078 h 584263"/>
                  <a:gd name="connsiteX277" fmla="*/ 5000 w 356528"/>
                  <a:gd name="connsiteY277" fmla="*/ 465623 h 584263"/>
                  <a:gd name="connsiteX278" fmla="*/ 7728 w 356528"/>
                  <a:gd name="connsiteY278" fmla="*/ 467290 h 584263"/>
                  <a:gd name="connsiteX279" fmla="*/ 8182 w 356528"/>
                  <a:gd name="connsiteY279" fmla="*/ 476078 h 584263"/>
                  <a:gd name="connsiteX280" fmla="*/ 10910 w 356528"/>
                  <a:gd name="connsiteY280" fmla="*/ 480775 h 584263"/>
                  <a:gd name="connsiteX281" fmla="*/ 15152 w 356528"/>
                  <a:gd name="connsiteY281" fmla="*/ 481836 h 584263"/>
                  <a:gd name="connsiteX282" fmla="*/ 15910 w 356528"/>
                  <a:gd name="connsiteY282" fmla="*/ 490169 h 584263"/>
                  <a:gd name="connsiteX283" fmla="*/ 16062 w 356528"/>
                  <a:gd name="connsiteY283" fmla="*/ 491988 h 584263"/>
                  <a:gd name="connsiteX284" fmla="*/ 20001 w 356528"/>
                  <a:gd name="connsiteY284" fmla="*/ 493503 h 584263"/>
                  <a:gd name="connsiteX285" fmla="*/ 20153 w 356528"/>
                  <a:gd name="connsiteY285" fmla="*/ 496079 h 584263"/>
                  <a:gd name="connsiteX286" fmla="*/ 21062 w 356528"/>
                  <a:gd name="connsiteY286" fmla="*/ 499715 h 584263"/>
                  <a:gd name="connsiteX287" fmla="*/ 22274 w 356528"/>
                  <a:gd name="connsiteY287" fmla="*/ 503503 h 584263"/>
                  <a:gd name="connsiteX288" fmla="*/ 24850 w 356528"/>
                  <a:gd name="connsiteY288" fmla="*/ 502746 h 584263"/>
                  <a:gd name="connsiteX289" fmla="*/ 27577 w 356528"/>
                  <a:gd name="connsiteY289" fmla="*/ 511382 h 584263"/>
                  <a:gd name="connsiteX290" fmla="*/ 35002 w 356528"/>
                  <a:gd name="connsiteY290" fmla="*/ 523958 h 584263"/>
                  <a:gd name="connsiteX291" fmla="*/ 39093 w 356528"/>
                  <a:gd name="connsiteY291" fmla="*/ 527140 h 584263"/>
                  <a:gd name="connsiteX292" fmla="*/ 43032 w 356528"/>
                  <a:gd name="connsiteY292" fmla="*/ 533353 h 584263"/>
                  <a:gd name="connsiteX293" fmla="*/ 45153 w 356528"/>
                  <a:gd name="connsiteY293" fmla="*/ 533959 h 584263"/>
                  <a:gd name="connsiteX294" fmla="*/ 47578 w 356528"/>
                  <a:gd name="connsiteY294" fmla="*/ 535171 h 584263"/>
                  <a:gd name="connsiteX295" fmla="*/ 48487 w 356528"/>
                  <a:gd name="connsiteY295" fmla="*/ 539111 h 584263"/>
                  <a:gd name="connsiteX296" fmla="*/ 46820 w 356528"/>
                  <a:gd name="connsiteY296" fmla="*/ 541535 h 584263"/>
                  <a:gd name="connsiteX297" fmla="*/ 44547 w 356528"/>
                  <a:gd name="connsiteY297" fmla="*/ 541383 h 584263"/>
                  <a:gd name="connsiteX298" fmla="*/ 41365 w 356528"/>
                  <a:gd name="connsiteY298" fmla="*/ 541989 h 584263"/>
                  <a:gd name="connsiteX299" fmla="*/ 42274 w 356528"/>
                  <a:gd name="connsiteY299" fmla="*/ 544111 h 584263"/>
                  <a:gd name="connsiteX300" fmla="*/ 43638 w 356528"/>
                  <a:gd name="connsiteY300" fmla="*/ 545626 h 584263"/>
                  <a:gd name="connsiteX301" fmla="*/ 45305 w 356528"/>
                  <a:gd name="connsiteY301" fmla="*/ 548808 h 584263"/>
                  <a:gd name="connsiteX302" fmla="*/ 43941 w 356528"/>
                  <a:gd name="connsiteY302" fmla="*/ 549717 h 584263"/>
                  <a:gd name="connsiteX303" fmla="*/ 42729 w 356528"/>
                  <a:gd name="connsiteY303" fmla="*/ 550020 h 584263"/>
                  <a:gd name="connsiteX304" fmla="*/ 37274 w 356528"/>
                  <a:gd name="connsiteY304" fmla="*/ 547747 h 584263"/>
                  <a:gd name="connsiteX305" fmla="*/ 36365 w 356528"/>
                  <a:gd name="connsiteY305" fmla="*/ 547899 h 584263"/>
                  <a:gd name="connsiteX306" fmla="*/ 37729 w 356528"/>
                  <a:gd name="connsiteY306" fmla="*/ 549566 h 584263"/>
                  <a:gd name="connsiteX307" fmla="*/ 39699 w 356528"/>
                  <a:gd name="connsiteY307" fmla="*/ 553808 h 584263"/>
                  <a:gd name="connsiteX308" fmla="*/ 46366 w 356528"/>
                  <a:gd name="connsiteY308" fmla="*/ 563657 h 584263"/>
                  <a:gd name="connsiteX309" fmla="*/ 49244 w 356528"/>
                  <a:gd name="connsiteY309" fmla="*/ 566536 h 584263"/>
                  <a:gd name="connsiteX310" fmla="*/ 50154 w 356528"/>
                  <a:gd name="connsiteY310" fmla="*/ 568809 h 584263"/>
                  <a:gd name="connsiteX311" fmla="*/ 50305 w 356528"/>
                  <a:gd name="connsiteY311" fmla="*/ 570930 h 584263"/>
                  <a:gd name="connsiteX312" fmla="*/ 49850 w 356528"/>
                  <a:gd name="connsiteY312" fmla="*/ 574112 h 584263"/>
                  <a:gd name="connsiteX313" fmla="*/ 49244 w 356528"/>
                  <a:gd name="connsiteY313" fmla="*/ 577142 h 584263"/>
                  <a:gd name="connsiteX314" fmla="*/ 49244 w 356528"/>
                  <a:gd name="connsiteY314" fmla="*/ 579112 h 584263"/>
                  <a:gd name="connsiteX315" fmla="*/ 47729 w 356528"/>
                  <a:gd name="connsiteY315" fmla="*/ 581839 h 584263"/>
                  <a:gd name="connsiteX316" fmla="*/ 59699 w 356528"/>
                  <a:gd name="connsiteY316" fmla="*/ 584264 h 584263"/>
                  <a:gd name="connsiteX317" fmla="*/ 73033 w 356528"/>
                  <a:gd name="connsiteY317" fmla="*/ 581082 h 584263"/>
                  <a:gd name="connsiteX318" fmla="*/ 80458 w 356528"/>
                  <a:gd name="connsiteY318" fmla="*/ 582445 h 584263"/>
                  <a:gd name="connsiteX319" fmla="*/ 83034 w 356528"/>
                  <a:gd name="connsiteY319" fmla="*/ 582294 h 584263"/>
                  <a:gd name="connsiteX320" fmla="*/ 87579 w 356528"/>
                  <a:gd name="connsiteY320" fmla="*/ 577294 h 584263"/>
                  <a:gd name="connsiteX321" fmla="*/ 85761 w 356528"/>
                  <a:gd name="connsiteY321" fmla="*/ 573203 h 584263"/>
                  <a:gd name="connsiteX322" fmla="*/ 83791 w 356528"/>
                  <a:gd name="connsiteY322" fmla="*/ 569566 h 584263"/>
                  <a:gd name="connsiteX323" fmla="*/ 84094 w 356528"/>
                  <a:gd name="connsiteY323" fmla="*/ 565627 h 584263"/>
                  <a:gd name="connsiteX324" fmla="*/ 85306 w 356528"/>
                  <a:gd name="connsiteY324" fmla="*/ 563505 h 584263"/>
                  <a:gd name="connsiteX325" fmla="*/ 89094 w 356528"/>
                  <a:gd name="connsiteY325" fmla="*/ 560020 h 584263"/>
                  <a:gd name="connsiteX326" fmla="*/ 91064 w 356528"/>
                  <a:gd name="connsiteY326" fmla="*/ 558505 h 584263"/>
                  <a:gd name="connsiteX327" fmla="*/ 93337 w 356528"/>
                  <a:gd name="connsiteY327" fmla="*/ 557142 h 584263"/>
                  <a:gd name="connsiteX328" fmla="*/ 96065 w 356528"/>
                  <a:gd name="connsiteY328" fmla="*/ 558202 h 584263"/>
                  <a:gd name="connsiteX329" fmla="*/ 98792 w 356528"/>
                  <a:gd name="connsiteY329" fmla="*/ 557748 h 584263"/>
                  <a:gd name="connsiteX330" fmla="*/ 97731 w 356528"/>
                  <a:gd name="connsiteY330" fmla="*/ 553808 h 584263"/>
                  <a:gd name="connsiteX331" fmla="*/ 99549 w 356528"/>
                  <a:gd name="connsiteY331" fmla="*/ 552747 h 584263"/>
                  <a:gd name="connsiteX332" fmla="*/ 106974 w 356528"/>
                  <a:gd name="connsiteY332" fmla="*/ 552293 h 584263"/>
                  <a:gd name="connsiteX333" fmla="*/ 114550 w 356528"/>
                  <a:gd name="connsiteY333" fmla="*/ 553050 h 584263"/>
                  <a:gd name="connsiteX334" fmla="*/ 119550 w 356528"/>
                  <a:gd name="connsiteY334" fmla="*/ 551838 h 584263"/>
                  <a:gd name="connsiteX335" fmla="*/ 122732 w 356528"/>
                  <a:gd name="connsiteY335" fmla="*/ 551687 h 584263"/>
                  <a:gd name="connsiteX336" fmla="*/ 125308 w 356528"/>
                  <a:gd name="connsiteY336" fmla="*/ 552444 h 584263"/>
                  <a:gd name="connsiteX337" fmla="*/ 128187 w 356528"/>
                  <a:gd name="connsiteY337" fmla="*/ 553960 h 584263"/>
                  <a:gd name="connsiteX338" fmla="*/ 130763 w 356528"/>
                  <a:gd name="connsiteY338" fmla="*/ 552293 h 584263"/>
                  <a:gd name="connsiteX339" fmla="*/ 132884 w 356528"/>
                  <a:gd name="connsiteY339" fmla="*/ 550172 h 584263"/>
                  <a:gd name="connsiteX340" fmla="*/ 137127 w 356528"/>
                  <a:gd name="connsiteY340" fmla="*/ 539414 h 584263"/>
                  <a:gd name="connsiteX341" fmla="*/ 138945 w 356528"/>
                  <a:gd name="connsiteY341" fmla="*/ 535929 h 584263"/>
                  <a:gd name="connsiteX342" fmla="*/ 142581 w 356528"/>
                  <a:gd name="connsiteY342" fmla="*/ 531232 h 584263"/>
                  <a:gd name="connsiteX343" fmla="*/ 144248 w 356528"/>
                  <a:gd name="connsiteY343" fmla="*/ 527292 h 584263"/>
                  <a:gd name="connsiteX344" fmla="*/ 145612 w 356528"/>
                  <a:gd name="connsiteY344" fmla="*/ 522746 h 584263"/>
                  <a:gd name="connsiteX345" fmla="*/ 147582 w 356528"/>
                  <a:gd name="connsiteY345" fmla="*/ 517292 h 584263"/>
                  <a:gd name="connsiteX346" fmla="*/ 146975 w 356528"/>
                  <a:gd name="connsiteY346" fmla="*/ 514413 h 584263"/>
                  <a:gd name="connsiteX347" fmla="*/ 146218 w 356528"/>
                  <a:gd name="connsiteY347" fmla="*/ 512594 h 584263"/>
                  <a:gd name="connsiteX348" fmla="*/ 146066 w 356528"/>
                  <a:gd name="connsiteY348" fmla="*/ 509564 h 584263"/>
                  <a:gd name="connsiteX349" fmla="*/ 150309 w 356528"/>
                  <a:gd name="connsiteY349" fmla="*/ 503049 h 584263"/>
                  <a:gd name="connsiteX350" fmla="*/ 150915 w 356528"/>
                  <a:gd name="connsiteY350" fmla="*/ 500321 h 584263"/>
                  <a:gd name="connsiteX351" fmla="*/ 149551 w 356528"/>
                  <a:gd name="connsiteY351" fmla="*/ 497594 h 584263"/>
                  <a:gd name="connsiteX352" fmla="*/ 148945 w 356528"/>
                  <a:gd name="connsiteY352" fmla="*/ 494715 h 584263"/>
                  <a:gd name="connsiteX353" fmla="*/ 148945 w 356528"/>
                  <a:gd name="connsiteY353" fmla="*/ 490018 h 584263"/>
                  <a:gd name="connsiteX354" fmla="*/ 148036 w 356528"/>
                  <a:gd name="connsiteY354" fmla="*/ 488048 h 584263"/>
                  <a:gd name="connsiteX355" fmla="*/ 149248 w 356528"/>
                  <a:gd name="connsiteY355" fmla="*/ 484109 h 584263"/>
                  <a:gd name="connsiteX356" fmla="*/ 151975 w 356528"/>
                  <a:gd name="connsiteY356" fmla="*/ 483957 h 584263"/>
                  <a:gd name="connsiteX357" fmla="*/ 152127 w 356528"/>
                  <a:gd name="connsiteY357" fmla="*/ 474260 h 584263"/>
                  <a:gd name="connsiteX358" fmla="*/ 154097 w 356528"/>
                  <a:gd name="connsiteY358" fmla="*/ 472138 h 584263"/>
                  <a:gd name="connsiteX359" fmla="*/ 152582 w 356528"/>
                  <a:gd name="connsiteY359" fmla="*/ 468653 h 584263"/>
                  <a:gd name="connsiteX360" fmla="*/ 150763 w 356528"/>
                  <a:gd name="connsiteY360" fmla="*/ 463350 h 584263"/>
                  <a:gd name="connsiteX361" fmla="*/ 155460 w 356528"/>
                  <a:gd name="connsiteY361" fmla="*/ 462290 h 584263"/>
                  <a:gd name="connsiteX362" fmla="*/ 158188 w 356528"/>
                  <a:gd name="connsiteY362" fmla="*/ 460926 h 584263"/>
                  <a:gd name="connsiteX363" fmla="*/ 154551 w 356528"/>
                  <a:gd name="connsiteY363" fmla="*/ 457289 h 584263"/>
                  <a:gd name="connsiteX364" fmla="*/ 151672 w 356528"/>
                  <a:gd name="connsiteY364" fmla="*/ 456683 h 584263"/>
                  <a:gd name="connsiteX365" fmla="*/ 146066 w 356528"/>
                  <a:gd name="connsiteY365" fmla="*/ 456229 h 584263"/>
                  <a:gd name="connsiteX366" fmla="*/ 143642 w 356528"/>
                  <a:gd name="connsiteY366" fmla="*/ 456683 h 584263"/>
                  <a:gd name="connsiteX367" fmla="*/ 141672 w 356528"/>
                  <a:gd name="connsiteY367" fmla="*/ 455623 h 584263"/>
                  <a:gd name="connsiteX368" fmla="*/ 138793 w 356528"/>
                  <a:gd name="connsiteY368" fmla="*/ 455320 h 584263"/>
                  <a:gd name="connsiteX369" fmla="*/ 141521 w 356528"/>
                  <a:gd name="connsiteY369" fmla="*/ 454259 h 584263"/>
                  <a:gd name="connsiteX370" fmla="*/ 150309 w 356528"/>
                  <a:gd name="connsiteY370" fmla="*/ 454714 h 584263"/>
                  <a:gd name="connsiteX371" fmla="*/ 159551 w 356528"/>
                  <a:gd name="connsiteY371" fmla="*/ 454562 h 584263"/>
                  <a:gd name="connsiteX372" fmla="*/ 163037 w 356528"/>
                  <a:gd name="connsiteY372" fmla="*/ 452289 h 584263"/>
                  <a:gd name="connsiteX373" fmla="*/ 169703 w 356528"/>
                  <a:gd name="connsiteY373" fmla="*/ 449562 h 584263"/>
                  <a:gd name="connsiteX374" fmla="*/ 172734 w 356528"/>
                  <a:gd name="connsiteY374" fmla="*/ 446380 h 584263"/>
                  <a:gd name="connsiteX375" fmla="*/ 178491 w 356528"/>
                  <a:gd name="connsiteY375" fmla="*/ 444107 h 584263"/>
                  <a:gd name="connsiteX376" fmla="*/ 181068 w 356528"/>
                  <a:gd name="connsiteY376" fmla="*/ 442137 h 584263"/>
                  <a:gd name="connsiteX377" fmla="*/ 182734 w 356528"/>
                  <a:gd name="connsiteY377" fmla="*/ 442592 h 584263"/>
                  <a:gd name="connsiteX378" fmla="*/ 186674 w 356528"/>
                  <a:gd name="connsiteY378" fmla="*/ 440622 h 584263"/>
                  <a:gd name="connsiteX379" fmla="*/ 190007 w 356528"/>
                  <a:gd name="connsiteY379" fmla="*/ 438198 h 584263"/>
                  <a:gd name="connsiteX380" fmla="*/ 195159 w 356528"/>
                  <a:gd name="connsiteY380" fmla="*/ 436228 h 584263"/>
                  <a:gd name="connsiteX381" fmla="*/ 196220 w 356528"/>
                  <a:gd name="connsiteY381" fmla="*/ 435319 h 584263"/>
                  <a:gd name="connsiteX382" fmla="*/ 197583 w 356528"/>
                  <a:gd name="connsiteY382" fmla="*/ 433349 h 584263"/>
                  <a:gd name="connsiteX383" fmla="*/ 198644 w 356528"/>
                  <a:gd name="connsiteY383" fmla="*/ 428804 h 584263"/>
                  <a:gd name="connsiteX384" fmla="*/ 200917 w 356528"/>
                  <a:gd name="connsiteY384" fmla="*/ 428804 h 584263"/>
                  <a:gd name="connsiteX385" fmla="*/ 204099 w 356528"/>
                  <a:gd name="connsiteY385" fmla="*/ 427440 h 584263"/>
                  <a:gd name="connsiteX386" fmla="*/ 202584 w 356528"/>
                  <a:gd name="connsiteY386" fmla="*/ 424713 h 584263"/>
                  <a:gd name="connsiteX387" fmla="*/ 201220 w 356528"/>
                  <a:gd name="connsiteY387" fmla="*/ 424106 h 584263"/>
                  <a:gd name="connsiteX388" fmla="*/ 199856 w 356528"/>
                  <a:gd name="connsiteY388" fmla="*/ 424561 h 584263"/>
                  <a:gd name="connsiteX389" fmla="*/ 198189 w 356528"/>
                  <a:gd name="connsiteY389" fmla="*/ 425773 h 584263"/>
                  <a:gd name="connsiteX390" fmla="*/ 196522 w 356528"/>
                  <a:gd name="connsiteY390" fmla="*/ 425470 h 584263"/>
                  <a:gd name="connsiteX391" fmla="*/ 194704 w 356528"/>
                  <a:gd name="connsiteY391" fmla="*/ 425773 h 584263"/>
                  <a:gd name="connsiteX392" fmla="*/ 193038 w 356528"/>
                  <a:gd name="connsiteY392" fmla="*/ 427288 h 584263"/>
                  <a:gd name="connsiteX393" fmla="*/ 190916 w 356528"/>
                  <a:gd name="connsiteY393" fmla="*/ 427894 h 584263"/>
                  <a:gd name="connsiteX394" fmla="*/ 186674 w 356528"/>
                  <a:gd name="connsiteY394" fmla="*/ 427440 h 584263"/>
                  <a:gd name="connsiteX395" fmla="*/ 186219 w 356528"/>
                  <a:gd name="connsiteY395" fmla="*/ 426228 h 584263"/>
                  <a:gd name="connsiteX396" fmla="*/ 191674 w 356528"/>
                  <a:gd name="connsiteY396" fmla="*/ 423349 h 584263"/>
                  <a:gd name="connsiteX397" fmla="*/ 193189 w 356528"/>
                  <a:gd name="connsiteY397" fmla="*/ 423803 h 584263"/>
                  <a:gd name="connsiteX398" fmla="*/ 194856 w 356528"/>
                  <a:gd name="connsiteY398" fmla="*/ 423046 h 584263"/>
                  <a:gd name="connsiteX399" fmla="*/ 196522 w 356528"/>
                  <a:gd name="connsiteY399" fmla="*/ 421379 h 584263"/>
                  <a:gd name="connsiteX400" fmla="*/ 198341 w 356528"/>
                  <a:gd name="connsiteY400" fmla="*/ 420773 h 584263"/>
                  <a:gd name="connsiteX401" fmla="*/ 203189 w 356528"/>
                  <a:gd name="connsiteY401" fmla="*/ 417743 h 584263"/>
                  <a:gd name="connsiteX402" fmla="*/ 204856 w 356528"/>
                  <a:gd name="connsiteY402" fmla="*/ 416379 h 584263"/>
                  <a:gd name="connsiteX403" fmla="*/ 206977 w 356528"/>
                  <a:gd name="connsiteY403" fmla="*/ 414106 h 584263"/>
                  <a:gd name="connsiteX404" fmla="*/ 211826 w 356528"/>
                  <a:gd name="connsiteY404" fmla="*/ 411076 h 584263"/>
                  <a:gd name="connsiteX405" fmla="*/ 213948 w 356528"/>
                  <a:gd name="connsiteY405" fmla="*/ 410015 h 584263"/>
                  <a:gd name="connsiteX406" fmla="*/ 214553 w 356528"/>
                  <a:gd name="connsiteY406" fmla="*/ 407136 h 584263"/>
                  <a:gd name="connsiteX407" fmla="*/ 213039 w 356528"/>
                  <a:gd name="connsiteY407" fmla="*/ 402439 h 584263"/>
                  <a:gd name="connsiteX408" fmla="*/ 211675 w 356528"/>
                  <a:gd name="connsiteY408" fmla="*/ 400924 h 584263"/>
                  <a:gd name="connsiteX409" fmla="*/ 210917 w 356528"/>
                  <a:gd name="connsiteY409" fmla="*/ 398954 h 584263"/>
                  <a:gd name="connsiteX410" fmla="*/ 209099 w 356528"/>
                  <a:gd name="connsiteY410" fmla="*/ 396833 h 584263"/>
                  <a:gd name="connsiteX411" fmla="*/ 203947 w 356528"/>
                  <a:gd name="connsiteY411" fmla="*/ 395166 h 584263"/>
                  <a:gd name="connsiteX412" fmla="*/ 202129 w 356528"/>
                  <a:gd name="connsiteY412" fmla="*/ 393802 h 584263"/>
                  <a:gd name="connsiteX413" fmla="*/ 202735 w 356528"/>
                  <a:gd name="connsiteY413" fmla="*/ 389711 h 584263"/>
                  <a:gd name="connsiteX414" fmla="*/ 198492 w 356528"/>
                  <a:gd name="connsiteY414" fmla="*/ 386226 h 584263"/>
                  <a:gd name="connsiteX415" fmla="*/ 194401 w 356528"/>
                  <a:gd name="connsiteY415" fmla="*/ 385166 h 584263"/>
                  <a:gd name="connsiteX416" fmla="*/ 191977 w 356528"/>
                  <a:gd name="connsiteY416" fmla="*/ 383196 h 584263"/>
                  <a:gd name="connsiteX417" fmla="*/ 187886 w 356528"/>
                  <a:gd name="connsiteY417" fmla="*/ 378953 h 584263"/>
                  <a:gd name="connsiteX418" fmla="*/ 186371 w 356528"/>
                  <a:gd name="connsiteY418" fmla="*/ 375771 h 584263"/>
                  <a:gd name="connsiteX419" fmla="*/ 184098 w 356528"/>
                  <a:gd name="connsiteY419" fmla="*/ 376226 h 584263"/>
                  <a:gd name="connsiteX420" fmla="*/ 180613 w 356528"/>
                  <a:gd name="connsiteY420" fmla="*/ 377893 h 584263"/>
                  <a:gd name="connsiteX421" fmla="*/ 178340 w 356528"/>
                  <a:gd name="connsiteY421" fmla="*/ 378044 h 584263"/>
                  <a:gd name="connsiteX422" fmla="*/ 177582 w 356528"/>
                  <a:gd name="connsiteY422" fmla="*/ 375923 h 584263"/>
                  <a:gd name="connsiteX423" fmla="*/ 176522 w 356528"/>
                  <a:gd name="connsiteY423" fmla="*/ 374105 h 584263"/>
                  <a:gd name="connsiteX424" fmla="*/ 175461 w 356528"/>
                  <a:gd name="connsiteY424" fmla="*/ 373498 h 584263"/>
                  <a:gd name="connsiteX425" fmla="*/ 172734 w 356528"/>
                  <a:gd name="connsiteY425" fmla="*/ 373498 h 584263"/>
                  <a:gd name="connsiteX426" fmla="*/ 170006 w 356528"/>
                  <a:gd name="connsiteY426" fmla="*/ 373498 h 584263"/>
                  <a:gd name="connsiteX427" fmla="*/ 166976 w 356528"/>
                  <a:gd name="connsiteY427" fmla="*/ 371074 h 584263"/>
                  <a:gd name="connsiteX428" fmla="*/ 167279 w 356528"/>
                  <a:gd name="connsiteY428" fmla="*/ 368498 h 584263"/>
                  <a:gd name="connsiteX429" fmla="*/ 167734 w 356528"/>
                  <a:gd name="connsiteY429" fmla="*/ 366529 h 584263"/>
                  <a:gd name="connsiteX430" fmla="*/ 165613 w 356528"/>
                  <a:gd name="connsiteY430" fmla="*/ 360771 h 584263"/>
                  <a:gd name="connsiteX431" fmla="*/ 165915 w 356528"/>
                  <a:gd name="connsiteY431" fmla="*/ 359407 h 584263"/>
                  <a:gd name="connsiteX432" fmla="*/ 165158 w 356528"/>
                  <a:gd name="connsiteY432" fmla="*/ 352740 h 584263"/>
                  <a:gd name="connsiteX433" fmla="*/ 165006 w 356528"/>
                  <a:gd name="connsiteY433" fmla="*/ 348498 h 584263"/>
                  <a:gd name="connsiteX434" fmla="*/ 164552 w 356528"/>
                  <a:gd name="connsiteY434" fmla="*/ 347285 h 584263"/>
                  <a:gd name="connsiteX435" fmla="*/ 165461 w 356528"/>
                  <a:gd name="connsiteY435" fmla="*/ 345922 h 584263"/>
                  <a:gd name="connsiteX436" fmla="*/ 164855 w 356528"/>
                  <a:gd name="connsiteY436" fmla="*/ 343952 h 584263"/>
                  <a:gd name="connsiteX437" fmla="*/ 163794 w 356528"/>
                  <a:gd name="connsiteY437" fmla="*/ 342891 h 584263"/>
                  <a:gd name="connsiteX438" fmla="*/ 164552 w 356528"/>
                  <a:gd name="connsiteY438" fmla="*/ 339709 h 584263"/>
                  <a:gd name="connsiteX439" fmla="*/ 164097 w 356528"/>
                  <a:gd name="connsiteY439" fmla="*/ 337740 h 584263"/>
                  <a:gd name="connsiteX440" fmla="*/ 163643 w 356528"/>
                  <a:gd name="connsiteY440" fmla="*/ 334709 h 584263"/>
                  <a:gd name="connsiteX441" fmla="*/ 165915 w 356528"/>
                  <a:gd name="connsiteY441" fmla="*/ 331376 h 584263"/>
                  <a:gd name="connsiteX442" fmla="*/ 165461 w 356528"/>
                  <a:gd name="connsiteY442" fmla="*/ 328497 h 584263"/>
                  <a:gd name="connsiteX443" fmla="*/ 169249 w 356528"/>
                  <a:gd name="connsiteY443" fmla="*/ 329861 h 584263"/>
                  <a:gd name="connsiteX444" fmla="*/ 172885 w 356528"/>
                  <a:gd name="connsiteY444" fmla="*/ 330164 h 584263"/>
                  <a:gd name="connsiteX445" fmla="*/ 171522 w 356528"/>
                  <a:gd name="connsiteY445" fmla="*/ 327739 h 584263"/>
                  <a:gd name="connsiteX446" fmla="*/ 171067 w 356528"/>
                  <a:gd name="connsiteY446" fmla="*/ 325921 h 584263"/>
                  <a:gd name="connsiteX447" fmla="*/ 170461 w 356528"/>
                  <a:gd name="connsiteY447" fmla="*/ 322436 h 584263"/>
                  <a:gd name="connsiteX448" fmla="*/ 171522 w 356528"/>
                  <a:gd name="connsiteY448" fmla="*/ 318193 h 584263"/>
                  <a:gd name="connsiteX449" fmla="*/ 172431 w 356528"/>
                  <a:gd name="connsiteY449" fmla="*/ 315769 h 584263"/>
                  <a:gd name="connsiteX450" fmla="*/ 174098 w 356528"/>
                  <a:gd name="connsiteY450" fmla="*/ 309708 h 584263"/>
                  <a:gd name="connsiteX451" fmla="*/ 175613 w 356528"/>
                  <a:gd name="connsiteY451" fmla="*/ 307739 h 584263"/>
                  <a:gd name="connsiteX452" fmla="*/ 177582 w 356528"/>
                  <a:gd name="connsiteY452" fmla="*/ 306829 h 584263"/>
                  <a:gd name="connsiteX453" fmla="*/ 174855 w 356528"/>
                  <a:gd name="connsiteY453" fmla="*/ 305466 h 584263"/>
                  <a:gd name="connsiteX454" fmla="*/ 171976 w 356528"/>
                  <a:gd name="connsiteY454" fmla="*/ 302435 h 584263"/>
                  <a:gd name="connsiteX455" fmla="*/ 170461 w 356528"/>
                  <a:gd name="connsiteY455" fmla="*/ 298496 h 584263"/>
                  <a:gd name="connsiteX456" fmla="*/ 170613 w 356528"/>
                  <a:gd name="connsiteY456" fmla="*/ 296981 h 584263"/>
                  <a:gd name="connsiteX457" fmla="*/ 171522 w 356528"/>
                  <a:gd name="connsiteY457" fmla="*/ 295011 h 584263"/>
                  <a:gd name="connsiteX458" fmla="*/ 174249 w 356528"/>
                  <a:gd name="connsiteY458" fmla="*/ 296071 h 584263"/>
                  <a:gd name="connsiteX459" fmla="*/ 175916 w 356528"/>
                  <a:gd name="connsiteY459" fmla="*/ 297435 h 584263"/>
                  <a:gd name="connsiteX460" fmla="*/ 178037 w 356528"/>
                  <a:gd name="connsiteY460" fmla="*/ 297435 h 584263"/>
                  <a:gd name="connsiteX461" fmla="*/ 180007 w 356528"/>
                  <a:gd name="connsiteY461" fmla="*/ 295314 h 584263"/>
                  <a:gd name="connsiteX462" fmla="*/ 183189 w 356528"/>
                  <a:gd name="connsiteY462" fmla="*/ 295162 h 584263"/>
                  <a:gd name="connsiteX463" fmla="*/ 186219 w 356528"/>
                  <a:gd name="connsiteY463" fmla="*/ 291980 h 584263"/>
                  <a:gd name="connsiteX464" fmla="*/ 188644 w 356528"/>
                  <a:gd name="connsiteY464" fmla="*/ 291071 h 584263"/>
                  <a:gd name="connsiteX465" fmla="*/ 187734 w 356528"/>
                  <a:gd name="connsiteY465" fmla="*/ 290011 h 584263"/>
                  <a:gd name="connsiteX466" fmla="*/ 185613 w 356528"/>
                  <a:gd name="connsiteY466" fmla="*/ 289405 h 584263"/>
                  <a:gd name="connsiteX467" fmla="*/ 184856 w 356528"/>
                  <a:gd name="connsiteY467" fmla="*/ 288647 h 584263"/>
                  <a:gd name="connsiteX468" fmla="*/ 185916 w 356528"/>
                  <a:gd name="connsiteY468" fmla="*/ 287738 h 584263"/>
                  <a:gd name="connsiteX469" fmla="*/ 186825 w 356528"/>
                  <a:gd name="connsiteY469" fmla="*/ 285920 h 584263"/>
                  <a:gd name="connsiteX470" fmla="*/ 185765 w 356528"/>
                  <a:gd name="connsiteY470" fmla="*/ 283192 h 584263"/>
                  <a:gd name="connsiteX471" fmla="*/ 184704 w 356528"/>
                  <a:gd name="connsiteY471" fmla="*/ 281222 h 584263"/>
                  <a:gd name="connsiteX472" fmla="*/ 184249 w 356528"/>
                  <a:gd name="connsiteY472" fmla="*/ 279404 h 584263"/>
                  <a:gd name="connsiteX473" fmla="*/ 185007 w 356528"/>
                  <a:gd name="connsiteY473" fmla="*/ 278798 h 584263"/>
                  <a:gd name="connsiteX474" fmla="*/ 186219 w 356528"/>
                  <a:gd name="connsiteY474" fmla="*/ 281071 h 584263"/>
                  <a:gd name="connsiteX475" fmla="*/ 190159 w 356528"/>
                  <a:gd name="connsiteY475" fmla="*/ 280919 h 584263"/>
                  <a:gd name="connsiteX476" fmla="*/ 189704 w 356528"/>
                  <a:gd name="connsiteY476" fmla="*/ 281980 h 584263"/>
                  <a:gd name="connsiteX477" fmla="*/ 189553 w 356528"/>
                  <a:gd name="connsiteY477" fmla="*/ 282889 h 584263"/>
                  <a:gd name="connsiteX478" fmla="*/ 192129 w 356528"/>
                  <a:gd name="connsiteY478" fmla="*/ 282889 h 584263"/>
                  <a:gd name="connsiteX479" fmla="*/ 193341 w 356528"/>
                  <a:gd name="connsiteY479" fmla="*/ 281980 h 584263"/>
                  <a:gd name="connsiteX480" fmla="*/ 194250 w 356528"/>
                  <a:gd name="connsiteY480" fmla="*/ 280465 h 584263"/>
                  <a:gd name="connsiteX481" fmla="*/ 200159 w 356528"/>
                  <a:gd name="connsiteY481" fmla="*/ 278495 h 584263"/>
                  <a:gd name="connsiteX482" fmla="*/ 200765 w 356528"/>
                  <a:gd name="connsiteY482" fmla="*/ 277131 h 584263"/>
                  <a:gd name="connsiteX483" fmla="*/ 200917 w 356528"/>
                  <a:gd name="connsiteY483" fmla="*/ 275768 h 584263"/>
                  <a:gd name="connsiteX484" fmla="*/ 201371 w 356528"/>
                  <a:gd name="connsiteY484" fmla="*/ 274404 h 584263"/>
                  <a:gd name="connsiteX485" fmla="*/ 196220 w 356528"/>
                  <a:gd name="connsiteY485" fmla="*/ 274101 h 584263"/>
                  <a:gd name="connsiteX486" fmla="*/ 197129 w 356528"/>
                  <a:gd name="connsiteY486" fmla="*/ 272586 h 584263"/>
                  <a:gd name="connsiteX487" fmla="*/ 198796 w 356528"/>
                  <a:gd name="connsiteY487" fmla="*/ 272283 h 584263"/>
                  <a:gd name="connsiteX488" fmla="*/ 202129 w 356528"/>
                  <a:gd name="connsiteY488" fmla="*/ 271222 h 584263"/>
                  <a:gd name="connsiteX489" fmla="*/ 203341 w 356528"/>
                  <a:gd name="connsiteY489" fmla="*/ 268495 h 584263"/>
                  <a:gd name="connsiteX490" fmla="*/ 204099 w 356528"/>
                  <a:gd name="connsiteY490" fmla="*/ 266222 h 584263"/>
                  <a:gd name="connsiteX491" fmla="*/ 205765 w 356528"/>
                  <a:gd name="connsiteY491" fmla="*/ 266222 h 584263"/>
                  <a:gd name="connsiteX492" fmla="*/ 208341 w 356528"/>
                  <a:gd name="connsiteY492" fmla="*/ 265313 h 584263"/>
                  <a:gd name="connsiteX493" fmla="*/ 210008 w 356528"/>
                  <a:gd name="connsiteY493" fmla="*/ 265313 h 584263"/>
                  <a:gd name="connsiteX494" fmla="*/ 211069 w 356528"/>
                  <a:gd name="connsiteY494" fmla="*/ 264858 h 584263"/>
                  <a:gd name="connsiteX495" fmla="*/ 210917 w 356528"/>
                  <a:gd name="connsiteY495" fmla="*/ 264555 h 584263"/>
                  <a:gd name="connsiteX496" fmla="*/ 209402 w 356528"/>
                  <a:gd name="connsiteY496" fmla="*/ 263949 h 584263"/>
                  <a:gd name="connsiteX497" fmla="*/ 210008 w 356528"/>
                  <a:gd name="connsiteY497" fmla="*/ 263040 h 584263"/>
                  <a:gd name="connsiteX498" fmla="*/ 215917 w 356528"/>
                  <a:gd name="connsiteY498" fmla="*/ 263949 h 584263"/>
                  <a:gd name="connsiteX499" fmla="*/ 221372 w 356528"/>
                  <a:gd name="connsiteY499" fmla="*/ 259252 h 584263"/>
                  <a:gd name="connsiteX500" fmla="*/ 222736 w 356528"/>
                  <a:gd name="connsiteY500" fmla="*/ 255767 h 584263"/>
                  <a:gd name="connsiteX501" fmla="*/ 224554 w 356528"/>
                  <a:gd name="connsiteY501" fmla="*/ 253646 h 584263"/>
                  <a:gd name="connsiteX502" fmla="*/ 228342 w 356528"/>
                  <a:gd name="connsiteY502" fmla="*/ 255918 h 584263"/>
                  <a:gd name="connsiteX503" fmla="*/ 228191 w 356528"/>
                  <a:gd name="connsiteY503" fmla="*/ 254403 h 584263"/>
                  <a:gd name="connsiteX504" fmla="*/ 228494 w 356528"/>
                  <a:gd name="connsiteY504" fmla="*/ 252282 h 584263"/>
                  <a:gd name="connsiteX505" fmla="*/ 230918 w 356528"/>
                  <a:gd name="connsiteY505" fmla="*/ 253191 h 584263"/>
                  <a:gd name="connsiteX506" fmla="*/ 232736 w 356528"/>
                  <a:gd name="connsiteY506" fmla="*/ 254403 h 584263"/>
                  <a:gd name="connsiteX507" fmla="*/ 234554 w 356528"/>
                  <a:gd name="connsiteY507" fmla="*/ 254100 h 584263"/>
                  <a:gd name="connsiteX508" fmla="*/ 236221 w 356528"/>
                  <a:gd name="connsiteY508" fmla="*/ 250918 h 584263"/>
                  <a:gd name="connsiteX509" fmla="*/ 239858 w 356528"/>
                  <a:gd name="connsiteY509" fmla="*/ 247736 h 584263"/>
                  <a:gd name="connsiteX510" fmla="*/ 247888 w 356528"/>
                  <a:gd name="connsiteY510" fmla="*/ 245464 h 584263"/>
                  <a:gd name="connsiteX511" fmla="*/ 252434 w 356528"/>
                  <a:gd name="connsiteY511" fmla="*/ 242888 h 584263"/>
                  <a:gd name="connsiteX512" fmla="*/ 254707 w 356528"/>
                  <a:gd name="connsiteY512" fmla="*/ 240615 h 584263"/>
                  <a:gd name="connsiteX513" fmla="*/ 260768 w 356528"/>
                  <a:gd name="connsiteY513" fmla="*/ 238342 h 584263"/>
                  <a:gd name="connsiteX514" fmla="*/ 263040 w 356528"/>
                  <a:gd name="connsiteY514" fmla="*/ 236524 h 584263"/>
                  <a:gd name="connsiteX515" fmla="*/ 270010 w 356528"/>
                  <a:gd name="connsiteY515" fmla="*/ 222887 h 584263"/>
                  <a:gd name="connsiteX516" fmla="*/ 276525 w 356528"/>
                  <a:gd name="connsiteY516" fmla="*/ 217584 h 584263"/>
                  <a:gd name="connsiteX517" fmla="*/ 282283 w 356528"/>
                  <a:gd name="connsiteY517" fmla="*/ 214099 h 584263"/>
                  <a:gd name="connsiteX518" fmla="*/ 283041 w 356528"/>
                  <a:gd name="connsiteY518" fmla="*/ 212432 h 584263"/>
                  <a:gd name="connsiteX519" fmla="*/ 283799 w 356528"/>
                  <a:gd name="connsiteY519" fmla="*/ 210311 h 584263"/>
                  <a:gd name="connsiteX520" fmla="*/ 280465 w 356528"/>
                  <a:gd name="connsiteY520" fmla="*/ 206977 h 584263"/>
                  <a:gd name="connsiteX521" fmla="*/ 278799 w 356528"/>
                  <a:gd name="connsiteY521" fmla="*/ 203189 h 584263"/>
                  <a:gd name="connsiteX522" fmla="*/ 277435 w 356528"/>
                  <a:gd name="connsiteY522" fmla="*/ 198947 h 584263"/>
                  <a:gd name="connsiteX523" fmla="*/ 275465 w 356528"/>
                  <a:gd name="connsiteY523" fmla="*/ 196674 h 584263"/>
                  <a:gd name="connsiteX524" fmla="*/ 273647 w 356528"/>
                  <a:gd name="connsiteY524" fmla="*/ 195159 h 584263"/>
                  <a:gd name="connsiteX525" fmla="*/ 275162 w 356528"/>
                  <a:gd name="connsiteY525" fmla="*/ 192128 h 584263"/>
                  <a:gd name="connsiteX526" fmla="*/ 277890 w 356528"/>
                  <a:gd name="connsiteY526" fmla="*/ 189249 h 584263"/>
                  <a:gd name="connsiteX527" fmla="*/ 281526 w 356528"/>
                  <a:gd name="connsiteY527" fmla="*/ 186067 h 584263"/>
                  <a:gd name="connsiteX528" fmla="*/ 285617 w 356528"/>
                  <a:gd name="connsiteY528" fmla="*/ 181067 h 584263"/>
                  <a:gd name="connsiteX529" fmla="*/ 285768 w 356528"/>
                  <a:gd name="connsiteY529" fmla="*/ 179552 h 584263"/>
                  <a:gd name="connsiteX530" fmla="*/ 284859 w 356528"/>
                  <a:gd name="connsiteY530" fmla="*/ 177431 h 584263"/>
                  <a:gd name="connsiteX531" fmla="*/ 283799 w 356528"/>
                  <a:gd name="connsiteY531" fmla="*/ 175764 h 584263"/>
                  <a:gd name="connsiteX532" fmla="*/ 281980 w 356528"/>
                  <a:gd name="connsiteY532" fmla="*/ 174097 h 584263"/>
                  <a:gd name="connsiteX533" fmla="*/ 281223 w 356528"/>
                  <a:gd name="connsiteY533" fmla="*/ 172582 h 584263"/>
                  <a:gd name="connsiteX534" fmla="*/ 282283 w 356528"/>
                  <a:gd name="connsiteY534" fmla="*/ 172431 h 584263"/>
                  <a:gd name="connsiteX535" fmla="*/ 285617 w 356528"/>
                  <a:gd name="connsiteY535" fmla="*/ 175461 h 584263"/>
                  <a:gd name="connsiteX536" fmla="*/ 286829 w 356528"/>
                  <a:gd name="connsiteY536" fmla="*/ 175158 h 584263"/>
                  <a:gd name="connsiteX537" fmla="*/ 286980 w 356528"/>
                  <a:gd name="connsiteY537" fmla="*/ 173491 h 584263"/>
                  <a:gd name="connsiteX538" fmla="*/ 286526 w 356528"/>
                  <a:gd name="connsiteY538" fmla="*/ 172734 h 584263"/>
                  <a:gd name="connsiteX539" fmla="*/ 285162 w 356528"/>
                  <a:gd name="connsiteY539" fmla="*/ 172127 h 584263"/>
                  <a:gd name="connsiteX540" fmla="*/ 284556 w 356528"/>
                  <a:gd name="connsiteY540" fmla="*/ 170915 h 584263"/>
                  <a:gd name="connsiteX541" fmla="*/ 284859 w 356528"/>
                  <a:gd name="connsiteY541" fmla="*/ 169703 h 584263"/>
                  <a:gd name="connsiteX542" fmla="*/ 285768 w 356528"/>
                  <a:gd name="connsiteY542" fmla="*/ 168794 h 584263"/>
                  <a:gd name="connsiteX543" fmla="*/ 288950 w 356528"/>
                  <a:gd name="connsiteY543" fmla="*/ 168946 h 584263"/>
                  <a:gd name="connsiteX544" fmla="*/ 294405 w 356528"/>
                  <a:gd name="connsiteY544" fmla="*/ 168036 h 584263"/>
                  <a:gd name="connsiteX545" fmla="*/ 295314 w 356528"/>
                  <a:gd name="connsiteY545" fmla="*/ 167430 h 584263"/>
                  <a:gd name="connsiteX546" fmla="*/ 296375 w 356528"/>
                  <a:gd name="connsiteY546" fmla="*/ 165915 h 584263"/>
                  <a:gd name="connsiteX547" fmla="*/ 295163 w 356528"/>
                  <a:gd name="connsiteY547" fmla="*/ 164248 h 584263"/>
                  <a:gd name="connsiteX548" fmla="*/ 295617 w 356528"/>
                  <a:gd name="connsiteY548" fmla="*/ 163188 h 584263"/>
                  <a:gd name="connsiteX549" fmla="*/ 300163 w 356528"/>
                  <a:gd name="connsiteY549" fmla="*/ 163339 h 584263"/>
                  <a:gd name="connsiteX550" fmla="*/ 301830 w 356528"/>
                  <a:gd name="connsiteY550" fmla="*/ 162279 h 584263"/>
                  <a:gd name="connsiteX551" fmla="*/ 301375 w 356528"/>
                  <a:gd name="connsiteY551" fmla="*/ 161521 h 584263"/>
                  <a:gd name="connsiteX552" fmla="*/ 300314 w 356528"/>
                  <a:gd name="connsiteY552" fmla="*/ 160915 h 584263"/>
                  <a:gd name="connsiteX553" fmla="*/ 300011 w 356528"/>
                  <a:gd name="connsiteY553" fmla="*/ 159703 h 584263"/>
                  <a:gd name="connsiteX554" fmla="*/ 304557 w 356528"/>
                  <a:gd name="connsiteY554" fmla="*/ 160309 h 584263"/>
                  <a:gd name="connsiteX555" fmla="*/ 304860 w 356528"/>
                  <a:gd name="connsiteY555" fmla="*/ 159248 h 584263"/>
                  <a:gd name="connsiteX556" fmla="*/ 305163 w 356528"/>
                  <a:gd name="connsiteY556" fmla="*/ 154551 h 584263"/>
                  <a:gd name="connsiteX557" fmla="*/ 305466 w 356528"/>
                  <a:gd name="connsiteY557" fmla="*/ 153339 h 584263"/>
                  <a:gd name="connsiteX558" fmla="*/ 306830 w 356528"/>
                  <a:gd name="connsiteY558" fmla="*/ 151521 h 584263"/>
                  <a:gd name="connsiteX559" fmla="*/ 307587 w 356528"/>
                  <a:gd name="connsiteY559" fmla="*/ 149248 h 584263"/>
                  <a:gd name="connsiteX560" fmla="*/ 308497 w 356528"/>
                  <a:gd name="connsiteY560" fmla="*/ 148339 h 584263"/>
                  <a:gd name="connsiteX561" fmla="*/ 310315 w 356528"/>
                  <a:gd name="connsiteY561" fmla="*/ 148793 h 584263"/>
                  <a:gd name="connsiteX562" fmla="*/ 312285 w 356528"/>
                  <a:gd name="connsiteY562" fmla="*/ 151369 h 584263"/>
                  <a:gd name="connsiteX563" fmla="*/ 314557 w 356528"/>
                  <a:gd name="connsiteY563" fmla="*/ 150763 h 584263"/>
                  <a:gd name="connsiteX564" fmla="*/ 318042 w 356528"/>
                  <a:gd name="connsiteY564" fmla="*/ 147884 h 584263"/>
                  <a:gd name="connsiteX565" fmla="*/ 322740 w 356528"/>
                  <a:gd name="connsiteY565" fmla="*/ 151672 h 584263"/>
                  <a:gd name="connsiteX566" fmla="*/ 327740 w 356528"/>
                  <a:gd name="connsiteY566" fmla="*/ 153945 h 584263"/>
                  <a:gd name="connsiteX567" fmla="*/ 329103 w 356528"/>
                  <a:gd name="connsiteY567" fmla="*/ 153339 h 584263"/>
                  <a:gd name="connsiteX568" fmla="*/ 330922 w 356528"/>
                  <a:gd name="connsiteY568" fmla="*/ 151672 h 584263"/>
                  <a:gd name="connsiteX569" fmla="*/ 336376 w 356528"/>
                  <a:gd name="connsiteY569" fmla="*/ 150915 h 584263"/>
                  <a:gd name="connsiteX570" fmla="*/ 341073 w 356528"/>
                  <a:gd name="connsiteY570" fmla="*/ 150915 h 584263"/>
                  <a:gd name="connsiteX571" fmla="*/ 343801 w 356528"/>
                  <a:gd name="connsiteY571" fmla="*/ 149854 h 584263"/>
                  <a:gd name="connsiteX572" fmla="*/ 349256 w 356528"/>
                  <a:gd name="connsiteY572" fmla="*/ 151975 h 584263"/>
                  <a:gd name="connsiteX573" fmla="*/ 356528 w 356528"/>
                  <a:gd name="connsiteY573" fmla="*/ 150915 h 584263"/>
                  <a:gd name="connsiteX574" fmla="*/ 353195 w 356528"/>
                  <a:gd name="connsiteY574" fmla="*/ 142278 h 584263"/>
                  <a:gd name="connsiteX575" fmla="*/ 204553 w 356528"/>
                  <a:gd name="connsiteY575" fmla="*/ 418500 h 584263"/>
                  <a:gd name="connsiteX576" fmla="*/ 203189 w 356528"/>
                  <a:gd name="connsiteY576" fmla="*/ 419409 h 584263"/>
                  <a:gd name="connsiteX577" fmla="*/ 202735 w 356528"/>
                  <a:gd name="connsiteY577" fmla="*/ 421076 h 584263"/>
                  <a:gd name="connsiteX578" fmla="*/ 202432 w 356528"/>
                  <a:gd name="connsiteY578" fmla="*/ 421379 h 584263"/>
                  <a:gd name="connsiteX579" fmla="*/ 203189 w 356528"/>
                  <a:gd name="connsiteY579" fmla="*/ 423046 h 584263"/>
                  <a:gd name="connsiteX580" fmla="*/ 203947 w 356528"/>
                  <a:gd name="connsiteY580" fmla="*/ 421682 h 584263"/>
                  <a:gd name="connsiteX581" fmla="*/ 204705 w 356528"/>
                  <a:gd name="connsiteY581" fmla="*/ 420773 h 584263"/>
                  <a:gd name="connsiteX582" fmla="*/ 206675 w 356528"/>
                  <a:gd name="connsiteY582" fmla="*/ 419409 h 584263"/>
                  <a:gd name="connsiteX583" fmla="*/ 206675 w 356528"/>
                  <a:gd name="connsiteY583" fmla="*/ 418955 h 584263"/>
                  <a:gd name="connsiteX584" fmla="*/ 204553 w 356528"/>
                  <a:gd name="connsiteY584" fmla="*/ 418500 h 584263"/>
                  <a:gd name="connsiteX585" fmla="*/ 218645 w 356528"/>
                  <a:gd name="connsiteY585" fmla="*/ 481381 h 584263"/>
                  <a:gd name="connsiteX586" fmla="*/ 216069 w 356528"/>
                  <a:gd name="connsiteY586" fmla="*/ 484109 h 584263"/>
                  <a:gd name="connsiteX587" fmla="*/ 217432 w 356528"/>
                  <a:gd name="connsiteY587" fmla="*/ 485927 h 584263"/>
                  <a:gd name="connsiteX588" fmla="*/ 218796 w 356528"/>
                  <a:gd name="connsiteY588" fmla="*/ 486078 h 584263"/>
                  <a:gd name="connsiteX589" fmla="*/ 219251 w 356528"/>
                  <a:gd name="connsiteY589" fmla="*/ 483654 h 584263"/>
                  <a:gd name="connsiteX590" fmla="*/ 224099 w 356528"/>
                  <a:gd name="connsiteY590" fmla="*/ 481987 h 584263"/>
                  <a:gd name="connsiteX591" fmla="*/ 222736 w 356528"/>
                  <a:gd name="connsiteY591" fmla="*/ 481381 h 584263"/>
                  <a:gd name="connsiteX592" fmla="*/ 218645 w 356528"/>
                  <a:gd name="connsiteY592" fmla="*/ 481381 h 58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Lst>
                <a:rect l="l" t="t" r="r" b="b"/>
                <a:pathLst>
                  <a:path w="356528" h="584263">
                    <a:moveTo>
                      <a:pt x="212281" y="483957"/>
                    </a:moveTo>
                    <a:lnTo>
                      <a:pt x="210614" y="484563"/>
                    </a:lnTo>
                    <a:lnTo>
                      <a:pt x="209705" y="487291"/>
                    </a:lnTo>
                    <a:lnTo>
                      <a:pt x="207432" y="486078"/>
                    </a:lnTo>
                    <a:lnTo>
                      <a:pt x="202432" y="487442"/>
                    </a:lnTo>
                    <a:lnTo>
                      <a:pt x="198796" y="490321"/>
                    </a:lnTo>
                    <a:lnTo>
                      <a:pt x="195462" y="494412"/>
                    </a:lnTo>
                    <a:lnTo>
                      <a:pt x="193341" y="496230"/>
                    </a:lnTo>
                    <a:lnTo>
                      <a:pt x="191522" y="498352"/>
                    </a:lnTo>
                    <a:lnTo>
                      <a:pt x="191371" y="502594"/>
                    </a:lnTo>
                    <a:lnTo>
                      <a:pt x="191977" y="506988"/>
                    </a:lnTo>
                    <a:lnTo>
                      <a:pt x="190765" y="509564"/>
                    </a:lnTo>
                    <a:lnTo>
                      <a:pt x="192432" y="511988"/>
                    </a:lnTo>
                    <a:lnTo>
                      <a:pt x="193644" y="515019"/>
                    </a:lnTo>
                    <a:lnTo>
                      <a:pt x="195765" y="516989"/>
                    </a:lnTo>
                    <a:lnTo>
                      <a:pt x="193644" y="519867"/>
                    </a:lnTo>
                    <a:lnTo>
                      <a:pt x="191977" y="523352"/>
                    </a:lnTo>
                    <a:lnTo>
                      <a:pt x="194856" y="522898"/>
                    </a:lnTo>
                    <a:lnTo>
                      <a:pt x="197280" y="521080"/>
                    </a:lnTo>
                    <a:lnTo>
                      <a:pt x="198492" y="516837"/>
                    </a:lnTo>
                    <a:lnTo>
                      <a:pt x="200917" y="513958"/>
                    </a:lnTo>
                    <a:lnTo>
                      <a:pt x="202584" y="512594"/>
                    </a:lnTo>
                    <a:lnTo>
                      <a:pt x="206977" y="510776"/>
                    </a:lnTo>
                    <a:lnTo>
                      <a:pt x="208190" y="507594"/>
                    </a:lnTo>
                    <a:lnTo>
                      <a:pt x="209402" y="506079"/>
                    </a:lnTo>
                    <a:lnTo>
                      <a:pt x="211069" y="505018"/>
                    </a:lnTo>
                    <a:lnTo>
                      <a:pt x="212887" y="504564"/>
                    </a:lnTo>
                    <a:lnTo>
                      <a:pt x="209705" y="501230"/>
                    </a:lnTo>
                    <a:lnTo>
                      <a:pt x="210311" y="492442"/>
                    </a:lnTo>
                    <a:lnTo>
                      <a:pt x="212129" y="491533"/>
                    </a:lnTo>
                    <a:lnTo>
                      <a:pt x="213948" y="491079"/>
                    </a:lnTo>
                    <a:lnTo>
                      <a:pt x="215311" y="488351"/>
                    </a:lnTo>
                    <a:lnTo>
                      <a:pt x="217584" y="487442"/>
                    </a:lnTo>
                    <a:lnTo>
                      <a:pt x="214251" y="484866"/>
                    </a:lnTo>
                    <a:lnTo>
                      <a:pt x="212281" y="483957"/>
                    </a:lnTo>
                    <a:close/>
                    <a:moveTo>
                      <a:pt x="162734" y="506988"/>
                    </a:moveTo>
                    <a:lnTo>
                      <a:pt x="160915" y="506534"/>
                    </a:lnTo>
                    <a:lnTo>
                      <a:pt x="160158" y="507594"/>
                    </a:lnTo>
                    <a:lnTo>
                      <a:pt x="159248" y="510322"/>
                    </a:lnTo>
                    <a:lnTo>
                      <a:pt x="157582" y="513352"/>
                    </a:lnTo>
                    <a:lnTo>
                      <a:pt x="156521" y="516686"/>
                    </a:lnTo>
                    <a:lnTo>
                      <a:pt x="152733" y="524110"/>
                    </a:lnTo>
                    <a:lnTo>
                      <a:pt x="150006" y="525019"/>
                    </a:lnTo>
                    <a:lnTo>
                      <a:pt x="144096" y="536989"/>
                    </a:lnTo>
                    <a:lnTo>
                      <a:pt x="143642" y="540323"/>
                    </a:lnTo>
                    <a:lnTo>
                      <a:pt x="143794" y="546990"/>
                    </a:lnTo>
                    <a:lnTo>
                      <a:pt x="144551" y="549566"/>
                    </a:lnTo>
                    <a:lnTo>
                      <a:pt x="145763" y="549717"/>
                    </a:lnTo>
                    <a:lnTo>
                      <a:pt x="147127" y="547747"/>
                    </a:lnTo>
                    <a:lnTo>
                      <a:pt x="153945" y="527747"/>
                    </a:lnTo>
                    <a:lnTo>
                      <a:pt x="155612" y="526383"/>
                    </a:lnTo>
                    <a:lnTo>
                      <a:pt x="156824" y="520777"/>
                    </a:lnTo>
                    <a:lnTo>
                      <a:pt x="161521" y="511988"/>
                    </a:lnTo>
                    <a:lnTo>
                      <a:pt x="161673" y="511079"/>
                    </a:lnTo>
                    <a:lnTo>
                      <a:pt x="161521" y="509110"/>
                    </a:lnTo>
                    <a:lnTo>
                      <a:pt x="163339" y="507594"/>
                    </a:lnTo>
                    <a:lnTo>
                      <a:pt x="162734" y="506988"/>
                    </a:lnTo>
                    <a:close/>
                    <a:moveTo>
                      <a:pt x="200917" y="436380"/>
                    </a:moveTo>
                    <a:lnTo>
                      <a:pt x="200310" y="436228"/>
                    </a:lnTo>
                    <a:lnTo>
                      <a:pt x="198492" y="436986"/>
                    </a:lnTo>
                    <a:lnTo>
                      <a:pt x="197887" y="437743"/>
                    </a:lnTo>
                    <a:lnTo>
                      <a:pt x="197129" y="439561"/>
                    </a:lnTo>
                    <a:lnTo>
                      <a:pt x="197735" y="439713"/>
                    </a:lnTo>
                    <a:lnTo>
                      <a:pt x="198947" y="439258"/>
                    </a:lnTo>
                    <a:lnTo>
                      <a:pt x="200917" y="436380"/>
                    </a:lnTo>
                    <a:close/>
                    <a:moveTo>
                      <a:pt x="353195" y="142278"/>
                    </a:moveTo>
                    <a:lnTo>
                      <a:pt x="351680" y="139096"/>
                    </a:lnTo>
                    <a:lnTo>
                      <a:pt x="349256" y="135156"/>
                    </a:lnTo>
                    <a:lnTo>
                      <a:pt x="345013" y="133187"/>
                    </a:lnTo>
                    <a:lnTo>
                      <a:pt x="344255" y="132126"/>
                    </a:lnTo>
                    <a:lnTo>
                      <a:pt x="343649" y="130459"/>
                    </a:lnTo>
                    <a:lnTo>
                      <a:pt x="343498" y="128035"/>
                    </a:lnTo>
                    <a:lnTo>
                      <a:pt x="342892" y="124550"/>
                    </a:lnTo>
                    <a:lnTo>
                      <a:pt x="343043" y="121671"/>
                    </a:lnTo>
                    <a:lnTo>
                      <a:pt x="343498" y="120004"/>
                    </a:lnTo>
                    <a:lnTo>
                      <a:pt x="345316" y="118792"/>
                    </a:lnTo>
                    <a:lnTo>
                      <a:pt x="348043" y="115610"/>
                    </a:lnTo>
                    <a:lnTo>
                      <a:pt x="348649" y="113186"/>
                    </a:lnTo>
                    <a:lnTo>
                      <a:pt x="348801" y="109549"/>
                    </a:lnTo>
                    <a:lnTo>
                      <a:pt x="350013" y="106368"/>
                    </a:lnTo>
                    <a:lnTo>
                      <a:pt x="351377" y="104701"/>
                    </a:lnTo>
                    <a:lnTo>
                      <a:pt x="351074" y="103489"/>
                    </a:lnTo>
                    <a:lnTo>
                      <a:pt x="350165" y="101670"/>
                    </a:lnTo>
                    <a:lnTo>
                      <a:pt x="348195" y="99095"/>
                    </a:lnTo>
                    <a:lnTo>
                      <a:pt x="345164" y="95913"/>
                    </a:lnTo>
                    <a:lnTo>
                      <a:pt x="342892" y="92882"/>
                    </a:lnTo>
                    <a:lnTo>
                      <a:pt x="341983" y="90003"/>
                    </a:lnTo>
                    <a:lnTo>
                      <a:pt x="341528" y="87427"/>
                    </a:lnTo>
                    <a:lnTo>
                      <a:pt x="341680" y="85155"/>
                    </a:lnTo>
                    <a:lnTo>
                      <a:pt x="342589" y="83639"/>
                    </a:lnTo>
                    <a:lnTo>
                      <a:pt x="345468" y="81670"/>
                    </a:lnTo>
                    <a:lnTo>
                      <a:pt x="345922" y="80760"/>
                    </a:lnTo>
                    <a:lnTo>
                      <a:pt x="344861" y="76366"/>
                    </a:lnTo>
                    <a:lnTo>
                      <a:pt x="342892" y="75609"/>
                    </a:lnTo>
                    <a:lnTo>
                      <a:pt x="339558" y="75154"/>
                    </a:lnTo>
                    <a:lnTo>
                      <a:pt x="337740" y="75154"/>
                    </a:lnTo>
                    <a:lnTo>
                      <a:pt x="337437" y="74700"/>
                    </a:lnTo>
                    <a:lnTo>
                      <a:pt x="337285" y="73791"/>
                    </a:lnTo>
                    <a:lnTo>
                      <a:pt x="337740" y="71972"/>
                    </a:lnTo>
                    <a:lnTo>
                      <a:pt x="338801" y="69851"/>
                    </a:lnTo>
                    <a:lnTo>
                      <a:pt x="339710" y="68487"/>
                    </a:lnTo>
                    <a:lnTo>
                      <a:pt x="339861" y="67427"/>
                    </a:lnTo>
                    <a:lnTo>
                      <a:pt x="338801" y="63639"/>
                    </a:lnTo>
                    <a:lnTo>
                      <a:pt x="338498" y="58942"/>
                    </a:lnTo>
                    <a:lnTo>
                      <a:pt x="338952" y="55305"/>
                    </a:lnTo>
                    <a:lnTo>
                      <a:pt x="342589" y="52578"/>
                    </a:lnTo>
                    <a:lnTo>
                      <a:pt x="342740" y="51517"/>
                    </a:lnTo>
                    <a:lnTo>
                      <a:pt x="338194" y="48487"/>
                    </a:lnTo>
                    <a:lnTo>
                      <a:pt x="335013" y="45153"/>
                    </a:lnTo>
                    <a:lnTo>
                      <a:pt x="333952" y="43183"/>
                    </a:lnTo>
                    <a:lnTo>
                      <a:pt x="330164" y="42880"/>
                    </a:lnTo>
                    <a:lnTo>
                      <a:pt x="327891" y="37123"/>
                    </a:lnTo>
                    <a:lnTo>
                      <a:pt x="324558" y="34395"/>
                    </a:lnTo>
                    <a:lnTo>
                      <a:pt x="321224" y="31971"/>
                    </a:lnTo>
                    <a:lnTo>
                      <a:pt x="319254" y="30910"/>
                    </a:lnTo>
                    <a:lnTo>
                      <a:pt x="307739" y="27425"/>
                    </a:lnTo>
                    <a:lnTo>
                      <a:pt x="303193" y="26819"/>
                    </a:lnTo>
                    <a:lnTo>
                      <a:pt x="297739" y="24849"/>
                    </a:lnTo>
                    <a:lnTo>
                      <a:pt x="293647" y="22274"/>
                    </a:lnTo>
                    <a:lnTo>
                      <a:pt x="290163" y="20607"/>
                    </a:lnTo>
                    <a:lnTo>
                      <a:pt x="287132" y="18637"/>
                    </a:lnTo>
                    <a:lnTo>
                      <a:pt x="283041" y="16667"/>
                    </a:lnTo>
                    <a:lnTo>
                      <a:pt x="281829" y="15001"/>
                    </a:lnTo>
                    <a:lnTo>
                      <a:pt x="277435" y="11970"/>
                    </a:lnTo>
                    <a:lnTo>
                      <a:pt x="274707" y="10000"/>
                    </a:lnTo>
                    <a:lnTo>
                      <a:pt x="267435" y="6212"/>
                    </a:lnTo>
                    <a:lnTo>
                      <a:pt x="267131" y="4697"/>
                    </a:lnTo>
                    <a:lnTo>
                      <a:pt x="267131" y="3333"/>
                    </a:lnTo>
                    <a:lnTo>
                      <a:pt x="266828" y="2727"/>
                    </a:lnTo>
                    <a:lnTo>
                      <a:pt x="259404" y="0"/>
                    </a:lnTo>
                    <a:lnTo>
                      <a:pt x="255767" y="151"/>
                    </a:lnTo>
                    <a:lnTo>
                      <a:pt x="245464" y="758"/>
                    </a:lnTo>
                    <a:lnTo>
                      <a:pt x="250009" y="4849"/>
                    </a:lnTo>
                    <a:lnTo>
                      <a:pt x="251525" y="6515"/>
                    </a:lnTo>
                    <a:lnTo>
                      <a:pt x="251828" y="8940"/>
                    </a:lnTo>
                    <a:lnTo>
                      <a:pt x="251070" y="13485"/>
                    </a:lnTo>
                    <a:lnTo>
                      <a:pt x="248949" y="17425"/>
                    </a:lnTo>
                    <a:lnTo>
                      <a:pt x="246373" y="20607"/>
                    </a:lnTo>
                    <a:lnTo>
                      <a:pt x="241524" y="23789"/>
                    </a:lnTo>
                    <a:lnTo>
                      <a:pt x="248949" y="26819"/>
                    </a:lnTo>
                    <a:lnTo>
                      <a:pt x="243949" y="30910"/>
                    </a:lnTo>
                    <a:lnTo>
                      <a:pt x="241524" y="32577"/>
                    </a:lnTo>
                    <a:lnTo>
                      <a:pt x="238797" y="32274"/>
                    </a:lnTo>
                    <a:lnTo>
                      <a:pt x="233948" y="30910"/>
                    </a:lnTo>
                    <a:lnTo>
                      <a:pt x="222130" y="27425"/>
                    </a:lnTo>
                    <a:lnTo>
                      <a:pt x="216523" y="26062"/>
                    </a:lnTo>
                    <a:lnTo>
                      <a:pt x="211523" y="25607"/>
                    </a:lnTo>
                    <a:lnTo>
                      <a:pt x="208796" y="25607"/>
                    </a:lnTo>
                    <a:lnTo>
                      <a:pt x="198038" y="22577"/>
                    </a:lnTo>
                    <a:lnTo>
                      <a:pt x="195917" y="22880"/>
                    </a:lnTo>
                    <a:lnTo>
                      <a:pt x="192129" y="24092"/>
                    </a:lnTo>
                    <a:lnTo>
                      <a:pt x="191674" y="26971"/>
                    </a:lnTo>
                    <a:lnTo>
                      <a:pt x="191977" y="34092"/>
                    </a:lnTo>
                    <a:lnTo>
                      <a:pt x="192583" y="39547"/>
                    </a:lnTo>
                    <a:lnTo>
                      <a:pt x="191220" y="42729"/>
                    </a:lnTo>
                    <a:lnTo>
                      <a:pt x="189856" y="44850"/>
                    </a:lnTo>
                    <a:lnTo>
                      <a:pt x="185613" y="50608"/>
                    </a:lnTo>
                    <a:lnTo>
                      <a:pt x="175916" y="46668"/>
                    </a:lnTo>
                    <a:lnTo>
                      <a:pt x="169401" y="44093"/>
                    </a:lnTo>
                    <a:lnTo>
                      <a:pt x="165158" y="47577"/>
                    </a:lnTo>
                    <a:lnTo>
                      <a:pt x="154551" y="53941"/>
                    </a:lnTo>
                    <a:lnTo>
                      <a:pt x="149097" y="66518"/>
                    </a:lnTo>
                    <a:lnTo>
                      <a:pt x="148794" y="66972"/>
                    </a:lnTo>
                    <a:lnTo>
                      <a:pt x="145612" y="70154"/>
                    </a:lnTo>
                    <a:lnTo>
                      <a:pt x="141521" y="71669"/>
                    </a:lnTo>
                    <a:lnTo>
                      <a:pt x="138339" y="72427"/>
                    </a:lnTo>
                    <a:lnTo>
                      <a:pt x="136520" y="76063"/>
                    </a:lnTo>
                    <a:lnTo>
                      <a:pt x="140763" y="81367"/>
                    </a:lnTo>
                    <a:lnTo>
                      <a:pt x="142884" y="84094"/>
                    </a:lnTo>
                    <a:lnTo>
                      <a:pt x="144854" y="88640"/>
                    </a:lnTo>
                    <a:lnTo>
                      <a:pt x="144551" y="91519"/>
                    </a:lnTo>
                    <a:lnTo>
                      <a:pt x="144096" y="93337"/>
                    </a:lnTo>
                    <a:lnTo>
                      <a:pt x="139551" y="96973"/>
                    </a:lnTo>
                    <a:lnTo>
                      <a:pt x="129853" y="106519"/>
                    </a:lnTo>
                    <a:lnTo>
                      <a:pt x="120914" y="116519"/>
                    </a:lnTo>
                    <a:lnTo>
                      <a:pt x="117277" y="119398"/>
                    </a:lnTo>
                    <a:lnTo>
                      <a:pt x="118944" y="127732"/>
                    </a:lnTo>
                    <a:lnTo>
                      <a:pt x="115914" y="130156"/>
                    </a:lnTo>
                    <a:lnTo>
                      <a:pt x="109853" y="132884"/>
                    </a:lnTo>
                    <a:lnTo>
                      <a:pt x="106822" y="133944"/>
                    </a:lnTo>
                    <a:lnTo>
                      <a:pt x="103489" y="134550"/>
                    </a:lnTo>
                    <a:lnTo>
                      <a:pt x="93186" y="135611"/>
                    </a:lnTo>
                    <a:lnTo>
                      <a:pt x="95004" y="144551"/>
                    </a:lnTo>
                    <a:lnTo>
                      <a:pt x="95761" y="148490"/>
                    </a:lnTo>
                    <a:lnTo>
                      <a:pt x="95761" y="150763"/>
                    </a:lnTo>
                    <a:lnTo>
                      <a:pt x="94700" y="153036"/>
                    </a:lnTo>
                    <a:lnTo>
                      <a:pt x="93489" y="157430"/>
                    </a:lnTo>
                    <a:lnTo>
                      <a:pt x="91519" y="172885"/>
                    </a:lnTo>
                    <a:lnTo>
                      <a:pt x="90003" y="174552"/>
                    </a:lnTo>
                    <a:lnTo>
                      <a:pt x="88034" y="178794"/>
                    </a:lnTo>
                    <a:lnTo>
                      <a:pt x="81518" y="188795"/>
                    </a:lnTo>
                    <a:lnTo>
                      <a:pt x="76367" y="195462"/>
                    </a:lnTo>
                    <a:lnTo>
                      <a:pt x="68791" y="205008"/>
                    </a:lnTo>
                    <a:lnTo>
                      <a:pt x="74851" y="208038"/>
                    </a:lnTo>
                    <a:lnTo>
                      <a:pt x="80458" y="210159"/>
                    </a:lnTo>
                    <a:lnTo>
                      <a:pt x="81670" y="213493"/>
                    </a:lnTo>
                    <a:lnTo>
                      <a:pt x="82427" y="219099"/>
                    </a:lnTo>
                    <a:lnTo>
                      <a:pt x="82276" y="222887"/>
                    </a:lnTo>
                    <a:lnTo>
                      <a:pt x="80155" y="226372"/>
                    </a:lnTo>
                    <a:lnTo>
                      <a:pt x="78488" y="228796"/>
                    </a:lnTo>
                    <a:lnTo>
                      <a:pt x="77276" y="230008"/>
                    </a:lnTo>
                    <a:lnTo>
                      <a:pt x="69397" y="228796"/>
                    </a:lnTo>
                    <a:lnTo>
                      <a:pt x="59245" y="227281"/>
                    </a:lnTo>
                    <a:lnTo>
                      <a:pt x="56669" y="227281"/>
                    </a:lnTo>
                    <a:lnTo>
                      <a:pt x="50760" y="228342"/>
                    </a:lnTo>
                    <a:lnTo>
                      <a:pt x="45456" y="230614"/>
                    </a:lnTo>
                    <a:lnTo>
                      <a:pt x="42578" y="232433"/>
                    </a:lnTo>
                    <a:lnTo>
                      <a:pt x="41820" y="233190"/>
                    </a:lnTo>
                    <a:lnTo>
                      <a:pt x="38335" y="237433"/>
                    </a:lnTo>
                    <a:lnTo>
                      <a:pt x="31971" y="245009"/>
                    </a:lnTo>
                    <a:lnTo>
                      <a:pt x="28486" y="248342"/>
                    </a:lnTo>
                    <a:lnTo>
                      <a:pt x="29547" y="252888"/>
                    </a:lnTo>
                    <a:lnTo>
                      <a:pt x="23789" y="261525"/>
                    </a:lnTo>
                    <a:lnTo>
                      <a:pt x="27577" y="270313"/>
                    </a:lnTo>
                    <a:lnTo>
                      <a:pt x="27729" y="270616"/>
                    </a:lnTo>
                    <a:lnTo>
                      <a:pt x="29698" y="274101"/>
                    </a:lnTo>
                    <a:lnTo>
                      <a:pt x="27577" y="276374"/>
                    </a:lnTo>
                    <a:lnTo>
                      <a:pt x="26668" y="277586"/>
                    </a:lnTo>
                    <a:lnTo>
                      <a:pt x="26971" y="281525"/>
                    </a:lnTo>
                    <a:lnTo>
                      <a:pt x="27577" y="286071"/>
                    </a:lnTo>
                    <a:lnTo>
                      <a:pt x="27122" y="288647"/>
                    </a:lnTo>
                    <a:lnTo>
                      <a:pt x="26971" y="291526"/>
                    </a:lnTo>
                    <a:lnTo>
                      <a:pt x="32123" y="304557"/>
                    </a:lnTo>
                    <a:lnTo>
                      <a:pt x="32123" y="307587"/>
                    </a:lnTo>
                    <a:lnTo>
                      <a:pt x="31819" y="309557"/>
                    </a:lnTo>
                    <a:lnTo>
                      <a:pt x="30153" y="317587"/>
                    </a:lnTo>
                    <a:lnTo>
                      <a:pt x="28031" y="328345"/>
                    </a:lnTo>
                    <a:lnTo>
                      <a:pt x="31819" y="331224"/>
                    </a:lnTo>
                    <a:lnTo>
                      <a:pt x="37123" y="334558"/>
                    </a:lnTo>
                    <a:lnTo>
                      <a:pt x="40153" y="335921"/>
                    </a:lnTo>
                    <a:lnTo>
                      <a:pt x="44547" y="339861"/>
                    </a:lnTo>
                    <a:lnTo>
                      <a:pt x="47881" y="343800"/>
                    </a:lnTo>
                    <a:lnTo>
                      <a:pt x="47426" y="346376"/>
                    </a:lnTo>
                    <a:lnTo>
                      <a:pt x="46517" y="349255"/>
                    </a:lnTo>
                    <a:lnTo>
                      <a:pt x="45153" y="351225"/>
                    </a:lnTo>
                    <a:lnTo>
                      <a:pt x="43790" y="353952"/>
                    </a:lnTo>
                    <a:lnTo>
                      <a:pt x="43184" y="355922"/>
                    </a:lnTo>
                    <a:lnTo>
                      <a:pt x="42578" y="356528"/>
                    </a:lnTo>
                    <a:lnTo>
                      <a:pt x="36668" y="356680"/>
                    </a:lnTo>
                    <a:lnTo>
                      <a:pt x="33486" y="357437"/>
                    </a:lnTo>
                    <a:lnTo>
                      <a:pt x="31819" y="358346"/>
                    </a:lnTo>
                    <a:lnTo>
                      <a:pt x="32426" y="362892"/>
                    </a:lnTo>
                    <a:lnTo>
                      <a:pt x="36062" y="371226"/>
                    </a:lnTo>
                    <a:lnTo>
                      <a:pt x="39093" y="377135"/>
                    </a:lnTo>
                    <a:lnTo>
                      <a:pt x="40002" y="381074"/>
                    </a:lnTo>
                    <a:lnTo>
                      <a:pt x="39093" y="385014"/>
                    </a:lnTo>
                    <a:lnTo>
                      <a:pt x="38032" y="386984"/>
                    </a:lnTo>
                    <a:lnTo>
                      <a:pt x="38032" y="389711"/>
                    </a:lnTo>
                    <a:lnTo>
                      <a:pt x="37274" y="395166"/>
                    </a:lnTo>
                    <a:lnTo>
                      <a:pt x="35002" y="397893"/>
                    </a:lnTo>
                    <a:lnTo>
                      <a:pt x="31971" y="400924"/>
                    </a:lnTo>
                    <a:lnTo>
                      <a:pt x="28638" y="403196"/>
                    </a:lnTo>
                    <a:lnTo>
                      <a:pt x="25910" y="403803"/>
                    </a:lnTo>
                    <a:lnTo>
                      <a:pt x="23638" y="404106"/>
                    </a:lnTo>
                    <a:lnTo>
                      <a:pt x="22122" y="405166"/>
                    </a:lnTo>
                    <a:lnTo>
                      <a:pt x="20759" y="408500"/>
                    </a:lnTo>
                    <a:lnTo>
                      <a:pt x="19546" y="411985"/>
                    </a:lnTo>
                    <a:lnTo>
                      <a:pt x="15304" y="416227"/>
                    </a:lnTo>
                    <a:lnTo>
                      <a:pt x="15455" y="417743"/>
                    </a:lnTo>
                    <a:lnTo>
                      <a:pt x="17122" y="422743"/>
                    </a:lnTo>
                    <a:lnTo>
                      <a:pt x="18637" y="428501"/>
                    </a:lnTo>
                    <a:lnTo>
                      <a:pt x="16667" y="434258"/>
                    </a:lnTo>
                    <a:lnTo>
                      <a:pt x="15607" y="439865"/>
                    </a:lnTo>
                    <a:lnTo>
                      <a:pt x="13637" y="443653"/>
                    </a:lnTo>
                    <a:lnTo>
                      <a:pt x="10910" y="445016"/>
                    </a:lnTo>
                    <a:lnTo>
                      <a:pt x="8940" y="444410"/>
                    </a:lnTo>
                    <a:lnTo>
                      <a:pt x="6667" y="439258"/>
                    </a:lnTo>
                    <a:lnTo>
                      <a:pt x="4091" y="437289"/>
                    </a:lnTo>
                    <a:lnTo>
                      <a:pt x="1364" y="437592"/>
                    </a:lnTo>
                    <a:lnTo>
                      <a:pt x="606" y="438955"/>
                    </a:lnTo>
                    <a:lnTo>
                      <a:pt x="0" y="441228"/>
                    </a:lnTo>
                    <a:lnTo>
                      <a:pt x="606" y="443956"/>
                    </a:lnTo>
                    <a:lnTo>
                      <a:pt x="1667" y="446228"/>
                    </a:lnTo>
                    <a:lnTo>
                      <a:pt x="2122" y="453653"/>
                    </a:lnTo>
                    <a:lnTo>
                      <a:pt x="3485" y="461835"/>
                    </a:lnTo>
                    <a:lnTo>
                      <a:pt x="2879" y="463956"/>
                    </a:lnTo>
                    <a:lnTo>
                      <a:pt x="2728" y="466078"/>
                    </a:lnTo>
                    <a:lnTo>
                      <a:pt x="5000" y="465623"/>
                    </a:lnTo>
                    <a:lnTo>
                      <a:pt x="7728" y="467290"/>
                    </a:lnTo>
                    <a:lnTo>
                      <a:pt x="8182" y="476078"/>
                    </a:lnTo>
                    <a:lnTo>
                      <a:pt x="10910" y="480775"/>
                    </a:lnTo>
                    <a:lnTo>
                      <a:pt x="15152" y="481836"/>
                    </a:lnTo>
                    <a:lnTo>
                      <a:pt x="15910" y="490169"/>
                    </a:lnTo>
                    <a:lnTo>
                      <a:pt x="16062" y="491988"/>
                    </a:lnTo>
                    <a:lnTo>
                      <a:pt x="20001" y="493503"/>
                    </a:lnTo>
                    <a:lnTo>
                      <a:pt x="20153" y="496079"/>
                    </a:lnTo>
                    <a:lnTo>
                      <a:pt x="21062" y="499715"/>
                    </a:lnTo>
                    <a:lnTo>
                      <a:pt x="22274" y="503503"/>
                    </a:lnTo>
                    <a:lnTo>
                      <a:pt x="24850" y="502746"/>
                    </a:lnTo>
                    <a:lnTo>
                      <a:pt x="27577" y="511382"/>
                    </a:lnTo>
                    <a:lnTo>
                      <a:pt x="35002" y="523958"/>
                    </a:lnTo>
                    <a:lnTo>
                      <a:pt x="39093" y="527140"/>
                    </a:lnTo>
                    <a:lnTo>
                      <a:pt x="43032" y="533353"/>
                    </a:lnTo>
                    <a:lnTo>
                      <a:pt x="45153" y="533959"/>
                    </a:lnTo>
                    <a:lnTo>
                      <a:pt x="47578" y="535171"/>
                    </a:lnTo>
                    <a:lnTo>
                      <a:pt x="48487" y="539111"/>
                    </a:lnTo>
                    <a:lnTo>
                      <a:pt x="46820" y="541535"/>
                    </a:lnTo>
                    <a:lnTo>
                      <a:pt x="44547" y="541383"/>
                    </a:lnTo>
                    <a:lnTo>
                      <a:pt x="41365" y="541989"/>
                    </a:lnTo>
                    <a:lnTo>
                      <a:pt x="42274" y="544111"/>
                    </a:lnTo>
                    <a:lnTo>
                      <a:pt x="43638" y="545626"/>
                    </a:lnTo>
                    <a:lnTo>
                      <a:pt x="45305" y="548808"/>
                    </a:lnTo>
                    <a:lnTo>
                      <a:pt x="43941" y="549717"/>
                    </a:lnTo>
                    <a:lnTo>
                      <a:pt x="42729" y="550020"/>
                    </a:lnTo>
                    <a:lnTo>
                      <a:pt x="37274" y="547747"/>
                    </a:lnTo>
                    <a:lnTo>
                      <a:pt x="36365" y="547899"/>
                    </a:lnTo>
                    <a:lnTo>
                      <a:pt x="37729" y="549566"/>
                    </a:lnTo>
                    <a:lnTo>
                      <a:pt x="39699" y="553808"/>
                    </a:lnTo>
                    <a:lnTo>
                      <a:pt x="46366" y="563657"/>
                    </a:lnTo>
                    <a:lnTo>
                      <a:pt x="49244" y="566536"/>
                    </a:lnTo>
                    <a:lnTo>
                      <a:pt x="50154" y="568809"/>
                    </a:lnTo>
                    <a:lnTo>
                      <a:pt x="50305" y="570930"/>
                    </a:lnTo>
                    <a:lnTo>
                      <a:pt x="49850" y="574112"/>
                    </a:lnTo>
                    <a:lnTo>
                      <a:pt x="49244" y="577142"/>
                    </a:lnTo>
                    <a:lnTo>
                      <a:pt x="49244" y="579112"/>
                    </a:lnTo>
                    <a:lnTo>
                      <a:pt x="47729" y="581839"/>
                    </a:lnTo>
                    <a:lnTo>
                      <a:pt x="59699" y="584264"/>
                    </a:lnTo>
                    <a:lnTo>
                      <a:pt x="73033" y="581082"/>
                    </a:lnTo>
                    <a:lnTo>
                      <a:pt x="80458" y="582445"/>
                    </a:lnTo>
                    <a:lnTo>
                      <a:pt x="83034" y="582294"/>
                    </a:lnTo>
                    <a:lnTo>
                      <a:pt x="87579" y="577294"/>
                    </a:lnTo>
                    <a:lnTo>
                      <a:pt x="85761" y="573203"/>
                    </a:lnTo>
                    <a:lnTo>
                      <a:pt x="83791" y="569566"/>
                    </a:lnTo>
                    <a:lnTo>
                      <a:pt x="84094" y="565627"/>
                    </a:lnTo>
                    <a:lnTo>
                      <a:pt x="85306" y="563505"/>
                    </a:lnTo>
                    <a:lnTo>
                      <a:pt x="89094" y="560020"/>
                    </a:lnTo>
                    <a:lnTo>
                      <a:pt x="91064" y="558505"/>
                    </a:lnTo>
                    <a:lnTo>
                      <a:pt x="93337" y="557142"/>
                    </a:lnTo>
                    <a:lnTo>
                      <a:pt x="96065" y="558202"/>
                    </a:lnTo>
                    <a:lnTo>
                      <a:pt x="98792" y="557748"/>
                    </a:lnTo>
                    <a:lnTo>
                      <a:pt x="97731" y="553808"/>
                    </a:lnTo>
                    <a:lnTo>
                      <a:pt x="99549" y="552747"/>
                    </a:lnTo>
                    <a:lnTo>
                      <a:pt x="106974" y="552293"/>
                    </a:lnTo>
                    <a:lnTo>
                      <a:pt x="114550" y="553050"/>
                    </a:lnTo>
                    <a:lnTo>
                      <a:pt x="119550" y="551838"/>
                    </a:lnTo>
                    <a:lnTo>
                      <a:pt x="122732" y="551687"/>
                    </a:lnTo>
                    <a:lnTo>
                      <a:pt x="125308" y="552444"/>
                    </a:lnTo>
                    <a:lnTo>
                      <a:pt x="128187" y="553960"/>
                    </a:lnTo>
                    <a:lnTo>
                      <a:pt x="130763" y="552293"/>
                    </a:lnTo>
                    <a:lnTo>
                      <a:pt x="132884" y="550172"/>
                    </a:lnTo>
                    <a:lnTo>
                      <a:pt x="137127" y="539414"/>
                    </a:lnTo>
                    <a:lnTo>
                      <a:pt x="138945" y="535929"/>
                    </a:lnTo>
                    <a:lnTo>
                      <a:pt x="142581" y="531232"/>
                    </a:lnTo>
                    <a:lnTo>
                      <a:pt x="144248" y="527292"/>
                    </a:lnTo>
                    <a:lnTo>
                      <a:pt x="145612" y="522746"/>
                    </a:lnTo>
                    <a:lnTo>
                      <a:pt x="147582" y="517292"/>
                    </a:lnTo>
                    <a:lnTo>
                      <a:pt x="146975" y="514413"/>
                    </a:lnTo>
                    <a:lnTo>
                      <a:pt x="146218" y="512594"/>
                    </a:lnTo>
                    <a:lnTo>
                      <a:pt x="146066" y="509564"/>
                    </a:lnTo>
                    <a:lnTo>
                      <a:pt x="150309" y="503049"/>
                    </a:lnTo>
                    <a:lnTo>
                      <a:pt x="150915" y="500321"/>
                    </a:lnTo>
                    <a:lnTo>
                      <a:pt x="149551" y="497594"/>
                    </a:lnTo>
                    <a:lnTo>
                      <a:pt x="148945" y="494715"/>
                    </a:lnTo>
                    <a:lnTo>
                      <a:pt x="148945" y="490018"/>
                    </a:lnTo>
                    <a:lnTo>
                      <a:pt x="148036" y="488048"/>
                    </a:lnTo>
                    <a:lnTo>
                      <a:pt x="149248" y="484109"/>
                    </a:lnTo>
                    <a:lnTo>
                      <a:pt x="151975" y="483957"/>
                    </a:lnTo>
                    <a:lnTo>
                      <a:pt x="152127" y="474260"/>
                    </a:lnTo>
                    <a:lnTo>
                      <a:pt x="154097" y="472138"/>
                    </a:lnTo>
                    <a:lnTo>
                      <a:pt x="152582" y="468653"/>
                    </a:lnTo>
                    <a:lnTo>
                      <a:pt x="150763" y="463350"/>
                    </a:lnTo>
                    <a:lnTo>
                      <a:pt x="155460" y="462290"/>
                    </a:lnTo>
                    <a:lnTo>
                      <a:pt x="158188" y="460926"/>
                    </a:lnTo>
                    <a:lnTo>
                      <a:pt x="154551" y="457289"/>
                    </a:lnTo>
                    <a:lnTo>
                      <a:pt x="151672" y="456683"/>
                    </a:lnTo>
                    <a:lnTo>
                      <a:pt x="146066" y="456229"/>
                    </a:lnTo>
                    <a:lnTo>
                      <a:pt x="143642" y="456683"/>
                    </a:lnTo>
                    <a:lnTo>
                      <a:pt x="141672" y="455623"/>
                    </a:lnTo>
                    <a:lnTo>
                      <a:pt x="138793" y="455320"/>
                    </a:lnTo>
                    <a:lnTo>
                      <a:pt x="141521" y="454259"/>
                    </a:lnTo>
                    <a:lnTo>
                      <a:pt x="150309" y="454714"/>
                    </a:lnTo>
                    <a:lnTo>
                      <a:pt x="159551" y="454562"/>
                    </a:lnTo>
                    <a:lnTo>
                      <a:pt x="163037" y="452289"/>
                    </a:lnTo>
                    <a:lnTo>
                      <a:pt x="169703" y="449562"/>
                    </a:lnTo>
                    <a:lnTo>
                      <a:pt x="172734" y="446380"/>
                    </a:lnTo>
                    <a:lnTo>
                      <a:pt x="178491" y="444107"/>
                    </a:lnTo>
                    <a:lnTo>
                      <a:pt x="181068" y="442137"/>
                    </a:lnTo>
                    <a:lnTo>
                      <a:pt x="182734" y="442592"/>
                    </a:lnTo>
                    <a:lnTo>
                      <a:pt x="186674" y="440622"/>
                    </a:lnTo>
                    <a:lnTo>
                      <a:pt x="190007" y="438198"/>
                    </a:lnTo>
                    <a:lnTo>
                      <a:pt x="195159" y="436228"/>
                    </a:lnTo>
                    <a:lnTo>
                      <a:pt x="196220" y="435319"/>
                    </a:lnTo>
                    <a:lnTo>
                      <a:pt x="197583" y="433349"/>
                    </a:lnTo>
                    <a:lnTo>
                      <a:pt x="198644" y="428804"/>
                    </a:lnTo>
                    <a:lnTo>
                      <a:pt x="200917" y="428804"/>
                    </a:lnTo>
                    <a:lnTo>
                      <a:pt x="204099" y="427440"/>
                    </a:lnTo>
                    <a:lnTo>
                      <a:pt x="202584" y="424713"/>
                    </a:lnTo>
                    <a:lnTo>
                      <a:pt x="201220" y="424106"/>
                    </a:lnTo>
                    <a:lnTo>
                      <a:pt x="199856" y="424561"/>
                    </a:lnTo>
                    <a:lnTo>
                      <a:pt x="198189" y="425773"/>
                    </a:lnTo>
                    <a:lnTo>
                      <a:pt x="196522" y="425470"/>
                    </a:lnTo>
                    <a:lnTo>
                      <a:pt x="194704" y="425773"/>
                    </a:lnTo>
                    <a:lnTo>
                      <a:pt x="193038" y="427288"/>
                    </a:lnTo>
                    <a:lnTo>
                      <a:pt x="190916" y="427894"/>
                    </a:lnTo>
                    <a:lnTo>
                      <a:pt x="186674" y="427440"/>
                    </a:lnTo>
                    <a:lnTo>
                      <a:pt x="186219" y="426228"/>
                    </a:lnTo>
                    <a:lnTo>
                      <a:pt x="191674" y="423349"/>
                    </a:lnTo>
                    <a:lnTo>
                      <a:pt x="193189" y="423803"/>
                    </a:lnTo>
                    <a:lnTo>
                      <a:pt x="194856" y="423046"/>
                    </a:lnTo>
                    <a:lnTo>
                      <a:pt x="196522" y="421379"/>
                    </a:lnTo>
                    <a:lnTo>
                      <a:pt x="198341" y="420773"/>
                    </a:lnTo>
                    <a:lnTo>
                      <a:pt x="203189" y="417743"/>
                    </a:lnTo>
                    <a:lnTo>
                      <a:pt x="204856" y="416379"/>
                    </a:lnTo>
                    <a:lnTo>
                      <a:pt x="206977" y="414106"/>
                    </a:lnTo>
                    <a:lnTo>
                      <a:pt x="211826" y="411076"/>
                    </a:lnTo>
                    <a:lnTo>
                      <a:pt x="213948" y="410015"/>
                    </a:lnTo>
                    <a:lnTo>
                      <a:pt x="214553" y="407136"/>
                    </a:lnTo>
                    <a:lnTo>
                      <a:pt x="213039" y="402439"/>
                    </a:lnTo>
                    <a:lnTo>
                      <a:pt x="211675" y="400924"/>
                    </a:lnTo>
                    <a:lnTo>
                      <a:pt x="210917" y="398954"/>
                    </a:lnTo>
                    <a:lnTo>
                      <a:pt x="209099" y="396833"/>
                    </a:lnTo>
                    <a:lnTo>
                      <a:pt x="203947" y="395166"/>
                    </a:lnTo>
                    <a:lnTo>
                      <a:pt x="202129" y="393802"/>
                    </a:lnTo>
                    <a:lnTo>
                      <a:pt x="202735" y="389711"/>
                    </a:lnTo>
                    <a:lnTo>
                      <a:pt x="198492" y="386226"/>
                    </a:lnTo>
                    <a:lnTo>
                      <a:pt x="194401" y="385166"/>
                    </a:lnTo>
                    <a:lnTo>
                      <a:pt x="191977" y="383196"/>
                    </a:lnTo>
                    <a:lnTo>
                      <a:pt x="187886" y="378953"/>
                    </a:lnTo>
                    <a:lnTo>
                      <a:pt x="186371" y="375771"/>
                    </a:lnTo>
                    <a:lnTo>
                      <a:pt x="184098" y="376226"/>
                    </a:lnTo>
                    <a:lnTo>
                      <a:pt x="180613" y="377893"/>
                    </a:lnTo>
                    <a:lnTo>
                      <a:pt x="178340" y="378044"/>
                    </a:lnTo>
                    <a:lnTo>
                      <a:pt x="177582" y="375923"/>
                    </a:lnTo>
                    <a:lnTo>
                      <a:pt x="176522" y="374105"/>
                    </a:lnTo>
                    <a:lnTo>
                      <a:pt x="175461" y="373498"/>
                    </a:lnTo>
                    <a:lnTo>
                      <a:pt x="172734" y="373498"/>
                    </a:lnTo>
                    <a:lnTo>
                      <a:pt x="170006" y="373498"/>
                    </a:lnTo>
                    <a:lnTo>
                      <a:pt x="166976" y="371074"/>
                    </a:lnTo>
                    <a:lnTo>
                      <a:pt x="167279" y="368498"/>
                    </a:lnTo>
                    <a:lnTo>
                      <a:pt x="167734" y="366529"/>
                    </a:lnTo>
                    <a:lnTo>
                      <a:pt x="165613" y="360771"/>
                    </a:lnTo>
                    <a:lnTo>
                      <a:pt x="165915" y="359407"/>
                    </a:lnTo>
                    <a:lnTo>
                      <a:pt x="165158" y="352740"/>
                    </a:lnTo>
                    <a:lnTo>
                      <a:pt x="165006" y="348498"/>
                    </a:lnTo>
                    <a:lnTo>
                      <a:pt x="164552" y="347285"/>
                    </a:lnTo>
                    <a:lnTo>
                      <a:pt x="165461" y="345922"/>
                    </a:lnTo>
                    <a:lnTo>
                      <a:pt x="164855" y="343952"/>
                    </a:lnTo>
                    <a:lnTo>
                      <a:pt x="163794" y="342891"/>
                    </a:lnTo>
                    <a:lnTo>
                      <a:pt x="164552" y="339709"/>
                    </a:lnTo>
                    <a:lnTo>
                      <a:pt x="164097" y="337740"/>
                    </a:lnTo>
                    <a:lnTo>
                      <a:pt x="163643" y="334709"/>
                    </a:lnTo>
                    <a:lnTo>
                      <a:pt x="165915" y="331376"/>
                    </a:lnTo>
                    <a:lnTo>
                      <a:pt x="165461" y="328497"/>
                    </a:lnTo>
                    <a:lnTo>
                      <a:pt x="169249" y="329861"/>
                    </a:lnTo>
                    <a:lnTo>
                      <a:pt x="172885" y="330164"/>
                    </a:lnTo>
                    <a:lnTo>
                      <a:pt x="171522" y="327739"/>
                    </a:lnTo>
                    <a:lnTo>
                      <a:pt x="171067" y="325921"/>
                    </a:lnTo>
                    <a:lnTo>
                      <a:pt x="170461" y="322436"/>
                    </a:lnTo>
                    <a:lnTo>
                      <a:pt x="171522" y="318193"/>
                    </a:lnTo>
                    <a:lnTo>
                      <a:pt x="172431" y="315769"/>
                    </a:lnTo>
                    <a:lnTo>
                      <a:pt x="174098" y="309708"/>
                    </a:lnTo>
                    <a:lnTo>
                      <a:pt x="175613" y="307739"/>
                    </a:lnTo>
                    <a:lnTo>
                      <a:pt x="177582" y="306829"/>
                    </a:lnTo>
                    <a:lnTo>
                      <a:pt x="174855" y="305466"/>
                    </a:lnTo>
                    <a:lnTo>
                      <a:pt x="171976" y="302435"/>
                    </a:lnTo>
                    <a:lnTo>
                      <a:pt x="170461" y="298496"/>
                    </a:lnTo>
                    <a:lnTo>
                      <a:pt x="170613" y="296981"/>
                    </a:lnTo>
                    <a:lnTo>
                      <a:pt x="171522" y="295011"/>
                    </a:lnTo>
                    <a:lnTo>
                      <a:pt x="174249" y="296071"/>
                    </a:lnTo>
                    <a:lnTo>
                      <a:pt x="175916" y="297435"/>
                    </a:lnTo>
                    <a:lnTo>
                      <a:pt x="178037" y="297435"/>
                    </a:lnTo>
                    <a:lnTo>
                      <a:pt x="180007" y="295314"/>
                    </a:lnTo>
                    <a:lnTo>
                      <a:pt x="183189" y="295162"/>
                    </a:lnTo>
                    <a:lnTo>
                      <a:pt x="186219" y="291980"/>
                    </a:lnTo>
                    <a:lnTo>
                      <a:pt x="188644" y="291071"/>
                    </a:lnTo>
                    <a:lnTo>
                      <a:pt x="187734" y="290011"/>
                    </a:lnTo>
                    <a:lnTo>
                      <a:pt x="185613" y="289405"/>
                    </a:lnTo>
                    <a:lnTo>
                      <a:pt x="184856" y="288647"/>
                    </a:lnTo>
                    <a:lnTo>
                      <a:pt x="185916" y="287738"/>
                    </a:lnTo>
                    <a:lnTo>
                      <a:pt x="186825" y="285920"/>
                    </a:lnTo>
                    <a:lnTo>
                      <a:pt x="185765" y="283192"/>
                    </a:lnTo>
                    <a:lnTo>
                      <a:pt x="184704" y="281222"/>
                    </a:lnTo>
                    <a:lnTo>
                      <a:pt x="184249" y="279404"/>
                    </a:lnTo>
                    <a:lnTo>
                      <a:pt x="185007" y="278798"/>
                    </a:lnTo>
                    <a:lnTo>
                      <a:pt x="186219" y="281071"/>
                    </a:lnTo>
                    <a:lnTo>
                      <a:pt x="190159" y="280919"/>
                    </a:lnTo>
                    <a:lnTo>
                      <a:pt x="189704" y="281980"/>
                    </a:lnTo>
                    <a:lnTo>
                      <a:pt x="189553" y="282889"/>
                    </a:lnTo>
                    <a:lnTo>
                      <a:pt x="192129" y="282889"/>
                    </a:lnTo>
                    <a:lnTo>
                      <a:pt x="193341" y="281980"/>
                    </a:lnTo>
                    <a:lnTo>
                      <a:pt x="194250" y="280465"/>
                    </a:lnTo>
                    <a:lnTo>
                      <a:pt x="200159" y="278495"/>
                    </a:lnTo>
                    <a:lnTo>
                      <a:pt x="200765" y="277131"/>
                    </a:lnTo>
                    <a:lnTo>
                      <a:pt x="200917" y="275768"/>
                    </a:lnTo>
                    <a:lnTo>
                      <a:pt x="201371" y="274404"/>
                    </a:lnTo>
                    <a:lnTo>
                      <a:pt x="196220" y="274101"/>
                    </a:lnTo>
                    <a:lnTo>
                      <a:pt x="197129" y="272586"/>
                    </a:lnTo>
                    <a:lnTo>
                      <a:pt x="198796" y="272283"/>
                    </a:lnTo>
                    <a:lnTo>
                      <a:pt x="202129" y="271222"/>
                    </a:lnTo>
                    <a:lnTo>
                      <a:pt x="203341" y="268495"/>
                    </a:lnTo>
                    <a:lnTo>
                      <a:pt x="204099" y="266222"/>
                    </a:lnTo>
                    <a:lnTo>
                      <a:pt x="205765" y="266222"/>
                    </a:lnTo>
                    <a:lnTo>
                      <a:pt x="208341" y="265313"/>
                    </a:lnTo>
                    <a:lnTo>
                      <a:pt x="210008" y="265313"/>
                    </a:lnTo>
                    <a:lnTo>
                      <a:pt x="211069" y="264858"/>
                    </a:lnTo>
                    <a:lnTo>
                      <a:pt x="210917" y="264555"/>
                    </a:lnTo>
                    <a:lnTo>
                      <a:pt x="209402" y="263949"/>
                    </a:lnTo>
                    <a:lnTo>
                      <a:pt x="210008" y="263040"/>
                    </a:lnTo>
                    <a:lnTo>
                      <a:pt x="215917" y="263949"/>
                    </a:lnTo>
                    <a:lnTo>
                      <a:pt x="221372" y="259252"/>
                    </a:lnTo>
                    <a:lnTo>
                      <a:pt x="222736" y="255767"/>
                    </a:lnTo>
                    <a:lnTo>
                      <a:pt x="224554" y="253646"/>
                    </a:lnTo>
                    <a:lnTo>
                      <a:pt x="228342" y="255918"/>
                    </a:lnTo>
                    <a:lnTo>
                      <a:pt x="228191" y="254403"/>
                    </a:lnTo>
                    <a:lnTo>
                      <a:pt x="228494" y="252282"/>
                    </a:lnTo>
                    <a:lnTo>
                      <a:pt x="230918" y="253191"/>
                    </a:lnTo>
                    <a:lnTo>
                      <a:pt x="232736" y="254403"/>
                    </a:lnTo>
                    <a:lnTo>
                      <a:pt x="234554" y="254100"/>
                    </a:lnTo>
                    <a:lnTo>
                      <a:pt x="236221" y="250918"/>
                    </a:lnTo>
                    <a:lnTo>
                      <a:pt x="239858" y="247736"/>
                    </a:lnTo>
                    <a:lnTo>
                      <a:pt x="247888" y="245464"/>
                    </a:lnTo>
                    <a:lnTo>
                      <a:pt x="252434" y="242888"/>
                    </a:lnTo>
                    <a:lnTo>
                      <a:pt x="254707" y="240615"/>
                    </a:lnTo>
                    <a:lnTo>
                      <a:pt x="260768" y="238342"/>
                    </a:lnTo>
                    <a:lnTo>
                      <a:pt x="263040" y="236524"/>
                    </a:lnTo>
                    <a:lnTo>
                      <a:pt x="270010" y="222887"/>
                    </a:lnTo>
                    <a:lnTo>
                      <a:pt x="276525" y="217584"/>
                    </a:lnTo>
                    <a:lnTo>
                      <a:pt x="282283" y="214099"/>
                    </a:lnTo>
                    <a:lnTo>
                      <a:pt x="283041" y="212432"/>
                    </a:lnTo>
                    <a:lnTo>
                      <a:pt x="283799" y="210311"/>
                    </a:lnTo>
                    <a:lnTo>
                      <a:pt x="280465" y="206977"/>
                    </a:lnTo>
                    <a:lnTo>
                      <a:pt x="278799" y="203189"/>
                    </a:lnTo>
                    <a:lnTo>
                      <a:pt x="277435" y="198947"/>
                    </a:lnTo>
                    <a:lnTo>
                      <a:pt x="275465" y="196674"/>
                    </a:lnTo>
                    <a:lnTo>
                      <a:pt x="273647" y="195159"/>
                    </a:lnTo>
                    <a:lnTo>
                      <a:pt x="275162" y="192128"/>
                    </a:lnTo>
                    <a:lnTo>
                      <a:pt x="277890" y="189249"/>
                    </a:lnTo>
                    <a:lnTo>
                      <a:pt x="281526" y="186067"/>
                    </a:lnTo>
                    <a:lnTo>
                      <a:pt x="285617" y="181067"/>
                    </a:lnTo>
                    <a:lnTo>
                      <a:pt x="285768" y="179552"/>
                    </a:lnTo>
                    <a:lnTo>
                      <a:pt x="284859" y="177431"/>
                    </a:lnTo>
                    <a:lnTo>
                      <a:pt x="283799" y="175764"/>
                    </a:lnTo>
                    <a:lnTo>
                      <a:pt x="281980" y="174097"/>
                    </a:lnTo>
                    <a:lnTo>
                      <a:pt x="281223" y="172582"/>
                    </a:lnTo>
                    <a:lnTo>
                      <a:pt x="282283" y="172431"/>
                    </a:lnTo>
                    <a:lnTo>
                      <a:pt x="285617" y="175461"/>
                    </a:lnTo>
                    <a:lnTo>
                      <a:pt x="286829" y="175158"/>
                    </a:lnTo>
                    <a:lnTo>
                      <a:pt x="286980" y="173491"/>
                    </a:lnTo>
                    <a:lnTo>
                      <a:pt x="286526" y="172734"/>
                    </a:lnTo>
                    <a:lnTo>
                      <a:pt x="285162" y="172127"/>
                    </a:lnTo>
                    <a:lnTo>
                      <a:pt x="284556" y="170915"/>
                    </a:lnTo>
                    <a:lnTo>
                      <a:pt x="284859" y="169703"/>
                    </a:lnTo>
                    <a:lnTo>
                      <a:pt x="285768" y="168794"/>
                    </a:lnTo>
                    <a:lnTo>
                      <a:pt x="288950" y="168946"/>
                    </a:lnTo>
                    <a:lnTo>
                      <a:pt x="294405" y="168036"/>
                    </a:lnTo>
                    <a:lnTo>
                      <a:pt x="295314" y="167430"/>
                    </a:lnTo>
                    <a:lnTo>
                      <a:pt x="296375" y="165915"/>
                    </a:lnTo>
                    <a:lnTo>
                      <a:pt x="295163" y="164248"/>
                    </a:lnTo>
                    <a:lnTo>
                      <a:pt x="295617" y="163188"/>
                    </a:lnTo>
                    <a:lnTo>
                      <a:pt x="300163" y="163339"/>
                    </a:lnTo>
                    <a:lnTo>
                      <a:pt x="301830" y="162279"/>
                    </a:lnTo>
                    <a:lnTo>
                      <a:pt x="301375" y="161521"/>
                    </a:lnTo>
                    <a:lnTo>
                      <a:pt x="300314" y="160915"/>
                    </a:lnTo>
                    <a:lnTo>
                      <a:pt x="300011" y="159703"/>
                    </a:lnTo>
                    <a:lnTo>
                      <a:pt x="304557" y="160309"/>
                    </a:lnTo>
                    <a:lnTo>
                      <a:pt x="304860" y="159248"/>
                    </a:lnTo>
                    <a:lnTo>
                      <a:pt x="305163" y="154551"/>
                    </a:lnTo>
                    <a:lnTo>
                      <a:pt x="305466" y="153339"/>
                    </a:lnTo>
                    <a:lnTo>
                      <a:pt x="306830" y="151521"/>
                    </a:lnTo>
                    <a:lnTo>
                      <a:pt x="307587" y="149248"/>
                    </a:lnTo>
                    <a:lnTo>
                      <a:pt x="308497" y="148339"/>
                    </a:lnTo>
                    <a:lnTo>
                      <a:pt x="310315" y="148793"/>
                    </a:lnTo>
                    <a:lnTo>
                      <a:pt x="312285" y="151369"/>
                    </a:lnTo>
                    <a:lnTo>
                      <a:pt x="314557" y="150763"/>
                    </a:lnTo>
                    <a:lnTo>
                      <a:pt x="318042" y="147884"/>
                    </a:lnTo>
                    <a:lnTo>
                      <a:pt x="322740" y="151672"/>
                    </a:lnTo>
                    <a:lnTo>
                      <a:pt x="327740" y="153945"/>
                    </a:lnTo>
                    <a:lnTo>
                      <a:pt x="329103" y="153339"/>
                    </a:lnTo>
                    <a:lnTo>
                      <a:pt x="330922" y="151672"/>
                    </a:lnTo>
                    <a:lnTo>
                      <a:pt x="336376" y="150915"/>
                    </a:lnTo>
                    <a:lnTo>
                      <a:pt x="341073" y="150915"/>
                    </a:lnTo>
                    <a:lnTo>
                      <a:pt x="343801" y="149854"/>
                    </a:lnTo>
                    <a:lnTo>
                      <a:pt x="349256" y="151975"/>
                    </a:lnTo>
                    <a:lnTo>
                      <a:pt x="356528" y="150915"/>
                    </a:lnTo>
                    <a:lnTo>
                      <a:pt x="353195" y="142278"/>
                    </a:lnTo>
                    <a:close/>
                    <a:moveTo>
                      <a:pt x="204553" y="418500"/>
                    </a:moveTo>
                    <a:lnTo>
                      <a:pt x="203189" y="419409"/>
                    </a:lnTo>
                    <a:lnTo>
                      <a:pt x="202735" y="421076"/>
                    </a:lnTo>
                    <a:lnTo>
                      <a:pt x="202432" y="421379"/>
                    </a:lnTo>
                    <a:lnTo>
                      <a:pt x="203189" y="423046"/>
                    </a:lnTo>
                    <a:lnTo>
                      <a:pt x="203947" y="421682"/>
                    </a:lnTo>
                    <a:lnTo>
                      <a:pt x="204705" y="420773"/>
                    </a:lnTo>
                    <a:lnTo>
                      <a:pt x="206675" y="419409"/>
                    </a:lnTo>
                    <a:lnTo>
                      <a:pt x="206675" y="418955"/>
                    </a:lnTo>
                    <a:lnTo>
                      <a:pt x="204553" y="418500"/>
                    </a:lnTo>
                    <a:close/>
                    <a:moveTo>
                      <a:pt x="218645" y="481381"/>
                    </a:moveTo>
                    <a:lnTo>
                      <a:pt x="216069" y="484109"/>
                    </a:lnTo>
                    <a:lnTo>
                      <a:pt x="217432" y="485927"/>
                    </a:lnTo>
                    <a:lnTo>
                      <a:pt x="218796" y="486078"/>
                    </a:lnTo>
                    <a:lnTo>
                      <a:pt x="219251" y="483654"/>
                    </a:lnTo>
                    <a:lnTo>
                      <a:pt x="224099" y="481987"/>
                    </a:lnTo>
                    <a:lnTo>
                      <a:pt x="222736" y="481381"/>
                    </a:lnTo>
                    <a:lnTo>
                      <a:pt x="218645" y="48138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58072AFF-738E-40DF-A2C7-A728F8763845}"/>
                  </a:ext>
                </a:extLst>
              </p:cNvPr>
              <p:cNvSpPr/>
              <p:nvPr/>
            </p:nvSpPr>
            <p:spPr>
              <a:xfrm>
                <a:off x="6374343" y="3948486"/>
                <a:ext cx="459259" cy="377438"/>
              </a:xfrm>
              <a:custGeom>
                <a:avLst/>
                <a:gdLst>
                  <a:gd name="connsiteX0" fmla="*/ 458199 w 459259"/>
                  <a:gd name="connsiteY0" fmla="*/ 116974 h 377438"/>
                  <a:gd name="connsiteX1" fmla="*/ 451683 w 459259"/>
                  <a:gd name="connsiteY1" fmla="*/ 112883 h 377438"/>
                  <a:gd name="connsiteX2" fmla="*/ 450320 w 459259"/>
                  <a:gd name="connsiteY2" fmla="*/ 110913 h 377438"/>
                  <a:gd name="connsiteX3" fmla="*/ 449411 w 459259"/>
                  <a:gd name="connsiteY3" fmla="*/ 111519 h 377438"/>
                  <a:gd name="connsiteX4" fmla="*/ 448047 w 459259"/>
                  <a:gd name="connsiteY4" fmla="*/ 111974 h 377438"/>
                  <a:gd name="connsiteX5" fmla="*/ 446077 w 459259"/>
                  <a:gd name="connsiteY5" fmla="*/ 109701 h 377438"/>
                  <a:gd name="connsiteX6" fmla="*/ 444562 w 459259"/>
                  <a:gd name="connsiteY6" fmla="*/ 107428 h 377438"/>
                  <a:gd name="connsiteX7" fmla="*/ 440471 w 459259"/>
                  <a:gd name="connsiteY7" fmla="*/ 103337 h 377438"/>
                  <a:gd name="connsiteX8" fmla="*/ 435168 w 459259"/>
                  <a:gd name="connsiteY8" fmla="*/ 99549 h 377438"/>
                  <a:gd name="connsiteX9" fmla="*/ 431531 w 459259"/>
                  <a:gd name="connsiteY9" fmla="*/ 98792 h 377438"/>
                  <a:gd name="connsiteX10" fmla="*/ 429713 w 459259"/>
                  <a:gd name="connsiteY10" fmla="*/ 97882 h 377438"/>
                  <a:gd name="connsiteX11" fmla="*/ 428046 w 459259"/>
                  <a:gd name="connsiteY11" fmla="*/ 95913 h 377438"/>
                  <a:gd name="connsiteX12" fmla="*/ 425016 w 459259"/>
                  <a:gd name="connsiteY12" fmla="*/ 88337 h 377438"/>
                  <a:gd name="connsiteX13" fmla="*/ 421985 w 459259"/>
                  <a:gd name="connsiteY13" fmla="*/ 74397 h 377438"/>
                  <a:gd name="connsiteX14" fmla="*/ 422440 w 459259"/>
                  <a:gd name="connsiteY14" fmla="*/ 68487 h 377438"/>
                  <a:gd name="connsiteX15" fmla="*/ 420470 w 459259"/>
                  <a:gd name="connsiteY15" fmla="*/ 59245 h 377438"/>
                  <a:gd name="connsiteX16" fmla="*/ 420318 w 459259"/>
                  <a:gd name="connsiteY16" fmla="*/ 51517 h 377438"/>
                  <a:gd name="connsiteX17" fmla="*/ 421379 w 459259"/>
                  <a:gd name="connsiteY17" fmla="*/ 46820 h 377438"/>
                  <a:gd name="connsiteX18" fmla="*/ 419864 w 459259"/>
                  <a:gd name="connsiteY18" fmla="*/ 41820 h 377438"/>
                  <a:gd name="connsiteX19" fmla="*/ 419409 w 459259"/>
                  <a:gd name="connsiteY19" fmla="*/ 37274 h 377438"/>
                  <a:gd name="connsiteX20" fmla="*/ 419107 w 459259"/>
                  <a:gd name="connsiteY20" fmla="*/ 34850 h 377438"/>
                  <a:gd name="connsiteX21" fmla="*/ 419258 w 459259"/>
                  <a:gd name="connsiteY21" fmla="*/ 31365 h 377438"/>
                  <a:gd name="connsiteX22" fmla="*/ 421076 w 459259"/>
                  <a:gd name="connsiteY22" fmla="*/ 32123 h 377438"/>
                  <a:gd name="connsiteX23" fmla="*/ 422288 w 459259"/>
                  <a:gd name="connsiteY23" fmla="*/ 33183 h 377438"/>
                  <a:gd name="connsiteX24" fmla="*/ 422440 w 459259"/>
                  <a:gd name="connsiteY24" fmla="*/ 32274 h 377438"/>
                  <a:gd name="connsiteX25" fmla="*/ 422288 w 459259"/>
                  <a:gd name="connsiteY25" fmla="*/ 31213 h 377438"/>
                  <a:gd name="connsiteX26" fmla="*/ 420925 w 459259"/>
                  <a:gd name="connsiteY26" fmla="*/ 28941 h 377438"/>
                  <a:gd name="connsiteX27" fmla="*/ 417440 w 459259"/>
                  <a:gd name="connsiteY27" fmla="*/ 25001 h 377438"/>
                  <a:gd name="connsiteX28" fmla="*/ 413197 w 459259"/>
                  <a:gd name="connsiteY28" fmla="*/ 17576 h 377438"/>
                  <a:gd name="connsiteX29" fmla="*/ 411985 w 459259"/>
                  <a:gd name="connsiteY29" fmla="*/ 12425 h 377438"/>
                  <a:gd name="connsiteX30" fmla="*/ 411682 w 459259"/>
                  <a:gd name="connsiteY30" fmla="*/ 5909 h 377438"/>
                  <a:gd name="connsiteX31" fmla="*/ 402742 w 459259"/>
                  <a:gd name="connsiteY31" fmla="*/ 5909 h 377438"/>
                  <a:gd name="connsiteX32" fmla="*/ 393651 w 459259"/>
                  <a:gd name="connsiteY32" fmla="*/ 5909 h 377438"/>
                  <a:gd name="connsiteX33" fmla="*/ 384711 w 459259"/>
                  <a:gd name="connsiteY33" fmla="*/ 5909 h 377438"/>
                  <a:gd name="connsiteX34" fmla="*/ 375772 w 459259"/>
                  <a:gd name="connsiteY34" fmla="*/ 5909 h 377438"/>
                  <a:gd name="connsiteX35" fmla="*/ 366832 w 459259"/>
                  <a:gd name="connsiteY35" fmla="*/ 5909 h 377438"/>
                  <a:gd name="connsiteX36" fmla="*/ 357741 w 459259"/>
                  <a:gd name="connsiteY36" fmla="*/ 5909 h 377438"/>
                  <a:gd name="connsiteX37" fmla="*/ 348801 w 459259"/>
                  <a:gd name="connsiteY37" fmla="*/ 5909 h 377438"/>
                  <a:gd name="connsiteX38" fmla="*/ 339861 w 459259"/>
                  <a:gd name="connsiteY38" fmla="*/ 5909 h 377438"/>
                  <a:gd name="connsiteX39" fmla="*/ 330921 w 459259"/>
                  <a:gd name="connsiteY39" fmla="*/ 5909 h 377438"/>
                  <a:gd name="connsiteX40" fmla="*/ 321830 w 459259"/>
                  <a:gd name="connsiteY40" fmla="*/ 5909 h 377438"/>
                  <a:gd name="connsiteX41" fmla="*/ 312890 w 459259"/>
                  <a:gd name="connsiteY41" fmla="*/ 5909 h 377438"/>
                  <a:gd name="connsiteX42" fmla="*/ 303951 w 459259"/>
                  <a:gd name="connsiteY42" fmla="*/ 5909 h 377438"/>
                  <a:gd name="connsiteX43" fmla="*/ 295011 w 459259"/>
                  <a:gd name="connsiteY43" fmla="*/ 5909 h 377438"/>
                  <a:gd name="connsiteX44" fmla="*/ 285920 w 459259"/>
                  <a:gd name="connsiteY44" fmla="*/ 5909 h 377438"/>
                  <a:gd name="connsiteX45" fmla="*/ 276980 w 459259"/>
                  <a:gd name="connsiteY45" fmla="*/ 5909 h 377438"/>
                  <a:gd name="connsiteX46" fmla="*/ 268040 w 459259"/>
                  <a:gd name="connsiteY46" fmla="*/ 5909 h 377438"/>
                  <a:gd name="connsiteX47" fmla="*/ 262889 w 459259"/>
                  <a:gd name="connsiteY47" fmla="*/ 5909 h 377438"/>
                  <a:gd name="connsiteX48" fmla="*/ 263798 w 459259"/>
                  <a:gd name="connsiteY48" fmla="*/ 3333 h 377438"/>
                  <a:gd name="connsiteX49" fmla="*/ 264404 w 459259"/>
                  <a:gd name="connsiteY49" fmla="*/ 1515 h 377438"/>
                  <a:gd name="connsiteX50" fmla="*/ 263798 w 459259"/>
                  <a:gd name="connsiteY50" fmla="*/ 303 h 377438"/>
                  <a:gd name="connsiteX51" fmla="*/ 261980 w 459259"/>
                  <a:gd name="connsiteY51" fmla="*/ 0 h 377438"/>
                  <a:gd name="connsiteX52" fmla="*/ 260767 w 459259"/>
                  <a:gd name="connsiteY52" fmla="*/ 455 h 377438"/>
                  <a:gd name="connsiteX53" fmla="*/ 258192 w 459259"/>
                  <a:gd name="connsiteY53" fmla="*/ 5758 h 377438"/>
                  <a:gd name="connsiteX54" fmla="*/ 256828 w 459259"/>
                  <a:gd name="connsiteY54" fmla="*/ 5909 h 377438"/>
                  <a:gd name="connsiteX55" fmla="*/ 253494 w 459259"/>
                  <a:gd name="connsiteY55" fmla="*/ 5909 h 377438"/>
                  <a:gd name="connsiteX56" fmla="*/ 243039 w 459259"/>
                  <a:gd name="connsiteY56" fmla="*/ 5909 h 377438"/>
                  <a:gd name="connsiteX57" fmla="*/ 232584 w 459259"/>
                  <a:gd name="connsiteY57" fmla="*/ 5909 h 377438"/>
                  <a:gd name="connsiteX58" fmla="*/ 222281 w 459259"/>
                  <a:gd name="connsiteY58" fmla="*/ 5909 h 377438"/>
                  <a:gd name="connsiteX59" fmla="*/ 211826 w 459259"/>
                  <a:gd name="connsiteY59" fmla="*/ 5909 h 377438"/>
                  <a:gd name="connsiteX60" fmla="*/ 201371 w 459259"/>
                  <a:gd name="connsiteY60" fmla="*/ 5909 h 377438"/>
                  <a:gd name="connsiteX61" fmla="*/ 190916 w 459259"/>
                  <a:gd name="connsiteY61" fmla="*/ 5909 h 377438"/>
                  <a:gd name="connsiteX62" fmla="*/ 180461 w 459259"/>
                  <a:gd name="connsiteY62" fmla="*/ 5909 h 377438"/>
                  <a:gd name="connsiteX63" fmla="*/ 170006 w 459259"/>
                  <a:gd name="connsiteY63" fmla="*/ 5909 h 377438"/>
                  <a:gd name="connsiteX64" fmla="*/ 159551 w 459259"/>
                  <a:gd name="connsiteY64" fmla="*/ 5909 h 377438"/>
                  <a:gd name="connsiteX65" fmla="*/ 149096 w 459259"/>
                  <a:gd name="connsiteY65" fmla="*/ 5909 h 377438"/>
                  <a:gd name="connsiteX66" fmla="*/ 138641 w 459259"/>
                  <a:gd name="connsiteY66" fmla="*/ 5909 h 377438"/>
                  <a:gd name="connsiteX67" fmla="*/ 128186 w 459259"/>
                  <a:gd name="connsiteY67" fmla="*/ 5909 h 377438"/>
                  <a:gd name="connsiteX68" fmla="*/ 117732 w 459259"/>
                  <a:gd name="connsiteY68" fmla="*/ 5909 h 377438"/>
                  <a:gd name="connsiteX69" fmla="*/ 107277 w 459259"/>
                  <a:gd name="connsiteY69" fmla="*/ 5909 h 377438"/>
                  <a:gd name="connsiteX70" fmla="*/ 96822 w 459259"/>
                  <a:gd name="connsiteY70" fmla="*/ 5909 h 377438"/>
                  <a:gd name="connsiteX71" fmla="*/ 86367 w 459259"/>
                  <a:gd name="connsiteY71" fmla="*/ 5909 h 377438"/>
                  <a:gd name="connsiteX72" fmla="*/ 86367 w 459259"/>
                  <a:gd name="connsiteY72" fmla="*/ 20152 h 377438"/>
                  <a:gd name="connsiteX73" fmla="*/ 86367 w 459259"/>
                  <a:gd name="connsiteY73" fmla="*/ 34244 h 377438"/>
                  <a:gd name="connsiteX74" fmla="*/ 86367 w 459259"/>
                  <a:gd name="connsiteY74" fmla="*/ 48487 h 377438"/>
                  <a:gd name="connsiteX75" fmla="*/ 86367 w 459259"/>
                  <a:gd name="connsiteY75" fmla="*/ 62578 h 377438"/>
                  <a:gd name="connsiteX76" fmla="*/ 86215 w 459259"/>
                  <a:gd name="connsiteY76" fmla="*/ 62578 h 377438"/>
                  <a:gd name="connsiteX77" fmla="*/ 86064 w 459259"/>
                  <a:gd name="connsiteY77" fmla="*/ 62730 h 377438"/>
                  <a:gd name="connsiteX78" fmla="*/ 86064 w 459259"/>
                  <a:gd name="connsiteY78" fmla="*/ 62730 h 377438"/>
                  <a:gd name="connsiteX79" fmla="*/ 85912 w 459259"/>
                  <a:gd name="connsiteY79" fmla="*/ 62730 h 377438"/>
                  <a:gd name="connsiteX80" fmla="*/ 79246 w 459259"/>
                  <a:gd name="connsiteY80" fmla="*/ 62730 h 377438"/>
                  <a:gd name="connsiteX81" fmla="*/ 72427 w 459259"/>
                  <a:gd name="connsiteY81" fmla="*/ 62730 h 377438"/>
                  <a:gd name="connsiteX82" fmla="*/ 65760 w 459259"/>
                  <a:gd name="connsiteY82" fmla="*/ 62730 h 377438"/>
                  <a:gd name="connsiteX83" fmla="*/ 58942 w 459259"/>
                  <a:gd name="connsiteY83" fmla="*/ 62730 h 377438"/>
                  <a:gd name="connsiteX84" fmla="*/ 58942 w 459259"/>
                  <a:gd name="connsiteY84" fmla="*/ 66215 h 377438"/>
                  <a:gd name="connsiteX85" fmla="*/ 58942 w 459259"/>
                  <a:gd name="connsiteY85" fmla="*/ 69851 h 377438"/>
                  <a:gd name="connsiteX86" fmla="*/ 58942 w 459259"/>
                  <a:gd name="connsiteY86" fmla="*/ 73336 h 377438"/>
                  <a:gd name="connsiteX87" fmla="*/ 58942 w 459259"/>
                  <a:gd name="connsiteY87" fmla="*/ 76821 h 377438"/>
                  <a:gd name="connsiteX88" fmla="*/ 58942 w 459259"/>
                  <a:gd name="connsiteY88" fmla="*/ 89397 h 377438"/>
                  <a:gd name="connsiteX89" fmla="*/ 58942 w 459259"/>
                  <a:gd name="connsiteY89" fmla="*/ 101974 h 377438"/>
                  <a:gd name="connsiteX90" fmla="*/ 58942 w 459259"/>
                  <a:gd name="connsiteY90" fmla="*/ 114550 h 377438"/>
                  <a:gd name="connsiteX91" fmla="*/ 58942 w 459259"/>
                  <a:gd name="connsiteY91" fmla="*/ 127126 h 377438"/>
                  <a:gd name="connsiteX92" fmla="*/ 59093 w 459259"/>
                  <a:gd name="connsiteY92" fmla="*/ 139551 h 377438"/>
                  <a:gd name="connsiteX93" fmla="*/ 59093 w 459259"/>
                  <a:gd name="connsiteY93" fmla="*/ 152127 h 377438"/>
                  <a:gd name="connsiteX94" fmla="*/ 59093 w 459259"/>
                  <a:gd name="connsiteY94" fmla="*/ 164551 h 377438"/>
                  <a:gd name="connsiteX95" fmla="*/ 59093 w 459259"/>
                  <a:gd name="connsiteY95" fmla="*/ 176976 h 377438"/>
                  <a:gd name="connsiteX96" fmla="*/ 59093 w 459259"/>
                  <a:gd name="connsiteY96" fmla="*/ 181067 h 377438"/>
                  <a:gd name="connsiteX97" fmla="*/ 58638 w 459259"/>
                  <a:gd name="connsiteY97" fmla="*/ 182734 h 377438"/>
                  <a:gd name="connsiteX98" fmla="*/ 58487 w 459259"/>
                  <a:gd name="connsiteY98" fmla="*/ 183037 h 377438"/>
                  <a:gd name="connsiteX99" fmla="*/ 58033 w 459259"/>
                  <a:gd name="connsiteY99" fmla="*/ 183189 h 377438"/>
                  <a:gd name="connsiteX100" fmla="*/ 51517 w 459259"/>
                  <a:gd name="connsiteY100" fmla="*/ 182128 h 377438"/>
                  <a:gd name="connsiteX101" fmla="*/ 48638 w 459259"/>
                  <a:gd name="connsiteY101" fmla="*/ 182128 h 377438"/>
                  <a:gd name="connsiteX102" fmla="*/ 44699 w 459259"/>
                  <a:gd name="connsiteY102" fmla="*/ 182886 h 377438"/>
                  <a:gd name="connsiteX103" fmla="*/ 38789 w 459259"/>
                  <a:gd name="connsiteY103" fmla="*/ 183492 h 377438"/>
                  <a:gd name="connsiteX104" fmla="*/ 35001 w 459259"/>
                  <a:gd name="connsiteY104" fmla="*/ 183340 h 377438"/>
                  <a:gd name="connsiteX105" fmla="*/ 32426 w 459259"/>
                  <a:gd name="connsiteY105" fmla="*/ 185461 h 377438"/>
                  <a:gd name="connsiteX106" fmla="*/ 30304 w 459259"/>
                  <a:gd name="connsiteY106" fmla="*/ 188037 h 377438"/>
                  <a:gd name="connsiteX107" fmla="*/ 31365 w 459259"/>
                  <a:gd name="connsiteY107" fmla="*/ 194098 h 377438"/>
                  <a:gd name="connsiteX108" fmla="*/ 31062 w 459259"/>
                  <a:gd name="connsiteY108" fmla="*/ 196219 h 377438"/>
                  <a:gd name="connsiteX109" fmla="*/ 30304 w 459259"/>
                  <a:gd name="connsiteY109" fmla="*/ 198341 h 377438"/>
                  <a:gd name="connsiteX110" fmla="*/ 28486 w 459259"/>
                  <a:gd name="connsiteY110" fmla="*/ 200159 h 377438"/>
                  <a:gd name="connsiteX111" fmla="*/ 26668 w 459259"/>
                  <a:gd name="connsiteY111" fmla="*/ 201523 h 377438"/>
                  <a:gd name="connsiteX112" fmla="*/ 25607 w 459259"/>
                  <a:gd name="connsiteY112" fmla="*/ 202886 h 377438"/>
                  <a:gd name="connsiteX113" fmla="*/ 24395 w 459259"/>
                  <a:gd name="connsiteY113" fmla="*/ 205614 h 377438"/>
                  <a:gd name="connsiteX114" fmla="*/ 23334 w 459259"/>
                  <a:gd name="connsiteY114" fmla="*/ 206977 h 377438"/>
                  <a:gd name="connsiteX115" fmla="*/ 23486 w 459259"/>
                  <a:gd name="connsiteY115" fmla="*/ 208644 h 377438"/>
                  <a:gd name="connsiteX116" fmla="*/ 23183 w 459259"/>
                  <a:gd name="connsiteY116" fmla="*/ 210462 h 377438"/>
                  <a:gd name="connsiteX117" fmla="*/ 22122 w 459259"/>
                  <a:gd name="connsiteY117" fmla="*/ 211523 h 377438"/>
                  <a:gd name="connsiteX118" fmla="*/ 19395 w 459259"/>
                  <a:gd name="connsiteY118" fmla="*/ 212129 h 377438"/>
                  <a:gd name="connsiteX119" fmla="*/ 17576 w 459259"/>
                  <a:gd name="connsiteY119" fmla="*/ 213038 h 377438"/>
                  <a:gd name="connsiteX120" fmla="*/ 16213 w 459259"/>
                  <a:gd name="connsiteY120" fmla="*/ 214402 h 377438"/>
                  <a:gd name="connsiteX121" fmla="*/ 15152 w 459259"/>
                  <a:gd name="connsiteY121" fmla="*/ 215311 h 377438"/>
                  <a:gd name="connsiteX122" fmla="*/ 15758 w 459259"/>
                  <a:gd name="connsiteY122" fmla="*/ 216675 h 377438"/>
                  <a:gd name="connsiteX123" fmla="*/ 16365 w 459259"/>
                  <a:gd name="connsiteY123" fmla="*/ 218341 h 377438"/>
                  <a:gd name="connsiteX124" fmla="*/ 16819 w 459259"/>
                  <a:gd name="connsiteY124" fmla="*/ 221069 h 377438"/>
                  <a:gd name="connsiteX125" fmla="*/ 17122 w 459259"/>
                  <a:gd name="connsiteY125" fmla="*/ 222736 h 377438"/>
                  <a:gd name="connsiteX126" fmla="*/ 18486 w 459259"/>
                  <a:gd name="connsiteY126" fmla="*/ 223948 h 377438"/>
                  <a:gd name="connsiteX127" fmla="*/ 19243 w 459259"/>
                  <a:gd name="connsiteY127" fmla="*/ 225008 h 377438"/>
                  <a:gd name="connsiteX128" fmla="*/ 19546 w 459259"/>
                  <a:gd name="connsiteY128" fmla="*/ 226069 h 377438"/>
                  <a:gd name="connsiteX129" fmla="*/ 18788 w 459259"/>
                  <a:gd name="connsiteY129" fmla="*/ 226978 h 377438"/>
                  <a:gd name="connsiteX130" fmla="*/ 15455 w 459259"/>
                  <a:gd name="connsiteY130" fmla="*/ 229099 h 377438"/>
                  <a:gd name="connsiteX131" fmla="*/ 14091 w 459259"/>
                  <a:gd name="connsiteY131" fmla="*/ 229857 h 377438"/>
                  <a:gd name="connsiteX132" fmla="*/ 12576 w 459259"/>
                  <a:gd name="connsiteY132" fmla="*/ 230766 h 377438"/>
                  <a:gd name="connsiteX133" fmla="*/ 11970 w 459259"/>
                  <a:gd name="connsiteY133" fmla="*/ 231221 h 377438"/>
                  <a:gd name="connsiteX134" fmla="*/ 9546 w 459259"/>
                  <a:gd name="connsiteY134" fmla="*/ 233039 h 377438"/>
                  <a:gd name="connsiteX135" fmla="*/ 8334 w 459259"/>
                  <a:gd name="connsiteY135" fmla="*/ 234706 h 377438"/>
                  <a:gd name="connsiteX136" fmla="*/ 7728 w 459259"/>
                  <a:gd name="connsiteY136" fmla="*/ 236069 h 377438"/>
                  <a:gd name="connsiteX137" fmla="*/ 7728 w 459259"/>
                  <a:gd name="connsiteY137" fmla="*/ 238039 h 377438"/>
                  <a:gd name="connsiteX138" fmla="*/ 8940 w 459259"/>
                  <a:gd name="connsiteY138" fmla="*/ 240918 h 377438"/>
                  <a:gd name="connsiteX139" fmla="*/ 10303 w 459259"/>
                  <a:gd name="connsiteY139" fmla="*/ 243342 h 377438"/>
                  <a:gd name="connsiteX140" fmla="*/ 10910 w 459259"/>
                  <a:gd name="connsiteY140" fmla="*/ 245161 h 377438"/>
                  <a:gd name="connsiteX141" fmla="*/ 11212 w 459259"/>
                  <a:gd name="connsiteY141" fmla="*/ 247282 h 377438"/>
                  <a:gd name="connsiteX142" fmla="*/ 11061 w 459259"/>
                  <a:gd name="connsiteY142" fmla="*/ 249100 h 377438"/>
                  <a:gd name="connsiteX143" fmla="*/ 10303 w 459259"/>
                  <a:gd name="connsiteY143" fmla="*/ 250767 h 377438"/>
                  <a:gd name="connsiteX144" fmla="*/ 9091 w 459259"/>
                  <a:gd name="connsiteY144" fmla="*/ 252282 h 377438"/>
                  <a:gd name="connsiteX145" fmla="*/ 4546 w 459259"/>
                  <a:gd name="connsiteY145" fmla="*/ 255161 h 377438"/>
                  <a:gd name="connsiteX146" fmla="*/ 2273 w 459259"/>
                  <a:gd name="connsiteY146" fmla="*/ 258191 h 377438"/>
                  <a:gd name="connsiteX147" fmla="*/ 455 w 459259"/>
                  <a:gd name="connsiteY147" fmla="*/ 261979 h 377438"/>
                  <a:gd name="connsiteX148" fmla="*/ 0 w 459259"/>
                  <a:gd name="connsiteY148" fmla="*/ 264101 h 377438"/>
                  <a:gd name="connsiteX149" fmla="*/ 455 w 459259"/>
                  <a:gd name="connsiteY149" fmla="*/ 265464 h 377438"/>
                  <a:gd name="connsiteX150" fmla="*/ 1515 w 459259"/>
                  <a:gd name="connsiteY150" fmla="*/ 266525 h 377438"/>
                  <a:gd name="connsiteX151" fmla="*/ 2879 w 459259"/>
                  <a:gd name="connsiteY151" fmla="*/ 267131 h 377438"/>
                  <a:gd name="connsiteX152" fmla="*/ 4849 w 459259"/>
                  <a:gd name="connsiteY152" fmla="*/ 267282 h 377438"/>
                  <a:gd name="connsiteX153" fmla="*/ 8031 w 459259"/>
                  <a:gd name="connsiteY153" fmla="*/ 266676 h 377438"/>
                  <a:gd name="connsiteX154" fmla="*/ 11212 w 459259"/>
                  <a:gd name="connsiteY154" fmla="*/ 266222 h 377438"/>
                  <a:gd name="connsiteX155" fmla="*/ 14395 w 459259"/>
                  <a:gd name="connsiteY155" fmla="*/ 267586 h 377438"/>
                  <a:gd name="connsiteX156" fmla="*/ 16061 w 459259"/>
                  <a:gd name="connsiteY156" fmla="*/ 270768 h 377438"/>
                  <a:gd name="connsiteX157" fmla="*/ 15455 w 459259"/>
                  <a:gd name="connsiteY157" fmla="*/ 273040 h 377438"/>
                  <a:gd name="connsiteX158" fmla="*/ 16667 w 459259"/>
                  <a:gd name="connsiteY158" fmla="*/ 277283 h 377438"/>
                  <a:gd name="connsiteX159" fmla="*/ 17728 w 459259"/>
                  <a:gd name="connsiteY159" fmla="*/ 282283 h 377438"/>
                  <a:gd name="connsiteX160" fmla="*/ 17728 w 459259"/>
                  <a:gd name="connsiteY160" fmla="*/ 283950 h 377438"/>
                  <a:gd name="connsiteX161" fmla="*/ 18183 w 459259"/>
                  <a:gd name="connsiteY161" fmla="*/ 284707 h 377438"/>
                  <a:gd name="connsiteX162" fmla="*/ 20153 w 459259"/>
                  <a:gd name="connsiteY162" fmla="*/ 285010 h 377438"/>
                  <a:gd name="connsiteX163" fmla="*/ 20607 w 459259"/>
                  <a:gd name="connsiteY163" fmla="*/ 286223 h 377438"/>
                  <a:gd name="connsiteX164" fmla="*/ 20001 w 459259"/>
                  <a:gd name="connsiteY164" fmla="*/ 295011 h 377438"/>
                  <a:gd name="connsiteX165" fmla="*/ 20910 w 459259"/>
                  <a:gd name="connsiteY165" fmla="*/ 297435 h 377438"/>
                  <a:gd name="connsiteX166" fmla="*/ 22274 w 459259"/>
                  <a:gd name="connsiteY166" fmla="*/ 299253 h 377438"/>
                  <a:gd name="connsiteX167" fmla="*/ 23789 w 459259"/>
                  <a:gd name="connsiteY167" fmla="*/ 300162 h 377438"/>
                  <a:gd name="connsiteX168" fmla="*/ 25455 w 459259"/>
                  <a:gd name="connsiteY168" fmla="*/ 301375 h 377438"/>
                  <a:gd name="connsiteX169" fmla="*/ 26213 w 459259"/>
                  <a:gd name="connsiteY169" fmla="*/ 302132 h 377438"/>
                  <a:gd name="connsiteX170" fmla="*/ 28031 w 459259"/>
                  <a:gd name="connsiteY170" fmla="*/ 302284 h 377438"/>
                  <a:gd name="connsiteX171" fmla="*/ 30001 w 459259"/>
                  <a:gd name="connsiteY171" fmla="*/ 303950 h 377438"/>
                  <a:gd name="connsiteX172" fmla="*/ 30607 w 459259"/>
                  <a:gd name="connsiteY172" fmla="*/ 306072 h 377438"/>
                  <a:gd name="connsiteX173" fmla="*/ 30456 w 459259"/>
                  <a:gd name="connsiteY173" fmla="*/ 308193 h 377438"/>
                  <a:gd name="connsiteX174" fmla="*/ 29243 w 459259"/>
                  <a:gd name="connsiteY174" fmla="*/ 312587 h 377438"/>
                  <a:gd name="connsiteX175" fmla="*/ 28334 w 459259"/>
                  <a:gd name="connsiteY175" fmla="*/ 315618 h 377438"/>
                  <a:gd name="connsiteX176" fmla="*/ 30304 w 459259"/>
                  <a:gd name="connsiteY176" fmla="*/ 319103 h 377438"/>
                  <a:gd name="connsiteX177" fmla="*/ 31213 w 459259"/>
                  <a:gd name="connsiteY177" fmla="*/ 320315 h 377438"/>
                  <a:gd name="connsiteX178" fmla="*/ 39093 w 459259"/>
                  <a:gd name="connsiteY178" fmla="*/ 328345 h 377438"/>
                  <a:gd name="connsiteX179" fmla="*/ 40759 w 459259"/>
                  <a:gd name="connsiteY179" fmla="*/ 330315 h 377438"/>
                  <a:gd name="connsiteX180" fmla="*/ 44699 w 459259"/>
                  <a:gd name="connsiteY180" fmla="*/ 336073 h 377438"/>
                  <a:gd name="connsiteX181" fmla="*/ 47123 w 459259"/>
                  <a:gd name="connsiteY181" fmla="*/ 340012 h 377438"/>
                  <a:gd name="connsiteX182" fmla="*/ 49850 w 459259"/>
                  <a:gd name="connsiteY182" fmla="*/ 345770 h 377438"/>
                  <a:gd name="connsiteX183" fmla="*/ 50153 w 459259"/>
                  <a:gd name="connsiteY183" fmla="*/ 348801 h 377438"/>
                  <a:gd name="connsiteX184" fmla="*/ 49699 w 459259"/>
                  <a:gd name="connsiteY184" fmla="*/ 351528 h 377438"/>
                  <a:gd name="connsiteX185" fmla="*/ 49244 w 459259"/>
                  <a:gd name="connsiteY185" fmla="*/ 358953 h 377438"/>
                  <a:gd name="connsiteX186" fmla="*/ 48487 w 459259"/>
                  <a:gd name="connsiteY186" fmla="*/ 361074 h 377438"/>
                  <a:gd name="connsiteX187" fmla="*/ 45002 w 459259"/>
                  <a:gd name="connsiteY187" fmla="*/ 365165 h 377438"/>
                  <a:gd name="connsiteX188" fmla="*/ 44850 w 459259"/>
                  <a:gd name="connsiteY188" fmla="*/ 366983 h 377438"/>
                  <a:gd name="connsiteX189" fmla="*/ 45456 w 459259"/>
                  <a:gd name="connsiteY189" fmla="*/ 368498 h 377438"/>
                  <a:gd name="connsiteX190" fmla="*/ 46517 w 459259"/>
                  <a:gd name="connsiteY190" fmla="*/ 369104 h 377438"/>
                  <a:gd name="connsiteX191" fmla="*/ 47274 w 459259"/>
                  <a:gd name="connsiteY191" fmla="*/ 369862 h 377438"/>
                  <a:gd name="connsiteX192" fmla="*/ 46820 w 459259"/>
                  <a:gd name="connsiteY192" fmla="*/ 373347 h 377438"/>
                  <a:gd name="connsiteX193" fmla="*/ 48032 w 459259"/>
                  <a:gd name="connsiteY193" fmla="*/ 374711 h 377438"/>
                  <a:gd name="connsiteX194" fmla="*/ 50760 w 459259"/>
                  <a:gd name="connsiteY194" fmla="*/ 375620 h 377438"/>
                  <a:gd name="connsiteX195" fmla="*/ 57427 w 459259"/>
                  <a:gd name="connsiteY195" fmla="*/ 376226 h 377438"/>
                  <a:gd name="connsiteX196" fmla="*/ 60760 w 459259"/>
                  <a:gd name="connsiteY196" fmla="*/ 376832 h 377438"/>
                  <a:gd name="connsiteX197" fmla="*/ 63487 w 459259"/>
                  <a:gd name="connsiteY197" fmla="*/ 377438 h 377438"/>
                  <a:gd name="connsiteX198" fmla="*/ 63942 w 459259"/>
                  <a:gd name="connsiteY198" fmla="*/ 376680 h 377438"/>
                  <a:gd name="connsiteX199" fmla="*/ 65305 w 459259"/>
                  <a:gd name="connsiteY199" fmla="*/ 374711 h 377438"/>
                  <a:gd name="connsiteX200" fmla="*/ 67730 w 459259"/>
                  <a:gd name="connsiteY200" fmla="*/ 373347 h 377438"/>
                  <a:gd name="connsiteX201" fmla="*/ 74094 w 459259"/>
                  <a:gd name="connsiteY201" fmla="*/ 371377 h 377438"/>
                  <a:gd name="connsiteX202" fmla="*/ 74397 w 459259"/>
                  <a:gd name="connsiteY202" fmla="*/ 370620 h 377438"/>
                  <a:gd name="connsiteX203" fmla="*/ 74548 w 459259"/>
                  <a:gd name="connsiteY203" fmla="*/ 368195 h 377438"/>
                  <a:gd name="connsiteX204" fmla="*/ 75003 w 459259"/>
                  <a:gd name="connsiteY204" fmla="*/ 366983 h 377438"/>
                  <a:gd name="connsiteX205" fmla="*/ 77276 w 459259"/>
                  <a:gd name="connsiteY205" fmla="*/ 363347 h 377438"/>
                  <a:gd name="connsiteX206" fmla="*/ 77579 w 459259"/>
                  <a:gd name="connsiteY206" fmla="*/ 361983 h 377438"/>
                  <a:gd name="connsiteX207" fmla="*/ 77579 w 459259"/>
                  <a:gd name="connsiteY207" fmla="*/ 359104 h 377438"/>
                  <a:gd name="connsiteX208" fmla="*/ 77882 w 459259"/>
                  <a:gd name="connsiteY208" fmla="*/ 357589 h 377438"/>
                  <a:gd name="connsiteX209" fmla="*/ 78639 w 459259"/>
                  <a:gd name="connsiteY209" fmla="*/ 356680 h 377438"/>
                  <a:gd name="connsiteX210" fmla="*/ 80306 w 459259"/>
                  <a:gd name="connsiteY210" fmla="*/ 354861 h 377438"/>
                  <a:gd name="connsiteX211" fmla="*/ 80912 w 459259"/>
                  <a:gd name="connsiteY211" fmla="*/ 353801 h 377438"/>
                  <a:gd name="connsiteX212" fmla="*/ 81215 w 459259"/>
                  <a:gd name="connsiteY212" fmla="*/ 351528 h 377438"/>
                  <a:gd name="connsiteX213" fmla="*/ 81064 w 459259"/>
                  <a:gd name="connsiteY213" fmla="*/ 347134 h 377438"/>
                  <a:gd name="connsiteX214" fmla="*/ 81821 w 459259"/>
                  <a:gd name="connsiteY214" fmla="*/ 345316 h 377438"/>
                  <a:gd name="connsiteX215" fmla="*/ 85912 w 459259"/>
                  <a:gd name="connsiteY215" fmla="*/ 341225 h 377438"/>
                  <a:gd name="connsiteX216" fmla="*/ 86973 w 459259"/>
                  <a:gd name="connsiteY216" fmla="*/ 339406 h 377438"/>
                  <a:gd name="connsiteX217" fmla="*/ 87276 w 459259"/>
                  <a:gd name="connsiteY217" fmla="*/ 337740 h 377438"/>
                  <a:gd name="connsiteX218" fmla="*/ 87276 w 459259"/>
                  <a:gd name="connsiteY218" fmla="*/ 336073 h 377438"/>
                  <a:gd name="connsiteX219" fmla="*/ 87579 w 459259"/>
                  <a:gd name="connsiteY219" fmla="*/ 334406 h 377438"/>
                  <a:gd name="connsiteX220" fmla="*/ 88640 w 459259"/>
                  <a:gd name="connsiteY220" fmla="*/ 332891 h 377438"/>
                  <a:gd name="connsiteX221" fmla="*/ 89701 w 459259"/>
                  <a:gd name="connsiteY221" fmla="*/ 332285 h 377438"/>
                  <a:gd name="connsiteX222" fmla="*/ 92731 w 459259"/>
                  <a:gd name="connsiteY222" fmla="*/ 331830 h 377438"/>
                  <a:gd name="connsiteX223" fmla="*/ 94700 w 459259"/>
                  <a:gd name="connsiteY223" fmla="*/ 332133 h 377438"/>
                  <a:gd name="connsiteX224" fmla="*/ 108641 w 459259"/>
                  <a:gd name="connsiteY224" fmla="*/ 329406 h 377438"/>
                  <a:gd name="connsiteX225" fmla="*/ 110307 w 459259"/>
                  <a:gd name="connsiteY225" fmla="*/ 329709 h 377438"/>
                  <a:gd name="connsiteX226" fmla="*/ 111065 w 459259"/>
                  <a:gd name="connsiteY226" fmla="*/ 331376 h 377438"/>
                  <a:gd name="connsiteX227" fmla="*/ 111065 w 459259"/>
                  <a:gd name="connsiteY227" fmla="*/ 334103 h 377438"/>
                  <a:gd name="connsiteX228" fmla="*/ 111216 w 459259"/>
                  <a:gd name="connsiteY228" fmla="*/ 335315 h 377438"/>
                  <a:gd name="connsiteX229" fmla="*/ 111974 w 459259"/>
                  <a:gd name="connsiteY229" fmla="*/ 336224 h 377438"/>
                  <a:gd name="connsiteX230" fmla="*/ 114247 w 459259"/>
                  <a:gd name="connsiteY230" fmla="*/ 337437 h 377438"/>
                  <a:gd name="connsiteX231" fmla="*/ 115762 w 459259"/>
                  <a:gd name="connsiteY231" fmla="*/ 339558 h 377438"/>
                  <a:gd name="connsiteX232" fmla="*/ 116671 w 459259"/>
                  <a:gd name="connsiteY232" fmla="*/ 340467 h 377438"/>
                  <a:gd name="connsiteX233" fmla="*/ 118792 w 459259"/>
                  <a:gd name="connsiteY233" fmla="*/ 341831 h 377438"/>
                  <a:gd name="connsiteX234" fmla="*/ 129247 w 459259"/>
                  <a:gd name="connsiteY234" fmla="*/ 353952 h 377438"/>
                  <a:gd name="connsiteX235" fmla="*/ 132278 w 459259"/>
                  <a:gd name="connsiteY235" fmla="*/ 355013 h 377438"/>
                  <a:gd name="connsiteX236" fmla="*/ 135157 w 459259"/>
                  <a:gd name="connsiteY236" fmla="*/ 354710 h 377438"/>
                  <a:gd name="connsiteX237" fmla="*/ 140763 w 459259"/>
                  <a:gd name="connsiteY237" fmla="*/ 352134 h 377438"/>
                  <a:gd name="connsiteX238" fmla="*/ 143642 w 459259"/>
                  <a:gd name="connsiteY238" fmla="*/ 351528 h 377438"/>
                  <a:gd name="connsiteX239" fmla="*/ 163491 w 459259"/>
                  <a:gd name="connsiteY239" fmla="*/ 352134 h 377438"/>
                  <a:gd name="connsiteX240" fmla="*/ 165612 w 459259"/>
                  <a:gd name="connsiteY240" fmla="*/ 351831 h 377438"/>
                  <a:gd name="connsiteX241" fmla="*/ 165764 w 459259"/>
                  <a:gd name="connsiteY241" fmla="*/ 351831 h 377438"/>
                  <a:gd name="connsiteX242" fmla="*/ 168794 w 459259"/>
                  <a:gd name="connsiteY242" fmla="*/ 357892 h 377438"/>
                  <a:gd name="connsiteX243" fmla="*/ 170309 w 459259"/>
                  <a:gd name="connsiteY243" fmla="*/ 359256 h 377438"/>
                  <a:gd name="connsiteX244" fmla="*/ 192128 w 459259"/>
                  <a:gd name="connsiteY244" fmla="*/ 359407 h 377438"/>
                  <a:gd name="connsiteX245" fmla="*/ 191674 w 459259"/>
                  <a:gd name="connsiteY245" fmla="*/ 357740 h 377438"/>
                  <a:gd name="connsiteX246" fmla="*/ 191977 w 459259"/>
                  <a:gd name="connsiteY246" fmla="*/ 355771 h 377438"/>
                  <a:gd name="connsiteX247" fmla="*/ 194401 w 459259"/>
                  <a:gd name="connsiteY247" fmla="*/ 353195 h 377438"/>
                  <a:gd name="connsiteX248" fmla="*/ 195765 w 459259"/>
                  <a:gd name="connsiteY248" fmla="*/ 351983 h 377438"/>
                  <a:gd name="connsiteX249" fmla="*/ 195765 w 459259"/>
                  <a:gd name="connsiteY249" fmla="*/ 351983 h 377438"/>
                  <a:gd name="connsiteX250" fmla="*/ 196371 w 459259"/>
                  <a:gd name="connsiteY250" fmla="*/ 351528 h 377438"/>
                  <a:gd name="connsiteX251" fmla="*/ 199704 w 459259"/>
                  <a:gd name="connsiteY251" fmla="*/ 349861 h 377438"/>
                  <a:gd name="connsiteX252" fmla="*/ 202887 w 459259"/>
                  <a:gd name="connsiteY252" fmla="*/ 348649 h 377438"/>
                  <a:gd name="connsiteX253" fmla="*/ 209250 w 459259"/>
                  <a:gd name="connsiteY253" fmla="*/ 347285 h 377438"/>
                  <a:gd name="connsiteX254" fmla="*/ 211523 w 459259"/>
                  <a:gd name="connsiteY254" fmla="*/ 345013 h 377438"/>
                  <a:gd name="connsiteX255" fmla="*/ 212887 w 459259"/>
                  <a:gd name="connsiteY255" fmla="*/ 343043 h 377438"/>
                  <a:gd name="connsiteX256" fmla="*/ 212887 w 459259"/>
                  <a:gd name="connsiteY256" fmla="*/ 339103 h 377438"/>
                  <a:gd name="connsiteX257" fmla="*/ 213644 w 459259"/>
                  <a:gd name="connsiteY257" fmla="*/ 338497 h 377438"/>
                  <a:gd name="connsiteX258" fmla="*/ 215160 w 459259"/>
                  <a:gd name="connsiteY258" fmla="*/ 337588 h 377438"/>
                  <a:gd name="connsiteX259" fmla="*/ 222584 w 459259"/>
                  <a:gd name="connsiteY259" fmla="*/ 334103 h 377438"/>
                  <a:gd name="connsiteX260" fmla="*/ 223796 w 459259"/>
                  <a:gd name="connsiteY260" fmla="*/ 333346 h 377438"/>
                  <a:gd name="connsiteX261" fmla="*/ 236675 w 459259"/>
                  <a:gd name="connsiteY261" fmla="*/ 341528 h 377438"/>
                  <a:gd name="connsiteX262" fmla="*/ 243949 w 459259"/>
                  <a:gd name="connsiteY262" fmla="*/ 347892 h 377438"/>
                  <a:gd name="connsiteX263" fmla="*/ 244403 w 459259"/>
                  <a:gd name="connsiteY263" fmla="*/ 348346 h 377438"/>
                  <a:gd name="connsiteX264" fmla="*/ 244706 w 459259"/>
                  <a:gd name="connsiteY264" fmla="*/ 348346 h 377438"/>
                  <a:gd name="connsiteX265" fmla="*/ 245161 w 459259"/>
                  <a:gd name="connsiteY265" fmla="*/ 348195 h 377438"/>
                  <a:gd name="connsiteX266" fmla="*/ 245464 w 459259"/>
                  <a:gd name="connsiteY266" fmla="*/ 347892 h 377438"/>
                  <a:gd name="connsiteX267" fmla="*/ 245918 w 459259"/>
                  <a:gd name="connsiteY267" fmla="*/ 347740 h 377438"/>
                  <a:gd name="connsiteX268" fmla="*/ 246373 w 459259"/>
                  <a:gd name="connsiteY268" fmla="*/ 347588 h 377438"/>
                  <a:gd name="connsiteX269" fmla="*/ 249403 w 459259"/>
                  <a:gd name="connsiteY269" fmla="*/ 347437 h 377438"/>
                  <a:gd name="connsiteX270" fmla="*/ 255313 w 459259"/>
                  <a:gd name="connsiteY270" fmla="*/ 347134 h 377438"/>
                  <a:gd name="connsiteX271" fmla="*/ 257131 w 459259"/>
                  <a:gd name="connsiteY271" fmla="*/ 346376 h 377438"/>
                  <a:gd name="connsiteX272" fmla="*/ 268949 w 459259"/>
                  <a:gd name="connsiteY272" fmla="*/ 334861 h 377438"/>
                  <a:gd name="connsiteX273" fmla="*/ 271980 w 459259"/>
                  <a:gd name="connsiteY273" fmla="*/ 331073 h 377438"/>
                  <a:gd name="connsiteX274" fmla="*/ 272737 w 459259"/>
                  <a:gd name="connsiteY274" fmla="*/ 330315 h 377438"/>
                  <a:gd name="connsiteX275" fmla="*/ 274404 w 459259"/>
                  <a:gd name="connsiteY275" fmla="*/ 327739 h 377438"/>
                  <a:gd name="connsiteX276" fmla="*/ 276223 w 459259"/>
                  <a:gd name="connsiteY276" fmla="*/ 323194 h 377438"/>
                  <a:gd name="connsiteX277" fmla="*/ 276525 w 459259"/>
                  <a:gd name="connsiteY277" fmla="*/ 322739 h 377438"/>
                  <a:gd name="connsiteX278" fmla="*/ 289405 w 459259"/>
                  <a:gd name="connsiteY278" fmla="*/ 311830 h 377438"/>
                  <a:gd name="connsiteX279" fmla="*/ 289859 w 459259"/>
                  <a:gd name="connsiteY279" fmla="*/ 310921 h 377438"/>
                  <a:gd name="connsiteX280" fmla="*/ 290011 w 459259"/>
                  <a:gd name="connsiteY280" fmla="*/ 310315 h 377438"/>
                  <a:gd name="connsiteX281" fmla="*/ 288041 w 459259"/>
                  <a:gd name="connsiteY281" fmla="*/ 306678 h 377438"/>
                  <a:gd name="connsiteX282" fmla="*/ 287587 w 459259"/>
                  <a:gd name="connsiteY282" fmla="*/ 304708 h 377438"/>
                  <a:gd name="connsiteX283" fmla="*/ 287587 w 459259"/>
                  <a:gd name="connsiteY283" fmla="*/ 301829 h 377438"/>
                  <a:gd name="connsiteX284" fmla="*/ 287889 w 459259"/>
                  <a:gd name="connsiteY284" fmla="*/ 297435 h 377438"/>
                  <a:gd name="connsiteX285" fmla="*/ 287889 w 459259"/>
                  <a:gd name="connsiteY285" fmla="*/ 294556 h 377438"/>
                  <a:gd name="connsiteX286" fmla="*/ 287738 w 459259"/>
                  <a:gd name="connsiteY286" fmla="*/ 294253 h 377438"/>
                  <a:gd name="connsiteX287" fmla="*/ 287587 w 459259"/>
                  <a:gd name="connsiteY287" fmla="*/ 293799 h 377438"/>
                  <a:gd name="connsiteX288" fmla="*/ 287587 w 459259"/>
                  <a:gd name="connsiteY288" fmla="*/ 293647 h 377438"/>
                  <a:gd name="connsiteX289" fmla="*/ 280313 w 459259"/>
                  <a:gd name="connsiteY289" fmla="*/ 285617 h 377438"/>
                  <a:gd name="connsiteX290" fmla="*/ 298496 w 459259"/>
                  <a:gd name="connsiteY290" fmla="*/ 285617 h 377438"/>
                  <a:gd name="connsiteX291" fmla="*/ 298647 w 459259"/>
                  <a:gd name="connsiteY291" fmla="*/ 285010 h 377438"/>
                  <a:gd name="connsiteX292" fmla="*/ 298647 w 459259"/>
                  <a:gd name="connsiteY292" fmla="*/ 284556 h 377438"/>
                  <a:gd name="connsiteX293" fmla="*/ 298496 w 459259"/>
                  <a:gd name="connsiteY293" fmla="*/ 284253 h 377438"/>
                  <a:gd name="connsiteX294" fmla="*/ 298193 w 459259"/>
                  <a:gd name="connsiteY294" fmla="*/ 283344 h 377438"/>
                  <a:gd name="connsiteX295" fmla="*/ 298042 w 459259"/>
                  <a:gd name="connsiteY295" fmla="*/ 281980 h 377438"/>
                  <a:gd name="connsiteX296" fmla="*/ 297890 w 459259"/>
                  <a:gd name="connsiteY296" fmla="*/ 281677 h 377438"/>
                  <a:gd name="connsiteX297" fmla="*/ 298042 w 459259"/>
                  <a:gd name="connsiteY297" fmla="*/ 281374 h 377438"/>
                  <a:gd name="connsiteX298" fmla="*/ 298042 w 459259"/>
                  <a:gd name="connsiteY298" fmla="*/ 280616 h 377438"/>
                  <a:gd name="connsiteX299" fmla="*/ 298042 w 459259"/>
                  <a:gd name="connsiteY299" fmla="*/ 280313 h 377438"/>
                  <a:gd name="connsiteX300" fmla="*/ 298042 w 459259"/>
                  <a:gd name="connsiteY300" fmla="*/ 280162 h 377438"/>
                  <a:gd name="connsiteX301" fmla="*/ 298042 w 459259"/>
                  <a:gd name="connsiteY301" fmla="*/ 280010 h 377438"/>
                  <a:gd name="connsiteX302" fmla="*/ 298042 w 459259"/>
                  <a:gd name="connsiteY302" fmla="*/ 279859 h 377438"/>
                  <a:gd name="connsiteX303" fmla="*/ 298193 w 459259"/>
                  <a:gd name="connsiteY303" fmla="*/ 279707 h 377438"/>
                  <a:gd name="connsiteX304" fmla="*/ 311224 w 459259"/>
                  <a:gd name="connsiteY304" fmla="*/ 279859 h 377438"/>
                  <a:gd name="connsiteX305" fmla="*/ 311072 w 459259"/>
                  <a:gd name="connsiteY305" fmla="*/ 282132 h 377438"/>
                  <a:gd name="connsiteX306" fmla="*/ 309406 w 459259"/>
                  <a:gd name="connsiteY306" fmla="*/ 287435 h 377438"/>
                  <a:gd name="connsiteX307" fmla="*/ 309406 w 459259"/>
                  <a:gd name="connsiteY307" fmla="*/ 290617 h 377438"/>
                  <a:gd name="connsiteX308" fmla="*/ 309102 w 459259"/>
                  <a:gd name="connsiteY308" fmla="*/ 294405 h 377438"/>
                  <a:gd name="connsiteX309" fmla="*/ 308951 w 459259"/>
                  <a:gd name="connsiteY309" fmla="*/ 294556 h 377438"/>
                  <a:gd name="connsiteX310" fmla="*/ 308648 w 459259"/>
                  <a:gd name="connsiteY310" fmla="*/ 295465 h 377438"/>
                  <a:gd name="connsiteX311" fmla="*/ 308345 w 459259"/>
                  <a:gd name="connsiteY311" fmla="*/ 295920 h 377438"/>
                  <a:gd name="connsiteX312" fmla="*/ 308042 w 459259"/>
                  <a:gd name="connsiteY312" fmla="*/ 296374 h 377438"/>
                  <a:gd name="connsiteX313" fmla="*/ 307890 w 459259"/>
                  <a:gd name="connsiteY313" fmla="*/ 296526 h 377438"/>
                  <a:gd name="connsiteX314" fmla="*/ 307739 w 459259"/>
                  <a:gd name="connsiteY314" fmla="*/ 296678 h 377438"/>
                  <a:gd name="connsiteX315" fmla="*/ 307739 w 459259"/>
                  <a:gd name="connsiteY315" fmla="*/ 297132 h 377438"/>
                  <a:gd name="connsiteX316" fmla="*/ 310466 w 459259"/>
                  <a:gd name="connsiteY316" fmla="*/ 317587 h 377438"/>
                  <a:gd name="connsiteX317" fmla="*/ 310315 w 459259"/>
                  <a:gd name="connsiteY317" fmla="*/ 318042 h 377438"/>
                  <a:gd name="connsiteX318" fmla="*/ 310315 w 459259"/>
                  <a:gd name="connsiteY318" fmla="*/ 318345 h 377438"/>
                  <a:gd name="connsiteX319" fmla="*/ 309557 w 459259"/>
                  <a:gd name="connsiteY319" fmla="*/ 319709 h 377438"/>
                  <a:gd name="connsiteX320" fmla="*/ 309406 w 459259"/>
                  <a:gd name="connsiteY320" fmla="*/ 320012 h 377438"/>
                  <a:gd name="connsiteX321" fmla="*/ 309254 w 459259"/>
                  <a:gd name="connsiteY321" fmla="*/ 320466 h 377438"/>
                  <a:gd name="connsiteX322" fmla="*/ 309557 w 459259"/>
                  <a:gd name="connsiteY322" fmla="*/ 320618 h 377438"/>
                  <a:gd name="connsiteX323" fmla="*/ 315618 w 459259"/>
                  <a:gd name="connsiteY323" fmla="*/ 322891 h 377438"/>
                  <a:gd name="connsiteX324" fmla="*/ 315921 w 459259"/>
                  <a:gd name="connsiteY324" fmla="*/ 323042 h 377438"/>
                  <a:gd name="connsiteX325" fmla="*/ 316073 w 459259"/>
                  <a:gd name="connsiteY325" fmla="*/ 323194 h 377438"/>
                  <a:gd name="connsiteX326" fmla="*/ 318345 w 459259"/>
                  <a:gd name="connsiteY326" fmla="*/ 325769 h 377438"/>
                  <a:gd name="connsiteX327" fmla="*/ 330164 w 459259"/>
                  <a:gd name="connsiteY327" fmla="*/ 335467 h 377438"/>
                  <a:gd name="connsiteX328" fmla="*/ 330618 w 459259"/>
                  <a:gd name="connsiteY328" fmla="*/ 335921 h 377438"/>
                  <a:gd name="connsiteX329" fmla="*/ 331830 w 459259"/>
                  <a:gd name="connsiteY329" fmla="*/ 338952 h 377438"/>
                  <a:gd name="connsiteX330" fmla="*/ 331982 w 459259"/>
                  <a:gd name="connsiteY330" fmla="*/ 339406 h 377438"/>
                  <a:gd name="connsiteX331" fmla="*/ 331982 w 459259"/>
                  <a:gd name="connsiteY331" fmla="*/ 340164 h 377438"/>
                  <a:gd name="connsiteX332" fmla="*/ 331982 w 459259"/>
                  <a:gd name="connsiteY332" fmla="*/ 340770 h 377438"/>
                  <a:gd name="connsiteX333" fmla="*/ 331679 w 459259"/>
                  <a:gd name="connsiteY333" fmla="*/ 342588 h 377438"/>
                  <a:gd name="connsiteX334" fmla="*/ 331679 w 459259"/>
                  <a:gd name="connsiteY334" fmla="*/ 343346 h 377438"/>
                  <a:gd name="connsiteX335" fmla="*/ 331982 w 459259"/>
                  <a:gd name="connsiteY335" fmla="*/ 343952 h 377438"/>
                  <a:gd name="connsiteX336" fmla="*/ 332134 w 459259"/>
                  <a:gd name="connsiteY336" fmla="*/ 344558 h 377438"/>
                  <a:gd name="connsiteX337" fmla="*/ 332134 w 459259"/>
                  <a:gd name="connsiteY337" fmla="*/ 344710 h 377438"/>
                  <a:gd name="connsiteX338" fmla="*/ 332134 w 459259"/>
                  <a:gd name="connsiteY338" fmla="*/ 344861 h 377438"/>
                  <a:gd name="connsiteX339" fmla="*/ 331982 w 459259"/>
                  <a:gd name="connsiteY339" fmla="*/ 345164 h 377438"/>
                  <a:gd name="connsiteX340" fmla="*/ 330164 w 459259"/>
                  <a:gd name="connsiteY340" fmla="*/ 348649 h 377438"/>
                  <a:gd name="connsiteX341" fmla="*/ 329709 w 459259"/>
                  <a:gd name="connsiteY341" fmla="*/ 351073 h 377438"/>
                  <a:gd name="connsiteX342" fmla="*/ 329558 w 459259"/>
                  <a:gd name="connsiteY342" fmla="*/ 353195 h 377438"/>
                  <a:gd name="connsiteX343" fmla="*/ 329558 w 459259"/>
                  <a:gd name="connsiteY343" fmla="*/ 354407 h 377438"/>
                  <a:gd name="connsiteX344" fmla="*/ 329861 w 459259"/>
                  <a:gd name="connsiteY344" fmla="*/ 355165 h 377438"/>
                  <a:gd name="connsiteX345" fmla="*/ 329861 w 459259"/>
                  <a:gd name="connsiteY345" fmla="*/ 355468 h 377438"/>
                  <a:gd name="connsiteX346" fmla="*/ 330012 w 459259"/>
                  <a:gd name="connsiteY346" fmla="*/ 355468 h 377438"/>
                  <a:gd name="connsiteX347" fmla="*/ 330012 w 459259"/>
                  <a:gd name="connsiteY347" fmla="*/ 355619 h 377438"/>
                  <a:gd name="connsiteX348" fmla="*/ 330164 w 459259"/>
                  <a:gd name="connsiteY348" fmla="*/ 355619 h 377438"/>
                  <a:gd name="connsiteX349" fmla="*/ 335164 w 459259"/>
                  <a:gd name="connsiteY349" fmla="*/ 355619 h 377438"/>
                  <a:gd name="connsiteX350" fmla="*/ 335316 w 459259"/>
                  <a:gd name="connsiteY350" fmla="*/ 355619 h 377438"/>
                  <a:gd name="connsiteX351" fmla="*/ 335316 w 459259"/>
                  <a:gd name="connsiteY351" fmla="*/ 354255 h 377438"/>
                  <a:gd name="connsiteX352" fmla="*/ 336376 w 459259"/>
                  <a:gd name="connsiteY352" fmla="*/ 348346 h 377438"/>
                  <a:gd name="connsiteX353" fmla="*/ 337437 w 459259"/>
                  <a:gd name="connsiteY353" fmla="*/ 344861 h 377438"/>
                  <a:gd name="connsiteX354" fmla="*/ 338194 w 459259"/>
                  <a:gd name="connsiteY354" fmla="*/ 343194 h 377438"/>
                  <a:gd name="connsiteX355" fmla="*/ 341073 w 459259"/>
                  <a:gd name="connsiteY355" fmla="*/ 337437 h 377438"/>
                  <a:gd name="connsiteX356" fmla="*/ 341680 w 459259"/>
                  <a:gd name="connsiteY356" fmla="*/ 335618 h 377438"/>
                  <a:gd name="connsiteX357" fmla="*/ 341680 w 459259"/>
                  <a:gd name="connsiteY357" fmla="*/ 333952 h 377438"/>
                  <a:gd name="connsiteX358" fmla="*/ 340619 w 459259"/>
                  <a:gd name="connsiteY358" fmla="*/ 326376 h 377438"/>
                  <a:gd name="connsiteX359" fmla="*/ 342589 w 459259"/>
                  <a:gd name="connsiteY359" fmla="*/ 322739 h 377438"/>
                  <a:gd name="connsiteX360" fmla="*/ 344861 w 459259"/>
                  <a:gd name="connsiteY360" fmla="*/ 319254 h 377438"/>
                  <a:gd name="connsiteX361" fmla="*/ 346982 w 459259"/>
                  <a:gd name="connsiteY361" fmla="*/ 317739 h 377438"/>
                  <a:gd name="connsiteX362" fmla="*/ 348801 w 459259"/>
                  <a:gd name="connsiteY362" fmla="*/ 316678 h 377438"/>
                  <a:gd name="connsiteX363" fmla="*/ 349559 w 459259"/>
                  <a:gd name="connsiteY363" fmla="*/ 317133 h 377438"/>
                  <a:gd name="connsiteX364" fmla="*/ 351528 w 459259"/>
                  <a:gd name="connsiteY364" fmla="*/ 318800 h 377438"/>
                  <a:gd name="connsiteX365" fmla="*/ 354256 w 459259"/>
                  <a:gd name="connsiteY365" fmla="*/ 320466 h 377438"/>
                  <a:gd name="connsiteX366" fmla="*/ 355468 w 459259"/>
                  <a:gd name="connsiteY366" fmla="*/ 320012 h 377438"/>
                  <a:gd name="connsiteX367" fmla="*/ 357286 w 459259"/>
                  <a:gd name="connsiteY367" fmla="*/ 318648 h 377438"/>
                  <a:gd name="connsiteX368" fmla="*/ 358650 w 459259"/>
                  <a:gd name="connsiteY368" fmla="*/ 317133 h 377438"/>
                  <a:gd name="connsiteX369" fmla="*/ 358347 w 459259"/>
                  <a:gd name="connsiteY369" fmla="*/ 314405 h 377438"/>
                  <a:gd name="connsiteX370" fmla="*/ 359559 w 459259"/>
                  <a:gd name="connsiteY370" fmla="*/ 308951 h 377438"/>
                  <a:gd name="connsiteX371" fmla="*/ 359407 w 459259"/>
                  <a:gd name="connsiteY371" fmla="*/ 305769 h 377438"/>
                  <a:gd name="connsiteX372" fmla="*/ 360620 w 459259"/>
                  <a:gd name="connsiteY372" fmla="*/ 301829 h 377438"/>
                  <a:gd name="connsiteX373" fmla="*/ 362135 w 459259"/>
                  <a:gd name="connsiteY373" fmla="*/ 296374 h 377438"/>
                  <a:gd name="connsiteX374" fmla="*/ 362741 w 459259"/>
                  <a:gd name="connsiteY374" fmla="*/ 292890 h 377438"/>
                  <a:gd name="connsiteX375" fmla="*/ 363498 w 459259"/>
                  <a:gd name="connsiteY375" fmla="*/ 290920 h 377438"/>
                  <a:gd name="connsiteX376" fmla="*/ 367438 w 459259"/>
                  <a:gd name="connsiteY376" fmla="*/ 287132 h 377438"/>
                  <a:gd name="connsiteX377" fmla="*/ 370620 w 459259"/>
                  <a:gd name="connsiteY377" fmla="*/ 281525 h 377438"/>
                  <a:gd name="connsiteX378" fmla="*/ 372741 w 459259"/>
                  <a:gd name="connsiteY378" fmla="*/ 277586 h 377438"/>
                  <a:gd name="connsiteX379" fmla="*/ 376832 w 459259"/>
                  <a:gd name="connsiteY379" fmla="*/ 271070 h 377438"/>
                  <a:gd name="connsiteX380" fmla="*/ 378802 w 459259"/>
                  <a:gd name="connsiteY380" fmla="*/ 268646 h 377438"/>
                  <a:gd name="connsiteX381" fmla="*/ 380469 w 459259"/>
                  <a:gd name="connsiteY381" fmla="*/ 267586 h 377438"/>
                  <a:gd name="connsiteX382" fmla="*/ 382893 w 459259"/>
                  <a:gd name="connsiteY382" fmla="*/ 266980 h 377438"/>
                  <a:gd name="connsiteX383" fmla="*/ 387439 w 459259"/>
                  <a:gd name="connsiteY383" fmla="*/ 266373 h 377438"/>
                  <a:gd name="connsiteX384" fmla="*/ 390772 w 459259"/>
                  <a:gd name="connsiteY384" fmla="*/ 265767 h 377438"/>
                  <a:gd name="connsiteX385" fmla="*/ 391227 w 459259"/>
                  <a:gd name="connsiteY385" fmla="*/ 265010 h 377438"/>
                  <a:gd name="connsiteX386" fmla="*/ 391530 w 459259"/>
                  <a:gd name="connsiteY386" fmla="*/ 263646 h 377438"/>
                  <a:gd name="connsiteX387" fmla="*/ 391530 w 459259"/>
                  <a:gd name="connsiteY387" fmla="*/ 260767 h 377438"/>
                  <a:gd name="connsiteX388" fmla="*/ 392288 w 459259"/>
                  <a:gd name="connsiteY388" fmla="*/ 255616 h 377438"/>
                  <a:gd name="connsiteX389" fmla="*/ 393651 w 459259"/>
                  <a:gd name="connsiteY389" fmla="*/ 250767 h 377438"/>
                  <a:gd name="connsiteX390" fmla="*/ 395318 w 459259"/>
                  <a:gd name="connsiteY390" fmla="*/ 246979 h 377438"/>
                  <a:gd name="connsiteX391" fmla="*/ 396227 w 459259"/>
                  <a:gd name="connsiteY391" fmla="*/ 245312 h 377438"/>
                  <a:gd name="connsiteX392" fmla="*/ 397287 w 459259"/>
                  <a:gd name="connsiteY392" fmla="*/ 243645 h 377438"/>
                  <a:gd name="connsiteX393" fmla="*/ 398500 w 459259"/>
                  <a:gd name="connsiteY393" fmla="*/ 240918 h 377438"/>
                  <a:gd name="connsiteX394" fmla="*/ 400015 w 459259"/>
                  <a:gd name="connsiteY394" fmla="*/ 235009 h 377438"/>
                  <a:gd name="connsiteX395" fmla="*/ 400015 w 459259"/>
                  <a:gd name="connsiteY395" fmla="*/ 230918 h 377438"/>
                  <a:gd name="connsiteX396" fmla="*/ 402136 w 459259"/>
                  <a:gd name="connsiteY396" fmla="*/ 223493 h 377438"/>
                  <a:gd name="connsiteX397" fmla="*/ 401378 w 459259"/>
                  <a:gd name="connsiteY397" fmla="*/ 215462 h 377438"/>
                  <a:gd name="connsiteX398" fmla="*/ 400773 w 459259"/>
                  <a:gd name="connsiteY398" fmla="*/ 210159 h 377438"/>
                  <a:gd name="connsiteX399" fmla="*/ 400166 w 459259"/>
                  <a:gd name="connsiteY399" fmla="*/ 204553 h 377438"/>
                  <a:gd name="connsiteX400" fmla="*/ 399560 w 459259"/>
                  <a:gd name="connsiteY400" fmla="*/ 199098 h 377438"/>
                  <a:gd name="connsiteX401" fmla="*/ 402136 w 459259"/>
                  <a:gd name="connsiteY401" fmla="*/ 195916 h 377438"/>
                  <a:gd name="connsiteX402" fmla="*/ 403348 w 459259"/>
                  <a:gd name="connsiteY402" fmla="*/ 192734 h 377438"/>
                  <a:gd name="connsiteX403" fmla="*/ 406379 w 459259"/>
                  <a:gd name="connsiteY403" fmla="*/ 182582 h 377438"/>
                  <a:gd name="connsiteX404" fmla="*/ 407591 w 459259"/>
                  <a:gd name="connsiteY404" fmla="*/ 180613 h 377438"/>
                  <a:gd name="connsiteX405" fmla="*/ 410015 w 459259"/>
                  <a:gd name="connsiteY405" fmla="*/ 175158 h 377438"/>
                  <a:gd name="connsiteX406" fmla="*/ 410470 w 459259"/>
                  <a:gd name="connsiteY406" fmla="*/ 173643 h 377438"/>
                  <a:gd name="connsiteX407" fmla="*/ 412894 w 459259"/>
                  <a:gd name="connsiteY407" fmla="*/ 166673 h 377438"/>
                  <a:gd name="connsiteX408" fmla="*/ 412591 w 459259"/>
                  <a:gd name="connsiteY408" fmla="*/ 162127 h 377438"/>
                  <a:gd name="connsiteX409" fmla="*/ 412137 w 459259"/>
                  <a:gd name="connsiteY409" fmla="*/ 157582 h 377438"/>
                  <a:gd name="connsiteX410" fmla="*/ 413500 w 459259"/>
                  <a:gd name="connsiteY410" fmla="*/ 154854 h 377438"/>
                  <a:gd name="connsiteX411" fmla="*/ 414561 w 459259"/>
                  <a:gd name="connsiteY411" fmla="*/ 152581 h 377438"/>
                  <a:gd name="connsiteX412" fmla="*/ 414561 w 459259"/>
                  <a:gd name="connsiteY412" fmla="*/ 150763 h 377438"/>
                  <a:gd name="connsiteX413" fmla="*/ 415016 w 459259"/>
                  <a:gd name="connsiteY413" fmla="*/ 146520 h 377438"/>
                  <a:gd name="connsiteX414" fmla="*/ 415470 w 459259"/>
                  <a:gd name="connsiteY414" fmla="*/ 145460 h 377438"/>
                  <a:gd name="connsiteX415" fmla="*/ 416834 w 459259"/>
                  <a:gd name="connsiteY415" fmla="*/ 145309 h 377438"/>
                  <a:gd name="connsiteX416" fmla="*/ 419864 w 459259"/>
                  <a:gd name="connsiteY416" fmla="*/ 145914 h 377438"/>
                  <a:gd name="connsiteX417" fmla="*/ 421985 w 459259"/>
                  <a:gd name="connsiteY417" fmla="*/ 145460 h 377438"/>
                  <a:gd name="connsiteX418" fmla="*/ 424562 w 459259"/>
                  <a:gd name="connsiteY418" fmla="*/ 145460 h 377438"/>
                  <a:gd name="connsiteX419" fmla="*/ 426380 w 459259"/>
                  <a:gd name="connsiteY419" fmla="*/ 145309 h 377438"/>
                  <a:gd name="connsiteX420" fmla="*/ 427592 w 459259"/>
                  <a:gd name="connsiteY420" fmla="*/ 143945 h 377438"/>
                  <a:gd name="connsiteX421" fmla="*/ 429107 w 459259"/>
                  <a:gd name="connsiteY421" fmla="*/ 138944 h 377438"/>
                  <a:gd name="connsiteX422" fmla="*/ 430168 w 459259"/>
                  <a:gd name="connsiteY422" fmla="*/ 138035 h 377438"/>
                  <a:gd name="connsiteX423" fmla="*/ 430925 w 459259"/>
                  <a:gd name="connsiteY423" fmla="*/ 137732 h 377438"/>
                  <a:gd name="connsiteX424" fmla="*/ 433198 w 459259"/>
                  <a:gd name="connsiteY424" fmla="*/ 136672 h 377438"/>
                  <a:gd name="connsiteX425" fmla="*/ 435016 w 459259"/>
                  <a:gd name="connsiteY425" fmla="*/ 135308 h 377438"/>
                  <a:gd name="connsiteX426" fmla="*/ 436531 w 459259"/>
                  <a:gd name="connsiteY426" fmla="*/ 134247 h 377438"/>
                  <a:gd name="connsiteX427" fmla="*/ 437138 w 459259"/>
                  <a:gd name="connsiteY427" fmla="*/ 133944 h 377438"/>
                  <a:gd name="connsiteX428" fmla="*/ 438804 w 459259"/>
                  <a:gd name="connsiteY428" fmla="*/ 133944 h 377438"/>
                  <a:gd name="connsiteX429" fmla="*/ 440471 w 459259"/>
                  <a:gd name="connsiteY429" fmla="*/ 133187 h 377438"/>
                  <a:gd name="connsiteX430" fmla="*/ 441228 w 459259"/>
                  <a:gd name="connsiteY430" fmla="*/ 132581 h 377438"/>
                  <a:gd name="connsiteX431" fmla="*/ 443198 w 459259"/>
                  <a:gd name="connsiteY431" fmla="*/ 131975 h 377438"/>
                  <a:gd name="connsiteX432" fmla="*/ 445320 w 459259"/>
                  <a:gd name="connsiteY432" fmla="*/ 132278 h 377438"/>
                  <a:gd name="connsiteX433" fmla="*/ 446683 w 459259"/>
                  <a:gd name="connsiteY433" fmla="*/ 131672 h 377438"/>
                  <a:gd name="connsiteX434" fmla="*/ 447592 w 459259"/>
                  <a:gd name="connsiteY434" fmla="*/ 131217 h 377438"/>
                  <a:gd name="connsiteX435" fmla="*/ 448502 w 459259"/>
                  <a:gd name="connsiteY435" fmla="*/ 131217 h 377438"/>
                  <a:gd name="connsiteX436" fmla="*/ 449562 w 459259"/>
                  <a:gd name="connsiteY436" fmla="*/ 130611 h 377438"/>
                  <a:gd name="connsiteX437" fmla="*/ 449865 w 459259"/>
                  <a:gd name="connsiteY437" fmla="*/ 129702 h 377438"/>
                  <a:gd name="connsiteX438" fmla="*/ 450471 w 459259"/>
                  <a:gd name="connsiteY438" fmla="*/ 129247 h 377438"/>
                  <a:gd name="connsiteX439" fmla="*/ 451987 w 459259"/>
                  <a:gd name="connsiteY439" fmla="*/ 127883 h 377438"/>
                  <a:gd name="connsiteX440" fmla="*/ 452744 w 459259"/>
                  <a:gd name="connsiteY440" fmla="*/ 126974 h 377438"/>
                  <a:gd name="connsiteX441" fmla="*/ 453047 w 459259"/>
                  <a:gd name="connsiteY441" fmla="*/ 126065 h 377438"/>
                  <a:gd name="connsiteX442" fmla="*/ 453350 w 459259"/>
                  <a:gd name="connsiteY442" fmla="*/ 125308 h 377438"/>
                  <a:gd name="connsiteX443" fmla="*/ 454108 w 459259"/>
                  <a:gd name="connsiteY443" fmla="*/ 123944 h 377438"/>
                  <a:gd name="connsiteX444" fmla="*/ 456835 w 459259"/>
                  <a:gd name="connsiteY444" fmla="*/ 120762 h 377438"/>
                  <a:gd name="connsiteX445" fmla="*/ 459259 w 459259"/>
                  <a:gd name="connsiteY445" fmla="*/ 118944 h 3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Lst>
                <a:rect l="l" t="t" r="r" b="b"/>
                <a:pathLst>
                  <a:path w="459259" h="377438">
                    <a:moveTo>
                      <a:pt x="458199" y="116974"/>
                    </a:moveTo>
                    <a:lnTo>
                      <a:pt x="451683" y="112883"/>
                    </a:lnTo>
                    <a:lnTo>
                      <a:pt x="450320" y="110913"/>
                    </a:lnTo>
                    <a:lnTo>
                      <a:pt x="449411" y="111519"/>
                    </a:lnTo>
                    <a:lnTo>
                      <a:pt x="448047" y="111974"/>
                    </a:lnTo>
                    <a:lnTo>
                      <a:pt x="446077" y="109701"/>
                    </a:lnTo>
                    <a:lnTo>
                      <a:pt x="444562" y="107428"/>
                    </a:lnTo>
                    <a:lnTo>
                      <a:pt x="440471" y="103337"/>
                    </a:lnTo>
                    <a:lnTo>
                      <a:pt x="435168" y="99549"/>
                    </a:lnTo>
                    <a:lnTo>
                      <a:pt x="431531" y="98792"/>
                    </a:lnTo>
                    <a:lnTo>
                      <a:pt x="429713" y="97882"/>
                    </a:lnTo>
                    <a:lnTo>
                      <a:pt x="428046" y="95913"/>
                    </a:lnTo>
                    <a:lnTo>
                      <a:pt x="425016" y="88337"/>
                    </a:lnTo>
                    <a:lnTo>
                      <a:pt x="421985" y="74397"/>
                    </a:lnTo>
                    <a:lnTo>
                      <a:pt x="422440" y="68487"/>
                    </a:lnTo>
                    <a:lnTo>
                      <a:pt x="420470" y="59245"/>
                    </a:lnTo>
                    <a:lnTo>
                      <a:pt x="420318" y="51517"/>
                    </a:lnTo>
                    <a:lnTo>
                      <a:pt x="421379" y="46820"/>
                    </a:lnTo>
                    <a:lnTo>
                      <a:pt x="419864" y="41820"/>
                    </a:lnTo>
                    <a:lnTo>
                      <a:pt x="419409" y="37274"/>
                    </a:lnTo>
                    <a:lnTo>
                      <a:pt x="419107" y="34850"/>
                    </a:lnTo>
                    <a:lnTo>
                      <a:pt x="419258" y="31365"/>
                    </a:lnTo>
                    <a:lnTo>
                      <a:pt x="421076" y="32123"/>
                    </a:lnTo>
                    <a:lnTo>
                      <a:pt x="422288" y="33183"/>
                    </a:lnTo>
                    <a:lnTo>
                      <a:pt x="422440" y="32274"/>
                    </a:lnTo>
                    <a:lnTo>
                      <a:pt x="422288" y="31213"/>
                    </a:lnTo>
                    <a:lnTo>
                      <a:pt x="420925" y="28941"/>
                    </a:lnTo>
                    <a:lnTo>
                      <a:pt x="417440" y="25001"/>
                    </a:lnTo>
                    <a:lnTo>
                      <a:pt x="413197" y="17576"/>
                    </a:lnTo>
                    <a:lnTo>
                      <a:pt x="411985" y="12425"/>
                    </a:lnTo>
                    <a:lnTo>
                      <a:pt x="411682" y="5909"/>
                    </a:lnTo>
                    <a:lnTo>
                      <a:pt x="402742" y="5909"/>
                    </a:lnTo>
                    <a:lnTo>
                      <a:pt x="393651" y="5909"/>
                    </a:lnTo>
                    <a:lnTo>
                      <a:pt x="384711" y="5909"/>
                    </a:lnTo>
                    <a:lnTo>
                      <a:pt x="375772" y="5909"/>
                    </a:lnTo>
                    <a:lnTo>
                      <a:pt x="366832" y="5909"/>
                    </a:lnTo>
                    <a:lnTo>
                      <a:pt x="357741" y="5909"/>
                    </a:lnTo>
                    <a:lnTo>
                      <a:pt x="348801" y="5909"/>
                    </a:lnTo>
                    <a:lnTo>
                      <a:pt x="339861" y="5909"/>
                    </a:lnTo>
                    <a:lnTo>
                      <a:pt x="330921" y="5909"/>
                    </a:lnTo>
                    <a:lnTo>
                      <a:pt x="321830" y="5909"/>
                    </a:lnTo>
                    <a:lnTo>
                      <a:pt x="312890" y="5909"/>
                    </a:lnTo>
                    <a:lnTo>
                      <a:pt x="303951" y="5909"/>
                    </a:lnTo>
                    <a:lnTo>
                      <a:pt x="295011" y="5909"/>
                    </a:lnTo>
                    <a:lnTo>
                      <a:pt x="285920" y="5909"/>
                    </a:lnTo>
                    <a:lnTo>
                      <a:pt x="276980" y="5909"/>
                    </a:lnTo>
                    <a:lnTo>
                      <a:pt x="268040" y="5909"/>
                    </a:lnTo>
                    <a:lnTo>
                      <a:pt x="262889" y="5909"/>
                    </a:lnTo>
                    <a:lnTo>
                      <a:pt x="263798" y="3333"/>
                    </a:lnTo>
                    <a:lnTo>
                      <a:pt x="264404" y="1515"/>
                    </a:lnTo>
                    <a:lnTo>
                      <a:pt x="263798" y="303"/>
                    </a:lnTo>
                    <a:lnTo>
                      <a:pt x="261980" y="0"/>
                    </a:lnTo>
                    <a:lnTo>
                      <a:pt x="260767" y="455"/>
                    </a:lnTo>
                    <a:lnTo>
                      <a:pt x="258192" y="5758"/>
                    </a:lnTo>
                    <a:lnTo>
                      <a:pt x="256828" y="5909"/>
                    </a:lnTo>
                    <a:lnTo>
                      <a:pt x="253494" y="5909"/>
                    </a:lnTo>
                    <a:lnTo>
                      <a:pt x="243039" y="5909"/>
                    </a:lnTo>
                    <a:lnTo>
                      <a:pt x="232584" y="5909"/>
                    </a:lnTo>
                    <a:lnTo>
                      <a:pt x="222281" y="5909"/>
                    </a:lnTo>
                    <a:lnTo>
                      <a:pt x="211826" y="5909"/>
                    </a:lnTo>
                    <a:lnTo>
                      <a:pt x="201371" y="5909"/>
                    </a:lnTo>
                    <a:lnTo>
                      <a:pt x="190916" y="5909"/>
                    </a:lnTo>
                    <a:lnTo>
                      <a:pt x="180461" y="5909"/>
                    </a:lnTo>
                    <a:lnTo>
                      <a:pt x="170006" y="5909"/>
                    </a:lnTo>
                    <a:lnTo>
                      <a:pt x="159551" y="5909"/>
                    </a:lnTo>
                    <a:lnTo>
                      <a:pt x="149096" y="5909"/>
                    </a:lnTo>
                    <a:lnTo>
                      <a:pt x="138641" y="5909"/>
                    </a:lnTo>
                    <a:lnTo>
                      <a:pt x="128186" y="5909"/>
                    </a:lnTo>
                    <a:lnTo>
                      <a:pt x="117732" y="5909"/>
                    </a:lnTo>
                    <a:lnTo>
                      <a:pt x="107277" y="5909"/>
                    </a:lnTo>
                    <a:lnTo>
                      <a:pt x="96822" y="5909"/>
                    </a:lnTo>
                    <a:lnTo>
                      <a:pt x="86367" y="5909"/>
                    </a:lnTo>
                    <a:lnTo>
                      <a:pt x="86367" y="20152"/>
                    </a:lnTo>
                    <a:lnTo>
                      <a:pt x="86367" y="34244"/>
                    </a:lnTo>
                    <a:lnTo>
                      <a:pt x="86367" y="48487"/>
                    </a:lnTo>
                    <a:lnTo>
                      <a:pt x="86367" y="62578"/>
                    </a:lnTo>
                    <a:lnTo>
                      <a:pt x="86215" y="62578"/>
                    </a:lnTo>
                    <a:lnTo>
                      <a:pt x="86064" y="62730"/>
                    </a:lnTo>
                    <a:lnTo>
                      <a:pt x="86064" y="62730"/>
                    </a:lnTo>
                    <a:lnTo>
                      <a:pt x="85912" y="62730"/>
                    </a:lnTo>
                    <a:lnTo>
                      <a:pt x="79246" y="62730"/>
                    </a:lnTo>
                    <a:lnTo>
                      <a:pt x="72427" y="62730"/>
                    </a:lnTo>
                    <a:lnTo>
                      <a:pt x="65760" y="62730"/>
                    </a:lnTo>
                    <a:lnTo>
                      <a:pt x="58942" y="62730"/>
                    </a:lnTo>
                    <a:lnTo>
                      <a:pt x="58942" y="66215"/>
                    </a:lnTo>
                    <a:lnTo>
                      <a:pt x="58942" y="69851"/>
                    </a:lnTo>
                    <a:lnTo>
                      <a:pt x="58942" y="73336"/>
                    </a:lnTo>
                    <a:lnTo>
                      <a:pt x="58942" y="76821"/>
                    </a:lnTo>
                    <a:lnTo>
                      <a:pt x="58942" y="89397"/>
                    </a:lnTo>
                    <a:lnTo>
                      <a:pt x="58942" y="101974"/>
                    </a:lnTo>
                    <a:lnTo>
                      <a:pt x="58942" y="114550"/>
                    </a:lnTo>
                    <a:lnTo>
                      <a:pt x="58942" y="127126"/>
                    </a:lnTo>
                    <a:lnTo>
                      <a:pt x="59093" y="139551"/>
                    </a:lnTo>
                    <a:lnTo>
                      <a:pt x="59093" y="152127"/>
                    </a:lnTo>
                    <a:lnTo>
                      <a:pt x="59093" y="164551"/>
                    </a:lnTo>
                    <a:lnTo>
                      <a:pt x="59093" y="176976"/>
                    </a:lnTo>
                    <a:lnTo>
                      <a:pt x="59093" y="181067"/>
                    </a:lnTo>
                    <a:lnTo>
                      <a:pt x="58638" y="182734"/>
                    </a:lnTo>
                    <a:lnTo>
                      <a:pt x="58487" y="183037"/>
                    </a:lnTo>
                    <a:lnTo>
                      <a:pt x="58033" y="183189"/>
                    </a:lnTo>
                    <a:lnTo>
                      <a:pt x="51517" y="182128"/>
                    </a:lnTo>
                    <a:lnTo>
                      <a:pt x="48638" y="182128"/>
                    </a:lnTo>
                    <a:lnTo>
                      <a:pt x="44699" y="182886"/>
                    </a:lnTo>
                    <a:lnTo>
                      <a:pt x="38789" y="183492"/>
                    </a:lnTo>
                    <a:lnTo>
                      <a:pt x="35001" y="183340"/>
                    </a:lnTo>
                    <a:lnTo>
                      <a:pt x="32426" y="185461"/>
                    </a:lnTo>
                    <a:lnTo>
                      <a:pt x="30304" y="188037"/>
                    </a:lnTo>
                    <a:lnTo>
                      <a:pt x="31365" y="194098"/>
                    </a:lnTo>
                    <a:lnTo>
                      <a:pt x="31062" y="196219"/>
                    </a:lnTo>
                    <a:lnTo>
                      <a:pt x="30304" y="198341"/>
                    </a:lnTo>
                    <a:lnTo>
                      <a:pt x="28486" y="200159"/>
                    </a:lnTo>
                    <a:lnTo>
                      <a:pt x="26668" y="201523"/>
                    </a:lnTo>
                    <a:lnTo>
                      <a:pt x="25607" y="202886"/>
                    </a:lnTo>
                    <a:lnTo>
                      <a:pt x="24395" y="205614"/>
                    </a:lnTo>
                    <a:lnTo>
                      <a:pt x="23334" y="206977"/>
                    </a:lnTo>
                    <a:lnTo>
                      <a:pt x="23486" y="208644"/>
                    </a:lnTo>
                    <a:lnTo>
                      <a:pt x="23183" y="210462"/>
                    </a:lnTo>
                    <a:lnTo>
                      <a:pt x="22122" y="211523"/>
                    </a:lnTo>
                    <a:lnTo>
                      <a:pt x="19395" y="212129"/>
                    </a:lnTo>
                    <a:lnTo>
                      <a:pt x="17576" y="213038"/>
                    </a:lnTo>
                    <a:lnTo>
                      <a:pt x="16213" y="214402"/>
                    </a:lnTo>
                    <a:lnTo>
                      <a:pt x="15152" y="215311"/>
                    </a:lnTo>
                    <a:lnTo>
                      <a:pt x="15758" y="216675"/>
                    </a:lnTo>
                    <a:lnTo>
                      <a:pt x="16365" y="218341"/>
                    </a:lnTo>
                    <a:lnTo>
                      <a:pt x="16819" y="221069"/>
                    </a:lnTo>
                    <a:lnTo>
                      <a:pt x="17122" y="222736"/>
                    </a:lnTo>
                    <a:lnTo>
                      <a:pt x="18486" y="223948"/>
                    </a:lnTo>
                    <a:lnTo>
                      <a:pt x="19243" y="225008"/>
                    </a:lnTo>
                    <a:lnTo>
                      <a:pt x="19546" y="226069"/>
                    </a:lnTo>
                    <a:lnTo>
                      <a:pt x="18788" y="226978"/>
                    </a:lnTo>
                    <a:lnTo>
                      <a:pt x="15455" y="229099"/>
                    </a:lnTo>
                    <a:lnTo>
                      <a:pt x="14091" y="229857"/>
                    </a:lnTo>
                    <a:lnTo>
                      <a:pt x="12576" y="230766"/>
                    </a:lnTo>
                    <a:lnTo>
                      <a:pt x="11970" y="231221"/>
                    </a:lnTo>
                    <a:lnTo>
                      <a:pt x="9546" y="233039"/>
                    </a:lnTo>
                    <a:lnTo>
                      <a:pt x="8334" y="234706"/>
                    </a:lnTo>
                    <a:lnTo>
                      <a:pt x="7728" y="236069"/>
                    </a:lnTo>
                    <a:lnTo>
                      <a:pt x="7728" y="238039"/>
                    </a:lnTo>
                    <a:lnTo>
                      <a:pt x="8940" y="240918"/>
                    </a:lnTo>
                    <a:lnTo>
                      <a:pt x="10303" y="243342"/>
                    </a:lnTo>
                    <a:lnTo>
                      <a:pt x="10910" y="245161"/>
                    </a:lnTo>
                    <a:lnTo>
                      <a:pt x="11212" y="247282"/>
                    </a:lnTo>
                    <a:lnTo>
                      <a:pt x="11061" y="249100"/>
                    </a:lnTo>
                    <a:lnTo>
                      <a:pt x="10303" y="250767"/>
                    </a:lnTo>
                    <a:lnTo>
                      <a:pt x="9091" y="252282"/>
                    </a:lnTo>
                    <a:lnTo>
                      <a:pt x="4546" y="255161"/>
                    </a:lnTo>
                    <a:lnTo>
                      <a:pt x="2273" y="258191"/>
                    </a:lnTo>
                    <a:lnTo>
                      <a:pt x="455" y="261979"/>
                    </a:lnTo>
                    <a:lnTo>
                      <a:pt x="0" y="264101"/>
                    </a:lnTo>
                    <a:lnTo>
                      <a:pt x="455" y="265464"/>
                    </a:lnTo>
                    <a:lnTo>
                      <a:pt x="1515" y="266525"/>
                    </a:lnTo>
                    <a:lnTo>
                      <a:pt x="2879" y="267131"/>
                    </a:lnTo>
                    <a:lnTo>
                      <a:pt x="4849" y="267282"/>
                    </a:lnTo>
                    <a:lnTo>
                      <a:pt x="8031" y="266676"/>
                    </a:lnTo>
                    <a:lnTo>
                      <a:pt x="11212" y="266222"/>
                    </a:lnTo>
                    <a:lnTo>
                      <a:pt x="14395" y="267586"/>
                    </a:lnTo>
                    <a:lnTo>
                      <a:pt x="16061" y="270768"/>
                    </a:lnTo>
                    <a:lnTo>
                      <a:pt x="15455" y="273040"/>
                    </a:lnTo>
                    <a:lnTo>
                      <a:pt x="16667" y="277283"/>
                    </a:lnTo>
                    <a:lnTo>
                      <a:pt x="17728" y="282283"/>
                    </a:lnTo>
                    <a:lnTo>
                      <a:pt x="17728" y="283950"/>
                    </a:lnTo>
                    <a:lnTo>
                      <a:pt x="18183" y="284707"/>
                    </a:lnTo>
                    <a:lnTo>
                      <a:pt x="20153" y="285010"/>
                    </a:lnTo>
                    <a:lnTo>
                      <a:pt x="20607" y="286223"/>
                    </a:lnTo>
                    <a:lnTo>
                      <a:pt x="20001" y="295011"/>
                    </a:lnTo>
                    <a:lnTo>
                      <a:pt x="20910" y="297435"/>
                    </a:lnTo>
                    <a:lnTo>
                      <a:pt x="22274" y="299253"/>
                    </a:lnTo>
                    <a:lnTo>
                      <a:pt x="23789" y="300162"/>
                    </a:lnTo>
                    <a:lnTo>
                      <a:pt x="25455" y="301375"/>
                    </a:lnTo>
                    <a:lnTo>
                      <a:pt x="26213" y="302132"/>
                    </a:lnTo>
                    <a:lnTo>
                      <a:pt x="28031" y="302284"/>
                    </a:lnTo>
                    <a:lnTo>
                      <a:pt x="30001" y="303950"/>
                    </a:lnTo>
                    <a:lnTo>
                      <a:pt x="30607" y="306072"/>
                    </a:lnTo>
                    <a:lnTo>
                      <a:pt x="30456" y="308193"/>
                    </a:lnTo>
                    <a:lnTo>
                      <a:pt x="29243" y="312587"/>
                    </a:lnTo>
                    <a:lnTo>
                      <a:pt x="28334" y="315618"/>
                    </a:lnTo>
                    <a:lnTo>
                      <a:pt x="30304" y="319103"/>
                    </a:lnTo>
                    <a:lnTo>
                      <a:pt x="31213" y="320315"/>
                    </a:lnTo>
                    <a:lnTo>
                      <a:pt x="39093" y="328345"/>
                    </a:lnTo>
                    <a:lnTo>
                      <a:pt x="40759" y="330315"/>
                    </a:lnTo>
                    <a:lnTo>
                      <a:pt x="44699" y="336073"/>
                    </a:lnTo>
                    <a:lnTo>
                      <a:pt x="47123" y="340012"/>
                    </a:lnTo>
                    <a:lnTo>
                      <a:pt x="49850" y="345770"/>
                    </a:lnTo>
                    <a:lnTo>
                      <a:pt x="50153" y="348801"/>
                    </a:lnTo>
                    <a:lnTo>
                      <a:pt x="49699" y="351528"/>
                    </a:lnTo>
                    <a:lnTo>
                      <a:pt x="49244" y="358953"/>
                    </a:lnTo>
                    <a:lnTo>
                      <a:pt x="48487" y="361074"/>
                    </a:lnTo>
                    <a:lnTo>
                      <a:pt x="45002" y="365165"/>
                    </a:lnTo>
                    <a:lnTo>
                      <a:pt x="44850" y="366983"/>
                    </a:lnTo>
                    <a:lnTo>
                      <a:pt x="45456" y="368498"/>
                    </a:lnTo>
                    <a:lnTo>
                      <a:pt x="46517" y="369104"/>
                    </a:lnTo>
                    <a:lnTo>
                      <a:pt x="47274" y="369862"/>
                    </a:lnTo>
                    <a:lnTo>
                      <a:pt x="46820" y="373347"/>
                    </a:lnTo>
                    <a:lnTo>
                      <a:pt x="48032" y="374711"/>
                    </a:lnTo>
                    <a:lnTo>
                      <a:pt x="50760" y="375620"/>
                    </a:lnTo>
                    <a:lnTo>
                      <a:pt x="57427" y="376226"/>
                    </a:lnTo>
                    <a:lnTo>
                      <a:pt x="60760" y="376832"/>
                    </a:lnTo>
                    <a:lnTo>
                      <a:pt x="63487" y="377438"/>
                    </a:lnTo>
                    <a:lnTo>
                      <a:pt x="63942" y="376680"/>
                    </a:lnTo>
                    <a:lnTo>
                      <a:pt x="65305" y="374711"/>
                    </a:lnTo>
                    <a:lnTo>
                      <a:pt x="67730" y="373347"/>
                    </a:lnTo>
                    <a:lnTo>
                      <a:pt x="74094" y="371377"/>
                    </a:lnTo>
                    <a:lnTo>
                      <a:pt x="74397" y="370620"/>
                    </a:lnTo>
                    <a:lnTo>
                      <a:pt x="74548" y="368195"/>
                    </a:lnTo>
                    <a:lnTo>
                      <a:pt x="75003" y="366983"/>
                    </a:lnTo>
                    <a:lnTo>
                      <a:pt x="77276" y="363347"/>
                    </a:lnTo>
                    <a:lnTo>
                      <a:pt x="77579" y="361983"/>
                    </a:lnTo>
                    <a:lnTo>
                      <a:pt x="77579" y="359104"/>
                    </a:lnTo>
                    <a:lnTo>
                      <a:pt x="77882" y="357589"/>
                    </a:lnTo>
                    <a:lnTo>
                      <a:pt x="78639" y="356680"/>
                    </a:lnTo>
                    <a:lnTo>
                      <a:pt x="80306" y="354861"/>
                    </a:lnTo>
                    <a:lnTo>
                      <a:pt x="80912" y="353801"/>
                    </a:lnTo>
                    <a:lnTo>
                      <a:pt x="81215" y="351528"/>
                    </a:lnTo>
                    <a:lnTo>
                      <a:pt x="81064" y="347134"/>
                    </a:lnTo>
                    <a:lnTo>
                      <a:pt x="81821" y="345316"/>
                    </a:lnTo>
                    <a:lnTo>
                      <a:pt x="85912" y="341225"/>
                    </a:lnTo>
                    <a:lnTo>
                      <a:pt x="86973" y="339406"/>
                    </a:lnTo>
                    <a:lnTo>
                      <a:pt x="87276" y="337740"/>
                    </a:lnTo>
                    <a:lnTo>
                      <a:pt x="87276" y="336073"/>
                    </a:lnTo>
                    <a:lnTo>
                      <a:pt x="87579" y="334406"/>
                    </a:lnTo>
                    <a:lnTo>
                      <a:pt x="88640" y="332891"/>
                    </a:lnTo>
                    <a:lnTo>
                      <a:pt x="89701" y="332285"/>
                    </a:lnTo>
                    <a:lnTo>
                      <a:pt x="92731" y="331830"/>
                    </a:lnTo>
                    <a:lnTo>
                      <a:pt x="94700" y="332133"/>
                    </a:lnTo>
                    <a:lnTo>
                      <a:pt x="108641" y="329406"/>
                    </a:lnTo>
                    <a:lnTo>
                      <a:pt x="110307" y="329709"/>
                    </a:lnTo>
                    <a:lnTo>
                      <a:pt x="111065" y="331376"/>
                    </a:lnTo>
                    <a:lnTo>
                      <a:pt x="111065" y="334103"/>
                    </a:lnTo>
                    <a:lnTo>
                      <a:pt x="111216" y="335315"/>
                    </a:lnTo>
                    <a:lnTo>
                      <a:pt x="111974" y="336224"/>
                    </a:lnTo>
                    <a:lnTo>
                      <a:pt x="114247" y="337437"/>
                    </a:lnTo>
                    <a:lnTo>
                      <a:pt x="115762" y="339558"/>
                    </a:lnTo>
                    <a:lnTo>
                      <a:pt x="116671" y="340467"/>
                    </a:lnTo>
                    <a:lnTo>
                      <a:pt x="118792" y="341831"/>
                    </a:lnTo>
                    <a:lnTo>
                      <a:pt x="129247" y="353952"/>
                    </a:lnTo>
                    <a:lnTo>
                      <a:pt x="132278" y="355013"/>
                    </a:lnTo>
                    <a:lnTo>
                      <a:pt x="135157" y="354710"/>
                    </a:lnTo>
                    <a:lnTo>
                      <a:pt x="140763" y="352134"/>
                    </a:lnTo>
                    <a:lnTo>
                      <a:pt x="143642" y="351528"/>
                    </a:lnTo>
                    <a:lnTo>
                      <a:pt x="163491" y="352134"/>
                    </a:lnTo>
                    <a:lnTo>
                      <a:pt x="165612" y="351831"/>
                    </a:lnTo>
                    <a:lnTo>
                      <a:pt x="165764" y="351831"/>
                    </a:lnTo>
                    <a:lnTo>
                      <a:pt x="168794" y="357892"/>
                    </a:lnTo>
                    <a:lnTo>
                      <a:pt x="170309" y="359256"/>
                    </a:lnTo>
                    <a:lnTo>
                      <a:pt x="192128" y="359407"/>
                    </a:lnTo>
                    <a:lnTo>
                      <a:pt x="191674" y="357740"/>
                    </a:lnTo>
                    <a:lnTo>
                      <a:pt x="191977" y="355771"/>
                    </a:lnTo>
                    <a:lnTo>
                      <a:pt x="194401" y="353195"/>
                    </a:lnTo>
                    <a:lnTo>
                      <a:pt x="195765" y="351983"/>
                    </a:lnTo>
                    <a:lnTo>
                      <a:pt x="195765" y="351983"/>
                    </a:lnTo>
                    <a:lnTo>
                      <a:pt x="196371" y="351528"/>
                    </a:lnTo>
                    <a:lnTo>
                      <a:pt x="199704" y="349861"/>
                    </a:lnTo>
                    <a:lnTo>
                      <a:pt x="202887" y="348649"/>
                    </a:lnTo>
                    <a:lnTo>
                      <a:pt x="209250" y="347285"/>
                    </a:lnTo>
                    <a:lnTo>
                      <a:pt x="211523" y="345013"/>
                    </a:lnTo>
                    <a:lnTo>
                      <a:pt x="212887" y="343043"/>
                    </a:lnTo>
                    <a:lnTo>
                      <a:pt x="212887" y="339103"/>
                    </a:lnTo>
                    <a:lnTo>
                      <a:pt x="213644" y="338497"/>
                    </a:lnTo>
                    <a:lnTo>
                      <a:pt x="215160" y="337588"/>
                    </a:lnTo>
                    <a:lnTo>
                      <a:pt x="222584" y="334103"/>
                    </a:lnTo>
                    <a:lnTo>
                      <a:pt x="223796" y="333346"/>
                    </a:lnTo>
                    <a:lnTo>
                      <a:pt x="236675" y="341528"/>
                    </a:lnTo>
                    <a:lnTo>
                      <a:pt x="243949" y="347892"/>
                    </a:lnTo>
                    <a:lnTo>
                      <a:pt x="244403" y="348346"/>
                    </a:lnTo>
                    <a:lnTo>
                      <a:pt x="244706" y="348346"/>
                    </a:lnTo>
                    <a:lnTo>
                      <a:pt x="245161" y="348195"/>
                    </a:lnTo>
                    <a:lnTo>
                      <a:pt x="245464" y="347892"/>
                    </a:lnTo>
                    <a:lnTo>
                      <a:pt x="245918" y="347740"/>
                    </a:lnTo>
                    <a:lnTo>
                      <a:pt x="246373" y="347588"/>
                    </a:lnTo>
                    <a:lnTo>
                      <a:pt x="249403" y="347437"/>
                    </a:lnTo>
                    <a:lnTo>
                      <a:pt x="255313" y="347134"/>
                    </a:lnTo>
                    <a:lnTo>
                      <a:pt x="257131" y="346376"/>
                    </a:lnTo>
                    <a:lnTo>
                      <a:pt x="268949" y="334861"/>
                    </a:lnTo>
                    <a:lnTo>
                      <a:pt x="271980" y="331073"/>
                    </a:lnTo>
                    <a:lnTo>
                      <a:pt x="272737" y="330315"/>
                    </a:lnTo>
                    <a:lnTo>
                      <a:pt x="274404" y="327739"/>
                    </a:lnTo>
                    <a:lnTo>
                      <a:pt x="276223" y="323194"/>
                    </a:lnTo>
                    <a:lnTo>
                      <a:pt x="276525" y="322739"/>
                    </a:lnTo>
                    <a:lnTo>
                      <a:pt x="289405" y="311830"/>
                    </a:lnTo>
                    <a:lnTo>
                      <a:pt x="289859" y="310921"/>
                    </a:lnTo>
                    <a:lnTo>
                      <a:pt x="290011" y="310315"/>
                    </a:lnTo>
                    <a:lnTo>
                      <a:pt x="288041" y="306678"/>
                    </a:lnTo>
                    <a:lnTo>
                      <a:pt x="287587" y="304708"/>
                    </a:lnTo>
                    <a:lnTo>
                      <a:pt x="287587" y="301829"/>
                    </a:lnTo>
                    <a:lnTo>
                      <a:pt x="287889" y="297435"/>
                    </a:lnTo>
                    <a:lnTo>
                      <a:pt x="287889" y="294556"/>
                    </a:lnTo>
                    <a:lnTo>
                      <a:pt x="287738" y="294253"/>
                    </a:lnTo>
                    <a:lnTo>
                      <a:pt x="287587" y="293799"/>
                    </a:lnTo>
                    <a:lnTo>
                      <a:pt x="287587" y="293647"/>
                    </a:lnTo>
                    <a:lnTo>
                      <a:pt x="280313" y="285617"/>
                    </a:lnTo>
                    <a:lnTo>
                      <a:pt x="298496" y="285617"/>
                    </a:lnTo>
                    <a:lnTo>
                      <a:pt x="298647" y="285010"/>
                    </a:lnTo>
                    <a:lnTo>
                      <a:pt x="298647" y="284556"/>
                    </a:lnTo>
                    <a:lnTo>
                      <a:pt x="298496" y="284253"/>
                    </a:lnTo>
                    <a:lnTo>
                      <a:pt x="298193" y="283344"/>
                    </a:lnTo>
                    <a:lnTo>
                      <a:pt x="298042" y="281980"/>
                    </a:lnTo>
                    <a:lnTo>
                      <a:pt x="297890" y="281677"/>
                    </a:lnTo>
                    <a:lnTo>
                      <a:pt x="298042" y="281374"/>
                    </a:lnTo>
                    <a:lnTo>
                      <a:pt x="298042" y="280616"/>
                    </a:lnTo>
                    <a:lnTo>
                      <a:pt x="298042" y="280313"/>
                    </a:lnTo>
                    <a:lnTo>
                      <a:pt x="298042" y="280162"/>
                    </a:lnTo>
                    <a:lnTo>
                      <a:pt x="298042" y="280010"/>
                    </a:lnTo>
                    <a:lnTo>
                      <a:pt x="298042" y="279859"/>
                    </a:lnTo>
                    <a:lnTo>
                      <a:pt x="298193" y="279707"/>
                    </a:lnTo>
                    <a:lnTo>
                      <a:pt x="311224" y="279859"/>
                    </a:lnTo>
                    <a:lnTo>
                      <a:pt x="311072" y="282132"/>
                    </a:lnTo>
                    <a:lnTo>
                      <a:pt x="309406" y="287435"/>
                    </a:lnTo>
                    <a:lnTo>
                      <a:pt x="309406" y="290617"/>
                    </a:lnTo>
                    <a:lnTo>
                      <a:pt x="309102" y="294405"/>
                    </a:lnTo>
                    <a:lnTo>
                      <a:pt x="308951" y="294556"/>
                    </a:lnTo>
                    <a:lnTo>
                      <a:pt x="308648" y="295465"/>
                    </a:lnTo>
                    <a:lnTo>
                      <a:pt x="308345" y="295920"/>
                    </a:lnTo>
                    <a:lnTo>
                      <a:pt x="308042" y="296374"/>
                    </a:lnTo>
                    <a:lnTo>
                      <a:pt x="307890" y="296526"/>
                    </a:lnTo>
                    <a:lnTo>
                      <a:pt x="307739" y="296678"/>
                    </a:lnTo>
                    <a:lnTo>
                      <a:pt x="307739" y="297132"/>
                    </a:lnTo>
                    <a:lnTo>
                      <a:pt x="310466" y="317587"/>
                    </a:lnTo>
                    <a:lnTo>
                      <a:pt x="310315" y="318042"/>
                    </a:lnTo>
                    <a:lnTo>
                      <a:pt x="310315" y="318345"/>
                    </a:lnTo>
                    <a:lnTo>
                      <a:pt x="309557" y="319709"/>
                    </a:lnTo>
                    <a:lnTo>
                      <a:pt x="309406" y="320012"/>
                    </a:lnTo>
                    <a:lnTo>
                      <a:pt x="309254" y="320466"/>
                    </a:lnTo>
                    <a:lnTo>
                      <a:pt x="309557" y="320618"/>
                    </a:lnTo>
                    <a:lnTo>
                      <a:pt x="315618" y="322891"/>
                    </a:lnTo>
                    <a:lnTo>
                      <a:pt x="315921" y="323042"/>
                    </a:lnTo>
                    <a:lnTo>
                      <a:pt x="316073" y="323194"/>
                    </a:lnTo>
                    <a:lnTo>
                      <a:pt x="318345" y="325769"/>
                    </a:lnTo>
                    <a:lnTo>
                      <a:pt x="330164" y="335467"/>
                    </a:lnTo>
                    <a:lnTo>
                      <a:pt x="330618" y="335921"/>
                    </a:lnTo>
                    <a:lnTo>
                      <a:pt x="331830" y="338952"/>
                    </a:lnTo>
                    <a:lnTo>
                      <a:pt x="331982" y="339406"/>
                    </a:lnTo>
                    <a:lnTo>
                      <a:pt x="331982" y="340164"/>
                    </a:lnTo>
                    <a:lnTo>
                      <a:pt x="331982" y="340770"/>
                    </a:lnTo>
                    <a:lnTo>
                      <a:pt x="331679" y="342588"/>
                    </a:lnTo>
                    <a:lnTo>
                      <a:pt x="331679" y="343346"/>
                    </a:lnTo>
                    <a:lnTo>
                      <a:pt x="331982" y="343952"/>
                    </a:lnTo>
                    <a:lnTo>
                      <a:pt x="332134" y="344558"/>
                    </a:lnTo>
                    <a:lnTo>
                      <a:pt x="332134" y="344710"/>
                    </a:lnTo>
                    <a:lnTo>
                      <a:pt x="332134" y="344861"/>
                    </a:lnTo>
                    <a:lnTo>
                      <a:pt x="331982" y="345164"/>
                    </a:lnTo>
                    <a:lnTo>
                      <a:pt x="330164" y="348649"/>
                    </a:lnTo>
                    <a:lnTo>
                      <a:pt x="329709" y="351073"/>
                    </a:lnTo>
                    <a:lnTo>
                      <a:pt x="329558" y="353195"/>
                    </a:lnTo>
                    <a:lnTo>
                      <a:pt x="329558" y="354407"/>
                    </a:lnTo>
                    <a:lnTo>
                      <a:pt x="329861" y="355165"/>
                    </a:lnTo>
                    <a:lnTo>
                      <a:pt x="329861" y="355468"/>
                    </a:lnTo>
                    <a:lnTo>
                      <a:pt x="330012" y="355468"/>
                    </a:lnTo>
                    <a:lnTo>
                      <a:pt x="330012" y="355619"/>
                    </a:lnTo>
                    <a:lnTo>
                      <a:pt x="330164" y="355619"/>
                    </a:lnTo>
                    <a:lnTo>
                      <a:pt x="335164" y="355619"/>
                    </a:lnTo>
                    <a:lnTo>
                      <a:pt x="335316" y="355619"/>
                    </a:lnTo>
                    <a:lnTo>
                      <a:pt x="335316" y="354255"/>
                    </a:lnTo>
                    <a:lnTo>
                      <a:pt x="336376" y="348346"/>
                    </a:lnTo>
                    <a:lnTo>
                      <a:pt x="337437" y="344861"/>
                    </a:lnTo>
                    <a:lnTo>
                      <a:pt x="338194" y="343194"/>
                    </a:lnTo>
                    <a:lnTo>
                      <a:pt x="341073" y="337437"/>
                    </a:lnTo>
                    <a:lnTo>
                      <a:pt x="341680" y="335618"/>
                    </a:lnTo>
                    <a:lnTo>
                      <a:pt x="341680" y="333952"/>
                    </a:lnTo>
                    <a:lnTo>
                      <a:pt x="340619" y="326376"/>
                    </a:lnTo>
                    <a:lnTo>
                      <a:pt x="342589" y="322739"/>
                    </a:lnTo>
                    <a:lnTo>
                      <a:pt x="344861" y="319254"/>
                    </a:lnTo>
                    <a:lnTo>
                      <a:pt x="346982" y="317739"/>
                    </a:lnTo>
                    <a:lnTo>
                      <a:pt x="348801" y="316678"/>
                    </a:lnTo>
                    <a:lnTo>
                      <a:pt x="349559" y="317133"/>
                    </a:lnTo>
                    <a:lnTo>
                      <a:pt x="351528" y="318800"/>
                    </a:lnTo>
                    <a:lnTo>
                      <a:pt x="354256" y="320466"/>
                    </a:lnTo>
                    <a:lnTo>
                      <a:pt x="355468" y="320012"/>
                    </a:lnTo>
                    <a:lnTo>
                      <a:pt x="357286" y="318648"/>
                    </a:lnTo>
                    <a:lnTo>
                      <a:pt x="358650" y="317133"/>
                    </a:lnTo>
                    <a:lnTo>
                      <a:pt x="358347" y="314405"/>
                    </a:lnTo>
                    <a:lnTo>
                      <a:pt x="359559" y="308951"/>
                    </a:lnTo>
                    <a:lnTo>
                      <a:pt x="359407" y="305769"/>
                    </a:lnTo>
                    <a:lnTo>
                      <a:pt x="360620" y="301829"/>
                    </a:lnTo>
                    <a:lnTo>
                      <a:pt x="362135" y="296374"/>
                    </a:lnTo>
                    <a:lnTo>
                      <a:pt x="362741" y="292890"/>
                    </a:lnTo>
                    <a:lnTo>
                      <a:pt x="363498" y="290920"/>
                    </a:lnTo>
                    <a:lnTo>
                      <a:pt x="367438" y="287132"/>
                    </a:lnTo>
                    <a:lnTo>
                      <a:pt x="370620" y="281525"/>
                    </a:lnTo>
                    <a:lnTo>
                      <a:pt x="372741" y="277586"/>
                    </a:lnTo>
                    <a:lnTo>
                      <a:pt x="376832" y="271070"/>
                    </a:lnTo>
                    <a:lnTo>
                      <a:pt x="378802" y="268646"/>
                    </a:lnTo>
                    <a:lnTo>
                      <a:pt x="380469" y="267586"/>
                    </a:lnTo>
                    <a:lnTo>
                      <a:pt x="382893" y="266980"/>
                    </a:lnTo>
                    <a:lnTo>
                      <a:pt x="387439" y="266373"/>
                    </a:lnTo>
                    <a:lnTo>
                      <a:pt x="390772" y="265767"/>
                    </a:lnTo>
                    <a:lnTo>
                      <a:pt x="391227" y="265010"/>
                    </a:lnTo>
                    <a:lnTo>
                      <a:pt x="391530" y="263646"/>
                    </a:lnTo>
                    <a:lnTo>
                      <a:pt x="391530" y="260767"/>
                    </a:lnTo>
                    <a:lnTo>
                      <a:pt x="392288" y="255616"/>
                    </a:lnTo>
                    <a:lnTo>
                      <a:pt x="393651" y="250767"/>
                    </a:lnTo>
                    <a:lnTo>
                      <a:pt x="395318" y="246979"/>
                    </a:lnTo>
                    <a:lnTo>
                      <a:pt x="396227" y="245312"/>
                    </a:lnTo>
                    <a:lnTo>
                      <a:pt x="397287" y="243645"/>
                    </a:lnTo>
                    <a:lnTo>
                      <a:pt x="398500" y="240918"/>
                    </a:lnTo>
                    <a:lnTo>
                      <a:pt x="400015" y="235009"/>
                    </a:lnTo>
                    <a:lnTo>
                      <a:pt x="400015" y="230918"/>
                    </a:lnTo>
                    <a:lnTo>
                      <a:pt x="402136" y="223493"/>
                    </a:lnTo>
                    <a:lnTo>
                      <a:pt x="401378" y="215462"/>
                    </a:lnTo>
                    <a:lnTo>
                      <a:pt x="400773" y="210159"/>
                    </a:lnTo>
                    <a:lnTo>
                      <a:pt x="400166" y="204553"/>
                    </a:lnTo>
                    <a:lnTo>
                      <a:pt x="399560" y="199098"/>
                    </a:lnTo>
                    <a:lnTo>
                      <a:pt x="402136" y="195916"/>
                    </a:lnTo>
                    <a:lnTo>
                      <a:pt x="403348" y="192734"/>
                    </a:lnTo>
                    <a:lnTo>
                      <a:pt x="406379" y="182582"/>
                    </a:lnTo>
                    <a:lnTo>
                      <a:pt x="407591" y="180613"/>
                    </a:lnTo>
                    <a:lnTo>
                      <a:pt x="410015" y="175158"/>
                    </a:lnTo>
                    <a:lnTo>
                      <a:pt x="410470" y="173643"/>
                    </a:lnTo>
                    <a:lnTo>
                      <a:pt x="412894" y="166673"/>
                    </a:lnTo>
                    <a:lnTo>
                      <a:pt x="412591" y="162127"/>
                    </a:lnTo>
                    <a:lnTo>
                      <a:pt x="412137" y="157582"/>
                    </a:lnTo>
                    <a:lnTo>
                      <a:pt x="413500" y="154854"/>
                    </a:lnTo>
                    <a:lnTo>
                      <a:pt x="414561" y="152581"/>
                    </a:lnTo>
                    <a:lnTo>
                      <a:pt x="414561" y="150763"/>
                    </a:lnTo>
                    <a:lnTo>
                      <a:pt x="415016" y="146520"/>
                    </a:lnTo>
                    <a:lnTo>
                      <a:pt x="415470" y="145460"/>
                    </a:lnTo>
                    <a:lnTo>
                      <a:pt x="416834" y="145309"/>
                    </a:lnTo>
                    <a:lnTo>
                      <a:pt x="419864" y="145914"/>
                    </a:lnTo>
                    <a:lnTo>
                      <a:pt x="421985" y="145460"/>
                    </a:lnTo>
                    <a:lnTo>
                      <a:pt x="424562" y="145460"/>
                    </a:lnTo>
                    <a:lnTo>
                      <a:pt x="426380" y="145309"/>
                    </a:lnTo>
                    <a:lnTo>
                      <a:pt x="427592" y="143945"/>
                    </a:lnTo>
                    <a:lnTo>
                      <a:pt x="429107" y="138944"/>
                    </a:lnTo>
                    <a:lnTo>
                      <a:pt x="430168" y="138035"/>
                    </a:lnTo>
                    <a:lnTo>
                      <a:pt x="430925" y="137732"/>
                    </a:lnTo>
                    <a:lnTo>
                      <a:pt x="433198" y="136672"/>
                    </a:lnTo>
                    <a:lnTo>
                      <a:pt x="435016" y="135308"/>
                    </a:lnTo>
                    <a:lnTo>
                      <a:pt x="436531" y="134247"/>
                    </a:lnTo>
                    <a:lnTo>
                      <a:pt x="437138" y="133944"/>
                    </a:lnTo>
                    <a:lnTo>
                      <a:pt x="438804" y="133944"/>
                    </a:lnTo>
                    <a:lnTo>
                      <a:pt x="440471" y="133187"/>
                    </a:lnTo>
                    <a:lnTo>
                      <a:pt x="441228" y="132581"/>
                    </a:lnTo>
                    <a:lnTo>
                      <a:pt x="443198" y="131975"/>
                    </a:lnTo>
                    <a:lnTo>
                      <a:pt x="445320" y="132278"/>
                    </a:lnTo>
                    <a:lnTo>
                      <a:pt x="446683" y="131672"/>
                    </a:lnTo>
                    <a:lnTo>
                      <a:pt x="447592" y="131217"/>
                    </a:lnTo>
                    <a:lnTo>
                      <a:pt x="448502" y="131217"/>
                    </a:lnTo>
                    <a:lnTo>
                      <a:pt x="449562" y="130611"/>
                    </a:lnTo>
                    <a:lnTo>
                      <a:pt x="449865" y="129702"/>
                    </a:lnTo>
                    <a:lnTo>
                      <a:pt x="450471" y="129247"/>
                    </a:lnTo>
                    <a:lnTo>
                      <a:pt x="451987" y="127883"/>
                    </a:lnTo>
                    <a:lnTo>
                      <a:pt x="452744" y="126974"/>
                    </a:lnTo>
                    <a:lnTo>
                      <a:pt x="453047" y="126065"/>
                    </a:lnTo>
                    <a:lnTo>
                      <a:pt x="453350" y="125308"/>
                    </a:lnTo>
                    <a:lnTo>
                      <a:pt x="454108" y="123944"/>
                    </a:lnTo>
                    <a:lnTo>
                      <a:pt x="456835" y="120762"/>
                    </a:lnTo>
                    <a:lnTo>
                      <a:pt x="459259" y="1189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0C92A90C-E19D-465B-95EA-B859907BF4CD}"/>
                  </a:ext>
                </a:extLst>
              </p:cNvPr>
              <p:cNvSpPr/>
              <p:nvPr/>
            </p:nvSpPr>
            <p:spPr>
              <a:xfrm>
                <a:off x="10036600" y="4742000"/>
                <a:ext cx="307738" cy="143338"/>
              </a:xfrm>
              <a:custGeom>
                <a:avLst/>
                <a:gdLst>
                  <a:gd name="connsiteX0" fmla="*/ 42881 w 307738"/>
                  <a:gd name="connsiteY0" fmla="*/ 20304 h 143338"/>
                  <a:gd name="connsiteX1" fmla="*/ 44850 w 307738"/>
                  <a:gd name="connsiteY1" fmla="*/ 20001 h 143338"/>
                  <a:gd name="connsiteX2" fmla="*/ 44850 w 307738"/>
                  <a:gd name="connsiteY2" fmla="*/ 20455 h 143338"/>
                  <a:gd name="connsiteX3" fmla="*/ 45456 w 307738"/>
                  <a:gd name="connsiteY3" fmla="*/ 21364 h 143338"/>
                  <a:gd name="connsiteX4" fmla="*/ 48183 w 307738"/>
                  <a:gd name="connsiteY4" fmla="*/ 22274 h 143338"/>
                  <a:gd name="connsiteX5" fmla="*/ 50305 w 307738"/>
                  <a:gd name="connsiteY5" fmla="*/ 20607 h 143338"/>
                  <a:gd name="connsiteX6" fmla="*/ 49396 w 307738"/>
                  <a:gd name="connsiteY6" fmla="*/ 19698 h 143338"/>
                  <a:gd name="connsiteX7" fmla="*/ 48487 w 307738"/>
                  <a:gd name="connsiteY7" fmla="*/ 19243 h 143338"/>
                  <a:gd name="connsiteX8" fmla="*/ 47426 w 307738"/>
                  <a:gd name="connsiteY8" fmla="*/ 19092 h 143338"/>
                  <a:gd name="connsiteX9" fmla="*/ 45305 w 307738"/>
                  <a:gd name="connsiteY9" fmla="*/ 18334 h 143338"/>
                  <a:gd name="connsiteX10" fmla="*/ 41365 w 307738"/>
                  <a:gd name="connsiteY10" fmla="*/ 15000 h 143338"/>
                  <a:gd name="connsiteX11" fmla="*/ 40152 w 307738"/>
                  <a:gd name="connsiteY11" fmla="*/ 13788 h 143338"/>
                  <a:gd name="connsiteX12" fmla="*/ 38941 w 307738"/>
                  <a:gd name="connsiteY12" fmla="*/ 9546 h 143338"/>
                  <a:gd name="connsiteX13" fmla="*/ 36971 w 307738"/>
                  <a:gd name="connsiteY13" fmla="*/ 7727 h 143338"/>
                  <a:gd name="connsiteX14" fmla="*/ 29698 w 307738"/>
                  <a:gd name="connsiteY14" fmla="*/ 4243 h 143338"/>
                  <a:gd name="connsiteX15" fmla="*/ 25304 w 307738"/>
                  <a:gd name="connsiteY15" fmla="*/ 909 h 143338"/>
                  <a:gd name="connsiteX16" fmla="*/ 21819 w 307738"/>
                  <a:gd name="connsiteY16" fmla="*/ 0 h 143338"/>
                  <a:gd name="connsiteX17" fmla="*/ 21062 w 307738"/>
                  <a:gd name="connsiteY17" fmla="*/ 757 h 143338"/>
                  <a:gd name="connsiteX18" fmla="*/ 21212 w 307738"/>
                  <a:gd name="connsiteY18" fmla="*/ 2879 h 143338"/>
                  <a:gd name="connsiteX19" fmla="*/ 22273 w 307738"/>
                  <a:gd name="connsiteY19" fmla="*/ 4091 h 143338"/>
                  <a:gd name="connsiteX20" fmla="*/ 27729 w 307738"/>
                  <a:gd name="connsiteY20" fmla="*/ 8182 h 143338"/>
                  <a:gd name="connsiteX21" fmla="*/ 33486 w 307738"/>
                  <a:gd name="connsiteY21" fmla="*/ 15607 h 143338"/>
                  <a:gd name="connsiteX22" fmla="*/ 38941 w 307738"/>
                  <a:gd name="connsiteY22" fmla="*/ 19546 h 143338"/>
                  <a:gd name="connsiteX23" fmla="*/ 42881 w 307738"/>
                  <a:gd name="connsiteY23" fmla="*/ 20304 h 143338"/>
                  <a:gd name="connsiteX24" fmla="*/ 40152 w 307738"/>
                  <a:gd name="connsiteY24" fmla="*/ 34698 h 143338"/>
                  <a:gd name="connsiteX25" fmla="*/ 38941 w 307738"/>
                  <a:gd name="connsiteY25" fmla="*/ 33940 h 143338"/>
                  <a:gd name="connsiteX26" fmla="*/ 36819 w 307738"/>
                  <a:gd name="connsiteY26" fmla="*/ 34244 h 143338"/>
                  <a:gd name="connsiteX27" fmla="*/ 35001 w 307738"/>
                  <a:gd name="connsiteY27" fmla="*/ 36213 h 143338"/>
                  <a:gd name="connsiteX28" fmla="*/ 35001 w 307738"/>
                  <a:gd name="connsiteY28" fmla="*/ 38335 h 143338"/>
                  <a:gd name="connsiteX29" fmla="*/ 37274 w 307738"/>
                  <a:gd name="connsiteY29" fmla="*/ 41214 h 143338"/>
                  <a:gd name="connsiteX30" fmla="*/ 40304 w 307738"/>
                  <a:gd name="connsiteY30" fmla="*/ 41365 h 143338"/>
                  <a:gd name="connsiteX31" fmla="*/ 40911 w 307738"/>
                  <a:gd name="connsiteY31" fmla="*/ 40911 h 143338"/>
                  <a:gd name="connsiteX32" fmla="*/ 41517 w 307738"/>
                  <a:gd name="connsiteY32" fmla="*/ 40153 h 143338"/>
                  <a:gd name="connsiteX33" fmla="*/ 41820 w 307738"/>
                  <a:gd name="connsiteY33" fmla="*/ 38335 h 143338"/>
                  <a:gd name="connsiteX34" fmla="*/ 41365 w 307738"/>
                  <a:gd name="connsiteY34" fmla="*/ 36365 h 143338"/>
                  <a:gd name="connsiteX35" fmla="*/ 40152 w 307738"/>
                  <a:gd name="connsiteY35" fmla="*/ 34698 h 143338"/>
                  <a:gd name="connsiteX36" fmla="*/ 46669 w 307738"/>
                  <a:gd name="connsiteY36" fmla="*/ 53184 h 143338"/>
                  <a:gd name="connsiteX37" fmla="*/ 47426 w 307738"/>
                  <a:gd name="connsiteY37" fmla="*/ 51062 h 143338"/>
                  <a:gd name="connsiteX38" fmla="*/ 46517 w 307738"/>
                  <a:gd name="connsiteY38" fmla="*/ 49547 h 143338"/>
                  <a:gd name="connsiteX39" fmla="*/ 45608 w 307738"/>
                  <a:gd name="connsiteY39" fmla="*/ 49850 h 143338"/>
                  <a:gd name="connsiteX40" fmla="*/ 42577 w 307738"/>
                  <a:gd name="connsiteY40" fmla="*/ 52275 h 143338"/>
                  <a:gd name="connsiteX41" fmla="*/ 41972 w 307738"/>
                  <a:gd name="connsiteY41" fmla="*/ 53487 h 143338"/>
                  <a:gd name="connsiteX42" fmla="*/ 45305 w 307738"/>
                  <a:gd name="connsiteY42" fmla="*/ 57123 h 143338"/>
                  <a:gd name="connsiteX43" fmla="*/ 46819 w 307738"/>
                  <a:gd name="connsiteY43" fmla="*/ 57881 h 143338"/>
                  <a:gd name="connsiteX44" fmla="*/ 46819 w 307738"/>
                  <a:gd name="connsiteY44" fmla="*/ 57426 h 143338"/>
                  <a:gd name="connsiteX45" fmla="*/ 45305 w 307738"/>
                  <a:gd name="connsiteY45" fmla="*/ 55760 h 143338"/>
                  <a:gd name="connsiteX46" fmla="*/ 45760 w 307738"/>
                  <a:gd name="connsiteY46" fmla="*/ 53638 h 143338"/>
                  <a:gd name="connsiteX47" fmla="*/ 46669 w 307738"/>
                  <a:gd name="connsiteY47" fmla="*/ 53184 h 143338"/>
                  <a:gd name="connsiteX48" fmla="*/ 60760 w 307738"/>
                  <a:gd name="connsiteY48" fmla="*/ 51820 h 143338"/>
                  <a:gd name="connsiteX49" fmla="*/ 58790 w 307738"/>
                  <a:gd name="connsiteY49" fmla="*/ 46820 h 143338"/>
                  <a:gd name="connsiteX50" fmla="*/ 57124 w 307738"/>
                  <a:gd name="connsiteY50" fmla="*/ 44547 h 143338"/>
                  <a:gd name="connsiteX51" fmla="*/ 54093 w 307738"/>
                  <a:gd name="connsiteY51" fmla="*/ 43789 h 143338"/>
                  <a:gd name="connsiteX52" fmla="*/ 53032 w 307738"/>
                  <a:gd name="connsiteY52" fmla="*/ 42426 h 143338"/>
                  <a:gd name="connsiteX53" fmla="*/ 52729 w 307738"/>
                  <a:gd name="connsiteY53" fmla="*/ 38032 h 143338"/>
                  <a:gd name="connsiteX54" fmla="*/ 49698 w 307738"/>
                  <a:gd name="connsiteY54" fmla="*/ 36971 h 143338"/>
                  <a:gd name="connsiteX55" fmla="*/ 48183 w 307738"/>
                  <a:gd name="connsiteY55" fmla="*/ 37426 h 143338"/>
                  <a:gd name="connsiteX56" fmla="*/ 45608 w 307738"/>
                  <a:gd name="connsiteY56" fmla="*/ 40456 h 143338"/>
                  <a:gd name="connsiteX57" fmla="*/ 45153 w 307738"/>
                  <a:gd name="connsiteY57" fmla="*/ 42274 h 143338"/>
                  <a:gd name="connsiteX58" fmla="*/ 42577 w 307738"/>
                  <a:gd name="connsiteY58" fmla="*/ 43638 h 143338"/>
                  <a:gd name="connsiteX59" fmla="*/ 42274 w 307738"/>
                  <a:gd name="connsiteY59" fmla="*/ 45002 h 143338"/>
                  <a:gd name="connsiteX60" fmla="*/ 42729 w 307738"/>
                  <a:gd name="connsiteY60" fmla="*/ 46365 h 143338"/>
                  <a:gd name="connsiteX61" fmla="*/ 44699 w 307738"/>
                  <a:gd name="connsiteY61" fmla="*/ 46820 h 143338"/>
                  <a:gd name="connsiteX62" fmla="*/ 46062 w 307738"/>
                  <a:gd name="connsiteY62" fmla="*/ 45305 h 143338"/>
                  <a:gd name="connsiteX63" fmla="*/ 50305 w 307738"/>
                  <a:gd name="connsiteY63" fmla="*/ 44850 h 143338"/>
                  <a:gd name="connsiteX64" fmla="*/ 51820 w 307738"/>
                  <a:gd name="connsiteY64" fmla="*/ 45153 h 143338"/>
                  <a:gd name="connsiteX65" fmla="*/ 51972 w 307738"/>
                  <a:gd name="connsiteY65" fmla="*/ 46971 h 143338"/>
                  <a:gd name="connsiteX66" fmla="*/ 52577 w 307738"/>
                  <a:gd name="connsiteY66" fmla="*/ 49850 h 143338"/>
                  <a:gd name="connsiteX67" fmla="*/ 54395 w 307738"/>
                  <a:gd name="connsiteY67" fmla="*/ 51366 h 143338"/>
                  <a:gd name="connsiteX68" fmla="*/ 56972 w 307738"/>
                  <a:gd name="connsiteY68" fmla="*/ 51971 h 143338"/>
                  <a:gd name="connsiteX69" fmla="*/ 58942 w 307738"/>
                  <a:gd name="connsiteY69" fmla="*/ 54396 h 143338"/>
                  <a:gd name="connsiteX70" fmla="*/ 59396 w 307738"/>
                  <a:gd name="connsiteY70" fmla="*/ 53335 h 143338"/>
                  <a:gd name="connsiteX71" fmla="*/ 60760 w 307738"/>
                  <a:gd name="connsiteY71" fmla="*/ 53184 h 143338"/>
                  <a:gd name="connsiteX72" fmla="*/ 60760 w 307738"/>
                  <a:gd name="connsiteY72" fmla="*/ 51820 h 143338"/>
                  <a:gd name="connsiteX73" fmla="*/ 52123 w 307738"/>
                  <a:gd name="connsiteY73" fmla="*/ 57275 h 143338"/>
                  <a:gd name="connsiteX74" fmla="*/ 50607 w 307738"/>
                  <a:gd name="connsiteY74" fmla="*/ 57123 h 143338"/>
                  <a:gd name="connsiteX75" fmla="*/ 48639 w 307738"/>
                  <a:gd name="connsiteY75" fmla="*/ 57426 h 143338"/>
                  <a:gd name="connsiteX76" fmla="*/ 48789 w 307738"/>
                  <a:gd name="connsiteY76" fmla="*/ 58032 h 143338"/>
                  <a:gd name="connsiteX77" fmla="*/ 52275 w 307738"/>
                  <a:gd name="connsiteY77" fmla="*/ 59548 h 143338"/>
                  <a:gd name="connsiteX78" fmla="*/ 53790 w 307738"/>
                  <a:gd name="connsiteY78" fmla="*/ 59851 h 143338"/>
                  <a:gd name="connsiteX79" fmla="*/ 53790 w 307738"/>
                  <a:gd name="connsiteY79" fmla="*/ 58942 h 143338"/>
                  <a:gd name="connsiteX80" fmla="*/ 53184 w 307738"/>
                  <a:gd name="connsiteY80" fmla="*/ 58335 h 143338"/>
                  <a:gd name="connsiteX81" fmla="*/ 52123 w 307738"/>
                  <a:gd name="connsiteY81" fmla="*/ 57275 h 143338"/>
                  <a:gd name="connsiteX82" fmla="*/ 66518 w 307738"/>
                  <a:gd name="connsiteY82" fmla="*/ 52578 h 143338"/>
                  <a:gd name="connsiteX83" fmla="*/ 63639 w 307738"/>
                  <a:gd name="connsiteY83" fmla="*/ 51820 h 143338"/>
                  <a:gd name="connsiteX84" fmla="*/ 62730 w 307738"/>
                  <a:gd name="connsiteY84" fmla="*/ 52881 h 143338"/>
                  <a:gd name="connsiteX85" fmla="*/ 61971 w 307738"/>
                  <a:gd name="connsiteY85" fmla="*/ 53335 h 143338"/>
                  <a:gd name="connsiteX86" fmla="*/ 61214 w 307738"/>
                  <a:gd name="connsiteY86" fmla="*/ 53487 h 143338"/>
                  <a:gd name="connsiteX87" fmla="*/ 60912 w 307738"/>
                  <a:gd name="connsiteY87" fmla="*/ 54093 h 143338"/>
                  <a:gd name="connsiteX88" fmla="*/ 60457 w 307738"/>
                  <a:gd name="connsiteY88" fmla="*/ 56366 h 143338"/>
                  <a:gd name="connsiteX89" fmla="*/ 62123 w 307738"/>
                  <a:gd name="connsiteY89" fmla="*/ 58184 h 143338"/>
                  <a:gd name="connsiteX90" fmla="*/ 64093 w 307738"/>
                  <a:gd name="connsiteY90" fmla="*/ 58942 h 143338"/>
                  <a:gd name="connsiteX91" fmla="*/ 66820 w 307738"/>
                  <a:gd name="connsiteY91" fmla="*/ 56820 h 143338"/>
                  <a:gd name="connsiteX92" fmla="*/ 66669 w 307738"/>
                  <a:gd name="connsiteY92" fmla="*/ 55760 h 143338"/>
                  <a:gd name="connsiteX93" fmla="*/ 66215 w 307738"/>
                  <a:gd name="connsiteY93" fmla="*/ 55154 h 143338"/>
                  <a:gd name="connsiteX94" fmla="*/ 65609 w 307738"/>
                  <a:gd name="connsiteY94" fmla="*/ 54699 h 143338"/>
                  <a:gd name="connsiteX95" fmla="*/ 67427 w 307738"/>
                  <a:gd name="connsiteY95" fmla="*/ 53335 h 143338"/>
                  <a:gd name="connsiteX96" fmla="*/ 66518 w 307738"/>
                  <a:gd name="connsiteY96" fmla="*/ 52578 h 143338"/>
                  <a:gd name="connsiteX97" fmla="*/ 123035 w 307738"/>
                  <a:gd name="connsiteY97" fmla="*/ 67578 h 143338"/>
                  <a:gd name="connsiteX98" fmla="*/ 125156 w 307738"/>
                  <a:gd name="connsiteY98" fmla="*/ 68639 h 143338"/>
                  <a:gd name="connsiteX99" fmla="*/ 125610 w 307738"/>
                  <a:gd name="connsiteY99" fmla="*/ 69699 h 143338"/>
                  <a:gd name="connsiteX100" fmla="*/ 125762 w 307738"/>
                  <a:gd name="connsiteY100" fmla="*/ 69851 h 143338"/>
                  <a:gd name="connsiteX101" fmla="*/ 126368 w 307738"/>
                  <a:gd name="connsiteY101" fmla="*/ 69548 h 143338"/>
                  <a:gd name="connsiteX102" fmla="*/ 128338 w 307738"/>
                  <a:gd name="connsiteY102" fmla="*/ 70154 h 143338"/>
                  <a:gd name="connsiteX103" fmla="*/ 129398 w 307738"/>
                  <a:gd name="connsiteY103" fmla="*/ 69093 h 143338"/>
                  <a:gd name="connsiteX104" fmla="*/ 126974 w 307738"/>
                  <a:gd name="connsiteY104" fmla="*/ 66972 h 143338"/>
                  <a:gd name="connsiteX105" fmla="*/ 125156 w 307738"/>
                  <a:gd name="connsiteY105" fmla="*/ 65457 h 143338"/>
                  <a:gd name="connsiteX106" fmla="*/ 124399 w 307738"/>
                  <a:gd name="connsiteY106" fmla="*/ 65457 h 143338"/>
                  <a:gd name="connsiteX107" fmla="*/ 122883 w 307738"/>
                  <a:gd name="connsiteY107" fmla="*/ 65002 h 143338"/>
                  <a:gd name="connsiteX108" fmla="*/ 120913 w 307738"/>
                  <a:gd name="connsiteY108" fmla="*/ 66063 h 143338"/>
                  <a:gd name="connsiteX109" fmla="*/ 121217 w 307738"/>
                  <a:gd name="connsiteY109" fmla="*/ 67275 h 143338"/>
                  <a:gd name="connsiteX110" fmla="*/ 123035 w 307738"/>
                  <a:gd name="connsiteY110" fmla="*/ 67578 h 143338"/>
                  <a:gd name="connsiteX111" fmla="*/ 157127 w 307738"/>
                  <a:gd name="connsiteY111" fmla="*/ 79397 h 143338"/>
                  <a:gd name="connsiteX112" fmla="*/ 156975 w 307738"/>
                  <a:gd name="connsiteY112" fmla="*/ 81821 h 143338"/>
                  <a:gd name="connsiteX113" fmla="*/ 156975 w 307738"/>
                  <a:gd name="connsiteY113" fmla="*/ 84094 h 143338"/>
                  <a:gd name="connsiteX114" fmla="*/ 157884 w 307738"/>
                  <a:gd name="connsiteY114" fmla="*/ 85155 h 143338"/>
                  <a:gd name="connsiteX115" fmla="*/ 158793 w 307738"/>
                  <a:gd name="connsiteY115" fmla="*/ 84397 h 143338"/>
                  <a:gd name="connsiteX116" fmla="*/ 160915 w 307738"/>
                  <a:gd name="connsiteY116" fmla="*/ 86518 h 143338"/>
                  <a:gd name="connsiteX117" fmla="*/ 161067 w 307738"/>
                  <a:gd name="connsiteY117" fmla="*/ 85458 h 143338"/>
                  <a:gd name="connsiteX118" fmla="*/ 160763 w 307738"/>
                  <a:gd name="connsiteY118" fmla="*/ 82579 h 143338"/>
                  <a:gd name="connsiteX119" fmla="*/ 156975 w 307738"/>
                  <a:gd name="connsiteY119" fmla="*/ 75457 h 143338"/>
                  <a:gd name="connsiteX120" fmla="*/ 155763 w 307738"/>
                  <a:gd name="connsiteY120" fmla="*/ 75003 h 143338"/>
                  <a:gd name="connsiteX121" fmla="*/ 156824 w 307738"/>
                  <a:gd name="connsiteY121" fmla="*/ 77579 h 143338"/>
                  <a:gd name="connsiteX122" fmla="*/ 157127 w 307738"/>
                  <a:gd name="connsiteY122" fmla="*/ 79397 h 143338"/>
                  <a:gd name="connsiteX123" fmla="*/ 26364 w 307738"/>
                  <a:gd name="connsiteY123" fmla="*/ 27425 h 143338"/>
                  <a:gd name="connsiteX124" fmla="*/ 24243 w 307738"/>
                  <a:gd name="connsiteY124" fmla="*/ 26364 h 143338"/>
                  <a:gd name="connsiteX125" fmla="*/ 22576 w 307738"/>
                  <a:gd name="connsiteY125" fmla="*/ 28183 h 143338"/>
                  <a:gd name="connsiteX126" fmla="*/ 22880 w 307738"/>
                  <a:gd name="connsiteY126" fmla="*/ 30001 h 143338"/>
                  <a:gd name="connsiteX127" fmla="*/ 25607 w 307738"/>
                  <a:gd name="connsiteY127" fmla="*/ 32728 h 143338"/>
                  <a:gd name="connsiteX128" fmla="*/ 25607 w 307738"/>
                  <a:gd name="connsiteY128" fmla="*/ 34395 h 143338"/>
                  <a:gd name="connsiteX129" fmla="*/ 26213 w 307738"/>
                  <a:gd name="connsiteY129" fmla="*/ 34850 h 143338"/>
                  <a:gd name="connsiteX130" fmla="*/ 27122 w 307738"/>
                  <a:gd name="connsiteY130" fmla="*/ 36365 h 143338"/>
                  <a:gd name="connsiteX131" fmla="*/ 27577 w 307738"/>
                  <a:gd name="connsiteY131" fmla="*/ 36062 h 143338"/>
                  <a:gd name="connsiteX132" fmla="*/ 28183 w 307738"/>
                  <a:gd name="connsiteY132" fmla="*/ 34850 h 143338"/>
                  <a:gd name="connsiteX133" fmla="*/ 30456 w 307738"/>
                  <a:gd name="connsiteY133" fmla="*/ 32122 h 143338"/>
                  <a:gd name="connsiteX134" fmla="*/ 30910 w 307738"/>
                  <a:gd name="connsiteY134" fmla="*/ 30607 h 143338"/>
                  <a:gd name="connsiteX135" fmla="*/ 28334 w 307738"/>
                  <a:gd name="connsiteY135" fmla="*/ 29850 h 143338"/>
                  <a:gd name="connsiteX136" fmla="*/ 26364 w 307738"/>
                  <a:gd name="connsiteY136" fmla="*/ 27425 h 143338"/>
                  <a:gd name="connsiteX137" fmla="*/ 757 w 307738"/>
                  <a:gd name="connsiteY137" fmla="*/ 10910 h 143338"/>
                  <a:gd name="connsiteX138" fmla="*/ 0 w 307738"/>
                  <a:gd name="connsiteY138" fmla="*/ 13031 h 143338"/>
                  <a:gd name="connsiteX139" fmla="*/ 1667 w 307738"/>
                  <a:gd name="connsiteY139" fmla="*/ 13940 h 143338"/>
                  <a:gd name="connsiteX140" fmla="*/ 4394 w 307738"/>
                  <a:gd name="connsiteY140" fmla="*/ 13334 h 143338"/>
                  <a:gd name="connsiteX141" fmla="*/ 5000 w 307738"/>
                  <a:gd name="connsiteY141" fmla="*/ 11819 h 143338"/>
                  <a:gd name="connsiteX142" fmla="*/ 1515 w 307738"/>
                  <a:gd name="connsiteY142" fmla="*/ 9849 h 143338"/>
                  <a:gd name="connsiteX143" fmla="*/ 757 w 307738"/>
                  <a:gd name="connsiteY143" fmla="*/ 10910 h 143338"/>
                  <a:gd name="connsiteX144" fmla="*/ 23941 w 307738"/>
                  <a:gd name="connsiteY144" fmla="*/ 37123 h 143338"/>
                  <a:gd name="connsiteX145" fmla="*/ 23637 w 307738"/>
                  <a:gd name="connsiteY145" fmla="*/ 38183 h 143338"/>
                  <a:gd name="connsiteX146" fmla="*/ 23637 w 307738"/>
                  <a:gd name="connsiteY146" fmla="*/ 39850 h 143338"/>
                  <a:gd name="connsiteX147" fmla="*/ 25000 w 307738"/>
                  <a:gd name="connsiteY147" fmla="*/ 43183 h 143338"/>
                  <a:gd name="connsiteX148" fmla="*/ 25304 w 307738"/>
                  <a:gd name="connsiteY148" fmla="*/ 42577 h 143338"/>
                  <a:gd name="connsiteX149" fmla="*/ 25607 w 307738"/>
                  <a:gd name="connsiteY149" fmla="*/ 40456 h 143338"/>
                  <a:gd name="connsiteX150" fmla="*/ 24395 w 307738"/>
                  <a:gd name="connsiteY150" fmla="*/ 36668 h 143338"/>
                  <a:gd name="connsiteX151" fmla="*/ 23941 w 307738"/>
                  <a:gd name="connsiteY151" fmla="*/ 37123 h 143338"/>
                  <a:gd name="connsiteX152" fmla="*/ 180916 w 307738"/>
                  <a:gd name="connsiteY152" fmla="*/ 112277 h 143338"/>
                  <a:gd name="connsiteX153" fmla="*/ 177279 w 307738"/>
                  <a:gd name="connsiteY153" fmla="*/ 106670 h 143338"/>
                  <a:gd name="connsiteX154" fmla="*/ 175915 w 307738"/>
                  <a:gd name="connsiteY154" fmla="*/ 105307 h 143338"/>
                  <a:gd name="connsiteX155" fmla="*/ 173643 w 307738"/>
                  <a:gd name="connsiteY155" fmla="*/ 105913 h 143338"/>
                  <a:gd name="connsiteX156" fmla="*/ 170613 w 307738"/>
                  <a:gd name="connsiteY156" fmla="*/ 104852 h 143338"/>
                  <a:gd name="connsiteX157" fmla="*/ 168643 w 307738"/>
                  <a:gd name="connsiteY157" fmla="*/ 105155 h 143338"/>
                  <a:gd name="connsiteX158" fmla="*/ 165157 w 307738"/>
                  <a:gd name="connsiteY158" fmla="*/ 103489 h 143338"/>
                  <a:gd name="connsiteX159" fmla="*/ 164703 w 307738"/>
                  <a:gd name="connsiteY159" fmla="*/ 103034 h 143338"/>
                  <a:gd name="connsiteX160" fmla="*/ 163491 w 307738"/>
                  <a:gd name="connsiteY160" fmla="*/ 102428 h 143338"/>
                  <a:gd name="connsiteX161" fmla="*/ 158642 w 307738"/>
                  <a:gd name="connsiteY161" fmla="*/ 99246 h 143338"/>
                  <a:gd name="connsiteX162" fmla="*/ 156066 w 307738"/>
                  <a:gd name="connsiteY162" fmla="*/ 98337 h 143338"/>
                  <a:gd name="connsiteX163" fmla="*/ 153945 w 307738"/>
                  <a:gd name="connsiteY163" fmla="*/ 98337 h 143338"/>
                  <a:gd name="connsiteX164" fmla="*/ 153491 w 307738"/>
                  <a:gd name="connsiteY164" fmla="*/ 100458 h 143338"/>
                  <a:gd name="connsiteX165" fmla="*/ 153793 w 307738"/>
                  <a:gd name="connsiteY165" fmla="*/ 101670 h 143338"/>
                  <a:gd name="connsiteX166" fmla="*/ 156672 w 307738"/>
                  <a:gd name="connsiteY166" fmla="*/ 101822 h 143338"/>
                  <a:gd name="connsiteX167" fmla="*/ 159097 w 307738"/>
                  <a:gd name="connsiteY167" fmla="*/ 102579 h 143338"/>
                  <a:gd name="connsiteX168" fmla="*/ 159400 w 307738"/>
                  <a:gd name="connsiteY168" fmla="*/ 105155 h 143338"/>
                  <a:gd name="connsiteX169" fmla="*/ 160460 w 307738"/>
                  <a:gd name="connsiteY169" fmla="*/ 106216 h 143338"/>
                  <a:gd name="connsiteX170" fmla="*/ 160460 w 307738"/>
                  <a:gd name="connsiteY170" fmla="*/ 108337 h 143338"/>
                  <a:gd name="connsiteX171" fmla="*/ 167279 w 307738"/>
                  <a:gd name="connsiteY171" fmla="*/ 112428 h 143338"/>
                  <a:gd name="connsiteX172" fmla="*/ 170461 w 307738"/>
                  <a:gd name="connsiteY172" fmla="*/ 113792 h 143338"/>
                  <a:gd name="connsiteX173" fmla="*/ 174249 w 307738"/>
                  <a:gd name="connsiteY173" fmla="*/ 114398 h 143338"/>
                  <a:gd name="connsiteX174" fmla="*/ 176521 w 307738"/>
                  <a:gd name="connsiteY174" fmla="*/ 115459 h 143338"/>
                  <a:gd name="connsiteX175" fmla="*/ 178643 w 307738"/>
                  <a:gd name="connsiteY175" fmla="*/ 115004 h 143338"/>
                  <a:gd name="connsiteX176" fmla="*/ 181370 w 307738"/>
                  <a:gd name="connsiteY176" fmla="*/ 115610 h 143338"/>
                  <a:gd name="connsiteX177" fmla="*/ 183340 w 307738"/>
                  <a:gd name="connsiteY177" fmla="*/ 115307 h 143338"/>
                  <a:gd name="connsiteX178" fmla="*/ 181068 w 307738"/>
                  <a:gd name="connsiteY178" fmla="*/ 113943 h 143338"/>
                  <a:gd name="connsiteX179" fmla="*/ 180916 w 307738"/>
                  <a:gd name="connsiteY179" fmla="*/ 112277 h 143338"/>
                  <a:gd name="connsiteX180" fmla="*/ 155763 w 307738"/>
                  <a:gd name="connsiteY180" fmla="*/ 82124 h 143338"/>
                  <a:gd name="connsiteX181" fmla="*/ 156066 w 307738"/>
                  <a:gd name="connsiteY181" fmla="*/ 81063 h 143338"/>
                  <a:gd name="connsiteX182" fmla="*/ 155763 w 307738"/>
                  <a:gd name="connsiteY182" fmla="*/ 78791 h 143338"/>
                  <a:gd name="connsiteX183" fmla="*/ 152733 w 307738"/>
                  <a:gd name="connsiteY183" fmla="*/ 74094 h 143338"/>
                  <a:gd name="connsiteX184" fmla="*/ 152733 w 307738"/>
                  <a:gd name="connsiteY184" fmla="*/ 70608 h 143338"/>
                  <a:gd name="connsiteX185" fmla="*/ 151369 w 307738"/>
                  <a:gd name="connsiteY185" fmla="*/ 68942 h 143338"/>
                  <a:gd name="connsiteX186" fmla="*/ 151217 w 307738"/>
                  <a:gd name="connsiteY186" fmla="*/ 67881 h 143338"/>
                  <a:gd name="connsiteX187" fmla="*/ 150005 w 307738"/>
                  <a:gd name="connsiteY187" fmla="*/ 64245 h 143338"/>
                  <a:gd name="connsiteX188" fmla="*/ 146824 w 307738"/>
                  <a:gd name="connsiteY188" fmla="*/ 61366 h 143338"/>
                  <a:gd name="connsiteX189" fmla="*/ 145005 w 307738"/>
                  <a:gd name="connsiteY189" fmla="*/ 60911 h 143338"/>
                  <a:gd name="connsiteX190" fmla="*/ 144096 w 307738"/>
                  <a:gd name="connsiteY190" fmla="*/ 59851 h 143338"/>
                  <a:gd name="connsiteX191" fmla="*/ 144399 w 307738"/>
                  <a:gd name="connsiteY191" fmla="*/ 57123 h 143338"/>
                  <a:gd name="connsiteX192" fmla="*/ 145308 w 307738"/>
                  <a:gd name="connsiteY192" fmla="*/ 56214 h 143338"/>
                  <a:gd name="connsiteX193" fmla="*/ 145611 w 307738"/>
                  <a:gd name="connsiteY193" fmla="*/ 54699 h 143338"/>
                  <a:gd name="connsiteX194" fmla="*/ 138793 w 307738"/>
                  <a:gd name="connsiteY194" fmla="*/ 46517 h 143338"/>
                  <a:gd name="connsiteX195" fmla="*/ 137429 w 307738"/>
                  <a:gd name="connsiteY195" fmla="*/ 46517 h 143338"/>
                  <a:gd name="connsiteX196" fmla="*/ 136974 w 307738"/>
                  <a:gd name="connsiteY196" fmla="*/ 47123 h 143338"/>
                  <a:gd name="connsiteX197" fmla="*/ 135914 w 307738"/>
                  <a:gd name="connsiteY197" fmla="*/ 47123 h 143338"/>
                  <a:gd name="connsiteX198" fmla="*/ 134551 w 307738"/>
                  <a:gd name="connsiteY198" fmla="*/ 46820 h 143338"/>
                  <a:gd name="connsiteX199" fmla="*/ 134399 w 307738"/>
                  <a:gd name="connsiteY199" fmla="*/ 48032 h 143338"/>
                  <a:gd name="connsiteX200" fmla="*/ 137732 w 307738"/>
                  <a:gd name="connsiteY200" fmla="*/ 52578 h 143338"/>
                  <a:gd name="connsiteX201" fmla="*/ 136369 w 307738"/>
                  <a:gd name="connsiteY201" fmla="*/ 54850 h 143338"/>
                  <a:gd name="connsiteX202" fmla="*/ 139399 w 307738"/>
                  <a:gd name="connsiteY202" fmla="*/ 64245 h 143338"/>
                  <a:gd name="connsiteX203" fmla="*/ 142127 w 307738"/>
                  <a:gd name="connsiteY203" fmla="*/ 69548 h 143338"/>
                  <a:gd name="connsiteX204" fmla="*/ 146217 w 307738"/>
                  <a:gd name="connsiteY204" fmla="*/ 72730 h 143338"/>
                  <a:gd name="connsiteX205" fmla="*/ 146672 w 307738"/>
                  <a:gd name="connsiteY205" fmla="*/ 73790 h 143338"/>
                  <a:gd name="connsiteX206" fmla="*/ 150763 w 307738"/>
                  <a:gd name="connsiteY206" fmla="*/ 76063 h 143338"/>
                  <a:gd name="connsiteX207" fmla="*/ 154400 w 307738"/>
                  <a:gd name="connsiteY207" fmla="*/ 81518 h 143338"/>
                  <a:gd name="connsiteX208" fmla="*/ 155763 w 307738"/>
                  <a:gd name="connsiteY208" fmla="*/ 82124 h 143338"/>
                  <a:gd name="connsiteX209" fmla="*/ 285920 w 307738"/>
                  <a:gd name="connsiteY209" fmla="*/ 111368 h 143338"/>
                  <a:gd name="connsiteX210" fmla="*/ 283192 w 307738"/>
                  <a:gd name="connsiteY210" fmla="*/ 110913 h 143338"/>
                  <a:gd name="connsiteX211" fmla="*/ 280010 w 307738"/>
                  <a:gd name="connsiteY211" fmla="*/ 111216 h 143338"/>
                  <a:gd name="connsiteX212" fmla="*/ 278647 w 307738"/>
                  <a:gd name="connsiteY212" fmla="*/ 111974 h 143338"/>
                  <a:gd name="connsiteX213" fmla="*/ 278040 w 307738"/>
                  <a:gd name="connsiteY213" fmla="*/ 113489 h 143338"/>
                  <a:gd name="connsiteX214" fmla="*/ 276829 w 307738"/>
                  <a:gd name="connsiteY214" fmla="*/ 113337 h 143338"/>
                  <a:gd name="connsiteX215" fmla="*/ 276829 w 307738"/>
                  <a:gd name="connsiteY215" fmla="*/ 114095 h 143338"/>
                  <a:gd name="connsiteX216" fmla="*/ 277586 w 307738"/>
                  <a:gd name="connsiteY216" fmla="*/ 115762 h 143338"/>
                  <a:gd name="connsiteX217" fmla="*/ 278647 w 307738"/>
                  <a:gd name="connsiteY217" fmla="*/ 115762 h 143338"/>
                  <a:gd name="connsiteX218" fmla="*/ 280010 w 307738"/>
                  <a:gd name="connsiteY218" fmla="*/ 116065 h 143338"/>
                  <a:gd name="connsiteX219" fmla="*/ 281828 w 307738"/>
                  <a:gd name="connsiteY219" fmla="*/ 114095 h 143338"/>
                  <a:gd name="connsiteX220" fmla="*/ 283496 w 307738"/>
                  <a:gd name="connsiteY220" fmla="*/ 113792 h 143338"/>
                  <a:gd name="connsiteX221" fmla="*/ 284253 w 307738"/>
                  <a:gd name="connsiteY221" fmla="*/ 113943 h 143338"/>
                  <a:gd name="connsiteX222" fmla="*/ 286374 w 307738"/>
                  <a:gd name="connsiteY222" fmla="*/ 113489 h 143338"/>
                  <a:gd name="connsiteX223" fmla="*/ 286223 w 307738"/>
                  <a:gd name="connsiteY223" fmla="*/ 113186 h 143338"/>
                  <a:gd name="connsiteX224" fmla="*/ 287132 w 307738"/>
                  <a:gd name="connsiteY224" fmla="*/ 111822 h 143338"/>
                  <a:gd name="connsiteX225" fmla="*/ 285920 w 307738"/>
                  <a:gd name="connsiteY225" fmla="*/ 111368 h 143338"/>
                  <a:gd name="connsiteX226" fmla="*/ 306375 w 307738"/>
                  <a:gd name="connsiteY226" fmla="*/ 137581 h 143338"/>
                  <a:gd name="connsiteX227" fmla="*/ 305769 w 307738"/>
                  <a:gd name="connsiteY227" fmla="*/ 136217 h 143338"/>
                  <a:gd name="connsiteX228" fmla="*/ 303951 w 307738"/>
                  <a:gd name="connsiteY228" fmla="*/ 136066 h 143338"/>
                  <a:gd name="connsiteX229" fmla="*/ 302738 w 307738"/>
                  <a:gd name="connsiteY229" fmla="*/ 136671 h 143338"/>
                  <a:gd name="connsiteX230" fmla="*/ 304405 w 307738"/>
                  <a:gd name="connsiteY230" fmla="*/ 139096 h 143338"/>
                  <a:gd name="connsiteX231" fmla="*/ 305314 w 307738"/>
                  <a:gd name="connsiteY231" fmla="*/ 139247 h 143338"/>
                  <a:gd name="connsiteX232" fmla="*/ 307739 w 307738"/>
                  <a:gd name="connsiteY232" fmla="*/ 138793 h 143338"/>
                  <a:gd name="connsiteX233" fmla="*/ 306375 w 307738"/>
                  <a:gd name="connsiteY233" fmla="*/ 137581 h 143338"/>
                  <a:gd name="connsiteX234" fmla="*/ 138944 w 307738"/>
                  <a:gd name="connsiteY234" fmla="*/ 85003 h 143338"/>
                  <a:gd name="connsiteX235" fmla="*/ 136974 w 307738"/>
                  <a:gd name="connsiteY235" fmla="*/ 84397 h 143338"/>
                  <a:gd name="connsiteX236" fmla="*/ 135460 w 307738"/>
                  <a:gd name="connsiteY236" fmla="*/ 81518 h 143338"/>
                  <a:gd name="connsiteX237" fmla="*/ 132732 w 307738"/>
                  <a:gd name="connsiteY237" fmla="*/ 80003 h 143338"/>
                  <a:gd name="connsiteX238" fmla="*/ 128035 w 307738"/>
                  <a:gd name="connsiteY238" fmla="*/ 76821 h 143338"/>
                  <a:gd name="connsiteX239" fmla="*/ 120156 w 307738"/>
                  <a:gd name="connsiteY239" fmla="*/ 76669 h 143338"/>
                  <a:gd name="connsiteX240" fmla="*/ 117580 w 307738"/>
                  <a:gd name="connsiteY240" fmla="*/ 77124 h 143338"/>
                  <a:gd name="connsiteX241" fmla="*/ 111519 w 307738"/>
                  <a:gd name="connsiteY241" fmla="*/ 72730 h 143338"/>
                  <a:gd name="connsiteX242" fmla="*/ 109701 w 307738"/>
                  <a:gd name="connsiteY242" fmla="*/ 72578 h 143338"/>
                  <a:gd name="connsiteX243" fmla="*/ 108034 w 307738"/>
                  <a:gd name="connsiteY243" fmla="*/ 73790 h 143338"/>
                  <a:gd name="connsiteX244" fmla="*/ 107579 w 307738"/>
                  <a:gd name="connsiteY244" fmla="*/ 75003 h 143338"/>
                  <a:gd name="connsiteX245" fmla="*/ 107731 w 307738"/>
                  <a:gd name="connsiteY245" fmla="*/ 78184 h 143338"/>
                  <a:gd name="connsiteX246" fmla="*/ 108034 w 307738"/>
                  <a:gd name="connsiteY246" fmla="*/ 79851 h 143338"/>
                  <a:gd name="connsiteX247" fmla="*/ 109701 w 307738"/>
                  <a:gd name="connsiteY247" fmla="*/ 82730 h 143338"/>
                  <a:gd name="connsiteX248" fmla="*/ 111822 w 307738"/>
                  <a:gd name="connsiteY248" fmla="*/ 85155 h 143338"/>
                  <a:gd name="connsiteX249" fmla="*/ 113186 w 307738"/>
                  <a:gd name="connsiteY249" fmla="*/ 86215 h 143338"/>
                  <a:gd name="connsiteX250" fmla="*/ 114550 w 307738"/>
                  <a:gd name="connsiteY250" fmla="*/ 86973 h 143338"/>
                  <a:gd name="connsiteX251" fmla="*/ 118641 w 307738"/>
                  <a:gd name="connsiteY251" fmla="*/ 87579 h 143338"/>
                  <a:gd name="connsiteX252" fmla="*/ 127429 w 307738"/>
                  <a:gd name="connsiteY252" fmla="*/ 87882 h 143338"/>
                  <a:gd name="connsiteX253" fmla="*/ 131823 w 307738"/>
                  <a:gd name="connsiteY253" fmla="*/ 89852 h 143338"/>
                  <a:gd name="connsiteX254" fmla="*/ 136369 w 307738"/>
                  <a:gd name="connsiteY254" fmla="*/ 90761 h 143338"/>
                  <a:gd name="connsiteX255" fmla="*/ 138187 w 307738"/>
                  <a:gd name="connsiteY255" fmla="*/ 90306 h 143338"/>
                  <a:gd name="connsiteX256" fmla="*/ 140611 w 307738"/>
                  <a:gd name="connsiteY256" fmla="*/ 89397 h 143338"/>
                  <a:gd name="connsiteX257" fmla="*/ 141066 w 307738"/>
                  <a:gd name="connsiteY257" fmla="*/ 88943 h 143338"/>
                  <a:gd name="connsiteX258" fmla="*/ 140460 w 307738"/>
                  <a:gd name="connsiteY258" fmla="*/ 86367 h 143338"/>
                  <a:gd name="connsiteX259" fmla="*/ 138944 w 307738"/>
                  <a:gd name="connsiteY259" fmla="*/ 85003 h 143338"/>
                  <a:gd name="connsiteX260" fmla="*/ 130611 w 307738"/>
                  <a:gd name="connsiteY260" fmla="*/ 139399 h 143338"/>
                  <a:gd name="connsiteX261" fmla="*/ 120459 w 307738"/>
                  <a:gd name="connsiteY261" fmla="*/ 133793 h 143338"/>
                  <a:gd name="connsiteX262" fmla="*/ 118338 w 307738"/>
                  <a:gd name="connsiteY262" fmla="*/ 133187 h 143338"/>
                  <a:gd name="connsiteX263" fmla="*/ 118034 w 307738"/>
                  <a:gd name="connsiteY263" fmla="*/ 133793 h 143338"/>
                  <a:gd name="connsiteX264" fmla="*/ 117883 w 307738"/>
                  <a:gd name="connsiteY264" fmla="*/ 135005 h 143338"/>
                  <a:gd name="connsiteX265" fmla="*/ 118489 w 307738"/>
                  <a:gd name="connsiteY265" fmla="*/ 136217 h 143338"/>
                  <a:gd name="connsiteX266" fmla="*/ 120762 w 307738"/>
                  <a:gd name="connsiteY266" fmla="*/ 136671 h 143338"/>
                  <a:gd name="connsiteX267" fmla="*/ 121065 w 307738"/>
                  <a:gd name="connsiteY267" fmla="*/ 137126 h 143338"/>
                  <a:gd name="connsiteX268" fmla="*/ 122429 w 307738"/>
                  <a:gd name="connsiteY268" fmla="*/ 138035 h 143338"/>
                  <a:gd name="connsiteX269" fmla="*/ 125762 w 307738"/>
                  <a:gd name="connsiteY269" fmla="*/ 138641 h 143338"/>
                  <a:gd name="connsiteX270" fmla="*/ 128035 w 307738"/>
                  <a:gd name="connsiteY270" fmla="*/ 140005 h 143338"/>
                  <a:gd name="connsiteX271" fmla="*/ 129096 w 307738"/>
                  <a:gd name="connsiteY271" fmla="*/ 142126 h 143338"/>
                  <a:gd name="connsiteX272" fmla="*/ 130459 w 307738"/>
                  <a:gd name="connsiteY272" fmla="*/ 142884 h 143338"/>
                  <a:gd name="connsiteX273" fmla="*/ 132126 w 307738"/>
                  <a:gd name="connsiteY273" fmla="*/ 143338 h 143338"/>
                  <a:gd name="connsiteX274" fmla="*/ 134096 w 307738"/>
                  <a:gd name="connsiteY274" fmla="*/ 142429 h 143338"/>
                  <a:gd name="connsiteX275" fmla="*/ 133035 w 307738"/>
                  <a:gd name="connsiteY275" fmla="*/ 141369 h 143338"/>
                  <a:gd name="connsiteX276" fmla="*/ 130611 w 307738"/>
                  <a:gd name="connsiteY276" fmla="*/ 139399 h 143338"/>
                  <a:gd name="connsiteX277" fmla="*/ 111367 w 307738"/>
                  <a:gd name="connsiteY277" fmla="*/ 50911 h 143338"/>
                  <a:gd name="connsiteX278" fmla="*/ 115004 w 307738"/>
                  <a:gd name="connsiteY278" fmla="*/ 53184 h 143338"/>
                  <a:gd name="connsiteX279" fmla="*/ 115004 w 307738"/>
                  <a:gd name="connsiteY279" fmla="*/ 52578 h 143338"/>
                  <a:gd name="connsiteX280" fmla="*/ 114246 w 307738"/>
                  <a:gd name="connsiteY280" fmla="*/ 50608 h 143338"/>
                  <a:gd name="connsiteX281" fmla="*/ 112731 w 307738"/>
                  <a:gd name="connsiteY281" fmla="*/ 49093 h 143338"/>
                  <a:gd name="connsiteX282" fmla="*/ 114095 w 307738"/>
                  <a:gd name="connsiteY282" fmla="*/ 46971 h 143338"/>
                  <a:gd name="connsiteX283" fmla="*/ 102882 w 307738"/>
                  <a:gd name="connsiteY283" fmla="*/ 38789 h 143338"/>
                  <a:gd name="connsiteX284" fmla="*/ 101064 w 307738"/>
                  <a:gd name="connsiteY284" fmla="*/ 37880 h 143338"/>
                  <a:gd name="connsiteX285" fmla="*/ 98792 w 307738"/>
                  <a:gd name="connsiteY285" fmla="*/ 37426 h 143338"/>
                  <a:gd name="connsiteX286" fmla="*/ 96367 w 307738"/>
                  <a:gd name="connsiteY286" fmla="*/ 35607 h 143338"/>
                  <a:gd name="connsiteX287" fmla="*/ 93943 w 307738"/>
                  <a:gd name="connsiteY287" fmla="*/ 35456 h 143338"/>
                  <a:gd name="connsiteX288" fmla="*/ 91216 w 307738"/>
                  <a:gd name="connsiteY288" fmla="*/ 33638 h 143338"/>
                  <a:gd name="connsiteX289" fmla="*/ 90155 w 307738"/>
                  <a:gd name="connsiteY289" fmla="*/ 32274 h 143338"/>
                  <a:gd name="connsiteX290" fmla="*/ 87124 w 307738"/>
                  <a:gd name="connsiteY290" fmla="*/ 30456 h 143338"/>
                  <a:gd name="connsiteX291" fmla="*/ 83640 w 307738"/>
                  <a:gd name="connsiteY291" fmla="*/ 27274 h 143338"/>
                  <a:gd name="connsiteX292" fmla="*/ 76064 w 307738"/>
                  <a:gd name="connsiteY292" fmla="*/ 25607 h 143338"/>
                  <a:gd name="connsiteX293" fmla="*/ 76669 w 307738"/>
                  <a:gd name="connsiteY293" fmla="*/ 26516 h 143338"/>
                  <a:gd name="connsiteX294" fmla="*/ 79093 w 307738"/>
                  <a:gd name="connsiteY294" fmla="*/ 28486 h 143338"/>
                  <a:gd name="connsiteX295" fmla="*/ 80002 w 307738"/>
                  <a:gd name="connsiteY295" fmla="*/ 31365 h 143338"/>
                  <a:gd name="connsiteX296" fmla="*/ 82427 w 307738"/>
                  <a:gd name="connsiteY296" fmla="*/ 33031 h 143338"/>
                  <a:gd name="connsiteX297" fmla="*/ 85003 w 307738"/>
                  <a:gd name="connsiteY297" fmla="*/ 35456 h 143338"/>
                  <a:gd name="connsiteX298" fmla="*/ 86519 w 307738"/>
                  <a:gd name="connsiteY298" fmla="*/ 36062 h 143338"/>
                  <a:gd name="connsiteX299" fmla="*/ 87124 w 307738"/>
                  <a:gd name="connsiteY299" fmla="*/ 36971 h 143338"/>
                  <a:gd name="connsiteX300" fmla="*/ 89548 w 307738"/>
                  <a:gd name="connsiteY300" fmla="*/ 39244 h 143338"/>
                  <a:gd name="connsiteX301" fmla="*/ 93488 w 307738"/>
                  <a:gd name="connsiteY301" fmla="*/ 40911 h 143338"/>
                  <a:gd name="connsiteX302" fmla="*/ 97579 w 307738"/>
                  <a:gd name="connsiteY302" fmla="*/ 43486 h 143338"/>
                  <a:gd name="connsiteX303" fmla="*/ 98943 w 307738"/>
                  <a:gd name="connsiteY303" fmla="*/ 43638 h 143338"/>
                  <a:gd name="connsiteX304" fmla="*/ 100610 w 307738"/>
                  <a:gd name="connsiteY304" fmla="*/ 45153 h 143338"/>
                  <a:gd name="connsiteX305" fmla="*/ 108488 w 307738"/>
                  <a:gd name="connsiteY305" fmla="*/ 48183 h 143338"/>
                  <a:gd name="connsiteX306" fmla="*/ 111367 w 307738"/>
                  <a:gd name="connsiteY306" fmla="*/ 50911 h 143338"/>
                  <a:gd name="connsiteX307" fmla="*/ 95761 w 307738"/>
                  <a:gd name="connsiteY307" fmla="*/ 65911 h 143338"/>
                  <a:gd name="connsiteX308" fmla="*/ 95155 w 307738"/>
                  <a:gd name="connsiteY308" fmla="*/ 65305 h 143338"/>
                  <a:gd name="connsiteX309" fmla="*/ 94549 w 307738"/>
                  <a:gd name="connsiteY309" fmla="*/ 65002 h 143338"/>
                  <a:gd name="connsiteX310" fmla="*/ 93185 w 307738"/>
                  <a:gd name="connsiteY310" fmla="*/ 65911 h 143338"/>
                  <a:gd name="connsiteX311" fmla="*/ 92125 w 307738"/>
                  <a:gd name="connsiteY311" fmla="*/ 67275 h 143338"/>
                  <a:gd name="connsiteX312" fmla="*/ 93034 w 307738"/>
                  <a:gd name="connsiteY312" fmla="*/ 68184 h 143338"/>
                  <a:gd name="connsiteX313" fmla="*/ 94549 w 307738"/>
                  <a:gd name="connsiteY313" fmla="*/ 68336 h 143338"/>
                  <a:gd name="connsiteX314" fmla="*/ 95761 w 307738"/>
                  <a:gd name="connsiteY314" fmla="*/ 68639 h 143338"/>
                  <a:gd name="connsiteX315" fmla="*/ 96064 w 307738"/>
                  <a:gd name="connsiteY315" fmla="*/ 68639 h 143338"/>
                  <a:gd name="connsiteX316" fmla="*/ 97276 w 307738"/>
                  <a:gd name="connsiteY316" fmla="*/ 67881 h 143338"/>
                  <a:gd name="connsiteX317" fmla="*/ 97124 w 307738"/>
                  <a:gd name="connsiteY317" fmla="*/ 66063 h 143338"/>
                  <a:gd name="connsiteX318" fmla="*/ 95761 w 307738"/>
                  <a:gd name="connsiteY318" fmla="*/ 65911 h 143338"/>
                  <a:gd name="connsiteX319" fmla="*/ 109701 w 307738"/>
                  <a:gd name="connsiteY319" fmla="*/ 51820 h 143338"/>
                  <a:gd name="connsiteX320" fmla="*/ 108640 w 307738"/>
                  <a:gd name="connsiteY320" fmla="*/ 50305 h 143338"/>
                  <a:gd name="connsiteX321" fmla="*/ 108488 w 307738"/>
                  <a:gd name="connsiteY321" fmla="*/ 49396 h 143338"/>
                  <a:gd name="connsiteX322" fmla="*/ 107277 w 307738"/>
                  <a:gd name="connsiteY322" fmla="*/ 48487 h 143338"/>
                  <a:gd name="connsiteX323" fmla="*/ 106216 w 307738"/>
                  <a:gd name="connsiteY323" fmla="*/ 49093 h 143338"/>
                  <a:gd name="connsiteX324" fmla="*/ 105761 w 307738"/>
                  <a:gd name="connsiteY324" fmla="*/ 50456 h 143338"/>
                  <a:gd name="connsiteX325" fmla="*/ 106670 w 307738"/>
                  <a:gd name="connsiteY325" fmla="*/ 51366 h 143338"/>
                  <a:gd name="connsiteX326" fmla="*/ 108640 w 307738"/>
                  <a:gd name="connsiteY326" fmla="*/ 52426 h 143338"/>
                  <a:gd name="connsiteX327" fmla="*/ 109701 w 307738"/>
                  <a:gd name="connsiteY327" fmla="*/ 51820 h 143338"/>
                  <a:gd name="connsiteX328" fmla="*/ 69397 w 307738"/>
                  <a:gd name="connsiteY328" fmla="*/ 56517 h 143338"/>
                  <a:gd name="connsiteX329" fmla="*/ 67881 w 307738"/>
                  <a:gd name="connsiteY329" fmla="*/ 59396 h 143338"/>
                  <a:gd name="connsiteX330" fmla="*/ 68488 w 307738"/>
                  <a:gd name="connsiteY330" fmla="*/ 60457 h 143338"/>
                  <a:gd name="connsiteX331" fmla="*/ 69093 w 307738"/>
                  <a:gd name="connsiteY331" fmla="*/ 60305 h 143338"/>
                  <a:gd name="connsiteX332" fmla="*/ 70608 w 307738"/>
                  <a:gd name="connsiteY332" fmla="*/ 59699 h 143338"/>
                  <a:gd name="connsiteX333" fmla="*/ 70154 w 307738"/>
                  <a:gd name="connsiteY333" fmla="*/ 58790 h 143338"/>
                  <a:gd name="connsiteX334" fmla="*/ 69397 w 307738"/>
                  <a:gd name="connsiteY334" fmla="*/ 56517 h 14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Lst>
                <a:rect l="l" t="t" r="r" b="b"/>
                <a:pathLst>
                  <a:path w="307738" h="143338">
                    <a:moveTo>
                      <a:pt x="42881" y="20304"/>
                    </a:moveTo>
                    <a:lnTo>
                      <a:pt x="44850" y="20001"/>
                    </a:lnTo>
                    <a:lnTo>
                      <a:pt x="44850" y="20455"/>
                    </a:lnTo>
                    <a:lnTo>
                      <a:pt x="45456" y="21364"/>
                    </a:lnTo>
                    <a:lnTo>
                      <a:pt x="48183" y="22274"/>
                    </a:lnTo>
                    <a:lnTo>
                      <a:pt x="50305" y="20607"/>
                    </a:lnTo>
                    <a:lnTo>
                      <a:pt x="49396" y="19698"/>
                    </a:lnTo>
                    <a:lnTo>
                      <a:pt x="48487" y="19243"/>
                    </a:lnTo>
                    <a:lnTo>
                      <a:pt x="47426" y="19092"/>
                    </a:lnTo>
                    <a:lnTo>
                      <a:pt x="45305" y="18334"/>
                    </a:lnTo>
                    <a:lnTo>
                      <a:pt x="41365" y="15000"/>
                    </a:lnTo>
                    <a:lnTo>
                      <a:pt x="40152" y="13788"/>
                    </a:lnTo>
                    <a:lnTo>
                      <a:pt x="38941" y="9546"/>
                    </a:lnTo>
                    <a:lnTo>
                      <a:pt x="36971" y="7727"/>
                    </a:lnTo>
                    <a:lnTo>
                      <a:pt x="29698" y="4243"/>
                    </a:lnTo>
                    <a:lnTo>
                      <a:pt x="25304" y="909"/>
                    </a:lnTo>
                    <a:lnTo>
                      <a:pt x="21819" y="0"/>
                    </a:lnTo>
                    <a:lnTo>
                      <a:pt x="21062" y="757"/>
                    </a:lnTo>
                    <a:lnTo>
                      <a:pt x="21212" y="2879"/>
                    </a:lnTo>
                    <a:lnTo>
                      <a:pt x="22273" y="4091"/>
                    </a:lnTo>
                    <a:lnTo>
                      <a:pt x="27729" y="8182"/>
                    </a:lnTo>
                    <a:lnTo>
                      <a:pt x="33486" y="15607"/>
                    </a:lnTo>
                    <a:lnTo>
                      <a:pt x="38941" y="19546"/>
                    </a:lnTo>
                    <a:lnTo>
                      <a:pt x="42881" y="20304"/>
                    </a:lnTo>
                    <a:close/>
                    <a:moveTo>
                      <a:pt x="40152" y="34698"/>
                    </a:moveTo>
                    <a:lnTo>
                      <a:pt x="38941" y="33940"/>
                    </a:lnTo>
                    <a:lnTo>
                      <a:pt x="36819" y="34244"/>
                    </a:lnTo>
                    <a:lnTo>
                      <a:pt x="35001" y="36213"/>
                    </a:lnTo>
                    <a:lnTo>
                      <a:pt x="35001" y="38335"/>
                    </a:lnTo>
                    <a:lnTo>
                      <a:pt x="37274" y="41214"/>
                    </a:lnTo>
                    <a:lnTo>
                      <a:pt x="40304" y="41365"/>
                    </a:lnTo>
                    <a:lnTo>
                      <a:pt x="40911" y="40911"/>
                    </a:lnTo>
                    <a:lnTo>
                      <a:pt x="41517" y="40153"/>
                    </a:lnTo>
                    <a:lnTo>
                      <a:pt x="41820" y="38335"/>
                    </a:lnTo>
                    <a:lnTo>
                      <a:pt x="41365" y="36365"/>
                    </a:lnTo>
                    <a:lnTo>
                      <a:pt x="40152" y="34698"/>
                    </a:lnTo>
                    <a:close/>
                    <a:moveTo>
                      <a:pt x="46669" y="53184"/>
                    </a:moveTo>
                    <a:lnTo>
                      <a:pt x="47426" y="51062"/>
                    </a:lnTo>
                    <a:lnTo>
                      <a:pt x="46517" y="49547"/>
                    </a:lnTo>
                    <a:lnTo>
                      <a:pt x="45608" y="49850"/>
                    </a:lnTo>
                    <a:lnTo>
                      <a:pt x="42577" y="52275"/>
                    </a:lnTo>
                    <a:lnTo>
                      <a:pt x="41972" y="53487"/>
                    </a:lnTo>
                    <a:lnTo>
                      <a:pt x="45305" y="57123"/>
                    </a:lnTo>
                    <a:lnTo>
                      <a:pt x="46819" y="57881"/>
                    </a:lnTo>
                    <a:lnTo>
                      <a:pt x="46819" y="57426"/>
                    </a:lnTo>
                    <a:lnTo>
                      <a:pt x="45305" y="55760"/>
                    </a:lnTo>
                    <a:lnTo>
                      <a:pt x="45760" y="53638"/>
                    </a:lnTo>
                    <a:lnTo>
                      <a:pt x="46669" y="53184"/>
                    </a:lnTo>
                    <a:close/>
                    <a:moveTo>
                      <a:pt x="60760" y="51820"/>
                    </a:moveTo>
                    <a:lnTo>
                      <a:pt x="58790" y="46820"/>
                    </a:lnTo>
                    <a:lnTo>
                      <a:pt x="57124" y="44547"/>
                    </a:lnTo>
                    <a:lnTo>
                      <a:pt x="54093" y="43789"/>
                    </a:lnTo>
                    <a:lnTo>
                      <a:pt x="53032" y="42426"/>
                    </a:lnTo>
                    <a:lnTo>
                      <a:pt x="52729" y="38032"/>
                    </a:lnTo>
                    <a:lnTo>
                      <a:pt x="49698" y="36971"/>
                    </a:lnTo>
                    <a:lnTo>
                      <a:pt x="48183" y="37426"/>
                    </a:lnTo>
                    <a:lnTo>
                      <a:pt x="45608" y="40456"/>
                    </a:lnTo>
                    <a:lnTo>
                      <a:pt x="45153" y="42274"/>
                    </a:lnTo>
                    <a:lnTo>
                      <a:pt x="42577" y="43638"/>
                    </a:lnTo>
                    <a:lnTo>
                      <a:pt x="42274" y="45002"/>
                    </a:lnTo>
                    <a:lnTo>
                      <a:pt x="42729" y="46365"/>
                    </a:lnTo>
                    <a:lnTo>
                      <a:pt x="44699" y="46820"/>
                    </a:lnTo>
                    <a:lnTo>
                      <a:pt x="46062" y="45305"/>
                    </a:lnTo>
                    <a:lnTo>
                      <a:pt x="50305" y="44850"/>
                    </a:lnTo>
                    <a:lnTo>
                      <a:pt x="51820" y="45153"/>
                    </a:lnTo>
                    <a:lnTo>
                      <a:pt x="51972" y="46971"/>
                    </a:lnTo>
                    <a:lnTo>
                      <a:pt x="52577" y="49850"/>
                    </a:lnTo>
                    <a:lnTo>
                      <a:pt x="54395" y="51366"/>
                    </a:lnTo>
                    <a:lnTo>
                      <a:pt x="56972" y="51971"/>
                    </a:lnTo>
                    <a:lnTo>
                      <a:pt x="58942" y="54396"/>
                    </a:lnTo>
                    <a:lnTo>
                      <a:pt x="59396" y="53335"/>
                    </a:lnTo>
                    <a:lnTo>
                      <a:pt x="60760" y="53184"/>
                    </a:lnTo>
                    <a:lnTo>
                      <a:pt x="60760" y="51820"/>
                    </a:lnTo>
                    <a:close/>
                    <a:moveTo>
                      <a:pt x="52123" y="57275"/>
                    </a:moveTo>
                    <a:lnTo>
                      <a:pt x="50607" y="57123"/>
                    </a:lnTo>
                    <a:lnTo>
                      <a:pt x="48639" y="57426"/>
                    </a:lnTo>
                    <a:lnTo>
                      <a:pt x="48789" y="58032"/>
                    </a:lnTo>
                    <a:lnTo>
                      <a:pt x="52275" y="59548"/>
                    </a:lnTo>
                    <a:lnTo>
                      <a:pt x="53790" y="59851"/>
                    </a:lnTo>
                    <a:lnTo>
                      <a:pt x="53790" y="58942"/>
                    </a:lnTo>
                    <a:lnTo>
                      <a:pt x="53184" y="58335"/>
                    </a:lnTo>
                    <a:lnTo>
                      <a:pt x="52123" y="57275"/>
                    </a:lnTo>
                    <a:close/>
                    <a:moveTo>
                      <a:pt x="66518" y="52578"/>
                    </a:moveTo>
                    <a:lnTo>
                      <a:pt x="63639" y="51820"/>
                    </a:lnTo>
                    <a:lnTo>
                      <a:pt x="62730" y="52881"/>
                    </a:lnTo>
                    <a:lnTo>
                      <a:pt x="61971" y="53335"/>
                    </a:lnTo>
                    <a:lnTo>
                      <a:pt x="61214" y="53487"/>
                    </a:lnTo>
                    <a:lnTo>
                      <a:pt x="60912" y="54093"/>
                    </a:lnTo>
                    <a:lnTo>
                      <a:pt x="60457" y="56366"/>
                    </a:lnTo>
                    <a:lnTo>
                      <a:pt x="62123" y="58184"/>
                    </a:lnTo>
                    <a:lnTo>
                      <a:pt x="64093" y="58942"/>
                    </a:lnTo>
                    <a:lnTo>
                      <a:pt x="66820" y="56820"/>
                    </a:lnTo>
                    <a:lnTo>
                      <a:pt x="66669" y="55760"/>
                    </a:lnTo>
                    <a:lnTo>
                      <a:pt x="66215" y="55154"/>
                    </a:lnTo>
                    <a:lnTo>
                      <a:pt x="65609" y="54699"/>
                    </a:lnTo>
                    <a:lnTo>
                      <a:pt x="67427" y="53335"/>
                    </a:lnTo>
                    <a:lnTo>
                      <a:pt x="66518" y="52578"/>
                    </a:lnTo>
                    <a:close/>
                    <a:moveTo>
                      <a:pt x="123035" y="67578"/>
                    </a:moveTo>
                    <a:lnTo>
                      <a:pt x="125156" y="68639"/>
                    </a:lnTo>
                    <a:lnTo>
                      <a:pt x="125610" y="69699"/>
                    </a:lnTo>
                    <a:lnTo>
                      <a:pt x="125762" y="69851"/>
                    </a:lnTo>
                    <a:lnTo>
                      <a:pt x="126368" y="69548"/>
                    </a:lnTo>
                    <a:lnTo>
                      <a:pt x="128338" y="70154"/>
                    </a:lnTo>
                    <a:lnTo>
                      <a:pt x="129398" y="69093"/>
                    </a:lnTo>
                    <a:lnTo>
                      <a:pt x="126974" y="66972"/>
                    </a:lnTo>
                    <a:lnTo>
                      <a:pt x="125156" y="65457"/>
                    </a:lnTo>
                    <a:lnTo>
                      <a:pt x="124399" y="65457"/>
                    </a:lnTo>
                    <a:lnTo>
                      <a:pt x="122883" y="65002"/>
                    </a:lnTo>
                    <a:lnTo>
                      <a:pt x="120913" y="66063"/>
                    </a:lnTo>
                    <a:lnTo>
                      <a:pt x="121217" y="67275"/>
                    </a:lnTo>
                    <a:lnTo>
                      <a:pt x="123035" y="67578"/>
                    </a:lnTo>
                    <a:close/>
                    <a:moveTo>
                      <a:pt x="157127" y="79397"/>
                    </a:moveTo>
                    <a:lnTo>
                      <a:pt x="156975" y="81821"/>
                    </a:lnTo>
                    <a:lnTo>
                      <a:pt x="156975" y="84094"/>
                    </a:lnTo>
                    <a:lnTo>
                      <a:pt x="157884" y="85155"/>
                    </a:lnTo>
                    <a:lnTo>
                      <a:pt x="158793" y="84397"/>
                    </a:lnTo>
                    <a:lnTo>
                      <a:pt x="160915" y="86518"/>
                    </a:lnTo>
                    <a:lnTo>
                      <a:pt x="161067" y="85458"/>
                    </a:lnTo>
                    <a:lnTo>
                      <a:pt x="160763" y="82579"/>
                    </a:lnTo>
                    <a:lnTo>
                      <a:pt x="156975" y="75457"/>
                    </a:lnTo>
                    <a:lnTo>
                      <a:pt x="155763" y="75003"/>
                    </a:lnTo>
                    <a:lnTo>
                      <a:pt x="156824" y="77579"/>
                    </a:lnTo>
                    <a:lnTo>
                      <a:pt x="157127" y="79397"/>
                    </a:lnTo>
                    <a:close/>
                    <a:moveTo>
                      <a:pt x="26364" y="27425"/>
                    </a:moveTo>
                    <a:lnTo>
                      <a:pt x="24243" y="26364"/>
                    </a:lnTo>
                    <a:lnTo>
                      <a:pt x="22576" y="28183"/>
                    </a:lnTo>
                    <a:lnTo>
                      <a:pt x="22880" y="30001"/>
                    </a:lnTo>
                    <a:lnTo>
                      <a:pt x="25607" y="32728"/>
                    </a:lnTo>
                    <a:lnTo>
                      <a:pt x="25607" y="34395"/>
                    </a:lnTo>
                    <a:lnTo>
                      <a:pt x="26213" y="34850"/>
                    </a:lnTo>
                    <a:lnTo>
                      <a:pt x="27122" y="36365"/>
                    </a:lnTo>
                    <a:lnTo>
                      <a:pt x="27577" y="36062"/>
                    </a:lnTo>
                    <a:lnTo>
                      <a:pt x="28183" y="34850"/>
                    </a:lnTo>
                    <a:lnTo>
                      <a:pt x="30456" y="32122"/>
                    </a:lnTo>
                    <a:lnTo>
                      <a:pt x="30910" y="30607"/>
                    </a:lnTo>
                    <a:lnTo>
                      <a:pt x="28334" y="29850"/>
                    </a:lnTo>
                    <a:lnTo>
                      <a:pt x="26364" y="27425"/>
                    </a:lnTo>
                    <a:close/>
                    <a:moveTo>
                      <a:pt x="757" y="10910"/>
                    </a:moveTo>
                    <a:lnTo>
                      <a:pt x="0" y="13031"/>
                    </a:lnTo>
                    <a:lnTo>
                      <a:pt x="1667" y="13940"/>
                    </a:lnTo>
                    <a:lnTo>
                      <a:pt x="4394" y="13334"/>
                    </a:lnTo>
                    <a:lnTo>
                      <a:pt x="5000" y="11819"/>
                    </a:lnTo>
                    <a:lnTo>
                      <a:pt x="1515" y="9849"/>
                    </a:lnTo>
                    <a:lnTo>
                      <a:pt x="757" y="10910"/>
                    </a:lnTo>
                    <a:close/>
                    <a:moveTo>
                      <a:pt x="23941" y="37123"/>
                    </a:moveTo>
                    <a:lnTo>
                      <a:pt x="23637" y="38183"/>
                    </a:lnTo>
                    <a:lnTo>
                      <a:pt x="23637" y="39850"/>
                    </a:lnTo>
                    <a:lnTo>
                      <a:pt x="25000" y="43183"/>
                    </a:lnTo>
                    <a:lnTo>
                      <a:pt x="25304" y="42577"/>
                    </a:lnTo>
                    <a:lnTo>
                      <a:pt x="25607" y="40456"/>
                    </a:lnTo>
                    <a:lnTo>
                      <a:pt x="24395" y="36668"/>
                    </a:lnTo>
                    <a:lnTo>
                      <a:pt x="23941" y="37123"/>
                    </a:lnTo>
                    <a:close/>
                    <a:moveTo>
                      <a:pt x="180916" y="112277"/>
                    </a:moveTo>
                    <a:lnTo>
                      <a:pt x="177279" y="106670"/>
                    </a:lnTo>
                    <a:lnTo>
                      <a:pt x="175915" y="105307"/>
                    </a:lnTo>
                    <a:lnTo>
                      <a:pt x="173643" y="105913"/>
                    </a:lnTo>
                    <a:lnTo>
                      <a:pt x="170613" y="104852"/>
                    </a:lnTo>
                    <a:lnTo>
                      <a:pt x="168643" y="105155"/>
                    </a:lnTo>
                    <a:lnTo>
                      <a:pt x="165157" y="103489"/>
                    </a:lnTo>
                    <a:lnTo>
                      <a:pt x="164703" y="103034"/>
                    </a:lnTo>
                    <a:lnTo>
                      <a:pt x="163491" y="102428"/>
                    </a:lnTo>
                    <a:lnTo>
                      <a:pt x="158642" y="99246"/>
                    </a:lnTo>
                    <a:lnTo>
                      <a:pt x="156066" y="98337"/>
                    </a:lnTo>
                    <a:lnTo>
                      <a:pt x="153945" y="98337"/>
                    </a:lnTo>
                    <a:lnTo>
                      <a:pt x="153491" y="100458"/>
                    </a:lnTo>
                    <a:lnTo>
                      <a:pt x="153793" y="101670"/>
                    </a:lnTo>
                    <a:lnTo>
                      <a:pt x="156672" y="101822"/>
                    </a:lnTo>
                    <a:lnTo>
                      <a:pt x="159097" y="102579"/>
                    </a:lnTo>
                    <a:lnTo>
                      <a:pt x="159400" y="105155"/>
                    </a:lnTo>
                    <a:lnTo>
                      <a:pt x="160460" y="106216"/>
                    </a:lnTo>
                    <a:lnTo>
                      <a:pt x="160460" y="108337"/>
                    </a:lnTo>
                    <a:lnTo>
                      <a:pt x="167279" y="112428"/>
                    </a:lnTo>
                    <a:lnTo>
                      <a:pt x="170461" y="113792"/>
                    </a:lnTo>
                    <a:lnTo>
                      <a:pt x="174249" y="114398"/>
                    </a:lnTo>
                    <a:lnTo>
                      <a:pt x="176521" y="115459"/>
                    </a:lnTo>
                    <a:lnTo>
                      <a:pt x="178643" y="115004"/>
                    </a:lnTo>
                    <a:lnTo>
                      <a:pt x="181370" y="115610"/>
                    </a:lnTo>
                    <a:lnTo>
                      <a:pt x="183340" y="115307"/>
                    </a:lnTo>
                    <a:lnTo>
                      <a:pt x="181068" y="113943"/>
                    </a:lnTo>
                    <a:lnTo>
                      <a:pt x="180916" y="112277"/>
                    </a:lnTo>
                    <a:close/>
                    <a:moveTo>
                      <a:pt x="155763" y="82124"/>
                    </a:moveTo>
                    <a:lnTo>
                      <a:pt x="156066" y="81063"/>
                    </a:lnTo>
                    <a:lnTo>
                      <a:pt x="155763" y="78791"/>
                    </a:lnTo>
                    <a:lnTo>
                      <a:pt x="152733" y="74094"/>
                    </a:lnTo>
                    <a:lnTo>
                      <a:pt x="152733" y="70608"/>
                    </a:lnTo>
                    <a:lnTo>
                      <a:pt x="151369" y="68942"/>
                    </a:lnTo>
                    <a:lnTo>
                      <a:pt x="151217" y="67881"/>
                    </a:lnTo>
                    <a:lnTo>
                      <a:pt x="150005" y="64245"/>
                    </a:lnTo>
                    <a:lnTo>
                      <a:pt x="146824" y="61366"/>
                    </a:lnTo>
                    <a:lnTo>
                      <a:pt x="145005" y="60911"/>
                    </a:lnTo>
                    <a:lnTo>
                      <a:pt x="144096" y="59851"/>
                    </a:lnTo>
                    <a:lnTo>
                      <a:pt x="144399" y="57123"/>
                    </a:lnTo>
                    <a:lnTo>
                      <a:pt x="145308" y="56214"/>
                    </a:lnTo>
                    <a:lnTo>
                      <a:pt x="145611" y="54699"/>
                    </a:lnTo>
                    <a:lnTo>
                      <a:pt x="138793" y="46517"/>
                    </a:lnTo>
                    <a:lnTo>
                      <a:pt x="137429" y="46517"/>
                    </a:lnTo>
                    <a:lnTo>
                      <a:pt x="136974" y="47123"/>
                    </a:lnTo>
                    <a:lnTo>
                      <a:pt x="135914" y="47123"/>
                    </a:lnTo>
                    <a:lnTo>
                      <a:pt x="134551" y="46820"/>
                    </a:lnTo>
                    <a:lnTo>
                      <a:pt x="134399" y="48032"/>
                    </a:lnTo>
                    <a:lnTo>
                      <a:pt x="137732" y="52578"/>
                    </a:lnTo>
                    <a:lnTo>
                      <a:pt x="136369" y="54850"/>
                    </a:lnTo>
                    <a:lnTo>
                      <a:pt x="139399" y="64245"/>
                    </a:lnTo>
                    <a:lnTo>
                      <a:pt x="142127" y="69548"/>
                    </a:lnTo>
                    <a:lnTo>
                      <a:pt x="146217" y="72730"/>
                    </a:lnTo>
                    <a:lnTo>
                      <a:pt x="146672" y="73790"/>
                    </a:lnTo>
                    <a:lnTo>
                      <a:pt x="150763" y="76063"/>
                    </a:lnTo>
                    <a:lnTo>
                      <a:pt x="154400" y="81518"/>
                    </a:lnTo>
                    <a:lnTo>
                      <a:pt x="155763" y="82124"/>
                    </a:lnTo>
                    <a:close/>
                    <a:moveTo>
                      <a:pt x="285920" y="111368"/>
                    </a:moveTo>
                    <a:lnTo>
                      <a:pt x="283192" y="110913"/>
                    </a:lnTo>
                    <a:lnTo>
                      <a:pt x="280010" y="111216"/>
                    </a:lnTo>
                    <a:lnTo>
                      <a:pt x="278647" y="111974"/>
                    </a:lnTo>
                    <a:lnTo>
                      <a:pt x="278040" y="113489"/>
                    </a:lnTo>
                    <a:lnTo>
                      <a:pt x="276829" y="113337"/>
                    </a:lnTo>
                    <a:lnTo>
                      <a:pt x="276829" y="114095"/>
                    </a:lnTo>
                    <a:lnTo>
                      <a:pt x="277586" y="115762"/>
                    </a:lnTo>
                    <a:lnTo>
                      <a:pt x="278647" y="115762"/>
                    </a:lnTo>
                    <a:lnTo>
                      <a:pt x="280010" y="116065"/>
                    </a:lnTo>
                    <a:lnTo>
                      <a:pt x="281828" y="114095"/>
                    </a:lnTo>
                    <a:lnTo>
                      <a:pt x="283496" y="113792"/>
                    </a:lnTo>
                    <a:lnTo>
                      <a:pt x="284253" y="113943"/>
                    </a:lnTo>
                    <a:lnTo>
                      <a:pt x="286374" y="113489"/>
                    </a:lnTo>
                    <a:lnTo>
                      <a:pt x="286223" y="113186"/>
                    </a:lnTo>
                    <a:lnTo>
                      <a:pt x="287132" y="111822"/>
                    </a:lnTo>
                    <a:lnTo>
                      <a:pt x="285920" y="111368"/>
                    </a:lnTo>
                    <a:close/>
                    <a:moveTo>
                      <a:pt x="306375" y="137581"/>
                    </a:moveTo>
                    <a:lnTo>
                      <a:pt x="305769" y="136217"/>
                    </a:lnTo>
                    <a:lnTo>
                      <a:pt x="303951" y="136066"/>
                    </a:lnTo>
                    <a:lnTo>
                      <a:pt x="302738" y="136671"/>
                    </a:lnTo>
                    <a:lnTo>
                      <a:pt x="304405" y="139096"/>
                    </a:lnTo>
                    <a:lnTo>
                      <a:pt x="305314" y="139247"/>
                    </a:lnTo>
                    <a:lnTo>
                      <a:pt x="307739" y="138793"/>
                    </a:lnTo>
                    <a:lnTo>
                      <a:pt x="306375" y="137581"/>
                    </a:lnTo>
                    <a:close/>
                    <a:moveTo>
                      <a:pt x="138944" y="85003"/>
                    </a:moveTo>
                    <a:lnTo>
                      <a:pt x="136974" y="84397"/>
                    </a:lnTo>
                    <a:lnTo>
                      <a:pt x="135460" y="81518"/>
                    </a:lnTo>
                    <a:lnTo>
                      <a:pt x="132732" y="80003"/>
                    </a:lnTo>
                    <a:lnTo>
                      <a:pt x="128035" y="76821"/>
                    </a:lnTo>
                    <a:lnTo>
                      <a:pt x="120156" y="76669"/>
                    </a:lnTo>
                    <a:lnTo>
                      <a:pt x="117580" y="77124"/>
                    </a:lnTo>
                    <a:lnTo>
                      <a:pt x="111519" y="72730"/>
                    </a:lnTo>
                    <a:lnTo>
                      <a:pt x="109701" y="72578"/>
                    </a:lnTo>
                    <a:lnTo>
                      <a:pt x="108034" y="73790"/>
                    </a:lnTo>
                    <a:lnTo>
                      <a:pt x="107579" y="75003"/>
                    </a:lnTo>
                    <a:lnTo>
                      <a:pt x="107731" y="78184"/>
                    </a:lnTo>
                    <a:lnTo>
                      <a:pt x="108034" y="79851"/>
                    </a:lnTo>
                    <a:lnTo>
                      <a:pt x="109701" y="82730"/>
                    </a:lnTo>
                    <a:lnTo>
                      <a:pt x="111822" y="85155"/>
                    </a:lnTo>
                    <a:lnTo>
                      <a:pt x="113186" y="86215"/>
                    </a:lnTo>
                    <a:lnTo>
                      <a:pt x="114550" y="86973"/>
                    </a:lnTo>
                    <a:lnTo>
                      <a:pt x="118641" y="87579"/>
                    </a:lnTo>
                    <a:lnTo>
                      <a:pt x="127429" y="87882"/>
                    </a:lnTo>
                    <a:lnTo>
                      <a:pt x="131823" y="89852"/>
                    </a:lnTo>
                    <a:lnTo>
                      <a:pt x="136369" y="90761"/>
                    </a:lnTo>
                    <a:lnTo>
                      <a:pt x="138187" y="90306"/>
                    </a:lnTo>
                    <a:lnTo>
                      <a:pt x="140611" y="89397"/>
                    </a:lnTo>
                    <a:lnTo>
                      <a:pt x="141066" y="88943"/>
                    </a:lnTo>
                    <a:lnTo>
                      <a:pt x="140460" y="86367"/>
                    </a:lnTo>
                    <a:lnTo>
                      <a:pt x="138944" y="85003"/>
                    </a:lnTo>
                    <a:close/>
                    <a:moveTo>
                      <a:pt x="130611" y="139399"/>
                    </a:moveTo>
                    <a:lnTo>
                      <a:pt x="120459" y="133793"/>
                    </a:lnTo>
                    <a:lnTo>
                      <a:pt x="118338" y="133187"/>
                    </a:lnTo>
                    <a:lnTo>
                      <a:pt x="118034" y="133793"/>
                    </a:lnTo>
                    <a:lnTo>
                      <a:pt x="117883" y="135005"/>
                    </a:lnTo>
                    <a:lnTo>
                      <a:pt x="118489" y="136217"/>
                    </a:lnTo>
                    <a:lnTo>
                      <a:pt x="120762" y="136671"/>
                    </a:lnTo>
                    <a:lnTo>
                      <a:pt x="121065" y="137126"/>
                    </a:lnTo>
                    <a:lnTo>
                      <a:pt x="122429" y="138035"/>
                    </a:lnTo>
                    <a:lnTo>
                      <a:pt x="125762" y="138641"/>
                    </a:lnTo>
                    <a:lnTo>
                      <a:pt x="128035" y="140005"/>
                    </a:lnTo>
                    <a:lnTo>
                      <a:pt x="129096" y="142126"/>
                    </a:lnTo>
                    <a:lnTo>
                      <a:pt x="130459" y="142884"/>
                    </a:lnTo>
                    <a:lnTo>
                      <a:pt x="132126" y="143338"/>
                    </a:lnTo>
                    <a:lnTo>
                      <a:pt x="134096" y="142429"/>
                    </a:lnTo>
                    <a:lnTo>
                      <a:pt x="133035" y="141369"/>
                    </a:lnTo>
                    <a:lnTo>
                      <a:pt x="130611" y="139399"/>
                    </a:lnTo>
                    <a:close/>
                    <a:moveTo>
                      <a:pt x="111367" y="50911"/>
                    </a:moveTo>
                    <a:lnTo>
                      <a:pt x="115004" y="53184"/>
                    </a:lnTo>
                    <a:lnTo>
                      <a:pt x="115004" y="52578"/>
                    </a:lnTo>
                    <a:lnTo>
                      <a:pt x="114246" y="50608"/>
                    </a:lnTo>
                    <a:lnTo>
                      <a:pt x="112731" y="49093"/>
                    </a:lnTo>
                    <a:lnTo>
                      <a:pt x="114095" y="46971"/>
                    </a:lnTo>
                    <a:lnTo>
                      <a:pt x="102882" y="38789"/>
                    </a:lnTo>
                    <a:lnTo>
                      <a:pt x="101064" y="37880"/>
                    </a:lnTo>
                    <a:lnTo>
                      <a:pt x="98792" y="37426"/>
                    </a:lnTo>
                    <a:lnTo>
                      <a:pt x="96367" y="35607"/>
                    </a:lnTo>
                    <a:lnTo>
                      <a:pt x="93943" y="35456"/>
                    </a:lnTo>
                    <a:lnTo>
                      <a:pt x="91216" y="33638"/>
                    </a:lnTo>
                    <a:lnTo>
                      <a:pt x="90155" y="32274"/>
                    </a:lnTo>
                    <a:lnTo>
                      <a:pt x="87124" y="30456"/>
                    </a:lnTo>
                    <a:lnTo>
                      <a:pt x="83640" y="27274"/>
                    </a:lnTo>
                    <a:lnTo>
                      <a:pt x="76064" y="25607"/>
                    </a:lnTo>
                    <a:lnTo>
                      <a:pt x="76669" y="26516"/>
                    </a:lnTo>
                    <a:lnTo>
                      <a:pt x="79093" y="28486"/>
                    </a:lnTo>
                    <a:lnTo>
                      <a:pt x="80002" y="31365"/>
                    </a:lnTo>
                    <a:lnTo>
                      <a:pt x="82427" y="33031"/>
                    </a:lnTo>
                    <a:lnTo>
                      <a:pt x="85003" y="35456"/>
                    </a:lnTo>
                    <a:lnTo>
                      <a:pt x="86519" y="36062"/>
                    </a:lnTo>
                    <a:lnTo>
                      <a:pt x="87124" y="36971"/>
                    </a:lnTo>
                    <a:lnTo>
                      <a:pt x="89548" y="39244"/>
                    </a:lnTo>
                    <a:lnTo>
                      <a:pt x="93488" y="40911"/>
                    </a:lnTo>
                    <a:lnTo>
                      <a:pt x="97579" y="43486"/>
                    </a:lnTo>
                    <a:lnTo>
                      <a:pt x="98943" y="43638"/>
                    </a:lnTo>
                    <a:lnTo>
                      <a:pt x="100610" y="45153"/>
                    </a:lnTo>
                    <a:lnTo>
                      <a:pt x="108488" y="48183"/>
                    </a:lnTo>
                    <a:lnTo>
                      <a:pt x="111367" y="50911"/>
                    </a:lnTo>
                    <a:close/>
                    <a:moveTo>
                      <a:pt x="95761" y="65911"/>
                    </a:moveTo>
                    <a:lnTo>
                      <a:pt x="95155" y="65305"/>
                    </a:lnTo>
                    <a:lnTo>
                      <a:pt x="94549" y="65002"/>
                    </a:lnTo>
                    <a:lnTo>
                      <a:pt x="93185" y="65911"/>
                    </a:lnTo>
                    <a:lnTo>
                      <a:pt x="92125" y="67275"/>
                    </a:lnTo>
                    <a:lnTo>
                      <a:pt x="93034" y="68184"/>
                    </a:lnTo>
                    <a:lnTo>
                      <a:pt x="94549" y="68336"/>
                    </a:lnTo>
                    <a:lnTo>
                      <a:pt x="95761" y="68639"/>
                    </a:lnTo>
                    <a:lnTo>
                      <a:pt x="96064" y="68639"/>
                    </a:lnTo>
                    <a:lnTo>
                      <a:pt x="97276" y="67881"/>
                    </a:lnTo>
                    <a:lnTo>
                      <a:pt x="97124" y="66063"/>
                    </a:lnTo>
                    <a:lnTo>
                      <a:pt x="95761" y="65911"/>
                    </a:lnTo>
                    <a:close/>
                    <a:moveTo>
                      <a:pt x="109701" y="51820"/>
                    </a:moveTo>
                    <a:lnTo>
                      <a:pt x="108640" y="50305"/>
                    </a:lnTo>
                    <a:lnTo>
                      <a:pt x="108488" y="49396"/>
                    </a:lnTo>
                    <a:lnTo>
                      <a:pt x="107277" y="48487"/>
                    </a:lnTo>
                    <a:lnTo>
                      <a:pt x="106216" y="49093"/>
                    </a:lnTo>
                    <a:lnTo>
                      <a:pt x="105761" y="50456"/>
                    </a:lnTo>
                    <a:lnTo>
                      <a:pt x="106670" y="51366"/>
                    </a:lnTo>
                    <a:lnTo>
                      <a:pt x="108640" y="52426"/>
                    </a:lnTo>
                    <a:lnTo>
                      <a:pt x="109701" y="51820"/>
                    </a:lnTo>
                    <a:close/>
                    <a:moveTo>
                      <a:pt x="69397" y="56517"/>
                    </a:moveTo>
                    <a:lnTo>
                      <a:pt x="67881" y="59396"/>
                    </a:lnTo>
                    <a:lnTo>
                      <a:pt x="68488" y="60457"/>
                    </a:lnTo>
                    <a:lnTo>
                      <a:pt x="69093" y="60305"/>
                    </a:lnTo>
                    <a:lnTo>
                      <a:pt x="70608" y="59699"/>
                    </a:lnTo>
                    <a:lnTo>
                      <a:pt x="70154" y="58790"/>
                    </a:lnTo>
                    <a:lnTo>
                      <a:pt x="69397" y="5651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2" name="Freeform: Shape 3071">
                <a:extLst>
                  <a:ext uri="{FF2B5EF4-FFF2-40B4-BE49-F238E27FC236}">
                    <a16:creationId xmlns:a16="http://schemas.microsoft.com/office/drawing/2014/main" id="{942913EE-4207-4F6A-9D2E-C873D173E17F}"/>
                  </a:ext>
                </a:extLst>
              </p:cNvPr>
              <p:cNvSpPr/>
              <p:nvPr/>
            </p:nvSpPr>
            <p:spPr>
              <a:xfrm>
                <a:off x="6724508" y="3657415"/>
                <a:ext cx="576839" cy="455622"/>
              </a:xfrm>
              <a:custGeom>
                <a:avLst/>
                <a:gdLst>
                  <a:gd name="connsiteX0" fmla="*/ 58184 w 576839"/>
                  <a:gd name="connsiteY0" fmla="*/ 194401 h 455622"/>
                  <a:gd name="connsiteX1" fmla="*/ 53790 w 576839"/>
                  <a:gd name="connsiteY1" fmla="*/ 192583 h 455622"/>
                  <a:gd name="connsiteX2" fmla="*/ 52881 w 576839"/>
                  <a:gd name="connsiteY2" fmla="*/ 191825 h 455622"/>
                  <a:gd name="connsiteX3" fmla="*/ 52274 w 576839"/>
                  <a:gd name="connsiteY3" fmla="*/ 190613 h 455622"/>
                  <a:gd name="connsiteX4" fmla="*/ 51517 w 576839"/>
                  <a:gd name="connsiteY4" fmla="*/ 191825 h 455622"/>
                  <a:gd name="connsiteX5" fmla="*/ 52274 w 576839"/>
                  <a:gd name="connsiteY5" fmla="*/ 193037 h 455622"/>
                  <a:gd name="connsiteX6" fmla="*/ 57578 w 576839"/>
                  <a:gd name="connsiteY6" fmla="*/ 195007 h 455622"/>
                  <a:gd name="connsiteX7" fmla="*/ 58790 w 576839"/>
                  <a:gd name="connsiteY7" fmla="*/ 195916 h 455622"/>
                  <a:gd name="connsiteX8" fmla="*/ 59850 w 576839"/>
                  <a:gd name="connsiteY8" fmla="*/ 197431 h 455622"/>
                  <a:gd name="connsiteX9" fmla="*/ 61820 w 576839"/>
                  <a:gd name="connsiteY9" fmla="*/ 199401 h 455622"/>
                  <a:gd name="connsiteX10" fmla="*/ 62578 w 576839"/>
                  <a:gd name="connsiteY10" fmla="*/ 199401 h 455622"/>
                  <a:gd name="connsiteX11" fmla="*/ 64093 w 576839"/>
                  <a:gd name="connsiteY11" fmla="*/ 198492 h 455622"/>
                  <a:gd name="connsiteX12" fmla="*/ 63336 w 576839"/>
                  <a:gd name="connsiteY12" fmla="*/ 198189 h 455622"/>
                  <a:gd name="connsiteX13" fmla="*/ 58184 w 576839"/>
                  <a:gd name="connsiteY13" fmla="*/ 194401 h 455622"/>
                  <a:gd name="connsiteX14" fmla="*/ 52578 w 576839"/>
                  <a:gd name="connsiteY14" fmla="*/ 186976 h 455622"/>
                  <a:gd name="connsiteX15" fmla="*/ 52578 w 576839"/>
                  <a:gd name="connsiteY15" fmla="*/ 189249 h 455622"/>
                  <a:gd name="connsiteX16" fmla="*/ 53790 w 576839"/>
                  <a:gd name="connsiteY16" fmla="*/ 190310 h 455622"/>
                  <a:gd name="connsiteX17" fmla="*/ 54093 w 576839"/>
                  <a:gd name="connsiteY17" fmla="*/ 189855 h 455622"/>
                  <a:gd name="connsiteX18" fmla="*/ 54093 w 576839"/>
                  <a:gd name="connsiteY18" fmla="*/ 189249 h 455622"/>
                  <a:gd name="connsiteX19" fmla="*/ 53638 w 576839"/>
                  <a:gd name="connsiteY19" fmla="*/ 187431 h 455622"/>
                  <a:gd name="connsiteX20" fmla="*/ 53790 w 576839"/>
                  <a:gd name="connsiteY20" fmla="*/ 185613 h 455622"/>
                  <a:gd name="connsiteX21" fmla="*/ 52578 w 576839"/>
                  <a:gd name="connsiteY21" fmla="*/ 186976 h 455622"/>
                  <a:gd name="connsiteX22" fmla="*/ 573355 w 576839"/>
                  <a:gd name="connsiteY22" fmla="*/ 293950 h 455622"/>
                  <a:gd name="connsiteX23" fmla="*/ 571082 w 576839"/>
                  <a:gd name="connsiteY23" fmla="*/ 290162 h 455622"/>
                  <a:gd name="connsiteX24" fmla="*/ 568657 w 576839"/>
                  <a:gd name="connsiteY24" fmla="*/ 286223 h 455622"/>
                  <a:gd name="connsiteX25" fmla="*/ 566384 w 576839"/>
                  <a:gd name="connsiteY25" fmla="*/ 282586 h 455622"/>
                  <a:gd name="connsiteX26" fmla="*/ 564718 w 576839"/>
                  <a:gd name="connsiteY26" fmla="*/ 279859 h 455622"/>
                  <a:gd name="connsiteX27" fmla="*/ 562748 w 576839"/>
                  <a:gd name="connsiteY27" fmla="*/ 276677 h 455622"/>
                  <a:gd name="connsiteX28" fmla="*/ 560930 w 576839"/>
                  <a:gd name="connsiteY28" fmla="*/ 278950 h 455622"/>
                  <a:gd name="connsiteX29" fmla="*/ 560475 w 576839"/>
                  <a:gd name="connsiteY29" fmla="*/ 278950 h 455622"/>
                  <a:gd name="connsiteX30" fmla="*/ 558354 w 576839"/>
                  <a:gd name="connsiteY30" fmla="*/ 278647 h 455622"/>
                  <a:gd name="connsiteX31" fmla="*/ 557596 w 576839"/>
                  <a:gd name="connsiteY31" fmla="*/ 278495 h 455622"/>
                  <a:gd name="connsiteX32" fmla="*/ 555475 w 576839"/>
                  <a:gd name="connsiteY32" fmla="*/ 278192 h 455622"/>
                  <a:gd name="connsiteX33" fmla="*/ 552293 w 576839"/>
                  <a:gd name="connsiteY33" fmla="*/ 277737 h 455622"/>
                  <a:gd name="connsiteX34" fmla="*/ 548050 w 576839"/>
                  <a:gd name="connsiteY34" fmla="*/ 277131 h 455622"/>
                  <a:gd name="connsiteX35" fmla="*/ 543050 w 576839"/>
                  <a:gd name="connsiteY35" fmla="*/ 276525 h 455622"/>
                  <a:gd name="connsiteX36" fmla="*/ 537595 w 576839"/>
                  <a:gd name="connsiteY36" fmla="*/ 275768 h 455622"/>
                  <a:gd name="connsiteX37" fmla="*/ 531686 w 576839"/>
                  <a:gd name="connsiteY37" fmla="*/ 275010 h 455622"/>
                  <a:gd name="connsiteX38" fmla="*/ 525626 w 576839"/>
                  <a:gd name="connsiteY38" fmla="*/ 274252 h 455622"/>
                  <a:gd name="connsiteX39" fmla="*/ 519564 w 576839"/>
                  <a:gd name="connsiteY39" fmla="*/ 273495 h 455622"/>
                  <a:gd name="connsiteX40" fmla="*/ 513655 w 576839"/>
                  <a:gd name="connsiteY40" fmla="*/ 272737 h 455622"/>
                  <a:gd name="connsiteX41" fmla="*/ 508200 w 576839"/>
                  <a:gd name="connsiteY41" fmla="*/ 271980 h 455622"/>
                  <a:gd name="connsiteX42" fmla="*/ 503200 w 576839"/>
                  <a:gd name="connsiteY42" fmla="*/ 271374 h 455622"/>
                  <a:gd name="connsiteX43" fmla="*/ 498958 w 576839"/>
                  <a:gd name="connsiteY43" fmla="*/ 270767 h 455622"/>
                  <a:gd name="connsiteX44" fmla="*/ 495776 w 576839"/>
                  <a:gd name="connsiteY44" fmla="*/ 270313 h 455622"/>
                  <a:gd name="connsiteX45" fmla="*/ 493654 w 576839"/>
                  <a:gd name="connsiteY45" fmla="*/ 270010 h 455622"/>
                  <a:gd name="connsiteX46" fmla="*/ 492897 w 576839"/>
                  <a:gd name="connsiteY46" fmla="*/ 269858 h 455622"/>
                  <a:gd name="connsiteX47" fmla="*/ 490624 w 576839"/>
                  <a:gd name="connsiteY47" fmla="*/ 269555 h 455622"/>
                  <a:gd name="connsiteX48" fmla="*/ 489412 w 576839"/>
                  <a:gd name="connsiteY48" fmla="*/ 268040 h 455622"/>
                  <a:gd name="connsiteX49" fmla="*/ 487897 w 576839"/>
                  <a:gd name="connsiteY49" fmla="*/ 266222 h 455622"/>
                  <a:gd name="connsiteX50" fmla="*/ 486381 w 576839"/>
                  <a:gd name="connsiteY50" fmla="*/ 264404 h 455622"/>
                  <a:gd name="connsiteX51" fmla="*/ 484866 w 576839"/>
                  <a:gd name="connsiteY51" fmla="*/ 262585 h 455622"/>
                  <a:gd name="connsiteX52" fmla="*/ 483351 w 576839"/>
                  <a:gd name="connsiteY52" fmla="*/ 260767 h 455622"/>
                  <a:gd name="connsiteX53" fmla="*/ 481836 w 576839"/>
                  <a:gd name="connsiteY53" fmla="*/ 258949 h 455622"/>
                  <a:gd name="connsiteX54" fmla="*/ 480321 w 576839"/>
                  <a:gd name="connsiteY54" fmla="*/ 257131 h 455622"/>
                  <a:gd name="connsiteX55" fmla="*/ 478805 w 576839"/>
                  <a:gd name="connsiteY55" fmla="*/ 255312 h 455622"/>
                  <a:gd name="connsiteX56" fmla="*/ 477290 w 576839"/>
                  <a:gd name="connsiteY56" fmla="*/ 253494 h 455622"/>
                  <a:gd name="connsiteX57" fmla="*/ 475775 w 576839"/>
                  <a:gd name="connsiteY57" fmla="*/ 251676 h 455622"/>
                  <a:gd name="connsiteX58" fmla="*/ 474260 w 576839"/>
                  <a:gd name="connsiteY58" fmla="*/ 249857 h 455622"/>
                  <a:gd name="connsiteX59" fmla="*/ 472745 w 576839"/>
                  <a:gd name="connsiteY59" fmla="*/ 248039 h 455622"/>
                  <a:gd name="connsiteX60" fmla="*/ 471229 w 576839"/>
                  <a:gd name="connsiteY60" fmla="*/ 246221 h 455622"/>
                  <a:gd name="connsiteX61" fmla="*/ 469714 w 576839"/>
                  <a:gd name="connsiteY61" fmla="*/ 244403 h 455622"/>
                  <a:gd name="connsiteX62" fmla="*/ 468199 w 576839"/>
                  <a:gd name="connsiteY62" fmla="*/ 242585 h 455622"/>
                  <a:gd name="connsiteX63" fmla="*/ 466684 w 576839"/>
                  <a:gd name="connsiteY63" fmla="*/ 240766 h 455622"/>
                  <a:gd name="connsiteX64" fmla="*/ 465168 w 576839"/>
                  <a:gd name="connsiteY64" fmla="*/ 238948 h 455622"/>
                  <a:gd name="connsiteX65" fmla="*/ 464108 w 576839"/>
                  <a:gd name="connsiteY65" fmla="*/ 237736 h 455622"/>
                  <a:gd name="connsiteX66" fmla="*/ 463502 w 576839"/>
                  <a:gd name="connsiteY66" fmla="*/ 236372 h 455622"/>
                  <a:gd name="connsiteX67" fmla="*/ 463350 w 576839"/>
                  <a:gd name="connsiteY67" fmla="*/ 232584 h 455622"/>
                  <a:gd name="connsiteX68" fmla="*/ 463350 w 576839"/>
                  <a:gd name="connsiteY68" fmla="*/ 231827 h 455622"/>
                  <a:gd name="connsiteX69" fmla="*/ 462441 w 576839"/>
                  <a:gd name="connsiteY69" fmla="*/ 231827 h 455622"/>
                  <a:gd name="connsiteX70" fmla="*/ 460926 w 576839"/>
                  <a:gd name="connsiteY70" fmla="*/ 231220 h 455622"/>
                  <a:gd name="connsiteX71" fmla="*/ 458653 w 576839"/>
                  <a:gd name="connsiteY71" fmla="*/ 230917 h 455622"/>
                  <a:gd name="connsiteX72" fmla="*/ 456380 w 576839"/>
                  <a:gd name="connsiteY72" fmla="*/ 230311 h 455622"/>
                  <a:gd name="connsiteX73" fmla="*/ 458047 w 576839"/>
                  <a:gd name="connsiteY73" fmla="*/ 226372 h 455622"/>
                  <a:gd name="connsiteX74" fmla="*/ 459411 w 576839"/>
                  <a:gd name="connsiteY74" fmla="*/ 224857 h 455622"/>
                  <a:gd name="connsiteX75" fmla="*/ 459259 w 576839"/>
                  <a:gd name="connsiteY75" fmla="*/ 223644 h 455622"/>
                  <a:gd name="connsiteX76" fmla="*/ 457290 w 576839"/>
                  <a:gd name="connsiteY76" fmla="*/ 223796 h 455622"/>
                  <a:gd name="connsiteX77" fmla="*/ 455320 w 576839"/>
                  <a:gd name="connsiteY77" fmla="*/ 222584 h 455622"/>
                  <a:gd name="connsiteX78" fmla="*/ 452895 w 576839"/>
                  <a:gd name="connsiteY78" fmla="*/ 223190 h 455622"/>
                  <a:gd name="connsiteX79" fmla="*/ 450623 w 576839"/>
                  <a:gd name="connsiteY79" fmla="*/ 223796 h 455622"/>
                  <a:gd name="connsiteX80" fmla="*/ 448653 w 576839"/>
                  <a:gd name="connsiteY80" fmla="*/ 223796 h 455622"/>
                  <a:gd name="connsiteX81" fmla="*/ 447137 w 576839"/>
                  <a:gd name="connsiteY81" fmla="*/ 223493 h 455622"/>
                  <a:gd name="connsiteX82" fmla="*/ 446077 w 576839"/>
                  <a:gd name="connsiteY82" fmla="*/ 222887 h 455622"/>
                  <a:gd name="connsiteX83" fmla="*/ 444107 w 576839"/>
                  <a:gd name="connsiteY83" fmla="*/ 220463 h 455622"/>
                  <a:gd name="connsiteX84" fmla="*/ 442744 w 576839"/>
                  <a:gd name="connsiteY84" fmla="*/ 217281 h 455622"/>
                  <a:gd name="connsiteX85" fmla="*/ 440622 w 576839"/>
                  <a:gd name="connsiteY85" fmla="*/ 215008 h 455622"/>
                  <a:gd name="connsiteX86" fmla="*/ 438956 w 576839"/>
                  <a:gd name="connsiteY86" fmla="*/ 212280 h 455622"/>
                  <a:gd name="connsiteX87" fmla="*/ 435925 w 576839"/>
                  <a:gd name="connsiteY87" fmla="*/ 208795 h 455622"/>
                  <a:gd name="connsiteX88" fmla="*/ 434561 w 576839"/>
                  <a:gd name="connsiteY88" fmla="*/ 202432 h 455622"/>
                  <a:gd name="connsiteX89" fmla="*/ 433046 w 576839"/>
                  <a:gd name="connsiteY89" fmla="*/ 198946 h 455622"/>
                  <a:gd name="connsiteX90" fmla="*/ 428349 w 576839"/>
                  <a:gd name="connsiteY90" fmla="*/ 194856 h 455622"/>
                  <a:gd name="connsiteX91" fmla="*/ 427137 w 576839"/>
                  <a:gd name="connsiteY91" fmla="*/ 193189 h 455622"/>
                  <a:gd name="connsiteX92" fmla="*/ 425773 w 576839"/>
                  <a:gd name="connsiteY92" fmla="*/ 189249 h 455622"/>
                  <a:gd name="connsiteX93" fmla="*/ 424107 w 576839"/>
                  <a:gd name="connsiteY93" fmla="*/ 186673 h 455622"/>
                  <a:gd name="connsiteX94" fmla="*/ 422743 w 576839"/>
                  <a:gd name="connsiteY94" fmla="*/ 183340 h 455622"/>
                  <a:gd name="connsiteX95" fmla="*/ 421379 w 576839"/>
                  <a:gd name="connsiteY95" fmla="*/ 178946 h 455622"/>
                  <a:gd name="connsiteX96" fmla="*/ 421985 w 576839"/>
                  <a:gd name="connsiteY96" fmla="*/ 178643 h 455622"/>
                  <a:gd name="connsiteX97" fmla="*/ 423197 w 576839"/>
                  <a:gd name="connsiteY97" fmla="*/ 178794 h 455622"/>
                  <a:gd name="connsiteX98" fmla="*/ 424258 w 576839"/>
                  <a:gd name="connsiteY98" fmla="*/ 179249 h 455622"/>
                  <a:gd name="connsiteX99" fmla="*/ 424864 w 576839"/>
                  <a:gd name="connsiteY99" fmla="*/ 179249 h 455622"/>
                  <a:gd name="connsiteX100" fmla="*/ 426531 w 576839"/>
                  <a:gd name="connsiteY100" fmla="*/ 173188 h 455622"/>
                  <a:gd name="connsiteX101" fmla="*/ 425773 w 576839"/>
                  <a:gd name="connsiteY101" fmla="*/ 170309 h 455622"/>
                  <a:gd name="connsiteX102" fmla="*/ 423804 w 576839"/>
                  <a:gd name="connsiteY102" fmla="*/ 168794 h 455622"/>
                  <a:gd name="connsiteX103" fmla="*/ 421530 w 576839"/>
                  <a:gd name="connsiteY103" fmla="*/ 166673 h 455622"/>
                  <a:gd name="connsiteX104" fmla="*/ 421076 w 576839"/>
                  <a:gd name="connsiteY104" fmla="*/ 164248 h 455622"/>
                  <a:gd name="connsiteX105" fmla="*/ 420925 w 576839"/>
                  <a:gd name="connsiteY105" fmla="*/ 162279 h 455622"/>
                  <a:gd name="connsiteX106" fmla="*/ 421379 w 576839"/>
                  <a:gd name="connsiteY106" fmla="*/ 161673 h 455622"/>
                  <a:gd name="connsiteX107" fmla="*/ 423046 w 576839"/>
                  <a:gd name="connsiteY107" fmla="*/ 162279 h 455622"/>
                  <a:gd name="connsiteX108" fmla="*/ 424409 w 576839"/>
                  <a:gd name="connsiteY108" fmla="*/ 162733 h 455622"/>
                  <a:gd name="connsiteX109" fmla="*/ 424864 w 576839"/>
                  <a:gd name="connsiteY109" fmla="*/ 162582 h 455622"/>
                  <a:gd name="connsiteX110" fmla="*/ 420318 w 576839"/>
                  <a:gd name="connsiteY110" fmla="*/ 157733 h 455622"/>
                  <a:gd name="connsiteX111" fmla="*/ 412894 w 576839"/>
                  <a:gd name="connsiteY111" fmla="*/ 153945 h 455622"/>
                  <a:gd name="connsiteX112" fmla="*/ 408045 w 576839"/>
                  <a:gd name="connsiteY112" fmla="*/ 148187 h 455622"/>
                  <a:gd name="connsiteX113" fmla="*/ 404409 w 576839"/>
                  <a:gd name="connsiteY113" fmla="*/ 147278 h 455622"/>
                  <a:gd name="connsiteX114" fmla="*/ 401076 w 576839"/>
                  <a:gd name="connsiteY114" fmla="*/ 143490 h 455622"/>
                  <a:gd name="connsiteX115" fmla="*/ 398197 w 576839"/>
                  <a:gd name="connsiteY115" fmla="*/ 139702 h 455622"/>
                  <a:gd name="connsiteX116" fmla="*/ 399863 w 576839"/>
                  <a:gd name="connsiteY116" fmla="*/ 138035 h 455622"/>
                  <a:gd name="connsiteX117" fmla="*/ 397742 w 576839"/>
                  <a:gd name="connsiteY117" fmla="*/ 136975 h 455622"/>
                  <a:gd name="connsiteX118" fmla="*/ 395772 w 576839"/>
                  <a:gd name="connsiteY118" fmla="*/ 136369 h 455622"/>
                  <a:gd name="connsiteX119" fmla="*/ 390772 w 576839"/>
                  <a:gd name="connsiteY119" fmla="*/ 133944 h 455622"/>
                  <a:gd name="connsiteX120" fmla="*/ 387742 w 576839"/>
                  <a:gd name="connsiteY120" fmla="*/ 131217 h 455622"/>
                  <a:gd name="connsiteX121" fmla="*/ 388044 w 576839"/>
                  <a:gd name="connsiteY121" fmla="*/ 130005 h 455622"/>
                  <a:gd name="connsiteX122" fmla="*/ 388802 w 576839"/>
                  <a:gd name="connsiteY122" fmla="*/ 128944 h 455622"/>
                  <a:gd name="connsiteX123" fmla="*/ 388196 w 576839"/>
                  <a:gd name="connsiteY123" fmla="*/ 126217 h 455622"/>
                  <a:gd name="connsiteX124" fmla="*/ 387287 w 576839"/>
                  <a:gd name="connsiteY124" fmla="*/ 124398 h 455622"/>
                  <a:gd name="connsiteX125" fmla="*/ 383196 w 576839"/>
                  <a:gd name="connsiteY125" fmla="*/ 119247 h 455622"/>
                  <a:gd name="connsiteX126" fmla="*/ 380317 w 576839"/>
                  <a:gd name="connsiteY126" fmla="*/ 112731 h 455622"/>
                  <a:gd name="connsiteX127" fmla="*/ 379711 w 576839"/>
                  <a:gd name="connsiteY127" fmla="*/ 110004 h 455622"/>
                  <a:gd name="connsiteX128" fmla="*/ 378196 w 576839"/>
                  <a:gd name="connsiteY128" fmla="*/ 107277 h 455622"/>
                  <a:gd name="connsiteX129" fmla="*/ 373499 w 576839"/>
                  <a:gd name="connsiteY129" fmla="*/ 107277 h 455622"/>
                  <a:gd name="connsiteX130" fmla="*/ 367438 w 576839"/>
                  <a:gd name="connsiteY130" fmla="*/ 107428 h 455622"/>
                  <a:gd name="connsiteX131" fmla="*/ 362589 w 576839"/>
                  <a:gd name="connsiteY131" fmla="*/ 107428 h 455622"/>
                  <a:gd name="connsiteX132" fmla="*/ 357134 w 576839"/>
                  <a:gd name="connsiteY132" fmla="*/ 107428 h 455622"/>
                  <a:gd name="connsiteX133" fmla="*/ 354710 w 576839"/>
                  <a:gd name="connsiteY133" fmla="*/ 104701 h 455622"/>
                  <a:gd name="connsiteX134" fmla="*/ 353952 w 576839"/>
                  <a:gd name="connsiteY134" fmla="*/ 101670 h 455622"/>
                  <a:gd name="connsiteX135" fmla="*/ 353043 w 576839"/>
                  <a:gd name="connsiteY135" fmla="*/ 98488 h 455622"/>
                  <a:gd name="connsiteX136" fmla="*/ 350619 w 576839"/>
                  <a:gd name="connsiteY136" fmla="*/ 93943 h 455622"/>
                  <a:gd name="connsiteX137" fmla="*/ 342588 w 576839"/>
                  <a:gd name="connsiteY137" fmla="*/ 92882 h 455622"/>
                  <a:gd name="connsiteX138" fmla="*/ 338346 w 576839"/>
                  <a:gd name="connsiteY138" fmla="*/ 92276 h 455622"/>
                  <a:gd name="connsiteX139" fmla="*/ 331376 w 576839"/>
                  <a:gd name="connsiteY139" fmla="*/ 91367 h 455622"/>
                  <a:gd name="connsiteX140" fmla="*/ 326073 w 576839"/>
                  <a:gd name="connsiteY140" fmla="*/ 90761 h 455622"/>
                  <a:gd name="connsiteX141" fmla="*/ 321224 w 576839"/>
                  <a:gd name="connsiteY141" fmla="*/ 91670 h 455622"/>
                  <a:gd name="connsiteX142" fmla="*/ 310163 w 576839"/>
                  <a:gd name="connsiteY142" fmla="*/ 90761 h 455622"/>
                  <a:gd name="connsiteX143" fmla="*/ 297890 w 576839"/>
                  <a:gd name="connsiteY143" fmla="*/ 89700 h 455622"/>
                  <a:gd name="connsiteX144" fmla="*/ 285616 w 576839"/>
                  <a:gd name="connsiteY144" fmla="*/ 88639 h 455622"/>
                  <a:gd name="connsiteX145" fmla="*/ 276525 w 576839"/>
                  <a:gd name="connsiteY145" fmla="*/ 87882 h 455622"/>
                  <a:gd name="connsiteX146" fmla="*/ 275768 w 576839"/>
                  <a:gd name="connsiteY146" fmla="*/ 87579 h 455622"/>
                  <a:gd name="connsiteX147" fmla="*/ 266676 w 576839"/>
                  <a:gd name="connsiteY147" fmla="*/ 80609 h 455622"/>
                  <a:gd name="connsiteX148" fmla="*/ 259555 w 576839"/>
                  <a:gd name="connsiteY148" fmla="*/ 75154 h 455622"/>
                  <a:gd name="connsiteX149" fmla="*/ 250615 w 576839"/>
                  <a:gd name="connsiteY149" fmla="*/ 68336 h 455622"/>
                  <a:gd name="connsiteX150" fmla="*/ 241524 w 576839"/>
                  <a:gd name="connsiteY150" fmla="*/ 61366 h 455622"/>
                  <a:gd name="connsiteX151" fmla="*/ 232281 w 576839"/>
                  <a:gd name="connsiteY151" fmla="*/ 54244 h 455622"/>
                  <a:gd name="connsiteX152" fmla="*/ 225614 w 576839"/>
                  <a:gd name="connsiteY152" fmla="*/ 49093 h 455622"/>
                  <a:gd name="connsiteX153" fmla="*/ 217432 w 576839"/>
                  <a:gd name="connsiteY153" fmla="*/ 42426 h 455622"/>
                  <a:gd name="connsiteX154" fmla="*/ 210008 w 576839"/>
                  <a:gd name="connsiteY154" fmla="*/ 36365 h 455622"/>
                  <a:gd name="connsiteX155" fmla="*/ 204099 w 576839"/>
                  <a:gd name="connsiteY155" fmla="*/ 31516 h 455622"/>
                  <a:gd name="connsiteX156" fmla="*/ 196522 w 576839"/>
                  <a:gd name="connsiteY156" fmla="*/ 27274 h 455622"/>
                  <a:gd name="connsiteX157" fmla="*/ 190613 w 576839"/>
                  <a:gd name="connsiteY157" fmla="*/ 23940 h 455622"/>
                  <a:gd name="connsiteX158" fmla="*/ 182128 w 576839"/>
                  <a:gd name="connsiteY158" fmla="*/ 19092 h 455622"/>
                  <a:gd name="connsiteX159" fmla="*/ 175309 w 576839"/>
                  <a:gd name="connsiteY159" fmla="*/ 15304 h 455622"/>
                  <a:gd name="connsiteX160" fmla="*/ 169400 w 576839"/>
                  <a:gd name="connsiteY160" fmla="*/ 11970 h 455622"/>
                  <a:gd name="connsiteX161" fmla="*/ 160460 w 576839"/>
                  <a:gd name="connsiteY161" fmla="*/ 6970 h 455622"/>
                  <a:gd name="connsiteX162" fmla="*/ 157430 w 576839"/>
                  <a:gd name="connsiteY162" fmla="*/ 5606 h 455622"/>
                  <a:gd name="connsiteX163" fmla="*/ 148036 w 576839"/>
                  <a:gd name="connsiteY163" fmla="*/ 3939 h 455622"/>
                  <a:gd name="connsiteX164" fmla="*/ 139248 w 576839"/>
                  <a:gd name="connsiteY164" fmla="*/ 2576 h 455622"/>
                  <a:gd name="connsiteX165" fmla="*/ 130005 w 576839"/>
                  <a:gd name="connsiteY165" fmla="*/ 1061 h 455622"/>
                  <a:gd name="connsiteX166" fmla="*/ 123944 w 576839"/>
                  <a:gd name="connsiteY166" fmla="*/ 0 h 455622"/>
                  <a:gd name="connsiteX167" fmla="*/ 119853 w 576839"/>
                  <a:gd name="connsiteY167" fmla="*/ 3485 h 455622"/>
                  <a:gd name="connsiteX168" fmla="*/ 118943 w 576839"/>
                  <a:gd name="connsiteY168" fmla="*/ 3939 h 455622"/>
                  <a:gd name="connsiteX169" fmla="*/ 113641 w 576839"/>
                  <a:gd name="connsiteY169" fmla="*/ 5455 h 455622"/>
                  <a:gd name="connsiteX170" fmla="*/ 102882 w 576839"/>
                  <a:gd name="connsiteY170" fmla="*/ 8485 h 455622"/>
                  <a:gd name="connsiteX171" fmla="*/ 95610 w 576839"/>
                  <a:gd name="connsiteY171" fmla="*/ 10455 h 455622"/>
                  <a:gd name="connsiteX172" fmla="*/ 86367 w 576839"/>
                  <a:gd name="connsiteY172" fmla="*/ 13031 h 455622"/>
                  <a:gd name="connsiteX173" fmla="*/ 78639 w 576839"/>
                  <a:gd name="connsiteY173" fmla="*/ 15152 h 455622"/>
                  <a:gd name="connsiteX174" fmla="*/ 71063 w 576839"/>
                  <a:gd name="connsiteY174" fmla="*/ 17273 h 455622"/>
                  <a:gd name="connsiteX175" fmla="*/ 64093 w 576839"/>
                  <a:gd name="connsiteY175" fmla="*/ 19243 h 455622"/>
                  <a:gd name="connsiteX176" fmla="*/ 68033 w 576839"/>
                  <a:gd name="connsiteY176" fmla="*/ 23334 h 455622"/>
                  <a:gd name="connsiteX177" fmla="*/ 74093 w 576839"/>
                  <a:gd name="connsiteY177" fmla="*/ 29546 h 455622"/>
                  <a:gd name="connsiteX178" fmla="*/ 78185 w 576839"/>
                  <a:gd name="connsiteY178" fmla="*/ 33789 h 455622"/>
                  <a:gd name="connsiteX179" fmla="*/ 83033 w 576839"/>
                  <a:gd name="connsiteY179" fmla="*/ 39092 h 455622"/>
                  <a:gd name="connsiteX180" fmla="*/ 87276 w 576839"/>
                  <a:gd name="connsiteY180" fmla="*/ 43941 h 455622"/>
                  <a:gd name="connsiteX181" fmla="*/ 91822 w 576839"/>
                  <a:gd name="connsiteY181" fmla="*/ 48941 h 455622"/>
                  <a:gd name="connsiteX182" fmla="*/ 88639 w 576839"/>
                  <a:gd name="connsiteY182" fmla="*/ 50608 h 455622"/>
                  <a:gd name="connsiteX183" fmla="*/ 83336 w 576839"/>
                  <a:gd name="connsiteY183" fmla="*/ 53487 h 455622"/>
                  <a:gd name="connsiteX184" fmla="*/ 82730 w 576839"/>
                  <a:gd name="connsiteY184" fmla="*/ 53941 h 455622"/>
                  <a:gd name="connsiteX185" fmla="*/ 82276 w 576839"/>
                  <a:gd name="connsiteY185" fmla="*/ 54396 h 455622"/>
                  <a:gd name="connsiteX186" fmla="*/ 80154 w 576839"/>
                  <a:gd name="connsiteY186" fmla="*/ 59396 h 455622"/>
                  <a:gd name="connsiteX187" fmla="*/ 78488 w 576839"/>
                  <a:gd name="connsiteY187" fmla="*/ 63336 h 455622"/>
                  <a:gd name="connsiteX188" fmla="*/ 77881 w 576839"/>
                  <a:gd name="connsiteY188" fmla="*/ 63790 h 455622"/>
                  <a:gd name="connsiteX189" fmla="*/ 70457 w 576839"/>
                  <a:gd name="connsiteY189" fmla="*/ 65305 h 455622"/>
                  <a:gd name="connsiteX190" fmla="*/ 63033 w 576839"/>
                  <a:gd name="connsiteY190" fmla="*/ 66821 h 455622"/>
                  <a:gd name="connsiteX191" fmla="*/ 58335 w 576839"/>
                  <a:gd name="connsiteY191" fmla="*/ 67730 h 455622"/>
                  <a:gd name="connsiteX192" fmla="*/ 56971 w 576839"/>
                  <a:gd name="connsiteY192" fmla="*/ 68790 h 455622"/>
                  <a:gd name="connsiteX193" fmla="*/ 53941 w 576839"/>
                  <a:gd name="connsiteY193" fmla="*/ 73790 h 455622"/>
                  <a:gd name="connsiteX194" fmla="*/ 50759 w 576839"/>
                  <a:gd name="connsiteY194" fmla="*/ 78942 h 455622"/>
                  <a:gd name="connsiteX195" fmla="*/ 45456 w 576839"/>
                  <a:gd name="connsiteY195" fmla="*/ 83033 h 455622"/>
                  <a:gd name="connsiteX196" fmla="*/ 39547 w 576839"/>
                  <a:gd name="connsiteY196" fmla="*/ 87579 h 455622"/>
                  <a:gd name="connsiteX197" fmla="*/ 38031 w 576839"/>
                  <a:gd name="connsiteY197" fmla="*/ 87882 h 455622"/>
                  <a:gd name="connsiteX198" fmla="*/ 33789 w 576839"/>
                  <a:gd name="connsiteY198" fmla="*/ 87124 h 455622"/>
                  <a:gd name="connsiteX199" fmla="*/ 26516 w 576839"/>
                  <a:gd name="connsiteY199" fmla="*/ 85912 h 455622"/>
                  <a:gd name="connsiteX200" fmla="*/ 19546 w 576839"/>
                  <a:gd name="connsiteY200" fmla="*/ 84700 h 455622"/>
                  <a:gd name="connsiteX201" fmla="*/ 14698 w 576839"/>
                  <a:gd name="connsiteY201" fmla="*/ 83942 h 455622"/>
                  <a:gd name="connsiteX202" fmla="*/ 8940 w 576839"/>
                  <a:gd name="connsiteY202" fmla="*/ 83033 h 455622"/>
                  <a:gd name="connsiteX203" fmla="*/ 4848 w 576839"/>
                  <a:gd name="connsiteY203" fmla="*/ 101822 h 455622"/>
                  <a:gd name="connsiteX204" fmla="*/ 4394 w 576839"/>
                  <a:gd name="connsiteY204" fmla="*/ 108186 h 455622"/>
                  <a:gd name="connsiteX205" fmla="*/ 1818 w 576839"/>
                  <a:gd name="connsiteY205" fmla="*/ 115307 h 455622"/>
                  <a:gd name="connsiteX206" fmla="*/ 0 w 576839"/>
                  <a:gd name="connsiteY206" fmla="*/ 118792 h 455622"/>
                  <a:gd name="connsiteX207" fmla="*/ 303 w 576839"/>
                  <a:gd name="connsiteY207" fmla="*/ 121217 h 455622"/>
                  <a:gd name="connsiteX208" fmla="*/ 3030 w 576839"/>
                  <a:gd name="connsiteY208" fmla="*/ 119247 h 455622"/>
                  <a:gd name="connsiteX209" fmla="*/ 5909 w 576839"/>
                  <a:gd name="connsiteY209" fmla="*/ 119853 h 455622"/>
                  <a:gd name="connsiteX210" fmla="*/ 12728 w 576839"/>
                  <a:gd name="connsiteY210" fmla="*/ 120459 h 455622"/>
                  <a:gd name="connsiteX211" fmla="*/ 15455 w 576839"/>
                  <a:gd name="connsiteY211" fmla="*/ 121974 h 455622"/>
                  <a:gd name="connsiteX212" fmla="*/ 22122 w 576839"/>
                  <a:gd name="connsiteY212" fmla="*/ 130762 h 455622"/>
                  <a:gd name="connsiteX213" fmla="*/ 26364 w 576839"/>
                  <a:gd name="connsiteY213" fmla="*/ 139550 h 455622"/>
                  <a:gd name="connsiteX214" fmla="*/ 31364 w 576839"/>
                  <a:gd name="connsiteY214" fmla="*/ 144702 h 455622"/>
                  <a:gd name="connsiteX215" fmla="*/ 33789 w 576839"/>
                  <a:gd name="connsiteY215" fmla="*/ 150157 h 455622"/>
                  <a:gd name="connsiteX216" fmla="*/ 38789 w 576839"/>
                  <a:gd name="connsiteY216" fmla="*/ 155763 h 455622"/>
                  <a:gd name="connsiteX217" fmla="*/ 40456 w 576839"/>
                  <a:gd name="connsiteY217" fmla="*/ 159097 h 455622"/>
                  <a:gd name="connsiteX218" fmla="*/ 44698 w 576839"/>
                  <a:gd name="connsiteY218" fmla="*/ 164097 h 455622"/>
                  <a:gd name="connsiteX219" fmla="*/ 52123 w 576839"/>
                  <a:gd name="connsiteY219" fmla="*/ 178340 h 455622"/>
                  <a:gd name="connsiteX220" fmla="*/ 56366 w 576839"/>
                  <a:gd name="connsiteY220" fmla="*/ 180310 h 455622"/>
                  <a:gd name="connsiteX221" fmla="*/ 57123 w 576839"/>
                  <a:gd name="connsiteY221" fmla="*/ 184249 h 455622"/>
                  <a:gd name="connsiteX222" fmla="*/ 58790 w 576839"/>
                  <a:gd name="connsiteY222" fmla="*/ 188643 h 455622"/>
                  <a:gd name="connsiteX223" fmla="*/ 61517 w 576839"/>
                  <a:gd name="connsiteY223" fmla="*/ 190310 h 455622"/>
                  <a:gd name="connsiteX224" fmla="*/ 63184 w 576839"/>
                  <a:gd name="connsiteY224" fmla="*/ 191825 h 455622"/>
                  <a:gd name="connsiteX225" fmla="*/ 69396 w 576839"/>
                  <a:gd name="connsiteY225" fmla="*/ 201977 h 455622"/>
                  <a:gd name="connsiteX226" fmla="*/ 71366 w 576839"/>
                  <a:gd name="connsiteY226" fmla="*/ 206068 h 455622"/>
                  <a:gd name="connsiteX227" fmla="*/ 72124 w 576839"/>
                  <a:gd name="connsiteY227" fmla="*/ 208341 h 455622"/>
                  <a:gd name="connsiteX228" fmla="*/ 72730 w 576839"/>
                  <a:gd name="connsiteY228" fmla="*/ 211674 h 455622"/>
                  <a:gd name="connsiteX229" fmla="*/ 71518 w 576839"/>
                  <a:gd name="connsiteY229" fmla="*/ 214250 h 455622"/>
                  <a:gd name="connsiteX230" fmla="*/ 70457 w 576839"/>
                  <a:gd name="connsiteY230" fmla="*/ 215765 h 455622"/>
                  <a:gd name="connsiteX231" fmla="*/ 74700 w 576839"/>
                  <a:gd name="connsiteY231" fmla="*/ 221675 h 455622"/>
                  <a:gd name="connsiteX232" fmla="*/ 77275 w 576839"/>
                  <a:gd name="connsiteY232" fmla="*/ 226220 h 455622"/>
                  <a:gd name="connsiteX233" fmla="*/ 80306 w 576839"/>
                  <a:gd name="connsiteY233" fmla="*/ 231069 h 455622"/>
                  <a:gd name="connsiteX234" fmla="*/ 82882 w 576839"/>
                  <a:gd name="connsiteY234" fmla="*/ 231524 h 455622"/>
                  <a:gd name="connsiteX235" fmla="*/ 85003 w 576839"/>
                  <a:gd name="connsiteY235" fmla="*/ 231675 h 455622"/>
                  <a:gd name="connsiteX236" fmla="*/ 87882 w 576839"/>
                  <a:gd name="connsiteY236" fmla="*/ 234251 h 455622"/>
                  <a:gd name="connsiteX237" fmla="*/ 90609 w 576839"/>
                  <a:gd name="connsiteY237" fmla="*/ 234251 h 455622"/>
                  <a:gd name="connsiteX238" fmla="*/ 92124 w 576839"/>
                  <a:gd name="connsiteY238" fmla="*/ 236069 h 455622"/>
                  <a:gd name="connsiteX239" fmla="*/ 95458 w 576839"/>
                  <a:gd name="connsiteY239" fmla="*/ 238039 h 455622"/>
                  <a:gd name="connsiteX240" fmla="*/ 100610 w 576839"/>
                  <a:gd name="connsiteY240" fmla="*/ 242281 h 455622"/>
                  <a:gd name="connsiteX241" fmla="*/ 105458 w 576839"/>
                  <a:gd name="connsiteY241" fmla="*/ 248039 h 455622"/>
                  <a:gd name="connsiteX242" fmla="*/ 107579 w 576839"/>
                  <a:gd name="connsiteY242" fmla="*/ 252434 h 455622"/>
                  <a:gd name="connsiteX243" fmla="*/ 112125 w 576839"/>
                  <a:gd name="connsiteY243" fmla="*/ 259706 h 455622"/>
                  <a:gd name="connsiteX244" fmla="*/ 113489 w 576839"/>
                  <a:gd name="connsiteY244" fmla="*/ 262888 h 455622"/>
                  <a:gd name="connsiteX245" fmla="*/ 114550 w 576839"/>
                  <a:gd name="connsiteY245" fmla="*/ 267131 h 455622"/>
                  <a:gd name="connsiteX246" fmla="*/ 115610 w 576839"/>
                  <a:gd name="connsiteY246" fmla="*/ 268798 h 455622"/>
                  <a:gd name="connsiteX247" fmla="*/ 118489 w 576839"/>
                  <a:gd name="connsiteY247" fmla="*/ 271828 h 455622"/>
                  <a:gd name="connsiteX248" fmla="*/ 116822 w 576839"/>
                  <a:gd name="connsiteY248" fmla="*/ 271828 h 455622"/>
                  <a:gd name="connsiteX249" fmla="*/ 118338 w 576839"/>
                  <a:gd name="connsiteY249" fmla="*/ 274101 h 455622"/>
                  <a:gd name="connsiteX250" fmla="*/ 120156 w 576839"/>
                  <a:gd name="connsiteY250" fmla="*/ 275162 h 455622"/>
                  <a:gd name="connsiteX251" fmla="*/ 120004 w 576839"/>
                  <a:gd name="connsiteY251" fmla="*/ 277131 h 455622"/>
                  <a:gd name="connsiteX252" fmla="*/ 121671 w 576839"/>
                  <a:gd name="connsiteY252" fmla="*/ 280162 h 455622"/>
                  <a:gd name="connsiteX253" fmla="*/ 122580 w 576839"/>
                  <a:gd name="connsiteY253" fmla="*/ 285919 h 455622"/>
                  <a:gd name="connsiteX254" fmla="*/ 121822 w 576839"/>
                  <a:gd name="connsiteY254" fmla="*/ 288798 h 455622"/>
                  <a:gd name="connsiteX255" fmla="*/ 120913 w 576839"/>
                  <a:gd name="connsiteY255" fmla="*/ 291374 h 455622"/>
                  <a:gd name="connsiteX256" fmla="*/ 120610 w 576839"/>
                  <a:gd name="connsiteY256" fmla="*/ 296223 h 455622"/>
                  <a:gd name="connsiteX257" fmla="*/ 119701 w 576839"/>
                  <a:gd name="connsiteY257" fmla="*/ 300617 h 455622"/>
                  <a:gd name="connsiteX258" fmla="*/ 120913 w 576839"/>
                  <a:gd name="connsiteY258" fmla="*/ 303647 h 455622"/>
                  <a:gd name="connsiteX259" fmla="*/ 122580 w 576839"/>
                  <a:gd name="connsiteY259" fmla="*/ 306829 h 455622"/>
                  <a:gd name="connsiteX260" fmla="*/ 124096 w 576839"/>
                  <a:gd name="connsiteY260" fmla="*/ 310920 h 455622"/>
                  <a:gd name="connsiteX261" fmla="*/ 124247 w 576839"/>
                  <a:gd name="connsiteY261" fmla="*/ 313345 h 455622"/>
                  <a:gd name="connsiteX262" fmla="*/ 122731 w 576839"/>
                  <a:gd name="connsiteY262" fmla="*/ 316830 h 455622"/>
                  <a:gd name="connsiteX263" fmla="*/ 127732 w 576839"/>
                  <a:gd name="connsiteY263" fmla="*/ 326375 h 455622"/>
                  <a:gd name="connsiteX264" fmla="*/ 133641 w 576839"/>
                  <a:gd name="connsiteY264" fmla="*/ 333042 h 455622"/>
                  <a:gd name="connsiteX265" fmla="*/ 136974 w 576839"/>
                  <a:gd name="connsiteY265" fmla="*/ 339255 h 455622"/>
                  <a:gd name="connsiteX266" fmla="*/ 140157 w 576839"/>
                  <a:gd name="connsiteY266" fmla="*/ 342891 h 455622"/>
                  <a:gd name="connsiteX267" fmla="*/ 144399 w 576839"/>
                  <a:gd name="connsiteY267" fmla="*/ 345619 h 455622"/>
                  <a:gd name="connsiteX268" fmla="*/ 149702 w 576839"/>
                  <a:gd name="connsiteY268" fmla="*/ 346376 h 455622"/>
                  <a:gd name="connsiteX269" fmla="*/ 160763 w 576839"/>
                  <a:gd name="connsiteY269" fmla="*/ 354104 h 455622"/>
                  <a:gd name="connsiteX270" fmla="*/ 164400 w 576839"/>
                  <a:gd name="connsiteY270" fmla="*/ 358953 h 455622"/>
                  <a:gd name="connsiteX271" fmla="*/ 168339 w 576839"/>
                  <a:gd name="connsiteY271" fmla="*/ 360771 h 455622"/>
                  <a:gd name="connsiteX272" fmla="*/ 168794 w 576839"/>
                  <a:gd name="connsiteY272" fmla="*/ 361831 h 455622"/>
                  <a:gd name="connsiteX273" fmla="*/ 169248 w 576839"/>
                  <a:gd name="connsiteY273" fmla="*/ 363801 h 455622"/>
                  <a:gd name="connsiteX274" fmla="*/ 170764 w 576839"/>
                  <a:gd name="connsiteY274" fmla="*/ 366377 h 455622"/>
                  <a:gd name="connsiteX275" fmla="*/ 172582 w 576839"/>
                  <a:gd name="connsiteY275" fmla="*/ 368195 h 455622"/>
                  <a:gd name="connsiteX276" fmla="*/ 178188 w 576839"/>
                  <a:gd name="connsiteY276" fmla="*/ 379711 h 455622"/>
                  <a:gd name="connsiteX277" fmla="*/ 178946 w 576839"/>
                  <a:gd name="connsiteY277" fmla="*/ 382287 h 455622"/>
                  <a:gd name="connsiteX278" fmla="*/ 180158 w 576839"/>
                  <a:gd name="connsiteY278" fmla="*/ 385620 h 455622"/>
                  <a:gd name="connsiteX279" fmla="*/ 180916 w 576839"/>
                  <a:gd name="connsiteY279" fmla="*/ 388650 h 455622"/>
                  <a:gd name="connsiteX280" fmla="*/ 181219 w 576839"/>
                  <a:gd name="connsiteY280" fmla="*/ 391075 h 455622"/>
                  <a:gd name="connsiteX281" fmla="*/ 186825 w 576839"/>
                  <a:gd name="connsiteY281" fmla="*/ 397439 h 455622"/>
                  <a:gd name="connsiteX282" fmla="*/ 188946 w 576839"/>
                  <a:gd name="connsiteY282" fmla="*/ 402893 h 455622"/>
                  <a:gd name="connsiteX283" fmla="*/ 193037 w 576839"/>
                  <a:gd name="connsiteY283" fmla="*/ 409863 h 455622"/>
                  <a:gd name="connsiteX284" fmla="*/ 195613 w 576839"/>
                  <a:gd name="connsiteY284" fmla="*/ 413348 h 455622"/>
                  <a:gd name="connsiteX285" fmla="*/ 203947 w 576839"/>
                  <a:gd name="connsiteY285" fmla="*/ 419409 h 455622"/>
                  <a:gd name="connsiteX286" fmla="*/ 210614 w 576839"/>
                  <a:gd name="connsiteY286" fmla="*/ 425925 h 455622"/>
                  <a:gd name="connsiteX287" fmla="*/ 211675 w 576839"/>
                  <a:gd name="connsiteY287" fmla="*/ 430925 h 455622"/>
                  <a:gd name="connsiteX288" fmla="*/ 213038 w 576839"/>
                  <a:gd name="connsiteY288" fmla="*/ 434713 h 455622"/>
                  <a:gd name="connsiteX289" fmla="*/ 215614 w 576839"/>
                  <a:gd name="connsiteY289" fmla="*/ 436682 h 455622"/>
                  <a:gd name="connsiteX290" fmla="*/ 217432 w 576839"/>
                  <a:gd name="connsiteY290" fmla="*/ 439258 h 455622"/>
                  <a:gd name="connsiteX291" fmla="*/ 217735 w 576839"/>
                  <a:gd name="connsiteY291" fmla="*/ 441834 h 455622"/>
                  <a:gd name="connsiteX292" fmla="*/ 220311 w 576839"/>
                  <a:gd name="connsiteY292" fmla="*/ 443653 h 455622"/>
                  <a:gd name="connsiteX293" fmla="*/ 221675 w 576839"/>
                  <a:gd name="connsiteY293" fmla="*/ 445471 h 455622"/>
                  <a:gd name="connsiteX294" fmla="*/ 222432 w 576839"/>
                  <a:gd name="connsiteY294" fmla="*/ 447744 h 455622"/>
                  <a:gd name="connsiteX295" fmla="*/ 222584 w 576839"/>
                  <a:gd name="connsiteY295" fmla="*/ 450016 h 455622"/>
                  <a:gd name="connsiteX296" fmla="*/ 224251 w 576839"/>
                  <a:gd name="connsiteY296" fmla="*/ 453350 h 455622"/>
                  <a:gd name="connsiteX297" fmla="*/ 224553 w 576839"/>
                  <a:gd name="connsiteY297" fmla="*/ 455623 h 455622"/>
                  <a:gd name="connsiteX298" fmla="*/ 229706 w 576839"/>
                  <a:gd name="connsiteY298" fmla="*/ 451835 h 455622"/>
                  <a:gd name="connsiteX299" fmla="*/ 231069 w 576839"/>
                  <a:gd name="connsiteY299" fmla="*/ 450622 h 455622"/>
                  <a:gd name="connsiteX300" fmla="*/ 231827 w 576839"/>
                  <a:gd name="connsiteY300" fmla="*/ 449562 h 455622"/>
                  <a:gd name="connsiteX301" fmla="*/ 233039 w 576839"/>
                  <a:gd name="connsiteY301" fmla="*/ 447441 h 455622"/>
                  <a:gd name="connsiteX302" fmla="*/ 234706 w 576839"/>
                  <a:gd name="connsiteY302" fmla="*/ 446683 h 455622"/>
                  <a:gd name="connsiteX303" fmla="*/ 235312 w 576839"/>
                  <a:gd name="connsiteY303" fmla="*/ 444410 h 455622"/>
                  <a:gd name="connsiteX304" fmla="*/ 235312 w 576839"/>
                  <a:gd name="connsiteY304" fmla="*/ 443198 h 455622"/>
                  <a:gd name="connsiteX305" fmla="*/ 234251 w 576839"/>
                  <a:gd name="connsiteY305" fmla="*/ 442289 h 455622"/>
                  <a:gd name="connsiteX306" fmla="*/ 233494 w 576839"/>
                  <a:gd name="connsiteY306" fmla="*/ 439561 h 455622"/>
                  <a:gd name="connsiteX307" fmla="*/ 233796 w 576839"/>
                  <a:gd name="connsiteY307" fmla="*/ 436228 h 455622"/>
                  <a:gd name="connsiteX308" fmla="*/ 234099 w 576839"/>
                  <a:gd name="connsiteY308" fmla="*/ 434864 h 455622"/>
                  <a:gd name="connsiteX309" fmla="*/ 234706 w 576839"/>
                  <a:gd name="connsiteY309" fmla="*/ 432288 h 455622"/>
                  <a:gd name="connsiteX310" fmla="*/ 236524 w 576839"/>
                  <a:gd name="connsiteY310" fmla="*/ 431379 h 455622"/>
                  <a:gd name="connsiteX311" fmla="*/ 236978 w 576839"/>
                  <a:gd name="connsiteY311" fmla="*/ 430622 h 455622"/>
                  <a:gd name="connsiteX312" fmla="*/ 235615 w 576839"/>
                  <a:gd name="connsiteY312" fmla="*/ 428955 h 455622"/>
                  <a:gd name="connsiteX313" fmla="*/ 235766 w 576839"/>
                  <a:gd name="connsiteY313" fmla="*/ 428046 h 455622"/>
                  <a:gd name="connsiteX314" fmla="*/ 238796 w 576839"/>
                  <a:gd name="connsiteY314" fmla="*/ 425318 h 455622"/>
                  <a:gd name="connsiteX315" fmla="*/ 240009 w 576839"/>
                  <a:gd name="connsiteY315" fmla="*/ 424561 h 455622"/>
                  <a:gd name="connsiteX316" fmla="*/ 241979 w 576839"/>
                  <a:gd name="connsiteY316" fmla="*/ 423652 h 455622"/>
                  <a:gd name="connsiteX317" fmla="*/ 243494 w 576839"/>
                  <a:gd name="connsiteY317" fmla="*/ 423652 h 455622"/>
                  <a:gd name="connsiteX318" fmla="*/ 245312 w 576839"/>
                  <a:gd name="connsiteY318" fmla="*/ 424106 h 455622"/>
                  <a:gd name="connsiteX319" fmla="*/ 246827 w 576839"/>
                  <a:gd name="connsiteY319" fmla="*/ 424864 h 455622"/>
                  <a:gd name="connsiteX320" fmla="*/ 248342 w 576839"/>
                  <a:gd name="connsiteY320" fmla="*/ 426228 h 455622"/>
                  <a:gd name="connsiteX321" fmla="*/ 250009 w 576839"/>
                  <a:gd name="connsiteY321" fmla="*/ 427743 h 455622"/>
                  <a:gd name="connsiteX322" fmla="*/ 252434 w 576839"/>
                  <a:gd name="connsiteY322" fmla="*/ 428349 h 455622"/>
                  <a:gd name="connsiteX323" fmla="*/ 254100 w 576839"/>
                  <a:gd name="connsiteY323" fmla="*/ 428197 h 455622"/>
                  <a:gd name="connsiteX324" fmla="*/ 255464 w 576839"/>
                  <a:gd name="connsiteY324" fmla="*/ 428955 h 455622"/>
                  <a:gd name="connsiteX325" fmla="*/ 256676 w 576839"/>
                  <a:gd name="connsiteY325" fmla="*/ 428500 h 455622"/>
                  <a:gd name="connsiteX326" fmla="*/ 258040 w 576839"/>
                  <a:gd name="connsiteY326" fmla="*/ 427743 h 455622"/>
                  <a:gd name="connsiteX327" fmla="*/ 260161 w 576839"/>
                  <a:gd name="connsiteY327" fmla="*/ 427743 h 455622"/>
                  <a:gd name="connsiteX328" fmla="*/ 262131 w 576839"/>
                  <a:gd name="connsiteY328" fmla="*/ 426834 h 455622"/>
                  <a:gd name="connsiteX329" fmla="*/ 267586 w 576839"/>
                  <a:gd name="connsiteY329" fmla="*/ 426379 h 455622"/>
                  <a:gd name="connsiteX330" fmla="*/ 272889 w 576839"/>
                  <a:gd name="connsiteY330" fmla="*/ 426682 h 455622"/>
                  <a:gd name="connsiteX331" fmla="*/ 278344 w 576839"/>
                  <a:gd name="connsiteY331" fmla="*/ 425925 h 455622"/>
                  <a:gd name="connsiteX332" fmla="*/ 283798 w 576839"/>
                  <a:gd name="connsiteY332" fmla="*/ 425925 h 455622"/>
                  <a:gd name="connsiteX333" fmla="*/ 289253 w 576839"/>
                  <a:gd name="connsiteY333" fmla="*/ 425925 h 455622"/>
                  <a:gd name="connsiteX334" fmla="*/ 290465 w 576839"/>
                  <a:gd name="connsiteY334" fmla="*/ 426076 h 455622"/>
                  <a:gd name="connsiteX335" fmla="*/ 291677 w 576839"/>
                  <a:gd name="connsiteY335" fmla="*/ 426531 h 455622"/>
                  <a:gd name="connsiteX336" fmla="*/ 296375 w 576839"/>
                  <a:gd name="connsiteY336" fmla="*/ 428955 h 455622"/>
                  <a:gd name="connsiteX337" fmla="*/ 299859 w 576839"/>
                  <a:gd name="connsiteY337" fmla="*/ 429410 h 455622"/>
                  <a:gd name="connsiteX338" fmla="*/ 306981 w 576839"/>
                  <a:gd name="connsiteY338" fmla="*/ 430016 h 455622"/>
                  <a:gd name="connsiteX339" fmla="*/ 314557 w 576839"/>
                  <a:gd name="connsiteY339" fmla="*/ 430773 h 455622"/>
                  <a:gd name="connsiteX340" fmla="*/ 321073 w 576839"/>
                  <a:gd name="connsiteY340" fmla="*/ 431379 h 455622"/>
                  <a:gd name="connsiteX341" fmla="*/ 326679 w 576839"/>
                  <a:gd name="connsiteY341" fmla="*/ 430773 h 455622"/>
                  <a:gd name="connsiteX342" fmla="*/ 331224 w 576839"/>
                  <a:gd name="connsiteY342" fmla="*/ 430319 h 455622"/>
                  <a:gd name="connsiteX343" fmla="*/ 332437 w 576839"/>
                  <a:gd name="connsiteY343" fmla="*/ 430470 h 455622"/>
                  <a:gd name="connsiteX344" fmla="*/ 333800 w 576839"/>
                  <a:gd name="connsiteY344" fmla="*/ 431985 h 455622"/>
                  <a:gd name="connsiteX345" fmla="*/ 336528 w 576839"/>
                  <a:gd name="connsiteY345" fmla="*/ 435773 h 455622"/>
                  <a:gd name="connsiteX346" fmla="*/ 339103 w 576839"/>
                  <a:gd name="connsiteY346" fmla="*/ 439258 h 455622"/>
                  <a:gd name="connsiteX347" fmla="*/ 343649 w 576839"/>
                  <a:gd name="connsiteY347" fmla="*/ 439410 h 455622"/>
                  <a:gd name="connsiteX348" fmla="*/ 346528 w 576839"/>
                  <a:gd name="connsiteY348" fmla="*/ 438046 h 455622"/>
                  <a:gd name="connsiteX349" fmla="*/ 349710 w 576839"/>
                  <a:gd name="connsiteY349" fmla="*/ 436228 h 455622"/>
                  <a:gd name="connsiteX350" fmla="*/ 351680 w 576839"/>
                  <a:gd name="connsiteY350" fmla="*/ 434713 h 455622"/>
                  <a:gd name="connsiteX351" fmla="*/ 353952 w 576839"/>
                  <a:gd name="connsiteY351" fmla="*/ 428955 h 455622"/>
                  <a:gd name="connsiteX352" fmla="*/ 355468 w 576839"/>
                  <a:gd name="connsiteY352" fmla="*/ 425318 h 455622"/>
                  <a:gd name="connsiteX353" fmla="*/ 358801 w 576839"/>
                  <a:gd name="connsiteY353" fmla="*/ 421228 h 455622"/>
                  <a:gd name="connsiteX354" fmla="*/ 361680 w 576839"/>
                  <a:gd name="connsiteY354" fmla="*/ 417742 h 455622"/>
                  <a:gd name="connsiteX355" fmla="*/ 365468 w 576839"/>
                  <a:gd name="connsiteY355" fmla="*/ 413045 h 455622"/>
                  <a:gd name="connsiteX356" fmla="*/ 367589 w 576839"/>
                  <a:gd name="connsiteY356" fmla="*/ 410469 h 455622"/>
                  <a:gd name="connsiteX357" fmla="*/ 371680 w 576839"/>
                  <a:gd name="connsiteY357" fmla="*/ 405469 h 455622"/>
                  <a:gd name="connsiteX358" fmla="*/ 375620 w 576839"/>
                  <a:gd name="connsiteY358" fmla="*/ 403499 h 455622"/>
                  <a:gd name="connsiteX359" fmla="*/ 383196 w 576839"/>
                  <a:gd name="connsiteY359" fmla="*/ 399711 h 455622"/>
                  <a:gd name="connsiteX360" fmla="*/ 390621 w 576839"/>
                  <a:gd name="connsiteY360" fmla="*/ 395923 h 455622"/>
                  <a:gd name="connsiteX361" fmla="*/ 395469 w 576839"/>
                  <a:gd name="connsiteY361" fmla="*/ 393499 h 455622"/>
                  <a:gd name="connsiteX362" fmla="*/ 399560 w 576839"/>
                  <a:gd name="connsiteY362" fmla="*/ 392438 h 455622"/>
                  <a:gd name="connsiteX363" fmla="*/ 406530 w 576839"/>
                  <a:gd name="connsiteY363" fmla="*/ 391529 h 455622"/>
                  <a:gd name="connsiteX364" fmla="*/ 414712 w 576839"/>
                  <a:gd name="connsiteY364" fmla="*/ 390469 h 455622"/>
                  <a:gd name="connsiteX365" fmla="*/ 422895 w 576839"/>
                  <a:gd name="connsiteY365" fmla="*/ 389408 h 455622"/>
                  <a:gd name="connsiteX366" fmla="*/ 431531 w 576839"/>
                  <a:gd name="connsiteY366" fmla="*/ 388196 h 455622"/>
                  <a:gd name="connsiteX367" fmla="*/ 441228 w 576839"/>
                  <a:gd name="connsiteY367" fmla="*/ 386832 h 455622"/>
                  <a:gd name="connsiteX368" fmla="*/ 447895 w 576839"/>
                  <a:gd name="connsiteY368" fmla="*/ 385923 h 455622"/>
                  <a:gd name="connsiteX369" fmla="*/ 456380 w 576839"/>
                  <a:gd name="connsiteY369" fmla="*/ 384711 h 455622"/>
                  <a:gd name="connsiteX370" fmla="*/ 463350 w 576839"/>
                  <a:gd name="connsiteY370" fmla="*/ 383802 h 455622"/>
                  <a:gd name="connsiteX371" fmla="*/ 469563 w 576839"/>
                  <a:gd name="connsiteY371" fmla="*/ 382893 h 455622"/>
                  <a:gd name="connsiteX372" fmla="*/ 475927 w 576839"/>
                  <a:gd name="connsiteY372" fmla="*/ 381984 h 455622"/>
                  <a:gd name="connsiteX373" fmla="*/ 479715 w 576839"/>
                  <a:gd name="connsiteY373" fmla="*/ 380620 h 455622"/>
                  <a:gd name="connsiteX374" fmla="*/ 484412 w 576839"/>
                  <a:gd name="connsiteY374" fmla="*/ 378953 h 455622"/>
                  <a:gd name="connsiteX375" fmla="*/ 489109 w 576839"/>
                  <a:gd name="connsiteY375" fmla="*/ 377286 h 455622"/>
                  <a:gd name="connsiteX376" fmla="*/ 493806 w 576839"/>
                  <a:gd name="connsiteY376" fmla="*/ 375620 h 455622"/>
                  <a:gd name="connsiteX377" fmla="*/ 498503 w 576839"/>
                  <a:gd name="connsiteY377" fmla="*/ 373953 h 455622"/>
                  <a:gd name="connsiteX378" fmla="*/ 503200 w 576839"/>
                  <a:gd name="connsiteY378" fmla="*/ 372286 h 455622"/>
                  <a:gd name="connsiteX379" fmla="*/ 507897 w 576839"/>
                  <a:gd name="connsiteY379" fmla="*/ 370619 h 455622"/>
                  <a:gd name="connsiteX380" fmla="*/ 512595 w 576839"/>
                  <a:gd name="connsiteY380" fmla="*/ 368953 h 455622"/>
                  <a:gd name="connsiteX381" fmla="*/ 517292 w 576839"/>
                  <a:gd name="connsiteY381" fmla="*/ 367286 h 455622"/>
                  <a:gd name="connsiteX382" fmla="*/ 521989 w 576839"/>
                  <a:gd name="connsiteY382" fmla="*/ 365619 h 455622"/>
                  <a:gd name="connsiteX383" fmla="*/ 526686 w 576839"/>
                  <a:gd name="connsiteY383" fmla="*/ 363953 h 455622"/>
                  <a:gd name="connsiteX384" fmla="*/ 531383 w 576839"/>
                  <a:gd name="connsiteY384" fmla="*/ 362286 h 455622"/>
                  <a:gd name="connsiteX385" fmla="*/ 536080 w 576839"/>
                  <a:gd name="connsiteY385" fmla="*/ 360619 h 455622"/>
                  <a:gd name="connsiteX386" fmla="*/ 540778 w 576839"/>
                  <a:gd name="connsiteY386" fmla="*/ 358953 h 455622"/>
                  <a:gd name="connsiteX387" fmla="*/ 545475 w 576839"/>
                  <a:gd name="connsiteY387" fmla="*/ 357286 h 455622"/>
                  <a:gd name="connsiteX388" fmla="*/ 550172 w 576839"/>
                  <a:gd name="connsiteY388" fmla="*/ 355619 h 455622"/>
                  <a:gd name="connsiteX389" fmla="*/ 554869 w 576839"/>
                  <a:gd name="connsiteY389" fmla="*/ 353952 h 455622"/>
                  <a:gd name="connsiteX390" fmla="*/ 557748 w 576839"/>
                  <a:gd name="connsiteY390" fmla="*/ 352892 h 455622"/>
                  <a:gd name="connsiteX391" fmla="*/ 558960 w 576839"/>
                  <a:gd name="connsiteY391" fmla="*/ 349104 h 455622"/>
                  <a:gd name="connsiteX392" fmla="*/ 560021 w 576839"/>
                  <a:gd name="connsiteY392" fmla="*/ 345922 h 455622"/>
                  <a:gd name="connsiteX393" fmla="*/ 561081 w 576839"/>
                  <a:gd name="connsiteY393" fmla="*/ 342740 h 455622"/>
                  <a:gd name="connsiteX394" fmla="*/ 562142 w 576839"/>
                  <a:gd name="connsiteY394" fmla="*/ 339558 h 455622"/>
                  <a:gd name="connsiteX395" fmla="*/ 563202 w 576839"/>
                  <a:gd name="connsiteY395" fmla="*/ 336376 h 455622"/>
                  <a:gd name="connsiteX396" fmla="*/ 564263 w 576839"/>
                  <a:gd name="connsiteY396" fmla="*/ 333194 h 455622"/>
                  <a:gd name="connsiteX397" fmla="*/ 565324 w 576839"/>
                  <a:gd name="connsiteY397" fmla="*/ 330012 h 455622"/>
                  <a:gd name="connsiteX398" fmla="*/ 566384 w 576839"/>
                  <a:gd name="connsiteY398" fmla="*/ 326830 h 455622"/>
                  <a:gd name="connsiteX399" fmla="*/ 567445 w 576839"/>
                  <a:gd name="connsiteY399" fmla="*/ 323648 h 455622"/>
                  <a:gd name="connsiteX400" fmla="*/ 568506 w 576839"/>
                  <a:gd name="connsiteY400" fmla="*/ 320466 h 455622"/>
                  <a:gd name="connsiteX401" fmla="*/ 569567 w 576839"/>
                  <a:gd name="connsiteY401" fmla="*/ 317284 h 455622"/>
                  <a:gd name="connsiteX402" fmla="*/ 570627 w 576839"/>
                  <a:gd name="connsiteY402" fmla="*/ 314102 h 455622"/>
                  <a:gd name="connsiteX403" fmla="*/ 571688 w 576839"/>
                  <a:gd name="connsiteY403" fmla="*/ 310920 h 455622"/>
                  <a:gd name="connsiteX404" fmla="*/ 572748 w 576839"/>
                  <a:gd name="connsiteY404" fmla="*/ 307738 h 455622"/>
                  <a:gd name="connsiteX405" fmla="*/ 573809 w 576839"/>
                  <a:gd name="connsiteY405" fmla="*/ 304556 h 455622"/>
                  <a:gd name="connsiteX406" fmla="*/ 574870 w 576839"/>
                  <a:gd name="connsiteY406" fmla="*/ 301375 h 455622"/>
                  <a:gd name="connsiteX407" fmla="*/ 575930 w 576839"/>
                  <a:gd name="connsiteY407" fmla="*/ 298193 h 455622"/>
                  <a:gd name="connsiteX408" fmla="*/ 576839 w 576839"/>
                  <a:gd name="connsiteY408" fmla="*/ 295314 h 455622"/>
                  <a:gd name="connsiteX409" fmla="*/ 573355 w 576839"/>
                  <a:gd name="connsiteY409" fmla="*/ 293950 h 455622"/>
                  <a:gd name="connsiteX410" fmla="*/ 202583 w 576839"/>
                  <a:gd name="connsiteY410" fmla="*/ 444865 h 455622"/>
                  <a:gd name="connsiteX411" fmla="*/ 202734 w 576839"/>
                  <a:gd name="connsiteY411" fmla="*/ 445319 h 455622"/>
                  <a:gd name="connsiteX412" fmla="*/ 203644 w 576839"/>
                  <a:gd name="connsiteY412" fmla="*/ 446228 h 455622"/>
                  <a:gd name="connsiteX413" fmla="*/ 201522 w 576839"/>
                  <a:gd name="connsiteY413" fmla="*/ 446077 h 455622"/>
                  <a:gd name="connsiteX414" fmla="*/ 200462 w 576839"/>
                  <a:gd name="connsiteY414" fmla="*/ 445168 h 455622"/>
                  <a:gd name="connsiteX415" fmla="*/ 200916 w 576839"/>
                  <a:gd name="connsiteY415" fmla="*/ 444410 h 455622"/>
                  <a:gd name="connsiteX416" fmla="*/ 200613 w 576839"/>
                  <a:gd name="connsiteY416" fmla="*/ 443653 h 455622"/>
                  <a:gd name="connsiteX417" fmla="*/ 200462 w 576839"/>
                  <a:gd name="connsiteY417" fmla="*/ 440016 h 455622"/>
                  <a:gd name="connsiteX418" fmla="*/ 199553 w 576839"/>
                  <a:gd name="connsiteY418" fmla="*/ 438349 h 455622"/>
                  <a:gd name="connsiteX419" fmla="*/ 198037 w 576839"/>
                  <a:gd name="connsiteY419" fmla="*/ 438046 h 455622"/>
                  <a:gd name="connsiteX420" fmla="*/ 198644 w 576839"/>
                  <a:gd name="connsiteY420" fmla="*/ 439561 h 455622"/>
                  <a:gd name="connsiteX421" fmla="*/ 197886 w 576839"/>
                  <a:gd name="connsiteY421" fmla="*/ 441077 h 455622"/>
                  <a:gd name="connsiteX422" fmla="*/ 196674 w 576839"/>
                  <a:gd name="connsiteY422" fmla="*/ 441986 h 455622"/>
                  <a:gd name="connsiteX423" fmla="*/ 195613 w 576839"/>
                  <a:gd name="connsiteY423" fmla="*/ 442289 h 455622"/>
                  <a:gd name="connsiteX424" fmla="*/ 196371 w 576839"/>
                  <a:gd name="connsiteY424" fmla="*/ 444259 h 455622"/>
                  <a:gd name="connsiteX425" fmla="*/ 198946 w 576839"/>
                  <a:gd name="connsiteY425" fmla="*/ 446834 h 455622"/>
                  <a:gd name="connsiteX426" fmla="*/ 200765 w 576839"/>
                  <a:gd name="connsiteY426" fmla="*/ 447744 h 455622"/>
                  <a:gd name="connsiteX427" fmla="*/ 203644 w 576839"/>
                  <a:gd name="connsiteY427" fmla="*/ 447289 h 455622"/>
                  <a:gd name="connsiteX428" fmla="*/ 204553 w 576839"/>
                  <a:gd name="connsiteY428" fmla="*/ 448047 h 455622"/>
                  <a:gd name="connsiteX429" fmla="*/ 204704 w 576839"/>
                  <a:gd name="connsiteY429" fmla="*/ 448804 h 455622"/>
                  <a:gd name="connsiteX430" fmla="*/ 205159 w 576839"/>
                  <a:gd name="connsiteY430" fmla="*/ 449410 h 455622"/>
                  <a:gd name="connsiteX431" fmla="*/ 205917 w 576839"/>
                  <a:gd name="connsiteY431" fmla="*/ 450016 h 455622"/>
                  <a:gd name="connsiteX432" fmla="*/ 206220 w 576839"/>
                  <a:gd name="connsiteY432" fmla="*/ 449259 h 455622"/>
                  <a:gd name="connsiteX433" fmla="*/ 206371 w 576839"/>
                  <a:gd name="connsiteY433" fmla="*/ 446077 h 455622"/>
                  <a:gd name="connsiteX434" fmla="*/ 203341 w 576839"/>
                  <a:gd name="connsiteY434" fmla="*/ 443349 h 455622"/>
                  <a:gd name="connsiteX435" fmla="*/ 202583 w 576839"/>
                  <a:gd name="connsiteY435" fmla="*/ 444865 h 45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Lst>
                <a:rect l="l" t="t" r="r" b="b"/>
                <a:pathLst>
                  <a:path w="576839" h="455622">
                    <a:moveTo>
                      <a:pt x="58184" y="194401"/>
                    </a:moveTo>
                    <a:lnTo>
                      <a:pt x="53790" y="192583"/>
                    </a:lnTo>
                    <a:lnTo>
                      <a:pt x="52881" y="191825"/>
                    </a:lnTo>
                    <a:lnTo>
                      <a:pt x="52274" y="190613"/>
                    </a:lnTo>
                    <a:lnTo>
                      <a:pt x="51517" y="191825"/>
                    </a:lnTo>
                    <a:lnTo>
                      <a:pt x="52274" y="193037"/>
                    </a:lnTo>
                    <a:lnTo>
                      <a:pt x="57578" y="195007"/>
                    </a:lnTo>
                    <a:lnTo>
                      <a:pt x="58790" y="195916"/>
                    </a:lnTo>
                    <a:lnTo>
                      <a:pt x="59850" y="197431"/>
                    </a:lnTo>
                    <a:lnTo>
                      <a:pt x="61820" y="199401"/>
                    </a:lnTo>
                    <a:lnTo>
                      <a:pt x="62578" y="199401"/>
                    </a:lnTo>
                    <a:lnTo>
                      <a:pt x="64093" y="198492"/>
                    </a:lnTo>
                    <a:lnTo>
                      <a:pt x="63336" y="198189"/>
                    </a:lnTo>
                    <a:lnTo>
                      <a:pt x="58184" y="194401"/>
                    </a:lnTo>
                    <a:close/>
                    <a:moveTo>
                      <a:pt x="52578" y="186976"/>
                    </a:moveTo>
                    <a:lnTo>
                      <a:pt x="52578" y="189249"/>
                    </a:lnTo>
                    <a:lnTo>
                      <a:pt x="53790" y="190310"/>
                    </a:lnTo>
                    <a:lnTo>
                      <a:pt x="54093" y="189855"/>
                    </a:lnTo>
                    <a:lnTo>
                      <a:pt x="54093" y="189249"/>
                    </a:lnTo>
                    <a:lnTo>
                      <a:pt x="53638" y="187431"/>
                    </a:lnTo>
                    <a:lnTo>
                      <a:pt x="53790" y="185613"/>
                    </a:lnTo>
                    <a:lnTo>
                      <a:pt x="52578" y="186976"/>
                    </a:lnTo>
                    <a:close/>
                    <a:moveTo>
                      <a:pt x="573355" y="293950"/>
                    </a:moveTo>
                    <a:lnTo>
                      <a:pt x="571082" y="290162"/>
                    </a:lnTo>
                    <a:lnTo>
                      <a:pt x="568657" y="286223"/>
                    </a:lnTo>
                    <a:lnTo>
                      <a:pt x="566384" y="282586"/>
                    </a:lnTo>
                    <a:lnTo>
                      <a:pt x="564718" y="279859"/>
                    </a:lnTo>
                    <a:lnTo>
                      <a:pt x="562748" y="276677"/>
                    </a:lnTo>
                    <a:lnTo>
                      <a:pt x="560930" y="278950"/>
                    </a:lnTo>
                    <a:lnTo>
                      <a:pt x="560475" y="278950"/>
                    </a:lnTo>
                    <a:lnTo>
                      <a:pt x="558354" y="278647"/>
                    </a:lnTo>
                    <a:lnTo>
                      <a:pt x="557596" y="278495"/>
                    </a:lnTo>
                    <a:lnTo>
                      <a:pt x="555475" y="278192"/>
                    </a:lnTo>
                    <a:lnTo>
                      <a:pt x="552293" y="277737"/>
                    </a:lnTo>
                    <a:lnTo>
                      <a:pt x="548050" y="277131"/>
                    </a:lnTo>
                    <a:lnTo>
                      <a:pt x="543050" y="276525"/>
                    </a:lnTo>
                    <a:lnTo>
                      <a:pt x="537595" y="275768"/>
                    </a:lnTo>
                    <a:lnTo>
                      <a:pt x="531686" y="275010"/>
                    </a:lnTo>
                    <a:lnTo>
                      <a:pt x="525626" y="274252"/>
                    </a:lnTo>
                    <a:lnTo>
                      <a:pt x="519564" y="273495"/>
                    </a:lnTo>
                    <a:lnTo>
                      <a:pt x="513655" y="272737"/>
                    </a:lnTo>
                    <a:lnTo>
                      <a:pt x="508200" y="271980"/>
                    </a:lnTo>
                    <a:lnTo>
                      <a:pt x="503200" y="271374"/>
                    </a:lnTo>
                    <a:lnTo>
                      <a:pt x="498958" y="270767"/>
                    </a:lnTo>
                    <a:lnTo>
                      <a:pt x="495776" y="270313"/>
                    </a:lnTo>
                    <a:lnTo>
                      <a:pt x="493654" y="270010"/>
                    </a:lnTo>
                    <a:lnTo>
                      <a:pt x="492897" y="269858"/>
                    </a:lnTo>
                    <a:lnTo>
                      <a:pt x="490624" y="269555"/>
                    </a:lnTo>
                    <a:lnTo>
                      <a:pt x="489412" y="268040"/>
                    </a:lnTo>
                    <a:lnTo>
                      <a:pt x="487897" y="266222"/>
                    </a:lnTo>
                    <a:lnTo>
                      <a:pt x="486381" y="264404"/>
                    </a:lnTo>
                    <a:lnTo>
                      <a:pt x="484866" y="262585"/>
                    </a:lnTo>
                    <a:lnTo>
                      <a:pt x="483351" y="260767"/>
                    </a:lnTo>
                    <a:lnTo>
                      <a:pt x="481836" y="258949"/>
                    </a:lnTo>
                    <a:lnTo>
                      <a:pt x="480321" y="257131"/>
                    </a:lnTo>
                    <a:lnTo>
                      <a:pt x="478805" y="255312"/>
                    </a:lnTo>
                    <a:lnTo>
                      <a:pt x="477290" y="253494"/>
                    </a:lnTo>
                    <a:lnTo>
                      <a:pt x="475775" y="251676"/>
                    </a:lnTo>
                    <a:lnTo>
                      <a:pt x="474260" y="249857"/>
                    </a:lnTo>
                    <a:lnTo>
                      <a:pt x="472745" y="248039"/>
                    </a:lnTo>
                    <a:lnTo>
                      <a:pt x="471229" y="246221"/>
                    </a:lnTo>
                    <a:lnTo>
                      <a:pt x="469714" y="244403"/>
                    </a:lnTo>
                    <a:lnTo>
                      <a:pt x="468199" y="242585"/>
                    </a:lnTo>
                    <a:lnTo>
                      <a:pt x="466684" y="240766"/>
                    </a:lnTo>
                    <a:lnTo>
                      <a:pt x="465168" y="238948"/>
                    </a:lnTo>
                    <a:lnTo>
                      <a:pt x="464108" y="237736"/>
                    </a:lnTo>
                    <a:lnTo>
                      <a:pt x="463502" y="236372"/>
                    </a:lnTo>
                    <a:lnTo>
                      <a:pt x="463350" y="232584"/>
                    </a:lnTo>
                    <a:lnTo>
                      <a:pt x="463350" y="231827"/>
                    </a:lnTo>
                    <a:lnTo>
                      <a:pt x="462441" y="231827"/>
                    </a:lnTo>
                    <a:lnTo>
                      <a:pt x="460926" y="231220"/>
                    </a:lnTo>
                    <a:lnTo>
                      <a:pt x="458653" y="230917"/>
                    </a:lnTo>
                    <a:lnTo>
                      <a:pt x="456380" y="230311"/>
                    </a:lnTo>
                    <a:lnTo>
                      <a:pt x="458047" y="226372"/>
                    </a:lnTo>
                    <a:lnTo>
                      <a:pt x="459411" y="224857"/>
                    </a:lnTo>
                    <a:lnTo>
                      <a:pt x="459259" y="223644"/>
                    </a:lnTo>
                    <a:lnTo>
                      <a:pt x="457290" y="223796"/>
                    </a:lnTo>
                    <a:lnTo>
                      <a:pt x="455320" y="222584"/>
                    </a:lnTo>
                    <a:lnTo>
                      <a:pt x="452895" y="223190"/>
                    </a:lnTo>
                    <a:lnTo>
                      <a:pt x="450623" y="223796"/>
                    </a:lnTo>
                    <a:lnTo>
                      <a:pt x="448653" y="223796"/>
                    </a:lnTo>
                    <a:lnTo>
                      <a:pt x="447137" y="223493"/>
                    </a:lnTo>
                    <a:lnTo>
                      <a:pt x="446077" y="222887"/>
                    </a:lnTo>
                    <a:lnTo>
                      <a:pt x="444107" y="220463"/>
                    </a:lnTo>
                    <a:lnTo>
                      <a:pt x="442744" y="217281"/>
                    </a:lnTo>
                    <a:lnTo>
                      <a:pt x="440622" y="215008"/>
                    </a:lnTo>
                    <a:lnTo>
                      <a:pt x="438956" y="212280"/>
                    </a:lnTo>
                    <a:lnTo>
                      <a:pt x="435925" y="208795"/>
                    </a:lnTo>
                    <a:lnTo>
                      <a:pt x="434561" y="202432"/>
                    </a:lnTo>
                    <a:lnTo>
                      <a:pt x="433046" y="198946"/>
                    </a:lnTo>
                    <a:lnTo>
                      <a:pt x="428349" y="194856"/>
                    </a:lnTo>
                    <a:lnTo>
                      <a:pt x="427137" y="193189"/>
                    </a:lnTo>
                    <a:lnTo>
                      <a:pt x="425773" y="189249"/>
                    </a:lnTo>
                    <a:lnTo>
                      <a:pt x="424107" y="186673"/>
                    </a:lnTo>
                    <a:lnTo>
                      <a:pt x="422743" y="183340"/>
                    </a:lnTo>
                    <a:lnTo>
                      <a:pt x="421379" y="178946"/>
                    </a:lnTo>
                    <a:lnTo>
                      <a:pt x="421985" y="178643"/>
                    </a:lnTo>
                    <a:lnTo>
                      <a:pt x="423197" y="178794"/>
                    </a:lnTo>
                    <a:lnTo>
                      <a:pt x="424258" y="179249"/>
                    </a:lnTo>
                    <a:lnTo>
                      <a:pt x="424864" y="179249"/>
                    </a:lnTo>
                    <a:lnTo>
                      <a:pt x="426531" y="173188"/>
                    </a:lnTo>
                    <a:lnTo>
                      <a:pt x="425773" y="170309"/>
                    </a:lnTo>
                    <a:lnTo>
                      <a:pt x="423804" y="168794"/>
                    </a:lnTo>
                    <a:lnTo>
                      <a:pt x="421530" y="166673"/>
                    </a:lnTo>
                    <a:lnTo>
                      <a:pt x="421076" y="164248"/>
                    </a:lnTo>
                    <a:lnTo>
                      <a:pt x="420925" y="162279"/>
                    </a:lnTo>
                    <a:lnTo>
                      <a:pt x="421379" y="161673"/>
                    </a:lnTo>
                    <a:lnTo>
                      <a:pt x="423046" y="162279"/>
                    </a:lnTo>
                    <a:lnTo>
                      <a:pt x="424409" y="162733"/>
                    </a:lnTo>
                    <a:lnTo>
                      <a:pt x="424864" y="162582"/>
                    </a:lnTo>
                    <a:lnTo>
                      <a:pt x="420318" y="157733"/>
                    </a:lnTo>
                    <a:lnTo>
                      <a:pt x="412894" y="153945"/>
                    </a:lnTo>
                    <a:lnTo>
                      <a:pt x="408045" y="148187"/>
                    </a:lnTo>
                    <a:lnTo>
                      <a:pt x="404409" y="147278"/>
                    </a:lnTo>
                    <a:lnTo>
                      <a:pt x="401076" y="143490"/>
                    </a:lnTo>
                    <a:lnTo>
                      <a:pt x="398197" y="139702"/>
                    </a:lnTo>
                    <a:lnTo>
                      <a:pt x="399863" y="138035"/>
                    </a:lnTo>
                    <a:lnTo>
                      <a:pt x="397742" y="136975"/>
                    </a:lnTo>
                    <a:lnTo>
                      <a:pt x="395772" y="136369"/>
                    </a:lnTo>
                    <a:lnTo>
                      <a:pt x="390772" y="133944"/>
                    </a:lnTo>
                    <a:lnTo>
                      <a:pt x="387742" y="131217"/>
                    </a:lnTo>
                    <a:lnTo>
                      <a:pt x="388044" y="130005"/>
                    </a:lnTo>
                    <a:lnTo>
                      <a:pt x="388802" y="128944"/>
                    </a:lnTo>
                    <a:lnTo>
                      <a:pt x="388196" y="126217"/>
                    </a:lnTo>
                    <a:lnTo>
                      <a:pt x="387287" y="124398"/>
                    </a:lnTo>
                    <a:lnTo>
                      <a:pt x="383196" y="119247"/>
                    </a:lnTo>
                    <a:lnTo>
                      <a:pt x="380317" y="112731"/>
                    </a:lnTo>
                    <a:lnTo>
                      <a:pt x="379711" y="110004"/>
                    </a:lnTo>
                    <a:lnTo>
                      <a:pt x="378196" y="107277"/>
                    </a:lnTo>
                    <a:lnTo>
                      <a:pt x="373499" y="107277"/>
                    </a:lnTo>
                    <a:lnTo>
                      <a:pt x="367438" y="107428"/>
                    </a:lnTo>
                    <a:lnTo>
                      <a:pt x="362589" y="107428"/>
                    </a:lnTo>
                    <a:lnTo>
                      <a:pt x="357134" y="107428"/>
                    </a:lnTo>
                    <a:lnTo>
                      <a:pt x="354710" y="104701"/>
                    </a:lnTo>
                    <a:lnTo>
                      <a:pt x="353952" y="101670"/>
                    </a:lnTo>
                    <a:lnTo>
                      <a:pt x="353043" y="98488"/>
                    </a:lnTo>
                    <a:lnTo>
                      <a:pt x="350619" y="93943"/>
                    </a:lnTo>
                    <a:lnTo>
                      <a:pt x="342588" y="92882"/>
                    </a:lnTo>
                    <a:lnTo>
                      <a:pt x="338346" y="92276"/>
                    </a:lnTo>
                    <a:lnTo>
                      <a:pt x="331376" y="91367"/>
                    </a:lnTo>
                    <a:lnTo>
                      <a:pt x="326073" y="90761"/>
                    </a:lnTo>
                    <a:lnTo>
                      <a:pt x="321224" y="91670"/>
                    </a:lnTo>
                    <a:lnTo>
                      <a:pt x="310163" y="90761"/>
                    </a:lnTo>
                    <a:lnTo>
                      <a:pt x="297890" y="89700"/>
                    </a:lnTo>
                    <a:lnTo>
                      <a:pt x="285616" y="88639"/>
                    </a:lnTo>
                    <a:lnTo>
                      <a:pt x="276525" y="87882"/>
                    </a:lnTo>
                    <a:lnTo>
                      <a:pt x="275768" y="87579"/>
                    </a:lnTo>
                    <a:lnTo>
                      <a:pt x="266676" y="80609"/>
                    </a:lnTo>
                    <a:lnTo>
                      <a:pt x="259555" y="75154"/>
                    </a:lnTo>
                    <a:lnTo>
                      <a:pt x="250615" y="68336"/>
                    </a:lnTo>
                    <a:lnTo>
                      <a:pt x="241524" y="61366"/>
                    </a:lnTo>
                    <a:lnTo>
                      <a:pt x="232281" y="54244"/>
                    </a:lnTo>
                    <a:lnTo>
                      <a:pt x="225614" y="49093"/>
                    </a:lnTo>
                    <a:lnTo>
                      <a:pt x="217432" y="42426"/>
                    </a:lnTo>
                    <a:lnTo>
                      <a:pt x="210008" y="36365"/>
                    </a:lnTo>
                    <a:lnTo>
                      <a:pt x="204099" y="31516"/>
                    </a:lnTo>
                    <a:lnTo>
                      <a:pt x="196522" y="27274"/>
                    </a:lnTo>
                    <a:lnTo>
                      <a:pt x="190613" y="23940"/>
                    </a:lnTo>
                    <a:lnTo>
                      <a:pt x="182128" y="19092"/>
                    </a:lnTo>
                    <a:lnTo>
                      <a:pt x="175309" y="15304"/>
                    </a:lnTo>
                    <a:lnTo>
                      <a:pt x="169400" y="11970"/>
                    </a:lnTo>
                    <a:lnTo>
                      <a:pt x="160460" y="6970"/>
                    </a:lnTo>
                    <a:lnTo>
                      <a:pt x="157430" y="5606"/>
                    </a:lnTo>
                    <a:lnTo>
                      <a:pt x="148036" y="3939"/>
                    </a:lnTo>
                    <a:lnTo>
                      <a:pt x="139248" y="2576"/>
                    </a:lnTo>
                    <a:lnTo>
                      <a:pt x="130005" y="1061"/>
                    </a:lnTo>
                    <a:lnTo>
                      <a:pt x="123944" y="0"/>
                    </a:lnTo>
                    <a:lnTo>
                      <a:pt x="119853" y="3485"/>
                    </a:lnTo>
                    <a:lnTo>
                      <a:pt x="118943" y="3939"/>
                    </a:lnTo>
                    <a:lnTo>
                      <a:pt x="113641" y="5455"/>
                    </a:lnTo>
                    <a:lnTo>
                      <a:pt x="102882" y="8485"/>
                    </a:lnTo>
                    <a:lnTo>
                      <a:pt x="95610" y="10455"/>
                    </a:lnTo>
                    <a:lnTo>
                      <a:pt x="86367" y="13031"/>
                    </a:lnTo>
                    <a:lnTo>
                      <a:pt x="78639" y="15152"/>
                    </a:lnTo>
                    <a:lnTo>
                      <a:pt x="71063" y="17273"/>
                    </a:lnTo>
                    <a:lnTo>
                      <a:pt x="64093" y="19243"/>
                    </a:lnTo>
                    <a:lnTo>
                      <a:pt x="68033" y="23334"/>
                    </a:lnTo>
                    <a:lnTo>
                      <a:pt x="74093" y="29546"/>
                    </a:lnTo>
                    <a:lnTo>
                      <a:pt x="78185" y="33789"/>
                    </a:lnTo>
                    <a:lnTo>
                      <a:pt x="83033" y="39092"/>
                    </a:lnTo>
                    <a:lnTo>
                      <a:pt x="87276" y="43941"/>
                    </a:lnTo>
                    <a:lnTo>
                      <a:pt x="91822" y="48941"/>
                    </a:lnTo>
                    <a:lnTo>
                      <a:pt x="88639" y="50608"/>
                    </a:lnTo>
                    <a:lnTo>
                      <a:pt x="83336" y="53487"/>
                    </a:lnTo>
                    <a:lnTo>
                      <a:pt x="82730" y="53941"/>
                    </a:lnTo>
                    <a:lnTo>
                      <a:pt x="82276" y="54396"/>
                    </a:lnTo>
                    <a:lnTo>
                      <a:pt x="80154" y="59396"/>
                    </a:lnTo>
                    <a:lnTo>
                      <a:pt x="78488" y="63336"/>
                    </a:lnTo>
                    <a:lnTo>
                      <a:pt x="77881" y="63790"/>
                    </a:lnTo>
                    <a:lnTo>
                      <a:pt x="70457" y="65305"/>
                    </a:lnTo>
                    <a:lnTo>
                      <a:pt x="63033" y="66821"/>
                    </a:lnTo>
                    <a:lnTo>
                      <a:pt x="58335" y="67730"/>
                    </a:lnTo>
                    <a:lnTo>
                      <a:pt x="56971" y="68790"/>
                    </a:lnTo>
                    <a:lnTo>
                      <a:pt x="53941" y="73790"/>
                    </a:lnTo>
                    <a:lnTo>
                      <a:pt x="50759" y="78942"/>
                    </a:lnTo>
                    <a:lnTo>
                      <a:pt x="45456" y="83033"/>
                    </a:lnTo>
                    <a:lnTo>
                      <a:pt x="39547" y="87579"/>
                    </a:lnTo>
                    <a:lnTo>
                      <a:pt x="38031" y="87882"/>
                    </a:lnTo>
                    <a:lnTo>
                      <a:pt x="33789" y="87124"/>
                    </a:lnTo>
                    <a:lnTo>
                      <a:pt x="26516" y="85912"/>
                    </a:lnTo>
                    <a:lnTo>
                      <a:pt x="19546" y="84700"/>
                    </a:lnTo>
                    <a:lnTo>
                      <a:pt x="14698" y="83942"/>
                    </a:lnTo>
                    <a:lnTo>
                      <a:pt x="8940" y="83033"/>
                    </a:lnTo>
                    <a:lnTo>
                      <a:pt x="4848" y="101822"/>
                    </a:lnTo>
                    <a:lnTo>
                      <a:pt x="4394" y="108186"/>
                    </a:lnTo>
                    <a:lnTo>
                      <a:pt x="1818" y="115307"/>
                    </a:lnTo>
                    <a:lnTo>
                      <a:pt x="0" y="118792"/>
                    </a:lnTo>
                    <a:lnTo>
                      <a:pt x="303" y="121217"/>
                    </a:lnTo>
                    <a:lnTo>
                      <a:pt x="3030" y="119247"/>
                    </a:lnTo>
                    <a:lnTo>
                      <a:pt x="5909" y="119853"/>
                    </a:lnTo>
                    <a:lnTo>
                      <a:pt x="12728" y="120459"/>
                    </a:lnTo>
                    <a:lnTo>
                      <a:pt x="15455" y="121974"/>
                    </a:lnTo>
                    <a:lnTo>
                      <a:pt x="22122" y="130762"/>
                    </a:lnTo>
                    <a:lnTo>
                      <a:pt x="26364" y="139550"/>
                    </a:lnTo>
                    <a:lnTo>
                      <a:pt x="31364" y="144702"/>
                    </a:lnTo>
                    <a:lnTo>
                      <a:pt x="33789" y="150157"/>
                    </a:lnTo>
                    <a:lnTo>
                      <a:pt x="38789" y="155763"/>
                    </a:lnTo>
                    <a:lnTo>
                      <a:pt x="40456" y="159097"/>
                    </a:lnTo>
                    <a:lnTo>
                      <a:pt x="44698" y="164097"/>
                    </a:lnTo>
                    <a:lnTo>
                      <a:pt x="52123" y="178340"/>
                    </a:lnTo>
                    <a:lnTo>
                      <a:pt x="56366" y="180310"/>
                    </a:lnTo>
                    <a:lnTo>
                      <a:pt x="57123" y="184249"/>
                    </a:lnTo>
                    <a:lnTo>
                      <a:pt x="58790" y="188643"/>
                    </a:lnTo>
                    <a:lnTo>
                      <a:pt x="61517" y="190310"/>
                    </a:lnTo>
                    <a:lnTo>
                      <a:pt x="63184" y="191825"/>
                    </a:lnTo>
                    <a:lnTo>
                      <a:pt x="69396" y="201977"/>
                    </a:lnTo>
                    <a:lnTo>
                      <a:pt x="71366" y="206068"/>
                    </a:lnTo>
                    <a:lnTo>
                      <a:pt x="72124" y="208341"/>
                    </a:lnTo>
                    <a:lnTo>
                      <a:pt x="72730" y="211674"/>
                    </a:lnTo>
                    <a:lnTo>
                      <a:pt x="71518" y="214250"/>
                    </a:lnTo>
                    <a:lnTo>
                      <a:pt x="70457" y="215765"/>
                    </a:lnTo>
                    <a:lnTo>
                      <a:pt x="74700" y="221675"/>
                    </a:lnTo>
                    <a:lnTo>
                      <a:pt x="77275" y="226220"/>
                    </a:lnTo>
                    <a:lnTo>
                      <a:pt x="80306" y="231069"/>
                    </a:lnTo>
                    <a:lnTo>
                      <a:pt x="82882" y="231524"/>
                    </a:lnTo>
                    <a:lnTo>
                      <a:pt x="85003" y="231675"/>
                    </a:lnTo>
                    <a:lnTo>
                      <a:pt x="87882" y="234251"/>
                    </a:lnTo>
                    <a:lnTo>
                      <a:pt x="90609" y="234251"/>
                    </a:lnTo>
                    <a:lnTo>
                      <a:pt x="92124" y="236069"/>
                    </a:lnTo>
                    <a:lnTo>
                      <a:pt x="95458" y="238039"/>
                    </a:lnTo>
                    <a:lnTo>
                      <a:pt x="100610" y="242281"/>
                    </a:lnTo>
                    <a:lnTo>
                      <a:pt x="105458" y="248039"/>
                    </a:lnTo>
                    <a:lnTo>
                      <a:pt x="107579" y="252434"/>
                    </a:lnTo>
                    <a:lnTo>
                      <a:pt x="112125" y="259706"/>
                    </a:lnTo>
                    <a:lnTo>
                      <a:pt x="113489" y="262888"/>
                    </a:lnTo>
                    <a:lnTo>
                      <a:pt x="114550" y="267131"/>
                    </a:lnTo>
                    <a:lnTo>
                      <a:pt x="115610" y="268798"/>
                    </a:lnTo>
                    <a:lnTo>
                      <a:pt x="118489" y="271828"/>
                    </a:lnTo>
                    <a:lnTo>
                      <a:pt x="116822" y="271828"/>
                    </a:lnTo>
                    <a:lnTo>
                      <a:pt x="118338" y="274101"/>
                    </a:lnTo>
                    <a:lnTo>
                      <a:pt x="120156" y="275162"/>
                    </a:lnTo>
                    <a:lnTo>
                      <a:pt x="120004" y="277131"/>
                    </a:lnTo>
                    <a:lnTo>
                      <a:pt x="121671" y="280162"/>
                    </a:lnTo>
                    <a:lnTo>
                      <a:pt x="122580" y="285919"/>
                    </a:lnTo>
                    <a:lnTo>
                      <a:pt x="121822" y="288798"/>
                    </a:lnTo>
                    <a:lnTo>
                      <a:pt x="120913" y="291374"/>
                    </a:lnTo>
                    <a:lnTo>
                      <a:pt x="120610" y="296223"/>
                    </a:lnTo>
                    <a:lnTo>
                      <a:pt x="119701" y="300617"/>
                    </a:lnTo>
                    <a:lnTo>
                      <a:pt x="120913" y="303647"/>
                    </a:lnTo>
                    <a:lnTo>
                      <a:pt x="122580" y="306829"/>
                    </a:lnTo>
                    <a:lnTo>
                      <a:pt x="124096" y="310920"/>
                    </a:lnTo>
                    <a:lnTo>
                      <a:pt x="124247" y="313345"/>
                    </a:lnTo>
                    <a:lnTo>
                      <a:pt x="122731" y="316830"/>
                    </a:lnTo>
                    <a:lnTo>
                      <a:pt x="127732" y="326375"/>
                    </a:lnTo>
                    <a:lnTo>
                      <a:pt x="133641" y="333042"/>
                    </a:lnTo>
                    <a:lnTo>
                      <a:pt x="136974" y="339255"/>
                    </a:lnTo>
                    <a:lnTo>
                      <a:pt x="140157" y="342891"/>
                    </a:lnTo>
                    <a:lnTo>
                      <a:pt x="144399" y="345619"/>
                    </a:lnTo>
                    <a:lnTo>
                      <a:pt x="149702" y="346376"/>
                    </a:lnTo>
                    <a:lnTo>
                      <a:pt x="160763" y="354104"/>
                    </a:lnTo>
                    <a:lnTo>
                      <a:pt x="164400" y="358953"/>
                    </a:lnTo>
                    <a:lnTo>
                      <a:pt x="168339" y="360771"/>
                    </a:lnTo>
                    <a:lnTo>
                      <a:pt x="168794" y="361831"/>
                    </a:lnTo>
                    <a:lnTo>
                      <a:pt x="169248" y="363801"/>
                    </a:lnTo>
                    <a:lnTo>
                      <a:pt x="170764" y="366377"/>
                    </a:lnTo>
                    <a:lnTo>
                      <a:pt x="172582" y="368195"/>
                    </a:lnTo>
                    <a:lnTo>
                      <a:pt x="178188" y="379711"/>
                    </a:lnTo>
                    <a:lnTo>
                      <a:pt x="178946" y="382287"/>
                    </a:lnTo>
                    <a:lnTo>
                      <a:pt x="180158" y="385620"/>
                    </a:lnTo>
                    <a:lnTo>
                      <a:pt x="180916" y="388650"/>
                    </a:lnTo>
                    <a:lnTo>
                      <a:pt x="181219" y="391075"/>
                    </a:lnTo>
                    <a:lnTo>
                      <a:pt x="186825" y="397439"/>
                    </a:lnTo>
                    <a:lnTo>
                      <a:pt x="188946" y="402893"/>
                    </a:lnTo>
                    <a:lnTo>
                      <a:pt x="193037" y="409863"/>
                    </a:lnTo>
                    <a:lnTo>
                      <a:pt x="195613" y="413348"/>
                    </a:lnTo>
                    <a:lnTo>
                      <a:pt x="203947" y="419409"/>
                    </a:lnTo>
                    <a:lnTo>
                      <a:pt x="210614" y="425925"/>
                    </a:lnTo>
                    <a:lnTo>
                      <a:pt x="211675" y="430925"/>
                    </a:lnTo>
                    <a:lnTo>
                      <a:pt x="213038" y="434713"/>
                    </a:lnTo>
                    <a:lnTo>
                      <a:pt x="215614" y="436682"/>
                    </a:lnTo>
                    <a:lnTo>
                      <a:pt x="217432" y="439258"/>
                    </a:lnTo>
                    <a:lnTo>
                      <a:pt x="217735" y="441834"/>
                    </a:lnTo>
                    <a:lnTo>
                      <a:pt x="220311" y="443653"/>
                    </a:lnTo>
                    <a:lnTo>
                      <a:pt x="221675" y="445471"/>
                    </a:lnTo>
                    <a:lnTo>
                      <a:pt x="222432" y="447744"/>
                    </a:lnTo>
                    <a:lnTo>
                      <a:pt x="222584" y="450016"/>
                    </a:lnTo>
                    <a:lnTo>
                      <a:pt x="224251" y="453350"/>
                    </a:lnTo>
                    <a:lnTo>
                      <a:pt x="224553" y="455623"/>
                    </a:lnTo>
                    <a:lnTo>
                      <a:pt x="229706" y="451835"/>
                    </a:lnTo>
                    <a:lnTo>
                      <a:pt x="231069" y="450622"/>
                    </a:lnTo>
                    <a:lnTo>
                      <a:pt x="231827" y="449562"/>
                    </a:lnTo>
                    <a:lnTo>
                      <a:pt x="233039" y="447441"/>
                    </a:lnTo>
                    <a:lnTo>
                      <a:pt x="234706" y="446683"/>
                    </a:lnTo>
                    <a:lnTo>
                      <a:pt x="235312" y="444410"/>
                    </a:lnTo>
                    <a:lnTo>
                      <a:pt x="235312" y="443198"/>
                    </a:lnTo>
                    <a:lnTo>
                      <a:pt x="234251" y="442289"/>
                    </a:lnTo>
                    <a:lnTo>
                      <a:pt x="233494" y="439561"/>
                    </a:lnTo>
                    <a:lnTo>
                      <a:pt x="233796" y="436228"/>
                    </a:lnTo>
                    <a:lnTo>
                      <a:pt x="234099" y="434864"/>
                    </a:lnTo>
                    <a:lnTo>
                      <a:pt x="234706" y="432288"/>
                    </a:lnTo>
                    <a:lnTo>
                      <a:pt x="236524" y="431379"/>
                    </a:lnTo>
                    <a:lnTo>
                      <a:pt x="236978" y="430622"/>
                    </a:lnTo>
                    <a:lnTo>
                      <a:pt x="235615" y="428955"/>
                    </a:lnTo>
                    <a:lnTo>
                      <a:pt x="235766" y="428046"/>
                    </a:lnTo>
                    <a:lnTo>
                      <a:pt x="238796" y="425318"/>
                    </a:lnTo>
                    <a:lnTo>
                      <a:pt x="240009" y="424561"/>
                    </a:lnTo>
                    <a:lnTo>
                      <a:pt x="241979" y="423652"/>
                    </a:lnTo>
                    <a:lnTo>
                      <a:pt x="243494" y="423652"/>
                    </a:lnTo>
                    <a:lnTo>
                      <a:pt x="245312" y="424106"/>
                    </a:lnTo>
                    <a:lnTo>
                      <a:pt x="246827" y="424864"/>
                    </a:lnTo>
                    <a:lnTo>
                      <a:pt x="248342" y="426228"/>
                    </a:lnTo>
                    <a:lnTo>
                      <a:pt x="250009" y="427743"/>
                    </a:lnTo>
                    <a:lnTo>
                      <a:pt x="252434" y="428349"/>
                    </a:lnTo>
                    <a:lnTo>
                      <a:pt x="254100" y="428197"/>
                    </a:lnTo>
                    <a:lnTo>
                      <a:pt x="255464" y="428955"/>
                    </a:lnTo>
                    <a:lnTo>
                      <a:pt x="256676" y="428500"/>
                    </a:lnTo>
                    <a:lnTo>
                      <a:pt x="258040" y="427743"/>
                    </a:lnTo>
                    <a:lnTo>
                      <a:pt x="260161" y="427743"/>
                    </a:lnTo>
                    <a:lnTo>
                      <a:pt x="262131" y="426834"/>
                    </a:lnTo>
                    <a:lnTo>
                      <a:pt x="267586" y="426379"/>
                    </a:lnTo>
                    <a:lnTo>
                      <a:pt x="272889" y="426682"/>
                    </a:lnTo>
                    <a:lnTo>
                      <a:pt x="278344" y="425925"/>
                    </a:lnTo>
                    <a:lnTo>
                      <a:pt x="283798" y="425925"/>
                    </a:lnTo>
                    <a:lnTo>
                      <a:pt x="289253" y="425925"/>
                    </a:lnTo>
                    <a:lnTo>
                      <a:pt x="290465" y="426076"/>
                    </a:lnTo>
                    <a:lnTo>
                      <a:pt x="291677" y="426531"/>
                    </a:lnTo>
                    <a:lnTo>
                      <a:pt x="296375" y="428955"/>
                    </a:lnTo>
                    <a:lnTo>
                      <a:pt x="299859" y="429410"/>
                    </a:lnTo>
                    <a:lnTo>
                      <a:pt x="306981" y="430016"/>
                    </a:lnTo>
                    <a:lnTo>
                      <a:pt x="314557" y="430773"/>
                    </a:lnTo>
                    <a:lnTo>
                      <a:pt x="321073" y="431379"/>
                    </a:lnTo>
                    <a:lnTo>
                      <a:pt x="326679" y="430773"/>
                    </a:lnTo>
                    <a:lnTo>
                      <a:pt x="331224" y="430319"/>
                    </a:lnTo>
                    <a:lnTo>
                      <a:pt x="332437" y="430470"/>
                    </a:lnTo>
                    <a:lnTo>
                      <a:pt x="333800" y="431985"/>
                    </a:lnTo>
                    <a:lnTo>
                      <a:pt x="336528" y="435773"/>
                    </a:lnTo>
                    <a:lnTo>
                      <a:pt x="339103" y="439258"/>
                    </a:lnTo>
                    <a:lnTo>
                      <a:pt x="343649" y="439410"/>
                    </a:lnTo>
                    <a:lnTo>
                      <a:pt x="346528" y="438046"/>
                    </a:lnTo>
                    <a:lnTo>
                      <a:pt x="349710" y="436228"/>
                    </a:lnTo>
                    <a:lnTo>
                      <a:pt x="351680" y="434713"/>
                    </a:lnTo>
                    <a:lnTo>
                      <a:pt x="353952" y="428955"/>
                    </a:lnTo>
                    <a:lnTo>
                      <a:pt x="355468" y="425318"/>
                    </a:lnTo>
                    <a:lnTo>
                      <a:pt x="358801" y="421228"/>
                    </a:lnTo>
                    <a:lnTo>
                      <a:pt x="361680" y="417742"/>
                    </a:lnTo>
                    <a:lnTo>
                      <a:pt x="365468" y="413045"/>
                    </a:lnTo>
                    <a:lnTo>
                      <a:pt x="367589" y="410469"/>
                    </a:lnTo>
                    <a:lnTo>
                      <a:pt x="371680" y="405469"/>
                    </a:lnTo>
                    <a:lnTo>
                      <a:pt x="375620" y="403499"/>
                    </a:lnTo>
                    <a:lnTo>
                      <a:pt x="383196" y="399711"/>
                    </a:lnTo>
                    <a:lnTo>
                      <a:pt x="390621" y="395923"/>
                    </a:lnTo>
                    <a:lnTo>
                      <a:pt x="395469" y="393499"/>
                    </a:lnTo>
                    <a:lnTo>
                      <a:pt x="399560" y="392438"/>
                    </a:lnTo>
                    <a:lnTo>
                      <a:pt x="406530" y="391529"/>
                    </a:lnTo>
                    <a:lnTo>
                      <a:pt x="414712" y="390469"/>
                    </a:lnTo>
                    <a:lnTo>
                      <a:pt x="422895" y="389408"/>
                    </a:lnTo>
                    <a:lnTo>
                      <a:pt x="431531" y="388196"/>
                    </a:lnTo>
                    <a:lnTo>
                      <a:pt x="441228" y="386832"/>
                    </a:lnTo>
                    <a:lnTo>
                      <a:pt x="447895" y="385923"/>
                    </a:lnTo>
                    <a:lnTo>
                      <a:pt x="456380" y="384711"/>
                    </a:lnTo>
                    <a:lnTo>
                      <a:pt x="463350" y="383802"/>
                    </a:lnTo>
                    <a:lnTo>
                      <a:pt x="469563" y="382893"/>
                    </a:lnTo>
                    <a:lnTo>
                      <a:pt x="475927" y="381984"/>
                    </a:lnTo>
                    <a:lnTo>
                      <a:pt x="479715" y="380620"/>
                    </a:lnTo>
                    <a:lnTo>
                      <a:pt x="484412" y="378953"/>
                    </a:lnTo>
                    <a:lnTo>
                      <a:pt x="489109" y="377286"/>
                    </a:lnTo>
                    <a:lnTo>
                      <a:pt x="493806" y="375620"/>
                    </a:lnTo>
                    <a:lnTo>
                      <a:pt x="498503" y="373953"/>
                    </a:lnTo>
                    <a:lnTo>
                      <a:pt x="503200" y="372286"/>
                    </a:lnTo>
                    <a:lnTo>
                      <a:pt x="507897" y="370619"/>
                    </a:lnTo>
                    <a:lnTo>
                      <a:pt x="512595" y="368953"/>
                    </a:lnTo>
                    <a:lnTo>
                      <a:pt x="517292" y="367286"/>
                    </a:lnTo>
                    <a:lnTo>
                      <a:pt x="521989" y="365619"/>
                    </a:lnTo>
                    <a:lnTo>
                      <a:pt x="526686" y="363953"/>
                    </a:lnTo>
                    <a:lnTo>
                      <a:pt x="531383" y="362286"/>
                    </a:lnTo>
                    <a:lnTo>
                      <a:pt x="536080" y="360619"/>
                    </a:lnTo>
                    <a:lnTo>
                      <a:pt x="540778" y="358953"/>
                    </a:lnTo>
                    <a:lnTo>
                      <a:pt x="545475" y="357286"/>
                    </a:lnTo>
                    <a:lnTo>
                      <a:pt x="550172" y="355619"/>
                    </a:lnTo>
                    <a:lnTo>
                      <a:pt x="554869" y="353952"/>
                    </a:lnTo>
                    <a:lnTo>
                      <a:pt x="557748" y="352892"/>
                    </a:lnTo>
                    <a:lnTo>
                      <a:pt x="558960" y="349104"/>
                    </a:lnTo>
                    <a:lnTo>
                      <a:pt x="560021" y="345922"/>
                    </a:lnTo>
                    <a:lnTo>
                      <a:pt x="561081" y="342740"/>
                    </a:lnTo>
                    <a:lnTo>
                      <a:pt x="562142" y="339558"/>
                    </a:lnTo>
                    <a:lnTo>
                      <a:pt x="563202" y="336376"/>
                    </a:lnTo>
                    <a:lnTo>
                      <a:pt x="564263" y="333194"/>
                    </a:lnTo>
                    <a:lnTo>
                      <a:pt x="565324" y="330012"/>
                    </a:lnTo>
                    <a:lnTo>
                      <a:pt x="566384" y="326830"/>
                    </a:lnTo>
                    <a:lnTo>
                      <a:pt x="567445" y="323648"/>
                    </a:lnTo>
                    <a:lnTo>
                      <a:pt x="568506" y="320466"/>
                    </a:lnTo>
                    <a:lnTo>
                      <a:pt x="569567" y="317284"/>
                    </a:lnTo>
                    <a:lnTo>
                      <a:pt x="570627" y="314102"/>
                    </a:lnTo>
                    <a:lnTo>
                      <a:pt x="571688" y="310920"/>
                    </a:lnTo>
                    <a:lnTo>
                      <a:pt x="572748" y="307738"/>
                    </a:lnTo>
                    <a:lnTo>
                      <a:pt x="573809" y="304556"/>
                    </a:lnTo>
                    <a:lnTo>
                      <a:pt x="574870" y="301375"/>
                    </a:lnTo>
                    <a:lnTo>
                      <a:pt x="575930" y="298193"/>
                    </a:lnTo>
                    <a:lnTo>
                      <a:pt x="576839" y="295314"/>
                    </a:lnTo>
                    <a:lnTo>
                      <a:pt x="573355" y="293950"/>
                    </a:lnTo>
                    <a:close/>
                    <a:moveTo>
                      <a:pt x="202583" y="444865"/>
                    </a:moveTo>
                    <a:lnTo>
                      <a:pt x="202734" y="445319"/>
                    </a:lnTo>
                    <a:lnTo>
                      <a:pt x="203644" y="446228"/>
                    </a:lnTo>
                    <a:lnTo>
                      <a:pt x="201522" y="446077"/>
                    </a:lnTo>
                    <a:lnTo>
                      <a:pt x="200462" y="445168"/>
                    </a:lnTo>
                    <a:lnTo>
                      <a:pt x="200916" y="444410"/>
                    </a:lnTo>
                    <a:lnTo>
                      <a:pt x="200613" y="443653"/>
                    </a:lnTo>
                    <a:lnTo>
                      <a:pt x="200462" y="440016"/>
                    </a:lnTo>
                    <a:lnTo>
                      <a:pt x="199553" y="438349"/>
                    </a:lnTo>
                    <a:lnTo>
                      <a:pt x="198037" y="438046"/>
                    </a:lnTo>
                    <a:lnTo>
                      <a:pt x="198644" y="439561"/>
                    </a:lnTo>
                    <a:lnTo>
                      <a:pt x="197886" y="441077"/>
                    </a:lnTo>
                    <a:lnTo>
                      <a:pt x="196674" y="441986"/>
                    </a:lnTo>
                    <a:lnTo>
                      <a:pt x="195613" y="442289"/>
                    </a:lnTo>
                    <a:lnTo>
                      <a:pt x="196371" y="444259"/>
                    </a:lnTo>
                    <a:lnTo>
                      <a:pt x="198946" y="446834"/>
                    </a:lnTo>
                    <a:lnTo>
                      <a:pt x="200765" y="447744"/>
                    </a:lnTo>
                    <a:lnTo>
                      <a:pt x="203644" y="447289"/>
                    </a:lnTo>
                    <a:lnTo>
                      <a:pt x="204553" y="448047"/>
                    </a:lnTo>
                    <a:lnTo>
                      <a:pt x="204704" y="448804"/>
                    </a:lnTo>
                    <a:lnTo>
                      <a:pt x="205159" y="449410"/>
                    </a:lnTo>
                    <a:lnTo>
                      <a:pt x="205917" y="450016"/>
                    </a:lnTo>
                    <a:lnTo>
                      <a:pt x="206220" y="449259"/>
                    </a:lnTo>
                    <a:lnTo>
                      <a:pt x="206371" y="446077"/>
                    </a:lnTo>
                    <a:lnTo>
                      <a:pt x="203341" y="443349"/>
                    </a:lnTo>
                    <a:lnTo>
                      <a:pt x="202583" y="4448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3" name="Freeform: Shape 3072">
                <a:extLst>
                  <a:ext uri="{FF2B5EF4-FFF2-40B4-BE49-F238E27FC236}">
                    <a16:creationId xmlns:a16="http://schemas.microsoft.com/office/drawing/2014/main" id="{76788CD9-0022-4282-A201-1E185B5A8113}"/>
                  </a:ext>
                </a:extLst>
              </p:cNvPr>
              <p:cNvSpPr/>
              <p:nvPr/>
            </p:nvSpPr>
            <p:spPr>
              <a:xfrm>
                <a:off x="6566775" y="4590934"/>
                <a:ext cx="55153" cy="47425"/>
              </a:xfrm>
              <a:custGeom>
                <a:avLst/>
                <a:gdLst>
                  <a:gd name="connsiteX0" fmla="*/ 54850 w 55153"/>
                  <a:gd name="connsiteY0" fmla="*/ 26668 h 47425"/>
                  <a:gd name="connsiteX1" fmla="*/ 53638 w 55153"/>
                  <a:gd name="connsiteY1" fmla="*/ 24546 h 47425"/>
                  <a:gd name="connsiteX2" fmla="*/ 53335 w 55153"/>
                  <a:gd name="connsiteY2" fmla="*/ 21516 h 47425"/>
                  <a:gd name="connsiteX3" fmla="*/ 53941 w 55153"/>
                  <a:gd name="connsiteY3" fmla="*/ 17122 h 47425"/>
                  <a:gd name="connsiteX4" fmla="*/ 53487 w 55153"/>
                  <a:gd name="connsiteY4" fmla="*/ 13637 h 47425"/>
                  <a:gd name="connsiteX5" fmla="*/ 52123 w 55153"/>
                  <a:gd name="connsiteY5" fmla="*/ 10758 h 47425"/>
                  <a:gd name="connsiteX6" fmla="*/ 50760 w 55153"/>
                  <a:gd name="connsiteY6" fmla="*/ 9091 h 47425"/>
                  <a:gd name="connsiteX7" fmla="*/ 48486 w 55153"/>
                  <a:gd name="connsiteY7" fmla="*/ 8334 h 47425"/>
                  <a:gd name="connsiteX8" fmla="*/ 45153 w 55153"/>
                  <a:gd name="connsiteY8" fmla="*/ 3939 h 47425"/>
                  <a:gd name="connsiteX9" fmla="*/ 44093 w 55153"/>
                  <a:gd name="connsiteY9" fmla="*/ 1818 h 47425"/>
                  <a:gd name="connsiteX10" fmla="*/ 44244 w 55153"/>
                  <a:gd name="connsiteY10" fmla="*/ 606 h 47425"/>
                  <a:gd name="connsiteX11" fmla="*/ 45153 w 55153"/>
                  <a:gd name="connsiteY11" fmla="*/ 151 h 47425"/>
                  <a:gd name="connsiteX12" fmla="*/ 44093 w 55153"/>
                  <a:gd name="connsiteY12" fmla="*/ 151 h 47425"/>
                  <a:gd name="connsiteX13" fmla="*/ 42577 w 55153"/>
                  <a:gd name="connsiteY13" fmla="*/ 0 h 47425"/>
                  <a:gd name="connsiteX14" fmla="*/ 41062 w 55153"/>
                  <a:gd name="connsiteY14" fmla="*/ 303 h 47425"/>
                  <a:gd name="connsiteX15" fmla="*/ 40001 w 55153"/>
                  <a:gd name="connsiteY15" fmla="*/ 1364 h 47425"/>
                  <a:gd name="connsiteX16" fmla="*/ 38941 w 55153"/>
                  <a:gd name="connsiteY16" fmla="*/ 3182 h 47425"/>
                  <a:gd name="connsiteX17" fmla="*/ 36971 w 55153"/>
                  <a:gd name="connsiteY17" fmla="*/ 5152 h 47425"/>
                  <a:gd name="connsiteX18" fmla="*/ 35304 w 55153"/>
                  <a:gd name="connsiteY18" fmla="*/ 6970 h 47425"/>
                  <a:gd name="connsiteX19" fmla="*/ 33941 w 55153"/>
                  <a:gd name="connsiteY19" fmla="*/ 8334 h 47425"/>
                  <a:gd name="connsiteX20" fmla="*/ 30910 w 55153"/>
                  <a:gd name="connsiteY20" fmla="*/ 10455 h 47425"/>
                  <a:gd name="connsiteX21" fmla="*/ 29395 w 55153"/>
                  <a:gd name="connsiteY21" fmla="*/ 11061 h 47425"/>
                  <a:gd name="connsiteX22" fmla="*/ 28486 w 55153"/>
                  <a:gd name="connsiteY22" fmla="*/ 11061 h 47425"/>
                  <a:gd name="connsiteX23" fmla="*/ 28031 w 55153"/>
                  <a:gd name="connsiteY23" fmla="*/ 10606 h 47425"/>
                  <a:gd name="connsiteX24" fmla="*/ 27122 w 55153"/>
                  <a:gd name="connsiteY24" fmla="*/ 7879 h 47425"/>
                  <a:gd name="connsiteX25" fmla="*/ 26516 w 55153"/>
                  <a:gd name="connsiteY25" fmla="*/ 7424 h 47425"/>
                  <a:gd name="connsiteX26" fmla="*/ 20607 w 55153"/>
                  <a:gd name="connsiteY26" fmla="*/ 8788 h 47425"/>
                  <a:gd name="connsiteX27" fmla="*/ 19698 w 55153"/>
                  <a:gd name="connsiteY27" fmla="*/ 8788 h 47425"/>
                  <a:gd name="connsiteX28" fmla="*/ 18637 w 55153"/>
                  <a:gd name="connsiteY28" fmla="*/ 9394 h 47425"/>
                  <a:gd name="connsiteX29" fmla="*/ 16667 w 55153"/>
                  <a:gd name="connsiteY29" fmla="*/ 11061 h 47425"/>
                  <a:gd name="connsiteX30" fmla="*/ 14849 w 55153"/>
                  <a:gd name="connsiteY30" fmla="*/ 12122 h 47425"/>
                  <a:gd name="connsiteX31" fmla="*/ 13485 w 55153"/>
                  <a:gd name="connsiteY31" fmla="*/ 12425 h 47425"/>
                  <a:gd name="connsiteX32" fmla="*/ 11212 w 55153"/>
                  <a:gd name="connsiteY32" fmla="*/ 15152 h 47425"/>
                  <a:gd name="connsiteX33" fmla="*/ 10000 w 55153"/>
                  <a:gd name="connsiteY33" fmla="*/ 16970 h 47425"/>
                  <a:gd name="connsiteX34" fmla="*/ 10758 w 55153"/>
                  <a:gd name="connsiteY34" fmla="*/ 18334 h 47425"/>
                  <a:gd name="connsiteX35" fmla="*/ 11819 w 55153"/>
                  <a:gd name="connsiteY35" fmla="*/ 21667 h 47425"/>
                  <a:gd name="connsiteX36" fmla="*/ 13637 w 55153"/>
                  <a:gd name="connsiteY36" fmla="*/ 25910 h 47425"/>
                  <a:gd name="connsiteX37" fmla="*/ 13182 w 55153"/>
                  <a:gd name="connsiteY37" fmla="*/ 27122 h 47425"/>
                  <a:gd name="connsiteX38" fmla="*/ 11667 w 55153"/>
                  <a:gd name="connsiteY38" fmla="*/ 28031 h 47425"/>
                  <a:gd name="connsiteX39" fmla="*/ 10910 w 55153"/>
                  <a:gd name="connsiteY39" fmla="*/ 29092 h 47425"/>
                  <a:gd name="connsiteX40" fmla="*/ 10455 w 55153"/>
                  <a:gd name="connsiteY40" fmla="*/ 29850 h 47425"/>
                  <a:gd name="connsiteX41" fmla="*/ 7879 w 55153"/>
                  <a:gd name="connsiteY41" fmla="*/ 33031 h 47425"/>
                  <a:gd name="connsiteX42" fmla="*/ 6970 w 55153"/>
                  <a:gd name="connsiteY42" fmla="*/ 33789 h 47425"/>
                  <a:gd name="connsiteX43" fmla="*/ 5909 w 55153"/>
                  <a:gd name="connsiteY43" fmla="*/ 34850 h 47425"/>
                  <a:gd name="connsiteX44" fmla="*/ 5152 w 55153"/>
                  <a:gd name="connsiteY44" fmla="*/ 35153 h 47425"/>
                  <a:gd name="connsiteX45" fmla="*/ 3788 w 55153"/>
                  <a:gd name="connsiteY45" fmla="*/ 35304 h 47425"/>
                  <a:gd name="connsiteX46" fmla="*/ 1364 w 55153"/>
                  <a:gd name="connsiteY46" fmla="*/ 37274 h 47425"/>
                  <a:gd name="connsiteX47" fmla="*/ 0 w 55153"/>
                  <a:gd name="connsiteY47" fmla="*/ 37577 h 47425"/>
                  <a:gd name="connsiteX48" fmla="*/ 0 w 55153"/>
                  <a:gd name="connsiteY48" fmla="*/ 37577 h 47425"/>
                  <a:gd name="connsiteX49" fmla="*/ 909 w 55153"/>
                  <a:gd name="connsiteY49" fmla="*/ 40607 h 47425"/>
                  <a:gd name="connsiteX50" fmla="*/ 909 w 55153"/>
                  <a:gd name="connsiteY50" fmla="*/ 42729 h 47425"/>
                  <a:gd name="connsiteX51" fmla="*/ 1667 w 55153"/>
                  <a:gd name="connsiteY51" fmla="*/ 44092 h 47425"/>
                  <a:gd name="connsiteX52" fmla="*/ 4243 w 55153"/>
                  <a:gd name="connsiteY52" fmla="*/ 45153 h 47425"/>
                  <a:gd name="connsiteX53" fmla="*/ 4697 w 55153"/>
                  <a:gd name="connsiteY53" fmla="*/ 43638 h 47425"/>
                  <a:gd name="connsiteX54" fmla="*/ 5606 w 55153"/>
                  <a:gd name="connsiteY54" fmla="*/ 41820 h 47425"/>
                  <a:gd name="connsiteX55" fmla="*/ 6667 w 55153"/>
                  <a:gd name="connsiteY55" fmla="*/ 41668 h 47425"/>
                  <a:gd name="connsiteX56" fmla="*/ 9243 w 55153"/>
                  <a:gd name="connsiteY56" fmla="*/ 42426 h 47425"/>
                  <a:gd name="connsiteX57" fmla="*/ 11970 w 55153"/>
                  <a:gd name="connsiteY57" fmla="*/ 43789 h 47425"/>
                  <a:gd name="connsiteX58" fmla="*/ 13485 w 55153"/>
                  <a:gd name="connsiteY58" fmla="*/ 46971 h 47425"/>
                  <a:gd name="connsiteX59" fmla="*/ 14546 w 55153"/>
                  <a:gd name="connsiteY59" fmla="*/ 47426 h 47425"/>
                  <a:gd name="connsiteX60" fmla="*/ 16516 w 55153"/>
                  <a:gd name="connsiteY60" fmla="*/ 47426 h 47425"/>
                  <a:gd name="connsiteX61" fmla="*/ 21667 w 55153"/>
                  <a:gd name="connsiteY61" fmla="*/ 47123 h 47425"/>
                  <a:gd name="connsiteX62" fmla="*/ 23031 w 55153"/>
                  <a:gd name="connsiteY62" fmla="*/ 47123 h 47425"/>
                  <a:gd name="connsiteX63" fmla="*/ 25304 w 55153"/>
                  <a:gd name="connsiteY63" fmla="*/ 46365 h 47425"/>
                  <a:gd name="connsiteX64" fmla="*/ 27577 w 55153"/>
                  <a:gd name="connsiteY64" fmla="*/ 45002 h 47425"/>
                  <a:gd name="connsiteX65" fmla="*/ 28334 w 55153"/>
                  <a:gd name="connsiteY65" fmla="*/ 43638 h 47425"/>
                  <a:gd name="connsiteX66" fmla="*/ 28789 w 55153"/>
                  <a:gd name="connsiteY66" fmla="*/ 40456 h 47425"/>
                  <a:gd name="connsiteX67" fmla="*/ 29395 w 55153"/>
                  <a:gd name="connsiteY67" fmla="*/ 34698 h 47425"/>
                  <a:gd name="connsiteX68" fmla="*/ 30455 w 55153"/>
                  <a:gd name="connsiteY68" fmla="*/ 34698 h 47425"/>
                  <a:gd name="connsiteX69" fmla="*/ 33789 w 55153"/>
                  <a:gd name="connsiteY69" fmla="*/ 36668 h 47425"/>
                  <a:gd name="connsiteX70" fmla="*/ 34395 w 55153"/>
                  <a:gd name="connsiteY70" fmla="*/ 36819 h 47425"/>
                  <a:gd name="connsiteX71" fmla="*/ 35153 w 55153"/>
                  <a:gd name="connsiteY71" fmla="*/ 36819 h 47425"/>
                  <a:gd name="connsiteX72" fmla="*/ 36213 w 55153"/>
                  <a:gd name="connsiteY72" fmla="*/ 35759 h 47425"/>
                  <a:gd name="connsiteX73" fmla="*/ 37577 w 55153"/>
                  <a:gd name="connsiteY73" fmla="*/ 35001 h 47425"/>
                  <a:gd name="connsiteX74" fmla="*/ 38638 w 55153"/>
                  <a:gd name="connsiteY74" fmla="*/ 35001 h 47425"/>
                  <a:gd name="connsiteX75" fmla="*/ 42426 w 55153"/>
                  <a:gd name="connsiteY75" fmla="*/ 33940 h 47425"/>
                  <a:gd name="connsiteX76" fmla="*/ 44395 w 55153"/>
                  <a:gd name="connsiteY76" fmla="*/ 35759 h 47425"/>
                  <a:gd name="connsiteX77" fmla="*/ 45759 w 55153"/>
                  <a:gd name="connsiteY77" fmla="*/ 36213 h 47425"/>
                  <a:gd name="connsiteX78" fmla="*/ 46365 w 55153"/>
                  <a:gd name="connsiteY78" fmla="*/ 36365 h 47425"/>
                  <a:gd name="connsiteX79" fmla="*/ 47426 w 55153"/>
                  <a:gd name="connsiteY79" fmla="*/ 36365 h 47425"/>
                  <a:gd name="connsiteX80" fmla="*/ 49244 w 55153"/>
                  <a:gd name="connsiteY80" fmla="*/ 35607 h 47425"/>
                  <a:gd name="connsiteX81" fmla="*/ 50760 w 55153"/>
                  <a:gd name="connsiteY81" fmla="*/ 35456 h 47425"/>
                  <a:gd name="connsiteX82" fmla="*/ 52123 w 55153"/>
                  <a:gd name="connsiteY82" fmla="*/ 35607 h 47425"/>
                  <a:gd name="connsiteX83" fmla="*/ 53032 w 55153"/>
                  <a:gd name="connsiteY83" fmla="*/ 35304 h 47425"/>
                  <a:gd name="connsiteX84" fmla="*/ 53941 w 55153"/>
                  <a:gd name="connsiteY84" fmla="*/ 34698 h 47425"/>
                  <a:gd name="connsiteX85" fmla="*/ 54699 w 55153"/>
                  <a:gd name="connsiteY85" fmla="*/ 32728 h 47425"/>
                  <a:gd name="connsiteX86" fmla="*/ 55153 w 55153"/>
                  <a:gd name="connsiteY86" fmla="*/ 29395 h 4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5153" h="47425">
                    <a:moveTo>
                      <a:pt x="54850" y="26668"/>
                    </a:moveTo>
                    <a:lnTo>
                      <a:pt x="53638" y="24546"/>
                    </a:lnTo>
                    <a:lnTo>
                      <a:pt x="53335" y="21516"/>
                    </a:lnTo>
                    <a:lnTo>
                      <a:pt x="53941" y="17122"/>
                    </a:lnTo>
                    <a:lnTo>
                      <a:pt x="53487" y="13637"/>
                    </a:lnTo>
                    <a:lnTo>
                      <a:pt x="52123" y="10758"/>
                    </a:lnTo>
                    <a:lnTo>
                      <a:pt x="50760" y="9091"/>
                    </a:lnTo>
                    <a:lnTo>
                      <a:pt x="48486" y="8334"/>
                    </a:lnTo>
                    <a:lnTo>
                      <a:pt x="45153" y="3939"/>
                    </a:lnTo>
                    <a:lnTo>
                      <a:pt x="44093" y="1818"/>
                    </a:lnTo>
                    <a:lnTo>
                      <a:pt x="44244" y="606"/>
                    </a:lnTo>
                    <a:lnTo>
                      <a:pt x="45153" y="151"/>
                    </a:lnTo>
                    <a:lnTo>
                      <a:pt x="44093" y="151"/>
                    </a:lnTo>
                    <a:lnTo>
                      <a:pt x="42577" y="0"/>
                    </a:lnTo>
                    <a:lnTo>
                      <a:pt x="41062" y="303"/>
                    </a:lnTo>
                    <a:lnTo>
                      <a:pt x="40001" y="1364"/>
                    </a:lnTo>
                    <a:lnTo>
                      <a:pt x="38941" y="3182"/>
                    </a:lnTo>
                    <a:lnTo>
                      <a:pt x="36971" y="5152"/>
                    </a:lnTo>
                    <a:lnTo>
                      <a:pt x="35304" y="6970"/>
                    </a:lnTo>
                    <a:lnTo>
                      <a:pt x="33941" y="8334"/>
                    </a:lnTo>
                    <a:lnTo>
                      <a:pt x="30910" y="10455"/>
                    </a:lnTo>
                    <a:lnTo>
                      <a:pt x="29395" y="11061"/>
                    </a:lnTo>
                    <a:lnTo>
                      <a:pt x="28486" y="11061"/>
                    </a:lnTo>
                    <a:lnTo>
                      <a:pt x="28031" y="10606"/>
                    </a:lnTo>
                    <a:lnTo>
                      <a:pt x="27122" y="7879"/>
                    </a:lnTo>
                    <a:lnTo>
                      <a:pt x="26516" y="7424"/>
                    </a:lnTo>
                    <a:lnTo>
                      <a:pt x="20607" y="8788"/>
                    </a:lnTo>
                    <a:lnTo>
                      <a:pt x="19698" y="8788"/>
                    </a:lnTo>
                    <a:lnTo>
                      <a:pt x="18637" y="9394"/>
                    </a:lnTo>
                    <a:lnTo>
                      <a:pt x="16667" y="11061"/>
                    </a:lnTo>
                    <a:lnTo>
                      <a:pt x="14849" y="12122"/>
                    </a:lnTo>
                    <a:lnTo>
                      <a:pt x="13485" y="12425"/>
                    </a:lnTo>
                    <a:lnTo>
                      <a:pt x="11212" y="15152"/>
                    </a:lnTo>
                    <a:lnTo>
                      <a:pt x="10000" y="16970"/>
                    </a:lnTo>
                    <a:lnTo>
                      <a:pt x="10758" y="18334"/>
                    </a:lnTo>
                    <a:lnTo>
                      <a:pt x="11819" y="21667"/>
                    </a:lnTo>
                    <a:lnTo>
                      <a:pt x="13637" y="25910"/>
                    </a:lnTo>
                    <a:lnTo>
                      <a:pt x="13182" y="27122"/>
                    </a:lnTo>
                    <a:lnTo>
                      <a:pt x="11667" y="28031"/>
                    </a:lnTo>
                    <a:lnTo>
                      <a:pt x="10910" y="29092"/>
                    </a:lnTo>
                    <a:lnTo>
                      <a:pt x="10455" y="29850"/>
                    </a:lnTo>
                    <a:lnTo>
                      <a:pt x="7879" y="33031"/>
                    </a:lnTo>
                    <a:lnTo>
                      <a:pt x="6970" y="33789"/>
                    </a:lnTo>
                    <a:lnTo>
                      <a:pt x="5909" y="34850"/>
                    </a:lnTo>
                    <a:lnTo>
                      <a:pt x="5152" y="35153"/>
                    </a:lnTo>
                    <a:lnTo>
                      <a:pt x="3788" y="35304"/>
                    </a:lnTo>
                    <a:lnTo>
                      <a:pt x="1364" y="37274"/>
                    </a:lnTo>
                    <a:lnTo>
                      <a:pt x="0" y="37577"/>
                    </a:lnTo>
                    <a:lnTo>
                      <a:pt x="0" y="37577"/>
                    </a:lnTo>
                    <a:lnTo>
                      <a:pt x="909" y="40607"/>
                    </a:lnTo>
                    <a:lnTo>
                      <a:pt x="909" y="42729"/>
                    </a:lnTo>
                    <a:lnTo>
                      <a:pt x="1667" y="44092"/>
                    </a:lnTo>
                    <a:lnTo>
                      <a:pt x="4243" y="45153"/>
                    </a:lnTo>
                    <a:lnTo>
                      <a:pt x="4697" y="43638"/>
                    </a:lnTo>
                    <a:lnTo>
                      <a:pt x="5606" y="41820"/>
                    </a:lnTo>
                    <a:lnTo>
                      <a:pt x="6667" y="41668"/>
                    </a:lnTo>
                    <a:lnTo>
                      <a:pt x="9243" y="42426"/>
                    </a:lnTo>
                    <a:lnTo>
                      <a:pt x="11970" y="43789"/>
                    </a:lnTo>
                    <a:lnTo>
                      <a:pt x="13485" y="46971"/>
                    </a:lnTo>
                    <a:lnTo>
                      <a:pt x="14546" y="47426"/>
                    </a:lnTo>
                    <a:lnTo>
                      <a:pt x="16516" y="47426"/>
                    </a:lnTo>
                    <a:lnTo>
                      <a:pt x="21667" y="47123"/>
                    </a:lnTo>
                    <a:lnTo>
                      <a:pt x="23031" y="47123"/>
                    </a:lnTo>
                    <a:lnTo>
                      <a:pt x="25304" y="46365"/>
                    </a:lnTo>
                    <a:lnTo>
                      <a:pt x="27577" y="45002"/>
                    </a:lnTo>
                    <a:lnTo>
                      <a:pt x="28334" y="43638"/>
                    </a:lnTo>
                    <a:lnTo>
                      <a:pt x="28789" y="40456"/>
                    </a:lnTo>
                    <a:lnTo>
                      <a:pt x="29395" y="34698"/>
                    </a:lnTo>
                    <a:lnTo>
                      <a:pt x="30455" y="34698"/>
                    </a:lnTo>
                    <a:lnTo>
                      <a:pt x="33789" y="36668"/>
                    </a:lnTo>
                    <a:lnTo>
                      <a:pt x="34395" y="36819"/>
                    </a:lnTo>
                    <a:lnTo>
                      <a:pt x="35153" y="36819"/>
                    </a:lnTo>
                    <a:lnTo>
                      <a:pt x="36213" y="35759"/>
                    </a:lnTo>
                    <a:lnTo>
                      <a:pt x="37577" y="35001"/>
                    </a:lnTo>
                    <a:lnTo>
                      <a:pt x="38638" y="35001"/>
                    </a:lnTo>
                    <a:lnTo>
                      <a:pt x="42426" y="33940"/>
                    </a:lnTo>
                    <a:lnTo>
                      <a:pt x="44395" y="35759"/>
                    </a:lnTo>
                    <a:lnTo>
                      <a:pt x="45759" y="36213"/>
                    </a:lnTo>
                    <a:lnTo>
                      <a:pt x="46365" y="36365"/>
                    </a:lnTo>
                    <a:lnTo>
                      <a:pt x="47426" y="36365"/>
                    </a:lnTo>
                    <a:lnTo>
                      <a:pt x="49244" y="35607"/>
                    </a:lnTo>
                    <a:lnTo>
                      <a:pt x="50760" y="35456"/>
                    </a:lnTo>
                    <a:lnTo>
                      <a:pt x="52123" y="35607"/>
                    </a:lnTo>
                    <a:lnTo>
                      <a:pt x="53032" y="35304"/>
                    </a:lnTo>
                    <a:lnTo>
                      <a:pt x="53941" y="34698"/>
                    </a:lnTo>
                    <a:lnTo>
                      <a:pt x="54699" y="32728"/>
                    </a:lnTo>
                    <a:lnTo>
                      <a:pt x="55153" y="29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075" name="Graphic 2">
                <a:extLst>
                  <a:ext uri="{FF2B5EF4-FFF2-40B4-BE49-F238E27FC236}">
                    <a16:creationId xmlns:a16="http://schemas.microsoft.com/office/drawing/2014/main" id="{19E9311B-50BB-41BF-8D53-7E4CC98041BF}"/>
                  </a:ext>
                </a:extLst>
              </p:cNvPr>
              <p:cNvGrpSpPr/>
              <p:nvPr/>
            </p:nvGrpSpPr>
            <p:grpSpPr>
              <a:xfrm>
                <a:off x="6313583" y="1574157"/>
                <a:ext cx="4669566" cy="1799005"/>
                <a:chOff x="6313583" y="1574157"/>
                <a:chExt cx="4669566" cy="1799005"/>
              </a:xfrm>
              <a:solidFill>
                <a:srgbClr val="878787"/>
              </a:solidFill>
            </p:grpSpPr>
            <p:sp>
              <p:nvSpPr>
                <p:cNvPr id="3076" name="Freeform: Shape 3075">
                  <a:extLst>
                    <a:ext uri="{FF2B5EF4-FFF2-40B4-BE49-F238E27FC236}">
                      <a16:creationId xmlns:a16="http://schemas.microsoft.com/office/drawing/2014/main" id="{ADC6D3B2-B10A-4689-A237-71762A6065D7}"/>
                    </a:ext>
                  </a:extLst>
                </p:cNvPr>
                <p:cNvSpPr/>
                <p:nvPr/>
              </p:nvSpPr>
              <p:spPr>
                <a:xfrm>
                  <a:off x="8086073" y="2013112"/>
                  <a:ext cx="13333" cy="6212"/>
                </a:xfrm>
                <a:custGeom>
                  <a:avLst/>
                  <a:gdLst>
                    <a:gd name="connsiteX0" fmla="*/ 8788 w 13333"/>
                    <a:gd name="connsiteY0" fmla="*/ 6212 h 6212"/>
                    <a:gd name="connsiteX1" fmla="*/ 10152 w 13333"/>
                    <a:gd name="connsiteY1" fmla="*/ 3030 h 6212"/>
                    <a:gd name="connsiteX2" fmla="*/ 13334 w 13333"/>
                    <a:gd name="connsiteY2" fmla="*/ 0 h 6212"/>
                    <a:gd name="connsiteX3" fmla="*/ 8031 w 13333"/>
                    <a:gd name="connsiteY3" fmla="*/ 152 h 6212"/>
                    <a:gd name="connsiteX4" fmla="*/ 4243 w 13333"/>
                    <a:gd name="connsiteY4" fmla="*/ 1364 h 6212"/>
                    <a:gd name="connsiteX5" fmla="*/ 0 w 13333"/>
                    <a:gd name="connsiteY5" fmla="*/ 3333 h 6212"/>
                    <a:gd name="connsiteX6" fmla="*/ 1212 w 13333"/>
                    <a:gd name="connsiteY6" fmla="*/ 4697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3" h="6212">
                      <a:moveTo>
                        <a:pt x="8788" y="6212"/>
                      </a:moveTo>
                      <a:lnTo>
                        <a:pt x="10152" y="3030"/>
                      </a:lnTo>
                      <a:lnTo>
                        <a:pt x="13334" y="0"/>
                      </a:lnTo>
                      <a:lnTo>
                        <a:pt x="8031" y="152"/>
                      </a:lnTo>
                      <a:lnTo>
                        <a:pt x="4243" y="1364"/>
                      </a:lnTo>
                      <a:lnTo>
                        <a:pt x="0" y="3333"/>
                      </a:lnTo>
                      <a:lnTo>
                        <a:pt x="1212" y="4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7" name="Freeform: Shape 3076">
                  <a:extLst>
                    <a:ext uri="{FF2B5EF4-FFF2-40B4-BE49-F238E27FC236}">
                      <a16:creationId xmlns:a16="http://schemas.microsoft.com/office/drawing/2014/main" id="{DCAE5670-0E8F-4EE7-A3D5-8CCB566D5062}"/>
                    </a:ext>
                  </a:extLst>
                </p:cNvPr>
                <p:cNvSpPr/>
                <p:nvPr/>
              </p:nvSpPr>
              <p:spPr>
                <a:xfrm>
                  <a:off x="8137287" y="1987051"/>
                  <a:ext cx="23637" cy="8939"/>
                </a:xfrm>
                <a:custGeom>
                  <a:avLst/>
                  <a:gdLst>
                    <a:gd name="connsiteX0" fmla="*/ 11819 w 23637"/>
                    <a:gd name="connsiteY0" fmla="*/ 7879 h 8939"/>
                    <a:gd name="connsiteX1" fmla="*/ 18334 w 23637"/>
                    <a:gd name="connsiteY1" fmla="*/ 8940 h 8939"/>
                    <a:gd name="connsiteX2" fmla="*/ 20607 w 23637"/>
                    <a:gd name="connsiteY2" fmla="*/ 7273 h 8939"/>
                    <a:gd name="connsiteX3" fmla="*/ 23637 w 23637"/>
                    <a:gd name="connsiteY3" fmla="*/ 2879 h 8939"/>
                    <a:gd name="connsiteX4" fmla="*/ 21667 w 23637"/>
                    <a:gd name="connsiteY4" fmla="*/ 606 h 8939"/>
                    <a:gd name="connsiteX5" fmla="*/ 20304 w 23637"/>
                    <a:gd name="connsiteY5" fmla="*/ 0 h 8939"/>
                    <a:gd name="connsiteX6" fmla="*/ 13031 w 23637"/>
                    <a:gd name="connsiteY6" fmla="*/ 1667 h 8939"/>
                    <a:gd name="connsiteX7" fmla="*/ 10758 w 23637"/>
                    <a:gd name="connsiteY7" fmla="*/ 606 h 8939"/>
                    <a:gd name="connsiteX8" fmla="*/ 9546 w 23637"/>
                    <a:gd name="connsiteY8" fmla="*/ 0 h 8939"/>
                    <a:gd name="connsiteX9" fmla="*/ 6667 w 23637"/>
                    <a:gd name="connsiteY9" fmla="*/ 1515 h 8939"/>
                    <a:gd name="connsiteX10" fmla="*/ 1970 w 23637"/>
                    <a:gd name="connsiteY10" fmla="*/ 3030 h 8939"/>
                    <a:gd name="connsiteX11" fmla="*/ 0 w 23637"/>
                    <a:gd name="connsiteY11" fmla="*/ 5455 h 8939"/>
                    <a:gd name="connsiteX12" fmla="*/ 3636 w 23637"/>
                    <a:gd name="connsiteY12" fmla="*/ 7728 h 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37" h="8939">
                      <a:moveTo>
                        <a:pt x="11819" y="7879"/>
                      </a:moveTo>
                      <a:lnTo>
                        <a:pt x="18334" y="8940"/>
                      </a:lnTo>
                      <a:lnTo>
                        <a:pt x="20607" y="7273"/>
                      </a:lnTo>
                      <a:lnTo>
                        <a:pt x="23637" y="2879"/>
                      </a:lnTo>
                      <a:lnTo>
                        <a:pt x="21667" y="606"/>
                      </a:lnTo>
                      <a:lnTo>
                        <a:pt x="20304" y="0"/>
                      </a:lnTo>
                      <a:lnTo>
                        <a:pt x="13031" y="1667"/>
                      </a:lnTo>
                      <a:lnTo>
                        <a:pt x="10758" y="606"/>
                      </a:lnTo>
                      <a:lnTo>
                        <a:pt x="9546" y="0"/>
                      </a:lnTo>
                      <a:lnTo>
                        <a:pt x="6667" y="1515"/>
                      </a:lnTo>
                      <a:lnTo>
                        <a:pt x="1970" y="3030"/>
                      </a:lnTo>
                      <a:lnTo>
                        <a:pt x="0" y="5455"/>
                      </a:lnTo>
                      <a:lnTo>
                        <a:pt x="3636" y="7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8" name="Freeform: Shape 3077">
                  <a:extLst>
                    <a:ext uri="{FF2B5EF4-FFF2-40B4-BE49-F238E27FC236}">
                      <a16:creationId xmlns:a16="http://schemas.microsoft.com/office/drawing/2014/main" id="{FC559869-C8C4-4DBC-9005-AF1501F04463}"/>
                    </a:ext>
                  </a:extLst>
                </p:cNvPr>
                <p:cNvSpPr/>
                <p:nvPr/>
              </p:nvSpPr>
              <p:spPr>
                <a:xfrm>
                  <a:off x="8216230" y="1855985"/>
                  <a:ext cx="14697" cy="7424"/>
                </a:xfrm>
                <a:custGeom>
                  <a:avLst/>
                  <a:gdLst>
                    <a:gd name="connsiteX0" fmla="*/ 4243 w 14697"/>
                    <a:gd name="connsiteY0" fmla="*/ 7425 h 7424"/>
                    <a:gd name="connsiteX1" fmla="*/ 10152 w 14697"/>
                    <a:gd name="connsiteY1" fmla="*/ 7121 h 7424"/>
                    <a:gd name="connsiteX2" fmla="*/ 14243 w 14697"/>
                    <a:gd name="connsiteY2" fmla="*/ 3333 h 7424"/>
                    <a:gd name="connsiteX3" fmla="*/ 14698 w 14697"/>
                    <a:gd name="connsiteY3" fmla="*/ 1818 h 7424"/>
                    <a:gd name="connsiteX4" fmla="*/ 12879 w 14697"/>
                    <a:gd name="connsiteY4" fmla="*/ 0 h 7424"/>
                    <a:gd name="connsiteX5" fmla="*/ 3788 w 14697"/>
                    <a:gd name="connsiteY5" fmla="*/ 606 h 7424"/>
                    <a:gd name="connsiteX6" fmla="*/ 1515 w 14697"/>
                    <a:gd name="connsiteY6" fmla="*/ 2273 h 7424"/>
                    <a:gd name="connsiteX7" fmla="*/ 0 w 14697"/>
                    <a:gd name="connsiteY7" fmla="*/ 5000 h 7424"/>
                    <a:gd name="connsiteX8" fmla="*/ 909 w 14697"/>
                    <a:gd name="connsiteY8" fmla="*/ 5909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97" h="7424">
                      <a:moveTo>
                        <a:pt x="4243" y="7425"/>
                      </a:moveTo>
                      <a:lnTo>
                        <a:pt x="10152" y="7121"/>
                      </a:lnTo>
                      <a:lnTo>
                        <a:pt x="14243" y="3333"/>
                      </a:lnTo>
                      <a:lnTo>
                        <a:pt x="14698" y="1818"/>
                      </a:lnTo>
                      <a:lnTo>
                        <a:pt x="12879" y="0"/>
                      </a:lnTo>
                      <a:lnTo>
                        <a:pt x="3788" y="606"/>
                      </a:lnTo>
                      <a:lnTo>
                        <a:pt x="1515" y="2273"/>
                      </a:lnTo>
                      <a:lnTo>
                        <a:pt x="0" y="5000"/>
                      </a:lnTo>
                      <a:lnTo>
                        <a:pt x="909" y="5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9" name="Freeform: Shape 3078">
                  <a:extLst>
                    <a:ext uri="{FF2B5EF4-FFF2-40B4-BE49-F238E27FC236}">
                      <a16:creationId xmlns:a16="http://schemas.microsoft.com/office/drawing/2014/main" id="{C9689D28-A4A5-4361-8606-F9B4B4C6A97D}"/>
                    </a:ext>
                  </a:extLst>
                </p:cNvPr>
                <p:cNvSpPr/>
                <p:nvPr/>
              </p:nvSpPr>
              <p:spPr>
                <a:xfrm>
                  <a:off x="8385024" y="1913866"/>
                  <a:ext cx="35607" cy="10303"/>
                </a:xfrm>
                <a:custGeom>
                  <a:avLst/>
                  <a:gdLst>
                    <a:gd name="connsiteX0" fmla="*/ 35001 w 35607"/>
                    <a:gd name="connsiteY0" fmla="*/ 4697 h 10303"/>
                    <a:gd name="connsiteX1" fmla="*/ 35607 w 35607"/>
                    <a:gd name="connsiteY1" fmla="*/ 2273 h 10303"/>
                    <a:gd name="connsiteX2" fmla="*/ 33334 w 35607"/>
                    <a:gd name="connsiteY2" fmla="*/ 1515 h 10303"/>
                    <a:gd name="connsiteX3" fmla="*/ 26213 w 35607"/>
                    <a:gd name="connsiteY3" fmla="*/ 0 h 10303"/>
                    <a:gd name="connsiteX4" fmla="*/ 22879 w 35607"/>
                    <a:gd name="connsiteY4" fmla="*/ 1818 h 10303"/>
                    <a:gd name="connsiteX5" fmla="*/ 12879 w 35607"/>
                    <a:gd name="connsiteY5" fmla="*/ 606 h 10303"/>
                    <a:gd name="connsiteX6" fmla="*/ 7727 w 35607"/>
                    <a:gd name="connsiteY6" fmla="*/ 3182 h 10303"/>
                    <a:gd name="connsiteX7" fmla="*/ 1818 w 35607"/>
                    <a:gd name="connsiteY7" fmla="*/ 909 h 10303"/>
                    <a:gd name="connsiteX8" fmla="*/ 303 w 35607"/>
                    <a:gd name="connsiteY8" fmla="*/ 2424 h 10303"/>
                    <a:gd name="connsiteX9" fmla="*/ 0 w 35607"/>
                    <a:gd name="connsiteY9" fmla="*/ 5152 h 10303"/>
                    <a:gd name="connsiteX10" fmla="*/ 10000 w 35607"/>
                    <a:gd name="connsiteY10" fmla="*/ 6364 h 10303"/>
                    <a:gd name="connsiteX11" fmla="*/ 14546 w 35607"/>
                    <a:gd name="connsiteY11" fmla="*/ 8182 h 10303"/>
                    <a:gd name="connsiteX12" fmla="*/ 21819 w 35607"/>
                    <a:gd name="connsiteY12" fmla="*/ 8485 h 10303"/>
                    <a:gd name="connsiteX13" fmla="*/ 26971 w 35607"/>
                    <a:gd name="connsiteY13" fmla="*/ 10303 h 10303"/>
                    <a:gd name="connsiteX14" fmla="*/ 28486 w 35607"/>
                    <a:gd name="connsiteY14" fmla="*/ 7273 h 10303"/>
                    <a:gd name="connsiteX15" fmla="*/ 28334 w 35607"/>
                    <a:gd name="connsiteY15" fmla="*/ 5303 h 10303"/>
                    <a:gd name="connsiteX16" fmla="*/ 32122 w 35607"/>
                    <a:gd name="connsiteY16" fmla="*/ 4091 h 1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607" h="10303">
                      <a:moveTo>
                        <a:pt x="35001" y="4697"/>
                      </a:moveTo>
                      <a:lnTo>
                        <a:pt x="35607" y="2273"/>
                      </a:lnTo>
                      <a:lnTo>
                        <a:pt x="33334" y="1515"/>
                      </a:lnTo>
                      <a:lnTo>
                        <a:pt x="26213" y="0"/>
                      </a:lnTo>
                      <a:lnTo>
                        <a:pt x="22879" y="1818"/>
                      </a:lnTo>
                      <a:lnTo>
                        <a:pt x="12879" y="606"/>
                      </a:lnTo>
                      <a:lnTo>
                        <a:pt x="7727" y="3182"/>
                      </a:lnTo>
                      <a:lnTo>
                        <a:pt x="1818" y="909"/>
                      </a:lnTo>
                      <a:lnTo>
                        <a:pt x="303" y="2424"/>
                      </a:lnTo>
                      <a:lnTo>
                        <a:pt x="0" y="5152"/>
                      </a:lnTo>
                      <a:lnTo>
                        <a:pt x="10000" y="6364"/>
                      </a:lnTo>
                      <a:lnTo>
                        <a:pt x="14546" y="8182"/>
                      </a:lnTo>
                      <a:lnTo>
                        <a:pt x="21819" y="8485"/>
                      </a:lnTo>
                      <a:lnTo>
                        <a:pt x="26971" y="10303"/>
                      </a:lnTo>
                      <a:lnTo>
                        <a:pt x="28486" y="7273"/>
                      </a:lnTo>
                      <a:lnTo>
                        <a:pt x="28334" y="5303"/>
                      </a:lnTo>
                      <a:lnTo>
                        <a:pt x="32122" y="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0" name="Freeform: Shape 3079">
                  <a:extLst>
                    <a:ext uri="{FF2B5EF4-FFF2-40B4-BE49-F238E27FC236}">
                      <a16:creationId xmlns:a16="http://schemas.microsoft.com/office/drawing/2014/main" id="{C2E12DD9-EDB2-4E26-B804-60D54504E613}"/>
                    </a:ext>
                  </a:extLst>
                </p:cNvPr>
                <p:cNvSpPr/>
                <p:nvPr/>
              </p:nvSpPr>
              <p:spPr>
                <a:xfrm>
                  <a:off x="8424116" y="1910987"/>
                  <a:ext cx="8485" cy="9394"/>
                </a:xfrm>
                <a:custGeom>
                  <a:avLst/>
                  <a:gdLst>
                    <a:gd name="connsiteX0" fmla="*/ 3788 w 8485"/>
                    <a:gd name="connsiteY0" fmla="*/ 0 h 9394"/>
                    <a:gd name="connsiteX1" fmla="*/ 2576 w 8485"/>
                    <a:gd name="connsiteY1" fmla="*/ 606 h 9394"/>
                    <a:gd name="connsiteX2" fmla="*/ 2424 w 8485"/>
                    <a:gd name="connsiteY2" fmla="*/ 1818 h 9394"/>
                    <a:gd name="connsiteX3" fmla="*/ 0 w 8485"/>
                    <a:gd name="connsiteY3" fmla="*/ 5606 h 9394"/>
                    <a:gd name="connsiteX4" fmla="*/ 0 w 8485"/>
                    <a:gd name="connsiteY4" fmla="*/ 8485 h 9394"/>
                    <a:gd name="connsiteX5" fmla="*/ 303 w 8485"/>
                    <a:gd name="connsiteY5" fmla="*/ 9091 h 9394"/>
                    <a:gd name="connsiteX6" fmla="*/ 1515 w 8485"/>
                    <a:gd name="connsiteY6" fmla="*/ 9394 h 9394"/>
                    <a:gd name="connsiteX7" fmla="*/ 3031 w 8485"/>
                    <a:gd name="connsiteY7" fmla="*/ 8788 h 9394"/>
                    <a:gd name="connsiteX8" fmla="*/ 6364 w 8485"/>
                    <a:gd name="connsiteY8" fmla="*/ 6818 h 9394"/>
                    <a:gd name="connsiteX9" fmla="*/ 8485 w 8485"/>
                    <a:gd name="connsiteY9" fmla="*/ 3030 h 9394"/>
                    <a:gd name="connsiteX10" fmla="*/ 8334 w 8485"/>
                    <a:gd name="connsiteY10" fmla="*/ 2273 h 9394"/>
                    <a:gd name="connsiteX11" fmla="*/ 6819 w 8485"/>
                    <a:gd name="connsiteY11" fmla="*/ 758 h 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85" h="9394">
                      <a:moveTo>
                        <a:pt x="3788" y="0"/>
                      </a:moveTo>
                      <a:lnTo>
                        <a:pt x="2576" y="606"/>
                      </a:lnTo>
                      <a:lnTo>
                        <a:pt x="2424" y="1818"/>
                      </a:lnTo>
                      <a:lnTo>
                        <a:pt x="0" y="5606"/>
                      </a:lnTo>
                      <a:lnTo>
                        <a:pt x="0" y="8485"/>
                      </a:lnTo>
                      <a:lnTo>
                        <a:pt x="303" y="9091"/>
                      </a:lnTo>
                      <a:lnTo>
                        <a:pt x="1515" y="9394"/>
                      </a:lnTo>
                      <a:lnTo>
                        <a:pt x="3031" y="8788"/>
                      </a:lnTo>
                      <a:lnTo>
                        <a:pt x="6364" y="6818"/>
                      </a:lnTo>
                      <a:lnTo>
                        <a:pt x="8485" y="3030"/>
                      </a:lnTo>
                      <a:lnTo>
                        <a:pt x="8334" y="2273"/>
                      </a:lnTo>
                      <a:lnTo>
                        <a:pt x="6819" y="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1" name="Freeform: Shape 3080">
                  <a:extLst>
                    <a:ext uri="{FF2B5EF4-FFF2-40B4-BE49-F238E27FC236}">
                      <a16:creationId xmlns:a16="http://schemas.microsoft.com/office/drawing/2014/main" id="{1329085E-1F42-42FF-B71E-72E28C106CD2}"/>
                    </a:ext>
                  </a:extLst>
                </p:cNvPr>
                <p:cNvSpPr/>
                <p:nvPr/>
              </p:nvSpPr>
              <p:spPr>
                <a:xfrm>
                  <a:off x="8029707" y="2032204"/>
                  <a:ext cx="10454" cy="5757"/>
                </a:xfrm>
                <a:custGeom>
                  <a:avLst/>
                  <a:gdLst>
                    <a:gd name="connsiteX0" fmla="*/ 4091 w 10454"/>
                    <a:gd name="connsiteY0" fmla="*/ 4697 h 5757"/>
                    <a:gd name="connsiteX1" fmla="*/ 7879 w 10454"/>
                    <a:gd name="connsiteY1" fmla="*/ 5758 h 5757"/>
                    <a:gd name="connsiteX2" fmla="*/ 10455 w 10454"/>
                    <a:gd name="connsiteY2" fmla="*/ 3788 h 5757"/>
                    <a:gd name="connsiteX3" fmla="*/ 9849 w 10454"/>
                    <a:gd name="connsiteY3" fmla="*/ 2727 h 5757"/>
                    <a:gd name="connsiteX4" fmla="*/ 7728 w 10454"/>
                    <a:gd name="connsiteY4" fmla="*/ 758 h 5757"/>
                    <a:gd name="connsiteX5" fmla="*/ 5455 w 10454"/>
                    <a:gd name="connsiteY5" fmla="*/ 0 h 5757"/>
                    <a:gd name="connsiteX6" fmla="*/ 1515 w 10454"/>
                    <a:gd name="connsiteY6" fmla="*/ 758 h 5757"/>
                    <a:gd name="connsiteX7" fmla="*/ 0 w 10454"/>
                    <a:gd name="connsiteY7" fmla="*/ 1667 h 5757"/>
                    <a:gd name="connsiteX8" fmla="*/ 1515 w 10454"/>
                    <a:gd name="connsiteY8" fmla="*/ 3333 h 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4" h="5757">
                      <a:moveTo>
                        <a:pt x="4091" y="4697"/>
                      </a:moveTo>
                      <a:lnTo>
                        <a:pt x="7879" y="5758"/>
                      </a:lnTo>
                      <a:lnTo>
                        <a:pt x="10455" y="3788"/>
                      </a:lnTo>
                      <a:lnTo>
                        <a:pt x="9849" y="2727"/>
                      </a:lnTo>
                      <a:lnTo>
                        <a:pt x="7728" y="758"/>
                      </a:lnTo>
                      <a:lnTo>
                        <a:pt x="5455" y="0"/>
                      </a:lnTo>
                      <a:lnTo>
                        <a:pt x="1515" y="758"/>
                      </a:lnTo>
                      <a:lnTo>
                        <a:pt x="0" y="1667"/>
                      </a:lnTo>
                      <a:lnTo>
                        <a:pt x="1515" y="333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2" name="Freeform: Shape 3081">
                  <a:extLst>
                    <a:ext uri="{FF2B5EF4-FFF2-40B4-BE49-F238E27FC236}">
                      <a16:creationId xmlns:a16="http://schemas.microsoft.com/office/drawing/2014/main" id="{CEFE6539-4B63-4BAA-BBE3-B60A7AE09EED}"/>
                    </a:ext>
                  </a:extLst>
                </p:cNvPr>
                <p:cNvSpPr/>
                <p:nvPr/>
              </p:nvSpPr>
              <p:spPr>
                <a:xfrm>
                  <a:off x="8043193" y="2032810"/>
                  <a:ext cx="21819" cy="6060"/>
                </a:xfrm>
                <a:custGeom>
                  <a:avLst/>
                  <a:gdLst>
                    <a:gd name="connsiteX0" fmla="*/ 16212 w 21819"/>
                    <a:gd name="connsiteY0" fmla="*/ 6061 h 6060"/>
                    <a:gd name="connsiteX1" fmla="*/ 17273 w 21819"/>
                    <a:gd name="connsiteY1" fmla="*/ 5303 h 6060"/>
                    <a:gd name="connsiteX2" fmla="*/ 18486 w 21819"/>
                    <a:gd name="connsiteY2" fmla="*/ 5455 h 6060"/>
                    <a:gd name="connsiteX3" fmla="*/ 20000 w 21819"/>
                    <a:gd name="connsiteY3" fmla="*/ 4243 h 6060"/>
                    <a:gd name="connsiteX4" fmla="*/ 21819 w 21819"/>
                    <a:gd name="connsiteY4" fmla="*/ 3333 h 6060"/>
                    <a:gd name="connsiteX5" fmla="*/ 18940 w 21819"/>
                    <a:gd name="connsiteY5" fmla="*/ 1515 h 6060"/>
                    <a:gd name="connsiteX6" fmla="*/ 9091 w 21819"/>
                    <a:gd name="connsiteY6" fmla="*/ 0 h 6060"/>
                    <a:gd name="connsiteX7" fmla="*/ 2273 w 21819"/>
                    <a:gd name="connsiteY7" fmla="*/ 1212 h 6060"/>
                    <a:gd name="connsiteX8" fmla="*/ 0 w 21819"/>
                    <a:gd name="connsiteY8" fmla="*/ 3182 h 6060"/>
                    <a:gd name="connsiteX9" fmla="*/ 9243 w 21819"/>
                    <a:gd name="connsiteY9" fmla="*/ 4091 h 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9" h="6060">
                      <a:moveTo>
                        <a:pt x="16212" y="6061"/>
                      </a:moveTo>
                      <a:lnTo>
                        <a:pt x="17273" y="5303"/>
                      </a:lnTo>
                      <a:lnTo>
                        <a:pt x="18486" y="5455"/>
                      </a:lnTo>
                      <a:lnTo>
                        <a:pt x="20000" y="4243"/>
                      </a:lnTo>
                      <a:lnTo>
                        <a:pt x="21819" y="3333"/>
                      </a:lnTo>
                      <a:lnTo>
                        <a:pt x="18940" y="1515"/>
                      </a:lnTo>
                      <a:lnTo>
                        <a:pt x="9091" y="0"/>
                      </a:lnTo>
                      <a:lnTo>
                        <a:pt x="2273" y="1212"/>
                      </a:lnTo>
                      <a:lnTo>
                        <a:pt x="0" y="3182"/>
                      </a:lnTo>
                      <a:lnTo>
                        <a:pt x="9243" y="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3" name="Freeform: Shape 3082">
                  <a:extLst>
                    <a:ext uri="{FF2B5EF4-FFF2-40B4-BE49-F238E27FC236}">
                      <a16:creationId xmlns:a16="http://schemas.microsoft.com/office/drawing/2014/main" id="{D9B0CB1C-2B28-4228-AEFE-7173576D9FA7}"/>
                    </a:ext>
                  </a:extLst>
                </p:cNvPr>
                <p:cNvSpPr/>
                <p:nvPr/>
              </p:nvSpPr>
              <p:spPr>
                <a:xfrm>
                  <a:off x="8236988" y="1616128"/>
                  <a:ext cx="45607" cy="9848"/>
                </a:xfrm>
                <a:custGeom>
                  <a:avLst/>
                  <a:gdLst>
                    <a:gd name="connsiteX0" fmla="*/ 1970 w 45607"/>
                    <a:gd name="connsiteY0" fmla="*/ 6515 h 9848"/>
                    <a:gd name="connsiteX1" fmla="*/ 36062 w 45607"/>
                    <a:gd name="connsiteY1" fmla="*/ 9849 h 9848"/>
                    <a:gd name="connsiteX2" fmla="*/ 45608 w 45607"/>
                    <a:gd name="connsiteY2" fmla="*/ 4697 h 9848"/>
                    <a:gd name="connsiteX3" fmla="*/ 43032 w 45607"/>
                    <a:gd name="connsiteY3" fmla="*/ 1970 h 9848"/>
                    <a:gd name="connsiteX4" fmla="*/ 33032 w 45607"/>
                    <a:gd name="connsiteY4" fmla="*/ 1061 h 9848"/>
                    <a:gd name="connsiteX5" fmla="*/ 4546 w 45607"/>
                    <a:gd name="connsiteY5" fmla="*/ 0 h 9848"/>
                    <a:gd name="connsiteX6" fmla="*/ 0 w 45607"/>
                    <a:gd name="connsiteY6" fmla="*/ 2879 h 9848"/>
                    <a:gd name="connsiteX7" fmla="*/ 455 w 45607"/>
                    <a:gd name="connsiteY7" fmla="*/ 4243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07" h="9848">
                      <a:moveTo>
                        <a:pt x="1970" y="6515"/>
                      </a:moveTo>
                      <a:lnTo>
                        <a:pt x="36062" y="9849"/>
                      </a:lnTo>
                      <a:lnTo>
                        <a:pt x="45608" y="4697"/>
                      </a:lnTo>
                      <a:lnTo>
                        <a:pt x="43032" y="1970"/>
                      </a:lnTo>
                      <a:lnTo>
                        <a:pt x="33032" y="1061"/>
                      </a:lnTo>
                      <a:lnTo>
                        <a:pt x="4546" y="0"/>
                      </a:lnTo>
                      <a:lnTo>
                        <a:pt x="0" y="2879"/>
                      </a:lnTo>
                      <a:lnTo>
                        <a:pt x="455" y="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4" name="Freeform: Shape 3083">
                  <a:extLst>
                    <a:ext uri="{FF2B5EF4-FFF2-40B4-BE49-F238E27FC236}">
                      <a16:creationId xmlns:a16="http://schemas.microsoft.com/office/drawing/2014/main" id="{9E144986-EA5B-4443-A4D3-0C2CE7EF44C1}"/>
                    </a:ext>
                  </a:extLst>
                </p:cNvPr>
                <p:cNvSpPr/>
                <p:nvPr/>
              </p:nvSpPr>
              <p:spPr>
                <a:xfrm>
                  <a:off x="8268959" y="1690373"/>
                  <a:ext cx="74699" cy="23485"/>
                </a:xfrm>
                <a:custGeom>
                  <a:avLst/>
                  <a:gdLst>
                    <a:gd name="connsiteX0" fmla="*/ 69245 w 74699"/>
                    <a:gd name="connsiteY0" fmla="*/ 14697 h 23485"/>
                    <a:gd name="connsiteX1" fmla="*/ 74700 w 74699"/>
                    <a:gd name="connsiteY1" fmla="*/ 9243 h 23485"/>
                    <a:gd name="connsiteX2" fmla="*/ 65912 w 74699"/>
                    <a:gd name="connsiteY2" fmla="*/ 6970 h 23485"/>
                    <a:gd name="connsiteX3" fmla="*/ 41668 w 74699"/>
                    <a:gd name="connsiteY3" fmla="*/ 3485 h 23485"/>
                    <a:gd name="connsiteX4" fmla="*/ 30152 w 74699"/>
                    <a:gd name="connsiteY4" fmla="*/ 455 h 23485"/>
                    <a:gd name="connsiteX5" fmla="*/ 18637 w 74699"/>
                    <a:gd name="connsiteY5" fmla="*/ 0 h 23485"/>
                    <a:gd name="connsiteX6" fmla="*/ 9697 w 74699"/>
                    <a:gd name="connsiteY6" fmla="*/ 152 h 23485"/>
                    <a:gd name="connsiteX7" fmla="*/ 4394 w 74699"/>
                    <a:gd name="connsiteY7" fmla="*/ 1364 h 23485"/>
                    <a:gd name="connsiteX8" fmla="*/ 0 w 74699"/>
                    <a:gd name="connsiteY8" fmla="*/ 4394 h 23485"/>
                    <a:gd name="connsiteX9" fmla="*/ 1515 w 74699"/>
                    <a:gd name="connsiteY9" fmla="*/ 9243 h 23485"/>
                    <a:gd name="connsiteX10" fmla="*/ 8333 w 74699"/>
                    <a:gd name="connsiteY10" fmla="*/ 13485 h 23485"/>
                    <a:gd name="connsiteX11" fmla="*/ 16819 w 74699"/>
                    <a:gd name="connsiteY11" fmla="*/ 16364 h 23485"/>
                    <a:gd name="connsiteX12" fmla="*/ 29698 w 74699"/>
                    <a:gd name="connsiteY12" fmla="*/ 22880 h 23485"/>
                    <a:gd name="connsiteX13" fmla="*/ 37426 w 74699"/>
                    <a:gd name="connsiteY13" fmla="*/ 23486 h 23485"/>
                    <a:gd name="connsiteX14" fmla="*/ 44093 w 74699"/>
                    <a:gd name="connsiteY14" fmla="*/ 22880 h 23485"/>
                    <a:gd name="connsiteX15" fmla="*/ 50760 w 74699"/>
                    <a:gd name="connsiteY15" fmla="*/ 21667 h 23485"/>
                    <a:gd name="connsiteX16" fmla="*/ 56972 w 74699"/>
                    <a:gd name="connsiteY16" fmla="*/ 19698 h 23485"/>
                    <a:gd name="connsiteX17" fmla="*/ 63184 w 74699"/>
                    <a:gd name="connsiteY17" fmla="*/ 16819 h 2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699" h="23485">
                      <a:moveTo>
                        <a:pt x="69245" y="14697"/>
                      </a:moveTo>
                      <a:lnTo>
                        <a:pt x="74700" y="9243"/>
                      </a:lnTo>
                      <a:lnTo>
                        <a:pt x="65912" y="6970"/>
                      </a:lnTo>
                      <a:lnTo>
                        <a:pt x="41668" y="3485"/>
                      </a:lnTo>
                      <a:lnTo>
                        <a:pt x="30152" y="455"/>
                      </a:lnTo>
                      <a:lnTo>
                        <a:pt x="18637" y="0"/>
                      </a:lnTo>
                      <a:lnTo>
                        <a:pt x="9697" y="152"/>
                      </a:lnTo>
                      <a:lnTo>
                        <a:pt x="4394" y="1364"/>
                      </a:lnTo>
                      <a:lnTo>
                        <a:pt x="0" y="4394"/>
                      </a:lnTo>
                      <a:lnTo>
                        <a:pt x="1515" y="9243"/>
                      </a:lnTo>
                      <a:lnTo>
                        <a:pt x="8333" y="13485"/>
                      </a:lnTo>
                      <a:lnTo>
                        <a:pt x="16819" y="16364"/>
                      </a:lnTo>
                      <a:lnTo>
                        <a:pt x="29698" y="22880"/>
                      </a:lnTo>
                      <a:lnTo>
                        <a:pt x="37426" y="23486"/>
                      </a:lnTo>
                      <a:lnTo>
                        <a:pt x="44093" y="22880"/>
                      </a:lnTo>
                      <a:lnTo>
                        <a:pt x="50760" y="21667"/>
                      </a:lnTo>
                      <a:lnTo>
                        <a:pt x="56972" y="19698"/>
                      </a:lnTo>
                      <a:lnTo>
                        <a:pt x="63184" y="168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5" name="Freeform: Shape 3084">
                  <a:extLst>
                    <a:ext uri="{FF2B5EF4-FFF2-40B4-BE49-F238E27FC236}">
                      <a16:creationId xmlns:a16="http://schemas.microsoft.com/office/drawing/2014/main" id="{6BD5F246-02B2-4BAB-A1FC-CC69628DFA36}"/>
                    </a:ext>
                  </a:extLst>
                </p:cNvPr>
                <p:cNvSpPr/>
                <p:nvPr/>
              </p:nvSpPr>
              <p:spPr>
                <a:xfrm>
                  <a:off x="8383811" y="1862198"/>
                  <a:ext cx="35455" cy="13333"/>
                </a:xfrm>
                <a:custGeom>
                  <a:avLst/>
                  <a:gdLst>
                    <a:gd name="connsiteX0" fmla="*/ 11213 w 35455"/>
                    <a:gd name="connsiteY0" fmla="*/ 10606 h 13333"/>
                    <a:gd name="connsiteX1" fmla="*/ 13637 w 35455"/>
                    <a:gd name="connsiteY1" fmla="*/ 12425 h 13333"/>
                    <a:gd name="connsiteX2" fmla="*/ 16061 w 35455"/>
                    <a:gd name="connsiteY2" fmla="*/ 13334 h 13333"/>
                    <a:gd name="connsiteX3" fmla="*/ 22577 w 35455"/>
                    <a:gd name="connsiteY3" fmla="*/ 11667 h 13333"/>
                    <a:gd name="connsiteX4" fmla="*/ 25759 w 35455"/>
                    <a:gd name="connsiteY4" fmla="*/ 12273 h 13333"/>
                    <a:gd name="connsiteX5" fmla="*/ 26971 w 35455"/>
                    <a:gd name="connsiteY5" fmla="*/ 11516 h 13333"/>
                    <a:gd name="connsiteX6" fmla="*/ 27880 w 35455"/>
                    <a:gd name="connsiteY6" fmla="*/ 10303 h 13333"/>
                    <a:gd name="connsiteX7" fmla="*/ 31668 w 35455"/>
                    <a:gd name="connsiteY7" fmla="*/ 7728 h 13333"/>
                    <a:gd name="connsiteX8" fmla="*/ 35305 w 35455"/>
                    <a:gd name="connsiteY8" fmla="*/ 4394 h 13333"/>
                    <a:gd name="connsiteX9" fmla="*/ 35456 w 35455"/>
                    <a:gd name="connsiteY9" fmla="*/ 3030 h 13333"/>
                    <a:gd name="connsiteX10" fmla="*/ 34396 w 35455"/>
                    <a:gd name="connsiteY10" fmla="*/ 0 h 13333"/>
                    <a:gd name="connsiteX11" fmla="*/ 16061 w 35455"/>
                    <a:gd name="connsiteY11" fmla="*/ 6212 h 13333"/>
                    <a:gd name="connsiteX12" fmla="*/ 4091 w 35455"/>
                    <a:gd name="connsiteY12" fmla="*/ 8637 h 13333"/>
                    <a:gd name="connsiteX13" fmla="*/ 0 w 35455"/>
                    <a:gd name="connsiteY13" fmla="*/ 10758 h 13333"/>
                    <a:gd name="connsiteX14" fmla="*/ 2576 w 35455"/>
                    <a:gd name="connsiteY14" fmla="*/ 1121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55" h="13333">
                      <a:moveTo>
                        <a:pt x="11213" y="10606"/>
                      </a:moveTo>
                      <a:lnTo>
                        <a:pt x="13637" y="12425"/>
                      </a:lnTo>
                      <a:lnTo>
                        <a:pt x="16061" y="13334"/>
                      </a:lnTo>
                      <a:lnTo>
                        <a:pt x="22577" y="11667"/>
                      </a:lnTo>
                      <a:lnTo>
                        <a:pt x="25759" y="12273"/>
                      </a:lnTo>
                      <a:lnTo>
                        <a:pt x="26971" y="11516"/>
                      </a:lnTo>
                      <a:lnTo>
                        <a:pt x="27880" y="10303"/>
                      </a:lnTo>
                      <a:lnTo>
                        <a:pt x="31668" y="7728"/>
                      </a:lnTo>
                      <a:lnTo>
                        <a:pt x="35305" y="4394"/>
                      </a:lnTo>
                      <a:lnTo>
                        <a:pt x="35456" y="3030"/>
                      </a:lnTo>
                      <a:lnTo>
                        <a:pt x="34396" y="0"/>
                      </a:lnTo>
                      <a:lnTo>
                        <a:pt x="16061" y="6212"/>
                      </a:lnTo>
                      <a:lnTo>
                        <a:pt x="4091" y="8637"/>
                      </a:lnTo>
                      <a:lnTo>
                        <a:pt x="0" y="10758"/>
                      </a:lnTo>
                      <a:lnTo>
                        <a:pt x="2576" y="1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6" name="Freeform: Shape 3085">
                  <a:extLst>
                    <a:ext uri="{FF2B5EF4-FFF2-40B4-BE49-F238E27FC236}">
                      <a16:creationId xmlns:a16="http://schemas.microsoft.com/office/drawing/2014/main" id="{C2BDF2A7-AFAB-41EA-992C-3D45AEE9B22E}"/>
                    </a:ext>
                  </a:extLst>
                </p:cNvPr>
                <p:cNvSpPr/>
                <p:nvPr/>
              </p:nvSpPr>
              <p:spPr>
                <a:xfrm>
                  <a:off x="8281384" y="1611886"/>
                  <a:ext cx="173642" cy="81215"/>
                </a:xfrm>
                <a:custGeom>
                  <a:avLst/>
                  <a:gdLst>
                    <a:gd name="connsiteX0" fmla="*/ 3030 w 173642"/>
                    <a:gd name="connsiteY0" fmla="*/ 64699 h 81215"/>
                    <a:gd name="connsiteX1" fmla="*/ 10000 w 173642"/>
                    <a:gd name="connsiteY1" fmla="*/ 66063 h 81215"/>
                    <a:gd name="connsiteX2" fmla="*/ 15455 w 173642"/>
                    <a:gd name="connsiteY2" fmla="*/ 67730 h 81215"/>
                    <a:gd name="connsiteX3" fmla="*/ 18486 w 173642"/>
                    <a:gd name="connsiteY3" fmla="*/ 70457 h 81215"/>
                    <a:gd name="connsiteX4" fmla="*/ 40456 w 173642"/>
                    <a:gd name="connsiteY4" fmla="*/ 75306 h 81215"/>
                    <a:gd name="connsiteX5" fmla="*/ 58335 w 173642"/>
                    <a:gd name="connsiteY5" fmla="*/ 81215 h 81215"/>
                    <a:gd name="connsiteX6" fmla="*/ 64245 w 173642"/>
                    <a:gd name="connsiteY6" fmla="*/ 81064 h 81215"/>
                    <a:gd name="connsiteX7" fmla="*/ 76669 w 173642"/>
                    <a:gd name="connsiteY7" fmla="*/ 76973 h 81215"/>
                    <a:gd name="connsiteX8" fmla="*/ 83185 w 173642"/>
                    <a:gd name="connsiteY8" fmla="*/ 73791 h 81215"/>
                    <a:gd name="connsiteX9" fmla="*/ 85761 w 173642"/>
                    <a:gd name="connsiteY9" fmla="*/ 74094 h 81215"/>
                    <a:gd name="connsiteX10" fmla="*/ 93943 w 173642"/>
                    <a:gd name="connsiteY10" fmla="*/ 72275 h 81215"/>
                    <a:gd name="connsiteX11" fmla="*/ 118489 w 173642"/>
                    <a:gd name="connsiteY11" fmla="*/ 70609 h 81215"/>
                    <a:gd name="connsiteX12" fmla="*/ 154551 w 173642"/>
                    <a:gd name="connsiteY12" fmla="*/ 66669 h 81215"/>
                    <a:gd name="connsiteX13" fmla="*/ 158036 w 173642"/>
                    <a:gd name="connsiteY13" fmla="*/ 64548 h 81215"/>
                    <a:gd name="connsiteX14" fmla="*/ 161218 w 173642"/>
                    <a:gd name="connsiteY14" fmla="*/ 61366 h 81215"/>
                    <a:gd name="connsiteX15" fmla="*/ 157582 w 173642"/>
                    <a:gd name="connsiteY15" fmla="*/ 60154 h 81215"/>
                    <a:gd name="connsiteX16" fmla="*/ 156672 w 173642"/>
                    <a:gd name="connsiteY16" fmla="*/ 58942 h 81215"/>
                    <a:gd name="connsiteX17" fmla="*/ 152884 w 173642"/>
                    <a:gd name="connsiteY17" fmla="*/ 50456 h 81215"/>
                    <a:gd name="connsiteX18" fmla="*/ 151824 w 173642"/>
                    <a:gd name="connsiteY18" fmla="*/ 48941 h 81215"/>
                    <a:gd name="connsiteX19" fmla="*/ 150460 w 173642"/>
                    <a:gd name="connsiteY19" fmla="*/ 47881 h 81215"/>
                    <a:gd name="connsiteX20" fmla="*/ 152884 w 173642"/>
                    <a:gd name="connsiteY20" fmla="*/ 42880 h 81215"/>
                    <a:gd name="connsiteX21" fmla="*/ 155915 w 173642"/>
                    <a:gd name="connsiteY21" fmla="*/ 40456 h 81215"/>
                    <a:gd name="connsiteX22" fmla="*/ 168036 w 173642"/>
                    <a:gd name="connsiteY22" fmla="*/ 38789 h 81215"/>
                    <a:gd name="connsiteX23" fmla="*/ 170309 w 173642"/>
                    <a:gd name="connsiteY23" fmla="*/ 37577 h 81215"/>
                    <a:gd name="connsiteX24" fmla="*/ 173188 w 173642"/>
                    <a:gd name="connsiteY24" fmla="*/ 37577 h 81215"/>
                    <a:gd name="connsiteX25" fmla="*/ 173643 w 173642"/>
                    <a:gd name="connsiteY25" fmla="*/ 33335 h 81215"/>
                    <a:gd name="connsiteX26" fmla="*/ 172582 w 173642"/>
                    <a:gd name="connsiteY26" fmla="*/ 31062 h 81215"/>
                    <a:gd name="connsiteX27" fmla="*/ 169097 w 173642"/>
                    <a:gd name="connsiteY27" fmla="*/ 29243 h 81215"/>
                    <a:gd name="connsiteX28" fmla="*/ 161066 w 173642"/>
                    <a:gd name="connsiteY28" fmla="*/ 28334 h 81215"/>
                    <a:gd name="connsiteX29" fmla="*/ 143036 w 173642"/>
                    <a:gd name="connsiteY29" fmla="*/ 20910 h 81215"/>
                    <a:gd name="connsiteX30" fmla="*/ 141369 w 173642"/>
                    <a:gd name="connsiteY30" fmla="*/ 18486 h 81215"/>
                    <a:gd name="connsiteX31" fmla="*/ 137884 w 173642"/>
                    <a:gd name="connsiteY31" fmla="*/ 16213 h 81215"/>
                    <a:gd name="connsiteX32" fmla="*/ 136823 w 173642"/>
                    <a:gd name="connsiteY32" fmla="*/ 13182 h 81215"/>
                    <a:gd name="connsiteX33" fmla="*/ 135308 w 173642"/>
                    <a:gd name="connsiteY33" fmla="*/ 11667 h 81215"/>
                    <a:gd name="connsiteX34" fmla="*/ 127580 w 173642"/>
                    <a:gd name="connsiteY34" fmla="*/ 6212 h 81215"/>
                    <a:gd name="connsiteX35" fmla="*/ 124550 w 173642"/>
                    <a:gd name="connsiteY35" fmla="*/ 5606 h 81215"/>
                    <a:gd name="connsiteX36" fmla="*/ 121974 w 173642"/>
                    <a:gd name="connsiteY36" fmla="*/ 4394 h 81215"/>
                    <a:gd name="connsiteX37" fmla="*/ 119701 w 173642"/>
                    <a:gd name="connsiteY37" fmla="*/ 1212 h 81215"/>
                    <a:gd name="connsiteX38" fmla="*/ 116974 w 173642"/>
                    <a:gd name="connsiteY38" fmla="*/ 0 h 81215"/>
                    <a:gd name="connsiteX39" fmla="*/ 99398 w 173642"/>
                    <a:gd name="connsiteY39" fmla="*/ 606 h 81215"/>
                    <a:gd name="connsiteX40" fmla="*/ 96670 w 173642"/>
                    <a:gd name="connsiteY40" fmla="*/ 5909 h 81215"/>
                    <a:gd name="connsiteX41" fmla="*/ 90609 w 173642"/>
                    <a:gd name="connsiteY41" fmla="*/ 9091 h 81215"/>
                    <a:gd name="connsiteX42" fmla="*/ 84397 w 173642"/>
                    <a:gd name="connsiteY42" fmla="*/ 10758 h 81215"/>
                    <a:gd name="connsiteX43" fmla="*/ 78033 w 173642"/>
                    <a:gd name="connsiteY43" fmla="*/ 11213 h 81215"/>
                    <a:gd name="connsiteX44" fmla="*/ 71518 w 173642"/>
                    <a:gd name="connsiteY44" fmla="*/ 12425 h 81215"/>
                    <a:gd name="connsiteX45" fmla="*/ 64699 w 173642"/>
                    <a:gd name="connsiteY45" fmla="*/ 14394 h 81215"/>
                    <a:gd name="connsiteX46" fmla="*/ 57729 w 173642"/>
                    <a:gd name="connsiteY46" fmla="*/ 15607 h 81215"/>
                    <a:gd name="connsiteX47" fmla="*/ 53941 w 173642"/>
                    <a:gd name="connsiteY47" fmla="*/ 15607 h 81215"/>
                    <a:gd name="connsiteX48" fmla="*/ 50153 w 173642"/>
                    <a:gd name="connsiteY48" fmla="*/ 16061 h 81215"/>
                    <a:gd name="connsiteX49" fmla="*/ 42123 w 173642"/>
                    <a:gd name="connsiteY49" fmla="*/ 18940 h 81215"/>
                    <a:gd name="connsiteX50" fmla="*/ 38638 w 173642"/>
                    <a:gd name="connsiteY50" fmla="*/ 22880 h 81215"/>
                    <a:gd name="connsiteX51" fmla="*/ 33941 w 173642"/>
                    <a:gd name="connsiteY51" fmla="*/ 25001 h 81215"/>
                    <a:gd name="connsiteX52" fmla="*/ 32425 w 173642"/>
                    <a:gd name="connsiteY52" fmla="*/ 26365 h 81215"/>
                    <a:gd name="connsiteX53" fmla="*/ 29698 w 173642"/>
                    <a:gd name="connsiteY53" fmla="*/ 30304 h 81215"/>
                    <a:gd name="connsiteX54" fmla="*/ 29243 w 173642"/>
                    <a:gd name="connsiteY54" fmla="*/ 32274 h 81215"/>
                    <a:gd name="connsiteX55" fmla="*/ 34092 w 173642"/>
                    <a:gd name="connsiteY55" fmla="*/ 33032 h 81215"/>
                    <a:gd name="connsiteX56" fmla="*/ 47577 w 173642"/>
                    <a:gd name="connsiteY56" fmla="*/ 31516 h 81215"/>
                    <a:gd name="connsiteX57" fmla="*/ 39850 w 173642"/>
                    <a:gd name="connsiteY57" fmla="*/ 37274 h 81215"/>
                    <a:gd name="connsiteX58" fmla="*/ 35607 w 173642"/>
                    <a:gd name="connsiteY58" fmla="*/ 42577 h 81215"/>
                    <a:gd name="connsiteX59" fmla="*/ 28789 w 173642"/>
                    <a:gd name="connsiteY59" fmla="*/ 48032 h 81215"/>
                    <a:gd name="connsiteX60" fmla="*/ 19698 w 173642"/>
                    <a:gd name="connsiteY60" fmla="*/ 50305 h 81215"/>
                    <a:gd name="connsiteX61" fmla="*/ 10152 w 173642"/>
                    <a:gd name="connsiteY61" fmla="*/ 51669 h 81215"/>
                    <a:gd name="connsiteX62" fmla="*/ 4394 w 173642"/>
                    <a:gd name="connsiteY62" fmla="*/ 55305 h 81215"/>
                    <a:gd name="connsiteX63" fmla="*/ 0 w 173642"/>
                    <a:gd name="connsiteY63" fmla="*/ 59093 h 81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73642" h="81215">
                      <a:moveTo>
                        <a:pt x="3030" y="64699"/>
                      </a:moveTo>
                      <a:lnTo>
                        <a:pt x="10000" y="66063"/>
                      </a:lnTo>
                      <a:lnTo>
                        <a:pt x="15455" y="67730"/>
                      </a:lnTo>
                      <a:lnTo>
                        <a:pt x="18486" y="70457"/>
                      </a:lnTo>
                      <a:lnTo>
                        <a:pt x="40456" y="75306"/>
                      </a:lnTo>
                      <a:lnTo>
                        <a:pt x="58335" y="81215"/>
                      </a:lnTo>
                      <a:lnTo>
                        <a:pt x="64245" y="81064"/>
                      </a:lnTo>
                      <a:lnTo>
                        <a:pt x="76669" y="76973"/>
                      </a:lnTo>
                      <a:lnTo>
                        <a:pt x="83185" y="73791"/>
                      </a:lnTo>
                      <a:lnTo>
                        <a:pt x="85761" y="74094"/>
                      </a:lnTo>
                      <a:lnTo>
                        <a:pt x="93943" y="72275"/>
                      </a:lnTo>
                      <a:lnTo>
                        <a:pt x="118489" y="70609"/>
                      </a:lnTo>
                      <a:lnTo>
                        <a:pt x="154551" y="66669"/>
                      </a:lnTo>
                      <a:lnTo>
                        <a:pt x="158036" y="64548"/>
                      </a:lnTo>
                      <a:lnTo>
                        <a:pt x="161218" y="61366"/>
                      </a:lnTo>
                      <a:lnTo>
                        <a:pt x="157582" y="60154"/>
                      </a:lnTo>
                      <a:lnTo>
                        <a:pt x="156672" y="58942"/>
                      </a:lnTo>
                      <a:lnTo>
                        <a:pt x="152884" y="50456"/>
                      </a:lnTo>
                      <a:lnTo>
                        <a:pt x="151824" y="48941"/>
                      </a:lnTo>
                      <a:lnTo>
                        <a:pt x="150460" y="47881"/>
                      </a:lnTo>
                      <a:lnTo>
                        <a:pt x="152884" y="42880"/>
                      </a:lnTo>
                      <a:lnTo>
                        <a:pt x="155915" y="40456"/>
                      </a:lnTo>
                      <a:lnTo>
                        <a:pt x="168036" y="38789"/>
                      </a:lnTo>
                      <a:lnTo>
                        <a:pt x="170309" y="37577"/>
                      </a:lnTo>
                      <a:lnTo>
                        <a:pt x="173188" y="37577"/>
                      </a:lnTo>
                      <a:lnTo>
                        <a:pt x="173643" y="33335"/>
                      </a:lnTo>
                      <a:lnTo>
                        <a:pt x="172582" y="31062"/>
                      </a:lnTo>
                      <a:lnTo>
                        <a:pt x="169097" y="29243"/>
                      </a:lnTo>
                      <a:lnTo>
                        <a:pt x="161066" y="28334"/>
                      </a:lnTo>
                      <a:lnTo>
                        <a:pt x="143036" y="20910"/>
                      </a:lnTo>
                      <a:lnTo>
                        <a:pt x="141369" y="18486"/>
                      </a:lnTo>
                      <a:lnTo>
                        <a:pt x="137884" y="16213"/>
                      </a:lnTo>
                      <a:lnTo>
                        <a:pt x="136823" y="13182"/>
                      </a:lnTo>
                      <a:lnTo>
                        <a:pt x="135308" y="11667"/>
                      </a:lnTo>
                      <a:lnTo>
                        <a:pt x="127580" y="6212"/>
                      </a:lnTo>
                      <a:lnTo>
                        <a:pt x="124550" y="5606"/>
                      </a:lnTo>
                      <a:lnTo>
                        <a:pt x="121974" y="4394"/>
                      </a:lnTo>
                      <a:lnTo>
                        <a:pt x="119701" y="1212"/>
                      </a:lnTo>
                      <a:lnTo>
                        <a:pt x="116974" y="0"/>
                      </a:lnTo>
                      <a:lnTo>
                        <a:pt x="99398" y="606"/>
                      </a:lnTo>
                      <a:lnTo>
                        <a:pt x="96670" y="5909"/>
                      </a:lnTo>
                      <a:lnTo>
                        <a:pt x="90609" y="9091"/>
                      </a:lnTo>
                      <a:lnTo>
                        <a:pt x="84397" y="10758"/>
                      </a:lnTo>
                      <a:lnTo>
                        <a:pt x="78033" y="11213"/>
                      </a:lnTo>
                      <a:lnTo>
                        <a:pt x="71518" y="12425"/>
                      </a:lnTo>
                      <a:lnTo>
                        <a:pt x="64699" y="14394"/>
                      </a:lnTo>
                      <a:lnTo>
                        <a:pt x="57729" y="15607"/>
                      </a:lnTo>
                      <a:lnTo>
                        <a:pt x="53941" y="15607"/>
                      </a:lnTo>
                      <a:lnTo>
                        <a:pt x="50153" y="16061"/>
                      </a:lnTo>
                      <a:lnTo>
                        <a:pt x="42123" y="18940"/>
                      </a:lnTo>
                      <a:lnTo>
                        <a:pt x="38638" y="22880"/>
                      </a:lnTo>
                      <a:lnTo>
                        <a:pt x="33941" y="25001"/>
                      </a:lnTo>
                      <a:lnTo>
                        <a:pt x="32425" y="26365"/>
                      </a:lnTo>
                      <a:lnTo>
                        <a:pt x="29698" y="30304"/>
                      </a:lnTo>
                      <a:lnTo>
                        <a:pt x="29243" y="32274"/>
                      </a:lnTo>
                      <a:lnTo>
                        <a:pt x="34092" y="33032"/>
                      </a:lnTo>
                      <a:lnTo>
                        <a:pt x="47577" y="31516"/>
                      </a:lnTo>
                      <a:lnTo>
                        <a:pt x="39850" y="37274"/>
                      </a:lnTo>
                      <a:lnTo>
                        <a:pt x="35607" y="42577"/>
                      </a:lnTo>
                      <a:lnTo>
                        <a:pt x="28789" y="48032"/>
                      </a:lnTo>
                      <a:lnTo>
                        <a:pt x="19698" y="50305"/>
                      </a:lnTo>
                      <a:lnTo>
                        <a:pt x="10152" y="51669"/>
                      </a:lnTo>
                      <a:lnTo>
                        <a:pt x="4394" y="55305"/>
                      </a:lnTo>
                      <a:lnTo>
                        <a:pt x="0" y="5909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7" name="Freeform: Shape 3086">
                  <a:extLst>
                    <a:ext uri="{FF2B5EF4-FFF2-40B4-BE49-F238E27FC236}">
                      <a16:creationId xmlns:a16="http://schemas.microsoft.com/office/drawing/2014/main" id="{D599F607-329F-4BBE-973C-D1503FC1E589}"/>
                    </a:ext>
                  </a:extLst>
                </p:cNvPr>
                <p:cNvSpPr/>
                <p:nvPr/>
              </p:nvSpPr>
              <p:spPr>
                <a:xfrm>
                  <a:off x="7938038" y="1631583"/>
                  <a:ext cx="39698" cy="10606"/>
                </a:xfrm>
                <a:custGeom>
                  <a:avLst/>
                  <a:gdLst>
                    <a:gd name="connsiteX0" fmla="*/ 3333 w 39698"/>
                    <a:gd name="connsiteY0" fmla="*/ 10606 h 10606"/>
                    <a:gd name="connsiteX1" fmla="*/ 28789 w 39698"/>
                    <a:gd name="connsiteY1" fmla="*/ 8182 h 10606"/>
                    <a:gd name="connsiteX2" fmla="*/ 37426 w 39698"/>
                    <a:gd name="connsiteY2" fmla="*/ 6970 h 10606"/>
                    <a:gd name="connsiteX3" fmla="*/ 38183 w 39698"/>
                    <a:gd name="connsiteY3" fmla="*/ 6061 h 10606"/>
                    <a:gd name="connsiteX4" fmla="*/ 39698 w 39698"/>
                    <a:gd name="connsiteY4" fmla="*/ 3182 h 10606"/>
                    <a:gd name="connsiteX5" fmla="*/ 35607 w 39698"/>
                    <a:gd name="connsiteY5" fmla="*/ 1667 h 10606"/>
                    <a:gd name="connsiteX6" fmla="*/ 22728 w 39698"/>
                    <a:gd name="connsiteY6" fmla="*/ 0 h 10606"/>
                    <a:gd name="connsiteX7" fmla="*/ 6667 w 39698"/>
                    <a:gd name="connsiteY7" fmla="*/ 1061 h 10606"/>
                    <a:gd name="connsiteX8" fmla="*/ 3636 w 39698"/>
                    <a:gd name="connsiteY8" fmla="*/ 3333 h 10606"/>
                    <a:gd name="connsiteX9" fmla="*/ 0 w 39698"/>
                    <a:gd name="connsiteY9" fmla="*/ 8182 h 10606"/>
                    <a:gd name="connsiteX10" fmla="*/ 909 w 39698"/>
                    <a:gd name="connsiteY10" fmla="*/ 9091 h 1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98" h="10606">
                      <a:moveTo>
                        <a:pt x="3333" y="10606"/>
                      </a:moveTo>
                      <a:lnTo>
                        <a:pt x="28789" y="8182"/>
                      </a:lnTo>
                      <a:lnTo>
                        <a:pt x="37426" y="6970"/>
                      </a:lnTo>
                      <a:lnTo>
                        <a:pt x="38183" y="6061"/>
                      </a:lnTo>
                      <a:lnTo>
                        <a:pt x="39698" y="3182"/>
                      </a:lnTo>
                      <a:lnTo>
                        <a:pt x="35607" y="1667"/>
                      </a:lnTo>
                      <a:lnTo>
                        <a:pt x="22728" y="0"/>
                      </a:lnTo>
                      <a:lnTo>
                        <a:pt x="6667" y="1061"/>
                      </a:lnTo>
                      <a:lnTo>
                        <a:pt x="3636" y="3333"/>
                      </a:lnTo>
                      <a:lnTo>
                        <a:pt x="0" y="8182"/>
                      </a:lnTo>
                      <a:lnTo>
                        <a:pt x="909" y="9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8" name="Freeform: Shape 3087">
                  <a:extLst>
                    <a:ext uri="{FF2B5EF4-FFF2-40B4-BE49-F238E27FC236}">
                      <a16:creationId xmlns:a16="http://schemas.microsoft.com/office/drawing/2014/main" id="{9AC57E90-4794-4AF6-9FA3-47C027CC6B71}"/>
                    </a:ext>
                  </a:extLst>
                </p:cNvPr>
                <p:cNvSpPr/>
                <p:nvPr/>
              </p:nvSpPr>
              <p:spPr>
                <a:xfrm>
                  <a:off x="7248164" y="1873410"/>
                  <a:ext cx="415318" cy="204855"/>
                </a:xfrm>
                <a:custGeom>
                  <a:avLst/>
                  <a:gdLst>
                    <a:gd name="connsiteX0" fmla="*/ 312890 w 415318"/>
                    <a:gd name="connsiteY0" fmla="*/ 29395 h 204855"/>
                    <a:gd name="connsiteX1" fmla="*/ 309405 w 415318"/>
                    <a:gd name="connsiteY1" fmla="*/ 29547 h 204855"/>
                    <a:gd name="connsiteX2" fmla="*/ 306072 w 415318"/>
                    <a:gd name="connsiteY2" fmla="*/ 30304 h 204855"/>
                    <a:gd name="connsiteX3" fmla="*/ 299405 w 415318"/>
                    <a:gd name="connsiteY3" fmla="*/ 33638 h 204855"/>
                    <a:gd name="connsiteX4" fmla="*/ 292738 w 415318"/>
                    <a:gd name="connsiteY4" fmla="*/ 36213 h 204855"/>
                    <a:gd name="connsiteX5" fmla="*/ 267131 w 415318"/>
                    <a:gd name="connsiteY5" fmla="*/ 40153 h 204855"/>
                    <a:gd name="connsiteX6" fmla="*/ 251979 w 415318"/>
                    <a:gd name="connsiteY6" fmla="*/ 44244 h 204855"/>
                    <a:gd name="connsiteX7" fmla="*/ 246827 w 415318"/>
                    <a:gd name="connsiteY7" fmla="*/ 43789 h 204855"/>
                    <a:gd name="connsiteX8" fmla="*/ 238342 w 415318"/>
                    <a:gd name="connsiteY8" fmla="*/ 44699 h 204855"/>
                    <a:gd name="connsiteX9" fmla="*/ 231827 w 415318"/>
                    <a:gd name="connsiteY9" fmla="*/ 44093 h 204855"/>
                    <a:gd name="connsiteX10" fmla="*/ 219553 w 415318"/>
                    <a:gd name="connsiteY10" fmla="*/ 41214 h 204855"/>
                    <a:gd name="connsiteX11" fmla="*/ 213644 w 415318"/>
                    <a:gd name="connsiteY11" fmla="*/ 40759 h 204855"/>
                    <a:gd name="connsiteX12" fmla="*/ 203492 w 415318"/>
                    <a:gd name="connsiteY12" fmla="*/ 41668 h 204855"/>
                    <a:gd name="connsiteX13" fmla="*/ 202280 w 415318"/>
                    <a:gd name="connsiteY13" fmla="*/ 42274 h 204855"/>
                    <a:gd name="connsiteX14" fmla="*/ 198947 w 415318"/>
                    <a:gd name="connsiteY14" fmla="*/ 44547 h 204855"/>
                    <a:gd name="connsiteX15" fmla="*/ 199098 w 415318"/>
                    <a:gd name="connsiteY15" fmla="*/ 48184 h 204855"/>
                    <a:gd name="connsiteX16" fmla="*/ 199553 w 415318"/>
                    <a:gd name="connsiteY16" fmla="*/ 50911 h 204855"/>
                    <a:gd name="connsiteX17" fmla="*/ 198037 w 415318"/>
                    <a:gd name="connsiteY17" fmla="*/ 52578 h 204855"/>
                    <a:gd name="connsiteX18" fmla="*/ 196522 w 415318"/>
                    <a:gd name="connsiteY18" fmla="*/ 53638 h 204855"/>
                    <a:gd name="connsiteX19" fmla="*/ 192583 w 415318"/>
                    <a:gd name="connsiteY19" fmla="*/ 53790 h 204855"/>
                    <a:gd name="connsiteX20" fmla="*/ 190613 w 415318"/>
                    <a:gd name="connsiteY20" fmla="*/ 51820 h 204855"/>
                    <a:gd name="connsiteX21" fmla="*/ 187279 w 415318"/>
                    <a:gd name="connsiteY21" fmla="*/ 51517 h 204855"/>
                    <a:gd name="connsiteX22" fmla="*/ 178340 w 415318"/>
                    <a:gd name="connsiteY22" fmla="*/ 52275 h 204855"/>
                    <a:gd name="connsiteX23" fmla="*/ 173946 w 415318"/>
                    <a:gd name="connsiteY23" fmla="*/ 53941 h 204855"/>
                    <a:gd name="connsiteX24" fmla="*/ 171673 w 415318"/>
                    <a:gd name="connsiteY24" fmla="*/ 58639 h 204855"/>
                    <a:gd name="connsiteX25" fmla="*/ 164703 w 415318"/>
                    <a:gd name="connsiteY25" fmla="*/ 60760 h 204855"/>
                    <a:gd name="connsiteX26" fmla="*/ 152733 w 415318"/>
                    <a:gd name="connsiteY26" fmla="*/ 62881 h 204855"/>
                    <a:gd name="connsiteX27" fmla="*/ 146369 w 415318"/>
                    <a:gd name="connsiteY27" fmla="*/ 64699 h 204855"/>
                    <a:gd name="connsiteX28" fmla="*/ 143187 w 415318"/>
                    <a:gd name="connsiteY28" fmla="*/ 64851 h 204855"/>
                    <a:gd name="connsiteX29" fmla="*/ 140005 w 415318"/>
                    <a:gd name="connsiteY29" fmla="*/ 65760 h 204855"/>
                    <a:gd name="connsiteX30" fmla="*/ 133793 w 415318"/>
                    <a:gd name="connsiteY30" fmla="*/ 70154 h 204855"/>
                    <a:gd name="connsiteX31" fmla="*/ 127429 w 415318"/>
                    <a:gd name="connsiteY31" fmla="*/ 73336 h 204855"/>
                    <a:gd name="connsiteX32" fmla="*/ 117580 w 415318"/>
                    <a:gd name="connsiteY32" fmla="*/ 76518 h 204855"/>
                    <a:gd name="connsiteX33" fmla="*/ 117883 w 415318"/>
                    <a:gd name="connsiteY33" fmla="*/ 79094 h 204855"/>
                    <a:gd name="connsiteX34" fmla="*/ 118489 w 415318"/>
                    <a:gd name="connsiteY34" fmla="*/ 80457 h 204855"/>
                    <a:gd name="connsiteX35" fmla="*/ 110004 w 415318"/>
                    <a:gd name="connsiteY35" fmla="*/ 85306 h 204855"/>
                    <a:gd name="connsiteX36" fmla="*/ 108034 w 415318"/>
                    <a:gd name="connsiteY36" fmla="*/ 88185 h 204855"/>
                    <a:gd name="connsiteX37" fmla="*/ 105913 w 415318"/>
                    <a:gd name="connsiteY37" fmla="*/ 93640 h 204855"/>
                    <a:gd name="connsiteX38" fmla="*/ 105155 w 415318"/>
                    <a:gd name="connsiteY38" fmla="*/ 94397 h 204855"/>
                    <a:gd name="connsiteX39" fmla="*/ 96822 w 415318"/>
                    <a:gd name="connsiteY39" fmla="*/ 92731 h 204855"/>
                    <a:gd name="connsiteX40" fmla="*/ 90912 w 415318"/>
                    <a:gd name="connsiteY40" fmla="*/ 92125 h 204855"/>
                    <a:gd name="connsiteX41" fmla="*/ 88336 w 415318"/>
                    <a:gd name="connsiteY41" fmla="*/ 92579 h 204855"/>
                    <a:gd name="connsiteX42" fmla="*/ 84397 w 415318"/>
                    <a:gd name="connsiteY42" fmla="*/ 93943 h 204855"/>
                    <a:gd name="connsiteX43" fmla="*/ 83336 w 415318"/>
                    <a:gd name="connsiteY43" fmla="*/ 95155 h 204855"/>
                    <a:gd name="connsiteX44" fmla="*/ 83942 w 415318"/>
                    <a:gd name="connsiteY44" fmla="*/ 98034 h 204855"/>
                    <a:gd name="connsiteX45" fmla="*/ 85155 w 415318"/>
                    <a:gd name="connsiteY45" fmla="*/ 99852 h 204855"/>
                    <a:gd name="connsiteX46" fmla="*/ 76821 w 415318"/>
                    <a:gd name="connsiteY46" fmla="*/ 107883 h 204855"/>
                    <a:gd name="connsiteX47" fmla="*/ 74548 w 415318"/>
                    <a:gd name="connsiteY47" fmla="*/ 108034 h 204855"/>
                    <a:gd name="connsiteX48" fmla="*/ 71821 w 415318"/>
                    <a:gd name="connsiteY48" fmla="*/ 105610 h 204855"/>
                    <a:gd name="connsiteX49" fmla="*/ 69093 w 415318"/>
                    <a:gd name="connsiteY49" fmla="*/ 104246 h 204855"/>
                    <a:gd name="connsiteX50" fmla="*/ 65608 w 415318"/>
                    <a:gd name="connsiteY50" fmla="*/ 103034 h 204855"/>
                    <a:gd name="connsiteX51" fmla="*/ 62275 w 415318"/>
                    <a:gd name="connsiteY51" fmla="*/ 102579 h 204855"/>
                    <a:gd name="connsiteX52" fmla="*/ 59093 w 415318"/>
                    <a:gd name="connsiteY52" fmla="*/ 103943 h 204855"/>
                    <a:gd name="connsiteX53" fmla="*/ 56062 w 415318"/>
                    <a:gd name="connsiteY53" fmla="*/ 106367 h 204855"/>
                    <a:gd name="connsiteX54" fmla="*/ 56366 w 415318"/>
                    <a:gd name="connsiteY54" fmla="*/ 108337 h 204855"/>
                    <a:gd name="connsiteX55" fmla="*/ 57426 w 415318"/>
                    <a:gd name="connsiteY55" fmla="*/ 110004 h 204855"/>
                    <a:gd name="connsiteX56" fmla="*/ 61214 w 415318"/>
                    <a:gd name="connsiteY56" fmla="*/ 113034 h 204855"/>
                    <a:gd name="connsiteX57" fmla="*/ 70457 w 415318"/>
                    <a:gd name="connsiteY57" fmla="*/ 112580 h 204855"/>
                    <a:gd name="connsiteX58" fmla="*/ 72881 w 415318"/>
                    <a:gd name="connsiteY58" fmla="*/ 114701 h 204855"/>
                    <a:gd name="connsiteX59" fmla="*/ 74851 w 415318"/>
                    <a:gd name="connsiteY59" fmla="*/ 115610 h 204855"/>
                    <a:gd name="connsiteX60" fmla="*/ 67124 w 415318"/>
                    <a:gd name="connsiteY60" fmla="*/ 118944 h 204855"/>
                    <a:gd name="connsiteX61" fmla="*/ 58941 w 415318"/>
                    <a:gd name="connsiteY61" fmla="*/ 124398 h 204855"/>
                    <a:gd name="connsiteX62" fmla="*/ 51972 w 415318"/>
                    <a:gd name="connsiteY62" fmla="*/ 132126 h 204855"/>
                    <a:gd name="connsiteX63" fmla="*/ 49850 w 415318"/>
                    <a:gd name="connsiteY63" fmla="*/ 133641 h 204855"/>
                    <a:gd name="connsiteX64" fmla="*/ 50608 w 415318"/>
                    <a:gd name="connsiteY64" fmla="*/ 135611 h 204855"/>
                    <a:gd name="connsiteX65" fmla="*/ 51972 w 415318"/>
                    <a:gd name="connsiteY65" fmla="*/ 137581 h 204855"/>
                    <a:gd name="connsiteX66" fmla="*/ 54396 w 415318"/>
                    <a:gd name="connsiteY66" fmla="*/ 138338 h 204855"/>
                    <a:gd name="connsiteX67" fmla="*/ 59850 w 415318"/>
                    <a:gd name="connsiteY67" fmla="*/ 138338 h 204855"/>
                    <a:gd name="connsiteX68" fmla="*/ 65002 w 415318"/>
                    <a:gd name="connsiteY68" fmla="*/ 140763 h 204855"/>
                    <a:gd name="connsiteX69" fmla="*/ 63336 w 415318"/>
                    <a:gd name="connsiteY69" fmla="*/ 141520 h 204855"/>
                    <a:gd name="connsiteX70" fmla="*/ 45305 w 415318"/>
                    <a:gd name="connsiteY70" fmla="*/ 143945 h 204855"/>
                    <a:gd name="connsiteX71" fmla="*/ 43184 w 415318"/>
                    <a:gd name="connsiteY71" fmla="*/ 144854 h 204855"/>
                    <a:gd name="connsiteX72" fmla="*/ 34547 w 415318"/>
                    <a:gd name="connsiteY72" fmla="*/ 157430 h 204855"/>
                    <a:gd name="connsiteX73" fmla="*/ 31668 w 415318"/>
                    <a:gd name="connsiteY73" fmla="*/ 160612 h 204855"/>
                    <a:gd name="connsiteX74" fmla="*/ 29243 w 415318"/>
                    <a:gd name="connsiteY74" fmla="*/ 162430 h 204855"/>
                    <a:gd name="connsiteX75" fmla="*/ 26516 w 415318"/>
                    <a:gd name="connsiteY75" fmla="*/ 165764 h 204855"/>
                    <a:gd name="connsiteX76" fmla="*/ 24092 w 415318"/>
                    <a:gd name="connsiteY76" fmla="*/ 169703 h 204855"/>
                    <a:gd name="connsiteX77" fmla="*/ 23031 w 415318"/>
                    <a:gd name="connsiteY77" fmla="*/ 170158 h 204855"/>
                    <a:gd name="connsiteX78" fmla="*/ 17122 w 415318"/>
                    <a:gd name="connsiteY78" fmla="*/ 170915 h 204855"/>
                    <a:gd name="connsiteX79" fmla="*/ 11212 w 415318"/>
                    <a:gd name="connsiteY79" fmla="*/ 173643 h 204855"/>
                    <a:gd name="connsiteX80" fmla="*/ 5455 w 415318"/>
                    <a:gd name="connsiteY80" fmla="*/ 176976 h 204855"/>
                    <a:gd name="connsiteX81" fmla="*/ 2424 w 415318"/>
                    <a:gd name="connsiteY81" fmla="*/ 178188 h 204855"/>
                    <a:gd name="connsiteX82" fmla="*/ 0 w 415318"/>
                    <a:gd name="connsiteY82" fmla="*/ 180007 h 204855"/>
                    <a:gd name="connsiteX83" fmla="*/ 2121 w 415318"/>
                    <a:gd name="connsiteY83" fmla="*/ 183643 h 204855"/>
                    <a:gd name="connsiteX84" fmla="*/ 12121 w 415318"/>
                    <a:gd name="connsiteY84" fmla="*/ 191977 h 204855"/>
                    <a:gd name="connsiteX85" fmla="*/ 10152 w 415318"/>
                    <a:gd name="connsiteY85" fmla="*/ 195159 h 204855"/>
                    <a:gd name="connsiteX86" fmla="*/ 14698 w 415318"/>
                    <a:gd name="connsiteY86" fmla="*/ 202129 h 204855"/>
                    <a:gd name="connsiteX87" fmla="*/ 21970 w 415318"/>
                    <a:gd name="connsiteY87" fmla="*/ 198492 h 204855"/>
                    <a:gd name="connsiteX88" fmla="*/ 27576 w 415318"/>
                    <a:gd name="connsiteY88" fmla="*/ 196825 h 204855"/>
                    <a:gd name="connsiteX89" fmla="*/ 34092 w 415318"/>
                    <a:gd name="connsiteY89" fmla="*/ 196674 h 204855"/>
                    <a:gd name="connsiteX90" fmla="*/ 41517 w 415318"/>
                    <a:gd name="connsiteY90" fmla="*/ 199856 h 204855"/>
                    <a:gd name="connsiteX91" fmla="*/ 48941 w 415318"/>
                    <a:gd name="connsiteY91" fmla="*/ 201674 h 204855"/>
                    <a:gd name="connsiteX92" fmla="*/ 62124 w 415318"/>
                    <a:gd name="connsiteY92" fmla="*/ 202280 h 204855"/>
                    <a:gd name="connsiteX93" fmla="*/ 67426 w 415318"/>
                    <a:gd name="connsiteY93" fmla="*/ 203947 h 204855"/>
                    <a:gd name="connsiteX94" fmla="*/ 73033 w 415318"/>
                    <a:gd name="connsiteY94" fmla="*/ 204856 h 204855"/>
                    <a:gd name="connsiteX95" fmla="*/ 78639 w 415318"/>
                    <a:gd name="connsiteY95" fmla="*/ 204553 h 204855"/>
                    <a:gd name="connsiteX96" fmla="*/ 87579 w 415318"/>
                    <a:gd name="connsiteY96" fmla="*/ 201219 h 204855"/>
                    <a:gd name="connsiteX97" fmla="*/ 92276 w 415318"/>
                    <a:gd name="connsiteY97" fmla="*/ 193946 h 204855"/>
                    <a:gd name="connsiteX98" fmla="*/ 101216 w 415318"/>
                    <a:gd name="connsiteY98" fmla="*/ 188340 h 204855"/>
                    <a:gd name="connsiteX99" fmla="*/ 103488 w 415318"/>
                    <a:gd name="connsiteY99" fmla="*/ 185764 h 204855"/>
                    <a:gd name="connsiteX100" fmla="*/ 101216 w 415318"/>
                    <a:gd name="connsiteY100" fmla="*/ 181067 h 204855"/>
                    <a:gd name="connsiteX101" fmla="*/ 96519 w 415318"/>
                    <a:gd name="connsiteY101" fmla="*/ 177431 h 204855"/>
                    <a:gd name="connsiteX102" fmla="*/ 97125 w 415318"/>
                    <a:gd name="connsiteY102" fmla="*/ 176219 h 204855"/>
                    <a:gd name="connsiteX103" fmla="*/ 100913 w 415318"/>
                    <a:gd name="connsiteY103" fmla="*/ 176825 h 204855"/>
                    <a:gd name="connsiteX104" fmla="*/ 105155 w 415318"/>
                    <a:gd name="connsiteY104" fmla="*/ 179552 h 204855"/>
                    <a:gd name="connsiteX105" fmla="*/ 106519 w 415318"/>
                    <a:gd name="connsiteY105" fmla="*/ 179855 h 204855"/>
                    <a:gd name="connsiteX106" fmla="*/ 109246 w 415318"/>
                    <a:gd name="connsiteY106" fmla="*/ 179855 h 204855"/>
                    <a:gd name="connsiteX107" fmla="*/ 111671 w 415318"/>
                    <a:gd name="connsiteY107" fmla="*/ 177885 h 204855"/>
                    <a:gd name="connsiteX108" fmla="*/ 112428 w 415318"/>
                    <a:gd name="connsiteY108" fmla="*/ 175461 h 204855"/>
                    <a:gd name="connsiteX109" fmla="*/ 111974 w 415318"/>
                    <a:gd name="connsiteY109" fmla="*/ 173037 h 204855"/>
                    <a:gd name="connsiteX110" fmla="*/ 109853 w 415318"/>
                    <a:gd name="connsiteY110" fmla="*/ 168946 h 204855"/>
                    <a:gd name="connsiteX111" fmla="*/ 109549 w 415318"/>
                    <a:gd name="connsiteY111" fmla="*/ 166824 h 204855"/>
                    <a:gd name="connsiteX112" fmla="*/ 128035 w 415318"/>
                    <a:gd name="connsiteY112" fmla="*/ 160612 h 204855"/>
                    <a:gd name="connsiteX113" fmla="*/ 132884 w 415318"/>
                    <a:gd name="connsiteY113" fmla="*/ 155309 h 204855"/>
                    <a:gd name="connsiteX114" fmla="*/ 134096 w 415318"/>
                    <a:gd name="connsiteY114" fmla="*/ 151975 h 204855"/>
                    <a:gd name="connsiteX115" fmla="*/ 133641 w 415318"/>
                    <a:gd name="connsiteY115" fmla="*/ 149854 h 204855"/>
                    <a:gd name="connsiteX116" fmla="*/ 131368 w 415318"/>
                    <a:gd name="connsiteY116" fmla="*/ 144854 h 204855"/>
                    <a:gd name="connsiteX117" fmla="*/ 129702 w 415318"/>
                    <a:gd name="connsiteY117" fmla="*/ 142429 h 204855"/>
                    <a:gd name="connsiteX118" fmla="*/ 130611 w 415318"/>
                    <a:gd name="connsiteY118" fmla="*/ 140611 h 204855"/>
                    <a:gd name="connsiteX119" fmla="*/ 141369 w 415318"/>
                    <a:gd name="connsiteY119" fmla="*/ 142581 h 204855"/>
                    <a:gd name="connsiteX120" fmla="*/ 144399 w 415318"/>
                    <a:gd name="connsiteY120" fmla="*/ 141369 h 204855"/>
                    <a:gd name="connsiteX121" fmla="*/ 146066 w 415318"/>
                    <a:gd name="connsiteY121" fmla="*/ 140157 h 204855"/>
                    <a:gd name="connsiteX122" fmla="*/ 147278 w 415318"/>
                    <a:gd name="connsiteY122" fmla="*/ 137732 h 204855"/>
                    <a:gd name="connsiteX123" fmla="*/ 147581 w 415318"/>
                    <a:gd name="connsiteY123" fmla="*/ 134550 h 204855"/>
                    <a:gd name="connsiteX124" fmla="*/ 148339 w 415318"/>
                    <a:gd name="connsiteY124" fmla="*/ 131520 h 204855"/>
                    <a:gd name="connsiteX125" fmla="*/ 149854 w 415318"/>
                    <a:gd name="connsiteY125" fmla="*/ 130005 h 204855"/>
                    <a:gd name="connsiteX126" fmla="*/ 159551 w 415318"/>
                    <a:gd name="connsiteY126" fmla="*/ 134399 h 204855"/>
                    <a:gd name="connsiteX127" fmla="*/ 161824 w 415318"/>
                    <a:gd name="connsiteY127" fmla="*/ 134550 h 204855"/>
                    <a:gd name="connsiteX128" fmla="*/ 163945 w 415318"/>
                    <a:gd name="connsiteY128" fmla="*/ 133187 h 204855"/>
                    <a:gd name="connsiteX129" fmla="*/ 164400 w 415318"/>
                    <a:gd name="connsiteY129" fmla="*/ 131671 h 204855"/>
                    <a:gd name="connsiteX130" fmla="*/ 163339 w 415318"/>
                    <a:gd name="connsiteY130" fmla="*/ 129853 h 204855"/>
                    <a:gd name="connsiteX131" fmla="*/ 163794 w 415318"/>
                    <a:gd name="connsiteY131" fmla="*/ 127126 h 204855"/>
                    <a:gd name="connsiteX132" fmla="*/ 170158 w 415318"/>
                    <a:gd name="connsiteY132" fmla="*/ 127277 h 204855"/>
                    <a:gd name="connsiteX133" fmla="*/ 172885 w 415318"/>
                    <a:gd name="connsiteY133" fmla="*/ 126671 h 204855"/>
                    <a:gd name="connsiteX134" fmla="*/ 176824 w 415318"/>
                    <a:gd name="connsiteY134" fmla="*/ 124398 h 204855"/>
                    <a:gd name="connsiteX135" fmla="*/ 178946 w 415318"/>
                    <a:gd name="connsiteY135" fmla="*/ 122126 h 204855"/>
                    <a:gd name="connsiteX136" fmla="*/ 182734 w 415318"/>
                    <a:gd name="connsiteY136" fmla="*/ 120156 h 204855"/>
                    <a:gd name="connsiteX137" fmla="*/ 184401 w 415318"/>
                    <a:gd name="connsiteY137" fmla="*/ 118489 h 204855"/>
                    <a:gd name="connsiteX138" fmla="*/ 183189 w 415318"/>
                    <a:gd name="connsiteY138" fmla="*/ 116216 h 204855"/>
                    <a:gd name="connsiteX139" fmla="*/ 177279 w 415318"/>
                    <a:gd name="connsiteY139" fmla="*/ 114853 h 204855"/>
                    <a:gd name="connsiteX140" fmla="*/ 178188 w 415318"/>
                    <a:gd name="connsiteY140" fmla="*/ 112883 h 204855"/>
                    <a:gd name="connsiteX141" fmla="*/ 183643 w 415318"/>
                    <a:gd name="connsiteY141" fmla="*/ 110307 h 204855"/>
                    <a:gd name="connsiteX142" fmla="*/ 185310 w 415318"/>
                    <a:gd name="connsiteY142" fmla="*/ 110004 h 204855"/>
                    <a:gd name="connsiteX143" fmla="*/ 188643 w 415318"/>
                    <a:gd name="connsiteY143" fmla="*/ 110307 h 204855"/>
                    <a:gd name="connsiteX144" fmla="*/ 190310 w 415318"/>
                    <a:gd name="connsiteY144" fmla="*/ 109549 h 204855"/>
                    <a:gd name="connsiteX145" fmla="*/ 193340 w 415318"/>
                    <a:gd name="connsiteY145" fmla="*/ 107125 h 204855"/>
                    <a:gd name="connsiteX146" fmla="*/ 196219 w 415318"/>
                    <a:gd name="connsiteY146" fmla="*/ 104246 h 204855"/>
                    <a:gd name="connsiteX147" fmla="*/ 202129 w 415318"/>
                    <a:gd name="connsiteY147" fmla="*/ 101064 h 204855"/>
                    <a:gd name="connsiteX148" fmla="*/ 204856 w 415318"/>
                    <a:gd name="connsiteY148" fmla="*/ 97731 h 204855"/>
                    <a:gd name="connsiteX149" fmla="*/ 207735 w 415318"/>
                    <a:gd name="connsiteY149" fmla="*/ 95913 h 204855"/>
                    <a:gd name="connsiteX150" fmla="*/ 211371 w 415318"/>
                    <a:gd name="connsiteY150" fmla="*/ 96064 h 204855"/>
                    <a:gd name="connsiteX151" fmla="*/ 214856 w 415318"/>
                    <a:gd name="connsiteY151" fmla="*/ 95610 h 204855"/>
                    <a:gd name="connsiteX152" fmla="*/ 227129 w 415318"/>
                    <a:gd name="connsiteY152" fmla="*/ 89700 h 204855"/>
                    <a:gd name="connsiteX153" fmla="*/ 253949 w 415318"/>
                    <a:gd name="connsiteY153" fmla="*/ 81367 h 204855"/>
                    <a:gd name="connsiteX154" fmla="*/ 261373 w 415318"/>
                    <a:gd name="connsiteY154" fmla="*/ 79851 h 204855"/>
                    <a:gd name="connsiteX155" fmla="*/ 270768 w 415318"/>
                    <a:gd name="connsiteY155" fmla="*/ 76215 h 204855"/>
                    <a:gd name="connsiteX156" fmla="*/ 274101 w 415318"/>
                    <a:gd name="connsiteY156" fmla="*/ 76063 h 204855"/>
                    <a:gd name="connsiteX157" fmla="*/ 287283 w 415318"/>
                    <a:gd name="connsiteY157" fmla="*/ 73336 h 204855"/>
                    <a:gd name="connsiteX158" fmla="*/ 300465 w 415318"/>
                    <a:gd name="connsiteY158" fmla="*/ 69548 h 204855"/>
                    <a:gd name="connsiteX159" fmla="*/ 313042 w 415318"/>
                    <a:gd name="connsiteY159" fmla="*/ 66669 h 204855"/>
                    <a:gd name="connsiteX160" fmla="*/ 324406 w 415318"/>
                    <a:gd name="connsiteY160" fmla="*/ 63033 h 204855"/>
                    <a:gd name="connsiteX161" fmla="*/ 342588 w 415318"/>
                    <a:gd name="connsiteY161" fmla="*/ 58639 h 204855"/>
                    <a:gd name="connsiteX162" fmla="*/ 352892 w 415318"/>
                    <a:gd name="connsiteY162" fmla="*/ 55002 h 204855"/>
                    <a:gd name="connsiteX163" fmla="*/ 359256 w 415318"/>
                    <a:gd name="connsiteY163" fmla="*/ 53638 h 204855"/>
                    <a:gd name="connsiteX164" fmla="*/ 365620 w 415318"/>
                    <a:gd name="connsiteY164" fmla="*/ 51517 h 204855"/>
                    <a:gd name="connsiteX165" fmla="*/ 372135 w 415318"/>
                    <a:gd name="connsiteY165" fmla="*/ 48638 h 204855"/>
                    <a:gd name="connsiteX166" fmla="*/ 383196 w 415318"/>
                    <a:gd name="connsiteY166" fmla="*/ 44244 h 204855"/>
                    <a:gd name="connsiteX167" fmla="*/ 394105 w 415318"/>
                    <a:gd name="connsiteY167" fmla="*/ 41517 h 204855"/>
                    <a:gd name="connsiteX168" fmla="*/ 395621 w 415318"/>
                    <a:gd name="connsiteY168" fmla="*/ 40001 h 204855"/>
                    <a:gd name="connsiteX169" fmla="*/ 404864 w 415318"/>
                    <a:gd name="connsiteY169" fmla="*/ 32274 h 204855"/>
                    <a:gd name="connsiteX170" fmla="*/ 414106 w 415318"/>
                    <a:gd name="connsiteY170" fmla="*/ 25152 h 204855"/>
                    <a:gd name="connsiteX171" fmla="*/ 413045 w 415318"/>
                    <a:gd name="connsiteY171" fmla="*/ 23031 h 204855"/>
                    <a:gd name="connsiteX172" fmla="*/ 413954 w 415318"/>
                    <a:gd name="connsiteY172" fmla="*/ 20152 h 204855"/>
                    <a:gd name="connsiteX173" fmla="*/ 415318 w 415318"/>
                    <a:gd name="connsiteY173" fmla="*/ 17425 h 204855"/>
                    <a:gd name="connsiteX174" fmla="*/ 414561 w 415318"/>
                    <a:gd name="connsiteY174" fmla="*/ 14394 h 204855"/>
                    <a:gd name="connsiteX175" fmla="*/ 413500 w 415318"/>
                    <a:gd name="connsiteY175" fmla="*/ 12728 h 204855"/>
                    <a:gd name="connsiteX176" fmla="*/ 408652 w 415318"/>
                    <a:gd name="connsiteY176" fmla="*/ 8182 h 204855"/>
                    <a:gd name="connsiteX177" fmla="*/ 402894 w 415318"/>
                    <a:gd name="connsiteY177" fmla="*/ 4546 h 204855"/>
                    <a:gd name="connsiteX178" fmla="*/ 390014 w 415318"/>
                    <a:gd name="connsiteY178" fmla="*/ 1212 h 204855"/>
                    <a:gd name="connsiteX179" fmla="*/ 380014 w 415318"/>
                    <a:gd name="connsiteY179" fmla="*/ 0 h 204855"/>
                    <a:gd name="connsiteX180" fmla="*/ 376832 w 415318"/>
                    <a:gd name="connsiteY180" fmla="*/ 152 h 204855"/>
                    <a:gd name="connsiteX181" fmla="*/ 369408 w 415318"/>
                    <a:gd name="connsiteY181" fmla="*/ 2727 h 204855"/>
                    <a:gd name="connsiteX182" fmla="*/ 357437 w 415318"/>
                    <a:gd name="connsiteY182" fmla="*/ 5000 h 204855"/>
                    <a:gd name="connsiteX183" fmla="*/ 344255 w 415318"/>
                    <a:gd name="connsiteY183" fmla="*/ 10909 h 204855"/>
                    <a:gd name="connsiteX184" fmla="*/ 336528 w 415318"/>
                    <a:gd name="connsiteY184" fmla="*/ 15304 h 204855"/>
                    <a:gd name="connsiteX185" fmla="*/ 333649 w 415318"/>
                    <a:gd name="connsiteY185" fmla="*/ 18637 h 204855"/>
                    <a:gd name="connsiteX186" fmla="*/ 331073 w 415318"/>
                    <a:gd name="connsiteY186" fmla="*/ 22880 h 204855"/>
                    <a:gd name="connsiteX187" fmla="*/ 328194 w 415318"/>
                    <a:gd name="connsiteY187" fmla="*/ 24849 h 204855"/>
                    <a:gd name="connsiteX188" fmla="*/ 324861 w 415318"/>
                    <a:gd name="connsiteY188" fmla="*/ 24849 h 204855"/>
                    <a:gd name="connsiteX189" fmla="*/ 321982 w 415318"/>
                    <a:gd name="connsiteY189" fmla="*/ 25455 h 204855"/>
                    <a:gd name="connsiteX190" fmla="*/ 315921 w 415318"/>
                    <a:gd name="connsiteY190" fmla="*/ 28334 h 20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415318" h="204855">
                      <a:moveTo>
                        <a:pt x="312890" y="29395"/>
                      </a:moveTo>
                      <a:lnTo>
                        <a:pt x="309405" y="29547"/>
                      </a:lnTo>
                      <a:lnTo>
                        <a:pt x="306072" y="30304"/>
                      </a:lnTo>
                      <a:lnTo>
                        <a:pt x="299405" y="33638"/>
                      </a:lnTo>
                      <a:lnTo>
                        <a:pt x="292738" y="36213"/>
                      </a:lnTo>
                      <a:lnTo>
                        <a:pt x="267131" y="40153"/>
                      </a:lnTo>
                      <a:lnTo>
                        <a:pt x="251979" y="44244"/>
                      </a:lnTo>
                      <a:lnTo>
                        <a:pt x="246827" y="43789"/>
                      </a:lnTo>
                      <a:lnTo>
                        <a:pt x="238342" y="44699"/>
                      </a:lnTo>
                      <a:lnTo>
                        <a:pt x="231827" y="44093"/>
                      </a:lnTo>
                      <a:lnTo>
                        <a:pt x="219553" y="41214"/>
                      </a:lnTo>
                      <a:lnTo>
                        <a:pt x="213644" y="40759"/>
                      </a:lnTo>
                      <a:lnTo>
                        <a:pt x="203492" y="41668"/>
                      </a:lnTo>
                      <a:lnTo>
                        <a:pt x="202280" y="42274"/>
                      </a:lnTo>
                      <a:lnTo>
                        <a:pt x="198947" y="44547"/>
                      </a:lnTo>
                      <a:lnTo>
                        <a:pt x="199098" y="48184"/>
                      </a:lnTo>
                      <a:lnTo>
                        <a:pt x="199553" y="50911"/>
                      </a:lnTo>
                      <a:lnTo>
                        <a:pt x="198037" y="52578"/>
                      </a:lnTo>
                      <a:lnTo>
                        <a:pt x="196522" y="53638"/>
                      </a:lnTo>
                      <a:lnTo>
                        <a:pt x="192583" y="53790"/>
                      </a:lnTo>
                      <a:lnTo>
                        <a:pt x="190613" y="51820"/>
                      </a:lnTo>
                      <a:lnTo>
                        <a:pt x="187279" y="51517"/>
                      </a:lnTo>
                      <a:lnTo>
                        <a:pt x="178340" y="52275"/>
                      </a:lnTo>
                      <a:lnTo>
                        <a:pt x="173946" y="53941"/>
                      </a:lnTo>
                      <a:lnTo>
                        <a:pt x="171673" y="58639"/>
                      </a:lnTo>
                      <a:lnTo>
                        <a:pt x="164703" y="60760"/>
                      </a:lnTo>
                      <a:lnTo>
                        <a:pt x="152733" y="62881"/>
                      </a:lnTo>
                      <a:lnTo>
                        <a:pt x="146369" y="64699"/>
                      </a:lnTo>
                      <a:lnTo>
                        <a:pt x="143187" y="64851"/>
                      </a:lnTo>
                      <a:lnTo>
                        <a:pt x="140005" y="65760"/>
                      </a:lnTo>
                      <a:lnTo>
                        <a:pt x="133793" y="70154"/>
                      </a:lnTo>
                      <a:lnTo>
                        <a:pt x="127429" y="73336"/>
                      </a:lnTo>
                      <a:lnTo>
                        <a:pt x="117580" y="76518"/>
                      </a:lnTo>
                      <a:lnTo>
                        <a:pt x="117883" y="79094"/>
                      </a:lnTo>
                      <a:lnTo>
                        <a:pt x="118489" y="80457"/>
                      </a:lnTo>
                      <a:lnTo>
                        <a:pt x="110004" y="85306"/>
                      </a:lnTo>
                      <a:lnTo>
                        <a:pt x="108034" y="88185"/>
                      </a:lnTo>
                      <a:lnTo>
                        <a:pt x="105913" y="93640"/>
                      </a:lnTo>
                      <a:lnTo>
                        <a:pt x="105155" y="94397"/>
                      </a:lnTo>
                      <a:lnTo>
                        <a:pt x="96822" y="92731"/>
                      </a:lnTo>
                      <a:lnTo>
                        <a:pt x="90912" y="92125"/>
                      </a:lnTo>
                      <a:lnTo>
                        <a:pt x="88336" y="92579"/>
                      </a:lnTo>
                      <a:lnTo>
                        <a:pt x="84397" y="93943"/>
                      </a:lnTo>
                      <a:lnTo>
                        <a:pt x="83336" y="95155"/>
                      </a:lnTo>
                      <a:lnTo>
                        <a:pt x="83942" y="98034"/>
                      </a:lnTo>
                      <a:lnTo>
                        <a:pt x="85155" y="99852"/>
                      </a:lnTo>
                      <a:lnTo>
                        <a:pt x="76821" y="107883"/>
                      </a:lnTo>
                      <a:lnTo>
                        <a:pt x="74548" y="108034"/>
                      </a:lnTo>
                      <a:lnTo>
                        <a:pt x="71821" y="105610"/>
                      </a:lnTo>
                      <a:lnTo>
                        <a:pt x="69093" y="104246"/>
                      </a:lnTo>
                      <a:lnTo>
                        <a:pt x="65608" y="103034"/>
                      </a:lnTo>
                      <a:lnTo>
                        <a:pt x="62275" y="102579"/>
                      </a:lnTo>
                      <a:lnTo>
                        <a:pt x="59093" y="103943"/>
                      </a:lnTo>
                      <a:lnTo>
                        <a:pt x="56062" y="106367"/>
                      </a:lnTo>
                      <a:lnTo>
                        <a:pt x="56366" y="108337"/>
                      </a:lnTo>
                      <a:lnTo>
                        <a:pt x="57426" y="110004"/>
                      </a:lnTo>
                      <a:lnTo>
                        <a:pt x="61214" y="113034"/>
                      </a:lnTo>
                      <a:lnTo>
                        <a:pt x="70457" y="112580"/>
                      </a:lnTo>
                      <a:lnTo>
                        <a:pt x="72881" y="114701"/>
                      </a:lnTo>
                      <a:lnTo>
                        <a:pt x="74851" y="115610"/>
                      </a:lnTo>
                      <a:lnTo>
                        <a:pt x="67124" y="118944"/>
                      </a:lnTo>
                      <a:lnTo>
                        <a:pt x="58941" y="124398"/>
                      </a:lnTo>
                      <a:lnTo>
                        <a:pt x="51972" y="132126"/>
                      </a:lnTo>
                      <a:lnTo>
                        <a:pt x="49850" y="133641"/>
                      </a:lnTo>
                      <a:lnTo>
                        <a:pt x="50608" y="135611"/>
                      </a:lnTo>
                      <a:lnTo>
                        <a:pt x="51972" y="137581"/>
                      </a:lnTo>
                      <a:lnTo>
                        <a:pt x="54396" y="138338"/>
                      </a:lnTo>
                      <a:lnTo>
                        <a:pt x="59850" y="138338"/>
                      </a:lnTo>
                      <a:lnTo>
                        <a:pt x="65002" y="140763"/>
                      </a:lnTo>
                      <a:lnTo>
                        <a:pt x="63336" y="141520"/>
                      </a:lnTo>
                      <a:lnTo>
                        <a:pt x="45305" y="143945"/>
                      </a:lnTo>
                      <a:lnTo>
                        <a:pt x="43184" y="144854"/>
                      </a:lnTo>
                      <a:lnTo>
                        <a:pt x="34547" y="157430"/>
                      </a:lnTo>
                      <a:lnTo>
                        <a:pt x="31668" y="160612"/>
                      </a:lnTo>
                      <a:lnTo>
                        <a:pt x="29243" y="162430"/>
                      </a:lnTo>
                      <a:lnTo>
                        <a:pt x="26516" y="165764"/>
                      </a:lnTo>
                      <a:lnTo>
                        <a:pt x="24092" y="169703"/>
                      </a:lnTo>
                      <a:lnTo>
                        <a:pt x="23031" y="170158"/>
                      </a:lnTo>
                      <a:lnTo>
                        <a:pt x="17122" y="170915"/>
                      </a:lnTo>
                      <a:lnTo>
                        <a:pt x="11212" y="173643"/>
                      </a:lnTo>
                      <a:lnTo>
                        <a:pt x="5455" y="176976"/>
                      </a:lnTo>
                      <a:lnTo>
                        <a:pt x="2424" y="178188"/>
                      </a:lnTo>
                      <a:lnTo>
                        <a:pt x="0" y="180007"/>
                      </a:lnTo>
                      <a:lnTo>
                        <a:pt x="2121" y="183643"/>
                      </a:lnTo>
                      <a:lnTo>
                        <a:pt x="12121" y="191977"/>
                      </a:lnTo>
                      <a:lnTo>
                        <a:pt x="10152" y="195159"/>
                      </a:lnTo>
                      <a:lnTo>
                        <a:pt x="14698" y="202129"/>
                      </a:lnTo>
                      <a:lnTo>
                        <a:pt x="21970" y="198492"/>
                      </a:lnTo>
                      <a:lnTo>
                        <a:pt x="27576" y="196825"/>
                      </a:lnTo>
                      <a:lnTo>
                        <a:pt x="34092" y="196674"/>
                      </a:lnTo>
                      <a:lnTo>
                        <a:pt x="41517" y="199856"/>
                      </a:lnTo>
                      <a:lnTo>
                        <a:pt x="48941" y="201674"/>
                      </a:lnTo>
                      <a:lnTo>
                        <a:pt x="62124" y="202280"/>
                      </a:lnTo>
                      <a:lnTo>
                        <a:pt x="67426" y="203947"/>
                      </a:lnTo>
                      <a:lnTo>
                        <a:pt x="73033" y="204856"/>
                      </a:lnTo>
                      <a:lnTo>
                        <a:pt x="78639" y="204553"/>
                      </a:lnTo>
                      <a:lnTo>
                        <a:pt x="87579" y="201219"/>
                      </a:lnTo>
                      <a:lnTo>
                        <a:pt x="92276" y="193946"/>
                      </a:lnTo>
                      <a:lnTo>
                        <a:pt x="101216" y="188340"/>
                      </a:lnTo>
                      <a:lnTo>
                        <a:pt x="103488" y="185764"/>
                      </a:lnTo>
                      <a:lnTo>
                        <a:pt x="101216" y="181067"/>
                      </a:lnTo>
                      <a:lnTo>
                        <a:pt x="96519" y="177431"/>
                      </a:lnTo>
                      <a:lnTo>
                        <a:pt x="97125" y="176219"/>
                      </a:lnTo>
                      <a:lnTo>
                        <a:pt x="100913" y="176825"/>
                      </a:lnTo>
                      <a:lnTo>
                        <a:pt x="105155" y="179552"/>
                      </a:lnTo>
                      <a:lnTo>
                        <a:pt x="106519" y="179855"/>
                      </a:lnTo>
                      <a:lnTo>
                        <a:pt x="109246" y="179855"/>
                      </a:lnTo>
                      <a:lnTo>
                        <a:pt x="111671" y="177885"/>
                      </a:lnTo>
                      <a:lnTo>
                        <a:pt x="112428" y="175461"/>
                      </a:lnTo>
                      <a:lnTo>
                        <a:pt x="111974" y="173037"/>
                      </a:lnTo>
                      <a:lnTo>
                        <a:pt x="109853" y="168946"/>
                      </a:lnTo>
                      <a:lnTo>
                        <a:pt x="109549" y="166824"/>
                      </a:lnTo>
                      <a:lnTo>
                        <a:pt x="128035" y="160612"/>
                      </a:lnTo>
                      <a:lnTo>
                        <a:pt x="132884" y="155309"/>
                      </a:lnTo>
                      <a:lnTo>
                        <a:pt x="134096" y="151975"/>
                      </a:lnTo>
                      <a:lnTo>
                        <a:pt x="133641" y="149854"/>
                      </a:lnTo>
                      <a:lnTo>
                        <a:pt x="131368" y="144854"/>
                      </a:lnTo>
                      <a:lnTo>
                        <a:pt x="129702" y="142429"/>
                      </a:lnTo>
                      <a:lnTo>
                        <a:pt x="130611" y="140611"/>
                      </a:lnTo>
                      <a:lnTo>
                        <a:pt x="141369" y="142581"/>
                      </a:lnTo>
                      <a:lnTo>
                        <a:pt x="144399" y="141369"/>
                      </a:lnTo>
                      <a:lnTo>
                        <a:pt x="146066" y="140157"/>
                      </a:lnTo>
                      <a:lnTo>
                        <a:pt x="147278" y="137732"/>
                      </a:lnTo>
                      <a:lnTo>
                        <a:pt x="147581" y="134550"/>
                      </a:lnTo>
                      <a:lnTo>
                        <a:pt x="148339" y="131520"/>
                      </a:lnTo>
                      <a:lnTo>
                        <a:pt x="149854" y="130005"/>
                      </a:lnTo>
                      <a:lnTo>
                        <a:pt x="159551" y="134399"/>
                      </a:lnTo>
                      <a:lnTo>
                        <a:pt x="161824" y="134550"/>
                      </a:lnTo>
                      <a:lnTo>
                        <a:pt x="163945" y="133187"/>
                      </a:lnTo>
                      <a:lnTo>
                        <a:pt x="164400" y="131671"/>
                      </a:lnTo>
                      <a:lnTo>
                        <a:pt x="163339" y="129853"/>
                      </a:lnTo>
                      <a:lnTo>
                        <a:pt x="163794" y="127126"/>
                      </a:lnTo>
                      <a:lnTo>
                        <a:pt x="170158" y="127277"/>
                      </a:lnTo>
                      <a:lnTo>
                        <a:pt x="172885" y="126671"/>
                      </a:lnTo>
                      <a:lnTo>
                        <a:pt x="176824" y="124398"/>
                      </a:lnTo>
                      <a:lnTo>
                        <a:pt x="178946" y="122126"/>
                      </a:lnTo>
                      <a:lnTo>
                        <a:pt x="182734" y="120156"/>
                      </a:lnTo>
                      <a:lnTo>
                        <a:pt x="184401" y="118489"/>
                      </a:lnTo>
                      <a:lnTo>
                        <a:pt x="183189" y="116216"/>
                      </a:lnTo>
                      <a:lnTo>
                        <a:pt x="177279" y="114853"/>
                      </a:lnTo>
                      <a:lnTo>
                        <a:pt x="178188" y="112883"/>
                      </a:lnTo>
                      <a:lnTo>
                        <a:pt x="183643" y="110307"/>
                      </a:lnTo>
                      <a:lnTo>
                        <a:pt x="185310" y="110004"/>
                      </a:lnTo>
                      <a:lnTo>
                        <a:pt x="188643" y="110307"/>
                      </a:lnTo>
                      <a:lnTo>
                        <a:pt x="190310" y="109549"/>
                      </a:lnTo>
                      <a:lnTo>
                        <a:pt x="193340" y="107125"/>
                      </a:lnTo>
                      <a:lnTo>
                        <a:pt x="196219" y="104246"/>
                      </a:lnTo>
                      <a:lnTo>
                        <a:pt x="202129" y="101064"/>
                      </a:lnTo>
                      <a:lnTo>
                        <a:pt x="204856" y="97731"/>
                      </a:lnTo>
                      <a:lnTo>
                        <a:pt x="207735" y="95913"/>
                      </a:lnTo>
                      <a:lnTo>
                        <a:pt x="211371" y="96064"/>
                      </a:lnTo>
                      <a:lnTo>
                        <a:pt x="214856" y="95610"/>
                      </a:lnTo>
                      <a:lnTo>
                        <a:pt x="227129" y="89700"/>
                      </a:lnTo>
                      <a:lnTo>
                        <a:pt x="253949" y="81367"/>
                      </a:lnTo>
                      <a:lnTo>
                        <a:pt x="261373" y="79851"/>
                      </a:lnTo>
                      <a:lnTo>
                        <a:pt x="270768" y="76215"/>
                      </a:lnTo>
                      <a:lnTo>
                        <a:pt x="274101" y="76063"/>
                      </a:lnTo>
                      <a:lnTo>
                        <a:pt x="287283" y="73336"/>
                      </a:lnTo>
                      <a:lnTo>
                        <a:pt x="300465" y="69548"/>
                      </a:lnTo>
                      <a:lnTo>
                        <a:pt x="313042" y="66669"/>
                      </a:lnTo>
                      <a:lnTo>
                        <a:pt x="324406" y="63033"/>
                      </a:lnTo>
                      <a:lnTo>
                        <a:pt x="342588" y="58639"/>
                      </a:lnTo>
                      <a:lnTo>
                        <a:pt x="352892" y="55002"/>
                      </a:lnTo>
                      <a:lnTo>
                        <a:pt x="359256" y="53638"/>
                      </a:lnTo>
                      <a:lnTo>
                        <a:pt x="365620" y="51517"/>
                      </a:lnTo>
                      <a:lnTo>
                        <a:pt x="372135" y="48638"/>
                      </a:lnTo>
                      <a:lnTo>
                        <a:pt x="383196" y="44244"/>
                      </a:lnTo>
                      <a:lnTo>
                        <a:pt x="394105" y="41517"/>
                      </a:lnTo>
                      <a:lnTo>
                        <a:pt x="395621" y="40001"/>
                      </a:lnTo>
                      <a:lnTo>
                        <a:pt x="404864" y="32274"/>
                      </a:lnTo>
                      <a:lnTo>
                        <a:pt x="414106" y="25152"/>
                      </a:lnTo>
                      <a:lnTo>
                        <a:pt x="413045" y="23031"/>
                      </a:lnTo>
                      <a:lnTo>
                        <a:pt x="413954" y="20152"/>
                      </a:lnTo>
                      <a:lnTo>
                        <a:pt x="415318" y="17425"/>
                      </a:lnTo>
                      <a:lnTo>
                        <a:pt x="414561" y="14394"/>
                      </a:lnTo>
                      <a:lnTo>
                        <a:pt x="413500" y="12728"/>
                      </a:lnTo>
                      <a:lnTo>
                        <a:pt x="408652" y="8182"/>
                      </a:lnTo>
                      <a:lnTo>
                        <a:pt x="402894" y="4546"/>
                      </a:lnTo>
                      <a:lnTo>
                        <a:pt x="390014" y="1212"/>
                      </a:lnTo>
                      <a:lnTo>
                        <a:pt x="380014" y="0"/>
                      </a:lnTo>
                      <a:lnTo>
                        <a:pt x="376832" y="152"/>
                      </a:lnTo>
                      <a:lnTo>
                        <a:pt x="369408" y="2727"/>
                      </a:lnTo>
                      <a:lnTo>
                        <a:pt x="357437" y="5000"/>
                      </a:lnTo>
                      <a:lnTo>
                        <a:pt x="344255" y="10909"/>
                      </a:lnTo>
                      <a:lnTo>
                        <a:pt x="336528" y="15304"/>
                      </a:lnTo>
                      <a:lnTo>
                        <a:pt x="333649" y="18637"/>
                      </a:lnTo>
                      <a:lnTo>
                        <a:pt x="331073" y="22880"/>
                      </a:lnTo>
                      <a:lnTo>
                        <a:pt x="328194" y="24849"/>
                      </a:lnTo>
                      <a:lnTo>
                        <a:pt x="324861" y="24849"/>
                      </a:lnTo>
                      <a:lnTo>
                        <a:pt x="321982" y="25455"/>
                      </a:lnTo>
                      <a:lnTo>
                        <a:pt x="315921" y="2833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9" name="Freeform: Shape 3088">
                  <a:extLst>
                    <a:ext uri="{FF2B5EF4-FFF2-40B4-BE49-F238E27FC236}">
                      <a16:creationId xmlns:a16="http://schemas.microsoft.com/office/drawing/2014/main" id="{E0441D24-F980-4E79-B004-57E7D583A1B9}"/>
                    </a:ext>
                  </a:extLst>
                </p:cNvPr>
                <p:cNvSpPr/>
                <p:nvPr/>
              </p:nvSpPr>
              <p:spPr>
                <a:xfrm>
                  <a:off x="7593782" y="2207665"/>
                  <a:ext cx="4697" cy="13485"/>
                </a:xfrm>
                <a:custGeom>
                  <a:avLst/>
                  <a:gdLst>
                    <a:gd name="connsiteX0" fmla="*/ 1212 w 4697"/>
                    <a:gd name="connsiteY0" fmla="*/ 0 h 13485"/>
                    <a:gd name="connsiteX1" fmla="*/ 606 w 4697"/>
                    <a:gd name="connsiteY1" fmla="*/ 909 h 13485"/>
                    <a:gd name="connsiteX2" fmla="*/ 0 w 4697"/>
                    <a:gd name="connsiteY2" fmla="*/ 2273 h 13485"/>
                    <a:gd name="connsiteX3" fmla="*/ 303 w 4697"/>
                    <a:gd name="connsiteY3" fmla="*/ 7879 h 13485"/>
                    <a:gd name="connsiteX4" fmla="*/ 1515 w 4697"/>
                    <a:gd name="connsiteY4" fmla="*/ 10606 h 13485"/>
                    <a:gd name="connsiteX5" fmla="*/ 3333 w 4697"/>
                    <a:gd name="connsiteY5" fmla="*/ 12879 h 13485"/>
                    <a:gd name="connsiteX6" fmla="*/ 4697 w 4697"/>
                    <a:gd name="connsiteY6" fmla="*/ 13485 h 13485"/>
                    <a:gd name="connsiteX7" fmla="*/ 4545 w 4697"/>
                    <a:gd name="connsiteY7" fmla="*/ 11516 h 13485"/>
                    <a:gd name="connsiteX8" fmla="*/ 1667 w 4697"/>
                    <a:gd name="connsiteY8" fmla="*/ 3788 h 13485"/>
                    <a:gd name="connsiteX9" fmla="*/ 1818 w 4697"/>
                    <a:gd name="connsiteY9" fmla="*/ 303 h 1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97" h="13485">
                      <a:moveTo>
                        <a:pt x="1212" y="0"/>
                      </a:moveTo>
                      <a:lnTo>
                        <a:pt x="606" y="909"/>
                      </a:lnTo>
                      <a:lnTo>
                        <a:pt x="0" y="2273"/>
                      </a:lnTo>
                      <a:lnTo>
                        <a:pt x="303" y="7879"/>
                      </a:lnTo>
                      <a:lnTo>
                        <a:pt x="1515" y="10606"/>
                      </a:lnTo>
                      <a:lnTo>
                        <a:pt x="3333" y="12879"/>
                      </a:lnTo>
                      <a:lnTo>
                        <a:pt x="4697" y="13485"/>
                      </a:lnTo>
                      <a:lnTo>
                        <a:pt x="4545" y="11516"/>
                      </a:lnTo>
                      <a:lnTo>
                        <a:pt x="1667" y="3788"/>
                      </a:lnTo>
                      <a:lnTo>
                        <a:pt x="1818"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0" name="Freeform: Shape 3089">
                  <a:extLst>
                    <a:ext uri="{FF2B5EF4-FFF2-40B4-BE49-F238E27FC236}">
                      <a16:creationId xmlns:a16="http://schemas.microsoft.com/office/drawing/2014/main" id="{F75DFCEB-2199-4BEE-BF49-A1FF7DA46EC9}"/>
                    </a:ext>
                  </a:extLst>
                </p:cNvPr>
                <p:cNvSpPr/>
                <p:nvPr/>
              </p:nvSpPr>
              <p:spPr>
                <a:xfrm>
                  <a:off x="7928643" y="2089024"/>
                  <a:ext cx="24849" cy="20000"/>
                </a:xfrm>
                <a:custGeom>
                  <a:avLst/>
                  <a:gdLst>
                    <a:gd name="connsiteX0" fmla="*/ 6818 w 24849"/>
                    <a:gd name="connsiteY0" fmla="*/ 17879 h 20000"/>
                    <a:gd name="connsiteX1" fmla="*/ 21819 w 24849"/>
                    <a:gd name="connsiteY1" fmla="*/ 20001 h 20000"/>
                    <a:gd name="connsiteX2" fmla="*/ 23788 w 24849"/>
                    <a:gd name="connsiteY2" fmla="*/ 19395 h 20000"/>
                    <a:gd name="connsiteX3" fmla="*/ 24697 w 24849"/>
                    <a:gd name="connsiteY3" fmla="*/ 16970 h 20000"/>
                    <a:gd name="connsiteX4" fmla="*/ 24849 w 24849"/>
                    <a:gd name="connsiteY4" fmla="*/ 9091 h 20000"/>
                    <a:gd name="connsiteX5" fmla="*/ 21364 w 24849"/>
                    <a:gd name="connsiteY5" fmla="*/ 5758 h 20000"/>
                    <a:gd name="connsiteX6" fmla="*/ 19849 w 24849"/>
                    <a:gd name="connsiteY6" fmla="*/ 2879 h 20000"/>
                    <a:gd name="connsiteX7" fmla="*/ 14546 w 24849"/>
                    <a:gd name="connsiteY7" fmla="*/ 0 h 20000"/>
                    <a:gd name="connsiteX8" fmla="*/ 606 w 24849"/>
                    <a:gd name="connsiteY8" fmla="*/ 10606 h 20000"/>
                    <a:gd name="connsiteX9" fmla="*/ 0 w 24849"/>
                    <a:gd name="connsiteY9" fmla="*/ 12728 h 20000"/>
                    <a:gd name="connsiteX10" fmla="*/ 1515 w 24849"/>
                    <a:gd name="connsiteY10" fmla="*/ 15152 h 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49" h="20000">
                      <a:moveTo>
                        <a:pt x="6818" y="17879"/>
                      </a:moveTo>
                      <a:lnTo>
                        <a:pt x="21819" y="20001"/>
                      </a:lnTo>
                      <a:lnTo>
                        <a:pt x="23788" y="19395"/>
                      </a:lnTo>
                      <a:lnTo>
                        <a:pt x="24697" y="16970"/>
                      </a:lnTo>
                      <a:lnTo>
                        <a:pt x="24849" y="9091"/>
                      </a:lnTo>
                      <a:lnTo>
                        <a:pt x="21364" y="5758"/>
                      </a:lnTo>
                      <a:lnTo>
                        <a:pt x="19849" y="2879"/>
                      </a:lnTo>
                      <a:lnTo>
                        <a:pt x="14546" y="0"/>
                      </a:lnTo>
                      <a:lnTo>
                        <a:pt x="606" y="10606"/>
                      </a:lnTo>
                      <a:lnTo>
                        <a:pt x="0" y="12728"/>
                      </a:lnTo>
                      <a:lnTo>
                        <a:pt x="1515" y="1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1" name="Freeform: Shape 3090">
                  <a:extLst>
                    <a:ext uri="{FF2B5EF4-FFF2-40B4-BE49-F238E27FC236}">
                      <a16:creationId xmlns:a16="http://schemas.microsoft.com/office/drawing/2014/main" id="{F3D496F9-3AEC-4789-999C-0C1625AF0317}"/>
                    </a:ext>
                  </a:extLst>
                </p:cNvPr>
                <p:cNvSpPr/>
                <p:nvPr/>
              </p:nvSpPr>
              <p:spPr>
                <a:xfrm>
                  <a:off x="7377107" y="2222968"/>
                  <a:ext cx="54850" cy="38183"/>
                </a:xfrm>
                <a:custGeom>
                  <a:avLst/>
                  <a:gdLst>
                    <a:gd name="connsiteX0" fmla="*/ 31819 w 54850"/>
                    <a:gd name="connsiteY0" fmla="*/ 36668 h 38183"/>
                    <a:gd name="connsiteX1" fmla="*/ 34244 w 54850"/>
                    <a:gd name="connsiteY1" fmla="*/ 37274 h 38183"/>
                    <a:gd name="connsiteX2" fmla="*/ 36668 w 54850"/>
                    <a:gd name="connsiteY2" fmla="*/ 37880 h 38183"/>
                    <a:gd name="connsiteX3" fmla="*/ 39547 w 54850"/>
                    <a:gd name="connsiteY3" fmla="*/ 37729 h 38183"/>
                    <a:gd name="connsiteX4" fmla="*/ 42426 w 54850"/>
                    <a:gd name="connsiteY4" fmla="*/ 36819 h 38183"/>
                    <a:gd name="connsiteX5" fmla="*/ 47578 w 54850"/>
                    <a:gd name="connsiteY5" fmla="*/ 38183 h 38183"/>
                    <a:gd name="connsiteX6" fmla="*/ 50608 w 54850"/>
                    <a:gd name="connsiteY6" fmla="*/ 36971 h 38183"/>
                    <a:gd name="connsiteX7" fmla="*/ 53790 w 54850"/>
                    <a:gd name="connsiteY7" fmla="*/ 36365 h 38183"/>
                    <a:gd name="connsiteX8" fmla="*/ 54851 w 54850"/>
                    <a:gd name="connsiteY8" fmla="*/ 33031 h 38183"/>
                    <a:gd name="connsiteX9" fmla="*/ 54851 w 54850"/>
                    <a:gd name="connsiteY9" fmla="*/ 28637 h 38183"/>
                    <a:gd name="connsiteX10" fmla="*/ 54093 w 54850"/>
                    <a:gd name="connsiteY10" fmla="*/ 26213 h 38183"/>
                    <a:gd name="connsiteX11" fmla="*/ 52427 w 54850"/>
                    <a:gd name="connsiteY11" fmla="*/ 24849 h 38183"/>
                    <a:gd name="connsiteX12" fmla="*/ 46365 w 54850"/>
                    <a:gd name="connsiteY12" fmla="*/ 21819 h 38183"/>
                    <a:gd name="connsiteX13" fmla="*/ 40456 w 54850"/>
                    <a:gd name="connsiteY13" fmla="*/ 17728 h 38183"/>
                    <a:gd name="connsiteX14" fmla="*/ 31819 w 54850"/>
                    <a:gd name="connsiteY14" fmla="*/ 13334 h 38183"/>
                    <a:gd name="connsiteX15" fmla="*/ 28789 w 54850"/>
                    <a:gd name="connsiteY15" fmla="*/ 10758 h 38183"/>
                    <a:gd name="connsiteX16" fmla="*/ 26062 w 54850"/>
                    <a:gd name="connsiteY16" fmla="*/ 7728 h 38183"/>
                    <a:gd name="connsiteX17" fmla="*/ 22880 w 54850"/>
                    <a:gd name="connsiteY17" fmla="*/ 5152 h 38183"/>
                    <a:gd name="connsiteX18" fmla="*/ 16819 w 54850"/>
                    <a:gd name="connsiteY18" fmla="*/ 1364 h 38183"/>
                    <a:gd name="connsiteX19" fmla="*/ 15607 w 54850"/>
                    <a:gd name="connsiteY19" fmla="*/ 303 h 38183"/>
                    <a:gd name="connsiteX20" fmla="*/ 14546 w 54850"/>
                    <a:gd name="connsiteY20" fmla="*/ 0 h 38183"/>
                    <a:gd name="connsiteX21" fmla="*/ 8788 w 54850"/>
                    <a:gd name="connsiteY21" fmla="*/ 1667 h 38183"/>
                    <a:gd name="connsiteX22" fmla="*/ 5607 w 54850"/>
                    <a:gd name="connsiteY22" fmla="*/ 5303 h 38183"/>
                    <a:gd name="connsiteX23" fmla="*/ 3788 w 54850"/>
                    <a:gd name="connsiteY23" fmla="*/ 5758 h 38183"/>
                    <a:gd name="connsiteX24" fmla="*/ 1212 w 54850"/>
                    <a:gd name="connsiteY24" fmla="*/ 7273 h 38183"/>
                    <a:gd name="connsiteX25" fmla="*/ 0 w 54850"/>
                    <a:gd name="connsiteY25" fmla="*/ 9849 h 38183"/>
                    <a:gd name="connsiteX26" fmla="*/ 2576 w 54850"/>
                    <a:gd name="connsiteY26" fmla="*/ 15304 h 38183"/>
                    <a:gd name="connsiteX27" fmla="*/ 3637 w 54850"/>
                    <a:gd name="connsiteY27" fmla="*/ 16667 h 38183"/>
                    <a:gd name="connsiteX28" fmla="*/ 4394 w 54850"/>
                    <a:gd name="connsiteY28" fmla="*/ 18637 h 38183"/>
                    <a:gd name="connsiteX29" fmla="*/ 5607 w 54850"/>
                    <a:gd name="connsiteY29" fmla="*/ 20455 h 38183"/>
                    <a:gd name="connsiteX30" fmla="*/ 13031 w 54850"/>
                    <a:gd name="connsiteY30" fmla="*/ 28183 h 38183"/>
                    <a:gd name="connsiteX31" fmla="*/ 14546 w 54850"/>
                    <a:gd name="connsiteY31" fmla="*/ 28637 h 38183"/>
                    <a:gd name="connsiteX32" fmla="*/ 16667 w 54850"/>
                    <a:gd name="connsiteY32" fmla="*/ 27274 h 38183"/>
                    <a:gd name="connsiteX33" fmla="*/ 18334 w 54850"/>
                    <a:gd name="connsiteY33" fmla="*/ 26819 h 38183"/>
                    <a:gd name="connsiteX34" fmla="*/ 21668 w 54850"/>
                    <a:gd name="connsiteY34" fmla="*/ 27880 h 38183"/>
                    <a:gd name="connsiteX35" fmla="*/ 24850 w 54850"/>
                    <a:gd name="connsiteY35" fmla="*/ 28334 h 38183"/>
                    <a:gd name="connsiteX36" fmla="*/ 28183 w 54850"/>
                    <a:gd name="connsiteY36" fmla="*/ 29546 h 38183"/>
                    <a:gd name="connsiteX37" fmla="*/ 30304 w 54850"/>
                    <a:gd name="connsiteY37" fmla="*/ 33183 h 38183"/>
                    <a:gd name="connsiteX38" fmla="*/ 30153 w 54850"/>
                    <a:gd name="connsiteY38" fmla="*/ 35759 h 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850" h="38183">
                      <a:moveTo>
                        <a:pt x="31819" y="36668"/>
                      </a:moveTo>
                      <a:lnTo>
                        <a:pt x="34244" y="37274"/>
                      </a:lnTo>
                      <a:lnTo>
                        <a:pt x="36668" y="37880"/>
                      </a:lnTo>
                      <a:lnTo>
                        <a:pt x="39547" y="37729"/>
                      </a:lnTo>
                      <a:lnTo>
                        <a:pt x="42426" y="36819"/>
                      </a:lnTo>
                      <a:lnTo>
                        <a:pt x="47578" y="38183"/>
                      </a:lnTo>
                      <a:lnTo>
                        <a:pt x="50608" y="36971"/>
                      </a:lnTo>
                      <a:lnTo>
                        <a:pt x="53790" y="36365"/>
                      </a:lnTo>
                      <a:lnTo>
                        <a:pt x="54851" y="33031"/>
                      </a:lnTo>
                      <a:lnTo>
                        <a:pt x="54851" y="28637"/>
                      </a:lnTo>
                      <a:lnTo>
                        <a:pt x="54093" y="26213"/>
                      </a:lnTo>
                      <a:lnTo>
                        <a:pt x="52427" y="24849"/>
                      </a:lnTo>
                      <a:lnTo>
                        <a:pt x="46365" y="21819"/>
                      </a:lnTo>
                      <a:lnTo>
                        <a:pt x="40456" y="17728"/>
                      </a:lnTo>
                      <a:lnTo>
                        <a:pt x="31819" y="13334"/>
                      </a:lnTo>
                      <a:lnTo>
                        <a:pt x="28789" y="10758"/>
                      </a:lnTo>
                      <a:lnTo>
                        <a:pt x="26062" y="7728"/>
                      </a:lnTo>
                      <a:lnTo>
                        <a:pt x="22880" y="5152"/>
                      </a:lnTo>
                      <a:lnTo>
                        <a:pt x="16819" y="1364"/>
                      </a:lnTo>
                      <a:lnTo>
                        <a:pt x="15607" y="303"/>
                      </a:lnTo>
                      <a:lnTo>
                        <a:pt x="14546" y="0"/>
                      </a:lnTo>
                      <a:lnTo>
                        <a:pt x="8788" y="1667"/>
                      </a:lnTo>
                      <a:lnTo>
                        <a:pt x="5607" y="5303"/>
                      </a:lnTo>
                      <a:lnTo>
                        <a:pt x="3788" y="5758"/>
                      </a:lnTo>
                      <a:lnTo>
                        <a:pt x="1212" y="7273"/>
                      </a:lnTo>
                      <a:lnTo>
                        <a:pt x="0" y="9849"/>
                      </a:lnTo>
                      <a:lnTo>
                        <a:pt x="2576" y="15304"/>
                      </a:lnTo>
                      <a:lnTo>
                        <a:pt x="3637" y="16667"/>
                      </a:lnTo>
                      <a:lnTo>
                        <a:pt x="4394" y="18637"/>
                      </a:lnTo>
                      <a:lnTo>
                        <a:pt x="5607" y="20455"/>
                      </a:lnTo>
                      <a:lnTo>
                        <a:pt x="13031" y="28183"/>
                      </a:lnTo>
                      <a:lnTo>
                        <a:pt x="14546" y="28637"/>
                      </a:lnTo>
                      <a:lnTo>
                        <a:pt x="16667" y="27274"/>
                      </a:lnTo>
                      <a:lnTo>
                        <a:pt x="18334" y="26819"/>
                      </a:lnTo>
                      <a:lnTo>
                        <a:pt x="21668" y="27880"/>
                      </a:lnTo>
                      <a:lnTo>
                        <a:pt x="24850" y="28334"/>
                      </a:lnTo>
                      <a:lnTo>
                        <a:pt x="28183" y="29546"/>
                      </a:lnTo>
                      <a:lnTo>
                        <a:pt x="30304" y="33183"/>
                      </a:lnTo>
                      <a:lnTo>
                        <a:pt x="30153" y="357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2" name="Freeform: Shape 3091">
                  <a:extLst>
                    <a:ext uri="{FF2B5EF4-FFF2-40B4-BE49-F238E27FC236}">
                      <a16:creationId xmlns:a16="http://schemas.microsoft.com/office/drawing/2014/main" id="{27F4B903-7ED1-4641-9D29-BDF4FFA2A6AE}"/>
                    </a:ext>
                  </a:extLst>
                </p:cNvPr>
                <p:cNvSpPr/>
                <p:nvPr/>
              </p:nvSpPr>
              <p:spPr>
                <a:xfrm>
                  <a:off x="7301802" y="1670524"/>
                  <a:ext cx="38334" cy="18637"/>
                </a:xfrm>
                <a:custGeom>
                  <a:avLst/>
                  <a:gdLst>
                    <a:gd name="connsiteX0" fmla="*/ 0 w 38334"/>
                    <a:gd name="connsiteY0" fmla="*/ 16516 h 18637"/>
                    <a:gd name="connsiteX1" fmla="*/ 2424 w 38334"/>
                    <a:gd name="connsiteY1" fmla="*/ 17576 h 18637"/>
                    <a:gd name="connsiteX2" fmla="*/ 13031 w 38334"/>
                    <a:gd name="connsiteY2" fmla="*/ 18334 h 18637"/>
                    <a:gd name="connsiteX3" fmla="*/ 34547 w 38334"/>
                    <a:gd name="connsiteY3" fmla="*/ 18637 h 18637"/>
                    <a:gd name="connsiteX4" fmla="*/ 37123 w 38334"/>
                    <a:gd name="connsiteY4" fmla="*/ 17122 h 18637"/>
                    <a:gd name="connsiteX5" fmla="*/ 36971 w 38334"/>
                    <a:gd name="connsiteY5" fmla="*/ 14394 h 18637"/>
                    <a:gd name="connsiteX6" fmla="*/ 38184 w 38334"/>
                    <a:gd name="connsiteY6" fmla="*/ 10909 h 18637"/>
                    <a:gd name="connsiteX7" fmla="*/ 38335 w 38334"/>
                    <a:gd name="connsiteY7" fmla="*/ 3182 h 18637"/>
                    <a:gd name="connsiteX8" fmla="*/ 37123 w 38334"/>
                    <a:gd name="connsiteY8" fmla="*/ 1061 h 18637"/>
                    <a:gd name="connsiteX9" fmla="*/ 33486 w 38334"/>
                    <a:gd name="connsiteY9" fmla="*/ 0 h 18637"/>
                    <a:gd name="connsiteX10" fmla="*/ 26971 w 38334"/>
                    <a:gd name="connsiteY10" fmla="*/ 152 h 18637"/>
                    <a:gd name="connsiteX11" fmla="*/ 25456 w 38334"/>
                    <a:gd name="connsiteY11" fmla="*/ 2273 h 18637"/>
                    <a:gd name="connsiteX12" fmla="*/ 8182 w 38334"/>
                    <a:gd name="connsiteY12" fmla="*/ 1667 h 18637"/>
                    <a:gd name="connsiteX13" fmla="*/ 7273 w 38334"/>
                    <a:gd name="connsiteY13" fmla="*/ 3030 h 18637"/>
                    <a:gd name="connsiteX14" fmla="*/ 7879 w 38334"/>
                    <a:gd name="connsiteY14" fmla="*/ 10303 h 18637"/>
                    <a:gd name="connsiteX15" fmla="*/ 6061 w 38334"/>
                    <a:gd name="connsiteY15" fmla="*/ 12879 h 1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334" h="18637">
                      <a:moveTo>
                        <a:pt x="0" y="16516"/>
                      </a:moveTo>
                      <a:lnTo>
                        <a:pt x="2424" y="17576"/>
                      </a:lnTo>
                      <a:lnTo>
                        <a:pt x="13031" y="18334"/>
                      </a:lnTo>
                      <a:lnTo>
                        <a:pt x="34547" y="18637"/>
                      </a:lnTo>
                      <a:lnTo>
                        <a:pt x="37123" y="17122"/>
                      </a:lnTo>
                      <a:lnTo>
                        <a:pt x="36971" y="14394"/>
                      </a:lnTo>
                      <a:lnTo>
                        <a:pt x="38184" y="10909"/>
                      </a:lnTo>
                      <a:lnTo>
                        <a:pt x="38335" y="3182"/>
                      </a:lnTo>
                      <a:lnTo>
                        <a:pt x="37123" y="1061"/>
                      </a:lnTo>
                      <a:lnTo>
                        <a:pt x="33486" y="0"/>
                      </a:lnTo>
                      <a:lnTo>
                        <a:pt x="26971" y="152"/>
                      </a:lnTo>
                      <a:lnTo>
                        <a:pt x="25456" y="2273"/>
                      </a:lnTo>
                      <a:lnTo>
                        <a:pt x="8182" y="1667"/>
                      </a:lnTo>
                      <a:lnTo>
                        <a:pt x="7273" y="3030"/>
                      </a:lnTo>
                      <a:lnTo>
                        <a:pt x="7879" y="10303"/>
                      </a:lnTo>
                      <a:lnTo>
                        <a:pt x="6061" y="1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3" name="Freeform: Shape 3092">
                  <a:extLst>
                    <a:ext uri="{FF2B5EF4-FFF2-40B4-BE49-F238E27FC236}">
                      <a16:creationId xmlns:a16="http://schemas.microsoft.com/office/drawing/2014/main" id="{191191AA-C25A-416D-BA55-77DA9CD9F3FF}"/>
                    </a:ext>
                  </a:extLst>
                </p:cNvPr>
                <p:cNvSpPr/>
                <p:nvPr/>
              </p:nvSpPr>
              <p:spPr>
                <a:xfrm>
                  <a:off x="7281498" y="1673100"/>
                  <a:ext cx="13637" cy="6212"/>
                </a:xfrm>
                <a:custGeom>
                  <a:avLst/>
                  <a:gdLst>
                    <a:gd name="connsiteX0" fmla="*/ 5910 w 13637"/>
                    <a:gd name="connsiteY0" fmla="*/ 6212 h 6212"/>
                    <a:gd name="connsiteX1" fmla="*/ 13637 w 13637"/>
                    <a:gd name="connsiteY1" fmla="*/ 3333 h 6212"/>
                    <a:gd name="connsiteX2" fmla="*/ 12425 w 13637"/>
                    <a:gd name="connsiteY2" fmla="*/ 1515 h 6212"/>
                    <a:gd name="connsiteX3" fmla="*/ 10152 w 13637"/>
                    <a:gd name="connsiteY3" fmla="*/ 606 h 6212"/>
                    <a:gd name="connsiteX4" fmla="*/ 7121 w 13637"/>
                    <a:gd name="connsiteY4" fmla="*/ 0 h 6212"/>
                    <a:gd name="connsiteX5" fmla="*/ 3031 w 13637"/>
                    <a:gd name="connsiteY5" fmla="*/ 1970 h 6212"/>
                    <a:gd name="connsiteX6" fmla="*/ 0 w 13637"/>
                    <a:gd name="connsiteY6" fmla="*/ 4394 h 6212"/>
                    <a:gd name="connsiteX7" fmla="*/ 1818 w 13637"/>
                    <a:gd name="connsiteY7" fmla="*/ 6212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37" h="6212">
                      <a:moveTo>
                        <a:pt x="5910" y="6212"/>
                      </a:moveTo>
                      <a:lnTo>
                        <a:pt x="13637" y="3333"/>
                      </a:lnTo>
                      <a:lnTo>
                        <a:pt x="12425" y="1515"/>
                      </a:lnTo>
                      <a:lnTo>
                        <a:pt x="10152" y="606"/>
                      </a:lnTo>
                      <a:lnTo>
                        <a:pt x="7121" y="0"/>
                      </a:lnTo>
                      <a:lnTo>
                        <a:pt x="3031" y="1970"/>
                      </a:lnTo>
                      <a:lnTo>
                        <a:pt x="0" y="4394"/>
                      </a:lnTo>
                      <a:lnTo>
                        <a:pt x="1818"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4" name="Freeform: Shape 3093">
                  <a:extLst>
                    <a:ext uri="{FF2B5EF4-FFF2-40B4-BE49-F238E27FC236}">
                      <a16:creationId xmlns:a16="http://schemas.microsoft.com/office/drawing/2014/main" id="{9BBC05B1-F306-4C1D-A838-3FDC675CC052}"/>
                    </a:ext>
                  </a:extLst>
                </p:cNvPr>
                <p:cNvSpPr/>
                <p:nvPr/>
              </p:nvSpPr>
              <p:spPr>
                <a:xfrm>
                  <a:off x="7690301" y="2066751"/>
                  <a:ext cx="46819" cy="25152"/>
                </a:xfrm>
                <a:custGeom>
                  <a:avLst/>
                  <a:gdLst>
                    <a:gd name="connsiteX0" fmla="*/ 5455 w 46819"/>
                    <a:gd name="connsiteY0" fmla="*/ 24243 h 25152"/>
                    <a:gd name="connsiteX1" fmla="*/ 10303 w 46819"/>
                    <a:gd name="connsiteY1" fmla="*/ 24849 h 25152"/>
                    <a:gd name="connsiteX2" fmla="*/ 12576 w 46819"/>
                    <a:gd name="connsiteY2" fmla="*/ 24698 h 25152"/>
                    <a:gd name="connsiteX3" fmla="*/ 20607 w 46819"/>
                    <a:gd name="connsiteY3" fmla="*/ 22122 h 25152"/>
                    <a:gd name="connsiteX4" fmla="*/ 26364 w 46819"/>
                    <a:gd name="connsiteY4" fmla="*/ 20910 h 25152"/>
                    <a:gd name="connsiteX5" fmla="*/ 39244 w 46819"/>
                    <a:gd name="connsiteY5" fmla="*/ 18637 h 25152"/>
                    <a:gd name="connsiteX6" fmla="*/ 46668 w 46819"/>
                    <a:gd name="connsiteY6" fmla="*/ 18031 h 25152"/>
                    <a:gd name="connsiteX7" fmla="*/ 46820 w 46819"/>
                    <a:gd name="connsiteY7" fmla="*/ 15304 h 25152"/>
                    <a:gd name="connsiteX8" fmla="*/ 45608 w 46819"/>
                    <a:gd name="connsiteY8" fmla="*/ 12273 h 25152"/>
                    <a:gd name="connsiteX9" fmla="*/ 41668 w 46819"/>
                    <a:gd name="connsiteY9" fmla="*/ 9243 h 25152"/>
                    <a:gd name="connsiteX10" fmla="*/ 39092 w 46819"/>
                    <a:gd name="connsiteY10" fmla="*/ 7576 h 25152"/>
                    <a:gd name="connsiteX11" fmla="*/ 35910 w 46819"/>
                    <a:gd name="connsiteY11" fmla="*/ 3636 h 25152"/>
                    <a:gd name="connsiteX12" fmla="*/ 33335 w 46819"/>
                    <a:gd name="connsiteY12" fmla="*/ 1970 h 25152"/>
                    <a:gd name="connsiteX13" fmla="*/ 30152 w 46819"/>
                    <a:gd name="connsiteY13" fmla="*/ 606 h 25152"/>
                    <a:gd name="connsiteX14" fmla="*/ 27880 w 46819"/>
                    <a:gd name="connsiteY14" fmla="*/ 0 h 25152"/>
                    <a:gd name="connsiteX15" fmla="*/ 11667 w 46819"/>
                    <a:gd name="connsiteY15" fmla="*/ 1970 h 25152"/>
                    <a:gd name="connsiteX16" fmla="*/ 6212 w 46819"/>
                    <a:gd name="connsiteY16" fmla="*/ 3788 h 25152"/>
                    <a:gd name="connsiteX17" fmla="*/ 1970 w 46819"/>
                    <a:gd name="connsiteY17" fmla="*/ 8334 h 25152"/>
                    <a:gd name="connsiteX18" fmla="*/ 2727 w 46819"/>
                    <a:gd name="connsiteY18" fmla="*/ 15455 h 25152"/>
                    <a:gd name="connsiteX19" fmla="*/ 1818 w 46819"/>
                    <a:gd name="connsiteY19" fmla="*/ 18334 h 25152"/>
                    <a:gd name="connsiteX20" fmla="*/ 303 w 46819"/>
                    <a:gd name="connsiteY20" fmla="*/ 20607 h 25152"/>
                    <a:gd name="connsiteX21" fmla="*/ 0 w 46819"/>
                    <a:gd name="connsiteY21" fmla="*/ 22728 h 25152"/>
                    <a:gd name="connsiteX22" fmla="*/ 3182 w 46819"/>
                    <a:gd name="connsiteY22" fmla="*/ 25152 h 2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819" h="25152">
                      <a:moveTo>
                        <a:pt x="5455" y="24243"/>
                      </a:moveTo>
                      <a:lnTo>
                        <a:pt x="10303" y="24849"/>
                      </a:lnTo>
                      <a:lnTo>
                        <a:pt x="12576" y="24698"/>
                      </a:lnTo>
                      <a:lnTo>
                        <a:pt x="20607" y="22122"/>
                      </a:lnTo>
                      <a:lnTo>
                        <a:pt x="26364" y="20910"/>
                      </a:lnTo>
                      <a:lnTo>
                        <a:pt x="39244" y="18637"/>
                      </a:lnTo>
                      <a:lnTo>
                        <a:pt x="46668" y="18031"/>
                      </a:lnTo>
                      <a:lnTo>
                        <a:pt x="46820" y="15304"/>
                      </a:lnTo>
                      <a:lnTo>
                        <a:pt x="45608" y="12273"/>
                      </a:lnTo>
                      <a:lnTo>
                        <a:pt x="41668" y="9243"/>
                      </a:lnTo>
                      <a:lnTo>
                        <a:pt x="39092" y="7576"/>
                      </a:lnTo>
                      <a:lnTo>
                        <a:pt x="35910" y="3636"/>
                      </a:lnTo>
                      <a:lnTo>
                        <a:pt x="33335" y="1970"/>
                      </a:lnTo>
                      <a:lnTo>
                        <a:pt x="30152" y="606"/>
                      </a:lnTo>
                      <a:lnTo>
                        <a:pt x="27880" y="0"/>
                      </a:lnTo>
                      <a:lnTo>
                        <a:pt x="11667" y="1970"/>
                      </a:lnTo>
                      <a:lnTo>
                        <a:pt x="6212" y="3788"/>
                      </a:lnTo>
                      <a:lnTo>
                        <a:pt x="1970" y="8334"/>
                      </a:lnTo>
                      <a:lnTo>
                        <a:pt x="2727" y="15455"/>
                      </a:lnTo>
                      <a:lnTo>
                        <a:pt x="1818" y="18334"/>
                      </a:lnTo>
                      <a:lnTo>
                        <a:pt x="303" y="20607"/>
                      </a:lnTo>
                      <a:lnTo>
                        <a:pt x="0" y="22728"/>
                      </a:lnTo>
                      <a:lnTo>
                        <a:pt x="3182" y="2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5" name="Freeform: Shape 3094">
                  <a:extLst>
                    <a:ext uri="{FF2B5EF4-FFF2-40B4-BE49-F238E27FC236}">
                      <a16:creationId xmlns:a16="http://schemas.microsoft.com/office/drawing/2014/main" id="{4C15DAA9-DB49-4D2C-94D9-1B8C33B889D6}"/>
                    </a:ext>
                  </a:extLst>
                </p:cNvPr>
                <p:cNvSpPr/>
                <p:nvPr/>
              </p:nvSpPr>
              <p:spPr>
                <a:xfrm>
                  <a:off x="7880459" y="2113116"/>
                  <a:ext cx="40910" cy="18182"/>
                </a:xfrm>
                <a:custGeom>
                  <a:avLst/>
                  <a:gdLst>
                    <a:gd name="connsiteX0" fmla="*/ 13788 w 40910"/>
                    <a:gd name="connsiteY0" fmla="*/ 3485 h 18182"/>
                    <a:gd name="connsiteX1" fmla="*/ 10607 w 40910"/>
                    <a:gd name="connsiteY1" fmla="*/ 7576 h 18182"/>
                    <a:gd name="connsiteX2" fmla="*/ 7576 w 40910"/>
                    <a:gd name="connsiteY2" fmla="*/ 10000 h 18182"/>
                    <a:gd name="connsiteX3" fmla="*/ 909 w 40910"/>
                    <a:gd name="connsiteY3" fmla="*/ 13788 h 18182"/>
                    <a:gd name="connsiteX4" fmla="*/ 0 w 40910"/>
                    <a:gd name="connsiteY4" fmla="*/ 16364 h 18182"/>
                    <a:gd name="connsiteX5" fmla="*/ 909 w 40910"/>
                    <a:gd name="connsiteY5" fmla="*/ 17273 h 18182"/>
                    <a:gd name="connsiteX6" fmla="*/ 7425 w 40910"/>
                    <a:gd name="connsiteY6" fmla="*/ 18182 h 18182"/>
                    <a:gd name="connsiteX7" fmla="*/ 20759 w 40910"/>
                    <a:gd name="connsiteY7" fmla="*/ 17576 h 18182"/>
                    <a:gd name="connsiteX8" fmla="*/ 24850 w 40910"/>
                    <a:gd name="connsiteY8" fmla="*/ 16667 h 18182"/>
                    <a:gd name="connsiteX9" fmla="*/ 31062 w 40910"/>
                    <a:gd name="connsiteY9" fmla="*/ 12425 h 18182"/>
                    <a:gd name="connsiteX10" fmla="*/ 35153 w 40910"/>
                    <a:gd name="connsiteY10" fmla="*/ 11212 h 18182"/>
                    <a:gd name="connsiteX11" fmla="*/ 40911 w 40910"/>
                    <a:gd name="connsiteY11" fmla="*/ 7728 h 18182"/>
                    <a:gd name="connsiteX12" fmla="*/ 40456 w 40910"/>
                    <a:gd name="connsiteY12" fmla="*/ 6667 h 18182"/>
                    <a:gd name="connsiteX13" fmla="*/ 38486 w 40910"/>
                    <a:gd name="connsiteY13" fmla="*/ 4091 h 18182"/>
                    <a:gd name="connsiteX14" fmla="*/ 23941 w 40910"/>
                    <a:gd name="connsiteY14" fmla="*/ 0 h 18182"/>
                    <a:gd name="connsiteX15" fmla="*/ 19395 w 40910"/>
                    <a:gd name="connsiteY15" fmla="*/ 0 h 1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10" h="18182">
                      <a:moveTo>
                        <a:pt x="13788" y="3485"/>
                      </a:moveTo>
                      <a:lnTo>
                        <a:pt x="10607" y="7576"/>
                      </a:lnTo>
                      <a:lnTo>
                        <a:pt x="7576" y="10000"/>
                      </a:lnTo>
                      <a:lnTo>
                        <a:pt x="909" y="13788"/>
                      </a:lnTo>
                      <a:lnTo>
                        <a:pt x="0" y="16364"/>
                      </a:lnTo>
                      <a:lnTo>
                        <a:pt x="909" y="17273"/>
                      </a:lnTo>
                      <a:lnTo>
                        <a:pt x="7425" y="18182"/>
                      </a:lnTo>
                      <a:lnTo>
                        <a:pt x="20759" y="17576"/>
                      </a:lnTo>
                      <a:lnTo>
                        <a:pt x="24850" y="16667"/>
                      </a:lnTo>
                      <a:lnTo>
                        <a:pt x="31062" y="12425"/>
                      </a:lnTo>
                      <a:lnTo>
                        <a:pt x="35153" y="11212"/>
                      </a:lnTo>
                      <a:lnTo>
                        <a:pt x="40911" y="7728"/>
                      </a:lnTo>
                      <a:lnTo>
                        <a:pt x="40456" y="6667"/>
                      </a:lnTo>
                      <a:lnTo>
                        <a:pt x="38486" y="4091"/>
                      </a:lnTo>
                      <a:lnTo>
                        <a:pt x="23941" y="0"/>
                      </a:lnTo>
                      <a:lnTo>
                        <a:pt x="19395"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6" name="Freeform: Shape 3095">
                  <a:extLst>
                    <a:ext uri="{FF2B5EF4-FFF2-40B4-BE49-F238E27FC236}">
                      <a16:creationId xmlns:a16="http://schemas.microsoft.com/office/drawing/2014/main" id="{AA6ACC65-031A-43EF-B394-386573BF629F}"/>
                    </a:ext>
                  </a:extLst>
                </p:cNvPr>
                <p:cNvSpPr/>
                <p:nvPr/>
              </p:nvSpPr>
              <p:spPr>
                <a:xfrm>
                  <a:off x="7858035" y="1714617"/>
                  <a:ext cx="41971" cy="10757"/>
                </a:xfrm>
                <a:custGeom>
                  <a:avLst/>
                  <a:gdLst>
                    <a:gd name="connsiteX0" fmla="*/ 2727 w 41971"/>
                    <a:gd name="connsiteY0" fmla="*/ 5303 h 10757"/>
                    <a:gd name="connsiteX1" fmla="*/ 11061 w 41971"/>
                    <a:gd name="connsiteY1" fmla="*/ 7273 h 10757"/>
                    <a:gd name="connsiteX2" fmla="*/ 16061 w 41971"/>
                    <a:gd name="connsiteY2" fmla="*/ 7425 h 10757"/>
                    <a:gd name="connsiteX3" fmla="*/ 16364 w 41971"/>
                    <a:gd name="connsiteY3" fmla="*/ 10606 h 10757"/>
                    <a:gd name="connsiteX4" fmla="*/ 20758 w 41971"/>
                    <a:gd name="connsiteY4" fmla="*/ 10758 h 10757"/>
                    <a:gd name="connsiteX5" fmla="*/ 41971 w 41971"/>
                    <a:gd name="connsiteY5" fmla="*/ 10000 h 10757"/>
                    <a:gd name="connsiteX6" fmla="*/ 40910 w 41971"/>
                    <a:gd name="connsiteY6" fmla="*/ 8637 h 10757"/>
                    <a:gd name="connsiteX7" fmla="*/ 35759 w 41971"/>
                    <a:gd name="connsiteY7" fmla="*/ 6667 h 10757"/>
                    <a:gd name="connsiteX8" fmla="*/ 11364 w 41971"/>
                    <a:gd name="connsiteY8" fmla="*/ 1212 h 10757"/>
                    <a:gd name="connsiteX9" fmla="*/ 8788 w 41971"/>
                    <a:gd name="connsiteY9" fmla="*/ 3030 h 10757"/>
                    <a:gd name="connsiteX10" fmla="*/ 5455 w 41971"/>
                    <a:gd name="connsiteY10" fmla="*/ 758 h 10757"/>
                    <a:gd name="connsiteX11" fmla="*/ 2576 w 41971"/>
                    <a:gd name="connsiteY11" fmla="*/ 0 h 10757"/>
                    <a:gd name="connsiteX12" fmla="*/ 0 w 41971"/>
                    <a:gd name="connsiteY12" fmla="*/ 1212 h 10757"/>
                    <a:gd name="connsiteX13" fmla="*/ 606 w 41971"/>
                    <a:gd name="connsiteY13" fmla="*/ 2424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71" h="10757">
                      <a:moveTo>
                        <a:pt x="2727" y="5303"/>
                      </a:moveTo>
                      <a:lnTo>
                        <a:pt x="11061" y="7273"/>
                      </a:lnTo>
                      <a:lnTo>
                        <a:pt x="16061" y="7425"/>
                      </a:lnTo>
                      <a:lnTo>
                        <a:pt x="16364" y="10606"/>
                      </a:lnTo>
                      <a:lnTo>
                        <a:pt x="20758" y="10758"/>
                      </a:lnTo>
                      <a:lnTo>
                        <a:pt x="41971" y="10000"/>
                      </a:lnTo>
                      <a:lnTo>
                        <a:pt x="40910" y="8637"/>
                      </a:lnTo>
                      <a:lnTo>
                        <a:pt x="35759" y="6667"/>
                      </a:lnTo>
                      <a:lnTo>
                        <a:pt x="11364" y="1212"/>
                      </a:lnTo>
                      <a:lnTo>
                        <a:pt x="8788" y="3030"/>
                      </a:lnTo>
                      <a:lnTo>
                        <a:pt x="5455" y="758"/>
                      </a:lnTo>
                      <a:lnTo>
                        <a:pt x="2576" y="0"/>
                      </a:lnTo>
                      <a:lnTo>
                        <a:pt x="0" y="1212"/>
                      </a:lnTo>
                      <a:lnTo>
                        <a:pt x="606" y="24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7" name="Freeform: Shape 3096">
                  <a:extLst>
                    <a:ext uri="{FF2B5EF4-FFF2-40B4-BE49-F238E27FC236}">
                      <a16:creationId xmlns:a16="http://schemas.microsoft.com/office/drawing/2014/main" id="{FA95609B-F8EF-4820-BB51-DE9A6AFEE27D}"/>
                    </a:ext>
                  </a:extLst>
                </p:cNvPr>
                <p:cNvSpPr/>
                <p:nvPr/>
              </p:nvSpPr>
              <p:spPr>
                <a:xfrm>
                  <a:off x="7858944" y="2064629"/>
                  <a:ext cx="18333" cy="6212"/>
                </a:xfrm>
                <a:custGeom>
                  <a:avLst/>
                  <a:gdLst>
                    <a:gd name="connsiteX0" fmla="*/ 1515 w 18333"/>
                    <a:gd name="connsiteY0" fmla="*/ 0 h 6212"/>
                    <a:gd name="connsiteX1" fmla="*/ 0 w 18333"/>
                    <a:gd name="connsiteY1" fmla="*/ 1667 h 6212"/>
                    <a:gd name="connsiteX2" fmla="*/ 4091 w 18333"/>
                    <a:gd name="connsiteY2" fmla="*/ 4243 h 6212"/>
                    <a:gd name="connsiteX3" fmla="*/ 15758 w 18333"/>
                    <a:gd name="connsiteY3" fmla="*/ 6212 h 6212"/>
                    <a:gd name="connsiteX4" fmla="*/ 18334 w 18333"/>
                    <a:gd name="connsiteY4" fmla="*/ 5758 h 6212"/>
                    <a:gd name="connsiteX5" fmla="*/ 4545 w 18333"/>
                    <a:gd name="connsiteY5" fmla="*/ 0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3" h="6212">
                      <a:moveTo>
                        <a:pt x="1515" y="0"/>
                      </a:moveTo>
                      <a:lnTo>
                        <a:pt x="0" y="1667"/>
                      </a:lnTo>
                      <a:lnTo>
                        <a:pt x="4091" y="4243"/>
                      </a:lnTo>
                      <a:lnTo>
                        <a:pt x="15758" y="6212"/>
                      </a:lnTo>
                      <a:lnTo>
                        <a:pt x="18334" y="5758"/>
                      </a:lnTo>
                      <a:lnTo>
                        <a:pt x="4545"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8" name="Freeform: Shape 3097">
                  <a:extLst>
                    <a:ext uri="{FF2B5EF4-FFF2-40B4-BE49-F238E27FC236}">
                      <a16:creationId xmlns:a16="http://schemas.microsoft.com/office/drawing/2014/main" id="{090AF4AA-AE5E-4658-9EB8-E58D8AF0A7C8}"/>
                    </a:ext>
                  </a:extLst>
                </p:cNvPr>
                <p:cNvSpPr/>
                <p:nvPr/>
              </p:nvSpPr>
              <p:spPr>
                <a:xfrm>
                  <a:off x="7838640" y="2063720"/>
                  <a:ext cx="19394" cy="7424"/>
                </a:xfrm>
                <a:custGeom>
                  <a:avLst/>
                  <a:gdLst>
                    <a:gd name="connsiteX0" fmla="*/ 13182 w 19394"/>
                    <a:gd name="connsiteY0" fmla="*/ 6061 h 7424"/>
                    <a:gd name="connsiteX1" fmla="*/ 15303 w 19394"/>
                    <a:gd name="connsiteY1" fmla="*/ 4849 h 7424"/>
                    <a:gd name="connsiteX2" fmla="*/ 19395 w 19394"/>
                    <a:gd name="connsiteY2" fmla="*/ 1212 h 7424"/>
                    <a:gd name="connsiteX3" fmla="*/ 19091 w 19394"/>
                    <a:gd name="connsiteY3" fmla="*/ 758 h 7424"/>
                    <a:gd name="connsiteX4" fmla="*/ 16061 w 19394"/>
                    <a:gd name="connsiteY4" fmla="*/ 0 h 7424"/>
                    <a:gd name="connsiteX5" fmla="*/ 6212 w 19394"/>
                    <a:gd name="connsiteY5" fmla="*/ 1667 h 7424"/>
                    <a:gd name="connsiteX6" fmla="*/ 909 w 19394"/>
                    <a:gd name="connsiteY6" fmla="*/ 5000 h 7424"/>
                    <a:gd name="connsiteX7" fmla="*/ 0 w 19394"/>
                    <a:gd name="connsiteY7" fmla="*/ 7425 h 7424"/>
                    <a:gd name="connsiteX8" fmla="*/ 4394 w 19394"/>
                    <a:gd name="connsiteY8" fmla="*/ 6212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94" h="7424">
                      <a:moveTo>
                        <a:pt x="13182" y="6061"/>
                      </a:moveTo>
                      <a:lnTo>
                        <a:pt x="15303" y="4849"/>
                      </a:lnTo>
                      <a:lnTo>
                        <a:pt x="19395" y="1212"/>
                      </a:lnTo>
                      <a:lnTo>
                        <a:pt x="19091" y="758"/>
                      </a:lnTo>
                      <a:lnTo>
                        <a:pt x="16061" y="0"/>
                      </a:lnTo>
                      <a:lnTo>
                        <a:pt x="6212" y="1667"/>
                      </a:lnTo>
                      <a:lnTo>
                        <a:pt x="909" y="5000"/>
                      </a:lnTo>
                      <a:lnTo>
                        <a:pt x="0" y="7425"/>
                      </a:lnTo>
                      <a:lnTo>
                        <a:pt x="4394"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9" name="Freeform: Shape 3098">
                  <a:extLst>
                    <a:ext uri="{FF2B5EF4-FFF2-40B4-BE49-F238E27FC236}">
                      <a16:creationId xmlns:a16="http://schemas.microsoft.com/office/drawing/2014/main" id="{6DD14C58-E260-49DE-81C1-94BF96A57149}"/>
                    </a:ext>
                  </a:extLst>
                </p:cNvPr>
                <p:cNvSpPr/>
                <p:nvPr/>
              </p:nvSpPr>
              <p:spPr>
                <a:xfrm>
                  <a:off x="7804699" y="2087054"/>
                  <a:ext cx="23485" cy="13939"/>
                </a:xfrm>
                <a:custGeom>
                  <a:avLst/>
                  <a:gdLst>
                    <a:gd name="connsiteX0" fmla="*/ 9091 w 23485"/>
                    <a:gd name="connsiteY0" fmla="*/ 11667 h 13939"/>
                    <a:gd name="connsiteX1" fmla="*/ 13334 w 23485"/>
                    <a:gd name="connsiteY1" fmla="*/ 13031 h 13939"/>
                    <a:gd name="connsiteX2" fmla="*/ 14698 w 23485"/>
                    <a:gd name="connsiteY2" fmla="*/ 13940 h 13939"/>
                    <a:gd name="connsiteX3" fmla="*/ 15304 w 23485"/>
                    <a:gd name="connsiteY3" fmla="*/ 13485 h 13939"/>
                    <a:gd name="connsiteX4" fmla="*/ 16213 w 23485"/>
                    <a:gd name="connsiteY4" fmla="*/ 11667 h 13939"/>
                    <a:gd name="connsiteX5" fmla="*/ 15304 w 23485"/>
                    <a:gd name="connsiteY5" fmla="*/ 10606 h 13939"/>
                    <a:gd name="connsiteX6" fmla="*/ 14849 w 23485"/>
                    <a:gd name="connsiteY6" fmla="*/ 8485 h 13939"/>
                    <a:gd name="connsiteX7" fmla="*/ 17576 w 23485"/>
                    <a:gd name="connsiteY7" fmla="*/ 5152 h 13939"/>
                    <a:gd name="connsiteX8" fmla="*/ 23486 w 23485"/>
                    <a:gd name="connsiteY8" fmla="*/ 3636 h 13939"/>
                    <a:gd name="connsiteX9" fmla="*/ 16971 w 23485"/>
                    <a:gd name="connsiteY9" fmla="*/ 1212 h 13939"/>
                    <a:gd name="connsiteX10" fmla="*/ 13637 w 23485"/>
                    <a:gd name="connsiteY10" fmla="*/ 455 h 13939"/>
                    <a:gd name="connsiteX11" fmla="*/ 8334 w 23485"/>
                    <a:gd name="connsiteY11" fmla="*/ 0 h 13939"/>
                    <a:gd name="connsiteX12" fmla="*/ 2576 w 23485"/>
                    <a:gd name="connsiteY12" fmla="*/ 1212 h 13939"/>
                    <a:gd name="connsiteX13" fmla="*/ 1061 w 23485"/>
                    <a:gd name="connsiteY13" fmla="*/ 3030 h 13939"/>
                    <a:gd name="connsiteX14" fmla="*/ 0 w 23485"/>
                    <a:gd name="connsiteY14" fmla="*/ 5758 h 13939"/>
                    <a:gd name="connsiteX15" fmla="*/ 2122 w 23485"/>
                    <a:gd name="connsiteY15" fmla="*/ 8182 h 1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5" h="13939">
                      <a:moveTo>
                        <a:pt x="9091" y="11667"/>
                      </a:moveTo>
                      <a:lnTo>
                        <a:pt x="13334" y="13031"/>
                      </a:lnTo>
                      <a:lnTo>
                        <a:pt x="14698" y="13940"/>
                      </a:lnTo>
                      <a:lnTo>
                        <a:pt x="15304" y="13485"/>
                      </a:lnTo>
                      <a:lnTo>
                        <a:pt x="16213" y="11667"/>
                      </a:lnTo>
                      <a:lnTo>
                        <a:pt x="15304" y="10606"/>
                      </a:lnTo>
                      <a:lnTo>
                        <a:pt x="14849" y="8485"/>
                      </a:lnTo>
                      <a:lnTo>
                        <a:pt x="17576" y="5152"/>
                      </a:lnTo>
                      <a:lnTo>
                        <a:pt x="23486" y="3636"/>
                      </a:lnTo>
                      <a:lnTo>
                        <a:pt x="16971" y="1212"/>
                      </a:lnTo>
                      <a:lnTo>
                        <a:pt x="13637" y="455"/>
                      </a:lnTo>
                      <a:lnTo>
                        <a:pt x="8334" y="0"/>
                      </a:lnTo>
                      <a:lnTo>
                        <a:pt x="2576" y="1212"/>
                      </a:lnTo>
                      <a:lnTo>
                        <a:pt x="1061" y="3030"/>
                      </a:lnTo>
                      <a:lnTo>
                        <a:pt x="0" y="5758"/>
                      </a:lnTo>
                      <a:lnTo>
                        <a:pt x="2122" y="81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0" name="Freeform: Shape 3099">
                  <a:extLst>
                    <a:ext uri="{FF2B5EF4-FFF2-40B4-BE49-F238E27FC236}">
                      <a16:creationId xmlns:a16="http://schemas.microsoft.com/office/drawing/2014/main" id="{138B4440-A3C9-4E21-97FA-9825BF7EB4FA}"/>
                    </a:ext>
                  </a:extLst>
                </p:cNvPr>
                <p:cNvSpPr/>
                <p:nvPr/>
              </p:nvSpPr>
              <p:spPr>
                <a:xfrm>
                  <a:off x="9599160" y="2045538"/>
                  <a:ext cx="104094" cy="36819"/>
                </a:xfrm>
                <a:custGeom>
                  <a:avLst/>
                  <a:gdLst>
                    <a:gd name="connsiteX0" fmla="*/ 0 w 104094"/>
                    <a:gd name="connsiteY0" fmla="*/ 25910 h 36819"/>
                    <a:gd name="connsiteX1" fmla="*/ 2727 w 104094"/>
                    <a:gd name="connsiteY1" fmla="*/ 29698 h 36819"/>
                    <a:gd name="connsiteX2" fmla="*/ 6515 w 104094"/>
                    <a:gd name="connsiteY2" fmla="*/ 29698 h 36819"/>
                    <a:gd name="connsiteX3" fmla="*/ 9243 w 104094"/>
                    <a:gd name="connsiteY3" fmla="*/ 29395 h 36819"/>
                    <a:gd name="connsiteX4" fmla="*/ 19243 w 104094"/>
                    <a:gd name="connsiteY4" fmla="*/ 25455 h 36819"/>
                    <a:gd name="connsiteX5" fmla="*/ 26668 w 104094"/>
                    <a:gd name="connsiteY5" fmla="*/ 24546 h 36819"/>
                    <a:gd name="connsiteX6" fmla="*/ 29092 w 104094"/>
                    <a:gd name="connsiteY6" fmla="*/ 24849 h 36819"/>
                    <a:gd name="connsiteX7" fmla="*/ 40911 w 104094"/>
                    <a:gd name="connsiteY7" fmla="*/ 27880 h 36819"/>
                    <a:gd name="connsiteX8" fmla="*/ 52275 w 104094"/>
                    <a:gd name="connsiteY8" fmla="*/ 31971 h 36819"/>
                    <a:gd name="connsiteX9" fmla="*/ 66669 w 104094"/>
                    <a:gd name="connsiteY9" fmla="*/ 33638 h 36819"/>
                    <a:gd name="connsiteX10" fmla="*/ 72578 w 104094"/>
                    <a:gd name="connsiteY10" fmla="*/ 35153 h 36819"/>
                    <a:gd name="connsiteX11" fmla="*/ 79245 w 104094"/>
                    <a:gd name="connsiteY11" fmla="*/ 35153 h 36819"/>
                    <a:gd name="connsiteX12" fmla="*/ 86215 w 104094"/>
                    <a:gd name="connsiteY12" fmla="*/ 35456 h 36819"/>
                    <a:gd name="connsiteX13" fmla="*/ 95913 w 104094"/>
                    <a:gd name="connsiteY13" fmla="*/ 36820 h 36819"/>
                    <a:gd name="connsiteX14" fmla="*/ 103034 w 104094"/>
                    <a:gd name="connsiteY14" fmla="*/ 36213 h 36819"/>
                    <a:gd name="connsiteX15" fmla="*/ 104095 w 104094"/>
                    <a:gd name="connsiteY15" fmla="*/ 35456 h 36819"/>
                    <a:gd name="connsiteX16" fmla="*/ 103337 w 104094"/>
                    <a:gd name="connsiteY16" fmla="*/ 24243 h 36819"/>
                    <a:gd name="connsiteX17" fmla="*/ 101822 w 104094"/>
                    <a:gd name="connsiteY17" fmla="*/ 20910 h 36819"/>
                    <a:gd name="connsiteX18" fmla="*/ 100003 w 104094"/>
                    <a:gd name="connsiteY18" fmla="*/ 18334 h 36819"/>
                    <a:gd name="connsiteX19" fmla="*/ 80761 w 104094"/>
                    <a:gd name="connsiteY19" fmla="*/ 5909 h 36819"/>
                    <a:gd name="connsiteX20" fmla="*/ 75154 w 104094"/>
                    <a:gd name="connsiteY20" fmla="*/ 3333 h 36819"/>
                    <a:gd name="connsiteX21" fmla="*/ 68336 w 104094"/>
                    <a:gd name="connsiteY21" fmla="*/ 909 h 36819"/>
                    <a:gd name="connsiteX22" fmla="*/ 61366 w 104094"/>
                    <a:gd name="connsiteY22" fmla="*/ 0 h 36819"/>
                    <a:gd name="connsiteX23" fmla="*/ 54547 w 104094"/>
                    <a:gd name="connsiteY23" fmla="*/ 455 h 36819"/>
                    <a:gd name="connsiteX24" fmla="*/ 44395 w 104094"/>
                    <a:gd name="connsiteY24" fmla="*/ 2273 h 36819"/>
                    <a:gd name="connsiteX25" fmla="*/ 41062 w 104094"/>
                    <a:gd name="connsiteY25" fmla="*/ 1970 h 36819"/>
                    <a:gd name="connsiteX26" fmla="*/ 38183 w 104094"/>
                    <a:gd name="connsiteY26" fmla="*/ 2576 h 36819"/>
                    <a:gd name="connsiteX27" fmla="*/ 35455 w 104094"/>
                    <a:gd name="connsiteY27" fmla="*/ 4394 h 36819"/>
                    <a:gd name="connsiteX28" fmla="*/ 32728 w 104094"/>
                    <a:gd name="connsiteY28" fmla="*/ 7273 h 36819"/>
                    <a:gd name="connsiteX29" fmla="*/ 27577 w 104094"/>
                    <a:gd name="connsiteY29" fmla="*/ 15152 h 36819"/>
                    <a:gd name="connsiteX30" fmla="*/ 24850 w 104094"/>
                    <a:gd name="connsiteY30" fmla="*/ 18637 h 36819"/>
                    <a:gd name="connsiteX31" fmla="*/ 18940 w 104094"/>
                    <a:gd name="connsiteY31" fmla="*/ 22880 h 36819"/>
                    <a:gd name="connsiteX32" fmla="*/ 12727 w 104094"/>
                    <a:gd name="connsiteY32" fmla="*/ 24243 h 36819"/>
                    <a:gd name="connsiteX33" fmla="*/ 6364 w 104094"/>
                    <a:gd name="connsiteY33" fmla="*/ 24698 h 3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4094" h="36819">
                      <a:moveTo>
                        <a:pt x="0" y="25910"/>
                      </a:moveTo>
                      <a:lnTo>
                        <a:pt x="2727" y="29698"/>
                      </a:lnTo>
                      <a:lnTo>
                        <a:pt x="6515" y="29698"/>
                      </a:lnTo>
                      <a:lnTo>
                        <a:pt x="9243" y="29395"/>
                      </a:lnTo>
                      <a:lnTo>
                        <a:pt x="19243" y="25455"/>
                      </a:lnTo>
                      <a:lnTo>
                        <a:pt x="26668" y="24546"/>
                      </a:lnTo>
                      <a:lnTo>
                        <a:pt x="29092" y="24849"/>
                      </a:lnTo>
                      <a:lnTo>
                        <a:pt x="40911" y="27880"/>
                      </a:lnTo>
                      <a:lnTo>
                        <a:pt x="52275" y="31971"/>
                      </a:lnTo>
                      <a:lnTo>
                        <a:pt x="66669" y="33638"/>
                      </a:lnTo>
                      <a:lnTo>
                        <a:pt x="72578" y="35153"/>
                      </a:lnTo>
                      <a:lnTo>
                        <a:pt x="79245" y="35153"/>
                      </a:lnTo>
                      <a:lnTo>
                        <a:pt x="86215" y="35456"/>
                      </a:lnTo>
                      <a:lnTo>
                        <a:pt x="95913" y="36820"/>
                      </a:lnTo>
                      <a:lnTo>
                        <a:pt x="103034" y="36213"/>
                      </a:lnTo>
                      <a:lnTo>
                        <a:pt x="104095" y="35456"/>
                      </a:lnTo>
                      <a:lnTo>
                        <a:pt x="103337" y="24243"/>
                      </a:lnTo>
                      <a:lnTo>
                        <a:pt x="101822" y="20910"/>
                      </a:lnTo>
                      <a:lnTo>
                        <a:pt x="100003" y="18334"/>
                      </a:lnTo>
                      <a:lnTo>
                        <a:pt x="80761" y="5909"/>
                      </a:lnTo>
                      <a:lnTo>
                        <a:pt x="75154" y="3333"/>
                      </a:lnTo>
                      <a:lnTo>
                        <a:pt x="68336" y="909"/>
                      </a:lnTo>
                      <a:lnTo>
                        <a:pt x="61366" y="0"/>
                      </a:lnTo>
                      <a:lnTo>
                        <a:pt x="54547" y="455"/>
                      </a:lnTo>
                      <a:lnTo>
                        <a:pt x="44395" y="2273"/>
                      </a:lnTo>
                      <a:lnTo>
                        <a:pt x="41062" y="1970"/>
                      </a:lnTo>
                      <a:lnTo>
                        <a:pt x="38183" y="2576"/>
                      </a:lnTo>
                      <a:lnTo>
                        <a:pt x="35455" y="4394"/>
                      </a:lnTo>
                      <a:lnTo>
                        <a:pt x="32728" y="7273"/>
                      </a:lnTo>
                      <a:lnTo>
                        <a:pt x="27577" y="15152"/>
                      </a:lnTo>
                      <a:lnTo>
                        <a:pt x="24850" y="18637"/>
                      </a:lnTo>
                      <a:lnTo>
                        <a:pt x="18940" y="22880"/>
                      </a:lnTo>
                      <a:lnTo>
                        <a:pt x="12727" y="24243"/>
                      </a:lnTo>
                      <a:lnTo>
                        <a:pt x="6364" y="2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1" name="Freeform: Shape 3100">
                  <a:extLst>
                    <a:ext uri="{FF2B5EF4-FFF2-40B4-BE49-F238E27FC236}">
                      <a16:creationId xmlns:a16="http://schemas.microsoft.com/office/drawing/2014/main" id="{B42A12BB-76BC-41BC-8994-34511CB3288E}"/>
                    </a:ext>
                  </a:extLst>
                </p:cNvPr>
                <p:cNvSpPr/>
                <p:nvPr/>
              </p:nvSpPr>
              <p:spPr>
                <a:xfrm>
                  <a:off x="8439723" y="1890987"/>
                  <a:ext cx="7576" cy="6969"/>
                </a:xfrm>
                <a:custGeom>
                  <a:avLst/>
                  <a:gdLst>
                    <a:gd name="connsiteX0" fmla="*/ 0 w 7576"/>
                    <a:gd name="connsiteY0" fmla="*/ 909 h 6969"/>
                    <a:gd name="connsiteX1" fmla="*/ 758 w 7576"/>
                    <a:gd name="connsiteY1" fmla="*/ 4394 h 6969"/>
                    <a:gd name="connsiteX2" fmla="*/ 3182 w 7576"/>
                    <a:gd name="connsiteY2" fmla="*/ 6667 h 6969"/>
                    <a:gd name="connsiteX3" fmla="*/ 6061 w 7576"/>
                    <a:gd name="connsiteY3" fmla="*/ 6970 h 6969"/>
                    <a:gd name="connsiteX4" fmla="*/ 7576 w 7576"/>
                    <a:gd name="connsiteY4" fmla="*/ 6061 h 6969"/>
                    <a:gd name="connsiteX5" fmla="*/ 1970 w 7576"/>
                    <a:gd name="connsiteY5" fmla="*/ 0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6" h="6969">
                      <a:moveTo>
                        <a:pt x="0" y="909"/>
                      </a:moveTo>
                      <a:lnTo>
                        <a:pt x="758" y="4394"/>
                      </a:lnTo>
                      <a:lnTo>
                        <a:pt x="3182" y="6667"/>
                      </a:lnTo>
                      <a:lnTo>
                        <a:pt x="6061" y="6970"/>
                      </a:lnTo>
                      <a:lnTo>
                        <a:pt x="7576" y="6061"/>
                      </a:lnTo>
                      <a:lnTo>
                        <a:pt x="1970"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2" name="Freeform: Shape 3101">
                  <a:extLst>
                    <a:ext uri="{FF2B5EF4-FFF2-40B4-BE49-F238E27FC236}">
                      <a16:creationId xmlns:a16="http://schemas.microsoft.com/office/drawing/2014/main" id="{FEB4EAAA-B181-4C71-8966-4A72DB448F64}"/>
                    </a:ext>
                  </a:extLst>
                </p:cNvPr>
                <p:cNvSpPr/>
                <p:nvPr/>
              </p:nvSpPr>
              <p:spPr>
                <a:xfrm>
                  <a:off x="9775984" y="1954474"/>
                  <a:ext cx="127883" cy="44698"/>
                </a:xfrm>
                <a:custGeom>
                  <a:avLst/>
                  <a:gdLst>
                    <a:gd name="connsiteX0" fmla="*/ 21213 w 127883"/>
                    <a:gd name="connsiteY0" fmla="*/ 28789 h 44698"/>
                    <a:gd name="connsiteX1" fmla="*/ 27122 w 127883"/>
                    <a:gd name="connsiteY1" fmla="*/ 32274 h 44698"/>
                    <a:gd name="connsiteX2" fmla="*/ 30304 w 127883"/>
                    <a:gd name="connsiteY2" fmla="*/ 33032 h 44698"/>
                    <a:gd name="connsiteX3" fmla="*/ 40456 w 127883"/>
                    <a:gd name="connsiteY3" fmla="*/ 34395 h 44698"/>
                    <a:gd name="connsiteX4" fmla="*/ 43486 w 127883"/>
                    <a:gd name="connsiteY4" fmla="*/ 35910 h 44698"/>
                    <a:gd name="connsiteX5" fmla="*/ 49850 w 127883"/>
                    <a:gd name="connsiteY5" fmla="*/ 40001 h 44698"/>
                    <a:gd name="connsiteX6" fmla="*/ 53184 w 127883"/>
                    <a:gd name="connsiteY6" fmla="*/ 41820 h 44698"/>
                    <a:gd name="connsiteX7" fmla="*/ 58790 w 127883"/>
                    <a:gd name="connsiteY7" fmla="*/ 43183 h 44698"/>
                    <a:gd name="connsiteX8" fmla="*/ 79397 w 127883"/>
                    <a:gd name="connsiteY8" fmla="*/ 44699 h 44698"/>
                    <a:gd name="connsiteX9" fmla="*/ 94246 w 127883"/>
                    <a:gd name="connsiteY9" fmla="*/ 44699 h 44698"/>
                    <a:gd name="connsiteX10" fmla="*/ 100913 w 127883"/>
                    <a:gd name="connsiteY10" fmla="*/ 43486 h 44698"/>
                    <a:gd name="connsiteX11" fmla="*/ 114398 w 127883"/>
                    <a:gd name="connsiteY11" fmla="*/ 39547 h 44698"/>
                    <a:gd name="connsiteX12" fmla="*/ 121217 w 127883"/>
                    <a:gd name="connsiteY12" fmla="*/ 36668 h 44698"/>
                    <a:gd name="connsiteX13" fmla="*/ 123035 w 127883"/>
                    <a:gd name="connsiteY13" fmla="*/ 35304 h 44698"/>
                    <a:gd name="connsiteX14" fmla="*/ 127884 w 127883"/>
                    <a:gd name="connsiteY14" fmla="*/ 23637 h 44698"/>
                    <a:gd name="connsiteX15" fmla="*/ 126065 w 127883"/>
                    <a:gd name="connsiteY15" fmla="*/ 23334 h 44698"/>
                    <a:gd name="connsiteX16" fmla="*/ 124247 w 127883"/>
                    <a:gd name="connsiteY16" fmla="*/ 23637 h 44698"/>
                    <a:gd name="connsiteX17" fmla="*/ 122126 w 127883"/>
                    <a:gd name="connsiteY17" fmla="*/ 25607 h 44698"/>
                    <a:gd name="connsiteX18" fmla="*/ 119853 w 127883"/>
                    <a:gd name="connsiteY18" fmla="*/ 26668 h 44698"/>
                    <a:gd name="connsiteX19" fmla="*/ 116671 w 127883"/>
                    <a:gd name="connsiteY19" fmla="*/ 24849 h 44698"/>
                    <a:gd name="connsiteX20" fmla="*/ 113035 w 127883"/>
                    <a:gd name="connsiteY20" fmla="*/ 23183 h 44698"/>
                    <a:gd name="connsiteX21" fmla="*/ 108186 w 127883"/>
                    <a:gd name="connsiteY21" fmla="*/ 20152 h 44698"/>
                    <a:gd name="connsiteX22" fmla="*/ 95610 w 127883"/>
                    <a:gd name="connsiteY22" fmla="*/ 18789 h 44698"/>
                    <a:gd name="connsiteX23" fmla="*/ 80306 w 127883"/>
                    <a:gd name="connsiteY23" fmla="*/ 17728 h 44698"/>
                    <a:gd name="connsiteX24" fmla="*/ 75003 w 127883"/>
                    <a:gd name="connsiteY24" fmla="*/ 19698 h 44698"/>
                    <a:gd name="connsiteX25" fmla="*/ 66670 w 127883"/>
                    <a:gd name="connsiteY25" fmla="*/ 19243 h 44698"/>
                    <a:gd name="connsiteX26" fmla="*/ 63639 w 127883"/>
                    <a:gd name="connsiteY26" fmla="*/ 17122 h 44698"/>
                    <a:gd name="connsiteX27" fmla="*/ 63942 w 127883"/>
                    <a:gd name="connsiteY27" fmla="*/ 15152 h 44698"/>
                    <a:gd name="connsiteX28" fmla="*/ 64851 w 127883"/>
                    <a:gd name="connsiteY28" fmla="*/ 13637 h 44698"/>
                    <a:gd name="connsiteX29" fmla="*/ 64548 w 127883"/>
                    <a:gd name="connsiteY29" fmla="*/ 10758 h 44698"/>
                    <a:gd name="connsiteX30" fmla="*/ 62426 w 127883"/>
                    <a:gd name="connsiteY30" fmla="*/ 9394 h 44698"/>
                    <a:gd name="connsiteX31" fmla="*/ 36819 w 127883"/>
                    <a:gd name="connsiteY31" fmla="*/ 7879 h 44698"/>
                    <a:gd name="connsiteX32" fmla="*/ 35305 w 127883"/>
                    <a:gd name="connsiteY32" fmla="*/ 8031 h 44698"/>
                    <a:gd name="connsiteX33" fmla="*/ 24850 w 127883"/>
                    <a:gd name="connsiteY33" fmla="*/ 12122 h 44698"/>
                    <a:gd name="connsiteX34" fmla="*/ 17577 w 127883"/>
                    <a:gd name="connsiteY34" fmla="*/ 11819 h 44698"/>
                    <a:gd name="connsiteX35" fmla="*/ 16365 w 127883"/>
                    <a:gd name="connsiteY35" fmla="*/ 8485 h 44698"/>
                    <a:gd name="connsiteX36" fmla="*/ 16365 w 127883"/>
                    <a:gd name="connsiteY36" fmla="*/ 3940 h 44698"/>
                    <a:gd name="connsiteX37" fmla="*/ 10607 w 127883"/>
                    <a:gd name="connsiteY37" fmla="*/ 0 h 44698"/>
                    <a:gd name="connsiteX38" fmla="*/ 7879 w 127883"/>
                    <a:gd name="connsiteY38" fmla="*/ 1364 h 44698"/>
                    <a:gd name="connsiteX39" fmla="*/ 5303 w 127883"/>
                    <a:gd name="connsiteY39" fmla="*/ 5606 h 44698"/>
                    <a:gd name="connsiteX40" fmla="*/ 2879 w 127883"/>
                    <a:gd name="connsiteY40" fmla="*/ 10455 h 44698"/>
                    <a:gd name="connsiteX41" fmla="*/ 909 w 127883"/>
                    <a:gd name="connsiteY41" fmla="*/ 15910 h 44698"/>
                    <a:gd name="connsiteX42" fmla="*/ 0 w 127883"/>
                    <a:gd name="connsiteY42" fmla="*/ 21364 h 44698"/>
                    <a:gd name="connsiteX43" fmla="*/ 15152 w 127883"/>
                    <a:gd name="connsiteY43" fmla="*/ 25910 h 4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27883" h="44698">
                      <a:moveTo>
                        <a:pt x="21213" y="28789"/>
                      </a:moveTo>
                      <a:lnTo>
                        <a:pt x="27122" y="32274"/>
                      </a:lnTo>
                      <a:lnTo>
                        <a:pt x="30304" y="33032"/>
                      </a:lnTo>
                      <a:lnTo>
                        <a:pt x="40456" y="34395"/>
                      </a:lnTo>
                      <a:lnTo>
                        <a:pt x="43486" y="35910"/>
                      </a:lnTo>
                      <a:lnTo>
                        <a:pt x="49850" y="40001"/>
                      </a:lnTo>
                      <a:lnTo>
                        <a:pt x="53184" y="41820"/>
                      </a:lnTo>
                      <a:lnTo>
                        <a:pt x="58790" y="43183"/>
                      </a:lnTo>
                      <a:lnTo>
                        <a:pt x="79397" y="44699"/>
                      </a:lnTo>
                      <a:lnTo>
                        <a:pt x="94246" y="44699"/>
                      </a:lnTo>
                      <a:lnTo>
                        <a:pt x="100913" y="43486"/>
                      </a:lnTo>
                      <a:lnTo>
                        <a:pt x="114398" y="39547"/>
                      </a:lnTo>
                      <a:lnTo>
                        <a:pt x="121217" y="36668"/>
                      </a:lnTo>
                      <a:lnTo>
                        <a:pt x="123035" y="35304"/>
                      </a:lnTo>
                      <a:lnTo>
                        <a:pt x="127884" y="23637"/>
                      </a:lnTo>
                      <a:lnTo>
                        <a:pt x="126065" y="23334"/>
                      </a:lnTo>
                      <a:lnTo>
                        <a:pt x="124247" y="23637"/>
                      </a:lnTo>
                      <a:lnTo>
                        <a:pt x="122126" y="25607"/>
                      </a:lnTo>
                      <a:lnTo>
                        <a:pt x="119853" y="26668"/>
                      </a:lnTo>
                      <a:lnTo>
                        <a:pt x="116671" y="24849"/>
                      </a:lnTo>
                      <a:lnTo>
                        <a:pt x="113035" y="23183"/>
                      </a:lnTo>
                      <a:lnTo>
                        <a:pt x="108186" y="20152"/>
                      </a:lnTo>
                      <a:lnTo>
                        <a:pt x="95610" y="18789"/>
                      </a:lnTo>
                      <a:lnTo>
                        <a:pt x="80306" y="17728"/>
                      </a:lnTo>
                      <a:lnTo>
                        <a:pt x="75003" y="19698"/>
                      </a:lnTo>
                      <a:lnTo>
                        <a:pt x="66670" y="19243"/>
                      </a:lnTo>
                      <a:lnTo>
                        <a:pt x="63639" y="17122"/>
                      </a:lnTo>
                      <a:lnTo>
                        <a:pt x="63942" y="15152"/>
                      </a:lnTo>
                      <a:lnTo>
                        <a:pt x="64851" y="13637"/>
                      </a:lnTo>
                      <a:lnTo>
                        <a:pt x="64548" y="10758"/>
                      </a:lnTo>
                      <a:lnTo>
                        <a:pt x="62426" y="9394"/>
                      </a:lnTo>
                      <a:lnTo>
                        <a:pt x="36819" y="7879"/>
                      </a:lnTo>
                      <a:lnTo>
                        <a:pt x="35305" y="8031"/>
                      </a:lnTo>
                      <a:lnTo>
                        <a:pt x="24850" y="12122"/>
                      </a:lnTo>
                      <a:lnTo>
                        <a:pt x="17577" y="11819"/>
                      </a:lnTo>
                      <a:lnTo>
                        <a:pt x="16365" y="8485"/>
                      </a:lnTo>
                      <a:lnTo>
                        <a:pt x="16365" y="3940"/>
                      </a:lnTo>
                      <a:lnTo>
                        <a:pt x="10607" y="0"/>
                      </a:lnTo>
                      <a:lnTo>
                        <a:pt x="7879" y="1364"/>
                      </a:lnTo>
                      <a:lnTo>
                        <a:pt x="5303" y="5606"/>
                      </a:lnTo>
                      <a:lnTo>
                        <a:pt x="2879" y="10455"/>
                      </a:lnTo>
                      <a:lnTo>
                        <a:pt x="909" y="15910"/>
                      </a:lnTo>
                      <a:lnTo>
                        <a:pt x="0" y="21364"/>
                      </a:lnTo>
                      <a:lnTo>
                        <a:pt x="15152" y="25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3" name="Freeform: Shape 3102">
                  <a:extLst>
                    <a:ext uri="{FF2B5EF4-FFF2-40B4-BE49-F238E27FC236}">
                      <a16:creationId xmlns:a16="http://schemas.microsoft.com/office/drawing/2014/main" id="{1947AC15-15F3-4288-8346-984D41E48AF1}"/>
                    </a:ext>
                  </a:extLst>
                </p:cNvPr>
                <p:cNvSpPr/>
                <p:nvPr/>
              </p:nvSpPr>
              <p:spPr>
                <a:xfrm>
                  <a:off x="9837502" y="1886593"/>
                  <a:ext cx="27576" cy="7727"/>
                </a:xfrm>
                <a:custGeom>
                  <a:avLst/>
                  <a:gdLst>
                    <a:gd name="connsiteX0" fmla="*/ 21971 w 27576"/>
                    <a:gd name="connsiteY0" fmla="*/ 6061 h 7727"/>
                    <a:gd name="connsiteX1" fmla="*/ 23789 w 27576"/>
                    <a:gd name="connsiteY1" fmla="*/ 1970 h 7727"/>
                    <a:gd name="connsiteX2" fmla="*/ 27577 w 27576"/>
                    <a:gd name="connsiteY2" fmla="*/ 0 h 7727"/>
                    <a:gd name="connsiteX3" fmla="*/ 8788 w 27576"/>
                    <a:gd name="connsiteY3" fmla="*/ 2121 h 7727"/>
                    <a:gd name="connsiteX4" fmla="*/ 1364 w 27576"/>
                    <a:gd name="connsiteY4" fmla="*/ 6061 h 7727"/>
                    <a:gd name="connsiteX5" fmla="*/ 0 w 27576"/>
                    <a:gd name="connsiteY5" fmla="*/ 7728 h 7727"/>
                    <a:gd name="connsiteX6" fmla="*/ 20607 w 27576"/>
                    <a:gd name="connsiteY6" fmla="*/ 6970 h 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76" h="7727">
                      <a:moveTo>
                        <a:pt x="21971" y="6061"/>
                      </a:moveTo>
                      <a:lnTo>
                        <a:pt x="23789" y="1970"/>
                      </a:lnTo>
                      <a:lnTo>
                        <a:pt x="27577" y="0"/>
                      </a:lnTo>
                      <a:lnTo>
                        <a:pt x="8788" y="2121"/>
                      </a:lnTo>
                      <a:lnTo>
                        <a:pt x="1364" y="6061"/>
                      </a:lnTo>
                      <a:lnTo>
                        <a:pt x="0" y="7728"/>
                      </a:lnTo>
                      <a:lnTo>
                        <a:pt x="20607" y="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4" name="Freeform: Shape 3103">
                  <a:extLst>
                    <a:ext uri="{FF2B5EF4-FFF2-40B4-BE49-F238E27FC236}">
                      <a16:creationId xmlns:a16="http://schemas.microsoft.com/office/drawing/2014/main" id="{6859245A-4317-4C86-B7D5-20AE56886E42}"/>
                    </a:ext>
                  </a:extLst>
                </p:cNvPr>
                <p:cNvSpPr/>
                <p:nvPr/>
              </p:nvSpPr>
              <p:spPr>
                <a:xfrm>
                  <a:off x="9951294" y="1920079"/>
                  <a:ext cx="8940" cy="6212"/>
                </a:xfrm>
                <a:custGeom>
                  <a:avLst/>
                  <a:gdLst>
                    <a:gd name="connsiteX0" fmla="*/ 8940 w 8940"/>
                    <a:gd name="connsiteY0" fmla="*/ 4091 h 6212"/>
                    <a:gd name="connsiteX1" fmla="*/ 8333 w 8940"/>
                    <a:gd name="connsiteY1" fmla="*/ 1818 h 6212"/>
                    <a:gd name="connsiteX2" fmla="*/ 7576 w 8940"/>
                    <a:gd name="connsiteY2" fmla="*/ 606 h 6212"/>
                    <a:gd name="connsiteX3" fmla="*/ 6667 w 8940"/>
                    <a:gd name="connsiteY3" fmla="*/ 0 h 6212"/>
                    <a:gd name="connsiteX4" fmla="*/ 2273 w 8940"/>
                    <a:gd name="connsiteY4" fmla="*/ 1212 h 6212"/>
                    <a:gd name="connsiteX5" fmla="*/ 0 w 8940"/>
                    <a:gd name="connsiteY5" fmla="*/ 2879 h 6212"/>
                    <a:gd name="connsiteX6" fmla="*/ 6212 w 8940"/>
                    <a:gd name="connsiteY6" fmla="*/ 6212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0" h="6212">
                      <a:moveTo>
                        <a:pt x="8940" y="4091"/>
                      </a:moveTo>
                      <a:lnTo>
                        <a:pt x="8333" y="1818"/>
                      </a:lnTo>
                      <a:lnTo>
                        <a:pt x="7576" y="606"/>
                      </a:lnTo>
                      <a:lnTo>
                        <a:pt x="6667" y="0"/>
                      </a:lnTo>
                      <a:lnTo>
                        <a:pt x="2273" y="1212"/>
                      </a:lnTo>
                      <a:lnTo>
                        <a:pt x="0" y="2879"/>
                      </a:lnTo>
                      <a:lnTo>
                        <a:pt x="6212"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5" name="Freeform: Shape 3104">
                  <a:extLst>
                    <a:ext uri="{FF2B5EF4-FFF2-40B4-BE49-F238E27FC236}">
                      <a16:creationId xmlns:a16="http://schemas.microsoft.com/office/drawing/2014/main" id="{7387EAED-9C14-4EAB-9E99-F93E0F22F8EA}"/>
                    </a:ext>
                  </a:extLst>
                </p:cNvPr>
                <p:cNvSpPr/>
                <p:nvPr/>
              </p:nvSpPr>
              <p:spPr>
                <a:xfrm>
                  <a:off x="7342561" y="1622340"/>
                  <a:ext cx="46971" cy="22879"/>
                </a:xfrm>
                <a:custGeom>
                  <a:avLst/>
                  <a:gdLst>
                    <a:gd name="connsiteX0" fmla="*/ 26819 w 46971"/>
                    <a:gd name="connsiteY0" fmla="*/ 1515 h 22879"/>
                    <a:gd name="connsiteX1" fmla="*/ 24395 w 46971"/>
                    <a:gd name="connsiteY1" fmla="*/ 303 h 22879"/>
                    <a:gd name="connsiteX2" fmla="*/ 22880 w 46971"/>
                    <a:gd name="connsiteY2" fmla="*/ 0 h 22879"/>
                    <a:gd name="connsiteX3" fmla="*/ 12122 w 46971"/>
                    <a:gd name="connsiteY3" fmla="*/ 5606 h 22879"/>
                    <a:gd name="connsiteX4" fmla="*/ 5455 w 46971"/>
                    <a:gd name="connsiteY4" fmla="*/ 4697 h 22879"/>
                    <a:gd name="connsiteX5" fmla="*/ 0 w 46971"/>
                    <a:gd name="connsiteY5" fmla="*/ 6515 h 22879"/>
                    <a:gd name="connsiteX6" fmla="*/ 5303 w 46971"/>
                    <a:gd name="connsiteY6" fmla="*/ 13182 h 22879"/>
                    <a:gd name="connsiteX7" fmla="*/ 14698 w 46971"/>
                    <a:gd name="connsiteY7" fmla="*/ 14849 h 22879"/>
                    <a:gd name="connsiteX8" fmla="*/ 19849 w 46971"/>
                    <a:gd name="connsiteY8" fmla="*/ 21061 h 22879"/>
                    <a:gd name="connsiteX9" fmla="*/ 29395 w 46971"/>
                    <a:gd name="connsiteY9" fmla="*/ 22880 h 22879"/>
                    <a:gd name="connsiteX10" fmla="*/ 39093 w 46971"/>
                    <a:gd name="connsiteY10" fmla="*/ 22577 h 22879"/>
                    <a:gd name="connsiteX11" fmla="*/ 45153 w 46971"/>
                    <a:gd name="connsiteY11" fmla="*/ 21819 h 22879"/>
                    <a:gd name="connsiteX12" fmla="*/ 46972 w 46971"/>
                    <a:gd name="connsiteY12" fmla="*/ 18486 h 22879"/>
                    <a:gd name="connsiteX13" fmla="*/ 46214 w 46971"/>
                    <a:gd name="connsiteY13" fmla="*/ 14243 h 22879"/>
                    <a:gd name="connsiteX14" fmla="*/ 43790 w 46971"/>
                    <a:gd name="connsiteY14" fmla="*/ 11970 h 22879"/>
                    <a:gd name="connsiteX15" fmla="*/ 42426 w 46971"/>
                    <a:gd name="connsiteY15" fmla="*/ 8334 h 22879"/>
                    <a:gd name="connsiteX16" fmla="*/ 38638 w 46971"/>
                    <a:gd name="connsiteY16" fmla="*/ 5000 h 22879"/>
                    <a:gd name="connsiteX17" fmla="*/ 35456 w 46971"/>
                    <a:gd name="connsiteY17" fmla="*/ 3636 h 2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971" h="22879">
                      <a:moveTo>
                        <a:pt x="26819" y="1515"/>
                      </a:moveTo>
                      <a:lnTo>
                        <a:pt x="24395" y="303"/>
                      </a:lnTo>
                      <a:lnTo>
                        <a:pt x="22880" y="0"/>
                      </a:lnTo>
                      <a:lnTo>
                        <a:pt x="12122" y="5606"/>
                      </a:lnTo>
                      <a:lnTo>
                        <a:pt x="5455" y="4697"/>
                      </a:lnTo>
                      <a:lnTo>
                        <a:pt x="0" y="6515"/>
                      </a:lnTo>
                      <a:lnTo>
                        <a:pt x="5303" y="13182"/>
                      </a:lnTo>
                      <a:lnTo>
                        <a:pt x="14698" y="14849"/>
                      </a:lnTo>
                      <a:lnTo>
                        <a:pt x="19849" y="21061"/>
                      </a:lnTo>
                      <a:lnTo>
                        <a:pt x="29395" y="22880"/>
                      </a:lnTo>
                      <a:lnTo>
                        <a:pt x="39093" y="22577"/>
                      </a:lnTo>
                      <a:lnTo>
                        <a:pt x="45153" y="21819"/>
                      </a:lnTo>
                      <a:lnTo>
                        <a:pt x="46972" y="18486"/>
                      </a:lnTo>
                      <a:lnTo>
                        <a:pt x="46214" y="14243"/>
                      </a:lnTo>
                      <a:lnTo>
                        <a:pt x="43790" y="11970"/>
                      </a:lnTo>
                      <a:lnTo>
                        <a:pt x="42426" y="8334"/>
                      </a:lnTo>
                      <a:lnTo>
                        <a:pt x="38638" y="5000"/>
                      </a:lnTo>
                      <a:lnTo>
                        <a:pt x="35456"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6" name="Freeform: Shape 3105">
                  <a:extLst>
                    <a:ext uri="{FF2B5EF4-FFF2-40B4-BE49-F238E27FC236}">
                      <a16:creationId xmlns:a16="http://schemas.microsoft.com/office/drawing/2014/main" id="{B23B455A-EC99-4E6E-8757-CB5899CD4B6F}"/>
                    </a:ext>
                  </a:extLst>
                </p:cNvPr>
                <p:cNvSpPr/>
                <p:nvPr/>
              </p:nvSpPr>
              <p:spPr>
                <a:xfrm>
                  <a:off x="9610524" y="2026143"/>
                  <a:ext cx="27121" cy="19091"/>
                </a:xfrm>
                <a:custGeom>
                  <a:avLst/>
                  <a:gdLst>
                    <a:gd name="connsiteX0" fmla="*/ 8333 w 27121"/>
                    <a:gd name="connsiteY0" fmla="*/ 18940 h 19091"/>
                    <a:gd name="connsiteX1" fmla="*/ 11061 w 27121"/>
                    <a:gd name="connsiteY1" fmla="*/ 19092 h 19091"/>
                    <a:gd name="connsiteX2" fmla="*/ 24850 w 27121"/>
                    <a:gd name="connsiteY2" fmla="*/ 14849 h 19091"/>
                    <a:gd name="connsiteX3" fmla="*/ 25759 w 27121"/>
                    <a:gd name="connsiteY3" fmla="*/ 12122 h 19091"/>
                    <a:gd name="connsiteX4" fmla="*/ 27122 w 27121"/>
                    <a:gd name="connsiteY4" fmla="*/ 5758 h 19091"/>
                    <a:gd name="connsiteX5" fmla="*/ 26668 w 27121"/>
                    <a:gd name="connsiteY5" fmla="*/ 3485 h 19091"/>
                    <a:gd name="connsiteX6" fmla="*/ 25607 w 27121"/>
                    <a:gd name="connsiteY6" fmla="*/ 1667 h 19091"/>
                    <a:gd name="connsiteX7" fmla="*/ 23031 w 27121"/>
                    <a:gd name="connsiteY7" fmla="*/ 606 h 19091"/>
                    <a:gd name="connsiteX8" fmla="*/ 20455 w 27121"/>
                    <a:gd name="connsiteY8" fmla="*/ 0 h 19091"/>
                    <a:gd name="connsiteX9" fmla="*/ 8333 w 27121"/>
                    <a:gd name="connsiteY9" fmla="*/ 455 h 19091"/>
                    <a:gd name="connsiteX10" fmla="*/ 5455 w 27121"/>
                    <a:gd name="connsiteY10" fmla="*/ 909 h 19091"/>
                    <a:gd name="connsiteX11" fmla="*/ 2424 w 27121"/>
                    <a:gd name="connsiteY11" fmla="*/ 2121 h 19091"/>
                    <a:gd name="connsiteX12" fmla="*/ 0 w 27121"/>
                    <a:gd name="connsiteY12" fmla="*/ 4849 h 19091"/>
                    <a:gd name="connsiteX13" fmla="*/ 2122 w 27121"/>
                    <a:gd name="connsiteY13" fmla="*/ 14546 h 1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121" h="19091">
                      <a:moveTo>
                        <a:pt x="8333" y="18940"/>
                      </a:moveTo>
                      <a:lnTo>
                        <a:pt x="11061" y="19092"/>
                      </a:lnTo>
                      <a:lnTo>
                        <a:pt x="24850" y="14849"/>
                      </a:lnTo>
                      <a:lnTo>
                        <a:pt x="25759" y="12122"/>
                      </a:lnTo>
                      <a:lnTo>
                        <a:pt x="27122" y="5758"/>
                      </a:lnTo>
                      <a:lnTo>
                        <a:pt x="26668" y="3485"/>
                      </a:lnTo>
                      <a:lnTo>
                        <a:pt x="25607" y="1667"/>
                      </a:lnTo>
                      <a:lnTo>
                        <a:pt x="23031" y="606"/>
                      </a:lnTo>
                      <a:lnTo>
                        <a:pt x="20455" y="0"/>
                      </a:lnTo>
                      <a:lnTo>
                        <a:pt x="8333" y="455"/>
                      </a:lnTo>
                      <a:lnTo>
                        <a:pt x="5455" y="909"/>
                      </a:lnTo>
                      <a:lnTo>
                        <a:pt x="2424" y="2121"/>
                      </a:lnTo>
                      <a:lnTo>
                        <a:pt x="0" y="4849"/>
                      </a:lnTo>
                      <a:lnTo>
                        <a:pt x="2122" y="1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7" name="Freeform: Shape 3106">
                  <a:extLst>
                    <a:ext uri="{FF2B5EF4-FFF2-40B4-BE49-F238E27FC236}">
                      <a16:creationId xmlns:a16="http://schemas.microsoft.com/office/drawing/2014/main" id="{D75359E1-30E8-41AE-979E-E655C2C34C2D}"/>
                    </a:ext>
                  </a:extLst>
                </p:cNvPr>
                <p:cNvSpPr/>
                <p:nvPr/>
              </p:nvSpPr>
              <p:spPr>
                <a:xfrm>
                  <a:off x="9527339" y="2166754"/>
                  <a:ext cx="24546" cy="8333"/>
                </a:xfrm>
                <a:custGeom>
                  <a:avLst/>
                  <a:gdLst>
                    <a:gd name="connsiteX0" fmla="*/ 20607 w 24546"/>
                    <a:gd name="connsiteY0" fmla="*/ 0 h 8333"/>
                    <a:gd name="connsiteX1" fmla="*/ 5909 w 24546"/>
                    <a:gd name="connsiteY1" fmla="*/ 303 h 8333"/>
                    <a:gd name="connsiteX2" fmla="*/ 2879 w 24546"/>
                    <a:gd name="connsiteY2" fmla="*/ 1515 h 8333"/>
                    <a:gd name="connsiteX3" fmla="*/ 1818 w 24546"/>
                    <a:gd name="connsiteY3" fmla="*/ 1515 h 8333"/>
                    <a:gd name="connsiteX4" fmla="*/ 454 w 24546"/>
                    <a:gd name="connsiteY4" fmla="*/ 2273 h 8333"/>
                    <a:gd name="connsiteX5" fmla="*/ 0 w 24546"/>
                    <a:gd name="connsiteY5" fmla="*/ 2879 h 8333"/>
                    <a:gd name="connsiteX6" fmla="*/ 454 w 24546"/>
                    <a:gd name="connsiteY6" fmla="*/ 4243 h 8333"/>
                    <a:gd name="connsiteX7" fmla="*/ 5606 w 24546"/>
                    <a:gd name="connsiteY7" fmla="*/ 6667 h 8333"/>
                    <a:gd name="connsiteX8" fmla="*/ 7727 w 24546"/>
                    <a:gd name="connsiteY8" fmla="*/ 6364 h 8333"/>
                    <a:gd name="connsiteX9" fmla="*/ 9243 w 24546"/>
                    <a:gd name="connsiteY9" fmla="*/ 5606 h 8333"/>
                    <a:gd name="connsiteX10" fmla="*/ 10757 w 24546"/>
                    <a:gd name="connsiteY10" fmla="*/ 5303 h 8333"/>
                    <a:gd name="connsiteX11" fmla="*/ 12273 w 24546"/>
                    <a:gd name="connsiteY11" fmla="*/ 5758 h 8333"/>
                    <a:gd name="connsiteX12" fmla="*/ 15000 w 24546"/>
                    <a:gd name="connsiteY12" fmla="*/ 7728 h 8333"/>
                    <a:gd name="connsiteX13" fmla="*/ 17728 w 24546"/>
                    <a:gd name="connsiteY13" fmla="*/ 8334 h 8333"/>
                    <a:gd name="connsiteX14" fmla="*/ 24546 w 24546"/>
                    <a:gd name="connsiteY14" fmla="*/ 4091 h 8333"/>
                    <a:gd name="connsiteX15" fmla="*/ 23789 w 24546"/>
                    <a:gd name="connsiteY15" fmla="*/ 2273 h 8333"/>
                    <a:gd name="connsiteX16" fmla="*/ 21667 w 24546"/>
                    <a:gd name="connsiteY16" fmla="*/ 152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46" h="8333">
                      <a:moveTo>
                        <a:pt x="20607" y="0"/>
                      </a:moveTo>
                      <a:lnTo>
                        <a:pt x="5909" y="303"/>
                      </a:lnTo>
                      <a:lnTo>
                        <a:pt x="2879" y="1515"/>
                      </a:lnTo>
                      <a:lnTo>
                        <a:pt x="1818" y="1515"/>
                      </a:lnTo>
                      <a:lnTo>
                        <a:pt x="454" y="2273"/>
                      </a:lnTo>
                      <a:lnTo>
                        <a:pt x="0" y="2879"/>
                      </a:lnTo>
                      <a:lnTo>
                        <a:pt x="454" y="4243"/>
                      </a:lnTo>
                      <a:lnTo>
                        <a:pt x="5606" y="6667"/>
                      </a:lnTo>
                      <a:lnTo>
                        <a:pt x="7727" y="6364"/>
                      </a:lnTo>
                      <a:lnTo>
                        <a:pt x="9243" y="5606"/>
                      </a:lnTo>
                      <a:lnTo>
                        <a:pt x="10757" y="5303"/>
                      </a:lnTo>
                      <a:lnTo>
                        <a:pt x="12273" y="5758"/>
                      </a:lnTo>
                      <a:lnTo>
                        <a:pt x="15000" y="7728"/>
                      </a:lnTo>
                      <a:lnTo>
                        <a:pt x="17728" y="8334"/>
                      </a:lnTo>
                      <a:lnTo>
                        <a:pt x="24546" y="4091"/>
                      </a:lnTo>
                      <a:lnTo>
                        <a:pt x="23789" y="2273"/>
                      </a:lnTo>
                      <a:lnTo>
                        <a:pt x="21667" y="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8" name="Freeform: Shape 3107">
                  <a:extLst>
                    <a:ext uri="{FF2B5EF4-FFF2-40B4-BE49-F238E27FC236}">
                      <a16:creationId xmlns:a16="http://schemas.microsoft.com/office/drawing/2014/main" id="{32C3F011-A9B1-408B-ABD7-0FB438B2B54D}"/>
                    </a:ext>
                  </a:extLst>
                </p:cNvPr>
                <p:cNvSpPr/>
                <p:nvPr/>
              </p:nvSpPr>
              <p:spPr>
                <a:xfrm>
                  <a:off x="10166908" y="2199634"/>
                  <a:ext cx="7727" cy="6515"/>
                </a:xfrm>
                <a:custGeom>
                  <a:avLst/>
                  <a:gdLst>
                    <a:gd name="connsiteX0" fmla="*/ 5758 w 7727"/>
                    <a:gd name="connsiteY0" fmla="*/ 6515 h 6515"/>
                    <a:gd name="connsiteX1" fmla="*/ 7728 w 7727"/>
                    <a:gd name="connsiteY1" fmla="*/ 5606 h 6515"/>
                    <a:gd name="connsiteX2" fmla="*/ 5606 w 7727"/>
                    <a:gd name="connsiteY2" fmla="*/ 2576 h 6515"/>
                    <a:gd name="connsiteX3" fmla="*/ 3486 w 7727"/>
                    <a:gd name="connsiteY3" fmla="*/ 606 h 6515"/>
                    <a:gd name="connsiteX4" fmla="*/ 303 w 7727"/>
                    <a:gd name="connsiteY4" fmla="*/ 0 h 6515"/>
                    <a:gd name="connsiteX5" fmla="*/ 0 w 7727"/>
                    <a:gd name="connsiteY5" fmla="*/ 606 h 6515"/>
                    <a:gd name="connsiteX6" fmla="*/ 0 w 7727"/>
                    <a:gd name="connsiteY6" fmla="*/ 4243 h 6515"/>
                    <a:gd name="connsiteX7" fmla="*/ 1818 w 7727"/>
                    <a:gd name="connsiteY7" fmla="*/ 5758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7" h="6515">
                      <a:moveTo>
                        <a:pt x="5758" y="6515"/>
                      </a:moveTo>
                      <a:lnTo>
                        <a:pt x="7728" y="5606"/>
                      </a:lnTo>
                      <a:lnTo>
                        <a:pt x="5606" y="2576"/>
                      </a:lnTo>
                      <a:lnTo>
                        <a:pt x="3486" y="606"/>
                      </a:lnTo>
                      <a:lnTo>
                        <a:pt x="303" y="0"/>
                      </a:lnTo>
                      <a:lnTo>
                        <a:pt x="0" y="606"/>
                      </a:lnTo>
                      <a:lnTo>
                        <a:pt x="0" y="4243"/>
                      </a:lnTo>
                      <a:lnTo>
                        <a:pt x="1818"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9" name="Freeform: Shape 3108">
                  <a:extLst>
                    <a:ext uri="{FF2B5EF4-FFF2-40B4-BE49-F238E27FC236}">
                      <a16:creationId xmlns:a16="http://schemas.microsoft.com/office/drawing/2014/main" id="{FD7BB83C-DAFC-48EA-8ACC-7B01888ECE6A}"/>
                    </a:ext>
                  </a:extLst>
                </p:cNvPr>
                <p:cNvSpPr/>
                <p:nvPr/>
              </p:nvSpPr>
              <p:spPr>
                <a:xfrm>
                  <a:off x="10184485" y="2263576"/>
                  <a:ext cx="14697" cy="35758"/>
                </a:xfrm>
                <a:custGeom>
                  <a:avLst/>
                  <a:gdLst>
                    <a:gd name="connsiteX0" fmla="*/ 1212 w 14697"/>
                    <a:gd name="connsiteY0" fmla="*/ 21364 h 35758"/>
                    <a:gd name="connsiteX1" fmla="*/ 1515 w 14697"/>
                    <a:gd name="connsiteY1" fmla="*/ 25607 h 35758"/>
                    <a:gd name="connsiteX2" fmla="*/ 2727 w 14697"/>
                    <a:gd name="connsiteY2" fmla="*/ 26971 h 35758"/>
                    <a:gd name="connsiteX3" fmla="*/ 7728 w 14697"/>
                    <a:gd name="connsiteY3" fmla="*/ 28789 h 35758"/>
                    <a:gd name="connsiteX4" fmla="*/ 10455 w 14697"/>
                    <a:gd name="connsiteY4" fmla="*/ 31062 h 35758"/>
                    <a:gd name="connsiteX5" fmla="*/ 10303 w 14697"/>
                    <a:gd name="connsiteY5" fmla="*/ 32577 h 35758"/>
                    <a:gd name="connsiteX6" fmla="*/ 9394 w 14697"/>
                    <a:gd name="connsiteY6" fmla="*/ 35759 h 35758"/>
                    <a:gd name="connsiteX7" fmla="*/ 10607 w 14697"/>
                    <a:gd name="connsiteY7" fmla="*/ 35607 h 35758"/>
                    <a:gd name="connsiteX8" fmla="*/ 11666 w 14697"/>
                    <a:gd name="connsiteY8" fmla="*/ 34395 h 35758"/>
                    <a:gd name="connsiteX9" fmla="*/ 11970 w 14697"/>
                    <a:gd name="connsiteY9" fmla="*/ 32425 h 35758"/>
                    <a:gd name="connsiteX10" fmla="*/ 11364 w 14697"/>
                    <a:gd name="connsiteY10" fmla="*/ 30153 h 35758"/>
                    <a:gd name="connsiteX11" fmla="*/ 8637 w 14697"/>
                    <a:gd name="connsiteY11" fmla="*/ 25759 h 35758"/>
                    <a:gd name="connsiteX12" fmla="*/ 8182 w 14697"/>
                    <a:gd name="connsiteY12" fmla="*/ 21516 h 35758"/>
                    <a:gd name="connsiteX13" fmla="*/ 8030 w 14697"/>
                    <a:gd name="connsiteY13" fmla="*/ 16819 h 35758"/>
                    <a:gd name="connsiteX14" fmla="*/ 7424 w 14697"/>
                    <a:gd name="connsiteY14" fmla="*/ 13031 h 35758"/>
                    <a:gd name="connsiteX15" fmla="*/ 8030 w 14697"/>
                    <a:gd name="connsiteY15" fmla="*/ 10910 h 35758"/>
                    <a:gd name="connsiteX16" fmla="*/ 12576 w 14697"/>
                    <a:gd name="connsiteY16" fmla="*/ 9849 h 35758"/>
                    <a:gd name="connsiteX17" fmla="*/ 14395 w 14697"/>
                    <a:gd name="connsiteY17" fmla="*/ 6667 h 35758"/>
                    <a:gd name="connsiteX18" fmla="*/ 14697 w 14697"/>
                    <a:gd name="connsiteY18" fmla="*/ 2273 h 35758"/>
                    <a:gd name="connsiteX19" fmla="*/ 11970 w 14697"/>
                    <a:gd name="connsiteY19" fmla="*/ 303 h 35758"/>
                    <a:gd name="connsiteX20" fmla="*/ 11666 w 14697"/>
                    <a:gd name="connsiteY20" fmla="*/ 0 h 35758"/>
                    <a:gd name="connsiteX21" fmla="*/ 8939 w 14697"/>
                    <a:gd name="connsiteY21" fmla="*/ 2121 h 35758"/>
                    <a:gd name="connsiteX22" fmla="*/ 6667 w 14697"/>
                    <a:gd name="connsiteY22" fmla="*/ 4849 h 35758"/>
                    <a:gd name="connsiteX23" fmla="*/ 757 w 14697"/>
                    <a:gd name="connsiteY23" fmla="*/ 8182 h 35758"/>
                    <a:gd name="connsiteX24" fmla="*/ 0 w 14697"/>
                    <a:gd name="connsiteY24" fmla="*/ 11364 h 35758"/>
                    <a:gd name="connsiteX25" fmla="*/ 2272 w 14697"/>
                    <a:gd name="connsiteY25" fmla="*/ 14849 h 3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697" h="35758">
                      <a:moveTo>
                        <a:pt x="1212" y="21364"/>
                      </a:moveTo>
                      <a:lnTo>
                        <a:pt x="1515" y="25607"/>
                      </a:lnTo>
                      <a:lnTo>
                        <a:pt x="2727" y="26971"/>
                      </a:lnTo>
                      <a:lnTo>
                        <a:pt x="7728" y="28789"/>
                      </a:lnTo>
                      <a:lnTo>
                        <a:pt x="10455" y="31062"/>
                      </a:lnTo>
                      <a:lnTo>
                        <a:pt x="10303" y="32577"/>
                      </a:lnTo>
                      <a:lnTo>
                        <a:pt x="9394" y="35759"/>
                      </a:lnTo>
                      <a:lnTo>
                        <a:pt x="10607" y="35607"/>
                      </a:lnTo>
                      <a:lnTo>
                        <a:pt x="11666" y="34395"/>
                      </a:lnTo>
                      <a:lnTo>
                        <a:pt x="11970" y="32425"/>
                      </a:lnTo>
                      <a:lnTo>
                        <a:pt x="11364" y="30153"/>
                      </a:lnTo>
                      <a:lnTo>
                        <a:pt x="8637" y="25759"/>
                      </a:lnTo>
                      <a:lnTo>
                        <a:pt x="8182" y="21516"/>
                      </a:lnTo>
                      <a:lnTo>
                        <a:pt x="8030" y="16819"/>
                      </a:lnTo>
                      <a:lnTo>
                        <a:pt x="7424" y="13031"/>
                      </a:lnTo>
                      <a:lnTo>
                        <a:pt x="8030" y="10910"/>
                      </a:lnTo>
                      <a:lnTo>
                        <a:pt x="12576" y="9849"/>
                      </a:lnTo>
                      <a:lnTo>
                        <a:pt x="14395" y="6667"/>
                      </a:lnTo>
                      <a:lnTo>
                        <a:pt x="14697" y="2273"/>
                      </a:lnTo>
                      <a:lnTo>
                        <a:pt x="11970" y="303"/>
                      </a:lnTo>
                      <a:lnTo>
                        <a:pt x="11666" y="0"/>
                      </a:lnTo>
                      <a:lnTo>
                        <a:pt x="8939" y="2121"/>
                      </a:lnTo>
                      <a:lnTo>
                        <a:pt x="6667" y="4849"/>
                      </a:lnTo>
                      <a:lnTo>
                        <a:pt x="757" y="8182"/>
                      </a:lnTo>
                      <a:lnTo>
                        <a:pt x="0" y="11364"/>
                      </a:lnTo>
                      <a:lnTo>
                        <a:pt x="2272" y="1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0" name="Freeform: Shape 3109">
                  <a:extLst>
                    <a:ext uri="{FF2B5EF4-FFF2-40B4-BE49-F238E27FC236}">
                      <a16:creationId xmlns:a16="http://schemas.microsoft.com/office/drawing/2014/main" id="{0BA1D4AA-9C77-4283-9DB9-3B35E221104B}"/>
                    </a:ext>
                  </a:extLst>
                </p:cNvPr>
                <p:cNvSpPr/>
                <p:nvPr/>
              </p:nvSpPr>
              <p:spPr>
                <a:xfrm>
                  <a:off x="10367976" y="2245242"/>
                  <a:ext cx="45001" cy="21667"/>
                </a:xfrm>
                <a:custGeom>
                  <a:avLst/>
                  <a:gdLst>
                    <a:gd name="connsiteX0" fmla="*/ 5606 w 45001"/>
                    <a:gd name="connsiteY0" fmla="*/ 11667 h 21667"/>
                    <a:gd name="connsiteX1" fmla="*/ 9698 w 45001"/>
                    <a:gd name="connsiteY1" fmla="*/ 14698 h 21667"/>
                    <a:gd name="connsiteX2" fmla="*/ 15304 w 45001"/>
                    <a:gd name="connsiteY2" fmla="*/ 17122 h 21667"/>
                    <a:gd name="connsiteX3" fmla="*/ 30910 w 45001"/>
                    <a:gd name="connsiteY3" fmla="*/ 21667 h 21667"/>
                    <a:gd name="connsiteX4" fmla="*/ 38638 w 45001"/>
                    <a:gd name="connsiteY4" fmla="*/ 21213 h 21667"/>
                    <a:gd name="connsiteX5" fmla="*/ 39850 w 45001"/>
                    <a:gd name="connsiteY5" fmla="*/ 20152 h 21667"/>
                    <a:gd name="connsiteX6" fmla="*/ 40456 w 45001"/>
                    <a:gd name="connsiteY6" fmla="*/ 18789 h 21667"/>
                    <a:gd name="connsiteX7" fmla="*/ 41365 w 45001"/>
                    <a:gd name="connsiteY7" fmla="*/ 13637 h 21667"/>
                    <a:gd name="connsiteX8" fmla="*/ 42274 w 45001"/>
                    <a:gd name="connsiteY8" fmla="*/ 11970 h 21667"/>
                    <a:gd name="connsiteX9" fmla="*/ 44547 w 45001"/>
                    <a:gd name="connsiteY9" fmla="*/ 11516 h 21667"/>
                    <a:gd name="connsiteX10" fmla="*/ 45001 w 45001"/>
                    <a:gd name="connsiteY10" fmla="*/ 8940 h 21667"/>
                    <a:gd name="connsiteX11" fmla="*/ 44699 w 45001"/>
                    <a:gd name="connsiteY11" fmla="*/ 7728 h 21667"/>
                    <a:gd name="connsiteX12" fmla="*/ 43486 w 45001"/>
                    <a:gd name="connsiteY12" fmla="*/ 6515 h 21667"/>
                    <a:gd name="connsiteX13" fmla="*/ 15606 w 45001"/>
                    <a:gd name="connsiteY13" fmla="*/ 0 h 21667"/>
                    <a:gd name="connsiteX14" fmla="*/ 11212 w 45001"/>
                    <a:gd name="connsiteY14" fmla="*/ 303 h 21667"/>
                    <a:gd name="connsiteX15" fmla="*/ 7424 w 45001"/>
                    <a:gd name="connsiteY15" fmla="*/ 1970 h 21667"/>
                    <a:gd name="connsiteX16" fmla="*/ 2122 w 45001"/>
                    <a:gd name="connsiteY16" fmla="*/ 5606 h 21667"/>
                    <a:gd name="connsiteX17" fmla="*/ 757 w 45001"/>
                    <a:gd name="connsiteY17" fmla="*/ 6970 h 21667"/>
                    <a:gd name="connsiteX18" fmla="*/ 0 w 45001"/>
                    <a:gd name="connsiteY18" fmla="*/ 8637 h 21667"/>
                    <a:gd name="connsiteX19" fmla="*/ 909 w 45001"/>
                    <a:gd name="connsiteY19" fmla="*/ 9546 h 2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001" h="21667">
                      <a:moveTo>
                        <a:pt x="5606" y="11667"/>
                      </a:moveTo>
                      <a:lnTo>
                        <a:pt x="9698" y="14698"/>
                      </a:lnTo>
                      <a:lnTo>
                        <a:pt x="15304" y="17122"/>
                      </a:lnTo>
                      <a:lnTo>
                        <a:pt x="30910" y="21667"/>
                      </a:lnTo>
                      <a:lnTo>
                        <a:pt x="38638" y="21213"/>
                      </a:lnTo>
                      <a:lnTo>
                        <a:pt x="39850" y="20152"/>
                      </a:lnTo>
                      <a:lnTo>
                        <a:pt x="40456" y="18789"/>
                      </a:lnTo>
                      <a:lnTo>
                        <a:pt x="41365" y="13637"/>
                      </a:lnTo>
                      <a:lnTo>
                        <a:pt x="42274" y="11970"/>
                      </a:lnTo>
                      <a:lnTo>
                        <a:pt x="44547" y="11516"/>
                      </a:lnTo>
                      <a:lnTo>
                        <a:pt x="45001" y="8940"/>
                      </a:lnTo>
                      <a:lnTo>
                        <a:pt x="44699" y="7728"/>
                      </a:lnTo>
                      <a:lnTo>
                        <a:pt x="43486" y="6515"/>
                      </a:lnTo>
                      <a:lnTo>
                        <a:pt x="15606" y="0"/>
                      </a:lnTo>
                      <a:lnTo>
                        <a:pt x="11212" y="303"/>
                      </a:lnTo>
                      <a:lnTo>
                        <a:pt x="7424" y="1970"/>
                      </a:lnTo>
                      <a:lnTo>
                        <a:pt x="2122" y="5606"/>
                      </a:lnTo>
                      <a:lnTo>
                        <a:pt x="757" y="6970"/>
                      </a:lnTo>
                      <a:lnTo>
                        <a:pt x="0" y="8637"/>
                      </a:lnTo>
                      <a:lnTo>
                        <a:pt x="909" y="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1" name="Freeform: Shape 3110">
                  <a:extLst>
                    <a:ext uri="{FF2B5EF4-FFF2-40B4-BE49-F238E27FC236}">
                      <a16:creationId xmlns:a16="http://schemas.microsoft.com/office/drawing/2014/main" id="{AC3869F3-BA8D-4D65-AA4B-51065F589D1D}"/>
                    </a:ext>
                  </a:extLst>
                </p:cNvPr>
                <p:cNvSpPr/>
                <p:nvPr/>
              </p:nvSpPr>
              <p:spPr>
                <a:xfrm>
                  <a:off x="9524157" y="1919776"/>
                  <a:ext cx="230160" cy="85609"/>
                </a:xfrm>
                <a:custGeom>
                  <a:avLst/>
                  <a:gdLst>
                    <a:gd name="connsiteX0" fmla="*/ 1667 w 230160"/>
                    <a:gd name="connsiteY0" fmla="*/ 53941 h 85609"/>
                    <a:gd name="connsiteX1" fmla="*/ 7424 w 230160"/>
                    <a:gd name="connsiteY1" fmla="*/ 60154 h 85609"/>
                    <a:gd name="connsiteX2" fmla="*/ 13637 w 230160"/>
                    <a:gd name="connsiteY2" fmla="*/ 63942 h 85609"/>
                    <a:gd name="connsiteX3" fmla="*/ 16970 w 230160"/>
                    <a:gd name="connsiteY3" fmla="*/ 64699 h 85609"/>
                    <a:gd name="connsiteX4" fmla="*/ 20153 w 230160"/>
                    <a:gd name="connsiteY4" fmla="*/ 66366 h 85609"/>
                    <a:gd name="connsiteX5" fmla="*/ 26516 w 230160"/>
                    <a:gd name="connsiteY5" fmla="*/ 73942 h 85609"/>
                    <a:gd name="connsiteX6" fmla="*/ 28789 w 230160"/>
                    <a:gd name="connsiteY6" fmla="*/ 76366 h 85609"/>
                    <a:gd name="connsiteX7" fmla="*/ 31365 w 230160"/>
                    <a:gd name="connsiteY7" fmla="*/ 78033 h 85609"/>
                    <a:gd name="connsiteX8" fmla="*/ 52427 w 230160"/>
                    <a:gd name="connsiteY8" fmla="*/ 83336 h 85609"/>
                    <a:gd name="connsiteX9" fmla="*/ 55608 w 230160"/>
                    <a:gd name="connsiteY9" fmla="*/ 84700 h 85609"/>
                    <a:gd name="connsiteX10" fmla="*/ 58942 w 230160"/>
                    <a:gd name="connsiteY10" fmla="*/ 85609 h 85609"/>
                    <a:gd name="connsiteX11" fmla="*/ 62123 w 230160"/>
                    <a:gd name="connsiteY11" fmla="*/ 85458 h 85609"/>
                    <a:gd name="connsiteX12" fmla="*/ 65154 w 230160"/>
                    <a:gd name="connsiteY12" fmla="*/ 84094 h 85609"/>
                    <a:gd name="connsiteX13" fmla="*/ 67881 w 230160"/>
                    <a:gd name="connsiteY13" fmla="*/ 80609 h 85609"/>
                    <a:gd name="connsiteX14" fmla="*/ 70154 w 230160"/>
                    <a:gd name="connsiteY14" fmla="*/ 75760 h 85609"/>
                    <a:gd name="connsiteX15" fmla="*/ 71215 w 230160"/>
                    <a:gd name="connsiteY15" fmla="*/ 72124 h 85609"/>
                    <a:gd name="connsiteX16" fmla="*/ 72730 w 230160"/>
                    <a:gd name="connsiteY16" fmla="*/ 69851 h 85609"/>
                    <a:gd name="connsiteX17" fmla="*/ 74851 w 230160"/>
                    <a:gd name="connsiteY17" fmla="*/ 68942 h 85609"/>
                    <a:gd name="connsiteX18" fmla="*/ 76973 w 230160"/>
                    <a:gd name="connsiteY18" fmla="*/ 68942 h 85609"/>
                    <a:gd name="connsiteX19" fmla="*/ 83791 w 230160"/>
                    <a:gd name="connsiteY19" fmla="*/ 72730 h 85609"/>
                    <a:gd name="connsiteX20" fmla="*/ 90912 w 230160"/>
                    <a:gd name="connsiteY20" fmla="*/ 75306 h 85609"/>
                    <a:gd name="connsiteX21" fmla="*/ 96215 w 230160"/>
                    <a:gd name="connsiteY21" fmla="*/ 74851 h 85609"/>
                    <a:gd name="connsiteX22" fmla="*/ 101671 w 230160"/>
                    <a:gd name="connsiteY22" fmla="*/ 73336 h 85609"/>
                    <a:gd name="connsiteX23" fmla="*/ 119398 w 230160"/>
                    <a:gd name="connsiteY23" fmla="*/ 71063 h 85609"/>
                    <a:gd name="connsiteX24" fmla="*/ 125460 w 230160"/>
                    <a:gd name="connsiteY24" fmla="*/ 69851 h 85609"/>
                    <a:gd name="connsiteX25" fmla="*/ 131368 w 230160"/>
                    <a:gd name="connsiteY25" fmla="*/ 67881 h 85609"/>
                    <a:gd name="connsiteX26" fmla="*/ 137884 w 230160"/>
                    <a:gd name="connsiteY26" fmla="*/ 67427 h 85609"/>
                    <a:gd name="connsiteX27" fmla="*/ 141066 w 230160"/>
                    <a:gd name="connsiteY27" fmla="*/ 69548 h 85609"/>
                    <a:gd name="connsiteX28" fmla="*/ 143339 w 230160"/>
                    <a:gd name="connsiteY28" fmla="*/ 72427 h 85609"/>
                    <a:gd name="connsiteX29" fmla="*/ 146066 w 230160"/>
                    <a:gd name="connsiteY29" fmla="*/ 75154 h 85609"/>
                    <a:gd name="connsiteX30" fmla="*/ 148642 w 230160"/>
                    <a:gd name="connsiteY30" fmla="*/ 76366 h 85609"/>
                    <a:gd name="connsiteX31" fmla="*/ 151217 w 230160"/>
                    <a:gd name="connsiteY31" fmla="*/ 76669 h 85609"/>
                    <a:gd name="connsiteX32" fmla="*/ 155460 w 230160"/>
                    <a:gd name="connsiteY32" fmla="*/ 75760 h 85609"/>
                    <a:gd name="connsiteX33" fmla="*/ 159552 w 230160"/>
                    <a:gd name="connsiteY33" fmla="*/ 74094 h 85609"/>
                    <a:gd name="connsiteX34" fmla="*/ 169097 w 230160"/>
                    <a:gd name="connsiteY34" fmla="*/ 68487 h 85609"/>
                    <a:gd name="connsiteX35" fmla="*/ 163642 w 230160"/>
                    <a:gd name="connsiteY35" fmla="*/ 63487 h 85609"/>
                    <a:gd name="connsiteX36" fmla="*/ 157279 w 230160"/>
                    <a:gd name="connsiteY36" fmla="*/ 61214 h 85609"/>
                    <a:gd name="connsiteX37" fmla="*/ 155157 w 230160"/>
                    <a:gd name="connsiteY37" fmla="*/ 59548 h 85609"/>
                    <a:gd name="connsiteX38" fmla="*/ 145460 w 230160"/>
                    <a:gd name="connsiteY38" fmla="*/ 47881 h 85609"/>
                    <a:gd name="connsiteX39" fmla="*/ 143641 w 230160"/>
                    <a:gd name="connsiteY39" fmla="*/ 45305 h 85609"/>
                    <a:gd name="connsiteX40" fmla="*/ 142430 w 230160"/>
                    <a:gd name="connsiteY40" fmla="*/ 41668 h 85609"/>
                    <a:gd name="connsiteX41" fmla="*/ 140612 w 230160"/>
                    <a:gd name="connsiteY41" fmla="*/ 30304 h 85609"/>
                    <a:gd name="connsiteX42" fmla="*/ 146672 w 230160"/>
                    <a:gd name="connsiteY42" fmla="*/ 28637 h 85609"/>
                    <a:gd name="connsiteX43" fmla="*/ 153339 w 230160"/>
                    <a:gd name="connsiteY43" fmla="*/ 26971 h 85609"/>
                    <a:gd name="connsiteX44" fmla="*/ 164097 w 230160"/>
                    <a:gd name="connsiteY44" fmla="*/ 27425 h 85609"/>
                    <a:gd name="connsiteX45" fmla="*/ 165612 w 230160"/>
                    <a:gd name="connsiteY45" fmla="*/ 30304 h 85609"/>
                    <a:gd name="connsiteX46" fmla="*/ 165309 w 230160"/>
                    <a:gd name="connsiteY46" fmla="*/ 31819 h 85609"/>
                    <a:gd name="connsiteX47" fmla="*/ 161976 w 230160"/>
                    <a:gd name="connsiteY47" fmla="*/ 35304 h 85609"/>
                    <a:gd name="connsiteX48" fmla="*/ 158339 w 230160"/>
                    <a:gd name="connsiteY48" fmla="*/ 36820 h 85609"/>
                    <a:gd name="connsiteX49" fmla="*/ 157430 w 230160"/>
                    <a:gd name="connsiteY49" fmla="*/ 42123 h 85609"/>
                    <a:gd name="connsiteX50" fmla="*/ 158188 w 230160"/>
                    <a:gd name="connsiteY50" fmla="*/ 48335 h 85609"/>
                    <a:gd name="connsiteX51" fmla="*/ 160763 w 230160"/>
                    <a:gd name="connsiteY51" fmla="*/ 52123 h 85609"/>
                    <a:gd name="connsiteX52" fmla="*/ 163491 w 230160"/>
                    <a:gd name="connsiteY52" fmla="*/ 55002 h 85609"/>
                    <a:gd name="connsiteX53" fmla="*/ 170309 w 230160"/>
                    <a:gd name="connsiteY53" fmla="*/ 60457 h 85609"/>
                    <a:gd name="connsiteX54" fmla="*/ 176522 w 230160"/>
                    <a:gd name="connsiteY54" fmla="*/ 62275 h 85609"/>
                    <a:gd name="connsiteX55" fmla="*/ 182734 w 230160"/>
                    <a:gd name="connsiteY55" fmla="*/ 62275 h 85609"/>
                    <a:gd name="connsiteX56" fmla="*/ 193492 w 230160"/>
                    <a:gd name="connsiteY56" fmla="*/ 64396 h 85609"/>
                    <a:gd name="connsiteX57" fmla="*/ 198947 w 230160"/>
                    <a:gd name="connsiteY57" fmla="*/ 63639 h 85609"/>
                    <a:gd name="connsiteX58" fmla="*/ 204098 w 230160"/>
                    <a:gd name="connsiteY58" fmla="*/ 61214 h 85609"/>
                    <a:gd name="connsiteX59" fmla="*/ 217130 w 230160"/>
                    <a:gd name="connsiteY59" fmla="*/ 52123 h 85609"/>
                    <a:gd name="connsiteX60" fmla="*/ 215311 w 230160"/>
                    <a:gd name="connsiteY60" fmla="*/ 48941 h 85609"/>
                    <a:gd name="connsiteX61" fmla="*/ 212887 w 230160"/>
                    <a:gd name="connsiteY61" fmla="*/ 46668 h 85609"/>
                    <a:gd name="connsiteX62" fmla="*/ 215008 w 230160"/>
                    <a:gd name="connsiteY62" fmla="*/ 43941 h 85609"/>
                    <a:gd name="connsiteX63" fmla="*/ 220918 w 230160"/>
                    <a:gd name="connsiteY63" fmla="*/ 39850 h 85609"/>
                    <a:gd name="connsiteX64" fmla="*/ 230160 w 230160"/>
                    <a:gd name="connsiteY64" fmla="*/ 37577 h 85609"/>
                    <a:gd name="connsiteX65" fmla="*/ 228796 w 230160"/>
                    <a:gd name="connsiteY65" fmla="*/ 35759 h 85609"/>
                    <a:gd name="connsiteX66" fmla="*/ 227281 w 230160"/>
                    <a:gd name="connsiteY66" fmla="*/ 34547 h 85609"/>
                    <a:gd name="connsiteX67" fmla="*/ 184401 w 230160"/>
                    <a:gd name="connsiteY67" fmla="*/ 18940 h 85609"/>
                    <a:gd name="connsiteX68" fmla="*/ 180916 w 230160"/>
                    <a:gd name="connsiteY68" fmla="*/ 19092 h 85609"/>
                    <a:gd name="connsiteX69" fmla="*/ 174097 w 230160"/>
                    <a:gd name="connsiteY69" fmla="*/ 21213 h 85609"/>
                    <a:gd name="connsiteX70" fmla="*/ 170613 w 230160"/>
                    <a:gd name="connsiteY70" fmla="*/ 21819 h 85609"/>
                    <a:gd name="connsiteX71" fmla="*/ 163642 w 230160"/>
                    <a:gd name="connsiteY71" fmla="*/ 21061 h 85609"/>
                    <a:gd name="connsiteX72" fmla="*/ 156521 w 230160"/>
                    <a:gd name="connsiteY72" fmla="*/ 18940 h 85609"/>
                    <a:gd name="connsiteX73" fmla="*/ 150915 w 230160"/>
                    <a:gd name="connsiteY73" fmla="*/ 16667 h 85609"/>
                    <a:gd name="connsiteX74" fmla="*/ 138339 w 230160"/>
                    <a:gd name="connsiteY74" fmla="*/ 8788 h 85609"/>
                    <a:gd name="connsiteX75" fmla="*/ 131217 w 230160"/>
                    <a:gd name="connsiteY75" fmla="*/ 5152 h 85609"/>
                    <a:gd name="connsiteX76" fmla="*/ 124247 w 230160"/>
                    <a:gd name="connsiteY76" fmla="*/ 3636 h 85609"/>
                    <a:gd name="connsiteX77" fmla="*/ 119095 w 230160"/>
                    <a:gd name="connsiteY77" fmla="*/ 7728 h 85609"/>
                    <a:gd name="connsiteX78" fmla="*/ 111822 w 230160"/>
                    <a:gd name="connsiteY78" fmla="*/ 11970 h 85609"/>
                    <a:gd name="connsiteX79" fmla="*/ 110458 w 230160"/>
                    <a:gd name="connsiteY79" fmla="*/ 13334 h 85609"/>
                    <a:gd name="connsiteX80" fmla="*/ 109549 w 230160"/>
                    <a:gd name="connsiteY80" fmla="*/ 15455 h 85609"/>
                    <a:gd name="connsiteX81" fmla="*/ 108792 w 230160"/>
                    <a:gd name="connsiteY81" fmla="*/ 18789 h 85609"/>
                    <a:gd name="connsiteX82" fmla="*/ 108943 w 230160"/>
                    <a:gd name="connsiteY82" fmla="*/ 22577 h 85609"/>
                    <a:gd name="connsiteX83" fmla="*/ 109247 w 230160"/>
                    <a:gd name="connsiteY83" fmla="*/ 25304 h 85609"/>
                    <a:gd name="connsiteX84" fmla="*/ 109398 w 230160"/>
                    <a:gd name="connsiteY84" fmla="*/ 28031 h 85609"/>
                    <a:gd name="connsiteX85" fmla="*/ 107883 w 230160"/>
                    <a:gd name="connsiteY85" fmla="*/ 30759 h 85609"/>
                    <a:gd name="connsiteX86" fmla="*/ 105913 w 230160"/>
                    <a:gd name="connsiteY86" fmla="*/ 31971 h 85609"/>
                    <a:gd name="connsiteX87" fmla="*/ 101519 w 230160"/>
                    <a:gd name="connsiteY87" fmla="*/ 31819 h 85609"/>
                    <a:gd name="connsiteX88" fmla="*/ 100003 w 230160"/>
                    <a:gd name="connsiteY88" fmla="*/ 31213 h 85609"/>
                    <a:gd name="connsiteX89" fmla="*/ 98489 w 230160"/>
                    <a:gd name="connsiteY89" fmla="*/ 30153 h 85609"/>
                    <a:gd name="connsiteX90" fmla="*/ 97124 w 230160"/>
                    <a:gd name="connsiteY90" fmla="*/ 28637 h 85609"/>
                    <a:gd name="connsiteX91" fmla="*/ 94245 w 230160"/>
                    <a:gd name="connsiteY91" fmla="*/ 22728 h 85609"/>
                    <a:gd name="connsiteX92" fmla="*/ 91064 w 230160"/>
                    <a:gd name="connsiteY92" fmla="*/ 21213 h 85609"/>
                    <a:gd name="connsiteX93" fmla="*/ 87730 w 230160"/>
                    <a:gd name="connsiteY93" fmla="*/ 21971 h 85609"/>
                    <a:gd name="connsiteX94" fmla="*/ 84851 w 230160"/>
                    <a:gd name="connsiteY94" fmla="*/ 20910 h 85609"/>
                    <a:gd name="connsiteX95" fmla="*/ 76518 w 230160"/>
                    <a:gd name="connsiteY95" fmla="*/ 13940 h 85609"/>
                    <a:gd name="connsiteX96" fmla="*/ 70608 w 230160"/>
                    <a:gd name="connsiteY96" fmla="*/ 10606 h 85609"/>
                    <a:gd name="connsiteX97" fmla="*/ 61972 w 230160"/>
                    <a:gd name="connsiteY97" fmla="*/ 6818 h 85609"/>
                    <a:gd name="connsiteX98" fmla="*/ 59093 w 230160"/>
                    <a:gd name="connsiteY98" fmla="*/ 5152 h 85609"/>
                    <a:gd name="connsiteX99" fmla="*/ 56669 w 230160"/>
                    <a:gd name="connsiteY99" fmla="*/ 2273 h 85609"/>
                    <a:gd name="connsiteX100" fmla="*/ 53941 w 230160"/>
                    <a:gd name="connsiteY100" fmla="*/ 152 h 85609"/>
                    <a:gd name="connsiteX101" fmla="*/ 51062 w 230160"/>
                    <a:gd name="connsiteY101" fmla="*/ 0 h 85609"/>
                    <a:gd name="connsiteX102" fmla="*/ 40607 w 230160"/>
                    <a:gd name="connsiteY102" fmla="*/ 3940 h 85609"/>
                    <a:gd name="connsiteX103" fmla="*/ 34547 w 230160"/>
                    <a:gd name="connsiteY103" fmla="*/ 4849 h 85609"/>
                    <a:gd name="connsiteX104" fmla="*/ 31517 w 230160"/>
                    <a:gd name="connsiteY104" fmla="*/ 6818 h 85609"/>
                    <a:gd name="connsiteX105" fmla="*/ 29849 w 230160"/>
                    <a:gd name="connsiteY105" fmla="*/ 8637 h 85609"/>
                    <a:gd name="connsiteX106" fmla="*/ 28183 w 230160"/>
                    <a:gd name="connsiteY106" fmla="*/ 9697 h 85609"/>
                    <a:gd name="connsiteX107" fmla="*/ 22576 w 230160"/>
                    <a:gd name="connsiteY107" fmla="*/ 10455 h 85609"/>
                    <a:gd name="connsiteX108" fmla="*/ 18637 w 230160"/>
                    <a:gd name="connsiteY108" fmla="*/ 11970 h 85609"/>
                    <a:gd name="connsiteX109" fmla="*/ 16819 w 230160"/>
                    <a:gd name="connsiteY109" fmla="*/ 13788 h 85609"/>
                    <a:gd name="connsiteX110" fmla="*/ 15152 w 230160"/>
                    <a:gd name="connsiteY110" fmla="*/ 16364 h 85609"/>
                    <a:gd name="connsiteX111" fmla="*/ 17728 w 230160"/>
                    <a:gd name="connsiteY111" fmla="*/ 21213 h 85609"/>
                    <a:gd name="connsiteX112" fmla="*/ 20758 w 230160"/>
                    <a:gd name="connsiteY112" fmla="*/ 24849 h 85609"/>
                    <a:gd name="connsiteX113" fmla="*/ 11212 w 230160"/>
                    <a:gd name="connsiteY113" fmla="*/ 23637 h 85609"/>
                    <a:gd name="connsiteX114" fmla="*/ 8788 w 230160"/>
                    <a:gd name="connsiteY114" fmla="*/ 25304 h 85609"/>
                    <a:gd name="connsiteX115" fmla="*/ 7273 w 230160"/>
                    <a:gd name="connsiteY115" fmla="*/ 36213 h 85609"/>
                    <a:gd name="connsiteX116" fmla="*/ 9394 w 230160"/>
                    <a:gd name="connsiteY116" fmla="*/ 47729 h 85609"/>
                    <a:gd name="connsiteX117" fmla="*/ 6061 w 230160"/>
                    <a:gd name="connsiteY117" fmla="*/ 47729 h 85609"/>
                    <a:gd name="connsiteX118" fmla="*/ 909 w 230160"/>
                    <a:gd name="connsiteY118" fmla="*/ 46820 h 85609"/>
                    <a:gd name="connsiteX119" fmla="*/ 0 w 230160"/>
                    <a:gd name="connsiteY119" fmla="*/ 48941 h 85609"/>
                    <a:gd name="connsiteX120" fmla="*/ 455 w 230160"/>
                    <a:gd name="connsiteY120" fmla="*/ 51972 h 8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0160" h="85609">
                      <a:moveTo>
                        <a:pt x="1667" y="53941"/>
                      </a:moveTo>
                      <a:lnTo>
                        <a:pt x="7424" y="60154"/>
                      </a:lnTo>
                      <a:lnTo>
                        <a:pt x="13637" y="63942"/>
                      </a:lnTo>
                      <a:lnTo>
                        <a:pt x="16970" y="64699"/>
                      </a:lnTo>
                      <a:lnTo>
                        <a:pt x="20153" y="66366"/>
                      </a:lnTo>
                      <a:lnTo>
                        <a:pt x="26516" y="73942"/>
                      </a:lnTo>
                      <a:lnTo>
                        <a:pt x="28789" y="76366"/>
                      </a:lnTo>
                      <a:lnTo>
                        <a:pt x="31365" y="78033"/>
                      </a:lnTo>
                      <a:lnTo>
                        <a:pt x="52427" y="83336"/>
                      </a:lnTo>
                      <a:lnTo>
                        <a:pt x="55608" y="84700"/>
                      </a:lnTo>
                      <a:lnTo>
                        <a:pt x="58942" y="85609"/>
                      </a:lnTo>
                      <a:lnTo>
                        <a:pt x="62123" y="85458"/>
                      </a:lnTo>
                      <a:lnTo>
                        <a:pt x="65154" y="84094"/>
                      </a:lnTo>
                      <a:lnTo>
                        <a:pt x="67881" y="80609"/>
                      </a:lnTo>
                      <a:lnTo>
                        <a:pt x="70154" y="75760"/>
                      </a:lnTo>
                      <a:lnTo>
                        <a:pt x="71215" y="72124"/>
                      </a:lnTo>
                      <a:lnTo>
                        <a:pt x="72730" y="69851"/>
                      </a:lnTo>
                      <a:lnTo>
                        <a:pt x="74851" y="68942"/>
                      </a:lnTo>
                      <a:lnTo>
                        <a:pt x="76973" y="68942"/>
                      </a:lnTo>
                      <a:lnTo>
                        <a:pt x="83791" y="72730"/>
                      </a:lnTo>
                      <a:lnTo>
                        <a:pt x="90912" y="75306"/>
                      </a:lnTo>
                      <a:lnTo>
                        <a:pt x="96215" y="74851"/>
                      </a:lnTo>
                      <a:lnTo>
                        <a:pt x="101671" y="73336"/>
                      </a:lnTo>
                      <a:lnTo>
                        <a:pt x="119398" y="71063"/>
                      </a:lnTo>
                      <a:lnTo>
                        <a:pt x="125460" y="69851"/>
                      </a:lnTo>
                      <a:lnTo>
                        <a:pt x="131368" y="67881"/>
                      </a:lnTo>
                      <a:lnTo>
                        <a:pt x="137884" y="67427"/>
                      </a:lnTo>
                      <a:lnTo>
                        <a:pt x="141066" y="69548"/>
                      </a:lnTo>
                      <a:lnTo>
                        <a:pt x="143339" y="72427"/>
                      </a:lnTo>
                      <a:lnTo>
                        <a:pt x="146066" y="75154"/>
                      </a:lnTo>
                      <a:lnTo>
                        <a:pt x="148642" y="76366"/>
                      </a:lnTo>
                      <a:lnTo>
                        <a:pt x="151217" y="76669"/>
                      </a:lnTo>
                      <a:lnTo>
                        <a:pt x="155460" y="75760"/>
                      </a:lnTo>
                      <a:lnTo>
                        <a:pt x="159552" y="74094"/>
                      </a:lnTo>
                      <a:lnTo>
                        <a:pt x="169097" y="68487"/>
                      </a:lnTo>
                      <a:lnTo>
                        <a:pt x="163642" y="63487"/>
                      </a:lnTo>
                      <a:lnTo>
                        <a:pt x="157279" y="61214"/>
                      </a:lnTo>
                      <a:lnTo>
                        <a:pt x="155157" y="59548"/>
                      </a:lnTo>
                      <a:lnTo>
                        <a:pt x="145460" y="47881"/>
                      </a:lnTo>
                      <a:lnTo>
                        <a:pt x="143641" y="45305"/>
                      </a:lnTo>
                      <a:lnTo>
                        <a:pt x="142430" y="41668"/>
                      </a:lnTo>
                      <a:lnTo>
                        <a:pt x="140612" y="30304"/>
                      </a:lnTo>
                      <a:lnTo>
                        <a:pt x="146672" y="28637"/>
                      </a:lnTo>
                      <a:lnTo>
                        <a:pt x="153339" y="26971"/>
                      </a:lnTo>
                      <a:lnTo>
                        <a:pt x="164097" y="27425"/>
                      </a:lnTo>
                      <a:lnTo>
                        <a:pt x="165612" y="30304"/>
                      </a:lnTo>
                      <a:lnTo>
                        <a:pt x="165309" y="31819"/>
                      </a:lnTo>
                      <a:lnTo>
                        <a:pt x="161976" y="35304"/>
                      </a:lnTo>
                      <a:lnTo>
                        <a:pt x="158339" y="36820"/>
                      </a:lnTo>
                      <a:lnTo>
                        <a:pt x="157430" y="42123"/>
                      </a:lnTo>
                      <a:lnTo>
                        <a:pt x="158188" y="48335"/>
                      </a:lnTo>
                      <a:lnTo>
                        <a:pt x="160763" y="52123"/>
                      </a:lnTo>
                      <a:lnTo>
                        <a:pt x="163491" y="55002"/>
                      </a:lnTo>
                      <a:lnTo>
                        <a:pt x="170309" y="60457"/>
                      </a:lnTo>
                      <a:lnTo>
                        <a:pt x="176522" y="62275"/>
                      </a:lnTo>
                      <a:lnTo>
                        <a:pt x="182734" y="62275"/>
                      </a:lnTo>
                      <a:lnTo>
                        <a:pt x="193492" y="64396"/>
                      </a:lnTo>
                      <a:lnTo>
                        <a:pt x="198947" y="63639"/>
                      </a:lnTo>
                      <a:lnTo>
                        <a:pt x="204098" y="61214"/>
                      </a:lnTo>
                      <a:lnTo>
                        <a:pt x="217130" y="52123"/>
                      </a:lnTo>
                      <a:lnTo>
                        <a:pt x="215311" y="48941"/>
                      </a:lnTo>
                      <a:lnTo>
                        <a:pt x="212887" y="46668"/>
                      </a:lnTo>
                      <a:lnTo>
                        <a:pt x="215008" y="43941"/>
                      </a:lnTo>
                      <a:lnTo>
                        <a:pt x="220918" y="39850"/>
                      </a:lnTo>
                      <a:lnTo>
                        <a:pt x="230160" y="37577"/>
                      </a:lnTo>
                      <a:lnTo>
                        <a:pt x="228796" y="35759"/>
                      </a:lnTo>
                      <a:lnTo>
                        <a:pt x="227281" y="34547"/>
                      </a:lnTo>
                      <a:lnTo>
                        <a:pt x="184401" y="18940"/>
                      </a:lnTo>
                      <a:lnTo>
                        <a:pt x="180916" y="19092"/>
                      </a:lnTo>
                      <a:lnTo>
                        <a:pt x="174097" y="21213"/>
                      </a:lnTo>
                      <a:lnTo>
                        <a:pt x="170613" y="21819"/>
                      </a:lnTo>
                      <a:lnTo>
                        <a:pt x="163642" y="21061"/>
                      </a:lnTo>
                      <a:lnTo>
                        <a:pt x="156521" y="18940"/>
                      </a:lnTo>
                      <a:lnTo>
                        <a:pt x="150915" y="16667"/>
                      </a:lnTo>
                      <a:lnTo>
                        <a:pt x="138339" y="8788"/>
                      </a:lnTo>
                      <a:lnTo>
                        <a:pt x="131217" y="5152"/>
                      </a:lnTo>
                      <a:lnTo>
                        <a:pt x="124247" y="3636"/>
                      </a:lnTo>
                      <a:lnTo>
                        <a:pt x="119095" y="7728"/>
                      </a:lnTo>
                      <a:lnTo>
                        <a:pt x="111822" y="11970"/>
                      </a:lnTo>
                      <a:lnTo>
                        <a:pt x="110458" y="13334"/>
                      </a:lnTo>
                      <a:lnTo>
                        <a:pt x="109549" y="15455"/>
                      </a:lnTo>
                      <a:lnTo>
                        <a:pt x="108792" y="18789"/>
                      </a:lnTo>
                      <a:lnTo>
                        <a:pt x="108943" y="22577"/>
                      </a:lnTo>
                      <a:lnTo>
                        <a:pt x="109247" y="25304"/>
                      </a:lnTo>
                      <a:lnTo>
                        <a:pt x="109398" y="28031"/>
                      </a:lnTo>
                      <a:lnTo>
                        <a:pt x="107883" y="30759"/>
                      </a:lnTo>
                      <a:lnTo>
                        <a:pt x="105913" y="31971"/>
                      </a:lnTo>
                      <a:lnTo>
                        <a:pt x="101519" y="31819"/>
                      </a:lnTo>
                      <a:lnTo>
                        <a:pt x="100003" y="31213"/>
                      </a:lnTo>
                      <a:lnTo>
                        <a:pt x="98489" y="30153"/>
                      </a:lnTo>
                      <a:lnTo>
                        <a:pt x="97124" y="28637"/>
                      </a:lnTo>
                      <a:lnTo>
                        <a:pt x="94245" y="22728"/>
                      </a:lnTo>
                      <a:lnTo>
                        <a:pt x="91064" y="21213"/>
                      </a:lnTo>
                      <a:lnTo>
                        <a:pt x="87730" y="21971"/>
                      </a:lnTo>
                      <a:lnTo>
                        <a:pt x="84851" y="20910"/>
                      </a:lnTo>
                      <a:lnTo>
                        <a:pt x="76518" y="13940"/>
                      </a:lnTo>
                      <a:lnTo>
                        <a:pt x="70608" y="10606"/>
                      </a:lnTo>
                      <a:lnTo>
                        <a:pt x="61972" y="6818"/>
                      </a:lnTo>
                      <a:lnTo>
                        <a:pt x="59093" y="5152"/>
                      </a:lnTo>
                      <a:lnTo>
                        <a:pt x="56669" y="2273"/>
                      </a:lnTo>
                      <a:lnTo>
                        <a:pt x="53941" y="152"/>
                      </a:lnTo>
                      <a:lnTo>
                        <a:pt x="51062" y="0"/>
                      </a:lnTo>
                      <a:lnTo>
                        <a:pt x="40607" y="3940"/>
                      </a:lnTo>
                      <a:lnTo>
                        <a:pt x="34547" y="4849"/>
                      </a:lnTo>
                      <a:lnTo>
                        <a:pt x="31517" y="6818"/>
                      </a:lnTo>
                      <a:lnTo>
                        <a:pt x="29849" y="8637"/>
                      </a:lnTo>
                      <a:lnTo>
                        <a:pt x="28183" y="9697"/>
                      </a:lnTo>
                      <a:lnTo>
                        <a:pt x="22576" y="10455"/>
                      </a:lnTo>
                      <a:lnTo>
                        <a:pt x="18637" y="11970"/>
                      </a:lnTo>
                      <a:lnTo>
                        <a:pt x="16819" y="13788"/>
                      </a:lnTo>
                      <a:lnTo>
                        <a:pt x="15152" y="16364"/>
                      </a:lnTo>
                      <a:lnTo>
                        <a:pt x="17728" y="21213"/>
                      </a:lnTo>
                      <a:lnTo>
                        <a:pt x="20758" y="24849"/>
                      </a:lnTo>
                      <a:lnTo>
                        <a:pt x="11212" y="23637"/>
                      </a:lnTo>
                      <a:lnTo>
                        <a:pt x="8788" y="25304"/>
                      </a:lnTo>
                      <a:lnTo>
                        <a:pt x="7273" y="36213"/>
                      </a:lnTo>
                      <a:lnTo>
                        <a:pt x="9394" y="47729"/>
                      </a:lnTo>
                      <a:lnTo>
                        <a:pt x="6061" y="47729"/>
                      </a:lnTo>
                      <a:lnTo>
                        <a:pt x="909" y="46820"/>
                      </a:lnTo>
                      <a:lnTo>
                        <a:pt x="0" y="48941"/>
                      </a:lnTo>
                      <a:lnTo>
                        <a:pt x="455" y="5197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2" name="Freeform: Shape 3111">
                  <a:extLst>
                    <a:ext uri="{FF2B5EF4-FFF2-40B4-BE49-F238E27FC236}">
                      <a16:creationId xmlns:a16="http://schemas.microsoft.com/office/drawing/2014/main" id="{7C1C8B01-EFF4-471E-B8A6-29CE513860E1}"/>
                    </a:ext>
                  </a:extLst>
                </p:cNvPr>
                <p:cNvSpPr/>
                <p:nvPr/>
              </p:nvSpPr>
              <p:spPr>
                <a:xfrm>
                  <a:off x="8712157" y="1853864"/>
                  <a:ext cx="11212" cy="6212"/>
                </a:xfrm>
                <a:custGeom>
                  <a:avLst/>
                  <a:gdLst>
                    <a:gd name="connsiteX0" fmla="*/ 8940 w 11212"/>
                    <a:gd name="connsiteY0" fmla="*/ 1061 h 6212"/>
                    <a:gd name="connsiteX1" fmla="*/ 5909 w 11212"/>
                    <a:gd name="connsiteY1" fmla="*/ 0 h 6212"/>
                    <a:gd name="connsiteX2" fmla="*/ 2727 w 11212"/>
                    <a:gd name="connsiteY2" fmla="*/ 152 h 6212"/>
                    <a:gd name="connsiteX3" fmla="*/ 0 w 11212"/>
                    <a:gd name="connsiteY3" fmla="*/ 3485 h 6212"/>
                    <a:gd name="connsiteX4" fmla="*/ 909 w 11212"/>
                    <a:gd name="connsiteY4" fmla="*/ 6212 h 6212"/>
                    <a:gd name="connsiteX5" fmla="*/ 3940 w 11212"/>
                    <a:gd name="connsiteY5" fmla="*/ 6212 h 6212"/>
                    <a:gd name="connsiteX6" fmla="*/ 11212 w 11212"/>
                    <a:gd name="connsiteY6" fmla="*/ 4697 h 6212"/>
                    <a:gd name="connsiteX7" fmla="*/ 10758 w 11212"/>
                    <a:gd name="connsiteY7" fmla="*/ 2879 h 6212"/>
                    <a:gd name="connsiteX8" fmla="*/ 9849 w 11212"/>
                    <a:gd name="connsiteY8" fmla="*/ 1667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2" h="6212">
                      <a:moveTo>
                        <a:pt x="8940" y="1061"/>
                      </a:moveTo>
                      <a:lnTo>
                        <a:pt x="5909" y="0"/>
                      </a:lnTo>
                      <a:lnTo>
                        <a:pt x="2727" y="152"/>
                      </a:lnTo>
                      <a:lnTo>
                        <a:pt x="0" y="3485"/>
                      </a:lnTo>
                      <a:lnTo>
                        <a:pt x="909" y="6212"/>
                      </a:lnTo>
                      <a:lnTo>
                        <a:pt x="3940" y="6212"/>
                      </a:lnTo>
                      <a:lnTo>
                        <a:pt x="11212" y="4697"/>
                      </a:lnTo>
                      <a:lnTo>
                        <a:pt x="10758" y="2879"/>
                      </a:lnTo>
                      <a:lnTo>
                        <a:pt x="9849" y="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3" name="Freeform: Shape 3112">
                  <a:extLst>
                    <a:ext uri="{FF2B5EF4-FFF2-40B4-BE49-F238E27FC236}">
                      <a16:creationId xmlns:a16="http://schemas.microsoft.com/office/drawing/2014/main" id="{115CC517-BD08-4724-8BD1-C6B79FA35EA7}"/>
                    </a:ext>
                  </a:extLst>
                </p:cNvPr>
                <p:cNvSpPr/>
                <p:nvPr/>
              </p:nvSpPr>
              <p:spPr>
                <a:xfrm>
                  <a:off x="8678065" y="1795377"/>
                  <a:ext cx="19091" cy="8333"/>
                </a:xfrm>
                <a:custGeom>
                  <a:avLst/>
                  <a:gdLst>
                    <a:gd name="connsiteX0" fmla="*/ 6818 w 19091"/>
                    <a:gd name="connsiteY0" fmla="*/ 7879 h 8333"/>
                    <a:gd name="connsiteX1" fmla="*/ 12273 w 19091"/>
                    <a:gd name="connsiteY1" fmla="*/ 5606 h 8333"/>
                    <a:gd name="connsiteX2" fmla="*/ 13182 w 19091"/>
                    <a:gd name="connsiteY2" fmla="*/ 4546 h 8333"/>
                    <a:gd name="connsiteX3" fmla="*/ 17879 w 19091"/>
                    <a:gd name="connsiteY3" fmla="*/ 4394 h 8333"/>
                    <a:gd name="connsiteX4" fmla="*/ 19092 w 19091"/>
                    <a:gd name="connsiteY4" fmla="*/ 4394 h 8333"/>
                    <a:gd name="connsiteX5" fmla="*/ 19092 w 19091"/>
                    <a:gd name="connsiteY5" fmla="*/ 2727 h 8333"/>
                    <a:gd name="connsiteX6" fmla="*/ 18334 w 19091"/>
                    <a:gd name="connsiteY6" fmla="*/ 1364 h 8333"/>
                    <a:gd name="connsiteX7" fmla="*/ 16819 w 19091"/>
                    <a:gd name="connsiteY7" fmla="*/ 152 h 8333"/>
                    <a:gd name="connsiteX8" fmla="*/ 11819 w 19091"/>
                    <a:gd name="connsiteY8" fmla="*/ 0 h 8333"/>
                    <a:gd name="connsiteX9" fmla="*/ 8940 w 19091"/>
                    <a:gd name="connsiteY9" fmla="*/ 3940 h 8333"/>
                    <a:gd name="connsiteX10" fmla="*/ 909 w 19091"/>
                    <a:gd name="connsiteY10" fmla="*/ 4394 h 8333"/>
                    <a:gd name="connsiteX11" fmla="*/ 0 w 19091"/>
                    <a:gd name="connsiteY11" fmla="*/ 7121 h 8333"/>
                    <a:gd name="connsiteX12" fmla="*/ 3485 w 19091"/>
                    <a:gd name="connsiteY12" fmla="*/ 8334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91" h="8333">
                      <a:moveTo>
                        <a:pt x="6818" y="7879"/>
                      </a:moveTo>
                      <a:lnTo>
                        <a:pt x="12273" y="5606"/>
                      </a:lnTo>
                      <a:lnTo>
                        <a:pt x="13182" y="4546"/>
                      </a:lnTo>
                      <a:lnTo>
                        <a:pt x="17879" y="4394"/>
                      </a:lnTo>
                      <a:lnTo>
                        <a:pt x="19092" y="4394"/>
                      </a:lnTo>
                      <a:lnTo>
                        <a:pt x="19092" y="2727"/>
                      </a:lnTo>
                      <a:lnTo>
                        <a:pt x="18334" y="1364"/>
                      </a:lnTo>
                      <a:lnTo>
                        <a:pt x="16819" y="152"/>
                      </a:lnTo>
                      <a:lnTo>
                        <a:pt x="11819" y="0"/>
                      </a:lnTo>
                      <a:lnTo>
                        <a:pt x="8940" y="3940"/>
                      </a:lnTo>
                      <a:lnTo>
                        <a:pt x="909" y="4394"/>
                      </a:lnTo>
                      <a:lnTo>
                        <a:pt x="0" y="7121"/>
                      </a:lnTo>
                      <a:lnTo>
                        <a:pt x="3485" y="833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4" name="Freeform: Shape 3113">
                  <a:extLst>
                    <a:ext uri="{FF2B5EF4-FFF2-40B4-BE49-F238E27FC236}">
                      <a16:creationId xmlns:a16="http://schemas.microsoft.com/office/drawing/2014/main" id="{D74F23C9-1B7A-44A3-943E-3D8C1D07F1AE}"/>
                    </a:ext>
                  </a:extLst>
                </p:cNvPr>
                <p:cNvSpPr/>
                <p:nvPr/>
              </p:nvSpPr>
              <p:spPr>
                <a:xfrm>
                  <a:off x="8493816" y="1728859"/>
                  <a:ext cx="165612" cy="89245"/>
                </a:xfrm>
                <a:custGeom>
                  <a:avLst/>
                  <a:gdLst>
                    <a:gd name="connsiteX0" fmla="*/ 26668 w 165612"/>
                    <a:gd name="connsiteY0" fmla="*/ 48941 h 89245"/>
                    <a:gd name="connsiteX1" fmla="*/ 26516 w 165612"/>
                    <a:gd name="connsiteY1" fmla="*/ 52426 h 89245"/>
                    <a:gd name="connsiteX2" fmla="*/ 25304 w 165612"/>
                    <a:gd name="connsiteY2" fmla="*/ 54699 h 89245"/>
                    <a:gd name="connsiteX3" fmla="*/ 23940 w 165612"/>
                    <a:gd name="connsiteY3" fmla="*/ 56669 h 89245"/>
                    <a:gd name="connsiteX4" fmla="*/ 22880 w 165612"/>
                    <a:gd name="connsiteY4" fmla="*/ 58639 h 89245"/>
                    <a:gd name="connsiteX5" fmla="*/ 21062 w 165612"/>
                    <a:gd name="connsiteY5" fmla="*/ 64093 h 89245"/>
                    <a:gd name="connsiteX6" fmla="*/ 20001 w 165612"/>
                    <a:gd name="connsiteY6" fmla="*/ 66518 h 89245"/>
                    <a:gd name="connsiteX7" fmla="*/ 10607 w 165612"/>
                    <a:gd name="connsiteY7" fmla="*/ 72881 h 89245"/>
                    <a:gd name="connsiteX8" fmla="*/ 6970 w 165612"/>
                    <a:gd name="connsiteY8" fmla="*/ 76063 h 89245"/>
                    <a:gd name="connsiteX9" fmla="*/ 4091 w 165612"/>
                    <a:gd name="connsiteY9" fmla="*/ 81670 h 89245"/>
                    <a:gd name="connsiteX10" fmla="*/ 0 w 165612"/>
                    <a:gd name="connsiteY10" fmla="*/ 84397 h 89245"/>
                    <a:gd name="connsiteX11" fmla="*/ 2879 w 165612"/>
                    <a:gd name="connsiteY11" fmla="*/ 86670 h 89245"/>
                    <a:gd name="connsiteX12" fmla="*/ 5758 w 165612"/>
                    <a:gd name="connsiteY12" fmla="*/ 88185 h 89245"/>
                    <a:gd name="connsiteX13" fmla="*/ 15152 w 165612"/>
                    <a:gd name="connsiteY13" fmla="*/ 89246 h 89245"/>
                    <a:gd name="connsiteX14" fmla="*/ 21667 w 165612"/>
                    <a:gd name="connsiteY14" fmla="*/ 88185 h 89245"/>
                    <a:gd name="connsiteX15" fmla="*/ 34244 w 165612"/>
                    <a:gd name="connsiteY15" fmla="*/ 83942 h 89245"/>
                    <a:gd name="connsiteX16" fmla="*/ 47881 w 165612"/>
                    <a:gd name="connsiteY16" fmla="*/ 78185 h 89245"/>
                    <a:gd name="connsiteX17" fmla="*/ 52426 w 165612"/>
                    <a:gd name="connsiteY17" fmla="*/ 75306 h 89245"/>
                    <a:gd name="connsiteX18" fmla="*/ 65760 w 165612"/>
                    <a:gd name="connsiteY18" fmla="*/ 75154 h 89245"/>
                    <a:gd name="connsiteX19" fmla="*/ 79094 w 165612"/>
                    <a:gd name="connsiteY19" fmla="*/ 74548 h 89245"/>
                    <a:gd name="connsiteX20" fmla="*/ 91064 w 165612"/>
                    <a:gd name="connsiteY20" fmla="*/ 73336 h 89245"/>
                    <a:gd name="connsiteX21" fmla="*/ 92579 w 165612"/>
                    <a:gd name="connsiteY21" fmla="*/ 74700 h 89245"/>
                    <a:gd name="connsiteX22" fmla="*/ 94246 w 165612"/>
                    <a:gd name="connsiteY22" fmla="*/ 75457 h 89245"/>
                    <a:gd name="connsiteX23" fmla="*/ 95912 w 165612"/>
                    <a:gd name="connsiteY23" fmla="*/ 75457 h 89245"/>
                    <a:gd name="connsiteX24" fmla="*/ 101670 w 165612"/>
                    <a:gd name="connsiteY24" fmla="*/ 71518 h 89245"/>
                    <a:gd name="connsiteX25" fmla="*/ 121217 w 165612"/>
                    <a:gd name="connsiteY25" fmla="*/ 71366 h 89245"/>
                    <a:gd name="connsiteX26" fmla="*/ 136975 w 165612"/>
                    <a:gd name="connsiteY26" fmla="*/ 66669 h 89245"/>
                    <a:gd name="connsiteX27" fmla="*/ 143036 w 165612"/>
                    <a:gd name="connsiteY27" fmla="*/ 65912 h 89245"/>
                    <a:gd name="connsiteX28" fmla="*/ 149248 w 165612"/>
                    <a:gd name="connsiteY28" fmla="*/ 66518 h 89245"/>
                    <a:gd name="connsiteX29" fmla="*/ 151672 w 165612"/>
                    <a:gd name="connsiteY29" fmla="*/ 65608 h 89245"/>
                    <a:gd name="connsiteX30" fmla="*/ 164855 w 165612"/>
                    <a:gd name="connsiteY30" fmla="*/ 56820 h 89245"/>
                    <a:gd name="connsiteX31" fmla="*/ 165612 w 165612"/>
                    <a:gd name="connsiteY31" fmla="*/ 51214 h 89245"/>
                    <a:gd name="connsiteX32" fmla="*/ 164703 w 165612"/>
                    <a:gd name="connsiteY32" fmla="*/ 46820 h 89245"/>
                    <a:gd name="connsiteX33" fmla="*/ 163188 w 165612"/>
                    <a:gd name="connsiteY33" fmla="*/ 42729 h 89245"/>
                    <a:gd name="connsiteX34" fmla="*/ 161824 w 165612"/>
                    <a:gd name="connsiteY34" fmla="*/ 40001 h 89245"/>
                    <a:gd name="connsiteX35" fmla="*/ 160309 w 165612"/>
                    <a:gd name="connsiteY35" fmla="*/ 37577 h 89245"/>
                    <a:gd name="connsiteX36" fmla="*/ 156672 w 165612"/>
                    <a:gd name="connsiteY36" fmla="*/ 36062 h 89245"/>
                    <a:gd name="connsiteX37" fmla="*/ 153036 w 165612"/>
                    <a:gd name="connsiteY37" fmla="*/ 35456 h 89245"/>
                    <a:gd name="connsiteX38" fmla="*/ 146217 w 165612"/>
                    <a:gd name="connsiteY38" fmla="*/ 36668 h 89245"/>
                    <a:gd name="connsiteX39" fmla="*/ 141217 w 165612"/>
                    <a:gd name="connsiteY39" fmla="*/ 33941 h 89245"/>
                    <a:gd name="connsiteX40" fmla="*/ 141975 w 165612"/>
                    <a:gd name="connsiteY40" fmla="*/ 31213 h 89245"/>
                    <a:gd name="connsiteX41" fmla="*/ 141217 w 165612"/>
                    <a:gd name="connsiteY41" fmla="*/ 28789 h 89245"/>
                    <a:gd name="connsiteX42" fmla="*/ 140005 w 165612"/>
                    <a:gd name="connsiteY42" fmla="*/ 28031 h 89245"/>
                    <a:gd name="connsiteX43" fmla="*/ 131369 w 165612"/>
                    <a:gd name="connsiteY43" fmla="*/ 25759 h 89245"/>
                    <a:gd name="connsiteX44" fmla="*/ 128944 w 165612"/>
                    <a:gd name="connsiteY44" fmla="*/ 22728 h 89245"/>
                    <a:gd name="connsiteX45" fmla="*/ 126823 w 165612"/>
                    <a:gd name="connsiteY45" fmla="*/ 19092 h 89245"/>
                    <a:gd name="connsiteX46" fmla="*/ 123489 w 165612"/>
                    <a:gd name="connsiteY46" fmla="*/ 17425 h 89245"/>
                    <a:gd name="connsiteX47" fmla="*/ 120005 w 165612"/>
                    <a:gd name="connsiteY47" fmla="*/ 17425 h 89245"/>
                    <a:gd name="connsiteX48" fmla="*/ 113338 w 165612"/>
                    <a:gd name="connsiteY48" fmla="*/ 18940 h 89245"/>
                    <a:gd name="connsiteX49" fmla="*/ 106974 w 165612"/>
                    <a:gd name="connsiteY49" fmla="*/ 22274 h 89245"/>
                    <a:gd name="connsiteX50" fmla="*/ 103640 w 165612"/>
                    <a:gd name="connsiteY50" fmla="*/ 23183 h 89245"/>
                    <a:gd name="connsiteX51" fmla="*/ 100155 w 165612"/>
                    <a:gd name="connsiteY51" fmla="*/ 23183 h 89245"/>
                    <a:gd name="connsiteX52" fmla="*/ 97277 w 165612"/>
                    <a:gd name="connsiteY52" fmla="*/ 25759 h 89245"/>
                    <a:gd name="connsiteX53" fmla="*/ 94700 w 165612"/>
                    <a:gd name="connsiteY53" fmla="*/ 29698 h 89245"/>
                    <a:gd name="connsiteX54" fmla="*/ 90306 w 165612"/>
                    <a:gd name="connsiteY54" fmla="*/ 34395 h 89245"/>
                    <a:gd name="connsiteX55" fmla="*/ 85458 w 165612"/>
                    <a:gd name="connsiteY55" fmla="*/ 36668 h 89245"/>
                    <a:gd name="connsiteX56" fmla="*/ 86367 w 165612"/>
                    <a:gd name="connsiteY56" fmla="*/ 34092 h 89245"/>
                    <a:gd name="connsiteX57" fmla="*/ 94549 w 165612"/>
                    <a:gd name="connsiteY57" fmla="*/ 20152 h 89245"/>
                    <a:gd name="connsiteX58" fmla="*/ 95761 w 165612"/>
                    <a:gd name="connsiteY58" fmla="*/ 15758 h 89245"/>
                    <a:gd name="connsiteX59" fmla="*/ 98337 w 165612"/>
                    <a:gd name="connsiteY59" fmla="*/ 11061 h 89245"/>
                    <a:gd name="connsiteX60" fmla="*/ 99852 w 165612"/>
                    <a:gd name="connsiteY60" fmla="*/ 10000 h 89245"/>
                    <a:gd name="connsiteX61" fmla="*/ 103034 w 165612"/>
                    <a:gd name="connsiteY61" fmla="*/ 9243 h 89245"/>
                    <a:gd name="connsiteX62" fmla="*/ 104246 w 165612"/>
                    <a:gd name="connsiteY62" fmla="*/ 8334 h 89245"/>
                    <a:gd name="connsiteX63" fmla="*/ 102731 w 165612"/>
                    <a:gd name="connsiteY63" fmla="*/ 6364 h 89245"/>
                    <a:gd name="connsiteX64" fmla="*/ 95761 w 165612"/>
                    <a:gd name="connsiteY64" fmla="*/ 2576 h 89245"/>
                    <a:gd name="connsiteX65" fmla="*/ 85306 w 165612"/>
                    <a:gd name="connsiteY65" fmla="*/ 0 h 89245"/>
                    <a:gd name="connsiteX66" fmla="*/ 81973 w 165612"/>
                    <a:gd name="connsiteY66" fmla="*/ 152 h 89245"/>
                    <a:gd name="connsiteX67" fmla="*/ 80306 w 165612"/>
                    <a:gd name="connsiteY67" fmla="*/ 1212 h 89245"/>
                    <a:gd name="connsiteX68" fmla="*/ 79094 w 165612"/>
                    <a:gd name="connsiteY68" fmla="*/ 3788 h 89245"/>
                    <a:gd name="connsiteX69" fmla="*/ 79094 w 165612"/>
                    <a:gd name="connsiteY69" fmla="*/ 7425 h 89245"/>
                    <a:gd name="connsiteX70" fmla="*/ 81064 w 165612"/>
                    <a:gd name="connsiteY70" fmla="*/ 10910 h 89245"/>
                    <a:gd name="connsiteX71" fmla="*/ 77730 w 165612"/>
                    <a:gd name="connsiteY71" fmla="*/ 11213 h 89245"/>
                    <a:gd name="connsiteX72" fmla="*/ 74245 w 165612"/>
                    <a:gd name="connsiteY72" fmla="*/ 10455 h 89245"/>
                    <a:gd name="connsiteX73" fmla="*/ 71821 w 165612"/>
                    <a:gd name="connsiteY73" fmla="*/ 7576 h 89245"/>
                    <a:gd name="connsiteX74" fmla="*/ 69396 w 165612"/>
                    <a:gd name="connsiteY74" fmla="*/ 3940 h 89245"/>
                    <a:gd name="connsiteX75" fmla="*/ 67578 w 165612"/>
                    <a:gd name="connsiteY75" fmla="*/ 3788 h 89245"/>
                    <a:gd name="connsiteX76" fmla="*/ 64396 w 165612"/>
                    <a:gd name="connsiteY76" fmla="*/ 4394 h 89245"/>
                    <a:gd name="connsiteX77" fmla="*/ 63033 w 165612"/>
                    <a:gd name="connsiteY77" fmla="*/ 5152 h 89245"/>
                    <a:gd name="connsiteX78" fmla="*/ 61972 w 165612"/>
                    <a:gd name="connsiteY78" fmla="*/ 7425 h 89245"/>
                    <a:gd name="connsiteX79" fmla="*/ 61669 w 165612"/>
                    <a:gd name="connsiteY79" fmla="*/ 11061 h 89245"/>
                    <a:gd name="connsiteX80" fmla="*/ 55305 w 165612"/>
                    <a:gd name="connsiteY80" fmla="*/ 12425 h 89245"/>
                    <a:gd name="connsiteX81" fmla="*/ 52123 w 165612"/>
                    <a:gd name="connsiteY81" fmla="*/ 14091 h 89245"/>
                    <a:gd name="connsiteX82" fmla="*/ 50911 w 165612"/>
                    <a:gd name="connsiteY82" fmla="*/ 16970 h 89245"/>
                    <a:gd name="connsiteX83" fmla="*/ 48183 w 165612"/>
                    <a:gd name="connsiteY83" fmla="*/ 19092 h 89245"/>
                    <a:gd name="connsiteX84" fmla="*/ 48638 w 165612"/>
                    <a:gd name="connsiteY84" fmla="*/ 20758 h 89245"/>
                    <a:gd name="connsiteX85" fmla="*/ 47578 w 165612"/>
                    <a:gd name="connsiteY85" fmla="*/ 25152 h 89245"/>
                    <a:gd name="connsiteX86" fmla="*/ 45911 w 165612"/>
                    <a:gd name="connsiteY86" fmla="*/ 26213 h 89245"/>
                    <a:gd name="connsiteX87" fmla="*/ 44093 w 165612"/>
                    <a:gd name="connsiteY87" fmla="*/ 27728 h 89245"/>
                    <a:gd name="connsiteX88" fmla="*/ 43032 w 165612"/>
                    <a:gd name="connsiteY88" fmla="*/ 31062 h 89245"/>
                    <a:gd name="connsiteX89" fmla="*/ 42880 w 165612"/>
                    <a:gd name="connsiteY89" fmla="*/ 32880 h 89245"/>
                    <a:gd name="connsiteX90" fmla="*/ 43941 w 165612"/>
                    <a:gd name="connsiteY90" fmla="*/ 38032 h 89245"/>
                    <a:gd name="connsiteX91" fmla="*/ 45608 w 165612"/>
                    <a:gd name="connsiteY91" fmla="*/ 39395 h 89245"/>
                    <a:gd name="connsiteX92" fmla="*/ 43335 w 165612"/>
                    <a:gd name="connsiteY92" fmla="*/ 39698 h 89245"/>
                    <a:gd name="connsiteX93" fmla="*/ 36365 w 165612"/>
                    <a:gd name="connsiteY93" fmla="*/ 38941 h 89245"/>
                    <a:gd name="connsiteX94" fmla="*/ 33486 w 165612"/>
                    <a:gd name="connsiteY94" fmla="*/ 39547 h 89245"/>
                    <a:gd name="connsiteX95" fmla="*/ 30910 w 165612"/>
                    <a:gd name="connsiteY95" fmla="*/ 41517 h 89245"/>
                    <a:gd name="connsiteX96" fmla="*/ 27274 w 165612"/>
                    <a:gd name="connsiteY96" fmla="*/ 46062 h 8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65612" h="89245">
                      <a:moveTo>
                        <a:pt x="26668" y="48941"/>
                      </a:moveTo>
                      <a:lnTo>
                        <a:pt x="26516" y="52426"/>
                      </a:lnTo>
                      <a:lnTo>
                        <a:pt x="25304" y="54699"/>
                      </a:lnTo>
                      <a:lnTo>
                        <a:pt x="23940" y="56669"/>
                      </a:lnTo>
                      <a:lnTo>
                        <a:pt x="22880" y="58639"/>
                      </a:lnTo>
                      <a:lnTo>
                        <a:pt x="21062" y="64093"/>
                      </a:lnTo>
                      <a:lnTo>
                        <a:pt x="20001" y="66518"/>
                      </a:lnTo>
                      <a:lnTo>
                        <a:pt x="10607" y="72881"/>
                      </a:lnTo>
                      <a:lnTo>
                        <a:pt x="6970" y="76063"/>
                      </a:lnTo>
                      <a:lnTo>
                        <a:pt x="4091" y="81670"/>
                      </a:lnTo>
                      <a:lnTo>
                        <a:pt x="0" y="84397"/>
                      </a:lnTo>
                      <a:lnTo>
                        <a:pt x="2879" y="86670"/>
                      </a:lnTo>
                      <a:lnTo>
                        <a:pt x="5758" y="88185"/>
                      </a:lnTo>
                      <a:lnTo>
                        <a:pt x="15152" y="89246"/>
                      </a:lnTo>
                      <a:lnTo>
                        <a:pt x="21667" y="88185"/>
                      </a:lnTo>
                      <a:lnTo>
                        <a:pt x="34244" y="83942"/>
                      </a:lnTo>
                      <a:lnTo>
                        <a:pt x="47881" y="78185"/>
                      </a:lnTo>
                      <a:lnTo>
                        <a:pt x="52426" y="75306"/>
                      </a:lnTo>
                      <a:lnTo>
                        <a:pt x="65760" y="75154"/>
                      </a:lnTo>
                      <a:lnTo>
                        <a:pt x="79094" y="74548"/>
                      </a:lnTo>
                      <a:lnTo>
                        <a:pt x="91064" y="73336"/>
                      </a:lnTo>
                      <a:lnTo>
                        <a:pt x="92579" y="74700"/>
                      </a:lnTo>
                      <a:lnTo>
                        <a:pt x="94246" y="75457"/>
                      </a:lnTo>
                      <a:lnTo>
                        <a:pt x="95912" y="75457"/>
                      </a:lnTo>
                      <a:lnTo>
                        <a:pt x="101670" y="71518"/>
                      </a:lnTo>
                      <a:lnTo>
                        <a:pt x="121217" y="71366"/>
                      </a:lnTo>
                      <a:lnTo>
                        <a:pt x="136975" y="66669"/>
                      </a:lnTo>
                      <a:lnTo>
                        <a:pt x="143036" y="65912"/>
                      </a:lnTo>
                      <a:lnTo>
                        <a:pt x="149248" y="66518"/>
                      </a:lnTo>
                      <a:lnTo>
                        <a:pt x="151672" y="65608"/>
                      </a:lnTo>
                      <a:lnTo>
                        <a:pt x="164855" y="56820"/>
                      </a:lnTo>
                      <a:lnTo>
                        <a:pt x="165612" y="51214"/>
                      </a:lnTo>
                      <a:lnTo>
                        <a:pt x="164703" y="46820"/>
                      </a:lnTo>
                      <a:lnTo>
                        <a:pt x="163188" y="42729"/>
                      </a:lnTo>
                      <a:lnTo>
                        <a:pt x="161824" y="40001"/>
                      </a:lnTo>
                      <a:lnTo>
                        <a:pt x="160309" y="37577"/>
                      </a:lnTo>
                      <a:lnTo>
                        <a:pt x="156672" y="36062"/>
                      </a:lnTo>
                      <a:lnTo>
                        <a:pt x="153036" y="35456"/>
                      </a:lnTo>
                      <a:lnTo>
                        <a:pt x="146217" y="36668"/>
                      </a:lnTo>
                      <a:lnTo>
                        <a:pt x="141217" y="33941"/>
                      </a:lnTo>
                      <a:lnTo>
                        <a:pt x="141975" y="31213"/>
                      </a:lnTo>
                      <a:lnTo>
                        <a:pt x="141217" y="28789"/>
                      </a:lnTo>
                      <a:lnTo>
                        <a:pt x="140005" y="28031"/>
                      </a:lnTo>
                      <a:lnTo>
                        <a:pt x="131369" y="25759"/>
                      </a:lnTo>
                      <a:lnTo>
                        <a:pt x="128944" y="22728"/>
                      </a:lnTo>
                      <a:lnTo>
                        <a:pt x="126823" y="19092"/>
                      </a:lnTo>
                      <a:lnTo>
                        <a:pt x="123489" y="17425"/>
                      </a:lnTo>
                      <a:lnTo>
                        <a:pt x="120005" y="17425"/>
                      </a:lnTo>
                      <a:lnTo>
                        <a:pt x="113338" y="18940"/>
                      </a:lnTo>
                      <a:lnTo>
                        <a:pt x="106974" y="22274"/>
                      </a:lnTo>
                      <a:lnTo>
                        <a:pt x="103640" y="23183"/>
                      </a:lnTo>
                      <a:lnTo>
                        <a:pt x="100155" y="23183"/>
                      </a:lnTo>
                      <a:lnTo>
                        <a:pt x="97277" y="25759"/>
                      </a:lnTo>
                      <a:lnTo>
                        <a:pt x="94700" y="29698"/>
                      </a:lnTo>
                      <a:lnTo>
                        <a:pt x="90306" y="34395"/>
                      </a:lnTo>
                      <a:lnTo>
                        <a:pt x="85458" y="36668"/>
                      </a:lnTo>
                      <a:lnTo>
                        <a:pt x="86367" y="34092"/>
                      </a:lnTo>
                      <a:lnTo>
                        <a:pt x="94549" y="20152"/>
                      </a:lnTo>
                      <a:lnTo>
                        <a:pt x="95761" y="15758"/>
                      </a:lnTo>
                      <a:lnTo>
                        <a:pt x="98337" y="11061"/>
                      </a:lnTo>
                      <a:lnTo>
                        <a:pt x="99852" y="10000"/>
                      </a:lnTo>
                      <a:lnTo>
                        <a:pt x="103034" y="9243"/>
                      </a:lnTo>
                      <a:lnTo>
                        <a:pt x="104246" y="8334"/>
                      </a:lnTo>
                      <a:lnTo>
                        <a:pt x="102731" y="6364"/>
                      </a:lnTo>
                      <a:lnTo>
                        <a:pt x="95761" y="2576"/>
                      </a:lnTo>
                      <a:lnTo>
                        <a:pt x="85306" y="0"/>
                      </a:lnTo>
                      <a:lnTo>
                        <a:pt x="81973" y="152"/>
                      </a:lnTo>
                      <a:lnTo>
                        <a:pt x="80306" y="1212"/>
                      </a:lnTo>
                      <a:lnTo>
                        <a:pt x="79094" y="3788"/>
                      </a:lnTo>
                      <a:lnTo>
                        <a:pt x="79094" y="7425"/>
                      </a:lnTo>
                      <a:lnTo>
                        <a:pt x="81064" y="10910"/>
                      </a:lnTo>
                      <a:lnTo>
                        <a:pt x="77730" y="11213"/>
                      </a:lnTo>
                      <a:lnTo>
                        <a:pt x="74245" y="10455"/>
                      </a:lnTo>
                      <a:lnTo>
                        <a:pt x="71821" y="7576"/>
                      </a:lnTo>
                      <a:lnTo>
                        <a:pt x="69396" y="3940"/>
                      </a:lnTo>
                      <a:lnTo>
                        <a:pt x="67578" y="3788"/>
                      </a:lnTo>
                      <a:lnTo>
                        <a:pt x="64396" y="4394"/>
                      </a:lnTo>
                      <a:lnTo>
                        <a:pt x="63033" y="5152"/>
                      </a:lnTo>
                      <a:lnTo>
                        <a:pt x="61972" y="7425"/>
                      </a:lnTo>
                      <a:lnTo>
                        <a:pt x="61669" y="11061"/>
                      </a:lnTo>
                      <a:lnTo>
                        <a:pt x="55305" y="12425"/>
                      </a:lnTo>
                      <a:lnTo>
                        <a:pt x="52123" y="14091"/>
                      </a:lnTo>
                      <a:lnTo>
                        <a:pt x="50911" y="16970"/>
                      </a:lnTo>
                      <a:lnTo>
                        <a:pt x="48183" y="19092"/>
                      </a:lnTo>
                      <a:lnTo>
                        <a:pt x="48638" y="20758"/>
                      </a:lnTo>
                      <a:lnTo>
                        <a:pt x="47578" y="25152"/>
                      </a:lnTo>
                      <a:lnTo>
                        <a:pt x="45911" y="26213"/>
                      </a:lnTo>
                      <a:lnTo>
                        <a:pt x="44093" y="27728"/>
                      </a:lnTo>
                      <a:lnTo>
                        <a:pt x="43032" y="31062"/>
                      </a:lnTo>
                      <a:lnTo>
                        <a:pt x="42880" y="32880"/>
                      </a:lnTo>
                      <a:lnTo>
                        <a:pt x="43941" y="38032"/>
                      </a:lnTo>
                      <a:lnTo>
                        <a:pt x="45608" y="39395"/>
                      </a:lnTo>
                      <a:lnTo>
                        <a:pt x="43335" y="39698"/>
                      </a:lnTo>
                      <a:lnTo>
                        <a:pt x="36365" y="38941"/>
                      </a:lnTo>
                      <a:lnTo>
                        <a:pt x="33486" y="39547"/>
                      </a:lnTo>
                      <a:lnTo>
                        <a:pt x="30910" y="41517"/>
                      </a:lnTo>
                      <a:lnTo>
                        <a:pt x="27274" y="46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5" name="Freeform: Shape 3114">
                  <a:extLst>
                    <a:ext uri="{FF2B5EF4-FFF2-40B4-BE49-F238E27FC236}">
                      <a16:creationId xmlns:a16="http://schemas.microsoft.com/office/drawing/2014/main" id="{8D77FA68-3235-41E9-BFB8-291BA2B56A88}"/>
                    </a:ext>
                  </a:extLst>
                </p:cNvPr>
                <p:cNvSpPr/>
                <p:nvPr/>
              </p:nvSpPr>
              <p:spPr>
                <a:xfrm>
                  <a:off x="8323658" y="1683100"/>
                  <a:ext cx="191219" cy="85306"/>
                </a:xfrm>
                <a:custGeom>
                  <a:avLst/>
                  <a:gdLst>
                    <a:gd name="connsiteX0" fmla="*/ 123641 w 191219"/>
                    <a:gd name="connsiteY0" fmla="*/ 0 h 85306"/>
                    <a:gd name="connsiteX1" fmla="*/ 110762 w 191219"/>
                    <a:gd name="connsiteY1" fmla="*/ 909 h 85306"/>
                    <a:gd name="connsiteX2" fmla="*/ 91519 w 191219"/>
                    <a:gd name="connsiteY2" fmla="*/ 3940 h 85306"/>
                    <a:gd name="connsiteX3" fmla="*/ 87731 w 191219"/>
                    <a:gd name="connsiteY3" fmla="*/ 3637 h 85306"/>
                    <a:gd name="connsiteX4" fmla="*/ 84549 w 191219"/>
                    <a:gd name="connsiteY4" fmla="*/ 4394 h 85306"/>
                    <a:gd name="connsiteX5" fmla="*/ 76215 w 191219"/>
                    <a:gd name="connsiteY5" fmla="*/ 3637 h 85306"/>
                    <a:gd name="connsiteX6" fmla="*/ 66366 w 191219"/>
                    <a:gd name="connsiteY6" fmla="*/ 3940 h 85306"/>
                    <a:gd name="connsiteX7" fmla="*/ 63487 w 191219"/>
                    <a:gd name="connsiteY7" fmla="*/ 5909 h 85306"/>
                    <a:gd name="connsiteX8" fmla="*/ 62124 w 191219"/>
                    <a:gd name="connsiteY8" fmla="*/ 7879 h 85306"/>
                    <a:gd name="connsiteX9" fmla="*/ 60457 w 191219"/>
                    <a:gd name="connsiteY9" fmla="*/ 8637 h 85306"/>
                    <a:gd name="connsiteX10" fmla="*/ 52427 w 191219"/>
                    <a:gd name="connsiteY10" fmla="*/ 4394 h 85306"/>
                    <a:gd name="connsiteX11" fmla="*/ 51366 w 191219"/>
                    <a:gd name="connsiteY11" fmla="*/ 5000 h 85306"/>
                    <a:gd name="connsiteX12" fmla="*/ 47729 w 191219"/>
                    <a:gd name="connsiteY12" fmla="*/ 8334 h 85306"/>
                    <a:gd name="connsiteX13" fmla="*/ 45153 w 191219"/>
                    <a:gd name="connsiteY13" fmla="*/ 9849 h 85306"/>
                    <a:gd name="connsiteX14" fmla="*/ 35001 w 191219"/>
                    <a:gd name="connsiteY14" fmla="*/ 14243 h 85306"/>
                    <a:gd name="connsiteX15" fmla="*/ 32426 w 191219"/>
                    <a:gd name="connsiteY15" fmla="*/ 21213 h 85306"/>
                    <a:gd name="connsiteX16" fmla="*/ 26516 w 191219"/>
                    <a:gd name="connsiteY16" fmla="*/ 25759 h 85306"/>
                    <a:gd name="connsiteX17" fmla="*/ 21213 w 191219"/>
                    <a:gd name="connsiteY17" fmla="*/ 29092 h 85306"/>
                    <a:gd name="connsiteX18" fmla="*/ 9091 w 191219"/>
                    <a:gd name="connsiteY18" fmla="*/ 33486 h 85306"/>
                    <a:gd name="connsiteX19" fmla="*/ 0 w 191219"/>
                    <a:gd name="connsiteY19" fmla="*/ 41971 h 85306"/>
                    <a:gd name="connsiteX20" fmla="*/ 5455 w 191219"/>
                    <a:gd name="connsiteY20" fmla="*/ 44244 h 85306"/>
                    <a:gd name="connsiteX21" fmla="*/ 11213 w 191219"/>
                    <a:gd name="connsiteY21" fmla="*/ 43941 h 85306"/>
                    <a:gd name="connsiteX22" fmla="*/ 18789 w 191219"/>
                    <a:gd name="connsiteY22" fmla="*/ 44699 h 85306"/>
                    <a:gd name="connsiteX23" fmla="*/ 31365 w 191219"/>
                    <a:gd name="connsiteY23" fmla="*/ 47729 h 85306"/>
                    <a:gd name="connsiteX24" fmla="*/ 34092 w 191219"/>
                    <a:gd name="connsiteY24" fmla="*/ 53487 h 85306"/>
                    <a:gd name="connsiteX25" fmla="*/ 38638 w 191219"/>
                    <a:gd name="connsiteY25" fmla="*/ 58942 h 85306"/>
                    <a:gd name="connsiteX26" fmla="*/ 42426 w 191219"/>
                    <a:gd name="connsiteY26" fmla="*/ 60608 h 85306"/>
                    <a:gd name="connsiteX27" fmla="*/ 42729 w 191219"/>
                    <a:gd name="connsiteY27" fmla="*/ 63790 h 85306"/>
                    <a:gd name="connsiteX28" fmla="*/ 43335 w 191219"/>
                    <a:gd name="connsiteY28" fmla="*/ 64548 h 85306"/>
                    <a:gd name="connsiteX29" fmla="*/ 47123 w 191219"/>
                    <a:gd name="connsiteY29" fmla="*/ 67124 h 85306"/>
                    <a:gd name="connsiteX30" fmla="*/ 53336 w 191219"/>
                    <a:gd name="connsiteY30" fmla="*/ 69093 h 85306"/>
                    <a:gd name="connsiteX31" fmla="*/ 56517 w 191219"/>
                    <a:gd name="connsiteY31" fmla="*/ 69396 h 85306"/>
                    <a:gd name="connsiteX32" fmla="*/ 64700 w 191219"/>
                    <a:gd name="connsiteY32" fmla="*/ 66215 h 85306"/>
                    <a:gd name="connsiteX33" fmla="*/ 67275 w 191219"/>
                    <a:gd name="connsiteY33" fmla="*/ 66366 h 85306"/>
                    <a:gd name="connsiteX34" fmla="*/ 71972 w 191219"/>
                    <a:gd name="connsiteY34" fmla="*/ 71669 h 85306"/>
                    <a:gd name="connsiteX35" fmla="*/ 74548 w 191219"/>
                    <a:gd name="connsiteY35" fmla="*/ 72275 h 85306"/>
                    <a:gd name="connsiteX36" fmla="*/ 89701 w 191219"/>
                    <a:gd name="connsiteY36" fmla="*/ 71366 h 85306"/>
                    <a:gd name="connsiteX37" fmla="*/ 91973 w 191219"/>
                    <a:gd name="connsiteY37" fmla="*/ 72124 h 85306"/>
                    <a:gd name="connsiteX38" fmla="*/ 102277 w 191219"/>
                    <a:gd name="connsiteY38" fmla="*/ 73336 h 85306"/>
                    <a:gd name="connsiteX39" fmla="*/ 103943 w 191219"/>
                    <a:gd name="connsiteY39" fmla="*/ 74548 h 85306"/>
                    <a:gd name="connsiteX40" fmla="*/ 105762 w 191219"/>
                    <a:gd name="connsiteY40" fmla="*/ 76366 h 85306"/>
                    <a:gd name="connsiteX41" fmla="*/ 114247 w 191219"/>
                    <a:gd name="connsiteY41" fmla="*/ 80306 h 85306"/>
                    <a:gd name="connsiteX42" fmla="*/ 122732 w 191219"/>
                    <a:gd name="connsiteY42" fmla="*/ 82882 h 85306"/>
                    <a:gd name="connsiteX43" fmla="*/ 126368 w 191219"/>
                    <a:gd name="connsiteY43" fmla="*/ 82882 h 85306"/>
                    <a:gd name="connsiteX44" fmla="*/ 132278 w 191219"/>
                    <a:gd name="connsiteY44" fmla="*/ 83942 h 85306"/>
                    <a:gd name="connsiteX45" fmla="*/ 136369 w 191219"/>
                    <a:gd name="connsiteY45" fmla="*/ 83185 h 85306"/>
                    <a:gd name="connsiteX46" fmla="*/ 142581 w 191219"/>
                    <a:gd name="connsiteY46" fmla="*/ 84852 h 85306"/>
                    <a:gd name="connsiteX47" fmla="*/ 146066 w 191219"/>
                    <a:gd name="connsiteY47" fmla="*/ 85306 h 85306"/>
                    <a:gd name="connsiteX48" fmla="*/ 157279 w 191219"/>
                    <a:gd name="connsiteY48" fmla="*/ 83336 h 85306"/>
                    <a:gd name="connsiteX49" fmla="*/ 174249 w 191219"/>
                    <a:gd name="connsiteY49" fmla="*/ 82427 h 85306"/>
                    <a:gd name="connsiteX50" fmla="*/ 176977 w 191219"/>
                    <a:gd name="connsiteY50" fmla="*/ 81367 h 85306"/>
                    <a:gd name="connsiteX51" fmla="*/ 187734 w 191219"/>
                    <a:gd name="connsiteY51" fmla="*/ 74700 h 85306"/>
                    <a:gd name="connsiteX52" fmla="*/ 186825 w 191219"/>
                    <a:gd name="connsiteY52" fmla="*/ 71972 h 85306"/>
                    <a:gd name="connsiteX53" fmla="*/ 184553 w 191219"/>
                    <a:gd name="connsiteY53" fmla="*/ 66518 h 85306"/>
                    <a:gd name="connsiteX54" fmla="*/ 182734 w 191219"/>
                    <a:gd name="connsiteY54" fmla="*/ 65760 h 85306"/>
                    <a:gd name="connsiteX55" fmla="*/ 176370 w 191219"/>
                    <a:gd name="connsiteY55" fmla="*/ 64396 h 85306"/>
                    <a:gd name="connsiteX56" fmla="*/ 170915 w 191219"/>
                    <a:gd name="connsiteY56" fmla="*/ 58487 h 85306"/>
                    <a:gd name="connsiteX57" fmla="*/ 163339 w 191219"/>
                    <a:gd name="connsiteY57" fmla="*/ 54396 h 85306"/>
                    <a:gd name="connsiteX58" fmla="*/ 165158 w 191219"/>
                    <a:gd name="connsiteY58" fmla="*/ 53638 h 85306"/>
                    <a:gd name="connsiteX59" fmla="*/ 166825 w 191219"/>
                    <a:gd name="connsiteY59" fmla="*/ 53638 h 85306"/>
                    <a:gd name="connsiteX60" fmla="*/ 172885 w 191219"/>
                    <a:gd name="connsiteY60" fmla="*/ 55608 h 85306"/>
                    <a:gd name="connsiteX61" fmla="*/ 176977 w 191219"/>
                    <a:gd name="connsiteY61" fmla="*/ 55457 h 85306"/>
                    <a:gd name="connsiteX62" fmla="*/ 180916 w 191219"/>
                    <a:gd name="connsiteY62" fmla="*/ 52578 h 85306"/>
                    <a:gd name="connsiteX63" fmla="*/ 181977 w 191219"/>
                    <a:gd name="connsiteY63" fmla="*/ 48790 h 85306"/>
                    <a:gd name="connsiteX64" fmla="*/ 181522 w 191219"/>
                    <a:gd name="connsiteY64" fmla="*/ 43941 h 85306"/>
                    <a:gd name="connsiteX65" fmla="*/ 181977 w 191219"/>
                    <a:gd name="connsiteY65" fmla="*/ 42123 h 85306"/>
                    <a:gd name="connsiteX66" fmla="*/ 182734 w 191219"/>
                    <a:gd name="connsiteY66" fmla="*/ 40759 h 85306"/>
                    <a:gd name="connsiteX67" fmla="*/ 183340 w 191219"/>
                    <a:gd name="connsiteY67" fmla="*/ 37426 h 85306"/>
                    <a:gd name="connsiteX68" fmla="*/ 183644 w 191219"/>
                    <a:gd name="connsiteY68" fmla="*/ 33789 h 85306"/>
                    <a:gd name="connsiteX69" fmla="*/ 184249 w 191219"/>
                    <a:gd name="connsiteY69" fmla="*/ 32122 h 85306"/>
                    <a:gd name="connsiteX70" fmla="*/ 185158 w 191219"/>
                    <a:gd name="connsiteY70" fmla="*/ 31213 h 85306"/>
                    <a:gd name="connsiteX71" fmla="*/ 187280 w 191219"/>
                    <a:gd name="connsiteY71" fmla="*/ 26819 h 85306"/>
                    <a:gd name="connsiteX72" fmla="*/ 191220 w 191219"/>
                    <a:gd name="connsiteY72" fmla="*/ 24546 h 85306"/>
                    <a:gd name="connsiteX73" fmla="*/ 188189 w 191219"/>
                    <a:gd name="connsiteY73" fmla="*/ 20001 h 85306"/>
                    <a:gd name="connsiteX74" fmla="*/ 184704 w 191219"/>
                    <a:gd name="connsiteY74" fmla="*/ 16970 h 85306"/>
                    <a:gd name="connsiteX75" fmla="*/ 182128 w 191219"/>
                    <a:gd name="connsiteY75" fmla="*/ 15607 h 85306"/>
                    <a:gd name="connsiteX76" fmla="*/ 176977 w 191219"/>
                    <a:gd name="connsiteY76" fmla="*/ 14243 h 85306"/>
                    <a:gd name="connsiteX77" fmla="*/ 175158 w 191219"/>
                    <a:gd name="connsiteY77" fmla="*/ 12425 h 85306"/>
                    <a:gd name="connsiteX78" fmla="*/ 172431 w 191219"/>
                    <a:gd name="connsiteY78" fmla="*/ 11364 h 85306"/>
                    <a:gd name="connsiteX79" fmla="*/ 170310 w 191219"/>
                    <a:gd name="connsiteY79" fmla="*/ 9546 h 85306"/>
                    <a:gd name="connsiteX80" fmla="*/ 158642 w 191219"/>
                    <a:gd name="connsiteY80" fmla="*/ 7728 h 85306"/>
                    <a:gd name="connsiteX81" fmla="*/ 151218 w 191219"/>
                    <a:gd name="connsiteY81" fmla="*/ 7273 h 85306"/>
                    <a:gd name="connsiteX82" fmla="*/ 149400 w 191219"/>
                    <a:gd name="connsiteY82" fmla="*/ 7879 h 85306"/>
                    <a:gd name="connsiteX83" fmla="*/ 147733 w 191219"/>
                    <a:gd name="connsiteY83" fmla="*/ 10000 h 85306"/>
                    <a:gd name="connsiteX84" fmla="*/ 148491 w 191219"/>
                    <a:gd name="connsiteY84" fmla="*/ 13485 h 85306"/>
                    <a:gd name="connsiteX85" fmla="*/ 144551 w 191219"/>
                    <a:gd name="connsiteY85" fmla="*/ 17728 h 85306"/>
                    <a:gd name="connsiteX86" fmla="*/ 142430 w 191219"/>
                    <a:gd name="connsiteY86" fmla="*/ 18486 h 85306"/>
                    <a:gd name="connsiteX87" fmla="*/ 136672 w 191219"/>
                    <a:gd name="connsiteY87" fmla="*/ 16667 h 85306"/>
                    <a:gd name="connsiteX88" fmla="*/ 131369 w 191219"/>
                    <a:gd name="connsiteY88" fmla="*/ 19698 h 85306"/>
                    <a:gd name="connsiteX89" fmla="*/ 127278 w 191219"/>
                    <a:gd name="connsiteY89" fmla="*/ 24243 h 85306"/>
                    <a:gd name="connsiteX90" fmla="*/ 125308 w 191219"/>
                    <a:gd name="connsiteY90" fmla="*/ 25455 h 85306"/>
                    <a:gd name="connsiteX91" fmla="*/ 123641 w 191219"/>
                    <a:gd name="connsiteY91" fmla="*/ 24546 h 85306"/>
                    <a:gd name="connsiteX92" fmla="*/ 124702 w 191219"/>
                    <a:gd name="connsiteY92" fmla="*/ 19849 h 85306"/>
                    <a:gd name="connsiteX93" fmla="*/ 128338 w 191219"/>
                    <a:gd name="connsiteY93" fmla="*/ 17122 h 85306"/>
                    <a:gd name="connsiteX94" fmla="*/ 129702 w 191219"/>
                    <a:gd name="connsiteY94" fmla="*/ 13334 h 85306"/>
                    <a:gd name="connsiteX95" fmla="*/ 132278 w 191219"/>
                    <a:gd name="connsiteY95" fmla="*/ 10303 h 85306"/>
                    <a:gd name="connsiteX96" fmla="*/ 135308 w 191219"/>
                    <a:gd name="connsiteY96" fmla="*/ 9091 h 85306"/>
                    <a:gd name="connsiteX97" fmla="*/ 132278 w 191219"/>
                    <a:gd name="connsiteY97" fmla="*/ 4546 h 85306"/>
                    <a:gd name="connsiteX98" fmla="*/ 125914 w 191219"/>
                    <a:gd name="connsiteY98" fmla="*/ 606 h 8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91219" h="85306">
                      <a:moveTo>
                        <a:pt x="123641" y="0"/>
                      </a:moveTo>
                      <a:lnTo>
                        <a:pt x="110762" y="909"/>
                      </a:lnTo>
                      <a:lnTo>
                        <a:pt x="91519" y="3940"/>
                      </a:lnTo>
                      <a:lnTo>
                        <a:pt x="87731" y="3637"/>
                      </a:lnTo>
                      <a:lnTo>
                        <a:pt x="84549" y="4394"/>
                      </a:lnTo>
                      <a:lnTo>
                        <a:pt x="76215" y="3637"/>
                      </a:lnTo>
                      <a:lnTo>
                        <a:pt x="66366" y="3940"/>
                      </a:lnTo>
                      <a:lnTo>
                        <a:pt x="63487" y="5909"/>
                      </a:lnTo>
                      <a:lnTo>
                        <a:pt x="62124" y="7879"/>
                      </a:lnTo>
                      <a:lnTo>
                        <a:pt x="60457" y="8637"/>
                      </a:lnTo>
                      <a:lnTo>
                        <a:pt x="52427" y="4394"/>
                      </a:lnTo>
                      <a:lnTo>
                        <a:pt x="51366" y="5000"/>
                      </a:lnTo>
                      <a:lnTo>
                        <a:pt x="47729" y="8334"/>
                      </a:lnTo>
                      <a:lnTo>
                        <a:pt x="45153" y="9849"/>
                      </a:lnTo>
                      <a:lnTo>
                        <a:pt x="35001" y="14243"/>
                      </a:lnTo>
                      <a:lnTo>
                        <a:pt x="32426" y="21213"/>
                      </a:lnTo>
                      <a:lnTo>
                        <a:pt x="26516" y="25759"/>
                      </a:lnTo>
                      <a:lnTo>
                        <a:pt x="21213" y="29092"/>
                      </a:lnTo>
                      <a:lnTo>
                        <a:pt x="9091" y="33486"/>
                      </a:lnTo>
                      <a:lnTo>
                        <a:pt x="0" y="41971"/>
                      </a:lnTo>
                      <a:lnTo>
                        <a:pt x="5455" y="44244"/>
                      </a:lnTo>
                      <a:lnTo>
                        <a:pt x="11213" y="43941"/>
                      </a:lnTo>
                      <a:lnTo>
                        <a:pt x="18789" y="44699"/>
                      </a:lnTo>
                      <a:lnTo>
                        <a:pt x="31365" y="47729"/>
                      </a:lnTo>
                      <a:lnTo>
                        <a:pt x="34092" y="53487"/>
                      </a:lnTo>
                      <a:lnTo>
                        <a:pt x="38638" y="58942"/>
                      </a:lnTo>
                      <a:lnTo>
                        <a:pt x="42426" y="60608"/>
                      </a:lnTo>
                      <a:lnTo>
                        <a:pt x="42729" y="63790"/>
                      </a:lnTo>
                      <a:lnTo>
                        <a:pt x="43335" y="64548"/>
                      </a:lnTo>
                      <a:lnTo>
                        <a:pt x="47123" y="67124"/>
                      </a:lnTo>
                      <a:lnTo>
                        <a:pt x="53336" y="69093"/>
                      </a:lnTo>
                      <a:lnTo>
                        <a:pt x="56517" y="69396"/>
                      </a:lnTo>
                      <a:lnTo>
                        <a:pt x="64700" y="66215"/>
                      </a:lnTo>
                      <a:lnTo>
                        <a:pt x="67275" y="66366"/>
                      </a:lnTo>
                      <a:lnTo>
                        <a:pt x="71972" y="71669"/>
                      </a:lnTo>
                      <a:lnTo>
                        <a:pt x="74548" y="72275"/>
                      </a:lnTo>
                      <a:lnTo>
                        <a:pt x="89701" y="71366"/>
                      </a:lnTo>
                      <a:lnTo>
                        <a:pt x="91973" y="72124"/>
                      </a:lnTo>
                      <a:lnTo>
                        <a:pt x="102277" y="73336"/>
                      </a:lnTo>
                      <a:lnTo>
                        <a:pt x="103943" y="74548"/>
                      </a:lnTo>
                      <a:lnTo>
                        <a:pt x="105762" y="76366"/>
                      </a:lnTo>
                      <a:lnTo>
                        <a:pt x="114247" y="80306"/>
                      </a:lnTo>
                      <a:lnTo>
                        <a:pt x="122732" y="82882"/>
                      </a:lnTo>
                      <a:lnTo>
                        <a:pt x="126368" y="82882"/>
                      </a:lnTo>
                      <a:lnTo>
                        <a:pt x="132278" y="83942"/>
                      </a:lnTo>
                      <a:lnTo>
                        <a:pt x="136369" y="83185"/>
                      </a:lnTo>
                      <a:lnTo>
                        <a:pt x="142581" y="84852"/>
                      </a:lnTo>
                      <a:lnTo>
                        <a:pt x="146066" y="85306"/>
                      </a:lnTo>
                      <a:lnTo>
                        <a:pt x="157279" y="83336"/>
                      </a:lnTo>
                      <a:lnTo>
                        <a:pt x="174249" y="82427"/>
                      </a:lnTo>
                      <a:lnTo>
                        <a:pt x="176977" y="81367"/>
                      </a:lnTo>
                      <a:lnTo>
                        <a:pt x="187734" y="74700"/>
                      </a:lnTo>
                      <a:lnTo>
                        <a:pt x="186825" y="71972"/>
                      </a:lnTo>
                      <a:lnTo>
                        <a:pt x="184553" y="66518"/>
                      </a:lnTo>
                      <a:lnTo>
                        <a:pt x="182734" y="65760"/>
                      </a:lnTo>
                      <a:lnTo>
                        <a:pt x="176370" y="64396"/>
                      </a:lnTo>
                      <a:lnTo>
                        <a:pt x="170915" y="58487"/>
                      </a:lnTo>
                      <a:lnTo>
                        <a:pt x="163339" y="54396"/>
                      </a:lnTo>
                      <a:lnTo>
                        <a:pt x="165158" y="53638"/>
                      </a:lnTo>
                      <a:lnTo>
                        <a:pt x="166825" y="53638"/>
                      </a:lnTo>
                      <a:lnTo>
                        <a:pt x="172885" y="55608"/>
                      </a:lnTo>
                      <a:lnTo>
                        <a:pt x="176977" y="55457"/>
                      </a:lnTo>
                      <a:lnTo>
                        <a:pt x="180916" y="52578"/>
                      </a:lnTo>
                      <a:lnTo>
                        <a:pt x="181977" y="48790"/>
                      </a:lnTo>
                      <a:lnTo>
                        <a:pt x="181522" y="43941"/>
                      </a:lnTo>
                      <a:lnTo>
                        <a:pt x="181977" y="42123"/>
                      </a:lnTo>
                      <a:lnTo>
                        <a:pt x="182734" y="40759"/>
                      </a:lnTo>
                      <a:lnTo>
                        <a:pt x="183340" y="37426"/>
                      </a:lnTo>
                      <a:lnTo>
                        <a:pt x="183644" y="33789"/>
                      </a:lnTo>
                      <a:lnTo>
                        <a:pt x="184249" y="32122"/>
                      </a:lnTo>
                      <a:lnTo>
                        <a:pt x="185158" y="31213"/>
                      </a:lnTo>
                      <a:lnTo>
                        <a:pt x="187280" y="26819"/>
                      </a:lnTo>
                      <a:lnTo>
                        <a:pt x="191220" y="24546"/>
                      </a:lnTo>
                      <a:lnTo>
                        <a:pt x="188189" y="20001"/>
                      </a:lnTo>
                      <a:lnTo>
                        <a:pt x="184704" y="16970"/>
                      </a:lnTo>
                      <a:lnTo>
                        <a:pt x="182128" y="15607"/>
                      </a:lnTo>
                      <a:lnTo>
                        <a:pt x="176977" y="14243"/>
                      </a:lnTo>
                      <a:lnTo>
                        <a:pt x="175158" y="12425"/>
                      </a:lnTo>
                      <a:lnTo>
                        <a:pt x="172431" y="11364"/>
                      </a:lnTo>
                      <a:lnTo>
                        <a:pt x="170310" y="9546"/>
                      </a:lnTo>
                      <a:lnTo>
                        <a:pt x="158642" y="7728"/>
                      </a:lnTo>
                      <a:lnTo>
                        <a:pt x="151218" y="7273"/>
                      </a:lnTo>
                      <a:lnTo>
                        <a:pt x="149400" y="7879"/>
                      </a:lnTo>
                      <a:lnTo>
                        <a:pt x="147733" y="10000"/>
                      </a:lnTo>
                      <a:lnTo>
                        <a:pt x="148491" y="13485"/>
                      </a:lnTo>
                      <a:lnTo>
                        <a:pt x="144551" y="17728"/>
                      </a:lnTo>
                      <a:lnTo>
                        <a:pt x="142430" y="18486"/>
                      </a:lnTo>
                      <a:lnTo>
                        <a:pt x="136672" y="16667"/>
                      </a:lnTo>
                      <a:lnTo>
                        <a:pt x="131369" y="19698"/>
                      </a:lnTo>
                      <a:lnTo>
                        <a:pt x="127278" y="24243"/>
                      </a:lnTo>
                      <a:lnTo>
                        <a:pt x="125308" y="25455"/>
                      </a:lnTo>
                      <a:lnTo>
                        <a:pt x="123641" y="24546"/>
                      </a:lnTo>
                      <a:lnTo>
                        <a:pt x="124702" y="19849"/>
                      </a:lnTo>
                      <a:lnTo>
                        <a:pt x="128338" y="17122"/>
                      </a:lnTo>
                      <a:lnTo>
                        <a:pt x="129702" y="13334"/>
                      </a:lnTo>
                      <a:lnTo>
                        <a:pt x="132278" y="10303"/>
                      </a:lnTo>
                      <a:lnTo>
                        <a:pt x="135308" y="9091"/>
                      </a:lnTo>
                      <a:lnTo>
                        <a:pt x="132278" y="4546"/>
                      </a:lnTo>
                      <a:lnTo>
                        <a:pt x="125914"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6" name="Freeform: Shape 3115">
                  <a:extLst>
                    <a:ext uri="{FF2B5EF4-FFF2-40B4-BE49-F238E27FC236}">
                      <a16:creationId xmlns:a16="http://schemas.microsoft.com/office/drawing/2014/main" id="{42925BB9-AD66-4748-97BD-B4C3F0DEBB93}"/>
                    </a:ext>
                  </a:extLst>
                </p:cNvPr>
                <p:cNvSpPr/>
                <p:nvPr/>
              </p:nvSpPr>
              <p:spPr>
                <a:xfrm>
                  <a:off x="8510938" y="1712344"/>
                  <a:ext cx="10606" cy="6060"/>
                </a:xfrm>
                <a:custGeom>
                  <a:avLst/>
                  <a:gdLst>
                    <a:gd name="connsiteX0" fmla="*/ 757 w 10606"/>
                    <a:gd name="connsiteY0" fmla="*/ 1818 h 6060"/>
                    <a:gd name="connsiteX1" fmla="*/ 0 w 10606"/>
                    <a:gd name="connsiteY1" fmla="*/ 6061 h 6060"/>
                    <a:gd name="connsiteX2" fmla="*/ 6061 w 10606"/>
                    <a:gd name="connsiteY2" fmla="*/ 5303 h 6060"/>
                    <a:gd name="connsiteX3" fmla="*/ 10606 w 10606"/>
                    <a:gd name="connsiteY3" fmla="*/ 1818 h 6060"/>
                    <a:gd name="connsiteX4" fmla="*/ 6212 w 10606"/>
                    <a:gd name="connsiteY4" fmla="*/ 1061 h 6060"/>
                    <a:gd name="connsiteX5" fmla="*/ 4243 w 10606"/>
                    <a:gd name="connsiteY5" fmla="*/ 0 h 6060"/>
                    <a:gd name="connsiteX6" fmla="*/ 1061 w 10606"/>
                    <a:gd name="connsiteY6" fmla="*/ 606 h 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6" h="6060">
                      <a:moveTo>
                        <a:pt x="757" y="1818"/>
                      </a:moveTo>
                      <a:lnTo>
                        <a:pt x="0" y="6061"/>
                      </a:lnTo>
                      <a:lnTo>
                        <a:pt x="6061" y="5303"/>
                      </a:lnTo>
                      <a:lnTo>
                        <a:pt x="10606" y="1818"/>
                      </a:lnTo>
                      <a:lnTo>
                        <a:pt x="6212" y="1061"/>
                      </a:lnTo>
                      <a:lnTo>
                        <a:pt x="4243" y="0"/>
                      </a:lnTo>
                      <a:lnTo>
                        <a:pt x="1061"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7" name="Freeform: Shape 3116">
                  <a:extLst>
                    <a:ext uri="{FF2B5EF4-FFF2-40B4-BE49-F238E27FC236}">
                      <a16:creationId xmlns:a16="http://schemas.microsoft.com/office/drawing/2014/main" id="{2145A016-B788-4416-A858-0A322E32225E}"/>
                    </a:ext>
                  </a:extLst>
                </p:cNvPr>
                <p:cNvSpPr/>
                <p:nvPr/>
              </p:nvSpPr>
              <p:spPr>
                <a:xfrm>
                  <a:off x="9050655" y="2085085"/>
                  <a:ext cx="16970" cy="6515"/>
                </a:xfrm>
                <a:custGeom>
                  <a:avLst/>
                  <a:gdLst>
                    <a:gd name="connsiteX0" fmla="*/ 10000 w 16970"/>
                    <a:gd name="connsiteY0" fmla="*/ 6515 h 6515"/>
                    <a:gd name="connsiteX1" fmla="*/ 16970 w 16970"/>
                    <a:gd name="connsiteY1" fmla="*/ 4091 h 6515"/>
                    <a:gd name="connsiteX2" fmla="*/ 16365 w 16970"/>
                    <a:gd name="connsiteY2" fmla="*/ 3182 h 6515"/>
                    <a:gd name="connsiteX3" fmla="*/ 11970 w 16970"/>
                    <a:gd name="connsiteY3" fmla="*/ 606 h 6515"/>
                    <a:gd name="connsiteX4" fmla="*/ 8788 w 16970"/>
                    <a:gd name="connsiteY4" fmla="*/ 0 h 6515"/>
                    <a:gd name="connsiteX5" fmla="*/ 3333 w 16970"/>
                    <a:gd name="connsiteY5" fmla="*/ 606 h 6515"/>
                    <a:gd name="connsiteX6" fmla="*/ 0 w 16970"/>
                    <a:gd name="connsiteY6" fmla="*/ 2273 h 6515"/>
                    <a:gd name="connsiteX7" fmla="*/ 4091 w 16970"/>
                    <a:gd name="connsiteY7" fmla="*/ 6515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70" h="6515">
                      <a:moveTo>
                        <a:pt x="10000" y="6515"/>
                      </a:moveTo>
                      <a:lnTo>
                        <a:pt x="16970" y="4091"/>
                      </a:lnTo>
                      <a:lnTo>
                        <a:pt x="16365" y="3182"/>
                      </a:lnTo>
                      <a:lnTo>
                        <a:pt x="11970" y="606"/>
                      </a:lnTo>
                      <a:lnTo>
                        <a:pt x="8788" y="0"/>
                      </a:lnTo>
                      <a:lnTo>
                        <a:pt x="3333" y="606"/>
                      </a:lnTo>
                      <a:lnTo>
                        <a:pt x="0" y="2273"/>
                      </a:lnTo>
                      <a:lnTo>
                        <a:pt x="4091" y="6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8" name="Freeform: Shape 3117">
                  <a:extLst>
                    <a:ext uri="{FF2B5EF4-FFF2-40B4-BE49-F238E27FC236}">
                      <a16:creationId xmlns:a16="http://schemas.microsoft.com/office/drawing/2014/main" id="{867CED20-B77B-4697-BFE9-4F9194EB6006}"/>
                    </a:ext>
                  </a:extLst>
                </p:cNvPr>
                <p:cNvSpPr/>
                <p:nvPr/>
              </p:nvSpPr>
              <p:spPr>
                <a:xfrm>
                  <a:off x="9179144" y="2044022"/>
                  <a:ext cx="8636" cy="5000"/>
                </a:xfrm>
                <a:custGeom>
                  <a:avLst/>
                  <a:gdLst>
                    <a:gd name="connsiteX0" fmla="*/ 3940 w 8636"/>
                    <a:gd name="connsiteY0" fmla="*/ 5000 h 5000"/>
                    <a:gd name="connsiteX1" fmla="*/ 5606 w 8636"/>
                    <a:gd name="connsiteY1" fmla="*/ 5000 h 5000"/>
                    <a:gd name="connsiteX2" fmla="*/ 8637 w 8636"/>
                    <a:gd name="connsiteY2" fmla="*/ 2879 h 5000"/>
                    <a:gd name="connsiteX3" fmla="*/ 8183 w 8636"/>
                    <a:gd name="connsiteY3" fmla="*/ 2273 h 5000"/>
                    <a:gd name="connsiteX4" fmla="*/ 5758 w 8636"/>
                    <a:gd name="connsiteY4" fmla="*/ 455 h 5000"/>
                    <a:gd name="connsiteX5" fmla="*/ 2577 w 8636"/>
                    <a:gd name="connsiteY5" fmla="*/ 0 h 5000"/>
                    <a:gd name="connsiteX6" fmla="*/ 0 w 8636"/>
                    <a:gd name="connsiteY6" fmla="*/ 758 h 5000"/>
                    <a:gd name="connsiteX7" fmla="*/ 0 w 8636"/>
                    <a:gd name="connsiteY7" fmla="*/ 1667 h 5000"/>
                    <a:gd name="connsiteX8" fmla="*/ 758 w 8636"/>
                    <a:gd name="connsiteY8" fmla="*/ 3636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6" h="5000">
                      <a:moveTo>
                        <a:pt x="3940" y="5000"/>
                      </a:moveTo>
                      <a:lnTo>
                        <a:pt x="5606" y="5000"/>
                      </a:lnTo>
                      <a:lnTo>
                        <a:pt x="8637" y="2879"/>
                      </a:lnTo>
                      <a:lnTo>
                        <a:pt x="8183" y="2273"/>
                      </a:lnTo>
                      <a:lnTo>
                        <a:pt x="5758" y="455"/>
                      </a:lnTo>
                      <a:lnTo>
                        <a:pt x="2577" y="0"/>
                      </a:lnTo>
                      <a:lnTo>
                        <a:pt x="0" y="758"/>
                      </a:lnTo>
                      <a:lnTo>
                        <a:pt x="0" y="1667"/>
                      </a:lnTo>
                      <a:lnTo>
                        <a:pt x="758"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9" name="Freeform: Shape 3118">
                  <a:extLst>
                    <a:ext uri="{FF2B5EF4-FFF2-40B4-BE49-F238E27FC236}">
                      <a16:creationId xmlns:a16="http://schemas.microsoft.com/office/drawing/2014/main" id="{53192320-2B5D-4424-A14A-CF04CEDA4CEA}"/>
                    </a:ext>
                  </a:extLst>
                </p:cNvPr>
                <p:cNvSpPr/>
                <p:nvPr/>
              </p:nvSpPr>
              <p:spPr>
                <a:xfrm>
                  <a:off x="9481428" y="2027355"/>
                  <a:ext cx="23940" cy="19697"/>
                </a:xfrm>
                <a:custGeom>
                  <a:avLst/>
                  <a:gdLst>
                    <a:gd name="connsiteX0" fmla="*/ 1667 w 23940"/>
                    <a:gd name="connsiteY0" fmla="*/ 3940 h 19697"/>
                    <a:gd name="connsiteX1" fmla="*/ 6819 w 23940"/>
                    <a:gd name="connsiteY1" fmla="*/ 7121 h 19697"/>
                    <a:gd name="connsiteX2" fmla="*/ 8940 w 23940"/>
                    <a:gd name="connsiteY2" fmla="*/ 10455 h 19697"/>
                    <a:gd name="connsiteX3" fmla="*/ 18183 w 23940"/>
                    <a:gd name="connsiteY3" fmla="*/ 17425 h 19697"/>
                    <a:gd name="connsiteX4" fmla="*/ 20153 w 23940"/>
                    <a:gd name="connsiteY4" fmla="*/ 19698 h 19697"/>
                    <a:gd name="connsiteX5" fmla="*/ 22274 w 23940"/>
                    <a:gd name="connsiteY5" fmla="*/ 18182 h 19697"/>
                    <a:gd name="connsiteX6" fmla="*/ 23941 w 23940"/>
                    <a:gd name="connsiteY6" fmla="*/ 14394 h 19697"/>
                    <a:gd name="connsiteX7" fmla="*/ 17879 w 23940"/>
                    <a:gd name="connsiteY7" fmla="*/ 8788 h 19697"/>
                    <a:gd name="connsiteX8" fmla="*/ 6667 w 23940"/>
                    <a:gd name="connsiteY8" fmla="*/ 1818 h 19697"/>
                    <a:gd name="connsiteX9" fmla="*/ 0 w 23940"/>
                    <a:gd name="connsiteY9" fmla="*/ 0 h 19697"/>
                    <a:gd name="connsiteX10" fmla="*/ 455 w 23940"/>
                    <a:gd name="connsiteY10" fmla="*/ 2727 h 1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940" h="19697">
                      <a:moveTo>
                        <a:pt x="1667" y="3940"/>
                      </a:moveTo>
                      <a:lnTo>
                        <a:pt x="6819" y="7121"/>
                      </a:lnTo>
                      <a:lnTo>
                        <a:pt x="8940" y="10455"/>
                      </a:lnTo>
                      <a:lnTo>
                        <a:pt x="18183" y="17425"/>
                      </a:lnTo>
                      <a:lnTo>
                        <a:pt x="20153" y="19698"/>
                      </a:lnTo>
                      <a:lnTo>
                        <a:pt x="22274" y="18182"/>
                      </a:lnTo>
                      <a:lnTo>
                        <a:pt x="23941" y="14394"/>
                      </a:lnTo>
                      <a:lnTo>
                        <a:pt x="17879" y="8788"/>
                      </a:lnTo>
                      <a:lnTo>
                        <a:pt x="6667" y="1818"/>
                      </a:lnTo>
                      <a:lnTo>
                        <a:pt x="0" y="0"/>
                      </a:lnTo>
                      <a:lnTo>
                        <a:pt x="455"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0" name="Freeform: Shape 3119">
                  <a:extLst>
                    <a:ext uri="{FF2B5EF4-FFF2-40B4-BE49-F238E27FC236}">
                      <a16:creationId xmlns:a16="http://schemas.microsoft.com/office/drawing/2014/main" id="{FE82491F-0185-48C0-AEBC-BB1CEEFE19E0}"/>
                    </a:ext>
                  </a:extLst>
                </p:cNvPr>
                <p:cNvSpPr/>
                <p:nvPr/>
              </p:nvSpPr>
              <p:spPr>
                <a:xfrm>
                  <a:off x="8688823" y="1804317"/>
                  <a:ext cx="35001" cy="7879"/>
                </a:xfrm>
                <a:custGeom>
                  <a:avLst/>
                  <a:gdLst>
                    <a:gd name="connsiteX0" fmla="*/ 0 w 35001"/>
                    <a:gd name="connsiteY0" fmla="*/ 2879 h 7879"/>
                    <a:gd name="connsiteX1" fmla="*/ 16061 w 35001"/>
                    <a:gd name="connsiteY1" fmla="*/ 5606 h 7879"/>
                    <a:gd name="connsiteX2" fmla="*/ 25304 w 35001"/>
                    <a:gd name="connsiteY2" fmla="*/ 5455 h 7879"/>
                    <a:gd name="connsiteX3" fmla="*/ 29092 w 35001"/>
                    <a:gd name="connsiteY3" fmla="*/ 7879 h 7879"/>
                    <a:gd name="connsiteX4" fmla="*/ 32577 w 35001"/>
                    <a:gd name="connsiteY4" fmla="*/ 6364 h 7879"/>
                    <a:gd name="connsiteX5" fmla="*/ 35001 w 35001"/>
                    <a:gd name="connsiteY5" fmla="*/ 3485 h 7879"/>
                    <a:gd name="connsiteX6" fmla="*/ 31668 w 35001"/>
                    <a:gd name="connsiteY6" fmla="*/ 152 h 7879"/>
                    <a:gd name="connsiteX7" fmla="*/ 29850 w 35001"/>
                    <a:gd name="connsiteY7" fmla="*/ 0 h 7879"/>
                    <a:gd name="connsiteX8" fmla="*/ 4546 w 35001"/>
                    <a:gd name="connsiteY8" fmla="*/ 1212 h 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1" h="7879">
                      <a:moveTo>
                        <a:pt x="0" y="2879"/>
                      </a:moveTo>
                      <a:lnTo>
                        <a:pt x="16061" y="5606"/>
                      </a:lnTo>
                      <a:lnTo>
                        <a:pt x="25304" y="5455"/>
                      </a:lnTo>
                      <a:lnTo>
                        <a:pt x="29092" y="7879"/>
                      </a:lnTo>
                      <a:lnTo>
                        <a:pt x="32577" y="6364"/>
                      </a:lnTo>
                      <a:lnTo>
                        <a:pt x="35001" y="3485"/>
                      </a:lnTo>
                      <a:lnTo>
                        <a:pt x="31668" y="152"/>
                      </a:lnTo>
                      <a:lnTo>
                        <a:pt x="29850" y="0"/>
                      </a:lnTo>
                      <a:lnTo>
                        <a:pt x="4546"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1" name="Freeform: Shape 3120">
                  <a:extLst>
                    <a:ext uri="{FF2B5EF4-FFF2-40B4-BE49-F238E27FC236}">
                      <a16:creationId xmlns:a16="http://schemas.microsoft.com/office/drawing/2014/main" id="{CF9C2867-FADD-4076-A67D-65EF5BD7359A}"/>
                    </a:ext>
                  </a:extLst>
                </p:cNvPr>
                <p:cNvSpPr/>
                <p:nvPr/>
              </p:nvSpPr>
              <p:spPr>
                <a:xfrm>
                  <a:off x="8840798" y="1894472"/>
                  <a:ext cx="18940" cy="11061"/>
                </a:xfrm>
                <a:custGeom>
                  <a:avLst/>
                  <a:gdLst>
                    <a:gd name="connsiteX0" fmla="*/ 5000 w 18940"/>
                    <a:gd name="connsiteY0" fmla="*/ 5455 h 11061"/>
                    <a:gd name="connsiteX1" fmla="*/ 8940 w 18940"/>
                    <a:gd name="connsiteY1" fmla="*/ 6061 h 11061"/>
                    <a:gd name="connsiteX2" fmla="*/ 11667 w 18940"/>
                    <a:gd name="connsiteY2" fmla="*/ 9243 h 11061"/>
                    <a:gd name="connsiteX3" fmla="*/ 15304 w 18940"/>
                    <a:gd name="connsiteY3" fmla="*/ 11061 h 11061"/>
                    <a:gd name="connsiteX4" fmla="*/ 16516 w 18940"/>
                    <a:gd name="connsiteY4" fmla="*/ 11061 h 11061"/>
                    <a:gd name="connsiteX5" fmla="*/ 16819 w 18940"/>
                    <a:gd name="connsiteY5" fmla="*/ 9243 h 11061"/>
                    <a:gd name="connsiteX6" fmla="*/ 17576 w 18940"/>
                    <a:gd name="connsiteY6" fmla="*/ 8334 h 11061"/>
                    <a:gd name="connsiteX7" fmla="*/ 18940 w 18940"/>
                    <a:gd name="connsiteY7" fmla="*/ 7728 h 11061"/>
                    <a:gd name="connsiteX8" fmla="*/ 18031 w 18940"/>
                    <a:gd name="connsiteY8" fmla="*/ 5303 h 11061"/>
                    <a:gd name="connsiteX9" fmla="*/ 13940 w 18940"/>
                    <a:gd name="connsiteY9" fmla="*/ 1364 h 11061"/>
                    <a:gd name="connsiteX10" fmla="*/ 11516 w 18940"/>
                    <a:gd name="connsiteY10" fmla="*/ 0 h 11061"/>
                    <a:gd name="connsiteX11" fmla="*/ 8485 w 18940"/>
                    <a:gd name="connsiteY11" fmla="*/ 1515 h 11061"/>
                    <a:gd name="connsiteX12" fmla="*/ 1061 w 18940"/>
                    <a:gd name="connsiteY12" fmla="*/ 758 h 11061"/>
                    <a:gd name="connsiteX13" fmla="*/ 0 w 18940"/>
                    <a:gd name="connsiteY13" fmla="*/ 1061 h 11061"/>
                    <a:gd name="connsiteX14" fmla="*/ 909 w 18940"/>
                    <a:gd name="connsiteY14" fmla="*/ 2424 h 1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40" h="11061">
                      <a:moveTo>
                        <a:pt x="5000" y="5455"/>
                      </a:moveTo>
                      <a:lnTo>
                        <a:pt x="8940" y="6061"/>
                      </a:lnTo>
                      <a:lnTo>
                        <a:pt x="11667" y="9243"/>
                      </a:lnTo>
                      <a:lnTo>
                        <a:pt x="15304" y="11061"/>
                      </a:lnTo>
                      <a:lnTo>
                        <a:pt x="16516" y="11061"/>
                      </a:lnTo>
                      <a:lnTo>
                        <a:pt x="16819" y="9243"/>
                      </a:lnTo>
                      <a:lnTo>
                        <a:pt x="17576" y="8334"/>
                      </a:lnTo>
                      <a:lnTo>
                        <a:pt x="18940" y="7728"/>
                      </a:lnTo>
                      <a:lnTo>
                        <a:pt x="18031" y="5303"/>
                      </a:lnTo>
                      <a:lnTo>
                        <a:pt x="13940" y="1364"/>
                      </a:lnTo>
                      <a:lnTo>
                        <a:pt x="11516" y="0"/>
                      </a:lnTo>
                      <a:lnTo>
                        <a:pt x="8485" y="1515"/>
                      </a:lnTo>
                      <a:lnTo>
                        <a:pt x="1061" y="758"/>
                      </a:lnTo>
                      <a:lnTo>
                        <a:pt x="0" y="1061"/>
                      </a:lnTo>
                      <a:lnTo>
                        <a:pt x="909" y="24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2" name="Freeform: Shape 3121">
                  <a:extLst>
                    <a:ext uri="{FF2B5EF4-FFF2-40B4-BE49-F238E27FC236}">
                      <a16:creationId xmlns:a16="http://schemas.microsoft.com/office/drawing/2014/main" id="{1547AC18-6448-41C5-91C2-4F47342E1D3E}"/>
                    </a:ext>
                  </a:extLst>
                </p:cNvPr>
                <p:cNvSpPr/>
                <p:nvPr/>
              </p:nvSpPr>
              <p:spPr>
                <a:xfrm>
                  <a:off x="9483246" y="1939776"/>
                  <a:ext cx="19697" cy="25758"/>
                </a:xfrm>
                <a:custGeom>
                  <a:avLst/>
                  <a:gdLst>
                    <a:gd name="connsiteX0" fmla="*/ 13637 w 19697"/>
                    <a:gd name="connsiteY0" fmla="*/ 24243 h 25758"/>
                    <a:gd name="connsiteX1" fmla="*/ 15607 w 19697"/>
                    <a:gd name="connsiteY1" fmla="*/ 22728 h 25758"/>
                    <a:gd name="connsiteX2" fmla="*/ 14091 w 19697"/>
                    <a:gd name="connsiteY2" fmla="*/ 20001 h 25758"/>
                    <a:gd name="connsiteX3" fmla="*/ 14546 w 19697"/>
                    <a:gd name="connsiteY3" fmla="*/ 18031 h 25758"/>
                    <a:gd name="connsiteX4" fmla="*/ 19698 w 19697"/>
                    <a:gd name="connsiteY4" fmla="*/ 13334 h 25758"/>
                    <a:gd name="connsiteX5" fmla="*/ 18486 w 19697"/>
                    <a:gd name="connsiteY5" fmla="*/ 12273 h 25758"/>
                    <a:gd name="connsiteX6" fmla="*/ 12425 w 19697"/>
                    <a:gd name="connsiteY6" fmla="*/ 8485 h 25758"/>
                    <a:gd name="connsiteX7" fmla="*/ 10910 w 19697"/>
                    <a:gd name="connsiteY7" fmla="*/ 6515 h 25758"/>
                    <a:gd name="connsiteX8" fmla="*/ 9243 w 19697"/>
                    <a:gd name="connsiteY8" fmla="*/ 2576 h 25758"/>
                    <a:gd name="connsiteX9" fmla="*/ 6819 w 19697"/>
                    <a:gd name="connsiteY9" fmla="*/ 0 h 25758"/>
                    <a:gd name="connsiteX10" fmla="*/ 4395 w 19697"/>
                    <a:gd name="connsiteY10" fmla="*/ 4394 h 25758"/>
                    <a:gd name="connsiteX11" fmla="*/ 3486 w 19697"/>
                    <a:gd name="connsiteY11" fmla="*/ 7576 h 25758"/>
                    <a:gd name="connsiteX12" fmla="*/ 3031 w 19697"/>
                    <a:gd name="connsiteY12" fmla="*/ 11667 h 25758"/>
                    <a:gd name="connsiteX13" fmla="*/ 3788 w 19697"/>
                    <a:gd name="connsiteY13" fmla="*/ 15001 h 25758"/>
                    <a:gd name="connsiteX14" fmla="*/ 1970 w 19697"/>
                    <a:gd name="connsiteY14" fmla="*/ 19546 h 25758"/>
                    <a:gd name="connsiteX15" fmla="*/ 607 w 19697"/>
                    <a:gd name="connsiteY15" fmla="*/ 21364 h 25758"/>
                    <a:gd name="connsiteX16" fmla="*/ 0 w 19697"/>
                    <a:gd name="connsiteY16" fmla="*/ 25455 h 25758"/>
                    <a:gd name="connsiteX17" fmla="*/ 8031 w 19697"/>
                    <a:gd name="connsiteY17" fmla="*/ 25759 h 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97" h="25758">
                      <a:moveTo>
                        <a:pt x="13637" y="24243"/>
                      </a:moveTo>
                      <a:lnTo>
                        <a:pt x="15607" y="22728"/>
                      </a:lnTo>
                      <a:lnTo>
                        <a:pt x="14091" y="20001"/>
                      </a:lnTo>
                      <a:lnTo>
                        <a:pt x="14546" y="18031"/>
                      </a:lnTo>
                      <a:lnTo>
                        <a:pt x="19698" y="13334"/>
                      </a:lnTo>
                      <a:lnTo>
                        <a:pt x="18486" y="12273"/>
                      </a:lnTo>
                      <a:lnTo>
                        <a:pt x="12425" y="8485"/>
                      </a:lnTo>
                      <a:lnTo>
                        <a:pt x="10910" y="6515"/>
                      </a:lnTo>
                      <a:lnTo>
                        <a:pt x="9243" y="2576"/>
                      </a:lnTo>
                      <a:lnTo>
                        <a:pt x="6819" y="0"/>
                      </a:lnTo>
                      <a:lnTo>
                        <a:pt x="4395" y="4394"/>
                      </a:lnTo>
                      <a:lnTo>
                        <a:pt x="3486" y="7576"/>
                      </a:lnTo>
                      <a:lnTo>
                        <a:pt x="3031" y="11667"/>
                      </a:lnTo>
                      <a:lnTo>
                        <a:pt x="3788" y="15001"/>
                      </a:lnTo>
                      <a:lnTo>
                        <a:pt x="1970" y="19546"/>
                      </a:lnTo>
                      <a:lnTo>
                        <a:pt x="607" y="21364"/>
                      </a:lnTo>
                      <a:lnTo>
                        <a:pt x="0" y="25455"/>
                      </a:lnTo>
                      <a:lnTo>
                        <a:pt x="8031" y="257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3" name="Freeform: Shape 3122">
                  <a:extLst>
                    <a:ext uri="{FF2B5EF4-FFF2-40B4-BE49-F238E27FC236}">
                      <a16:creationId xmlns:a16="http://schemas.microsoft.com/office/drawing/2014/main" id="{30FE69FD-91CF-453B-BF32-35235B8455FB}"/>
                    </a:ext>
                  </a:extLst>
                </p:cNvPr>
                <p:cNvSpPr/>
                <p:nvPr/>
              </p:nvSpPr>
              <p:spPr>
                <a:xfrm>
                  <a:off x="8007131" y="1958110"/>
                  <a:ext cx="19697" cy="15000"/>
                </a:xfrm>
                <a:custGeom>
                  <a:avLst/>
                  <a:gdLst>
                    <a:gd name="connsiteX0" fmla="*/ 2121 w 19697"/>
                    <a:gd name="connsiteY0" fmla="*/ 10303 h 15000"/>
                    <a:gd name="connsiteX1" fmla="*/ 4243 w 19697"/>
                    <a:gd name="connsiteY1" fmla="*/ 12576 h 15000"/>
                    <a:gd name="connsiteX2" fmla="*/ 5303 w 19697"/>
                    <a:gd name="connsiteY2" fmla="*/ 13182 h 15000"/>
                    <a:gd name="connsiteX3" fmla="*/ 9849 w 19697"/>
                    <a:gd name="connsiteY3" fmla="*/ 11061 h 15000"/>
                    <a:gd name="connsiteX4" fmla="*/ 11061 w 19697"/>
                    <a:gd name="connsiteY4" fmla="*/ 14091 h 15000"/>
                    <a:gd name="connsiteX5" fmla="*/ 13031 w 19697"/>
                    <a:gd name="connsiteY5" fmla="*/ 15001 h 15000"/>
                    <a:gd name="connsiteX6" fmla="*/ 15000 w 19697"/>
                    <a:gd name="connsiteY6" fmla="*/ 9697 h 15000"/>
                    <a:gd name="connsiteX7" fmla="*/ 18486 w 19697"/>
                    <a:gd name="connsiteY7" fmla="*/ 9849 h 15000"/>
                    <a:gd name="connsiteX8" fmla="*/ 19698 w 19697"/>
                    <a:gd name="connsiteY8" fmla="*/ 9243 h 15000"/>
                    <a:gd name="connsiteX9" fmla="*/ 19395 w 19697"/>
                    <a:gd name="connsiteY9" fmla="*/ 7273 h 15000"/>
                    <a:gd name="connsiteX10" fmla="*/ 18334 w 19697"/>
                    <a:gd name="connsiteY10" fmla="*/ 5455 h 15000"/>
                    <a:gd name="connsiteX11" fmla="*/ 18182 w 19697"/>
                    <a:gd name="connsiteY11" fmla="*/ 0 h 15000"/>
                    <a:gd name="connsiteX12" fmla="*/ 14243 w 19697"/>
                    <a:gd name="connsiteY12" fmla="*/ 152 h 15000"/>
                    <a:gd name="connsiteX13" fmla="*/ 11212 w 19697"/>
                    <a:gd name="connsiteY13" fmla="*/ 1061 h 15000"/>
                    <a:gd name="connsiteX14" fmla="*/ 11212 w 19697"/>
                    <a:gd name="connsiteY14" fmla="*/ 3182 h 15000"/>
                    <a:gd name="connsiteX15" fmla="*/ 11667 w 19697"/>
                    <a:gd name="connsiteY15" fmla="*/ 5909 h 15000"/>
                    <a:gd name="connsiteX16" fmla="*/ 9394 w 19697"/>
                    <a:gd name="connsiteY16" fmla="*/ 6061 h 15000"/>
                    <a:gd name="connsiteX17" fmla="*/ 5758 w 19697"/>
                    <a:gd name="connsiteY17" fmla="*/ 3637 h 15000"/>
                    <a:gd name="connsiteX18" fmla="*/ 0 w 19697"/>
                    <a:gd name="connsiteY18" fmla="*/ 8334 h 15000"/>
                    <a:gd name="connsiteX19" fmla="*/ 909 w 19697"/>
                    <a:gd name="connsiteY19" fmla="*/ 9849 h 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97" h="15000">
                      <a:moveTo>
                        <a:pt x="2121" y="10303"/>
                      </a:moveTo>
                      <a:lnTo>
                        <a:pt x="4243" y="12576"/>
                      </a:lnTo>
                      <a:lnTo>
                        <a:pt x="5303" y="13182"/>
                      </a:lnTo>
                      <a:lnTo>
                        <a:pt x="9849" y="11061"/>
                      </a:lnTo>
                      <a:lnTo>
                        <a:pt x="11061" y="14091"/>
                      </a:lnTo>
                      <a:lnTo>
                        <a:pt x="13031" y="15001"/>
                      </a:lnTo>
                      <a:lnTo>
                        <a:pt x="15000" y="9697"/>
                      </a:lnTo>
                      <a:lnTo>
                        <a:pt x="18486" y="9849"/>
                      </a:lnTo>
                      <a:lnTo>
                        <a:pt x="19698" y="9243"/>
                      </a:lnTo>
                      <a:lnTo>
                        <a:pt x="19395" y="7273"/>
                      </a:lnTo>
                      <a:lnTo>
                        <a:pt x="18334" y="5455"/>
                      </a:lnTo>
                      <a:lnTo>
                        <a:pt x="18182" y="0"/>
                      </a:lnTo>
                      <a:lnTo>
                        <a:pt x="14243" y="152"/>
                      </a:lnTo>
                      <a:lnTo>
                        <a:pt x="11212" y="1061"/>
                      </a:lnTo>
                      <a:lnTo>
                        <a:pt x="11212" y="3182"/>
                      </a:lnTo>
                      <a:lnTo>
                        <a:pt x="11667" y="5909"/>
                      </a:lnTo>
                      <a:lnTo>
                        <a:pt x="9394" y="6061"/>
                      </a:lnTo>
                      <a:lnTo>
                        <a:pt x="5758" y="3637"/>
                      </a:lnTo>
                      <a:lnTo>
                        <a:pt x="0" y="8334"/>
                      </a:lnTo>
                      <a:lnTo>
                        <a:pt x="909" y="9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4" name="Freeform: Shape 3123">
                  <a:extLst>
                    <a:ext uri="{FF2B5EF4-FFF2-40B4-BE49-F238E27FC236}">
                      <a16:creationId xmlns:a16="http://schemas.microsoft.com/office/drawing/2014/main" id="{CAB5670B-D842-47E6-BEA6-A3A5434F623C}"/>
                    </a:ext>
                  </a:extLst>
                </p:cNvPr>
                <p:cNvSpPr/>
                <p:nvPr/>
              </p:nvSpPr>
              <p:spPr>
                <a:xfrm>
                  <a:off x="9990538" y="3112698"/>
                  <a:ext cx="6515" cy="5757"/>
                </a:xfrm>
                <a:custGeom>
                  <a:avLst/>
                  <a:gdLst>
                    <a:gd name="connsiteX0" fmla="*/ 3636 w 6515"/>
                    <a:gd name="connsiteY0" fmla="*/ 0 h 5757"/>
                    <a:gd name="connsiteX1" fmla="*/ 2727 w 6515"/>
                    <a:gd name="connsiteY1" fmla="*/ 2576 h 5757"/>
                    <a:gd name="connsiteX2" fmla="*/ 0 w 6515"/>
                    <a:gd name="connsiteY2" fmla="*/ 4697 h 5757"/>
                    <a:gd name="connsiteX3" fmla="*/ 151 w 6515"/>
                    <a:gd name="connsiteY3" fmla="*/ 5303 h 5757"/>
                    <a:gd name="connsiteX4" fmla="*/ 1363 w 6515"/>
                    <a:gd name="connsiteY4" fmla="*/ 5758 h 5757"/>
                    <a:gd name="connsiteX5" fmla="*/ 2424 w 6515"/>
                    <a:gd name="connsiteY5" fmla="*/ 4091 h 5757"/>
                    <a:gd name="connsiteX6" fmla="*/ 5757 w 6515"/>
                    <a:gd name="connsiteY6" fmla="*/ 1667 h 5757"/>
                    <a:gd name="connsiteX7" fmla="*/ 6515 w 6515"/>
                    <a:gd name="connsiteY7" fmla="*/ 455 h 5757"/>
                    <a:gd name="connsiteX8" fmla="*/ 5606 w 6515"/>
                    <a:gd name="connsiteY8" fmla="*/ 0 h 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5" h="5757">
                      <a:moveTo>
                        <a:pt x="3636" y="0"/>
                      </a:moveTo>
                      <a:lnTo>
                        <a:pt x="2727" y="2576"/>
                      </a:lnTo>
                      <a:lnTo>
                        <a:pt x="0" y="4697"/>
                      </a:lnTo>
                      <a:lnTo>
                        <a:pt x="151" y="5303"/>
                      </a:lnTo>
                      <a:lnTo>
                        <a:pt x="1363" y="5758"/>
                      </a:lnTo>
                      <a:lnTo>
                        <a:pt x="2424" y="4091"/>
                      </a:lnTo>
                      <a:lnTo>
                        <a:pt x="5757" y="1667"/>
                      </a:lnTo>
                      <a:lnTo>
                        <a:pt x="6515" y="455"/>
                      </a:lnTo>
                      <a:lnTo>
                        <a:pt x="5606"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5" name="Freeform: Shape 3124">
                  <a:extLst>
                    <a:ext uri="{FF2B5EF4-FFF2-40B4-BE49-F238E27FC236}">
                      <a16:creationId xmlns:a16="http://schemas.microsoft.com/office/drawing/2014/main" id="{8202E325-ECA6-4B13-9813-F43CDB657B7B}"/>
                    </a:ext>
                  </a:extLst>
                </p:cNvPr>
                <p:cNvSpPr/>
                <p:nvPr/>
              </p:nvSpPr>
              <p:spPr>
                <a:xfrm>
                  <a:off x="10050086" y="3042998"/>
                  <a:ext cx="8787" cy="8182"/>
                </a:xfrm>
                <a:custGeom>
                  <a:avLst/>
                  <a:gdLst>
                    <a:gd name="connsiteX0" fmla="*/ 5606 w 8787"/>
                    <a:gd name="connsiteY0" fmla="*/ 0 h 8182"/>
                    <a:gd name="connsiteX1" fmla="*/ 1212 w 8787"/>
                    <a:gd name="connsiteY1" fmla="*/ 2727 h 8182"/>
                    <a:gd name="connsiteX2" fmla="*/ 0 w 8787"/>
                    <a:gd name="connsiteY2" fmla="*/ 4697 h 8182"/>
                    <a:gd name="connsiteX3" fmla="*/ 757 w 8787"/>
                    <a:gd name="connsiteY3" fmla="*/ 5758 h 8182"/>
                    <a:gd name="connsiteX4" fmla="*/ 4242 w 8787"/>
                    <a:gd name="connsiteY4" fmla="*/ 8031 h 8182"/>
                    <a:gd name="connsiteX5" fmla="*/ 5455 w 8787"/>
                    <a:gd name="connsiteY5" fmla="*/ 8182 h 8182"/>
                    <a:gd name="connsiteX6" fmla="*/ 6515 w 8787"/>
                    <a:gd name="connsiteY6" fmla="*/ 7273 h 8182"/>
                    <a:gd name="connsiteX7" fmla="*/ 8637 w 8787"/>
                    <a:gd name="connsiteY7" fmla="*/ 3940 h 8182"/>
                    <a:gd name="connsiteX8" fmla="*/ 8788 w 8787"/>
                    <a:gd name="connsiteY8" fmla="*/ 606 h 8182"/>
                    <a:gd name="connsiteX9" fmla="*/ 7878 w 8787"/>
                    <a:gd name="connsiteY9" fmla="*/ 0 h 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87" h="8182">
                      <a:moveTo>
                        <a:pt x="5606" y="0"/>
                      </a:moveTo>
                      <a:lnTo>
                        <a:pt x="1212" y="2727"/>
                      </a:lnTo>
                      <a:lnTo>
                        <a:pt x="0" y="4697"/>
                      </a:lnTo>
                      <a:lnTo>
                        <a:pt x="757" y="5758"/>
                      </a:lnTo>
                      <a:lnTo>
                        <a:pt x="4242" y="8031"/>
                      </a:lnTo>
                      <a:lnTo>
                        <a:pt x="5455" y="8182"/>
                      </a:lnTo>
                      <a:lnTo>
                        <a:pt x="6515" y="7273"/>
                      </a:lnTo>
                      <a:lnTo>
                        <a:pt x="8637" y="3940"/>
                      </a:lnTo>
                      <a:lnTo>
                        <a:pt x="8788" y="606"/>
                      </a:lnTo>
                      <a:lnTo>
                        <a:pt x="787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6" name="Freeform: Shape 3125">
                  <a:extLst>
                    <a:ext uri="{FF2B5EF4-FFF2-40B4-BE49-F238E27FC236}">
                      <a16:creationId xmlns:a16="http://schemas.microsoft.com/office/drawing/2014/main" id="{611EA6A4-8042-4A7E-AAE8-166F0E19F783}"/>
                    </a:ext>
                  </a:extLst>
                </p:cNvPr>
                <p:cNvSpPr/>
                <p:nvPr/>
              </p:nvSpPr>
              <p:spPr>
                <a:xfrm>
                  <a:off x="9962961" y="3151033"/>
                  <a:ext cx="3181" cy="3636"/>
                </a:xfrm>
                <a:custGeom>
                  <a:avLst/>
                  <a:gdLst>
                    <a:gd name="connsiteX0" fmla="*/ 1818 w 3181"/>
                    <a:gd name="connsiteY0" fmla="*/ 455 h 3636"/>
                    <a:gd name="connsiteX1" fmla="*/ 0 w 3181"/>
                    <a:gd name="connsiteY1" fmla="*/ 2879 h 3636"/>
                    <a:gd name="connsiteX2" fmla="*/ 606 w 3181"/>
                    <a:gd name="connsiteY2" fmla="*/ 3333 h 3636"/>
                    <a:gd name="connsiteX3" fmla="*/ 1970 w 3181"/>
                    <a:gd name="connsiteY3" fmla="*/ 3637 h 3636"/>
                    <a:gd name="connsiteX4" fmla="*/ 3181 w 3181"/>
                    <a:gd name="connsiteY4" fmla="*/ 1667 h 3636"/>
                    <a:gd name="connsiteX5" fmla="*/ 2576 w 3181"/>
                    <a:gd name="connsiteY5" fmla="*/ 0 h 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1" h="3636">
                      <a:moveTo>
                        <a:pt x="1818" y="455"/>
                      </a:moveTo>
                      <a:lnTo>
                        <a:pt x="0" y="2879"/>
                      </a:lnTo>
                      <a:lnTo>
                        <a:pt x="606" y="3333"/>
                      </a:lnTo>
                      <a:lnTo>
                        <a:pt x="1970" y="3637"/>
                      </a:lnTo>
                      <a:lnTo>
                        <a:pt x="3181" y="1667"/>
                      </a:lnTo>
                      <a:lnTo>
                        <a:pt x="2576"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7" name="Freeform: Shape 3126">
                  <a:extLst>
                    <a:ext uri="{FF2B5EF4-FFF2-40B4-BE49-F238E27FC236}">
                      <a16:creationId xmlns:a16="http://schemas.microsoft.com/office/drawing/2014/main" id="{3F82DE42-8A4A-410E-9BC7-C0814A63EE13}"/>
                    </a:ext>
                  </a:extLst>
                </p:cNvPr>
                <p:cNvSpPr/>
                <p:nvPr/>
              </p:nvSpPr>
              <p:spPr>
                <a:xfrm>
                  <a:off x="10030842" y="3040271"/>
                  <a:ext cx="5152" cy="4545"/>
                </a:xfrm>
                <a:custGeom>
                  <a:avLst/>
                  <a:gdLst>
                    <a:gd name="connsiteX0" fmla="*/ 2424 w 5152"/>
                    <a:gd name="connsiteY0" fmla="*/ 4546 h 4545"/>
                    <a:gd name="connsiteX1" fmla="*/ 4849 w 5152"/>
                    <a:gd name="connsiteY1" fmla="*/ 4091 h 4545"/>
                    <a:gd name="connsiteX2" fmla="*/ 5152 w 5152"/>
                    <a:gd name="connsiteY2" fmla="*/ 3333 h 4545"/>
                    <a:gd name="connsiteX3" fmla="*/ 4697 w 5152"/>
                    <a:gd name="connsiteY3" fmla="*/ 909 h 4545"/>
                    <a:gd name="connsiteX4" fmla="*/ 2879 w 5152"/>
                    <a:gd name="connsiteY4" fmla="*/ 0 h 4545"/>
                    <a:gd name="connsiteX5" fmla="*/ 0 w 5152"/>
                    <a:gd name="connsiteY5" fmla="*/ 758 h 4545"/>
                    <a:gd name="connsiteX6" fmla="*/ 454 w 5152"/>
                    <a:gd name="connsiteY6" fmla="*/ 2424 h 4545"/>
                    <a:gd name="connsiteX7" fmla="*/ 1364 w 5152"/>
                    <a:gd name="connsiteY7" fmla="*/ 3636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2" h="4545">
                      <a:moveTo>
                        <a:pt x="2424" y="4546"/>
                      </a:moveTo>
                      <a:lnTo>
                        <a:pt x="4849" y="4091"/>
                      </a:lnTo>
                      <a:lnTo>
                        <a:pt x="5152" y="3333"/>
                      </a:lnTo>
                      <a:lnTo>
                        <a:pt x="4697" y="909"/>
                      </a:lnTo>
                      <a:lnTo>
                        <a:pt x="2879" y="0"/>
                      </a:lnTo>
                      <a:lnTo>
                        <a:pt x="0" y="758"/>
                      </a:lnTo>
                      <a:lnTo>
                        <a:pt x="454" y="2424"/>
                      </a:lnTo>
                      <a:lnTo>
                        <a:pt x="1364"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8" name="Freeform: Shape 3127">
                  <a:extLst>
                    <a:ext uri="{FF2B5EF4-FFF2-40B4-BE49-F238E27FC236}">
                      <a16:creationId xmlns:a16="http://schemas.microsoft.com/office/drawing/2014/main" id="{BF6FBA76-924D-4FDE-B5E6-18161A71C2C0}"/>
                    </a:ext>
                  </a:extLst>
                </p:cNvPr>
                <p:cNvSpPr/>
                <p:nvPr/>
              </p:nvSpPr>
              <p:spPr>
                <a:xfrm>
                  <a:off x="10023418" y="3046180"/>
                  <a:ext cx="25455" cy="26213"/>
                </a:xfrm>
                <a:custGeom>
                  <a:avLst/>
                  <a:gdLst>
                    <a:gd name="connsiteX0" fmla="*/ 22121 w 25455"/>
                    <a:gd name="connsiteY0" fmla="*/ 606 h 26213"/>
                    <a:gd name="connsiteX1" fmla="*/ 18940 w 25455"/>
                    <a:gd name="connsiteY1" fmla="*/ 3182 h 26213"/>
                    <a:gd name="connsiteX2" fmla="*/ 15758 w 25455"/>
                    <a:gd name="connsiteY2" fmla="*/ 10455 h 26213"/>
                    <a:gd name="connsiteX3" fmla="*/ 13334 w 25455"/>
                    <a:gd name="connsiteY3" fmla="*/ 13334 h 26213"/>
                    <a:gd name="connsiteX4" fmla="*/ 6515 w 25455"/>
                    <a:gd name="connsiteY4" fmla="*/ 14546 h 26213"/>
                    <a:gd name="connsiteX5" fmla="*/ 3636 w 25455"/>
                    <a:gd name="connsiteY5" fmla="*/ 17273 h 26213"/>
                    <a:gd name="connsiteX6" fmla="*/ 606 w 25455"/>
                    <a:gd name="connsiteY6" fmla="*/ 16970 h 26213"/>
                    <a:gd name="connsiteX7" fmla="*/ 0 w 25455"/>
                    <a:gd name="connsiteY7" fmla="*/ 18182 h 26213"/>
                    <a:gd name="connsiteX8" fmla="*/ 1363 w 25455"/>
                    <a:gd name="connsiteY8" fmla="*/ 20152 h 26213"/>
                    <a:gd name="connsiteX9" fmla="*/ 1363 w 25455"/>
                    <a:gd name="connsiteY9" fmla="*/ 24243 h 26213"/>
                    <a:gd name="connsiteX10" fmla="*/ 2576 w 25455"/>
                    <a:gd name="connsiteY10" fmla="*/ 25455 h 26213"/>
                    <a:gd name="connsiteX11" fmla="*/ 5606 w 25455"/>
                    <a:gd name="connsiteY11" fmla="*/ 26213 h 26213"/>
                    <a:gd name="connsiteX12" fmla="*/ 6969 w 25455"/>
                    <a:gd name="connsiteY12" fmla="*/ 24849 h 26213"/>
                    <a:gd name="connsiteX13" fmla="*/ 8788 w 25455"/>
                    <a:gd name="connsiteY13" fmla="*/ 22425 h 26213"/>
                    <a:gd name="connsiteX14" fmla="*/ 11364 w 25455"/>
                    <a:gd name="connsiteY14" fmla="*/ 21364 h 26213"/>
                    <a:gd name="connsiteX15" fmla="*/ 16365 w 25455"/>
                    <a:gd name="connsiteY15" fmla="*/ 20455 h 26213"/>
                    <a:gd name="connsiteX16" fmla="*/ 19849 w 25455"/>
                    <a:gd name="connsiteY16" fmla="*/ 16819 h 26213"/>
                    <a:gd name="connsiteX17" fmla="*/ 23334 w 25455"/>
                    <a:gd name="connsiteY17" fmla="*/ 11516 h 26213"/>
                    <a:gd name="connsiteX18" fmla="*/ 24850 w 25455"/>
                    <a:gd name="connsiteY18" fmla="*/ 7728 h 26213"/>
                    <a:gd name="connsiteX19" fmla="*/ 25455 w 25455"/>
                    <a:gd name="connsiteY19" fmla="*/ 3636 h 26213"/>
                    <a:gd name="connsiteX20" fmla="*/ 24698 w 25455"/>
                    <a:gd name="connsiteY20" fmla="*/ 0 h 2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455" h="26213">
                      <a:moveTo>
                        <a:pt x="22121" y="606"/>
                      </a:moveTo>
                      <a:lnTo>
                        <a:pt x="18940" y="3182"/>
                      </a:lnTo>
                      <a:lnTo>
                        <a:pt x="15758" y="10455"/>
                      </a:lnTo>
                      <a:lnTo>
                        <a:pt x="13334" y="13334"/>
                      </a:lnTo>
                      <a:lnTo>
                        <a:pt x="6515" y="14546"/>
                      </a:lnTo>
                      <a:lnTo>
                        <a:pt x="3636" y="17273"/>
                      </a:lnTo>
                      <a:lnTo>
                        <a:pt x="606" y="16970"/>
                      </a:lnTo>
                      <a:lnTo>
                        <a:pt x="0" y="18182"/>
                      </a:lnTo>
                      <a:lnTo>
                        <a:pt x="1363" y="20152"/>
                      </a:lnTo>
                      <a:lnTo>
                        <a:pt x="1363" y="24243"/>
                      </a:lnTo>
                      <a:lnTo>
                        <a:pt x="2576" y="25455"/>
                      </a:lnTo>
                      <a:lnTo>
                        <a:pt x="5606" y="26213"/>
                      </a:lnTo>
                      <a:lnTo>
                        <a:pt x="6969" y="24849"/>
                      </a:lnTo>
                      <a:lnTo>
                        <a:pt x="8788" y="22425"/>
                      </a:lnTo>
                      <a:lnTo>
                        <a:pt x="11364" y="21364"/>
                      </a:lnTo>
                      <a:lnTo>
                        <a:pt x="16365" y="20455"/>
                      </a:lnTo>
                      <a:lnTo>
                        <a:pt x="19849" y="16819"/>
                      </a:lnTo>
                      <a:lnTo>
                        <a:pt x="23334" y="11516"/>
                      </a:lnTo>
                      <a:lnTo>
                        <a:pt x="24850" y="7728"/>
                      </a:lnTo>
                      <a:lnTo>
                        <a:pt x="25455" y="3636"/>
                      </a:lnTo>
                      <a:lnTo>
                        <a:pt x="2469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9" name="Freeform: Shape 3128">
                  <a:extLst>
                    <a:ext uri="{FF2B5EF4-FFF2-40B4-BE49-F238E27FC236}">
                      <a16:creationId xmlns:a16="http://schemas.microsoft.com/office/drawing/2014/main" id="{618541DD-ED0B-496B-96F3-4E67007D7E13}"/>
                    </a:ext>
                  </a:extLst>
                </p:cNvPr>
                <p:cNvSpPr/>
                <p:nvPr/>
              </p:nvSpPr>
              <p:spPr>
                <a:xfrm>
                  <a:off x="9928263" y="3174064"/>
                  <a:ext cx="15607" cy="12273"/>
                </a:xfrm>
                <a:custGeom>
                  <a:avLst/>
                  <a:gdLst>
                    <a:gd name="connsiteX0" fmla="*/ 12273 w 15607"/>
                    <a:gd name="connsiteY0" fmla="*/ 1212 h 12273"/>
                    <a:gd name="connsiteX1" fmla="*/ 8788 w 15607"/>
                    <a:gd name="connsiteY1" fmla="*/ 4546 h 12273"/>
                    <a:gd name="connsiteX2" fmla="*/ 4091 w 15607"/>
                    <a:gd name="connsiteY2" fmla="*/ 9546 h 12273"/>
                    <a:gd name="connsiteX3" fmla="*/ 0 w 15607"/>
                    <a:gd name="connsiteY3" fmla="*/ 10000 h 12273"/>
                    <a:gd name="connsiteX4" fmla="*/ 152 w 15607"/>
                    <a:gd name="connsiteY4" fmla="*/ 10910 h 12273"/>
                    <a:gd name="connsiteX5" fmla="*/ 1061 w 15607"/>
                    <a:gd name="connsiteY5" fmla="*/ 12273 h 12273"/>
                    <a:gd name="connsiteX6" fmla="*/ 2727 w 15607"/>
                    <a:gd name="connsiteY6" fmla="*/ 12273 h 12273"/>
                    <a:gd name="connsiteX7" fmla="*/ 7879 w 15607"/>
                    <a:gd name="connsiteY7" fmla="*/ 8485 h 12273"/>
                    <a:gd name="connsiteX8" fmla="*/ 15607 w 15607"/>
                    <a:gd name="connsiteY8" fmla="*/ 151 h 12273"/>
                    <a:gd name="connsiteX9" fmla="*/ 14243 w 15607"/>
                    <a:gd name="connsiteY9" fmla="*/ 0 h 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07" h="12273">
                      <a:moveTo>
                        <a:pt x="12273" y="1212"/>
                      </a:moveTo>
                      <a:lnTo>
                        <a:pt x="8788" y="4546"/>
                      </a:lnTo>
                      <a:lnTo>
                        <a:pt x="4091" y="9546"/>
                      </a:lnTo>
                      <a:lnTo>
                        <a:pt x="0" y="10000"/>
                      </a:lnTo>
                      <a:lnTo>
                        <a:pt x="152" y="10910"/>
                      </a:lnTo>
                      <a:lnTo>
                        <a:pt x="1061" y="12273"/>
                      </a:lnTo>
                      <a:lnTo>
                        <a:pt x="2727" y="12273"/>
                      </a:lnTo>
                      <a:lnTo>
                        <a:pt x="7879" y="8485"/>
                      </a:lnTo>
                      <a:lnTo>
                        <a:pt x="15607" y="151"/>
                      </a:lnTo>
                      <a:lnTo>
                        <a:pt x="14243"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0" name="Freeform: Shape 3129">
                  <a:extLst>
                    <a:ext uri="{FF2B5EF4-FFF2-40B4-BE49-F238E27FC236}">
                      <a16:creationId xmlns:a16="http://schemas.microsoft.com/office/drawing/2014/main" id="{85A52180-471A-4F2C-9752-587E9EC5F9FF}"/>
                    </a:ext>
                  </a:extLst>
                </p:cNvPr>
                <p:cNvSpPr/>
                <p:nvPr/>
              </p:nvSpPr>
              <p:spPr>
                <a:xfrm>
                  <a:off x="10007509" y="3086485"/>
                  <a:ext cx="7878" cy="13333"/>
                </a:xfrm>
                <a:custGeom>
                  <a:avLst/>
                  <a:gdLst>
                    <a:gd name="connsiteX0" fmla="*/ 0 w 7878"/>
                    <a:gd name="connsiteY0" fmla="*/ 9394 h 13333"/>
                    <a:gd name="connsiteX1" fmla="*/ 0 w 7878"/>
                    <a:gd name="connsiteY1" fmla="*/ 12425 h 13333"/>
                    <a:gd name="connsiteX2" fmla="*/ 2727 w 7878"/>
                    <a:gd name="connsiteY2" fmla="*/ 13334 h 13333"/>
                    <a:gd name="connsiteX3" fmla="*/ 5455 w 7878"/>
                    <a:gd name="connsiteY3" fmla="*/ 11819 h 13333"/>
                    <a:gd name="connsiteX4" fmla="*/ 5909 w 7878"/>
                    <a:gd name="connsiteY4" fmla="*/ 10606 h 13333"/>
                    <a:gd name="connsiteX5" fmla="*/ 5151 w 7878"/>
                    <a:gd name="connsiteY5" fmla="*/ 6364 h 13333"/>
                    <a:gd name="connsiteX6" fmla="*/ 7424 w 7878"/>
                    <a:gd name="connsiteY6" fmla="*/ 2879 h 13333"/>
                    <a:gd name="connsiteX7" fmla="*/ 7878 w 7878"/>
                    <a:gd name="connsiteY7" fmla="*/ 606 h 13333"/>
                    <a:gd name="connsiteX8" fmla="*/ 5758 w 7878"/>
                    <a:gd name="connsiteY8" fmla="*/ 0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78" h="13333">
                      <a:moveTo>
                        <a:pt x="0" y="9394"/>
                      </a:moveTo>
                      <a:lnTo>
                        <a:pt x="0" y="12425"/>
                      </a:lnTo>
                      <a:lnTo>
                        <a:pt x="2727" y="13334"/>
                      </a:lnTo>
                      <a:lnTo>
                        <a:pt x="5455" y="11819"/>
                      </a:lnTo>
                      <a:lnTo>
                        <a:pt x="5909" y="10606"/>
                      </a:lnTo>
                      <a:lnTo>
                        <a:pt x="5151" y="6364"/>
                      </a:lnTo>
                      <a:lnTo>
                        <a:pt x="7424" y="2879"/>
                      </a:lnTo>
                      <a:lnTo>
                        <a:pt x="7878" y="606"/>
                      </a:lnTo>
                      <a:lnTo>
                        <a:pt x="575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1" name="Freeform: Shape 3130">
                  <a:extLst>
                    <a:ext uri="{FF2B5EF4-FFF2-40B4-BE49-F238E27FC236}">
                      <a16:creationId xmlns:a16="http://schemas.microsoft.com/office/drawing/2014/main" id="{CDADA001-5347-464F-80DF-779CEA4841D2}"/>
                    </a:ext>
                  </a:extLst>
                </p:cNvPr>
                <p:cNvSpPr/>
                <p:nvPr/>
              </p:nvSpPr>
              <p:spPr>
                <a:xfrm>
                  <a:off x="9756135" y="3264067"/>
                  <a:ext cx="31213" cy="28031"/>
                </a:xfrm>
                <a:custGeom>
                  <a:avLst/>
                  <a:gdLst>
                    <a:gd name="connsiteX0" fmla="*/ 21364 w 31213"/>
                    <a:gd name="connsiteY0" fmla="*/ 152 h 28031"/>
                    <a:gd name="connsiteX1" fmla="*/ 18788 w 31213"/>
                    <a:gd name="connsiteY1" fmla="*/ 0 h 28031"/>
                    <a:gd name="connsiteX2" fmla="*/ 14091 w 31213"/>
                    <a:gd name="connsiteY2" fmla="*/ 7728 h 28031"/>
                    <a:gd name="connsiteX3" fmla="*/ 12728 w 31213"/>
                    <a:gd name="connsiteY3" fmla="*/ 8485 h 28031"/>
                    <a:gd name="connsiteX4" fmla="*/ 11667 w 31213"/>
                    <a:gd name="connsiteY4" fmla="*/ 10303 h 28031"/>
                    <a:gd name="connsiteX5" fmla="*/ 9546 w 31213"/>
                    <a:gd name="connsiteY5" fmla="*/ 12425 h 28031"/>
                    <a:gd name="connsiteX6" fmla="*/ 8788 w 31213"/>
                    <a:gd name="connsiteY6" fmla="*/ 14395 h 28031"/>
                    <a:gd name="connsiteX7" fmla="*/ 6667 w 31213"/>
                    <a:gd name="connsiteY7" fmla="*/ 16819 h 28031"/>
                    <a:gd name="connsiteX8" fmla="*/ 1061 w 31213"/>
                    <a:gd name="connsiteY8" fmla="*/ 21061 h 28031"/>
                    <a:gd name="connsiteX9" fmla="*/ 0 w 31213"/>
                    <a:gd name="connsiteY9" fmla="*/ 23183 h 28031"/>
                    <a:gd name="connsiteX10" fmla="*/ 455 w 31213"/>
                    <a:gd name="connsiteY10" fmla="*/ 25607 h 28031"/>
                    <a:gd name="connsiteX11" fmla="*/ 3636 w 31213"/>
                    <a:gd name="connsiteY11" fmla="*/ 28031 h 28031"/>
                    <a:gd name="connsiteX12" fmla="*/ 4394 w 31213"/>
                    <a:gd name="connsiteY12" fmla="*/ 21971 h 28031"/>
                    <a:gd name="connsiteX13" fmla="*/ 9394 w 31213"/>
                    <a:gd name="connsiteY13" fmla="*/ 18789 h 28031"/>
                    <a:gd name="connsiteX14" fmla="*/ 12576 w 31213"/>
                    <a:gd name="connsiteY14" fmla="*/ 15152 h 28031"/>
                    <a:gd name="connsiteX15" fmla="*/ 13334 w 31213"/>
                    <a:gd name="connsiteY15" fmla="*/ 13334 h 28031"/>
                    <a:gd name="connsiteX16" fmla="*/ 18788 w 31213"/>
                    <a:gd name="connsiteY16" fmla="*/ 8637 h 28031"/>
                    <a:gd name="connsiteX17" fmla="*/ 20455 w 31213"/>
                    <a:gd name="connsiteY17" fmla="*/ 7879 h 28031"/>
                    <a:gd name="connsiteX18" fmla="*/ 23789 w 31213"/>
                    <a:gd name="connsiteY18" fmla="*/ 7425 h 28031"/>
                    <a:gd name="connsiteX19" fmla="*/ 27729 w 31213"/>
                    <a:gd name="connsiteY19" fmla="*/ 4243 h 28031"/>
                    <a:gd name="connsiteX20" fmla="*/ 29850 w 31213"/>
                    <a:gd name="connsiteY20" fmla="*/ 4243 h 28031"/>
                    <a:gd name="connsiteX21" fmla="*/ 31213 w 31213"/>
                    <a:gd name="connsiteY21" fmla="*/ 2121 h 28031"/>
                    <a:gd name="connsiteX22" fmla="*/ 25455 w 31213"/>
                    <a:gd name="connsiteY22" fmla="*/ 2576 h 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213" h="28031">
                      <a:moveTo>
                        <a:pt x="21364" y="152"/>
                      </a:moveTo>
                      <a:lnTo>
                        <a:pt x="18788" y="0"/>
                      </a:lnTo>
                      <a:lnTo>
                        <a:pt x="14091" y="7728"/>
                      </a:lnTo>
                      <a:lnTo>
                        <a:pt x="12728" y="8485"/>
                      </a:lnTo>
                      <a:lnTo>
                        <a:pt x="11667" y="10303"/>
                      </a:lnTo>
                      <a:lnTo>
                        <a:pt x="9546" y="12425"/>
                      </a:lnTo>
                      <a:lnTo>
                        <a:pt x="8788" y="14395"/>
                      </a:lnTo>
                      <a:lnTo>
                        <a:pt x="6667" y="16819"/>
                      </a:lnTo>
                      <a:lnTo>
                        <a:pt x="1061" y="21061"/>
                      </a:lnTo>
                      <a:lnTo>
                        <a:pt x="0" y="23183"/>
                      </a:lnTo>
                      <a:lnTo>
                        <a:pt x="455" y="25607"/>
                      </a:lnTo>
                      <a:lnTo>
                        <a:pt x="3636" y="28031"/>
                      </a:lnTo>
                      <a:lnTo>
                        <a:pt x="4394" y="21971"/>
                      </a:lnTo>
                      <a:lnTo>
                        <a:pt x="9394" y="18789"/>
                      </a:lnTo>
                      <a:lnTo>
                        <a:pt x="12576" y="15152"/>
                      </a:lnTo>
                      <a:lnTo>
                        <a:pt x="13334" y="13334"/>
                      </a:lnTo>
                      <a:lnTo>
                        <a:pt x="18788" y="8637"/>
                      </a:lnTo>
                      <a:lnTo>
                        <a:pt x="20455" y="7879"/>
                      </a:lnTo>
                      <a:lnTo>
                        <a:pt x="23789" y="7425"/>
                      </a:lnTo>
                      <a:lnTo>
                        <a:pt x="27729" y="4243"/>
                      </a:lnTo>
                      <a:lnTo>
                        <a:pt x="29850" y="4243"/>
                      </a:lnTo>
                      <a:lnTo>
                        <a:pt x="31213" y="2121"/>
                      </a:lnTo>
                      <a:lnTo>
                        <a:pt x="25455" y="25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2" name="Freeform: Shape 3131">
                  <a:extLst>
                    <a:ext uri="{FF2B5EF4-FFF2-40B4-BE49-F238E27FC236}">
                      <a16:creationId xmlns:a16="http://schemas.microsoft.com/office/drawing/2014/main" id="{7AF14DE9-9BAB-4E24-AF01-A79ECB35B4F3}"/>
                    </a:ext>
                  </a:extLst>
                </p:cNvPr>
                <p:cNvSpPr/>
                <p:nvPr/>
              </p:nvSpPr>
              <p:spPr>
                <a:xfrm>
                  <a:off x="9788561" y="3285583"/>
                  <a:ext cx="7878" cy="4697"/>
                </a:xfrm>
                <a:custGeom>
                  <a:avLst/>
                  <a:gdLst>
                    <a:gd name="connsiteX0" fmla="*/ 5910 w 7878"/>
                    <a:gd name="connsiteY0" fmla="*/ 0 h 4697"/>
                    <a:gd name="connsiteX1" fmla="*/ 302 w 7878"/>
                    <a:gd name="connsiteY1" fmla="*/ 1515 h 4697"/>
                    <a:gd name="connsiteX2" fmla="*/ 152 w 7878"/>
                    <a:gd name="connsiteY2" fmla="*/ 2121 h 4697"/>
                    <a:gd name="connsiteX3" fmla="*/ 0 w 7878"/>
                    <a:gd name="connsiteY3" fmla="*/ 3939 h 4697"/>
                    <a:gd name="connsiteX4" fmla="*/ 1970 w 7878"/>
                    <a:gd name="connsiteY4" fmla="*/ 4697 h 4697"/>
                    <a:gd name="connsiteX5" fmla="*/ 2879 w 7878"/>
                    <a:gd name="connsiteY5" fmla="*/ 3788 h 4697"/>
                    <a:gd name="connsiteX6" fmla="*/ 7878 w 7878"/>
                    <a:gd name="connsiteY6" fmla="*/ 1818 h 4697"/>
                    <a:gd name="connsiteX7" fmla="*/ 7424 w 7878"/>
                    <a:gd name="connsiteY7" fmla="*/ 1061 h 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78" h="4697">
                      <a:moveTo>
                        <a:pt x="5910" y="0"/>
                      </a:moveTo>
                      <a:lnTo>
                        <a:pt x="302" y="1515"/>
                      </a:lnTo>
                      <a:lnTo>
                        <a:pt x="152" y="2121"/>
                      </a:lnTo>
                      <a:lnTo>
                        <a:pt x="0" y="3939"/>
                      </a:lnTo>
                      <a:lnTo>
                        <a:pt x="1970" y="4697"/>
                      </a:lnTo>
                      <a:lnTo>
                        <a:pt x="2879" y="3788"/>
                      </a:lnTo>
                      <a:lnTo>
                        <a:pt x="7878" y="1818"/>
                      </a:lnTo>
                      <a:lnTo>
                        <a:pt x="7424" y="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3" name="Freeform: Shape 3132">
                  <a:extLst>
                    <a:ext uri="{FF2B5EF4-FFF2-40B4-BE49-F238E27FC236}">
                      <a16:creationId xmlns:a16="http://schemas.microsoft.com/office/drawing/2014/main" id="{66B1D2DE-6AFE-4947-8723-4888CD4BD8CB}"/>
                    </a:ext>
                  </a:extLst>
                </p:cNvPr>
                <p:cNvSpPr/>
                <p:nvPr/>
              </p:nvSpPr>
              <p:spPr>
                <a:xfrm>
                  <a:off x="9866139" y="3206035"/>
                  <a:ext cx="30304" cy="21212"/>
                </a:xfrm>
                <a:custGeom>
                  <a:avLst/>
                  <a:gdLst>
                    <a:gd name="connsiteX0" fmla="*/ 23637 w 30304"/>
                    <a:gd name="connsiteY0" fmla="*/ 455 h 21212"/>
                    <a:gd name="connsiteX1" fmla="*/ 14091 w 30304"/>
                    <a:gd name="connsiteY1" fmla="*/ 6515 h 21212"/>
                    <a:gd name="connsiteX2" fmla="*/ 9546 w 30304"/>
                    <a:gd name="connsiteY2" fmla="*/ 11515 h 21212"/>
                    <a:gd name="connsiteX3" fmla="*/ 6060 w 30304"/>
                    <a:gd name="connsiteY3" fmla="*/ 12728 h 21212"/>
                    <a:gd name="connsiteX4" fmla="*/ 0 w 30304"/>
                    <a:gd name="connsiteY4" fmla="*/ 21213 h 21212"/>
                    <a:gd name="connsiteX5" fmla="*/ 2576 w 30304"/>
                    <a:gd name="connsiteY5" fmla="*/ 21213 h 21212"/>
                    <a:gd name="connsiteX6" fmla="*/ 6667 w 30304"/>
                    <a:gd name="connsiteY6" fmla="*/ 19546 h 21212"/>
                    <a:gd name="connsiteX7" fmla="*/ 11970 w 30304"/>
                    <a:gd name="connsiteY7" fmla="*/ 14697 h 21212"/>
                    <a:gd name="connsiteX8" fmla="*/ 13940 w 30304"/>
                    <a:gd name="connsiteY8" fmla="*/ 13334 h 21212"/>
                    <a:gd name="connsiteX9" fmla="*/ 16667 w 30304"/>
                    <a:gd name="connsiteY9" fmla="*/ 12425 h 21212"/>
                    <a:gd name="connsiteX10" fmla="*/ 20455 w 30304"/>
                    <a:gd name="connsiteY10" fmla="*/ 9546 h 21212"/>
                    <a:gd name="connsiteX11" fmla="*/ 21516 w 30304"/>
                    <a:gd name="connsiteY11" fmla="*/ 6970 h 21212"/>
                    <a:gd name="connsiteX12" fmla="*/ 30304 w 30304"/>
                    <a:gd name="connsiteY12" fmla="*/ 151 h 21212"/>
                    <a:gd name="connsiteX13" fmla="*/ 24698 w 30304"/>
                    <a:gd name="connsiteY13" fmla="*/ 0 h 2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4" h="21212">
                      <a:moveTo>
                        <a:pt x="23637" y="455"/>
                      </a:moveTo>
                      <a:lnTo>
                        <a:pt x="14091" y="6515"/>
                      </a:lnTo>
                      <a:lnTo>
                        <a:pt x="9546" y="11515"/>
                      </a:lnTo>
                      <a:lnTo>
                        <a:pt x="6060" y="12728"/>
                      </a:lnTo>
                      <a:lnTo>
                        <a:pt x="0" y="21213"/>
                      </a:lnTo>
                      <a:lnTo>
                        <a:pt x="2576" y="21213"/>
                      </a:lnTo>
                      <a:lnTo>
                        <a:pt x="6667" y="19546"/>
                      </a:lnTo>
                      <a:lnTo>
                        <a:pt x="11970" y="14697"/>
                      </a:lnTo>
                      <a:lnTo>
                        <a:pt x="13940" y="13334"/>
                      </a:lnTo>
                      <a:lnTo>
                        <a:pt x="16667" y="12425"/>
                      </a:lnTo>
                      <a:lnTo>
                        <a:pt x="20455" y="9546"/>
                      </a:lnTo>
                      <a:lnTo>
                        <a:pt x="21516" y="6970"/>
                      </a:lnTo>
                      <a:lnTo>
                        <a:pt x="30304" y="151"/>
                      </a:lnTo>
                      <a:lnTo>
                        <a:pt x="2469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4" name="Freeform: Shape 3133">
                  <a:extLst>
                    <a:ext uri="{FF2B5EF4-FFF2-40B4-BE49-F238E27FC236}">
                      <a16:creationId xmlns:a16="http://schemas.microsoft.com/office/drawing/2014/main" id="{274FFCA3-B141-40F8-8BB8-4116989463AD}"/>
                    </a:ext>
                  </a:extLst>
                </p:cNvPr>
                <p:cNvSpPr/>
                <p:nvPr/>
              </p:nvSpPr>
              <p:spPr>
                <a:xfrm>
                  <a:off x="9796439" y="3229520"/>
                  <a:ext cx="53032" cy="37880"/>
                </a:xfrm>
                <a:custGeom>
                  <a:avLst/>
                  <a:gdLst>
                    <a:gd name="connsiteX0" fmla="*/ 52730 w 53032"/>
                    <a:gd name="connsiteY0" fmla="*/ 2273 h 37880"/>
                    <a:gd name="connsiteX1" fmla="*/ 52730 w 53032"/>
                    <a:gd name="connsiteY1" fmla="*/ 1364 h 37880"/>
                    <a:gd name="connsiteX2" fmla="*/ 52427 w 53032"/>
                    <a:gd name="connsiteY2" fmla="*/ 455 h 37880"/>
                    <a:gd name="connsiteX3" fmla="*/ 51214 w 53032"/>
                    <a:gd name="connsiteY3" fmla="*/ 0 h 37880"/>
                    <a:gd name="connsiteX4" fmla="*/ 49548 w 53032"/>
                    <a:gd name="connsiteY4" fmla="*/ 152 h 37880"/>
                    <a:gd name="connsiteX5" fmla="*/ 46820 w 53032"/>
                    <a:gd name="connsiteY5" fmla="*/ 1364 h 37880"/>
                    <a:gd name="connsiteX6" fmla="*/ 38941 w 53032"/>
                    <a:gd name="connsiteY6" fmla="*/ 8182 h 37880"/>
                    <a:gd name="connsiteX7" fmla="*/ 33638 w 53032"/>
                    <a:gd name="connsiteY7" fmla="*/ 9091 h 37880"/>
                    <a:gd name="connsiteX8" fmla="*/ 31668 w 53032"/>
                    <a:gd name="connsiteY8" fmla="*/ 8940 h 37880"/>
                    <a:gd name="connsiteX9" fmla="*/ 29244 w 53032"/>
                    <a:gd name="connsiteY9" fmla="*/ 5000 h 37880"/>
                    <a:gd name="connsiteX10" fmla="*/ 28032 w 53032"/>
                    <a:gd name="connsiteY10" fmla="*/ 4849 h 37880"/>
                    <a:gd name="connsiteX11" fmla="*/ 26668 w 53032"/>
                    <a:gd name="connsiteY11" fmla="*/ 7576 h 37880"/>
                    <a:gd name="connsiteX12" fmla="*/ 26971 w 53032"/>
                    <a:gd name="connsiteY12" fmla="*/ 10152 h 37880"/>
                    <a:gd name="connsiteX13" fmla="*/ 23789 w 53032"/>
                    <a:gd name="connsiteY13" fmla="*/ 11364 h 37880"/>
                    <a:gd name="connsiteX14" fmla="*/ 20759 w 53032"/>
                    <a:gd name="connsiteY14" fmla="*/ 14698 h 37880"/>
                    <a:gd name="connsiteX15" fmla="*/ 18031 w 53032"/>
                    <a:gd name="connsiteY15" fmla="*/ 15607 h 37880"/>
                    <a:gd name="connsiteX16" fmla="*/ 14546 w 53032"/>
                    <a:gd name="connsiteY16" fmla="*/ 19546 h 37880"/>
                    <a:gd name="connsiteX17" fmla="*/ 9546 w 53032"/>
                    <a:gd name="connsiteY17" fmla="*/ 22577 h 37880"/>
                    <a:gd name="connsiteX18" fmla="*/ 6970 w 53032"/>
                    <a:gd name="connsiteY18" fmla="*/ 25607 h 37880"/>
                    <a:gd name="connsiteX19" fmla="*/ 6667 w 53032"/>
                    <a:gd name="connsiteY19" fmla="*/ 29092 h 37880"/>
                    <a:gd name="connsiteX20" fmla="*/ 2122 w 53032"/>
                    <a:gd name="connsiteY20" fmla="*/ 32425 h 37880"/>
                    <a:gd name="connsiteX21" fmla="*/ 910 w 53032"/>
                    <a:gd name="connsiteY21" fmla="*/ 34092 h 37880"/>
                    <a:gd name="connsiteX22" fmla="*/ 0 w 53032"/>
                    <a:gd name="connsiteY22" fmla="*/ 37880 h 37880"/>
                    <a:gd name="connsiteX23" fmla="*/ 5455 w 53032"/>
                    <a:gd name="connsiteY23" fmla="*/ 33486 h 37880"/>
                    <a:gd name="connsiteX24" fmla="*/ 8486 w 53032"/>
                    <a:gd name="connsiteY24" fmla="*/ 32729 h 37880"/>
                    <a:gd name="connsiteX25" fmla="*/ 11213 w 53032"/>
                    <a:gd name="connsiteY25" fmla="*/ 28637 h 37880"/>
                    <a:gd name="connsiteX26" fmla="*/ 18183 w 53032"/>
                    <a:gd name="connsiteY26" fmla="*/ 23334 h 37880"/>
                    <a:gd name="connsiteX27" fmla="*/ 19395 w 53032"/>
                    <a:gd name="connsiteY27" fmla="*/ 21516 h 37880"/>
                    <a:gd name="connsiteX28" fmla="*/ 19850 w 53032"/>
                    <a:gd name="connsiteY28" fmla="*/ 19698 h 37880"/>
                    <a:gd name="connsiteX29" fmla="*/ 20759 w 53032"/>
                    <a:gd name="connsiteY29" fmla="*/ 18486 h 37880"/>
                    <a:gd name="connsiteX30" fmla="*/ 24244 w 53032"/>
                    <a:gd name="connsiteY30" fmla="*/ 19092 h 37880"/>
                    <a:gd name="connsiteX31" fmla="*/ 27729 w 53032"/>
                    <a:gd name="connsiteY31" fmla="*/ 18031 h 37880"/>
                    <a:gd name="connsiteX32" fmla="*/ 30304 w 53032"/>
                    <a:gd name="connsiteY32" fmla="*/ 15455 h 37880"/>
                    <a:gd name="connsiteX33" fmla="*/ 37274 w 53032"/>
                    <a:gd name="connsiteY33" fmla="*/ 10455 h 37880"/>
                    <a:gd name="connsiteX34" fmla="*/ 41517 w 53032"/>
                    <a:gd name="connsiteY34" fmla="*/ 9394 h 37880"/>
                    <a:gd name="connsiteX35" fmla="*/ 46517 w 53032"/>
                    <a:gd name="connsiteY35" fmla="*/ 6970 h 37880"/>
                    <a:gd name="connsiteX36" fmla="*/ 51821 w 53032"/>
                    <a:gd name="connsiteY36" fmla="*/ 6819 h 37880"/>
                    <a:gd name="connsiteX37" fmla="*/ 53032 w 53032"/>
                    <a:gd name="connsiteY37" fmla="*/ 5455 h 37880"/>
                    <a:gd name="connsiteX38" fmla="*/ 52123 w 53032"/>
                    <a:gd name="connsiteY38" fmla="*/ 3788 h 3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3032" h="37880">
                      <a:moveTo>
                        <a:pt x="52730" y="2273"/>
                      </a:moveTo>
                      <a:lnTo>
                        <a:pt x="52730" y="1364"/>
                      </a:lnTo>
                      <a:lnTo>
                        <a:pt x="52427" y="455"/>
                      </a:lnTo>
                      <a:lnTo>
                        <a:pt x="51214" y="0"/>
                      </a:lnTo>
                      <a:lnTo>
                        <a:pt x="49548" y="152"/>
                      </a:lnTo>
                      <a:lnTo>
                        <a:pt x="46820" y="1364"/>
                      </a:lnTo>
                      <a:lnTo>
                        <a:pt x="38941" y="8182"/>
                      </a:lnTo>
                      <a:lnTo>
                        <a:pt x="33638" y="9091"/>
                      </a:lnTo>
                      <a:lnTo>
                        <a:pt x="31668" y="8940"/>
                      </a:lnTo>
                      <a:lnTo>
                        <a:pt x="29244" y="5000"/>
                      </a:lnTo>
                      <a:lnTo>
                        <a:pt x="28032" y="4849"/>
                      </a:lnTo>
                      <a:lnTo>
                        <a:pt x="26668" y="7576"/>
                      </a:lnTo>
                      <a:lnTo>
                        <a:pt x="26971" y="10152"/>
                      </a:lnTo>
                      <a:lnTo>
                        <a:pt x="23789" y="11364"/>
                      </a:lnTo>
                      <a:lnTo>
                        <a:pt x="20759" y="14698"/>
                      </a:lnTo>
                      <a:lnTo>
                        <a:pt x="18031" y="15607"/>
                      </a:lnTo>
                      <a:lnTo>
                        <a:pt x="14546" y="19546"/>
                      </a:lnTo>
                      <a:lnTo>
                        <a:pt x="9546" y="22577"/>
                      </a:lnTo>
                      <a:lnTo>
                        <a:pt x="6970" y="25607"/>
                      </a:lnTo>
                      <a:lnTo>
                        <a:pt x="6667" y="29092"/>
                      </a:lnTo>
                      <a:lnTo>
                        <a:pt x="2122" y="32425"/>
                      </a:lnTo>
                      <a:lnTo>
                        <a:pt x="910" y="34092"/>
                      </a:lnTo>
                      <a:lnTo>
                        <a:pt x="0" y="37880"/>
                      </a:lnTo>
                      <a:lnTo>
                        <a:pt x="5455" y="33486"/>
                      </a:lnTo>
                      <a:lnTo>
                        <a:pt x="8486" y="32729"/>
                      </a:lnTo>
                      <a:lnTo>
                        <a:pt x="11213" y="28637"/>
                      </a:lnTo>
                      <a:lnTo>
                        <a:pt x="18183" y="23334"/>
                      </a:lnTo>
                      <a:lnTo>
                        <a:pt x="19395" y="21516"/>
                      </a:lnTo>
                      <a:lnTo>
                        <a:pt x="19850" y="19698"/>
                      </a:lnTo>
                      <a:lnTo>
                        <a:pt x="20759" y="18486"/>
                      </a:lnTo>
                      <a:lnTo>
                        <a:pt x="24244" y="19092"/>
                      </a:lnTo>
                      <a:lnTo>
                        <a:pt x="27729" y="18031"/>
                      </a:lnTo>
                      <a:lnTo>
                        <a:pt x="30304" y="15455"/>
                      </a:lnTo>
                      <a:lnTo>
                        <a:pt x="37274" y="10455"/>
                      </a:lnTo>
                      <a:lnTo>
                        <a:pt x="41517" y="9394"/>
                      </a:lnTo>
                      <a:lnTo>
                        <a:pt x="46517" y="6970"/>
                      </a:lnTo>
                      <a:lnTo>
                        <a:pt x="51821" y="6819"/>
                      </a:lnTo>
                      <a:lnTo>
                        <a:pt x="53032" y="5455"/>
                      </a:lnTo>
                      <a:lnTo>
                        <a:pt x="52123" y="378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5" name="Freeform: Shape 3134">
                  <a:extLst>
                    <a:ext uri="{FF2B5EF4-FFF2-40B4-BE49-F238E27FC236}">
                      <a16:creationId xmlns:a16="http://schemas.microsoft.com/office/drawing/2014/main" id="{C19B997A-FFBA-4FDF-A72B-BD3F557CBB04}"/>
                    </a:ext>
                  </a:extLst>
                </p:cNvPr>
                <p:cNvSpPr/>
                <p:nvPr/>
              </p:nvSpPr>
              <p:spPr>
                <a:xfrm>
                  <a:off x="9894170" y="2726775"/>
                  <a:ext cx="6970" cy="6212"/>
                </a:xfrm>
                <a:custGeom>
                  <a:avLst/>
                  <a:gdLst>
                    <a:gd name="connsiteX0" fmla="*/ 5304 w 6970"/>
                    <a:gd name="connsiteY0" fmla="*/ 0 h 6212"/>
                    <a:gd name="connsiteX1" fmla="*/ 3334 w 6970"/>
                    <a:gd name="connsiteY1" fmla="*/ 2576 h 6212"/>
                    <a:gd name="connsiteX2" fmla="*/ 0 w 6970"/>
                    <a:gd name="connsiteY2" fmla="*/ 4394 h 6212"/>
                    <a:gd name="connsiteX3" fmla="*/ 0 w 6970"/>
                    <a:gd name="connsiteY3" fmla="*/ 5152 h 6212"/>
                    <a:gd name="connsiteX4" fmla="*/ 1061 w 6970"/>
                    <a:gd name="connsiteY4" fmla="*/ 6212 h 6212"/>
                    <a:gd name="connsiteX5" fmla="*/ 3334 w 6970"/>
                    <a:gd name="connsiteY5" fmla="*/ 5758 h 6212"/>
                    <a:gd name="connsiteX6" fmla="*/ 6970 w 6970"/>
                    <a:gd name="connsiteY6" fmla="*/ 2727 h 6212"/>
                    <a:gd name="connsiteX7" fmla="*/ 6667 w 6970"/>
                    <a:gd name="connsiteY7" fmla="*/ 1515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0" h="6212">
                      <a:moveTo>
                        <a:pt x="5304" y="0"/>
                      </a:moveTo>
                      <a:lnTo>
                        <a:pt x="3334" y="2576"/>
                      </a:lnTo>
                      <a:lnTo>
                        <a:pt x="0" y="4394"/>
                      </a:lnTo>
                      <a:lnTo>
                        <a:pt x="0" y="5152"/>
                      </a:lnTo>
                      <a:lnTo>
                        <a:pt x="1061" y="6212"/>
                      </a:lnTo>
                      <a:lnTo>
                        <a:pt x="3334" y="5758"/>
                      </a:lnTo>
                      <a:lnTo>
                        <a:pt x="6970" y="2727"/>
                      </a:lnTo>
                      <a:lnTo>
                        <a:pt x="6667" y="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6" name="Freeform: Shape 3135">
                  <a:extLst>
                    <a:ext uri="{FF2B5EF4-FFF2-40B4-BE49-F238E27FC236}">
                      <a16:creationId xmlns:a16="http://schemas.microsoft.com/office/drawing/2014/main" id="{36E44014-D68A-4FC3-BAB6-5C48CE5D0C8A}"/>
                    </a:ext>
                  </a:extLst>
                </p:cNvPr>
                <p:cNvSpPr/>
                <p:nvPr/>
              </p:nvSpPr>
              <p:spPr>
                <a:xfrm>
                  <a:off x="9532036" y="2882235"/>
                  <a:ext cx="26516" cy="20758"/>
                </a:xfrm>
                <a:custGeom>
                  <a:avLst/>
                  <a:gdLst>
                    <a:gd name="connsiteX0" fmla="*/ 21819 w 26516"/>
                    <a:gd name="connsiteY0" fmla="*/ 5455 h 20758"/>
                    <a:gd name="connsiteX1" fmla="*/ 19243 w 26516"/>
                    <a:gd name="connsiteY1" fmla="*/ 4091 h 20758"/>
                    <a:gd name="connsiteX2" fmla="*/ 18485 w 26516"/>
                    <a:gd name="connsiteY2" fmla="*/ 3333 h 20758"/>
                    <a:gd name="connsiteX3" fmla="*/ 9394 w 26516"/>
                    <a:gd name="connsiteY3" fmla="*/ 0 h 20758"/>
                    <a:gd name="connsiteX4" fmla="*/ 8485 w 26516"/>
                    <a:gd name="connsiteY4" fmla="*/ 1364 h 20758"/>
                    <a:gd name="connsiteX5" fmla="*/ 5455 w 26516"/>
                    <a:gd name="connsiteY5" fmla="*/ 6970 h 20758"/>
                    <a:gd name="connsiteX6" fmla="*/ 4090 w 26516"/>
                    <a:gd name="connsiteY6" fmla="*/ 7576 h 20758"/>
                    <a:gd name="connsiteX7" fmla="*/ 1061 w 26516"/>
                    <a:gd name="connsiteY7" fmla="*/ 11667 h 20758"/>
                    <a:gd name="connsiteX8" fmla="*/ 0 w 26516"/>
                    <a:gd name="connsiteY8" fmla="*/ 15455 h 20758"/>
                    <a:gd name="connsiteX9" fmla="*/ 1061 w 26516"/>
                    <a:gd name="connsiteY9" fmla="*/ 15455 h 20758"/>
                    <a:gd name="connsiteX10" fmla="*/ 6212 w 26516"/>
                    <a:gd name="connsiteY10" fmla="*/ 12425 h 20758"/>
                    <a:gd name="connsiteX11" fmla="*/ 8030 w 26516"/>
                    <a:gd name="connsiteY11" fmla="*/ 14243 h 20758"/>
                    <a:gd name="connsiteX12" fmla="*/ 11666 w 26516"/>
                    <a:gd name="connsiteY12" fmla="*/ 20758 h 20758"/>
                    <a:gd name="connsiteX13" fmla="*/ 13334 w 26516"/>
                    <a:gd name="connsiteY13" fmla="*/ 20304 h 20758"/>
                    <a:gd name="connsiteX14" fmla="*/ 15152 w 26516"/>
                    <a:gd name="connsiteY14" fmla="*/ 19092 h 20758"/>
                    <a:gd name="connsiteX15" fmla="*/ 17424 w 26516"/>
                    <a:gd name="connsiteY15" fmla="*/ 17122 h 20758"/>
                    <a:gd name="connsiteX16" fmla="*/ 19849 w 26516"/>
                    <a:gd name="connsiteY16" fmla="*/ 15607 h 20758"/>
                    <a:gd name="connsiteX17" fmla="*/ 20758 w 26516"/>
                    <a:gd name="connsiteY17" fmla="*/ 14394 h 20758"/>
                    <a:gd name="connsiteX18" fmla="*/ 21364 w 26516"/>
                    <a:gd name="connsiteY18" fmla="*/ 11364 h 20758"/>
                    <a:gd name="connsiteX19" fmla="*/ 23637 w 26516"/>
                    <a:gd name="connsiteY19" fmla="*/ 7879 h 20758"/>
                    <a:gd name="connsiteX20" fmla="*/ 26516 w 26516"/>
                    <a:gd name="connsiteY20" fmla="*/ 6212 h 20758"/>
                    <a:gd name="connsiteX21" fmla="*/ 25607 w 26516"/>
                    <a:gd name="connsiteY21" fmla="*/ 5303 h 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516" h="20758">
                      <a:moveTo>
                        <a:pt x="21819" y="5455"/>
                      </a:moveTo>
                      <a:lnTo>
                        <a:pt x="19243" y="4091"/>
                      </a:lnTo>
                      <a:lnTo>
                        <a:pt x="18485" y="3333"/>
                      </a:lnTo>
                      <a:lnTo>
                        <a:pt x="9394" y="0"/>
                      </a:lnTo>
                      <a:lnTo>
                        <a:pt x="8485" y="1364"/>
                      </a:lnTo>
                      <a:lnTo>
                        <a:pt x="5455" y="6970"/>
                      </a:lnTo>
                      <a:lnTo>
                        <a:pt x="4090" y="7576"/>
                      </a:lnTo>
                      <a:lnTo>
                        <a:pt x="1061" y="11667"/>
                      </a:lnTo>
                      <a:lnTo>
                        <a:pt x="0" y="15455"/>
                      </a:lnTo>
                      <a:lnTo>
                        <a:pt x="1061" y="15455"/>
                      </a:lnTo>
                      <a:lnTo>
                        <a:pt x="6212" y="12425"/>
                      </a:lnTo>
                      <a:lnTo>
                        <a:pt x="8030" y="14243"/>
                      </a:lnTo>
                      <a:lnTo>
                        <a:pt x="11666" y="20758"/>
                      </a:lnTo>
                      <a:lnTo>
                        <a:pt x="13334" y="20304"/>
                      </a:lnTo>
                      <a:lnTo>
                        <a:pt x="15152" y="19092"/>
                      </a:lnTo>
                      <a:lnTo>
                        <a:pt x="17424" y="17122"/>
                      </a:lnTo>
                      <a:lnTo>
                        <a:pt x="19849" y="15607"/>
                      </a:lnTo>
                      <a:lnTo>
                        <a:pt x="20758" y="14394"/>
                      </a:lnTo>
                      <a:lnTo>
                        <a:pt x="21364" y="11364"/>
                      </a:lnTo>
                      <a:lnTo>
                        <a:pt x="23637" y="7879"/>
                      </a:lnTo>
                      <a:lnTo>
                        <a:pt x="26516" y="6212"/>
                      </a:lnTo>
                      <a:lnTo>
                        <a:pt x="25607"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7" name="Freeform: Shape 3136">
                  <a:extLst>
                    <a:ext uri="{FF2B5EF4-FFF2-40B4-BE49-F238E27FC236}">
                      <a16:creationId xmlns:a16="http://schemas.microsoft.com/office/drawing/2014/main" id="{59647F15-E166-4F62-9248-525F8F3ACAFD}"/>
                    </a:ext>
                  </a:extLst>
                </p:cNvPr>
                <p:cNvSpPr/>
                <p:nvPr/>
              </p:nvSpPr>
              <p:spPr>
                <a:xfrm>
                  <a:off x="7611056" y="2266758"/>
                  <a:ext cx="8788" cy="6363"/>
                </a:xfrm>
                <a:custGeom>
                  <a:avLst/>
                  <a:gdLst>
                    <a:gd name="connsiteX0" fmla="*/ 6516 w 8788"/>
                    <a:gd name="connsiteY0" fmla="*/ 6364 h 6363"/>
                    <a:gd name="connsiteX1" fmla="*/ 8788 w 8788"/>
                    <a:gd name="connsiteY1" fmla="*/ 2121 h 6363"/>
                    <a:gd name="connsiteX2" fmla="*/ 8334 w 8788"/>
                    <a:gd name="connsiteY2" fmla="*/ 151 h 6363"/>
                    <a:gd name="connsiteX3" fmla="*/ 5152 w 8788"/>
                    <a:gd name="connsiteY3" fmla="*/ 0 h 6363"/>
                    <a:gd name="connsiteX4" fmla="*/ 0 w 8788"/>
                    <a:gd name="connsiteY4" fmla="*/ 4394 h 6363"/>
                    <a:gd name="connsiteX5" fmla="*/ 606 w 8788"/>
                    <a:gd name="connsiteY5" fmla="*/ 5152 h 6363"/>
                    <a:gd name="connsiteX6" fmla="*/ 1970 w 8788"/>
                    <a:gd name="connsiteY6" fmla="*/ 6212 h 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8" h="6363">
                      <a:moveTo>
                        <a:pt x="6516" y="6364"/>
                      </a:moveTo>
                      <a:lnTo>
                        <a:pt x="8788" y="2121"/>
                      </a:lnTo>
                      <a:lnTo>
                        <a:pt x="8334" y="151"/>
                      </a:lnTo>
                      <a:lnTo>
                        <a:pt x="5152" y="0"/>
                      </a:lnTo>
                      <a:lnTo>
                        <a:pt x="0" y="4394"/>
                      </a:lnTo>
                      <a:lnTo>
                        <a:pt x="606" y="5152"/>
                      </a:lnTo>
                      <a:lnTo>
                        <a:pt x="1970"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8" name="Freeform: Shape 3137">
                  <a:extLst>
                    <a:ext uri="{FF2B5EF4-FFF2-40B4-BE49-F238E27FC236}">
                      <a16:creationId xmlns:a16="http://schemas.microsoft.com/office/drawing/2014/main" id="{D97C1470-F6DF-4BE9-B74B-D9712489CCC5}"/>
                    </a:ext>
                  </a:extLst>
                </p:cNvPr>
                <p:cNvSpPr/>
                <p:nvPr/>
              </p:nvSpPr>
              <p:spPr>
                <a:xfrm>
                  <a:off x="10248729" y="2724047"/>
                  <a:ext cx="33788" cy="28940"/>
                </a:xfrm>
                <a:custGeom>
                  <a:avLst/>
                  <a:gdLst>
                    <a:gd name="connsiteX0" fmla="*/ 31365 w 33788"/>
                    <a:gd name="connsiteY0" fmla="*/ 303 h 28940"/>
                    <a:gd name="connsiteX1" fmla="*/ 29849 w 33788"/>
                    <a:gd name="connsiteY1" fmla="*/ 0 h 28940"/>
                    <a:gd name="connsiteX2" fmla="*/ 21212 w 33788"/>
                    <a:gd name="connsiteY2" fmla="*/ 5303 h 28940"/>
                    <a:gd name="connsiteX3" fmla="*/ 9091 w 33788"/>
                    <a:gd name="connsiteY3" fmla="*/ 8637 h 28940"/>
                    <a:gd name="connsiteX4" fmla="*/ 9243 w 33788"/>
                    <a:gd name="connsiteY4" fmla="*/ 10303 h 28940"/>
                    <a:gd name="connsiteX5" fmla="*/ 9698 w 33788"/>
                    <a:gd name="connsiteY5" fmla="*/ 12122 h 28940"/>
                    <a:gd name="connsiteX6" fmla="*/ 8182 w 33788"/>
                    <a:gd name="connsiteY6" fmla="*/ 17273 h 28940"/>
                    <a:gd name="connsiteX7" fmla="*/ 4091 w 33788"/>
                    <a:gd name="connsiteY7" fmla="*/ 23637 h 28940"/>
                    <a:gd name="connsiteX8" fmla="*/ 0 w 33788"/>
                    <a:gd name="connsiteY8" fmla="*/ 26062 h 28940"/>
                    <a:gd name="connsiteX9" fmla="*/ 152 w 33788"/>
                    <a:gd name="connsiteY9" fmla="*/ 27425 h 28940"/>
                    <a:gd name="connsiteX10" fmla="*/ 454 w 33788"/>
                    <a:gd name="connsiteY10" fmla="*/ 28334 h 28940"/>
                    <a:gd name="connsiteX11" fmla="*/ 1212 w 33788"/>
                    <a:gd name="connsiteY11" fmla="*/ 28941 h 28940"/>
                    <a:gd name="connsiteX12" fmla="*/ 5606 w 33788"/>
                    <a:gd name="connsiteY12" fmla="*/ 25152 h 28940"/>
                    <a:gd name="connsiteX13" fmla="*/ 14546 w 33788"/>
                    <a:gd name="connsiteY13" fmla="*/ 19546 h 28940"/>
                    <a:gd name="connsiteX14" fmla="*/ 23182 w 33788"/>
                    <a:gd name="connsiteY14" fmla="*/ 15758 h 28940"/>
                    <a:gd name="connsiteX15" fmla="*/ 32426 w 33788"/>
                    <a:gd name="connsiteY15" fmla="*/ 13788 h 28940"/>
                    <a:gd name="connsiteX16" fmla="*/ 33789 w 33788"/>
                    <a:gd name="connsiteY16" fmla="*/ 10455 h 28940"/>
                    <a:gd name="connsiteX17" fmla="*/ 32880 w 33788"/>
                    <a:gd name="connsiteY17" fmla="*/ 4697 h 2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788" h="28940">
                      <a:moveTo>
                        <a:pt x="31365" y="303"/>
                      </a:moveTo>
                      <a:lnTo>
                        <a:pt x="29849" y="0"/>
                      </a:lnTo>
                      <a:lnTo>
                        <a:pt x="21212" y="5303"/>
                      </a:lnTo>
                      <a:lnTo>
                        <a:pt x="9091" y="8637"/>
                      </a:lnTo>
                      <a:lnTo>
                        <a:pt x="9243" y="10303"/>
                      </a:lnTo>
                      <a:lnTo>
                        <a:pt x="9698" y="12122"/>
                      </a:lnTo>
                      <a:lnTo>
                        <a:pt x="8182" y="17273"/>
                      </a:lnTo>
                      <a:lnTo>
                        <a:pt x="4091" y="23637"/>
                      </a:lnTo>
                      <a:lnTo>
                        <a:pt x="0" y="26062"/>
                      </a:lnTo>
                      <a:lnTo>
                        <a:pt x="152" y="27425"/>
                      </a:lnTo>
                      <a:lnTo>
                        <a:pt x="454" y="28334"/>
                      </a:lnTo>
                      <a:lnTo>
                        <a:pt x="1212" y="28941"/>
                      </a:lnTo>
                      <a:lnTo>
                        <a:pt x="5606" y="25152"/>
                      </a:lnTo>
                      <a:lnTo>
                        <a:pt x="14546" y="19546"/>
                      </a:lnTo>
                      <a:lnTo>
                        <a:pt x="23182" y="15758"/>
                      </a:lnTo>
                      <a:lnTo>
                        <a:pt x="32426" y="13788"/>
                      </a:lnTo>
                      <a:lnTo>
                        <a:pt x="33789" y="10455"/>
                      </a:lnTo>
                      <a:lnTo>
                        <a:pt x="32880" y="4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9" name="Freeform: Shape 3138">
                  <a:extLst>
                    <a:ext uri="{FF2B5EF4-FFF2-40B4-BE49-F238E27FC236}">
                      <a16:creationId xmlns:a16="http://schemas.microsoft.com/office/drawing/2014/main" id="{8A07857C-C16D-4D17-B1F7-B183A48CA074}"/>
                    </a:ext>
                  </a:extLst>
                </p:cNvPr>
                <p:cNvSpPr/>
                <p:nvPr/>
              </p:nvSpPr>
              <p:spPr>
                <a:xfrm>
                  <a:off x="6749357" y="2470553"/>
                  <a:ext cx="8939" cy="9848"/>
                </a:xfrm>
                <a:custGeom>
                  <a:avLst/>
                  <a:gdLst>
                    <a:gd name="connsiteX0" fmla="*/ 8637 w 8939"/>
                    <a:gd name="connsiteY0" fmla="*/ 2424 h 9848"/>
                    <a:gd name="connsiteX1" fmla="*/ 7728 w 8939"/>
                    <a:gd name="connsiteY1" fmla="*/ 758 h 9848"/>
                    <a:gd name="connsiteX2" fmla="*/ 5455 w 8939"/>
                    <a:gd name="connsiteY2" fmla="*/ 0 h 9848"/>
                    <a:gd name="connsiteX3" fmla="*/ 2122 w 8939"/>
                    <a:gd name="connsiteY3" fmla="*/ 1818 h 9848"/>
                    <a:gd name="connsiteX4" fmla="*/ 1515 w 8939"/>
                    <a:gd name="connsiteY4" fmla="*/ 1364 h 9848"/>
                    <a:gd name="connsiteX5" fmla="*/ 0 w 8939"/>
                    <a:gd name="connsiteY5" fmla="*/ 2121 h 9848"/>
                    <a:gd name="connsiteX6" fmla="*/ 758 w 8939"/>
                    <a:gd name="connsiteY6" fmla="*/ 4697 h 9848"/>
                    <a:gd name="connsiteX7" fmla="*/ 2424 w 8939"/>
                    <a:gd name="connsiteY7" fmla="*/ 6212 h 9848"/>
                    <a:gd name="connsiteX8" fmla="*/ 4091 w 8939"/>
                    <a:gd name="connsiteY8" fmla="*/ 6364 h 9848"/>
                    <a:gd name="connsiteX9" fmla="*/ 6819 w 8939"/>
                    <a:gd name="connsiteY9" fmla="*/ 9849 h 9848"/>
                    <a:gd name="connsiteX10" fmla="*/ 8485 w 8939"/>
                    <a:gd name="connsiteY10" fmla="*/ 8788 h 9848"/>
                    <a:gd name="connsiteX11" fmla="*/ 8031 w 8939"/>
                    <a:gd name="connsiteY11" fmla="*/ 7273 h 9848"/>
                    <a:gd name="connsiteX12" fmla="*/ 8940 w 8939"/>
                    <a:gd name="connsiteY12" fmla="*/ 5455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39" h="9848">
                      <a:moveTo>
                        <a:pt x="8637" y="2424"/>
                      </a:moveTo>
                      <a:lnTo>
                        <a:pt x="7728" y="758"/>
                      </a:lnTo>
                      <a:lnTo>
                        <a:pt x="5455" y="0"/>
                      </a:lnTo>
                      <a:lnTo>
                        <a:pt x="2122" y="1818"/>
                      </a:lnTo>
                      <a:lnTo>
                        <a:pt x="1515" y="1364"/>
                      </a:lnTo>
                      <a:lnTo>
                        <a:pt x="0" y="2121"/>
                      </a:lnTo>
                      <a:lnTo>
                        <a:pt x="758" y="4697"/>
                      </a:lnTo>
                      <a:lnTo>
                        <a:pt x="2424" y="6212"/>
                      </a:lnTo>
                      <a:lnTo>
                        <a:pt x="4091" y="6364"/>
                      </a:lnTo>
                      <a:lnTo>
                        <a:pt x="6819" y="9849"/>
                      </a:lnTo>
                      <a:lnTo>
                        <a:pt x="8485" y="8788"/>
                      </a:lnTo>
                      <a:lnTo>
                        <a:pt x="8031" y="7273"/>
                      </a:lnTo>
                      <a:lnTo>
                        <a:pt x="8940" y="5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0" name="Freeform: Shape 3139">
                  <a:extLst>
                    <a:ext uri="{FF2B5EF4-FFF2-40B4-BE49-F238E27FC236}">
                      <a16:creationId xmlns:a16="http://schemas.microsoft.com/office/drawing/2014/main" id="{7E0B3BD2-1D20-4658-97E2-3031DA2FAFC8}"/>
                    </a:ext>
                  </a:extLst>
                </p:cNvPr>
                <p:cNvSpPr/>
                <p:nvPr/>
              </p:nvSpPr>
              <p:spPr>
                <a:xfrm>
                  <a:off x="7677876" y="2400248"/>
                  <a:ext cx="17576" cy="11970"/>
                </a:xfrm>
                <a:custGeom>
                  <a:avLst/>
                  <a:gdLst>
                    <a:gd name="connsiteX0" fmla="*/ 16667 w 17576"/>
                    <a:gd name="connsiteY0" fmla="*/ 2424 h 11970"/>
                    <a:gd name="connsiteX1" fmla="*/ 12273 w 17576"/>
                    <a:gd name="connsiteY1" fmla="*/ 1818 h 11970"/>
                    <a:gd name="connsiteX2" fmla="*/ 9091 w 17576"/>
                    <a:gd name="connsiteY2" fmla="*/ 606 h 11970"/>
                    <a:gd name="connsiteX3" fmla="*/ 4091 w 17576"/>
                    <a:gd name="connsiteY3" fmla="*/ 455 h 11970"/>
                    <a:gd name="connsiteX4" fmla="*/ 909 w 17576"/>
                    <a:gd name="connsiteY4" fmla="*/ 0 h 11970"/>
                    <a:gd name="connsiteX5" fmla="*/ 0 w 17576"/>
                    <a:gd name="connsiteY5" fmla="*/ 1515 h 11970"/>
                    <a:gd name="connsiteX6" fmla="*/ 5000 w 17576"/>
                    <a:gd name="connsiteY6" fmla="*/ 8485 h 11970"/>
                    <a:gd name="connsiteX7" fmla="*/ 10303 w 17576"/>
                    <a:gd name="connsiteY7" fmla="*/ 11970 h 11970"/>
                    <a:gd name="connsiteX8" fmla="*/ 15152 w 17576"/>
                    <a:gd name="connsiteY8" fmla="*/ 11364 h 11970"/>
                    <a:gd name="connsiteX9" fmla="*/ 16213 w 17576"/>
                    <a:gd name="connsiteY9" fmla="*/ 10606 h 11970"/>
                    <a:gd name="connsiteX10" fmla="*/ 17576 w 17576"/>
                    <a:gd name="connsiteY10" fmla="*/ 8334 h 11970"/>
                    <a:gd name="connsiteX11" fmla="*/ 16061 w 17576"/>
                    <a:gd name="connsiteY11" fmla="*/ 6970 h 11970"/>
                    <a:gd name="connsiteX12" fmla="*/ 16213 w 17576"/>
                    <a:gd name="connsiteY12" fmla="*/ 5606 h 1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76" h="11970">
                      <a:moveTo>
                        <a:pt x="16667" y="2424"/>
                      </a:moveTo>
                      <a:lnTo>
                        <a:pt x="12273" y="1818"/>
                      </a:lnTo>
                      <a:lnTo>
                        <a:pt x="9091" y="606"/>
                      </a:lnTo>
                      <a:lnTo>
                        <a:pt x="4091" y="455"/>
                      </a:lnTo>
                      <a:lnTo>
                        <a:pt x="909" y="0"/>
                      </a:lnTo>
                      <a:lnTo>
                        <a:pt x="0" y="1515"/>
                      </a:lnTo>
                      <a:lnTo>
                        <a:pt x="5000" y="8485"/>
                      </a:lnTo>
                      <a:lnTo>
                        <a:pt x="10303" y="11970"/>
                      </a:lnTo>
                      <a:lnTo>
                        <a:pt x="15152" y="11364"/>
                      </a:lnTo>
                      <a:lnTo>
                        <a:pt x="16213" y="10606"/>
                      </a:lnTo>
                      <a:lnTo>
                        <a:pt x="17576" y="8334"/>
                      </a:lnTo>
                      <a:lnTo>
                        <a:pt x="16061" y="6970"/>
                      </a:lnTo>
                      <a:lnTo>
                        <a:pt x="16213" y="5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1" name="Freeform: Shape 3140">
                  <a:extLst>
                    <a:ext uri="{FF2B5EF4-FFF2-40B4-BE49-F238E27FC236}">
                      <a16:creationId xmlns:a16="http://schemas.microsoft.com/office/drawing/2014/main" id="{B3057135-8EA5-450D-BA54-37C9AAE6CE4F}"/>
                    </a:ext>
                  </a:extLst>
                </p:cNvPr>
                <p:cNvSpPr/>
                <p:nvPr/>
              </p:nvSpPr>
              <p:spPr>
                <a:xfrm>
                  <a:off x="8828070" y="2011294"/>
                  <a:ext cx="51516" cy="24546"/>
                </a:xfrm>
                <a:custGeom>
                  <a:avLst/>
                  <a:gdLst>
                    <a:gd name="connsiteX0" fmla="*/ 15909 w 51516"/>
                    <a:gd name="connsiteY0" fmla="*/ 0 h 24546"/>
                    <a:gd name="connsiteX1" fmla="*/ 13788 w 51516"/>
                    <a:gd name="connsiteY1" fmla="*/ 1212 h 24546"/>
                    <a:gd name="connsiteX2" fmla="*/ 13182 w 51516"/>
                    <a:gd name="connsiteY2" fmla="*/ 2879 h 24546"/>
                    <a:gd name="connsiteX3" fmla="*/ 13031 w 51516"/>
                    <a:gd name="connsiteY3" fmla="*/ 5000 h 24546"/>
                    <a:gd name="connsiteX4" fmla="*/ 12121 w 51516"/>
                    <a:gd name="connsiteY4" fmla="*/ 8637 h 24546"/>
                    <a:gd name="connsiteX5" fmla="*/ 10303 w 51516"/>
                    <a:gd name="connsiteY5" fmla="*/ 10000 h 24546"/>
                    <a:gd name="connsiteX6" fmla="*/ 3636 w 51516"/>
                    <a:gd name="connsiteY6" fmla="*/ 9546 h 24546"/>
                    <a:gd name="connsiteX7" fmla="*/ 1818 w 51516"/>
                    <a:gd name="connsiteY7" fmla="*/ 9849 h 24546"/>
                    <a:gd name="connsiteX8" fmla="*/ 0 w 51516"/>
                    <a:gd name="connsiteY8" fmla="*/ 10606 h 24546"/>
                    <a:gd name="connsiteX9" fmla="*/ 3788 w 51516"/>
                    <a:gd name="connsiteY9" fmla="*/ 15001 h 24546"/>
                    <a:gd name="connsiteX10" fmla="*/ 11061 w 51516"/>
                    <a:gd name="connsiteY10" fmla="*/ 17879 h 24546"/>
                    <a:gd name="connsiteX11" fmla="*/ 16365 w 51516"/>
                    <a:gd name="connsiteY11" fmla="*/ 20910 h 24546"/>
                    <a:gd name="connsiteX12" fmla="*/ 18940 w 51516"/>
                    <a:gd name="connsiteY12" fmla="*/ 21819 h 24546"/>
                    <a:gd name="connsiteX13" fmla="*/ 35001 w 51516"/>
                    <a:gd name="connsiteY13" fmla="*/ 24546 h 24546"/>
                    <a:gd name="connsiteX14" fmla="*/ 35759 w 51516"/>
                    <a:gd name="connsiteY14" fmla="*/ 24092 h 24546"/>
                    <a:gd name="connsiteX15" fmla="*/ 40305 w 51516"/>
                    <a:gd name="connsiteY15" fmla="*/ 19092 h 24546"/>
                    <a:gd name="connsiteX16" fmla="*/ 46062 w 51516"/>
                    <a:gd name="connsiteY16" fmla="*/ 16819 h 24546"/>
                    <a:gd name="connsiteX17" fmla="*/ 48032 w 51516"/>
                    <a:gd name="connsiteY17" fmla="*/ 15001 h 24546"/>
                    <a:gd name="connsiteX18" fmla="*/ 49093 w 51516"/>
                    <a:gd name="connsiteY18" fmla="*/ 12576 h 24546"/>
                    <a:gd name="connsiteX19" fmla="*/ 50608 w 51516"/>
                    <a:gd name="connsiteY19" fmla="*/ 10606 h 24546"/>
                    <a:gd name="connsiteX20" fmla="*/ 51517 w 51516"/>
                    <a:gd name="connsiteY20" fmla="*/ 8031 h 24546"/>
                    <a:gd name="connsiteX21" fmla="*/ 48790 w 51516"/>
                    <a:gd name="connsiteY21" fmla="*/ 5909 h 24546"/>
                    <a:gd name="connsiteX22" fmla="*/ 39547 w 51516"/>
                    <a:gd name="connsiteY22" fmla="*/ 3788 h 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516" h="24546">
                      <a:moveTo>
                        <a:pt x="15909" y="0"/>
                      </a:moveTo>
                      <a:lnTo>
                        <a:pt x="13788" y="1212"/>
                      </a:lnTo>
                      <a:lnTo>
                        <a:pt x="13182" y="2879"/>
                      </a:lnTo>
                      <a:lnTo>
                        <a:pt x="13031" y="5000"/>
                      </a:lnTo>
                      <a:lnTo>
                        <a:pt x="12121" y="8637"/>
                      </a:lnTo>
                      <a:lnTo>
                        <a:pt x="10303" y="10000"/>
                      </a:lnTo>
                      <a:lnTo>
                        <a:pt x="3636" y="9546"/>
                      </a:lnTo>
                      <a:lnTo>
                        <a:pt x="1818" y="9849"/>
                      </a:lnTo>
                      <a:lnTo>
                        <a:pt x="0" y="10606"/>
                      </a:lnTo>
                      <a:lnTo>
                        <a:pt x="3788" y="15001"/>
                      </a:lnTo>
                      <a:lnTo>
                        <a:pt x="11061" y="17879"/>
                      </a:lnTo>
                      <a:lnTo>
                        <a:pt x="16365" y="20910"/>
                      </a:lnTo>
                      <a:lnTo>
                        <a:pt x="18940" y="21819"/>
                      </a:lnTo>
                      <a:lnTo>
                        <a:pt x="35001" y="24546"/>
                      </a:lnTo>
                      <a:lnTo>
                        <a:pt x="35759" y="24092"/>
                      </a:lnTo>
                      <a:lnTo>
                        <a:pt x="40305" y="19092"/>
                      </a:lnTo>
                      <a:lnTo>
                        <a:pt x="46062" y="16819"/>
                      </a:lnTo>
                      <a:lnTo>
                        <a:pt x="48032" y="15001"/>
                      </a:lnTo>
                      <a:lnTo>
                        <a:pt x="49093" y="12576"/>
                      </a:lnTo>
                      <a:lnTo>
                        <a:pt x="50608" y="10606"/>
                      </a:lnTo>
                      <a:lnTo>
                        <a:pt x="51517" y="8031"/>
                      </a:lnTo>
                      <a:lnTo>
                        <a:pt x="48790" y="5909"/>
                      </a:lnTo>
                      <a:lnTo>
                        <a:pt x="39547" y="378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2" name="Freeform: Shape 3141">
                  <a:extLst>
                    <a:ext uri="{FF2B5EF4-FFF2-40B4-BE49-F238E27FC236}">
                      <a16:creationId xmlns:a16="http://schemas.microsoft.com/office/drawing/2014/main" id="{B024850B-74DD-420B-ADDD-61DCBF5CA377}"/>
                    </a:ext>
                  </a:extLst>
                </p:cNvPr>
                <p:cNvSpPr/>
                <p:nvPr/>
              </p:nvSpPr>
              <p:spPr>
                <a:xfrm>
                  <a:off x="7088309" y="3225429"/>
                  <a:ext cx="1818" cy="5909"/>
                </a:xfrm>
                <a:custGeom>
                  <a:avLst/>
                  <a:gdLst>
                    <a:gd name="connsiteX0" fmla="*/ 0 w 1818"/>
                    <a:gd name="connsiteY0" fmla="*/ 2879 h 5909"/>
                    <a:gd name="connsiteX1" fmla="*/ 1364 w 1818"/>
                    <a:gd name="connsiteY1" fmla="*/ 5909 h 5909"/>
                    <a:gd name="connsiteX2" fmla="*/ 1667 w 1818"/>
                    <a:gd name="connsiteY2" fmla="*/ 5303 h 5909"/>
                    <a:gd name="connsiteX3" fmla="*/ 1818 w 1818"/>
                    <a:gd name="connsiteY3" fmla="*/ 3030 h 5909"/>
                    <a:gd name="connsiteX4" fmla="*/ 758 w 1818"/>
                    <a:gd name="connsiteY4" fmla="*/ 0 h 5909"/>
                    <a:gd name="connsiteX5" fmla="*/ 0 w 1818"/>
                    <a:gd name="connsiteY5" fmla="*/ 909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8" h="5909">
                      <a:moveTo>
                        <a:pt x="0" y="2879"/>
                      </a:moveTo>
                      <a:lnTo>
                        <a:pt x="1364" y="5909"/>
                      </a:lnTo>
                      <a:lnTo>
                        <a:pt x="1667" y="5303"/>
                      </a:lnTo>
                      <a:lnTo>
                        <a:pt x="1818" y="3030"/>
                      </a:lnTo>
                      <a:lnTo>
                        <a:pt x="758" y="0"/>
                      </a:lnTo>
                      <a:lnTo>
                        <a:pt x="0" y="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3" name="Freeform: Shape 3142">
                  <a:extLst>
                    <a:ext uri="{FF2B5EF4-FFF2-40B4-BE49-F238E27FC236}">
                      <a16:creationId xmlns:a16="http://schemas.microsoft.com/office/drawing/2014/main" id="{368E6409-B4FD-4928-91B7-AFC6C41751E8}"/>
                    </a:ext>
                  </a:extLst>
                </p:cNvPr>
                <p:cNvSpPr/>
                <p:nvPr/>
              </p:nvSpPr>
              <p:spPr>
                <a:xfrm>
                  <a:off x="10312217" y="2876326"/>
                  <a:ext cx="24697" cy="25000"/>
                </a:xfrm>
                <a:custGeom>
                  <a:avLst/>
                  <a:gdLst>
                    <a:gd name="connsiteX0" fmla="*/ 20001 w 24697"/>
                    <a:gd name="connsiteY0" fmla="*/ 15304 h 25000"/>
                    <a:gd name="connsiteX1" fmla="*/ 17879 w 24697"/>
                    <a:gd name="connsiteY1" fmla="*/ 13182 h 25000"/>
                    <a:gd name="connsiteX2" fmla="*/ 13636 w 24697"/>
                    <a:gd name="connsiteY2" fmla="*/ 7121 h 25000"/>
                    <a:gd name="connsiteX3" fmla="*/ 13182 w 24697"/>
                    <a:gd name="connsiteY3" fmla="*/ 4243 h 25000"/>
                    <a:gd name="connsiteX4" fmla="*/ 14395 w 24697"/>
                    <a:gd name="connsiteY4" fmla="*/ 1515 h 25000"/>
                    <a:gd name="connsiteX5" fmla="*/ 12727 w 24697"/>
                    <a:gd name="connsiteY5" fmla="*/ 1061 h 25000"/>
                    <a:gd name="connsiteX6" fmla="*/ 5000 w 24697"/>
                    <a:gd name="connsiteY6" fmla="*/ 0 h 25000"/>
                    <a:gd name="connsiteX7" fmla="*/ 2272 w 24697"/>
                    <a:gd name="connsiteY7" fmla="*/ 1818 h 25000"/>
                    <a:gd name="connsiteX8" fmla="*/ 0 w 24697"/>
                    <a:gd name="connsiteY8" fmla="*/ 2273 h 25000"/>
                    <a:gd name="connsiteX9" fmla="*/ 6667 w 24697"/>
                    <a:gd name="connsiteY9" fmla="*/ 6212 h 25000"/>
                    <a:gd name="connsiteX10" fmla="*/ 8637 w 24697"/>
                    <a:gd name="connsiteY10" fmla="*/ 8334 h 25000"/>
                    <a:gd name="connsiteX11" fmla="*/ 9091 w 24697"/>
                    <a:gd name="connsiteY11" fmla="*/ 10606 h 25000"/>
                    <a:gd name="connsiteX12" fmla="*/ 10152 w 24697"/>
                    <a:gd name="connsiteY12" fmla="*/ 12273 h 25000"/>
                    <a:gd name="connsiteX13" fmla="*/ 13182 w 24697"/>
                    <a:gd name="connsiteY13" fmla="*/ 15910 h 25000"/>
                    <a:gd name="connsiteX14" fmla="*/ 15758 w 24697"/>
                    <a:gd name="connsiteY14" fmla="*/ 18637 h 25000"/>
                    <a:gd name="connsiteX15" fmla="*/ 17274 w 24697"/>
                    <a:gd name="connsiteY15" fmla="*/ 19546 h 25000"/>
                    <a:gd name="connsiteX16" fmla="*/ 19546 w 24697"/>
                    <a:gd name="connsiteY16" fmla="*/ 20001 h 25000"/>
                    <a:gd name="connsiteX17" fmla="*/ 21062 w 24697"/>
                    <a:gd name="connsiteY17" fmla="*/ 22274 h 25000"/>
                    <a:gd name="connsiteX18" fmla="*/ 24546 w 24697"/>
                    <a:gd name="connsiteY18" fmla="*/ 25001 h 25000"/>
                    <a:gd name="connsiteX19" fmla="*/ 24698 w 24697"/>
                    <a:gd name="connsiteY19" fmla="*/ 19546 h 25000"/>
                    <a:gd name="connsiteX20" fmla="*/ 22728 w 24697"/>
                    <a:gd name="connsiteY20" fmla="*/ 16970 h 2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697" h="25000">
                      <a:moveTo>
                        <a:pt x="20001" y="15304"/>
                      </a:moveTo>
                      <a:lnTo>
                        <a:pt x="17879" y="13182"/>
                      </a:lnTo>
                      <a:lnTo>
                        <a:pt x="13636" y="7121"/>
                      </a:lnTo>
                      <a:lnTo>
                        <a:pt x="13182" y="4243"/>
                      </a:lnTo>
                      <a:lnTo>
                        <a:pt x="14395" y="1515"/>
                      </a:lnTo>
                      <a:lnTo>
                        <a:pt x="12727" y="1061"/>
                      </a:lnTo>
                      <a:lnTo>
                        <a:pt x="5000" y="0"/>
                      </a:lnTo>
                      <a:lnTo>
                        <a:pt x="2272" y="1818"/>
                      </a:lnTo>
                      <a:lnTo>
                        <a:pt x="0" y="2273"/>
                      </a:lnTo>
                      <a:lnTo>
                        <a:pt x="6667" y="6212"/>
                      </a:lnTo>
                      <a:lnTo>
                        <a:pt x="8637" y="8334"/>
                      </a:lnTo>
                      <a:lnTo>
                        <a:pt x="9091" y="10606"/>
                      </a:lnTo>
                      <a:lnTo>
                        <a:pt x="10152" y="12273"/>
                      </a:lnTo>
                      <a:lnTo>
                        <a:pt x="13182" y="15910"/>
                      </a:lnTo>
                      <a:lnTo>
                        <a:pt x="15758" y="18637"/>
                      </a:lnTo>
                      <a:lnTo>
                        <a:pt x="17274" y="19546"/>
                      </a:lnTo>
                      <a:lnTo>
                        <a:pt x="19546" y="20001"/>
                      </a:lnTo>
                      <a:lnTo>
                        <a:pt x="21062" y="22274"/>
                      </a:lnTo>
                      <a:lnTo>
                        <a:pt x="24546" y="25001"/>
                      </a:lnTo>
                      <a:lnTo>
                        <a:pt x="24698" y="19546"/>
                      </a:lnTo>
                      <a:lnTo>
                        <a:pt x="22728"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4" name="Freeform: Shape 3143">
                  <a:extLst>
                    <a:ext uri="{FF2B5EF4-FFF2-40B4-BE49-F238E27FC236}">
                      <a16:creationId xmlns:a16="http://schemas.microsoft.com/office/drawing/2014/main" id="{4A8BBD40-55B3-4B5C-97DC-E466E32252F8}"/>
                    </a:ext>
                  </a:extLst>
                </p:cNvPr>
                <p:cNvSpPr/>
                <p:nvPr/>
              </p:nvSpPr>
              <p:spPr>
                <a:xfrm>
                  <a:off x="10358582" y="2895266"/>
                  <a:ext cx="17424" cy="13030"/>
                </a:xfrm>
                <a:custGeom>
                  <a:avLst/>
                  <a:gdLst>
                    <a:gd name="connsiteX0" fmla="*/ 11970 w 17424"/>
                    <a:gd name="connsiteY0" fmla="*/ 6212 h 13030"/>
                    <a:gd name="connsiteX1" fmla="*/ 7273 w 17424"/>
                    <a:gd name="connsiteY1" fmla="*/ 3182 h 13030"/>
                    <a:gd name="connsiteX2" fmla="*/ 4091 w 17424"/>
                    <a:gd name="connsiteY2" fmla="*/ 2273 h 13030"/>
                    <a:gd name="connsiteX3" fmla="*/ 1818 w 17424"/>
                    <a:gd name="connsiteY3" fmla="*/ 0 h 13030"/>
                    <a:gd name="connsiteX4" fmla="*/ 0 w 17424"/>
                    <a:gd name="connsiteY4" fmla="*/ 0 h 13030"/>
                    <a:gd name="connsiteX5" fmla="*/ 1212 w 17424"/>
                    <a:gd name="connsiteY5" fmla="*/ 2273 h 13030"/>
                    <a:gd name="connsiteX6" fmla="*/ 6364 w 17424"/>
                    <a:gd name="connsiteY6" fmla="*/ 6061 h 13030"/>
                    <a:gd name="connsiteX7" fmla="*/ 17424 w 17424"/>
                    <a:gd name="connsiteY7" fmla="*/ 13031 h 13030"/>
                    <a:gd name="connsiteX8" fmla="*/ 16213 w 17424"/>
                    <a:gd name="connsiteY8" fmla="*/ 11061 h 1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30">
                      <a:moveTo>
                        <a:pt x="11970" y="6212"/>
                      </a:moveTo>
                      <a:lnTo>
                        <a:pt x="7273" y="3182"/>
                      </a:lnTo>
                      <a:lnTo>
                        <a:pt x="4091" y="2273"/>
                      </a:lnTo>
                      <a:lnTo>
                        <a:pt x="1818" y="0"/>
                      </a:lnTo>
                      <a:lnTo>
                        <a:pt x="0" y="0"/>
                      </a:lnTo>
                      <a:lnTo>
                        <a:pt x="1212" y="2273"/>
                      </a:lnTo>
                      <a:lnTo>
                        <a:pt x="6364" y="6061"/>
                      </a:lnTo>
                      <a:lnTo>
                        <a:pt x="17424" y="13031"/>
                      </a:lnTo>
                      <a:lnTo>
                        <a:pt x="16213" y="1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5" name="Freeform: Shape 3144">
                  <a:extLst>
                    <a:ext uri="{FF2B5EF4-FFF2-40B4-BE49-F238E27FC236}">
                      <a16:creationId xmlns:a16="http://schemas.microsoft.com/office/drawing/2014/main" id="{4ED4DB02-F26F-4AE1-9BF6-15FF031C9D8A}"/>
                    </a:ext>
                  </a:extLst>
                </p:cNvPr>
                <p:cNvSpPr/>
                <p:nvPr/>
              </p:nvSpPr>
              <p:spPr>
                <a:xfrm>
                  <a:off x="9517793" y="2885720"/>
                  <a:ext cx="12727" cy="6969"/>
                </a:xfrm>
                <a:custGeom>
                  <a:avLst/>
                  <a:gdLst>
                    <a:gd name="connsiteX0" fmla="*/ 7728 w 12727"/>
                    <a:gd name="connsiteY0" fmla="*/ 606 h 6969"/>
                    <a:gd name="connsiteX1" fmla="*/ 2272 w 12727"/>
                    <a:gd name="connsiteY1" fmla="*/ 3788 h 6969"/>
                    <a:gd name="connsiteX2" fmla="*/ 0 w 12727"/>
                    <a:gd name="connsiteY2" fmla="*/ 5758 h 6969"/>
                    <a:gd name="connsiteX3" fmla="*/ 1363 w 12727"/>
                    <a:gd name="connsiteY3" fmla="*/ 6061 h 6969"/>
                    <a:gd name="connsiteX4" fmla="*/ 5151 w 12727"/>
                    <a:gd name="connsiteY4" fmla="*/ 5606 h 6969"/>
                    <a:gd name="connsiteX5" fmla="*/ 6969 w 12727"/>
                    <a:gd name="connsiteY5" fmla="*/ 6970 h 6969"/>
                    <a:gd name="connsiteX6" fmla="*/ 9394 w 12727"/>
                    <a:gd name="connsiteY6" fmla="*/ 6818 h 6969"/>
                    <a:gd name="connsiteX7" fmla="*/ 12727 w 12727"/>
                    <a:gd name="connsiteY7" fmla="*/ 303 h 6969"/>
                    <a:gd name="connsiteX8" fmla="*/ 12121 w 12727"/>
                    <a:gd name="connsiteY8" fmla="*/ 0 h 6969"/>
                    <a:gd name="connsiteX9" fmla="*/ 10000 w 12727"/>
                    <a:gd name="connsiteY9" fmla="*/ 606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27" h="6969">
                      <a:moveTo>
                        <a:pt x="7728" y="606"/>
                      </a:moveTo>
                      <a:lnTo>
                        <a:pt x="2272" y="3788"/>
                      </a:lnTo>
                      <a:lnTo>
                        <a:pt x="0" y="5758"/>
                      </a:lnTo>
                      <a:lnTo>
                        <a:pt x="1363" y="6061"/>
                      </a:lnTo>
                      <a:lnTo>
                        <a:pt x="5151" y="5606"/>
                      </a:lnTo>
                      <a:lnTo>
                        <a:pt x="6969" y="6970"/>
                      </a:lnTo>
                      <a:lnTo>
                        <a:pt x="9394" y="6818"/>
                      </a:lnTo>
                      <a:lnTo>
                        <a:pt x="12727" y="303"/>
                      </a:lnTo>
                      <a:lnTo>
                        <a:pt x="12121" y="0"/>
                      </a:lnTo>
                      <a:lnTo>
                        <a:pt x="10000"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6" name="Freeform: Shape 3145">
                  <a:extLst>
                    <a:ext uri="{FF2B5EF4-FFF2-40B4-BE49-F238E27FC236}">
                      <a16:creationId xmlns:a16="http://schemas.microsoft.com/office/drawing/2014/main" id="{CB44B252-0EFF-47C5-8318-8FB6894C7538}"/>
                    </a:ext>
                  </a:extLst>
                </p:cNvPr>
                <p:cNvSpPr/>
                <p:nvPr/>
              </p:nvSpPr>
              <p:spPr>
                <a:xfrm>
                  <a:off x="6525561" y="1831439"/>
                  <a:ext cx="4457589" cy="1541722"/>
                </a:xfrm>
                <a:custGeom>
                  <a:avLst/>
                  <a:gdLst>
                    <a:gd name="connsiteX0" fmla="*/ 4456226 w 4457589"/>
                    <a:gd name="connsiteY0" fmla="*/ 596537 h 1541722"/>
                    <a:gd name="connsiteX1" fmla="*/ 4453196 w 4457589"/>
                    <a:gd name="connsiteY1" fmla="*/ 595628 h 1541722"/>
                    <a:gd name="connsiteX2" fmla="*/ 4443498 w 4457589"/>
                    <a:gd name="connsiteY2" fmla="*/ 595325 h 1541722"/>
                    <a:gd name="connsiteX3" fmla="*/ 4444862 w 4457589"/>
                    <a:gd name="connsiteY3" fmla="*/ 593961 h 1541722"/>
                    <a:gd name="connsiteX4" fmla="*/ 4444407 w 4457589"/>
                    <a:gd name="connsiteY4" fmla="*/ 592294 h 1541722"/>
                    <a:gd name="connsiteX5" fmla="*/ 4443346 w 4457589"/>
                    <a:gd name="connsiteY5" fmla="*/ 590628 h 1541722"/>
                    <a:gd name="connsiteX6" fmla="*/ 4441983 w 4457589"/>
                    <a:gd name="connsiteY6" fmla="*/ 589719 h 1541722"/>
                    <a:gd name="connsiteX7" fmla="*/ 4440317 w 4457589"/>
                    <a:gd name="connsiteY7" fmla="*/ 589567 h 1541722"/>
                    <a:gd name="connsiteX8" fmla="*/ 4436983 w 4457589"/>
                    <a:gd name="connsiteY8" fmla="*/ 590476 h 1541722"/>
                    <a:gd name="connsiteX9" fmla="*/ 4433650 w 4457589"/>
                    <a:gd name="connsiteY9" fmla="*/ 591688 h 1541722"/>
                    <a:gd name="connsiteX10" fmla="*/ 4435316 w 4457589"/>
                    <a:gd name="connsiteY10" fmla="*/ 589870 h 1541722"/>
                    <a:gd name="connsiteX11" fmla="*/ 4437286 w 4457589"/>
                    <a:gd name="connsiteY11" fmla="*/ 588506 h 1541722"/>
                    <a:gd name="connsiteX12" fmla="*/ 4436225 w 4457589"/>
                    <a:gd name="connsiteY12" fmla="*/ 587446 h 1541722"/>
                    <a:gd name="connsiteX13" fmla="*/ 4435013 w 4457589"/>
                    <a:gd name="connsiteY13" fmla="*/ 586840 h 1541722"/>
                    <a:gd name="connsiteX14" fmla="*/ 4424861 w 4457589"/>
                    <a:gd name="connsiteY14" fmla="*/ 578961 h 1541722"/>
                    <a:gd name="connsiteX15" fmla="*/ 4418800 w 4457589"/>
                    <a:gd name="connsiteY15" fmla="*/ 576082 h 1541722"/>
                    <a:gd name="connsiteX16" fmla="*/ 4412891 w 4457589"/>
                    <a:gd name="connsiteY16" fmla="*/ 572142 h 1541722"/>
                    <a:gd name="connsiteX17" fmla="*/ 4407284 w 4457589"/>
                    <a:gd name="connsiteY17" fmla="*/ 565627 h 1541722"/>
                    <a:gd name="connsiteX18" fmla="*/ 4401072 w 4457589"/>
                    <a:gd name="connsiteY18" fmla="*/ 560475 h 1541722"/>
                    <a:gd name="connsiteX19" fmla="*/ 4394557 w 4457589"/>
                    <a:gd name="connsiteY19" fmla="*/ 558505 h 1541722"/>
                    <a:gd name="connsiteX20" fmla="*/ 4387890 w 4457589"/>
                    <a:gd name="connsiteY20" fmla="*/ 558808 h 1541722"/>
                    <a:gd name="connsiteX21" fmla="*/ 4383193 w 4457589"/>
                    <a:gd name="connsiteY21" fmla="*/ 557596 h 1541722"/>
                    <a:gd name="connsiteX22" fmla="*/ 4378496 w 4457589"/>
                    <a:gd name="connsiteY22" fmla="*/ 556081 h 1541722"/>
                    <a:gd name="connsiteX23" fmla="*/ 4367889 w 4457589"/>
                    <a:gd name="connsiteY23" fmla="*/ 554263 h 1541722"/>
                    <a:gd name="connsiteX24" fmla="*/ 4368041 w 4457589"/>
                    <a:gd name="connsiteY24" fmla="*/ 555778 h 1541722"/>
                    <a:gd name="connsiteX25" fmla="*/ 4379557 w 4457589"/>
                    <a:gd name="connsiteY25" fmla="*/ 558354 h 1541722"/>
                    <a:gd name="connsiteX26" fmla="*/ 4381223 w 4457589"/>
                    <a:gd name="connsiteY26" fmla="*/ 559414 h 1541722"/>
                    <a:gd name="connsiteX27" fmla="*/ 4380466 w 4457589"/>
                    <a:gd name="connsiteY27" fmla="*/ 560475 h 1541722"/>
                    <a:gd name="connsiteX28" fmla="*/ 4377890 w 4457589"/>
                    <a:gd name="connsiteY28" fmla="*/ 560778 h 1541722"/>
                    <a:gd name="connsiteX29" fmla="*/ 4369102 w 4457589"/>
                    <a:gd name="connsiteY29" fmla="*/ 560020 h 1541722"/>
                    <a:gd name="connsiteX30" fmla="*/ 4366526 w 4457589"/>
                    <a:gd name="connsiteY30" fmla="*/ 559263 h 1541722"/>
                    <a:gd name="connsiteX31" fmla="*/ 4364101 w 4457589"/>
                    <a:gd name="connsiteY31" fmla="*/ 557293 h 1541722"/>
                    <a:gd name="connsiteX32" fmla="*/ 4362738 w 4457589"/>
                    <a:gd name="connsiteY32" fmla="*/ 557596 h 1541722"/>
                    <a:gd name="connsiteX33" fmla="*/ 4361828 w 4457589"/>
                    <a:gd name="connsiteY33" fmla="*/ 558808 h 1541722"/>
                    <a:gd name="connsiteX34" fmla="*/ 4362131 w 4457589"/>
                    <a:gd name="connsiteY34" fmla="*/ 561384 h 1541722"/>
                    <a:gd name="connsiteX35" fmla="*/ 4363344 w 4457589"/>
                    <a:gd name="connsiteY35" fmla="*/ 563505 h 1541722"/>
                    <a:gd name="connsiteX36" fmla="*/ 4361071 w 4457589"/>
                    <a:gd name="connsiteY36" fmla="*/ 564718 h 1541722"/>
                    <a:gd name="connsiteX37" fmla="*/ 4358647 w 4457589"/>
                    <a:gd name="connsiteY37" fmla="*/ 564112 h 1541722"/>
                    <a:gd name="connsiteX38" fmla="*/ 4358647 w 4457589"/>
                    <a:gd name="connsiteY38" fmla="*/ 561536 h 1541722"/>
                    <a:gd name="connsiteX39" fmla="*/ 4359253 w 4457589"/>
                    <a:gd name="connsiteY39" fmla="*/ 559414 h 1541722"/>
                    <a:gd name="connsiteX40" fmla="*/ 4361980 w 4457589"/>
                    <a:gd name="connsiteY40" fmla="*/ 555626 h 1541722"/>
                    <a:gd name="connsiteX41" fmla="*/ 4363496 w 4457589"/>
                    <a:gd name="connsiteY41" fmla="*/ 554869 h 1541722"/>
                    <a:gd name="connsiteX42" fmla="*/ 4363798 w 4457589"/>
                    <a:gd name="connsiteY42" fmla="*/ 554111 h 1541722"/>
                    <a:gd name="connsiteX43" fmla="*/ 4354555 w 4457589"/>
                    <a:gd name="connsiteY43" fmla="*/ 552444 h 1541722"/>
                    <a:gd name="connsiteX44" fmla="*/ 4351980 w 4457589"/>
                    <a:gd name="connsiteY44" fmla="*/ 551081 h 1541722"/>
                    <a:gd name="connsiteX45" fmla="*/ 4349555 w 4457589"/>
                    <a:gd name="connsiteY45" fmla="*/ 550626 h 1541722"/>
                    <a:gd name="connsiteX46" fmla="*/ 4343949 w 4457589"/>
                    <a:gd name="connsiteY46" fmla="*/ 552293 h 1541722"/>
                    <a:gd name="connsiteX47" fmla="*/ 4328494 w 4457589"/>
                    <a:gd name="connsiteY47" fmla="*/ 552444 h 1541722"/>
                    <a:gd name="connsiteX48" fmla="*/ 4325615 w 4457589"/>
                    <a:gd name="connsiteY48" fmla="*/ 553051 h 1541722"/>
                    <a:gd name="connsiteX49" fmla="*/ 4325615 w 4457589"/>
                    <a:gd name="connsiteY49" fmla="*/ 554414 h 1541722"/>
                    <a:gd name="connsiteX50" fmla="*/ 4326524 w 4457589"/>
                    <a:gd name="connsiteY50" fmla="*/ 555020 h 1541722"/>
                    <a:gd name="connsiteX51" fmla="*/ 4328948 w 4457589"/>
                    <a:gd name="connsiteY51" fmla="*/ 555475 h 1541722"/>
                    <a:gd name="connsiteX52" fmla="*/ 4331373 w 4457589"/>
                    <a:gd name="connsiteY52" fmla="*/ 555475 h 1541722"/>
                    <a:gd name="connsiteX53" fmla="*/ 4333040 w 4457589"/>
                    <a:gd name="connsiteY53" fmla="*/ 557142 h 1541722"/>
                    <a:gd name="connsiteX54" fmla="*/ 4336524 w 4457589"/>
                    <a:gd name="connsiteY54" fmla="*/ 558051 h 1541722"/>
                    <a:gd name="connsiteX55" fmla="*/ 4338343 w 4457589"/>
                    <a:gd name="connsiteY55" fmla="*/ 559869 h 1541722"/>
                    <a:gd name="connsiteX56" fmla="*/ 4339555 w 4457589"/>
                    <a:gd name="connsiteY56" fmla="*/ 563051 h 1541722"/>
                    <a:gd name="connsiteX57" fmla="*/ 4340161 w 4457589"/>
                    <a:gd name="connsiteY57" fmla="*/ 565172 h 1541722"/>
                    <a:gd name="connsiteX58" fmla="*/ 4340616 w 4457589"/>
                    <a:gd name="connsiteY58" fmla="*/ 567445 h 1541722"/>
                    <a:gd name="connsiteX59" fmla="*/ 4339100 w 4457589"/>
                    <a:gd name="connsiteY59" fmla="*/ 571536 h 1541722"/>
                    <a:gd name="connsiteX60" fmla="*/ 4336979 w 4457589"/>
                    <a:gd name="connsiteY60" fmla="*/ 573354 h 1541722"/>
                    <a:gd name="connsiteX61" fmla="*/ 4334403 w 4457589"/>
                    <a:gd name="connsiteY61" fmla="*/ 574263 h 1541722"/>
                    <a:gd name="connsiteX62" fmla="*/ 4335312 w 4457589"/>
                    <a:gd name="connsiteY62" fmla="*/ 576536 h 1541722"/>
                    <a:gd name="connsiteX63" fmla="*/ 4337888 w 4457589"/>
                    <a:gd name="connsiteY63" fmla="*/ 578354 h 1541722"/>
                    <a:gd name="connsiteX64" fmla="*/ 4342888 w 4457589"/>
                    <a:gd name="connsiteY64" fmla="*/ 579264 h 1541722"/>
                    <a:gd name="connsiteX65" fmla="*/ 4345010 w 4457589"/>
                    <a:gd name="connsiteY65" fmla="*/ 580779 h 1541722"/>
                    <a:gd name="connsiteX66" fmla="*/ 4346979 w 4457589"/>
                    <a:gd name="connsiteY66" fmla="*/ 583203 h 1541722"/>
                    <a:gd name="connsiteX67" fmla="*/ 4345313 w 4457589"/>
                    <a:gd name="connsiteY67" fmla="*/ 586385 h 1541722"/>
                    <a:gd name="connsiteX68" fmla="*/ 4343495 w 4457589"/>
                    <a:gd name="connsiteY68" fmla="*/ 588961 h 1541722"/>
                    <a:gd name="connsiteX69" fmla="*/ 4341979 w 4457589"/>
                    <a:gd name="connsiteY69" fmla="*/ 590022 h 1541722"/>
                    <a:gd name="connsiteX70" fmla="*/ 4340919 w 4457589"/>
                    <a:gd name="connsiteY70" fmla="*/ 591840 h 1541722"/>
                    <a:gd name="connsiteX71" fmla="*/ 4340010 w 4457589"/>
                    <a:gd name="connsiteY71" fmla="*/ 592597 h 1541722"/>
                    <a:gd name="connsiteX72" fmla="*/ 4338949 w 4457589"/>
                    <a:gd name="connsiteY72" fmla="*/ 592597 h 1541722"/>
                    <a:gd name="connsiteX73" fmla="*/ 4340312 w 4457589"/>
                    <a:gd name="connsiteY73" fmla="*/ 585627 h 1541722"/>
                    <a:gd name="connsiteX74" fmla="*/ 4338343 w 4457589"/>
                    <a:gd name="connsiteY74" fmla="*/ 581536 h 1541722"/>
                    <a:gd name="connsiteX75" fmla="*/ 4335161 w 4457589"/>
                    <a:gd name="connsiteY75" fmla="*/ 582446 h 1541722"/>
                    <a:gd name="connsiteX76" fmla="*/ 4333645 w 4457589"/>
                    <a:gd name="connsiteY76" fmla="*/ 583506 h 1541722"/>
                    <a:gd name="connsiteX77" fmla="*/ 4330767 w 4457589"/>
                    <a:gd name="connsiteY77" fmla="*/ 587143 h 1541722"/>
                    <a:gd name="connsiteX78" fmla="*/ 4330009 w 4457589"/>
                    <a:gd name="connsiteY78" fmla="*/ 587446 h 1541722"/>
                    <a:gd name="connsiteX79" fmla="*/ 4329252 w 4457589"/>
                    <a:gd name="connsiteY79" fmla="*/ 586082 h 1541722"/>
                    <a:gd name="connsiteX80" fmla="*/ 4328343 w 4457589"/>
                    <a:gd name="connsiteY80" fmla="*/ 583506 h 1541722"/>
                    <a:gd name="connsiteX81" fmla="*/ 4327585 w 4457589"/>
                    <a:gd name="connsiteY81" fmla="*/ 580627 h 1541722"/>
                    <a:gd name="connsiteX82" fmla="*/ 4326979 w 4457589"/>
                    <a:gd name="connsiteY82" fmla="*/ 578506 h 1541722"/>
                    <a:gd name="connsiteX83" fmla="*/ 4323948 w 4457589"/>
                    <a:gd name="connsiteY83" fmla="*/ 576385 h 1541722"/>
                    <a:gd name="connsiteX84" fmla="*/ 4322281 w 4457589"/>
                    <a:gd name="connsiteY84" fmla="*/ 575476 h 1541722"/>
                    <a:gd name="connsiteX85" fmla="*/ 4317130 w 4457589"/>
                    <a:gd name="connsiteY85" fmla="*/ 575021 h 1541722"/>
                    <a:gd name="connsiteX86" fmla="*/ 4315463 w 4457589"/>
                    <a:gd name="connsiteY86" fmla="*/ 574566 h 1541722"/>
                    <a:gd name="connsiteX87" fmla="*/ 4316979 w 4457589"/>
                    <a:gd name="connsiteY87" fmla="*/ 570021 h 1541722"/>
                    <a:gd name="connsiteX88" fmla="*/ 4319554 w 4457589"/>
                    <a:gd name="connsiteY88" fmla="*/ 567293 h 1541722"/>
                    <a:gd name="connsiteX89" fmla="*/ 4319251 w 4457589"/>
                    <a:gd name="connsiteY89" fmla="*/ 561081 h 1541722"/>
                    <a:gd name="connsiteX90" fmla="*/ 4318039 w 4457589"/>
                    <a:gd name="connsiteY90" fmla="*/ 559111 h 1541722"/>
                    <a:gd name="connsiteX91" fmla="*/ 4316524 w 4457589"/>
                    <a:gd name="connsiteY91" fmla="*/ 557293 h 1541722"/>
                    <a:gd name="connsiteX92" fmla="*/ 4315009 w 4457589"/>
                    <a:gd name="connsiteY92" fmla="*/ 553051 h 1541722"/>
                    <a:gd name="connsiteX93" fmla="*/ 4315312 w 4457589"/>
                    <a:gd name="connsiteY93" fmla="*/ 547899 h 1541722"/>
                    <a:gd name="connsiteX94" fmla="*/ 4316979 w 4457589"/>
                    <a:gd name="connsiteY94" fmla="*/ 544868 h 1541722"/>
                    <a:gd name="connsiteX95" fmla="*/ 4317433 w 4457589"/>
                    <a:gd name="connsiteY95" fmla="*/ 541080 h 1541722"/>
                    <a:gd name="connsiteX96" fmla="*/ 4315614 w 4457589"/>
                    <a:gd name="connsiteY96" fmla="*/ 538353 h 1541722"/>
                    <a:gd name="connsiteX97" fmla="*/ 4313342 w 4457589"/>
                    <a:gd name="connsiteY97" fmla="*/ 536989 h 1541722"/>
                    <a:gd name="connsiteX98" fmla="*/ 4311524 w 4457589"/>
                    <a:gd name="connsiteY98" fmla="*/ 538050 h 1541722"/>
                    <a:gd name="connsiteX99" fmla="*/ 4310008 w 4457589"/>
                    <a:gd name="connsiteY99" fmla="*/ 539868 h 1541722"/>
                    <a:gd name="connsiteX100" fmla="*/ 4309099 w 4457589"/>
                    <a:gd name="connsiteY100" fmla="*/ 540323 h 1541722"/>
                    <a:gd name="connsiteX101" fmla="*/ 4303190 w 4457589"/>
                    <a:gd name="connsiteY101" fmla="*/ 540777 h 1541722"/>
                    <a:gd name="connsiteX102" fmla="*/ 4306978 w 4457589"/>
                    <a:gd name="connsiteY102" fmla="*/ 536535 h 1541722"/>
                    <a:gd name="connsiteX103" fmla="*/ 4306827 w 4457589"/>
                    <a:gd name="connsiteY103" fmla="*/ 533050 h 1541722"/>
                    <a:gd name="connsiteX104" fmla="*/ 4306069 w 4457589"/>
                    <a:gd name="connsiteY104" fmla="*/ 530928 h 1541722"/>
                    <a:gd name="connsiteX105" fmla="*/ 4304857 w 4457589"/>
                    <a:gd name="connsiteY105" fmla="*/ 529262 h 1541722"/>
                    <a:gd name="connsiteX106" fmla="*/ 4303948 w 4457589"/>
                    <a:gd name="connsiteY106" fmla="*/ 525777 h 1541722"/>
                    <a:gd name="connsiteX107" fmla="*/ 4261219 w 4457589"/>
                    <a:gd name="connsiteY107" fmla="*/ 505018 h 1541722"/>
                    <a:gd name="connsiteX108" fmla="*/ 4253945 w 4457589"/>
                    <a:gd name="connsiteY108" fmla="*/ 502443 h 1541722"/>
                    <a:gd name="connsiteX109" fmla="*/ 4250461 w 4457589"/>
                    <a:gd name="connsiteY109" fmla="*/ 500170 h 1541722"/>
                    <a:gd name="connsiteX110" fmla="*/ 4247430 w 4457589"/>
                    <a:gd name="connsiteY110" fmla="*/ 499109 h 1541722"/>
                    <a:gd name="connsiteX111" fmla="*/ 4244400 w 4457589"/>
                    <a:gd name="connsiteY111" fmla="*/ 499412 h 1541722"/>
                    <a:gd name="connsiteX112" fmla="*/ 4242581 w 4457589"/>
                    <a:gd name="connsiteY112" fmla="*/ 500018 h 1541722"/>
                    <a:gd name="connsiteX113" fmla="*/ 4241218 w 4457589"/>
                    <a:gd name="connsiteY113" fmla="*/ 499261 h 1541722"/>
                    <a:gd name="connsiteX114" fmla="*/ 4242431 w 4457589"/>
                    <a:gd name="connsiteY114" fmla="*/ 497291 h 1541722"/>
                    <a:gd name="connsiteX115" fmla="*/ 4244249 w 4457589"/>
                    <a:gd name="connsiteY115" fmla="*/ 496685 h 1541722"/>
                    <a:gd name="connsiteX116" fmla="*/ 4240006 w 4457589"/>
                    <a:gd name="connsiteY116" fmla="*/ 493503 h 1541722"/>
                    <a:gd name="connsiteX117" fmla="*/ 4224400 w 4457589"/>
                    <a:gd name="connsiteY117" fmla="*/ 485018 h 1541722"/>
                    <a:gd name="connsiteX118" fmla="*/ 4221066 w 4457589"/>
                    <a:gd name="connsiteY118" fmla="*/ 483806 h 1541722"/>
                    <a:gd name="connsiteX119" fmla="*/ 4223490 w 4457589"/>
                    <a:gd name="connsiteY119" fmla="*/ 486078 h 1541722"/>
                    <a:gd name="connsiteX120" fmla="*/ 4235005 w 4457589"/>
                    <a:gd name="connsiteY120" fmla="*/ 492745 h 1541722"/>
                    <a:gd name="connsiteX121" fmla="*/ 4236823 w 4457589"/>
                    <a:gd name="connsiteY121" fmla="*/ 494715 h 1541722"/>
                    <a:gd name="connsiteX122" fmla="*/ 4233339 w 4457589"/>
                    <a:gd name="connsiteY122" fmla="*/ 497139 h 1541722"/>
                    <a:gd name="connsiteX123" fmla="*/ 4229702 w 4457589"/>
                    <a:gd name="connsiteY123" fmla="*/ 498048 h 1541722"/>
                    <a:gd name="connsiteX124" fmla="*/ 4230763 w 4457589"/>
                    <a:gd name="connsiteY124" fmla="*/ 495321 h 1541722"/>
                    <a:gd name="connsiteX125" fmla="*/ 4230006 w 4457589"/>
                    <a:gd name="connsiteY125" fmla="*/ 492291 h 1541722"/>
                    <a:gd name="connsiteX126" fmla="*/ 4228642 w 4457589"/>
                    <a:gd name="connsiteY126" fmla="*/ 490472 h 1541722"/>
                    <a:gd name="connsiteX127" fmla="*/ 4224550 w 4457589"/>
                    <a:gd name="connsiteY127" fmla="*/ 488503 h 1541722"/>
                    <a:gd name="connsiteX128" fmla="*/ 4218338 w 4457589"/>
                    <a:gd name="connsiteY128" fmla="*/ 486836 h 1541722"/>
                    <a:gd name="connsiteX129" fmla="*/ 4212277 w 4457589"/>
                    <a:gd name="connsiteY129" fmla="*/ 484715 h 1541722"/>
                    <a:gd name="connsiteX130" fmla="*/ 4211066 w 4457589"/>
                    <a:gd name="connsiteY130" fmla="*/ 482593 h 1541722"/>
                    <a:gd name="connsiteX131" fmla="*/ 4210762 w 4457589"/>
                    <a:gd name="connsiteY131" fmla="*/ 479260 h 1541722"/>
                    <a:gd name="connsiteX132" fmla="*/ 4214550 w 4457589"/>
                    <a:gd name="connsiteY132" fmla="*/ 481987 h 1541722"/>
                    <a:gd name="connsiteX133" fmla="*/ 4216520 w 4457589"/>
                    <a:gd name="connsiteY133" fmla="*/ 482896 h 1541722"/>
                    <a:gd name="connsiteX134" fmla="*/ 4212429 w 4457589"/>
                    <a:gd name="connsiteY134" fmla="*/ 478654 h 1541722"/>
                    <a:gd name="connsiteX135" fmla="*/ 4207429 w 4457589"/>
                    <a:gd name="connsiteY135" fmla="*/ 474866 h 1541722"/>
                    <a:gd name="connsiteX136" fmla="*/ 4196216 w 4457589"/>
                    <a:gd name="connsiteY136" fmla="*/ 471381 h 1541722"/>
                    <a:gd name="connsiteX137" fmla="*/ 4194246 w 4457589"/>
                    <a:gd name="connsiteY137" fmla="*/ 470169 h 1541722"/>
                    <a:gd name="connsiteX138" fmla="*/ 4191065 w 4457589"/>
                    <a:gd name="connsiteY138" fmla="*/ 467290 h 1541722"/>
                    <a:gd name="connsiteX139" fmla="*/ 4189852 w 4457589"/>
                    <a:gd name="connsiteY139" fmla="*/ 466987 h 1541722"/>
                    <a:gd name="connsiteX140" fmla="*/ 4187579 w 4457589"/>
                    <a:gd name="connsiteY140" fmla="*/ 467593 h 1541722"/>
                    <a:gd name="connsiteX141" fmla="*/ 4182125 w 4457589"/>
                    <a:gd name="connsiteY141" fmla="*/ 465926 h 1541722"/>
                    <a:gd name="connsiteX142" fmla="*/ 4176518 w 4457589"/>
                    <a:gd name="connsiteY142" fmla="*/ 463805 h 1541722"/>
                    <a:gd name="connsiteX143" fmla="*/ 4176518 w 4457589"/>
                    <a:gd name="connsiteY143" fmla="*/ 463805 h 1541722"/>
                    <a:gd name="connsiteX144" fmla="*/ 4173034 w 4457589"/>
                    <a:gd name="connsiteY144" fmla="*/ 462441 h 1541722"/>
                    <a:gd name="connsiteX145" fmla="*/ 4156669 w 4457589"/>
                    <a:gd name="connsiteY145" fmla="*/ 450471 h 1541722"/>
                    <a:gd name="connsiteX146" fmla="*/ 4147881 w 4457589"/>
                    <a:gd name="connsiteY146" fmla="*/ 448804 h 1541722"/>
                    <a:gd name="connsiteX147" fmla="*/ 4147123 w 4457589"/>
                    <a:gd name="connsiteY147" fmla="*/ 447289 h 1541722"/>
                    <a:gd name="connsiteX148" fmla="*/ 4146669 w 4457589"/>
                    <a:gd name="connsiteY148" fmla="*/ 445622 h 1541722"/>
                    <a:gd name="connsiteX149" fmla="*/ 4145002 w 4457589"/>
                    <a:gd name="connsiteY149" fmla="*/ 444410 h 1541722"/>
                    <a:gd name="connsiteX150" fmla="*/ 4133941 w 4457589"/>
                    <a:gd name="connsiteY150" fmla="*/ 441228 h 1541722"/>
                    <a:gd name="connsiteX151" fmla="*/ 4120001 w 4457589"/>
                    <a:gd name="connsiteY151" fmla="*/ 439107 h 1541722"/>
                    <a:gd name="connsiteX152" fmla="*/ 4105303 w 4457589"/>
                    <a:gd name="connsiteY152" fmla="*/ 433501 h 1541722"/>
                    <a:gd name="connsiteX153" fmla="*/ 4092425 w 4457589"/>
                    <a:gd name="connsiteY153" fmla="*/ 431834 h 1541722"/>
                    <a:gd name="connsiteX154" fmla="*/ 4078333 w 4457589"/>
                    <a:gd name="connsiteY154" fmla="*/ 425773 h 1541722"/>
                    <a:gd name="connsiteX155" fmla="*/ 4070000 w 4457589"/>
                    <a:gd name="connsiteY155" fmla="*/ 421379 h 1541722"/>
                    <a:gd name="connsiteX156" fmla="*/ 4064999 w 4457589"/>
                    <a:gd name="connsiteY156" fmla="*/ 419561 h 1541722"/>
                    <a:gd name="connsiteX157" fmla="*/ 4060302 w 4457589"/>
                    <a:gd name="connsiteY157" fmla="*/ 419258 h 1541722"/>
                    <a:gd name="connsiteX158" fmla="*/ 4047877 w 4457589"/>
                    <a:gd name="connsiteY158" fmla="*/ 421379 h 1541722"/>
                    <a:gd name="connsiteX159" fmla="*/ 4033938 w 4457589"/>
                    <a:gd name="connsiteY159" fmla="*/ 421531 h 1541722"/>
                    <a:gd name="connsiteX160" fmla="*/ 4021210 w 4457589"/>
                    <a:gd name="connsiteY160" fmla="*/ 420318 h 1541722"/>
                    <a:gd name="connsiteX161" fmla="*/ 4010906 w 4457589"/>
                    <a:gd name="connsiteY161" fmla="*/ 420621 h 1541722"/>
                    <a:gd name="connsiteX162" fmla="*/ 4005148 w 4457589"/>
                    <a:gd name="connsiteY162" fmla="*/ 419864 h 1541722"/>
                    <a:gd name="connsiteX163" fmla="*/ 3996967 w 4457589"/>
                    <a:gd name="connsiteY163" fmla="*/ 417136 h 1541722"/>
                    <a:gd name="connsiteX164" fmla="*/ 3994693 w 4457589"/>
                    <a:gd name="connsiteY164" fmla="*/ 418197 h 1541722"/>
                    <a:gd name="connsiteX165" fmla="*/ 3992572 w 4457589"/>
                    <a:gd name="connsiteY165" fmla="*/ 423197 h 1541722"/>
                    <a:gd name="connsiteX166" fmla="*/ 3986512 w 4457589"/>
                    <a:gd name="connsiteY166" fmla="*/ 421076 h 1541722"/>
                    <a:gd name="connsiteX167" fmla="*/ 3981511 w 4457589"/>
                    <a:gd name="connsiteY167" fmla="*/ 418500 h 1541722"/>
                    <a:gd name="connsiteX168" fmla="*/ 3973026 w 4457589"/>
                    <a:gd name="connsiteY168" fmla="*/ 416076 h 1541722"/>
                    <a:gd name="connsiteX169" fmla="*/ 3956813 w 4457589"/>
                    <a:gd name="connsiteY169" fmla="*/ 414561 h 1541722"/>
                    <a:gd name="connsiteX170" fmla="*/ 3937116 w 4457589"/>
                    <a:gd name="connsiteY170" fmla="*/ 410773 h 1541722"/>
                    <a:gd name="connsiteX171" fmla="*/ 3926661 w 4457589"/>
                    <a:gd name="connsiteY171" fmla="*/ 409863 h 1541722"/>
                    <a:gd name="connsiteX172" fmla="*/ 3916206 w 4457589"/>
                    <a:gd name="connsiteY172" fmla="*/ 409257 h 1541722"/>
                    <a:gd name="connsiteX173" fmla="*/ 3917267 w 4457589"/>
                    <a:gd name="connsiteY173" fmla="*/ 417591 h 1541722"/>
                    <a:gd name="connsiteX174" fmla="*/ 3916661 w 4457589"/>
                    <a:gd name="connsiteY174" fmla="*/ 421531 h 1541722"/>
                    <a:gd name="connsiteX175" fmla="*/ 3912721 w 4457589"/>
                    <a:gd name="connsiteY175" fmla="*/ 426682 h 1541722"/>
                    <a:gd name="connsiteX176" fmla="*/ 3908478 w 4457589"/>
                    <a:gd name="connsiteY176" fmla="*/ 430016 h 1541722"/>
                    <a:gd name="connsiteX177" fmla="*/ 3907417 w 4457589"/>
                    <a:gd name="connsiteY177" fmla="*/ 432743 h 1541722"/>
                    <a:gd name="connsiteX178" fmla="*/ 3918933 w 4457589"/>
                    <a:gd name="connsiteY178" fmla="*/ 434864 h 1541722"/>
                    <a:gd name="connsiteX179" fmla="*/ 3922569 w 4457589"/>
                    <a:gd name="connsiteY179" fmla="*/ 444259 h 1541722"/>
                    <a:gd name="connsiteX180" fmla="*/ 3927116 w 4457589"/>
                    <a:gd name="connsiteY180" fmla="*/ 450319 h 1541722"/>
                    <a:gd name="connsiteX181" fmla="*/ 3930297 w 4457589"/>
                    <a:gd name="connsiteY181" fmla="*/ 456532 h 1541722"/>
                    <a:gd name="connsiteX182" fmla="*/ 3930145 w 4457589"/>
                    <a:gd name="connsiteY182" fmla="*/ 460926 h 1541722"/>
                    <a:gd name="connsiteX183" fmla="*/ 3917721 w 4457589"/>
                    <a:gd name="connsiteY183" fmla="*/ 471381 h 1541722"/>
                    <a:gd name="connsiteX184" fmla="*/ 3904690 w 4457589"/>
                    <a:gd name="connsiteY184" fmla="*/ 472745 h 1541722"/>
                    <a:gd name="connsiteX185" fmla="*/ 3892265 w 4457589"/>
                    <a:gd name="connsiteY185" fmla="*/ 473351 h 1541722"/>
                    <a:gd name="connsiteX186" fmla="*/ 3886962 w 4457589"/>
                    <a:gd name="connsiteY186" fmla="*/ 466987 h 1541722"/>
                    <a:gd name="connsiteX187" fmla="*/ 3884083 w 4457589"/>
                    <a:gd name="connsiteY187" fmla="*/ 459259 h 1541722"/>
                    <a:gd name="connsiteX188" fmla="*/ 3874084 w 4457589"/>
                    <a:gd name="connsiteY188" fmla="*/ 455168 h 1541722"/>
                    <a:gd name="connsiteX189" fmla="*/ 3864386 w 4457589"/>
                    <a:gd name="connsiteY189" fmla="*/ 451986 h 1541722"/>
                    <a:gd name="connsiteX190" fmla="*/ 3859841 w 4457589"/>
                    <a:gd name="connsiteY190" fmla="*/ 451532 h 1541722"/>
                    <a:gd name="connsiteX191" fmla="*/ 3856507 w 4457589"/>
                    <a:gd name="connsiteY191" fmla="*/ 450016 h 1541722"/>
                    <a:gd name="connsiteX192" fmla="*/ 3854537 w 4457589"/>
                    <a:gd name="connsiteY192" fmla="*/ 441531 h 1541722"/>
                    <a:gd name="connsiteX193" fmla="*/ 3852264 w 4457589"/>
                    <a:gd name="connsiteY193" fmla="*/ 435167 h 1541722"/>
                    <a:gd name="connsiteX194" fmla="*/ 3849536 w 4457589"/>
                    <a:gd name="connsiteY194" fmla="*/ 432743 h 1541722"/>
                    <a:gd name="connsiteX195" fmla="*/ 3846809 w 4457589"/>
                    <a:gd name="connsiteY195" fmla="*/ 429258 h 1541722"/>
                    <a:gd name="connsiteX196" fmla="*/ 3844385 w 4457589"/>
                    <a:gd name="connsiteY196" fmla="*/ 427743 h 1541722"/>
                    <a:gd name="connsiteX197" fmla="*/ 3838021 w 4457589"/>
                    <a:gd name="connsiteY197" fmla="*/ 427137 h 1541722"/>
                    <a:gd name="connsiteX198" fmla="*/ 3822869 w 4457589"/>
                    <a:gd name="connsiteY198" fmla="*/ 436228 h 1541722"/>
                    <a:gd name="connsiteX199" fmla="*/ 3817717 w 4457589"/>
                    <a:gd name="connsiteY199" fmla="*/ 438955 h 1541722"/>
                    <a:gd name="connsiteX200" fmla="*/ 3815899 w 4457589"/>
                    <a:gd name="connsiteY200" fmla="*/ 438955 h 1541722"/>
                    <a:gd name="connsiteX201" fmla="*/ 3793019 w 4457589"/>
                    <a:gd name="connsiteY201" fmla="*/ 436683 h 1541722"/>
                    <a:gd name="connsiteX202" fmla="*/ 3786959 w 4457589"/>
                    <a:gd name="connsiteY202" fmla="*/ 434864 h 1541722"/>
                    <a:gd name="connsiteX203" fmla="*/ 3752867 w 4457589"/>
                    <a:gd name="connsiteY203" fmla="*/ 433652 h 1541722"/>
                    <a:gd name="connsiteX204" fmla="*/ 3743169 w 4457589"/>
                    <a:gd name="connsiteY204" fmla="*/ 428197 h 1541722"/>
                    <a:gd name="connsiteX205" fmla="*/ 3737260 w 4457589"/>
                    <a:gd name="connsiteY205" fmla="*/ 427440 h 1541722"/>
                    <a:gd name="connsiteX206" fmla="*/ 3730745 w 4457589"/>
                    <a:gd name="connsiteY206" fmla="*/ 429107 h 1541722"/>
                    <a:gd name="connsiteX207" fmla="*/ 3724987 w 4457589"/>
                    <a:gd name="connsiteY207" fmla="*/ 429561 h 1541722"/>
                    <a:gd name="connsiteX208" fmla="*/ 3716956 w 4457589"/>
                    <a:gd name="connsiteY208" fmla="*/ 428501 h 1541722"/>
                    <a:gd name="connsiteX209" fmla="*/ 3709986 w 4457589"/>
                    <a:gd name="connsiteY209" fmla="*/ 430016 h 1541722"/>
                    <a:gd name="connsiteX210" fmla="*/ 3694379 w 4457589"/>
                    <a:gd name="connsiteY210" fmla="*/ 431682 h 1541722"/>
                    <a:gd name="connsiteX211" fmla="*/ 3688621 w 4457589"/>
                    <a:gd name="connsiteY211" fmla="*/ 433501 h 1541722"/>
                    <a:gd name="connsiteX212" fmla="*/ 3682561 w 4457589"/>
                    <a:gd name="connsiteY212" fmla="*/ 436683 h 1541722"/>
                    <a:gd name="connsiteX213" fmla="*/ 3671349 w 4457589"/>
                    <a:gd name="connsiteY213" fmla="*/ 444713 h 1541722"/>
                    <a:gd name="connsiteX214" fmla="*/ 3669833 w 4457589"/>
                    <a:gd name="connsiteY214" fmla="*/ 448653 h 1541722"/>
                    <a:gd name="connsiteX215" fmla="*/ 3669833 w 4457589"/>
                    <a:gd name="connsiteY215" fmla="*/ 453350 h 1541722"/>
                    <a:gd name="connsiteX216" fmla="*/ 3672258 w 4457589"/>
                    <a:gd name="connsiteY216" fmla="*/ 460017 h 1541722"/>
                    <a:gd name="connsiteX217" fmla="*/ 3672258 w 4457589"/>
                    <a:gd name="connsiteY217" fmla="*/ 467593 h 1541722"/>
                    <a:gd name="connsiteX218" fmla="*/ 3670288 w 4457589"/>
                    <a:gd name="connsiteY218" fmla="*/ 470320 h 1541722"/>
                    <a:gd name="connsiteX219" fmla="*/ 3666652 w 4457589"/>
                    <a:gd name="connsiteY219" fmla="*/ 471532 h 1541722"/>
                    <a:gd name="connsiteX220" fmla="*/ 3663014 w 4457589"/>
                    <a:gd name="connsiteY220" fmla="*/ 479563 h 1541722"/>
                    <a:gd name="connsiteX221" fmla="*/ 3659530 w 4457589"/>
                    <a:gd name="connsiteY221" fmla="*/ 483957 h 1541722"/>
                    <a:gd name="connsiteX222" fmla="*/ 3652711 w 4457589"/>
                    <a:gd name="connsiteY222" fmla="*/ 485169 h 1541722"/>
                    <a:gd name="connsiteX223" fmla="*/ 3656651 w 4457589"/>
                    <a:gd name="connsiteY223" fmla="*/ 481836 h 1541722"/>
                    <a:gd name="connsiteX224" fmla="*/ 3660287 w 4457589"/>
                    <a:gd name="connsiteY224" fmla="*/ 479563 h 1541722"/>
                    <a:gd name="connsiteX225" fmla="*/ 3666045 w 4457589"/>
                    <a:gd name="connsiteY225" fmla="*/ 467593 h 1541722"/>
                    <a:gd name="connsiteX226" fmla="*/ 3665136 w 4457589"/>
                    <a:gd name="connsiteY226" fmla="*/ 463956 h 1541722"/>
                    <a:gd name="connsiteX227" fmla="*/ 3660590 w 4457589"/>
                    <a:gd name="connsiteY227" fmla="*/ 461229 h 1541722"/>
                    <a:gd name="connsiteX228" fmla="*/ 3657711 w 4457589"/>
                    <a:gd name="connsiteY228" fmla="*/ 458350 h 1541722"/>
                    <a:gd name="connsiteX229" fmla="*/ 3656197 w 4457589"/>
                    <a:gd name="connsiteY229" fmla="*/ 446986 h 1541722"/>
                    <a:gd name="connsiteX230" fmla="*/ 3654832 w 4457589"/>
                    <a:gd name="connsiteY230" fmla="*/ 440925 h 1541722"/>
                    <a:gd name="connsiteX231" fmla="*/ 3654227 w 4457589"/>
                    <a:gd name="connsiteY231" fmla="*/ 433804 h 1541722"/>
                    <a:gd name="connsiteX232" fmla="*/ 3649530 w 4457589"/>
                    <a:gd name="connsiteY232" fmla="*/ 431379 h 1541722"/>
                    <a:gd name="connsiteX233" fmla="*/ 3632559 w 4457589"/>
                    <a:gd name="connsiteY233" fmla="*/ 427743 h 1541722"/>
                    <a:gd name="connsiteX234" fmla="*/ 3624832 w 4457589"/>
                    <a:gd name="connsiteY234" fmla="*/ 425016 h 1541722"/>
                    <a:gd name="connsiteX235" fmla="*/ 3621953 w 4457589"/>
                    <a:gd name="connsiteY235" fmla="*/ 420924 h 1541722"/>
                    <a:gd name="connsiteX236" fmla="*/ 3624983 w 4457589"/>
                    <a:gd name="connsiteY236" fmla="*/ 415015 h 1541722"/>
                    <a:gd name="connsiteX237" fmla="*/ 3624680 w 4457589"/>
                    <a:gd name="connsiteY237" fmla="*/ 410470 h 1541722"/>
                    <a:gd name="connsiteX238" fmla="*/ 3626346 w 4457589"/>
                    <a:gd name="connsiteY238" fmla="*/ 406682 h 1541722"/>
                    <a:gd name="connsiteX239" fmla="*/ 3628922 w 4457589"/>
                    <a:gd name="connsiteY239" fmla="*/ 403651 h 1541722"/>
                    <a:gd name="connsiteX240" fmla="*/ 3629529 w 4457589"/>
                    <a:gd name="connsiteY240" fmla="*/ 399257 h 1541722"/>
                    <a:gd name="connsiteX241" fmla="*/ 3628165 w 4457589"/>
                    <a:gd name="connsiteY241" fmla="*/ 393651 h 1541722"/>
                    <a:gd name="connsiteX242" fmla="*/ 3626952 w 4457589"/>
                    <a:gd name="connsiteY242" fmla="*/ 389560 h 1541722"/>
                    <a:gd name="connsiteX243" fmla="*/ 3624074 w 4457589"/>
                    <a:gd name="connsiteY243" fmla="*/ 384711 h 1541722"/>
                    <a:gd name="connsiteX244" fmla="*/ 3621953 w 4457589"/>
                    <a:gd name="connsiteY244" fmla="*/ 382438 h 1541722"/>
                    <a:gd name="connsiteX245" fmla="*/ 3611649 w 4457589"/>
                    <a:gd name="connsiteY245" fmla="*/ 375317 h 1541722"/>
                    <a:gd name="connsiteX246" fmla="*/ 3593770 w 4457589"/>
                    <a:gd name="connsiteY246" fmla="*/ 368195 h 1541722"/>
                    <a:gd name="connsiteX247" fmla="*/ 3575587 w 4457589"/>
                    <a:gd name="connsiteY247" fmla="*/ 362892 h 1541722"/>
                    <a:gd name="connsiteX248" fmla="*/ 3559526 w 4457589"/>
                    <a:gd name="connsiteY248" fmla="*/ 361225 h 1541722"/>
                    <a:gd name="connsiteX249" fmla="*/ 3538616 w 4457589"/>
                    <a:gd name="connsiteY249" fmla="*/ 360165 h 1541722"/>
                    <a:gd name="connsiteX250" fmla="*/ 3517100 w 4457589"/>
                    <a:gd name="connsiteY250" fmla="*/ 360165 h 1541722"/>
                    <a:gd name="connsiteX251" fmla="*/ 3508918 w 4457589"/>
                    <a:gd name="connsiteY251" fmla="*/ 363044 h 1541722"/>
                    <a:gd name="connsiteX252" fmla="*/ 3493312 w 4457589"/>
                    <a:gd name="connsiteY252" fmla="*/ 363195 h 1541722"/>
                    <a:gd name="connsiteX253" fmla="*/ 3476492 w 4457589"/>
                    <a:gd name="connsiteY253" fmla="*/ 366225 h 1541722"/>
                    <a:gd name="connsiteX254" fmla="*/ 3459522 w 4457589"/>
                    <a:gd name="connsiteY254" fmla="*/ 370923 h 1541722"/>
                    <a:gd name="connsiteX255" fmla="*/ 3450431 w 4457589"/>
                    <a:gd name="connsiteY255" fmla="*/ 371074 h 1541722"/>
                    <a:gd name="connsiteX256" fmla="*/ 3432248 w 4457589"/>
                    <a:gd name="connsiteY256" fmla="*/ 373195 h 1541722"/>
                    <a:gd name="connsiteX257" fmla="*/ 3424369 w 4457589"/>
                    <a:gd name="connsiteY257" fmla="*/ 373195 h 1541722"/>
                    <a:gd name="connsiteX258" fmla="*/ 3403914 w 4457589"/>
                    <a:gd name="connsiteY258" fmla="*/ 365771 h 1541722"/>
                    <a:gd name="connsiteX259" fmla="*/ 3410429 w 4457589"/>
                    <a:gd name="connsiteY259" fmla="*/ 364862 h 1541722"/>
                    <a:gd name="connsiteX260" fmla="*/ 3413005 w 4457589"/>
                    <a:gd name="connsiteY260" fmla="*/ 363801 h 1541722"/>
                    <a:gd name="connsiteX261" fmla="*/ 3403914 w 4457589"/>
                    <a:gd name="connsiteY261" fmla="*/ 353952 h 1541722"/>
                    <a:gd name="connsiteX262" fmla="*/ 3399065 w 4457589"/>
                    <a:gd name="connsiteY262" fmla="*/ 350467 h 1541722"/>
                    <a:gd name="connsiteX263" fmla="*/ 3387096 w 4457589"/>
                    <a:gd name="connsiteY263" fmla="*/ 346073 h 1541722"/>
                    <a:gd name="connsiteX264" fmla="*/ 3382247 w 4457589"/>
                    <a:gd name="connsiteY264" fmla="*/ 345770 h 1541722"/>
                    <a:gd name="connsiteX265" fmla="*/ 3378155 w 4457589"/>
                    <a:gd name="connsiteY265" fmla="*/ 346679 h 1541722"/>
                    <a:gd name="connsiteX266" fmla="*/ 3362398 w 4457589"/>
                    <a:gd name="connsiteY266" fmla="*/ 351528 h 1541722"/>
                    <a:gd name="connsiteX267" fmla="*/ 3358458 w 4457589"/>
                    <a:gd name="connsiteY267" fmla="*/ 353498 h 1541722"/>
                    <a:gd name="connsiteX268" fmla="*/ 3366337 w 4457589"/>
                    <a:gd name="connsiteY268" fmla="*/ 347892 h 1541722"/>
                    <a:gd name="connsiteX269" fmla="*/ 3370125 w 4457589"/>
                    <a:gd name="connsiteY269" fmla="*/ 345467 h 1541722"/>
                    <a:gd name="connsiteX270" fmla="*/ 3374065 w 4457589"/>
                    <a:gd name="connsiteY270" fmla="*/ 341982 h 1541722"/>
                    <a:gd name="connsiteX271" fmla="*/ 3373155 w 4457589"/>
                    <a:gd name="connsiteY271" fmla="*/ 339861 h 1541722"/>
                    <a:gd name="connsiteX272" fmla="*/ 3372095 w 4457589"/>
                    <a:gd name="connsiteY272" fmla="*/ 338649 h 1541722"/>
                    <a:gd name="connsiteX273" fmla="*/ 3357397 w 4457589"/>
                    <a:gd name="connsiteY273" fmla="*/ 339255 h 1541722"/>
                    <a:gd name="connsiteX274" fmla="*/ 3356488 w 4457589"/>
                    <a:gd name="connsiteY274" fmla="*/ 338649 h 1541722"/>
                    <a:gd name="connsiteX275" fmla="*/ 3353306 w 4457589"/>
                    <a:gd name="connsiteY275" fmla="*/ 335618 h 1541722"/>
                    <a:gd name="connsiteX276" fmla="*/ 3351791 w 4457589"/>
                    <a:gd name="connsiteY276" fmla="*/ 334558 h 1541722"/>
                    <a:gd name="connsiteX277" fmla="*/ 3341942 w 4457589"/>
                    <a:gd name="connsiteY277" fmla="*/ 331376 h 1541722"/>
                    <a:gd name="connsiteX278" fmla="*/ 3334821 w 4457589"/>
                    <a:gd name="connsiteY278" fmla="*/ 330164 h 1541722"/>
                    <a:gd name="connsiteX279" fmla="*/ 3327548 w 4457589"/>
                    <a:gd name="connsiteY279" fmla="*/ 330012 h 1541722"/>
                    <a:gd name="connsiteX280" fmla="*/ 3326336 w 4457589"/>
                    <a:gd name="connsiteY280" fmla="*/ 328800 h 1541722"/>
                    <a:gd name="connsiteX281" fmla="*/ 3327093 w 4457589"/>
                    <a:gd name="connsiteY281" fmla="*/ 327285 h 1541722"/>
                    <a:gd name="connsiteX282" fmla="*/ 3327396 w 4457589"/>
                    <a:gd name="connsiteY282" fmla="*/ 326376 h 1541722"/>
                    <a:gd name="connsiteX283" fmla="*/ 3329669 w 4457589"/>
                    <a:gd name="connsiteY283" fmla="*/ 324709 h 1541722"/>
                    <a:gd name="connsiteX284" fmla="*/ 3336033 w 4457589"/>
                    <a:gd name="connsiteY284" fmla="*/ 323194 h 1541722"/>
                    <a:gd name="connsiteX285" fmla="*/ 3352548 w 4457589"/>
                    <a:gd name="connsiteY285" fmla="*/ 322284 h 1541722"/>
                    <a:gd name="connsiteX286" fmla="*/ 3356185 w 4457589"/>
                    <a:gd name="connsiteY286" fmla="*/ 319557 h 1541722"/>
                    <a:gd name="connsiteX287" fmla="*/ 3355731 w 4457589"/>
                    <a:gd name="connsiteY287" fmla="*/ 316830 h 1541722"/>
                    <a:gd name="connsiteX288" fmla="*/ 3354670 w 4457589"/>
                    <a:gd name="connsiteY288" fmla="*/ 314708 h 1541722"/>
                    <a:gd name="connsiteX289" fmla="*/ 3349367 w 4457589"/>
                    <a:gd name="connsiteY289" fmla="*/ 309557 h 1541722"/>
                    <a:gd name="connsiteX290" fmla="*/ 3342093 w 4457589"/>
                    <a:gd name="connsiteY290" fmla="*/ 305920 h 1541722"/>
                    <a:gd name="connsiteX291" fmla="*/ 3327396 w 4457589"/>
                    <a:gd name="connsiteY291" fmla="*/ 301375 h 1541722"/>
                    <a:gd name="connsiteX292" fmla="*/ 3312093 w 4457589"/>
                    <a:gd name="connsiteY292" fmla="*/ 298193 h 1541722"/>
                    <a:gd name="connsiteX293" fmla="*/ 3285576 w 4457589"/>
                    <a:gd name="connsiteY293" fmla="*/ 296677 h 1541722"/>
                    <a:gd name="connsiteX294" fmla="*/ 3280879 w 4457589"/>
                    <a:gd name="connsiteY294" fmla="*/ 297435 h 1541722"/>
                    <a:gd name="connsiteX295" fmla="*/ 3277091 w 4457589"/>
                    <a:gd name="connsiteY295" fmla="*/ 299253 h 1541722"/>
                    <a:gd name="connsiteX296" fmla="*/ 3270728 w 4457589"/>
                    <a:gd name="connsiteY296" fmla="*/ 304102 h 1541722"/>
                    <a:gd name="connsiteX297" fmla="*/ 3256333 w 4457589"/>
                    <a:gd name="connsiteY297" fmla="*/ 318193 h 1541722"/>
                    <a:gd name="connsiteX298" fmla="*/ 3248302 w 4457589"/>
                    <a:gd name="connsiteY298" fmla="*/ 324103 h 1541722"/>
                    <a:gd name="connsiteX299" fmla="*/ 3241029 w 4457589"/>
                    <a:gd name="connsiteY299" fmla="*/ 327285 h 1541722"/>
                    <a:gd name="connsiteX300" fmla="*/ 3224059 w 4457589"/>
                    <a:gd name="connsiteY300" fmla="*/ 329861 h 1541722"/>
                    <a:gd name="connsiteX301" fmla="*/ 3221028 w 4457589"/>
                    <a:gd name="connsiteY301" fmla="*/ 329254 h 1541722"/>
                    <a:gd name="connsiteX302" fmla="*/ 3218605 w 4457589"/>
                    <a:gd name="connsiteY302" fmla="*/ 326830 h 1541722"/>
                    <a:gd name="connsiteX303" fmla="*/ 3219362 w 4457589"/>
                    <a:gd name="connsiteY303" fmla="*/ 324860 h 1541722"/>
                    <a:gd name="connsiteX304" fmla="*/ 3221028 w 4457589"/>
                    <a:gd name="connsiteY304" fmla="*/ 322891 h 1541722"/>
                    <a:gd name="connsiteX305" fmla="*/ 3221028 w 4457589"/>
                    <a:gd name="connsiteY305" fmla="*/ 321678 h 1541722"/>
                    <a:gd name="connsiteX306" fmla="*/ 3220271 w 4457589"/>
                    <a:gd name="connsiteY306" fmla="*/ 319406 h 1541722"/>
                    <a:gd name="connsiteX307" fmla="*/ 3220725 w 4457589"/>
                    <a:gd name="connsiteY307" fmla="*/ 318042 h 1541722"/>
                    <a:gd name="connsiteX308" fmla="*/ 3222393 w 4457589"/>
                    <a:gd name="connsiteY308" fmla="*/ 318042 h 1541722"/>
                    <a:gd name="connsiteX309" fmla="*/ 3226332 w 4457589"/>
                    <a:gd name="connsiteY309" fmla="*/ 319709 h 1541722"/>
                    <a:gd name="connsiteX310" fmla="*/ 3230120 w 4457589"/>
                    <a:gd name="connsiteY310" fmla="*/ 319860 h 1541722"/>
                    <a:gd name="connsiteX311" fmla="*/ 3239665 w 4457589"/>
                    <a:gd name="connsiteY311" fmla="*/ 317284 h 1541722"/>
                    <a:gd name="connsiteX312" fmla="*/ 3239665 w 4457589"/>
                    <a:gd name="connsiteY312" fmla="*/ 313193 h 1541722"/>
                    <a:gd name="connsiteX313" fmla="*/ 3237090 w 4457589"/>
                    <a:gd name="connsiteY313" fmla="*/ 310769 h 1541722"/>
                    <a:gd name="connsiteX314" fmla="*/ 3238302 w 4457589"/>
                    <a:gd name="connsiteY314" fmla="*/ 305163 h 1541722"/>
                    <a:gd name="connsiteX315" fmla="*/ 3238302 w 4457589"/>
                    <a:gd name="connsiteY315" fmla="*/ 303647 h 1541722"/>
                    <a:gd name="connsiteX316" fmla="*/ 3239665 w 4457589"/>
                    <a:gd name="connsiteY316" fmla="*/ 302738 h 1541722"/>
                    <a:gd name="connsiteX317" fmla="*/ 3240878 w 4457589"/>
                    <a:gd name="connsiteY317" fmla="*/ 302890 h 1541722"/>
                    <a:gd name="connsiteX318" fmla="*/ 3247696 w 4457589"/>
                    <a:gd name="connsiteY318" fmla="*/ 306981 h 1541722"/>
                    <a:gd name="connsiteX319" fmla="*/ 3250120 w 4457589"/>
                    <a:gd name="connsiteY319" fmla="*/ 306829 h 1541722"/>
                    <a:gd name="connsiteX320" fmla="*/ 3252545 w 4457589"/>
                    <a:gd name="connsiteY320" fmla="*/ 307284 h 1541722"/>
                    <a:gd name="connsiteX321" fmla="*/ 3246484 w 4457589"/>
                    <a:gd name="connsiteY321" fmla="*/ 317133 h 1541722"/>
                    <a:gd name="connsiteX322" fmla="*/ 3249363 w 4457589"/>
                    <a:gd name="connsiteY322" fmla="*/ 317133 h 1541722"/>
                    <a:gd name="connsiteX323" fmla="*/ 3257242 w 4457589"/>
                    <a:gd name="connsiteY323" fmla="*/ 312436 h 1541722"/>
                    <a:gd name="connsiteX324" fmla="*/ 3262697 w 4457589"/>
                    <a:gd name="connsiteY324" fmla="*/ 307890 h 1541722"/>
                    <a:gd name="connsiteX325" fmla="*/ 3268303 w 4457589"/>
                    <a:gd name="connsiteY325" fmla="*/ 302132 h 1541722"/>
                    <a:gd name="connsiteX326" fmla="*/ 3269060 w 4457589"/>
                    <a:gd name="connsiteY326" fmla="*/ 299102 h 1541722"/>
                    <a:gd name="connsiteX327" fmla="*/ 3262545 w 4457589"/>
                    <a:gd name="connsiteY327" fmla="*/ 298799 h 1541722"/>
                    <a:gd name="connsiteX328" fmla="*/ 3219968 w 4457589"/>
                    <a:gd name="connsiteY328" fmla="*/ 300920 h 1541722"/>
                    <a:gd name="connsiteX329" fmla="*/ 3204513 w 4457589"/>
                    <a:gd name="connsiteY329" fmla="*/ 305314 h 1541722"/>
                    <a:gd name="connsiteX330" fmla="*/ 3199664 w 4457589"/>
                    <a:gd name="connsiteY330" fmla="*/ 304405 h 1541722"/>
                    <a:gd name="connsiteX331" fmla="*/ 3196179 w 4457589"/>
                    <a:gd name="connsiteY331" fmla="*/ 300920 h 1541722"/>
                    <a:gd name="connsiteX332" fmla="*/ 3201483 w 4457589"/>
                    <a:gd name="connsiteY332" fmla="*/ 300617 h 1541722"/>
                    <a:gd name="connsiteX333" fmla="*/ 3207695 w 4457589"/>
                    <a:gd name="connsiteY333" fmla="*/ 298647 h 1541722"/>
                    <a:gd name="connsiteX334" fmla="*/ 3212847 w 4457589"/>
                    <a:gd name="connsiteY334" fmla="*/ 294556 h 1541722"/>
                    <a:gd name="connsiteX335" fmla="*/ 3216180 w 4457589"/>
                    <a:gd name="connsiteY335" fmla="*/ 293950 h 1541722"/>
                    <a:gd name="connsiteX336" fmla="*/ 3224816 w 4457589"/>
                    <a:gd name="connsiteY336" fmla="*/ 294102 h 1541722"/>
                    <a:gd name="connsiteX337" fmla="*/ 3231787 w 4457589"/>
                    <a:gd name="connsiteY337" fmla="*/ 295617 h 1541722"/>
                    <a:gd name="connsiteX338" fmla="*/ 3252697 w 4457589"/>
                    <a:gd name="connsiteY338" fmla="*/ 296223 h 1541722"/>
                    <a:gd name="connsiteX339" fmla="*/ 3253151 w 4457589"/>
                    <a:gd name="connsiteY339" fmla="*/ 291526 h 1541722"/>
                    <a:gd name="connsiteX340" fmla="*/ 3248605 w 4457589"/>
                    <a:gd name="connsiteY340" fmla="*/ 290011 h 1541722"/>
                    <a:gd name="connsiteX341" fmla="*/ 3238454 w 4457589"/>
                    <a:gd name="connsiteY341" fmla="*/ 288647 h 1541722"/>
                    <a:gd name="connsiteX342" fmla="*/ 3232241 w 4457589"/>
                    <a:gd name="connsiteY342" fmla="*/ 286374 h 1541722"/>
                    <a:gd name="connsiteX343" fmla="*/ 3224362 w 4457589"/>
                    <a:gd name="connsiteY343" fmla="*/ 284859 h 1541722"/>
                    <a:gd name="connsiteX344" fmla="*/ 3207089 w 4457589"/>
                    <a:gd name="connsiteY344" fmla="*/ 282889 h 1541722"/>
                    <a:gd name="connsiteX345" fmla="*/ 3199816 w 4457589"/>
                    <a:gd name="connsiteY345" fmla="*/ 281071 h 1541722"/>
                    <a:gd name="connsiteX346" fmla="*/ 3182845 w 4457589"/>
                    <a:gd name="connsiteY346" fmla="*/ 279556 h 1541722"/>
                    <a:gd name="connsiteX347" fmla="*/ 3178299 w 4457589"/>
                    <a:gd name="connsiteY347" fmla="*/ 278192 h 1541722"/>
                    <a:gd name="connsiteX348" fmla="*/ 3138601 w 4457589"/>
                    <a:gd name="connsiteY348" fmla="*/ 277131 h 1541722"/>
                    <a:gd name="connsiteX349" fmla="*/ 3123752 w 4457589"/>
                    <a:gd name="connsiteY349" fmla="*/ 273495 h 1541722"/>
                    <a:gd name="connsiteX350" fmla="*/ 3117994 w 4457589"/>
                    <a:gd name="connsiteY350" fmla="*/ 269858 h 1541722"/>
                    <a:gd name="connsiteX351" fmla="*/ 3104206 w 4457589"/>
                    <a:gd name="connsiteY351" fmla="*/ 268192 h 1541722"/>
                    <a:gd name="connsiteX352" fmla="*/ 3101478 w 4457589"/>
                    <a:gd name="connsiteY352" fmla="*/ 268192 h 1541722"/>
                    <a:gd name="connsiteX353" fmla="*/ 3100569 w 4457589"/>
                    <a:gd name="connsiteY353" fmla="*/ 269252 h 1541722"/>
                    <a:gd name="connsiteX354" fmla="*/ 3099963 w 4457589"/>
                    <a:gd name="connsiteY354" fmla="*/ 270767 h 1541722"/>
                    <a:gd name="connsiteX355" fmla="*/ 3108752 w 4457589"/>
                    <a:gd name="connsiteY355" fmla="*/ 277283 h 1541722"/>
                    <a:gd name="connsiteX356" fmla="*/ 3109054 w 4457589"/>
                    <a:gd name="connsiteY356" fmla="*/ 281828 h 1541722"/>
                    <a:gd name="connsiteX357" fmla="*/ 3111631 w 4457589"/>
                    <a:gd name="connsiteY357" fmla="*/ 283950 h 1541722"/>
                    <a:gd name="connsiteX358" fmla="*/ 3101478 w 4457589"/>
                    <a:gd name="connsiteY358" fmla="*/ 287586 h 1541722"/>
                    <a:gd name="connsiteX359" fmla="*/ 3094509 w 4457589"/>
                    <a:gd name="connsiteY359" fmla="*/ 288950 h 1541722"/>
                    <a:gd name="connsiteX360" fmla="*/ 3071174 w 4457589"/>
                    <a:gd name="connsiteY360" fmla="*/ 288798 h 1541722"/>
                    <a:gd name="connsiteX361" fmla="*/ 3067689 w 4457589"/>
                    <a:gd name="connsiteY361" fmla="*/ 290314 h 1541722"/>
                    <a:gd name="connsiteX362" fmla="*/ 3058599 w 4457589"/>
                    <a:gd name="connsiteY362" fmla="*/ 297284 h 1541722"/>
                    <a:gd name="connsiteX363" fmla="*/ 3058749 w 4457589"/>
                    <a:gd name="connsiteY363" fmla="*/ 300769 h 1541722"/>
                    <a:gd name="connsiteX364" fmla="*/ 3059659 w 4457589"/>
                    <a:gd name="connsiteY364" fmla="*/ 305920 h 1541722"/>
                    <a:gd name="connsiteX365" fmla="*/ 3066477 w 4457589"/>
                    <a:gd name="connsiteY365" fmla="*/ 305920 h 1541722"/>
                    <a:gd name="connsiteX366" fmla="*/ 3068599 w 4457589"/>
                    <a:gd name="connsiteY366" fmla="*/ 303647 h 1541722"/>
                    <a:gd name="connsiteX367" fmla="*/ 3071629 w 4457589"/>
                    <a:gd name="connsiteY367" fmla="*/ 302738 h 1541722"/>
                    <a:gd name="connsiteX368" fmla="*/ 3085872 w 4457589"/>
                    <a:gd name="connsiteY368" fmla="*/ 303496 h 1541722"/>
                    <a:gd name="connsiteX369" fmla="*/ 3087235 w 4457589"/>
                    <a:gd name="connsiteY369" fmla="*/ 304405 h 1541722"/>
                    <a:gd name="connsiteX370" fmla="*/ 3082538 w 4457589"/>
                    <a:gd name="connsiteY370" fmla="*/ 305920 h 1541722"/>
                    <a:gd name="connsiteX371" fmla="*/ 3077993 w 4457589"/>
                    <a:gd name="connsiteY371" fmla="*/ 306678 h 1541722"/>
                    <a:gd name="connsiteX372" fmla="*/ 3072235 w 4457589"/>
                    <a:gd name="connsiteY372" fmla="*/ 314405 h 1541722"/>
                    <a:gd name="connsiteX373" fmla="*/ 3064659 w 4457589"/>
                    <a:gd name="connsiteY373" fmla="*/ 316830 h 1541722"/>
                    <a:gd name="connsiteX374" fmla="*/ 3069811 w 4457589"/>
                    <a:gd name="connsiteY374" fmla="*/ 318042 h 1541722"/>
                    <a:gd name="connsiteX375" fmla="*/ 3074508 w 4457589"/>
                    <a:gd name="connsiteY375" fmla="*/ 320163 h 1541722"/>
                    <a:gd name="connsiteX376" fmla="*/ 3073751 w 4457589"/>
                    <a:gd name="connsiteY376" fmla="*/ 329558 h 1541722"/>
                    <a:gd name="connsiteX377" fmla="*/ 3080418 w 4457589"/>
                    <a:gd name="connsiteY377" fmla="*/ 336831 h 1541722"/>
                    <a:gd name="connsiteX378" fmla="*/ 3081629 w 4457589"/>
                    <a:gd name="connsiteY378" fmla="*/ 340164 h 1541722"/>
                    <a:gd name="connsiteX379" fmla="*/ 3072083 w 4457589"/>
                    <a:gd name="connsiteY379" fmla="*/ 340315 h 1541722"/>
                    <a:gd name="connsiteX380" fmla="*/ 3063598 w 4457589"/>
                    <a:gd name="connsiteY380" fmla="*/ 342588 h 1541722"/>
                    <a:gd name="connsiteX381" fmla="*/ 3060568 w 4457589"/>
                    <a:gd name="connsiteY381" fmla="*/ 342588 h 1541722"/>
                    <a:gd name="connsiteX382" fmla="*/ 3054961 w 4457589"/>
                    <a:gd name="connsiteY382" fmla="*/ 336831 h 1541722"/>
                    <a:gd name="connsiteX383" fmla="*/ 3048749 w 4457589"/>
                    <a:gd name="connsiteY383" fmla="*/ 333194 h 1541722"/>
                    <a:gd name="connsiteX384" fmla="*/ 3045719 w 4457589"/>
                    <a:gd name="connsiteY384" fmla="*/ 332891 h 1541722"/>
                    <a:gd name="connsiteX385" fmla="*/ 3041779 w 4457589"/>
                    <a:gd name="connsiteY385" fmla="*/ 336527 h 1541722"/>
                    <a:gd name="connsiteX386" fmla="*/ 3036173 w 4457589"/>
                    <a:gd name="connsiteY386" fmla="*/ 334558 h 1541722"/>
                    <a:gd name="connsiteX387" fmla="*/ 3033749 w 4457589"/>
                    <a:gd name="connsiteY387" fmla="*/ 334861 h 1541722"/>
                    <a:gd name="connsiteX388" fmla="*/ 3030718 w 4457589"/>
                    <a:gd name="connsiteY388" fmla="*/ 336376 h 1541722"/>
                    <a:gd name="connsiteX389" fmla="*/ 3028749 w 4457589"/>
                    <a:gd name="connsiteY389" fmla="*/ 338497 h 1541722"/>
                    <a:gd name="connsiteX390" fmla="*/ 3027234 w 4457589"/>
                    <a:gd name="connsiteY390" fmla="*/ 341528 h 1541722"/>
                    <a:gd name="connsiteX391" fmla="*/ 3025416 w 4457589"/>
                    <a:gd name="connsiteY391" fmla="*/ 343346 h 1541722"/>
                    <a:gd name="connsiteX392" fmla="*/ 3025112 w 4457589"/>
                    <a:gd name="connsiteY392" fmla="*/ 345619 h 1541722"/>
                    <a:gd name="connsiteX393" fmla="*/ 3027991 w 4457589"/>
                    <a:gd name="connsiteY393" fmla="*/ 346679 h 1541722"/>
                    <a:gd name="connsiteX394" fmla="*/ 3030113 w 4457589"/>
                    <a:gd name="connsiteY394" fmla="*/ 346831 h 1541722"/>
                    <a:gd name="connsiteX395" fmla="*/ 3036021 w 4457589"/>
                    <a:gd name="connsiteY395" fmla="*/ 348498 h 1541722"/>
                    <a:gd name="connsiteX396" fmla="*/ 3029961 w 4457589"/>
                    <a:gd name="connsiteY396" fmla="*/ 349407 h 1541722"/>
                    <a:gd name="connsiteX397" fmla="*/ 3028294 w 4457589"/>
                    <a:gd name="connsiteY397" fmla="*/ 350619 h 1541722"/>
                    <a:gd name="connsiteX398" fmla="*/ 3027688 w 4457589"/>
                    <a:gd name="connsiteY398" fmla="*/ 351831 h 1541722"/>
                    <a:gd name="connsiteX399" fmla="*/ 3023142 w 4457589"/>
                    <a:gd name="connsiteY399" fmla="*/ 353498 h 1541722"/>
                    <a:gd name="connsiteX400" fmla="*/ 3024657 w 4457589"/>
                    <a:gd name="connsiteY400" fmla="*/ 355164 h 1541722"/>
                    <a:gd name="connsiteX401" fmla="*/ 3026627 w 4457589"/>
                    <a:gd name="connsiteY401" fmla="*/ 356528 h 1541722"/>
                    <a:gd name="connsiteX402" fmla="*/ 3027234 w 4457589"/>
                    <a:gd name="connsiteY402" fmla="*/ 357740 h 1541722"/>
                    <a:gd name="connsiteX403" fmla="*/ 3025718 w 4457589"/>
                    <a:gd name="connsiteY403" fmla="*/ 358195 h 1541722"/>
                    <a:gd name="connsiteX404" fmla="*/ 3021930 w 4457589"/>
                    <a:gd name="connsiteY404" fmla="*/ 356680 h 1541722"/>
                    <a:gd name="connsiteX405" fmla="*/ 3017839 w 4457589"/>
                    <a:gd name="connsiteY405" fmla="*/ 354407 h 1541722"/>
                    <a:gd name="connsiteX406" fmla="*/ 3011475 w 4457589"/>
                    <a:gd name="connsiteY406" fmla="*/ 349861 h 1541722"/>
                    <a:gd name="connsiteX407" fmla="*/ 3008748 w 4457589"/>
                    <a:gd name="connsiteY407" fmla="*/ 346831 h 1541722"/>
                    <a:gd name="connsiteX408" fmla="*/ 3003293 w 4457589"/>
                    <a:gd name="connsiteY408" fmla="*/ 343952 h 1541722"/>
                    <a:gd name="connsiteX409" fmla="*/ 2983747 w 4457589"/>
                    <a:gd name="connsiteY409" fmla="*/ 336224 h 1541722"/>
                    <a:gd name="connsiteX410" fmla="*/ 2975111 w 4457589"/>
                    <a:gd name="connsiteY410" fmla="*/ 333649 h 1541722"/>
                    <a:gd name="connsiteX411" fmla="*/ 2969504 w 4457589"/>
                    <a:gd name="connsiteY411" fmla="*/ 333042 h 1541722"/>
                    <a:gd name="connsiteX412" fmla="*/ 2960564 w 4457589"/>
                    <a:gd name="connsiteY412" fmla="*/ 334103 h 1541722"/>
                    <a:gd name="connsiteX413" fmla="*/ 2955110 w 4457589"/>
                    <a:gd name="connsiteY413" fmla="*/ 337588 h 1541722"/>
                    <a:gd name="connsiteX414" fmla="*/ 2945867 w 4457589"/>
                    <a:gd name="connsiteY414" fmla="*/ 338952 h 1541722"/>
                    <a:gd name="connsiteX415" fmla="*/ 2940261 w 4457589"/>
                    <a:gd name="connsiteY415" fmla="*/ 341679 h 1541722"/>
                    <a:gd name="connsiteX416" fmla="*/ 2937230 w 4457589"/>
                    <a:gd name="connsiteY416" fmla="*/ 345467 h 1541722"/>
                    <a:gd name="connsiteX417" fmla="*/ 2920714 w 4457589"/>
                    <a:gd name="connsiteY417" fmla="*/ 345922 h 1541722"/>
                    <a:gd name="connsiteX418" fmla="*/ 2909502 w 4457589"/>
                    <a:gd name="connsiteY418" fmla="*/ 343043 h 1541722"/>
                    <a:gd name="connsiteX419" fmla="*/ 2902229 w 4457589"/>
                    <a:gd name="connsiteY419" fmla="*/ 340164 h 1541722"/>
                    <a:gd name="connsiteX420" fmla="*/ 2894198 w 4457589"/>
                    <a:gd name="connsiteY420" fmla="*/ 334406 h 1541722"/>
                    <a:gd name="connsiteX421" fmla="*/ 2886168 w 4457589"/>
                    <a:gd name="connsiteY421" fmla="*/ 326830 h 1541722"/>
                    <a:gd name="connsiteX422" fmla="*/ 2885259 w 4457589"/>
                    <a:gd name="connsiteY422" fmla="*/ 326072 h 1541722"/>
                    <a:gd name="connsiteX423" fmla="*/ 2884350 w 4457589"/>
                    <a:gd name="connsiteY423" fmla="*/ 324557 h 1541722"/>
                    <a:gd name="connsiteX424" fmla="*/ 2882834 w 4457589"/>
                    <a:gd name="connsiteY424" fmla="*/ 320921 h 1541722"/>
                    <a:gd name="connsiteX425" fmla="*/ 2881167 w 4457589"/>
                    <a:gd name="connsiteY425" fmla="*/ 318042 h 1541722"/>
                    <a:gd name="connsiteX426" fmla="*/ 2878592 w 4457589"/>
                    <a:gd name="connsiteY426" fmla="*/ 319557 h 1541722"/>
                    <a:gd name="connsiteX427" fmla="*/ 2872227 w 4457589"/>
                    <a:gd name="connsiteY427" fmla="*/ 328194 h 1541722"/>
                    <a:gd name="connsiteX428" fmla="*/ 2869500 w 4457589"/>
                    <a:gd name="connsiteY428" fmla="*/ 332436 h 1541722"/>
                    <a:gd name="connsiteX429" fmla="*/ 2866015 w 4457589"/>
                    <a:gd name="connsiteY429" fmla="*/ 340619 h 1541722"/>
                    <a:gd name="connsiteX430" fmla="*/ 2863288 w 4457589"/>
                    <a:gd name="connsiteY430" fmla="*/ 347285 h 1541722"/>
                    <a:gd name="connsiteX431" fmla="*/ 2862985 w 4457589"/>
                    <a:gd name="connsiteY431" fmla="*/ 350164 h 1541722"/>
                    <a:gd name="connsiteX432" fmla="*/ 2864197 w 4457589"/>
                    <a:gd name="connsiteY432" fmla="*/ 352740 h 1541722"/>
                    <a:gd name="connsiteX433" fmla="*/ 2860713 w 4457589"/>
                    <a:gd name="connsiteY433" fmla="*/ 354710 h 1541722"/>
                    <a:gd name="connsiteX434" fmla="*/ 2856925 w 4457589"/>
                    <a:gd name="connsiteY434" fmla="*/ 359862 h 1541722"/>
                    <a:gd name="connsiteX435" fmla="*/ 2851318 w 4457589"/>
                    <a:gd name="connsiteY435" fmla="*/ 369862 h 1541722"/>
                    <a:gd name="connsiteX436" fmla="*/ 2847681 w 4457589"/>
                    <a:gd name="connsiteY436" fmla="*/ 373498 h 1541722"/>
                    <a:gd name="connsiteX437" fmla="*/ 2843287 w 4457589"/>
                    <a:gd name="connsiteY437" fmla="*/ 376680 h 1541722"/>
                    <a:gd name="connsiteX438" fmla="*/ 2840257 w 4457589"/>
                    <a:gd name="connsiteY438" fmla="*/ 377741 h 1541722"/>
                    <a:gd name="connsiteX439" fmla="*/ 2836469 w 4457589"/>
                    <a:gd name="connsiteY439" fmla="*/ 377590 h 1541722"/>
                    <a:gd name="connsiteX440" fmla="*/ 2833136 w 4457589"/>
                    <a:gd name="connsiteY440" fmla="*/ 374711 h 1541722"/>
                    <a:gd name="connsiteX441" fmla="*/ 2831317 w 4457589"/>
                    <a:gd name="connsiteY441" fmla="*/ 368195 h 1541722"/>
                    <a:gd name="connsiteX442" fmla="*/ 2829196 w 4457589"/>
                    <a:gd name="connsiteY442" fmla="*/ 366832 h 1541722"/>
                    <a:gd name="connsiteX443" fmla="*/ 2826771 w 4457589"/>
                    <a:gd name="connsiteY443" fmla="*/ 370468 h 1541722"/>
                    <a:gd name="connsiteX444" fmla="*/ 2823286 w 4457589"/>
                    <a:gd name="connsiteY444" fmla="*/ 370317 h 1541722"/>
                    <a:gd name="connsiteX445" fmla="*/ 2816165 w 4457589"/>
                    <a:gd name="connsiteY445" fmla="*/ 367589 h 1541722"/>
                    <a:gd name="connsiteX446" fmla="*/ 2809195 w 4457589"/>
                    <a:gd name="connsiteY446" fmla="*/ 361680 h 1541722"/>
                    <a:gd name="connsiteX447" fmla="*/ 2802074 w 4457589"/>
                    <a:gd name="connsiteY447" fmla="*/ 358953 h 1541722"/>
                    <a:gd name="connsiteX448" fmla="*/ 2791770 w 4457589"/>
                    <a:gd name="connsiteY448" fmla="*/ 344558 h 1541722"/>
                    <a:gd name="connsiteX449" fmla="*/ 2787376 w 4457589"/>
                    <a:gd name="connsiteY449" fmla="*/ 339255 h 1541722"/>
                    <a:gd name="connsiteX450" fmla="*/ 2784800 w 4457589"/>
                    <a:gd name="connsiteY450" fmla="*/ 335012 h 1541722"/>
                    <a:gd name="connsiteX451" fmla="*/ 2779043 w 4457589"/>
                    <a:gd name="connsiteY451" fmla="*/ 334558 h 1541722"/>
                    <a:gd name="connsiteX452" fmla="*/ 2776921 w 4457589"/>
                    <a:gd name="connsiteY452" fmla="*/ 331376 h 1541722"/>
                    <a:gd name="connsiteX453" fmla="*/ 2779800 w 4457589"/>
                    <a:gd name="connsiteY453" fmla="*/ 329254 h 1541722"/>
                    <a:gd name="connsiteX454" fmla="*/ 2787528 w 4457589"/>
                    <a:gd name="connsiteY454" fmla="*/ 327285 h 1541722"/>
                    <a:gd name="connsiteX455" fmla="*/ 2793740 w 4457589"/>
                    <a:gd name="connsiteY455" fmla="*/ 327588 h 1541722"/>
                    <a:gd name="connsiteX456" fmla="*/ 2789194 w 4457589"/>
                    <a:gd name="connsiteY456" fmla="*/ 321981 h 1541722"/>
                    <a:gd name="connsiteX457" fmla="*/ 2786922 w 4457589"/>
                    <a:gd name="connsiteY457" fmla="*/ 318496 h 1541722"/>
                    <a:gd name="connsiteX458" fmla="*/ 2784497 w 4457589"/>
                    <a:gd name="connsiteY458" fmla="*/ 316678 h 1541722"/>
                    <a:gd name="connsiteX459" fmla="*/ 2785406 w 4457589"/>
                    <a:gd name="connsiteY459" fmla="*/ 320466 h 1541722"/>
                    <a:gd name="connsiteX460" fmla="*/ 2784345 w 4457589"/>
                    <a:gd name="connsiteY460" fmla="*/ 323194 h 1541722"/>
                    <a:gd name="connsiteX461" fmla="*/ 2782224 w 4457589"/>
                    <a:gd name="connsiteY461" fmla="*/ 325315 h 1541722"/>
                    <a:gd name="connsiteX462" fmla="*/ 2778739 w 4457589"/>
                    <a:gd name="connsiteY462" fmla="*/ 326830 h 1541722"/>
                    <a:gd name="connsiteX463" fmla="*/ 2763587 w 4457589"/>
                    <a:gd name="connsiteY463" fmla="*/ 309708 h 1541722"/>
                    <a:gd name="connsiteX464" fmla="*/ 2754496 w 4457589"/>
                    <a:gd name="connsiteY464" fmla="*/ 301375 h 1541722"/>
                    <a:gd name="connsiteX465" fmla="*/ 2749496 w 4457589"/>
                    <a:gd name="connsiteY465" fmla="*/ 298496 h 1541722"/>
                    <a:gd name="connsiteX466" fmla="*/ 2746314 w 4457589"/>
                    <a:gd name="connsiteY466" fmla="*/ 293041 h 1541722"/>
                    <a:gd name="connsiteX467" fmla="*/ 2748435 w 4457589"/>
                    <a:gd name="connsiteY467" fmla="*/ 291980 h 1541722"/>
                    <a:gd name="connsiteX468" fmla="*/ 2759193 w 4457589"/>
                    <a:gd name="connsiteY468" fmla="*/ 298344 h 1541722"/>
                    <a:gd name="connsiteX469" fmla="*/ 2766769 w 4457589"/>
                    <a:gd name="connsiteY469" fmla="*/ 301678 h 1541722"/>
                    <a:gd name="connsiteX470" fmla="*/ 2779346 w 4457589"/>
                    <a:gd name="connsiteY470" fmla="*/ 310163 h 1541722"/>
                    <a:gd name="connsiteX471" fmla="*/ 2788891 w 4457589"/>
                    <a:gd name="connsiteY471" fmla="*/ 309557 h 1541722"/>
                    <a:gd name="connsiteX472" fmla="*/ 2792377 w 4457589"/>
                    <a:gd name="connsiteY472" fmla="*/ 305769 h 1541722"/>
                    <a:gd name="connsiteX473" fmla="*/ 2792377 w 4457589"/>
                    <a:gd name="connsiteY473" fmla="*/ 298041 h 1541722"/>
                    <a:gd name="connsiteX474" fmla="*/ 2788891 w 4457589"/>
                    <a:gd name="connsiteY474" fmla="*/ 291677 h 1541722"/>
                    <a:gd name="connsiteX475" fmla="*/ 2784345 w 4457589"/>
                    <a:gd name="connsiteY475" fmla="*/ 289253 h 1541722"/>
                    <a:gd name="connsiteX476" fmla="*/ 2768891 w 4457589"/>
                    <a:gd name="connsiteY476" fmla="*/ 288798 h 1541722"/>
                    <a:gd name="connsiteX477" fmla="*/ 2765254 w 4457589"/>
                    <a:gd name="connsiteY477" fmla="*/ 286677 h 1541722"/>
                    <a:gd name="connsiteX478" fmla="*/ 2767679 w 4457589"/>
                    <a:gd name="connsiteY478" fmla="*/ 286071 h 1541722"/>
                    <a:gd name="connsiteX479" fmla="*/ 2771163 w 4457589"/>
                    <a:gd name="connsiteY479" fmla="*/ 285920 h 1541722"/>
                    <a:gd name="connsiteX480" fmla="*/ 2776164 w 4457589"/>
                    <a:gd name="connsiteY480" fmla="*/ 284101 h 1541722"/>
                    <a:gd name="connsiteX481" fmla="*/ 2784345 w 4457589"/>
                    <a:gd name="connsiteY481" fmla="*/ 279404 h 1541722"/>
                    <a:gd name="connsiteX482" fmla="*/ 2787982 w 4457589"/>
                    <a:gd name="connsiteY482" fmla="*/ 277889 h 1541722"/>
                    <a:gd name="connsiteX483" fmla="*/ 2787376 w 4457589"/>
                    <a:gd name="connsiteY483" fmla="*/ 274252 h 1541722"/>
                    <a:gd name="connsiteX484" fmla="*/ 2781618 w 4457589"/>
                    <a:gd name="connsiteY484" fmla="*/ 269101 h 1541722"/>
                    <a:gd name="connsiteX485" fmla="*/ 2772224 w 4457589"/>
                    <a:gd name="connsiteY485" fmla="*/ 268495 h 1541722"/>
                    <a:gd name="connsiteX486" fmla="*/ 2770254 w 4457589"/>
                    <a:gd name="connsiteY486" fmla="*/ 268040 h 1541722"/>
                    <a:gd name="connsiteX487" fmla="*/ 2773890 w 4457589"/>
                    <a:gd name="connsiteY487" fmla="*/ 265464 h 1541722"/>
                    <a:gd name="connsiteX488" fmla="*/ 2777224 w 4457589"/>
                    <a:gd name="connsiteY488" fmla="*/ 263949 h 1541722"/>
                    <a:gd name="connsiteX489" fmla="*/ 2782679 w 4457589"/>
                    <a:gd name="connsiteY489" fmla="*/ 260161 h 1541722"/>
                    <a:gd name="connsiteX490" fmla="*/ 2783891 w 4457589"/>
                    <a:gd name="connsiteY490" fmla="*/ 256525 h 1541722"/>
                    <a:gd name="connsiteX491" fmla="*/ 2782831 w 4457589"/>
                    <a:gd name="connsiteY491" fmla="*/ 256828 h 1541722"/>
                    <a:gd name="connsiteX492" fmla="*/ 2778739 w 4457589"/>
                    <a:gd name="connsiteY492" fmla="*/ 256676 h 1541722"/>
                    <a:gd name="connsiteX493" fmla="*/ 2777679 w 4457589"/>
                    <a:gd name="connsiteY493" fmla="*/ 255161 h 1541722"/>
                    <a:gd name="connsiteX494" fmla="*/ 2778134 w 4457589"/>
                    <a:gd name="connsiteY494" fmla="*/ 252433 h 1541722"/>
                    <a:gd name="connsiteX495" fmla="*/ 2773739 w 4457589"/>
                    <a:gd name="connsiteY495" fmla="*/ 250161 h 1541722"/>
                    <a:gd name="connsiteX496" fmla="*/ 2769800 w 4457589"/>
                    <a:gd name="connsiteY496" fmla="*/ 248645 h 1541722"/>
                    <a:gd name="connsiteX497" fmla="*/ 2760860 w 4457589"/>
                    <a:gd name="connsiteY497" fmla="*/ 248494 h 1541722"/>
                    <a:gd name="connsiteX498" fmla="*/ 2761012 w 4457589"/>
                    <a:gd name="connsiteY498" fmla="*/ 246676 h 1541722"/>
                    <a:gd name="connsiteX499" fmla="*/ 2761466 w 4457589"/>
                    <a:gd name="connsiteY499" fmla="*/ 245160 h 1541722"/>
                    <a:gd name="connsiteX500" fmla="*/ 2757678 w 4457589"/>
                    <a:gd name="connsiteY500" fmla="*/ 243948 h 1541722"/>
                    <a:gd name="connsiteX501" fmla="*/ 2754496 w 4457589"/>
                    <a:gd name="connsiteY501" fmla="*/ 241979 h 1541722"/>
                    <a:gd name="connsiteX502" fmla="*/ 2753739 w 4457589"/>
                    <a:gd name="connsiteY502" fmla="*/ 240009 h 1541722"/>
                    <a:gd name="connsiteX503" fmla="*/ 2752526 w 4457589"/>
                    <a:gd name="connsiteY503" fmla="*/ 239100 h 1541722"/>
                    <a:gd name="connsiteX504" fmla="*/ 2746769 w 4457589"/>
                    <a:gd name="connsiteY504" fmla="*/ 237130 h 1541722"/>
                    <a:gd name="connsiteX505" fmla="*/ 2727374 w 4457589"/>
                    <a:gd name="connsiteY505" fmla="*/ 233645 h 1541722"/>
                    <a:gd name="connsiteX506" fmla="*/ 2725253 w 4457589"/>
                    <a:gd name="connsiteY506" fmla="*/ 234706 h 1541722"/>
                    <a:gd name="connsiteX507" fmla="*/ 2722071 w 4457589"/>
                    <a:gd name="connsiteY507" fmla="*/ 239554 h 1541722"/>
                    <a:gd name="connsiteX508" fmla="*/ 2714191 w 4457589"/>
                    <a:gd name="connsiteY508" fmla="*/ 244857 h 1541722"/>
                    <a:gd name="connsiteX509" fmla="*/ 2708283 w 4457589"/>
                    <a:gd name="connsiteY509" fmla="*/ 241979 h 1541722"/>
                    <a:gd name="connsiteX510" fmla="*/ 2707070 w 4457589"/>
                    <a:gd name="connsiteY510" fmla="*/ 241675 h 1541722"/>
                    <a:gd name="connsiteX511" fmla="*/ 2706161 w 4457589"/>
                    <a:gd name="connsiteY511" fmla="*/ 240463 h 1541722"/>
                    <a:gd name="connsiteX512" fmla="*/ 2707524 w 4457589"/>
                    <a:gd name="connsiteY512" fmla="*/ 238039 h 1541722"/>
                    <a:gd name="connsiteX513" fmla="*/ 2708585 w 4457589"/>
                    <a:gd name="connsiteY513" fmla="*/ 235766 h 1541722"/>
                    <a:gd name="connsiteX514" fmla="*/ 2707222 w 4457589"/>
                    <a:gd name="connsiteY514" fmla="*/ 234251 h 1541722"/>
                    <a:gd name="connsiteX515" fmla="*/ 2706009 w 4457589"/>
                    <a:gd name="connsiteY515" fmla="*/ 233645 h 1541722"/>
                    <a:gd name="connsiteX516" fmla="*/ 2702070 w 4457589"/>
                    <a:gd name="connsiteY516" fmla="*/ 235160 h 1541722"/>
                    <a:gd name="connsiteX517" fmla="*/ 2696010 w 4457589"/>
                    <a:gd name="connsiteY517" fmla="*/ 236221 h 1541722"/>
                    <a:gd name="connsiteX518" fmla="*/ 2693433 w 4457589"/>
                    <a:gd name="connsiteY518" fmla="*/ 237887 h 1541722"/>
                    <a:gd name="connsiteX519" fmla="*/ 2688130 w 4457589"/>
                    <a:gd name="connsiteY519" fmla="*/ 238948 h 1541722"/>
                    <a:gd name="connsiteX520" fmla="*/ 2688584 w 4457589"/>
                    <a:gd name="connsiteY520" fmla="*/ 235009 h 1541722"/>
                    <a:gd name="connsiteX521" fmla="*/ 2666159 w 4457589"/>
                    <a:gd name="connsiteY521" fmla="*/ 224857 h 1541722"/>
                    <a:gd name="connsiteX522" fmla="*/ 2659189 w 4457589"/>
                    <a:gd name="connsiteY522" fmla="*/ 222735 h 1541722"/>
                    <a:gd name="connsiteX523" fmla="*/ 2654947 w 4457589"/>
                    <a:gd name="connsiteY523" fmla="*/ 222584 h 1541722"/>
                    <a:gd name="connsiteX524" fmla="*/ 2644946 w 4457589"/>
                    <a:gd name="connsiteY524" fmla="*/ 224857 h 1541722"/>
                    <a:gd name="connsiteX525" fmla="*/ 2642522 w 4457589"/>
                    <a:gd name="connsiteY525" fmla="*/ 226069 h 1541722"/>
                    <a:gd name="connsiteX526" fmla="*/ 2638734 w 4457589"/>
                    <a:gd name="connsiteY526" fmla="*/ 229402 h 1541722"/>
                    <a:gd name="connsiteX527" fmla="*/ 2630401 w 4457589"/>
                    <a:gd name="connsiteY527" fmla="*/ 227281 h 1541722"/>
                    <a:gd name="connsiteX528" fmla="*/ 2628431 w 4457589"/>
                    <a:gd name="connsiteY528" fmla="*/ 228948 h 1541722"/>
                    <a:gd name="connsiteX529" fmla="*/ 2625400 w 4457589"/>
                    <a:gd name="connsiteY529" fmla="*/ 234402 h 1541722"/>
                    <a:gd name="connsiteX530" fmla="*/ 2625855 w 4457589"/>
                    <a:gd name="connsiteY530" fmla="*/ 239857 h 1541722"/>
                    <a:gd name="connsiteX531" fmla="*/ 2626764 w 4457589"/>
                    <a:gd name="connsiteY531" fmla="*/ 241372 h 1541722"/>
                    <a:gd name="connsiteX532" fmla="*/ 2627522 w 4457589"/>
                    <a:gd name="connsiteY532" fmla="*/ 244251 h 1541722"/>
                    <a:gd name="connsiteX533" fmla="*/ 2630703 w 4457589"/>
                    <a:gd name="connsiteY533" fmla="*/ 248797 h 1541722"/>
                    <a:gd name="connsiteX534" fmla="*/ 2634037 w 4457589"/>
                    <a:gd name="connsiteY534" fmla="*/ 252282 h 1541722"/>
                    <a:gd name="connsiteX535" fmla="*/ 2632673 w 4457589"/>
                    <a:gd name="connsiteY535" fmla="*/ 253191 h 1541722"/>
                    <a:gd name="connsiteX536" fmla="*/ 2631310 w 4457589"/>
                    <a:gd name="connsiteY536" fmla="*/ 253343 h 1541722"/>
                    <a:gd name="connsiteX537" fmla="*/ 2629643 w 4457589"/>
                    <a:gd name="connsiteY537" fmla="*/ 254858 h 1541722"/>
                    <a:gd name="connsiteX538" fmla="*/ 2628128 w 4457589"/>
                    <a:gd name="connsiteY538" fmla="*/ 258040 h 1541722"/>
                    <a:gd name="connsiteX539" fmla="*/ 2625249 w 4457589"/>
                    <a:gd name="connsiteY539" fmla="*/ 262434 h 1541722"/>
                    <a:gd name="connsiteX540" fmla="*/ 2621461 w 4457589"/>
                    <a:gd name="connsiteY540" fmla="*/ 264858 h 1541722"/>
                    <a:gd name="connsiteX541" fmla="*/ 2616915 w 4457589"/>
                    <a:gd name="connsiteY541" fmla="*/ 264404 h 1541722"/>
                    <a:gd name="connsiteX542" fmla="*/ 2606460 w 4457589"/>
                    <a:gd name="connsiteY542" fmla="*/ 261070 h 1541722"/>
                    <a:gd name="connsiteX543" fmla="*/ 2604036 w 4457589"/>
                    <a:gd name="connsiteY543" fmla="*/ 261676 h 1541722"/>
                    <a:gd name="connsiteX544" fmla="*/ 2603430 w 4457589"/>
                    <a:gd name="connsiteY544" fmla="*/ 263949 h 1541722"/>
                    <a:gd name="connsiteX545" fmla="*/ 2609642 w 4457589"/>
                    <a:gd name="connsiteY545" fmla="*/ 266070 h 1541722"/>
                    <a:gd name="connsiteX546" fmla="*/ 2610248 w 4457589"/>
                    <a:gd name="connsiteY546" fmla="*/ 267434 h 1541722"/>
                    <a:gd name="connsiteX547" fmla="*/ 2608582 w 4457589"/>
                    <a:gd name="connsiteY547" fmla="*/ 268192 h 1541722"/>
                    <a:gd name="connsiteX548" fmla="*/ 2604339 w 4457589"/>
                    <a:gd name="connsiteY548" fmla="*/ 268949 h 1541722"/>
                    <a:gd name="connsiteX549" fmla="*/ 2596763 w 4457589"/>
                    <a:gd name="connsiteY549" fmla="*/ 268798 h 1541722"/>
                    <a:gd name="connsiteX550" fmla="*/ 2590399 w 4457589"/>
                    <a:gd name="connsiteY550" fmla="*/ 267889 h 1541722"/>
                    <a:gd name="connsiteX551" fmla="*/ 2586459 w 4457589"/>
                    <a:gd name="connsiteY551" fmla="*/ 264555 h 1541722"/>
                    <a:gd name="connsiteX552" fmla="*/ 2582671 w 4457589"/>
                    <a:gd name="connsiteY552" fmla="*/ 264101 h 1541722"/>
                    <a:gd name="connsiteX553" fmla="*/ 2571914 w 4457589"/>
                    <a:gd name="connsiteY553" fmla="*/ 263949 h 1541722"/>
                    <a:gd name="connsiteX554" fmla="*/ 2562216 w 4457589"/>
                    <a:gd name="connsiteY554" fmla="*/ 265767 h 1541722"/>
                    <a:gd name="connsiteX555" fmla="*/ 2551306 w 4457589"/>
                    <a:gd name="connsiteY555" fmla="*/ 263494 h 1541722"/>
                    <a:gd name="connsiteX556" fmla="*/ 2532821 w 4457589"/>
                    <a:gd name="connsiteY556" fmla="*/ 263949 h 1541722"/>
                    <a:gd name="connsiteX557" fmla="*/ 2528124 w 4457589"/>
                    <a:gd name="connsiteY557" fmla="*/ 263646 h 1541722"/>
                    <a:gd name="connsiteX558" fmla="*/ 2519184 w 4457589"/>
                    <a:gd name="connsiteY558" fmla="*/ 259100 h 1541722"/>
                    <a:gd name="connsiteX559" fmla="*/ 2506457 w 4457589"/>
                    <a:gd name="connsiteY559" fmla="*/ 256373 h 1541722"/>
                    <a:gd name="connsiteX560" fmla="*/ 2491911 w 4457589"/>
                    <a:gd name="connsiteY560" fmla="*/ 249555 h 1541722"/>
                    <a:gd name="connsiteX561" fmla="*/ 2490546 w 4457589"/>
                    <a:gd name="connsiteY561" fmla="*/ 243191 h 1541722"/>
                    <a:gd name="connsiteX562" fmla="*/ 2492668 w 4457589"/>
                    <a:gd name="connsiteY562" fmla="*/ 238039 h 1541722"/>
                    <a:gd name="connsiteX563" fmla="*/ 2500851 w 4457589"/>
                    <a:gd name="connsiteY563" fmla="*/ 238039 h 1541722"/>
                    <a:gd name="connsiteX564" fmla="*/ 2505850 w 4457589"/>
                    <a:gd name="connsiteY564" fmla="*/ 237130 h 1541722"/>
                    <a:gd name="connsiteX565" fmla="*/ 2505093 w 4457589"/>
                    <a:gd name="connsiteY565" fmla="*/ 235160 h 1541722"/>
                    <a:gd name="connsiteX566" fmla="*/ 2504032 w 4457589"/>
                    <a:gd name="connsiteY566" fmla="*/ 234099 h 1541722"/>
                    <a:gd name="connsiteX567" fmla="*/ 2492516 w 4457589"/>
                    <a:gd name="connsiteY567" fmla="*/ 231372 h 1541722"/>
                    <a:gd name="connsiteX568" fmla="*/ 2461303 w 4457589"/>
                    <a:gd name="connsiteY568" fmla="*/ 230918 h 1541722"/>
                    <a:gd name="connsiteX569" fmla="*/ 2439030 w 4457589"/>
                    <a:gd name="connsiteY569" fmla="*/ 226826 h 1541722"/>
                    <a:gd name="connsiteX570" fmla="*/ 2407362 w 4457589"/>
                    <a:gd name="connsiteY570" fmla="*/ 225311 h 1541722"/>
                    <a:gd name="connsiteX571" fmla="*/ 2393119 w 4457589"/>
                    <a:gd name="connsiteY571" fmla="*/ 230463 h 1541722"/>
                    <a:gd name="connsiteX572" fmla="*/ 2372361 w 4457589"/>
                    <a:gd name="connsiteY572" fmla="*/ 231675 h 1541722"/>
                    <a:gd name="connsiteX573" fmla="*/ 2366906 w 4457589"/>
                    <a:gd name="connsiteY573" fmla="*/ 234402 h 1541722"/>
                    <a:gd name="connsiteX574" fmla="*/ 2357360 w 4457589"/>
                    <a:gd name="connsiteY574" fmla="*/ 235918 h 1541722"/>
                    <a:gd name="connsiteX575" fmla="*/ 2358118 w 4457589"/>
                    <a:gd name="connsiteY575" fmla="*/ 239706 h 1541722"/>
                    <a:gd name="connsiteX576" fmla="*/ 2362815 w 4457589"/>
                    <a:gd name="connsiteY576" fmla="*/ 242585 h 1541722"/>
                    <a:gd name="connsiteX577" fmla="*/ 2365088 w 4457589"/>
                    <a:gd name="connsiteY577" fmla="*/ 243191 h 1541722"/>
                    <a:gd name="connsiteX578" fmla="*/ 2367663 w 4457589"/>
                    <a:gd name="connsiteY578" fmla="*/ 244251 h 1541722"/>
                    <a:gd name="connsiteX579" fmla="*/ 2366149 w 4457589"/>
                    <a:gd name="connsiteY579" fmla="*/ 245312 h 1541722"/>
                    <a:gd name="connsiteX580" fmla="*/ 2364330 w 4457589"/>
                    <a:gd name="connsiteY580" fmla="*/ 245767 h 1541722"/>
                    <a:gd name="connsiteX581" fmla="*/ 2360845 w 4457589"/>
                    <a:gd name="connsiteY581" fmla="*/ 248039 h 1541722"/>
                    <a:gd name="connsiteX582" fmla="*/ 2358724 w 4457589"/>
                    <a:gd name="connsiteY582" fmla="*/ 250312 h 1541722"/>
                    <a:gd name="connsiteX583" fmla="*/ 2359330 w 4457589"/>
                    <a:gd name="connsiteY583" fmla="*/ 255009 h 1541722"/>
                    <a:gd name="connsiteX584" fmla="*/ 2358269 w 4457589"/>
                    <a:gd name="connsiteY584" fmla="*/ 259706 h 1541722"/>
                    <a:gd name="connsiteX585" fmla="*/ 2354784 w 4457589"/>
                    <a:gd name="connsiteY585" fmla="*/ 266070 h 1541722"/>
                    <a:gd name="connsiteX586" fmla="*/ 2351906 w 4457589"/>
                    <a:gd name="connsiteY586" fmla="*/ 268798 h 1541722"/>
                    <a:gd name="connsiteX587" fmla="*/ 2349329 w 4457589"/>
                    <a:gd name="connsiteY587" fmla="*/ 272586 h 1541722"/>
                    <a:gd name="connsiteX588" fmla="*/ 2351602 w 4457589"/>
                    <a:gd name="connsiteY588" fmla="*/ 276071 h 1541722"/>
                    <a:gd name="connsiteX589" fmla="*/ 2354027 w 4457589"/>
                    <a:gd name="connsiteY589" fmla="*/ 277586 h 1541722"/>
                    <a:gd name="connsiteX590" fmla="*/ 2360694 w 4457589"/>
                    <a:gd name="connsiteY590" fmla="*/ 279404 h 1541722"/>
                    <a:gd name="connsiteX591" fmla="*/ 2362815 w 4457589"/>
                    <a:gd name="connsiteY591" fmla="*/ 280465 h 1541722"/>
                    <a:gd name="connsiteX592" fmla="*/ 2361603 w 4457589"/>
                    <a:gd name="connsiteY592" fmla="*/ 281525 h 1541722"/>
                    <a:gd name="connsiteX593" fmla="*/ 2351906 w 4457589"/>
                    <a:gd name="connsiteY593" fmla="*/ 280313 h 1541722"/>
                    <a:gd name="connsiteX594" fmla="*/ 2348420 w 4457589"/>
                    <a:gd name="connsiteY594" fmla="*/ 276525 h 1541722"/>
                    <a:gd name="connsiteX595" fmla="*/ 2347663 w 4457589"/>
                    <a:gd name="connsiteY595" fmla="*/ 274555 h 1541722"/>
                    <a:gd name="connsiteX596" fmla="*/ 2346905 w 4457589"/>
                    <a:gd name="connsiteY596" fmla="*/ 271374 h 1541722"/>
                    <a:gd name="connsiteX597" fmla="*/ 2350087 w 4457589"/>
                    <a:gd name="connsiteY597" fmla="*/ 267889 h 1541722"/>
                    <a:gd name="connsiteX598" fmla="*/ 2353572 w 4457589"/>
                    <a:gd name="connsiteY598" fmla="*/ 265464 h 1541722"/>
                    <a:gd name="connsiteX599" fmla="*/ 2356451 w 4457589"/>
                    <a:gd name="connsiteY599" fmla="*/ 260010 h 1541722"/>
                    <a:gd name="connsiteX600" fmla="*/ 2356754 w 4457589"/>
                    <a:gd name="connsiteY600" fmla="*/ 254858 h 1541722"/>
                    <a:gd name="connsiteX601" fmla="*/ 2356754 w 4457589"/>
                    <a:gd name="connsiteY601" fmla="*/ 244251 h 1541722"/>
                    <a:gd name="connsiteX602" fmla="*/ 2350996 w 4457589"/>
                    <a:gd name="connsiteY602" fmla="*/ 241827 h 1541722"/>
                    <a:gd name="connsiteX603" fmla="*/ 2347663 w 4457589"/>
                    <a:gd name="connsiteY603" fmla="*/ 238342 h 1541722"/>
                    <a:gd name="connsiteX604" fmla="*/ 2353421 w 4457589"/>
                    <a:gd name="connsiteY604" fmla="*/ 231827 h 1541722"/>
                    <a:gd name="connsiteX605" fmla="*/ 2354784 w 4457589"/>
                    <a:gd name="connsiteY605" fmla="*/ 228342 h 1541722"/>
                    <a:gd name="connsiteX606" fmla="*/ 2352360 w 4457589"/>
                    <a:gd name="connsiteY606" fmla="*/ 225160 h 1541722"/>
                    <a:gd name="connsiteX607" fmla="*/ 2348420 w 4457589"/>
                    <a:gd name="connsiteY607" fmla="*/ 218190 h 1541722"/>
                    <a:gd name="connsiteX608" fmla="*/ 2344329 w 4457589"/>
                    <a:gd name="connsiteY608" fmla="*/ 214099 h 1541722"/>
                    <a:gd name="connsiteX609" fmla="*/ 2341602 w 4457589"/>
                    <a:gd name="connsiteY609" fmla="*/ 212432 h 1541722"/>
                    <a:gd name="connsiteX610" fmla="*/ 2338874 w 4457589"/>
                    <a:gd name="connsiteY610" fmla="*/ 211523 h 1541722"/>
                    <a:gd name="connsiteX611" fmla="*/ 2341753 w 4457589"/>
                    <a:gd name="connsiteY611" fmla="*/ 218341 h 1541722"/>
                    <a:gd name="connsiteX612" fmla="*/ 2339481 w 4457589"/>
                    <a:gd name="connsiteY612" fmla="*/ 221675 h 1541722"/>
                    <a:gd name="connsiteX613" fmla="*/ 2337814 w 4457589"/>
                    <a:gd name="connsiteY613" fmla="*/ 223038 h 1541722"/>
                    <a:gd name="connsiteX614" fmla="*/ 2326905 w 4457589"/>
                    <a:gd name="connsiteY614" fmla="*/ 224857 h 1541722"/>
                    <a:gd name="connsiteX615" fmla="*/ 2320086 w 4457589"/>
                    <a:gd name="connsiteY615" fmla="*/ 225008 h 1541722"/>
                    <a:gd name="connsiteX616" fmla="*/ 2310692 w 4457589"/>
                    <a:gd name="connsiteY616" fmla="*/ 223038 h 1541722"/>
                    <a:gd name="connsiteX617" fmla="*/ 2299631 w 4457589"/>
                    <a:gd name="connsiteY617" fmla="*/ 218644 h 1541722"/>
                    <a:gd name="connsiteX618" fmla="*/ 2296903 w 4457589"/>
                    <a:gd name="connsiteY618" fmla="*/ 215614 h 1541722"/>
                    <a:gd name="connsiteX619" fmla="*/ 2294934 w 4457589"/>
                    <a:gd name="connsiteY619" fmla="*/ 211220 h 1541722"/>
                    <a:gd name="connsiteX620" fmla="*/ 2301298 w 4457589"/>
                    <a:gd name="connsiteY620" fmla="*/ 209250 h 1541722"/>
                    <a:gd name="connsiteX621" fmla="*/ 2303722 w 4457589"/>
                    <a:gd name="connsiteY621" fmla="*/ 208038 h 1541722"/>
                    <a:gd name="connsiteX622" fmla="*/ 2297964 w 4457589"/>
                    <a:gd name="connsiteY622" fmla="*/ 206977 h 1541722"/>
                    <a:gd name="connsiteX623" fmla="*/ 2292206 w 4457589"/>
                    <a:gd name="connsiteY623" fmla="*/ 206674 h 1541722"/>
                    <a:gd name="connsiteX624" fmla="*/ 2290236 w 4457589"/>
                    <a:gd name="connsiteY624" fmla="*/ 212735 h 1541722"/>
                    <a:gd name="connsiteX625" fmla="*/ 2286448 w 4457589"/>
                    <a:gd name="connsiteY625" fmla="*/ 212280 h 1541722"/>
                    <a:gd name="connsiteX626" fmla="*/ 2268417 w 4457589"/>
                    <a:gd name="connsiteY626" fmla="*/ 208492 h 1541722"/>
                    <a:gd name="connsiteX627" fmla="*/ 2263569 w 4457589"/>
                    <a:gd name="connsiteY627" fmla="*/ 209856 h 1541722"/>
                    <a:gd name="connsiteX628" fmla="*/ 2257660 w 4457589"/>
                    <a:gd name="connsiteY628" fmla="*/ 213190 h 1541722"/>
                    <a:gd name="connsiteX629" fmla="*/ 2255084 w 4457589"/>
                    <a:gd name="connsiteY629" fmla="*/ 215917 h 1541722"/>
                    <a:gd name="connsiteX630" fmla="*/ 2252205 w 4457589"/>
                    <a:gd name="connsiteY630" fmla="*/ 220160 h 1541722"/>
                    <a:gd name="connsiteX631" fmla="*/ 2253265 w 4457589"/>
                    <a:gd name="connsiteY631" fmla="*/ 223190 h 1541722"/>
                    <a:gd name="connsiteX632" fmla="*/ 2254478 w 4457589"/>
                    <a:gd name="connsiteY632" fmla="*/ 224251 h 1541722"/>
                    <a:gd name="connsiteX633" fmla="*/ 2263872 w 4457589"/>
                    <a:gd name="connsiteY633" fmla="*/ 225008 h 1541722"/>
                    <a:gd name="connsiteX634" fmla="*/ 2271903 w 4457589"/>
                    <a:gd name="connsiteY634" fmla="*/ 224099 h 1541722"/>
                    <a:gd name="connsiteX635" fmla="*/ 2281145 w 4457589"/>
                    <a:gd name="connsiteY635" fmla="*/ 221220 h 1541722"/>
                    <a:gd name="connsiteX636" fmla="*/ 2283115 w 4457589"/>
                    <a:gd name="connsiteY636" fmla="*/ 222281 h 1541722"/>
                    <a:gd name="connsiteX637" fmla="*/ 2285085 w 4457589"/>
                    <a:gd name="connsiteY637" fmla="*/ 223948 h 1541722"/>
                    <a:gd name="connsiteX638" fmla="*/ 2282509 w 4457589"/>
                    <a:gd name="connsiteY638" fmla="*/ 226069 h 1541722"/>
                    <a:gd name="connsiteX639" fmla="*/ 2273115 w 4457589"/>
                    <a:gd name="connsiteY639" fmla="*/ 229251 h 1541722"/>
                    <a:gd name="connsiteX640" fmla="*/ 2257356 w 4457589"/>
                    <a:gd name="connsiteY640" fmla="*/ 237584 h 1541722"/>
                    <a:gd name="connsiteX641" fmla="*/ 2251447 w 4457589"/>
                    <a:gd name="connsiteY641" fmla="*/ 238645 h 1541722"/>
                    <a:gd name="connsiteX642" fmla="*/ 2242962 w 4457589"/>
                    <a:gd name="connsiteY642" fmla="*/ 236827 h 1541722"/>
                    <a:gd name="connsiteX643" fmla="*/ 2238416 w 4457589"/>
                    <a:gd name="connsiteY643" fmla="*/ 241524 h 1541722"/>
                    <a:gd name="connsiteX644" fmla="*/ 2236447 w 4457589"/>
                    <a:gd name="connsiteY644" fmla="*/ 242585 h 1541722"/>
                    <a:gd name="connsiteX645" fmla="*/ 2222355 w 4457589"/>
                    <a:gd name="connsiteY645" fmla="*/ 245767 h 1541722"/>
                    <a:gd name="connsiteX646" fmla="*/ 2216143 w 4457589"/>
                    <a:gd name="connsiteY646" fmla="*/ 246221 h 1541722"/>
                    <a:gd name="connsiteX647" fmla="*/ 2214324 w 4457589"/>
                    <a:gd name="connsiteY647" fmla="*/ 248494 h 1541722"/>
                    <a:gd name="connsiteX648" fmla="*/ 2210688 w 4457589"/>
                    <a:gd name="connsiteY648" fmla="*/ 248949 h 1541722"/>
                    <a:gd name="connsiteX649" fmla="*/ 2206597 w 4457589"/>
                    <a:gd name="connsiteY649" fmla="*/ 250161 h 1541722"/>
                    <a:gd name="connsiteX650" fmla="*/ 2199779 w 4457589"/>
                    <a:gd name="connsiteY650" fmla="*/ 253343 h 1541722"/>
                    <a:gd name="connsiteX651" fmla="*/ 2189324 w 4457589"/>
                    <a:gd name="connsiteY651" fmla="*/ 253949 h 1541722"/>
                    <a:gd name="connsiteX652" fmla="*/ 2182202 w 4457589"/>
                    <a:gd name="connsiteY652" fmla="*/ 253191 h 1541722"/>
                    <a:gd name="connsiteX653" fmla="*/ 2164929 w 4457589"/>
                    <a:gd name="connsiteY653" fmla="*/ 255161 h 1541722"/>
                    <a:gd name="connsiteX654" fmla="*/ 2160535 w 4457589"/>
                    <a:gd name="connsiteY654" fmla="*/ 256979 h 1541722"/>
                    <a:gd name="connsiteX655" fmla="*/ 2157656 w 4457589"/>
                    <a:gd name="connsiteY655" fmla="*/ 259252 h 1541722"/>
                    <a:gd name="connsiteX656" fmla="*/ 2156292 w 4457589"/>
                    <a:gd name="connsiteY656" fmla="*/ 262434 h 1541722"/>
                    <a:gd name="connsiteX657" fmla="*/ 2153716 w 4457589"/>
                    <a:gd name="connsiteY657" fmla="*/ 265161 h 1541722"/>
                    <a:gd name="connsiteX658" fmla="*/ 2143867 w 4457589"/>
                    <a:gd name="connsiteY658" fmla="*/ 271071 h 1541722"/>
                    <a:gd name="connsiteX659" fmla="*/ 2135534 w 4457589"/>
                    <a:gd name="connsiteY659" fmla="*/ 273495 h 1541722"/>
                    <a:gd name="connsiteX660" fmla="*/ 2128412 w 4457589"/>
                    <a:gd name="connsiteY660" fmla="*/ 274101 h 1541722"/>
                    <a:gd name="connsiteX661" fmla="*/ 2135231 w 4457589"/>
                    <a:gd name="connsiteY661" fmla="*/ 270767 h 1541722"/>
                    <a:gd name="connsiteX662" fmla="*/ 2143110 w 4457589"/>
                    <a:gd name="connsiteY662" fmla="*/ 264555 h 1541722"/>
                    <a:gd name="connsiteX663" fmla="*/ 2157050 w 4457589"/>
                    <a:gd name="connsiteY663" fmla="*/ 246221 h 1541722"/>
                    <a:gd name="connsiteX664" fmla="*/ 2170383 w 4457589"/>
                    <a:gd name="connsiteY664" fmla="*/ 245160 h 1541722"/>
                    <a:gd name="connsiteX665" fmla="*/ 2173565 w 4457589"/>
                    <a:gd name="connsiteY665" fmla="*/ 242736 h 1541722"/>
                    <a:gd name="connsiteX666" fmla="*/ 2183869 w 4457589"/>
                    <a:gd name="connsiteY666" fmla="*/ 231372 h 1541722"/>
                    <a:gd name="connsiteX667" fmla="*/ 2186596 w 4457589"/>
                    <a:gd name="connsiteY667" fmla="*/ 229705 h 1541722"/>
                    <a:gd name="connsiteX668" fmla="*/ 2200233 w 4457589"/>
                    <a:gd name="connsiteY668" fmla="*/ 229554 h 1541722"/>
                    <a:gd name="connsiteX669" fmla="*/ 2212052 w 4457589"/>
                    <a:gd name="connsiteY669" fmla="*/ 225766 h 1541722"/>
                    <a:gd name="connsiteX670" fmla="*/ 2235992 w 4457589"/>
                    <a:gd name="connsiteY670" fmla="*/ 207735 h 1541722"/>
                    <a:gd name="connsiteX671" fmla="*/ 2247962 w 4457589"/>
                    <a:gd name="connsiteY671" fmla="*/ 204704 h 1541722"/>
                    <a:gd name="connsiteX672" fmla="*/ 2256144 w 4457589"/>
                    <a:gd name="connsiteY672" fmla="*/ 200462 h 1541722"/>
                    <a:gd name="connsiteX673" fmla="*/ 2257660 w 4457589"/>
                    <a:gd name="connsiteY673" fmla="*/ 198341 h 1541722"/>
                    <a:gd name="connsiteX674" fmla="*/ 2258872 w 4457589"/>
                    <a:gd name="connsiteY674" fmla="*/ 195462 h 1541722"/>
                    <a:gd name="connsiteX675" fmla="*/ 2257660 w 4457589"/>
                    <a:gd name="connsiteY675" fmla="*/ 193795 h 1541722"/>
                    <a:gd name="connsiteX676" fmla="*/ 2256902 w 4457589"/>
                    <a:gd name="connsiteY676" fmla="*/ 192128 h 1541722"/>
                    <a:gd name="connsiteX677" fmla="*/ 2267508 w 4457589"/>
                    <a:gd name="connsiteY677" fmla="*/ 189098 h 1541722"/>
                    <a:gd name="connsiteX678" fmla="*/ 2271599 w 4457589"/>
                    <a:gd name="connsiteY678" fmla="*/ 184401 h 1541722"/>
                    <a:gd name="connsiteX679" fmla="*/ 2285691 w 4457589"/>
                    <a:gd name="connsiteY679" fmla="*/ 179855 h 1541722"/>
                    <a:gd name="connsiteX680" fmla="*/ 2296903 w 4457589"/>
                    <a:gd name="connsiteY680" fmla="*/ 173946 h 1541722"/>
                    <a:gd name="connsiteX681" fmla="*/ 2312358 w 4457589"/>
                    <a:gd name="connsiteY681" fmla="*/ 169400 h 1541722"/>
                    <a:gd name="connsiteX682" fmla="*/ 2321298 w 4457589"/>
                    <a:gd name="connsiteY682" fmla="*/ 163339 h 1541722"/>
                    <a:gd name="connsiteX683" fmla="*/ 2341299 w 4457589"/>
                    <a:gd name="connsiteY683" fmla="*/ 154400 h 1541722"/>
                    <a:gd name="connsiteX684" fmla="*/ 2360239 w 4457589"/>
                    <a:gd name="connsiteY684" fmla="*/ 139096 h 1541722"/>
                    <a:gd name="connsiteX685" fmla="*/ 2363270 w 4457589"/>
                    <a:gd name="connsiteY685" fmla="*/ 130308 h 1541722"/>
                    <a:gd name="connsiteX686" fmla="*/ 2358724 w 4457589"/>
                    <a:gd name="connsiteY686" fmla="*/ 127429 h 1541722"/>
                    <a:gd name="connsiteX687" fmla="*/ 2353117 w 4457589"/>
                    <a:gd name="connsiteY687" fmla="*/ 125762 h 1541722"/>
                    <a:gd name="connsiteX688" fmla="*/ 2350087 w 4457589"/>
                    <a:gd name="connsiteY688" fmla="*/ 121368 h 1541722"/>
                    <a:gd name="connsiteX689" fmla="*/ 2347814 w 4457589"/>
                    <a:gd name="connsiteY689" fmla="*/ 120914 h 1541722"/>
                    <a:gd name="connsiteX690" fmla="*/ 2342208 w 4457589"/>
                    <a:gd name="connsiteY690" fmla="*/ 123641 h 1541722"/>
                    <a:gd name="connsiteX691" fmla="*/ 2335996 w 4457589"/>
                    <a:gd name="connsiteY691" fmla="*/ 114398 h 1541722"/>
                    <a:gd name="connsiteX692" fmla="*/ 2328420 w 4457589"/>
                    <a:gd name="connsiteY692" fmla="*/ 109246 h 1541722"/>
                    <a:gd name="connsiteX693" fmla="*/ 2328723 w 4457589"/>
                    <a:gd name="connsiteY693" fmla="*/ 108489 h 1541722"/>
                    <a:gd name="connsiteX694" fmla="*/ 2329632 w 4457589"/>
                    <a:gd name="connsiteY694" fmla="*/ 108034 h 1541722"/>
                    <a:gd name="connsiteX695" fmla="*/ 2333268 w 4457589"/>
                    <a:gd name="connsiteY695" fmla="*/ 108943 h 1541722"/>
                    <a:gd name="connsiteX696" fmla="*/ 2346905 w 4457589"/>
                    <a:gd name="connsiteY696" fmla="*/ 116519 h 1541722"/>
                    <a:gd name="connsiteX697" fmla="*/ 2354178 w 4457589"/>
                    <a:gd name="connsiteY697" fmla="*/ 117732 h 1541722"/>
                    <a:gd name="connsiteX698" fmla="*/ 2356299 w 4457589"/>
                    <a:gd name="connsiteY698" fmla="*/ 118944 h 1541722"/>
                    <a:gd name="connsiteX699" fmla="*/ 2357512 w 4457589"/>
                    <a:gd name="connsiteY699" fmla="*/ 120762 h 1541722"/>
                    <a:gd name="connsiteX700" fmla="*/ 2356754 w 4457589"/>
                    <a:gd name="connsiteY700" fmla="*/ 124095 h 1541722"/>
                    <a:gd name="connsiteX701" fmla="*/ 2358875 w 4457589"/>
                    <a:gd name="connsiteY701" fmla="*/ 123792 h 1541722"/>
                    <a:gd name="connsiteX702" fmla="*/ 2360391 w 4457589"/>
                    <a:gd name="connsiteY702" fmla="*/ 122429 h 1541722"/>
                    <a:gd name="connsiteX703" fmla="*/ 2363875 w 4457589"/>
                    <a:gd name="connsiteY703" fmla="*/ 116216 h 1541722"/>
                    <a:gd name="connsiteX704" fmla="*/ 2367209 w 4457589"/>
                    <a:gd name="connsiteY704" fmla="*/ 107731 h 1541722"/>
                    <a:gd name="connsiteX705" fmla="*/ 2366906 w 4457589"/>
                    <a:gd name="connsiteY705" fmla="*/ 104095 h 1541722"/>
                    <a:gd name="connsiteX706" fmla="*/ 2358875 w 4457589"/>
                    <a:gd name="connsiteY706" fmla="*/ 105761 h 1541722"/>
                    <a:gd name="connsiteX707" fmla="*/ 2355087 w 4457589"/>
                    <a:gd name="connsiteY707" fmla="*/ 93337 h 1541722"/>
                    <a:gd name="connsiteX708" fmla="*/ 2353421 w 4457589"/>
                    <a:gd name="connsiteY708" fmla="*/ 89549 h 1541722"/>
                    <a:gd name="connsiteX709" fmla="*/ 2350845 w 4457589"/>
                    <a:gd name="connsiteY709" fmla="*/ 85458 h 1541722"/>
                    <a:gd name="connsiteX710" fmla="*/ 2345693 w 4457589"/>
                    <a:gd name="connsiteY710" fmla="*/ 85003 h 1541722"/>
                    <a:gd name="connsiteX711" fmla="*/ 2343117 w 4457589"/>
                    <a:gd name="connsiteY711" fmla="*/ 86064 h 1541722"/>
                    <a:gd name="connsiteX712" fmla="*/ 2345239 w 4457589"/>
                    <a:gd name="connsiteY712" fmla="*/ 87427 h 1541722"/>
                    <a:gd name="connsiteX713" fmla="*/ 2347511 w 4457589"/>
                    <a:gd name="connsiteY713" fmla="*/ 89852 h 1541722"/>
                    <a:gd name="connsiteX714" fmla="*/ 2345996 w 4457589"/>
                    <a:gd name="connsiteY714" fmla="*/ 92125 h 1541722"/>
                    <a:gd name="connsiteX715" fmla="*/ 2344632 w 4457589"/>
                    <a:gd name="connsiteY715" fmla="*/ 93185 h 1541722"/>
                    <a:gd name="connsiteX716" fmla="*/ 2338420 w 4457589"/>
                    <a:gd name="connsiteY716" fmla="*/ 96367 h 1541722"/>
                    <a:gd name="connsiteX717" fmla="*/ 2334026 w 4457589"/>
                    <a:gd name="connsiteY717" fmla="*/ 96670 h 1541722"/>
                    <a:gd name="connsiteX718" fmla="*/ 2335844 w 4457589"/>
                    <a:gd name="connsiteY718" fmla="*/ 95307 h 1541722"/>
                    <a:gd name="connsiteX719" fmla="*/ 2337814 w 4457589"/>
                    <a:gd name="connsiteY719" fmla="*/ 92276 h 1541722"/>
                    <a:gd name="connsiteX720" fmla="*/ 2336299 w 4457589"/>
                    <a:gd name="connsiteY720" fmla="*/ 89094 h 1541722"/>
                    <a:gd name="connsiteX721" fmla="*/ 2334784 w 4457589"/>
                    <a:gd name="connsiteY721" fmla="*/ 87276 h 1541722"/>
                    <a:gd name="connsiteX722" fmla="*/ 2332965 w 4457589"/>
                    <a:gd name="connsiteY722" fmla="*/ 77882 h 1541722"/>
                    <a:gd name="connsiteX723" fmla="*/ 2327359 w 4457589"/>
                    <a:gd name="connsiteY723" fmla="*/ 76518 h 1541722"/>
                    <a:gd name="connsiteX724" fmla="*/ 2324177 w 4457589"/>
                    <a:gd name="connsiteY724" fmla="*/ 75003 h 1541722"/>
                    <a:gd name="connsiteX725" fmla="*/ 2319934 w 4457589"/>
                    <a:gd name="connsiteY725" fmla="*/ 75609 h 1541722"/>
                    <a:gd name="connsiteX726" fmla="*/ 2314480 w 4457589"/>
                    <a:gd name="connsiteY726" fmla="*/ 78185 h 1541722"/>
                    <a:gd name="connsiteX727" fmla="*/ 2316450 w 4457589"/>
                    <a:gd name="connsiteY727" fmla="*/ 75912 h 1541722"/>
                    <a:gd name="connsiteX728" fmla="*/ 2318571 w 4457589"/>
                    <a:gd name="connsiteY728" fmla="*/ 72427 h 1541722"/>
                    <a:gd name="connsiteX729" fmla="*/ 2314328 w 4457589"/>
                    <a:gd name="connsiteY729" fmla="*/ 68336 h 1541722"/>
                    <a:gd name="connsiteX730" fmla="*/ 2310237 w 4457589"/>
                    <a:gd name="connsiteY730" fmla="*/ 65457 h 1541722"/>
                    <a:gd name="connsiteX731" fmla="*/ 2305086 w 4457589"/>
                    <a:gd name="connsiteY731" fmla="*/ 64396 h 1541722"/>
                    <a:gd name="connsiteX732" fmla="*/ 2299479 w 4457589"/>
                    <a:gd name="connsiteY732" fmla="*/ 60608 h 1541722"/>
                    <a:gd name="connsiteX733" fmla="*/ 2291752 w 4457589"/>
                    <a:gd name="connsiteY733" fmla="*/ 58639 h 1541722"/>
                    <a:gd name="connsiteX734" fmla="*/ 2274175 w 4457589"/>
                    <a:gd name="connsiteY734" fmla="*/ 56517 h 1541722"/>
                    <a:gd name="connsiteX735" fmla="*/ 2260841 w 4457589"/>
                    <a:gd name="connsiteY735" fmla="*/ 59245 h 1541722"/>
                    <a:gd name="connsiteX736" fmla="*/ 2244023 w 4457589"/>
                    <a:gd name="connsiteY736" fmla="*/ 57123 h 1541722"/>
                    <a:gd name="connsiteX737" fmla="*/ 2224022 w 4457589"/>
                    <a:gd name="connsiteY737" fmla="*/ 58790 h 1541722"/>
                    <a:gd name="connsiteX738" fmla="*/ 2216294 w 4457589"/>
                    <a:gd name="connsiteY738" fmla="*/ 58790 h 1541722"/>
                    <a:gd name="connsiteX739" fmla="*/ 2211597 w 4457589"/>
                    <a:gd name="connsiteY739" fmla="*/ 57729 h 1541722"/>
                    <a:gd name="connsiteX740" fmla="*/ 2207355 w 4457589"/>
                    <a:gd name="connsiteY740" fmla="*/ 58790 h 1541722"/>
                    <a:gd name="connsiteX741" fmla="*/ 2205234 w 4457589"/>
                    <a:gd name="connsiteY741" fmla="*/ 62123 h 1541722"/>
                    <a:gd name="connsiteX742" fmla="*/ 2203869 w 4457589"/>
                    <a:gd name="connsiteY742" fmla="*/ 67275 h 1541722"/>
                    <a:gd name="connsiteX743" fmla="*/ 2199021 w 4457589"/>
                    <a:gd name="connsiteY743" fmla="*/ 70003 h 1541722"/>
                    <a:gd name="connsiteX744" fmla="*/ 2196293 w 4457589"/>
                    <a:gd name="connsiteY744" fmla="*/ 70760 h 1541722"/>
                    <a:gd name="connsiteX745" fmla="*/ 2183566 w 4457589"/>
                    <a:gd name="connsiteY745" fmla="*/ 70003 h 1541722"/>
                    <a:gd name="connsiteX746" fmla="*/ 2174474 w 4457589"/>
                    <a:gd name="connsiteY746" fmla="*/ 72427 h 1541722"/>
                    <a:gd name="connsiteX747" fmla="*/ 2170535 w 4457589"/>
                    <a:gd name="connsiteY747" fmla="*/ 70457 h 1541722"/>
                    <a:gd name="connsiteX748" fmla="*/ 2163110 w 4457589"/>
                    <a:gd name="connsiteY748" fmla="*/ 70609 h 1541722"/>
                    <a:gd name="connsiteX749" fmla="*/ 2162353 w 4457589"/>
                    <a:gd name="connsiteY749" fmla="*/ 66215 h 1541722"/>
                    <a:gd name="connsiteX750" fmla="*/ 2166747 w 4457589"/>
                    <a:gd name="connsiteY750" fmla="*/ 66366 h 1541722"/>
                    <a:gd name="connsiteX751" fmla="*/ 2169323 w 4457589"/>
                    <a:gd name="connsiteY751" fmla="*/ 67124 h 1541722"/>
                    <a:gd name="connsiteX752" fmla="*/ 2177657 w 4457589"/>
                    <a:gd name="connsiteY752" fmla="*/ 58184 h 1541722"/>
                    <a:gd name="connsiteX753" fmla="*/ 2184475 w 4457589"/>
                    <a:gd name="connsiteY753" fmla="*/ 52881 h 1541722"/>
                    <a:gd name="connsiteX754" fmla="*/ 2190991 w 4457589"/>
                    <a:gd name="connsiteY754" fmla="*/ 46820 h 1541722"/>
                    <a:gd name="connsiteX755" fmla="*/ 2186899 w 4457589"/>
                    <a:gd name="connsiteY755" fmla="*/ 43183 h 1541722"/>
                    <a:gd name="connsiteX756" fmla="*/ 2177657 w 4457589"/>
                    <a:gd name="connsiteY756" fmla="*/ 40608 h 1541722"/>
                    <a:gd name="connsiteX757" fmla="*/ 2173262 w 4457589"/>
                    <a:gd name="connsiteY757" fmla="*/ 40759 h 1541722"/>
                    <a:gd name="connsiteX758" fmla="*/ 2171141 w 4457589"/>
                    <a:gd name="connsiteY758" fmla="*/ 41820 h 1541722"/>
                    <a:gd name="connsiteX759" fmla="*/ 2161141 w 4457589"/>
                    <a:gd name="connsiteY759" fmla="*/ 39850 h 1541722"/>
                    <a:gd name="connsiteX760" fmla="*/ 2155838 w 4457589"/>
                    <a:gd name="connsiteY760" fmla="*/ 40001 h 1541722"/>
                    <a:gd name="connsiteX761" fmla="*/ 2147049 w 4457589"/>
                    <a:gd name="connsiteY761" fmla="*/ 42729 h 1541722"/>
                    <a:gd name="connsiteX762" fmla="*/ 2144019 w 4457589"/>
                    <a:gd name="connsiteY762" fmla="*/ 42577 h 1541722"/>
                    <a:gd name="connsiteX763" fmla="*/ 2142201 w 4457589"/>
                    <a:gd name="connsiteY763" fmla="*/ 36820 h 1541722"/>
                    <a:gd name="connsiteX764" fmla="*/ 2133261 w 4457589"/>
                    <a:gd name="connsiteY764" fmla="*/ 37274 h 1541722"/>
                    <a:gd name="connsiteX765" fmla="*/ 2102654 w 4457589"/>
                    <a:gd name="connsiteY765" fmla="*/ 36820 h 1541722"/>
                    <a:gd name="connsiteX766" fmla="*/ 2105987 w 4457589"/>
                    <a:gd name="connsiteY766" fmla="*/ 35001 h 1541722"/>
                    <a:gd name="connsiteX767" fmla="*/ 2122048 w 4457589"/>
                    <a:gd name="connsiteY767" fmla="*/ 32577 h 1541722"/>
                    <a:gd name="connsiteX768" fmla="*/ 2135079 w 4457589"/>
                    <a:gd name="connsiteY768" fmla="*/ 28789 h 1541722"/>
                    <a:gd name="connsiteX769" fmla="*/ 2144625 w 4457589"/>
                    <a:gd name="connsiteY769" fmla="*/ 22274 h 1541722"/>
                    <a:gd name="connsiteX770" fmla="*/ 2153565 w 4457589"/>
                    <a:gd name="connsiteY770" fmla="*/ 20001 h 1541722"/>
                    <a:gd name="connsiteX771" fmla="*/ 2151443 w 4457589"/>
                    <a:gd name="connsiteY771" fmla="*/ 16667 h 1541722"/>
                    <a:gd name="connsiteX772" fmla="*/ 2149019 w 4457589"/>
                    <a:gd name="connsiteY772" fmla="*/ 14243 h 1541722"/>
                    <a:gd name="connsiteX773" fmla="*/ 2143867 w 4457589"/>
                    <a:gd name="connsiteY773" fmla="*/ 12122 h 1541722"/>
                    <a:gd name="connsiteX774" fmla="*/ 2132958 w 4457589"/>
                    <a:gd name="connsiteY774" fmla="*/ 10758 h 1541722"/>
                    <a:gd name="connsiteX775" fmla="*/ 2123564 w 4457589"/>
                    <a:gd name="connsiteY775" fmla="*/ 8031 h 1541722"/>
                    <a:gd name="connsiteX776" fmla="*/ 2119473 w 4457589"/>
                    <a:gd name="connsiteY776" fmla="*/ 4697 h 1541722"/>
                    <a:gd name="connsiteX777" fmla="*/ 2102199 w 4457589"/>
                    <a:gd name="connsiteY777" fmla="*/ 0 h 1541722"/>
                    <a:gd name="connsiteX778" fmla="*/ 2097502 w 4457589"/>
                    <a:gd name="connsiteY778" fmla="*/ 0 h 1541722"/>
                    <a:gd name="connsiteX779" fmla="*/ 2085077 w 4457589"/>
                    <a:gd name="connsiteY779" fmla="*/ 5909 h 1541722"/>
                    <a:gd name="connsiteX780" fmla="*/ 2078865 w 4457589"/>
                    <a:gd name="connsiteY780" fmla="*/ 5303 h 1541722"/>
                    <a:gd name="connsiteX781" fmla="*/ 2073410 w 4457589"/>
                    <a:gd name="connsiteY781" fmla="*/ 6212 h 1541722"/>
                    <a:gd name="connsiteX782" fmla="*/ 2059167 w 4457589"/>
                    <a:gd name="connsiteY782" fmla="*/ 13031 h 1541722"/>
                    <a:gd name="connsiteX783" fmla="*/ 2029166 w 4457589"/>
                    <a:gd name="connsiteY783" fmla="*/ 31213 h 1541722"/>
                    <a:gd name="connsiteX784" fmla="*/ 2023105 w 4457589"/>
                    <a:gd name="connsiteY784" fmla="*/ 36820 h 1541722"/>
                    <a:gd name="connsiteX785" fmla="*/ 2020075 w 4457589"/>
                    <a:gd name="connsiteY785" fmla="*/ 40911 h 1541722"/>
                    <a:gd name="connsiteX786" fmla="*/ 2014772 w 4457589"/>
                    <a:gd name="connsiteY786" fmla="*/ 43183 h 1541722"/>
                    <a:gd name="connsiteX787" fmla="*/ 2012499 w 4457589"/>
                    <a:gd name="connsiteY787" fmla="*/ 48335 h 1541722"/>
                    <a:gd name="connsiteX788" fmla="*/ 2012954 w 4457589"/>
                    <a:gd name="connsiteY788" fmla="*/ 52881 h 1541722"/>
                    <a:gd name="connsiteX789" fmla="*/ 2015226 w 4457589"/>
                    <a:gd name="connsiteY789" fmla="*/ 55154 h 1541722"/>
                    <a:gd name="connsiteX790" fmla="*/ 2017802 w 4457589"/>
                    <a:gd name="connsiteY790" fmla="*/ 59699 h 1541722"/>
                    <a:gd name="connsiteX791" fmla="*/ 2015226 w 4457589"/>
                    <a:gd name="connsiteY791" fmla="*/ 64699 h 1541722"/>
                    <a:gd name="connsiteX792" fmla="*/ 2013105 w 4457589"/>
                    <a:gd name="connsiteY792" fmla="*/ 68033 h 1541722"/>
                    <a:gd name="connsiteX793" fmla="*/ 2015075 w 4457589"/>
                    <a:gd name="connsiteY793" fmla="*/ 69548 h 1541722"/>
                    <a:gd name="connsiteX794" fmla="*/ 2020832 w 4457589"/>
                    <a:gd name="connsiteY794" fmla="*/ 69245 h 1541722"/>
                    <a:gd name="connsiteX795" fmla="*/ 2033712 w 4457589"/>
                    <a:gd name="connsiteY795" fmla="*/ 72124 h 1541722"/>
                    <a:gd name="connsiteX796" fmla="*/ 2031439 w 4457589"/>
                    <a:gd name="connsiteY796" fmla="*/ 74851 h 1541722"/>
                    <a:gd name="connsiteX797" fmla="*/ 2023560 w 4457589"/>
                    <a:gd name="connsiteY797" fmla="*/ 72578 h 1541722"/>
                    <a:gd name="connsiteX798" fmla="*/ 2016742 w 4457589"/>
                    <a:gd name="connsiteY798" fmla="*/ 72578 h 1541722"/>
                    <a:gd name="connsiteX799" fmla="*/ 2010832 w 4457589"/>
                    <a:gd name="connsiteY799" fmla="*/ 69851 h 1541722"/>
                    <a:gd name="connsiteX800" fmla="*/ 1996589 w 4457589"/>
                    <a:gd name="connsiteY800" fmla="*/ 72578 h 1541722"/>
                    <a:gd name="connsiteX801" fmla="*/ 1985983 w 4457589"/>
                    <a:gd name="connsiteY801" fmla="*/ 71972 h 1541722"/>
                    <a:gd name="connsiteX802" fmla="*/ 1976134 w 4457589"/>
                    <a:gd name="connsiteY802" fmla="*/ 72881 h 1541722"/>
                    <a:gd name="connsiteX803" fmla="*/ 1956739 w 4457589"/>
                    <a:gd name="connsiteY803" fmla="*/ 70760 h 1541722"/>
                    <a:gd name="connsiteX804" fmla="*/ 1955073 w 4457589"/>
                    <a:gd name="connsiteY804" fmla="*/ 72427 h 1541722"/>
                    <a:gd name="connsiteX805" fmla="*/ 1959467 w 4457589"/>
                    <a:gd name="connsiteY805" fmla="*/ 75306 h 1541722"/>
                    <a:gd name="connsiteX806" fmla="*/ 1962951 w 4457589"/>
                    <a:gd name="connsiteY806" fmla="*/ 77882 h 1541722"/>
                    <a:gd name="connsiteX807" fmla="*/ 1972952 w 4457589"/>
                    <a:gd name="connsiteY807" fmla="*/ 84094 h 1541722"/>
                    <a:gd name="connsiteX808" fmla="*/ 1977194 w 4457589"/>
                    <a:gd name="connsiteY808" fmla="*/ 86064 h 1541722"/>
                    <a:gd name="connsiteX809" fmla="*/ 1982952 w 4457589"/>
                    <a:gd name="connsiteY809" fmla="*/ 91973 h 1541722"/>
                    <a:gd name="connsiteX810" fmla="*/ 1983710 w 4457589"/>
                    <a:gd name="connsiteY810" fmla="*/ 103640 h 1541722"/>
                    <a:gd name="connsiteX811" fmla="*/ 1980528 w 4457589"/>
                    <a:gd name="connsiteY811" fmla="*/ 106368 h 1541722"/>
                    <a:gd name="connsiteX812" fmla="*/ 1977043 w 4457589"/>
                    <a:gd name="connsiteY812" fmla="*/ 110307 h 1541722"/>
                    <a:gd name="connsiteX813" fmla="*/ 1975073 w 4457589"/>
                    <a:gd name="connsiteY813" fmla="*/ 110913 h 1541722"/>
                    <a:gd name="connsiteX814" fmla="*/ 1972497 w 4457589"/>
                    <a:gd name="connsiteY814" fmla="*/ 110762 h 1541722"/>
                    <a:gd name="connsiteX815" fmla="*/ 1976892 w 4457589"/>
                    <a:gd name="connsiteY815" fmla="*/ 107883 h 1541722"/>
                    <a:gd name="connsiteX816" fmla="*/ 1979164 w 4457589"/>
                    <a:gd name="connsiteY816" fmla="*/ 102125 h 1541722"/>
                    <a:gd name="connsiteX817" fmla="*/ 1981437 w 4457589"/>
                    <a:gd name="connsiteY817" fmla="*/ 98034 h 1541722"/>
                    <a:gd name="connsiteX818" fmla="*/ 1978558 w 4457589"/>
                    <a:gd name="connsiteY818" fmla="*/ 95307 h 1541722"/>
                    <a:gd name="connsiteX819" fmla="*/ 1977194 w 4457589"/>
                    <a:gd name="connsiteY819" fmla="*/ 95003 h 1541722"/>
                    <a:gd name="connsiteX820" fmla="*/ 1975679 w 4457589"/>
                    <a:gd name="connsiteY820" fmla="*/ 93488 h 1541722"/>
                    <a:gd name="connsiteX821" fmla="*/ 1965527 w 4457589"/>
                    <a:gd name="connsiteY821" fmla="*/ 89549 h 1541722"/>
                    <a:gd name="connsiteX822" fmla="*/ 1959921 w 4457589"/>
                    <a:gd name="connsiteY822" fmla="*/ 87882 h 1541722"/>
                    <a:gd name="connsiteX823" fmla="*/ 1954012 w 4457589"/>
                    <a:gd name="connsiteY823" fmla="*/ 86973 h 1541722"/>
                    <a:gd name="connsiteX824" fmla="*/ 1951133 w 4457589"/>
                    <a:gd name="connsiteY824" fmla="*/ 85912 h 1541722"/>
                    <a:gd name="connsiteX825" fmla="*/ 1942345 w 4457589"/>
                    <a:gd name="connsiteY825" fmla="*/ 89397 h 1541722"/>
                    <a:gd name="connsiteX826" fmla="*/ 1938253 w 4457589"/>
                    <a:gd name="connsiteY826" fmla="*/ 90306 h 1541722"/>
                    <a:gd name="connsiteX827" fmla="*/ 1933556 w 4457589"/>
                    <a:gd name="connsiteY827" fmla="*/ 92125 h 1541722"/>
                    <a:gd name="connsiteX828" fmla="*/ 1930677 w 4457589"/>
                    <a:gd name="connsiteY828" fmla="*/ 94700 h 1541722"/>
                    <a:gd name="connsiteX829" fmla="*/ 1924010 w 4457589"/>
                    <a:gd name="connsiteY829" fmla="*/ 95307 h 1541722"/>
                    <a:gd name="connsiteX830" fmla="*/ 1923101 w 4457589"/>
                    <a:gd name="connsiteY830" fmla="*/ 98034 h 1541722"/>
                    <a:gd name="connsiteX831" fmla="*/ 1919313 w 4457589"/>
                    <a:gd name="connsiteY831" fmla="*/ 100761 h 1541722"/>
                    <a:gd name="connsiteX832" fmla="*/ 1915222 w 4457589"/>
                    <a:gd name="connsiteY832" fmla="*/ 97731 h 1541722"/>
                    <a:gd name="connsiteX833" fmla="*/ 1911283 w 4457589"/>
                    <a:gd name="connsiteY833" fmla="*/ 98640 h 1541722"/>
                    <a:gd name="connsiteX834" fmla="*/ 1902343 w 4457589"/>
                    <a:gd name="connsiteY834" fmla="*/ 103489 h 1541722"/>
                    <a:gd name="connsiteX835" fmla="*/ 1891888 w 4457589"/>
                    <a:gd name="connsiteY835" fmla="*/ 105761 h 1541722"/>
                    <a:gd name="connsiteX836" fmla="*/ 1892949 w 4457589"/>
                    <a:gd name="connsiteY836" fmla="*/ 104095 h 1541722"/>
                    <a:gd name="connsiteX837" fmla="*/ 1894767 w 4457589"/>
                    <a:gd name="connsiteY837" fmla="*/ 100155 h 1541722"/>
                    <a:gd name="connsiteX838" fmla="*/ 1892192 w 4457589"/>
                    <a:gd name="connsiteY838" fmla="*/ 99398 h 1541722"/>
                    <a:gd name="connsiteX839" fmla="*/ 1876433 w 4457589"/>
                    <a:gd name="connsiteY839" fmla="*/ 103792 h 1541722"/>
                    <a:gd name="connsiteX840" fmla="*/ 1871282 w 4457589"/>
                    <a:gd name="connsiteY840" fmla="*/ 106822 h 1541722"/>
                    <a:gd name="connsiteX841" fmla="*/ 1868706 w 4457589"/>
                    <a:gd name="connsiteY841" fmla="*/ 105761 h 1541722"/>
                    <a:gd name="connsiteX842" fmla="*/ 1877949 w 4457589"/>
                    <a:gd name="connsiteY842" fmla="*/ 99095 h 1541722"/>
                    <a:gd name="connsiteX843" fmla="*/ 1880373 w 4457589"/>
                    <a:gd name="connsiteY843" fmla="*/ 95003 h 1541722"/>
                    <a:gd name="connsiteX844" fmla="*/ 1876130 w 4457589"/>
                    <a:gd name="connsiteY844" fmla="*/ 93337 h 1541722"/>
                    <a:gd name="connsiteX845" fmla="*/ 1866736 w 4457589"/>
                    <a:gd name="connsiteY845" fmla="*/ 91973 h 1541722"/>
                    <a:gd name="connsiteX846" fmla="*/ 1860675 w 4457589"/>
                    <a:gd name="connsiteY846" fmla="*/ 91822 h 1541722"/>
                    <a:gd name="connsiteX847" fmla="*/ 1851887 w 4457589"/>
                    <a:gd name="connsiteY847" fmla="*/ 93185 h 1541722"/>
                    <a:gd name="connsiteX848" fmla="*/ 1839310 w 4457589"/>
                    <a:gd name="connsiteY848" fmla="*/ 91064 h 1541722"/>
                    <a:gd name="connsiteX849" fmla="*/ 1837341 w 4457589"/>
                    <a:gd name="connsiteY849" fmla="*/ 93488 h 1541722"/>
                    <a:gd name="connsiteX850" fmla="*/ 1834159 w 4457589"/>
                    <a:gd name="connsiteY850" fmla="*/ 93791 h 1541722"/>
                    <a:gd name="connsiteX851" fmla="*/ 1826280 w 4457589"/>
                    <a:gd name="connsiteY851" fmla="*/ 92731 h 1541722"/>
                    <a:gd name="connsiteX852" fmla="*/ 1819310 w 4457589"/>
                    <a:gd name="connsiteY852" fmla="*/ 93943 h 1541722"/>
                    <a:gd name="connsiteX853" fmla="*/ 1813855 w 4457589"/>
                    <a:gd name="connsiteY853" fmla="*/ 96670 h 1541722"/>
                    <a:gd name="connsiteX854" fmla="*/ 1805976 w 4457589"/>
                    <a:gd name="connsiteY854" fmla="*/ 93943 h 1541722"/>
                    <a:gd name="connsiteX855" fmla="*/ 1803248 w 4457589"/>
                    <a:gd name="connsiteY855" fmla="*/ 94094 h 1541722"/>
                    <a:gd name="connsiteX856" fmla="*/ 1799006 w 4457589"/>
                    <a:gd name="connsiteY856" fmla="*/ 98185 h 1541722"/>
                    <a:gd name="connsiteX857" fmla="*/ 1795370 w 4457589"/>
                    <a:gd name="connsiteY857" fmla="*/ 95458 h 1541722"/>
                    <a:gd name="connsiteX858" fmla="*/ 1792339 w 4457589"/>
                    <a:gd name="connsiteY858" fmla="*/ 100761 h 1541722"/>
                    <a:gd name="connsiteX859" fmla="*/ 1793248 w 4457589"/>
                    <a:gd name="connsiteY859" fmla="*/ 104701 h 1541722"/>
                    <a:gd name="connsiteX860" fmla="*/ 1795824 w 4457589"/>
                    <a:gd name="connsiteY860" fmla="*/ 105155 h 1541722"/>
                    <a:gd name="connsiteX861" fmla="*/ 1798097 w 4457589"/>
                    <a:gd name="connsiteY861" fmla="*/ 104549 h 1541722"/>
                    <a:gd name="connsiteX862" fmla="*/ 1799309 w 4457589"/>
                    <a:gd name="connsiteY862" fmla="*/ 102731 h 1541722"/>
                    <a:gd name="connsiteX863" fmla="*/ 1801127 w 4457589"/>
                    <a:gd name="connsiteY863" fmla="*/ 101973 h 1541722"/>
                    <a:gd name="connsiteX864" fmla="*/ 1807340 w 4457589"/>
                    <a:gd name="connsiteY864" fmla="*/ 105155 h 1541722"/>
                    <a:gd name="connsiteX865" fmla="*/ 1809158 w 4457589"/>
                    <a:gd name="connsiteY865" fmla="*/ 103489 h 1541722"/>
                    <a:gd name="connsiteX866" fmla="*/ 1811885 w 4457589"/>
                    <a:gd name="connsiteY866" fmla="*/ 102125 h 1541722"/>
                    <a:gd name="connsiteX867" fmla="*/ 1814916 w 4457589"/>
                    <a:gd name="connsiteY867" fmla="*/ 104095 h 1541722"/>
                    <a:gd name="connsiteX868" fmla="*/ 1827795 w 4457589"/>
                    <a:gd name="connsiteY868" fmla="*/ 101973 h 1541722"/>
                    <a:gd name="connsiteX869" fmla="*/ 1825522 w 4457589"/>
                    <a:gd name="connsiteY869" fmla="*/ 104549 h 1541722"/>
                    <a:gd name="connsiteX870" fmla="*/ 1811279 w 4457589"/>
                    <a:gd name="connsiteY870" fmla="*/ 107883 h 1541722"/>
                    <a:gd name="connsiteX871" fmla="*/ 1785369 w 4457589"/>
                    <a:gd name="connsiteY871" fmla="*/ 111974 h 1541722"/>
                    <a:gd name="connsiteX872" fmla="*/ 1779915 w 4457589"/>
                    <a:gd name="connsiteY872" fmla="*/ 113641 h 1541722"/>
                    <a:gd name="connsiteX873" fmla="*/ 1764611 w 4457589"/>
                    <a:gd name="connsiteY873" fmla="*/ 115156 h 1541722"/>
                    <a:gd name="connsiteX874" fmla="*/ 1754610 w 4457589"/>
                    <a:gd name="connsiteY874" fmla="*/ 119247 h 1541722"/>
                    <a:gd name="connsiteX875" fmla="*/ 1741580 w 4457589"/>
                    <a:gd name="connsiteY875" fmla="*/ 119247 h 1541722"/>
                    <a:gd name="connsiteX876" fmla="*/ 1719155 w 4457589"/>
                    <a:gd name="connsiteY876" fmla="*/ 122580 h 1541722"/>
                    <a:gd name="connsiteX877" fmla="*/ 1702942 w 4457589"/>
                    <a:gd name="connsiteY877" fmla="*/ 130005 h 1541722"/>
                    <a:gd name="connsiteX878" fmla="*/ 1695215 w 4457589"/>
                    <a:gd name="connsiteY878" fmla="*/ 129247 h 1541722"/>
                    <a:gd name="connsiteX879" fmla="*/ 1679456 w 4457589"/>
                    <a:gd name="connsiteY879" fmla="*/ 134853 h 1541722"/>
                    <a:gd name="connsiteX880" fmla="*/ 1673092 w 4457589"/>
                    <a:gd name="connsiteY880" fmla="*/ 139248 h 1541722"/>
                    <a:gd name="connsiteX881" fmla="*/ 1650364 w 4457589"/>
                    <a:gd name="connsiteY881" fmla="*/ 148187 h 1541722"/>
                    <a:gd name="connsiteX882" fmla="*/ 1636727 w 4457589"/>
                    <a:gd name="connsiteY882" fmla="*/ 144702 h 1541722"/>
                    <a:gd name="connsiteX883" fmla="*/ 1632182 w 4457589"/>
                    <a:gd name="connsiteY883" fmla="*/ 145914 h 1541722"/>
                    <a:gd name="connsiteX884" fmla="*/ 1629909 w 4457589"/>
                    <a:gd name="connsiteY884" fmla="*/ 149096 h 1541722"/>
                    <a:gd name="connsiteX885" fmla="*/ 1630364 w 4457589"/>
                    <a:gd name="connsiteY885" fmla="*/ 151521 h 1541722"/>
                    <a:gd name="connsiteX886" fmla="*/ 1635818 w 4457589"/>
                    <a:gd name="connsiteY886" fmla="*/ 151218 h 1541722"/>
                    <a:gd name="connsiteX887" fmla="*/ 1639909 w 4457589"/>
                    <a:gd name="connsiteY887" fmla="*/ 152278 h 1541722"/>
                    <a:gd name="connsiteX888" fmla="*/ 1644758 w 4457589"/>
                    <a:gd name="connsiteY888" fmla="*/ 154551 h 1541722"/>
                    <a:gd name="connsiteX889" fmla="*/ 1643546 w 4457589"/>
                    <a:gd name="connsiteY889" fmla="*/ 158491 h 1541722"/>
                    <a:gd name="connsiteX890" fmla="*/ 1633091 w 4457589"/>
                    <a:gd name="connsiteY890" fmla="*/ 167279 h 1541722"/>
                    <a:gd name="connsiteX891" fmla="*/ 1628242 w 4457589"/>
                    <a:gd name="connsiteY891" fmla="*/ 170612 h 1541722"/>
                    <a:gd name="connsiteX892" fmla="*/ 1622484 w 4457589"/>
                    <a:gd name="connsiteY892" fmla="*/ 172582 h 1541722"/>
                    <a:gd name="connsiteX893" fmla="*/ 1610211 w 4457589"/>
                    <a:gd name="connsiteY893" fmla="*/ 165309 h 1541722"/>
                    <a:gd name="connsiteX894" fmla="*/ 1607938 w 4457589"/>
                    <a:gd name="connsiteY894" fmla="*/ 168491 h 1541722"/>
                    <a:gd name="connsiteX895" fmla="*/ 1606271 w 4457589"/>
                    <a:gd name="connsiteY895" fmla="*/ 170158 h 1541722"/>
                    <a:gd name="connsiteX896" fmla="*/ 1601423 w 4457589"/>
                    <a:gd name="connsiteY896" fmla="*/ 169400 h 1541722"/>
                    <a:gd name="connsiteX897" fmla="*/ 1598999 w 4457589"/>
                    <a:gd name="connsiteY897" fmla="*/ 174703 h 1541722"/>
                    <a:gd name="connsiteX898" fmla="*/ 1607787 w 4457589"/>
                    <a:gd name="connsiteY898" fmla="*/ 175613 h 1541722"/>
                    <a:gd name="connsiteX899" fmla="*/ 1616272 w 4457589"/>
                    <a:gd name="connsiteY899" fmla="*/ 177885 h 1541722"/>
                    <a:gd name="connsiteX900" fmla="*/ 1623848 w 4457589"/>
                    <a:gd name="connsiteY900" fmla="*/ 181370 h 1541722"/>
                    <a:gd name="connsiteX901" fmla="*/ 1629151 w 4457589"/>
                    <a:gd name="connsiteY901" fmla="*/ 185310 h 1541722"/>
                    <a:gd name="connsiteX902" fmla="*/ 1634909 w 4457589"/>
                    <a:gd name="connsiteY902" fmla="*/ 187734 h 1541722"/>
                    <a:gd name="connsiteX903" fmla="*/ 1638243 w 4457589"/>
                    <a:gd name="connsiteY903" fmla="*/ 189855 h 1541722"/>
                    <a:gd name="connsiteX904" fmla="*/ 1629151 w 4457589"/>
                    <a:gd name="connsiteY904" fmla="*/ 191977 h 1541722"/>
                    <a:gd name="connsiteX905" fmla="*/ 1622788 w 4457589"/>
                    <a:gd name="connsiteY905" fmla="*/ 187128 h 1541722"/>
                    <a:gd name="connsiteX906" fmla="*/ 1619454 w 4457589"/>
                    <a:gd name="connsiteY906" fmla="*/ 185613 h 1541722"/>
                    <a:gd name="connsiteX907" fmla="*/ 1615514 w 4457589"/>
                    <a:gd name="connsiteY907" fmla="*/ 185310 h 1541722"/>
                    <a:gd name="connsiteX908" fmla="*/ 1609605 w 4457589"/>
                    <a:gd name="connsiteY908" fmla="*/ 186674 h 1541722"/>
                    <a:gd name="connsiteX909" fmla="*/ 1604757 w 4457589"/>
                    <a:gd name="connsiteY909" fmla="*/ 192431 h 1541722"/>
                    <a:gd name="connsiteX910" fmla="*/ 1609454 w 4457589"/>
                    <a:gd name="connsiteY910" fmla="*/ 194401 h 1541722"/>
                    <a:gd name="connsiteX911" fmla="*/ 1620212 w 4457589"/>
                    <a:gd name="connsiteY911" fmla="*/ 196371 h 1541722"/>
                    <a:gd name="connsiteX912" fmla="*/ 1623697 w 4457589"/>
                    <a:gd name="connsiteY912" fmla="*/ 198947 h 1541722"/>
                    <a:gd name="connsiteX913" fmla="*/ 1637788 w 4457589"/>
                    <a:gd name="connsiteY913" fmla="*/ 215917 h 1541722"/>
                    <a:gd name="connsiteX914" fmla="*/ 1641273 w 4457589"/>
                    <a:gd name="connsiteY914" fmla="*/ 217735 h 1541722"/>
                    <a:gd name="connsiteX915" fmla="*/ 1645819 w 4457589"/>
                    <a:gd name="connsiteY915" fmla="*/ 218493 h 1541722"/>
                    <a:gd name="connsiteX916" fmla="*/ 1647637 w 4457589"/>
                    <a:gd name="connsiteY916" fmla="*/ 219553 h 1541722"/>
                    <a:gd name="connsiteX917" fmla="*/ 1642182 w 4457589"/>
                    <a:gd name="connsiteY917" fmla="*/ 222584 h 1541722"/>
                    <a:gd name="connsiteX918" fmla="*/ 1640061 w 4457589"/>
                    <a:gd name="connsiteY918" fmla="*/ 225311 h 1541722"/>
                    <a:gd name="connsiteX919" fmla="*/ 1635364 w 4457589"/>
                    <a:gd name="connsiteY919" fmla="*/ 230008 h 1541722"/>
                    <a:gd name="connsiteX920" fmla="*/ 1614908 w 4457589"/>
                    <a:gd name="connsiteY920" fmla="*/ 232433 h 1541722"/>
                    <a:gd name="connsiteX921" fmla="*/ 1608847 w 4457589"/>
                    <a:gd name="connsiteY921" fmla="*/ 234251 h 1541722"/>
                    <a:gd name="connsiteX922" fmla="*/ 1607181 w 4457589"/>
                    <a:gd name="connsiteY922" fmla="*/ 235160 h 1541722"/>
                    <a:gd name="connsiteX923" fmla="*/ 1604605 w 4457589"/>
                    <a:gd name="connsiteY923" fmla="*/ 236827 h 1541722"/>
                    <a:gd name="connsiteX924" fmla="*/ 1602938 w 4457589"/>
                    <a:gd name="connsiteY924" fmla="*/ 238494 h 1541722"/>
                    <a:gd name="connsiteX925" fmla="*/ 1602181 w 4457589"/>
                    <a:gd name="connsiteY925" fmla="*/ 241979 h 1541722"/>
                    <a:gd name="connsiteX926" fmla="*/ 1603847 w 4457589"/>
                    <a:gd name="connsiteY926" fmla="*/ 244251 h 1541722"/>
                    <a:gd name="connsiteX927" fmla="*/ 1607938 w 4457589"/>
                    <a:gd name="connsiteY927" fmla="*/ 246373 h 1541722"/>
                    <a:gd name="connsiteX928" fmla="*/ 1624151 w 4457589"/>
                    <a:gd name="connsiteY928" fmla="*/ 255918 h 1541722"/>
                    <a:gd name="connsiteX929" fmla="*/ 1623242 w 4457589"/>
                    <a:gd name="connsiteY929" fmla="*/ 256828 h 1541722"/>
                    <a:gd name="connsiteX930" fmla="*/ 1618696 w 4457589"/>
                    <a:gd name="connsiteY930" fmla="*/ 255161 h 1541722"/>
                    <a:gd name="connsiteX931" fmla="*/ 1613090 w 4457589"/>
                    <a:gd name="connsiteY931" fmla="*/ 252282 h 1541722"/>
                    <a:gd name="connsiteX932" fmla="*/ 1607332 w 4457589"/>
                    <a:gd name="connsiteY932" fmla="*/ 248191 h 1541722"/>
                    <a:gd name="connsiteX933" fmla="*/ 1599605 w 4457589"/>
                    <a:gd name="connsiteY933" fmla="*/ 245312 h 1541722"/>
                    <a:gd name="connsiteX934" fmla="*/ 1599302 w 4457589"/>
                    <a:gd name="connsiteY934" fmla="*/ 242888 h 1541722"/>
                    <a:gd name="connsiteX935" fmla="*/ 1598999 w 4457589"/>
                    <a:gd name="connsiteY935" fmla="*/ 239403 h 1541722"/>
                    <a:gd name="connsiteX936" fmla="*/ 1599150 w 4457589"/>
                    <a:gd name="connsiteY936" fmla="*/ 238342 h 1541722"/>
                    <a:gd name="connsiteX937" fmla="*/ 1599908 w 4457589"/>
                    <a:gd name="connsiteY937" fmla="*/ 236524 h 1541722"/>
                    <a:gd name="connsiteX938" fmla="*/ 1607181 w 4457589"/>
                    <a:gd name="connsiteY938" fmla="*/ 231978 h 1541722"/>
                    <a:gd name="connsiteX939" fmla="*/ 1614605 w 4457589"/>
                    <a:gd name="connsiteY939" fmla="*/ 229857 h 1541722"/>
                    <a:gd name="connsiteX940" fmla="*/ 1623697 w 4457589"/>
                    <a:gd name="connsiteY940" fmla="*/ 224554 h 1541722"/>
                    <a:gd name="connsiteX941" fmla="*/ 1632788 w 4457589"/>
                    <a:gd name="connsiteY941" fmla="*/ 218947 h 1541722"/>
                    <a:gd name="connsiteX942" fmla="*/ 1630969 w 4457589"/>
                    <a:gd name="connsiteY942" fmla="*/ 216978 h 1541722"/>
                    <a:gd name="connsiteX943" fmla="*/ 1629151 w 4457589"/>
                    <a:gd name="connsiteY943" fmla="*/ 215614 h 1541722"/>
                    <a:gd name="connsiteX944" fmla="*/ 1620818 w 4457589"/>
                    <a:gd name="connsiteY944" fmla="*/ 215159 h 1541722"/>
                    <a:gd name="connsiteX945" fmla="*/ 1604150 w 4457589"/>
                    <a:gd name="connsiteY945" fmla="*/ 217129 h 1541722"/>
                    <a:gd name="connsiteX946" fmla="*/ 1593998 w 4457589"/>
                    <a:gd name="connsiteY946" fmla="*/ 219099 h 1541722"/>
                    <a:gd name="connsiteX947" fmla="*/ 1589605 w 4457589"/>
                    <a:gd name="connsiteY947" fmla="*/ 223645 h 1541722"/>
                    <a:gd name="connsiteX948" fmla="*/ 1582786 w 4457589"/>
                    <a:gd name="connsiteY948" fmla="*/ 224402 h 1541722"/>
                    <a:gd name="connsiteX949" fmla="*/ 1579452 w 4457589"/>
                    <a:gd name="connsiteY949" fmla="*/ 224554 h 1541722"/>
                    <a:gd name="connsiteX950" fmla="*/ 1570058 w 4457589"/>
                    <a:gd name="connsiteY950" fmla="*/ 222129 h 1541722"/>
                    <a:gd name="connsiteX951" fmla="*/ 1561421 w 4457589"/>
                    <a:gd name="connsiteY951" fmla="*/ 224402 h 1541722"/>
                    <a:gd name="connsiteX952" fmla="*/ 1540815 w 4457589"/>
                    <a:gd name="connsiteY952" fmla="*/ 226220 h 1541722"/>
                    <a:gd name="connsiteX953" fmla="*/ 1537481 w 4457589"/>
                    <a:gd name="connsiteY953" fmla="*/ 227281 h 1541722"/>
                    <a:gd name="connsiteX954" fmla="*/ 1490207 w 4457589"/>
                    <a:gd name="connsiteY954" fmla="*/ 227736 h 1541722"/>
                    <a:gd name="connsiteX955" fmla="*/ 1480661 w 4457589"/>
                    <a:gd name="connsiteY955" fmla="*/ 228645 h 1541722"/>
                    <a:gd name="connsiteX956" fmla="*/ 1456418 w 4457589"/>
                    <a:gd name="connsiteY956" fmla="*/ 232584 h 1541722"/>
                    <a:gd name="connsiteX957" fmla="*/ 1455811 w 4457589"/>
                    <a:gd name="connsiteY957" fmla="*/ 235312 h 1541722"/>
                    <a:gd name="connsiteX958" fmla="*/ 1456720 w 4457589"/>
                    <a:gd name="connsiteY958" fmla="*/ 237584 h 1541722"/>
                    <a:gd name="connsiteX959" fmla="*/ 1453084 w 4457589"/>
                    <a:gd name="connsiteY959" fmla="*/ 240766 h 1541722"/>
                    <a:gd name="connsiteX960" fmla="*/ 1451418 w 4457589"/>
                    <a:gd name="connsiteY960" fmla="*/ 243645 h 1541722"/>
                    <a:gd name="connsiteX961" fmla="*/ 1452023 w 4457589"/>
                    <a:gd name="connsiteY961" fmla="*/ 247282 h 1541722"/>
                    <a:gd name="connsiteX962" fmla="*/ 1452175 w 4457589"/>
                    <a:gd name="connsiteY962" fmla="*/ 250312 h 1541722"/>
                    <a:gd name="connsiteX963" fmla="*/ 1452932 w 4457589"/>
                    <a:gd name="connsiteY963" fmla="*/ 254403 h 1541722"/>
                    <a:gd name="connsiteX964" fmla="*/ 1454448 w 4457589"/>
                    <a:gd name="connsiteY964" fmla="*/ 258040 h 1541722"/>
                    <a:gd name="connsiteX965" fmla="*/ 1457933 w 4457589"/>
                    <a:gd name="connsiteY965" fmla="*/ 259858 h 1541722"/>
                    <a:gd name="connsiteX966" fmla="*/ 1461266 w 4457589"/>
                    <a:gd name="connsiteY966" fmla="*/ 261222 h 1541722"/>
                    <a:gd name="connsiteX967" fmla="*/ 1463539 w 4457589"/>
                    <a:gd name="connsiteY967" fmla="*/ 265161 h 1541722"/>
                    <a:gd name="connsiteX968" fmla="*/ 1461721 w 4457589"/>
                    <a:gd name="connsiteY968" fmla="*/ 269707 h 1541722"/>
                    <a:gd name="connsiteX969" fmla="*/ 1458994 w 4457589"/>
                    <a:gd name="connsiteY969" fmla="*/ 275010 h 1541722"/>
                    <a:gd name="connsiteX970" fmla="*/ 1458387 w 4457589"/>
                    <a:gd name="connsiteY970" fmla="*/ 277586 h 1541722"/>
                    <a:gd name="connsiteX971" fmla="*/ 1460206 w 4457589"/>
                    <a:gd name="connsiteY971" fmla="*/ 280919 h 1541722"/>
                    <a:gd name="connsiteX972" fmla="*/ 1462327 w 4457589"/>
                    <a:gd name="connsiteY972" fmla="*/ 287435 h 1541722"/>
                    <a:gd name="connsiteX973" fmla="*/ 1463085 w 4457589"/>
                    <a:gd name="connsiteY973" fmla="*/ 289101 h 1541722"/>
                    <a:gd name="connsiteX974" fmla="*/ 1470509 w 4457589"/>
                    <a:gd name="connsiteY974" fmla="*/ 294253 h 1541722"/>
                    <a:gd name="connsiteX975" fmla="*/ 1475509 w 4457589"/>
                    <a:gd name="connsiteY975" fmla="*/ 295768 h 1541722"/>
                    <a:gd name="connsiteX976" fmla="*/ 1483843 w 4457589"/>
                    <a:gd name="connsiteY976" fmla="*/ 296223 h 1541722"/>
                    <a:gd name="connsiteX977" fmla="*/ 1489601 w 4457589"/>
                    <a:gd name="connsiteY977" fmla="*/ 297435 h 1541722"/>
                    <a:gd name="connsiteX978" fmla="*/ 1497783 w 4457589"/>
                    <a:gd name="connsiteY978" fmla="*/ 300617 h 1541722"/>
                    <a:gd name="connsiteX979" fmla="*/ 1500207 w 4457589"/>
                    <a:gd name="connsiteY979" fmla="*/ 302132 h 1541722"/>
                    <a:gd name="connsiteX980" fmla="*/ 1500965 w 4457589"/>
                    <a:gd name="connsiteY980" fmla="*/ 303496 h 1541722"/>
                    <a:gd name="connsiteX981" fmla="*/ 1502935 w 4457589"/>
                    <a:gd name="connsiteY981" fmla="*/ 308951 h 1541722"/>
                    <a:gd name="connsiteX982" fmla="*/ 1503995 w 4457589"/>
                    <a:gd name="connsiteY982" fmla="*/ 310617 h 1541722"/>
                    <a:gd name="connsiteX983" fmla="*/ 1512935 w 4457589"/>
                    <a:gd name="connsiteY983" fmla="*/ 318042 h 1541722"/>
                    <a:gd name="connsiteX984" fmla="*/ 1515814 w 4457589"/>
                    <a:gd name="connsiteY984" fmla="*/ 319254 h 1541722"/>
                    <a:gd name="connsiteX985" fmla="*/ 1528087 w 4457589"/>
                    <a:gd name="connsiteY985" fmla="*/ 320618 h 1541722"/>
                    <a:gd name="connsiteX986" fmla="*/ 1531875 w 4457589"/>
                    <a:gd name="connsiteY986" fmla="*/ 323042 h 1541722"/>
                    <a:gd name="connsiteX987" fmla="*/ 1537178 w 4457589"/>
                    <a:gd name="connsiteY987" fmla="*/ 330467 h 1541722"/>
                    <a:gd name="connsiteX988" fmla="*/ 1537784 w 4457589"/>
                    <a:gd name="connsiteY988" fmla="*/ 332133 h 1541722"/>
                    <a:gd name="connsiteX989" fmla="*/ 1538239 w 4457589"/>
                    <a:gd name="connsiteY989" fmla="*/ 335012 h 1541722"/>
                    <a:gd name="connsiteX990" fmla="*/ 1537633 w 4457589"/>
                    <a:gd name="connsiteY990" fmla="*/ 337588 h 1541722"/>
                    <a:gd name="connsiteX991" fmla="*/ 1537027 w 4457589"/>
                    <a:gd name="connsiteY991" fmla="*/ 338952 h 1541722"/>
                    <a:gd name="connsiteX992" fmla="*/ 1535057 w 4457589"/>
                    <a:gd name="connsiteY992" fmla="*/ 341376 h 1541722"/>
                    <a:gd name="connsiteX993" fmla="*/ 1529905 w 4457589"/>
                    <a:gd name="connsiteY993" fmla="*/ 351073 h 1541722"/>
                    <a:gd name="connsiteX994" fmla="*/ 1526723 w 4457589"/>
                    <a:gd name="connsiteY994" fmla="*/ 359710 h 1541722"/>
                    <a:gd name="connsiteX995" fmla="*/ 1531723 w 4457589"/>
                    <a:gd name="connsiteY995" fmla="*/ 365468 h 1541722"/>
                    <a:gd name="connsiteX996" fmla="*/ 1538390 w 4457589"/>
                    <a:gd name="connsiteY996" fmla="*/ 376680 h 1541722"/>
                    <a:gd name="connsiteX997" fmla="*/ 1540360 w 4457589"/>
                    <a:gd name="connsiteY997" fmla="*/ 381226 h 1541722"/>
                    <a:gd name="connsiteX998" fmla="*/ 1542633 w 4457589"/>
                    <a:gd name="connsiteY998" fmla="*/ 387590 h 1541722"/>
                    <a:gd name="connsiteX999" fmla="*/ 1541724 w 4457589"/>
                    <a:gd name="connsiteY999" fmla="*/ 391529 h 1541722"/>
                    <a:gd name="connsiteX1000" fmla="*/ 1540663 w 4457589"/>
                    <a:gd name="connsiteY1000" fmla="*/ 393954 h 1541722"/>
                    <a:gd name="connsiteX1001" fmla="*/ 1536118 w 4457589"/>
                    <a:gd name="connsiteY1001" fmla="*/ 397439 h 1541722"/>
                    <a:gd name="connsiteX1002" fmla="*/ 1530663 w 4457589"/>
                    <a:gd name="connsiteY1002" fmla="*/ 398651 h 1541722"/>
                    <a:gd name="connsiteX1003" fmla="*/ 1524602 w 4457589"/>
                    <a:gd name="connsiteY1003" fmla="*/ 400924 h 1541722"/>
                    <a:gd name="connsiteX1004" fmla="*/ 1525208 w 4457589"/>
                    <a:gd name="connsiteY1004" fmla="*/ 403651 h 1541722"/>
                    <a:gd name="connsiteX1005" fmla="*/ 1526117 w 4457589"/>
                    <a:gd name="connsiteY1005" fmla="*/ 406833 h 1541722"/>
                    <a:gd name="connsiteX1006" fmla="*/ 1525511 w 4457589"/>
                    <a:gd name="connsiteY1006" fmla="*/ 409106 h 1541722"/>
                    <a:gd name="connsiteX1007" fmla="*/ 1524754 w 4457589"/>
                    <a:gd name="connsiteY1007" fmla="*/ 409863 h 1541722"/>
                    <a:gd name="connsiteX1008" fmla="*/ 1521571 w 4457589"/>
                    <a:gd name="connsiteY1008" fmla="*/ 410167 h 1541722"/>
                    <a:gd name="connsiteX1009" fmla="*/ 1518692 w 4457589"/>
                    <a:gd name="connsiteY1009" fmla="*/ 409409 h 1541722"/>
                    <a:gd name="connsiteX1010" fmla="*/ 1516269 w 4457589"/>
                    <a:gd name="connsiteY1010" fmla="*/ 406985 h 1541722"/>
                    <a:gd name="connsiteX1011" fmla="*/ 1513844 w 4457589"/>
                    <a:gd name="connsiteY1011" fmla="*/ 403803 h 1541722"/>
                    <a:gd name="connsiteX1012" fmla="*/ 1515511 w 4457589"/>
                    <a:gd name="connsiteY1012" fmla="*/ 400469 h 1541722"/>
                    <a:gd name="connsiteX1013" fmla="*/ 1520359 w 4457589"/>
                    <a:gd name="connsiteY1013" fmla="*/ 394408 h 1541722"/>
                    <a:gd name="connsiteX1014" fmla="*/ 1523390 w 4457589"/>
                    <a:gd name="connsiteY1014" fmla="*/ 385923 h 1541722"/>
                    <a:gd name="connsiteX1015" fmla="*/ 1524147 w 4457589"/>
                    <a:gd name="connsiteY1015" fmla="*/ 380165 h 1541722"/>
                    <a:gd name="connsiteX1016" fmla="*/ 1523996 w 4457589"/>
                    <a:gd name="connsiteY1016" fmla="*/ 374105 h 1541722"/>
                    <a:gd name="connsiteX1017" fmla="*/ 1522784 w 4457589"/>
                    <a:gd name="connsiteY1017" fmla="*/ 370165 h 1541722"/>
                    <a:gd name="connsiteX1018" fmla="*/ 1518996 w 4457589"/>
                    <a:gd name="connsiteY1018" fmla="*/ 367135 h 1541722"/>
                    <a:gd name="connsiteX1019" fmla="*/ 1515359 w 4457589"/>
                    <a:gd name="connsiteY1019" fmla="*/ 367892 h 1541722"/>
                    <a:gd name="connsiteX1020" fmla="*/ 1511420 w 4457589"/>
                    <a:gd name="connsiteY1020" fmla="*/ 370468 h 1541722"/>
                    <a:gd name="connsiteX1021" fmla="*/ 1507632 w 4457589"/>
                    <a:gd name="connsiteY1021" fmla="*/ 380468 h 1541722"/>
                    <a:gd name="connsiteX1022" fmla="*/ 1502328 w 4457589"/>
                    <a:gd name="connsiteY1022" fmla="*/ 387741 h 1541722"/>
                    <a:gd name="connsiteX1023" fmla="*/ 1501571 w 4457589"/>
                    <a:gd name="connsiteY1023" fmla="*/ 390620 h 1541722"/>
                    <a:gd name="connsiteX1024" fmla="*/ 1501722 w 4457589"/>
                    <a:gd name="connsiteY1024" fmla="*/ 393348 h 1541722"/>
                    <a:gd name="connsiteX1025" fmla="*/ 1501268 w 4457589"/>
                    <a:gd name="connsiteY1025" fmla="*/ 395014 h 1541722"/>
                    <a:gd name="connsiteX1026" fmla="*/ 1500207 w 4457589"/>
                    <a:gd name="connsiteY1026" fmla="*/ 389257 h 1541722"/>
                    <a:gd name="connsiteX1027" fmla="*/ 1499601 w 4457589"/>
                    <a:gd name="connsiteY1027" fmla="*/ 385014 h 1541722"/>
                    <a:gd name="connsiteX1028" fmla="*/ 1502631 w 4457589"/>
                    <a:gd name="connsiteY1028" fmla="*/ 379559 h 1541722"/>
                    <a:gd name="connsiteX1029" fmla="*/ 1504450 w 4457589"/>
                    <a:gd name="connsiteY1029" fmla="*/ 374559 h 1541722"/>
                    <a:gd name="connsiteX1030" fmla="*/ 1503844 w 4457589"/>
                    <a:gd name="connsiteY1030" fmla="*/ 370923 h 1541722"/>
                    <a:gd name="connsiteX1031" fmla="*/ 1501722 w 4457589"/>
                    <a:gd name="connsiteY1031" fmla="*/ 365013 h 1541722"/>
                    <a:gd name="connsiteX1032" fmla="*/ 1502177 w 4457589"/>
                    <a:gd name="connsiteY1032" fmla="*/ 362134 h 1541722"/>
                    <a:gd name="connsiteX1033" fmla="*/ 1502783 w 4457589"/>
                    <a:gd name="connsiteY1033" fmla="*/ 360316 h 1541722"/>
                    <a:gd name="connsiteX1034" fmla="*/ 1503995 w 4457589"/>
                    <a:gd name="connsiteY1034" fmla="*/ 351831 h 1541722"/>
                    <a:gd name="connsiteX1035" fmla="*/ 1508692 w 4457589"/>
                    <a:gd name="connsiteY1035" fmla="*/ 350164 h 1541722"/>
                    <a:gd name="connsiteX1036" fmla="*/ 1520359 w 4457589"/>
                    <a:gd name="connsiteY1036" fmla="*/ 343800 h 1541722"/>
                    <a:gd name="connsiteX1037" fmla="*/ 1521875 w 4457589"/>
                    <a:gd name="connsiteY1037" fmla="*/ 342134 h 1541722"/>
                    <a:gd name="connsiteX1038" fmla="*/ 1525511 w 4457589"/>
                    <a:gd name="connsiteY1038" fmla="*/ 336527 h 1541722"/>
                    <a:gd name="connsiteX1039" fmla="*/ 1527026 w 4457589"/>
                    <a:gd name="connsiteY1039" fmla="*/ 334558 h 1541722"/>
                    <a:gd name="connsiteX1040" fmla="*/ 1528996 w 4457589"/>
                    <a:gd name="connsiteY1040" fmla="*/ 331224 h 1541722"/>
                    <a:gd name="connsiteX1041" fmla="*/ 1525511 w 4457589"/>
                    <a:gd name="connsiteY1041" fmla="*/ 328497 h 1541722"/>
                    <a:gd name="connsiteX1042" fmla="*/ 1522178 w 4457589"/>
                    <a:gd name="connsiteY1042" fmla="*/ 327133 h 1541722"/>
                    <a:gd name="connsiteX1043" fmla="*/ 1515965 w 4457589"/>
                    <a:gd name="connsiteY1043" fmla="*/ 326376 h 1541722"/>
                    <a:gd name="connsiteX1044" fmla="*/ 1510207 w 4457589"/>
                    <a:gd name="connsiteY1044" fmla="*/ 326679 h 1541722"/>
                    <a:gd name="connsiteX1045" fmla="*/ 1497328 w 4457589"/>
                    <a:gd name="connsiteY1045" fmla="*/ 329254 h 1541722"/>
                    <a:gd name="connsiteX1046" fmla="*/ 1485964 w 4457589"/>
                    <a:gd name="connsiteY1046" fmla="*/ 328800 h 1541722"/>
                    <a:gd name="connsiteX1047" fmla="*/ 1481873 w 4457589"/>
                    <a:gd name="connsiteY1047" fmla="*/ 327285 h 1541722"/>
                    <a:gd name="connsiteX1048" fmla="*/ 1463842 w 4457589"/>
                    <a:gd name="connsiteY1048" fmla="*/ 315769 h 1541722"/>
                    <a:gd name="connsiteX1049" fmla="*/ 1462782 w 4457589"/>
                    <a:gd name="connsiteY1049" fmla="*/ 311527 h 1541722"/>
                    <a:gd name="connsiteX1050" fmla="*/ 1461418 w 4457589"/>
                    <a:gd name="connsiteY1050" fmla="*/ 309708 h 1541722"/>
                    <a:gd name="connsiteX1051" fmla="*/ 1459599 w 4457589"/>
                    <a:gd name="connsiteY1051" fmla="*/ 309254 h 1541722"/>
                    <a:gd name="connsiteX1052" fmla="*/ 1453387 w 4457589"/>
                    <a:gd name="connsiteY1052" fmla="*/ 306375 h 1541722"/>
                    <a:gd name="connsiteX1053" fmla="*/ 1439296 w 4457589"/>
                    <a:gd name="connsiteY1053" fmla="*/ 302890 h 1541722"/>
                    <a:gd name="connsiteX1054" fmla="*/ 1424750 w 4457589"/>
                    <a:gd name="connsiteY1054" fmla="*/ 294708 h 1541722"/>
                    <a:gd name="connsiteX1055" fmla="*/ 1398991 w 4457589"/>
                    <a:gd name="connsiteY1055" fmla="*/ 293950 h 1541722"/>
                    <a:gd name="connsiteX1056" fmla="*/ 1391870 w 4457589"/>
                    <a:gd name="connsiteY1056" fmla="*/ 294859 h 1541722"/>
                    <a:gd name="connsiteX1057" fmla="*/ 1384900 w 4457589"/>
                    <a:gd name="connsiteY1057" fmla="*/ 297435 h 1541722"/>
                    <a:gd name="connsiteX1058" fmla="*/ 1378536 w 4457589"/>
                    <a:gd name="connsiteY1058" fmla="*/ 302435 h 1541722"/>
                    <a:gd name="connsiteX1059" fmla="*/ 1375506 w 4457589"/>
                    <a:gd name="connsiteY1059" fmla="*/ 303950 h 1541722"/>
                    <a:gd name="connsiteX1060" fmla="*/ 1371263 w 4457589"/>
                    <a:gd name="connsiteY1060" fmla="*/ 304405 h 1541722"/>
                    <a:gd name="connsiteX1061" fmla="*/ 1370505 w 4457589"/>
                    <a:gd name="connsiteY1061" fmla="*/ 306223 h 1541722"/>
                    <a:gd name="connsiteX1062" fmla="*/ 1369596 w 4457589"/>
                    <a:gd name="connsiteY1062" fmla="*/ 308799 h 1541722"/>
                    <a:gd name="connsiteX1063" fmla="*/ 1371869 w 4457589"/>
                    <a:gd name="connsiteY1063" fmla="*/ 310617 h 1541722"/>
                    <a:gd name="connsiteX1064" fmla="*/ 1379748 w 4457589"/>
                    <a:gd name="connsiteY1064" fmla="*/ 308345 h 1541722"/>
                    <a:gd name="connsiteX1065" fmla="*/ 1386263 w 4457589"/>
                    <a:gd name="connsiteY1065" fmla="*/ 309557 h 1541722"/>
                    <a:gd name="connsiteX1066" fmla="*/ 1389597 w 4457589"/>
                    <a:gd name="connsiteY1066" fmla="*/ 311981 h 1541722"/>
                    <a:gd name="connsiteX1067" fmla="*/ 1392173 w 4457589"/>
                    <a:gd name="connsiteY1067" fmla="*/ 316678 h 1541722"/>
                    <a:gd name="connsiteX1068" fmla="*/ 1390809 w 4457589"/>
                    <a:gd name="connsiteY1068" fmla="*/ 319103 h 1541722"/>
                    <a:gd name="connsiteX1069" fmla="*/ 1379748 w 4457589"/>
                    <a:gd name="connsiteY1069" fmla="*/ 322588 h 1541722"/>
                    <a:gd name="connsiteX1070" fmla="*/ 1373536 w 4457589"/>
                    <a:gd name="connsiteY1070" fmla="*/ 322284 h 1541722"/>
                    <a:gd name="connsiteX1071" fmla="*/ 1360050 w 4457589"/>
                    <a:gd name="connsiteY1071" fmla="*/ 314102 h 1541722"/>
                    <a:gd name="connsiteX1072" fmla="*/ 1354899 w 4457589"/>
                    <a:gd name="connsiteY1072" fmla="*/ 312587 h 1541722"/>
                    <a:gd name="connsiteX1073" fmla="*/ 1342625 w 4457589"/>
                    <a:gd name="connsiteY1073" fmla="*/ 313951 h 1541722"/>
                    <a:gd name="connsiteX1074" fmla="*/ 1334444 w 4457589"/>
                    <a:gd name="connsiteY1074" fmla="*/ 318042 h 1541722"/>
                    <a:gd name="connsiteX1075" fmla="*/ 1331868 w 4457589"/>
                    <a:gd name="connsiteY1075" fmla="*/ 318800 h 1541722"/>
                    <a:gd name="connsiteX1076" fmla="*/ 1333837 w 4457589"/>
                    <a:gd name="connsiteY1076" fmla="*/ 323042 h 1541722"/>
                    <a:gd name="connsiteX1077" fmla="*/ 1337019 w 4457589"/>
                    <a:gd name="connsiteY1077" fmla="*/ 330467 h 1541722"/>
                    <a:gd name="connsiteX1078" fmla="*/ 1339595 w 4457589"/>
                    <a:gd name="connsiteY1078" fmla="*/ 334861 h 1541722"/>
                    <a:gd name="connsiteX1079" fmla="*/ 1342929 w 4457589"/>
                    <a:gd name="connsiteY1079" fmla="*/ 337134 h 1541722"/>
                    <a:gd name="connsiteX1080" fmla="*/ 1354899 w 4457589"/>
                    <a:gd name="connsiteY1080" fmla="*/ 342437 h 1541722"/>
                    <a:gd name="connsiteX1081" fmla="*/ 1361565 w 4457589"/>
                    <a:gd name="connsiteY1081" fmla="*/ 344255 h 1541722"/>
                    <a:gd name="connsiteX1082" fmla="*/ 1371566 w 4457589"/>
                    <a:gd name="connsiteY1082" fmla="*/ 349255 h 1541722"/>
                    <a:gd name="connsiteX1083" fmla="*/ 1377778 w 4457589"/>
                    <a:gd name="connsiteY1083" fmla="*/ 349861 h 1541722"/>
                    <a:gd name="connsiteX1084" fmla="*/ 1383233 w 4457589"/>
                    <a:gd name="connsiteY1084" fmla="*/ 348649 h 1541722"/>
                    <a:gd name="connsiteX1085" fmla="*/ 1391567 w 4457589"/>
                    <a:gd name="connsiteY1085" fmla="*/ 351528 h 1541722"/>
                    <a:gd name="connsiteX1086" fmla="*/ 1396416 w 4457589"/>
                    <a:gd name="connsiteY1086" fmla="*/ 360619 h 1541722"/>
                    <a:gd name="connsiteX1087" fmla="*/ 1399143 w 4457589"/>
                    <a:gd name="connsiteY1087" fmla="*/ 363650 h 1541722"/>
                    <a:gd name="connsiteX1088" fmla="*/ 1401870 w 4457589"/>
                    <a:gd name="connsiteY1088" fmla="*/ 365165 h 1541722"/>
                    <a:gd name="connsiteX1089" fmla="*/ 1405506 w 4457589"/>
                    <a:gd name="connsiteY1089" fmla="*/ 366074 h 1541722"/>
                    <a:gd name="connsiteX1090" fmla="*/ 1407780 w 4457589"/>
                    <a:gd name="connsiteY1090" fmla="*/ 366225 h 1541722"/>
                    <a:gd name="connsiteX1091" fmla="*/ 1410052 w 4457589"/>
                    <a:gd name="connsiteY1091" fmla="*/ 365013 h 1541722"/>
                    <a:gd name="connsiteX1092" fmla="*/ 1415356 w 4457589"/>
                    <a:gd name="connsiteY1092" fmla="*/ 364862 h 1541722"/>
                    <a:gd name="connsiteX1093" fmla="*/ 1413537 w 4457589"/>
                    <a:gd name="connsiteY1093" fmla="*/ 367438 h 1541722"/>
                    <a:gd name="connsiteX1094" fmla="*/ 1411568 w 4457589"/>
                    <a:gd name="connsiteY1094" fmla="*/ 368195 h 1541722"/>
                    <a:gd name="connsiteX1095" fmla="*/ 1400204 w 4457589"/>
                    <a:gd name="connsiteY1095" fmla="*/ 369407 h 1541722"/>
                    <a:gd name="connsiteX1096" fmla="*/ 1394597 w 4457589"/>
                    <a:gd name="connsiteY1096" fmla="*/ 368347 h 1541722"/>
                    <a:gd name="connsiteX1097" fmla="*/ 1387627 w 4457589"/>
                    <a:gd name="connsiteY1097" fmla="*/ 365619 h 1541722"/>
                    <a:gd name="connsiteX1098" fmla="*/ 1374596 w 4457589"/>
                    <a:gd name="connsiteY1098" fmla="*/ 356528 h 1541722"/>
                    <a:gd name="connsiteX1099" fmla="*/ 1358232 w 4457589"/>
                    <a:gd name="connsiteY1099" fmla="*/ 355771 h 1541722"/>
                    <a:gd name="connsiteX1100" fmla="*/ 1356414 w 4457589"/>
                    <a:gd name="connsiteY1100" fmla="*/ 358498 h 1541722"/>
                    <a:gd name="connsiteX1101" fmla="*/ 1351414 w 4457589"/>
                    <a:gd name="connsiteY1101" fmla="*/ 354710 h 1541722"/>
                    <a:gd name="connsiteX1102" fmla="*/ 1334140 w 4457589"/>
                    <a:gd name="connsiteY1102" fmla="*/ 353952 h 1541722"/>
                    <a:gd name="connsiteX1103" fmla="*/ 1323685 w 4457589"/>
                    <a:gd name="connsiteY1103" fmla="*/ 351528 h 1541722"/>
                    <a:gd name="connsiteX1104" fmla="*/ 1312776 w 4457589"/>
                    <a:gd name="connsiteY1104" fmla="*/ 347740 h 1541722"/>
                    <a:gd name="connsiteX1105" fmla="*/ 1311867 w 4457589"/>
                    <a:gd name="connsiteY1105" fmla="*/ 345922 h 1541722"/>
                    <a:gd name="connsiteX1106" fmla="*/ 1311412 w 4457589"/>
                    <a:gd name="connsiteY1106" fmla="*/ 343346 h 1541722"/>
                    <a:gd name="connsiteX1107" fmla="*/ 1315049 w 4457589"/>
                    <a:gd name="connsiteY1107" fmla="*/ 340012 h 1541722"/>
                    <a:gd name="connsiteX1108" fmla="*/ 1316564 w 4457589"/>
                    <a:gd name="connsiteY1108" fmla="*/ 338043 h 1541722"/>
                    <a:gd name="connsiteX1109" fmla="*/ 1317473 w 4457589"/>
                    <a:gd name="connsiteY1109" fmla="*/ 331830 h 1541722"/>
                    <a:gd name="connsiteX1110" fmla="*/ 1310503 w 4457589"/>
                    <a:gd name="connsiteY1110" fmla="*/ 323800 h 1541722"/>
                    <a:gd name="connsiteX1111" fmla="*/ 1311109 w 4457589"/>
                    <a:gd name="connsiteY1111" fmla="*/ 316375 h 1541722"/>
                    <a:gd name="connsiteX1112" fmla="*/ 1314443 w 4457589"/>
                    <a:gd name="connsiteY1112" fmla="*/ 315163 h 1541722"/>
                    <a:gd name="connsiteX1113" fmla="*/ 1318685 w 4457589"/>
                    <a:gd name="connsiteY1113" fmla="*/ 305466 h 1541722"/>
                    <a:gd name="connsiteX1114" fmla="*/ 1321261 w 4457589"/>
                    <a:gd name="connsiteY1114" fmla="*/ 302284 h 1541722"/>
                    <a:gd name="connsiteX1115" fmla="*/ 1322625 w 4457589"/>
                    <a:gd name="connsiteY1115" fmla="*/ 301223 h 1541722"/>
                    <a:gd name="connsiteX1116" fmla="*/ 1323989 w 4457589"/>
                    <a:gd name="connsiteY1116" fmla="*/ 299102 h 1541722"/>
                    <a:gd name="connsiteX1117" fmla="*/ 1322625 w 4457589"/>
                    <a:gd name="connsiteY1117" fmla="*/ 296223 h 1541722"/>
                    <a:gd name="connsiteX1118" fmla="*/ 1321261 w 4457589"/>
                    <a:gd name="connsiteY1118" fmla="*/ 294556 h 1541722"/>
                    <a:gd name="connsiteX1119" fmla="*/ 1319897 w 4457589"/>
                    <a:gd name="connsiteY1119" fmla="*/ 290768 h 1541722"/>
                    <a:gd name="connsiteX1120" fmla="*/ 1320201 w 4457589"/>
                    <a:gd name="connsiteY1120" fmla="*/ 287889 h 1541722"/>
                    <a:gd name="connsiteX1121" fmla="*/ 1320201 w 4457589"/>
                    <a:gd name="connsiteY1121" fmla="*/ 284253 h 1541722"/>
                    <a:gd name="connsiteX1122" fmla="*/ 1316715 w 4457589"/>
                    <a:gd name="connsiteY1122" fmla="*/ 278950 h 1541722"/>
                    <a:gd name="connsiteX1123" fmla="*/ 1313837 w 4457589"/>
                    <a:gd name="connsiteY1123" fmla="*/ 273040 h 1541722"/>
                    <a:gd name="connsiteX1124" fmla="*/ 1307927 w 4457589"/>
                    <a:gd name="connsiteY1124" fmla="*/ 270161 h 1541722"/>
                    <a:gd name="connsiteX1125" fmla="*/ 1302170 w 4457589"/>
                    <a:gd name="connsiteY1125" fmla="*/ 270161 h 1541722"/>
                    <a:gd name="connsiteX1126" fmla="*/ 1300048 w 4457589"/>
                    <a:gd name="connsiteY1126" fmla="*/ 270919 h 1541722"/>
                    <a:gd name="connsiteX1127" fmla="*/ 1297775 w 4457589"/>
                    <a:gd name="connsiteY1127" fmla="*/ 272283 h 1541722"/>
                    <a:gd name="connsiteX1128" fmla="*/ 1300806 w 4457589"/>
                    <a:gd name="connsiteY1128" fmla="*/ 277586 h 1541722"/>
                    <a:gd name="connsiteX1129" fmla="*/ 1303836 w 4457589"/>
                    <a:gd name="connsiteY1129" fmla="*/ 282283 h 1541722"/>
                    <a:gd name="connsiteX1130" fmla="*/ 1305351 w 4457589"/>
                    <a:gd name="connsiteY1130" fmla="*/ 286071 h 1541722"/>
                    <a:gd name="connsiteX1131" fmla="*/ 1306412 w 4457589"/>
                    <a:gd name="connsiteY1131" fmla="*/ 292586 h 1541722"/>
                    <a:gd name="connsiteX1132" fmla="*/ 1306109 w 4457589"/>
                    <a:gd name="connsiteY1132" fmla="*/ 300769 h 1541722"/>
                    <a:gd name="connsiteX1133" fmla="*/ 1305200 w 4457589"/>
                    <a:gd name="connsiteY1133" fmla="*/ 304102 h 1541722"/>
                    <a:gd name="connsiteX1134" fmla="*/ 1303533 w 4457589"/>
                    <a:gd name="connsiteY1134" fmla="*/ 306829 h 1541722"/>
                    <a:gd name="connsiteX1135" fmla="*/ 1298382 w 4457589"/>
                    <a:gd name="connsiteY1135" fmla="*/ 310314 h 1541722"/>
                    <a:gd name="connsiteX1136" fmla="*/ 1289745 w 4457589"/>
                    <a:gd name="connsiteY1136" fmla="*/ 314405 h 1541722"/>
                    <a:gd name="connsiteX1137" fmla="*/ 1284896 w 4457589"/>
                    <a:gd name="connsiteY1137" fmla="*/ 316375 h 1541722"/>
                    <a:gd name="connsiteX1138" fmla="*/ 1274593 w 4457589"/>
                    <a:gd name="connsiteY1138" fmla="*/ 318648 h 1541722"/>
                    <a:gd name="connsiteX1139" fmla="*/ 1267320 w 4457589"/>
                    <a:gd name="connsiteY1139" fmla="*/ 322133 h 1541722"/>
                    <a:gd name="connsiteX1140" fmla="*/ 1251258 w 4457589"/>
                    <a:gd name="connsiteY1140" fmla="*/ 342588 h 1541722"/>
                    <a:gd name="connsiteX1141" fmla="*/ 1253077 w 4457589"/>
                    <a:gd name="connsiteY1141" fmla="*/ 345619 h 1541722"/>
                    <a:gd name="connsiteX1142" fmla="*/ 1258986 w 4457589"/>
                    <a:gd name="connsiteY1142" fmla="*/ 348801 h 1541722"/>
                    <a:gd name="connsiteX1143" fmla="*/ 1262774 w 4457589"/>
                    <a:gd name="connsiteY1143" fmla="*/ 351680 h 1541722"/>
                    <a:gd name="connsiteX1144" fmla="*/ 1264744 w 4457589"/>
                    <a:gd name="connsiteY1144" fmla="*/ 354104 h 1541722"/>
                    <a:gd name="connsiteX1145" fmla="*/ 1268987 w 4457589"/>
                    <a:gd name="connsiteY1145" fmla="*/ 361528 h 1541722"/>
                    <a:gd name="connsiteX1146" fmla="*/ 1284896 w 4457589"/>
                    <a:gd name="connsiteY1146" fmla="*/ 382287 h 1541722"/>
                    <a:gd name="connsiteX1147" fmla="*/ 1285654 w 4457589"/>
                    <a:gd name="connsiteY1147" fmla="*/ 385923 h 1541722"/>
                    <a:gd name="connsiteX1148" fmla="*/ 1282017 w 4457589"/>
                    <a:gd name="connsiteY1148" fmla="*/ 392590 h 1541722"/>
                    <a:gd name="connsiteX1149" fmla="*/ 1274593 w 4457589"/>
                    <a:gd name="connsiteY1149" fmla="*/ 401075 h 1541722"/>
                    <a:gd name="connsiteX1150" fmla="*/ 1271714 w 4457589"/>
                    <a:gd name="connsiteY1150" fmla="*/ 405924 h 1541722"/>
                    <a:gd name="connsiteX1151" fmla="*/ 1264744 w 4457589"/>
                    <a:gd name="connsiteY1151" fmla="*/ 424106 h 1541722"/>
                    <a:gd name="connsiteX1152" fmla="*/ 1264289 w 4457589"/>
                    <a:gd name="connsiteY1152" fmla="*/ 428804 h 1541722"/>
                    <a:gd name="connsiteX1153" fmla="*/ 1267168 w 4457589"/>
                    <a:gd name="connsiteY1153" fmla="*/ 433198 h 1541722"/>
                    <a:gd name="connsiteX1154" fmla="*/ 1271714 w 4457589"/>
                    <a:gd name="connsiteY1154" fmla="*/ 438652 h 1541722"/>
                    <a:gd name="connsiteX1155" fmla="*/ 1273381 w 4457589"/>
                    <a:gd name="connsiteY1155" fmla="*/ 442895 h 1541722"/>
                    <a:gd name="connsiteX1156" fmla="*/ 1270198 w 4457589"/>
                    <a:gd name="connsiteY1156" fmla="*/ 453501 h 1541722"/>
                    <a:gd name="connsiteX1157" fmla="*/ 1271865 w 4457589"/>
                    <a:gd name="connsiteY1157" fmla="*/ 456229 h 1541722"/>
                    <a:gd name="connsiteX1158" fmla="*/ 1275653 w 4457589"/>
                    <a:gd name="connsiteY1158" fmla="*/ 457592 h 1541722"/>
                    <a:gd name="connsiteX1159" fmla="*/ 1286260 w 4457589"/>
                    <a:gd name="connsiteY1159" fmla="*/ 456077 h 1541722"/>
                    <a:gd name="connsiteX1160" fmla="*/ 1298684 w 4457589"/>
                    <a:gd name="connsiteY1160" fmla="*/ 458653 h 1541722"/>
                    <a:gd name="connsiteX1161" fmla="*/ 1305200 w 4457589"/>
                    <a:gd name="connsiteY1161" fmla="*/ 457441 h 1541722"/>
                    <a:gd name="connsiteX1162" fmla="*/ 1315200 w 4457589"/>
                    <a:gd name="connsiteY1162" fmla="*/ 451532 h 1541722"/>
                    <a:gd name="connsiteX1163" fmla="*/ 1318988 w 4457589"/>
                    <a:gd name="connsiteY1163" fmla="*/ 450926 h 1541722"/>
                    <a:gd name="connsiteX1164" fmla="*/ 1331110 w 4457589"/>
                    <a:gd name="connsiteY1164" fmla="*/ 451683 h 1541722"/>
                    <a:gd name="connsiteX1165" fmla="*/ 1348686 w 4457589"/>
                    <a:gd name="connsiteY1165" fmla="*/ 457441 h 1541722"/>
                    <a:gd name="connsiteX1166" fmla="*/ 1367323 w 4457589"/>
                    <a:gd name="connsiteY1166" fmla="*/ 465017 h 1541722"/>
                    <a:gd name="connsiteX1167" fmla="*/ 1371111 w 4457589"/>
                    <a:gd name="connsiteY1167" fmla="*/ 467593 h 1541722"/>
                    <a:gd name="connsiteX1168" fmla="*/ 1376263 w 4457589"/>
                    <a:gd name="connsiteY1168" fmla="*/ 467744 h 1541722"/>
                    <a:gd name="connsiteX1169" fmla="*/ 1379900 w 4457589"/>
                    <a:gd name="connsiteY1169" fmla="*/ 480775 h 1541722"/>
                    <a:gd name="connsiteX1170" fmla="*/ 1383233 w 4457589"/>
                    <a:gd name="connsiteY1170" fmla="*/ 487745 h 1541722"/>
                    <a:gd name="connsiteX1171" fmla="*/ 1384597 w 4457589"/>
                    <a:gd name="connsiteY1171" fmla="*/ 492745 h 1541722"/>
                    <a:gd name="connsiteX1172" fmla="*/ 1385657 w 4457589"/>
                    <a:gd name="connsiteY1172" fmla="*/ 498352 h 1541722"/>
                    <a:gd name="connsiteX1173" fmla="*/ 1382173 w 4457589"/>
                    <a:gd name="connsiteY1173" fmla="*/ 499564 h 1541722"/>
                    <a:gd name="connsiteX1174" fmla="*/ 1379142 w 4457589"/>
                    <a:gd name="connsiteY1174" fmla="*/ 500170 h 1541722"/>
                    <a:gd name="connsiteX1175" fmla="*/ 1376566 w 4457589"/>
                    <a:gd name="connsiteY1175" fmla="*/ 501685 h 1541722"/>
                    <a:gd name="connsiteX1176" fmla="*/ 1373081 w 4457589"/>
                    <a:gd name="connsiteY1176" fmla="*/ 510322 h 1541722"/>
                    <a:gd name="connsiteX1177" fmla="*/ 1372627 w 4457589"/>
                    <a:gd name="connsiteY1177" fmla="*/ 514867 h 1541722"/>
                    <a:gd name="connsiteX1178" fmla="*/ 1374445 w 4457589"/>
                    <a:gd name="connsiteY1178" fmla="*/ 522292 h 1541722"/>
                    <a:gd name="connsiteX1179" fmla="*/ 1390203 w 4457589"/>
                    <a:gd name="connsiteY1179" fmla="*/ 525777 h 1541722"/>
                    <a:gd name="connsiteX1180" fmla="*/ 1401113 w 4457589"/>
                    <a:gd name="connsiteY1180" fmla="*/ 527595 h 1541722"/>
                    <a:gd name="connsiteX1181" fmla="*/ 1408689 w 4457589"/>
                    <a:gd name="connsiteY1181" fmla="*/ 527898 h 1541722"/>
                    <a:gd name="connsiteX1182" fmla="*/ 1410052 w 4457589"/>
                    <a:gd name="connsiteY1182" fmla="*/ 528807 h 1541722"/>
                    <a:gd name="connsiteX1183" fmla="*/ 1410961 w 4457589"/>
                    <a:gd name="connsiteY1183" fmla="*/ 529868 h 1541722"/>
                    <a:gd name="connsiteX1184" fmla="*/ 1401870 w 4457589"/>
                    <a:gd name="connsiteY1184" fmla="*/ 530474 h 1541722"/>
                    <a:gd name="connsiteX1185" fmla="*/ 1385354 w 4457589"/>
                    <a:gd name="connsiteY1185" fmla="*/ 531383 h 1541722"/>
                    <a:gd name="connsiteX1186" fmla="*/ 1379445 w 4457589"/>
                    <a:gd name="connsiteY1186" fmla="*/ 530777 h 1541722"/>
                    <a:gd name="connsiteX1187" fmla="*/ 1376869 w 4457589"/>
                    <a:gd name="connsiteY1187" fmla="*/ 529868 h 1541722"/>
                    <a:gd name="connsiteX1188" fmla="*/ 1374293 w 4457589"/>
                    <a:gd name="connsiteY1188" fmla="*/ 527292 h 1541722"/>
                    <a:gd name="connsiteX1189" fmla="*/ 1369293 w 4457589"/>
                    <a:gd name="connsiteY1189" fmla="*/ 524716 h 1541722"/>
                    <a:gd name="connsiteX1190" fmla="*/ 1367323 w 4457589"/>
                    <a:gd name="connsiteY1190" fmla="*/ 523049 h 1541722"/>
                    <a:gd name="connsiteX1191" fmla="*/ 1363232 w 4457589"/>
                    <a:gd name="connsiteY1191" fmla="*/ 521080 h 1541722"/>
                    <a:gd name="connsiteX1192" fmla="*/ 1365202 w 4457589"/>
                    <a:gd name="connsiteY1192" fmla="*/ 513352 h 1541722"/>
                    <a:gd name="connsiteX1193" fmla="*/ 1365505 w 4457589"/>
                    <a:gd name="connsiteY1193" fmla="*/ 495776 h 1541722"/>
                    <a:gd name="connsiteX1194" fmla="*/ 1364899 w 4457589"/>
                    <a:gd name="connsiteY1194" fmla="*/ 488351 h 1541722"/>
                    <a:gd name="connsiteX1195" fmla="*/ 1361414 w 4457589"/>
                    <a:gd name="connsiteY1195" fmla="*/ 482442 h 1541722"/>
                    <a:gd name="connsiteX1196" fmla="*/ 1351111 w 4457589"/>
                    <a:gd name="connsiteY1196" fmla="*/ 473805 h 1541722"/>
                    <a:gd name="connsiteX1197" fmla="*/ 1347626 w 4457589"/>
                    <a:gd name="connsiteY1197" fmla="*/ 468047 h 1541722"/>
                    <a:gd name="connsiteX1198" fmla="*/ 1343534 w 4457589"/>
                    <a:gd name="connsiteY1198" fmla="*/ 464108 h 1541722"/>
                    <a:gd name="connsiteX1199" fmla="*/ 1339746 w 4457589"/>
                    <a:gd name="connsiteY1199" fmla="*/ 463502 h 1541722"/>
                    <a:gd name="connsiteX1200" fmla="*/ 1333989 w 4457589"/>
                    <a:gd name="connsiteY1200" fmla="*/ 464259 h 1541722"/>
                    <a:gd name="connsiteX1201" fmla="*/ 1319746 w 4457589"/>
                    <a:gd name="connsiteY1201" fmla="*/ 467744 h 1541722"/>
                    <a:gd name="connsiteX1202" fmla="*/ 1307018 w 4457589"/>
                    <a:gd name="connsiteY1202" fmla="*/ 469714 h 1541722"/>
                    <a:gd name="connsiteX1203" fmla="*/ 1292169 w 4457589"/>
                    <a:gd name="connsiteY1203" fmla="*/ 475017 h 1541722"/>
                    <a:gd name="connsiteX1204" fmla="*/ 1289442 w 4457589"/>
                    <a:gd name="connsiteY1204" fmla="*/ 479411 h 1541722"/>
                    <a:gd name="connsiteX1205" fmla="*/ 1287018 w 4457589"/>
                    <a:gd name="connsiteY1205" fmla="*/ 490776 h 1541722"/>
                    <a:gd name="connsiteX1206" fmla="*/ 1290351 w 4457589"/>
                    <a:gd name="connsiteY1206" fmla="*/ 496382 h 1541722"/>
                    <a:gd name="connsiteX1207" fmla="*/ 1293684 w 4457589"/>
                    <a:gd name="connsiteY1207" fmla="*/ 500321 h 1541722"/>
                    <a:gd name="connsiteX1208" fmla="*/ 1296715 w 4457589"/>
                    <a:gd name="connsiteY1208" fmla="*/ 507140 h 1541722"/>
                    <a:gd name="connsiteX1209" fmla="*/ 1297624 w 4457589"/>
                    <a:gd name="connsiteY1209" fmla="*/ 511231 h 1541722"/>
                    <a:gd name="connsiteX1210" fmla="*/ 1297927 w 4457589"/>
                    <a:gd name="connsiteY1210" fmla="*/ 515473 h 1541722"/>
                    <a:gd name="connsiteX1211" fmla="*/ 1297321 w 4457589"/>
                    <a:gd name="connsiteY1211" fmla="*/ 521686 h 1541722"/>
                    <a:gd name="connsiteX1212" fmla="*/ 1294896 w 4457589"/>
                    <a:gd name="connsiteY1212" fmla="*/ 525019 h 1541722"/>
                    <a:gd name="connsiteX1213" fmla="*/ 1278381 w 4457589"/>
                    <a:gd name="connsiteY1213" fmla="*/ 538050 h 1541722"/>
                    <a:gd name="connsiteX1214" fmla="*/ 1275956 w 4457589"/>
                    <a:gd name="connsiteY1214" fmla="*/ 542141 h 1541722"/>
                    <a:gd name="connsiteX1215" fmla="*/ 1273077 w 4457589"/>
                    <a:gd name="connsiteY1215" fmla="*/ 553354 h 1541722"/>
                    <a:gd name="connsiteX1216" fmla="*/ 1270653 w 4457589"/>
                    <a:gd name="connsiteY1216" fmla="*/ 557445 h 1541722"/>
                    <a:gd name="connsiteX1217" fmla="*/ 1263077 w 4457589"/>
                    <a:gd name="connsiteY1217" fmla="*/ 563657 h 1541722"/>
                    <a:gd name="connsiteX1218" fmla="*/ 1258380 w 4457589"/>
                    <a:gd name="connsiteY1218" fmla="*/ 566233 h 1541722"/>
                    <a:gd name="connsiteX1219" fmla="*/ 1233076 w 4457589"/>
                    <a:gd name="connsiteY1219" fmla="*/ 577445 h 1541722"/>
                    <a:gd name="connsiteX1220" fmla="*/ 1232167 w 4457589"/>
                    <a:gd name="connsiteY1220" fmla="*/ 580021 h 1541722"/>
                    <a:gd name="connsiteX1221" fmla="*/ 1230348 w 4457589"/>
                    <a:gd name="connsiteY1221" fmla="*/ 587900 h 1541722"/>
                    <a:gd name="connsiteX1222" fmla="*/ 1223379 w 4457589"/>
                    <a:gd name="connsiteY1222" fmla="*/ 591537 h 1541722"/>
                    <a:gd name="connsiteX1223" fmla="*/ 1219288 w 4457589"/>
                    <a:gd name="connsiteY1223" fmla="*/ 591840 h 1541722"/>
                    <a:gd name="connsiteX1224" fmla="*/ 1209742 w 4457589"/>
                    <a:gd name="connsiteY1224" fmla="*/ 587900 h 1541722"/>
                    <a:gd name="connsiteX1225" fmla="*/ 1203984 w 4457589"/>
                    <a:gd name="connsiteY1225" fmla="*/ 586688 h 1541722"/>
                    <a:gd name="connsiteX1226" fmla="*/ 1198226 w 4457589"/>
                    <a:gd name="connsiteY1226" fmla="*/ 586385 h 1541722"/>
                    <a:gd name="connsiteX1227" fmla="*/ 1176104 w 4457589"/>
                    <a:gd name="connsiteY1227" fmla="*/ 587446 h 1541722"/>
                    <a:gd name="connsiteX1228" fmla="*/ 1166407 w 4457589"/>
                    <a:gd name="connsiteY1228" fmla="*/ 584718 h 1541722"/>
                    <a:gd name="connsiteX1229" fmla="*/ 1158679 w 4457589"/>
                    <a:gd name="connsiteY1229" fmla="*/ 580930 h 1541722"/>
                    <a:gd name="connsiteX1230" fmla="*/ 1150800 w 4457589"/>
                    <a:gd name="connsiteY1230" fmla="*/ 579718 h 1541722"/>
                    <a:gd name="connsiteX1231" fmla="*/ 1144891 w 4457589"/>
                    <a:gd name="connsiteY1231" fmla="*/ 576688 h 1541722"/>
                    <a:gd name="connsiteX1232" fmla="*/ 1143527 w 4457589"/>
                    <a:gd name="connsiteY1232" fmla="*/ 573809 h 1541722"/>
                    <a:gd name="connsiteX1233" fmla="*/ 1142012 w 4457589"/>
                    <a:gd name="connsiteY1233" fmla="*/ 570021 h 1541722"/>
                    <a:gd name="connsiteX1234" fmla="*/ 1140951 w 4457589"/>
                    <a:gd name="connsiteY1234" fmla="*/ 568051 h 1541722"/>
                    <a:gd name="connsiteX1235" fmla="*/ 1139891 w 4457589"/>
                    <a:gd name="connsiteY1235" fmla="*/ 566990 h 1541722"/>
                    <a:gd name="connsiteX1236" fmla="*/ 1141709 w 4457589"/>
                    <a:gd name="connsiteY1236" fmla="*/ 565778 h 1541722"/>
                    <a:gd name="connsiteX1237" fmla="*/ 1145497 w 4457589"/>
                    <a:gd name="connsiteY1237" fmla="*/ 565172 h 1541722"/>
                    <a:gd name="connsiteX1238" fmla="*/ 1159740 w 4457589"/>
                    <a:gd name="connsiteY1238" fmla="*/ 565778 h 1541722"/>
                    <a:gd name="connsiteX1239" fmla="*/ 1163528 w 4457589"/>
                    <a:gd name="connsiteY1239" fmla="*/ 564415 h 1541722"/>
                    <a:gd name="connsiteX1240" fmla="*/ 1165498 w 4457589"/>
                    <a:gd name="connsiteY1240" fmla="*/ 565172 h 1541722"/>
                    <a:gd name="connsiteX1241" fmla="*/ 1169437 w 4457589"/>
                    <a:gd name="connsiteY1241" fmla="*/ 568657 h 1541722"/>
                    <a:gd name="connsiteX1242" fmla="*/ 1174589 w 4457589"/>
                    <a:gd name="connsiteY1242" fmla="*/ 571688 h 1541722"/>
                    <a:gd name="connsiteX1243" fmla="*/ 1178983 w 4457589"/>
                    <a:gd name="connsiteY1243" fmla="*/ 571233 h 1541722"/>
                    <a:gd name="connsiteX1244" fmla="*/ 1182771 w 4457589"/>
                    <a:gd name="connsiteY1244" fmla="*/ 568657 h 1541722"/>
                    <a:gd name="connsiteX1245" fmla="*/ 1184135 w 4457589"/>
                    <a:gd name="connsiteY1245" fmla="*/ 568657 h 1541722"/>
                    <a:gd name="connsiteX1246" fmla="*/ 1185801 w 4457589"/>
                    <a:gd name="connsiteY1246" fmla="*/ 568960 h 1541722"/>
                    <a:gd name="connsiteX1247" fmla="*/ 1182468 w 4457589"/>
                    <a:gd name="connsiteY1247" fmla="*/ 571081 h 1541722"/>
                    <a:gd name="connsiteX1248" fmla="*/ 1178983 w 4457589"/>
                    <a:gd name="connsiteY1248" fmla="*/ 572597 h 1541722"/>
                    <a:gd name="connsiteX1249" fmla="*/ 1178074 w 4457589"/>
                    <a:gd name="connsiteY1249" fmla="*/ 573506 h 1541722"/>
                    <a:gd name="connsiteX1250" fmla="*/ 1177316 w 4457589"/>
                    <a:gd name="connsiteY1250" fmla="*/ 575627 h 1541722"/>
                    <a:gd name="connsiteX1251" fmla="*/ 1182317 w 4457589"/>
                    <a:gd name="connsiteY1251" fmla="*/ 578051 h 1541722"/>
                    <a:gd name="connsiteX1252" fmla="*/ 1186711 w 4457589"/>
                    <a:gd name="connsiteY1252" fmla="*/ 579415 h 1541722"/>
                    <a:gd name="connsiteX1253" fmla="*/ 1192620 w 4457589"/>
                    <a:gd name="connsiteY1253" fmla="*/ 578051 h 1541722"/>
                    <a:gd name="connsiteX1254" fmla="*/ 1196105 w 4457589"/>
                    <a:gd name="connsiteY1254" fmla="*/ 575476 h 1541722"/>
                    <a:gd name="connsiteX1255" fmla="*/ 1203529 w 4457589"/>
                    <a:gd name="connsiteY1255" fmla="*/ 571688 h 1541722"/>
                    <a:gd name="connsiteX1256" fmla="*/ 1208984 w 4457589"/>
                    <a:gd name="connsiteY1256" fmla="*/ 571839 h 1541722"/>
                    <a:gd name="connsiteX1257" fmla="*/ 1209287 w 4457589"/>
                    <a:gd name="connsiteY1257" fmla="*/ 568354 h 1541722"/>
                    <a:gd name="connsiteX1258" fmla="*/ 1206560 w 4457589"/>
                    <a:gd name="connsiteY1258" fmla="*/ 562899 h 1541722"/>
                    <a:gd name="connsiteX1259" fmla="*/ 1204287 w 4457589"/>
                    <a:gd name="connsiteY1259" fmla="*/ 559111 h 1541722"/>
                    <a:gd name="connsiteX1260" fmla="*/ 1212469 w 4457589"/>
                    <a:gd name="connsiteY1260" fmla="*/ 560020 h 1541722"/>
                    <a:gd name="connsiteX1261" fmla="*/ 1217470 w 4457589"/>
                    <a:gd name="connsiteY1261" fmla="*/ 556990 h 1541722"/>
                    <a:gd name="connsiteX1262" fmla="*/ 1237924 w 4457589"/>
                    <a:gd name="connsiteY1262" fmla="*/ 530019 h 1541722"/>
                    <a:gd name="connsiteX1263" fmla="*/ 1247622 w 4457589"/>
                    <a:gd name="connsiteY1263" fmla="*/ 524868 h 1541722"/>
                    <a:gd name="connsiteX1264" fmla="*/ 1250804 w 4457589"/>
                    <a:gd name="connsiteY1264" fmla="*/ 521534 h 1541722"/>
                    <a:gd name="connsiteX1265" fmla="*/ 1253077 w 4457589"/>
                    <a:gd name="connsiteY1265" fmla="*/ 516989 h 1541722"/>
                    <a:gd name="connsiteX1266" fmla="*/ 1253683 w 4457589"/>
                    <a:gd name="connsiteY1266" fmla="*/ 511837 h 1541722"/>
                    <a:gd name="connsiteX1267" fmla="*/ 1252471 w 4457589"/>
                    <a:gd name="connsiteY1267" fmla="*/ 506382 h 1541722"/>
                    <a:gd name="connsiteX1268" fmla="*/ 1252774 w 4457589"/>
                    <a:gd name="connsiteY1268" fmla="*/ 502140 h 1541722"/>
                    <a:gd name="connsiteX1269" fmla="*/ 1256259 w 4457589"/>
                    <a:gd name="connsiteY1269" fmla="*/ 496685 h 1541722"/>
                    <a:gd name="connsiteX1270" fmla="*/ 1261713 w 4457589"/>
                    <a:gd name="connsiteY1270" fmla="*/ 490321 h 1541722"/>
                    <a:gd name="connsiteX1271" fmla="*/ 1265198 w 4457589"/>
                    <a:gd name="connsiteY1271" fmla="*/ 487897 h 1541722"/>
                    <a:gd name="connsiteX1272" fmla="*/ 1264592 w 4457589"/>
                    <a:gd name="connsiteY1272" fmla="*/ 485472 h 1541722"/>
                    <a:gd name="connsiteX1273" fmla="*/ 1263986 w 4457589"/>
                    <a:gd name="connsiteY1273" fmla="*/ 483351 h 1541722"/>
                    <a:gd name="connsiteX1274" fmla="*/ 1254137 w 4457589"/>
                    <a:gd name="connsiteY1274" fmla="*/ 477139 h 1541722"/>
                    <a:gd name="connsiteX1275" fmla="*/ 1243834 w 4457589"/>
                    <a:gd name="connsiteY1275" fmla="*/ 471987 h 1541722"/>
                    <a:gd name="connsiteX1276" fmla="*/ 1240198 w 4457589"/>
                    <a:gd name="connsiteY1276" fmla="*/ 469108 h 1541722"/>
                    <a:gd name="connsiteX1277" fmla="*/ 1237319 w 4457589"/>
                    <a:gd name="connsiteY1277" fmla="*/ 464562 h 1541722"/>
                    <a:gd name="connsiteX1278" fmla="*/ 1235955 w 4457589"/>
                    <a:gd name="connsiteY1278" fmla="*/ 459259 h 1541722"/>
                    <a:gd name="connsiteX1279" fmla="*/ 1235955 w 4457589"/>
                    <a:gd name="connsiteY1279" fmla="*/ 455623 h 1541722"/>
                    <a:gd name="connsiteX1280" fmla="*/ 1236864 w 4457589"/>
                    <a:gd name="connsiteY1280" fmla="*/ 444865 h 1541722"/>
                    <a:gd name="connsiteX1281" fmla="*/ 1238379 w 4457589"/>
                    <a:gd name="connsiteY1281" fmla="*/ 439713 h 1541722"/>
                    <a:gd name="connsiteX1282" fmla="*/ 1238076 w 4457589"/>
                    <a:gd name="connsiteY1282" fmla="*/ 424561 h 1541722"/>
                    <a:gd name="connsiteX1283" fmla="*/ 1236106 w 4457589"/>
                    <a:gd name="connsiteY1283" fmla="*/ 406075 h 1541722"/>
                    <a:gd name="connsiteX1284" fmla="*/ 1234440 w 4457589"/>
                    <a:gd name="connsiteY1284" fmla="*/ 400924 h 1541722"/>
                    <a:gd name="connsiteX1285" fmla="*/ 1237015 w 4457589"/>
                    <a:gd name="connsiteY1285" fmla="*/ 397439 h 1541722"/>
                    <a:gd name="connsiteX1286" fmla="*/ 1239440 w 4457589"/>
                    <a:gd name="connsiteY1286" fmla="*/ 394560 h 1541722"/>
                    <a:gd name="connsiteX1287" fmla="*/ 1240803 w 4457589"/>
                    <a:gd name="connsiteY1287" fmla="*/ 391984 h 1541722"/>
                    <a:gd name="connsiteX1288" fmla="*/ 1241561 w 4457589"/>
                    <a:gd name="connsiteY1288" fmla="*/ 373802 h 1541722"/>
                    <a:gd name="connsiteX1289" fmla="*/ 1240803 w 4457589"/>
                    <a:gd name="connsiteY1289" fmla="*/ 366832 h 1541722"/>
                    <a:gd name="connsiteX1290" fmla="*/ 1237470 w 4457589"/>
                    <a:gd name="connsiteY1290" fmla="*/ 357286 h 1541722"/>
                    <a:gd name="connsiteX1291" fmla="*/ 1223833 w 4457589"/>
                    <a:gd name="connsiteY1291" fmla="*/ 349558 h 1541722"/>
                    <a:gd name="connsiteX1292" fmla="*/ 1217924 w 4457589"/>
                    <a:gd name="connsiteY1292" fmla="*/ 341831 h 1541722"/>
                    <a:gd name="connsiteX1293" fmla="*/ 1218379 w 4457589"/>
                    <a:gd name="connsiteY1293" fmla="*/ 339103 h 1541722"/>
                    <a:gd name="connsiteX1294" fmla="*/ 1219136 w 4457589"/>
                    <a:gd name="connsiteY1294" fmla="*/ 337285 h 1541722"/>
                    <a:gd name="connsiteX1295" fmla="*/ 1225197 w 4457589"/>
                    <a:gd name="connsiteY1295" fmla="*/ 334255 h 1541722"/>
                    <a:gd name="connsiteX1296" fmla="*/ 1229288 w 4457589"/>
                    <a:gd name="connsiteY1296" fmla="*/ 329861 h 1541722"/>
                    <a:gd name="connsiteX1297" fmla="*/ 1231864 w 4457589"/>
                    <a:gd name="connsiteY1297" fmla="*/ 323345 h 1541722"/>
                    <a:gd name="connsiteX1298" fmla="*/ 1237319 w 4457589"/>
                    <a:gd name="connsiteY1298" fmla="*/ 313648 h 1541722"/>
                    <a:gd name="connsiteX1299" fmla="*/ 1238682 w 4457589"/>
                    <a:gd name="connsiteY1299" fmla="*/ 310163 h 1541722"/>
                    <a:gd name="connsiteX1300" fmla="*/ 1242167 w 4457589"/>
                    <a:gd name="connsiteY1300" fmla="*/ 296677 h 1541722"/>
                    <a:gd name="connsiteX1301" fmla="*/ 1243077 w 4457589"/>
                    <a:gd name="connsiteY1301" fmla="*/ 289405 h 1541722"/>
                    <a:gd name="connsiteX1302" fmla="*/ 1243834 w 4457589"/>
                    <a:gd name="connsiteY1302" fmla="*/ 278647 h 1541722"/>
                    <a:gd name="connsiteX1303" fmla="*/ 1238985 w 4457589"/>
                    <a:gd name="connsiteY1303" fmla="*/ 275768 h 1541722"/>
                    <a:gd name="connsiteX1304" fmla="*/ 1233834 w 4457589"/>
                    <a:gd name="connsiteY1304" fmla="*/ 273495 h 1541722"/>
                    <a:gd name="connsiteX1305" fmla="*/ 1224439 w 4457589"/>
                    <a:gd name="connsiteY1305" fmla="*/ 271374 h 1541722"/>
                    <a:gd name="connsiteX1306" fmla="*/ 1219742 w 4457589"/>
                    <a:gd name="connsiteY1306" fmla="*/ 271980 h 1541722"/>
                    <a:gd name="connsiteX1307" fmla="*/ 1211105 w 4457589"/>
                    <a:gd name="connsiteY1307" fmla="*/ 267586 h 1541722"/>
                    <a:gd name="connsiteX1308" fmla="*/ 1207924 w 4457589"/>
                    <a:gd name="connsiteY1308" fmla="*/ 266979 h 1541722"/>
                    <a:gd name="connsiteX1309" fmla="*/ 1184741 w 4457589"/>
                    <a:gd name="connsiteY1309" fmla="*/ 268192 h 1541722"/>
                    <a:gd name="connsiteX1310" fmla="*/ 1171559 w 4457589"/>
                    <a:gd name="connsiteY1310" fmla="*/ 267586 h 1541722"/>
                    <a:gd name="connsiteX1311" fmla="*/ 1163831 w 4457589"/>
                    <a:gd name="connsiteY1311" fmla="*/ 268646 h 1541722"/>
                    <a:gd name="connsiteX1312" fmla="*/ 1159740 w 4457589"/>
                    <a:gd name="connsiteY1312" fmla="*/ 268495 h 1541722"/>
                    <a:gd name="connsiteX1313" fmla="*/ 1157164 w 4457589"/>
                    <a:gd name="connsiteY1313" fmla="*/ 267889 h 1541722"/>
                    <a:gd name="connsiteX1314" fmla="*/ 1157619 w 4457589"/>
                    <a:gd name="connsiteY1314" fmla="*/ 266070 h 1541722"/>
                    <a:gd name="connsiteX1315" fmla="*/ 1158982 w 4457589"/>
                    <a:gd name="connsiteY1315" fmla="*/ 264707 h 1541722"/>
                    <a:gd name="connsiteX1316" fmla="*/ 1158528 w 4457589"/>
                    <a:gd name="connsiteY1316" fmla="*/ 263646 h 1541722"/>
                    <a:gd name="connsiteX1317" fmla="*/ 1156255 w 4457589"/>
                    <a:gd name="connsiteY1317" fmla="*/ 263494 h 1541722"/>
                    <a:gd name="connsiteX1318" fmla="*/ 1150194 w 4457589"/>
                    <a:gd name="connsiteY1318" fmla="*/ 264858 h 1541722"/>
                    <a:gd name="connsiteX1319" fmla="*/ 1140648 w 4457589"/>
                    <a:gd name="connsiteY1319" fmla="*/ 279707 h 1541722"/>
                    <a:gd name="connsiteX1320" fmla="*/ 1134891 w 4457589"/>
                    <a:gd name="connsiteY1320" fmla="*/ 294102 h 1541722"/>
                    <a:gd name="connsiteX1321" fmla="*/ 1128830 w 4457589"/>
                    <a:gd name="connsiteY1321" fmla="*/ 313648 h 1541722"/>
                    <a:gd name="connsiteX1322" fmla="*/ 1125042 w 4457589"/>
                    <a:gd name="connsiteY1322" fmla="*/ 321830 h 1541722"/>
                    <a:gd name="connsiteX1323" fmla="*/ 1119587 w 4457589"/>
                    <a:gd name="connsiteY1323" fmla="*/ 330467 h 1541722"/>
                    <a:gd name="connsiteX1324" fmla="*/ 1111102 w 4457589"/>
                    <a:gd name="connsiteY1324" fmla="*/ 337285 h 1541722"/>
                    <a:gd name="connsiteX1325" fmla="*/ 1099586 w 4457589"/>
                    <a:gd name="connsiteY1325" fmla="*/ 344255 h 1541722"/>
                    <a:gd name="connsiteX1326" fmla="*/ 1092313 w 4457589"/>
                    <a:gd name="connsiteY1326" fmla="*/ 347437 h 1541722"/>
                    <a:gd name="connsiteX1327" fmla="*/ 1082616 w 4457589"/>
                    <a:gd name="connsiteY1327" fmla="*/ 350770 h 1541722"/>
                    <a:gd name="connsiteX1328" fmla="*/ 1078525 w 4457589"/>
                    <a:gd name="connsiteY1328" fmla="*/ 357892 h 1541722"/>
                    <a:gd name="connsiteX1329" fmla="*/ 1074888 w 4457589"/>
                    <a:gd name="connsiteY1329" fmla="*/ 360922 h 1541722"/>
                    <a:gd name="connsiteX1330" fmla="*/ 1076404 w 4457589"/>
                    <a:gd name="connsiteY1330" fmla="*/ 362892 h 1541722"/>
                    <a:gd name="connsiteX1331" fmla="*/ 1080646 w 4457589"/>
                    <a:gd name="connsiteY1331" fmla="*/ 361680 h 1541722"/>
                    <a:gd name="connsiteX1332" fmla="*/ 1078222 w 4457589"/>
                    <a:gd name="connsiteY1332" fmla="*/ 366832 h 1541722"/>
                    <a:gd name="connsiteX1333" fmla="*/ 1075646 w 4457589"/>
                    <a:gd name="connsiteY1333" fmla="*/ 369862 h 1541722"/>
                    <a:gd name="connsiteX1334" fmla="*/ 1075949 w 4457589"/>
                    <a:gd name="connsiteY1334" fmla="*/ 371680 h 1541722"/>
                    <a:gd name="connsiteX1335" fmla="*/ 1076707 w 4457589"/>
                    <a:gd name="connsiteY1335" fmla="*/ 373953 h 1541722"/>
                    <a:gd name="connsiteX1336" fmla="*/ 1079888 w 4457589"/>
                    <a:gd name="connsiteY1336" fmla="*/ 375014 h 1541722"/>
                    <a:gd name="connsiteX1337" fmla="*/ 1088677 w 4457589"/>
                    <a:gd name="connsiteY1337" fmla="*/ 373044 h 1541722"/>
                    <a:gd name="connsiteX1338" fmla="*/ 1090646 w 4457589"/>
                    <a:gd name="connsiteY1338" fmla="*/ 375014 h 1541722"/>
                    <a:gd name="connsiteX1339" fmla="*/ 1092616 w 4457589"/>
                    <a:gd name="connsiteY1339" fmla="*/ 378044 h 1541722"/>
                    <a:gd name="connsiteX1340" fmla="*/ 1091556 w 4457589"/>
                    <a:gd name="connsiteY1340" fmla="*/ 389863 h 1541722"/>
                    <a:gd name="connsiteX1341" fmla="*/ 1089131 w 4457589"/>
                    <a:gd name="connsiteY1341" fmla="*/ 400015 h 1541722"/>
                    <a:gd name="connsiteX1342" fmla="*/ 1088828 w 4457589"/>
                    <a:gd name="connsiteY1342" fmla="*/ 403651 h 1541722"/>
                    <a:gd name="connsiteX1343" fmla="*/ 1090192 w 4457589"/>
                    <a:gd name="connsiteY1343" fmla="*/ 406075 h 1541722"/>
                    <a:gd name="connsiteX1344" fmla="*/ 1091404 w 4457589"/>
                    <a:gd name="connsiteY1344" fmla="*/ 409257 h 1541722"/>
                    <a:gd name="connsiteX1345" fmla="*/ 1088677 w 4457589"/>
                    <a:gd name="connsiteY1345" fmla="*/ 413045 h 1541722"/>
                    <a:gd name="connsiteX1346" fmla="*/ 1086707 w 4457589"/>
                    <a:gd name="connsiteY1346" fmla="*/ 414258 h 1541722"/>
                    <a:gd name="connsiteX1347" fmla="*/ 1082767 w 4457589"/>
                    <a:gd name="connsiteY1347" fmla="*/ 413803 h 1541722"/>
                    <a:gd name="connsiteX1348" fmla="*/ 1080192 w 4457589"/>
                    <a:gd name="connsiteY1348" fmla="*/ 422288 h 1541722"/>
                    <a:gd name="connsiteX1349" fmla="*/ 1079434 w 4457589"/>
                    <a:gd name="connsiteY1349" fmla="*/ 427288 h 1541722"/>
                    <a:gd name="connsiteX1350" fmla="*/ 1079434 w 4457589"/>
                    <a:gd name="connsiteY1350" fmla="*/ 431228 h 1541722"/>
                    <a:gd name="connsiteX1351" fmla="*/ 1080495 w 4457589"/>
                    <a:gd name="connsiteY1351" fmla="*/ 433652 h 1541722"/>
                    <a:gd name="connsiteX1352" fmla="*/ 1082010 w 4457589"/>
                    <a:gd name="connsiteY1352" fmla="*/ 436228 h 1541722"/>
                    <a:gd name="connsiteX1353" fmla="*/ 1083070 w 4457589"/>
                    <a:gd name="connsiteY1353" fmla="*/ 434258 h 1541722"/>
                    <a:gd name="connsiteX1354" fmla="*/ 1083828 w 4457589"/>
                    <a:gd name="connsiteY1354" fmla="*/ 431379 h 1541722"/>
                    <a:gd name="connsiteX1355" fmla="*/ 1086555 w 4457589"/>
                    <a:gd name="connsiteY1355" fmla="*/ 429410 h 1541722"/>
                    <a:gd name="connsiteX1356" fmla="*/ 1101859 w 4457589"/>
                    <a:gd name="connsiteY1356" fmla="*/ 434864 h 1541722"/>
                    <a:gd name="connsiteX1357" fmla="*/ 1105950 w 4457589"/>
                    <a:gd name="connsiteY1357" fmla="*/ 437440 h 1541722"/>
                    <a:gd name="connsiteX1358" fmla="*/ 1112314 w 4457589"/>
                    <a:gd name="connsiteY1358" fmla="*/ 439865 h 1541722"/>
                    <a:gd name="connsiteX1359" fmla="*/ 1114132 w 4457589"/>
                    <a:gd name="connsiteY1359" fmla="*/ 442743 h 1541722"/>
                    <a:gd name="connsiteX1360" fmla="*/ 1115344 w 4457589"/>
                    <a:gd name="connsiteY1360" fmla="*/ 451683 h 1541722"/>
                    <a:gd name="connsiteX1361" fmla="*/ 1121860 w 4457589"/>
                    <a:gd name="connsiteY1361" fmla="*/ 459865 h 1541722"/>
                    <a:gd name="connsiteX1362" fmla="*/ 1127012 w 4457589"/>
                    <a:gd name="connsiteY1362" fmla="*/ 464562 h 1541722"/>
                    <a:gd name="connsiteX1363" fmla="*/ 1130193 w 4457589"/>
                    <a:gd name="connsiteY1363" fmla="*/ 466532 h 1541722"/>
                    <a:gd name="connsiteX1364" fmla="*/ 1133072 w 4457589"/>
                    <a:gd name="connsiteY1364" fmla="*/ 466987 h 1541722"/>
                    <a:gd name="connsiteX1365" fmla="*/ 1137467 w 4457589"/>
                    <a:gd name="connsiteY1365" fmla="*/ 465168 h 1541722"/>
                    <a:gd name="connsiteX1366" fmla="*/ 1143376 w 4457589"/>
                    <a:gd name="connsiteY1366" fmla="*/ 465472 h 1541722"/>
                    <a:gd name="connsiteX1367" fmla="*/ 1140194 w 4457589"/>
                    <a:gd name="connsiteY1367" fmla="*/ 471835 h 1541722"/>
                    <a:gd name="connsiteX1368" fmla="*/ 1134891 w 4457589"/>
                    <a:gd name="connsiteY1368" fmla="*/ 483806 h 1541722"/>
                    <a:gd name="connsiteX1369" fmla="*/ 1125951 w 4457589"/>
                    <a:gd name="connsiteY1369" fmla="*/ 494109 h 1541722"/>
                    <a:gd name="connsiteX1370" fmla="*/ 1122315 w 4457589"/>
                    <a:gd name="connsiteY1370" fmla="*/ 495776 h 1541722"/>
                    <a:gd name="connsiteX1371" fmla="*/ 1116405 w 4457589"/>
                    <a:gd name="connsiteY1371" fmla="*/ 491533 h 1541722"/>
                    <a:gd name="connsiteX1372" fmla="*/ 1104738 w 4457589"/>
                    <a:gd name="connsiteY1372" fmla="*/ 486381 h 1541722"/>
                    <a:gd name="connsiteX1373" fmla="*/ 1102314 w 4457589"/>
                    <a:gd name="connsiteY1373" fmla="*/ 483199 h 1541722"/>
                    <a:gd name="connsiteX1374" fmla="*/ 1088828 w 4457589"/>
                    <a:gd name="connsiteY1374" fmla="*/ 474866 h 1541722"/>
                    <a:gd name="connsiteX1375" fmla="*/ 1084889 w 4457589"/>
                    <a:gd name="connsiteY1375" fmla="*/ 469108 h 1541722"/>
                    <a:gd name="connsiteX1376" fmla="*/ 1078070 w 4457589"/>
                    <a:gd name="connsiteY1376" fmla="*/ 468199 h 1541722"/>
                    <a:gd name="connsiteX1377" fmla="*/ 1068828 w 4457589"/>
                    <a:gd name="connsiteY1377" fmla="*/ 465623 h 1541722"/>
                    <a:gd name="connsiteX1378" fmla="*/ 1067464 w 4457589"/>
                    <a:gd name="connsiteY1378" fmla="*/ 464865 h 1541722"/>
                    <a:gd name="connsiteX1379" fmla="*/ 1059736 w 4457589"/>
                    <a:gd name="connsiteY1379" fmla="*/ 461380 h 1541722"/>
                    <a:gd name="connsiteX1380" fmla="*/ 1052312 w 4457589"/>
                    <a:gd name="connsiteY1380" fmla="*/ 459411 h 1541722"/>
                    <a:gd name="connsiteX1381" fmla="*/ 1050190 w 4457589"/>
                    <a:gd name="connsiteY1381" fmla="*/ 456683 h 1541722"/>
                    <a:gd name="connsiteX1382" fmla="*/ 1044584 w 4457589"/>
                    <a:gd name="connsiteY1382" fmla="*/ 454714 h 1541722"/>
                    <a:gd name="connsiteX1383" fmla="*/ 1038978 w 4457589"/>
                    <a:gd name="connsiteY1383" fmla="*/ 453350 h 1541722"/>
                    <a:gd name="connsiteX1384" fmla="*/ 1030947 w 4457589"/>
                    <a:gd name="connsiteY1384" fmla="*/ 450016 h 1541722"/>
                    <a:gd name="connsiteX1385" fmla="*/ 1027311 w 4457589"/>
                    <a:gd name="connsiteY1385" fmla="*/ 451077 h 1541722"/>
                    <a:gd name="connsiteX1386" fmla="*/ 1028069 w 4457589"/>
                    <a:gd name="connsiteY1386" fmla="*/ 447441 h 1541722"/>
                    <a:gd name="connsiteX1387" fmla="*/ 1018977 w 4457589"/>
                    <a:gd name="connsiteY1387" fmla="*/ 441986 h 1541722"/>
                    <a:gd name="connsiteX1388" fmla="*/ 1007916 w 4457589"/>
                    <a:gd name="connsiteY1388" fmla="*/ 437289 h 1541722"/>
                    <a:gd name="connsiteX1389" fmla="*/ 985188 w 4457589"/>
                    <a:gd name="connsiteY1389" fmla="*/ 430319 h 1541722"/>
                    <a:gd name="connsiteX1390" fmla="*/ 965339 w 4457589"/>
                    <a:gd name="connsiteY1390" fmla="*/ 427137 h 1541722"/>
                    <a:gd name="connsiteX1391" fmla="*/ 941702 w 4457589"/>
                    <a:gd name="connsiteY1391" fmla="*/ 426076 h 1541722"/>
                    <a:gd name="connsiteX1392" fmla="*/ 921095 w 4457589"/>
                    <a:gd name="connsiteY1392" fmla="*/ 421834 h 1541722"/>
                    <a:gd name="connsiteX1393" fmla="*/ 918216 w 4457589"/>
                    <a:gd name="connsiteY1393" fmla="*/ 421985 h 1541722"/>
                    <a:gd name="connsiteX1394" fmla="*/ 915488 w 4457589"/>
                    <a:gd name="connsiteY1394" fmla="*/ 423197 h 1541722"/>
                    <a:gd name="connsiteX1395" fmla="*/ 908518 w 4457589"/>
                    <a:gd name="connsiteY1395" fmla="*/ 429561 h 1541722"/>
                    <a:gd name="connsiteX1396" fmla="*/ 900791 w 4457589"/>
                    <a:gd name="connsiteY1396" fmla="*/ 431531 h 1541722"/>
                    <a:gd name="connsiteX1397" fmla="*/ 897912 w 4457589"/>
                    <a:gd name="connsiteY1397" fmla="*/ 434561 h 1541722"/>
                    <a:gd name="connsiteX1398" fmla="*/ 902458 w 4457589"/>
                    <a:gd name="connsiteY1398" fmla="*/ 440925 h 1541722"/>
                    <a:gd name="connsiteX1399" fmla="*/ 911397 w 4457589"/>
                    <a:gd name="connsiteY1399" fmla="*/ 457744 h 1541722"/>
                    <a:gd name="connsiteX1400" fmla="*/ 916701 w 4457589"/>
                    <a:gd name="connsiteY1400" fmla="*/ 456077 h 1541722"/>
                    <a:gd name="connsiteX1401" fmla="*/ 918822 w 4457589"/>
                    <a:gd name="connsiteY1401" fmla="*/ 463653 h 1541722"/>
                    <a:gd name="connsiteX1402" fmla="*/ 915640 w 4457589"/>
                    <a:gd name="connsiteY1402" fmla="*/ 468047 h 1541722"/>
                    <a:gd name="connsiteX1403" fmla="*/ 910791 w 4457589"/>
                    <a:gd name="connsiteY1403" fmla="*/ 473199 h 1541722"/>
                    <a:gd name="connsiteX1404" fmla="*/ 906700 w 4457589"/>
                    <a:gd name="connsiteY1404" fmla="*/ 476078 h 1541722"/>
                    <a:gd name="connsiteX1405" fmla="*/ 897609 w 4457589"/>
                    <a:gd name="connsiteY1405" fmla="*/ 477442 h 1541722"/>
                    <a:gd name="connsiteX1406" fmla="*/ 890487 w 4457589"/>
                    <a:gd name="connsiteY1406" fmla="*/ 477139 h 1541722"/>
                    <a:gd name="connsiteX1407" fmla="*/ 889578 w 4457589"/>
                    <a:gd name="connsiteY1407" fmla="*/ 481987 h 1541722"/>
                    <a:gd name="connsiteX1408" fmla="*/ 891700 w 4457589"/>
                    <a:gd name="connsiteY1408" fmla="*/ 486533 h 1541722"/>
                    <a:gd name="connsiteX1409" fmla="*/ 891094 w 4457589"/>
                    <a:gd name="connsiteY1409" fmla="*/ 488351 h 1541722"/>
                    <a:gd name="connsiteX1410" fmla="*/ 890487 w 4457589"/>
                    <a:gd name="connsiteY1410" fmla="*/ 490624 h 1541722"/>
                    <a:gd name="connsiteX1411" fmla="*/ 889427 w 4457589"/>
                    <a:gd name="connsiteY1411" fmla="*/ 491836 h 1541722"/>
                    <a:gd name="connsiteX1412" fmla="*/ 888518 w 4457589"/>
                    <a:gd name="connsiteY1412" fmla="*/ 492594 h 1541722"/>
                    <a:gd name="connsiteX1413" fmla="*/ 885790 w 4457589"/>
                    <a:gd name="connsiteY1413" fmla="*/ 493957 h 1541722"/>
                    <a:gd name="connsiteX1414" fmla="*/ 882457 w 4457589"/>
                    <a:gd name="connsiteY1414" fmla="*/ 494109 h 1541722"/>
                    <a:gd name="connsiteX1415" fmla="*/ 874426 w 4457589"/>
                    <a:gd name="connsiteY1415" fmla="*/ 491685 h 1541722"/>
                    <a:gd name="connsiteX1416" fmla="*/ 868668 w 4457589"/>
                    <a:gd name="connsiteY1416" fmla="*/ 489563 h 1541722"/>
                    <a:gd name="connsiteX1417" fmla="*/ 868972 w 4457589"/>
                    <a:gd name="connsiteY1417" fmla="*/ 481381 h 1541722"/>
                    <a:gd name="connsiteX1418" fmla="*/ 872002 w 4457589"/>
                    <a:gd name="connsiteY1418" fmla="*/ 477896 h 1541722"/>
                    <a:gd name="connsiteX1419" fmla="*/ 874123 w 4457589"/>
                    <a:gd name="connsiteY1419" fmla="*/ 476987 h 1541722"/>
                    <a:gd name="connsiteX1420" fmla="*/ 876093 w 4457589"/>
                    <a:gd name="connsiteY1420" fmla="*/ 475623 h 1541722"/>
                    <a:gd name="connsiteX1421" fmla="*/ 872002 w 4457589"/>
                    <a:gd name="connsiteY1421" fmla="*/ 470320 h 1541722"/>
                    <a:gd name="connsiteX1422" fmla="*/ 868972 w 4457589"/>
                    <a:gd name="connsiteY1422" fmla="*/ 468047 h 1541722"/>
                    <a:gd name="connsiteX1423" fmla="*/ 867608 w 4457589"/>
                    <a:gd name="connsiteY1423" fmla="*/ 464411 h 1541722"/>
                    <a:gd name="connsiteX1424" fmla="*/ 867456 w 4457589"/>
                    <a:gd name="connsiteY1424" fmla="*/ 462744 h 1541722"/>
                    <a:gd name="connsiteX1425" fmla="*/ 863668 w 4457589"/>
                    <a:gd name="connsiteY1425" fmla="*/ 462896 h 1541722"/>
                    <a:gd name="connsiteX1426" fmla="*/ 848213 w 4457589"/>
                    <a:gd name="connsiteY1426" fmla="*/ 467138 h 1541722"/>
                    <a:gd name="connsiteX1427" fmla="*/ 845031 w 4457589"/>
                    <a:gd name="connsiteY1427" fmla="*/ 471078 h 1541722"/>
                    <a:gd name="connsiteX1428" fmla="*/ 843213 w 4457589"/>
                    <a:gd name="connsiteY1428" fmla="*/ 468350 h 1541722"/>
                    <a:gd name="connsiteX1429" fmla="*/ 823364 w 4457589"/>
                    <a:gd name="connsiteY1429" fmla="*/ 480169 h 1541722"/>
                    <a:gd name="connsiteX1430" fmla="*/ 814727 w 4457589"/>
                    <a:gd name="connsiteY1430" fmla="*/ 484412 h 1541722"/>
                    <a:gd name="connsiteX1431" fmla="*/ 808666 w 4457589"/>
                    <a:gd name="connsiteY1431" fmla="*/ 483806 h 1541722"/>
                    <a:gd name="connsiteX1432" fmla="*/ 800787 w 4457589"/>
                    <a:gd name="connsiteY1432" fmla="*/ 481230 h 1541722"/>
                    <a:gd name="connsiteX1433" fmla="*/ 791393 w 4457589"/>
                    <a:gd name="connsiteY1433" fmla="*/ 481078 h 1541722"/>
                    <a:gd name="connsiteX1434" fmla="*/ 785029 w 4457589"/>
                    <a:gd name="connsiteY1434" fmla="*/ 479866 h 1541722"/>
                    <a:gd name="connsiteX1435" fmla="*/ 781696 w 4457589"/>
                    <a:gd name="connsiteY1435" fmla="*/ 480472 h 1541722"/>
                    <a:gd name="connsiteX1436" fmla="*/ 774877 w 4457589"/>
                    <a:gd name="connsiteY1436" fmla="*/ 483351 h 1541722"/>
                    <a:gd name="connsiteX1437" fmla="*/ 767907 w 4457589"/>
                    <a:gd name="connsiteY1437" fmla="*/ 483806 h 1541722"/>
                    <a:gd name="connsiteX1438" fmla="*/ 760634 w 4457589"/>
                    <a:gd name="connsiteY1438" fmla="*/ 487897 h 1541722"/>
                    <a:gd name="connsiteX1439" fmla="*/ 754422 w 4457589"/>
                    <a:gd name="connsiteY1439" fmla="*/ 492897 h 1541722"/>
                    <a:gd name="connsiteX1440" fmla="*/ 752603 w 4457589"/>
                    <a:gd name="connsiteY1440" fmla="*/ 501079 h 1541722"/>
                    <a:gd name="connsiteX1441" fmla="*/ 748815 w 4457589"/>
                    <a:gd name="connsiteY1441" fmla="*/ 501988 h 1541722"/>
                    <a:gd name="connsiteX1442" fmla="*/ 744422 w 4457589"/>
                    <a:gd name="connsiteY1442" fmla="*/ 497745 h 1541722"/>
                    <a:gd name="connsiteX1443" fmla="*/ 742148 w 4457589"/>
                    <a:gd name="connsiteY1443" fmla="*/ 496685 h 1541722"/>
                    <a:gd name="connsiteX1444" fmla="*/ 739876 w 4457589"/>
                    <a:gd name="connsiteY1444" fmla="*/ 497594 h 1541722"/>
                    <a:gd name="connsiteX1445" fmla="*/ 735482 w 4457589"/>
                    <a:gd name="connsiteY1445" fmla="*/ 498048 h 1541722"/>
                    <a:gd name="connsiteX1446" fmla="*/ 731845 w 4457589"/>
                    <a:gd name="connsiteY1446" fmla="*/ 498352 h 1541722"/>
                    <a:gd name="connsiteX1447" fmla="*/ 728209 w 4457589"/>
                    <a:gd name="connsiteY1447" fmla="*/ 499867 h 1541722"/>
                    <a:gd name="connsiteX1448" fmla="*/ 726694 w 4457589"/>
                    <a:gd name="connsiteY1448" fmla="*/ 499715 h 1541722"/>
                    <a:gd name="connsiteX1449" fmla="*/ 715784 w 4457589"/>
                    <a:gd name="connsiteY1449" fmla="*/ 498352 h 1541722"/>
                    <a:gd name="connsiteX1450" fmla="*/ 712754 w 4457589"/>
                    <a:gd name="connsiteY1450" fmla="*/ 498503 h 1541722"/>
                    <a:gd name="connsiteX1451" fmla="*/ 708814 w 4457589"/>
                    <a:gd name="connsiteY1451" fmla="*/ 498048 h 1541722"/>
                    <a:gd name="connsiteX1452" fmla="*/ 709723 w 4457589"/>
                    <a:gd name="connsiteY1452" fmla="*/ 495927 h 1541722"/>
                    <a:gd name="connsiteX1453" fmla="*/ 711087 w 4457589"/>
                    <a:gd name="connsiteY1453" fmla="*/ 494412 h 1541722"/>
                    <a:gd name="connsiteX1454" fmla="*/ 717299 w 4457589"/>
                    <a:gd name="connsiteY1454" fmla="*/ 493351 h 1541722"/>
                    <a:gd name="connsiteX1455" fmla="*/ 720633 w 4457589"/>
                    <a:gd name="connsiteY1455" fmla="*/ 491533 h 1541722"/>
                    <a:gd name="connsiteX1456" fmla="*/ 724421 w 4457589"/>
                    <a:gd name="connsiteY1456" fmla="*/ 492594 h 1541722"/>
                    <a:gd name="connsiteX1457" fmla="*/ 727148 w 4457589"/>
                    <a:gd name="connsiteY1457" fmla="*/ 490018 h 1541722"/>
                    <a:gd name="connsiteX1458" fmla="*/ 726845 w 4457589"/>
                    <a:gd name="connsiteY1458" fmla="*/ 485169 h 1541722"/>
                    <a:gd name="connsiteX1459" fmla="*/ 722451 w 4457589"/>
                    <a:gd name="connsiteY1459" fmla="*/ 480624 h 1541722"/>
                    <a:gd name="connsiteX1460" fmla="*/ 724572 w 4457589"/>
                    <a:gd name="connsiteY1460" fmla="*/ 476987 h 1541722"/>
                    <a:gd name="connsiteX1461" fmla="*/ 726087 w 4457589"/>
                    <a:gd name="connsiteY1461" fmla="*/ 472593 h 1541722"/>
                    <a:gd name="connsiteX1462" fmla="*/ 727148 w 4457589"/>
                    <a:gd name="connsiteY1462" fmla="*/ 472138 h 1541722"/>
                    <a:gd name="connsiteX1463" fmla="*/ 728360 w 4457589"/>
                    <a:gd name="connsiteY1463" fmla="*/ 470472 h 1541722"/>
                    <a:gd name="connsiteX1464" fmla="*/ 726845 w 4457589"/>
                    <a:gd name="connsiteY1464" fmla="*/ 469260 h 1541722"/>
                    <a:gd name="connsiteX1465" fmla="*/ 723663 w 4457589"/>
                    <a:gd name="connsiteY1465" fmla="*/ 468654 h 1541722"/>
                    <a:gd name="connsiteX1466" fmla="*/ 723512 w 4457589"/>
                    <a:gd name="connsiteY1466" fmla="*/ 467441 h 1541722"/>
                    <a:gd name="connsiteX1467" fmla="*/ 725633 w 4457589"/>
                    <a:gd name="connsiteY1467" fmla="*/ 466532 h 1541722"/>
                    <a:gd name="connsiteX1468" fmla="*/ 739421 w 4457589"/>
                    <a:gd name="connsiteY1468" fmla="*/ 464714 h 1541722"/>
                    <a:gd name="connsiteX1469" fmla="*/ 742603 w 4457589"/>
                    <a:gd name="connsiteY1469" fmla="*/ 463350 h 1541722"/>
                    <a:gd name="connsiteX1470" fmla="*/ 734270 w 4457589"/>
                    <a:gd name="connsiteY1470" fmla="*/ 462896 h 1541722"/>
                    <a:gd name="connsiteX1471" fmla="*/ 723663 w 4457589"/>
                    <a:gd name="connsiteY1471" fmla="*/ 463199 h 1541722"/>
                    <a:gd name="connsiteX1472" fmla="*/ 713057 w 4457589"/>
                    <a:gd name="connsiteY1472" fmla="*/ 467290 h 1541722"/>
                    <a:gd name="connsiteX1473" fmla="*/ 693056 w 4457589"/>
                    <a:gd name="connsiteY1473" fmla="*/ 475926 h 1541722"/>
                    <a:gd name="connsiteX1474" fmla="*/ 683813 w 4457589"/>
                    <a:gd name="connsiteY1474" fmla="*/ 481836 h 1541722"/>
                    <a:gd name="connsiteX1475" fmla="*/ 686238 w 4457589"/>
                    <a:gd name="connsiteY1475" fmla="*/ 481684 h 1541722"/>
                    <a:gd name="connsiteX1476" fmla="*/ 689420 w 4457589"/>
                    <a:gd name="connsiteY1476" fmla="*/ 482593 h 1541722"/>
                    <a:gd name="connsiteX1477" fmla="*/ 692147 w 4457589"/>
                    <a:gd name="connsiteY1477" fmla="*/ 486684 h 1541722"/>
                    <a:gd name="connsiteX1478" fmla="*/ 694117 w 4457589"/>
                    <a:gd name="connsiteY1478" fmla="*/ 487745 h 1541722"/>
                    <a:gd name="connsiteX1479" fmla="*/ 692753 w 4457589"/>
                    <a:gd name="connsiteY1479" fmla="*/ 490472 h 1541722"/>
                    <a:gd name="connsiteX1480" fmla="*/ 687450 w 4457589"/>
                    <a:gd name="connsiteY1480" fmla="*/ 492594 h 1541722"/>
                    <a:gd name="connsiteX1481" fmla="*/ 685177 w 4457589"/>
                    <a:gd name="connsiteY1481" fmla="*/ 493957 h 1541722"/>
                    <a:gd name="connsiteX1482" fmla="*/ 683207 w 4457589"/>
                    <a:gd name="connsiteY1482" fmla="*/ 494564 h 1541722"/>
                    <a:gd name="connsiteX1483" fmla="*/ 681540 w 4457589"/>
                    <a:gd name="connsiteY1483" fmla="*/ 494109 h 1541722"/>
                    <a:gd name="connsiteX1484" fmla="*/ 679419 w 4457589"/>
                    <a:gd name="connsiteY1484" fmla="*/ 492897 h 1541722"/>
                    <a:gd name="connsiteX1485" fmla="*/ 680631 w 4457589"/>
                    <a:gd name="connsiteY1485" fmla="*/ 490776 h 1541722"/>
                    <a:gd name="connsiteX1486" fmla="*/ 682146 w 4457589"/>
                    <a:gd name="connsiteY1486" fmla="*/ 488957 h 1541722"/>
                    <a:gd name="connsiteX1487" fmla="*/ 677904 w 4457589"/>
                    <a:gd name="connsiteY1487" fmla="*/ 485472 h 1541722"/>
                    <a:gd name="connsiteX1488" fmla="*/ 675934 w 4457589"/>
                    <a:gd name="connsiteY1488" fmla="*/ 485018 h 1541722"/>
                    <a:gd name="connsiteX1489" fmla="*/ 674267 w 4457589"/>
                    <a:gd name="connsiteY1489" fmla="*/ 485169 h 1541722"/>
                    <a:gd name="connsiteX1490" fmla="*/ 663964 w 4457589"/>
                    <a:gd name="connsiteY1490" fmla="*/ 488048 h 1541722"/>
                    <a:gd name="connsiteX1491" fmla="*/ 656236 w 4457589"/>
                    <a:gd name="connsiteY1491" fmla="*/ 491533 h 1541722"/>
                    <a:gd name="connsiteX1492" fmla="*/ 649115 w 4457589"/>
                    <a:gd name="connsiteY1492" fmla="*/ 493503 h 1541722"/>
                    <a:gd name="connsiteX1493" fmla="*/ 642600 w 4457589"/>
                    <a:gd name="connsiteY1493" fmla="*/ 494109 h 1541722"/>
                    <a:gd name="connsiteX1494" fmla="*/ 638812 w 4457589"/>
                    <a:gd name="connsiteY1494" fmla="*/ 495624 h 1541722"/>
                    <a:gd name="connsiteX1495" fmla="*/ 630932 w 4457589"/>
                    <a:gd name="connsiteY1495" fmla="*/ 500321 h 1541722"/>
                    <a:gd name="connsiteX1496" fmla="*/ 626084 w 4457589"/>
                    <a:gd name="connsiteY1496" fmla="*/ 502291 h 1541722"/>
                    <a:gd name="connsiteX1497" fmla="*/ 617750 w 4457589"/>
                    <a:gd name="connsiteY1497" fmla="*/ 507594 h 1541722"/>
                    <a:gd name="connsiteX1498" fmla="*/ 596537 w 4457589"/>
                    <a:gd name="connsiteY1498" fmla="*/ 516686 h 1541722"/>
                    <a:gd name="connsiteX1499" fmla="*/ 591082 w 4457589"/>
                    <a:gd name="connsiteY1499" fmla="*/ 517443 h 1541722"/>
                    <a:gd name="connsiteX1500" fmla="*/ 587900 w 4457589"/>
                    <a:gd name="connsiteY1500" fmla="*/ 516837 h 1541722"/>
                    <a:gd name="connsiteX1501" fmla="*/ 585628 w 4457589"/>
                    <a:gd name="connsiteY1501" fmla="*/ 515473 h 1541722"/>
                    <a:gd name="connsiteX1502" fmla="*/ 583961 w 4457589"/>
                    <a:gd name="connsiteY1502" fmla="*/ 516534 h 1541722"/>
                    <a:gd name="connsiteX1503" fmla="*/ 585779 w 4457589"/>
                    <a:gd name="connsiteY1503" fmla="*/ 518807 h 1541722"/>
                    <a:gd name="connsiteX1504" fmla="*/ 588961 w 4457589"/>
                    <a:gd name="connsiteY1504" fmla="*/ 523201 h 1541722"/>
                    <a:gd name="connsiteX1505" fmla="*/ 587749 w 4457589"/>
                    <a:gd name="connsiteY1505" fmla="*/ 525625 h 1541722"/>
                    <a:gd name="connsiteX1506" fmla="*/ 582900 w 4457589"/>
                    <a:gd name="connsiteY1506" fmla="*/ 525019 h 1541722"/>
                    <a:gd name="connsiteX1507" fmla="*/ 572597 w 4457589"/>
                    <a:gd name="connsiteY1507" fmla="*/ 526989 h 1541722"/>
                    <a:gd name="connsiteX1508" fmla="*/ 561536 w 4457589"/>
                    <a:gd name="connsiteY1508" fmla="*/ 530171 h 1541722"/>
                    <a:gd name="connsiteX1509" fmla="*/ 561688 w 4457589"/>
                    <a:gd name="connsiteY1509" fmla="*/ 533353 h 1541722"/>
                    <a:gd name="connsiteX1510" fmla="*/ 562445 w 4457589"/>
                    <a:gd name="connsiteY1510" fmla="*/ 536232 h 1541722"/>
                    <a:gd name="connsiteX1511" fmla="*/ 560475 w 4457589"/>
                    <a:gd name="connsiteY1511" fmla="*/ 540777 h 1541722"/>
                    <a:gd name="connsiteX1512" fmla="*/ 558657 w 4457589"/>
                    <a:gd name="connsiteY1512" fmla="*/ 544565 h 1541722"/>
                    <a:gd name="connsiteX1513" fmla="*/ 556990 w 4457589"/>
                    <a:gd name="connsiteY1513" fmla="*/ 555172 h 1541722"/>
                    <a:gd name="connsiteX1514" fmla="*/ 555475 w 4457589"/>
                    <a:gd name="connsiteY1514" fmla="*/ 558354 h 1541722"/>
                    <a:gd name="connsiteX1515" fmla="*/ 551233 w 4457589"/>
                    <a:gd name="connsiteY1515" fmla="*/ 560475 h 1541722"/>
                    <a:gd name="connsiteX1516" fmla="*/ 529110 w 4457589"/>
                    <a:gd name="connsiteY1516" fmla="*/ 565324 h 1541722"/>
                    <a:gd name="connsiteX1517" fmla="*/ 525322 w 4457589"/>
                    <a:gd name="connsiteY1517" fmla="*/ 565627 h 1541722"/>
                    <a:gd name="connsiteX1518" fmla="*/ 523656 w 4457589"/>
                    <a:gd name="connsiteY1518" fmla="*/ 566536 h 1541722"/>
                    <a:gd name="connsiteX1519" fmla="*/ 522443 w 4457589"/>
                    <a:gd name="connsiteY1519" fmla="*/ 565627 h 1541722"/>
                    <a:gd name="connsiteX1520" fmla="*/ 518352 w 4457589"/>
                    <a:gd name="connsiteY1520" fmla="*/ 564566 h 1541722"/>
                    <a:gd name="connsiteX1521" fmla="*/ 512595 w 4457589"/>
                    <a:gd name="connsiteY1521" fmla="*/ 564566 h 1541722"/>
                    <a:gd name="connsiteX1522" fmla="*/ 509867 w 4457589"/>
                    <a:gd name="connsiteY1522" fmla="*/ 564112 h 1541722"/>
                    <a:gd name="connsiteX1523" fmla="*/ 507140 w 4457589"/>
                    <a:gd name="connsiteY1523" fmla="*/ 562293 h 1541722"/>
                    <a:gd name="connsiteX1524" fmla="*/ 503503 w 4457589"/>
                    <a:gd name="connsiteY1524" fmla="*/ 557748 h 1541722"/>
                    <a:gd name="connsiteX1525" fmla="*/ 498200 w 4457589"/>
                    <a:gd name="connsiteY1525" fmla="*/ 548656 h 1541722"/>
                    <a:gd name="connsiteX1526" fmla="*/ 486685 w 4457589"/>
                    <a:gd name="connsiteY1526" fmla="*/ 544111 h 1541722"/>
                    <a:gd name="connsiteX1527" fmla="*/ 481230 w 4457589"/>
                    <a:gd name="connsiteY1527" fmla="*/ 541080 h 1541722"/>
                    <a:gd name="connsiteX1528" fmla="*/ 480169 w 4457589"/>
                    <a:gd name="connsiteY1528" fmla="*/ 538050 h 1541722"/>
                    <a:gd name="connsiteX1529" fmla="*/ 481230 w 4457589"/>
                    <a:gd name="connsiteY1529" fmla="*/ 535171 h 1541722"/>
                    <a:gd name="connsiteX1530" fmla="*/ 493049 w 4457589"/>
                    <a:gd name="connsiteY1530" fmla="*/ 525171 h 1541722"/>
                    <a:gd name="connsiteX1531" fmla="*/ 497291 w 4457589"/>
                    <a:gd name="connsiteY1531" fmla="*/ 521989 h 1541722"/>
                    <a:gd name="connsiteX1532" fmla="*/ 515019 w 4457589"/>
                    <a:gd name="connsiteY1532" fmla="*/ 519110 h 1541722"/>
                    <a:gd name="connsiteX1533" fmla="*/ 521989 w 4457589"/>
                    <a:gd name="connsiteY1533" fmla="*/ 518958 h 1541722"/>
                    <a:gd name="connsiteX1534" fmla="*/ 529110 w 4457589"/>
                    <a:gd name="connsiteY1534" fmla="*/ 517746 h 1541722"/>
                    <a:gd name="connsiteX1535" fmla="*/ 528959 w 4457589"/>
                    <a:gd name="connsiteY1535" fmla="*/ 511988 h 1541722"/>
                    <a:gd name="connsiteX1536" fmla="*/ 521989 w 4457589"/>
                    <a:gd name="connsiteY1536" fmla="*/ 505018 h 1541722"/>
                    <a:gd name="connsiteX1537" fmla="*/ 514564 w 4457589"/>
                    <a:gd name="connsiteY1537" fmla="*/ 496836 h 1541722"/>
                    <a:gd name="connsiteX1538" fmla="*/ 507291 w 4457589"/>
                    <a:gd name="connsiteY1538" fmla="*/ 487897 h 1541722"/>
                    <a:gd name="connsiteX1539" fmla="*/ 497140 w 4457589"/>
                    <a:gd name="connsiteY1539" fmla="*/ 484715 h 1541722"/>
                    <a:gd name="connsiteX1540" fmla="*/ 485018 w 4457589"/>
                    <a:gd name="connsiteY1540" fmla="*/ 483199 h 1541722"/>
                    <a:gd name="connsiteX1541" fmla="*/ 460320 w 4457589"/>
                    <a:gd name="connsiteY1541" fmla="*/ 485018 h 1541722"/>
                    <a:gd name="connsiteX1542" fmla="*/ 456835 w 4457589"/>
                    <a:gd name="connsiteY1542" fmla="*/ 484715 h 1541722"/>
                    <a:gd name="connsiteX1543" fmla="*/ 441077 w 4457589"/>
                    <a:gd name="connsiteY1543" fmla="*/ 478351 h 1541722"/>
                    <a:gd name="connsiteX1544" fmla="*/ 439410 w 4457589"/>
                    <a:gd name="connsiteY1544" fmla="*/ 478351 h 1541722"/>
                    <a:gd name="connsiteX1545" fmla="*/ 437289 w 4457589"/>
                    <a:gd name="connsiteY1545" fmla="*/ 478654 h 1541722"/>
                    <a:gd name="connsiteX1546" fmla="*/ 437895 w 4457589"/>
                    <a:gd name="connsiteY1546" fmla="*/ 480472 h 1541722"/>
                    <a:gd name="connsiteX1547" fmla="*/ 439259 w 4457589"/>
                    <a:gd name="connsiteY1547" fmla="*/ 481836 h 1541722"/>
                    <a:gd name="connsiteX1548" fmla="*/ 460169 w 4457589"/>
                    <a:gd name="connsiteY1548" fmla="*/ 495170 h 1541722"/>
                    <a:gd name="connsiteX1549" fmla="*/ 461078 w 4457589"/>
                    <a:gd name="connsiteY1549" fmla="*/ 498655 h 1541722"/>
                    <a:gd name="connsiteX1550" fmla="*/ 461684 w 4457589"/>
                    <a:gd name="connsiteY1550" fmla="*/ 503352 h 1541722"/>
                    <a:gd name="connsiteX1551" fmla="*/ 461380 w 4457589"/>
                    <a:gd name="connsiteY1551" fmla="*/ 505321 h 1541722"/>
                    <a:gd name="connsiteX1552" fmla="*/ 461835 w 4457589"/>
                    <a:gd name="connsiteY1552" fmla="*/ 507291 h 1541722"/>
                    <a:gd name="connsiteX1553" fmla="*/ 461684 w 4457589"/>
                    <a:gd name="connsiteY1553" fmla="*/ 510776 h 1541722"/>
                    <a:gd name="connsiteX1554" fmla="*/ 456532 w 4457589"/>
                    <a:gd name="connsiteY1554" fmla="*/ 526080 h 1541722"/>
                    <a:gd name="connsiteX1555" fmla="*/ 451532 w 4457589"/>
                    <a:gd name="connsiteY1555" fmla="*/ 536838 h 1541722"/>
                    <a:gd name="connsiteX1556" fmla="*/ 449865 w 4457589"/>
                    <a:gd name="connsiteY1556" fmla="*/ 541989 h 1541722"/>
                    <a:gd name="connsiteX1557" fmla="*/ 449562 w 4457589"/>
                    <a:gd name="connsiteY1557" fmla="*/ 545474 h 1541722"/>
                    <a:gd name="connsiteX1558" fmla="*/ 451532 w 4457589"/>
                    <a:gd name="connsiteY1558" fmla="*/ 548505 h 1541722"/>
                    <a:gd name="connsiteX1559" fmla="*/ 457592 w 4457589"/>
                    <a:gd name="connsiteY1559" fmla="*/ 549566 h 1541722"/>
                    <a:gd name="connsiteX1560" fmla="*/ 463502 w 4457589"/>
                    <a:gd name="connsiteY1560" fmla="*/ 552747 h 1541722"/>
                    <a:gd name="connsiteX1561" fmla="*/ 466533 w 4457589"/>
                    <a:gd name="connsiteY1561" fmla="*/ 557142 h 1541722"/>
                    <a:gd name="connsiteX1562" fmla="*/ 467290 w 4457589"/>
                    <a:gd name="connsiteY1562" fmla="*/ 560172 h 1541722"/>
                    <a:gd name="connsiteX1563" fmla="*/ 467442 w 4457589"/>
                    <a:gd name="connsiteY1563" fmla="*/ 566687 h 1541722"/>
                    <a:gd name="connsiteX1564" fmla="*/ 468805 w 4457589"/>
                    <a:gd name="connsiteY1564" fmla="*/ 572445 h 1541722"/>
                    <a:gd name="connsiteX1565" fmla="*/ 464108 w 4457589"/>
                    <a:gd name="connsiteY1565" fmla="*/ 581082 h 1541722"/>
                    <a:gd name="connsiteX1566" fmla="*/ 461532 w 4457589"/>
                    <a:gd name="connsiteY1566" fmla="*/ 584567 h 1541722"/>
                    <a:gd name="connsiteX1567" fmla="*/ 458199 w 4457589"/>
                    <a:gd name="connsiteY1567" fmla="*/ 592294 h 1541722"/>
                    <a:gd name="connsiteX1568" fmla="*/ 459411 w 4457589"/>
                    <a:gd name="connsiteY1568" fmla="*/ 597901 h 1541722"/>
                    <a:gd name="connsiteX1569" fmla="*/ 459108 w 4457589"/>
                    <a:gd name="connsiteY1569" fmla="*/ 600173 h 1541722"/>
                    <a:gd name="connsiteX1570" fmla="*/ 458350 w 4457589"/>
                    <a:gd name="connsiteY1570" fmla="*/ 602598 h 1541722"/>
                    <a:gd name="connsiteX1571" fmla="*/ 455926 w 4457589"/>
                    <a:gd name="connsiteY1571" fmla="*/ 600780 h 1541722"/>
                    <a:gd name="connsiteX1572" fmla="*/ 453956 w 4457589"/>
                    <a:gd name="connsiteY1572" fmla="*/ 598507 h 1541722"/>
                    <a:gd name="connsiteX1573" fmla="*/ 451229 w 4457589"/>
                    <a:gd name="connsiteY1573" fmla="*/ 596537 h 1541722"/>
                    <a:gd name="connsiteX1574" fmla="*/ 448350 w 4457589"/>
                    <a:gd name="connsiteY1574" fmla="*/ 595931 h 1541722"/>
                    <a:gd name="connsiteX1575" fmla="*/ 445168 w 4457589"/>
                    <a:gd name="connsiteY1575" fmla="*/ 596385 h 1541722"/>
                    <a:gd name="connsiteX1576" fmla="*/ 442895 w 4457589"/>
                    <a:gd name="connsiteY1576" fmla="*/ 597446 h 1541722"/>
                    <a:gd name="connsiteX1577" fmla="*/ 443198 w 4457589"/>
                    <a:gd name="connsiteY1577" fmla="*/ 595173 h 1541722"/>
                    <a:gd name="connsiteX1578" fmla="*/ 446077 w 4457589"/>
                    <a:gd name="connsiteY1578" fmla="*/ 591688 h 1541722"/>
                    <a:gd name="connsiteX1579" fmla="*/ 444714 w 4457589"/>
                    <a:gd name="connsiteY1579" fmla="*/ 589870 h 1541722"/>
                    <a:gd name="connsiteX1580" fmla="*/ 443198 w 4457589"/>
                    <a:gd name="connsiteY1580" fmla="*/ 588506 h 1541722"/>
                    <a:gd name="connsiteX1581" fmla="*/ 434561 w 4457589"/>
                    <a:gd name="connsiteY1581" fmla="*/ 584112 h 1541722"/>
                    <a:gd name="connsiteX1582" fmla="*/ 428349 w 4457589"/>
                    <a:gd name="connsiteY1582" fmla="*/ 583961 h 1541722"/>
                    <a:gd name="connsiteX1583" fmla="*/ 422895 w 4457589"/>
                    <a:gd name="connsiteY1583" fmla="*/ 584264 h 1541722"/>
                    <a:gd name="connsiteX1584" fmla="*/ 417288 w 4457589"/>
                    <a:gd name="connsiteY1584" fmla="*/ 583809 h 1541722"/>
                    <a:gd name="connsiteX1585" fmla="*/ 413045 w 4457589"/>
                    <a:gd name="connsiteY1585" fmla="*/ 581082 h 1541722"/>
                    <a:gd name="connsiteX1586" fmla="*/ 409409 w 4457589"/>
                    <a:gd name="connsiteY1586" fmla="*/ 579567 h 1541722"/>
                    <a:gd name="connsiteX1587" fmla="*/ 406530 w 4457589"/>
                    <a:gd name="connsiteY1587" fmla="*/ 579415 h 1541722"/>
                    <a:gd name="connsiteX1588" fmla="*/ 403045 w 4457589"/>
                    <a:gd name="connsiteY1588" fmla="*/ 581839 h 1541722"/>
                    <a:gd name="connsiteX1589" fmla="*/ 394711 w 4457589"/>
                    <a:gd name="connsiteY1589" fmla="*/ 591234 h 1541722"/>
                    <a:gd name="connsiteX1590" fmla="*/ 386378 w 4457589"/>
                    <a:gd name="connsiteY1590" fmla="*/ 597446 h 1541722"/>
                    <a:gd name="connsiteX1591" fmla="*/ 375468 w 4457589"/>
                    <a:gd name="connsiteY1591" fmla="*/ 602143 h 1541722"/>
                    <a:gd name="connsiteX1592" fmla="*/ 367286 w 4457589"/>
                    <a:gd name="connsiteY1592" fmla="*/ 603658 h 1541722"/>
                    <a:gd name="connsiteX1593" fmla="*/ 365013 w 4457589"/>
                    <a:gd name="connsiteY1593" fmla="*/ 604719 h 1541722"/>
                    <a:gd name="connsiteX1594" fmla="*/ 360165 w 4457589"/>
                    <a:gd name="connsiteY1594" fmla="*/ 610174 h 1541722"/>
                    <a:gd name="connsiteX1595" fmla="*/ 355013 w 4457589"/>
                    <a:gd name="connsiteY1595" fmla="*/ 614265 h 1541722"/>
                    <a:gd name="connsiteX1596" fmla="*/ 341073 w 4457589"/>
                    <a:gd name="connsiteY1596" fmla="*/ 621235 h 1541722"/>
                    <a:gd name="connsiteX1597" fmla="*/ 340013 w 4457589"/>
                    <a:gd name="connsiteY1597" fmla="*/ 624114 h 1541722"/>
                    <a:gd name="connsiteX1598" fmla="*/ 339255 w 4457589"/>
                    <a:gd name="connsiteY1598" fmla="*/ 627902 h 1541722"/>
                    <a:gd name="connsiteX1599" fmla="*/ 340467 w 4457589"/>
                    <a:gd name="connsiteY1599" fmla="*/ 632296 h 1541722"/>
                    <a:gd name="connsiteX1600" fmla="*/ 343194 w 4457589"/>
                    <a:gd name="connsiteY1600" fmla="*/ 636538 h 1541722"/>
                    <a:gd name="connsiteX1601" fmla="*/ 350013 w 4457589"/>
                    <a:gd name="connsiteY1601" fmla="*/ 645175 h 1541722"/>
                    <a:gd name="connsiteX1602" fmla="*/ 353801 w 4457589"/>
                    <a:gd name="connsiteY1602" fmla="*/ 648054 h 1541722"/>
                    <a:gd name="connsiteX1603" fmla="*/ 356377 w 4457589"/>
                    <a:gd name="connsiteY1603" fmla="*/ 652600 h 1541722"/>
                    <a:gd name="connsiteX1604" fmla="*/ 358195 w 4457589"/>
                    <a:gd name="connsiteY1604" fmla="*/ 657751 h 1541722"/>
                    <a:gd name="connsiteX1605" fmla="*/ 357286 w 4457589"/>
                    <a:gd name="connsiteY1605" fmla="*/ 658812 h 1541722"/>
                    <a:gd name="connsiteX1606" fmla="*/ 351680 w 4457589"/>
                    <a:gd name="connsiteY1606" fmla="*/ 657600 h 1541722"/>
                    <a:gd name="connsiteX1607" fmla="*/ 347589 w 4457589"/>
                    <a:gd name="connsiteY1607" fmla="*/ 658206 h 1541722"/>
                    <a:gd name="connsiteX1608" fmla="*/ 341983 w 4457589"/>
                    <a:gd name="connsiteY1608" fmla="*/ 661691 h 1541722"/>
                    <a:gd name="connsiteX1609" fmla="*/ 341528 w 4457589"/>
                    <a:gd name="connsiteY1609" fmla="*/ 663206 h 1541722"/>
                    <a:gd name="connsiteX1610" fmla="*/ 339406 w 4457589"/>
                    <a:gd name="connsiteY1610" fmla="*/ 666691 h 1541722"/>
                    <a:gd name="connsiteX1611" fmla="*/ 334255 w 4457589"/>
                    <a:gd name="connsiteY1611" fmla="*/ 666994 h 1541722"/>
                    <a:gd name="connsiteX1612" fmla="*/ 320163 w 4457589"/>
                    <a:gd name="connsiteY1612" fmla="*/ 660630 h 1541722"/>
                    <a:gd name="connsiteX1613" fmla="*/ 308042 w 4457589"/>
                    <a:gd name="connsiteY1613" fmla="*/ 657448 h 1541722"/>
                    <a:gd name="connsiteX1614" fmla="*/ 306072 w 4457589"/>
                    <a:gd name="connsiteY1614" fmla="*/ 657297 h 1541722"/>
                    <a:gd name="connsiteX1615" fmla="*/ 303496 w 4457589"/>
                    <a:gd name="connsiteY1615" fmla="*/ 655630 h 1541722"/>
                    <a:gd name="connsiteX1616" fmla="*/ 302587 w 4457589"/>
                    <a:gd name="connsiteY1616" fmla="*/ 654266 h 1541722"/>
                    <a:gd name="connsiteX1617" fmla="*/ 297587 w 4457589"/>
                    <a:gd name="connsiteY1617" fmla="*/ 654569 h 1541722"/>
                    <a:gd name="connsiteX1618" fmla="*/ 294556 w 4457589"/>
                    <a:gd name="connsiteY1618" fmla="*/ 654418 h 1541722"/>
                    <a:gd name="connsiteX1619" fmla="*/ 291526 w 4457589"/>
                    <a:gd name="connsiteY1619" fmla="*/ 653357 h 1541722"/>
                    <a:gd name="connsiteX1620" fmla="*/ 278495 w 4457589"/>
                    <a:gd name="connsiteY1620" fmla="*/ 643205 h 1541722"/>
                    <a:gd name="connsiteX1621" fmla="*/ 267889 w 4457589"/>
                    <a:gd name="connsiteY1621" fmla="*/ 639266 h 1541722"/>
                    <a:gd name="connsiteX1622" fmla="*/ 265313 w 4457589"/>
                    <a:gd name="connsiteY1622" fmla="*/ 639266 h 1541722"/>
                    <a:gd name="connsiteX1623" fmla="*/ 260767 w 4457589"/>
                    <a:gd name="connsiteY1623" fmla="*/ 640326 h 1541722"/>
                    <a:gd name="connsiteX1624" fmla="*/ 258192 w 4457589"/>
                    <a:gd name="connsiteY1624" fmla="*/ 648508 h 1541722"/>
                    <a:gd name="connsiteX1625" fmla="*/ 254555 w 4457589"/>
                    <a:gd name="connsiteY1625" fmla="*/ 650781 h 1541722"/>
                    <a:gd name="connsiteX1626" fmla="*/ 251221 w 4457589"/>
                    <a:gd name="connsiteY1626" fmla="*/ 650630 h 1541722"/>
                    <a:gd name="connsiteX1627" fmla="*/ 251070 w 4457589"/>
                    <a:gd name="connsiteY1627" fmla="*/ 654721 h 1541722"/>
                    <a:gd name="connsiteX1628" fmla="*/ 252434 w 4457589"/>
                    <a:gd name="connsiteY1628" fmla="*/ 657297 h 1541722"/>
                    <a:gd name="connsiteX1629" fmla="*/ 253646 w 4457589"/>
                    <a:gd name="connsiteY1629" fmla="*/ 659115 h 1541722"/>
                    <a:gd name="connsiteX1630" fmla="*/ 257737 w 4457589"/>
                    <a:gd name="connsiteY1630" fmla="*/ 661994 h 1541722"/>
                    <a:gd name="connsiteX1631" fmla="*/ 265010 w 4457589"/>
                    <a:gd name="connsiteY1631" fmla="*/ 670631 h 1541722"/>
                    <a:gd name="connsiteX1632" fmla="*/ 268949 w 4457589"/>
                    <a:gd name="connsiteY1632" fmla="*/ 674116 h 1541722"/>
                    <a:gd name="connsiteX1633" fmla="*/ 271828 w 4457589"/>
                    <a:gd name="connsiteY1633" fmla="*/ 675479 h 1541722"/>
                    <a:gd name="connsiteX1634" fmla="*/ 275768 w 4457589"/>
                    <a:gd name="connsiteY1634" fmla="*/ 675631 h 1541722"/>
                    <a:gd name="connsiteX1635" fmla="*/ 284253 w 4457589"/>
                    <a:gd name="connsiteY1635" fmla="*/ 674722 h 1541722"/>
                    <a:gd name="connsiteX1636" fmla="*/ 287132 w 4457589"/>
                    <a:gd name="connsiteY1636" fmla="*/ 676085 h 1541722"/>
                    <a:gd name="connsiteX1637" fmla="*/ 290011 w 4457589"/>
                    <a:gd name="connsiteY1637" fmla="*/ 678055 h 1541722"/>
                    <a:gd name="connsiteX1638" fmla="*/ 290768 w 4457589"/>
                    <a:gd name="connsiteY1638" fmla="*/ 683055 h 1541722"/>
                    <a:gd name="connsiteX1639" fmla="*/ 293041 w 4457589"/>
                    <a:gd name="connsiteY1639" fmla="*/ 688055 h 1541722"/>
                    <a:gd name="connsiteX1640" fmla="*/ 293344 w 4457589"/>
                    <a:gd name="connsiteY1640" fmla="*/ 690934 h 1541722"/>
                    <a:gd name="connsiteX1641" fmla="*/ 290465 w 4457589"/>
                    <a:gd name="connsiteY1641" fmla="*/ 694268 h 1541722"/>
                    <a:gd name="connsiteX1642" fmla="*/ 281374 w 4457589"/>
                    <a:gd name="connsiteY1642" fmla="*/ 696692 h 1541722"/>
                    <a:gd name="connsiteX1643" fmla="*/ 276071 w 4457589"/>
                    <a:gd name="connsiteY1643" fmla="*/ 700177 h 1541722"/>
                    <a:gd name="connsiteX1644" fmla="*/ 274101 w 4457589"/>
                    <a:gd name="connsiteY1644" fmla="*/ 700026 h 1541722"/>
                    <a:gd name="connsiteX1645" fmla="*/ 263343 w 4457589"/>
                    <a:gd name="connsiteY1645" fmla="*/ 696086 h 1541722"/>
                    <a:gd name="connsiteX1646" fmla="*/ 256070 w 4457589"/>
                    <a:gd name="connsiteY1646" fmla="*/ 694419 h 1541722"/>
                    <a:gd name="connsiteX1647" fmla="*/ 246676 w 4457589"/>
                    <a:gd name="connsiteY1647" fmla="*/ 691995 h 1541722"/>
                    <a:gd name="connsiteX1648" fmla="*/ 244858 w 4457589"/>
                    <a:gd name="connsiteY1648" fmla="*/ 690631 h 1541722"/>
                    <a:gd name="connsiteX1649" fmla="*/ 240615 w 4457589"/>
                    <a:gd name="connsiteY1649" fmla="*/ 683813 h 1541722"/>
                    <a:gd name="connsiteX1650" fmla="*/ 231220 w 4457589"/>
                    <a:gd name="connsiteY1650" fmla="*/ 677449 h 1541722"/>
                    <a:gd name="connsiteX1651" fmla="*/ 226978 w 4457589"/>
                    <a:gd name="connsiteY1651" fmla="*/ 675479 h 1541722"/>
                    <a:gd name="connsiteX1652" fmla="*/ 221069 w 4457589"/>
                    <a:gd name="connsiteY1652" fmla="*/ 676843 h 1541722"/>
                    <a:gd name="connsiteX1653" fmla="*/ 216978 w 4457589"/>
                    <a:gd name="connsiteY1653" fmla="*/ 676237 h 1541722"/>
                    <a:gd name="connsiteX1654" fmla="*/ 210159 w 4457589"/>
                    <a:gd name="connsiteY1654" fmla="*/ 672752 h 1541722"/>
                    <a:gd name="connsiteX1655" fmla="*/ 205614 w 4457589"/>
                    <a:gd name="connsiteY1655" fmla="*/ 667449 h 1541722"/>
                    <a:gd name="connsiteX1656" fmla="*/ 205310 w 4457589"/>
                    <a:gd name="connsiteY1656" fmla="*/ 660933 h 1541722"/>
                    <a:gd name="connsiteX1657" fmla="*/ 206674 w 4457589"/>
                    <a:gd name="connsiteY1657" fmla="*/ 659570 h 1541722"/>
                    <a:gd name="connsiteX1658" fmla="*/ 207887 w 4457589"/>
                    <a:gd name="connsiteY1658" fmla="*/ 658812 h 1541722"/>
                    <a:gd name="connsiteX1659" fmla="*/ 204704 w 4457589"/>
                    <a:gd name="connsiteY1659" fmla="*/ 656842 h 1541722"/>
                    <a:gd name="connsiteX1660" fmla="*/ 204553 w 4457589"/>
                    <a:gd name="connsiteY1660" fmla="*/ 651842 h 1541722"/>
                    <a:gd name="connsiteX1661" fmla="*/ 203947 w 4457589"/>
                    <a:gd name="connsiteY1661" fmla="*/ 648660 h 1541722"/>
                    <a:gd name="connsiteX1662" fmla="*/ 200310 w 4457589"/>
                    <a:gd name="connsiteY1662" fmla="*/ 640478 h 1541722"/>
                    <a:gd name="connsiteX1663" fmla="*/ 196522 w 4457589"/>
                    <a:gd name="connsiteY1663" fmla="*/ 635629 h 1541722"/>
                    <a:gd name="connsiteX1664" fmla="*/ 193037 w 4457589"/>
                    <a:gd name="connsiteY1664" fmla="*/ 630326 h 1541722"/>
                    <a:gd name="connsiteX1665" fmla="*/ 196825 w 4457589"/>
                    <a:gd name="connsiteY1665" fmla="*/ 627599 h 1541722"/>
                    <a:gd name="connsiteX1666" fmla="*/ 198795 w 4457589"/>
                    <a:gd name="connsiteY1666" fmla="*/ 625174 h 1541722"/>
                    <a:gd name="connsiteX1667" fmla="*/ 201522 w 4457589"/>
                    <a:gd name="connsiteY1667" fmla="*/ 618204 h 1541722"/>
                    <a:gd name="connsiteX1668" fmla="*/ 201977 w 4457589"/>
                    <a:gd name="connsiteY1668" fmla="*/ 615932 h 1541722"/>
                    <a:gd name="connsiteX1669" fmla="*/ 203189 w 4457589"/>
                    <a:gd name="connsiteY1669" fmla="*/ 613507 h 1541722"/>
                    <a:gd name="connsiteX1670" fmla="*/ 203644 w 4457589"/>
                    <a:gd name="connsiteY1670" fmla="*/ 611386 h 1541722"/>
                    <a:gd name="connsiteX1671" fmla="*/ 203341 w 4457589"/>
                    <a:gd name="connsiteY1671" fmla="*/ 609113 h 1541722"/>
                    <a:gd name="connsiteX1672" fmla="*/ 200765 w 4457589"/>
                    <a:gd name="connsiteY1672" fmla="*/ 605174 h 1541722"/>
                    <a:gd name="connsiteX1673" fmla="*/ 192886 w 4457589"/>
                    <a:gd name="connsiteY1673" fmla="*/ 597295 h 1541722"/>
                    <a:gd name="connsiteX1674" fmla="*/ 185007 w 4457589"/>
                    <a:gd name="connsiteY1674" fmla="*/ 592749 h 1541722"/>
                    <a:gd name="connsiteX1675" fmla="*/ 170006 w 4457589"/>
                    <a:gd name="connsiteY1675" fmla="*/ 588506 h 1541722"/>
                    <a:gd name="connsiteX1676" fmla="*/ 165915 w 4457589"/>
                    <a:gd name="connsiteY1676" fmla="*/ 588658 h 1541722"/>
                    <a:gd name="connsiteX1677" fmla="*/ 164400 w 4457589"/>
                    <a:gd name="connsiteY1677" fmla="*/ 588052 h 1541722"/>
                    <a:gd name="connsiteX1678" fmla="*/ 167582 w 4457589"/>
                    <a:gd name="connsiteY1678" fmla="*/ 587294 h 1541722"/>
                    <a:gd name="connsiteX1679" fmla="*/ 170764 w 4457589"/>
                    <a:gd name="connsiteY1679" fmla="*/ 585476 h 1541722"/>
                    <a:gd name="connsiteX1680" fmla="*/ 172431 w 4457589"/>
                    <a:gd name="connsiteY1680" fmla="*/ 582900 h 1541722"/>
                    <a:gd name="connsiteX1681" fmla="*/ 168643 w 4457589"/>
                    <a:gd name="connsiteY1681" fmla="*/ 581536 h 1541722"/>
                    <a:gd name="connsiteX1682" fmla="*/ 165612 w 4457589"/>
                    <a:gd name="connsiteY1682" fmla="*/ 580930 h 1541722"/>
                    <a:gd name="connsiteX1683" fmla="*/ 160460 w 4457589"/>
                    <a:gd name="connsiteY1683" fmla="*/ 578809 h 1541722"/>
                    <a:gd name="connsiteX1684" fmla="*/ 159551 w 4457589"/>
                    <a:gd name="connsiteY1684" fmla="*/ 576839 h 1541722"/>
                    <a:gd name="connsiteX1685" fmla="*/ 160612 w 4457589"/>
                    <a:gd name="connsiteY1685" fmla="*/ 575476 h 1541722"/>
                    <a:gd name="connsiteX1686" fmla="*/ 159400 w 4457589"/>
                    <a:gd name="connsiteY1686" fmla="*/ 571991 h 1541722"/>
                    <a:gd name="connsiteX1687" fmla="*/ 152582 w 4457589"/>
                    <a:gd name="connsiteY1687" fmla="*/ 570930 h 1541722"/>
                    <a:gd name="connsiteX1688" fmla="*/ 150763 w 4457589"/>
                    <a:gd name="connsiteY1688" fmla="*/ 570172 h 1541722"/>
                    <a:gd name="connsiteX1689" fmla="*/ 150612 w 4457589"/>
                    <a:gd name="connsiteY1689" fmla="*/ 568960 h 1541722"/>
                    <a:gd name="connsiteX1690" fmla="*/ 145915 w 4457589"/>
                    <a:gd name="connsiteY1690" fmla="*/ 565172 h 1541722"/>
                    <a:gd name="connsiteX1691" fmla="*/ 139853 w 4457589"/>
                    <a:gd name="connsiteY1691" fmla="*/ 561081 h 1541722"/>
                    <a:gd name="connsiteX1692" fmla="*/ 140914 w 4457589"/>
                    <a:gd name="connsiteY1692" fmla="*/ 557142 h 1541722"/>
                    <a:gd name="connsiteX1693" fmla="*/ 136520 w 4457589"/>
                    <a:gd name="connsiteY1693" fmla="*/ 554111 h 1541722"/>
                    <a:gd name="connsiteX1694" fmla="*/ 132732 w 4457589"/>
                    <a:gd name="connsiteY1694" fmla="*/ 551990 h 1541722"/>
                    <a:gd name="connsiteX1695" fmla="*/ 126671 w 4457589"/>
                    <a:gd name="connsiteY1695" fmla="*/ 551232 h 1541722"/>
                    <a:gd name="connsiteX1696" fmla="*/ 124247 w 4457589"/>
                    <a:gd name="connsiteY1696" fmla="*/ 549869 h 1541722"/>
                    <a:gd name="connsiteX1697" fmla="*/ 138187 w 4457589"/>
                    <a:gd name="connsiteY1697" fmla="*/ 550172 h 1541722"/>
                    <a:gd name="connsiteX1698" fmla="*/ 152582 w 4457589"/>
                    <a:gd name="connsiteY1698" fmla="*/ 553202 h 1541722"/>
                    <a:gd name="connsiteX1699" fmla="*/ 151369 w 4457589"/>
                    <a:gd name="connsiteY1699" fmla="*/ 554414 h 1541722"/>
                    <a:gd name="connsiteX1700" fmla="*/ 150308 w 4457589"/>
                    <a:gd name="connsiteY1700" fmla="*/ 556232 h 1541722"/>
                    <a:gd name="connsiteX1701" fmla="*/ 154551 w 4457589"/>
                    <a:gd name="connsiteY1701" fmla="*/ 561536 h 1541722"/>
                    <a:gd name="connsiteX1702" fmla="*/ 158642 w 4457589"/>
                    <a:gd name="connsiteY1702" fmla="*/ 564415 h 1541722"/>
                    <a:gd name="connsiteX1703" fmla="*/ 167734 w 4457589"/>
                    <a:gd name="connsiteY1703" fmla="*/ 568203 h 1541722"/>
                    <a:gd name="connsiteX1704" fmla="*/ 168794 w 4457589"/>
                    <a:gd name="connsiteY1704" fmla="*/ 568203 h 1541722"/>
                    <a:gd name="connsiteX1705" fmla="*/ 170764 w 4457589"/>
                    <a:gd name="connsiteY1705" fmla="*/ 567142 h 1541722"/>
                    <a:gd name="connsiteX1706" fmla="*/ 175310 w 4457589"/>
                    <a:gd name="connsiteY1706" fmla="*/ 568809 h 1541722"/>
                    <a:gd name="connsiteX1707" fmla="*/ 178946 w 4457589"/>
                    <a:gd name="connsiteY1707" fmla="*/ 570778 h 1541722"/>
                    <a:gd name="connsiteX1708" fmla="*/ 185916 w 4457589"/>
                    <a:gd name="connsiteY1708" fmla="*/ 570930 h 1541722"/>
                    <a:gd name="connsiteX1709" fmla="*/ 194250 w 4457589"/>
                    <a:gd name="connsiteY1709" fmla="*/ 573354 h 1541722"/>
                    <a:gd name="connsiteX1710" fmla="*/ 193644 w 4457589"/>
                    <a:gd name="connsiteY1710" fmla="*/ 574263 h 1541722"/>
                    <a:gd name="connsiteX1711" fmla="*/ 192734 w 4457589"/>
                    <a:gd name="connsiteY1711" fmla="*/ 575021 h 1541722"/>
                    <a:gd name="connsiteX1712" fmla="*/ 195159 w 4457589"/>
                    <a:gd name="connsiteY1712" fmla="*/ 577900 h 1541722"/>
                    <a:gd name="connsiteX1713" fmla="*/ 198644 w 4457589"/>
                    <a:gd name="connsiteY1713" fmla="*/ 577597 h 1541722"/>
                    <a:gd name="connsiteX1714" fmla="*/ 204401 w 4457589"/>
                    <a:gd name="connsiteY1714" fmla="*/ 575173 h 1541722"/>
                    <a:gd name="connsiteX1715" fmla="*/ 219251 w 4457589"/>
                    <a:gd name="connsiteY1715" fmla="*/ 583506 h 1541722"/>
                    <a:gd name="connsiteX1716" fmla="*/ 223341 w 4457589"/>
                    <a:gd name="connsiteY1716" fmla="*/ 585021 h 1541722"/>
                    <a:gd name="connsiteX1717" fmla="*/ 246827 w 4457589"/>
                    <a:gd name="connsiteY1717" fmla="*/ 589264 h 1541722"/>
                    <a:gd name="connsiteX1718" fmla="*/ 257737 w 4457589"/>
                    <a:gd name="connsiteY1718" fmla="*/ 589719 h 1541722"/>
                    <a:gd name="connsiteX1719" fmla="*/ 263494 w 4457589"/>
                    <a:gd name="connsiteY1719" fmla="*/ 590628 h 1541722"/>
                    <a:gd name="connsiteX1720" fmla="*/ 271980 w 4457589"/>
                    <a:gd name="connsiteY1720" fmla="*/ 592900 h 1541722"/>
                    <a:gd name="connsiteX1721" fmla="*/ 281223 w 4457589"/>
                    <a:gd name="connsiteY1721" fmla="*/ 597143 h 1541722"/>
                    <a:gd name="connsiteX1722" fmla="*/ 288647 w 4457589"/>
                    <a:gd name="connsiteY1722" fmla="*/ 598658 h 1541722"/>
                    <a:gd name="connsiteX1723" fmla="*/ 302284 w 4457589"/>
                    <a:gd name="connsiteY1723" fmla="*/ 600173 h 1541722"/>
                    <a:gd name="connsiteX1724" fmla="*/ 309254 w 4457589"/>
                    <a:gd name="connsiteY1724" fmla="*/ 599870 h 1541722"/>
                    <a:gd name="connsiteX1725" fmla="*/ 326679 w 4457589"/>
                    <a:gd name="connsiteY1725" fmla="*/ 596992 h 1541722"/>
                    <a:gd name="connsiteX1726" fmla="*/ 348952 w 4457589"/>
                    <a:gd name="connsiteY1726" fmla="*/ 589415 h 1541722"/>
                    <a:gd name="connsiteX1727" fmla="*/ 360316 w 4457589"/>
                    <a:gd name="connsiteY1727" fmla="*/ 582749 h 1541722"/>
                    <a:gd name="connsiteX1728" fmla="*/ 378650 w 4457589"/>
                    <a:gd name="connsiteY1728" fmla="*/ 565324 h 1541722"/>
                    <a:gd name="connsiteX1729" fmla="*/ 380923 w 4457589"/>
                    <a:gd name="connsiteY1729" fmla="*/ 561233 h 1541722"/>
                    <a:gd name="connsiteX1730" fmla="*/ 383045 w 4457589"/>
                    <a:gd name="connsiteY1730" fmla="*/ 551687 h 1541722"/>
                    <a:gd name="connsiteX1731" fmla="*/ 383196 w 4457589"/>
                    <a:gd name="connsiteY1731" fmla="*/ 547596 h 1541722"/>
                    <a:gd name="connsiteX1732" fmla="*/ 380620 w 4457589"/>
                    <a:gd name="connsiteY1732" fmla="*/ 547141 h 1541722"/>
                    <a:gd name="connsiteX1733" fmla="*/ 377135 w 4457589"/>
                    <a:gd name="connsiteY1733" fmla="*/ 544868 h 1541722"/>
                    <a:gd name="connsiteX1734" fmla="*/ 377135 w 4457589"/>
                    <a:gd name="connsiteY1734" fmla="*/ 539414 h 1541722"/>
                    <a:gd name="connsiteX1735" fmla="*/ 375014 w 4457589"/>
                    <a:gd name="connsiteY1735" fmla="*/ 536686 h 1541722"/>
                    <a:gd name="connsiteX1736" fmla="*/ 372438 w 4457589"/>
                    <a:gd name="connsiteY1736" fmla="*/ 524110 h 1541722"/>
                    <a:gd name="connsiteX1737" fmla="*/ 366983 w 4457589"/>
                    <a:gd name="connsiteY1737" fmla="*/ 522746 h 1541722"/>
                    <a:gd name="connsiteX1738" fmla="*/ 363953 w 4457589"/>
                    <a:gd name="connsiteY1738" fmla="*/ 521231 h 1541722"/>
                    <a:gd name="connsiteX1739" fmla="*/ 360468 w 4457589"/>
                    <a:gd name="connsiteY1739" fmla="*/ 520474 h 1541722"/>
                    <a:gd name="connsiteX1740" fmla="*/ 356528 w 4457589"/>
                    <a:gd name="connsiteY1740" fmla="*/ 518504 h 1541722"/>
                    <a:gd name="connsiteX1741" fmla="*/ 351680 w 4457589"/>
                    <a:gd name="connsiteY1741" fmla="*/ 513352 h 1541722"/>
                    <a:gd name="connsiteX1742" fmla="*/ 346982 w 4457589"/>
                    <a:gd name="connsiteY1742" fmla="*/ 509867 h 1541722"/>
                    <a:gd name="connsiteX1743" fmla="*/ 343194 w 4457589"/>
                    <a:gd name="connsiteY1743" fmla="*/ 505170 h 1541722"/>
                    <a:gd name="connsiteX1744" fmla="*/ 340770 w 4457589"/>
                    <a:gd name="connsiteY1744" fmla="*/ 503503 h 1541722"/>
                    <a:gd name="connsiteX1745" fmla="*/ 339104 w 4457589"/>
                    <a:gd name="connsiteY1745" fmla="*/ 503049 h 1541722"/>
                    <a:gd name="connsiteX1746" fmla="*/ 340316 w 4457589"/>
                    <a:gd name="connsiteY1746" fmla="*/ 505321 h 1541722"/>
                    <a:gd name="connsiteX1747" fmla="*/ 341225 w 4457589"/>
                    <a:gd name="connsiteY1747" fmla="*/ 507897 h 1541722"/>
                    <a:gd name="connsiteX1748" fmla="*/ 334255 w 4457589"/>
                    <a:gd name="connsiteY1748" fmla="*/ 507291 h 1541722"/>
                    <a:gd name="connsiteX1749" fmla="*/ 314102 w 4457589"/>
                    <a:gd name="connsiteY1749" fmla="*/ 495321 h 1541722"/>
                    <a:gd name="connsiteX1750" fmla="*/ 310618 w 4457589"/>
                    <a:gd name="connsiteY1750" fmla="*/ 494412 h 1541722"/>
                    <a:gd name="connsiteX1751" fmla="*/ 309254 w 4457589"/>
                    <a:gd name="connsiteY1751" fmla="*/ 495473 h 1541722"/>
                    <a:gd name="connsiteX1752" fmla="*/ 303042 w 4457589"/>
                    <a:gd name="connsiteY1752" fmla="*/ 493806 h 1541722"/>
                    <a:gd name="connsiteX1753" fmla="*/ 301072 w 4457589"/>
                    <a:gd name="connsiteY1753" fmla="*/ 490927 h 1541722"/>
                    <a:gd name="connsiteX1754" fmla="*/ 283950 w 4457589"/>
                    <a:gd name="connsiteY1754" fmla="*/ 477745 h 1541722"/>
                    <a:gd name="connsiteX1755" fmla="*/ 253494 w 4457589"/>
                    <a:gd name="connsiteY1755" fmla="*/ 462896 h 1541722"/>
                    <a:gd name="connsiteX1756" fmla="*/ 232736 w 4457589"/>
                    <a:gd name="connsiteY1756" fmla="*/ 453804 h 1541722"/>
                    <a:gd name="connsiteX1757" fmla="*/ 217129 w 4457589"/>
                    <a:gd name="connsiteY1757" fmla="*/ 449713 h 1541722"/>
                    <a:gd name="connsiteX1758" fmla="*/ 215614 w 4457589"/>
                    <a:gd name="connsiteY1758" fmla="*/ 450319 h 1541722"/>
                    <a:gd name="connsiteX1759" fmla="*/ 214099 w 4457589"/>
                    <a:gd name="connsiteY1759" fmla="*/ 451986 h 1541722"/>
                    <a:gd name="connsiteX1760" fmla="*/ 209553 w 4457589"/>
                    <a:gd name="connsiteY1760" fmla="*/ 452441 h 1541722"/>
                    <a:gd name="connsiteX1761" fmla="*/ 205462 w 4457589"/>
                    <a:gd name="connsiteY1761" fmla="*/ 452138 h 1541722"/>
                    <a:gd name="connsiteX1762" fmla="*/ 191522 w 4457589"/>
                    <a:gd name="connsiteY1762" fmla="*/ 448501 h 1541722"/>
                    <a:gd name="connsiteX1763" fmla="*/ 188189 w 4457589"/>
                    <a:gd name="connsiteY1763" fmla="*/ 447895 h 1541722"/>
                    <a:gd name="connsiteX1764" fmla="*/ 173188 w 4457589"/>
                    <a:gd name="connsiteY1764" fmla="*/ 448047 h 1541722"/>
                    <a:gd name="connsiteX1765" fmla="*/ 171673 w 4457589"/>
                    <a:gd name="connsiteY1765" fmla="*/ 449107 h 1541722"/>
                    <a:gd name="connsiteX1766" fmla="*/ 166521 w 4457589"/>
                    <a:gd name="connsiteY1766" fmla="*/ 456835 h 1541722"/>
                    <a:gd name="connsiteX1767" fmla="*/ 163642 w 4457589"/>
                    <a:gd name="connsiteY1767" fmla="*/ 458350 h 1541722"/>
                    <a:gd name="connsiteX1768" fmla="*/ 158339 w 4457589"/>
                    <a:gd name="connsiteY1768" fmla="*/ 459714 h 1541722"/>
                    <a:gd name="connsiteX1769" fmla="*/ 159854 w 4457589"/>
                    <a:gd name="connsiteY1769" fmla="*/ 457441 h 1541722"/>
                    <a:gd name="connsiteX1770" fmla="*/ 163491 w 4457589"/>
                    <a:gd name="connsiteY1770" fmla="*/ 455774 h 1541722"/>
                    <a:gd name="connsiteX1771" fmla="*/ 165764 w 4457589"/>
                    <a:gd name="connsiteY1771" fmla="*/ 450168 h 1541722"/>
                    <a:gd name="connsiteX1772" fmla="*/ 165915 w 4457589"/>
                    <a:gd name="connsiteY1772" fmla="*/ 447895 h 1541722"/>
                    <a:gd name="connsiteX1773" fmla="*/ 167279 w 4457589"/>
                    <a:gd name="connsiteY1773" fmla="*/ 444865 h 1541722"/>
                    <a:gd name="connsiteX1774" fmla="*/ 166976 w 4457589"/>
                    <a:gd name="connsiteY1774" fmla="*/ 442440 h 1541722"/>
                    <a:gd name="connsiteX1775" fmla="*/ 165006 w 4457589"/>
                    <a:gd name="connsiteY1775" fmla="*/ 441683 h 1541722"/>
                    <a:gd name="connsiteX1776" fmla="*/ 161521 w 4457589"/>
                    <a:gd name="connsiteY1776" fmla="*/ 442440 h 1541722"/>
                    <a:gd name="connsiteX1777" fmla="*/ 153945 w 4457589"/>
                    <a:gd name="connsiteY1777" fmla="*/ 445319 h 1541722"/>
                    <a:gd name="connsiteX1778" fmla="*/ 152884 w 4457589"/>
                    <a:gd name="connsiteY1778" fmla="*/ 444562 h 1541722"/>
                    <a:gd name="connsiteX1779" fmla="*/ 155157 w 4457589"/>
                    <a:gd name="connsiteY1779" fmla="*/ 441531 h 1541722"/>
                    <a:gd name="connsiteX1780" fmla="*/ 154551 w 4457589"/>
                    <a:gd name="connsiteY1780" fmla="*/ 440319 h 1541722"/>
                    <a:gd name="connsiteX1781" fmla="*/ 151369 w 4457589"/>
                    <a:gd name="connsiteY1781" fmla="*/ 440774 h 1541722"/>
                    <a:gd name="connsiteX1782" fmla="*/ 144551 w 4457589"/>
                    <a:gd name="connsiteY1782" fmla="*/ 439410 h 1541722"/>
                    <a:gd name="connsiteX1783" fmla="*/ 137581 w 4457589"/>
                    <a:gd name="connsiteY1783" fmla="*/ 439865 h 1541722"/>
                    <a:gd name="connsiteX1784" fmla="*/ 136217 w 4457589"/>
                    <a:gd name="connsiteY1784" fmla="*/ 436228 h 1541722"/>
                    <a:gd name="connsiteX1785" fmla="*/ 131520 w 4457589"/>
                    <a:gd name="connsiteY1785" fmla="*/ 434258 h 1541722"/>
                    <a:gd name="connsiteX1786" fmla="*/ 129702 w 4457589"/>
                    <a:gd name="connsiteY1786" fmla="*/ 432440 h 1541722"/>
                    <a:gd name="connsiteX1787" fmla="*/ 131974 w 4457589"/>
                    <a:gd name="connsiteY1787" fmla="*/ 430470 h 1541722"/>
                    <a:gd name="connsiteX1788" fmla="*/ 147884 w 4457589"/>
                    <a:gd name="connsiteY1788" fmla="*/ 433804 h 1541722"/>
                    <a:gd name="connsiteX1789" fmla="*/ 152278 w 4457589"/>
                    <a:gd name="connsiteY1789" fmla="*/ 433955 h 1541722"/>
                    <a:gd name="connsiteX1790" fmla="*/ 154400 w 4457589"/>
                    <a:gd name="connsiteY1790" fmla="*/ 432743 h 1541722"/>
                    <a:gd name="connsiteX1791" fmla="*/ 154854 w 4457589"/>
                    <a:gd name="connsiteY1791" fmla="*/ 430622 h 1541722"/>
                    <a:gd name="connsiteX1792" fmla="*/ 154703 w 4457589"/>
                    <a:gd name="connsiteY1792" fmla="*/ 428046 h 1541722"/>
                    <a:gd name="connsiteX1793" fmla="*/ 152884 w 4457589"/>
                    <a:gd name="connsiteY1793" fmla="*/ 426682 h 1541722"/>
                    <a:gd name="connsiteX1794" fmla="*/ 142581 w 4457589"/>
                    <a:gd name="connsiteY1794" fmla="*/ 423955 h 1541722"/>
                    <a:gd name="connsiteX1795" fmla="*/ 137884 w 4457589"/>
                    <a:gd name="connsiteY1795" fmla="*/ 420924 h 1541722"/>
                    <a:gd name="connsiteX1796" fmla="*/ 126823 w 4457589"/>
                    <a:gd name="connsiteY1796" fmla="*/ 416833 h 1541722"/>
                    <a:gd name="connsiteX1797" fmla="*/ 126368 w 4457589"/>
                    <a:gd name="connsiteY1797" fmla="*/ 418652 h 1541722"/>
                    <a:gd name="connsiteX1798" fmla="*/ 128035 w 4457589"/>
                    <a:gd name="connsiteY1798" fmla="*/ 422591 h 1541722"/>
                    <a:gd name="connsiteX1799" fmla="*/ 127126 w 4457589"/>
                    <a:gd name="connsiteY1799" fmla="*/ 423803 h 1541722"/>
                    <a:gd name="connsiteX1800" fmla="*/ 123944 w 4457589"/>
                    <a:gd name="connsiteY1800" fmla="*/ 422743 h 1541722"/>
                    <a:gd name="connsiteX1801" fmla="*/ 121368 w 4457589"/>
                    <a:gd name="connsiteY1801" fmla="*/ 423500 h 1541722"/>
                    <a:gd name="connsiteX1802" fmla="*/ 118035 w 4457589"/>
                    <a:gd name="connsiteY1802" fmla="*/ 428197 h 1541722"/>
                    <a:gd name="connsiteX1803" fmla="*/ 114853 w 4457589"/>
                    <a:gd name="connsiteY1803" fmla="*/ 429258 h 1541722"/>
                    <a:gd name="connsiteX1804" fmla="*/ 112125 w 4457589"/>
                    <a:gd name="connsiteY1804" fmla="*/ 429713 h 1541722"/>
                    <a:gd name="connsiteX1805" fmla="*/ 101216 w 4457589"/>
                    <a:gd name="connsiteY1805" fmla="*/ 425773 h 1541722"/>
                    <a:gd name="connsiteX1806" fmla="*/ 96216 w 4457589"/>
                    <a:gd name="connsiteY1806" fmla="*/ 425167 h 1541722"/>
                    <a:gd name="connsiteX1807" fmla="*/ 97731 w 4457589"/>
                    <a:gd name="connsiteY1807" fmla="*/ 431531 h 1541722"/>
                    <a:gd name="connsiteX1808" fmla="*/ 97731 w 4457589"/>
                    <a:gd name="connsiteY1808" fmla="*/ 433804 h 1541722"/>
                    <a:gd name="connsiteX1809" fmla="*/ 96973 w 4457589"/>
                    <a:gd name="connsiteY1809" fmla="*/ 435925 h 1541722"/>
                    <a:gd name="connsiteX1810" fmla="*/ 96064 w 4457589"/>
                    <a:gd name="connsiteY1810" fmla="*/ 436986 h 1541722"/>
                    <a:gd name="connsiteX1811" fmla="*/ 94094 w 4457589"/>
                    <a:gd name="connsiteY1811" fmla="*/ 437592 h 1541722"/>
                    <a:gd name="connsiteX1812" fmla="*/ 89245 w 4457589"/>
                    <a:gd name="connsiteY1812" fmla="*/ 437289 h 1541722"/>
                    <a:gd name="connsiteX1813" fmla="*/ 82882 w 4457589"/>
                    <a:gd name="connsiteY1813" fmla="*/ 434864 h 1541722"/>
                    <a:gd name="connsiteX1814" fmla="*/ 78639 w 4457589"/>
                    <a:gd name="connsiteY1814" fmla="*/ 432440 h 1541722"/>
                    <a:gd name="connsiteX1815" fmla="*/ 77427 w 4457589"/>
                    <a:gd name="connsiteY1815" fmla="*/ 432289 h 1541722"/>
                    <a:gd name="connsiteX1816" fmla="*/ 76821 w 4457589"/>
                    <a:gd name="connsiteY1816" fmla="*/ 432592 h 1541722"/>
                    <a:gd name="connsiteX1817" fmla="*/ 77881 w 4457589"/>
                    <a:gd name="connsiteY1817" fmla="*/ 435016 h 1541722"/>
                    <a:gd name="connsiteX1818" fmla="*/ 77579 w 4457589"/>
                    <a:gd name="connsiteY1818" fmla="*/ 436834 h 1541722"/>
                    <a:gd name="connsiteX1819" fmla="*/ 76972 w 4457589"/>
                    <a:gd name="connsiteY1819" fmla="*/ 438804 h 1541722"/>
                    <a:gd name="connsiteX1820" fmla="*/ 76063 w 4457589"/>
                    <a:gd name="connsiteY1820" fmla="*/ 440622 h 1541722"/>
                    <a:gd name="connsiteX1821" fmla="*/ 74851 w 4457589"/>
                    <a:gd name="connsiteY1821" fmla="*/ 442137 h 1541722"/>
                    <a:gd name="connsiteX1822" fmla="*/ 72275 w 4457589"/>
                    <a:gd name="connsiteY1822" fmla="*/ 444107 h 1541722"/>
                    <a:gd name="connsiteX1823" fmla="*/ 67881 w 4457589"/>
                    <a:gd name="connsiteY1823" fmla="*/ 445622 h 1541722"/>
                    <a:gd name="connsiteX1824" fmla="*/ 55760 w 4457589"/>
                    <a:gd name="connsiteY1824" fmla="*/ 448653 h 1541722"/>
                    <a:gd name="connsiteX1825" fmla="*/ 54699 w 4457589"/>
                    <a:gd name="connsiteY1825" fmla="*/ 450016 h 1541722"/>
                    <a:gd name="connsiteX1826" fmla="*/ 50760 w 4457589"/>
                    <a:gd name="connsiteY1826" fmla="*/ 458350 h 1541722"/>
                    <a:gd name="connsiteX1827" fmla="*/ 49699 w 4457589"/>
                    <a:gd name="connsiteY1827" fmla="*/ 459562 h 1541722"/>
                    <a:gd name="connsiteX1828" fmla="*/ 48335 w 4457589"/>
                    <a:gd name="connsiteY1828" fmla="*/ 460623 h 1541722"/>
                    <a:gd name="connsiteX1829" fmla="*/ 44093 w 4457589"/>
                    <a:gd name="connsiteY1829" fmla="*/ 461987 h 1541722"/>
                    <a:gd name="connsiteX1830" fmla="*/ 42274 w 4457589"/>
                    <a:gd name="connsiteY1830" fmla="*/ 462593 h 1541722"/>
                    <a:gd name="connsiteX1831" fmla="*/ 36668 w 4457589"/>
                    <a:gd name="connsiteY1831" fmla="*/ 464865 h 1541722"/>
                    <a:gd name="connsiteX1832" fmla="*/ 33183 w 4457589"/>
                    <a:gd name="connsiteY1832" fmla="*/ 466532 h 1541722"/>
                    <a:gd name="connsiteX1833" fmla="*/ 29092 w 4457589"/>
                    <a:gd name="connsiteY1833" fmla="*/ 467593 h 1541722"/>
                    <a:gd name="connsiteX1834" fmla="*/ 30152 w 4457589"/>
                    <a:gd name="connsiteY1834" fmla="*/ 469260 h 1541722"/>
                    <a:gd name="connsiteX1835" fmla="*/ 36971 w 4457589"/>
                    <a:gd name="connsiteY1835" fmla="*/ 469563 h 1541722"/>
                    <a:gd name="connsiteX1836" fmla="*/ 38183 w 4457589"/>
                    <a:gd name="connsiteY1836" fmla="*/ 470017 h 1541722"/>
                    <a:gd name="connsiteX1837" fmla="*/ 38941 w 4457589"/>
                    <a:gd name="connsiteY1837" fmla="*/ 470775 h 1541722"/>
                    <a:gd name="connsiteX1838" fmla="*/ 38941 w 4457589"/>
                    <a:gd name="connsiteY1838" fmla="*/ 471987 h 1541722"/>
                    <a:gd name="connsiteX1839" fmla="*/ 38335 w 4457589"/>
                    <a:gd name="connsiteY1839" fmla="*/ 473957 h 1541722"/>
                    <a:gd name="connsiteX1840" fmla="*/ 30910 w 4457589"/>
                    <a:gd name="connsiteY1840" fmla="*/ 485169 h 1541722"/>
                    <a:gd name="connsiteX1841" fmla="*/ 30607 w 4457589"/>
                    <a:gd name="connsiteY1841" fmla="*/ 487442 h 1541722"/>
                    <a:gd name="connsiteX1842" fmla="*/ 33031 w 4457589"/>
                    <a:gd name="connsiteY1842" fmla="*/ 493957 h 1541722"/>
                    <a:gd name="connsiteX1843" fmla="*/ 36517 w 4457589"/>
                    <a:gd name="connsiteY1843" fmla="*/ 501685 h 1541722"/>
                    <a:gd name="connsiteX1844" fmla="*/ 46820 w 4457589"/>
                    <a:gd name="connsiteY1844" fmla="*/ 505018 h 1541722"/>
                    <a:gd name="connsiteX1845" fmla="*/ 54548 w 4457589"/>
                    <a:gd name="connsiteY1845" fmla="*/ 507746 h 1541722"/>
                    <a:gd name="connsiteX1846" fmla="*/ 59396 w 4457589"/>
                    <a:gd name="connsiteY1846" fmla="*/ 513958 h 1541722"/>
                    <a:gd name="connsiteX1847" fmla="*/ 67578 w 4457589"/>
                    <a:gd name="connsiteY1847" fmla="*/ 522140 h 1541722"/>
                    <a:gd name="connsiteX1848" fmla="*/ 71821 w 4457589"/>
                    <a:gd name="connsiteY1848" fmla="*/ 525322 h 1541722"/>
                    <a:gd name="connsiteX1849" fmla="*/ 72124 w 4457589"/>
                    <a:gd name="connsiteY1849" fmla="*/ 526231 h 1541722"/>
                    <a:gd name="connsiteX1850" fmla="*/ 70912 w 4457589"/>
                    <a:gd name="connsiteY1850" fmla="*/ 531838 h 1541722"/>
                    <a:gd name="connsiteX1851" fmla="*/ 65608 w 4457589"/>
                    <a:gd name="connsiteY1851" fmla="*/ 537444 h 1541722"/>
                    <a:gd name="connsiteX1852" fmla="*/ 60760 w 4457589"/>
                    <a:gd name="connsiteY1852" fmla="*/ 542293 h 1541722"/>
                    <a:gd name="connsiteX1853" fmla="*/ 55760 w 4457589"/>
                    <a:gd name="connsiteY1853" fmla="*/ 547899 h 1541722"/>
                    <a:gd name="connsiteX1854" fmla="*/ 51820 w 4457589"/>
                    <a:gd name="connsiteY1854" fmla="*/ 552747 h 1541722"/>
                    <a:gd name="connsiteX1855" fmla="*/ 47426 w 4457589"/>
                    <a:gd name="connsiteY1855" fmla="*/ 558657 h 1541722"/>
                    <a:gd name="connsiteX1856" fmla="*/ 46972 w 4457589"/>
                    <a:gd name="connsiteY1856" fmla="*/ 560475 h 1541722"/>
                    <a:gd name="connsiteX1857" fmla="*/ 46972 w 4457589"/>
                    <a:gd name="connsiteY1857" fmla="*/ 562293 h 1541722"/>
                    <a:gd name="connsiteX1858" fmla="*/ 47577 w 4457589"/>
                    <a:gd name="connsiteY1858" fmla="*/ 564263 h 1541722"/>
                    <a:gd name="connsiteX1859" fmla="*/ 53183 w 4457589"/>
                    <a:gd name="connsiteY1859" fmla="*/ 571385 h 1541722"/>
                    <a:gd name="connsiteX1860" fmla="*/ 55305 w 4457589"/>
                    <a:gd name="connsiteY1860" fmla="*/ 574869 h 1541722"/>
                    <a:gd name="connsiteX1861" fmla="*/ 57729 w 4457589"/>
                    <a:gd name="connsiteY1861" fmla="*/ 578809 h 1541722"/>
                    <a:gd name="connsiteX1862" fmla="*/ 60002 w 4457589"/>
                    <a:gd name="connsiteY1862" fmla="*/ 583052 h 1541722"/>
                    <a:gd name="connsiteX1863" fmla="*/ 61215 w 4457589"/>
                    <a:gd name="connsiteY1863" fmla="*/ 586840 h 1541722"/>
                    <a:gd name="connsiteX1864" fmla="*/ 63487 w 4457589"/>
                    <a:gd name="connsiteY1864" fmla="*/ 590476 h 1541722"/>
                    <a:gd name="connsiteX1865" fmla="*/ 64851 w 4457589"/>
                    <a:gd name="connsiteY1865" fmla="*/ 592446 h 1541722"/>
                    <a:gd name="connsiteX1866" fmla="*/ 67124 w 4457589"/>
                    <a:gd name="connsiteY1866" fmla="*/ 595022 h 1541722"/>
                    <a:gd name="connsiteX1867" fmla="*/ 69851 w 4457589"/>
                    <a:gd name="connsiteY1867" fmla="*/ 598961 h 1541722"/>
                    <a:gd name="connsiteX1868" fmla="*/ 70760 w 4457589"/>
                    <a:gd name="connsiteY1868" fmla="*/ 601992 h 1541722"/>
                    <a:gd name="connsiteX1869" fmla="*/ 74851 w 4457589"/>
                    <a:gd name="connsiteY1869" fmla="*/ 612750 h 1541722"/>
                    <a:gd name="connsiteX1870" fmla="*/ 75306 w 4457589"/>
                    <a:gd name="connsiteY1870" fmla="*/ 615477 h 1541722"/>
                    <a:gd name="connsiteX1871" fmla="*/ 75003 w 4457589"/>
                    <a:gd name="connsiteY1871" fmla="*/ 617447 h 1541722"/>
                    <a:gd name="connsiteX1872" fmla="*/ 73184 w 4457589"/>
                    <a:gd name="connsiteY1872" fmla="*/ 617901 h 1541722"/>
                    <a:gd name="connsiteX1873" fmla="*/ 69245 w 4457589"/>
                    <a:gd name="connsiteY1873" fmla="*/ 618204 h 1541722"/>
                    <a:gd name="connsiteX1874" fmla="*/ 64851 w 4457589"/>
                    <a:gd name="connsiteY1874" fmla="*/ 619568 h 1541722"/>
                    <a:gd name="connsiteX1875" fmla="*/ 64699 w 4457589"/>
                    <a:gd name="connsiteY1875" fmla="*/ 620023 h 1541722"/>
                    <a:gd name="connsiteX1876" fmla="*/ 67578 w 4457589"/>
                    <a:gd name="connsiteY1876" fmla="*/ 622598 h 1541722"/>
                    <a:gd name="connsiteX1877" fmla="*/ 65003 w 4457589"/>
                    <a:gd name="connsiteY1877" fmla="*/ 626841 h 1541722"/>
                    <a:gd name="connsiteX1878" fmla="*/ 64699 w 4457589"/>
                    <a:gd name="connsiteY1878" fmla="*/ 632902 h 1541722"/>
                    <a:gd name="connsiteX1879" fmla="*/ 61972 w 4457589"/>
                    <a:gd name="connsiteY1879" fmla="*/ 636084 h 1541722"/>
                    <a:gd name="connsiteX1880" fmla="*/ 61669 w 4457589"/>
                    <a:gd name="connsiteY1880" fmla="*/ 636841 h 1541722"/>
                    <a:gd name="connsiteX1881" fmla="*/ 61820 w 4457589"/>
                    <a:gd name="connsiteY1881" fmla="*/ 637448 h 1541722"/>
                    <a:gd name="connsiteX1882" fmla="*/ 62275 w 4457589"/>
                    <a:gd name="connsiteY1882" fmla="*/ 638054 h 1541722"/>
                    <a:gd name="connsiteX1883" fmla="*/ 67275 w 4457589"/>
                    <a:gd name="connsiteY1883" fmla="*/ 638811 h 1541722"/>
                    <a:gd name="connsiteX1884" fmla="*/ 67730 w 4457589"/>
                    <a:gd name="connsiteY1884" fmla="*/ 639720 h 1541722"/>
                    <a:gd name="connsiteX1885" fmla="*/ 67730 w 4457589"/>
                    <a:gd name="connsiteY1885" fmla="*/ 641539 h 1541722"/>
                    <a:gd name="connsiteX1886" fmla="*/ 67275 w 4457589"/>
                    <a:gd name="connsiteY1886" fmla="*/ 643205 h 1541722"/>
                    <a:gd name="connsiteX1887" fmla="*/ 64851 w 4457589"/>
                    <a:gd name="connsiteY1887" fmla="*/ 644417 h 1541722"/>
                    <a:gd name="connsiteX1888" fmla="*/ 62124 w 4457589"/>
                    <a:gd name="connsiteY1888" fmla="*/ 646236 h 1541722"/>
                    <a:gd name="connsiteX1889" fmla="*/ 61517 w 4457589"/>
                    <a:gd name="connsiteY1889" fmla="*/ 647903 h 1541722"/>
                    <a:gd name="connsiteX1890" fmla="*/ 61669 w 4457589"/>
                    <a:gd name="connsiteY1890" fmla="*/ 649418 h 1541722"/>
                    <a:gd name="connsiteX1891" fmla="*/ 62578 w 4457589"/>
                    <a:gd name="connsiteY1891" fmla="*/ 651842 h 1541722"/>
                    <a:gd name="connsiteX1892" fmla="*/ 64245 w 4457589"/>
                    <a:gd name="connsiteY1892" fmla="*/ 654872 h 1541722"/>
                    <a:gd name="connsiteX1893" fmla="*/ 66517 w 4457589"/>
                    <a:gd name="connsiteY1893" fmla="*/ 656691 h 1541722"/>
                    <a:gd name="connsiteX1894" fmla="*/ 74397 w 4457589"/>
                    <a:gd name="connsiteY1894" fmla="*/ 658357 h 1541722"/>
                    <a:gd name="connsiteX1895" fmla="*/ 75457 w 4457589"/>
                    <a:gd name="connsiteY1895" fmla="*/ 659873 h 1541722"/>
                    <a:gd name="connsiteX1896" fmla="*/ 75912 w 4457589"/>
                    <a:gd name="connsiteY1896" fmla="*/ 661842 h 1541722"/>
                    <a:gd name="connsiteX1897" fmla="*/ 75760 w 4457589"/>
                    <a:gd name="connsiteY1897" fmla="*/ 663812 h 1541722"/>
                    <a:gd name="connsiteX1898" fmla="*/ 72124 w 4457589"/>
                    <a:gd name="connsiteY1898" fmla="*/ 667600 h 1541722"/>
                    <a:gd name="connsiteX1899" fmla="*/ 72124 w 4457589"/>
                    <a:gd name="connsiteY1899" fmla="*/ 669115 h 1541722"/>
                    <a:gd name="connsiteX1900" fmla="*/ 73639 w 4457589"/>
                    <a:gd name="connsiteY1900" fmla="*/ 672600 h 1541722"/>
                    <a:gd name="connsiteX1901" fmla="*/ 75457 w 4457589"/>
                    <a:gd name="connsiteY1901" fmla="*/ 676085 h 1541722"/>
                    <a:gd name="connsiteX1902" fmla="*/ 83185 w 4457589"/>
                    <a:gd name="connsiteY1902" fmla="*/ 679722 h 1541722"/>
                    <a:gd name="connsiteX1903" fmla="*/ 85761 w 4457589"/>
                    <a:gd name="connsiteY1903" fmla="*/ 681692 h 1541722"/>
                    <a:gd name="connsiteX1904" fmla="*/ 86518 w 4457589"/>
                    <a:gd name="connsiteY1904" fmla="*/ 683358 h 1541722"/>
                    <a:gd name="connsiteX1905" fmla="*/ 86821 w 4457589"/>
                    <a:gd name="connsiteY1905" fmla="*/ 685934 h 1541722"/>
                    <a:gd name="connsiteX1906" fmla="*/ 86821 w 4457589"/>
                    <a:gd name="connsiteY1906" fmla="*/ 688661 h 1541722"/>
                    <a:gd name="connsiteX1907" fmla="*/ 86215 w 4457589"/>
                    <a:gd name="connsiteY1907" fmla="*/ 691237 h 1541722"/>
                    <a:gd name="connsiteX1908" fmla="*/ 83791 w 4457589"/>
                    <a:gd name="connsiteY1908" fmla="*/ 694419 h 1541722"/>
                    <a:gd name="connsiteX1909" fmla="*/ 78185 w 4457589"/>
                    <a:gd name="connsiteY1909" fmla="*/ 700632 h 1541722"/>
                    <a:gd name="connsiteX1910" fmla="*/ 72579 w 4457589"/>
                    <a:gd name="connsiteY1910" fmla="*/ 703056 h 1541722"/>
                    <a:gd name="connsiteX1911" fmla="*/ 72275 w 4457589"/>
                    <a:gd name="connsiteY1911" fmla="*/ 703662 h 1541722"/>
                    <a:gd name="connsiteX1912" fmla="*/ 73942 w 4457589"/>
                    <a:gd name="connsiteY1912" fmla="*/ 705632 h 1541722"/>
                    <a:gd name="connsiteX1913" fmla="*/ 83943 w 4457589"/>
                    <a:gd name="connsiteY1913" fmla="*/ 713662 h 1541722"/>
                    <a:gd name="connsiteX1914" fmla="*/ 90306 w 4457589"/>
                    <a:gd name="connsiteY1914" fmla="*/ 717450 h 1541722"/>
                    <a:gd name="connsiteX1915" fmla="*/ 99095 w 4457589"/>
                    <a:gd name="connsiteY1915" fmla="*/ 722451 h 1541722"/>
                    <a:gd name="connsiteX1916" fmla="*/ 104701 w 4457589"/>
                    <a:gd name="connsiteY1916" fmla="*/ 726542 h 1541722"/>
                    <a:gd name="connsiteX1917" fmla="*/ 106519 w 4457589"/>
                    <a:gd name="connsiteY1917" fmla="*/ 729269 h 1541722"/>
                    <a:gd name="connsiteX1918" fmla="*/ 109095 w 4457589"/>
                    <a:gd name="connsiteY1918" fmla="*/ 732451 h 1541722"/>
                    <a:gd name="connsiteX1919" fmla="*/ 111822 w 4457589"/>
                    <a:gd name="connsiteY1919" fmla="*/ 735178 h 1541722"/>
                    <a:gd name="connsiteX1920" fmla="*/ 113792 w 4457589"/>
                    <a:gd name="connsiteY1920" fmla="*/ 737300 h 1541722"/>
                    <a:gd name="connsiteX1921" fmla="*/ 114550 w 4457589"/>
                    <a:gd name="connsiteY1921" fmla="*/ 738815 h 1541722"/>
                    <a:gd name="connsiteX1922" fmla="*/ 114398 w 4457589"/>
                    <a:gd name="connsiteY1922" fmla="*/ 740330 h 1541722"/>
                    <a:gd name="connsiteX1923" fmla="*/ 111822 w 4457589"/>
                    <a:gd name="connsiteY1923" fmla="*/ 745027 h 1541722"/>
                    <a:gd name="connsiteX1924" fmla="*/ 110307 w 4457589"/>
                    <a:gd name="connsiteY1924" fmla="*/ 748664 h 1541722"/>
                    <a:gd name="connsiteX1925" fmla="*/ 107580 w 4457589"/>
                    <a:gd name="connsiteY1925" fmla="*/ 753967 h 1541722"/>
                    <a:gd name="connsiteX1926" fmla="*/ 104852 w 4457589"/>
                    <a:gd name="connsiteY1926" fmla="*/ 757603 h 1541722"/>
                    <a:gd name="connsiteX1927" fmla="*/ 98034 w 4457589"/>
                    <a:gd name="connsiteY1927" fmla="*/ 764270 h 1541722"/>
                    <a:gd name="connsiteX1928" fmla="*/ 87882 w 4457589"/>
                    <a:gd name="connsiteY1928" fmla="*/ 772604 h 1541722"/>
                    <a:gd name="connsiteX1929" fmla="*/ 85609 w 4457589"/>
                    <a:gd name="connsiteY1929" fmla="*/ 775180 h 1541722"/>
                    <a:gd name="connsiteX1930" fmla="*/ 80760 w 4457589"/>
                    <a:gd name="connsiteY1930" fmla="*/ 779574 h 1541722"/>
                    <a:gd name="connsiteX1931" fmla="*/ 72730 w 4457589"/>
                    <a:gd name="connsiteY1931" fmla="*/ 788362 h 1541722"/>
                    <a:gd name="connsiteX1932" fmla="*/ 70609 w 4457589"/>
                    <a:gd name="connsiteY1932" fmla="*/ 790180 h 1541722"/>
                    <a:gd name="connsiteX1933" fmla="*/ 63942 w 4457589"/>
                    <a:gd name="connsiteY1933" fmla="*/ 797150 h 1541722"/>
                    <a:gd name="connsiteX1934" fmla="*/ 60911 w 4457589"/>
                    <a:gd name="connsiteY1934" fmla="*/ 799423 h 1541722"/>
                    <a:gd name="connsiteX1935" fmla="*/ 58487 w 4457589"/>
                    <a:gd name="connsiteY1935" fmla="*/ 801393 h 1541722"/>
                    <a:gd name="connsiteX1936" fmla="*/ 51972 w 4457589"/>
                    <a:gd name="connsiteY1936" fmla="*/ 808060 h 1541722"/>
                    <a:gd name="connsiteX1937" fmla="*/ 44850 w 4457589"/>
                    <a:gd name="connsiteY1937" fmla="*/ 812909 h 1541722"/>
                    <a:gd name="connsiteX1938" fmla="*/ 37880 w 4457589"/>
                    <a:gd name="connsiteY1938" fmla="*/ 817606 h 1541722"/>
                    <a:gd name="connsiteX1939" fmla="*/ 35910 w 4457589"/>
                    <a:gd name="connsiteY1939" fmla="*/ 819878 h 1541722"/>
                    <a:gd name="connsiteX1940" fmla="*/ 33334 w 4457589"/>
                    <a:gd name="connsiteY1940" fmla="*/ 821697 h 1541722"/>
                    <a:gd name="connsiteX1941" fmla="*/ 30152 w 4457589"/>
                    <a:gd name="connsiteY1941" fmla="*/ 823363 h 1541722"/>
                    <a:gd name="connsiteX1942" fmla="*/ 28941 w 4457589"/>
                    <a:gd name="connsiteY1942" fmla="*/ 824273 h 1541722"/>
                    <a:gd name="connsiteX1943" fmla="*/ 21819 w 4457589"/>
                    <a:gd name="connsiteY1943" fmla="*/ 830485 h 1541722"/>
                    <a:gd name="connsiteX1944" fmla="*/ 12121 w 4457589"/>
                    <a:gd name="connsiteY1944" fmla="*/ 839122 h 1541722"/>
                    <a:gd name="connsiteX1945" fmla="*/ 22576 w 4457589"/>
                    <a:gd name="connsiteY1945" fmla="*/ 837758 h 1541722"/>
                    <a:gd name="connsiteX1946" fmla="*/ 31819 w 4457589"/>
                    <a:gd name="connsiteY1946" fmla="*/ 833364 h 1541722"/>
                    <a:gd name="connsiteX1947" fmla="*/ 33486 w 4457589"/>
                    <a:gd name="connsiteY1947" fmla="*/ 834424 h 1541722"/>
                    <a:gd name="connsiteX1948" fmla="*/ 35456 w 4457589"/>
                    <a:gd name="connsiteY1948" fmla="*/ 836091 h 1541722"/>
                    <a:gd name="connsiteX1949" fmla="*/ 35304 w 4457589"/>
                    <a:gd name="connsiteY1949" fmla="*/ 838970 h 1541722"/>
                    <a:gd name="connsiteX1950" fmla="*/ 34698 w 4457589"/>
                    <a:gd name="connsiteY1950" fmla="*/ 841091 h 1541722"/>
                    <a:gd name="connsiteX1951" fmla="*/ 31213 w 4457589"/>
                    <a:gd name="connsiteY1951" fmla="*/ 838970 h 1541722"/>
                    <a:gd name="connsiteX1952" fmla="*/ 31971 w 4457589"/>
                    <a:gd name="connsiteY1952" fmla="*/ 841394 h 1541722"/>
                    <a:gd name="connsiteX1953" fmla="*/ 35304 w 4457589"/>
                    <a:gd name="connsiteY1953" fmla="*/ 845788 h 1541722"/>
                    <a:gd name="connsiteX1954" fmla="*/ 40001 w 4457589"/>
                    <a:gd name="connsiteY1954" fmla="*/ 847607 h 1541722"/>
                    <a:gd name="connsiteX1955" fmla="*/ 46972 w 4457589"/>
                    <a:gd name="connsiteY1955" fmla="*/ 853365 h 1541722"/>
                    <a:gd name="connsiteX1956" fmla="*/ 55153 w 4457589"/>
                    <a:gd name="connsiteY1956" fmla="*/ 853971 h 1541722"/>
                    <a:gd name="connsiteX1957" fmla="*/ 60608 w 4457589"/>
                    <a:gd name="connsiteY1957" fmla="*/ 852910 h 1541722"/>
                    <a:gd name="connsiteX1958" fmla="*/ 64851 w 4457589"/>
                    <a:gd name="connsiteY1958" fmla="*/ 853213 h 1541722"/>
                    <a:gd name="connsiteX1959" fmla="*/ 68942 w 4457589"/>
                    <a:gd name="connsiteY1959" fmla="*/ 856243 h 1541722"/>
                    <a:gd name="connsiteX1960" fmla="*/ 71821 w 4457589"/>
                    <a:gd name="connsiteY1960" fmla="*/ 860183 h 1541722"/>
                    <a:gd name="connsiteX1961" fmla="*/ 74093 w 4457589"/>
                    <a:gd name="connsiteY1961" fmla="*/ 861092 h 1541722"/>
                    <a:gd name="connsiteX1962" fmla="*/ 77124 w 4457589"/>
                    <a:gd name="connsiteY1962" fmla="*/ 862910 h 1541722"/>
                    <a:gd name="connsiteX1963" fmla="*/ 76669 w 4457589"/>
                    <a:gd name="connsiteY1963" fmla="*/ 865183 h 1541722"/>
                    <a:gd name="connsiteX1964" fmla="*/ 75760 w 4457589"/>
                    <a:gd name="connsiteY1964" fmla="*/ 866395 h 1541722"/>
                    <a:gd name="connsiteX1965" fmla="*/ 63487 w 4457589"/>
                    <a:gd name="connsiteY1965" fmla="*/ 863062 h 1541722"/>
                    <a:gd name="connsiteX1966" fmla="*/ 49093 w 4457589"/>
                    <a:gd name="connsiteY1966" fmla="*/ 861244 h 1541722"/>
                    <a:gd name="connsiteX1967" fmla="*/ 47274 w 4457589"/>
                    <a:gd name="connsiteY1967" fmla="*/ 862759 h 1541722"/>
                    <a:gd name="connsiteX1968" fmla="*/ 45456 w 4457589"/>
                    <a:gd name="connsiteY1968" fmla="*/ 865183 h 1541722"/>
                    <a:gd name="connsiteX1969" fmla="*/ 44547 w 4457589"/>
                    <a:gd name="connsiteY1969" fmla="*/ 867153 h 1541722"/>
                    <a:gd name="connsiteX1970" fmla="*/ 43638 w 4457589"/>
                    <a:gd name="connsiteY1970" fmla="*/ 868213 h 1541722"/>
                    <a:gd name="connsiteX1971" fmla="*/ 41517 w 4457589"/>
                    <a:gd name="connsiteY1971" fmla="*/ 868971 h 1541722"/>
                    <a:gd name="connsiteX1972" fmla="*/ 38183 w 4457589"/>
                    <a:gd name="connsiteY1972" fmla="*/ 869123 h 1541722"/>
                    <a:gd name="connsiteX1973" fmla="*/ 34243 w 4457589"/>
                    <a:gd name="connsiteY1973" fmla="*/ 868668 h 1541722"/>
                    <a:gd name="connsiteX1974" fmla="*/ 31971 w 4457589"/>
                    <a:gd name="connsiteY1974" fmla="*/ 867304 h 1541722"/>
                    <a:gd name="connsiteX1975" fmla="*/ 30152 w 4457589"/>
                    <a:gd name="connsiteY1975" fmla="*/ 868820 h 1541722"/>
                    <a:gd name="connsiteX1976" fmla="*/ 29395 w 4457589"/>
                    <a:gd name="connsiteY1976" fmla="*/ 872153 h 1541722"/>
                    <a:gd name="connsiteX1977" fmla="*/ 26819 w 4457589"/>
                    <a:gd name="connsiteY1977" fmla="*/ 873820 h 1541722"/>
                    <a:gd name="connsiteX1978" fmla="*/ 23486 w 4457589"/>
                    <a:gd name="connsiteY1978" fmla="*/ 872456 h 1541722"/>
                    <a:gd name="connsiteX1979" fmla="*/ 21364 w 4457589"/>
                    <a:gd name="connsiteY1979" fmla="*/ 869880 h 1541722"/>
                    <a:gd name="connsiteX1980" fmla="*/ 19243 w 4457589"/>
                    <a:gd name="connsiteY1980" fmla="*/ 870183 h 1541722"/>
                    <a:gd name="connsiteX1981" fmla="*/ 18182 w 4457589"/>
                    <a:gd name="connsiteY1981" fmla="*/ 872456 h 1541722"/>
                    <a:gd name="connsiteX1982" fmla="*/ 18940 w 4457589"/>
                    <a:gd name="connsiteY1982" fmla="*/ 875638 h 1541722"/>
                    <a:gd name="connsiteX1983" fmla="*/ 19546 w 4457589"/>
                    <a:gd name="connsiteY1983" fmla="*/ 879426 h 1541722"/>
                    <a:gd name="connsiteX1984" fmla="*/ 18031 w 4457589"/>
                    <a:gd name="connsiteY1984" fmla="*/ 882305 h 1541722"/>
                    <a:gd name="connsiteX1985" fmla="*/ 19546 w 4457589"/>
                    <a:gd name="connsiteY1985" fmla="*/ 883517 h 1541722"/>
                    <a:gd name="connsiteX1986" fmla="*/ 21364 w 4457589"/>
                    <a:gd name="connsiteY1986" fmla="*/ 885487 h 1541722"/>
                    <a:gd name="connsiteX1987" fmla="*/ 21819 w 4457589"/>
                    <a:gd name="connsiteY1987" fmla="*/ 886699 h 1541722"/>
                    <a:gd name="connsiteX1988" fmla="*/ 21213 w 4457589"/>
                    <a:gd name="connsiteY1988" fmla="*/ 887457 h 1541722"/>
                    <a:gd name="connsiteX1989" fmla="*/ 19395 w 4457589"/>
                    <a:gd name="connsiteY1989" fmla="*/ 887911 h 1541722"/>
                    <a:gd name="connsiteX1990" fmla="*/ 18940 w 4457589"/>
                    <a:gd name="connsiteY1990" fmla="*/ 888517 h 1541722"/>
                    <a:gd name="connsiteX1991" fmla="*/ 18182 w 4457589"/>
                    <a:gd name="connsiteY1991" fmla="*/ 889578 h 1541722"/>
                    <a:gd name="connsiteX1992" fmla="*/ 16061 w 4457589"/>
                    <a:gd name="connsiteY1992" fmla="*/ 889881 h 1541722"/>
                    <a:gd name="connsiteX1993" fmla="*/ 15000 w 4457589"/>
                    <a:gd name="connsiteY1993" fmla="*/ 890639 h 1541722"/>
                    <a:gd name="connsiteX1994" fmla="*/ 13637 w 4457589"/>
                    <a:gd name="connsiteY1994" fmla="*/ 894124 h 1541722"/>
                    <a:gd name="connsiteX1995" fmla="*/ 11061 w 4457589"/>
                    <a:gd name="connsiteY1995" fmla="*/ 899730 h 1541722"/>
                    <a:gd name="connsiteX1996" fmla="*/ 8637 w 4457589"/>
                    <a:gd name="connsiteY1996" fmla="*/ 902609 h 1541722"/>
                    <a:gd name="connsiteX1997" fmla="*/ 9091 w 4457589"/>
                    <a:gd name="connsiteY1997" fmla="*/ 902609 h 1541722"/>
                    <a:gd name="connsiteX1998" fmla="*/ 10910 w 4457589"/>
                    <a:gd name="connsiteY1998" fmla="*/ 905336 h 1541722"/>
                    <a:gd name="connsiteX1999" fmla="*/ 12576 w 4457589"/>
                    <a:gd name="connsiteY1999" fmla="*/ 919124 h 1541722"/>
                    <a:gd name="connsiteX2000" fmla="*/ 12879 w 4457589"/>
                    <a:gd name="connsiteY2000" fmla="*/ 922458 h 1541722"/>
                    <a:gd name="connsiteX2001" fmla="*/ 12273 w 4457589"/>
                    <a:gd name="connsiteY2001" fmla="*/ 923973 h 1541722"/>
                    <a:gd name="connsiteX2002" fmla="*/ 10758 w 4457589"/>
                    <a:gd name="connsiteY2002" fmla="*/ 924731 h 1541722"/>
                    <a:gd name="connsiteX2003" fmla="*/ 6364 w 4457589"/>
                    <a:gd name="connsiteY2003" fmla="*/ 929579 h 1541722"/>
                    <a:gd name="connsiteX2004" fmla="*/ 5758 w 4457589"/>
                    <a:gd name="connsiteY2004" fmla="*/ 931549 h 1541722"/>
                    <a:gd name="connsiteX2005" fmla="*/ 5909 w 4457589"/>
                    <a:gd name="connsiteY2005" fmla="*/ 933216 h 1541722"/>
                    <a:gd name="connsiteX2006" fmla="*/ 6515 w 4457589"/>
                    <a:gd name="connsiteY2006" fmla="*/ 934883 h 1541722"/>
                    <a:gd name="connsiteX2007" fmla="*/ 9849 w 4457589"/>
                    <a:gd name="connsiteY2007" fmla="*/ 935337 h 1541722"/>
                    <a:gd name="connsiteX2008" fmla="*/ 14091 w 4457589"/>
                    <a:gd name="connsiteY2008" fmla="*/ 934883 h 1541722"/>
                    <a:gd name="connsiteX2009" fmla="*/ 16970 w 4457589"/>
                    <a:gd name="connsiteY2009" fmla="*/ 936549 h 1541722"/>
                    <a:gd name="connsiteX2010" fmla="*/ 20455 w 4457589"/>
                    <a:gd name="connsiteY2010" fmla="*/ 940034 h 1541722"/>
                    <a:gd name="connsiteX2011" fmla="*/ 21819 w 4457589"/>
                    <a:gd name="connsiteY2011" fmla="*/ 942762 h 1541722"/>
                    <a:gd name="connsiteX2012" fmla="*/ 22425 w 4457589"/>
                    <a:gd name="connsiteY2012" fmla="*/ 945186 h 1541722"/>
                    <a:gd name="connsiteX2013" fmla="*/ 20455 w 4457589"/>
                    <a:gd name="connsiteY2013" fmla="*/ 947307 h 1541722"/>
                    <a:gd name="connsiteX2014" fmla="*/ 17576 w 4457589"/>
                    <a:gd name="connsiteY2014" fmla="*/ 947004 h 1541722"/>
                    <a:gd name="connsiteX2015" fmla="*/ 15303 w 4457589"/>
                    <a:gd name="connsiteY2015" fmla="*/ 945944 h 1541722"/>
                    <a:gd name="connsiteX2016" fmla="*/ 14394 w 4457589"/>
                    <a:gd name="connsiteY2016" fmla="*/ 945034 h 1541722"/>
                    <a:gd name="connsiteX2017" fmla="*/ 14546 w 4457589"/>
                    <a:gd name="connsiteY2017" fmla="*/ 944277 h 1541722"/>
                    <a:gd name="connsiteX2018" fmla="*/ 12273 w 4457589"/>
                    <a:gd name="connsiteY2018" fmla="*/ 942156 h 1541722"/>
                    <a:gd name="connsiteX2019" fmla="*/ 8940 w 4457589"/>
                    <a:gd name="connsiteY2019" fmla="*/ 941095 h 1541722"/>
                    <a:gd name="connsiteX2020" fmla="*/ 8031 w 4457589"/>
                    <a:gd name="connsiteY2020" fmla="*/ 941246 h 1541722"/>
                    <a:gd name="connsiteX2021" fmla="*/ 8031 w 4457589"/>
                    <a:gd name="connsiteY2021" fmla="*/ 941246 h 1541722"/>
                    <a:gd name="connsiteX2022" fmla="*/ 8788 w 4457589"/>
                    <a:gd name="connsiteY2022" fmla="*/ 944428 h 1541722"/>
                    <a:gd name="connsiteX2023" fmla="*/ 10152 w 4457589"/>
                    <a:gd name="connsiteY2023" fmla="*/ 945641 h 1541722"/>
                    <a:gd name="connsiteX2024" fmla="*/ 11364 w 4457589"/>
                    <a:gd name="connsiteY2024" fmla="*/ 946398 h 1541722"/>
                    <a:gd name="connsiteX2025" fmla="*/ 11667 w 4457589"/>
                    <a:gd name="connsiteY2025" fmla="*/ 947004 h 1541722"/>
                    <a:gd name="connsiteX2026" fmla="*/ 11667 w 4457589"/>
                    <a:gd name="connsiteY2026" fmla="*/ 947459 h 1541722"/>
                    <a:gd name="connsiteX2027" fmla="*/ 10910 w 4457589"/>
                    <a:gd name="connsiteY2027" fmla="*/ 948065 h 1541722"/>
                    <a:gd name="connsiteX2028" fmla="*/ 5152 w 4457589"/>
                    <a:gd name="connsiteY2028" fmla="*/ 949732 h 1541722"/>
                    <a:gd name="connsiteX2029" fmla="*/ 4394 w 4457589"/>
                    <a:gd name="connsiteY2029" fmla="*/ 951095 h 1541722"/>
                    <a:gd name="connsiteX2030" fmla="*/ 3788 w 4457589"/>
                    <a:gd name="connsiteY2030" fmla="*/ 952762 h 1541722"/>
                    <a:gd name="connsiteX2031" fmla="*/ 1364 w 4457589"/>
                    <a:gd name="connsiteY2031" fmla="*/ 955035 h 1541722"/>
                    <a:gd name="connsiteX2032" fmla="*/ 606 w 4457589"/>
                    <a:gd name="connsiteY2032" fmla="*/ 957156 h 1541722"/>
                    <a:gd name="connsiteX2033" fmla="*/ 0 w 4457589"/>
                    <a:gd name="connsiteY2033" fmla="*/ 959581 h 1541722"/>
                    <a:gd name="connsiteX2034" fmla="*/ 0 w 4457589"/>
                    <a:gd name="connsiteY2034" fmla="*/ 960490 h 1541722"/>
                    <a:gd name="connsiteX2035" fmla="*/ 3182 w 4457589"/>
                    <a:gd name="connsiteY2035" fmla="*/ 960641 h 1541722"/>
                    <a:gd name="connsiteX2036" fmla="*/ 4394 w 4457589"/>
                    <a:gd name="connsiteY2036" fmla="*/ 961247 h 1541722"/>
                    <a:gd name="connsiteX2037" fmla="*/ 5152 w 4457589"/>
                    <a:gd name="connsiteY2037" fmla="*/ 964429 h 1541722"/>
                    <a:gd name="connsiteX2038" fmla="*/ 8788 w 4457589"/>
                    <a:gd name="connsiteY2038" fmla="*/ 966853 h 1541722"/>
                    <a:gd name="connsiteX2039" fmla="*/ 12121 w 4457589"/>
                    <a:gd name="connsiteY2039" fmla="*/ 968823 h 1541722"/>
                    <a:gd name="connsiteX2040" fmla="*/ 13031 w 4457589"/>
                    <a:gd name="connsiteY2040" fmla="*/ 969732 h 1541722"/>
                    <a:gd name="connsiteX2041" fmla="*/ 13334 w 4457589"/>
                    <a:gd name="connsiteY2041" fmla="*/ 971551 h 1541722"/>
                    <a:gd name="connsiteX2042" fmla="*/ 13031 w 4457589"/>
                    <a:gd name="connsiteY2042" fmla="*/ 973672 h 1541722"/>
                    <a:gd name="connsiteX2043" fmla="*/ 12728 w 4457589"/>
                    <a:gd name="connsiteY2043" fmla="*/ 974733 h 1541722"/>
                    <a:gd name="connsiteX2044" fmla="*/ 11212 w 4457589"/>
                    <a:gd name="connsiteY2044" fmla="*/ 975945 h 1541722"/>
                    <a:gd name="connsiteX2045" fmla="*/ 10000 w 4457589"/>
                    <a:gd name="connsiteY2045" fmla="*/ 979127 h 1541722"/>
                    <a:gd name="connsiteX2046" fmla="*/ 9849 w 4457589"/>
                    <a:gd name="connsiteY2046" fmla="*/ 982006 h 1541722"/>
                    <a:gd name="connsiteX2047" fmla="*/ 7879 w 4457589"/>
                    <a:gd name="connsiteY2047" fmla="*/ 987309 h 1541722"/>
                    <a:gd name="connsiteX2048" fmla="*/ 8333 w 4457589"/>
                    <a:gd name="connsiteY2048" fmla="*/ 987309 h 1541722"/>
                    <a:gd name="connsiteX2049" fmla="*/ 12425 w 4457589"/>
                    <a:gd name="connsiteY2049" fmla="*/ 986400 h 1541722"/>
                    <a:gd name="connsiteX2050" fmla="*/ 13637 w 4457589"/>
                    <a:gd name="connsiteY2050" fmla="*/ 987006 h 1541722"/>
                    <a:gd name="connsiteX2051" fmla="*/ 14546 w 4457589"/>
                    <a:gd name="connsiteY2051" fmla="*/ 988066 h 1541722"/>
                    <a:gd name="connsiteX2052" fmla="*/ 14849 w 4457589"/>
                    <a:gd name="connsiteY2052" fmla="*/ 991400 h 1541722"/>
                    <a:gd name="connsiteX2053" fmla="*/ 16061 w 4457589"/>
                    <a:gd name="connsiteY2053" fmla="*/ 992763 h 1541722"/>
                    <a:gd name="connsiteX2054" fmla="*/ 17425 w 4457589"/>
                    <a:gd name="connsiteY2054" fmla="*/ 995036 h 1541722"/>
                    <a:gd name="connsiteX2055" fmla="*/ 17879 w 4457589"/>
                    <a:gd name="connsiteY2055" fmla="*/ 996855 h 1541722"/>
                    <a:gd name="connsiteX2056" fmla="*/ 20607 w 4457589"/>
                    <a:gd name="connsiteY2056" fmla="*/ 998976 h 1541722"/>
                    <a:gd name="connsiteX2057" fmla="*/ 20758 w 4457589"/>
                    <a:gd name="connsiteY2057" fmla="*/ 1000340 h 1541722"/>
                    <a:gd name="connsiteX2058" fmla="*/ 22425 w 4457589"/>
                    <a:gd name="connsiteY2058" fmla="*/ 1005037 h 1541722"/>
                    <a:gd name="connsiteX2059" fmla="*/ 23031 w 4457589"/>
                    <a:gd name="connsiteY2059" fmla="*/ 1007916 h 1541722"/>
                    <a:gd name="connsiteX2060" fmla="*/ 23183 w 4457589"/>
                    <a:gd name="connsiteY2060" fmla="*/ 1010037 h 1541722"/>
                    <a:gd name="connsiteX2061" fmla="*/ 22425 w 4457589"/>
                    <a:gd name="connsiteY2061" fmla="*/ 1012764 h 1541722"/>
                    <a:gd name="connsiteX2062" fmla="*/ 21819 w 4457589"/>
                    <a:gd name="connsiteY2062" fmla="*/ 1014582 h 1541722"/>
                    <a:gd name="connsiteX2063" fmla="*/ 25455 w 4457589"/>
                    <a:gd name="connsiteY2063" fmla="*/ 1017916 h 1541722"/>
                    <a:gd name="connsiteX2064" fmla="*/ 26364 w 4457589"/>
                    <a:gd name="connsiteY2064" fmla="*/ 1018067 h 1541722"/>
                    <a:gd name="connsiteX2065" fmla="*/ 28486 w 4457589"/>
                    <a:gd name="connsiteY2065" fmla="*/ 1016704 h 1541722"/>
                    <a:gd name="connsiteX2066" fmla="*/ 28941 w 4457589"/>
                    <a:gd name="connsiteY2066" fmla="*/ 1016552 h 1541722"/>
                    <a:gd name="connsiteX2067" fmla="*/ 33183 w 4457589"/>
                    <a:gd name="connsiteY2067" fmla="*/ 1016552 h 1541722"/>
                    <a:gd name="connsiteX2068" fmla="*/ 35153 w 4457589"/>
                    <a:gd name="connsiteY2068" fmla="*/ 1017613 h 1541722"/>
                    <a:gd name="connsiteX2069" fmla="*/ 36668 w 4457589"/>
                    <a:gd name="connsiteY2069" fmla="*/ 1019886 h 1541722"/>
                    <a:gd name="connsiteX2070" fmla="*/ 38031 w 4457589"/>
                    <a:gd name="connsiteY2070" fmla="*/ 1021704 h 1541722"/>
                    <a:gd name="connsiteX2071" fmla="*/ 39547 w 4457589"/>
                    <a:gd name="connsiteY2071" fmla="*/ 1022310 h 1541722"/>
                    <a:gd name="connsiteX2072" fmla="*/ 43638 w 4457589"/>
                    <a:gd name="connsiteY2072" fmla="*/ 1020037 h 1541722"/>
                    <a:gd name="connsiteX2073" fmla="*/ 45911 w 4457589"/>
                    <a:gd name="connsiteY2073" fmla="*/ 1019280 h 1541722"/>
                    <a:gd name="connsiteX2074" fmla="*/ 47426 w 4457589"/>
                    <a:gd name="connsiteY2074" fmla="*/ 1019280 h 1541722"/>
                    <a:gd name="connsiteX2075" fmla="*/ 52881 w 4457589"/>
                    <a:gd name="connsiteY2075" fmla="*/ 1021249 h 1541722"/>
                    <a:gd name="connsiteX2076" fmla="*/ 55305 w 4457589"/>
                    <a:gd name="connsiteY2076" fmla="*/ 1022462 h 1541722"/>
                    <a:gd name="connsiteX2077" fmla="*/ 55911 w 4457589"/>
                    <a:gd name="connsiteY2077" fmla="*/ 1023371 h 1541722"/>
                    <a:gd name="connsiteX2078" fmla="*/ 55911 w 4457589"/>
                    <a:gd name="connsiteY2078" fmla="*/ 1024583 h 1541722"/>
                    <a:gd name="connsiteX2079" fmla="*/ 55305 w 4457589"/>
                    <a:gd name="connsiteY2079" fmla="*/ 1026401 h 1541722"/>
                    <a:gd name="connsiteX2080" fmla="*/ 54699 w 4457589"/>
                    <a:gd name="connsiteY2080" fmla="*/ 1028371 h 1541722"/>
                    <a:gd name="connsiteX2081" fmla="*/ 56366 w 4457589"/>
                    <a:gd name="connsiteY2081" fmla="*/ 1030644 h 1541722"/>
                    <a:gd name="connsiteX2082" fmla="*/ 58336 w 4457589"/>
                    <a:gd name="connsiteY2082" fmla="*/ 1032159 h 1541722"/>
                    <a:gd name="connsiteX2083" fmla="*/ 62275 w 4457589"/>
                    <a:gd name="connsiteY2083" fmla="*/ 1029583 h 1541722"/>
                    <a:gd name="connsiteX2084" fmla="*/ 63790 w 4457589"/>
                    <a:gd name="connsiteY2084" fmla="*/ 1028977 h 1541722"/>
                    <a:gd name="connsiteX2085" fmla="*/ 65457 w 4457589"/>
                    <a:gd name="connsiteY2085" fmla="*/ 1028825 h 1541722"/>
                    <a:gd name="connsiteX2086" fmla="*/ 67578 w 4457589"/>
                    <a:gd name="connsiteY2086" fmla="*/ 1027916 h 1541722"/>
                    <a:gd name="connsiteX2087" fmla="*/ 69245 w 4457589"/>
                    <a:gd name="connsiteY2087" fmla="*/ 1026553 h 1541722"/>
                    <a:gd name="connsiteX2088" fmla="*/ 70760 w 4457589"/>
                    <a:gd name="connsiteY2088" fmla="*/ 1025947 h 1541722"/>
                    <a:gd name="connsiteX2089" fmla="*/ 73639 w 4457589"/>
                    <a:gd name="connsiteY2089" fmla="*/ 1026401 h 1541722"/>
                    <a:gd name="connsiteX2090" fmla="*/ 78791 w 4457589"/>
                    <a:gd name="connsiteY2090" fmla="*/ 1025947 h 1541722"/>
                    <a:gd name="connsiteX2091" fmla="*/ 85003 w 4457589"/>
                    <a:gd name="connsiteY2091" fmla="*/ 1028219 h 1541722"/>
                    <a:gd name="connsiteX2092" fmla="*/ 85457 w 4457589"/>
                    <a:gd name="connsiteY2092" fmla="*/ 1028977 h 1541722"/>
                    <a:gd name="connsiteX2093" fmla="*/ 88488 w 4457589"/>
                    <a:gd name="connsiteY2093" fmla="*/ 1031553 h 1541722"/>
                    <a:gd name="connsiteX2094" fmla="*/ 89549 w 4457589"/>
                    <a:gd name="connsiteY2094" fmla="*/ 1032916 h 1541722"/>
                    <a:gd name="connsiteX2095" fmla="*/ 90609 w 4457589"/>
                    <a:gd name="connsiteY2095" fmla="*/ 1033371 h 1541722"/>
                    <a:gd name="connsiteX2096" fmla="*/ 92124 w 4457589"/>
                    <a:gd name="connsiteY2096" fmla="*/ 1034583 h 1541722"/>
                    <a:gd name="connsiteX2097" fmla="*/ 94397 w 4457589"/>
                    <a:gd name="connsiteY2097" fmla="*/ 1035341 h 1541722"/>
                    <a:gd name="connsiteX2098" fmla="*/ 95912 w 4457589"/>
                    <a:gd name="connsiteY2098" fmla="*/ 1035189 h 1541722"/>
                    <a:gd name="connsiteX2099" fmla="*/ 96519 w 4457589"/>
                    <a:gd name="connsiteY2099" fmla="*/ 1035644 h 1541722"/>
                    <a:gd name="connsiteX2100" fmla="*/ 97276 w 4457589"/>
                    <a:gd name="connsiteY2100" fmla="*/ 1036553 h 1541722"/>
                    <a:gd name="connsiteX2101" fmla="*/ 97276 w 4457589"/>
                    <a:gd name="connsiteY2101" fmla="*/ 1038371 h 1541722"/>
                    <a:gd name="connsiteX2102" fmla="*/ 97125 w 4457589"/>
                    <a:gd name="connsiteY2102" fmla="*/ 1043220 h 1541722"/>
                    <a:gd name="connsiteX2103" fmla="*/ 96064 w 4457589"/>
                    <a:gd name="connsiteY2103" fmla="*/ 1044584 h 1541722"/>
                    <a:gd name="connsiteX2104" fmla="*/ 94852 w 4457589"/>
                    <a:gd name="connsiteY2104" fmla="*/ 1045796 h 1541722"/>
                    <a:gd name="connsiteX2105" fmla="*/ 94700 w 4457589"/>
                    <a:gd name="connsiteY2105" fmla="*/ 1046705 h 1541722"/>
                    <a:gd name="connsiteX2106" fmla="*/ 94700 w 4457589"/>
                    <a:gd name="connsiteY2106" fmla="*/ 1047766 h 1541722"/>
                    <a:gd name="connsiteX2107" fmla="*/ 96519 w 4457589"/>
                    <a:gd name="connsiteY2107" fmla="*/ 1049887 h 1541722"/>
                    <a:gd name="connsiteX2108" fmla="*/ 98640 w 4457589"/>
                    <a:gd name="connsiteY2108" fmla="*/ 1053069 h 1541722"/>
                    <a:gd name="connsiteX2109" fmla="*/ 99246 w 4457589"/>
                    <a:gd name="connsiteY2109" fmla="*/ 1055039 h 1541722"/>
                    <a:gd name="connsiteX2110" fmla="*/ 99246 w 4457589"/>
                    <a:gd name="connsiteY2110" fmla="*/ 1056402 h 1541722"/>
                    <a:gd name="connsiteX2111" fmla="*/ 96216 w 4457589"/>
                    <a:gd name="connsiteY2111" fmla="*/ 1060645 h 1541722"/>
                    <a:gd name="connsiteX2112" fmla="*/ 95155 w 4457589"/>
                    <a:gd name="connsiteY2112" fmla="*/ 1061554 h 1541722"/>
                    <a:gd name="connsiteX2113" fmla="*/ 94397 w 4457589"/>
                    <a:gd name="connsiteY2113" fmla="*/ 1063675 h 1541722"/>
                    <a:gd name="connsiteX2114" fmla="*/ 94094 w 4457589"/>
                    <a:gd name="connsiteY2114" fmla="*/ 1065645 h 1541722"/>
                    <a:gd name="connsiteX2115" fmla="*/ 94246 w 4457589"/>
                    <a:gd name="connsiteY2115" fmla="*/ 1066554 h 1541722"/>
                    <a:gd name="connsiteX2116" fmla="*/ 99398 w 4457589"/>
                    <a:gd name="connsiteY2116" fmla="*/ 1069888 h 1541722"/>
                    <a:gd name="connsiteX2117" fmla="*/ 103186 w 4457589"/>
                    <a:gd name="connsiteY2117" fmla="*/ 1071706 h 1541722"/>
                    <a:gd name="connsiteX2118" fmla="*/ 103943 w 4457589"/>
                    <a:gd name="connsiteY2118" fmla="*/ 1072615 h 1541722"/>
                    <a:gd name="connsiteX2119" fmla="*/ 104095 w 4457589"/>
                    <a:gd name="connsiteY2119" fmla="*/ 1073070 h 1541722"/>
                    <a:gd name="connsiteX2120" fmla="*/ 102125 w 4457589"/>
                    <a:gd name="connsiteY2120" fmla="*/ 1076706 h 1541722"/>
                    <a:gd name="connsiteX2121" fmla="*/ 101822 w 4457589"/>
                    <a:gd name="connsiteY2121" fmla="*/ 1077615 h 1541722"/>
                    <a:gd name="connsiteX2122" fmla="*/ 104852 w 4457589"/>
                    <a:gd name="connsiteY2122" fmla="*/ 1079130 h 1541722"/>
                    <a:gd name="connsiteX2123" fmla="*/ 106519 w 4457589"/>
                    <a:gd name="connsiteY2123" fmla="*/ 1081403 h 1541722"/>
                    <a:gd name="connsiteX2124" fmla="*/ 108034 w 4457589"/>
                    <a:gd name="connsiteY2124" fmla="*/ 1085191 h 1541722"/>
                    <a:gd name="connsiteX2125" fmla="*/ 110913 w 4457589"/>
                    <a:gd name="connsiteY2125" fmla="*/ 1088828 h 1541722"/>
                    <a:gd name="connsiteX2126" fmla="*/ 116974 w 4457589"/>
                    <a:gd name="connsiteY2126" fmla="*/ 1092010 h 1541722"/>
                    <a:gd name="connsiteX2127" fmla="*/ 121519 w 4457589"/>
                    <a:gd name="connsiteY2127" fmla="*/ 1093979 h 1541722"/>
                    <a:gd name="connsiteX2128" fmla="*/ 122429 w 4457589"/>
                    <a:gd name="connsiteY2128" fmla="*/ 1095040 h 1541722"/>
                    <a:gd name="connsiteX2129" fmla="*/ 122732 w 4457589"/>
                    <a:gd name="connsiteY2129" fmla="*/ 1096101 h 1541722"/>
                    <a:gd name="connsiteX2130" fmla="*/ 122429 w 4457589"/>
                    <a:gd name="connsiteY2130" fmla="*/ 1098525 h 1541722"/>
                    <a:gd name="connsiteX2131" fmla="*/ 121217 w 4457589"/>
                    <a:gd name="connsiteY2131" fmla="*/ 1101555 h 1541722"/>
                    <a:gd name="connsiteX2132" fmla="*/ 120459 w 4457589"/>
                    <a:gd name="connsiteY2132" fmla="*/ 1103222 h 1541722"/>
                    <a:gd name="connsiteX2133" fmla="*/ 122277 w 4457589"/>
                    <a:gd name="connsiteY2133" fmla="*/ 1103980 h 1541722"/>
                    <a:gd name="connsiteX2134" fmla="*/ 126974 w 4457589"/>
                    <a:gd name="connsiteY2134" fmla="*/ 1103677 h 1541722"/>
                    <a:gd name="connsiteX2135" fmla="*/ 132581 w 4457589"/>
                    <a:gd name="connsiteY2135" fmla="*/ 1104283 h 1541722"/>
                    <a:gd name="connsiteX2136" fmla="*/ 139551 w 4457589"/>
                    <a:gd name="connsiteY2136" fmla="*/ 1107616 h 1541722"/>
                    <a:gd name="connsiteX2137" fmla="*/ 139551 w 4457589"/>
                    <a:gd name="connsiteY2137" fmla="*/ 1109131 h 1541722"/>
                    <a:gd name="connsiteX2138" fmla="*/ 138793 w 4457589"/>
                    <a:gd name="connsiteY2138" fmla="*/ 1110495 h 1541722"/>
                    <a:gd name="connsiteX2139" fmla="*/ 139248 w 4457589"/>
                    <a:gd name="connsiteY2139" fmla="*/ 1111859 h 1541722"/>
                    <a:gd name="connsiteX2140" fmla="*/ 140005 w 4457589"/>
                    <a:gd name="connsiteY2140" fmla="*/ 1113071 h 1541722"/>
                    <a:gd name="connsiteX2141" fmla="*/ 145915 w 4457589"/>
                    <a:gd name="connsiteY2141" fmla="*/ 1116707 h 1541722"/>
                    <a:gd name="connsiteX2142" fmla="*/ 146520 w 4457589"/>
                    <a:gd name="connsiteY2142" fmla="*/ 1117768 h 1541722"/>
                    <a:gd name="connsiteX2143" fmla="*/ 146672 w 4457589"/>
                    <a:gd name="connsiteY2143" fmla="*/ 1119586 h 1541722"/>
                    <a:gd name="connsiteX2144" fmla="*/ 146369 w 4457589"/>
                    <a:gd name="connsiteY2144" fmla="*/ 1120950 h 1541722"/>
                    <a:gd name="connsiteX2145" fmla="*/ 144854 w 4457589"/>
                    <a:gd name="connsiteY2145" fmla="*/ 1121253 h 1541722"/>
                    <a:gd name="connsiteX2146" fmla="*/ 143036 w 4457589"/>
                    <a:gd name="connsiteY2146" fmla="*/ 1121859 h 1541722"/>
                    <a:gd name="connsiteX2147" fmla="*/ 140005 w 4457589"/>
                    <a:gd name="connsiteY2147" fmla="*/ 1123374 h 1541722"/>
                    <a:gd name="connsiteX2148" fmla="*/ 138793 w 4457589"/>
                    <a:gd name="connsiteY2148" fmla="*/ 1125647 h 1541722"/>
                    <a:gd name="connsiteX2149" fmla="*/ 134096 w 4457589"/>
                    <a:gd name="connsiteY2149" fmla="*/ 1128678 h 1541722"/>
                    <a:gd name="connsiteX2150" fmla="*/ 131065 w 4457589"/>
                    <a:gd name="connsiteY2150" fmla="*/ 1130041 h 1541722"/>
                    <a:gd name="connsiteX2151" fmla="*/ 128641 w 4457589"/>
                    <a:gd name="connsiteY2151" fmla="*/ 1130041 h 1541722"/>
                    <a:gd name="connsiteX2152" fmla="*/ 123035 w 4457589"/>
                    <a:gd name="connsiteY2152" fmla="*/ 1129435 h 1541722"/>
                    <a:gd name="connsiteX2153" fmla="*/ 121065 w 4457589"/>
                    <a:gd name="connsiteY2153" fmla="*/ 1127920 h 1541722"/>
                    <a:gd name="connsiteX2154" fmla="*/ 120308 w 4457589"/>
                    <a:gd name="connsiteY2154" fmla="*/ 1126556 h 1541722"/>
                    <a:gd name="connsiteX2155" fmla="*/ 118035 w 4457589"/>
                    <a:gd name="connsiteY2155" fmla="*/ 1125950 h 1541722"/>
                    <a:gd name="connsiteX2156" fmla="*/ 115156 w 4457589"/>
                    <a:gd name="connsiteY2156" fmla="*/ 1125950 h 1541722"/>
                    <a:gd name="connsiteX2157" fmla="*/ 111216 w 4457589"/>
                    <a:gd name="connsiteY2157" fmla="*/ 1126102 h 1541722"/>
                    <a:gd name="connsiteX2158" fmla="*/ 110459 w 4457589"/>
                    <a:gd name="connsiteY2158" fmla="*/ 1126556 h 1541722"/>
                    <a:gd name="connsiteX2159" fmla="*/ 109853 w 4457589"/>
                    <a:gd name="connsiteY2159" fmla="*/ 1128223 h 1541722"/>
                    <a:gd name="connsiteX2160" fmla="*/ 108034 w 4457589"/>
                    <a:gd name="connsiteY2160" fmla="*/ 1131102 h 1541722"/>
                    <a:gd name="connsiteX2161" fmla="*/ 106822 w 4457589"/>
                    <a:gd name="connsiteY2161" fmla="*/ 1132769 h 1541722"/>
                    <a:gd name="connsiteX2162" fmla="*/ 107883 w 4457589"/>
                    <a:gd name="connsiteY2162" fmla="*/ 1133829 h 1541722"/>
                    <a:gd name="connsiteX2163" fmla="*/ 109398 w 4457589"/>
                    <a:gd name="connsiteY2163" fmla="*/ 1135799 h 1541722"/>
                    <a:gd name="connsiteX2164" fmla="*/ 111974 w 4457589"/>
                    <a:gd name="connsiteY2164" fmla="*/ 1138526 h 1541722"/>
                    <a:gd name="connsiteX2165" fmla="*/ 114398 w 4457589"/>
                    <a:gd name="connsiteY2165" fmla="*/ 1140799 h 1541722"/>
                    <a:gd name="connsiteX2166" fmla="*/ 115307 w 4457589"/>
                    <a:gd name="connsiteY2166" fmla="*/ 1142314 h 1541722"/>
                    <a:gd name="connsiteX2167" fmla="*/ 115156 w 4457589"/>
                    <a:gd name="connsiteY2167" fmla="*/ 1143375 h 1541722"/>
                    <a:gd name="connsiteX2168" fmla="*/ 114095 w 4457589"/>
                    <a:gd name="connsiteY2168" fmla="*/ 1144587 h 1541722"/>
                    <a:gd name="connsiteX2169" fmla="*/ 114247 w 4457589"/>
                    <a:gd name="connsiteY2169" fmla="*/ 1147012 h 1541722"/>
                    <a:gd name="connsiteX2170" fmla="*/ 116671 w 4457589"/>
                    <a:gd name="connsiteY2170" fmla="*/ 1150193 h 1541722"/>
                    <a:gd name="connsiteX2171" fmla="*/ 115762 w 4457589"/>
                    <a:gd name="connsiteY2171" fmla="*/ 1150648 h 1541722"/>
                    <a:gd name="connsiteX2172" fmla="*/ 115610 w 4457589"/>
                    <a:gd name="connsiteY2172" fmla="*/ 1154588 h 1541722"/>
                    <a:gd name="connsiteX2173" fmla="*/ 115610 w 4457589"/>
                    <a:gd name="connsiteY2173" fmla="*/ 1158830 h 1541722"/>
                    <a:gd name="connsiteX2174" fmla="*/ 116216 w 4457589"/>
                    <a:gd name="connsiteY2174" fmla="*/ 1159739 h 1541722"/>
                    <a:gd name="connsiteX2175" fmla="*/ 117580 w 4457589"/>
                    <a:gd name="connsiteY2175" fmla="*/ 1160648 h 1541722"/>
                    <a:gd name="connsiteX2176" fmla="*/ 118641 w 4457589"/>
                    <a:gd name="connsiteY2176" fmla="*/ 1162164 h 1541722"/>
                    <a:gd name="connsiteX2177" fmla="*/ 120610 w 4457589"/>
                    <a:gd name="connsiteY2177" fmla="*/ 1165649 h 1541722"/>
                    <a:gd name="connsiteX2178" fmla="*/ 120762 w 4457589"/>
                    <a:gd name="connsiteY2178" fmla="*/ 1166558 h 1541722"/>
                    <a:gd name="connsiteX2179" fmla="*/ 121217 w 4457589"/>
                    <a:gd name="connsiteY2179" fmla="*/ 1166558 h 1541722"/>
                    <a:gd name="connsiteX2180" fmla="*/ 123792 w 4457589"/>
                    <a:gd name="connsiteY2180" fmla="*/ 1167618 h 1541722"/>
                    <a:gd name="connsiteX2181" fmla="*/ 126520 w 4457589"/>
                    <a:gd name="connsiteY2181" fmla="*/ 1168527 h 1541722"/>
                    <a:gd name="connsiteX2182" fmla="*/ 128338 w 4457589"/>
                    <a:gd name="connsiteY2182" fmla="*/ 1168527 h 1541722"/>
                    <a:gd name="connsiteX2183" fmla="*/ 130459 w 4457589"/>
                    <a:gd name="connsiteY2183" fmla="*/ 1168376 h 1541722"/>
                    <a:gd name="connsiteX2184" fmla="*/ 133035 w 4457589"/>
                    <a:gd name="connsiteY2184" fmla="*/ 1167164 h 1541722"/>
                    <a:gd name="connsiteX2185" fmla="*/ 134853 w 4457589"/>
                    <a:gd name="connsiteY2185" fmla="*/ 1165952 h 1541722"/>
                    <a:gd name="connsiteX2186" fmla="*/ 137126 w 4457589"/>
                    <a:gd name="connsiteY2186" fmla="*/ 1160194 h 1541722"/>
                    <a:gd name="connsiteX2187" fmla="*/ 137884 w 4457589"/>
                    <a:gd name="connsiteY2187" fmla="*/ 1159436 h 1541722"/>
                    <a:gd name="connsiteX2188" fmla="*/ 139096 w 4457589"/>
                    <a:gd name="connsiteY2188" fmla="*/ 1158982 h 1541722"/>
                    <a:gd name="connsiteX2189" fmla="*/ 141066 w 4457589"/>
                    <a:gd name="connsiteY2189" fmla="*/ 1158830 h 1541722"/>
                    <a:gd name="connsiteX2190" fmla="*/ 144854 w 4457589"/>
                    <a:gd name="connsiteY2190" fmla="*/ 1160042 h 1541722"/>
                    <a:gd name="connsiteX2191" fmla="*/ 149248 w 4457589"/>
                    <a:gd name="connsiteY2191" fmla="*/ 1160951 h 1541722"/>
                    <a:gd name="connsiteX2192" fmla="*/ 151824 w 4457589"/>
                    <a:gd name="connsiteY2192" fmla="*/ 1160800 h 1541722"/>
                    <a:gd name="connsiteX2193" fmla="*/ 158642 w 4457589"/>
                    <a:gd name="connsiteY2193" fmla="*/ 1157770 h 1541722"/>
                    <a:gd name="connsiteX2194" fmla="*/ 162430 w 4457589"/>
                    <a:gd name="connsiteY2194" fmla="*/ 1157315 h 1541722"/>
                    <a:gd name="connsiteX2195" fmla="*/ 166824 w 4457589"/>
                    <a:gd name="connsiteY2195" fmla="*/ 1157921 h 1541722"/>
                    <a:gd name="connsiteX2196" fmla="*/ 171370 w 4457589"/>
                    <a:gd name="connsiteY2196" fmla="*/ 1158073 h 1541722"/>
                    <a:gd name="connsiteX2197" fmla="*/ 174703 w 4457589"/>
                    <a:gd name="connsiteY2197" fmla="*/ 1157618 h 1541722"/>
                    <a:gd name="connsiteX2198" fmla="*/ 176976 w 4457589"/>
                    <a:gd name="connsiteY2198" fmla="*/ 1158679 h 1541722"/>
                    <a:gd name="connsiteX2199" fmla="*/ 179703 w 4457589"/>
                    <a:gd name="connsiteY2199" fmla="*/ 1160951 h 1541722"/>
                    <a:gd name="connsiteX2200" fmla="*/ 182279 w 4457589"/>
                    <a:gd name="connsiteY2200" fmla="*/ 1164436 h 1541722"/>
                    <a:gd name="connsiteX2201" fmla="*/ 185007 w 4457589"/>
                    <a:gd name="connsiteY2201" fmla="*/ 1170952 h 1541722"/>
                    <a:gd name="connsiteX2202" fmla="*/ 192734 w 4457589"/>
                    <a:gd name="connsiteY2202" fmla="*/ 1178225 h 1541722"/>
                    <a:gd name="connsiteX2203" fmla="*/ 192886 w 4457589"/>
                    <a:gd name="connsiteY2203" fmla="*/ 1179589 h 1541722"/>
                    <a:gd name="connsiteX2204" fmla="*/ 192280 w 4457589"/>
                    <a:gd name="connsiteY2204" fmla="*/ 1180498 h 1541722"/>
                    <a:gd name="connsiteX2205" fmla="*/ 188492 w 4457589"/>
                    <a:gd name="connsiteY2205" fmla="*/ 1181407 h 1541722"/>
                    <a:gd name="connsiteX2206" fmla="*/ 185158 w 4457589"/>
                    <a:gd name="connsiteY2206" fmla="*/ 1181861 h 1541722"/>
                    <a:gd name="connsiteX2207" fmla="*/ 185007 w 4457589"/>
                    <a:gd name="connsiteY2207" fmla="*/ 1183074 h 1541722"/>
                    <a:gd name="connsiteX2208" fmla="*/ 185916 w 4457589"/>
                    <a:gd name="connsiteY2208" fmla="*/ 1184437 h 1541722"/>
                    <a:gd name="connsiteX2209" fmla="*/ 187431 w 4457589"/>
                    <a:gd name="connsiteY2209" fmla="*/ 1186407 h 1541722"/>
                    <a:gd name="connsiteX2210" fmla="*/ 187583 w 4457589"/>
                    <a:gd name="connsiteY2210" fmla="*/ 1188983 h 1541722"/>
                    <a:gd name="connsiteX2211" fmla="*/ 187583 w 4457589"/>
                    <a:gd name="connsiteY2211" fmla="*/ 1191256 h 1541722"/>
                    <a:gd name="connsiteX2212" fmla="*/ 188189 w 4457589"/>
                    <a:gd name="connsiteY2212" fmla="*/ 1193377 h 1541722"/>
                    <a:gd name="connsiteX2213" fmla="*/ 189401 w 4457589"/>
                    <a:gd name="connsiteY2213" fmla="*/ 1194286 h 1541722"/>
                    <a:gd name="connsiteX2214" fmla="*/ 189552 w 4457589"/>
                    <a:gd name="connsiteY2214" fmla="*/ 1195195 h 1541722"/>
                    <a:gd name="connsiteX2215" fmla="*/ 188189 w 4457589"/>
                    <a:gd name="connsiteY2215" fmla="*/ 1196559 h 1541722"/>
                    <a:gd name="connsiteX2216" fmla="*/ 187734 w 4457589"/>
                    <a:gd name="connsiteY2216" fmla="*/ 1197316 h 1541722"/>
                    <a:gd name="connsiteX2217" fmla="*/ 188340 w 4457589"/>
                    <a:gd name="connsiteY2217" fmla="*/ 1197771 h 1541722"/>
                    <a:gd name="connsiteX2218" fmla="*/ 195310 w 4457589"/>
                    <a:gd name="connsiteY2218" fmla="*/ 1197923 h 1541722"/>
                    <a:gd name="connsiteX2219" fmla="*/ 198795 w 4457589"/>
                    <a:gd name="connsiteY2219" fmla="*/ 1199135 h 1541722"/>
                    <a:gd name="connsiteX2220" fmla="*/ 201371 w 4457589"/>
                    <a:gd name="connsiteY2220" fmla="*/ 1200347 h 1541722"/>
                    <a:gd name="connsiteX2221" fmla="*/ 202735 w 4457589"/>
                    <a:gd name="connsiteY2221" fmla="*/ 1200347 h 1541722"/>
                    <a:gd name="connsiteX2222" fmla="*/ 205614 w 4457589"/>
                    <a:gd name="connsiteY2222" fmla="*/ 1199741 h 1541722"/>
                    <a:gd name="connsiteX2223" fmla="*/ 208947 w 4457589"/>
                    <a:gd name="connsiteY2223" fmla="*/ 1199286 h 1541722"/>
                    <a:gd name="connsiteX2224" fmla="*/ 211068 w 4457589"/>
                    <a:gd name="connsiteY2224" fmla="*/ 1199135 h 1541722"/>
                    <a:gd name="connsiteX2225" fmla="*/ 211826 w 4457589"/>
                    <a:gd name="connsiteY2225" fmla="*/ 1200044 h 1541722"/>
                    <a:gd name="connsiteX2226" fmla="*/ 212432 w 4457589"/>
                    <a:gd name="connsiteY2226" fmla="*/ 1202165 h 1541722"/>
                    <a:gd name="connsiteX2227" fmla="*/ 213644 w 4457589"/>
                    <a:gd name="connsiteY2227" fmla="*/ 1204286 h 1541722"/>
                    <a:gd name="connsiteX2228" fmla="*/ 214705 w 4457589"/>
                    <a:gd name="connsiteY2228" fmla="*/ 1204892 h 1541722"/>
                    <a:gd name="connsiteX2229" fmla="*/ 216675 w 4457589"/>
                    <a:gd name="connsiteY2229" fmla="*/ 1204892 h 1541722"/>
                    <a:gd name="connsiteX2230" fmla="*/ 217735 w 4457589"/>
                    <a:gd name="connsiteY2230" fmla="*/ 1204892 h 1541722"/>
                    <a:gd name="connsiteX2231" fmla="*/ 218341 w 4457589"/>
                    <a:gd name="connsiteY2231" fmla="*/ 1205802 h 1541722"/>
                    <a:gd name="connsiteX2232" fmla="*/ 217735 w 4457589"/>
                    <a:gd name="connsiteY2232" fmla="*/ 1207014 h 1541722"/>
                    <a:gd name="connsiteX2233" fmla="*/ 217887 w 4457589"/>
                    <a:gd name="connsiteY2233" fmla="*/ 1208377 h 1541722"/>
                    <a:gd name="connsiteX2234" fmla="*/ 218796 w 4457589"/>
                    <a:gd name="connsiteY2234" fmla="*/ 1210044 h 1541722"/>
                    <a:gd name="connsiteX2235" fmla="*/ 219705 w 4457589"/>
                    <a:gd name="connsiteY2235" fmla="*/ 1213832 h 1541722"/>
                    <a:gd name="connsiteX2236" fmla="*/ 220614 w 4457589"/>
                    <a:gd name="connsiteY2236" fmla="*/ 1214893 h 1541722"/>
                    <a:gd name="connsiteX2237" fmla="*/ 221372 w 4457589"/>
                    <a:gd name="connsiteY2237" fmla="*/ 1216408 h 1541722"/>
                    <a:gd name="connsiteX2238" fmla="*/ 221372 w 4457589"/>
                    <a:gd name="connsiteY2238" fmla="*/ 1217923 h 1541722"/>
                    <a:gd name="connsiteX2239" fmla="*/ 220463 w 4457589"/>
                    <a:gd name="connsiteY2239" fmla="*/ 1219438 h 1541722"/>
                    <a:gd name="connsiteX2240" fmla="*/ 220008 w 4457589"/>
                    <a:gd name="connsiteY2240" fmla="*/ 1220499 h 1541722"/>
                    <a:gd name="connsiteX2241" fmla="*/ 220463 w 4457589"/>
                    <a:gd name="connsiteY2241" fmla="*/ 1223075 h 1541722"/>
                    <a:gd name="connsiteX2242" fmla="*/ 222584 w 4457589"/>
                    <a:gd name="connsiteY2242" fmla="*/ 1225954 h 1541722"/>
                    <a:gd name="connsiteX2243" fmla="*/ 224251 w 4457589"/>
                    <a:gd name="connsiteY2243" fmla="*/ 1226711 h 1541722"/>
                    <a:gd name="connsiteX2244" fmla="*/ 225463 w 4457589"/>
                    <a:gd name="connsiteY2244" fmla="*/ 1229287 h 1541722"/>
                    <a:gd name="connsiteX2245" fmla="*/ 227736 w 4457589"/>
                    <a:gd name="connsiteY2245" fmla="*/ 1230045 h 1541722"/>
                    <a:gd name="connsiteX2246" fmla="*/ 231069 w 4457589"/>
                    <a:gd name="connsiteY2246" fmla="*/ 1227924 h 1541722"/>
                    <a:gd name="connsiteX2247" fmla="*/ 233645 w 4457589"/>
                    <a:gd name="connsiteY2247" fmla="*/ 1226863 h 1541722"/>
                    <a:gd name="connsiteX2248" fmla="*/ 236827 w 4457589"/>
                    <a:gd name="connsiteY2248" fmla="*/ 1227469 h 1541722"/>
                    <a:gd name="connsiteX2249" fmla="*/ 239857 w 4457589"/>
                    <a:gd name="connsiteY2249" fmla="*/ 1227772 h 1541722"/>
                    <a:gd name="connsiteX2250" fmla="*/ 241827 w 4457589"/>
                    <a:gd name="connsiteY2250" fmla="*/ 1229287 h 1541722"/>
                    <a:gd name="connsiteX2251" fmla="*/ 243342 w 4457589"/>
                    <a:gd name="connsiteY2251" fmla="*/ 1231257 h 1541722"/>
                    <a:gd name="connsiteX2252" fmla="*/ 245009 w 4457589"/>
                    <a:gd name="connsiteY2252" fmla="*/ 1232469 h 1541722"/>
                    <a:gd name="connsiteX2253" fmla="*/ 246676 w 4457589"/>
                    <a:gd name="connsiteY2253" fmla="*/ 1231863 h 1541722"/>
                    <a:gd name="connsiteX2254" fmla="*/ 250312 w 4457589"/>
                    <a:gd name="connsiteY2254" fmla="*/ 1232469 h 1541722"/>
                    <a:gd name="connsiteX2255" fmla="*/ 251979 w 4457589"/>
                    <a:gd name="connsiteY2255" fmla="*/ 1233984 h 1541722"/>
                    <a:gd name="connsiteX2256" fmla="*/ 253494 w 4457589"/>
                    <a:gd name="connsiteY2256" fmla="*/ 1234894 h 1541722"/>
                    <a:gd name="connsiteX2257" fmla="*/ 255615 w 4457589"/>
                    <a:gd name="connsiteY2257" fmla="*/ 1233681 h 1541722"/>
                    <a:gd name="connsiteX2258" fmla="*/ 257434 w 4457589"/>
                    <a:gd name="connsiteY2258" fmla="*/ 1232015 h 1541722"/>
                    <a:gd name="connsiteX2259" fmla="*/ 263646 w 4457589"/>
                    <a:gd name="connsiteY2259" fmla="*/ 1230348 h 1541722"/>
                    <a:gd name="connsiteX2260" fmla="*/ 267586 w 4457589"/>
                    <a:gd name="connsiteY2260" fmla="*/ 1229893 h 1541722"/>
                    <a:gd name="connsiteX2261" fmla="*/ 268646 w 4457589"/>
                    <a:gd name="connsiteY2261" fmla="*/ 1229590 h 1541722"/>
                    <a:gd name="connsiteX2262" fmla="*/ 270919 w 4457589"/>
                    <a:gd name="connsiteY2262" fmla="*/ 1228227 h 1541722"/>
                    <a:gd name="connsiteX2263" fmla="*/ 273344 w 4457589"/>
                    <a:gd name="connsiteY2263" fmla="*/ 1227469 h 1541722"/>
                    <a:gd name="connsiteX2264" fmla="*/ 275616 w 4457589"/>
                    <a:gd name="connsiteY2264" fmla="*/ 1227772 h 1541722"/>
                    <a:gd name="connsiteX2265" fmla="*/ 277737 w 4457589"/>
                    <a:gd name="connsiteY2265" fmla="*/ 1230196 h 1541722"/>
                    <a:gd name="connsiteX2266" fmla="*/ 279859 w 4457589"/>
                    <a:gd name="connsiteY2266" fmla="*/ 1232015 h 1541722"/>
                    <a:gd name="connsiteX2267" fmla="*/ 280465 w 4457589"/>
                    <a:gd name="connsiteY2267" fmla="*/ 1234742 h 1541722"/>
                    <a:gd name="connsiteX2268" fmla="*/ 283192 w 4457589"/>
                    <a:gd name="connsiteY2268" fmla="*/ 1238530 h 1541722"/>
                    <a:gd name="connsiteX2269" fmla="*/ 290011 w 4457589"/>
                    <a:gd name="connsiteY2269" fmla="*/ 1243682 h 1541722"/>
                    <a:gd name="connsiteX2270" fmla="*/ 292587 w 4457589"/>
                    <a:gd name="connsiteY2270" fmla="*/ 1245348 h 1541722"/>
                    <a:gd name="connsiteX2271" fmla="*/ 294405 w 4457589"/>
                    <a:gd name="connsiteY2271" fmla="*/ 1245045 h 1541722"/>
                    <a:gd name="connsiteX2272" fmla="*/ 295314 w 4457589"/>
                    <a:gd name="connsiteY2272" fmla="*/ 1244591 h 1541722"/>
                    <a:gd name="connsiteX2273" fmla="*/ 295768 w 4457589"/>
                    <a:gd name="connsiteY2273" fmla="*/ 1243985 h 1541722"/>
                    <a:gd name="connsiteX2274" fmla="*/ 296223 w 4457589"/>
                    <a:gd name="connsiteY2274" fmla="*/ 1241560 h 1541722"/>
                    <a:gd name="connsiteX2275" fmla="*/ 296981 w 4457589"/>
                    <a:gd name="connsiteY2275" fmla="*/ 1240651 h 1541722"/>
                    <a:gd name="connsiteX2276" fmla="*/ 298344 w 4457589"/>
                    <a:gd name="connsiteY2276" fmla="*/ 1240500 h 1541722"/>
                    <a:gd name="connsiteX2277" fmla="*/ 303648 w 4457589"/>
                    <a:gd name="connsiteY2277" fmla="*/ 1243682 h 1541722"/>
                    <a:gd name="connsiteX2278" fmla="*/ 306375 w 4457589"/>
                    <a:gd name="connsiteY2278" fmla="*/ 1243985 h 1541722"/>
                    <a:gd name="connsiteX2279" fmla="*/ 309102 w 4457589"/>
                    <a:gd name="connsiteY2279" fmla="*/ 1244136 h 1541722"/>
                    <a:gd name="connsiteX2280" fmla="*/ 312587 w 4457589"/>
                    <a:gd name="connsiteY2280" fmla="*/ 1246561 h 1541722"/>
                    <a:gd name="connsiteX2281" fmla="*/ 316527 w 4457589"/>
                    <a:gd name="connsiteY2281" fmla="*/ 1248682 h 1541722"/>
                    <a:gd name="connsiteX2282" fmla="*/ 319406 w 4457589"/>
                    <a:gd name="connsiteY2282" fmla="*/ 1248833 h 1541722"/>
                    <a:gd name="connsiteX2283" fmla="*/ 321830 w 4457589"/>
                    <a:gd name="connsiteY2283" fmla="*/ 1248076 h 1541722"/>
                    <a:gd name="connsiteX2284" fmla="*/ 323497 w 4457589"/>
                    <a:gd name="connsiteY2284" fmla="*/ 1247621 h 1541722"/>
                    <a:gd name="connsiteX2285" fmla="*/ 324557 w 4457589"/>
                    <a:gd name="connsiteY2285" fmla="*/ 1248379 h 1541722"/>
                    <a:gd name="connsiteX2286" fmla="*/ 325466 w 4457589"/>
                    <a:gd name="connsiteY2286" fmla="*/ 1250197 h 1541722"/>
                    <a:gd name="connsiteX2287" fmla="*/ 326982 w 4457589"/>
                    <a:gd name="connsiteY2287" fmla="*/ 1251561 h 1541722"/>
                    <a:gd name="connsiteX2288" fmla="*/ 328800 w 4457589"/>
                    <a:gd name="connsiteY2288" fmla="*/ 1252015 h 1541722"/>
                    <a:gd name="connsiteX2289" fmla="*/ 331376 w 4457589"/>
                    <a:gd name="connsiteY2289" fmla="*/ 1252167 h 1541722"/>
                    <a:gd name="connsiteX2290" fmla="*/ 335770 w 4457589"/>
                    <a:gd name="connsiteY2290" fmla="*/ 1254894 h 1541722"/>
                    <a:gd name="connsiteX2291" fmla="*/ 340013 w 4457589"/>
                    <a:gd name="connsiteY2291" fmla="*/ 1257622 h 1541722"/>
                    <a:gd name="connsiteX2292" fmla="*/ 342740 w 4457589"/>
                    <a:gd name="connsiteY2292" fmla="*/ 1257773 h 1541722"/>
                    <a:gd name="connsiteX2293" fmla="*/ 344861 w 4457589"/>
                    <a:gd name="connsiteY2293" fmla="*/ 1257016 h 1541722"/>
                    <a:gd name="connsiteX2294" fmla="*/ 346831 w 4457589"/>
                    <a:gd name="connsiteY2294" fmla="*/ 1256713 h 1541722"/>
                    <a:gd name="connsiteX2295" fmla="*/ 348194 w 4457589"/>
                    <a:gd name="connsiteY2295" fmla="*/ 1257470 h 1541722"/>
                    <a:gd name="connsiteX2296" fmla="*/ 348649 w 4457589"/>
                    <a:gd name="connsiteY2296" fmla="*/ 1258682 h 1541722"/>
                    <a:gd name="connsiteX2297" fmla="*/ 347589 w 4457589"/>
                    <a:gd name="connsiteY2297" fmla="*/ 1260349 h 1541722"/>
                    <a:gd name="connsiteX2298" fmla="*/ 347589 w 4457589"/>
                    <a:gd name="connsiteY2298" fmla="*/ 1262622 h 1541722"/>
                    <a:gd name="connsiteX2299" fmla="*/ 349559 w 4457589"/>
                    <a:gd name="connsiteY2299" fmla="*/ 1264895 h 1541722"/>
                    <a:gd name="connsiteX2300" fmla="*/ 349559 w 4457589"/>
                    <a:gd name="connsiteY2300" fmla="*/ 1267016 h 1541722"/>
                    <a:gd name="connsiteX2301" fmla="*/ 349104 w 4457589"/>
                    <a:gd name="connsiteY2301" fmla="*/ 1268986 h 1541722"/>
                    <a:gd name="connsiteX2302" fmla="*/ 348043 w 4457589"/>
                    <a:gd name="connsiteY2302" fmla="*/ 1270804 h 1541722"/>
                    <a:gd name="connsiteX2303" fmla="*/ 345467 w 4457589"/>
                    <a:gd name="connsiteY2303" fmla="*/ 1273380 h 1541722"/>
                    <a:gd name="connsiteX2304" fmla="*/ 343043 w 4457589"/>
                    <a:gd name="connsiteY2304" fmla="*/ 1275653 h 1541722"/>
                    <a:gd name="connsiteX2305" fmla="*/ 339406 w 4457589"/>
                    <a:gd name="connsiteY2305" fmla="*/ 1276562 h 1541722"/>
                    <a:gd name="connsiteX2306" fmla="*/ 337437 w 4457589"/>
                    <a:gd name="connsiteY2306" fmla="*/ 1277622 h 1541722"/>
                    <a:gd name="connsiteX2307" fmla="*/ 338043 w 4457589"/>
                    <a:gd name="connsiteY2307" fmla="*/ 1279289 h 1541722"/>
                    <a:gd name="connsiteX2308" fmla="*/ 339255 w 4457589"/>
                    <a:gd name="connsiteY2308" fmla="*/ 1280956 h 1541722"/>
                    <a:gd name="connsiteX2309" fmla="*/ 342285 w 4457589"/>
                    <a:gd name="connsiteY2309" fmla="*/ 1282168 h 1541722"/>
                    <a:gd name="connsiteX2310" fmla="*/ 345771 w 4457589"/>
                    <a:gd name="connsiteY2310" fmla="*/ 1283077 h 1541722"/>
                    <a:gd name="connsiteX2311" fmla="*/ 346225 w 4457589"/>
                    <a:gd name="connsiteY2311" fmla="*/ 1284138 h 1541722"/>
                    <a:gd name="connsiteX2312" fmla="*/ 345619 w 4457589"/>
                    <a:gd name="connsiteY2312" fmla="*/ 1284744 h 1541722"/>
                    <a:gd name="connsiteX2313" fmla="*/ 343497 w 4457589"/>
                    <a:gd name="connsiteY2313" fmla="*/ 1285198 h 1541722"/>
                    <a:gd name="connsiteX2314" fmla="*/ 340316 w 4457589"/>
                    <a:gd name="connsiteY2314" fmla="*/ 1284592 h 1541722"/>
                    <a:gd name="connsiteX2315" fmla="*/ 339406 w 4457589"/>
                    <a:gd name="connsiteY2315" fmla="*/ 1285501 h 1541722"/>
                    <a:gd name="connsiteX2316" fmla="*/ 338043 w 4457589"/>
                    <a:gd name="connsiteY2316" fmla="*/ 1287017 h 1541722"/>
                    <a:gd name="connsiteX2317" fmla="*/ 336982 w 4457589"/>
                    <a:gd name="connsiteY2317" fmla="*/ 1289744 h 1541722"/>
                    <a:gd name="connsiteX2318" fmla="*/ 336376 w 4457589"/>
                    <a:gd name="connsiteY2318" fmla="*/ 1292320 h 1541722"/>
                    <a:gd name="connsiteX2319" fmla="*/ 339709 w 4457589"/>
                    <a:gd name="connsiteY2319" fmla="*/ 1292926 h 1541722"/>
                    <a:gd name="connsiteX2320" fmla="*/ 341528 w 4457589"/>
                    <a:gd name="connsiteY2320" fmla="*/ 1293987 h 1541722"/>
                    <a:gd name="connsiteX2321" fmla="*/ 342134 w 4457589"/>
                    <a:gd name="connsiteY2321" fmla="*/ 1295956 h 1541722"/>
                    <a:gd name="connsiteX2322" fmla="*/ 342892 w 4457589"/>
                    <a:gd name="connsiteY2322" fmla="*/ 1298381 h 1541722"/>
                    <a:gd name="connsiteX2323" fmla="*/ 343043 w 4457589"/>
                    <a:gd name="connsiteY2323" fmla="*/ 1300351 h 1541722"/>
                    <a:gd name="connsiteX2324" fmla="*/ 341983 w 4457589"/>
                    <a:gd name="connsiteY2324" fmla="*/ 1301411 h 1541722"/>
                    <a:gd name="connsiteX2325" fmla="*/ 341831 w 4457589"/>
                    <a:gd name="connsiteY2325" fmla="*/ 1302320 h 1541722"/>
                    <a:gd name="connsiteX2326" fmla="*/ 342437 w 4457589"/>
                    <a:gd name="connsiteY2326" fmla="*/ 1302926 h 1541722"/>
                    <a:gd name="connsiteX2327" fmla="*/ 343801 w 4457589"/>
                    <a:gd name="connsiteY2327" fmla="*/ 1303078 h 1541722"/>
                    <a:gd name="connsiteX2328" fmla="*/ 344861 w 4457589"/>
                    <a:gd name="connsiteY2328" fmla="*/ 1303532 h 1541722"/>
                    <a:gd name="connsiteX2329" fmla="*/ 345013 w 4457589"/>
                    <a:gd name="connsiteY2329" fmla="*/ 1304593 h 1541722"/>
                    <a:gd name="connsiteX2330" fmla="*/ 342892 w 4457589"/>
                    <a:gd name="connsiteY2330" fmla="*/ 1307017 h 1541722"/>
                    <a:gd name="connsiteX2331" fmla="*/ 340922 w 4457589"/>
                    <a:gd name="connsiteY2331" fmla="*/ 1311715 h 1541722"/>
                    <a:gd name="connsiteX2332" fmla="*/ 339861 w 4457589"/>
                    <a:gd name="connsiteY2332" fmla="*/ 1314139 h 1541722"/>
                    <a:gd name="connsiteX2333" fmla="*/ 340013 w 4457589"/>
                    <a:gd name="connsiteY2333" fmla="*/ 1316866 h 1541722"/>
                    <a:gd name="connsiteX2334" fmla="*/ 338800 w 4457589"/>
                    <a:gd name="connsiteY2334" fmla="*/ 1318382 h 1541722"/>
                    <a:gd name="connsiteX2335" fmla="*/ 336679 w 4457589"/>
                    <a:gd name="connsiteY2335" fmla="*/ 1318533 h 1541722"/>
                    <a:gd name="connsiteX2336" fmla="*/ 329406 w 4457589"/>
                    <a:gd name="connsiteY2336" fmla="*/ 1318685 h 1541722"/>
                    <a:gd name="connsiteX2337" fmla="*/ 323042 w 4457589"/>
                    <a:gd name="connsiteY2337" fmla="*/ 1318685 h 1541722"/>
                    <a:gd name="connsiteX2338" fmla="*/ 320315 w 4457589"/>
                    <a:gd name="connsiteY2338" fmla="*/ 1318230 h 1541722"/>
                    <a:gd name="connsiteX2339" fmla="*/ 315921 w 4457589"/>
                    <a:gd name="connsiteY2339" fmla="*/ 1317927 h 1541722"/>
                    <a:gd name="connsiteX2340" fmla="*/ 313799 w 4457589"/>
                    <a:gd name="connsiteY2340" fmla="*/ 1318685 h 1541722"/>
                    <a:gd name="connsiteX2341" fmla="*/ 311072 w 4457589"/>
                    <a:gd name="connsiteY2341" fmla="*/ 1322927 h 1541722"/>
                    <a:gd name="connsiteX2342" fmla="*/ 308799 w 4457589"/>
                    <a:gd name="connsiteY2342" fmla="*/ 1324594 h 1541722"/>
                    <a:gd name="connsiteX2343" fmla="*/ 305314 w 4457589"/>
                    <a:gd name="connsiteY2343" fmla="*/ 1326109 h 1541722"/>
                    <a:gd name="connsiteX2344" fmla="*/ 301375 w 4457589"/>
                    <a:gd name="connsiteY2344" fmla="*/ 1326564 h 1541722"/>
                    <a:gd name="connsiteX2345" fmla="*/ 299254 w 4457589"/>
                    <a:gd name="connsiteY2345" fmla="*/ 1328230 h 1541722"/>
                    <a:gd name="connsiteX2346" fmla="*/ 298344 w 4457589"/>
                    <a:gd name="connsiteY2346" fmla="*/ 1331109 h 1541722"/>
                    <a:gd name="connsiteX2347" fmla="*/ 298344 w 4457589"/>
                    <a:gd name="connsiteY2347" fmla="*/ 1333534 h 1541722"/>
                    <a:gd name="connsiteX2348" fmla="*/ 298041 w 4457589"/>
                    <a:gd name="connsiteY2348" fmla="*/ 1334746 h 1541722"/>
                    <a:gd name="connsiteX2349" fmla="*/ 297132 w 4457589"/>
                    <a:gd name="connsiteY2349" fmla="*/ 1335806 h 1541722"/>
                    <a:gd name="connsiteX2350" fmla="*/ 296829 w 4457589"/>
                    <a:gd name="connsiteY2350" fmla="*/ 1336564 h 1541722"/>
                    <a:gd name="connsiteX2351" fmla="*/ 296981 w 4457589"/>
                    <a:gd name="connsiteY2351" fmla="*/ 1337322 h 1541722"/>
                    <a:gd name="connsiteX2352" fmla="*/ 297890 w 4457589"/>
                    <a:gd name="connsiteY2352" fmla="*/ 1337625 h 1541722"/>
                    <a:gd name="connsiteX2353" fmla="*/ 298950 w 4457589"/>
                    <a:gd name="connsiteY2353" fmla="*/ 1338079 h 1541722"/>
                    <a:gd name="connsiteX2354" fmla="*/ 298950 w 4457589"/>
                    <a:gd name="connsiteY2354" fmla="*/ 1338685 h 1541722"/>
                    <a:gd name="connsiteX2355" fmla="*/ 298647 w 4457589"/>
                    <a:gd name="connsiteY2355" fmla="*/ 1339443 h 1541722"/>
                    <a:gd name="connsiteX2356" fmla="*/ 297435 w 4457589"/>
                    <a:gd name="connsiteY2356" fmla="*/ 1340352 h 1541722"/>
                    <a:gd name="connsiteX2357" fmla="*/ 296829 w 4457589"/>
                    <a:gd name="connsiteY2357" fmla="*/ 1341564 h 1541722"/>
                    <a:gd name="connsiteX2358" fmla="*/ 296981 w 4457589"/>
                    <a:gd name="connsiteY2358" fmla="*/ 1342928 h 1541722"/>
                    <a:gd name="connsiteX2359" fmla="*/ 297132 w 4457589"/>
                    <a:gd name="connsiteY2359" fmla="*/ 1344443 h 1541722"/>
                    <a:gd name="connsiteX2360" fmla="*/ 304557 w 4457589"/>
                    <a:gd name="connsiteY2360" fmla="*/ 1341564 h 1541722"/>
                    <a:gd name="connsiteX2361" fmla="*/ 307132 w 4457589"/>
                    <a:gd name="connsiteY2361" fmla="*/ 1339443 h 1541722"/>
                    <a:gd name="connsiteX2362" fmla="*/ 312133 w 4457589"/>
                    <a:gd name="connsiteY2362" fmla="*/ 1338534 h 1541722"/>
                    <a:gd name="connsiteX2363" fmla="*/ 311527 w 4457589"/>
                    <a:gd name="connsiteY2363" fmla="*/ 1339443 h 1541722"/>
                    <a:gd name="connsiteX2364" fmla="*/ 308951 w 4457589"/>
                    <a:gd name="connsiteY2364" fmla="*/ 1340352 h 1541722"/>
                    <a:gd name="connsiteX2365" fmla="*/ 306526 w 4457589"/>
                    <a:gd name="connsiteY2365" fmla="*/ 1342473 h 1541722"/>
                    <a:gd name="connsiteX2366" fmla="*/ 309557 w 4457589"/>
                    <a:gd name="connsiteY2366" fmla="*/ 1342625 h 1541722"/>
                    <a:gd name="connsiteX2367" fmla="*/ 316678 w 4457589"/>
                    <a:gd name="connsiteY2367" fmla="*/ 1341564 h 1541722"/>
                    <a:gd name="connsiteX2368" fmla="*/ 319406 w 4457589"/>
                    <a:gd name="connsiteY2368" fmla="*/ 1338231 h 1541722"/>
                    <a:gd name="connsiteX2369" fmla="*/ 324103 w 4457589"/>
                    <a:gd name="connsiteY2369" fmla="*/ 1338382 h 1541722"/>
                    <a:gd name="connsiteX2370" fmla="*/ 325315 w 4457589"/>
                    <a:gd name="connsiteY2370" fmla="*/ 1340807 h 1541722"/>
                    <a:gd name="connsiteX2371" fmla="*/ 326679 w 4457589"/>
                    <a:gd name="connsiteY2371" fmla="*/ 1343988 h 1541722"/>
                    <a:gd name="connsiteX2372" fmla="*/ 326679 w 4457589"/>
                    <a:gd name="connsiteY2372" fmla="*/ 1345201 h 1541722"/>
                    <a:gd name="connsiteX2373" fmla="*/ 326073 w 4457589"/>
                    <a:gd name="connsiteY2373" fmla="*/ 1346110 h 1541722"/>
                    <a:gd name="connsiteX2374" fmla="*/ 322133 w 4457589"/>
                    <a:gd name="connsiteY2374" fmla="*/ 1346867 h 1541722"/>
                    <a:gd name="connsiteX2375" fmla="*/ 313193 w 4457589"/>
                    <a:gd name="connsiteY2375" fmla="*/ 1350807 h 1541722"/>
                    <a:gd name="connsiteX2376" fmla="*/ 308648 w 4457589"/>
                    <a:gd name="connsiteY2376" fmla="*/ 1352019 h 1541722"/>
                    <a:gd name="connsiteX2377" fmla="*/ 303344 w 4457589"/>
                    <a:gd name="connsiteY2377" fmla="*/ 1353989 h 1541722"/>
                    <a:gd name="connsiteX2378" fmla="*/ 304708 w 4457589"/>
                    <a:gd name="connsiteY2378" fmla="*/ 1356868 h 1541722"/>
                    <a:gd name="connsiteX2379" fmla="*/ 305011 w 4457589"/>
                    <a:gd name="connsiteY2379" fmla="*/ 1359141 h 1541722"/>
                    <a:gd name="connsiteX2380" fmla="*/ 300769 w 4457589"/>
                    <a:gd name="connsiteY2380" fmla="*/ 1358686 h 1541722"/>
                    <a:gd name="connsiteX2381" fmla="*/ 297587 w 4457589"/>
                    <a:gd name="connsiteY2381" fmla="*/ 1357928 h 1541722"/>
                    <a:gd name="connsiteX2382" fmla="*/ 295768 w 4457589"/>
                    <a:gd name="connsiteY2382" fmla="*/ 1358231 h 1541722"/>
                    <a:gd name="connsiteX2383" fmla="*/ 290465 w 4457589"/>
                    <a:gd name="connsiteY2383" fmla="*/ 1360807 h 1541722"/>
                    <a:gd name="connsiteX2384" fmla="*/ 287738 w 4457589"/>
                    <a:gd name="connsiteY2384" fmla="*/ 1360201 h 1541722"/>
                    <a:gd name="connsiteX2385" fmla="*/ 285011 w 4457589"/>
                    <a:gd name="connsiteY2385" fmla="*/ 1360201 h 1541722"/>
                    <a:gd name="connsiteX2386" fmla="*/ 286071 w 4457589"/>
                    <a:gd name="connsiteY2386" fmla="*/ 1363686 h 1541722"/>
                    <a:gd name="connsiteX2387" fmla="*/ 288950 w 4457589"/>
                    <a:gd name="connsiteY2387" fmla="*/ 1368080 h 1541722"/>
                    <a:gd name="connsiteX2388" fmla="*/ 290768 w 4457589"/>
                    <a:gd name="connsiteY2388" fmla="*/ 1368838 h 1541722"/>
                    <a:gd name="connsiteX2389" fmla="*/ 293496 w 4457589"/>
                    <a:gd name="connsiteY2389" fmla="*/ 1368383 h 1541722"/>
                    <a:gd name="connsiteX2390" fmla="*/ 300011 w 4457589"/>
                    <a:gd name="connsiteY2390" fmla="*/ 1373686 h 1541722"/>
                    <a:gd name="connsiteX2391" fmla="*/ 304860 w 4457589"/>
                    <a:gd name="connsiteY2391" fmla="*/ 1378838 h 1541722"/>
                    <a:gd name="connsiteX2392" fmla="*/ 302284 w 4457589"/>
                    <a:gd name="connsiteY2392" fmla="*/ 1379141 h 1541722"/>
                    <a:gd name="connsiteX2393" fmla="*/ 299860 w 4457589"/>
                    <a:gd name="connsiteY2393" fmla="*/ 1378687 h 1541722"/>
                    <a:gd name="connsiteX2394" fmla="*/ 296375 w 4457589"/>
                    <a:gd name="connsiteY2394" fmla="*/ 1378687 h 1541722"/>
                    <a:gd name="connsiteX2395" fmla="*/ 295011 w 4457589"/>
                    <a:gd name="connsiteY2395" fmla="*/ 1381869 h 1541722"/>
                    <a:gd name="connsiteX2396" fmla="*/ 293496 w 4457589"/>
                    <a:gd name="connsiteY2396" fmla="*/ 1384141 h 1541722"/>
                    <a:gd name="connsiteX2397" fmla="*/ 293193 w 4457589"/>
                    <a:gd name="connsiteY2397" fmla="*/ 1382929 h 1541722"/>
                    <a:gd name="connsiteX2398" fmla="*/ 293344 w 4457589"/>
                    <a:gd name="connsiteY2398" fmla="*/ 1381263 h 1541722"/>
                    <a:gd name="connsiteX2399" fmla="*/ 291677 w 4457589"/>
                    <a:gd name="connsiteY2399" fmla="*/ 1380353 h 1541722"/>
                    <a:gd name="connsiteX2400" fmla="*/ 289556 w 4457589"/>
                    <a:gd name="connsiteY2400" fmla="*/ 1381869 h 1541722"/>
                    <a:gd name="connsiteX2401" fmla="*/ 286980 w 4457589"/>
                    <a:gd name="connsiteY2401" fmla="*/ 1388687 h 1541722"/>
                    <a:gd name="connsiteX2402" fmla="*/ 282283 w 4457589"/>
                    <a:gd name="connsiteY2402" fmla="*/ 1393687 h 1541722"/>
                    <a:gd name="connsiteX2403" fmla="*/ 280768 w 4457589"/>
                    <a:gd name="connsiteY2403" fmla="*/ 1396718 h 1541722"/>
                    <a:gd name="connsiteX2404" fmla="*/ 280616 w 4457589"/>
                    <a:gd name="connsiteY2404" fmla="*/ 1398991 h 1541722"/>
                    <a:gd name="connsiteX2405" fmla="*/ 281374 w 4457589"/>
                    <a:gd name="connsiteY2405" fmla="*/ 1399445 h 1541722"/>
                    <a:gd name="connsiteX2406" fmla="*/ 282434 w 4457589"/>
                    <a:gd name="connsiteY2406" fmla="*/ 1399294 h 1541722"/>
                    <a:gd name="connsiteX2407" fmla="*/ 282434 w 4457589"/>
                    <a:gd name="connsiteY2407" fmla="*/ 1401263 h 1541722"/>
                    <a:gd name="connsiteX2408" fmla="*/ 281677 w 4457589"/>
                    <a:gd name="connsiteY2408" fmla="*/ 1403082 h 1541722"/>
                    <a:gd name="connsiteX2409" fmla="*/ 271222 w 4457589"/>
                    <a:gd name="connsiteY2409" fmla="*/ 1405354 h 1541722"/>
                    <a:gd name="connsiteX2410" fmla="*/ 269858 w 4457589"/>
                    <a:gd name="connsiteY2410" fmla="*/ 1406567 h 1541722"/>
                    <a:gd name="connsiteX2411" fmla="*/ 266828 w 4457589"/>
                    <a:gd name="connsiteY2411" fmla="*/ 1405657 h 1541722"/>
                    <a:gd name="connsiteX2412" fmla="*/ 263343 w 4457589"/>
                    <a:gd name="connsiteY2412" fmla="*/ 1402930 h 1541722"/>
                    <a:gd name="connsiteX2413" fmla="*/ 260313 w 4457589"/>
                    <a:gd name="connsiteY2413" fmla="*/ 1401415 h 1541722"/>
                    <a:gd name="connsiteX2414" fmla="*/ 258343 w 4457589"/>
                    <a:gd name="connsiteY2414" fmla="*/ 1402021 h 1541722"/>
                    <a:gd name="connsiteX2415" fmla="*/ 256373 w 4457589"/>
                    <a:gd name="connsiteY2415" fmla="*/ 1403233 h 1541722"/>
                    <a:gd name="connsiteX2416" fmla="*/ 257434 w 4457589"/>
                    <a:gd name="connsiteY2416" fmla="*/ 1404142 h 1541722"/>
                    <a:gd name="connsiteX2417" fmla="*/ 258797 w 4457589"/>
                    <a:gd name="connsiteY2417" fmla="*/ 1404294 h 1541722"/>
                    <a:gd name="connsiteX2418" fmla="*/ 262434 w 4457589"/>
                    <a:gd name="connsiteY2418" fmla="*/ 1406112 h 1541722"/>
                    <a:gd name="connsiteX2419" fmla="*/ 260464 w 4457589"/>
                    <a:gd name="connsiteY2419" fmla="*/ 1407324 h 1541722"/>
                    <a:gd name="connsiteX2420" fmla="*/ 253494 w 4457589"/>
                    <a:gd name="connsiteY2420" fmla="*/ 1409597 h 1541722"/>
                    <a:gd name="connsiteX2421" fmla="*/ 253797 w 4457589"/>
                    <a:gd name="connsiteY2421" fmla="*/ 1410809 h 1541722"/>
                    <a:gd name="connsiteX2422" fmla="*/ 254404 w 4457589"/>
                    <a:gd name="connsiteY2422" fmla="*/ 1411567 h 1541722"/>
                    <a:gd name="connsiteX2423" fmla="*/ 262434 w 4457589"/>
                    <a:gd name="connsiteY2423" fmla="*/ 1413537 h 1541722"/>
                    <a:gd name="connsiteX2424" fmla="*/ 269556 w 4457589"/>
                    <a:gd name="connsiteY2424" fmla="*/ 1416718 h 1541722"/>
                    <a:gd name="connsiteX2425" fmla="*/ 271677 w 4457589"/>
                    <a:gd name="connsiteY2425" fmla="*/ 1418991 h 1541722"/>
                    <a:gd name="connsiteX2426" fmla="*/ 273646 w 4457589"/>
                    <a:gd name="connsiteY2426" fmla="*/ 1422931 h 1541722"/>
                    <a:gd name="connsiteX2427" fmla="*/ 275162 w 4457589"/>
                    <a:gd name="connsiteY2427" fmla="*/ 1424749 h 1541722"/>
                    <a:gd name="connsiteX2428" fmla="*/ 277586 w 4457589"/>
                    <a:gd name="connsiteY2428" fmla="*/ 1426113 h 1541722"/>
                    <a:gd name="connsiteX2429" fmla="*/ 279707 w 4457589"/>
                    <a:gd name="connsiteY2429" fmla="*/ 1426870 h 1541722"/>
                    <a:gd name="connsiteX2430" fmla="*/ 283192 w 4457589"/>
                    <a:gd name="connsiteY2430" fmla="*/ 1427325 h 1541722"/>
                    <a:gd name="connsiteX2431" fmla="*/ 287283 w 4457589"/>
                    <a:gd name="connsiteY2431" fmla="*/ 1425961 h 1541722"/>
                    <a:gd name="connsiteX2432" fmla="*/ 296223 w 4457589"/>
                    <a:gd name="connsiteY2432" fmla="*/ 1435355 h 1541722"/>
                    <a:gd name="connsiteX2433" fmla="*/ 299860 w 4457589"/>
                    <a:gd name="connsiteY2433" fmla="*/ 1436871 h 1541722"/>
                    <a:gd name="connsiteX2434" fmla="*/ 308799 w 4457589"/>
                    <a:gd name="connsiteY2434" fmla="*/ 1438840 h 1541722"/>
                    <a:gd name="connsiteX2435" fmla="*/ 310920 w 4457589"/>
                    <a:gd name="connsiteY2435" fmla="*/ 1439750 h 1541722"/>
                    <a:gd name="connsiteX2436" fmla="*/ 327740 w 4457589"/>
                    <a:gd name="connsiteY2436" fmla="*/ 1452932 h 1541722"/>
                    <a:gd name="connsiteX2437" fmla="*/ 332891 w 4457589"/>
                    <a:gd name="connsiteY2437" fmla="*/ 1458538 h 1541722"/>
                    <a:gd name="connsiteX2438" fmla="*/ 342588 w 4457589"/>
                    <a:gd name="connsiteY2438" fmla="*/ 1467023 h 1541722"/>
                    <a:gd name="connsiteX2439" fmla="*/ 345467 w 4457589"/>
                    <a:gd name="connsiteY2439" fmla="*/ 1468690 h 1541722"/>
                    <a:gd name="connsiteX2440" fmla="*/ 346680 w 4457589"/>
                    <a:gd name="connsiteY2440" fmla="*/ 1466569 h 1541722"/>
                    <a:gd name="connsiteX2441" fmla="*/ 348346 w 4457589"/>
                    <a:gd name="connsiteY2441" fmla="*/ 1464296 h 1541722"/>
                    <a:gd name="connsiteX2442" fmla="*/ 350164 w 4457589"/>
                    <a:gd name="connsiteY2442" fmla="*/ 1463841 h 1541722"/>
                    <a:gd name="connsiteX2443" fmla="*/ 355468 w 4457589"/>
                    <a:gd name="connsiteY2443" fmla="*/ 1464599 h 1541722"/>
                    <a:gd name="connsiteX2444" fmla="*/ 360316 w 4457589"/>
                    <a:gd name="connsiteY2444" fmla="*/ 1465660 h 1541722"/>
                    <a:gd name="connsiteX2445" fmla="*/ 363801 w 4457589"/>
                    <a:gd name="connsiteY2445" fmla="*/ 1464902 h 1541722"/>
                    <a:gd name="connsiteX2446" fmla="*/ 368044 w 4457589"/>
                    <a:gd name="connsiteY2446" fmla="*/ 1466720 h 1541722"/>
                    <a:gd name="connsiteX2447" fmla="*/ 371832 w 4457589"/>
                    <a:gd name="connsiteY2447" fmla="*/ 1468841 h 1541722"/>
                    <a:gd name="connsiteX2448" fmla="*/ 375620 w 4457589"/>
                    <a:gd name="connsiteY2448" fmla="*/ 1470205 h 1541722"/>
                    <a:gd name="connsiteX2449" fmla="*/ 383196 w 4457589"/>
                    <a:gd name="connsiteY2449" fmla="*/ 1471569 h 1541722"/>
                    <a:gd name="connsiteX2450" fmla="*/ 386075 w 4457589"/>
                    <a:gd name="connsiteY2450" fmla="*/ 1473539 h 1541722"/>
                    <a:gd name="connsiteX2451" fmla="*/ 389257 w 4457589"/>
                    <a:gd name="connsiteY2451" fmla="*/ 1475357 h 1541722"/>
                    <a:gd name="connsiteX2452" fmla="*/ 402136 w 4457589"/>
                    <a:gd name="connsiteY2452" fmla="*/ 1476417 h 1541722"/>
                    <a:gd name="connsiteX2453" fmla="*/ 403197 w 4457589"/>
                    <a:gd name="connsiteY2453" fmla="*/ 1476114 h 1541722"/>
                    <a:gd name="connsiteX2454" fmla="*/ 404106 w 4457589"/>
                    <a:gd name="connsiteY2454" fmla="*/ 1475812 h 1541722"/>
                    <a:gd name="connsiteX2455" fmla="*/ 408500 w 4457589"/>
                    <a:gd name="connsiteY2455" fmla="*/ 1475054 h 1541722"/>
                    <a:gd name="connsiteX2456" fmla="*/ 412288 w 4457589"/>
                    <a:gd name="connsiteY2456" fmla="*/ 1475205 h 1541722"/>
                    <a:gd name="connsiteX2457" fmla="*/ 416228 w 4457589"/>
                    <a:gd name="connsiteY2457" fmla="*/ 1477478 h 1541722"/>
                    <a:gd name="connsiteX2458" fmla="*/ 418803 w 4457589"/>
                    <a:gd name="connsiteY2458" fmla="*/ 1477478 h 1541722"/>
                    <a:gd name="connsiteX2459" fmla="*/ 421531 w 4457589"/>
                    <a:gd name="connsiteY2459" fmla="*/ 1477024 h 1541722"/>
                    <a:gd name="connsiteX2460" fmla="*/ 425167 w 4457589"/>
                    <a:gd name="connsiteY2460" fmla="*/ 1478236 h 1541722"/>
                    <a:gd name="connsiteX2461" fmla="*/ 427895 w 4457589"/>
                    <a:gd name="connsiteY2461" fmla="*/ 1479600 h 1541722"/>
                    <a:gd name="connsiteX2462" fmla="*/ 428197 w 4457589"/>
                    <a:gd name="connsiteY2462" fmla="*/ 1480963 h 1541722"/>
                    <a:gd name="connsiteX2463" fmla="*/ 430622 w 4457589"/>
                    <a:gd name="connsiteY2463" fmla="*/ 1483084 h 1541722"/>
                    <a:gd name="connsiteX2464" fmla="*/ 437592 w 4457589"/>
                    <a:gd name="connsiteY2464" fmla="*/ 1486115 h 1541722"/>
                    <a:gd name="connsiteX2465" fmla="*/ 443349 w 4457589"/>
                    <a:gd name="connsiteY2465" fmla="*/ 1487782 h 1541722"/>
                    <a:gd name="connsiteX2466" fmla="*/ 445168 w 4457589"/>
                    <a:gd name="connsiteY2466" fmla="*/ 1488994 h 1541722"/>
                    <a:gd name="connsiteX2467" fmla="*/ 449562 w 4457589"/>
                    <a:gd name="connsiteY2467" fmla="*/ 1490964 h 1541722"/>
                    <a:gd name="connsiteX2468" fmla="*/ 450016 w 4457589"/>
                    <a:gd name="connsiteY2468" fmla="*/ 1491721 h 1541722"/>
                    <a:gd name="connsiteX2469" fmla="*/ 449865 w 4457589"/>
                    <a:gd name="connsiteY2469" fmla="*/ 1492479 h 1541722"/>
                    <a:gd name="connsiteX2470" fmla="*/ 448653 w 4457589"/>
                    <a:gd name="connsiteY2470" fmla="*/ 1493994 h 1541722"/>
                    <a:gd name="connsiteX2471" fmla="*/ 448350 w 4457589"/>
                    <a:gd name="connsiteY2471" fmla="*/ 1495358 h 1541722"/>
                    <a:gd name="connsiteX2472" fmla="*/ 448956 w 4457589"/>
                    <a:gd name="connsiteY2472" fmla="*/ 1496115 h 1541722"/>
                    <a:gd name="connsiteX2473" fmla="*/ 450774 w 4457589"/>
                    <a:gd name="connsiteY2473" fmla="*/ 1496873 h 1541722"/>
                    <a:gd name="connsiteX2474" fmla="*/ 454411 w 4457589"/>
                    <a:gd name="connsiteY2474" fmla="*/ 1497024 h 1541722"/>
                    <a:gd name="connsiteX2475" fmla="*/ 455623 w 4457589"/>
                    <a:gd name="connsiteY2475" fmla="*/ 1495964 h 1541722"/>
                    <a:gd name="connsiteX2476" fmla="*/ 458350 w 4457589"/>
                    <a:gd name="connsiteY2476" fmla="*/ 1495358 h 1541722"/>
                    <a:gd name="connsiteX2477" fmla="*/ 460926 w 4457589"/>
                    <a:gd name="connsiteY2477" fmla="*/ 1494145 h 1541722"/>
                    <a:gd name="connsiteX2478" fmla="*/ 464563 w 4457589"/>
                    <a:gd name="connsiteY2478" fmla="*/ 1492479 h 1541722"/>
                    <a:gd name="connsiteX2479" fmla="*/ 469411 w 4457589"/>
                    <a:gd name="connsiteY2479" fmla="*/ 1490964 h 1541722"/>
                    <a:gd name="connsiteX2480" fmla="*/ 471230 w 4457589"/>
                    <a:gd name="connsiteY2480" fmla="*/ 1490964 h 1541722"/>
                    <a:gd name="connsiteX2481" fmla="*/ 473199 w 4457589"/>
                    <a:gd name="connsiteY2481" fmla="*/ 1491418 h 1541722"/>
                    <a:gd name="connsiteX2482" fmla="*/ 474412 w 4457589"/>
                    <a:gd name="connsiteY2482" fmla="*/ 1492327 h 1541722"/>
                    <a:gd name="connsiteX2483" fmla="*/ 476533 w 4457589"/>
                    <a:gd name="connsiteY2483" fmla="*/ 1495358 h 1541722"/>
                    <a:gd name="connsiteX2484" fmla="*/ 478806 w 4457589"/>
                    <a:gd name="connsiteY2484" fmla="*/ 1490964 h 1541722"/>
                    <a:gd name="connsiteX2485" fmla="*/ 479260 w 4457589"/>
                    <a:gd name="connsiteY2485" fmla="*/ 1490660 h 1541722"/>
                    <a:gd name="connsiteX2486" fmla="*/ 481381 w 4457589"/>
                    <a:gd name="connsiteY2486" fmla="*/ 1491570 h 1541722"/>
                    <a:gd name="connsiteX2487" fmla="*/ 484866 w 4457589"/>
                    <a:gd name="connsiteY2487" fmla="*/ 1492782 h 1541722"/>
                    <a:gd name="connsiteX2488" fmla="*/ 487291 w 4457589"/>
                    <a:gd name="connsiteY2488" fmla="*/ 1493388 h 1541722"/>
                    <a:gd name="connsiteX2489" fmla="*/ 488503 w 4457589"/>
                    <a:gd name="connsiteY2489" fmla="*/ 1494297 h 1541722"/>
                    <a:gd name="connsiteX2490" fmla="*/ 492291 w 4457589"/>
                    <a:gd name="connsiteY2490" fmla="*/ 1498237 h 1541722"/>
                    <a:gd name="connsiteX2491" fmla="*/ 498200 w 4457589"/>
                    <a:gd name="connsiteY2491" fmla="*/ 1497934 h 1541722"/>
                    <a:gd name="connsiteX2492" fmla="*/ 500776 w 4457589"/>
                    <a:gd name="connsiteY2492" fmla="*/ 1498540 h 1541722"/>
                    <a:gd name="connsiteX2493" fmla="*/ 502140 w 4457589"/>
                    <a:gd name="connsiteY2493" fmla="*/ 1499297 h 1541722"/>
                    <a:gd name="connsiteX2494" fmla="*/ 502746 w 4457589"/>
                    <a:gd name="connsiteY2494" fmla="*/ 1500055 h 1541722"/>
                    <a:gd name="connsiteX2495" fmla="*/ 501685 w 4457589"/>
                    <a:gd name="connsiteY2495" fmla="*/ 1503843 h 1541722"/>
                    <a:gd name="connsiteX2496" fmla="*/ 500170 w 4457589"/>
                    <a:gd name="connsiteY2496" fmla="*/ 1507934 h 1541722"/>
                    <a:gd name="connsiteX2497" fmla="*/ 500321 w 4457589"/>
                    <a:gd name="connsiteY2497" fmla="*/ 1508843 h 1541722"/>
                    <a:gd name="connsiteX2498" fmla="*/ 502746 w 4457589"/>
                    <a:gd name="connsiteY2498" fmla="*/ 1510358 h 1541722"/>
                    <a:gd name="connsiteX2499" fmla="*/ 506079 w 4457589"/>
                    <a:gd name="connsiteY2499" fmla="*/ 1512025 h 1541722"/>
                    <a:gd name="connsiteX2500" fmla="*/ 507746 w 4457589"/>
                    <a:gd name="connsiteY2500" fmla="*/ 1513237 h 1541722"/>
                    <a:gd name="connsiteX2501" fmla="*/ 508958 w 4457589"/>
                    <a:gd name="connsiteY2501" fmla="*/ 1514449 h 1541722"/>
                    <a:gd name="connsiteX2502" fmla="*/ 511534 w 4457589"/>
                    <a:gd name="connsiteY2502" fmla="*/ 1515358 h 1541722"/>
                    <a:gd name="connsiteX2503" fmla="*/ 514564 w 4457589"/>
                    <a:gd name="connsiteY2503" fmla="*/ 1515813 h 1541722"/>
                    <a:gd name="connsiteX2504" fmla="*/ 516080 w 4457589"/>
                    <a:gd name="connsiteY2504" fmla="*/ 1515964 h 1541722"/>
                    <a:gd name="connsiteX2505" fmla="*/ 517595 w 4457589"/>
                    <a:gd name="connsiteY2505" fmla="*/ 1516874 h 1541722"/>
                    <a:gd name="connsiteX2506" fmla="*/ 521534 w 4457589"/>
                    <a:gd name="connsiteY2506" fmla="*/ 1518692 h 1541722"/>
                    <a:gd name="connsiteX2507" fmla="*/ 521989 w 4457589"/>
                    <a:gd name="connsiteY2507" fmla="*/ 1519146 h 1541722"/>
                    <a:gd name="connsiteX2508" fmla="*/ 524868 w 4457589"/>
                    <a:gd name="connsiteY2508" fmla="*/ 1519904 h 1541722"/>
                    <a:gd name="connsiteX2509" fmla="*/ 525322 w 4457589"/>
                    <a:gd name="connsiteY2509" fmla="*/ 1521722 h 1541722"/>
                    <a:gd name="connsiteX2510" fmla="*/ 525928 w 4457589"/>
                    <a:gd name="connsiteY2510" fmla="*/ 1522177 h 1541722"/>
                    <a:gd name="connsiteX2511" fmla="*/ 527141 w 4457589"/>
                    <a:gd name="connsiteY2511" fmla="*/ 1521874 h 1541722"/>
                    <a:gd name="connsiteX2512" fmla="*/ 529110 w 4457589"/>
                    <a:gd name="connsiteY2512" fmla="*/ 1521116 h 1541722"/>
                    <a:gd name="connsiteX2513" fmla="*/ 530777 w 4457589"/>
                    <a:gd name="connsiteY2513" fmla="*/ 1521722 h 1541722"/>
                    <a:gd name="connsiteX2514" fmla="*/ 532747 w 4457589"/>
                    <a:gd name="connsiteY2514" fmla="*/ 1523995 h 1541722"/>
                    <a:gd name="connsiteX2515" fmla="*/ 535626 w 4457589"/>
                    <a:gd name="connsiteY2515" fmla="*/ 1526419 h 1541722"/>
                    <a:gd name="connsiteX2516" fmla="*/ 537293 w 4457589"/>
                    <a:gd name="connsiteY2516" fmla="*/ 1527935 h 1541722"/>
                    <a:gd name="connsiteX2517" fmla="*/ 537899 w 4457589"/>
                    <a:gd name="connsiteY2517" fmla="*/ 1529147 h 1541722"/>
                    <a:gd name="connsiteX2518" fmla="*/ 539262 w 4457589"/>
                    <a:gd name="connsiteY2518" fmla="*/ 1530207 h 1541722"/>
                    <a:gd name="connsiteX2519" fmla="*/ 541535 w 4457589"/>
                    <a:gd name="connsiteY2519" fmla="*/ 1531420 h 1541722"/>
                    <a:gd name="connsiteX2520" fmla="*/ 543202 w 4457589"/>
                    <a:gd name="connsiteY2520" fmla="*/ 1533389 h 1541722"/>
                    <a:gd name="connsiteX2521" fmla="*/ 544717 w 4457589"/>
                    <a:gd name="connsiteY2521" fmla="*/ 1537935 h 1541722"/>
                    <a:gd name="connsiteX2522" fmla="*/ 546232 w 4457589"/>
                    <a:gd name="connsiteY2522" fmla="*/ 1538996 h 1541722"/>
                    <a:gd name="connsiteX2523" fmla="*/ 551838 w 4457589"/>
                    <a:gd name="connsiteY2523" fmla="*/ 1540814 h 1541722"/>
                    <a:gd name="connsiteX2524" fmla="*/ 553808 w 4457589"/>
                    <a:gd name="connsiteY2524" fmla="*/ 1541117 h 1541722"/>
                    <a:gd name="connsiteX2525" fmla="*/ 559263 w 4457589"/>
                    <a:gd name="connsiteY2525" fmla="*/ 1541723 h 1541722"/>
                    <a:gd name="connsiteX2526" fmla="*/ 561081 w 4457589"/>
                    <a:gd name="connsiteY2526" fmla="*/ 1541268 h 1541722"/>
                    <a:gd name="connsiteX2527" fmla="*/ 563960 w 4457589"/>
                    <a:gd name="connsiteY2527" fmla="*/ 1537329 h 1541722"/>
                    <a:gd name="connsiteX2528" fmla="*/ 566536 w 4457589"/>
                    <a:gd name="connsiteY2528" fmla="*/ 1533238 h 1541722"/>
                    <a:gd name="connsiteX2529" fmla="*/ 568809 w 4457589"/>
                    <a:gd name="connsiteY2529" fmla="*/ 1532480 h 1541722"/>
                    <a:gd name="connsiteX2530" fmla="*/ 573052 w 4457589"/>
                    <a:gd name="connsiteY2530" fmla="*/ 1530510 h 1541722"/>
                    <a:gd name="connsiteX2531" fmla="*/ 575627 w 4457589"/>
                    <a:gd name="connsiteY2531" fmla="*/ 1528692 h 1541722"/>
                    <a:gd name="connsiteX2532" fmla="*/ 576688 w 4457589"/>
                    <a:gd name="connsiteY2532" fmla="*/ 1526571 h 1541722"/>
                    <a:gd name="connsiteX2533" fmla="*/ 579112 w 4457589"/>
                    <a:gd name="connsiteY2533" fmla="*/ 1522783 h 1541722"/>
                    <a:gd name="connsiteX2534" fmla="*/ 580628 w 4457589"/>
                    <a:gd name="connsiteY2534" fmla="*/ 1520662 h 1541722"/>
                    <a:gd name="connsiteX2535" fmla="*/ 578052 w 4457589"/>
                    <a:gd name="connsiteY2535" fmla="*/ 1518692 h 1541722"/>
                    <a:gd name="connsiteX2536" fmla="*/ 576536 w 4457589"/>
                    <a:gd name="connsiteY2536" fmla="*/ 1518086 h 1541722"/>
                    <a:gd name="connsiteX2537" fmla="*/ 575476 w 4457589"/>
                    <a:gd name="connsiteY2537" fmla="*/ 1517177 h 1541722"/>
                    <a:gd name="connsiteX2538" fmla="*/ 573203 w 4457589"/>
                    <a:gd name="connsiteY2538" fmla="*/ 1512934 h 1541722"/>
                    <a:gd name="connsiteX2539" fmla="*/ 571233 w 4457589"/>
                    <a:gd name="connsiteY2539" fmla="*/ 1509601 h 1541722"/>
                    <a:gd name="connsiteX2540" fmla="*/ 567142 w 4457589"/>
                    <a:gd name="connsiteY2540" fmla="*/ 1503994 h 1541722"/>
                    <a:gd name="connsiteX2541" fmla="*/ 560021 w 4457589"/>
                    <a:gd name="connsiteY2541" fmla="*/ 1495509 h 1541722"/>
                    <a:gd name="connsiteX2542" fmla="*/ 558657 w 4457589"/>
                    <a:gd name="connsiteY2542" fmla="*/ 1494448 h 1541722"/>
                    <a:gd name="connsiteX2543" fmla="*/ 557445 w 4457589"/>
                    <a:gd name="connsiteY2543" fmla="*/ 1493236 h 1541722"/>
                    <a:gd name="connsiteX2544" fmla="*/ 556990 w 4457589"/>
                    <a:gd name="connsiteY2544" fmla="*/ 1488994 h 1541722"/>
                    <a:gd name="connsiteX2545" fmla="*/ 555021 w 4457589"/>
                    <a:gd name="connsiteY2545" fmla="*/ 1485812 h 1541722"/>
                    <a:gd name="connsiteX2546" fmla="*/ 551990 w 4457589"/>
                    <a:gd name="connsiteY2546" fmla="*/ 1483691 h 1541722"/>
                    <a:gd name="connsiteX2547" fmla="*/ 550929 w 4457589"/>
                    <a:gd name="connsiteY2547" fmla="*/ 1482630 h 1541722"/>
                    <a:gd name="connsiteX2548" fmla="*/ 550324 w 4457589"/>
                    <a:gd name="connsiteY2548" fmla="*/ 1481569 h 1541722"/>
                    <a:gd name="connsiteX2549" fmla="*/ 551687 w 4457589"/>
                    <a:gd name="connsiteY2549" fmla="*/ 1475357 h 1541722"/>
                    <a:gd name="connsiteX2550" fmla="*/ 551536 w 4457589"/>
                    <a:gd name="connsiteY2550" fmla="*/ 1473690 h 1541722"/>
                    <a:gd name="connsiteX2551" fmla="*/ 550929 w 4457589"/>
                    <a:gd name="connsiteY2551" fmla="*/ 1470054 h 1541722"/>
                    <a:gd name="connsiteX2552" fmla="*/ 551536 w 4457589"/>
                    <a:gd name="connsiteY2552" fmla="*/ 1465811 h 1541722"/>
                    <a:gd name="connsiteX2553" fmla="*/ 553051 w 4457589"/>
                    <a:gd name="connsiteY2553" fmla="*/ 1459902 h 1541722"/>
                    <a:gd name="connsiteX2554" fmla="*/ 554717 w 4457589"/>
                    <a:gd name="connsiteY2554" fmla="*/ 1455962 h 1541722"/>
                    <a:gd name="connsiteX2555" fmla="*/ 555324 w 4457589"/>
                    <a:gd name="connsiteY2555" fmla="*/ 1453235 h 1541722"/>
                    <a:gd name="connsiteX2556" fmla="*/ 553051 w 4457589"/>
                    <a:gd name="connsiteY2556" fmla="*/ 1454902 h 1541722"/>
                    <a:gd name="connsiteX2557" fmla="*/ 550172 w 4457589"/>
                    <a:gd name="connsiteY2557" fmla="*/ 1464296 h 1541722"/>
                    <a:gd name="connsiteX2558" fmla="*/ 549263 w 4457589"/>
                    <a:gd name="connsiteY2558" fmla="*/ 1456720 h 1541722"/>
                    <a:gd name="connsiteX2559" fmla="*/ 547445 w 4457589"/>
                    <a:gd name="connsiteY2559" fmla="*/ 1449598 h 1541722"/>
                    <a:gd name="connsiteX2560" fmla="*/ 545929 w 4457589"/>
                    <a:gd name="connsiteY2560" fmla="*/ 1445962 h 1541722"/>
                    <a:gd name="connsiteX2561" fmla="*/ 543808 w 4457589"/>
                    <a:gd name="connsiteY2561" fmla="*/ 1442931 h 1541722"/>
                    <a:gd name="connsiteX2562" fmla="*/ 540929 w 4457589"/>
                    <a:gd name="connsiteY2562" fmla="*/ 1440659 h 1541722"/>
                    <a:gd name="connsiteX2563" fmla="*/ 538202 w 4457589"/>
                    <a:gd name="connsiteY2563" fmla="*/ 1437931 h 1541722"/>
                    <a:gd name="connsiteX2564" fmla="*/ 535323 w 4457589"/>
                    <a:gd name="connsiteY2564" fmla="*/ 1436416 h 1541722"/>
                    <a:gd name="connsiteX2565" fmla="*/ 530777 w 4457589"/>
                    <a:gd name="connsiteY2565" fmla="*/ 1435355 h 1541722"/>
                    <a:gd name="connsiteX2566" fmla="*/ 530019 w 4457589"/>
                    <a:gd name="connsiteY2566" fmla="*/ 1434295 h 1541722"/>
                    <a:gd name="connsiteX2567" fmla="*/ 529565 w 4457589"/>
                    <a:gd name="connsiteY2567" fmla="*/ 1432628 h 1541722"/>
                    <a:gd name="connsiteX2568" fmla="*/ 529868 w 4457589"/>
                    <a:gd name="connsiteY2568" fmla="*/ 1430658 h 1541722"/>
                    <a:gd name="connsiteX2569" fmla="*/ 530929 w 4457589"/>
                    <a:gd name="connsiteY2569" fmla="*/ 1427476 h 1541722"/>
                    <a:gd name="connsiteX2570" fmla="*/ 533202 w 4457589"/>
                    <a:gd name="connsiteY2570" fmla="*/ 1425355 h 1541722"/>
                    <a:gd name="connsiteX2571" fmla="*/ 536383 w 4457589"/>
                    <a:gd name="connsiteY2571" fmla="*/ 1423234 h 1541722"/>
                    <a:gd name="connsiteX2572" fmla="*/ 537141 w 4457589"/>
                    <a:gd name="connsiteY2572" fmla="*/ 1421719 h 1541722"/>
                    <a:gd name="connsiteX2573" fmla="*/ 537595 w 4457589"/>
                    <a:gd name="connsiteY2573" fmla="*/ 1420052 h 1541722"/>
                    <a:gd name="connsiteX2574" fmla="*/ 538656 w 4457589"/>
                    <a:gd name="connsiteY2574" fmla="*/ 1421264 h 1541722"/>
                    <a:gd name="connsiteX2575" fmla="*/ 539869 w 4457589"/>
                    <a:gd name="connsiteY2575" fmla="*/ 1422022 h 1541722"/>
                    <a:gd name="connsiteX2576" fmla="*/ 540778 w 4457589"/>
                    <a:gd name="connsiteY2576" fmla="*/ 1418991 h 1541722"/>
                    <a:gd name="connsiteX2577" fmla="*/ 541990 w 4457589"/>
                    <a:gd name="connsiteY2577" fmla="*/ 1416870 h 1541722"/>
                    <a:gd name="connsiteX2578" fmla="*/ 543657 w 4457589"/>
                    <a:gd name="connsiteY2578" fmla="*/ 1415052 h 1541722"/>
                    <a:gd name="connsiteX2579" fmla="*/ 545626 w 4457589"/>
                    <a:gd name="connsiteY2579" fmla="*/ 1410809 h 1541722"/>
                    <a:gd name="connsiteX2580" fmla="*/ 547141 w 4457589"/>
                    <a:gd name="connsiteY2580" fmla="*/ 1408536 h 1541722"/>
                    <a:gd name="connsiteX2581" fmla="*/ 548354 w 4457589"/>
                    <a:gd name="connsiteY2581" fmla="*/ 1405809 h 1541722"/>
                    <a:gd name="connsiteX2582" fmla="*/ 548959 w 4457589"/>
                    <a:gd name="connsiteY2582" fmla="*/ 1401566 h 1541722"/>
                    <a:gd name="connsiteX2583" fmla="*/ 550020 w 4457589"/>
                    <a:gd name="connsiteY2583" fmla="*/ 1401263 h 1541722"/>
                    <a:gd name="connsiteX2584" fmla="*/ 550929 w 4457589"/>
                    <a:gd name="connsiteY2584" fmla="*/ 1400506 h 1541722"/>
                    <a:gd name="connsiteX2585" fmla="*/ 551687 w 4457589"/>
                    <a:gd name="connsiteY2585" fmla="*/ 1399294 h 1541722"/>
                    <a:gd name="connsiteX2586" fmla="*/ 552142 w 4457589"/>
                    <a:gd name="connsiteY2586" fmla="*/ 1397930 h 1541722"/>
                    <a:gd name="connsiteX2587" fmla="*/ 551990 w 4457589"/>
                    <a:gd name="connsiteY2587" fmla="*/ 1395506 h 1541722"/>
                    <a:gd name="connsiteX2588" fmla="*/ 550324 w 4457589"/>
                    <a:gd name="connsiteY2588" fmla="*/ 1392778 h 1541722"/>
                    <a:gd name="connsiteX2589" fmla="*/ 550626 w 4457589"/>
                    <a:gd name="connsiteY2589" fmla="*/ 1392627 h 1541722"/>
                    <a:gd name="connsiteX2590" fmla="*/ 551536 w 4457589"/>
                    <a:gd name="connsiteY2590" fmla="*/ 1393081 h 1541722"/>
                    <a:gd name="connsiteX2591" fmla="*/ 553354 w 4457589"/>
                    <a:gd name="connsiteY2591" fmla="*/ 1394293 h 1541722"/>
                    <a:gd name="connsiteX2592" fmla="*/ 554869 w 4457589"/>
                    <a:gd name="connsiteY2592" fmla="*/ 1396112 h 1541722"/>
                    <a:gd name="connsiteX2593" fmla="*/ 555324 w 4457589"/>
                    <a:gd name="connsiteY2593" fmla="*/ 1393536 h 1541722"/>
                    <a:gd name="connsiteX2594" fmla="*/ 556839 w 4457589"/>
                    <a:gd name="connsiteY2594" fmla="*/ 1392627 h 1541722"/>
                    <a:gd name="connsiteX2595" fmla="*/ 558505 w 4457589"/>
                    <a:gd name="connsiteY2595" fmla="*/ 1393233 h 1541722"/>
                    <a:gd name="connsiteX2596" fmla="*/ 560324 w 4457589"/>
                    <a:gd name="connsiteY2596" fmla="*/ 1393384 h 1541722"/>
                    <a:gd name="connsiteX2597" fmla="*/ 566385 w 4457589"/>
                    <a:gd name="connsiteY2597" fmla="*/ 1391414 h 1541722"/>
                    <a:gd name="connsiteX2598" fmla="*/ 569264 w 4457589"/>
                    <a:gd name="connsiteY2598" fmla="*/ 1390808 h 1541722"/>
                    <a:gd name="connsiteX2599" fmla="*/ 571991 w 4457589"/>
                    <a:gd name="connsiteY2599" fmla="*/ 1389445 h 1541722"/>
                    <a:gd name="connsiteX2600" fmla="*/ 578203 w 4457589"/>
                    <a:gd name="connsiteY2600" fmla="*/ 1384141 h 1541722"/>
                    <a:gd name="connsiteX2601" fmla="*/ 579718 w 4457589"/>
                    <a:gd name="connsiteY2601" fmla="*/ 1383838 h 1541722"/>
                    <a:gd name="connsiteX2602" fmla="*/ 581082 w 4457589"/>
                    <a:gd name="connsiteY2602" fmla="*/ 1384141 h 1541722"/>
                    <a:gd name="connsiteX2603" fmla="*/ 582446 w 4457589"/>
                    <a:gd name="connsiteY2603" fmla="*/ 1385202 h 1541722"/>
                    <a:gd name="connsiteX2604" fmla="*/ 583810 w 4457589"/>
                    <a:gd name="connsiteY2604" fmla="*/ 1385657 h 1541722"/>
                    <a:gd name="connsiteX2605" fmla="*/ 584870 w 4457589"/>
                    <a:gd name="connsiteY2605" fmla="*/ 1385505 h 1541722"/>
                    <a:gd name="connsiteX2606" fmla="*/ 585476 w 4457589"/>
                    <a:gd name="connsiteY2606" fmla="*/ 1384596 h 1541722"/>
                    <a:gd name="connsiteX2607" fmla="*/ 584264 w 4457589"/>
                    <a:gd name="connsiteY2607" fmla="*/ 1382778 h 1541722"/>
                    <a:gd name="connsiteX2608" fmla="*/ 583810 w 4457589"/>
                    <a:gd name="connsiteY2608" fmla="*/ 1380960 h 1541722"/>
                    <a:gd name="connsiteX2609" fmla="*/ 583658 w 4457589"/>
                    <a:gd name="connsiteY2609" fmla="*/ 1378990 h 1541722"/>
                    <a:gd name="connsiteX2610" fmla="*/ 585325 w 4457589"/>
                    <a:gd name="connsiteY2610" fmla="*/ 1378535 h 1541722"/>
                    <a:gd name="connsiteX2611" fmla="*/ 587143 w 4457589"/>
                    <a:gd name="connsiteY2611" fmla="*/ 1378535 h 1541722"/>
                    <a:gd name="connsiteX2612" fmla="*/ 594416 w 4457589"/>
                    <a:gd name="connsiteY2612" fmla="*/ 1375505 h 1541722"/>
                    <a:gd name="connsiteX2613" fmla="*/ 595325 w 4457589"/>
                    <a:gd name="connsiteY2613" fmla="*/ 1374141 h 1541722"/>
                    <a:gd name="connsiteX2614" fmla="*/ 595780 w 4457589"/>
                    <a:gd name="connsiteY2614" fmla="*/ 1372323 h 1541722"/>
                    <a:gd name="connsiteX2615" fmla="*/ 598962 w 4457589"/>
                    <a:gd name="connsiteY2615" fmla="*/ 1372020 h 1541722"/>
                    <a:gd name="connsiteX2616" fmla="*/ 598658 w 4457589"/>
                    <a:gd name="connsiteY2616" fmla="*/ 1370353 h 1541722"/>
                    <a:gd name="connsiteX2617" fmla="*/ 597295 w 4457589"/>
                    <a:gd name="connsiteY2617" fmla="*/ 1370050 h 1541722"/>
                    <a:gd name="connsiteX2618" fmla="*/ 591234 w 4457589"/>
                    <a:gd name="connsiteY2618" fmla="*/ 1366868 h 1541722"/>
                    <a:gd name="connsiteX2619" fmla="*/ 586082 w 4457589"/>
                    <a:gd name="connsiteY2619" fmla="*/ 1364595 h 1541722"/>
                    <a:gd name="connsiteX2620" fmla="*/ 581688 w 4457589"/>
                    <a:gd name="connsiteY2620" fmla="*/ 1362474 h 1541722"/>
                    <a:gd name="connsiteX2621" fmla="*/ 580931 w 4457589"/>
                    <a:gd name="connsiteY2621" fmla="*/ 1362171 h 1541722"/>
                    <a:gd name="connsiteX2622" fmla="*/ 579718 w 4457589"/>
                    <a:gd name="connsiteY2622" fmla="*/ 1361262 h 1541722"/>
                    <a:gd name="connsiteX2623" fmla="*/ 578809 w 4457589"/>
                    <a:gd name="connsiteY2623" fmla="*/ 1359595 h 1541722"/>
                    <a:gd name="connsiteX2624" fmla="*/ 578658 w 4457589"/>
                    <a:gd name="connsiteY2624" fmla="*/ 1357928 h 1541722"/>
                    <a:gd name="connsiteX2625" fmla="*/ 579112 w 4457589"/>
                    <a:gd name="connsiteY2625" fmla="*/ 1356716 h 1541722"/>
                    <a:gd name="connsiteX2626" fmla="*/ 580173 w 4457589"/>
                    <a:gd name="connsiteY2626" fmla="*/ 1355959 h 1541722"/>
                    <a:gd name="connsiteX2627" fmla="*/ 581537 w 4457589"/>
                    <a:gd name="connsiteY2627" fmla="*/ 1355656 h 1541722"/>
                    <a:gd name="connsiteX2628" fmla="*/ 582597 w 4457589"/>
                    <a:gd name="connsiteY2628" fmla="*/ 1355959 h 1541722"/>
                    <a:gd name="connsiteX2629" fmla="*/ 583961 w 4457589"/>
                    <a:gd name="connsiteY2629" fmla="*/ 1356716 h 1541722"/>
                    <a:gd name="connsiteX2630" fmla="*/ 586234 w 4457589"/>
                    <a:gd name="connsiteY2630" fmla="*/ 1357625 h 1541722"/>
                    <a:gd name="connsiteX2631" fmla="*/ 589113 w 4457589"/>
                    <a:gd name="connsiteY2631" fmla="*/ 1357777 h 1541722"/>
                    <a:gd name="connsiteX2632" fmla="*/ 590931 w 4457589"/>
                    <a:gd name="connsiteY2632" fmla="*/ 1357019 h 1541722"/>
                    <a:gd name="connsiteX2633" fmla="*/ 591234 w 4457589"/>
                    <a:gd name="connsiteY2633" fmla="*/ 1355353 h 1541722"/>
                    <a:gd name="connsiteX2634" fmla="*/ 587749 w 4457589"/>
                    <a:gd name="connsiteY2634" fmla="*/ 1349140 h 1541722"/>
                    <a:gd name="connsiteX2635" fmla="*/ 584416 w 4457589"/>
                    <a:gd name="connsiteY2635" fmla="*/ 1344140 h 1541722"/>
                    <a:gd name="connsiteX2636" fmla="*/ 581385 w 4457589"/>
                    <a:gd name="connsiteY2636" fmla="*/ 1338534 h 1541722"/>
                    <a:gd name="connsiteX2637" fmla="*/ 580022 w 4457589"/>
                    <a:gd name="connsiteY2637" fmla="*/ 1336564 h 1541722"/>
                    <a:gd name="connsiteX2638" fmla="*/ 576233 w 4457589"/>
                    <a:gd name="connsiteY2638" fmla="*/ 1331867 h 1541722"/>
                    <a:gd name="connsiteX2639" fmla="*/ 572445 w 4457589"/>
                    <a:gd name="connsiteY2639" fmla="*/ 1327170 h 1541722"/>
                    <a:gd name="connsiteX2640" fmla="*/ 569567 w 4457589"/>
                    <a:gd name="connsiteY2640" fmla="*/ 1323079 h 1541722"/>
                    <a:gd name="connsiteX2641" fmla="*/ 567900 w 4457589"/>
                    <a:gd name="connsiteY2641" fmla="*/ 1321866 h 1541722"/>
                    <a:gd name="connsiteX2642" fmla="*/ 563202 w 4457589"/>
                    <a:gd name="connsiteY2642" fmla="*/ 1321260 h 1541722"/>
                    <a:gd name="connsiteX2643" fmla="*/ 553960 w 4457589"/>
                    <a:gd name="connsiteY2643" fmla="*/ 1320200 h 1541722"/>
                    <a:gd name="connsiteX2644" fmla="*/ 550778 w 4457589"/>
                    <a:gd name="connsiteY2644" fmla="*/ 1319745 h 1541722"/>
                    <a:gd name="connsiteX2645" fmla="*/ 548202 w 4457589"/>
                    <a:gd name="connsiteY2645" fmla="*/ 1320957 h 1541722"/>
                    <a:gd name="connsiteX2646" fmla="*/ 545626 w 4457589"/>
                    <a:gd name="connsiteY2646" fmla="*/ 1322018 h 1541722"/>
                    <a:gd name="connsiteX2647" fmla="*/ 543050 w 4457589"/>
                    <a:gd name="connsiteY2647" fmla="*/ 1320200 h 1541722"/>
                    <a:gd name="connsiteX2648" fmla="*/ 541232 w 4457589"/>
                    <a:gd name="connsiteY2648" fmla="*/ 1317321 h 1541722"/>
                    <a:gd name="connsiteX2649" fmla="*/ 540171 w 4457589"/>
                    <a:gd name="connsiteY2649" fmla="*/ 1314745 h 1541722"/>
                    <a:gd name="connsiteX2650" fmla="*/ 540626 w 4457589"/>
                    <a:gd name="connsiteY2650" fmla="*/ 1312321 h 1541722"/>
                    <a:gd name="connsiteX2651" fmla="*/ 540778 w 4457589"/>
                    <a:gd name="connsiteY2651" fmla="*/ 1308533 h 1541722"/>
                    <a:gd name="connsiteX2652" fmla="*/ 539414 w 4457589"/>
                    <a:gd name="connsiteY2652" fmla="*/ 1304896 h 1541722"/>
                    <a:gd name="connsiteX2653" fmla="*/ 537747 w 4457589"/>
                    <a:gd name="connsiteY2653" fmla="*/ 1303078 h 1541722"/>
                    <a:gd name="connsiteX2654" fmla="*/ 533505 w 4457589"/>
                    <a:gd name="connsiteY2654" fmla="*/ 1301714 h 1541722"/>
                    <a:gd name="connsiteX2655" fmla="*/ 528353 w 4457589"/>
                    <a:gd name="connsiteY2655" fmla="*/ 1298532 h 1541722"/>
                    <a:gd name="connsiteX2656" fmla="*/ 526838 w 4457589"/>
                    <a:gd name="connsiteY2656" fmla="*/ 1292926 h 1541722"/>
                    <a:gd name="connsiteX2657" fmla="*/ 529414 w 4457589"/>
                    <a:gd name="connsiteY2657" fmla="*/ 1284744 h 1541722"/>
                    <a:gd name="connsiteX2658" fmla="*/ 533505 w 4457589"/>
                    <a:gd name="connsiteY2658" fmla="*/ 1278986 h 1541722"/>
                    <a:gd name="connsiteX2659" fmla="*/ 536535 w 4457589"/>
                    <a:gd name="connsiteY2659" fmla="*/ 1276562 h 1541722"/>
                    <a:gd name="connsiteX2660" fmla="*/ 538050 w 4457589"/>
                    <a:gd name="connsiteY2660" fmla="*/ 1274441 h 1541722"/>
                    <a:gd name="connsiteX2661" fmla="*/ 538505 w 4457589"/>
                    <a:gd name="connsiteY2661" fmla="*/ 1272622 h 1541722"/>
                    <a:gd name="connsiteX2662" fmla="*/ 538050 w 4457589"/>
                    <a:gd name="connsiteY2662" fmla="*/ 1270804 h 1541722"/>
                    <a:gd name="connsiteX2663" fmla="*/ 536383 w 4457589"/>
                    <a:gd name="connsiteY2663" fmla="*/ 1268986 h 1541722"/>
                    <a:gd name="connsiteX2664" fmla="*/ 533505 w 4457589"/>
                    <a:gd name="connsiteY2664" fmla="*/ 1267167 h 1541722"/>
                    <a:gd name="connsiteX2665" fmla="*/ 532141 w 4457589"/>
                    <a:gd name="connsiteY2665" fmla="*/ 1264895 h 1541722"/>
                    <a:gd name="connsiteX2666" fmla="*/ 532747 w 4457589"/>
                    <a:gd name="connsiteY2666" fmla="*/ 1260198 h 1541722"/>
                    <a:gd name="connsiteX2667" fmla="*/ 534565 w 4457589"/>
                    <a:gd name="connsiteY2667" fmla="*/ 1253228 h 1541722"/>
                    <a:gd name="connsiteX2668" fmla="*/ 537293 w 4457589"/>
                    <a:gd name="connsiteY2668" fmla="*/ 1247621 h 1541722"/>
                    <a:gd name="connsiteX2669" fmla="*/ 541081 w 4457589"/>
                    <a:gd name="connsiteY2669" fmla="*/ 1244591 h 1541722"/>
                    <a:gd name="connsiteX2670" fmla="*/ 544414 w 4457589"/>
                    <a:gd name="connsiteY2670" fmla="*/ 1242470 h 1541722"/>
                    <a:gd name="connsiteX2671" fmla="*/ 545626 w 4457589"/>
                    <a:gd name="connsiteY2671" fmla="*/ 1240348 h 1541722"/>
                    <a:gd name="connsiteX2672" fmla="*/ 545778 w 4457589"/>
                    <a:gd name="connsiteY2672" fmla="*/ 1237469 h 1541722"/>
                    <a:gd name="connsiteX2673" fmla="*/ 545626 w 4457589"/>
                    <a:gd name="connsiteY2673" fmla="*/ 1234591 h 1541722"/>
                    <a:gd name="connsiteX2674" fmla="*/ 546536 w 4457589"/>
                    <a:gd name="connsiteY2674" fmla="*/ 1232621 h 1541722"/>
                    <a:gd name="connsiteX2675" fmla="*/ 547899 w 4457589"/>
                    <a:gd name="connsiteY2675" fmla="*/ 1231106 h 1541722"/>
                    <a:gd name="connsiteX2676" fmla="*/ 549263 w 4457589"/>
                    <a:gd name="connsiteY2676" fmla="*/ 1229590 h 1541722"/>
                    <a:gd name="connsiteX2677" fmla="*/ 551384 w 4457589"/>
                    <a:gd name="connsiteY2677" fmla="*/ 1228075 h 1541722"/>
                    <a:gd name="connsiteX2678" fmla="*/ 553960 w 4457589"/>
                    <a:gd name="connsiteY2678" fmla="*/ 1227621 h 1541722"/>
                    <a:gd name="connsiteX2679" fmla="*/ 556839 w 4457589"/>
                    <a:gd name="connsiteY2679" fmla="*/ 1228984 h 1541722"/>
                    <a:gd name="connsiteX2680" fmla="*/ 560778 w 4457589"/>
                    <a:gd name="connsiteY2680" fmla="*/ 1232318 h 1541722"/>
                    <a:gd name="connsiteX2681" fmla="*/ 566536 w 4457589"/>
                    <a:gd name="connsiteY2681" fmla="*/ 1239136 h 1541722"/>
                    <a:gd name="connsiteX2682" fmla="*/ 569869 w 4457589"/>
                    <a:gd name="connsiteY2682" fmla="*/ 1243530 h 1541722"/>
                    <a:gd name="connsiteX2683" fmla="*/ 571082 w 4457589"/>
                    <a:gd name="connsiteY2683" fmla="*/ 1244894 h 1541722"/>
                    <a:gd name="connsiteX2684" fmla="*/ 574112 w 4457589"/>
                    <a:gd name="connsiteY2684" fmla="*/ 1247470 h 1541722"/>
                    <a:gd name="connsiteX2685" fmla="*/ 576840 w 4457589"/>
                    <a:gd name="connsiteY2685" fmla="*/ 1248530 h 1541722"/>
                    <a:gd name="connsiteX2686" fmla="*/ 581385 w 4457589"/>
                    <a:gd name="connsiteY2686" fmla="*/ 1246864 h 1541722"/>
                    <a:gd name="connsiteX2687" fmla="*/ 585779 w 4457589"/>
                    <a:gd name="connsiteY2687" fmla="*/ 1245045 h 1541722"/>
                    <a:gd name="connsiteX2688" fmla="*/ 587143 w 4457589"/>
                    <a:gd name="connsiteY2688" fmla="*/ 1243833 h 1541722"/>
                    <a:gd name="connsiteX2689" fmla="*/ 588052 w 4457589"/>
                    <a:gd name="connsiteY2689" fmla="*/ 1242015 h 1541722"/>
                    <a:gd name="connsiteX2690" fmla="*/ 587294 w 4457589"/>
                    <a:gd name="connsiteY2690" fmla="*/ 1238833 h 1541722"/>
                    <a:gd name="connsiteX2691" fmla="*/ 586385 w 4457589"/>
                    <a:gd name="connsiteY2691" fmla="*/ 1236863 h 1541722"/>
                    <a:gd name="connsiteX2692" fmla="*/ 585476 w 4457589"/>
                    <a:gd name="connsiteY2692" fmla="*/ 1234288 h 1541722"/>
                    <a:gd name="connsiteX2693" fmla="*/ 584112 w 4457589"/>
                    <a:gd name="connsiteY2693" fmla="*/ 1229742 h 1541722"/>
                    <a:gd name="connsiteX2694" fmla="*/ 583203 w 4457589"/>
                    <a:gd name="connsiteY2694" fmla="*/ 1222772 h 1541722"/>
                    <a:gd name="connsiteX2695" fmla="*/ 581991 w 4457589"/>
                    <a:gd name="connsiteY2695" fmla="*/ 1220499 h 1541722"/>
                    <a:gd name="connsiteX2696" fmla="*/ 582900 w 4457589"/>
                    <a:gd name="connsiteY2696" fmla="*/ 1220196 h 1541722"/>
                    <a:gd name="connsiteX2697" fmla="*/ 585021 w 4457589"/>
                    <a:gd name="connsiteY2697" fmla="*/ 1220651 h 1541722"/>
                    <a:gd name="connsiteX2698" fmla="*/ 586991 w 4457589"/>
                    <a:gd name="connsiteY2698" fmla="*/ 1220954 h 1541722"/>
                    <a:gd name="connsiteX2699" fmla="*/ 590022 w 4457589"/>
                    <a:gd name="connsiteY2699" fmla="*/ 1219287 h 1541722"/>
                    <a:gd name="connsiteX2700" fmla="*/ 593961 w 4457589"/>
                    <a:gd name="connsiteY2700" fmla="*/ 1216408 h 1541722"/>
                    <a:gd name="connsiteX2701" fmla="*/ 601083 w 4457589"/>
                    <a:gd name="connsiteY2701" fmla="*/ 1211862 h 1541722"/>
                    <a:gd name="connsiteX2702" fmla="*/ 602750 w 4457589"/>
                    <a:gd name="connsiteY2702" fmla="*/ 1208832 h 1541722"/>
                    <a:gd name="connsiteX2703" fmla="*/ 603962 w 4457589"/>
                    <a:gd name="connsiteY2703" fmla="*/ 1205499 h 1541722"/>
                    <a:gd name="connsiteX2704" fmla="*/ 605931 w 4457589"/>
                    <a:gd name="connsiteY2704" fmla="*/ 1203529 h 1541722"/>
                    <a:gd name="connsiteX2705" fmla="*/ 610477 w 4457589"/>
                    <a:gd name="connsiteY2705" fmla="*/ 1202771 h 1541722"/>
                    <a:gd name="connsiteX2706" fmla="*/ 614871 w 4457589"/>
                    <a:gd name="connsiteY2706" fmla="*/ 1201711 h 1541722"/>
                    <a:gd name="connsiteX2707" fmla="*/ 617750 w 4457589"/>
                    <a:gd name="connsiteY2707" fmla="*/ 1199438 h 1541722"/>
                    <a:gd name="connsiteX2708" fmla="*/ 622599 w 4457589"/>
                    <a:gd name="connsiteY2708" fmla="*/ 1197316 h 1541722"/>
                    <a:gd name="connsiteX2709" fmla="*/ 626387 w 4457589"/>
                    <a:gd name="connsiteY2709" fmla="*/ 1196104 h 1541722"/>
                    <a:gd name="connsiteX2710" fmla="*/ 628053 w 4457589"/>
                    <a:gd name="connsiteY2710" fmla="*/ 1194892 h 1541722"/>
                    <a:gd name="connsiteX2711" fmla="*/ 629417 w 4457589"/>
                    <a:gd name="connsiteY2711" fmla="*/ 1193225 h 1541722"/>
                    <a:gd name="connsiteX2712" fmla="*/ 633811 w 4457589"/>
                    <a:gd name="connsiteY2712" fmla="*/ 1188225 h 1541722"/>
                    <a:gd name="connsiteX2713" fmla="*/ 637296 w 4457589"/>
                    <a:gd name="connsiteY2713" fmla="*/ 1185195 h 1541722"/>
                    <a:gd name="connsiteX2714" fmla="*/ 640326 w 4457589"/>
                    <a:gd name="connsiteY2714" fmla="*/ 1182013 h 1541722"/>
                    <a:gd name="connsiteX2715" fmla="*/ 641387 w 4457589"/>
                    <a:gd name="connsiteY2715" fmla="*/ 1180043 h 1541722"/>
                    <a:gd name="connsiteX2716" fmla="*/ 643812 w 4457589"/>
                    <a:gd name="connsiteY2716" fmla="*/ 1180498 h 1541722"/>
                    <a:gd name="connsiteX2717" fmla="*/ 647448 w 4457589"/>
                    <a:gd name="connsiteY2717" fmla="*/ 1181861 h 1541722"/>
                    <a:gd name="connsiteX2718" fmla="*/ 651539 w 4457589"/>
                    <a:gd name="connsiteY2718" fmla="*/ 1183074 h 1541722"/>
                    <a:gd name="connsiteX2719" fmla="*/ 654418 w 4457589"/>
                    <a:gd name="connsiteY2719" fmla="*/ 1185043 h 1541722"/>
                    <a:gd name="connsiteX2720" fmla="*/ 655024 w 4457589"/>
                    <a:gd name="connsiteY2720" fmla="*/ 1187013 h 1541722"/>
                    <a:gd name="connsiteX2721" fmla="*/ 655327 w 4457589"/>
                    <a:gd name="connsiteY2721" fmla="*/ 1188528 h 1541722"/>
                    <a:gd name="connsiteX2722" fmla="*/ 656388 w 4457589"/>
                    <a:gd name="connsiteY2722" fmla="*/ 1189286 h 1541722"/>
                    <a:gd name="connsiteX2723" fmla="*/ 657903 w 4457589"/>
                    <a:gd name="connsiteY2723" fmla="*/ 1189437 h 1541722"/>
                    <a:gd name="connsiteX2724" fmla="*/ 660024 w 4457589"/>
                    <a:gd name="connsiteY2724" fmla="*/ 1189134 h 1541722"/>
                    <a:gd name="connsiteX2725" fmla="*/ 663661 w 4457589"/>
                    <a:gd name="connsiteY2725" fmla="*/ 1188983 h 1541722"/>
                    <a:gd name="connsiteX2726" fmla="*/ 668207 w 4457589"/>
                    <a:gd name="connsiteY2726" fmla="*/ 1186407 h 1541722"/>
                    <a:gd name="connsiteX2727" fmla="*/ 674570 w 4457589"/>
                    <a:gd name="connsiteY2727" fmla="*/ 1182164 h 1541722"/>
                    <a:gd name="connsiteX2728" fmla="*/ 680328 w 4457589"/>
                    <a:gd name="connsiteY2728" fmla="*/ 1180801 h 1541722"/>
                    <a:gd name="connsiteX2729" fmla="*/ 683510 w 4457589"/>
                    <a:gd name="connsiteY2729" fmla="*/ 1181861 h 1541722"/>
                    <a:gd name="connsiteX2730" fmla="*/ 685934 w 4457589"/>
                    <a:gd name="connsiteY2730" fmla="*/ 1185043 h 1541722"/>
                    <a:gd name="connsiteX2731" fmla="*/ 687904 w 4457589"/>
                    <a:gd name="connsiteY2731" fmla="*/ 1187922 h 1541722"/>
                    <a:gd name="connsiteX2732" fmla="*/ 690026 w 4457589"/>
                    <a:gd name="connsiteY2732" fmla="*/ 1189134 h 1541722"/>
                    <a:gd name="connsiteX2733" fmla="*/ 691238 w 4457589"/>
                    <a:gd name="connsiteY2733" fmla="*/ 1189134 h 1541722"/>
                    <a:gd name="connsiteX2734" fmla="*/ 691692 w 4457589"/>
                    <a:gd name="connsiteY2734" fmla="*/ 1189134 h 1541722"/>
                    <a:gd name="connsiteX2735" fmla="*/ 694268 w 4457589"/>
                    <a:gd name="connsiteY2735" fmla="*/ 1188528 h 1541722"/>
                    <a:gd name="connsiteX2736" fmla="*/ 694571 w 4457589"/>
                    <a:gd name="connsiteY2736" fmla="*/ 1188528 h 1541722"/>
                    <a:gd name="connsiteX2737" fmla="*/ 696844 w 4457589"/>
                    <a:gd name="connsiteY2737" fmla="*/ 1188680 h 1541722"/>
                    <a:gd name="connsiteX2738" fmla="*/ 699117 w 4457589"/>
                    <a:gd name="connsiteY2738" fmla="*/ 1189589 h 1541722"/>
                    <a:gd name="connsiteX2739" fmla="*/ 702753 w 4457589"/>
                    <a:gd name="connsiteY2739" fmla="*/ 1189740 h 1541722"/>
                    <a:gd name="connsiteX2740" fmla="*/ 707905 w 4457589"/>
                    <a:gd name="connsiteY2740" fmla="*/ 1188983 h 1541722"/>
                    <a:gd name="connsiteX2741" fmla="*/ 708511 w 4457589"/>
                    <a:gd name="connsiteY2741" fmla="*/ 1188680 h 1541722"/>
                    <a:gd name="connsiteX2742" fmla="*/ 710935 w 4457589"/>
                    <a:gd name="connsiteY2742" fmla="*/ 1189134 h 1541722"/>
                    <a:gd name="connsiteX2743" fmla="*/ 713966 w 4457589"/>
                    <a:gd name="connsiteY2743" fmla="*/ 1190498 h 1541722"/>
                    <a:gd name="connsiteX2744" fmla="*/ 716390 w 4457589"/>
                    <a:gd name="connsiteY2744" fmla="*/ 1192013 h 1541722"/>
                    <a:gd name="connsiteX2745" fmla="*/ 720633 w 4457589"/>
                    <a:gd name="connsiteY2745" fmla="*/ 1197468 h 1541722"/>
                    <a:gd name="connsiteX2746" fmla="*/ 723057 w 4457589"/>
                    <a:gd name="connsiteY2746" fmla="*/ 1198832 h 1541722"/>
                    <a:gd name="connsiteX2747" fmla="*/ 727906 w 4457589"/>
                    <a:gd name="connsiteY2747" fmla="*/ 1200650 h 1541722"/>
                    <a:gd name="connsiteX2748" fmla="*/ 730179 w 4457589"/>
                    <a:gd name="connsiteY2748" fmla="*/ 1202317 h 1541722"/>
                    <a:gd name="connsiteX2749" fmla="*/ 732906 w 4457589"/>
                    <a:gd name="connsiteY2749" fmla="*/ 1205044 h 1541722"/>
                    <a:gd name="connsiteX2750" fmla="*/ 734270 w 4457589"/>
                    <a:gd name="connsiteY2750" fmla="*/ 1206711 h 1541722"/>
                    <a:gd name="connsiteX2751" fmla="*/ 737300 w 4457589"/>
                    <a:gd name="connsiteY2751" fmla="*/ 1209590 h 1541722"/>
                    <a:gd name="connsiteX2752" fmla="*/ 740634 w 4457589"/>
                    <a:gd name="connsiteY2752" fmla="*/ 1214438 h 1541722"/>
                    <a:gd name="connsiteX2753" fmla="*/ 741239 w 4457589"/>
                    <a:gd name="connsiteY2753" fmla="*/ 1218226 h 1541722"/>
                    <a:gd name="connsiteX2754" fmla="*/ 741997 w 4457589"/>
                    <a:gd name="connsiteY2754" fmla="*/ 1221560 h 1541722"/>
                    <a:gd name="connsiteX2755" fmla="*/ 743209 w 4457589"/>
                    <a:gd name="connsiteY2755" fmla="*/ 1223075 h 1541722"/>
                    <a:gd name="connsiteX2756" fmla="*/ 744270 w 4457589"/>
                    <a:gd name="connsiteY2756" fmla="*/ 1223226 h 1541722"/>
                    <a:gd name="connsiteX2757" fmla="*/ 745482 w 4457589"/>
                    <a:gd name="connsiteY2757" fmla="*/ 1222772 h 1541722"/>
                    <a:gd name="connsiteX2758" fmla="*/ 746543 w 4457589"/>
                    <a:gd name="connsiteY2758" fmla="*/ 1221257 h 1541722"/>
                    <a:gd name="connsiteX2759" fmla="*/ 746846 w 4457589"/>
                    <a:gd name="connsiteY2759" fmla="*/ 1218832 h 1541722"/>
                    <a:gd name="connsiteX2760" fmla="*/ 746543 w 4457589"/>
                    <a:gd name="connsiteY2760" fmla="*/ 1214438 h 1541722"/>
                    <a:gd name="connsiteX2761" fmla="*/ 745634 w 4457589"/>
                    <a:gd name="connsiteY2761" fmla="*/ 1210802 h 1541722"/>
                    <a:gd name="connsiteX2762" fmla="*/ 744573 w 4457589"/>
                    <a:gd name="connsiteY2762" fmla="*/ 1209741 h 1541722"/>
                    <a:gd name="connsiteX2763" fmla="*/ 744118 w 4457589"/>
                    <a:gd name="connsiteY2763" fmla="*/ 1208529 h 1541722"/>
                    <a:gd name="connsiteX2764" fmla="*/ 744725 w 4457589"/>
                    <a:gd name="connsiteY2764" fmla="*/ 1206862 h 1541722"/>
                    <a:gd name="connsiteX2765" fmla="*/ 746694 w 4457589"/>
                    <a:gd name="connsiteY2765" fmla="*/ 1206105 h 1541722"/>
                    <a:gd name="connsiteX2766" fmla="*/ 748967 w 4457589"/>
                    <a:gd name="connsiteY2766" fmla="*/ 1206559 h 1541722"/>
                    <a:gd name="connsiteX2767" fmla="*/ 752907 w 4457589"/>
                    <a:gd name="connsiteY2767" fmla="*/ 1208680 h 1541722"/>
                    <a:gd name="connsiteX2768" fmla="*/ 756846 w 4457589"/>
                    <a:gd name="connsiteY2768" fmla="*/ 1211256 h 1541722"/>
                    <a:gd name="connsiteX2769" fmla="*/ 761846 w 4457589"/>
                    <a:gd name="connsiteY2769" fmla="*/ 1215802 h 1541722"/>
                    <a:gd name="connsiteX2770" fmla="*/ 766392 w 4457589"/>
                    <a:gd name="connsiteY2770" fmla="*/ 1218529 h 1541722"/>
                    <a:gd name="connsiteX2771" fmla="*/ 771241 w 4457589"/>
                    <a:gd name="connsiteY2771" fmla="*/ 1220802 h 1541722"/>
                    <a:gd name="connsiteX2772" fmla="*/ 775180 w 4457589"/>
                    <a:gd name="connsiteY2772" fmla="*/ 1221560 h 1541722"/>
                    <a:gd name="connsiteX2773" fmla="*/ 778362 w 4457589"/>
                    <a:gd name="connsiteY2773" fmla="*/ 1220802 h 1541722"/>
                    <a:gd name="connsiteX2774" fmla="*/ 781847 w 4457589"/>
                    <a:gd name="connsiteY2774" fmla="*/ 1218984 h 1541722"/>
                    <a:gd name="connsiteX2775" fmla="*/ 785181 w 4457589"/>
                    <a:gd name="connsiteY2775" fmla="*/ 1216863 h 1541722"/>
                    <a:gd name="connsiteX2776" fmla="*/ 786696 w 4457589"/>
                    <a:gd name="connsiteY2776" fmla="*/ 1214590 h 1541722"/>
                    <a:gd name="connsiteX2777" fmla="*/ 787756 w 4457589"/>
                    <a:gd name="connsiteY2777" fmla="*/ 1212166 h 1541722"/>
                    <a:gd name="connsiteX2778" fmla="*/ 792757 w 4457589"/>
                    <a:gd name="connsiteY2778" fmla="*/ 1208832 h 1541722"/>
                    <a:gd name="connsiteX2779" fmla="*/ 797302 w 4457589"/>
                    <a:gd name="connsiteY2779" fmla="*/ 1205802 h 1541722"/>
                    <a:gd name="connsiteX2780" fmla="*/ 799272 w 4457589"/>
                    <a:gd name="connsiteY2780" fmla="*/ 1206408 h 1541722"/>
                    <a:gd name="connsiteX2781" fmla="*/ 800787 w 4457589"/>
                    <a:gd name="connsiteY2781" fmla="*/ 1207165 h 1541722"/>
                    <a:gd name="connsiteX2782" fmla="*/ 805484 w 4457589"/>
                    <a:gd name="connsiteY2782" fmla="*/ 1205347 h 1541722"/>
                    <a:gd name="connsiteX2783" fmla="*/ 806999 w 4457589"/>
                    <a:gd name="connsiteY2783" fmla="*/ 1204892 h 1541722"/>
                    <a:gd name="connsiteX2784" fmla="*/ 811545 w 4457589"/>
                    <a:gd name="connsiteY2784" fmla="*/ 1204135 h 1541722"/>
                    <a:gd name="connsiteX2785" fmla="*/ 816091 w 4457589"/>
                    <a:gd name="connsiteY2785" fmla="*/ 1205196 h 1541722"/>
                    <a:gd name="connsiteX2786" fmla="*/ 819727 w 4457589"/>
                    <a:gd name="connsiteY2786" fmla="*/ 1208529 h 1541722"/>
                    <a:gd name="connsiteX2787" fmla="*/ 823364 w 4457589"/>
                    <a:gd name="connsiteY2787" fmla="*/ 1210499 h 1541722"/>
                    <a:gd name="connsiteX2788" fmla="*/ 826394 w 4457589"/>
                    <a:gd name="connsiteY2788" fmla="*/ 1210347 h 1541722"/>
                    <a:gd name="connsiteX2789" fmla="*/ 829122 w 4457589"/>
                    <a:gd name="connsiteY2789" fmla="*/ 1209287 h 1541722"/>
                    <a:gd name="connsiteX2790" fmla="*/ 830788 w 4457589"/>
                    <a:gd name="connsiteY2790" fmla="*/ 1207165 h 1541722"/>
                    <a:gd name="connsiteX2791" fmla="*/ 832152 w 4457589"/>
                    <a:gd name="connsiteY2791" fmla="*/ 1204892 h 1541722"/>
                    <a:gd name="connsiteX2792" fmla="*/ 833819 w 4457589"/>
                    <a:gd name="connsiteY2792" fmla="*/ 1203377 h 1541722"/>
                    <a:gd name="connsiteX2793" fmla="*/ 834122 w 4457589"/>
                    <a:gd name="connsiteY2793" fmla="*/ 1203226 h 1541722"/>
                    <a:gd name="connsiteX2794" fmla="*/ 839728 w 4457589"/>
                    <a:gd name="connsiteY2794" fmla="*/ 1203983 h 1541722"/>
                    <a:gd name="connsiteX2795" fmla="*/ 843365 w 4457589"/>
                    <a:gd name="connsiteY2795" fmla="*/ 1203983 h 1541722"/>
                    <a:gd name="connsiteX2796" fmla="*/ 843668 w 4457589"/>
                    <a:gd name="connsiteY2796" fmla="*/ 1203529 h 1541722"/>
                    <a:gd name="connsiteX2797" fmla="*/ 848365 w 4457589"/>
                    <a:gd name="connsiteY2797" fmla="*/ 1204286 h 1541722"/>
                    <a:gd name="connsiteX2798" fmla="*/ 853516 w 4457589"/>
                    <a:gd name="connsiteY2798" fmla="*/ 1207620 h 1541722"/>
                    <a:gd name="connsiteX2799" fmla="*/ 856699 w 4457589"/>
                    <a:gd name="connsiteY2799" fmla="*/ 1211256 h 1541722"/>
                    <a:gd name="connsiteX2800" fmla="*/ 860789 w 4457589"/>
                    <a:gd name="connsiteY2800" fmla="*/ 1215954 h 1541722"/>
                    <a:gd name="connsiteX2801" fmla="*/ 862759 w 4457589"/>
                    <a:gd name="connsiteY2801" fmla="*/ 1217620 h 1541722"/>
                    <a:gd name="connsiteX2802" fmla="*/ 865487 w 4457589"/>
                    <a:gd name="connsiteY2802" fmla="*/ 1218226 h 1541722"/>
                    <a:gd name="connsiteX2803" fmla="*/ 867608 w 4457589"/>
                    <a:gd name="connsiteY2803" fmla="*/ 1218529 h 1541722"/>
                    <a:gd name="connsiteX2804" fmla="*/ 870638 w 4457589"/>
                    <a:gd name="connsiteY2804" fmla="*/ 1219287 h 1541722"/>
                    <a:gd name="connsiteX2805" fmla="*/ 878214 w 4457589"/>
                    <a:gd name="connsiteY2805" fmla="*/ 1220196 h 1541722"/>
                    <a:gd name="connsiteX2806" fmla="*/ 879427 w 4457589"/>
                    <a:gd name="connsiteY2806" fmla="*/ 1220802 h 1541722"/>
                    <a:gd name="connsiteX2807" fmla="*/ 880184 w 4457589"/>
                    <a:gd name="connsiteY2807" fmla="*/ 1221560 h 1541722"/>
                    <a:gd name="connsiteX2808" fmla="*/ 879578 w 4457589"/>
                    <a:gd name="connsiteY2808" fmla="*/ 1224136 h 1541722"/>
                    <a:gd name="connsiteX2809" fmla="*/ 880184 w 4457589"/>
                    <a:gd name="connsiteY2809" fmla="*/ 1224742 h 1541722"/>
                    <a:gd name="connsiteX2810" fmla="*/ 886397 w 4457589"/>
                    <a:gd name="connsiteY2810" fmla="*/ 1222923 h 1541722"/>
                    <a:gd name="connsiteX2811" fmla="*/ 888215 w 4457589"/>
                    <a:gd name="connsiteY2811" fmla="*/ 1221560 h 1541722"/>
                    <a:gd name="connsiteX2812" fmla="*/ 890185 w 4457589"/>
                    <a:gd name="connsiteY2812" fmla="*/ 1217772 h 1541722"/>
                    <a:gd name="connsiteX2813" fmla="*/ 892003 w 4457589"/>
                    <a:gd name="connsiteY2813" fmla="*/ 1213832 h 1541722"/>
                    <a:gd name="connsiteX2814" fmla="*/ 893366 w 4457589"/>
                    <a:gd name="connsiteY2814" fmla="*/ 1212317 h 1541722"/>
                    <a:gd name="connsiteX2815" fmla="*/ 894882 w 4457589"/>
                    <a:gd name="connsiteY2815" fmla="*/ 1211862 h 1541722"/>
                    <a:gd name="connsiteX2816" fmla="*/ 896397 w 4457589"/>
                    <a:gd name="connsiteY2816" fmla="*/ 1212468 h 1541722"/>
                    <a:gd name="connsiteX2817" fmla="*/ 898367 w 4457589"/>
                    <a:gd name="connsiteY2817" fmla="*/ 1214893 h 1541722"/>
                    <a:gd name="connsiteX2818" fmla="*/ 901094 w 4457589"/>
                    <a:gd name="connsiteY2818" fmla="*/ 1217166 h 1541722"/>
                    <a:gd name="connsiteX2819" fmla="*/ 904882 w 4457589"/>
                    <a:gd name="connsiteY2819" fmla="*/ 1218075 h 1541722"/>
                    <a:gd name="connsiteX2820" fmla="*/ 907155 w 4457589"/>
                    <a:gd name="connsiteY2820" fmla="*/ 1218378 h 1541722"/>
                    <a:gd name="connsiteX2821" fmla="*/ 910791 w 4457589"/>
                    <a:gd name="connsiteY2821" fmla="*/ 1218681 h 1541722"/>
                    <a:gd name="connsiteX2822" fmla="*/ 919125 w 4457589"/>
                    <a:gd name="connsiteY2822" fmla="*/ 1217469 h 1541722"/>
                    <a:gd name="connsiteX2823" fmla="*/ 926852 w 4457589"/>
                    <a:gd name="connsiteY2823" fmla="*/ 1214590 h 1541722"/>
                    <a:gd name="connsiteX2824" fmla="*/ 931247 w 4457589"/>
                    <a:gd name="connsiteY2824" fmla="*/ 1211559 h 1541722"/>
                    <a:gd name="connsiteX2825" fmla="*/ 933368 w 4457589"/>
                    <a:gd name="connsiteY2825" fmla="*/ 1206862 h 1541722"/>
                    <a:gd name="connsiteX2826" fmla="*/ 934580 w 4457589"/>
                    <a:gd name="connsiteY2826" fmla="*/ 1201559 h 1541722"/>
                    <a:gd name="connsiteX2827" fmla="*/ 936702 w 4457589"/>
                    <a:gd name="connsiteY2827" fmla="*/ 1198226 h 1541722"/>
                    <a:gd name="connsiteX2828" fmla="*/ 935792 w 4457589"/>
                    <a:gd name="connsiteY2828" fmla="*/ 1194741 h 1541722"/>
                    <a:gd name="connsiteX2829" fmla="*/ 931853 w 4457589"/>
                    <a:gd name="connsiteY2829" fmla="*/ 1191559 h 1541722"/>
                    <a:gd name="connsiteX2830" fmla="*/ 930640 w 4457589"/>
                    <a:gd name="connsiteY2830" fmla="*/ 1190498 h 1541722"/>
                    <a:gd name="connsiteX2831" fmla="*/ 921095 w 4457589"/>
                    <a:gd name="connsiteY2831" fmla="*/ 1188680 h 1541722"/>
                    <a:gd name="connsiteX2832" fmla="*/ 920489 w 4457589"/>
                    <a:gd name="connsiteY2832" fmla="*/ 1187316 h 1541722"/>
                    <a:gd name="connsiteX2833" fmla="*/ 919882 w 4457589"/>
                    <a:gd name="connsiteY2833" fmla="*/ 1187013 h 1541722"/>
                    <a:gd name="connsiteX2834" fmla="*/ 910488 w 4457589"/>
                    <a:gd name="connsiteY2834" fmla="*/ 1184134 h 1541722"/>
                    <a:gd name="connsiteX2835" fmla="*/ 905943 w 4457589"/>
                    <a:gd name="connsiteY2835" fmla="*/ 1182922 h 1541722"/>
                    <a:gd name="connsiteX2836" fmla="*/ 904730 w 4457589"/>
                    <a:gd name="connsiteY2836" fmla="*/ 1180952 h 1541722"/>
                    <a:gd name="connsiteX2837" fmla="*/ 903821 w 4457589"/>
                    <a:gd name="connsiteY2837" fmla="*/ 1178528 h 1541722"/>
                    <a:gd name="connsiteX2838" fmla="*/ 900942 w 4457589"/>
                    <a:gd name="connsiteY2838" fmla="*/ 1176255 h 1541722"/>
                    <a:gd name="connsiteX2839" fmla="*/ 895185 w 4457589"/>
                    <a:gd name="connsiteY2839" fmla="*/ 1174134 h 1541722"/>
                    <a:gd name="connsiteX2840" fmla="*/ 894124 w 4457589"/>
                    <a:gd name="connsiteY2840" fmla="*/ 1172619 h 1541722"/>
                    <a:gd name="connsiteX2841" fmla="*/ 895033 w 4457589"/>
                    <a:gd name="connsiteY2841" fmla="*/ 1171103 h 1541722"/>
                    <a:gd name="connsiteX2842" fmla="*/ 899730 w 4457589"/>
                    <a:gd name="connsiteY2842" fmla="*/ 1169285 h 1541722"/>
                    <a:gd name="connsiteX2843" fmla="*/ 904882 w 4457589"/>
                    <a:gd name="connsiteY2843" fmla="*/ 1165649 h 1541722"/>
                    <a:gd name="connsiteX2844" fmla="*/ 907003 w 4457589"/>
                    <a:gd name="connsiteY2844" fmla="*/ 1164891 h 1541722"/>
                    <a:gd name="connsiteX2845" fmla="*/ 911549 w 4457589"/>
                    <a:gd name="connsiteY2845" fmla="*/ 1164739 h 1541722"/>
                    <a:gd name="connsiteX2846" fmla="*/ 915943 w 4457589"/>
                    <a:gd name="connsiteY2846" fmla="*/ 1161709 h 1541722"/>
                    <a:gd name="connsiteX2847" fmla="*/ 918973 w 4457589"/>
                    <a:gd name="connsiteY2847" fmla="*/ 1159891 h 1541722"/>
                    <a:gd name="connsiteX2848" fmla="*/ 920489 w 4457589"/>
                    <a:gd name="connsiteY2848" fmla="*/ 1157921 h 1541722"/>
                    <a:gd name="connsiteX2849" fmla="*/ 920034 w 4457589"/>
                    <a:gd name="connsiteY2849" fmla="*/ 1155800 h 1541722"/>
                    <a:gd name="connsiteX2850" fmla="*/ 915792 w 4457589"/>
                    <a:gd name="connsiteY2850" fmla="*/ 1149284 h 1541722"/>
                    <a:gd name="connsiteX2851" fmla="*/ 914428 w 4457589"/>
                    <a:gd name="connsiteY2851" fmla="*/ 1145345 h 1541722"/>
                    <a:gd name="connsiteX2852" fmla="*/ 915185 w 4457589"/>
                    <a:gd name="connsiteY2852" fmla="*/ 1142769 h 1541722"/>
                    <a:gd name="connsiteX2853" fmla="*/ 917761 w 4457589"/>
                    <a:gd name="connsiteY2853" fmla="*/ 1140042 h 1541722"/>
                    <a:gd name="connsiteX2854" fmla="*/ 919125 w 4457589"/>
                    <a:gd name="connsiteY2854" fmla="*/ 1138526 h 1541722"/>
                    <a:gd name="connsiteX2855" fmla="*/ 920792 w 4457589"/>
                    <a:gd name="connsiteY2855" fmla="*/ 1135799 h 1541722"/>
                    <a:gd name="connsiteX2856" fmla="*/ 922004 w 4457589"/>
                    <a:gd name="connsiteY2856" fmla="*/ 1134435 h 1541722"/>
                    <a:gd name="connsiteX2857" fmla="*/ 926247 w 4457589"/>
                    <a:gd name="connsiteY2857" fmla="*/ 1133829 h 1541722"/>
                    <a:gd name="connsiteX2858" fmla="*/ 931549 w 4457589"/>
                    <a:gd name="connsiteY2858" fmla="*/ 1133526 h 1541722"/>
                    <a:gd name="connsiteX2859" fmla="*/ 935186 w 4457589"/>
                    <a:gd name="connsiteY2859" fmla="*/ 1134132 h 1541722"/>
                    <a:gd name="connsiteX2860" fmla="*/ 940338 w 4457589"/>
                    <a:gd name="connsiteY2860" fmla="*/ 1134587 h 1541722"/>
                    <a:gd name="connsiteX2861" fmla="*/ 944883 w 4457589"/>
                    <a:gd name="connsiteY2861" fmla="*/ 1135041 h 1541722"/>
                    <a:gd name="connsiteX2862" fmla="*/ 947308 w 4457589"/>
                    <a:gd name="connsiteY2862" fmla="*/ 1135496 h 1541722"/>
                    <a:gd name="connsiteX2863" fmla="*/ 948975 w 4457589"/>
                    <a:gd name="connsiteY2863" fmla="*/ 1134587 h 1541722"/>
                    <a:gd name="connsiteX2864" fmla="*/ 950187 w 4457589"/>
                    <a:gd name="connsiteY2864" fmla="*/ 1133223 h 1541722"/>
                    <a:gd name="connsiteX2865" fmla="*/ 950187 w 4457589"/>
                    <a:gd name="connsiteY2865" fmla="*/ 1131253 h 1541722"/>
                    <a:gd name="connsiteX2866" fmla="*/ 948368 w 4457589"/>
                    <a:gd name="connsiteY2866" fmla="*/ 1129435 h 1541722"/>
                    <a:gd name="connsiteX2867" fmla="*/ 941550 w 4457589"/>
                    <a:gd name="connsiteY2867" fmla="*/ 1127011 h 1541722"/>
                    <a:gd name="connsiteX2868" fmla="*/ 938671 w 4457589"/>
                    <a:gd name="connsiteY2868" fmla="*/ 1124890 h 1541722"/>
                    <a:gd name="connsiteX2869" fmla="*/ 936398 w 4457589"/>
                    <a:gd name="connsiteY2869" fmla="*/ 1125193 h 1541722"/>
                    <a:gd name="connsiteX2870" fmla="*/ 932610 w 4457589"/>
                    <a:gd name="connsiteY2870" fmla="*/ 1124587 h 1541722"/>
                    <a:gd name="connsiteX2871" fmla="*/ 929125 w 4457589"/>
                    <a:gd name="connsiteY2871" fmla="*/ 1123223 h 1541722"/>
                    <a:gd name="connsiteX2872" fmla="*/ 926095 w 4457589"/>
                    <a:gd name="connsiteY2872" fmla="*/ 1122768 h 1541722"/>
                    <a:gd name="connsiteX2873" fmla="*/ 925034 w 4457589"/>
                    <a:gd name="connsiteY2873" fmla="*/ 1120950 h 1541722"/>
                    <a:gd name="connsiteX2874" fmla="*/ 925792 w 4457589"/>
                    <a:gd name="connsiteY2874" fmla="*/ 1118374 h 1541722"/>
                    <a:gd name="connsiteX2875" fmla="*/ 926852 w 4457589"/>
                    <a:gd name="connsiteY2875" fmla="*/ 1116859 h 1541722"/>
                    <a:gd name="connsiteX2876" fmla="*/ 929125 w 4457589"/>
                    <a:gd name="connsiteY2876" fmla="*/ 1116101 h 1541722"/>
                    <a:gd name="connsiteX2877" fmla="*/ 931549 w 4457589"/>
                    <a:gd name="connsiteY2877" fmla="*/ 1116404 h 1541722"/>
                    <a:gd name="connsiteX2878" fmla="*/ 934277 w 4457589"/>
                    <a:gd name="connsiteY2878" fmla="*/ 1115344 h 1541722"/>
                    <a:gd name="connsiteX2879" fmla="*/ 935035 w 4457589"/>
                    <a:gd name="connsiteY2879" fmla="*/ 1114738 h 1541722"/>
                    <a:gd name="connsiteX2880" fmla="*/ 935337 w 4457589"/>
                    <a:gd name="connsiteY2880" fmla="*/ 1113980 h 1541722"/>
                    <a:gd name="connsiteX2881" fmla="*/ 934883 w 4457589"/>
                    <a:gd name="connsiteY2881" fmla="*/ 1112768 h 1541722"/>
                    <a:gd name="connsiteX2882" fmla="*/ 933671 w 4457589"/>
                    <a:gd name="connsiteY2882" fmla="*/ 1111859 h 1541722"/>
                    <a:gd name="connsiteX2883" fmla="*/ 931853 w 4457589"/>
                    <a:gd name="connsiteY2883" fmla="*/ 1111556 h 1541722"/>
                    <a:gd name="connsiteX2884" fmla="*/ 929883 w 4457589"/>
                    <a:gd name="connsiteY2884" fmla="*/ 1112465 h 1541722"/>
                    <a:gd name="connsiteX2885" fmla="*/ 927459 w 4457589"/>
                    <a:gd name="connsiteY2885" fmla="*/ 1112919 h 1541722"/>
                    <a:gd name="connsiteX2886" fmla="*/ 923368 w 4457589"/>
                    <a:gd name="connsiteY2886" fmla="*/ 1111707 h 1541722"/>
                    <a:gd name="connsiteX2887" fmla="*/ 920034 w 4457589"/>
                    <a:gd name="connsiteY2887" fmla="*/ 1110344 h 1541722"/>
                    <a:gd name="connsiteX2888" fmla="*/ 920185 w 4457589"/>
                    <a:gd name="connsiteY2888" fmla="*/ 1108980 h 1541722"/>
                    <a:gd name="connsiteX2889" fmla="*/ 922610 w 4457589"/>
                    <a:gd name="connsiteY2889" fmla="*/ 1107010 h 1541722"/>
                    <a:gd name="connsiteX2890" fmla="*/ 923671 w 4457589"/>
                    <a:gd name="connsiteY2890" fmla="*/ 1105343 h 1541722"/>
                    <a:gd name="connsiteX2891" fmla="*/ 923671 w 4457589"/>
                    <a:gd name="connsiteY2891" fmla="*/ 1100495 h 1541722"/>
                    <a:gd name="connsiteX2892" fmla="*/ 924580 w 4457589"/>
                    <a:gd name="connsiteY2892" fmla="*/ 1097464 h 1541722"/>
                    <a:gd name="connsiteX2893" fmla="*/ 927004 w 4457589"/>
                    <a:gd name="connsiteY2893" fmla="*/ 1095343 h 1541722"/>
                    <a:gd name="connsiteX2894" fmla="*/ 929731 w 4457589"/>
                    <a:gd name="connsiteY2894" fmla="*/ 1094282 h 1541722"/>
                    <a:gd name="connsiteX2895" fmla="*/ 937004 w 4457589"/>
                    <a:gd name="connsiteY2895" fmla="*/ 1096252 h 1541722"/>
                    <a:gd name="connsiteX2896" fmla="*/ 946096 w 4457589"/>
                    <a:gd name="connsiteY2896" fmla="*/ 1098070 h 1541722"/>
                    <a:gd name="connsiteX2897" fmla="*/ 947611 w 4457589"/>
                    <a:gd name="connsiteY2897" fmla="*/ 1097767 h 1541722"/>
                    <a:gd name="connsiteX2898" fmla="*/ 948066 w 4457589"/>
                    <a:gd name="connsiteY2898" fmla="*/ 1096858 h 1541722"/>
                    <a:gd name="connsiteX2899" fmla="*/ 949126 w 4457589"/>
                    <a:gd name="connsiteY2899" fmla="*/ 1096101 h 1541722"/>
                    <a:gd name="connsiteX2900" fmla="*/ 961702 w 4457589"/>
                    <a:gd name="connsiteY2900" fmla="*/ 1095646 h 1541722"/>
                    <a:gd name="connsiteX2901" fmla="*/ 964127 w 4457589"/>
                    <a:gd name="connsiteY2901" fmla="*/ 1094434 h 1541722"/>
                    <a:gd name="connsiteX2902" fmla="*/ 965339 w 4457589"/>
                    <a:gd name="connsiteY2902" fmla="*/ 1093525 h 1541722"/>
                    <a:gd name="connsiteX2903" fmla="*/ 977309 w 4457589"/>
                    <a:gd name="connsiteY2903" fmla="*/ 1092161 h 1541722"/>
                    <a:gd name="connsiteX2904" fmla="*/ 978824 w 4457589"/>
                    <a:gd name="connsiteY2904" fmla="*/ 1090949 h 1541722"/>
                    <a:gd name="connsiteX2905" fmla="*/ 980642 w 4457589"/>
                    <a:gd name="connsiteY2905" fmla="*/ 1089737 h 1541722"/>
                    <a:gd name="connsiteX2906" fmla="*/ 983370 w 4457589"/>
                    <a:gd name="connsiteY2906" fmla="*/ 1089737 h 1541722"/>
                    <a:gd name="connsiteX2907" fmla="*/ 986703 w 4457589"/>
                    <a:gd name="connsiteY2907" fmla="*/ 1089282 h 1541722"/>
                    <a:gd name="connsiteX2908" fmla="*/ 991249 w 4457589"/>
                    <a:gd name="connsiteY2908" fmla="*/ 1087767 h 1541722"/>
                    <a:gd name="connsiteX2909" fmla="*/ 994582 w 4457589"/>
                    <a:gd name="connsiteY2909" fmla="*/ 1087009 h 1541722"/>
                    <a:gd name="connsiteX2910" fmla="*/ 995037 w 4457589"/>
                    <a:gd name="connsiteY2910" fmla="*/ 1086858 h 1541722"/>
                    <a:gd name="connsiteX2911" fmla="*/ 998522 w 4457589"/>
                    <a:gd name="connsiteY2911" fmla="*/ 1087313 h 1541722"/>
                    <a:gd name="connsiteX2912" fmla="*/ 1002764 w 4457589"/>
                    <a:gd name="connsiteY2912" fmla="*/ 1086100 h 1541722"/>
                    <a:gd name="connsiteX2913" fmla="*/ 1003673 w 4457589"/>
                    <a:gd name="connsiteY2913" fmla="*/ 1085646 h 1541722"/>
                    <a:gd name="connsiteX2914" fmla="*/ 1004431 w 4457589"/>
                    <a:gd name="connsiteY2914" fmla="*/ 1084737 h 1541722"/>
                    <a:gd name="connsiteX2915" fmla="*/ 1008219 w 4457589"/>
                    <a:gd name="connsiteY2915" fmla="*/ 1083070 h 1541722"/>
                    <a:gd name="connsiteX2916" fmla="*/ 1015340 w 4457589"/>
                    <a:gd name="connsiteY2916" fmla="*/ 1081706 h 1541722"/>
                    <a:gd name="connsiteX2917" fmla="*/ 1017159 w 4457589"/>
                    <a:gd name="connsiteY2917" fmla="*/ 1082464 h 1541722"/>
                    <a:gd name="connsiteX2918" fmla="*/ 1020493 w 4457589"/>
                    <a:gd name="connsiteY2918" fmla="*/ 1082918 h 1541722"/>
                    <a:gd name="connsiteX2919" fmla="*/ 1024886 w 4457589"/>
                    <a:gd name="connsiteY2919" fmla="*/ 1082312 h 1541722"/>
                    <a:gd name="connsiteX2920" fmla="*/ 1028069 w 4457589"/>
                    <a:gd name="connsiteY2920" fmla="*/ 1081252 h 1541722"/>
                    <a:gd name="connsiteX2921" fmla="*/ 1029887 w 4457589"/>
                    <a:gd name="connsiteY2921" fmla="*/ 1082312 h 1541722"/>
                    <a:gd name="connsiteX2922" fmla="*/ 1032462 w 4457589"/>
                    <a:gd name="connsiteY2922" fmla="*/ 1083373 h 1541722"/>
                    <a:gd name="connsiteX2923" fmla="*/ 1034432 w 4457589"/>
                    <a:gd name="connsiteY2923" fmla="*/ 1082464 h 1541722"/>
                    <a:gd name="connsiteX2924" fmla="*/ 1035341 w 4457589"/>
                    <a:gd name="connsiteY2924" fmla="*/ 1079585 h 1541722"/>
                    <a:gd name="connsiteX2925" fmla="*/ 1036554 w 4457589"/>
                    <a:gd name="connsiteY2925" fmla="*/ 1076706 h 1541722"/>
                    <a:gd name="connsiteX2926" fmla="*/ 1038675 w 4457589"/>
                    <a:gd name="connsiteY2926" fmla="*/ 1075342 h 1541722"/>
                    <a:gd name="connsiteX2927" fmla="*/ 1040493 w 4457589"/>
                    <a:gd name="connsiteY2927" fmla="*/ 1074888 h 1541722"/>
                    <a:gd name="connsiteX2928" fmla="*/ 1042008 w 4457589"/>
                    <a:gd name="connsiteY2928" fmla="*/ 1073827 h 1541722"/>
                    <a:gd name="connsiteX2929" fmla="*/ 1043069 w 4457589"/>
                    <a:gd name="connsiteY2929" fmla="*/ 1072615 h 1541722"/>
                    <a:gd name="connsiteX2930" fmla="*/ 1049433 w 4457589"/>
                    <a:gd name="connsiteY2930" fmla="*/ 1072766 h 1541722"/>
                    <a:gd name="connsiteX2931" fmla="*/ 1055039 w 4457589"/>
                    <a:gd name="connsiteY2931" fmla="*/ 1070039 h 1541722"/>
                    <a:gd name="connsiteX2932" fmla="*/ 1056251 w 4457589"/>
                    <a:gd name="connsiteY2932" fmla="*/ 1071251 h 1541722"/>
                    <a:gd name="connsiteX2933" fmla="*/ 1063524 w 4457589"/>
                    <a:gd name="connsiteY2933" fmla="*/ 1070948 h 1541722"/>
                    <a:gd name="connsiteX2934" fmla="*/ 1072616 w 4457589"/>
                    <a:gd name="connsiteY2934" fmla="*/ 1069130 h 1541722"/>
                    <a:gd name="connsiteX2935" fmla="*/ 1078070 w 4457589"/>
                    <a:gd name="connsiteY2935" fmla="*/ 1068372 h 1541722"/>
                    <a:gd name="connsiteX2936" fmla="*/ 1087464 w 4457589"/>
                    <a:gd name="connsiteY2936" fmla="*/ 1066403 h 1541722"/>
                    <a:gd name="connsiteX2937" fmla="*/ 1091859 w 4457589"/>
                    <a:gd name="connsiteY2937" fmla="*/ 1064887 h 1541722"/>
                    <a:gd name="connsiteX2938" fmla="*/ 1098071 w 4457589"/>
                    <a:gd name="connsiteY2938" fmla="*/ 1063827 h 1541722"/>
                    <a:gd name="connsiteX2939" fmla="*/ 1103829 w 4457589"/>
                    <a:gd name="connsiteY2939" fmla="*/ 1063221 h 1541722"/>
                    <a:gd name="connsiteX2940" fmla="*/ 1107465 w 4457589"/>
                    <a:gd name="connsiteY2940" fmla="*/ 1060493 h 1541722"/>
                    <a:gd name="connsiteX2941" fmla="*/ 1110496 w 4457589"/>
                    <a:gd name="connsiteY2941" fmla="*/ 1060039 h 1541722"/>
                    <a:gd name="connsiteX2942" fmla="*/ 1114132 w 4457589"/>
                    <a:gd name="connsiteY2942" fmla="*/ 1059887 h 1541722"/>
                    <a:gd name="connsiteX2943" fmla="*/ 1116405 w 4457589"/>
                    <a:gd name="connsiteY2943" fmla="*/ 1059281 h 1541722"/>
                    <a:gd name="connsiteX2944" fmla="*/ 1117920 w 4457589"/>
                    <a:gd name="connsiteY2944" fmla="*/ 1058220 h 1541722"/>
                    <a:gd name="connsiteX2945" fmla="*/ 1118829 w 4457589"/>
                    <a:gd name="connsiteY2945" fmla="*/ 1056402 h 1541722"/>
                    <a:gd name="connsiteX2946" fmla="*/ 1118375 w 4457589"/>
                    <a:gd name="connsiteY2946" fmla="*/ 1053978 h 1541722"/>
                    <a:gd name="connsiteX2947" fmla="*/ 1117769 w 4457589"/>
                    <a:gd name="connsiteY2947" fmla="*/ 1052160 h 1541722"/>
                    <a:gd name="connsiteX2948" fmla="*/ 1120496 w 4457589"/>
                    <a:gd name="connsiteY2948" fmla="*/ 1051251 h 1541722"/>
                    <a:gd name="connsiteX2949" fmla="*/ 1124133 w 4457589"/>
                    <a:gd name="connsiteY2949" fmla="*/ 1050948 h 1541722"/>
                    <a:gd name="connsiteX2950" fmla="*/ 1126557 w 4457589"/>
                    <a:gd name="connsiteY2950" fmla="*/ 1050493 h 1541722"/>
                    <a:gd name="connsiteX2951" fmla="*/ 1131709 w 4457589"/>
                    <a:gd name="connsiteY2951" fmla="*/ 1046553 h 1541722"/>
                    <a:gd name="connsiteX2952" fmla="*/ 1135193 w 4457589"/>
                    <a:gd name="connsiteY2952" fmla="*/ 1044735 h 1541722"/>
                    <a:gd name="connsiteX2953" fmla="*/ 1138830 w 4457589"/>
                    <a:gd name="connsiteY2953" fmla="*/ 1043523 h 1541722"/>
                    <a:gd name="connsiteX2954" fmla="*/ 1146255 w 4457589"/>
                    <a:gd name="connsiteY2954" fmla="*/ 1044129 h 1541722"/>
                    <a:gd name="connsiteX2955" fmla="*/ 1153073 w 4457589"/>
                    <a:gd name="connsiteY2955" fmla="*/ 1044735 h 1541722"/>
                    <a:gd name="connsiteX2956" fmla="*/ 1159740 w 4457589"/>
                    <a:gd name="connsiteY2956" fmla="*/ 1046705 h 1541722"/>
                    <a:gd name="connsiteX2957" fmla="*/ 1163377 w 4457589"/>
                    <a:gd name="connsiteY2957" fmla="*/ 1048978 h 1541722"/>
                    <a:gd name="connsiteX2958" fmla="*/ 1166407 w 4457589"/>
                    <a:gd name="connsiteY2958" fmla="*/ 1050796 h 1541722"/>
                    <a:gd name="connsiteX2959" fmla="*/ 1169286 w 4457589"/>
                    <a:gd name="connsiteY2959" fmla="*/ 1051554 h 1541722"/>
                    <a:gd name="connsiteX2960" fmla="*/ 1171862 w 4457589"/>
                    <a:gd name="connsiteY2960" fmla="*/ 1052160 h 1541722"/>
                    <a:gd name="connsiteX2961" fmla="*/ 1174892 w 4457589"/>
                    <a:gd name="connsiteY2961" fmla="*/ 1051402 h 1541722"/>
                    <a:gd name="connsiteX2962" fmla="*/ 1177013 w 4457589"/>
                    <a:gd name="connsiteY2962" fmla="*/ 1050341 h 1541722"/>
                    <a:gd name="connsiteX2963" fmla="*/ 1178225 w 4457589"/>
                    <a:gd name="connsiteY2963" fmla="*/ 1048675 h 1541722"/>
                    <a:gd name="connsiteX2964" fmla="*/ 1180195 w 4457589"/>
                    <a:gd name="connsiteY2964" fmla="*/ 1047614 h 1541722"/>
                    <a:gd name="connsiteX2965" fmla="*/ 1187014 w 4457589"/>
                    <a:gd name="connsiteY2965" fmla="*/ 1046705 h 1541722"/>
                    <a:gd name="connsiteX2966" fmla="*/ 1188529 w 4457589"/>
                    <a:gd name="connsiteY2966" fmla="*/ 1048372 h 1541722"/>
                    <a:gd name="connsiteX2967" fmla="*/ 1191711 w 4457589"/>
                    <a:gd name="connsiteY2967" fmla="*/ 1053523 h 1541722"/>
                    <a:gd name="connsiteX2968" fmla="*/ 1193984 w 4457589"/>
                    <a:gd name="connsiteY2968" fmla="*/ 1060190 h 1541722"/>
                    <a:gd name="connsiteX2969" fmla="*/ 1197620 w 4457589"/>
                    <a:gd name="connsiteY2969" fmla="*/ 1069130 h 1541722"/>
                    <a:gd name="connsiteX2970" fmla="*/ 1199287 w 4457589"/>
                    <a:gd name="connsiteY2970" fmla="*/ 1073524 h 1541722"/>
                    <a:gd name="connsiteX2971" fmla="*/ 1198529 w 4457589"/>
                    <a:gd name="connsiteY2971" fmla="*/ 1075797 h 1541722"/>
                    <a:gd name="connsiteX2972" fmla="*/ 1198681 w 4457589"/>
                    <a:gd name="connsiteY2972" fmla="*/ 1078979 h 1541722"/>
                    <a:gd name="connsiteX2973" fmla="*/ 1198378 w 4457589"/>
                    <a:gd name="connsiteY2973" fmla="*/ 1082464 h 1541722"/>
                    <a:gd name="connsiteX2974" fmla="*/ 1195651 w 4457589"/>
                    <a:gd name="connsiteY2974" fmla="*/ 1086403 h 1541722"/>
                    <a:gd name="connsiteX2975" fmla="*/ 1196862 w 4457589"/>
                    <a:gd name="connsiteY2975" fmla="*/ 1088222 h 1541722"/>
                    <a:gd name="connsiteX2976" fmla="*/ 1203378 w 4457589"/>
                    <a:gd name="connsiteY2976" fmla="*/ 1090191 h 1541722"/>
                    <a:gd name="connsiteX2977" fmla="*/ 1212772 w 4457589"/>
                    <a:gd name="connsiteY2977" fmla="*/ 1089434 h 1541722"/>
                    <a:gd name="connsiteX2978" fmla="*/ 1218530 w 4457589"/>
                    <a:gd name="connsiteY2978" fmla="*/ 1087767 h 1541722"/>
                    <a:gd name="connsiteX2979" fmla="*/ 1221712 w 4457589"/>
                    <a:gd name="connsiteY2979" fmla="*/ 1088373 h 1541722"/>
                    <a:gd name="connsiteX2980" fmla="*/ 1223379 w 4457589"/>
                    <a:gd name="connsiteY2980" fmla="*/ 1087464 h 1541722"/>
                    <a:gd name="connsiteX2981" fmla="*/ 1224439 w 4457589"/>
                    <a:gd name="connsiteY2981" fmla="*/ 1084585 h 1541722"/>
                    <a:gd name="connsiteX2982" fmla="*/ 1226712 w 4457589"/>
                    <a:gd name="connsiteY2982" fmla="*/ 1083827 h 1541722"/>
                    <a:gd name="connsiteX2983" fmla="*/ 1228985 w 4457589"/>
                    <a:gd name="connsiteY2983" fmla="*/ 1085949 h 1541722"/>
                    <a:gd name="connsiteX2984" fmla="*/ 1230652 w 4457589"/>
                    <a:gd name="connsiteY2984" fmla="*/ 1089282 h 1541722"/>
                    <a:gd name="connsiteX2985" fmla="*/ 1232167 w 4457589"/>
                    <a:gd name="connsiteY2985" fmla="*/ 1091555 h 1541722"/>
                    <a:gd name="connsiteX2986" fmla="*/ 1232015 w 4457589"/>
                    <a:gd name="connsiteY2986" fmla="*/ 1094131 h 1541722"/>
                    <a:gd name="connsiteX2987" fmla="*/ 1232622 w 4457589"/>
                    <a:gd name="connsiteY2987" fmla="*/ 1097464 h 1541722"/>
                    <a:gd name="connsiteX2988" fmla="*/ 1233834 w 4457589"/>
                    <a:gd name="connsiteY2988" fmla="*/ 1098373 h 1541722"/>
                    <a:gd name="connsiteX2989" fmla="*/ 1236106 w 4457589"/>
                    <a:gd name="connsiteY2989" fmla="*/ 1097010 h 1541722"/>
                    <a:gd name="connsiteX2990" fmla="*/ 1237622 w 4457589"/>
                    <a:gd name="connsiteY2990" fmla="*/ 1096252 h 1541722"/>
                    <a:gd name="connsiteX2991" fmla="*/ 1237924 w 4457589"/>
                    <a:gd name="connsiteY2991" fmla="*/ 1095192 h 1541722"/>
                    <a:gd name="connsiteX2992" fmla="*/ 1237319 w 4457589"/>
                    <a:gd name="connsiteY2992" fmla="*/ 1093979 h 1541722"/>
                    <a:gd name="connsiteX2993" fmla="*/ 1237015 w 4457589"/>
                    <a:gd name="connsiteY2993" fmla="*/ 1092767 h 1541722"/>
                    <a:gd name="connsiteX2994" fmla="*/ 1237470 w 4457589"/>
                    <a:gd name="connsiteY2994" fmla="*/ 1091555 h 1541722"/>
                    <a:gd name="connsiteX2995" fmla="*/ 1238682 w 4457589"/>
                    <a:gd name="connsiteY2995" fmla="*/ 1091101 h 1541722"/>
                    <a:gd name="connsiteX2996" fmla="*/ 1241864 w 4457589"/>
                    <a:gd name="connsiteY2996" fmla="*/ 1091404 h 1541722"/>
                    <a:gd name="connsiteX2997" fmla="*/ 1246561 w 4457589"/>
                    <a:gd name="connsiteY2997" fmla="*/ 1092161 h 1541722"/>
                    <a:gd name="connsiteX2998" fmla="*/ 1252167 w 4457589"/>
                    <a:gd name="connsiteY2998" fmla="*/ 1096858 h 1541722"/>
                    <a:gd name="connsiteX2999" fmla="*/ 1255198 w 4457589"/>
                    <a:gd name="connsiteY2999" fmla="*/ 1097767 h 1541722"/>
                    <a:gd name="connsiteX3000" fmla="*/ 1256562 w 4457589"/>
                    <a:gd name="connsiteY3000" fmla="*/ 1097767 h 1541722"/>
                    <a:gd name="connsiteX3001" fmla="*/ 1259441 w 4457589"/>
                    <a:gd name="connsiteY3001" fmla="*/ 1097464 h 1541722"/>
                    <a:gd name="connsiteX3002" fmla="*/ 1262774 w 4457589"/>
                    <a:gd name="connsiteY3002" fmla="*/ 1096101 h 1541722"/>
                    <a:gd name="connsiteX3003" fmla="*/ 1265047 w 4457589"/>
                    <a:gd name="connsiteY3003" fmla="*/ 1094434 h 1541722"/>
                    <a:gd name="connsiteX3004" fmla="*/ 1265805 w 4457589"/>
                    <a:gd name="connsiteY3004" fmla="*/ 1093525 h 1541722"/>
                    <a:gd name="connsiteX3005" fmla="*/ 1267168 w 4457589"/>
                    <a:gd name="connsiteY3005" fmla="*/ 1093676 h 1541722"/>
                    <a:gd name="connsiteX3006" fmla="*/ 1268380 w 4457589"/>
                    <a:gd name="connsiteY3006" fmla="*/ 1094585 h 1541722"/>
                    <a:gd name="connsiteX3007" fmla="*/ 1268532 w 4457589"/>
                    <a:gd name="connsiteY3007" fmla="*/ 1096252 h 1541722"/>
                    <a:gd name="connsiteX3008" fmla="*/ 1267471 w 4457589"/>
                    <a:gd name="connsiteY3008" fmla="*/ 1098828 h 1541722"/>
                    <a:gd name="connsiteX3009" fmla="*/ 1264138 w 4457589"/>
                    <a:gd name="connsiteY3009" fmla="*/ 1101101 h 1541722"/>
                    <a:gd name="connsiteX3010" fmla="*/ 1259895 w 4457589"/>
                    <a:gd name="connsiteY3010" fmla="*/ 1103222 h 1541722"/>
                    <a:gd name="connsiteX3011" fmla="*/ 1257319 w 4457589"/>
                    <a:gd name="connsiteY3011" fmla="*/ 1107162 h 1541722"/>
                    <a:gd name="connsiteX3012" fmla="*/ 1256713 w 4457589"/>
                    <a:gd name="connsiteY3012" fmla="*/ 1111101 h 1541722"/>
                    <a:gd name="connsiteX3013" fmla="*/ 1257925 w 4457589"/>
                    <a:gd name="connsiteY3013" fmla="*/ 1113223 h 1541722"/>
                    <a:gd name="connsiteX3014" fmla="*/ 1258834 w 4457589"/>
                    <a:gd name="connsiteY3014" fmla="*/ 1114586 h 1541722"/>
                    <a:gd name="connsiteX3015" fmla="*/ 1259138 w 4457589"/>
                    <a:gd name="connsiteY3015" fmla="*/ 1116556 h 1541722"/>
                    <a:gd name="connsiteX3016" fmla="*/ 1260047 w 4457589"/>
                    <a:gd name="connsiteY3016" fmla="*/ 1116707 h 1541722"/>
                    <a:gd name="connsiteX3017" fmla="*/ 1261865 w 4457589"/>
                    <a:gd name="connsiteY3017" fmla="*/ 1115950 h 1541722"/>
                    <a:gd name="connsiteX3018" fmla="*/ 1266562 w 4457589"/>
                    <a:gd name="connsiteY3018" fmla="*/ 1112010 h 1541722"/>
                    <a:gd name="connsiteX3019" fmla="*/ 1268987 w 4457589"/>
                    <a:gd name="connsiteY3019" fmla="*/ 1110950 h 1541722"/>
                    <a:gd name="connsiteX3020" fmla="*/ 1272471 w 4457589"/>
                    <a:gd name="connsiteY3020" fmla="*/ 1110344 h 1541722"/>
                    <a:gd name="connsiteX3021" fmla="*/ 1278229 w 4457589"/>
                    <a:gd name="connsiteY3021" fmla="*/ 1110647 h 1541722"/>
                    <a:gd name="connsiteX3022" fmla="*/ 1282017 w 4457589"/>
                    <a:gd name="connsiteY3022" fmla="*/ 1112010 h 1541722"/>
                    <a:gd name="connsiteX3023" fmla="*/ 1283987 w 4457589"/>
                    <a:gd name="connsiteY3023" fmla="*/ 1113829 h 1541722"/>
                    <a:gd name="connsiteX3024" fmla="*/ 1285957 w 4457589"/>
                    <a:gd name="connsiteY3024" fmla="*/ 1115344 h 1541722"/>
                    <a:gd name="connsiteX3025" fmla="*/ 1287320 w 4457589"/>
                    <a:gd name="connsiteY3025" fmla="*/ 1114586 h 1541722"/>
                    <a:gd name="connsiteX3026" fmla="*/ 1288078 w 4457589"/>
                    <a:gd name="connsiteY3026" fmla="*/ 1112919 h 1541722"/>
                    <a:gd name="connsiteX3027" fmla="*/ 1288078 w 4457589"/>
                    <a:gd name="connsiteY3027" fmla="*/ 1110950 h 1541722"/>
                    <a:gd name="connsiteX3028" fmla="*/ 1288684 w 4457589"/>
                    <a:gd name="connsiteY3028" fmla="*/ 1109283 h 1541722"/>
                    <a:gd name="connsiteX3029" fmla="*/ 1294896 w 4457589"/>
                    <a:gd name="connsiteY3029" fmla="*/ 1105343 h 1541722"/>
                    <a:gd name="connsiteX3030" fmla="*/ 1299139 w 4457589"/>
                    <a:gd name="connsiteY3030" fmla="*/ 1102616 h 1541722"/>
                    <a:gd name="connsiteX3031" fmla="*/ 1300654 w 4457589"/>
                    <a:gd name="connsiteY3031" fmla="*/ 1102313 h 1541722"/>
                    <a:gd name="connsiteX3032" fmla="*/ 1303382 w 4457589"/>
                    <a:gd name="connsiteY3032" fmla="*/ 1102919 h 1541722"/>
                    <a:gd name="connsiteX3033" fmla="*/ 1305049 w 4457589"/>
                    <a:gd name="connsiteY3033" fmla="*/ 1102616 h 1541722"/>
                    <a:gd name="connsiteX3034" fmla="*/ 1309746 w 4457589"/>
                    <a:gd name="connsiteY3034" fmla="*/ 1100040 h 1541722"/>
                    <a:gd name="connsiteX3035" fmla="*/ 1313988 w 4457589"/>
                    <a:gd name="connsiteY3035" fmla="*/ 1097313 h 1541722"/>
                    <a:gd name="connsiteX3036" fmla="*/ 1314443 w 4457589"/>
                    <a:gd name="connsiteY3036" fmla="*/ 1095343 h 1541722"/>
                    <a:gd name="connsiteX3037" fmla="*/ 1314594 w 4457589"/>
                    <a:gd name="connsiteY3037" fmla="*/ 1093525 h 1541722"/>
                    <a:gd name="connsiteX3038" fmla="*/ 1315655 w 4457589"/>
                    <a:gd name="connsiteY3038" fmla="*/ 1092767 h 1541722"/>
                    <a:gd name="connsiteX3039" fmla="*/ 1321715 w 4457589"/>
                    <a:gd name="connsiteY3039" fmla="*/ 1092161 h 1541722"/>
                    <a:gd name="connsiteX3040" fmla="*/ 1322625 w 4457589"/>
                    <a:gd name="connsiteY3040" fmla="*/ 1091858 h 1541722"/>
                    <a:gd name="connsiteX3041" fmla="*/ 1327777 w 4457589"/>
                    <a:gd name="connsiteY3041" fmla="*/ 1089888 h 1541722"/>
                    <a:gd name="connsiteX3042" fmla="*/ 1334898 w 4457589"/>
                    <a:gd name="connsiteY3042" fmla="*/ 1086403 h 1541722"/>
                    <a:gd name="connsiteX3043" fmla="*/ 1338383 w 4457589"/>
                    <a:gd name="connsiteY3043" fmla="*/ 1084434 h 1541722"/>
                    <a:gd name="connsiteX3044" fmla="*/ 1344595 w 4457589"/>
                    <a:gd name="connsiteY3044" fmla="*/ 1083524 h 1541722"/>
                    <a:gd name="connsiteX3045" fmla="*/ 1345808 w 4457589"/>
                    <a:gd name="connsiteY3045" fmla="*/ 1082918 h 1541722"/>
                    <a:gd name="connsiteX3046" fmla="*/ 1347929 w 4457589"/>
                    <a:gd name="connsiteY3046" fmla="*/ 1081555 h 1541722"/>
                    <a:gd name="connsiteX3047" fmla="*/ 1351868 w 4457589"/>
                    <a:gd name="connsiteY3047" fmla="*/ 1079736 h 1541722"/>
                    <a:gd name="connsiteX3048" fmla="*/ 1353989 w 4457589"/>
                    <a:gd name="connsiteY3048" fmla="*/ 1079433 h 1541722"/>
                    <a:gd name="connsiteX3049" fmla="*/ 1352626 w 4457589"/>
                    <a:gd name="connsiteY3049" fmla="*/ 1083979 h 1541722"/>
                    <a:gd name="connsiteX3050" fmla="*/ 1350353 w 4457589"/>
                    <a:gd name="connsiteY3050" fmla="*/ 1089282 h 1541722"/>
                    <a:gd name="connsiteX3051" fmla="*/ 1348989 w 4457589"/>
                    <a:gd name="connsiteY3051" fmla="*/ 1090646 h 1541722"/>
                    <a:gd name="connsiteX3052" fmla="*/ 1342625 w 4457589"/>
                    <a:gd name="connsiteY3052" fmla="*/ 1090494 h 1541722"/>
                    <a:gd name="connsiteX3053" fmla="*/ 1342625 w 4457589"/>
                    <a:gd name="connsiteY3053" fmla="*/ 1091858 h 1541722"/>
                    <a:gd name="connsiteX3054" fmla="*/ 1343534 w 4457589"/>
                    <a:gd name="connsiteY3054" fmla="*/ 1093979 h 1541722"/>
                    <a:gd name="connsiteX3055" fmla="*/ 1344292 w 4457589"/>
                    <a:gd name="connsiteY3055" fmla="*/ 1095343 h 1541722"/>
                    <a:gd name="connsiteX3056" fmla="*/ 1345050 w 4457589"/>
                    <a:gd name="connsiteY3056" fmla="*/ 1096404 h 1541722"/>
                    <a:gd name="connsiteX3057" fmla="*/ 1346868 w 4457589"/>
                    <a:gd name="connsiteY3057" fmla="*/ 1098222 h 1541722"/>
                    <a:gd name="connsiteX3058" fmla="*/ 1353535 w 4457589"/>
                    <a:gd name="connsiteY3058" fmla="*/ 1102768 h 1541722"/>
                    <a:gd name="connsiteX3059" fmla="*/ 1362020 w 4457589"/>
                    <a:gd name="connsiteY3059" fmla="*/ 1108525 h 1541722"/>
                    <a:gd name="connsiteX3060" fmla="*/ 1371263 w 4457589"/>
                    <a:gd name="connsiteY3060" fmla="*/ 1114889 h 1541722"/>
                    <a:gd name="connsiteX3061" fmla="*/ 1377627 w 4457589"/>
                    <a:gd name="connsiteY3061" fmla="*/ 1119283 h 1541722"/>
                    <a:gd name="connsiteX3062" fmla="*/ 1380203 w 4457589"/>
                    <a:gd name="connsiteY3062" fmla="*/ 1121556 h 1541722"/>
                    <a:gd name="connsiteX3063" fmla="*/ 1381869 w 4457589"/>
                    <a:gd name="connsiteY3063" fmla="*/ 1123374 h 1541722"/>
                    <a:gd name="connsiteX3064" fmla="*/ 1386718 w 4457589"/>
                    <a:gd name="connsiteY3064" fmla="*/ 1129890 h 1541722"/>
                    <a:gd name="connsiteX3065" fmla="*/ 1391112 w 4457589"/>
                    <a:gd name="connsiteY3065" fmla="*/ 1135951 h 1541722"/>
                    <a:gd name="connsiteX3066" fmla="*/ 1398840 w 4457589"/>
                    <a:gd name="connsiteY3066" fmla="*/ 1146709 h 1541722"/>
                    <a:gd name="connsiteX3067" fmla="*/ 1405506 w 4457589"/>
                    <a:gd name="connsiteY3067" fmla="*/ 1157163 h 1541722"/>
                    <a:gd name="connsiteX3068" fmla="*/ 1412931 w 4457589"/>
                    <a:gd name="connsiteY3068" fmla="*/ 1168527 h 1541722"/>
                    <a:gd name="connsiteX3069" fmla="*/ 1417174 w 4457589"/>
                    <a:gd name="connsiteY3069" fmla="*/ 1175043 h 1541722"/>
                    <a:gd name="connsiteX3070" fmla="*/ 1425962 w 4457589"/>
                    <a:gd name="connsiteY3070" fmla="*/ 1188680 h 1541722"/>
                    <a:gd name="connsiteX3071" fmla="*/ 1428235 w 4457589"/>
                    <a:gd name="connsiteY3071" fmla="*/ 1192922 h 1541722"/>
                    <a:gd name="connsiteX3072" fmla="*/ 1432780 w 4457589"/>
                    <a:gd name="connsiteY3072" fmla="*/ 1200801 h 1541722"/>
                    <a:gd name="connsiteX3073" fmla="*/ 1436720 w 4457589"/>
                    <a:gd name="connsiteY3073" fmla="*/ 1208074 h 1541722"/>
                    <a:gd name="connsiteX3074" fmla="*/ 1440054 w 4457589"/>
                    <a:gd name="connsiteY3074" fmla="*/ 1214590 h 1541722"/>
                    <a:gd name="connsiteX3075" fmla="*/ 1442326 w 4457589"/>
                    <a:gd name="connsiteY3075" fmla="*/ 1215196 h 1541722"/>
                    <a:gd name="connsiteX3076" fmla="*/ 1442478 w 4457589"/>
                    <a:gd name="connsiteY3076" fmla="*/ 1213529 h 1541722"/>
                    <a:gd name="connsiteX3077" fmla="*/ 1442781 w 4457589"/>
                    <a:gd name="connsiteY3077" fmla="*/ 1212317 h 1541722"/>
                    <a:gd name="connsiteX3078" fmla="*/ 1443993 w 4457589"/>
                    <a:gd name="connsiteY3078" fmla="*/ 1211711 h 1541722"/>
                    <a:gd name="connsiteX3079" fmla="*/ 1446569 w 4457589"/>
                    <a:gd name="connsiteY3079" fmla="*/ 1209741 h 1541722"/>
                    <a:gd name="connsiteX3080" fmla="*/ 1447932 w 4457589"/>
                    <a:gd name="connsiteY3080" fmla="*/ 1209287 h 1541722"/>
                    <a:gd name="connsiteX3081" fmla="*/ 1449902 w 4457589"/>
                    <a:gd name="connsiteY3081" fmla="*/ 1209438 h 1541722"/>
                    <a:gd name="connsiteX3082" fmla="*/ 1452023 w 4457589"/>
                    <a:gd name="connsiteY3082" fmla="*/ 1208529 h 1541722"/>
                    <a:gd name="connsiteX3083" fmla="*/ 1452932 w 4457589"/>
                    <a:gd name="connsiteY3083" fmla="*/ 1206559 h 1541722"/>
                    <a:gd name="connsiteX3084" fmla="*/ 1452327 w 4457589"/>
                    <a:gd name="connsiteY3084" fmla="*/ 1203226 h 1541722"/>
                    <a:gd name="connsiteX3085" fmla="*/ 1452023 w 4457589"/>
                    <a:gd name="connsiteY3085" fmla="*/ 1201559 h 1541722"/>
                    <a:gd name="connsiteX3086" fmla="*/ 1452781 w 4457589"/>
                    <a:gd name="connsiteY3086" fmla="*/ 1199892 h 1541722"/>
                    <a:gd name="connsiteX3087" fmla="*/ 1453993 w 4457589"/>
                    <a:gd name="connsiteY3087" fmla="*/ 1199286 h 1541722"/>
                    <a:gd name="connsiteX3088" fmla="*/ 1455509 w 4457589"/>
                    <a:gd name="connsiteY3088" fmla="*/ 1198680 h 1541722"/>
                    <a:gd name="connsiteX3089" fmla="*/ 1457024 w 4457589"/>
                    <a:gd name="connsiteY3089" fmla="*/ 1198377 h 1541722"/>
                    <a:gd name="connsiteX3090" fmla="*/ 1458236 w 4457589"/>
                    <a:gd name="connsiteY3090" fmla="*/ 1196559 h 1541722"/>
                    <a:gd name="connsiteX3091" fmla="*/ 1460660 w 4457589"/>
                    <a:gd name="connsiteY3091" fmla="*/ 1195953 h 1541722"/>
                    <a:gd name="connsiteX3092" fmla="*/ 1462782 w 4457589"/>
                    <a:gd name="connsiteY3092" fmla="*/ 1196256 h 1541722"/>
                    <a:gd name="connsiteX3093" fmla="*/ 1464448 w 4457589"/>
                    <a:gd name="connsiteY3093" fmla="*/ 1196407 h 1541722"/>
                    <a:gd name="connsiteX3094" fmla="*/ 1466115 w 4457589"/>
                    <a:gd name="connsiteY3094" fmla="*/ 1197771 h 1541722"/>
                    <a:gd name="connsiteX3095" fmla="*/ 1466873 w 4457589"/>
                    <a:gd name="connsiteY3095" fmla="*/ 1199741 h 1541722"/>
                    <a:gd name="connsiteX3096" fmla="*/ 1468539 w 4457589"/>
                    <a:gd name="connsiteY3096" fmla="*/ 1199892 h 1541722"/>
                    <a:gd name="connsiteX3097" fmla="*/ 1471267 w 4457589"/>
                    <a:gd name="connsiteY3097" fmla="*/ 1199589 h 1541722"/>
                    <a:gd name="connsiteX3098" fmla="*/ 1471721 w 4457589"/>
                    <a:gd name="connsiteY3098" fmla="*/ 1201256 h 1541722"/>
                    <a:gd name="connsiteX3099" fmla="*/ 1470963 w 4457589"/>
                    <a:gd name="connsiteY3099" fmla="*/ 1203983 h 1541722"/>
                    <a:gd name="connsiteX3100" fmla="*/ 1469903 w 4457589"/>
                    <a:gd name="connsiteY3100" fmla="*/ 1205953 h 1541722"/>
                    <a:gd name="connsiteX3101" fmla="*/ 1469752 w 4457589"/>
                    <a:gd name="connsiteY3101" fmla="*/ 1207620 h 1541722"/>
                    <a:gd name="connsiteX3102" fmla="*/ 1471267 w 4457589"/>
                    <a:gd name="connsiteY3102" fmla="*/ 1208529 h 1541722"/>
                    <a:gd name="connsiteX3103" fmla="*/ 1476570 w 4457589"/>
                    <a:gd name="connsiteY3103" fmla="*/ 1207771 h 1541722"/>
                    <a:gd name="connsiteX3104" fmla="*/ 1478540 w 4457589"/>
                    <a:gd name="connsiteY3104" fmla="*/ 1208074 h 1541722"/>
                    <a:gd name="connsiteX3105" fmla="*/ 1479146 w 4457589"/>
                    <a:gd name="connsiteY3105" fmla="*/ 1209741 h 1541722"/>
                    <a:gd name="connsiteX3106" fmla="*/ 1479752 w 4457589"/>
                    <a:gd name="connsiteY3106" fmla="*/ 1211256 h 1541722"/>
                    <a:gd name="connsiteX3107" fmla="*/ 1480206 w 4457589"/>
                    <a:gd name="connsiteY3107" fmla="*/ 1212923 h 1541722"/>
                    <a:gd name="connsiteX3108" fmla="*/ 1479600 w 4457589"/>
                    <a:gd name="connsiteY3108" fmla="*/ 1214741 h 1541722"/>
                    <a:gd name="connsiteX3109" fmla="*/ 1480661 w 4457589"/>
                    <a:gd name="connsiteY3109" fmla="*/ 1215954 h 1541722"/>
                    <a:gd name="connsiteX3110" fmla="*/ 1485206 w 4457589"/>
                    <a:gd name="connsiteY3110" fmla="*/ 1215954 h 1541722"/>
                    <a:gd name="connsiteX3111" fmla="*/ 1488388 w 4457589"/>
                    <a:gd name="connsiteY3111" fmla="*/ 1215044 h 1541722"/>
                    <a:gd name="connsiteX3112" fmla="*/ 1493389 w 4457589"/>
                    <a:gd name="connsiteY3112" fmla="*/ 1214893 h 1541722"/>
                    <a:gd name="connsiteX3113" fmla="*/ 1497934 w 4457589"/>
                    <a:gd name="connsiteY3113" fmla="*/ 1217014 h 1541722"/>
                    <a:gd name="connsiteX3114" fmla="*/ 1500965 w 4457589"/>
                    <a:gd name="connsiteY3114" fmla="*/ 1216711 h 1541722"/>
                    <a:gd name="connsiteX3115" fmla="*/ 1504147 w 4457589"/>
                    <a:gd name="connsiteY3115" fmla="*/ 1215802 h 1541722"/>
                    <a:gd name="connsiteX3116" fmla="*/ 1508692 w 4457589"/>
                    <a:gd name="connsiteY3116" fmla="*/ 1216408 h 1541722"/>
                    <a:gd name="connsiteX3117" fmla="*/ 1511874 w 4457589"/>
                    <a:gd name="connsiteY3117" fmla="*/ 1214741 h 1541722"/>
                    <a:gd name="connsiteX3118" fmla="*/ 1514147 w 4457589"/>
                    <a:gd name="connsiteY3118" fmla="*/ 1212772 h 1541722"/>
                    <a:gd name="connsiteX3119" fmla="*/ 1514904 w 4457589"/>
                    <a:gd name="connsiteY3119" fmla="*/ 1211256 h 1541722"/>
                    <a:gd name="connsiteX3120" fmla="*/ 1515965 w 4457589"/>
                    <a:gd name="connsiteY3120" fmla="*/ 1210347 h 1541722"/>
                    <a:gd name="connsiteX3121" fmla="*/ 1520359 w 4457589"/>
                    <a:gd name="connsiteY3121" fmla="*/ 1210347 h 1541722"/>
                    <a:gd name="connsiteX3122" fmla="*/ 1523087 w 4457589"/>
                    <a:gd name="connsiteY3122" fmla="*/ 1210196 h 1541722"/>
                    <a:gd name="connsiteX3123" fmla="*/ 1525057 w 4457589"/>
                    <a:gd name="connsiteY3123" fmla="*/ 1207923 h 1541722"/>
                    <a:gd name="connsiteX3124" fmla="*/ 1527026 w 4457589"/>
                    <a:gd name="connsiteY3124" fmla="*/ 1206862 h 1541722"/>
                    <a:gd name="connsiteX3125" fmla="*/ 1530056 w 4457589"/>
                    <a:gd name="connsiteY3125" fmla="*/ 1206711 h 1541722"/>
                    <a:gd name="connsiteX3126" fmla="*/ 1532330 w 4457589"/>
                    <a:gd name="connsiteY3126" fmla="*/ 1206711 h 1541722"/>
                    <a:gd name="connsiteX3127" fmla="*/ 1538542 w 4457589"/>
                    <a:gd name="connsiteY3127" fmla="*/ 1208832 h 1541722"/>
                    <a:gd name="connsiteX3128" fmla="*/ 1542178 w 4457589"/>
                    <a:gd name="connsiteY3128" fmla="*/ 1210650 h 1541722"/>
                    <a:gd name="connsiteX3129" fmla="*/ 1546118 w 4457589"/>
                    <a:gd name="connsiteY3129" fmla="*/ 1213075 h 1541722"/>
                    <a:gd name="connsiteX3130" fmla="*/ 1548391 w 4457589"/>
                    <a:gd name="connsiteY3130" fmla="*/ 1214590 h 1541722"/>
                    <a:gd name="connsiteX3131" fmla="*/ 1550057 w 4457589"/>
                    <a:gd name="connsiteY3131" fmla="*/ 1218226 h 1541722"/>
                    <a:gd name="connsiteX3132" fmla="*/ 1552633 w 4457589"/>
                    <a:gd name="connsiteY3132" fmla="*/ 1220802 h 1541722"/>
                    <a:gd name="connsiteX3133" fmla="*/ 1554754 w 4457589"/>
                    <a:gd name="connsiteY3133" fmla="*/ 1223833 h 1541722"/>
                    <a:gd name="connsiteX3134" fmla="*/ 1555209 w 4457589"/>
                    <a:gd name="connsiteY3134" fmla="*/ 1226711 h 1541722"/>
                    <a:gd name="connsiteX3135" fmla="*/ 1557027 w 4457589"/>
                    <a:gd name="connsiteY3135" fmla="*/ 1232166 h 1541722"/>
                    <a:gd name="connsiteX3136" fmla="*/ 1558846 w 4457589"/>
                    <a:gd name="connsiteY3136" fmla="*/ 1233833 h 1541722"/>
                    <a:gd name="connsiteX3137" fmla="*/ 1560967 w 4457589"/>
                    <a:gd name="connsiteY3137" fmla="*/ 1233833 h 1541722"/>
                    <a:gd name="connsiteX3138" fmla="*/ 1563543 w 4457589"/>
                    <a:gd name="connsiteY3138" fmla="*/ 1234591 h 1541722"/>
                    <a:gd name="connsiteX3139" fmla="*/ 1566573 w 4457589"/>
                    <a:gd name="connsiteY3139" fmla="*/ 1235197 h 1541722"/>
                    <a:gd name="connsiteX3140" fmla="*/ 1572937 w 4457589"/>
                    <a:gd name="connsiteY3140" fmla="*/ 1239136 h 1541722"/>
                    <a:gd name="connsiteX3141" fmla="*/ 1575210 w 4457589"/>
                    <a:gd name="connsiteY3141" fmla="*/ 1239288 h 1541722"/>
                    <a:gd name="connsiteX3142" fmla="*/ 1577028 w 4457589"/>
                    <a:gd name="connsiteY3142" fmla="*/ 1240197 h 1541722"/>
                    <a:gd name="connsiteX3143" fmla="*/ 1577331 w 4457589"/>
                    <a:gd name="connsiteY3143" fmla="*/ 1242015 h 1541722"/>
                    <a:gd name="connsiteX3144" fmla="*/ 1576573 w 4457589"/>
                    <a:gd name="connsiteY3144" fmla="*/ 1244136 h 1541722"/>
                    <a:gd name="connsiteX3145" fmla="*/ 1577331 w 4457589"/>
                    <a:gd name="connsiteY3145" fmla="*/ 1246258 h 1541722"/>
                    <a:gd name="connsiteX3146" fmla="*/ 1579452 w 4457589"/>
                    <a:gd name="connsiteY3146" fmla="*/ 1248833 h 1541722"/>
                    <a:gd name="connsiteX3147" fmla="*/ 1580968 w 4457589"/>
                    <a:gd name="connsiteY3147" fmla="*/ 1251258 h 1541722"/>
                    <a:gd name="connsiteX3148" fmla="*/ 1583089 w 4457589"/>
                    <a:gd name="connsiteY3148" fmla="*/ 1254288 h 1541722"/>
                    <a:gd name="connsiteX3149" fmla="*/ 1583695 w 4457589"/>
                    <a:gd name="connsiteY3149" fmla="*/ 1256107 h 1541722"/>
                    <a:gd name="connsiteX3150" fmla="*/ 1585210 w 4457589"/>
                    <a:gd name="connsiteY3150" fmla="*/ 1256713 h 1541722"/>
                    <a:gd name="connsiteX3151" fmla="*/ 1587483 w 4457589"/>
                    <a:gd name="connsiteY3151" fmla="*/ 1255803 h 1541722"/>
                    <a:gd name="connsiteX3152" fmla="*/ 1590968 w 4457589"/>
                    <a:gd name="connsiteY3152" fmla="*/ 1256410 h 1541722"/>
                    <a:gd name="connsiteX3153" fmla="*/ 1601423 w 4457589"/>
                    <a:gd name="connsiteY3153" fmla="*/ 1258228 h 1541722"/>
                    <a:gd name="connsiteX3154" fmla="*/ 1602787 w 4457589"/>
                    <a:gd name="connsiteY3154" fmla="*/ 1258379 h 1541722"/>
                    <a:gd name="connsiteX3155" fmla="*/ 1603999 w 4457589"/>
                    <a:gd name="connsiteY3155" fmla="*/ 1260198 h 1541722"/>
                    <a:gd name="connsiteX3156" fmla="*/ 1605514 w 4457589"/>
                    <a:gd name="connsiteY3156" fmla="*/ 1260046 h 1541722"/>
                    <a:gd name="connsiteX3157" fmla="*/ 1607181 w 4457589"/>
                    <a:gd name="connsiteY3157" fmla="*/ 1260046 h 1541722"/>
                    <a:gd name="connsiteX3158" fmla="*/ 1609605 w 4457589"/>
                    <a:gd name="connsiteY3158" fmla="*/ 1260198 h 1541722"/>
                    <a:gd name="connsiteX3159" fmla="*/ 1611272 w 4457589"/>
                    <a:gd name="connsiteY3159" fmla="*/ 1258531 h 1541722"/>
                    <a:gd name="connsiteX3160" fmla="*/ 1612635 w 4457589"/>
                    <a:gd name="connsiteY3160" fmla="*/ 1257167 h 1541722"/>
                    <a:gd name="connsiteX3161" fmla="*/ 1616121 w 4457589"/>
                    <a:gd name="connsiteY3161" fmla="*/ 1255349 h 1541722"/>
                    <a:gd name="connsiteX3162" fmla="*/ 1619000 w 4457589"/>
                    <a:gd name="connsiteY3162" fmla="*/ 1252773 h 1541722"/>
                    <a:gd name="connsiteX3163" fmla="*/ 1621272 w 4457589"/>
                    <a:gd name="connsiteY3163" fmla="*/ 1250652 h 1541722"/>
                    <a:gd name="connsiteX3164" fmla="*/ 1623090 w 4457589"/>
                    <a:gd name="connsiteY3164" fmla="*/ 1250349 h 1541722"/>
                    <a:gd name="connsiteX3165" fmla="*/ 1624606 w 4457589"/>
                    <a:gd name="connsiteY3165" fmla="*/ 1251409 h 1541722"/>
                    <a:gd name="connsiteX3166" fmla="*/ 1624606 w 4457589"/>
                    <a:gd name="connsiteY3166" fmla="*/ 1253228 h 1541722"/>
                    <a:gd name="connsiteX3167" fmla="*/ 1622788 w 4457589"/>
                    <a:gd name="connsiteY3167" fmla="*/ 1254591 h 1541722"/>
                    <a:gd name="connsiteX3168" fmla="*/ 1621423 w 4457589"/>
                    <a:gd name="connsiteY3168" fmla="*/ 1256258 h 1541722"/>
                    <a:gd name="connsiteX3169" fmla="*/ 1621727 w 4457589"/>
                    <a:gd name="connsiteY3169" fmla="*/ 1257925 h 1541722"/>
                    <a:gd name="connsiteX3170" fmla="*/ 1624151 w 4457589"/>
                    <a:gd name="connsiteY3170" fmla="*/ 1258076 h 1541722"/>
                    <a:gd name="connsiteX3171" fmla="*/ 1626878 w 4457589"/>
                    <a:gd name="connsiteY3171" fmla="*/ 1260652 h 1541722"/>
                    <a:gd name="connsiteX3172" fmla="*/ 1630667 w 4457589"/>
                    <a:gd name="connsiteY3172" fmla="*/ 1266561 h 1541722"/>
                    <a:gd name="connsiteX3173" fmla="*/ 1632030 w 4457589"/>
                    <a:gd name="connsiteY3173" fmla="*/ 1267774 h 1541722"/>
                    <a:gd name="connsiteX3174" fmla="*/ 1634000 w 4457589"/>
                    <a:gd name="connsiteY3174" fmla="*/ 1268834 h 1541722"/>
                    <a:gd name="connsiteX3175" fmla="*/ 1636121 w 4457589"/>
                    <a:gd name="connsiteY3175" fmla="*/ 1269440 h 1541722"/>
                    <a:gd name="connsiteX3176" fmla="*/ 1638394 w 4457589"/>
                    <a:gd name="connsiteY3176" fmla="*/ 1270198 h 1541722"/>
                    <a:gd name="connsiteX3177" fmla="*/ 1640212 w 4457589"/>
                    <a:gd name="connsiteY3177" fmla="*/ 1272622 h 1541722"/>
                    <a:gd name="connsiteX3178" fmla="*/ 1640819 w 4457589"/>
                    <a:gd name="connsiteY3178" fmla="*/ 1274895 h 1541722"/>
                    <a:gd name="connsiteX3179" fmla="*/ 1643394 w 4457589"/>
                    <a:gd name="connsiteY3179" fmla="*/ 1275198 h 1541722"/>
                    <a:gd name="connsiteX3180" fmla="*/ 1645061 w 4457589"/>
                    <a:gd name="connsiteY3180" fmla="*/ 1274592 h 1541722"/>
                    <a:gd name="connsiteX3181" fmla="*/ 1646121 w 4457589"/>
                    <a:gd name="connsiteY3181" fmla="*/ 1273531 h 1541722"/>
                    <a:gd name="connsiteX3182" fmla="*/ 1647788 w 4457589"/>
                    <a:gd name="connsiteY3182" fmla="*/ 1273228 h 1541722"/>
                    <a:gd name="connsiteX3183" fmla="*/ 1650364 w 4457589"/>
                    <a:gd name="connsiteY3183" fmla="*/ 1272774 h 1541722"/>
                    <a:gd name="connsiteX3184" fmla="*/ 1652940 w 4457589"/>
                    <a:gd name="connsiteY3184" fmla="*/ 1272016 h 1541722"/>
                    <a:gd name="connsiteX3185" fmla="*/ 1654304 w 4457589"/>
                    <a:gd name="connsiteY3185" fmla="*/ 1272168 h 1541722"/>
                    <a:gd name="connsiteX3186" fmla="*/ 1654455 w 4457589"/>
                    <a:gd name="connsiteY3186" fmla="*/ 1272168 h 1541722"/>
                    <a:gd name="connsiteX3187" fmla="*/ 1657637 w 4457589"/>
                    <a:gd name="connsiteY3187" fmla="*/ 1272016 h 1541722"/>
                    <a:gd name="connsiteX3188" fmla="*/ 1659001 w 4457589"/>
                    <a:gd name="connsiteY3188" fmla="*/ 1271259 h 1541722"/>
                    <a:gd name="connsiteX3189" fmla="*/ 1660213 w 4457589"/>
                    <a:gd name="connsiteY3189" fmla="*/ 1270198 h 1541722"/>
                    <a:gd name="connsiteX3190" fmla="*/ 1662486 w 4457589"/>
                    <a:gd name="connsiteY3190" fmla="*/ 1268834 h 1541722"/>
                    <a:gd name="connsiteX3191" fmla="*/ 1663092 w 4457589"/>
                    <a:gd name="connsiteY3191" fmla="*/ 1267319 h 1541722"/>
                    <a:gd name="connsiteX3192" fmla="*/ 1663092 w 4457589"/>
                    <a:gd name="connsiteY3192" fmla="*/ 1264440 h 1541722"/>
                    <a:gd name="connsiteX3193" fmla="*/ 1664607 w 4457589"/>
                    <a:gd name="connsiteY3193" fmla="*/ 1261864 h 1541722"/>
                    <a:gd name="connsiteX3194" fmla="*/ 1668547 w 4457589"/>
                    <a:gd name="connsiteY3194" fmla="*/ 1261258 h 1541722"/>
                    <a:gd name="connsiteX3195" fmla="*/ 1670062 w 4457589"/>
                    <a:gd name="connsiteY3195" fmla="*/ 1260804 h 1541722"/>
                    <a:gd name="connsiteX3196" fmla="*/ 1671729 w 4457589"/>
                    <a:gd name="connsiteY3196" fmla="*/ 1261107 h 1541722"/>
                    <a:gd name="connsiteX3197" fmla="*/ 1674305 w 4457589"/>
                    <a:gd name="connsiteY3197" fmla="*/ 1260804 h 1541722"/>
                    <a:gd name="connsiteX3198" fmla="*/ 1676729 w 4457589"/>
                    <a:gd name="connsiteY3198" fmla="*/ 1260652 h 1541722"/>
                    <a:gd name="connsiteX3199" fmla="*/ 1678093 w 4457589"/>
                    <a:gd name="connsiteY3199" fmla="*/ 1261410 h 1541722"/>
                    <a:gd name="connsiteX3200" fmla="*/ 1679911 w 4457589"/>
                    <a:gd name="connsiteY3200" fmla="*/ 1262167 h 1541722"/>
                    <a:gd name="connsiteX3201" fmla="*/ 1682183 w 4457589"/>
                    <a:gd name="connsiteY3201" fmla="*/ 1262016 h 1541722"/>
                    <a:gd name="connsiteX3202" fmla="*/ 1682941 w 4457589"/>
                    <a:gd name="connsiteY3202" fmla="*/ 1260804 h 1541722"/>
                    <a:gd name="connsiteX3203" fmla="*/ 1682941 w 4457589"/>
                    <a:gd name="connsiteY3203" fmla="*/ 1259288 h 1541722"/>
                    <a:gd name="connsiteX3204" fmla="*/ 1684002 w 4457589"/>
                    <a:gd name="connsiteY3204" fmla="*/ 1258834 h 1541722"/>
                    <a:gd name="connsiteX3205" fmla="*/ 1685214 w 4457589"/>
                    <a:gd name="connsiteY3205" fmla="*/ 1259895 h 1541722"/>
                    <a:gd name="connsiteX3206" fmla="*/ 1685971 w 4457589"/>
                    <a:gd name="connsiteY3206" fmla="*/ 1260804 h 1541722"/>
                    <a:gd name="connsiteX3207" fmla="*/ 1687032 w 4457589"/>
                    <a:gd name="connsiteY3207" fmla="*/ 1261107 h 1541722"/>
                    <a:gd name="connsiteX3208" fmla="*/ 1689760 w 4457589"/>
                    <a:gd name="connsiteY3208" fmla="*/ 1260198 h 1541722"/>
                    <a:gd name="connsiteX3209" fmla="*/ 1691729 w 4457589"/>
                    <a:gd name="connsiteY3209" fmla="*/ 1259137 h 1541722"/>
                    <a:gd name="connsiteX3210" fmla="*/ 1692336 w 4457589"/>
                    <a:gd name="connsiteY3210" fmla="*/ 1256864 h 1541722"/>
                    <a:gd name="connsiteX3211" fmla="*/ 1693396 w 4457589"/>
                    <a:gd name="connsiteY3211" fmla="*/ 1255652 h 1541722"/>
                    <a:gd name="connsiteX3212" fmla="*/ 1694911 w 4457589"/>
                    <a:gd name="connsiteY3212" fmla="*/ 1256258 h 1541722"/>
                    <a:gd name="connsiteX3213" fmla="*/ 1697487 w 4457589"/>
                    <a:gd name="connsiteY3213" fmla="*/ 1256258 h 1541722"/>
                    <a:gd name="connsiteX3214" fmla="*/ 1699760 w 4457589"/>
                    <a:gd name="connsiteY3214" fmla="*/ 1254440 h 1541722"/>
                    <a:gd name="connsiteX3215" fmla="*/ 1702639 w 4457589"/>
                    <a:gd name="connsiteY3215" fmla="*/ 1253076 h 1541722"/>
                    <a:gd name="connsiteX3216" fmla="*/ 1704609 w 4457589"/>
                    <a:gd name="connsiteY3216" fmla="*/ 1252470 h 1541722"/>
                    <a:gd name="connsiteX3217" fmla="*/ 1705063 w 4457589"/>
                    <a:gd name="connsiteY3217" fmla="*/ 1251258 h 1541722"/>
                    <a:gd name="connsiteX3218" fmla="*/ 1704154 w 4457589"/>
                    <a:gd name="connsiteY3218" fmla="*/ 1248682 h 1541722"/>
                    <a:gd name="connsiteX3219" fmla="*/ 1704305 w 4457589"/>
                    <a:gd name="connsiteY3219" fmla="*/ 1245955 h 1541722"/>
                    <a:gd name="connsiteX3220" fmla="*/ 1707033 w 4457589"/>
                    <a:gd name="connsiteY3220" fmla="*/ 1244288 h 1541722"/>
                    <a:gd name="connsiteX3221" fmla="*/ 1710821 w 4457589"/>
                    <a:gd name="connsiteY3221" fmla="*/ 1244136 h 1541722"/>
                    <a:gd name="connsiteX3222" fmla="*/ 1713548 w 4457589"/>
                    <a:gd name="connsiteY3222" fmla="*/ 1242924 h 1541722"/>
                    <a:gd name="connsiteX3223" fmla="*/ 1714306 w 4457589"/>
                    <a:gd name="connsiteY3223" fmla="*/ 1239894 h 1541722"/>
                    <a:gd name="connsiteX3224" fmla="*/ 1715518 w 4457589"/>
                    <a:gd name="connsiteY3224" fmla="*/ 1239136 h 1541722"/>
                    <a:gd name="connsiteX3225" fmla="*/ 1716882 w 4457589"/>
                    <a:gd name="connsiteY3225" fmla="*/ 1238682 h 1541722"/>
                    <a:gd name="connsiteX3226" fmla="*/ 1720215 w 4457589"/>
                    <a:gd name="connsiteY3226" fmla="*/ 1238227 h 1541722"/>
                    <a:gd name="connsiteX3227" fmla="*/ 1722640 w 4457589"/>
                    <a:gd name="connsiteY3227" fmla="*/ 1237015 h 1541722"/>
                    <a:gd name="connsiteX3228" fmla="*/ 1724003 w 4457589"/>
                    <a:gd name="connsiteY3228" fmla="*/ 1236409 h 1541722"/>
                    <a:gd name="connsiteX3229" fmla="*/ 1728246 w 4457589"/>
                    <a:gd name="connsiteY3229" fmla="*/ 1234742 h 1541722"/>
                    <a:gd name="connsiteX3230" fmla="*/ 1732034 w 4457589"/>
                    <a:gd name="connsiteY3230" fmla="*/ 1234439 h 1541722"/>
                    <a:gd name="connsiteX3231" fmla="*/ 1733700 w 4457589"/>
                    <a:gd name="connsiteY3231" fmla="*/ 1233227 h 1541722"/>
                    <a:gd name="connsiteX3232" fmla="*/ 1734913 w 4457589"/>
                    <a:gd name="connsiteY3232" fmla="*/ 1231560 h 1541722"/>
                    <a:gd name="connsiteX3233" fmla="*/ 1737034 w 4457589"/>
                    <a:gd name="connsiteY3233" fmla="*/ 1230802 h 1541722"/>
                    <a:gd name="connsiteX3234" fmla="*/ 1739155 w 4457589"/>
                    <a:gd name="connsiteY3234" fmla="*/ 1229439 h 1541722"/>
                    <a:gd name="connsiteX3235" fmla="*/ 1742034 w 4457589"/>
                    <a:gd name="connsiteY3235" fmla="*/ 1227621 h 1541722"/>
                    <a:gd name="connsiteX3236" fmla="*/ 1743246 w 4457589"/>
                    <a:gd name="connsiteY3236" fmla="*/ 1227318 h 1541722"/>
                    <a:gd name="connsiteX3237" fmla="*/ 1747792 w 4457589"/>
                    <a:gd name="connsiteY3237" fmla="*/ 1226257 h 1541722"/>
                    <a:gd name="connsiteX3238" fmla="*/ 1749610 w 4457589"/>
                    <a:gd name="connsiteY3238" fmla="*/ 1225802 h 1541722"/>
                    <a:gd name="connsiteX3239" fmla="*/ 1750822 w 4457589"/>
                    <a:gd name="connsiteY3239" fmla="*/ 1225651 h 1541722"/>
                    <a:gd name="connsiteX3240" fmla="*/ 1752792 w 4457589"/>
                    <a:gd name="connsiteY3240" fmla="*/ 1225651 h 1541722"/>
                    <a:gd name="connsiteX3241" fmla="*/ 1753701 w 4457589"/>
                    <a:gd name="connsiteY3241" fmla="*/ 1223681 h 1541722"/>
                    <a:gd name="connsiteX3242" fmla="*/ 1755671 w 4457589"/>
                    <a:gd name="connsiteY3242" fmla="*/ 1222317 h 1541722"/>
                    <a:gd name="connsiteX3243" fmla="*/ 1757792 w 4457589"/>
                    <a:gd name="connsiteY3243" fmla="*/ 1221863 h 1541722"/>
                    <a:gd name="connsiteX3244" fmla="*/ 1758853 w 4457589"/>
                    <a:gd name="connsiteY3244" fmla="*/ 1220348 h 1541722"/>
                    <a:gd name="connsiteX3245" fmla="*/ 1760823 w 4457589"/>
                    <a:gd name="connsiteY3245" fmla="*/ 1218529 h 1541722"/>
                    <a:gd name="connsiteX3246" fmla="*/ 1763399 w 4457589"/>
                    <a:gd name="connsiteY3246" fmla="*/ 1217620 h 1541722"/>
                    <a:gd name="connsiteX3247" fmla="*/ 1767641 w 4457589"/>
                    <a:gd name="connsiteY3247" fmla="*/ 1217469 h 1541722"/>
                    <a:gd name="connsiteX3248" fmla="*/ 1771732 w 4457589"/>
                    <a:gd name="connsiteY3248" fmla="*/ 1217620 h 1541722"/>
                    <a:gd name="connsiteX3249" fmla="*/ 1774005 w 4457589"/>
                    <a:gd name="connsiteY3249" fmla="*/ 1217317 h 1541722"/>
                    <a:gd name="connsiteX3250" fmla="*/ 1776127 w 4457589"/>
                    <a:gd name="connsiteY3250" fmla="*/ 1214590 h 1541722"/>
                    <a:gd name="connsiteX3251" fmla="*/ 1776429 w 4457589"/>
                    <a:gd name="connsiteY3251" fmla="*/ 1213378 h 1541722"/>
                    <a:gd name="connsiteX3252" fmla="*/ 1776884 w 4457589"/>
                    <a:gd name="connsiteY3252" fmla="*/ 1212014 h 1541722"/>
                    <a:gd name="connsiteX3253" fmla="*/ 1778551 w 4457589"/>
                    <a:gd name="connsiteY3253" fmla="*/ 1211408 h 1541722"/>
                    <a:gd name="connsiteX3254" fmla="*/ 1780520 w 4457589"/>
                    <a:gd name="connsiteY3254" fmla="*/ 1213681 h 1541722"/>
                    <a:gd name="connsiteX3255" fmla="*/ 1782187 w 4457589"/>
                    <a:gd name="connsiteY3255" fmla="*/ 1215044 h 1541722"/>
                    <a:gd name="connsiteX3256" fmla="*/ 1784612 w 4457589"/>
                    <a:gd name="connsiteY3256" fmla="*/ 1216408 h 1541722"/>
                    <a:gd name="connsiteX3257" fmla="*/ 1785975 w 4457589"/>
                    <a:gd name="connsiteY3257" fmla="*/ 1217772 h 1541722"/>
                    <a:gd name="connsiteX3258" fmla="*/ 1787491 w 4457589"/>
                    <a:gd name="connsiteY3258" fmla="*/ 1217923 h 1541722"/>
                    <a:gd name="connsiteX3259" fmla="*/ 1789006 w 4457589"/>
                    <a:gd name="connsiteY3259" fmla="*/ 1217014 h 1541722"/>
                    <a:gd name="connsiteX3260" fmla="*/ 1790066 w 4457589"/>
                    <a:gd name="connsiteY3260" fmla="*/ 1214438 h 1541722"/>
                    <a:gd name="connsiteX3261" fmla="*/ 1792188 w 4457589"/>
                    <a:gd name="connsiteY3261" fmla="*/ 1214135 h 1541722"/>
                    <a:gd name="connsiteX3262" fmla="*/ 1794612 w 4457589"/>
                    <a:gd name="connsiteY3262" fmla="*/ 1214590 h 1541722"/>
                    <a:gd name="connsiteX3263" fmla="*/ 1795218 w 4457589"/>
                    <a:gd name="connsiteY3263" fmla="*/ 1215802 h 1541722"/>
                    <a:gd name="connsiteX3264" fmla="*/ 1795370 w 4457589"/>
                    <a:gd name="connsiteY3264" fmla="*/ 1216863 h 1541722"/>
                    <a:gd name="connsiteX3265" fmla="*/ 1796430 w 4457589"/>
                    <a:gd name="connsiteY3265" fmla="*/ 1218984 h 1541722"/>
                    <a:gd name="connsiteX3266" fmla="*/ 1799006 w 4457589"/>
                    <a:gd name="connsiteY3266" fmla="*/ 1220802 h 1541722"/>
                    <a:gd name="connsiteX3267" fmla="*/ 1802339 w 4457589"/>
                    <a:gd name="connsiteY3267" fmla="*/ 1220651 h 1541722"/>
                    <a:gd name="connsiteX3268" fmla="*/ 1803552 w 4457589"/>
                    <a:gd name="connsiteY3268" fmla="*/ 1220348 h 1541722"/>
                    <a:gd name="connsiteX3269" fmla="*/ 1806734 w 4457589"/>
                    <a:gd name="connsiteY3269" fmla="*/ 1220651 h 1541722"/>
                    <a:gd name="connsiteX3270" fmla="*/ 1809915 w 4457589"/>
                    <a:gd name="connsiteY3270" fmla="*/ 1221105 h 1541722"/>
                    <a:gd name="connsiteX3271" fmla="*/ 1813249 w 4457589"/>
                    <a:gd name="connsiteY3271" fmla="*/ 1221408 h 1541722"/>
                    <a:gd name="connsiteX3272" fmla="*/ 1814310 w 4457589"/>
                    <a:gd name="connsiteY3272" fmla="*/ 1221560 h 1541722"/>
                    <a:gd name="connsiteX3273" fmla="*/ 1817946 w 4457589"/>
                    <a:gd name="connsiteY3273" fmla="*/ 1221711 h 1541722"/>
                    <a:gd name="connsiteX3274" fmla="*/ 1823249 w 4457589"/>
                    <a:gd name="connsiteY3274" fmla="*/ 1222014 h 1541722"/>
                    <a:gd name="connsiteX3275" fmla="*/ 1825674 w 4457589"/>
                    <a:gd name="connsiteY3275" fmla="*/ 1221863 h 1541722"/>
                    <a:gd name="connsiteX3276" fmla="*/ 1830371 w 4457589"/>
                    <a:gd name="connsiteY3276" fmla="*/ 1222469 h 1541722"/>
                    <a:gd name="connsiteX3277" fmla="*/ 1831432 w 4457589"/>
                    <a:gd name="connsiteY3277" fmla="*/ 1224136 h 1541722"/>
                    <a:gd name="connsiteX3278" fmla="*/ 1832341 w 4457589"/>
                    <a:gd name="connsiteY3278" fmla="*/ 1227924 h 1541722"/>
                    <a:gd name="connsiteX3279" fmla="*/ 1833098 w 4457589"/>
                    <a:gd name="connsiteY3279" fmla="*/ 1231560 h 1541722"/>
                    <a:gd name="connsiteX3280" fmla="*/ 1833250 w 4457589"/>
                    <a:gd name="connsiteY3280" fmla="*/ 1234439 h 1541722"/>
                    <a:gd name="connsiteX3281" fmla="*/ 1834462 w 4457589"/>
                    <a:gd name="connsiteY3281" fmla="*/ 1235954 h 1541722"/>
                    <a:gd name="connsiteX3282" fmla="*/ 1836129 w 4457589"/>
                    <a:gd name="connsiteY3282" fmla="*/ 1236560 h 1541722"/>
                    <a:gd name="connsiteX3283" fmla="*/ 1837189 w 4457589"/>
                    <a:gd name="connsiteY3283" fmla="*/ 1237621 h 1541722"/>
                    <a:gd name="connsiteX3284" fmla="*/ 1839008 w 4457589"/>
                    <a:gd name="connsiteY3284" fmla="*/ 1239288 h 1541722"/>
                    <a:gd name="connsiteX3285" fmla="*/ 1840371 w 4457589"/>
                    <a:gd name="connsiteY3285" fmla="*/ 1241560 h 1541722"/>
                    <a:gd name="connsiteX3286" fmla="*/ 1842038 w 4457589"/>
                    <a:gd name="connsiteY3286" fmla="*/ 1241409 h 1541722"/>
                    <a:gd name="connsiteX3287" fmla="*/ 1843250 w 4457589"/>
                    <a:gd name="connsiteY3287" fmla="*/ 1240954 h 1541722"/>
                    <a:gd name="connsiteX3288" fmla="*/ 1845675 w 4457589"/>
                    <a:gd name="connsiteY3288" fmla="*/ 1240651 h 1541722"/>
                    <a:gd name="connsiteX3289" fmla="*/ 1849008 w 4457589"/>
                    <a:gd name="connsiteY3289" fmla="*/ 1240803 h 1541722"/>
                    <a:gd name="connsiteX3290" fmla="*/ 1851281 w 4457589"/>
                    <a:gd name="connsiteY3290" fmla="*/ 1242167 h 1541722"/>
                    <a:gd name="connsiteX3291" fmla="*/ 1852038 w 4457589"/>
                    <a:gd name="connsiteY3291" fmla="*/ 1243833 h 1541722"/>
                    <a:gd name="connsiteX3292" fmla="*/ 1854008 w 4457589"/>
                    <a:gd name="connsiteY3292" fmla="*/ 1244742 h 1541722"/>
                    <a:gd name="connsiteX3293" fmla="*/ 1855372 w 4457589"/>
                    <a:gd name="connsiteY3293" fmla="*/ 1244439 h 1541722"/>
                    <a:gd name="connsiteX3294" fmla="*/ 1859918 w 4457589"/>
                    <a:gd name="connsiteY3294" fmla="*/ 1244439 h 1541722"/>
                    <a:gd name="connsiteX3295" fmla="*/ 1861433 w 4457589"/>
                    <a:gd name="connsiteY3295" fmla="*/ 1244591 h 1541722"/>
                    <a:gd name="connsiteX3296" fmla="*/ 1862948 w 4457589"/>
                    <a:gd name="connsiteY3296" fmla="*/ 1245500 h 1541722"/>
                    <a:gd name="connsiteX3297" fmla="*/ 1865221 w 4457589"/>
                    <a:gd name="connsiteY3297" fmla="*/ 1245652 h 1541722"/>
                    <a:gd name="connsiteX3298" fmla="*/ 1866433 w 4457589"/>
                    <a:gd name="connsiteY3298" fmla="*/ 1244439 h 1541722"/>
                    <a:gd name="connsiteX3299" fmla="*/ 1870221 w 4457589"/>
                    <a:gd name="connsiteY3299" fmla="*/ 1243682 h 1541722"/>
                    <a:gd name="connsiteX3300" fmla="*/ 1872494 w 4457589"/>
                    <a:gd name="connsiteY3300" fmla="*/ 1242015 h 1541722"/>
                    <a:gd name="connsiteX3301" fmla="*/ 1874160 w 4457589"/>
                    <a:gd name="connsiteY3301" fmla="*/ 1242015 h 1541722"/>
                    <a:gd name="connsiteX3302" fmla="*/ 1875524 w 4457589"/>
                    <a:gd name="connsiteY3302" fmla="*/ 1242773 h 1541722"/>
                    <a:gd name="connsiteX3303" fmla="*/ 1876433 w 4457589"/>
                    <a:gd name="connsiteY3303" fmla="*/ 1243833 h 1541722"/>
                    <a:gd name="connsiteX3304" fmla="*/ 1877949 w 4457589"/>
                    <a:gd name="connsiteY3304" fmla="*/ 1243379 h 1541722"/>
                    <a:gd name="connsiteX3305" fmla="*/ 1878706 w 4457589"/>
                    <a:gd name="connsiteY3305" fmla="*/ 1242470 h 1541722"/>
                    <a:gd name="connsiteX3306" fmla="*/ 1880070 w 4457589"/>
                    <a:gd name="connsiteY3306" fmla="*/ 1242470 h 1541722"/>
                    <a:gd name="connsiteX3307" fmla="*/ 1881282 w 4457589"/>
                    <a:gd name="connsiteY3307" fmla="*/ 1243076 h 1541722"/>
                    <a:gd name="connsiteX3308" fmla="*/ 1884615 w 4457589"/>
                    <a:gd name="connsiteY3308" fmla="*/ 1244136 h 1541722"/>
                    <a:gd name="connsiteX3309" fmla="*/ 1886888 w 4457589"/>
                    <a:gd name="connsiteY3309" fmla="*/ 1245955 h 1541722"/>
                    <a:gd name="connsiteX3310" fmla="*/ 1888706 w 4457589"/>
                    <a:gd name="connsiteY3310" fmla="*/ 1246106 h 1541722"/>
                    <a:gd name="connsiteX3311" fmla="*/ 1890979 w 4457589"/>
                    <a:gd name="connsiteY3311" fmla="*/ 1245652 h 1541722"/>
                    <a:gd name="connsiteX3312" fmla="*/ 1892040 w 4457589"/>
                    <a:gd name="connsiteY3312" fmla="*/ 1245348 h 1541722"/>
                    <a:gd name="connsiteX3313" fmla="*/ 1893101 w 4457589"/>
                    <a:gd name="connsiteY3313" fmla="*/ 1246258 h 1541722"/>
                    <a:gd name="connsiteX3314" fmla="*/ 1894616 w 4457589"/>
                    <a:gd name="connsiteY3314" fmla="*/ 1246712 h 1541722"/>
                    <a:gd name="connsiteX3315" fmla="*/ 1895828 w 4457589"/>
                    <a:gd name="connsiteY3315" fmla="*/ 1246106 h 1541722"/>
                    <a:gd name="connsiteX3316" fmla="*/ 1897798 w 4457589"/>
                    <a:gd name="connsiteY3316" fmla="*/ 1245652 h 1541722"/>
                    <a:gd name="connsiteX3317" fmla="*/ 1905222 w 4457589"/>
                    <a:gd name="connsiteY3317" fmla="*/ 1246561 h 1541722"/>
                    <a:gd name="connsiteX3318" fmla="*/ 1906889 w 4457589"/>
                    <a:gd name="connsiteY3318" fmla="*/ 1248530 h 1541722"/>
                    <a:gd name="connsiteX3319" fmla="*/ 1908253 w 4457589"/>
                    <a:gd name="connsiteY3319" fmla="*/ 1249440 h 1541722"/>
                    <a:gd name="connsiteX3320" fmla="*/ 1909313 w 4457589"/>
                    <a:gd name="connsiteY3320" fmla="*/ 1250955 h 1541722"/>
                    <a:gd name="connsiteX3321" fmla="*/ 1911283 w 4457589"/>
                    <a:gd name="connsiteY3321" fmla="*/ 1252015 h 1541722"/>
                    <a:gd name="connsiteX3322" fmla="*/ 1915525 w 4457589"/>
                    <a:gd name="connsiteY3322" fmla="*/ 1251561 h 1541722"/>
                    <a:gd name="connsiteX3323" fmla="*/ 1917041 w 4457589"/>
                    <a:gd name="connsiteY3323" fmla="*/ 1250500 h 1541722"/>
                    <a:gd name="connsiteX3324" fmla="*/ 1920374 w 4457589"/>
                    <a:gd name="connsiteY3324" fmla="*/ 1248076 h 1541722"/>
                    <a:gd name="connsiteX3325" fmla="*/ 1921738 w 4457589"/>
                    <a:gd name="connsiteY3325" fmla="*/ 1245652 h 1541722"/>
                    <a:gd name="connsiteX3326" fmla="*/ 1923405 w 4457589"/>
                    <a:gd name="connsiteY3326" fmla="*/ 1244742 h 1541722"/>
                    <a:gd name="connsiteX3327" fmla="*/ 1925375 w 4457589"/>
                    <a:gd name="connsiteY3327" fmla="*/ 1244439 h 1541722"/>
                    <a:gd name="connsiteX3328" fmla="*/ 1927041 w 4457589"/>
                    <a:gd name="connsiteY3328" fmla="*/ 1244439 h 1541722"/>
                    <a:gd name="connsiteX3329" fmla="*/ 1929011 w 4457589"/>
                    <a:gd name="connsiteY3329" fmla="*/ 1244288 h 1541722"/>
                    <a:gd name="connsiteX3330" fmla="*/ 1931284 w 4457589"/>
                    <a:gd name="connsiteY3330" fmla="*/ 1242470 h 1541722"/>
                    <a:gd name="connsiteX3331" fmla="*/ 1933102 w 4457589"/>
                    <a:gd name="connsiteY3331" fmla="*/ 1241864 h 1541722"/>
                    <a:gd name="connsiteX3332" fmla="*/ 1935829 w 4457589"/>
                    <a:gd name="connsiteY3332" fmla="*/ 1239591 h 1541722"/>
                    <a:gd name="connsiteX3333" fmla="*/ 1936284 w 4457589"/>
                    <a:gd name="connsiteY3333" fmla="*/ 1238682 h 1541722"/>
                    <a:gd name="connsiteX3334" fmla="*/ 1937648 w 4457589"/>
                    <a:gd name="connsiteY3334" fmla="*/ 1235954 h 1541722"/>
                    <a:gd name="connsiteX3335" fmla="*/ 1938405 w 4457589"/>
                    <a:gd name="connsiteY3335" fmla="*/ 1234288 h 1541722"/>
                    <a:gd name="connsiteX3336" fmla="*/ 1939769 w 4457589"/>
                    <a:gd name="connsiteY3336" fmla="*/ 1231560 h 1541722"/>
                    <a:gd name="connsiteX3337" fmla="*/ 1940527 w 4457589"/>
                    <a:gd name="connsiteY3337" fmla="*/ 1227318 h 1541722"/>
                    <a:gd name="connsiteX3338" fmla="*/ 1940981 w 4457589"/>
                    <a:gd name="connsiteY3338" fmla="*/ 1225045 h 1541722"/>
                    <a:gd name="connsiteX3339" fmla="*/ 1940678 w 4457589"/>
                    <a:gd name="connsiteY3339" fmla="*/ 1223378 h 1541722"/>
                    <a:gd name="connsiteX3340" fmla="*/ 1939011 w 4457589"/>
                    <a:gd name="connsiteY3340" fmla="*/ 1222469 h 1541722"/>
                    <a:gd name="connsiteX3341" fmla="*/ 1936890 w 4457589"/>
                    <a:gd name="connsiteY3341" fmla="*/ 1222014 h 1541722"/>
                    <a:gd name="connsiteX3342" fmla="*/ 1935072 w 4457589"/>
                    <a:gd name="connsiteY3342" fmla="*/ 1220802 h 1541722"/>
                    <a:gd name="connsiteX3343" fmla="*/ 1933860 w 4457589"/>
                    <a:gd name="connsiteY3343" fmla="*/ 1219287 h 1541722"/>
                    <a:gd name="connsiteX3344" fmla="*/ 1932951 w 4457589"/>
                    <a:gd name="connsiteY3344" fmla="*/ 1217317 h 1541722"/>
                    <a:gd name="connsiteX3345" fmla="*/ 1931890 w 4457589"/>
                    <a:gd name="connsiteY3345" fmla="*/ 1214893 h 1541722"/>
                    <a:gd name="connsiteX3346" fmla="*/ 1932041 w 4457589"/>
                    <a:gd name="connsiteY3346" fmla="*/ 1213075 h 1541722"/>
                    <a:gd name="connsiteX3347" fmla="*/ 1931738 w 4457589"/>
                    <a:gd name="connsiteY3347" fmla="*/ 1211711 h 1541722"/>
                    <a:gd name="connsiteX3348" fmla="*/ 1930829 w 4457589"/>
                    <a:gd name="connsiteY3348" fmla="*/ 1210650 h 1541722"/>
                    <a:gd name="connsiteX3349" fmla="*/ 1929011 w 4457589"/>
                    <a:gd name="connsiteY3349" fmla="*/ 1208529 h 1541722"/>
                    <a:gd name="connsiteX3350" fmla="*/ 1928253 w 4457589"/>
                    <a:gd name="connsiteY3350" fmla="*/ 1207014 h 1541722"/>
                    <a:gd name="connsiteX3351" fmla="*/ 1928556 w 4457589"/>
                    <a:gd name="connsiteY3351" fmla="*/ 1204589 h 1541722"/>
                    <a:gd name="connsiteX3352" fmla="*/ 1930526 w 4457589"/>
                    <a:gd name="connsiteY3352" fmla="*/ 1200498 h 1541722"/>
                    <a:gd name="connsiteX3353" fmla="*/ 1930677 w 4457589"/>
                    <a:gd name="connsiteY3353" fmla="*/ 1198680 h 1541722"/>
                    <a:gd name="connsiteX3354" fmla="*/ 1930981 w 4457589"/>
                    <a:gd name="connsiteY3354" fmla="*/ 1197468 h 1541722"/>
                    <a:gd name="connsiteX3355" fmla="*/ 1930829 w 4457589"/>
                    <a:gd name="connsiteY3355" fmla="*/ 1196407 h 1541722"/>
                    <a:gd name="connsiteX3356" fmla="*/ 1931587 w 4457589"/>
                    <a:gd name="connsiteY3356" fmla="*/ 1193983 h 1541722"/>
                    <a:gd name="connsiteX3357" fmla="*/ 1932647 w 4457589"/>
                    <a:gd name="connsiteY3357" fmla="*/ 1192922 h 1541722"/>
                    <a:gd name="connsiteX3358" fmla="*/ 1934011 w 4457589"/>
                    <a:gd name="connsiteY3358" fmla="*/ 1190195 h 1541722"/>
                    <a:gd name="connsiteX3359" fmla="*/ 1935829 w 4457589"/>
                    <a:gd name="connsiteY3359" fmla="*/ 1188983 h 1541722"/>
                    <a:gd name="connsiteX3360" fmla="*/ 1938102 w 4457589"/>
                    <a:gd name="connsiteY3360" fmla="*/ 1188983 h 1541722"/>
                    <a:gd name="connsiteX3361" fmla="*/ 1939011 w 4457589"/>
                    <a:gd name="connsiteY3361" fmla="*/ 1188225 h 1541722"/>
                    <a:gd name="connsiteX3362" fmla="*/ 1939466 w 4457589"/>
                    <a:gd name="connsiteY3362" fmla="*/ 1185498 h 1541722"/>
                    <a:gd name="connsiteX3363" fmla="*/ 1940527 w 4457589"/>
                    <a:gd name="connsiteY3363" fmla="*/ 1183528 h 1541722"/>
                    <a:gd name="connsiteX3364" fmla="*/ 1941284 w 4457589"/>
                    <a:gd name="connsiteY3364" fmla="*/ 1182013 h 1541722"/>
                    <a:gd name="connsiteX3365" fmla="*/ 1942648 w 4457589"/>
                    <a:gd name="connsiteY3365" fmla="*/ 1180498 h 1541722"/>
                    <a:gd name="connsiteX3366" fmla="*/ 1950527 w 4457589"/>
                    <a:gd name="connsiteY3366" fmla="*/ 1177467 h 1541722"/>
                    <a:gd name="connsiteX3367" fmla="*/ 1953709 w 4457589"/>
                    <a:gd name="connsiteY3367" fmla="*/ 1173679 h 1541722"/>
                    <a:gd name="connsiteX3368" fmla="*/ 1954921 w 4457589"/>
                    <a:gd name="connsiteY3368" fmla="*/ 1171710 h 1541722"/>
                    <a:gd name="connsiteX3369" fmla="*/ 1956133 w 4457589"/>
                    <a:gd name="connsiteY3369" fmla="*/ 1167618 h 1541722"/>
                    <a:gd name="connsiteX3370" fmla="*/ 1957345 w 4457589"/>
                    <a:gd name="connsiteY3370" fmla="*/ 1165952 h 1541722"/>
                    <a:gd name="connsiteX3371" fmla="*/ 1959163 w 4457589"/>
                    <a:gd name="connsiteY3371" fmla="*/ 1166406 h 1541722"/>
                    <a:gd name="connsiteX3372" fmla="*/ 1961285 w 4457589"/>
                    <a:gd name="connsiteY3372" fmla="*/ 1168831 h 1541722"/>
                    <a:gd name="connsiteX3373" fmla="*/ 1962800 w 4457589"/>
                    <a:gd name="connsiteY3373" fmla="*/ 1168982 h 1541722"/>
                    <a:gd name="connsiteX3374" fmla="*/ 1965224 w 4457589"/>
                    <a:gd name="connsiteY3374" fmla="*/ 1170194 h 1541722"/>
                    <a:gd name="connsiteX3375" fmla="*/ 1971437 w 4457589"/>
                    <a:gd name="connsiteY3375" fmla="*/ 1172922 h 1541722"/>
                    <a:gd name="connsiteX3376" fmla="*/ 1974922 w 4457589"/>
                    <a:gd name="connsiteY3376" fmla="*/ 1173831 h 1541722"/>
                    <a:gd name="connsiteX3377" fmla="*/ 1977043 w 4457589"/>
                    <a:gd name="connsiteY3377" fmla="*/ 1174134 h 1541722"/>
                    <a:gd name="connsiteX3378" fmla="*/ 1980073 w 4457589"/>
                    <a:gd name="connsiteY3378" fmla="*/ 1174891 h 1541722"/>
                    <a:gd name="connsiteX3379" fmla="*/ 1981892 w 4457589"/>
                    <a:gd name="connsiteY3379" fmla="*/ 1176558 h 1541722"/>
                    <a:gd name="connsiteX3380" fmla="*/ 1985528 w 4457589"/>
                    <a:gd name="connsiteY3380" fmla="*/ 1179134 h 1541722"/>
                    <a:gd name="connsiteX3381" fmla="*/ 1988710 w 4457589"/>
                    <a:gd name="connsiteY3381" fmla="*/ 1179740 h 1541722"/>
                    <a:gd name="connsiteX3382" fmla="*/ 1994013 w 4457589"/>
                    <a:gd name="connsiteY3382" fmla="*/ 1180043 h 1541722"/>
                    <a:gd name="connsiteX3383" fmla="*/ 2000529 w 4457589"/>
                    <a:gd name="connsiteY3383" fmla="*/ 1180195 h 1541722"/>
                    <a:gd name="connsiteX3384" fmla="*/ 2002347 w 4457589"/>
                    <a:gd name="connsiteY3384" fmla="*/ 1180649 h 1541722"/>
                    <a:gd name="connsiteX3385" fmla="*/ 2007196 w 4457589"/>
                    <a:gd name="connsiteY3385" fmla="*/ 1182467 h 1541722"/>
                    <a:gd name="connsiteX3386" fmla="*/ 2012499 w 4457589"/>
                    <a:gd name="connsiteY3386" fmla="*/ 1184589 h 1541722"/>
                    <a:gd name="connsiteX3387" fmla="*/ 2017347 w 4457589"/>
                    <a:gd name="connsiteY3387" fmla="*/ 1186558 h 1541722"/>
                    <a:gd name="connsiteX3388" fmla="*/ 2021135 w 4457589"/>
                    <a:gd name="connsiteY3388" fmla="*/ 1187922 h 1541722"/>
                    <a:gd name="connsiteX3389" fmla="*/ 2023409 w 4457589"/>
                    <a:gd name="connsiteY3389" fmla="*/ 1189286 h 1541722"/>
                    <a:gd name="connsiteX3390" fmla="*/ 2025530 w 4457589"/>
                    <a:gd name="connsiteY3390" fmla="*/ 1190195 h 1541722"/>
                    <a:gd name="connsiteX3391" fmla="*/ 2027802 w 4457589"/>
                    <a:gd name="connsiteY3391" fmla="*/ 1189437 h 1541722"/>
                    <a:gd name="connsiteX3392" fmla="*/ 2030681 w 4457589"/>
                    <a:gd name="connsiteY3392" fmla="*/ 1189589 h 1541722"/>
                    <a:gd name="connsiteX3393" fmla="*/ 2037500 w 4457589"/>
                    <a:gd name="connsiteY3393" fmla="*/ 1191256 h 1541722"/>
                    <a:gd name="connsiteX3394" fmla="*/ 2041894 w 4457589"/>
                    <a:gd name="connsiteY3394" fmla="*/ 1192771 h 1541722"/>
                    <a:gd name="connsiteX3395" fmla="*/ 2045530 w 4457589"/>
                    <a:gd name="connsiteY3395" fmla="*/ 1193680 h 1541722"/>
                    <a:gd name="connsiteX3396" fmla="*/ 2046742 w 4457589"/>
                    <a:gd name="connsiteY3396" fmla="*/ 1195195 h 1541722"/>
                    <a:gd name="connsiteX3397" fmla="*/ 2046742 w 4457589"/>
                    <a:gd name="connsiteY3397" fmla="*/ 1197165 h 1541722"/>
                    <a:gd name="connsiteX3398" fmla="*/ 2046288 w 4457589"/>
                    <a:gd name="connsiteY3398" fmla="*/ 1198680 h 1541722"/>
                    <a:gd name="connsiteX3399" fmla="*/ 2046591 w 4457589"/>
                    <a:gd name="connsiteY3399" fmla="*/ 1202620 h 1541722"/>
                    <a:gd name="connsiteX3400" fmla="*/ 2047803 w 4457589"/>
                    <a:gd name="connsiteY3400" fmla="*/ 1204741 h 1541722"/>
                    <a:gd name="connsiteX3401" fmla="*/ 2048106 w 4457589"/>
                    <a:gd name="connsiteY3401" fmla="*/ 1207468 h 1541722"/>
                    <a:gd name="connsiteX3402" fmla="*/ 2048561 w 4457589"/>
                    <a:gd name="connsiteY3402" fmla="*/ 1210044 h 1541722"/>
                    <a:gd name="connsiteX3403" fmla="*/ 2048258 w 4457589"/>
                    <a:gd name="connsiteY3403" fmla="*/ 1212620 h 1541722"/>
                    <a:gd name="connsiteX3404" fmla="*/ 2048864 w 4457589"/>
                    <a:gd name="connsiteY3404" fmla="*/ 1214135 h 1541722"/>
                    <a:gd name="connsiteX3405" fmla="*/ 2049925 w 4457589"/>
                    <a:gd name="connsiteY3405" fmla="*/ 1214893 h 1541722"/>
                    <a:gd name="connsiteX3406" fmla="*/ 2051137 w 4457589"/>
                    <a:gd name="connsiteY3406" fmla="*/ 1216711 h 1541722"/>
                    <a:gd name="connsiteX3407" fmla="*/ 2050682 w 4457589"/>
                    <a:gd name="connsiteY3407" fmla="*/ 1218529 h 1541722"/>
                    <a:gd name="connsiteX3408" fmla="*/ 2050228 w 4457589"/>
                    <a:gd name="connsiteY3408" fmla="*/ 1219742 h 1541722"/>
                    <a:gd name="connsiteX3409" fmla="*/ 2050379 w 4457589"/>
                    <a:gd name="connsiteY3409" fmla="*/ 1221408 h 1541722"/>
                    <a:gd name="connsiteX3410" fmla="*/ 2051591 w 4457589"/>
                    <a:gd name="connsiteY3410" fmla="*/ 1222923 h 1541722"/>
                    <a:gd name="connsiteX3411" fmla="*/ 2053561 w 4457589"/>
                    <a:gd name="connsiteY3411" fmla="*/ 1223226 h 1541722"/>
                    <a:gd name="connsiteX3412" fmla="*/ 2055228 w 4457589"/>
                    <a:gd name="connsiteY3412" fmla="*/ 1223681 h 1541722"/>
                    <a:gd name="connsiteX3413" fmla="*/ 2057349 w 4457589"/>
                    <a:gd name="connsiteY3413" fmla="*/ 1225954 h 1541722"/>
                    <a:gd name="connsiteX3414" fmla="*/ 2061137 w 4457589"/>
                    <a:gd name="connsiteY3414" fmla="*/ 1228530 h 1541722"/>
                    <a:gd name="connsiteX3415" fmla="*/ 2063410 w 4457589"/>
                    <a:gd name="connsiteY3415" fmla="*/ 1229287 h 1541722"/>
                    <a:gd name="connsiteX3416" fmla="*/ 2065986 w 4457589"/>
                    <a:gd name="connsiteY3416" fmla="*/ 1230499 h 1541722"/>
                    <a:gd name="connsiteX3417" fmla="*/ 2070834 w 4457589"/>
                    <a:gd name="connsiteY3417" fmla="*/ 1231712 h 1541722"/>
                    <a:gd name="connsiteX3418" fmla="*/ 2074168 w 4457589"/>
                    <a:gd name="connsiteY3418" fmla="*/ 1232015 h 1541722"/>
                    <a:gd name="connsiteX3419" fmla="*/ 2076137 w 4457589"/>
                    <a:gd name="connsiteY3419" fmla="*/ 1232924 h 1541722"/>
                    <a:gd name="connsiteX3420" fmla="*/ 2078107 w 4457589"/>
                    <a:gd name="connsiteY3420" fmla="*/ 1235197 h 1541722"/>
                    <a:gd name="connsiteX3421" fmla="*/ 2081289 w 4457589"/>
                    <a:gd name="connsiteY3421" fmla="*/ 1235803 h 1541722"/>
                    <a:gd name="connsiteX3422" fmla="*/ 2083411 w 4457589"/>
                    <a:gd name="connsiteY3422" fmla="*/ 1236560 h 1541722"/>
                    <a:gd name="connsiteX3423" fmla="*/ 2087047 w 4457589"/>
                    <a:gd name="connsiteY3423" fmla="*/ 1237469 h 1541722"/>
                    <a:gd name="connsiteX3424" fmla="*/ 2089623 w 4457589"/>
                    <a:gd name="connsiteY3424" fmla="*/ 1236863 h 1541722"/>
                    <a:gd name="connsiteX3425" fmla="*/ 2091744 w 4457589"/>
                    <a:gd name="connsiteY3425" fmla="*/ 1236106 h 1541722"/>
                    <a:gd name="connsiteX3426" fmla="*/ 2093259 w 4457589"/>
                    <a:gd name="connsiteY3426" fmla="*/ 1236257 h 1541722"/>
                    <a:gd name="connsiteX3427" fmla="*/ 2095987 w 4457589"/>
                    <a:gd name="connsiteY3427" fmla="*/ 1236863 h 1541722"/>
                    <a:gd name="connsiteX3428" fmla="*/ 2099320 w 4457589"/>
                    <a:gd name="connsiteY3428" fmla="*/ 1236863 h 1541722"/>
                    <a:gd name="connsiteX3429" fmla="*/ 2102047 w 4457589"/>
                    <a:gd name="connsiteY3429" fmla="*/ 1236409 h 1541722"/>
                    <a:gd name="connsiteX3430" fmla="*/ 2104321 w 4457589"/>
                    <a:gd name="connsiteY3430" fmla="*/ 1234742 h 1541722"/>
                    <a:gd name="connsiteX3431" fmla="*/ 2106896 w 4457589"/>
                    <a:gd name="connsiteY3431" fmla="*/ 1232621 h 1541722"/>
                    <a:gd name="connsiteX3432" fmla="*/ 2109927 w 4457589"/>
                    <a:gd name="connsiteY3432" fmla="*/ 1231409 h 1541722"/>
                    <a:gd name="connsiteX3433" fmla="*/ 2113412 w 4457589"/>
                    <a:gd name="connsiteY3433" fmla="*/ 1231106 h 1541722"/>
                    <a:gd name="connsiteX3434" fmla="*/ 2115836 w 4457589"/>
                    <a:gd name="connsiteY3434" fmla="*/ 1230196 h 1541722"/>
                    <a:gd name="connsiteX3435" fmla="*/ 2123866 w 4457589"/>
                    <a:gd name="connsiteY3435" fmla="*/ 1228681 h 1541722"/>
                    <a:gd name="connsiteX3436" fmla="*/ 2127049 w 4457589"/>
                    <a:gd name="connsiteY3436" fmla="*/ 1228530 h 1541722"/>
                    <a:gd name="connsiteX3437" fmla="*/ 2129624 w 4457589"/>
                    <a:gd name="connsiteY3437" fmla="*/ 1227014 h 1541722"/>
                    <a:gd name="connsiteX3438" fmla="*/ 2131746 w 4457589"/>
                    <a:gd name="connsiteY3438" fmla="*/ 1225954 h 1541722"/>
                    <a:gd name="connsiteX3439" fmla="*/ 2134928 w 4457589"/>
                    <a:gd name="connsiteY3439" fmla="*/ 1225499 h 1541722"/>
                    <a:gd name="connsiteX3440" fmla="*/ 2139322 w 4457589"/>
                    <a:gd name="connsiteY3440" fmla="*/ 1226711 h 1541722"/>
                    <a:gd name="connsiteX3441" fmla="*/ 2143413 w 4457589"/>
                    <a:gd name="connsiteY3441" fmla="*/ 1227621 h 1541722"/>
                    <a:gd name="connsiteX3442" fmla="*/ 2148413 w 4457589"/>
                    <a:gd name="connsiteY3442" fmla="*/ 1227924 h 1541722"/>
                    <a:gd name="connsiteX3443" fmla="*/ 2151746 w 4457589"/>
                    <a:gd name="connsiteY3443" fmla="*/ 1229287 h 1541722"/>
                    <a:gd name="connsiteX3444" fmla="*/ 2154171 w 4457589"/>
                    <a:gd name="connsiteY3444" fmla="*/ 1230499 h 1541722"/>
                    <a:gd name="connsiteX3445" fmla="*/ 2157807 w 4457589"/>
                    <a:gd name="connsiteY3445" fmla="*/ 1231560 h 1541722"/>
                    <a:gd name="connsiteX3446" fmla="*/ 2161898 w 4457589"/>
                    <a:gd name="connsiteY3446" fmla="*/ 1231106 h 1541722"/>
                    <a:gd name="connsiteX3447" fmla="*/ 2167656 w 4457589"/>
                    <a:gd name="connsiteY3447" fmla="*/ 1230651 h 1541722"/>
                    <a:gd name="connsiteX3448" fmla="*/ 2171293 w 4457589"/>
                    <a:gd name="connsiteY3448" fmla="*/ 1231257 h 1541722"/>
                    <a:gd name="connsiteX3449" fmla="*/ 2175232 w 4457589"/>
                    <a:gd name="connsiteY3449" fmla="*/ 1233530 h 1541722"/>
                    <a:gd name="connsiteX3450" fmla="*/ 2177657 w 4457589"/>
                    <a:gd name="connsiteY3450" fmla="*/ 1235348 h 1541722"/>
                    <a:gd name="connsiteX3451" fmla="*/ 2180384 w 4457589"/>
                    <a:gd name="connsiteY3451" fmla="*/ 1239288 h 1541722"/>
                    <a:gd name="connsiteX3452" fmla="*/ 2183111 w 4457589"/>
                    <a:gd name="connsiteY3452" fmla="*/ 1241257 h 1541722"/>
                    <a:gd name="connsiteX3453" fmla="*/ 2185536 w 4457589"/>
                    <a:gd name="connsiteY3453" fmla="*/ 1242773 h 1541722"/>
                    <a:gd name="connsiteX3454" fmla="*/ 2188717 w 4457589"/>
                    <a:gd name="connsiteY3454" fmla="*/ 1242924 h 1541722"/>
                    <a:gd name="connsiteX3455" fmla="*/ 2196445 w 4457589"/>
                    <a:gd name="connsiteY3455" fmla="*/ 1243076 h 1541722"/>
                    <a:gd name="connsiteX3456" fmla="*/ 2200688 w 4457589"/>
                    <a:gd name="connsiteY3456" fmla="*/ 1243833 h 1541722"/>
                    <a:gd name="connsiteX3457" fmla="*/ 2204324 w 4457589"/>
                    <a:gd name="connsiteY3457" fmla="*/ 1244288 h 1541722"/>
                    <a:gd name="connsiteX3458" fmla="*/ 2205234 w 4457589"/>
                    <a:gd name="connsiteY3458" fmla="*/ 1245045 h 1541722"/>
                    <a:gd name="connsiteX3459" fmla="*/ 2204779 w 4457589"/>
                    <a:gd name="connsiteY3459" fmla="*/ 1247773 h 1541722"/>
                    <a:gd name="connsiteX3460" fmla="*/ 2204930 w 4457589"/>
                    <a:gd name="connsiteY3460" fmla="*/ 1251712 h 1541722"/>
                    <a:gd name="connsiteX3461" fmla="*/ 2204930 w 4457589"/>
                    <a:gd name="connsiteY3461" fmla="*/ 1253379 h 1541722"/>
                    <a:gd name="connsiteX3462" fmla="*/ 2205688 w 4457589"/>
                    <a:gd name="connsiteY3462" fmla="*/ 1254743 h 1541722"/>
                    <a:gd name="connsiteX3463" fmla="*/ 2206900 w 4457589"/>
                    <a:gd name="connsiteY3463" fmla="*/ 1255046 h 1541722"/>
                    <a:gd name="connsiteX3464" fmla="*/ 2207506 w 4457589"/>
                    <a:gd name="connsiteY3464" fmla="*/ 1256864 h 1541722"/>
                    <a:gd name="connsiteX3465" fmla="*/ 2209324 w 4457589"/>
                    <a:gd name="connsiteY3465" fmla="*/ 1257925 h 1541722"/>
                    <a:gd name="connsiteX3466" fmla="*/ 2212355 w 4457589"/>
                    <a:gd name="connsiteY3466" fmla="*/ 1259288 h 1541722"/>
                    <a:gd name="connsiteX3467" fmla="*/ 2217658 w 4457589"/>
                    <a:gd name="connsiteY3467" fmla="*/ 1263834 h 1541722"/>
                    <a:gd name="connsiteX3468" fmla="*/ 2220840 w 4457589"/>
                    <a:gd name="connsiteY3468" fmla="*/ 1265804 h 1541722"/>
                    <a:gd name="connsiteX3469" fmla="*/ 2223416 w 4457589"/>
                    <a:gd name="connsiteY3469" fmla="*/ 1266561 h 1541722"/>
                    <a:gd name="connsiteX3470" fmla="*/ 2226598 w 4457589"/>
                    <a:gd name="connsiteY3470" fmla="*/ 1266107 h 1541722"/>
                    <a:gd name="connsiteX3471" fmla="*/ 2231750 w 4457589"/>
                    <a:gd name="connsiteY3471" fmla="*/ 1266107 h 1541722"/>
                    <a:gd name="connsiteX3472" fmla="*/ 2240386 w 4457589"/>
                    <a:gd name="connsiteY3472" fmla="*/ 1266107 h 1541722"/>
                    <a:gd name="connsiteX3473" fmla="*/ 2246296 w 4457589"/>
                    <a:gd name="connsiteY3473" fmla="*/ 1267471 h 1541722"/>
                    <a:gd name="connsiteX3474" fmla="*/ 2248417 w 4457589"/>
                    <a:gd name="connsiteY3474" fmla="*/ 1268380 h 1541722"/>
                    <a:gd name="connsiteX3475" fmla="*/ 2254478 w 4457589"/>
                    <a:gd name="connsiteY3475" fmla="*/ 1269440 h 1541722"/>
                    <a:gd name="connsiteX3476" fmla="*/ 2261144 w 4457589"/>
                    <a:gd name="connsiteY3476" fmla="*/ 1270652 h 1541722"/>
                    <a:gd name="connsiteX3477" fmla="*/ 2266751 w 4457589"/>
                    <a:gd name="connsiteY3477" fmla="*/ 1271865 h 1541722"/>
                    <a:gd name="connsiteX3478" fmla="*/ 2270084 w 4457589"/>
                    <a:gd name="connsiteY3478" fmla="*/ 1270198 h 1541722"/>
                    <a:gd name="connsiteX3479" fmla="*/ 2272963 w 4457589"/>
                    <a:gd name="connsiteY3479" fmla="*/ 1270198 h 1541722"/>
                    <a:gd name="connsiteX3480" fmla="*/ 2275842 w 4457589"/>
                    <a:gd name="connsiteY3480" fmla="*/ 1271259 h 1541722"/>
                    <a:gd name="connsiteX3481" fmla="*/ 2278570 w 4457589"/>
                    <a:gd name="connsiteY3481" fmla="*/ 1273077 h 1541722"/>
                    <a:gd name="connsiteX3482" fmla="*/ 2280691 w 4457589"/>
                    <a:gd name="connsiteY3482" fmla="*/ 1272774 h 1541722"/>
                    <a:gd name="connsiteX3483" fmla="*/ 2284024 w 4457589"/>
                    <a:gd name="connsiteY3483" fmla="*/ 1272016 h 1541722"/>
                    <a:gd name="connsiteX3484" fmla="*/ 2294327 w 4457589"/>
                    <a:gd name="connsiteY3484" fmla="*/ 1267167 h 1541722"/>
                    <a:gd name="connsiteX3485" fmla="*/ 2297812 w 4457589"/>
                    <a:gd name="connsiteY3485" fmla="*/ 1265349 h 1541722"/>
                    <a:gd name="connsiteX3486" fmla="*/ 2300389 w 4457589"/>
                    <a:gd name="connsiteY3486" fmla="*/ 1265804 h 1541722"/>
                    <a:gd name="connsiteX3487" fmla="*/ 2302661 w 4457589"/>
                    <a:gd name="connsiteY3487" fmla="*/ 1265198 h 1541722"/>
                    <a:gd name="connsiteX3488" fmla="*/ 2304328 w 4457589"/>
                    <a:gd name="connsiteY3488" fmla="*/ 1264592 h 1541722"/>
                    <a:gd name="connsiteX3489" fmla="*/ 2308722 w 4457589"/>
                    <a:gd name="connsiteY3489" fmla="*/ 1263834 h 1541722"/>
                    <a:gd name="connsiteX3490" fmla="*/ 2311449 w 4457589"/>
                    <a:gd name="connsiteY3490" fmla="*/ 1263683 h 1541722"/>
                    <a:gd name="connsiteX3491" fmla="*/ 2314177 w 4457589"/>
                    <a:gd name="connsiteY3491" fmla="*/ 1263228 h 1541722"/>
                    <a:gd name="connsiteX3492" fmla="*/ 2318268 w 4457589"/>
                    <a:gd name="connsiteY3492" fmla="*/ 1262925 h 1541722"/>
                    <a:gd name="connsiteX3493" fmla="*/ 2326298 w 4457589"/>
                    <a:gd name="connsiteY3493" fmla="*/ 1259743 h 1541722"/>
                    <a:gd name="connsiteX3494" fmla="*/ 2329632 w 4457589"/>
                    <a:gd name="connsiteY3494" fmla="*/ 1259137 h 1541722"/>
                    <a:gd name="connsiteX3495" fmla="*/ 2335086 w 4457589"/>
                    <a:gd name="connsiteY3495" fmla="*/ 1259895 h 1541722"/>
                    <a:gd name="connsiteX3496" fmla="*/ 2338117 w 4457589"/>
                    <a:gd name="connsiteY3496" fmla="*/ 1259440 h 1541722"/>
                    <a:gd name="connsiteX3497" fmla="*/ 2340996 w 4457589"/>
                    <a:gd name="connsiteY3497" fmla="*/ 1257773 h 1541722"/>
                    <a:gd name="connsiteX3498" fmla="*/ 2344935 w 4457589"/>
                    <a:gd name="connsiteY3498" fmla="*/ 1256107 h 1541722"/>
                    <a:gd name="connsiteX3499" fmla="*/ 2345845 w 4457589"/>
                    <a:gd name="connsiteY3499" fmla="*/ 1253379 h 1541722"/>
                    <a:gd name="connsiteX3500" fmla="*/ 2347814 w 4457589"/>
                    <a:gd name="connsiteY3500" fmla="*/ 1249591 h 1541722"/>
                    <a:gd name="connsiteX3501" fmla="*/ 2352057 w 4457589"/>
                    <a:gd name="connsiteY3501" fmla="*/ 1246864 h 1541722"/>
                    <a:gd name="connsiteX3502" fmla="*/ 2355542 w 4457589"/>
                    <a:gd name="connsiteY3502" fmla="*/ 1244439 h 1541722"/>
                    <a:gd name="connsiteX3503" fmla="*/ 2359178 w 4457589"/>
                    <a:gd name="connsiteY3503" fmla="*/ 1242167 h 1541722"/>
                    <a:gd name="connsiteX3504" fmla="*/ 2363421 w 4457589"/>
                    <a:gd name="connsiteY3504" fmla="*/ 1240197 h 1541722"/>
                    <a:gd name="connsiteX3505" fmla="*/ 2367512 w 4457589"/>
                    <a:gd name="connsiteY3505" fmla="*/ 1238833 h 1541722"/>
                    <a:gd name="connsiteX3506" fmla="*/ 2372664 w 4457589"/>
                    <a:gd name="connsiteY3506" fmla="*/ 1235045 h 1541722"/>
                    <a:gd name="connsiteX3507" fmla="*/ 2376755 w 4457589"/>
                    <a:gd name="connsiteY3507" fmla="*/ 1233227 h 1541722"/>
                    <a:gd name="connsiteX3508" fmla="*/ 2378876 w 4457589"/>
                    <a:gd name="connsiteY3508" fmla="*/ 1232621 h 1541722"/>
                    <a:gd name="connsiteX3509" fmla="*/ 2381301 w 4457589"/>
                    <a:gd name="connsiteY3509" fmla="*/ 1233227 h 1541722"/>
                    <a:gd name="connsiteX3510" fmla="*/ 2385846 w 4457589"/>
                    <a:gd name="connsiteY3510" fmla="*/ 1233833 h 1541722"/>
                    <a:gd name="connsiteX3511" fmla="*/ 2389180 w 4457589"/>
                    <a:gd name="connsiteY3511" fmla="*/ 1233681 h 1541722"/>
                    <a:gd name="connsiteX3512" fmla="*/ 2391149 w 4457589"/>
                    <a:gd name="connsiteY3512" fmla="*/ 1234136 h 1541722"/>
                    <a:gd name="connsiteX3513" fmla="*/ 2394786 w 4457589"/>
                    <a:gd name="connsiteY3513" fmla="*/ 1235954 h 1541722"/>
                    <a:gd name="connsiteX3514" fmla="*/ 2398271 w 4457589"/>
                    <a:gd name="connsiteY3514" fmla="*/ 1237469 h 1541722"/>
                    <a:gd name="connsiteX3515" fmla="*/ 2400846 w 4457589"/>
                    <a:gd name="connsiteY3515" fmla="*/ 1240348 h 1541722"/>
                    <a:gd name="connsiteX3516" fmla="*/ 2405695 w 4457589"/>
                    <a:gd name="connsiteY3516" fmla="*/ 1244288 h 1541722"/>
                    <a:gd name="connsiteX3517" fmla="*/ 2408120 w 4457589"/>
                    <a:gd name="connsiteY3517" fmla="*/ 1245500 h 1541722"/>
                    <a:gd name="connsiteX3518" fmla="*/ 2409787 w 4457589"/>
                    <a:gd name="connsiteY3518" fmla="*/ 1246106 h 1541722"/>
                    <a:gd name="connsiteX3519" fmla="*/ 2414180 w 4457589"/>
                    <a:gd name="connsiteY3519" fmla="*/ 1246561 h 1541722"/>
                    <a:gd name="connsiteX3520" fmla="*/ 2417817 w 4457589"/>
                    <a:gd name="connsiteY3520" fmla="*/ 1246712 h 1541722"/>
                    <a:gd name="connsiteX3521" fmla="*/ 2419938 w 4457589"/>
                    <a:gd name="connsiteY3521" fmla="*/ 1245803 h 1541722"/>
                    <a:gd name="connsiteX3522" fmla="*/ 2423423 w 4457589"/>
                    <a:gd name="connsiteY3522" fmla="*/ 1244136 h 1541722"/>
                    <a:gd name="connsiteX3523" fmla="*/ 2429181 w 4457589"/>
                    <a:gd name="connsiteY3523" fmla="*/ 1242015 h 1541722"/>
                    <a:gd name="connsiteX3524" fmla="*/ 2431454 w 4457589"/>
                    <a:gd name="connsiteY3524" fmla="*/ 1242167 h 1541722"/>
                    <a:gd name="connsiteX3525" fmla="*/ 2435090 w 4457589"/>
                    <a:gd name="connsiteY3525" fmla="*/ 1243227 h 1541722"/>
                    <a:gd name="connsiteX3526" fmla="*/ 2440545 w 4457589"/>
                    <a:gd name="connsiteY3526" fmla="*/ 1245197 h 1541722"/>
                    <a:gd name="connsiteX3527" fmla="*/ 2442818 w 4457589"/>
                    <a:gd name="connsiteY3527" fmla="*/ 1246864 h 1541722"/>
                    <a:gd name="connsiteX3528" fmla="*/ 2444181 w 4457589"/>
                    <a:gd name="connsiteY3528" fmla="*/ 1248682 h 1541722"/>
                    <a:gd name="connsiteX3529" fmla="*/ 2449788 w 4457589"/>
                    <a:gd name="connsiteY3529" fmla="*/ 1251712 h 1541722"/>
                    <a:gd name="connsiteX3530" fmla="*/ 2453425 w 4457589"/>
                    <a:gd name="connsiteY3530" fmla="*/ 1253379 h 1541722"/>
                    <a:gd name="connsiteX3531" fmla="*/ 2459485 w 4457589"/>
                    <a:gd name="connsiteY3531" fmla="*/ 1255803 h 1541722"/>
                    <a:gd name="connsiteX3532" fmla="*/ 2465849 w 4457589"/>
                    <a:gd name="connsiteY3532" fmla="*/ 1256258 h 1541722"/>
                    <a:gd name="connsiteX3533" fmla="*/ 2471910 w 4457589"/>
                    <a:gd name="connsiteY3533" fmla="*/ 1258985 h 1541722"/>
                    <a:gd name="connsiteX3534" fmla="*/ 2475092 w 4457589"/>
                    <a:gd name="connsiteY3534" fmla="*/ 1259743 h 1541722"/>
                    <a:gd name="connsiteX3535" fmla="*/ 2476758 w 4457589"/>
                    <a:gd name="connsiteY3535" fmla="*/ 1259743 h 1541722"/>
                    <a:gd name="connsiteX3536" fmla="*/ 2485244 w 4457589"/>
                    <a:gd name="connsiteY3536" fmla="*/ 1253379 h 1541722"/>
                    <a:gd name="connsiteX3537" fmla="*/ 2492516 w 4457589"/>
                    <a:gd name="connsiteY3537" fmla="*/ 1247924 h 1541722"/>
                    <a:gd name="connsiteX3538" fmla="*/ 2500851 w 4457589"/>
                    <a:gd name="connsiteY3538" fmla="*/ 1243682 h 1541722"/>
                    <a:gd name="connsiteX3539" fmla="*/ 2507063 w 4457589"/>
                    <a:gd name="connsiteY3539" fmla="*/ 1243227 h 1541722"/>
                    <a:gd name="connsiteX3540" fmla="*/ 2511608 w 4457589"/>
                    <a:gd name="connsiteY3540" fmla="*/ 1242015 h 1541722"/>
                    <a:gd name="connsiteX3541" fmla="*/ 2514639 w 4457589"/>
                    <a:gd name="connsiteY3541" fmla="*/ 1240045 h 1541722"/>
                    <a:gd name="connsiteX3542" fmla="*/ 2516457 w 4457589"/>
                    <a:gd name="connsiteY3542" fmla="*/ 1236863 h 1541722"/>
                    <a:gd name="connsiteX3543" fmla="*/ 2517063 w 4457589"/>
                    <a:gd name="connsiteY3543" fmla="*/ 1232469 h 1541722"/>
                    <a:gd name="connsiteX3544" fmla="*/ 2515851 w 4457589"/>
                    <a:gd name="connsiteY3544" fmla="*/ 1229742 h 1541722"/>
                    <a:gd name="connsiteX3545" fmla="*/ 2512821 w 4457589"/>
                    <a:gd name="connsiteY3545" fmla="*/ 1228833 h 1541722"/>
                    <a:gd name="connsiteX3546" fmla="*/ 2512063 w 4457589"/>
                    <a:gd name="connsiteY3546" fmla="*/ 1227924 h 1541722"/>
                    <a:gd name="connsiteX3547" fmla="*/ 2513426 w 4457589"/>
                    <a:gd name="connsiteY3547" fmla="*/ 1227014 h 1541722"/>
                    <a:gd name="connsiteX3548" fmla="*/ 2514487 w 4457589"/>
                    <a:gd name="connsiteY3548" fmla="*/ 1225045 h 1541722"/>
                    <a:gd name="connsiteX3549" fmla="*/ 2515244 w 4457589"/>
                    <a:gd name="connsiteY3549" fmla="*/ 1222317 h 1541722"/>
                    <a:gd name="connsiteX3550" fmla="*/ 2516912 w 4457589"/>
                    <a:gd name="connsiteY3550" fmla="*/ 1219742 h 1541722"/>
                    <a:gd name="connsiteX3551" fmla="*/ 2519791 w 4457589"/>
                    <a:gd name="connsiteY3551" fmla="*/ 1217317 h 1541722"/>
                    <a:gd name="connsiteX3552" fmla="*/ 2521306 w 4457589"/>
                    <a:gd name="connsiteY3552" fmla="*/ 1214438 h 1541722"/>
                    <a:gd name="connsiteX3553" fmla="*/ 2521609 w 4457589"/>
                    <a:gd name="connsiteY3553" fmla="*/ 1211408 h 1541722"/>
                    <a:gd name="connsiteX3554" fmla="*/ 2523275 w 4457589"/>
                    <a:gd name="connsiteY3554" fmla="*/ 1208377 h 1541722"/>
                    <a:gd name="connsiteX3555" fmla="*/ 2526306 w 4457589"/>
                    <a:gd name="connsiteY3555" fmla="*/ 1205499 h 1541722"/>
                    <a:gd name="connsiteX3556" fmla="*/ 2527973 w 4457589"/>
                    <a:gd name="connsiteY3556" fmla="*/ 1202620 h 1541722"/>
                    <a:gd name="connsiteX3557" fmla="*/ 2528276 w 4457589"/>
                    <a:gd name="connsiteY3557" fmla="*/ 1200044 h 1541722"/>
                    <a:gd name="connsiteX3558" fmla="*/ 2529791 w 4457589"/>
                    <a:gd name="connsiteY3558" fmla="*/ 1196862 h 1541722"/>
                    <a:gd name="connsiteX3559" fmla="*/ 2534034 w 4457589"/>
                    <a:gd name="connsiteY3559" fmla="*/ 1191256 h 1541722"/>
                    <a:gd name="connsiteX3560" fmla="*/ 2536761 w 4457589"/>
                    <a:gd name="connsiteY3560" fmla="*/ 1184740 h 1541722"/>
                    <a:gd name="connsiteX3561" fmla="*/ 2541458 w 4457589"/>
                    <a:gd name="connsiteY3561" fmla="*/ 1180346 h 1541722"/>
                    <a:gd name="connsiteX3562" fmla="*/ 2548883 w 4457589"/>
                    <a:gd name="connsiteY3562" fmla="*/ 1175801 h 1541722"/>
                    <a:gd name="connsiteX3563" fmla="*/ 2553580 w 4457589"/>
                    <a:gd name="connsiteY3563" fmla="*/ 1171255 h 1541722"/>
                    <a:gd name="connsiteX3564" fmla="*/ 2555398 w 4457589"/>
                    <a:gd name="connsiteY3564" fmla="*/ 1166709 h 1541722"/>
                    <a:gd name="connsiteX3565" fmla="*/ 2555246 w 4457589"/>
                    <a:gd name="connsiteY3565" fmla="*/ 1162618 h 1541722"/>
                    <a:gd name="connsiteX3566" fmla="*/ 2553125 w 4457589"/>
                    <a:gd name="connsiteY3566" fmla="*/ 1159285 h 1541722"/>
                    <a:gd name="connsiteX3567" fmla="*/ 2552671 w 4457589"/>
                    <a:gd name="connsiteY3567" fmla="*/ 1155648 h 1541722"/>
                    <a:gd name="connsiteX3568" fmla="*/ 2554034 w 4457589"/>
                    <a:gd name="connsiteY3568" fmla="*/ 1152163 h 1541722"/>
                    <a:gd name="connsiteX3569" fmla="*/ 2552822 w 4457589"/>
                    <a:gd name="connsiteY3569" fmla="*/ 1149436 h 1541722"/>
                    <a:gd name="connsiteX3570" fmla="*/ 2549186 w 4457589"/>
                    <a:gd name="connsiteY3570" fmla="*/ 1147618 h 1541722"/>
                    <a:gd name="connsiteX3571" fmla="*/ 2544791 w 4457589"/>
                    <a:gd name="connsiteY3571" fmla="*/ 1147163 h 1541722"/>
                    <a:gd name="connsiteX3572" fmla="*/ 2539640 w 4457589"/>
                    <a:gd name="connsiteY3572" fmla="*/ 1148072 h 1541722"/>
                    <a:gd name="connsiteX3573" fmla="*/ 2536761 w 4457589"/>
                    <a:gd name="connsiteY3573" fmla="*/ 1147012 h 1541722"/>
                    <a:gd name="connsiteX3574" fmla="*/ 2536154 w 4457589"/>
                    <a:gd name="connsiteY3574" fmla="*/ 1143830 h 1541722"/>
                    <a:gd name="connsiteX3575" fmla="*/ 2537518 w 4457589"/>
                    <a:gd name="connsiteY3575" fmla="*/ 1141254 h 1541722"/>
                    <a:gd name="connsiteX3576" fmla="*/ 2540851 w 4457589"/>
                    <a:gd name="connsiteY3576" fmla="*/ 1139284 h 1541722"/>
                    <a:gd name="connsiteX3577" fmla="*/ 2546458 w 4457589"/>
                    <a:gd name="connsiteY3577" fmla="*/ 1134587 h 1541722"/>
                    <a:gd name="connsiteX3578" fmla="*/ 2554185 w 4457589"/>
                    <a:gd name="connsiteY3578" fmla="*/ 1127011 h 1541722"/>
                    <a:gd name="connsiteX3579" fmla="*/ 2561913 w 4457589"/>
                    <a:gd name="connsiteY3579" fmla="*/ 1122768 h 1541722"/>
                    <a:gd name="connsiteX3580" fmla="*/ 2573429 w 4457589"/>
                    <a:gd name="connsiteY3580" fmla="*/ 1121708 h 1541722"/>
                    <a:gd name="connsiteX3581" fmla="*/ 2582671 w 4457589"/>
                    <a:gd name="connsiteY3581" fmla="*/ 1119132 h 1541722"/>
                    <a:gd name="connsiteX3582" fmla="*/ 2592066 w 4457589"/>
                    <a:gd name="connsiteY3582" fmla="*/ 1116707 h 1541722"/>
                    <a:gd name="connsiteX3583" fmla="*/ 2598884 w 4457589"/>
                    <a:gd name="connsiteY3583" fmla="*/ 1115344 h 1541722"/>
                    <a:gd name="connsiteX3584" fmla="*/ 2600097 w 4457589"/>
                    <a:gd name="connsiteY3584" fmla="*/ 1116253 h 1541722"/>
                    <a:gd name="connsiteX3585" fmla="*/ 2603733 w 4457589"/>
                    <a:gd name="connsiteY3585" fmla="*/ 1116404 h 1541722"/>
                    <a:gd name="connsiteX3586" fmla="*/ 2609945 w 4457589"/>
                    <a:gd name="connsiteY3586" fmla="*/ 1115950 h 1541722"/>
                    <a:gd name="connsiteX3587" fmla="*/ 2615854 w 4457589"/>
                    <a:gd name="connsiteY3587" fmla="*/ 1114889 h 1541722"/>
                    <a:gd name="connsiteX3588" fmla="*/ 2621158 w 4457589"/>
                    <a:gd name="connsiteY3588" fmla="*/ 1113223 h 1541722"/>
                    <a:gd name="connsiteX3589" fmla="*/ 2625400 w 4457589"/>
                    <a:gd name="connsiteY3589" fmla="*/ 1112768 h 1541722"/>
                    <a:gd name="connsiteX3590" fmla="*/ 2628583 w 4457589"/>
                    <a:gd name="connsiteY3590" fmla="*/ 1113677 h 1541722"/>
                    <a:gd name="connsiteX3591" fmla="*/ 2630401 w 4457589"/>
                    <a:gd name="connsiteY3591" fmla="*/ 1113677 h 1541722"/>
                    <a:gd name="connsiteX3592" fmla="*/ 2631613 w 4457589"/>
                    <a:gd name="connsiteY3592" fmla="*/ 1113829 h 1541722"/>
                    <a:gd name="connsiteX3593" fmla="*/ 2632371 w 4457589"/>
                    <a:gd name="connsiteY3593" fmla="*/ 1113829 h 1541722"/>
                    <a:gd name="connsiteX3594" fmla="*/ 2633582 w 4457589"/>
                    <a:gd name="connsiteY3594" fmla="*/ 1113071 h 1541722"/>
                    <a:gd name="connsiteX3595" fmla="*/ 2637219 w 4457589"/>
                    <a:gd name="connsiteY3595" fmla="*/ 1114435 h 1541722"/>
                    <a:gd name="connsiteX3596" fmla="*/ 2644189 w 4457589"/>
                    <a:gd name="connsiteY3596" fmla="*/ 1118374 h 1541722"/>
                    <a:gd name="connsiteX3597" fmla="*/ 2648583 w 4457589"/>
                    <a:gd name="connsiteY3597" fmla="*/ 1120041 h 1541722"/>
                    <a:gd name="connsiteX3598" fmla="*/ 2650402 w 4457589"/>
                    <a:gd name="connsiteY3598" fmla="*/ 1119586 h 1541722"/>
                    <a:gd name="connsiteX3599" fmla="*/ 2652371 w 4457589"/>
                    <a:gd name="connsiteY3599" fmla="*/ 1120799 h 1541722"/>
                    <a:gd name="connsiteX3600" fmla="*/ 2654492 w 4457589"/>
                    <a:gd name="connsiteY3600" fmla="*/ 1123374 h 1541722"/>
                    <a:gd name="connsiteX3601" fmla="*/ 2657069 w 4457589"/>
                    <a:gd name="connsiteY3601" fmla="*/ 1124890 h 1541722"/>
                    <a:gd name="connsiteX3602" fmla="*/ 2661917 w 4457589"/>
                    <a:gd name="connsiteY3602" fmla="*/ 1125647 h 1541722"/>
                    <a:gd name="connsiteX3603" fmla="*/ 2666614 w 4457589"/>
                    <a:gd name="connsiteY3603" fmla="*/ 1128375 h 1541722"/>
                    <a:gd name="connsiteX3604" fmla="*/ 2668433 w 4457589"/>
                    <a:gd name="connsiteY3604" fmla="*/ 1128526 h 1541722"/>
                    <a:gd name="connsiteX3605" fmla="*/ 2669190 w 4457589"/>
                    <a:gd name="connsiteY3605" fmla="*/ 1127011 h 1541722"/>
                    <a:gd name="connsiteX3606" fmla="*/ 2670857 w 4457589"/>
                    <a:gd name="connsiteY3606" fmla="*/ 1126102 h 1541722"/>
                    <a:gd name="connsiteX3607" fmla="*/ 2673735 w 4457589"/>
                    <a:gd name="connsiteY3607" fmla="*/ 1125799 h 1541722"/>
                    <a:gd name="connsiteX3608" fmla="*/ 2677827 w 4457589"/>
                    <a:gd name="connsiteY3608" fmla="*/ 1127314 h 1541722"/>
                    <a:gd name="connsiteX3609" fmla="*/ 2683281 w 4457589"/>
                    <a:gd name="connsiteY3609" fmla="*/ 1130344 h 1541722"/>
                    <a:gd name="connsiteX3610" fmla="*/ 2686614 w 4457589"/>
                    <a:gd name="connsiteY3610" fmla="*/ 1131708 h 1541722"/>
                    <a:gd name="connsiteX3611" fmla="*/ 2687978 w 4457589"/>
                    <a:gd name="connsiteY3611" fmla="*/ 1131253 h 1541722"/>
                    <a:gd name="connsiteX3612" fmla="*/ 2689493 w 4457589"/>
                    <a:gd name="connsiteY3612" fmla="*/ 1131860 h 1541722"/>
                    <a:gd name="connsiteX3613" fmla="*/ 2690706 w 4457589"/>
                    <a:gd name="connsiteY3613" fmla="*/ 1133223 h 1541722"/>
                    <a:gd name="connsiteX3614" fmla="*/ 2690706 w 4457589"/>
                    <a:gd name="connsiteY3614" fmla="*/ 1135041 h 1541722"/>
                    <a:gd name="connsiteX3615" fmla="*/ 2690402 w 4457589"/>
                    <a:gd name="connsiteY3615" fmla="*/ 1135951 h 1541722"/>
                    <a:gd name="connsiteX3616" fmla="*/ 2691615 w 4457589"/>
                    <a:gd name="connsiteY3616" fmla="*/ 1137466 h 1541722"/>
                    <a:gd name="connsiteX3617" fmla="*/ 2693131 w 4457589"/>
                    <a:gd name="connsiteY3617" fmla="*/ 1137466 h 1541722"/>
                    <a:gd name="connsiteX3618" fmla="*/ 2695555 w 4457589"/>
                    <a:gd name="connsiteY3618" fmla="*/ 1138223 h 1541722"/>
                    <a:gd name="connsiteX3619" fmla="*/ 2697524 w 4457589"/>
                    <a:gd name="connsiteY3619" fmla="*/ 1140799 h 1541722"/>
                    <a:gd name="connsiteX3620" fmla="*/ 2699191 w 4457589"/>
                    <a:gd name="connsiteY3620" fmla="*/ 1142011 h 1541722"/>
                    <a:gd name="connsiteX3621" fmla="*/ 2700403 w 4457589"/>
                    <a:gd name="connsiteY3621" fmla="*/ 1143072 h 1541722"/>
                    <a:gd name="connsiteX3622" fmla="*/ 2700555 w 4457589"/>
                    <a:gd name="connsiteY3622" fmla="*/ 1143830 h 1541722"/>
                    <a:gd name="connsiteX3623" fmla="*/ 2700707 w 4457589"/>
                    <a:gd name="connsiteY3623" fmla="*/ 1144739 h 1541722"/>
                    <a:gd name="connsiteX3624" fmla="*/ 2700403 w 4457589"/>
                    <a:gd name="connsiteY3624" fmla="*/ 1145496 h 1541722"/>
                    <a:gd name="connsiteX3625" fmla="*/ 2699646 w 4457589"/>
                    <a:gd name="connsiteY3625" fmla="*/ 1146557 h 1541722"/>
                    <a:gd name="connsiteX3626" fmla="*/ 2699494 w 4457589"/>
                    <a:gd name="connsiteY3626" fmla="*/ 1147769 h 1541722"/>
                    <a:gd name="connsiteX3627" fmla="*/ 2700403 w 4457589"/>
                    <a:gd name="connsiteY3627" fmla="*/ 1149133 h 1541722"/>
                    <a:gd name="connsiteX3628" fmla="*/ 2703434 w 4457589"/>
                    <a:gd name="connsiteY3628" fmla="*/ 1150193 h 1541722"/>
                    <a:gd name="connsiteX3629" fmla="*/ 2704343 w 4457589"/>
                    <a:gd name="connsiteY3629" fmla="*/ 1151103 h 1541722"/>
                    <a:gd name="connsiteX3630" fmla="*/ 2704645 w 4457589"/>
                    <a:gd name="connsiteY3630" fmla="*/ 1152466 h 1541722"/>
                    <a:gd name="connsiteX3631" fmla="*/ 2705554 w 4457589"/>
                    <a:gd name="connsiteY3631" fmla="*/ 1153830 h 1541722"/>
                    <a:gd name="connsiteX3632" fmla="*/ 2707676 w 4457589"/>
                    <a:gd name="connsiteY3632" fmla="*/ 1155497 h 1541722"/>
                    <a:gd name="connsiteX3633" fmla="*/ 2708433 w 4457589"/>
                    <a:gd name="connsiteY3633" fmla="*/ 1156860 h 1541722"/>
                    <a:gd name="connsiteX3634" fmla="*/ 2707979 w 4457589"/>
                    <a:gd name="connsiteY3634" fmla="*/ 1158073 h 1541722"/>
                    <a:gd name="connsiteX3635" fmla="*/ 2708585 w 4457589"/>
                    <a:gd name="connsiteY3635" fmla="*/ 1158982 h 1541722"/>
                    <a:gd name="connsiteX3636" fmla="*/ 2709646 w 4457589"/>
                    <a:gd name="connsiteY3636" fmla="*/ 1159739 h 1541722"/>
                    <a:gd name="connsiteX3637" fmla="*/ 2709798 w 4457589"/>
                    <a:gd name="connsiteY3637" fmla="*/ 1162315 h 1541722"/>
                    <a:gd name="connsiteX3638" fmla="*/ 2709949 w 4457589"/>
                    <a:gd name="connsiteY3638" fmla="*/ 1163830 h 1541722"/>
                    <a:gd name="connsiteX3639" fmla="*/ 2711616 w 4457589"/>
                    <a:gd name="connsiteY3639" fmla="*/ 1165497 h 1541722"/>
                    <a:gd name="connsiteX3640" fmla="*/ 2711919 w 4457589"/>
                    <a:gd name="connsiteY3640" fmla="*/ 1168982 h 1541722"/>
                    <a:gd name="connsiteX3641" fmla="*/ 2712980 w 4457589"/>
                    <a:gd name="connsiteY3641" fmla="*/ 1172922 h 1541722"/>
                    <a:gd name="connsiteX3642" fmla="*/ 2716919 w 4457589"/>
                    <a:gd name="connsiteY3642" fmla="*/ 1178225 h 1541722"/>
                    <a:gd name="connsiteX3643" fmla="*/ 2718283 w 4457589"/>
                    <a:gd name="connsiteY3643" fmla="*/ 1181104 h 1541722"/>
                    <a:gd name="connsiteX3644" fmla="*/ 2717979 w 4457589"/>
                    <a:gd name="connsiteY3644" fmla="*/ 1184437 h 1541722"/>
                    <a:gd name="connsiteX3645" fmla="*/ 2718434 w 4457589"/>
                    <a:gd name="connsiteY3645" fmla="*/ 1185952 h 1541722"/>
                    <a:gd name="connsiteX3646" fmla="*/ 2720252 w 4457589"/>
                    <a:gd name="connsiteY3646" fmla="*/ 1186710 h 1541722"/>
                    <a:gd name="connsiteX3647" fmla="*/ 2721162 w 4457589"/>
                    <a:gd name="connsiteY3647" fmla="*/ 1188225 h 1541722"/>
                    <a:gd name="connsiteX3648" fmla="*/ 2721010 w 4457589"/>
                    <a:gd name="connsiteY3648" fmla="*/ 1190346 h 1541722"/>
                    <a:gd name="connsiteX3649" fmla="*/ 2721767 w 4457589"/>
                    <a:gd name="connsiteY3649" fmla="*/ 1191559 h 1541722"/>
                    <a:gd name="connsiteX3650" fmla="*/ 2722222 w 4457589"/>
                    <a:gd name="connsiteY3650" fmla="*/ 1192922 h 1541722"/>
                    <a:gd name="connsiteX3651" fmla="*/ 2721919 w 4457589"/>
                    <a:gd name="connsiteY3651" fmla="*/ 1195195 h 1541722"/>
                    <a:gd name="connsiteX3652" fmla="*/ 2722526 w 4457589"/>
                    <a:gd name="connsiteY3652" fmla="*/ 1197013 h 1541722"/>
                    <a:gd name="connsiteX3653" fmla="*/ 2723435 w 4457589"/>
                    <a:gd name="connsiteY3653" fmla="*/ 1198226 h 1541722"/>
                    <a:gd name="connsiteX3654" fmla="*/ 2724040 w 4457589"/>
                    <a:gd name="connsiteY3654" fmla="*/ 1200347 h 1541722"/>
                    <a:gd name="connsiteX3655" fmla="*/ 2724344 w 4457589"/>
                    <a:gd name="connsiteY3655" fmla="*/ 1202923 h 1541722"/>
                    <a:gd name="connsiteX3656" fmla="*/ 2727071 w 4457589"/>
                    <a:gd name="connsiteY3656" fmla="*/ 1207014 h 1541722"/>
                    <a:gd name="connsiteX3657" fmla="*/ 2731920 w 4457589"/>
                    <a:gd name="connsiteY3657" fmla="*/ 1212620 h 1541722"/>
                    <a:gd name="connsiteX3658" fmla="*/ 2734799 w 4457589"/>
                    <a:gd name="connsiteY3658" fmla="*/ 1217014 h 1541722"/>
                    <a:gd name="connsiteX3659" fmla="*/ 2735859 w 4457589"/>
                    <a:gd name="connsiteY3659" fmla="*/ 1220196 h 1541722"/>
                    <a:gd name="connsiteX3660" fmla="*/ 2736010 w 4457589"/>
                    <a:gd name="connsiteY3660" fmla="*/ 1222772 h 1541722"/>
                    <a:gd name="connsiteX3661" fmla="*/ 2734950 w 4457589"/>
                    <a:gd name="connsiteY3661" fmla="*/ 1224742 h 1541722"/>
                    <a:gd name="connsiteX3662" fmla="*/ 2734799 w 4457589"/>
                    <a:gd name="connsiteY3662" fmla="*/ 1226257 h 1541722"/>
                    <a:gd name="connsiteX3663" fmla="*/ 2735708 w 4457589"/>
                    <a:gd name="connsiteY3663" fmla="*/ 1227166 h 1541722"/>
                    <a:gd name="connsiteX3664" fmla="*/ 2736010 w 4457589"/>
                    <a:gd name="connsiteY3664" fmla="*/ 1228378 h 1541722"/>
                    <a:gd name="connsiteX3665" fmla="*/ 2735708 w 4457589"/>
                    <a:gd name="connsiteY3665" fmla="*/ 1229893 h 1541722"/>
                    <a:gd name="connsiteX3666" fmla="*/ 2737223 w 4457589"/>
                    <a:gd name="connsiteY3666" fmla="*/ 1231712 h 1541722"/>
                    <a:gd name="connsiteX3667" fmla="*/ 2742526 w 4457589"/>
                    <a:gd name="connsiteY3667" fmla="*/ 1234894 h 1541722"/>
                    <a:gd name="connsiteX3668" fmla="*/ 2740405 w 4457589"/>
                    <a:gd name="connsiteY3668" fmla="*/ 1239894 h 1541722"/>
                    <a:gd name="connsiteX3669" fmla="*/ 2739950 w 4457589"/>
                    <a:gd name="connsiteY3669" fmla="*/ 1243379 h 1541722"/>
                    <a:gd name="connsiteX3670" fmla="*/ 2740253 w 4457589"/>
                    <a:gd name="connsiteY3670" fmla="*/ 1246864 h 1541722"/>
                    <a:gd name="connsiteX3671" fmla="*/ 2741466 w 4457589"/>
                    <a:gd name="connsiteY3671" fmla="*/ 1249440 h 1541722"/>
                    <a:gd name="connsiteX3672" fmla="*/ 2743890 w 4457589"/>
                    <a:gd name="connsiteY3672" fmla="*/ 1250955 h 1541722"/>
                    <a:gd name="connsiteX3673" fmla="*/ 2745254 w 4457589"/>
                    <a:gd name="connsiteY3673" fmla="*/ 1252470 h 1541722"/>
                    <a:gd name="connsiteX3674" fmla="*/ 2745860 w 4457589"/>
                    <a:gd name="connsiteY3674" fmla="*/ 1254137 h 1541722"/>
                    <a:gd name="connsiteX3675" fmla="*/ 2748738 w 4457589"/>
                    <a:gd name="connsiteY3675" fmla="*/ 1255803 h 1541722"/>
                    <a:gd name="connsiteX3676" fmla="*/ 2753739 w 4457589"/>
                    <a:gd name="connsiteY3676" fmla="*/ 1257773 h 1541722"/>
                    <a:gd name="connsiteX3677" fmla="*/ 2760254 w 4457589"/>
                    <a:gd name="connsiteY3677" fmla="*/ 1258076 h 1541722"/>
                    <a:gd name="connsiteX3678" fmla="*/ 2768284 w 4457589"/>
                    <a:gd name="connsiteY3678" fmla="*/ 1256864 h 1541722"/>
                    <a:gd name="connsiteX3679" fmla="*/ 2773133 w 4457589"/>
                    <a:gd name="connsiteY3679" fmla="*/ 1256713 h 1541722"/>
                    <a:gd name="connsiteX3680" fmla="*/ 2774800 w 4457589"/>
                    <a:gd name="connsiteY3680" fmla="*/ 1257470 h 1541722"/>
                    <a:gd name="connsiteX3681" fmla="*/ 2775406 w 4457589"/>
                    <a:gd name="connsiteY3681" fmla="*/ 1258682 h 1541722"/>
                    <a:gd name="connsiteX3682" fmla="*/ 2774951 w 4457589"/>
                    <a:gd name="connsiteY3682" fmla="*/ 1260349 h 1541722"/>
                    <a:gd name="connsiteX3683" fmla="*/ 2776164 w 4457589"/>
                    <a:gd name="connsiteY3683" fmla="*/ 1261561 h 1541722"/>
                    <a:gd name="connsiteX3684" fmla="*/ 2779497 w 4457589"/>
                    <a:gd name="connsiteY3684" fmla="*/ 1262016 h 1541722"/>
                    <a:gd name="connsiteX3685" fmla="*/ 2781770 w 4457589"/>
                    <a:gd name="connsiteY3685" fmla="*/ 1263076 h 1541722"/>
                    <a:gd name="connsiteX3686" fmla="*/ 2782982 w 4457589"/>
                    <a:gd name="connsiteY3686" fmla="*/ 1264592 h 1541722"/>
                    <a:gd name="connsiteX3687" fmla="*/ 2784497 w 4457589"/>
                    <a:gd name="connsiteY3687" fmla="*/ 1265046 h 1541722"/>
                    <a:gd name="connsiteX3688" fmla="*/ 2786164 w 4457589"/>
                    <a:gd name="connsiteY3688" fmla="*/ 1264440 h 1541722"/>
                    <a:gd name="connsiteX3689" fmla="*/ 2787982 w 4457589"/>
                    <a:gd name="connsiteY3689" fmla="*/ 1264440 h 1541722"/>
                    <a:gd name="connsiteX3690" fmla="*/ 2789649 w 4457589"/>
                    <a:gd name="connsiteY3690" fmla="*/ 1265349 h 1541722"/>
                    <a:gd name="connsiteX3691" fmla="*/ 2790710 w 4457589"/>
                    <a:gd name="connsiteY3691" fmla="*/ 1265046 h 1541722"/>
                    <a:gd name="connsiteX3692" fmla="*/ 2791619 w 4457589"/>
                    <a:gd name="connsiteY3692" fmla="*/ 1264137 h 1541722"/>
                    <a:gd name="connsiteX3693" fmla="*/ 2793286 w 4457589"/>
                    <a:gd name="connsiteY3693" fmla="*/ 1264137 h 1541722"/>
                    <a:gd name="connsiteX3694" fmla="*/ 2794800 w 4457589"/>
                    <a:gd name="connsiteY3694" fmla="*/ 1264137 h 1541722"/>
                    <a:gd name="connsiteX3695" fmla="*/ 2795710 w 4457589"/>
                    <a:gd name="connsiteY3695" fmla="*/ 1266410 h 1541722"/>
                    <a:gd name="connsiteX3696" fmla="*/ 2797376 w 4457589"/>
                    <a:gd name="connsiteY3696" fmla="*/ 1267774 h 1541722"/>
                    <a:gd name="connsiteX3697" fmla="*/ 2799498 w 4457589"/>
                    <a:gd name="connsiteY3697" fmla="*/ 1268077 h 1541722"/>
                    <a:gd name="connsiteX3698" fmla="*/ 2802831 w 4457589"/>
                    <a:gd name="connsiteY3698" fmla="*/ 1270804 h 1541722"/>
                    <a:gd name="connsiteX3699" fmla="*/ 2809498 w 4457589"/>
                    <a:gd name="connsiteY3699" fmla="*/ 1278835 h 1541722"/>
                    <a:gd name="connsiteX3700" fmla="*/ 2813892 w 4457589"/>
                    <a:gd name="connsiteY3700" fmla="*/ 1281713 h 1541722"/>
                    <a:gd name="connsiteX3701" fmla="*/ 2818286 w 4457589"/>
                    <a:gd name="connsiteY3701" fmla="*/ 1282623 h 1541722"/>
                    <a:gd name="connsiteX3702" fmla="*/ 2823590 w 4457589"/>
                    <a:gd name="connsiteY3702" fmla="*/ 1282774 h 1541722"/>
                    <a:gd name="connsiteX3703" fmla="*/ 2825408 w 4457589"/>
                    <a:gd name="connsiteY3703" fmla="*/ 1285956 h 1541722"/>
                    <a:gd name="connsiteX3704" fmla="*/ 2824044 w 4457589"/>
                    <a:gd name="connsiteY3704" fmla="*/ 1289138 h 1541722"/>
                    <a:gd name="connsiteX3705" fmla="*/ 2823590 w 4457589"/>
                    <a:gd name="connsiteY3705" fmla="*/ 1291865 h 1541722"/>
                    <a:gd name="connsiteX3706" fmla="*/ 2824802 w 4457589"/>
                    <a:gd name="connsiteY3706" fmla="*/ 1292926 h 1541722"/>
                    <a:gd name="connsiteX3707" fmla="*/ 2826620 w 4457589"/>
                    <a:gd name="connsiteY3707" fmla="*/ 1296108 h 1541722"/>
                    <a:gd name="connsiteX3708" fmla="*/ 2828893 w 4457589"/>
                    <a:gd name="connsiteY3708" fmla="*/ 1297926 h 1541722"/>
                    <a:gd name="connsiteX3709" fmla="*/ 2829348 w 4457589"/>
                    <a:gd name="connsiteY3709" fmla="*/ 1299441 h 1541722"/>
                    <a:gd name="connsiteX3710" fmla="*/ 2830559 w 4457589"/>
                    <a:gd name="connsiteY3710" fmla="*/ 1300957 h 1541722"/>
                    <a:gd name="connsiteX3711" fmla="*/ 2830105 w 4457589"/>
                    <a:gd name="connsiteY3711" fmla="*/ 1304139 h 1541722"/>
                    <a:gd name="connsiteX3712" fmla="*/ 2827984 w 4457589"/>
                    <a:gd name="connsiteY3712" fmla="*/ 1308533 h 1541722"/>
                    <a:gd name="connsiteX3713" fmla="*/ 2828590 w 4457589"/>
                    <a:gd name="connsiteY3713" fmla="*/ 1312321 h 1541722"/>
                    <a:gd name="connsiteX3714" fmla="*/ 2831772 w 4457589"/>
                    <a:gd name="connsiteY3714" fmla="*/ 1315351 h 1541722"/>
                    <a:gd name="connsiteX3715" fmla="*/ 2833590 w 4457589"/>
                    <a:gd name="connsiteY3715" fmla="*/ 1318382 h 1541722"/>
                    <a:gd name="connsiteX3716" fmla="*/ 2834045 w 4457589"/>
                    <a:gd name="connsiteY3716" fmla="*/ 1321260 h 1541722"/>
                    <a:gd name="connsiteX3717" fmla="*/ 2834802 w 4457589"/>
                    <a:gd name="connsiteY3717" fmla="*/ 1323079 h 1541722"/>
                    <a:gd name="connsiteX3718" fmla="*/ 2836015 w 4457589"/>
                    <a:gd name="connsiteY3718" fmla="*/ 1323685 h 1541722"/>
                    <a:gd name="connsiteX3719" fmla="*/ 2839196 w 4457589"/>
                    <a:gd name="connsiteY3719" fmla="*/ 1323533 h 1541722"/>
                    <a:gd name="connsiteX3720" fmla="*/ 2844651 w 4457589"/>
                    <a:gd name="connsiteY3720" fmla="*/ 1322473 h 1541722"/>
                    <a:gd name="connsiteX3721" fmla="*/ 2848590 w 4457589"/>
                    <a:gd name="connsiteY3721" fmla="*/ 1322624 h 1541722"/>
                    <a:gd name="connsiteX3722" fmla="*/ 2851167 w 4457589"/>
                    <a:gd name="connsiteY3722" fmla="*/ 1323988 h 1541722"/>
                    <a:gd name="connsiteX3723" fmla="*/ 2857379 w 4457589"/>
                    <a:gd name="connsiteY3723" fmla="*/ 1324139 h 1541722"/>
                    <a:gd name="connsiteX3724" fmla="*/ 2867379 w 4457589"/>
                    <a:gd name="connsiteY3724" fmla="*/ 1322776 h 1541722"/>
                    <a:gd name="connsiteX3725" fmla="*/ 2873591 w 4457589"/>
                    <a:gd name="connsiteY3725" fmla="*/ 1322321 h 1541722"/>
                    <a:gd name="connsiteX3726" fmla="*/ 2876319 w 4457589"/>
                    <a:gd name="connsiteY3726" fmla="*/ 1322927 h 1541722"/>
                    <a:gd name="connsiteX3727" fmla="*/ 2878592 w 4457589"/>
                    <a:gd name="connsiteY3727" fmla="*/ 1320957 h 1541722"/>
                    <a:gd name="connsiteX3728" fmla="*/ 2880712 w 4457589"/>
                    <a:gd name="connsiteY3728" fmla="*/ 1316715 h 1541722"/>
                    <a:gd name="connsiteX3729" fmla="*/ 2882532 w 4457589"/>
                    <a:gd name="connsiteY3729" fmla="*/ 1314745 h 1541722"/>
                    <a:gd name="connsiteX3730" fmla="*/ 2884350 w 4457589"/>
                    <a:gd name="connsiteY3730" fmla="*/ 1315048 h 1541722"/>
                    <a:gd name="connsiteX3731" fmla="*/ 2887229 w 4457589"/>
                    <a:gd name="connsiteY3731" fmla="*/ 1313684 h 1541722"/>
                    <a:gd name="connsiteX3732" fmla="*/ 2891167 w 4457589"/>
                    <a:gd name="connsiteY3732" fmla="*/ 1310654 h 1541722"/>
                    <a:gd name="connsiteX3733" fmla="*/ 2894501 w 4457589"/>
                    <a:gd name="connsiteY3733" fmla="*/ 1309290 h 1541722"/>
                    <a:gd name="connsiteX3734" fmla="*/ 2898895 w 4457589"/>
                    <a:gd name="connsiteY3734" fmla="*/ 1309442 h 1541722"/>
                    <a:gd name="connsiteX3735" fmla="*/ 2903441 w 4457589"/>
                    <a:gd name="connsiteY3735" fmla="*/ 1309593 h 1541722"/>
                    <a:gd name="connsiteX3736" fmla="*/ 2906320 w 4457589"/>
                    <a:gd name="connsiteY3736" fmla="*/ 1308381 h 1541722"/>
                    <a:gd name="connsiteX3737" fmla="*/ 2909048 w 4457589"/>
                    <a:gd name="connsiteY3737" fmla="*/ 1305654 h 1541722"/>
                    <a:gd name="connsiteX3738" fmla="*/ 2913593 w 4457589"/>
                    <a:gd name="connsiteY3738" fmla="*/ 1303381 h 1541722"/>
                    <a:gd name="connsiteX3739" fmla="*/ 2923593 w 4457589"/>
                    <a:gd name="connsiteY3739" fmla="*/ 1300351 h 1541722"/>
                    <a:gd name="connsiteX3740" fmla="*/ 2926018 w 4457589"/>
                    <a:gd name="connsiteY3740" fmla="*/ 1299896 h 1541722"/>
                    <a:gd name="connsiteX3741" fmla="*/ 2927079 w 4457589"/>
                    <a:gd name="connsiteY3741" fmla="*/ 1300047 h 1541722"/>
                    <a:gd name="connsiteX3742" fmla="*/ 2930412 w 4457589"/>
                    <a:gd name="connsiteY3742" fmla="*/ 1300502 h 1541722"/>
                    <a:gd name="connsiteX3743" fmla="*/ 2933442 w 4457589"/>
                    <a:gd name="connsiteY3743" fmla="*/ 1301714 h 1541722"/>
                    <a:gd name="connsiteX3744" fmla="*/ 2936170 w 4457589"/>
                    <a:gd name="connsiteY3744" fmla="*/ 1304139 h 1541722"/>
                    <a:gd name="connsiteX3745" fmla="*/ 2936624 w 4457589"/>
                    <a:gd name="connsiteY3745" fmla="*/ 1305654 h 1541722"/>
                    <a:gd name="connsiteX3746" fmla="*/ 2936321 w 4457589"/>
                    <a:gd name="connsiteY3746" fmla="*/ 1307623 h 1541722"/>
                    <a:gd name="connsiteX3747" fmla="*/ 2935715 w 4457589"/>
                    <a:gd name="connsiteY3747" fmla="*/ 1308836 h 1541722"/>
                    <a:gd name="connsiteX3748" fmla="*/ 2934503 w 4457589"/>
                    <a:gd name="connsiteY3748" fmla="*/ 1310048 h 1541722"/>
                    <a:gd name="connsiteX3749" fmla="*/ 2933442 w 4457589"/>
                    <a:gd name="connsiteY3749" fmla="*/ 1312169 h 1541722"/>
                    <a:gd name="connsiteX3750" fmla="*/ 2934200 w 4457589"/>
                    <a:gd name="connsiteY3750" fmla="*/ 1313836 h 1541722"/>
                    <a:gd name="connsiteX3751" fmla="*/ 2935715 w 4457589"/>
                    <a:gd name="connsiteY3751" fmla="*/ 1317321 h 1541722"/>
                    <a:gd name="connsiteX3752" fmla="*/ 2937079 w 4457589"/>
                    <a:gd name="connsiteY3752" fmla="*/ 1319897 h 1541722"/>
                    <a:gd name="connsiteX3753" fmla="*/ 2938593 w 4457589"/>
                    <a:gd name="connsiteY3753" fmla="*/ 1322927 h 1541722"/>
                    <a:gd name="connsiteX3754" fmla="*/ 2937836 w 4457589"/>
                    <a:gd name="connsiteY3754" fmla="*/ 1323988 h 1541722"/>
                    <a:gd name="connsiteX3755" fmla="*/ 2937079 w 4457589"/>
                    <a:gd name="connsiteY3755" fmla="*/ 1325958 h 1541722"/>
                    <a:gd name="connsiteX3756" fmla="*/ 2934351 w 4457589"/>
                    <a:gd name="connsiteY3756" fmla="*/ 1329442 h 1541722"/>
                    <a:gd name="connsiteX3757" fmla="*/ 2932836 w 4457589"/>
                    <a:gd name="connsiteY3757" fmla="*/ 1330806 h 1541722"/>
                    <a:gd name="connsiteX3758" fmla="*/ 2931169 w 4457589"/>
                    <a:gd name="connsiteY3758" fmla="*/ 1332170 h 1541722"/>
                    <a:gd name="connsiteX3759" fmla="*/ 2928442 w 4457589"/>
                    <a:gd name="connsiteY3759" fmla="*/ 1332473 h 1541722"/>
                    <a:gd name="connsiteX3760" fmla="*/ 2927229 w 4457589"/>
                    <a:gd name="connsiteY3760" fmla="*/ 1332776 h 1541722"/>
                    <a:gd name="connsiteX3761" fmla="*/ 2925866 w 4457589"/>
                    <a:gd name="connsiteY3761" fmla="*/ 1333382 h 1541722"/>
                    <a:gd name="connsiteX3762" fmla="*/ 2925109 w 4457589"/>
                    <a:gd name="connsiteY3762" fmla="*/ 1334594 h 1541722"/>
                    <a:gd name="connsiteX3763" fmla="*/ 2924200 w 4457589"/>
                    <a:gd name="connsiteY3763" fmla="*/ 1335503 h 1541722"/>
                    <a:gd name="connsiteX3764" fmla="*/ 2922532 w 4457589"/>
                    <a:gd name="connsiteY3764" fmla="*/ 1337170 h 1541722"/>
                    <a:gd name="connsiteX3765" fmla="*/ 2922381 w 4457589"/>
                    <a:gd name="connsiteY3765" fmla="*/ 1338685 h 1541722"/>
                    <a:gd name="connsiteX3766" fmla="*/ 2923139 w 4457589"/>
                    <a:gd name="connsiteY3766" fmla="*/ 1340958 h 1541722"/>
                    <a:gd name="connsiteX3767" fmla="*/ 2923441 w 4457589"/>
                    <a:gd name="connsiteY3767" fmla="*/ 1343231 h 1541722"/>
                    <a:gd name="connsiteX3768" fmla="*/ 2921775 w 4457589"/>
                    <a:gd name="connsiteY3768" fmla="*/ 1345201 h 1541722"/>
                    <a:gd name="connsiteX3769" fmla="*/ 2920260 w 4457589"/>
                    <a:gd name="connsiteY3769" fmla="*/ 1348383 h 1541722"/>
                    <a:gd name="connsiteX3770" fmla="*/ 2919957 w 4457589"/>
                    <a:gd name="connsiteY3770" fmla="*/ 1349292 h 1541722"/>
                    <a:gd name="connsiteX3771" fmla="*/ 2919199 w 4457589"/>
                    <a:gd name="connsiteY3771" fmla="*/ 1351716 h 1541722"/>
                    <a:gd name="connsiteX3772" fmla="*/ 2919048 w 4457589"/>
                    <a:gd name="connsiteY3772" fmla="*/ 1352474 h 1541722"/>
                    <a:gd name="connsiteX3773" fmla="*/ 2918593 w 4457589"/>
                    <a:gd name="connsiteY3773" fmla="*/ 1357474 h 1541722"/>
                    <a:gd name="connsiteX3774" fmla="*/ 2916774 w 4457589"/>
                    <a:gd name="connsiteY3774" fmla="*/ 1360959 h 1541722"/>
                    <a:gd name="connsiteX3775" fmla="*/ 2914351 w 4457589"/>
                    <a:gd name="connsiteY3775" fmla="*/ 1364898 h 1541722"/>
                    <a:gd name="connsiteX3776" fmla="*/ 2914805 w 4457589"/>
                    <a:gd name="connsiteY3776" fmla="*/ 1367171 h 1541722"/>
                    <a:gd name="connsiteX3777" fmla="*/ 2915260 w 4457589"/>
                    <a:gd name="connsiteY3777" fmla="*/ 1369444 h 1541722"/>
                    <a:gd name="connsiteX3778" fmla="*/ 2914654 w 4457589"/>
                    <a:gd name="connsiteY3778" fmla="*/ 1370505 h 1541722"/>
                    <a:gd name="connsiteX3779" fmla="*/ 2914502 w 4457589"/>
                    <a:gd name="connsiteY3779" fmla="*/ 1371414 h 1541722"/>
                    <a:gd name="connsiteX3780" fmla="*/ 2914199 w 4457589"/>
                    <a:gd name="connsiteY3780" fmla="*/ 1373383 h 1541722"/>
                    <a:gd name="connsiteX3781" fmla="*/ 2913441 w 4457589"/>
                    <a:gd name="connsiteY3781" fmla="*/ 1374293 h 1541722"/>
                    <a:gd name="connsiteX3782" fmla="*/ 2911168 w 4457589"/>
                    <a:gd name="connsiteY3782" fmla="*/ 1375505 h 1541722"/>
                    <a:gd name="connsiteX3783" fmla="*/ 2909805 w 4457589"/>
                    <a:gd name="connsiteY3783" fmla="*/ 1377172 h 1541722"/>
                    <a:gd name="connsiteX3784" fmla="*/ 2910108 w 4457589"/>
                    <a:gd name="connsiteY3784" fmla="*/ 1379596 h 1541722"/>
                    <a:gd name="connsiteX3785" fmla="*/ 2909350 w 4457589"/>
                    <a:gd name="connsiteY3785" fmla="*/ 1381566 h 1541722"/>
                    <a:gd name="connsiteX3786" fmla="*/ 2908289 w 4457589"/>
                    <a:gd name="connsiteY3786" fmla="*/ 1383384 h 1541722"/>
                    <a:gd name="connsiteX3787" fmla="*/ 2907229 w 4457589"/>
                    <a:gd name="connsiteY3787" fmla="*/ 1384596 h 1541722"/>
                    <a:gd name="connsiteX3788" fmla="*/ 2905714 w 4457589"/>
                    <a:gd name="connsiteY3788" fmla="*/ 1385354 h 1541722"/>
                    <a:gd name="connsiteX3789" fmla="*/ 2904653 w 4457589"/>
                    <a:gd name="connsiteY3789" fmla="*/ 1386111 h 1541722"/>
                    <a:gd name="connsiteX3790" fmla="*/ 2903896 w 4457589"/>
                    <a:gd name="connsiteY3790" fmla="*/ 1388384 h 1541722"/>
                    <a:gd name="connsiteX3791" fmla="*/ 2903592 w 4457589"/>
                    <a:gd name="connsiteY3791" fmla="*/ 1390202 h 1541722"/>
                    <a:gd name="connsiteX3792" fmla="*/ 2902835 w 4457589"/>
                    <a:gd name="connsiteY3792" fmla="*/ 1392020 h 1541722"/>
                    <a:gd name="connsiteX3793" fmla="*/ 2903290 w 4457589"/>
                    <a:gd name="connsiteY3793" fmla="*/ 1393839 h 1541722"/>
                    <a:gd name="connsiteX3794" fmla="*/ 2902531 w 4457589"/>
                    <a:gd name="connsiteY3794" fmla="*/ 1395354 h 1541722"/>
                    <a:gd name="connsiteX3795" fmla="*/ 2900259 w 4457589"/>
                    <a:gd name="connsiteY3795" fmla="*/ 1396415 h 1541722"/>
                    <a:gd name="connsiteX3796" fmla="*/ 2899047 w 4457589"/>
                    <a:gd name="connsiteY3796" fmla="*/ 1397172 h 1541722"/>
                    <a:gd name="connsiteX3797" fmla="*/ 2897986 w 4457589"/>
                    <a:gd name="connsiteY3797" fmla="*/ 1397324 h 1541722"/>
                    <a:gd name="connsiteX3798" fmla="*/ 2895714 w 4457589"/>
                    <a:gd name="connsiteY3798" fmla="*/ 1399142 h 1541722"/>
                    <a:gd name="connsiteX3799" fmla="*/ 2893744 w 4457589"/>
                    <a:gd name="connsiteY3799" fmla="*/ 1405051 h 1541722"/>
                    <a:gd name="connsiteX3800" fmla="*/ 2893289 w 4457589"/>
                    <a:gd name="connsiteY3800" fmla="*/ 1408385 h 1541722"/>
                    <a:gd name="connsiteX3801" fmla="*/ 2893744 w 4457589"/>
                    <a:gd name="connsiteY3801" fmla="*/ 1411415 h 1541722"/>
                    <a:gd name="connsiteX3802" fmla="*/ 2890865 w 4457589"/>
                    <a:gd name="connsiteY3802" fmla="*/ 1413385 h 1541722"/>
                    <a:gd name="connsiteX3803" fmla="*/ 2888895 w 4457589"/>
                    <a:gd name="connsiteY3803" fmla="*/ 1414900 h 1541722"/>
                    <a:gd name="connsiteX3804" fmla="*/ 2887531 w 4457589"/>
                    <a:gd name="connsiteY3804" fmla="*/ 1414294 h 1541722"/>
                    <a:gd name="connsiteX3805" fmla="*/ 2886168 w 4457589"/>
                    <a:gd name="connsiteY3805" fmla="*/ 1413839 h 1541722"/>
                    <a:gd name="connsiteX3806" fmla="*/ 2885410 w 4457589"/>
                    <a:gd name="connsiteY3806" fmla="*/ 1413688 h 1541722"/>
                    <a:gd name="connsiteX3807" fmla="*/ 2885410 w 4457589"/>
                    <a:gd name="connsiteY3807" fmla="*/ 1414143 h 1541722"/>
                    <a:gd name="connsiteX3808" fmla="*/ 2883591 w 4457589"/>
                    <a:gd name="connsiteY3808" fmla="*/ 1417779 h 1541722"/>
                    <a:gd name="connsiteX3809" fmla="*/ 2880107 w 4457589"/>
                    <a:gd name="connsiteY3809" fmla="*/ 1425507 h 1541722"/>
                    <a:gd name="connsiteX3810" fmla="*/ 2875865 w 4457589"/>
                    <a:gd name="connsiteY3810" fmla="*/ 1428840 h 1541722"/>
                    <a:gd name="connsiteX3811" fmla="*/ 2873288 w 4457589"/>
                    <a:gd name="connsiteY3811" fmla="*/ 1431719 h 1541722"/>
                    <a:gd name="connsiteX3812" fmla="*/ 2870864 w 4457589"/>
                    <a:gd name="connsiteY3812" fmla="*/ 1430355 h 1541722"/>
                    <a:gd name="connsiteX3813" fmla="*/ 2869803 w 4457589"/>
                    <a:gd name="connsiteY3813" fmla="*/ 1429143 h 1541722"/>
                    <a:gd name="connsiteX3814" fmla="*/ 2869803 w 4457589"/>
                    <a:gd name="connsiteY3814" fmla="*/ 1428385 h 1541722"/>
                    <a:gd name="connsiteX3815" fmla="*/ 2867834 w 4457589"/>
                    <a:gd name="connsiteY3815" fmla="*/ 1426870 h 1541722"/>
                    <a:gd name="connsiteX3816" fmla="*/ 2865106 w 4457589"/>
                    <a:gd name="connsiteY3816" fmla="*/ 1424597 h 1541722"/>
                    <a:gd name="connsiteX3817" fmla="*/ 2865560 w 4457589"/>
                    <a:gd name="connsiteY3817" fmla="*/ 1420809 h 1541722"/>
                    <a:gd name="connsiteX3818" fmla="*/ 2866167 w 4457589"/>
                    <a:gd name="connsiteY3818" fmla="*/ 1416870 h 1541722"/>
                    <a:gd name="connsiteX3819" fmla="*/ 2863591 w 4457589"/>
                    <a:gd name="connsiteY3819" fmla="*/ 1413385 h 1541722"/>
                    <a:gd name="connsiteX3820" fmla="*/ 2863742 w 4457589"/>
                    <a:gd name="connsiteY3820" fmla="*/ 1411567 h 1541722"/>
                    <a:gd name="connsiteX3821" fmla="*/ 2863440 w 4457589"/>
                    <a:gd name="connsiteY3821" fmla="*/ 1408688 h 1541722"/>
                    <a:gd name="connsiteX3822" fmla="*/ 2863894 w 4457589"/>
                    <a:gd name="connsiteY3822" fmla="*/ 1407930 h 1541722"/>
                    <a:gd name="connsiteX3823" fmla="*/ 2862682 w 4457589"/>
                    <a:gd name="connsiteY3823" fmla="*/ 1407627 h 1541722"/>
                    <a:gd name="connsiteX3824" fmla="*/ 2860713 w 4457589"/>
                    <a:gd name="connsiteY3824" fmla="*/ 1406567 h 1541722"/>
                    <a:gd name="connsiteX3825" fmla="*/ 2859197 w 4457589"/>
                    <a:gd name="connsiteY3825" fmla="*/ 1404748 h 1541722"/>
                    <a:gd name="connsiteX3826" fmla="*/ 2857682 w 4457589"/>
                    <a:gd name="connsiteY3826" fmla="*/ 1405506 h 1541722"/>
                    <a:gd name="connsiteX3827" fmla="*/ 2856166 w 4457589"/>
                    <a:gd name="connsiteY3827" fmla="*/ 1407627 h 1541722"/>
                    <a:gd name="connsiteX3828" fmla="*/ 2853742 w 4457589"/>
                    <a:gd name="connsiteY3828" fmla="*/ 1408839 h 1541722"/>
                    <a:gd name="connsiteX3829" fmla="*/ 2852681 w 4457589"/>
                    <a:gd name="connsiteY3829" fmla="*/ 1411264 h 1541722"/>
                    <a:gd name="connsiteX3830" fmla="*/ 2851772 w 4457589"/>
                    <a:gd name="connsiteY3830" fmla="*/ 1413082 h 1541722"/>
                    <a:gd name="connsiteX3831" fmla="*/ 2849197 w 4457589"/>
                    <a:gd name="connsiteY3831" fmla="*/ 1415355 h 1541722"/>
                    <a:gd name="connsiteX3832" fmla="*/ 2848136 w 4457589"/>
                    <a:gd name="connsiteY3832" fmla="*/ 1416415 h 1541722"/>
                    <a:gd name="connsiteX3833" fmla="*/ 2843287 w 4457589"/>
                    <a:gd name="connsiteY3833" fmla="*/ 1417931 h 1541722"/>
                    <a:gd name="connsiteX3834" fmla="*/ 2842075 w 4457589"/>
                    <a:gd name="connsiteY3834" fmla="*/ 1418537 h 1541722"/>
                    <a:gd name="connsiteX3835" fmla="*/ 2838135 w 4457589"/>
                    <a:gd name="connsiteY3835" fmla="*/ 1418840 h 1541722"/>
                    <a:gd name="connsiteX3836" fmla="*/ 2836772 w 4457589"/>
                    <a:gd name="connsiteY3836" fmla="*/ 1419597 h 1541722"/>
                    <a:gd name="connsiteX3837" fmla="*/ 2835408 w 4457589"/>
                    <a:gd name="connsiteY3837" fmla="*/ 1421113 h 1541722"/>
                    <a:gd name="connsiteX3838" fmla="*/ 2834954 w 4457589"/>
                    <a:gd name="connsiteY3838" fmla="*/ 1422628 h 1541722"/>
                    <a:gd name="connsiteX3839" fmla="*/ 2836015 w 4457589"/>
                    <a:gd name="connsiteY3839" fmla="*/ 1424143 h 1541722"/>
                    <a:gd name="connsiteX3840" fmla="*/ 2837529 w 4457589"/>
                    <a:gd name="connsiteY3840" fmla="*/ 1427325 h 1541722"/>
                    <a:gd name="connsiteX3841" fmla="*/ 2838287 w 4457589"/>
                    <a:gd name="connsiteY3841" fmla="*/ 1429446 h 1541722"/>
                    <a:gd name="connsiteX3842" fmla="*/ 2839348 w 4457589"/>
                    <a:gd name="connsiteY3842" fmla="*/ 1433689 h 1541722"/>
                    <a:gd name="connsiteX3843" fmla="*/ 2842832 w 4457589"/>
                    <a:gd name="connsiteY3843" fmla="*/ 1447023 h 1541722"/>
                    <a:gd name="connsiteX3844" fmla="*/ 2841772 w 4457589"/>
                    <a:gd name="connsiteY3844" fmla="*/ 1449295 h 1541722"/>
                    <a:gd name="connsiteX3845" fmla="*/ 2840712 w 4457589"/>
                    <a:gd name="connsiteY3845" fmla="*/ 1459296 h 1541722"/>
                    <a:gd name="connsiteX3846" fmla="*/ 2840863 w 4457589"/>
                    <a:gd name="connsiteY3846" fmla="*/ 1461114 h 1541722"/>
                    <a:gd name="connsiteX3847" fmla="*/ 2840863 w 4457589"/>
                    <a:gd name="connsiteY3847" fmla="*/ 1463841 h 1541722"/>
                    <a:gd name="connsiteX3848" fmla="*/ 2840863 w 4457589"/>
                    <a:gd name="connsiteY3848" fmla="*/ 1465963 h 1541722"/>
                    <a:gd name="connsiteX3849" fmla="*/ 2841621 w 4457589"/>
                    <a:gd name="connsiteY3849" fmla="*/ 1466417 h 1541722"/>
                    <a:gd name="connsiteX3850" fmla="*/ 2842530 w 4457589"/>
                    <a:gd name="connsiteY3850" fmla="*/ 1467175 h 1541722"/>
                    <a:gd name="connsiteX3851" fmla="*/ 2842984 w 4457589"/>
                    <a:gd name="connsiteY3851" fmla="*/ 1468387 h 1541722"/>
                    <a:gd name="connsiteX3852" fmla="*/ 2842984 w 4457589"/>
                    <a:gd name="connsiteY3852" fmla="*/ 1470205 h 1541722"/>
                    <a:gd name="connsiteX3853" fmla="*/ 2842378 w 4457589"/>
                    <a:gd name="connsiteY3853" fmla="*/ 1471417 h 1541722"/>
                    <a:gd name="connsiteX3854" fmla="*/ 2841621 w 4457589"/>
                    <a:gd name="connsiteY3854" fmla="*/ 1474145 h 1541722"/>
                    <a:gd name="connsiteX3855" fmla="*/ 2840712 w 4457589"/>
                    <a:gd name="connsiteY3855" fmla="*/ 1477933 h 1541722"/>
                    <a:gd name="connsiteX3856" fmla="*/ 2839651 w 4457589"/>
                    <a:gd name="connsiteY3856" fmla="*/ 1479448 h 1541722"/>
                    <a:gd name="connsiteX3857" fmla="*/ 2838893 w 4457589"/>
                    <a:gd name="connsiteY3857" fmla="*/ 1480660 h 1541722"/>
                    <a:gd name="connsiteX3858" fmla="*/ 2838287 w 4457589"/>
                    <a:gd name="connsiteY3858" fmla="*/ 1481418 h 1541722"/>
                    <a:gd name="connsiteX3859" fmla="*/ 2838135 w 4457589"/>
                    <a:gd name="connsiteY3859" fmla="*/ 1484145 h 1541722"/>
                    <a:gd name="connsiteX3860" fmla="*/ 2837833 w 4457589"/>
                    <a:gd name="connsiteY3860" fmla="*/ 1485963 h 1541722"/>
                    <a:gd name="connsiteX3861" fmla="*/ 2836015 w 4457589"/>
                    <a:gd name="connsiteY3861" fmla="*/ 1486569 h 1541722"/>
                    <a:gd name="connsiteX3862" fmla="*/ 2834347 w 4457589"/>
                    <a:gd name="connsiteY3862" fmla="*/ 1487630 h 1541722"/>
                    <a:gd name="connsiteX3863" fmla="*/ 2832227 w 4457589"/>
                    <a:gd name="connsiteY3863" fmla="*/ 1487176 h 1541722"/>
                    <a:gd name="connsiteX3864" fmla="*/ 2830559 w 4457589"/>
                    <a:gd name="connsiteY3864" fmla="*/ 1487479 h 1541722"/>
                    <a:gd name="connsiteX3865" fmla="*/ 2828287 w 4457589"/>
                    <a:gd name="connsiteY3865" fmla="*/ 1488085 h 1541722"/>
                    <a:gd name="connsiteX3866" fmla="*/ 2824347 w 4457589"/>
                    <a:gd name="connsiteY3866" fmla="*/ 1488842 h 1541722"/>
                    <a:gd name="connsiteX3867" fmla="*/ 2822074 w 4457589"/>
                    <a:gd name="connsiteY3867" fmla="*/ 1489903 h 1541722"/>
                    <a:gd name="connsiteX3868" fmla="*/ 2820862 w 4457589"/>
                    <a:gd name="connsiteY3868" fmla="*/ 1490812 h 1541722"/>
                    <a:gd name="connsiteX3869" fmla="*/ 2820104 w 4457589"/>
                    <a:gd name="connsiteY3869" fmla="*/ 1491721 h 1541722"/>
                    <a:gd name="connsiteX3870" fmla="*/ 2819953 w 4457589"/>
                    <a:gd name="connsiteY3870" fmla="*/ 1492630 h 1541722"/>
                    <a:gd name="connsiteX3871" fmla="*/ 2820559 w 4457589"/>
                    <a:gd name="connsiteY3871" fmla="*/ 1493085 h 1541722"/>
                    <a:gd name="connsiteX3872" fmla="*/ 2822832 w 4457589"/>
                    <a:gd name="connsiteY3872" fmla="*/ 1493388 h 1541722"/>
                    <a:gd name="connsiteX3873" fmla="*/ 2824347 w 4457589"/>
                    <a:gd name="connsiteY3873" fmla="*/ 1495055 h 1541722"/>
                    <a:gd name="connsiteX3874" fmla="*/ 2824499 w 4457589"/>
                    <a:gd name="connsiteY3874" fmla="*/ 1497024 h 1541722"/>
                    <a:gd name="connsiteX3875" fmla="*/ 2822983 w 4457589"/>
                    <a:gd name="connsiteY3875" fmla="*/ 1497934 h 1541722"/>
                    <a:gd name="connsiteX3876" fmla="*/ 2823741 w 4457589"/>
                    <a:gd name="connsiteY3876" fmla="*/ 1500055 h 1541722"/>
                    <a:gd name="connsiteX3877" fmla="*/ 2825408 w 4457589"/>
                    <a:gd name="connsiteY3877" fmla="*/ 1502025 h 1541722"/>
                    <a:gd name="connsiteX3878" fmla="*/ 2826317 w 4457589"/>
                    <a:gd name="connsiteY3878" fmla="*/ 1503388 h 1541722"/>
                    <a:gd name="connsiteX3879" fmla="*/ 2826469 w 4457589"/>
                    <a:gd name="connsiteY3879" fmla="*/ 1504903 h 1541722"/>
                    <a:gd name="connsiteX3880" fmla="*/ 2827378 w 4457589"/>
                    <a:gd name="connsiteY3880" fmla="*/ 1505661 h 1541722"/>
                    <a:gd name="connsiteX3881" fmla="*/ 2828439 w 4457589"/>
                    <a:gd name="connsiteY3881" fmla="*/ 1504903 h 1541722"/>
                    <a:gd name="connsiteX3882" fmla="*/ 2831317 w 4457589"/>
                    <a:gd name="connsiteY3882" fmla="*/ 1498388 h 1541722"/>
                    <a:gd name="connsiteX3883" fmla="*/ 2827984 w 4457589"/>
                    <a:gd name="connsiteY3883" fmla="*/ 1493994 h 1541722"/>
                    <a:gd name="connsiteX3884" fmla="*/ 2829196 w 4457589"/>
                    <a:gd name="connsiteY3884" fmla="*/ 1493539 h 1541722"/>
                    <a:gd name="connsiteX3885" fmla="*/ 2834347 w 4457589"/>
                    <a:gd name="connsiteY3885" fmla="*/ 1494752 h 1541722"/>
                    <a:gd name="connsiteX3886" fmla="*/ 2836620 w 4457589"/>
                    <a:gd name="connsiteY3886" fmla="*/ 1494448 h 1541722"/>
                    <a:gd name="connsiteX3887" fmla="*/ 2840257 w 4457589"/>
                    <a:gd name="connsiteY3887" fmla="*/ 1495055 h 1541722"/>
                    <a:gd name="connsiteX3888" fmla="*/ 2842530 w 4457589"/>
                    <a:gd name="connsiteY3888" fmla="*/ 1492630 h 1541722"/>
                    <a:gd name="connsiteX3889" fmla="*/ 2843893 w 4457589"/>
                    <a:gd name="connsiteY3889" fmla="*/ 1490206 h 1541722"/>
                    <a:gd name="connsiteX3890" fmla="*/ 2846620 w 4457589"/>
                    <a:gd name="connsiteY3890" fmla="*/ 1488539 h 1541722"/>
                    <a:gd name="connsiteX3891" fmla="*/ 2849954 w 4457589"/>
                    <a:gd name="connsiteY3891" fmla="*/ 1482781 h 1541722"/>
                    <a:gd name="connsiteX3892" fmla="*/ 2855712 w 4457589"/>
                    <a:gd name="connsiteY3892" fmla="*/ 1475963 h 1541722"/>
                    <a:gd name="connsiteX3893" fmla="*/ 2857682 w 4457589"/>
                    <a:gd name="connsiteY3893" fmla="*/ 1474145 h 1541722"/>
                    <a:gd name="connsiteX3894" fmla="*/ 2861622 w 4457589"/>
                    <a:gd name="connsiteY3894" fmla="*/ 1472629 h 1541722"/>
                    <a:gd name="connsiteX3895" fmla="*/ 2862531 w 4457589"/>
                    <a:gd name="connsiteY3895" fmla="*/ 1472933 h 1541722"/>
                    <a:gd name="connsiteX3896" fmla="*/ 2863591 w 4457589"/>
                    <a:gd name="connsiteY3896" fmla="*/ 1473387 h 1541722"/>
                    <a:gd name="connsiteX3897" fmla="*/ 2860409 w 4457589"/>
                    <a:gd name="connsiteY3897" fmla="*/ 1477024 h 1541722"/>
                    <a:gd name="connsiteX3898" fmla="*/ 2859652 w 4457589"/>
                    <a:gd name="connsiteY3898" fmla="*/ 1479600 h 1541722"/>
                    <a:gd name="connsiteX3899" fmla="*/ 2861772 w 4457589"/>
                    <a:gd name="connsiteY3899" fmla="*/ 1479448 h 1541722"/>
                    <a:gd name="connsiteX3900" fmla="*/ 2864046 w 4457589"/>
                    <a:gd name="connsiteY3900" fmla="*/ 1478690 h 1541722"/>
                    <a:gd name="connsiteX3901" fmla="*/ 2869652 w 4457589"/>
                    <a:gd name="connsiteY3901" fmla="*/ 1474599 h 1541722"/>
                    <a:gd name="connsiteX3902" fmla="*/ 2871773 w 4457589"/>
                    <a:gd name="connsiteY3902" fmla="*/ 1472326 h 1541722"/>
                    <a:gd name="connsiteX3903" fmla="*/ 2872379 w 4457589"/>
                    <a:gd name="connsiteY3903" fmla="*/ 1474751 h 1541722"/>
                    <a:gd name="connsiteX3904" fmla="*/ 2871622 w 4457589"/>
                    <a:gd name="connsiteY3904" fmla="*/ 1486569 h 1541722"/>
                    <a:gd name="connsiteX3905" fmla="*/ 2876470 w 4457589"/>
                    <a:gd name="connsiteY3905" fmla="*/ 1485660 h 1541722"/>
                    <a:gd name="connsiteX3906" fmla="*/ 2879046 w 4457589"/>
                    <a:gd name="connsiteY3906" fmla="*/ 1486872 h 1541722"/>
                    <a:gd name="connsiteX3907" fmla="*/ 2882682 w 4457589"/>
                    <a:gd name="connsiteY3907" fmla="*/ 1486721 h 1541722"/>
                    <a:gd name="connsiteX3908" fmla="*/ 2886925 w 4457589"/>
                    <a:gd name="connsiteY3908" fmla="*/ 1489448 h 1541722"/>
                    <a:gd name="connsiteX3909" fmla="*/ 2888592 w 4457589"/>
                    <a:gd name="connsiteY3909" fmla="*/ 1489145 h 1541722"/>
                    <a:gd name="connsiteX3910" fmla="*/ 2890562 w 4457589"/>
                    <a:gd name="connsiteY3910" fmla="*/ 1488994 h 1541722"/>
                    <a:gd name="connsiteX3911" fmla="*/ 2892228 w 4457589"/>
                    <a:gd name="connsiteY3911" fmla="*/ 1491873 h 1541722"/>
                    <a:gd name="connsiteX3912" fmla="*/ 2894955 w 4457589"/>
                    <a:gd name="connsiteY3912" fmla="*/ 1492630 h 1541722"/>
                    <a:gd name="connsiteX3913" fmla="*/ 2899653 w 4457589"/>
                    <a:gd name="connsiteY3913" fmla="*/ 1490509 h 1541722"/>
                    <a:gd name="connsiteX3914" fmla="*/ 2906623 w 4457589"/>
                    <a:gd name="connsiteY3914" fmla="*/ 1488388 h 1541722"/>
                    <a:gd name="connsiteX3915" fmla="*/ 2909957 w 4457589"/>
                    <a:gd name="connsiteY3915" fmla="*/ 1488236 h 1541722"/>
                    <a:gd name="connsiteX3916" fmla="*/ 2918290 w 4457589"/>
                    <a:gd name="connsiteY3916" fmla="*/ 1484448 h 1541722"/>
                    <a:gd name="connsiteX3917" fmla="*/ 2922230 w 4457589"/>
                    <a:gd name="connsiteY3917" fmla="*/ 1481266 h 1541722"/>
                    <a:gd name="connsiteX3918" fmla="*/ 2936927 w 4457589"/>
                    <a:gd name="connsiteY3918" fmla="*/ 1473084 h 1541722"/>
                    <a:gd name="connsiteX3919" fmla="*/ 2942988 w 4457589"/>
                    <a:gd name="connsiteY3919" fmla="*/ 1468538 h 1541722"/>
                    <a:gd name="connsiteX3920" fmla="*/ 2948897 w 4457589"/>
                    <a:gd name="connsiteY3920" fmla="*/ 1465205 h 1541722"/>
                    <a:gd name="connsiteX3921" fmla="*/ 2952382 w 4457589"/>
                    <a:gd name="connsiteY3921" fmla="*/ 1459902 h 1541722"/>
                    <a:gd name="connsiteX3922" fmla="*/ 2958594 w 4457589"/>
                    <a:gd name="connsiteY3922" fmla="*/ 1454902 h 1541722"/>
                    <a:gd name="connsiteX3923" fmla="*/ 2958746 w 4457589"/>
                    <a:gd name="connsiteY3923" fmla="*/ 1452780 h 1541722"/>
                    <a:gd name="connsiteX3924" fmla="*/ 2959958 w 4457589"/>
                    <a:gd name="connsiteY3924" fmla="*/ 1450356 h 1541722"/>
                    <a:gd name="connsiteX3925" fmla="*/ 2969201 w 4457589"/>
                    <a:gd name="connsiteY3925" fmla="*/ 1436871 h 1541722"/>
                    <a:gd name="connsiteX3926" fmla="*/ 2972383 w 4457589"/>
                    <a:gd name="connsiteY3926" fmla="*/ 1434749 h 1541722"/>
                    <a:gd name="connsiteX3927" fmla="*/ 2976625 w 4457589"/>
                    <a:gd name="connsiteY3927" fmla="*/ 1433083 h 1541722"/>
                    <a:gd name="connsiteX3928" fmla="*/ 2978444 w 4457589"/>
                    <a:gd name="connsiteY3928" fmla="*/ 1430658 h 1541722"/>
                    <a:gd name="connsiteX3929" fmla="*/ 2979504 w 4457589"/>
                    <a:gd name="connsiteY3929" fmla="*/ 1427022 h 1541722"/>
                    <a:gd name="connsiteX3930" fmla="*/ 2985262 w 4457589"/>
                    <a:gd name="connsiteY3930" fmla="*/ 1421870 h 1541722"/>
                    <a:gd name="connsiteX3931" fmla="*/ 2989202 w 4457589"/>
                    <a:gd name="connsiteY3931" fmla="*/ 1416567 h 1541722"/>
                    <a:gd name="connsiteX3932" fmla="*/ 2992838 w 4457589"/>
                    <a:gd name="connsiteY3932" fmla="*/ 1413082 h 1541722"/>
                    <a:gd name="connsiteX3933" fmla="*/ 2994656 w 4457589"/>
                    <a:gd name="connsiteY3933" fmla="*/ 1410051 h 1541722"/>
                    <a:gd name="connsiteX3934" fmla="*/ 3004051 w 4457589"/>
                    <a:gd name="connsiteY3934" fmla="*/ 1402475 h 1541722"/>
                    <a:gd name="connsiteX3935" fmla="*/ 3011627 w 4457589"/>
                    <a:gd name="connsiteY3935" fmla="*/ 1394142 h 1541722"/>
                    <a:gd name="connsiteX3936" fmla="*/ 3018749 w 4457589"/>
                    <a:gd name="connsiteY3936" fmla="*/ 1388081 h 1541722"/>
                    <a:gd name="connsiteX3937" fmla="*/ 3021021 w 4457589"/>
                    <a:gd name="connsiteY3937" fmla="*/ 1384293 h 1541722"/>
                    <a:gd name="connsiteX3938" fmla="*/ 3030264 w 4457589"/>
                    <a:gd name="connsiteY3938" fmla="*/ 1373383 h 1541722"/>
                    <a:gd name="connsiteX3939" fmla="*/ 3033143 w 4457589"/>
                    <a:gd name="connsiteY3939" fmla="*/ 1366110 h 1541722"/>
                    <a:gd name="connsiteX3940" fmla="*/ 3036628 w 4457589"/>
                    <a:gd name="connsiteY3940" fmla="*/ 1363383 h 1541722"/>
                    <a:gd name="connsiteX3941" fmla="*/ 3038143 w 4457589"/>
                    <a:gd name="connsiteY3941" fmla="*/ 1356413 h 1541722"/>
                    <a:gd name="connsiteX3942" fmla="*/ 3041173 w 4457589"/>
                    <a:gd name="connsiteY3942" fmla="*/ 1351413 h 1541722"/>
                    <a:gd name="connsiteX3943" fmla="*/ 3041931 w 4457589"/>
                    <a:gd name="connsiteY3943" fmla="*/ 1348383 h 1541722"/>
                    <a:gd name="connsiteX3944" fmla="*/ 3043447 w 4457589"/>
                    <a:gd name="connsiteY3944" fmla="*/ 1345655 h 1541722"/>
                    <a:gd name="connsiteX3945" fmla="*/ 3054811 w 4457589"/>
                    <a:gd name="connsiteY3945" fmla="*/ 1334443 h 1541722"/>
                    <a:gd name="connsiteX3946" fmla="*/ 3059356 w 4457589"/>
                    <a:gd name="connsiteY3946" fmla="*/ 1325654 h 1541722"/>
                    <a:gd name="connsiteX3947" fmla="*/ 3064962 w 4457589"/>
                    <a:gd name="connsiteY3947" fmla="*/ 1316866 h 1541722"/>
                    <a:gd name="connsiteX3948" fmla="*/ 3069054 w 4457589"/>
                    <a:gd name="connsiteY3948" fmla="*/ 1313836 h 1541722"/>
                    <a:gd name="connsiteX3949" fmla="*/ 3073296 w 4457589"/>
                    <a:gd name="connsiteY3949" fmla="*/ 1309745 h 1541722"/>
                    <a:gd name="connsiteX3950" fmla="*/ 3075569 w 4457589"/>
                    <a:gd name="connsiteY3950" fmla="*/ 1306714 h 1541722"/>
                    <a:gd name="connsiteX3951" fmla="*/ 3082084 w 4457589"/>
                    <a:gd name="connsiteY3951" fmla="*/ 1301714 h 1541722"/>
                    <a:gd name="connsiteX3952" fmla="*/ 3085265 w 4457589"/>
                    <a:gd name="connsiteY3952" fmla="*/ 1298229 h 1541722"/>
                    <a:gd name="connsiteX3953" fmla="*/ 3086781 w 4457589"/>
                    <a:gd name="connsiteY3953" fmla="*/ 1294593 h 1541722"/>
                    <a:gd name="connsiteX3954" fmla="*/ 3088296 w 4457589"/>
                    <a:gd name="connsiteY3954" fmla="*/ 1285956 h 1541722"/>
                    <a:gd name="connsiteX3955" fmla="*/ 3092539 w 4457589"/>
                    <a:gd name="connsiteY3955" fmla="*/ 1279138 h 1541722"/>
                    <a:gd name="connsiteX3956" fmla="*/ 3091327 w 4457589"/>
                    <a:gd name="connsiteY3956" fmla="*/ 1278077 h 1541722"/>
                    <a:gd name="connsiteX3957" fmla="*/ 3090569 w 4457589"/>
                    <a:gd name="connsiteY3957" fmla="*/ 1275956 h 1541722"/>
                    <a:gd name="connsiteX3958" fmla="*/ 3091023 w 4457589"/>
                    <a:gd name="connsiteY3958" fmla="*/ 1273683 h 1541722"/>
                    <a:gd name="connsiteX3959" fmla="*/ 3091630 w 4457589"/>
                    <a:gd name="connsiteY3959" fmla="*/ 1272319 h 1541722"/>
                    <a:gd name="connsiteX3960" fmla="*/ 3092084 w 4457589"/>
                    <a:gd name="connsiteY3960" fmla="*/ 1270046 h 1541722"/>
                    <a:gd name="connsiteX3961" fmla="*/ 3092993 w 4457589"/>
                    <a:gd name="connsiteY3961" fmla="*/ 1267622 h 1541722"/>
                    <a:gd name="connsiteX3962" fmla="*/ 3093902 w 4457589"/>
                    <a:gd name="connsiteY3962" fmla="*/ 1266107 h 1541722"/>
                    <a:gd name="connsiteX3963" fmla="*/ 3096327 w 4457589"/>
                    <a:gd name="connsiteY3963" fmla="*/ 1256864 h 1541722"/>
                    <a:gd name="connsiteX3964" fmla="*/ 3096175 w 4457589"/>
                    <a:gd name="connsiteY3964" fmla="*/ 1250955 h 1541722"/>
                    <a:gd name="connsiteX3965" fmla="*/ 3094811 w 4457589"/>
                    <a:gd name="connsiteY3965" fmla="*/ 1248682 h 1541722"/>
                    <a:gd name="connsiteX3966" fmla="*/ 3094811 w 4457589"/>
                    <a:gd name="connsiteY3966" fmla="*/ 1245652 h 1541722"/>
                    <a:gd name="connsiteX3967" fmla="*/ 3098145 w 4457589"/>
                    <a:gd name="connsiteY3967" fmla="*/ 1241257 h 1541722"/>
                    <a:gd name="connsiteX3968" fmla="*/ 3098903 w 4457589"/>
                    <a:gd name="connsiteY3968" fmla="*/ 1240500 h 1541722"/>
                    <a:gd name="connsiteX3969" fmla="*/ 3099206 w 4457589"/>
                    <a:gd name="connsiteY3969" fmla="*/ 1239439 h 1541722"/>
                    <a:gd name="connsiteX3970" fmla="*/ 3097540 w 4457589"/>
                    <a:gd name="connsiteY3970" fmla="*/ 1238682 h 1541722"/>
                    <a:gd name="connsiteX3971" fmla="*/ 3096781 w 4457589"/>
                    <a:gd name="connsiteY3971" fmla="*/ 1237772 h 1541722"/>
                    <a:gd name="connsiteX3972" fmla="*/ 3095115 w 4457589"/>
                    <a:gd name="connsiteY3972" fmla="*/ 1222923 h 1541722"/>
                    <a:gd name="connsiteX3973" fmla="*/ 3096327 w 4457589"/>
                    <a:gd name="connsiteY3973" fmla="*/ 1213681 h 1541722"/>
                    <a:gd name="connsiteX3974" fmla="*/ 3099812 w 4457589"/>
                    <a:gd name="connsiteY3974" fmla="*/ 1207014 h 1541722"/>
                    <a:gd name="connsiteX3975" fmla="*/ 3100418 w 4457589"/>
                    <a:gd name="connsiteY3975" fmla="*/ 1204741 h 1541722"/>
                    <a:gd name="connsiteX3976" fmla="*/ 3101024 w 4457589"/>
                    <a:gd name="connsiteY3976" fmla="*/ 1198074 h 1541722"/>
                    <a:gd name="connsiteX3977" fmla="*/ 3105116 w 4457589"/>
                    <a:gd name="connsiteY3977" fmla="*/ 1191559 h 1541722"/>
                    <a:gd name="connsiteX3978" fmla="*/ 3107691 w 4457589"/>
                    <a:gd name="connsiteY3978" fmla="*/ 1184134 h 1541722"/>
                    <a:gd name="connsiteX3979" fmla="*/ 3112994 w 4457589"/>
                    <a:gd name="connsiteY3979" fmla="*/ 1180195 h 1541722"/>
                    <a:gd name="connsiteX3980" fmla="*/ 3116630 w 4457589"/>
                    <a:gd name="connsiteY3980" fmla="*/ 1175346 h 1541722"/>
                    <a:gd name="connsiteX3981" fmla="*/ 3119509 w 4457589"/>
                    <a:gd name="connsiteY3981" fmla="*/ 1173073 h 1541722"/>
                    <a:gd name="connsiteX3982" fmla="*/ 3120116 w 4457589"/>
                    <a:gd name="connsiteY3982" fmla="*/ 1168073 h 1541722"/>
                    <a:gd name="connsiteX3983" fmla="*/ 3122843 w 4457589"/>
                    <a:gd name="connsiteY3983" fmla="*/ 1163679 h 1541722"/>
                    <a:gd name="connsiteX3984" fmla="*/ 3120722 w 4457589"/>
                    <a:gd name="connsiteY3984" fmla="*/ 1161558 h 1541722"/>
                    <a:gd name="connsiteX3985" fmla="*/ 3118449 w 4457589"/>
                    <a:gd name="connsiteY3985" fmla="*/ 1160194 h 1541722"/>
                    <a:gd name="connsiteX3986" fmla="*/ 3114206 w 4457589"/>
                    <a:gd name="connsiteY3986" fmla="*/ 1156709 h 1541722"/>
                    <a:gd name="connsiteX3987" fmla="*/ 3113146 w 4457589"/>
                    <a:gd name="connsiteY3987" fmla="*/ 1154285 h 1541722"/>
                    <a:gd name="connsiteX3988" fmla="*/ 3116176 w 4457589"/>
                    <a:gd name="connsiteY3988" fmla="*/ 1150042 h 1541722"/>
                    <a:gd name="connsiteX3989" fmla="*/ 3116782 w 4457589"/>
                    <a:gd name="connsiteY3989" fmla="*/ 1146254 h 1541722"/>
                    <a:gd name="connsiteX3990" fmla="*/ 3116480 w 4457589"/>
                    <a:gd name="connsiteY3990" fmla="*/ 1139284 h 1541722"/>
                    <a:gd name="connsiteX3991" fmla="*/ 3111933 w 4457589"/>
                    <a:gd name="connsiteY3991" fmla="*/ 1137163 h 1541722"/>
                    <a:gd name="connsiteX3992" fmla="*/ 3106025 w 4457589"/>
                    <a:gd name="connsiteY3992" fmla="*/ 1131860 h 1541722"/>
                    <a:gd name="connsiteX3993" fmla="*/ 3105116 w 4457589"/>
                    <a:gd name="connsiteY3993" fmla="*/ 1130193 h 1541722"/>
                    <a:gd name="connsiteX3994" fmla="*/ 3106479 w 4457589"/>
                    <a:gd name="connsiteY3994" fmla="*/ 1130041 h 1541722"/>
                    <a:gd name="connsiteX3995" fmla="*/ 3114510 w 4457589"/>
                    <a:gd name="connsiteY3995" fmla="*/ 1132769 h 1541722"/>
                    <a:gd name="connsiteX3996" fmla="*/ 3118449 w 4457589"/>
                    <a:gd name="connsiteY3996" fmla="*/ 1129738 h 1541722"/>
                    <a:gd name="connsiteX3997" fmla="*/ 3120418 w 4457589"/>
                    <a:gd name="connsiteY3997" fmla="*/ 1126556 h 1541722"/>
                    <a:gd name="connsiteX3998" fmla="*/ 3119661 w 4457589"/>
                    <a:gd name="connsiteY3998" fmla="*/ 1122465 h 1541722"/>
                    <a:gd name="connsiteX3999" fmla="*/ 3115419 w 4457589"/>
                    <a:gd name="connsiteY3999" fmla="*/ 1120950 h 1541722"/>
                    <a:gd name="connsiteX4000" fmla="*/ 3109963 w 4457589"/>
                    <a:gd name="connsiteY4000" fmla="*/ 1116556 h 1541722"/>
                    <a:gd name="connsiteX4001" fmla="*/ 3109661 w 4457589"/>
                    <a:gd name="connsiteY4001" fmla="*/ 1115041 h 1541722"/>
                    <a:gd name="connsiteX4002" fmla="*/ 3100873 w 4457589"/>
                    <a:gd name="connsiteY4002" fmla="*/ 1111253 h 1541722"/>
                    <a:gd name="connsiteX4003" fmla="*/ 3091630 w 4457589"/>
                    <a:gd name="connsiteY4003" fmla="*/ 1103222 h 1541722"/>
                    <a:gd name="connsiteX4004" fmla="*/ 3088751 w 4457589"/>
                    <a:gd name="connsiteY4004" fmla="*/ 1096101 h 1541722"/>
                    <a:gd name="connsiteX4005" fmla="*/ 3087085 w 4457589"/>
                    <a:gd name="connsiteY4005" fmla="*/ 1094131 h 1541722"/>
                    <a:gd name="connsiteX4006" fmla="*/ 3078296 w 4457589"/>
                    <a:gd name="connsiteY4006" fmla="*/ 1088373 h 1541722"/>
                    <a:gd name="connsiteX4007" fmla="*/ 3076478 w 4457589"/>
                    <a:gd name="connsiteY4007" fmla="*/ 1086555 h 1541722"/>
                    <a:gd name="connsiteX4008" fmla="*/ 3074053 w 4457589"/>
                    <a:gd name="connsiteY4008" fmla="*/ 1085646 h 1541722"/>
                    <a:gd name="connsiteX4009" fmla="*/ 3063447 w 4457589"/>
                    <a:gd name="connsiteY4009" fmla="*/ 1088828 h 1541722"/>
                    <a:gd name="connsiteX4010" fmla="*/ 3057690 w 4457589"/>
                    <a:gd name="connsiteY4010" fmla="*/ 1087918 h 1541722"/>
                    <a:gd name="connsiteX4011" fmla="*/ 3046476 w 4457589"/>
                    <a:gd name="connsiteY4011" fmla="*/ 1084130 h 1541722"/>
                    <a:gd name="connsiteX4012" fmla="*/ 3045416 w 4457589"/>
                    <a:gd name="connsiteY4012" fmla="*/ 1084888 h 1541722"/>
                    <a:gd name="connsiteX4013" fmla="*/ 3046931 w 4457589"/>
                    <a:gd name="connsiteY4013" fmla="*/ 1087767 h 1541722"/>
                    <a:gd name="connsiteX4014" fmla="*/ 3046628 w 4457589"/>
                    <a:gd name="connsiteY4014" fmla="*/ 1090646 h 1541722"/>
                    <a:gd name="connsiteX4015" fmla="*/ 3047083 w 4457589"/>
                    <a:gd name="connsiteY4015" fmla="*/ 1094434 h 1541722"/>
                    <a:gd name="connsiteX4016" fmla="*/ 3046476 w 4457589"/>
                    <a:gd name="connsiteY4016" fmla="*/ 1100949 h 1541722"/>
                    <a:gd name="connsiteX4017" fmla="*/ 3045416 w 4457589"/>
                    <a:gd name="connsiteY4017" fmla="*/ 1105646 h 1541722"/>
                    <a:gd name="connsiteX4018" fmla="*/ 3041325 w 4457589"/>
                    <a:gd name="connsiteY4018" fmla="*/ 1112162 h 1541722"/>
                    <a:gd name="connsiteX4019" fmla="*/ 3039809 w 4457589"/>
                    <a:gd name="connsiteY4019" fmla="*/ 1113374 h 1541722"/>
                    <a:gd name="connsiteX4020" fmla="*/ 3036173 w 4457589"/>
                    <a:gd name="connsiteY4020" fmla="*/ 1113980 h 1541722"/>
                    <a:gd name="connsiteX4021" fmla="*/ 3034203 w 4457589"/>
                    <a:gd name="connsiteY4021" fmla="*/ 1113980 h 1541722"/>
                    <a:gd name="connsiteX4022" fmla="*/ 3035415 w 4457589"/>
                    <a:gd name="connsiteY4022" fmla="*/ 1111404 h 1541722"/>
                    <a:gd name="connsiteX4023" fmla="*/ 3038598 w 4457589"/>
                    <a:gd name="connsiteY4023" fmla="*/ 1108374 h 1541722"/>
                    <a:gd name="connsiteX4024" fmla="*/ 3042992 w 4457589"/>
                    <a:gd name="connsiteY4024" fmla="*/ 1102919 h 1541722"/>
                    <a:gd name="connsiteX4025" fmla="*/ 3042992 w 4457589"/>
                    <a:gd name="connsiteY4025" fmla="*/ 1098070 h 1541722"/>
                    <a:gd name="connsiteX4026" fmla="*/ 3041931 w 4457589"/>
                    <a:gd name="connsiteY4026" fmla="*/ 1097616 h 1541722"/>
                    <a:gd name="connsiteX4027" fmla="*/ 3040870 w 4457589"/>
                    <a:gd name="connsiteY4027" fmla="*/ 1097616 h 1541722"/>
                    <a:gd name="connsiteX4028" fmla="*/ 3037840 w 4457589"/>
                    <a:gd name="connsiteY4028" fmla="*/ 1099586 h 1541722"/>
                    <a:gd name="connsiteX4029" fmla="*/ 3034355 w 4457589"/>
                    <a:gd name="connsiteY4029" fmla="*/ 1106404 h 1541722"/>
                    <a:gd name="connsiteX4030" fmla="*/ 3026021 w 4457589"/>
                    <a:gd name="connsiteY4030" fmla="*/ 1110950 h 1541722"/>
                    <a:gd name="connsiteX4031" fmla="*/ 3020263 w 4457589"/>
                    <a:gd name="connsiteY4031" fmla="*/ 1112616 h 1541722"/>
                    <a:gd name="connsiteX4032" fmla="*/ 3009051 w 4457589"/>
                    <a:gd name="connsiteY4032" fmla="*/ 1113374 h 1541722"/>
                    <a:gd name="connsiteX4033" fmla="*/ 3006930 w 4457589"/>
                    <a:gd name="connsiteY4033" fmla="*/ 1113071 h 1541722"/>
                    <a:gd name="connsiteX4034" fmla="*/ 3006172 w 4457589"/>
                    <a:gd name="connsiteY4034" fmla="*/ 1111859 h 1541722"/>
                    <a:gd name="connsiteX4035" fmla="*/ 3008596 w 4457589"/>
                    <a:gd name="connsiteY4035" fmla="*/ 1109889 h 1541722"/>
                    <a:gd name="connsiteX4036" fmla="*/ 3014203 w 4457589"/>
                    <a:gd name="connsiteY4036" fmla="*/ 1107162 h 1541722"/>
                    <a:gd name="connsiteX4037" fmla="*/ 3017688 w 4457589"/>
                    <a:gd name="connsiteY4037" fmla="*/ 1101101 h 1541722"/>
                    <a:gd name="connsiteX4038" fmla="*/ 3021628 w 4457589"/>
                    <a:gd name="connsiteY4038" fmla="*/ 1099737 h 1541722"/>
                    <a:gd name="connsiteX4039" fmla="*/ 3022839 w 4457589"/>
                    <a:gd name="connsiteY4039" fmla="*/ 1098070 h 1541722"/>
                    <a:gd name="connsiteX4040" fmla="*/ 3017081 w 4457589"/>
                    <a:gd name="connsiteY4040" fmla="*/ 1097161 h 1541722"/>
                    <a:gd name="connsiteX4041" fmla="*/ 3013142 w 4457589"/>
                    <a:gd name="connsiteY4041" fmla="*/ 1095040 h 1541722"/>
                    <a:gd name="connsiteX4042" fmla="*/ 3009354 w 4457589"/>
                    <a:gd name="connsiteY4042" fmla="*/ 1092313 h 1541722"/>
                    <a:gd name="connsiteX4043" fmla="*/ 3011021 w 4457589"/>
                    <a:gd name="connsiteY4043" fmla="*/ 1091555 h 1541722"/>
                    <a:gd name="connsiteX4044" fmla="*/ 3012384 w 4457589"/>
                    <a:gd name="connsiteY4044" fmla="*/ 1091252 h 1541722"/>
                    <a:gd name="connsiteX4045" fmla="*/ 3014051 w 4457589"/>
                    <a:gd name="connsiteY4045" fmla="*/ 1090191 h 1541722"/>
                    <a:gd name="connsiteX4046" fmla="*/ 3018294 w 4457589"/>
                    <a:gd name="connsiteY4046" fmla="*/ 1085494 h 1541722"/>
                    <a:gd name="connsiteX4047" fmla="*/ 3014354 w 4457589"/>
                    <a:gd name="connsiteY4047" fmla="*/ 1085191 h 1541722"/>
                    <a:gd name="connsiteX4048" fmla="*/ 3010415 w 4457589"/>
                    <a:gd name="connsiteY4048" fmla="*/ 1085494 h 1541722"/>
                    <a:gd name="connsiteX4049" fmla="*/ 3003899 w 4457589"/>
                    <a:gd name="connsiteY4049" fmla="*/ 1089282 h 1541722"/>
                    <a:gd name="connsiteX4050" fmla="*/ 3002687 w 4457589"/>
                    <a:gd name="connsiteY4050" fmla="*/ 1091252 h 1541722"/>
                    <a:gd name="connsiteX4051" fmla="*/ 3004808 w 4457589"/>
                    <a:gd name="connsiteY4051" fmla="*/ 1093979 h 1541722"/>
                    <a:gd name="connsiteX4052" fmla="*/ 3007081 w 4457589"/>
                    <a:gd name="connsiteY4052" fmla="*/ 1095192 h 1541722"/>
                    <a:gd name="connsiteX4053" fmla="*/ 3004354 w 4457589"/>
                    <a:gd name="connsiteY4053" fmla="*/ 1102768 h 1541722"/>
                    <a:gd name="connsiteX4054" fmla="*/ 3000566 w 4457589"/>
                    <a:gd name="connsiteY4054" fmla="*/ 1101858 h 1541722"/>
                    <a:gd name="connsiteX4055" fmla="*/ 2996930 w 4457589"/>
                    <a:gd name="connsiteY4055" fmla="*/ 1102161 h 1541722"/>
                    <a:gd name="connsiteX4056" fmla="*/ 2994656 w 4457589"/>
                    <a:gd name="connsiteY4056" fmla="*/ 1104283 h 1541722"/>
                    <a:gd name="connsiteX4057" fmla="*/ 2992384 w 4457589"/>
                    <a:gd name="connsiteY4057" fmla="*/ 1103525 h 1541722"/>
                    <a:gd name="connsiteX4058" fmla="*/ 2991323 w 4457589"/>
                    <a:gd name="connsiteY4058" fmla="*/ 1098677 h 1541722"/>
                    <a:gd name="connsiteX4059" fmla="*/ 2992687 w 4457589"/>
                    <a:gd name="connsiteY4059" fmla="*/ 1093828 h 1541722"/>
                    <a:gd name="connsiteX4060" fmla="*/ 2993747 w 4457589"/>
                    <a:gd name="connsiteY4060" fmla="*/ 1082767 h 1541722"/>
                    <a:gd name="connsiteX4061" fmla="*/ 2995111 w 4457589"/>
                    <a:gd name="connsiteY4061" fmla="*/ 1079130 h 1541722"/>
                    <a:gd name="connsiteX4062" fmla="*/ 2995263 w 4457589"/>
                    <a:gd name="connsiteY4062" fmla="*/ 1075039 h 1541722"/>
                    <a:gd name="connsiteX4063" fmla="*/ 2994505 w 4457589"/>
                    <a:gd name="connsiteY4063" fmla="*/ 1072766 h 1541722"/>
                    <a:gd name="connsiteX4064" fmla="*/ 2992232 w 4457589"/>
                    <a:gd name="connsiteY4064" fmla="*/ 1072615 h 1541722"/>
                    <a:gd name="connsiteX4065" fmla="*/ 2988596 w 4457589"/>
                    <a:gd name="connsiteY4065" fmla="*/ 1073070 h 1541722"/>
                    <a:gd name="connsiteX4066" fmla="*/ 2979201 w 4457589"/>
                    <a:gd name="connsiteY4066" fmla="*/ 1072918 h 1541722"/>
                    <a:gd name="connsiteX4067" fmla="*/ 2968595 w 4457589"/>
                    <a:gd name="connsiteY4067" fmla="*/ 1074130 h 1541722"/>
                    <a:gd name="connsiteX4068" fmla="*/ 2957383 w 4457589"/>
                    <a:gd name="connsiteY4068" fmla="*/ 1070039 h 1541722"/>
                    <a:gd name="connsiteX4069" fmla="*/ 2954201 w 4457589"/>
                    <a:gd name="connsiteY4069" fmla="*/ 1069433 h 1541722"/>
                    <a:gd name="connsiteX4070" fmla="*/ 2952382 w 4457589"/>
                    <a:gd name="connsiteY4070" fmla="*/ 1068524 h 1541722"/>
                    <a:gd name="connsiteX4071" fmla="*/ 2951170 w 4457589"/>
                    <a:gd name="connsiteY4071" fmla="*/ 1064433 h 1541722"/>
                    <a:gd name="connsiteX4072" fmla="*/ 2951776 w 4457589"/>
                    <a:gd name="connsiteY4072" fmla="*/ 1062008 h 1541722"/>
                    <a:gd name="connsiteX4073" fmla="*/ 2952534 w 4457589"/>
                    <a:gd name="connsiteY4073" fmla="*/ 1060493 h 1541722"/>
                    <a:gd name="connsiteX4074" fmla="*/ 2960110 w 4457589"/>
                    <a:gd name="connsiteY4074" fmla="*/ 1053978 h 1541722"/>
                    <a:gd name="connsiteX4075" fmla="*/ 2965868 w 4457589"/>
                    <a:gd name="connsiteY4075" fmla="*/ 1052311 h 1541722"/>
                    <a:gd name="connsiteX4076" fmla="*/ 2977534 w 4457589"/>
                    <a:gd name="connsiteY4076" fmla="*/ 1044887 h 1541722"/>
                    <a:gd name="connsiteX4077" fmla="*/ 2982232 w 4457589"/>
                    <a:gd name="connsiteY4077" fmla="*/ 1038826 h 1541722"/>
                    <a:gd name="connsiteX4078" fmla="*/ 2985262 w 4457589"/>
                    <a:gd name="connsiteY4078" fmla="*/ 1036402 h 1541722"/>
                    <a:gd name="connsiteX4079" fmla="*/ 2994353 w 4457589"/>
                    <a:gd name="connsiteY4079" fmla="*/ 1031856 h 1541722"/>
                    <a:gd name="connsiteX4080" fmla="*/ 3000414 w 4457589"/>
                    <a:gd name="connsiteY4080" fmla="*/ 1027916 h 1541722"/>
                    <a:gd name="connsiteX4081" fmla="*/ 3005263 w 4457589"/>
                    <a:gd name="connsiteY4081" fmla="*/ 1024280 h 1541722"/>
                    <a:gd name="connsiteX4082" fmla="*/ 3010566 w 4457589"/>
                    <a:gd name="connsiteY4082" fmla="*/ 1021098 h 1541722"/>
                    <a:gd name="connsiteX4083" fmla="*/ 3015718 w 4457589"/>
                    <a:gd name="connsiteY4083" fmla="*/ 1015795 h 1541722"/>
                    <a:gd name="connsiteX4084" fmla="*/ 3018900 w 4457589"/>
                    <a:gd name="connsiteY4084" fmla="*/ 1014734 h 1541722"/>
                    <a:gd name="connsiteX4085" fmla="*/ 3029506 w 4457589"/>
                    <a:gd name="connsiteY4085" fmla="*/ 1003370 h 1541722"/>
                    <a:gd name="connsiteX4086" fmla="*/ 3031324 w 4457589"/>
                    <a:gd name="connsiteY4086" fmla="*/ 1000794 h 1541722"/>
                    <a:gd name="connsiteX4087" fmla="*/ 3032385 w 4457589"/>
                    <a:gd name="connsiteY4087" fmla="*/ 997309 h 1541722"/>
                    <a:gd name="connsiteX4088" fmla="*/ 3033294 w 4457589"/>
                    <a:gd name="connsiteY4088" fmla="*/ 995642 h 1541722"/>
                    <a:gd name="connsiteX4089" fmla="*/ 3045567 w 4457589"/>
                    <a:gd name="connsiteY4089" fmla="*/ 982612 h 1541722"/>
                    <a:gd name="connsiteX4090" fmla="*/ 3053902 w 4457589"/>
                    <a:gd name="connsiteY4090" fmla="*/ 977763 h 1541722"/>
                    <a:gd name="connsiteX4091" fmla="*/ 3059810 w 4457589"/>
                    <a:gd name="connsiteY4091" fmla="*/ 970945 h 1541722"/>
                    <a:gd name="connsiteX4092" fmla="*/ 3066932 w 4457589"/>
                    <a:gd name="connsiteY4092" fmla="*/ 968369 h 1541722"/>
                    <a:gd name="connsiteX4093" fmla="*/ 3068599 w 4457589"/>
                    <a:gd name="connsiteY4093" fmla="*/ 967157 h 1541722"/>
                    <a:gd name="connsiteX4094" fmla="*/ 3071781 w 4457589"/>
                    <a:gd name="connsiteY4094" fmla="*/ 963369 h 1541722"/>
                    <a:gd name="connsiteX4095" fmla="*/ 3076780 w 4457589"/>
                    <a:gd name="connsiteY4095" fmla="*/ 961096 h 1541722"/>
                    <a:gd name="connsiteX4096" fmla="*/ 3078296 w 4457589"/>
                    <a:gd name="connsiteY4096" fmla="*/ 959581 h 1541722"/>
                    <a:gd name="connsiteX4097" fmla="*/ 3082236 w 4457589"/>
                    <a:gd name="connsiteY4097" fmla="*/ 954126 h 1541722"/>
                    <a:gd name="connsiteX4098" fmla="*/ 3094357 w 4457589"/>
                    <a:gd name="connsiteY4098" fmla="*/ 949277 h 1541722"/>
                    <a:gd name="connsiteX4099" fmla="*/ 3095720 w 4457589"/>
                    <a:gd name="connsiteY4099" fmla="*/ 947156 h 1541722"/>
                    <a:gd name="connsiteX4100" fmla="*/ 3100873 w 4457589"/>
                    <a:gd name="connsiteY4100" fmla="*/ 933367 h 1541722"/>
                    <a:gd name="connsiteX4101" fmla="*/ 3103752 w 4457589"/>
                    <a:gd name="connsiteY4101" fmla="*/ 929731 h 1541722"/>
                    <a:gd name="connsiteX4102" fmla="*/ 3109206 w 4457589"/>
                    <a:gd name="connsiteY4102" fmla="*/ 925185 h 1541722"/>
                    <a:gd name="connsiteX4103" fmla="*/ 3119055 w 4457589"/>
                    <a:gd name="connsiteY4103" fmla="*/ 920791 h 1541722"/>
                    <a:gd name="connsiteX4104" fmla="*/ 3126025 w 4457589"/>
                    <a:gd name="connsiteY4104" fmla="*/ 915943 h 1541722"/>
                    <a:gd name="connsiteX4105" fmla="*/ 3130116 w 4457589"/>
                    <a:gd name="connsiteY4105" fmla="*/ 912003 h 1541722"/>
                    <a:gd name="connsiteX4106" fmla="*/ 3137540 w 4457589"/>
                    <a:gd name="connsiteY4106" fmla="*/ 901851 h 1541722"/>
                    <a:gd name="connsiteX4107" fmla="*/ 3145874 w 4457589"/>
                    <a:gd name="connsiteY4107" fmla="*/ 895639 h 1541722"/>
                    <a:gd name="connsiteX4108" fmla="*/ 3152692 w 4457589"/>
                    <a:gd name="connsiteY4108" fmla="*/ 892154 h 1541722"/>
                    <a:gd name="connsiteX4109" fmla="*/ 3169512 w 4457589"/>
                    <a:gd name="connsiteY4109" fmla="*/ 886851 h 1541722"/>
                    <a:gd name="connsiteX4110" fmla="*/ 3178603 w 4457589"/>
                    <a:gd name="connsiteY4110" fmla="*/ 887911 h 1541722"/>
                    <a:gd name="connsiteX4111" fmla="*/ 3187997 w 4457589"/>
                    <a:gd name="connsiteY4111" fmla="*/ 885184 h 1541722"/>
                    <a:gd name="connsiteX4112" fmla="*/ 3194967 w 4457589"/>
                    <a:gd name="connsiteY4112" fmla="*/ 885335 h 1541722"/>
                    <a:gd name="connsiteX4113" fmla="*/ 3204816 w 4457589"/>
                    <a:gd name="connsiteY4113" fmla="*/ 886699 h 1541722"/>
                    <a:gd name="connsiteX4114" fmla="*/ 3234059 w 4457589"/>
                    <a:gd name="connsiteY4114" fmla="*/ 885184 h 1541722"/>
                    <a:gd name="connsiteX4115" fmla="*/ 3239665 w 4457589"/>
                    <a:gd name="connsiteY4115" fmla="*/ 886699 h 1541722"/>
                    <a:gd name="connsiteX4116" fmla="*/ 3241635 w 4457589"/>
                    <a:gd name="connsiteY4116" fmla="*/ 888517 h 1541722"/>
                    <a:gd name="connsiteX4117" fmla="*/ 3244362 w 4457589"/>
                    <a:gd name="connsiteY4117" fmla="*/ 893821 h 1541722"/>
                    <a:gd name="connsiteX4118" fmla="*/ 3247696 w 4457589"/>
                    <a:gd name="connsiteY4118" fmla="*/ 894881 h 1541722"/>
                    <a:gd name="connsiteX4119" fmla="*/ 3253757 w 4457589"/>
                    <a:gd name="connsiteY4119" fmla="*/ 892911 h 1541722"/>
                    <a:gd name="connsiteX4120" fmla="*/ 3258455 w 4457589"/>
                    <a:gd name="connsiteY4120" fmla="*/ 884426 h 1541722"/>
                    <a:gd name="connsiteX4121" fmla="*/ 3261030 w 4457589"/>
                    <a:gd name="connsiteY4121" fmla="*/ 883366 h 1541722"/>
                    <a:gd name="connsiteX4122" fmla="*/ 3268303 w 4457589"/>
                    <a:gd name="connsiteY4122" fmla="*/ 886699 h 1541722"/>
                    <a:gd name="connsiteX4123" fmla="*/ 3274818 w 4457589"/>
                    <a:gd name="connsiteY4123" fmla="*/ 887002 h 1541722"/>
                    <a:gd name="connsiteX4124" fmla="*/ 3287698 w 4457589"/>
                    <a:gd name="connsiteY4124" fmla="*/ 890942 h 1541722"/>
                    <a:gd name="connsiteX4125" fmla="*/ 3292547 w 4457589"/>
                    <a:gd name="connsiteY4125" fmla="*/ 890032 h 1541722"/>
                    <a:gd name="connsiteX4126" fmla="*/ 3297546 w 4457589"/>
                    <a:gd name="connsiteY4126" fmla="*/ 886093 h 1541722"/>
                    <a:gd name="connsiteX4127" fmla="*/ 3308001 w 4457589"/>
                    <a:gd name="connsiteY4127" fmla="*/ 885032 h 1541722"/>
                    <a:gd name="connsiteX4128" fmla="*/ 3314516 w 4457589"/>
                    <a:gd name="connsiteY4128" fmla="*/ 891245 h 1541722"/>
                    <a:gd name="connsiteX4129" fmla="*/ 3320881 w 4457589"/>
                    <a:gd name="connsiteY4129" fmla="*/ 891396 h 1541722"/>
                    <a:gd name="connsiteX4130" fmla="*/ 3326032 w 4457589"/>
                    <a:gd name="connsiteY4130" fmla="*/ 890487 h 1541722"/>
                    <a:gd name="connsiteX4131" fmla="*/ 3327396 w 4457589"/>
                    <a:gd name="connsiteY4131" fmla="*/ 886851 h 1541722"/>
                    <a:gd name="connsiteX4132" fmla="*/ 3325426 w 4457589"/>
                    <a:gd name="connsiteY4132" fmla="*/ 885638 h 1541722"/>
                    <a:gd name="connsiteX4133" fmla="*/ 3321335 w 4457589"/>
                    <a:gd name="connsiteY4133" fmla="*/ 886699 h 1541722"/>
                    <a:gd name="connsiteX4134" fmla="*/ 3320426 w 4457589"/>
                    <a:gd name="connsiteY4134" fmla="*/ 883669 h 1541722"/>
                    <a:gd name="connsiteX4135" fmla="*/ 3322851 w 4457589"/>
                    <a:gd name="connsiteY4135" fmla="*/ 880335 h 1541722"/>
                    <a:gd name="connsiteX4136" fmla="*/ 3326336 w 4457589"/>
                    <a:gd name="connsiteY4136" fmla="*/ 882608 h 1541722"/>
                    <a:gd name="connsiteX4137" fmla="*/ 3332093 w 4457589"/>
                    <a:gd name="connsiteY4137" fmla="*/ 882456 h 1541722"/>
                    <a:gd name="connsiteX4138" fmla="*/ 3334063 w 4457589"/>
                    <a:gd name="connsiteY4138" fmla="*/ 882153 h 1541722"/>
                    <a:gd name="connsiteX4139" fmla="*/ 3333154 w 4457589"/>
                    <a:gd name="connsiteY4139" fmla="*/ 880487 h 1541722"/>
                    <a:gd name="connsiteX4140" fmla="*/ 3331942 w 4457589"/>
                    <a:gd name="connsiteY4140" fmla="*/ 879275 h 1541722"/>
                    <a:gd name="connsiteX4141" fmla="*/ 3330124 w 4457589"/>
                    <a:gd name="connsiteY4141" fmla="*/ 876244 h 1541722"/>
                    <a:gd name="connsiteX4142" fmla="*/ 3336336 w 4457589"/>
                    <a:gd name="connsiteY4142" fmla="*/ 872305 h 1541722"/>
                    <a:gd name="connsiteX4143" fmla="*/ 3339973 w 4457589"/>
                    <a:gd name="connsiteY4143" fmla="*/ 870941 h 1541722"/>
                    <a:gd name="connsiteX4144" fmla="*/ 3346033 w 4457589"/>
                    <a:gd name="connsiteY4144" fmla="*/ 870638 h 1541722"/>
                    <a:gd name="connsiteX4145" fmla="*/ 3361337 w 4457589"/>
                    <a:gd name="connsiteY4145" fmla="*/ 875487 h 1541722"/>
                    <a:gd name="connsiteX4146" fmla="*/ 3364670 w 4457589"/>
                    <a:gd name="connsiteY4146" fmla="*/ 875941 h 1541722"/>
                    <a:gd name="connsiteX4147" fmla="*/ 3368307 w 4457589"/>
                    <a:gd name="connsiteY4147" fmla="*/ 877911 h 1541722"/>
                    <a:gd name="connsiteX4148" fmla="*/ 3374065 w 4457589"/>
                    <a:gd name="connsiteY4148" fmla="*/ 879275 h 1541722"/>
                    <a:gd name="connsiteX4149" fmla="*/ 3370579 w 4457589"/>
                    <a:gd name="connsiteY4149" fmla="*/ 880638 h 1541722"/>
                    <a:gd name="connsiteX4150" fmla="*/ 3368913 w 4457589"/>
                    <a:gd name="connsiteY4150" fmla="*/ 881850 h 1541722"/>
                    <a:gd name="connsiteX4151" fmla="*/ 3372549 w 4457589"/>
                    <a:gd name="connsiteY4151" fmla="*/ 881396 h 1541722"/>
                    <a:gd name="connsiteX4152" fmla="*/ 3375731 w 4457589"/>
                    <a:gd name="connsiteY4152" fmla="*/ 882911 h 1541722"/>
                    <a:gd name="connsiteX4153" fmla="*/ 3378307 w 4457589"/>
                    <a:gd name="connsiteY4153" fmla="*/ 883214 h 1541722"/>
                    <a:gd name="connsiteX4154" fmla="*/ 3379368 w 4457589"/>
                    <a:gd name="connsiteY4154" fmla="*/ 882608 h 1541722"/>
                    <a:gd name="connsiteX4155" fmla="*/ 3380731 w 4457589"/>
                    <a:gd name="connsiteY4155" fmla="*/ 880638 h 1541722"/>
                    <a:gd name="connsiteX4156" fmla="*/ 3382550 w 4457589"/>
                    <a:gd name="connsiteY4156" fmla="*/ 878668 h 1541722"/>
                    <a:gd name="connsiteX4157" fmla="*/ 3384065 w 4457589"/>
                    <a:gd name="connsiteY4157" fmla="*/ 878062 h 1541722"/>
                    <a:gd name="connsiteX4158" fmla="*/ 3387701 w 4457589"/>
                    <a:gd name="connsiteY4158" fmla="*/ 878214 h 1541722"/>
                    <a:gd name="connsiteX4159" fmla="*/ 3392702 w 4457589"/>
                    <a:gd name="connsiteY4159" fmla="*/ 879123 h 1541722"/>
                    <a:gd name="connsiteX4160" fmla="*/ 3396338 w 4457589"/>
                    <a:gd name="connsiteY4160" fmla="*/ 880638 h 1541722"/>
                    <a:gd name="connsiteX4161" fmla="*/ 3404975 w 4457589"/>
                    <a:gd name="connsiteY4161" fmla="*/ 888820 h 1541722"/>
                    <a:gd name="connsiteX4162" fmla="*/ 3408915 w 4457589"/>
                    <a:gd name="connsiteY4162" fmla="*/ 890336 h 1541722"/>
                    <a:gd name="connsiteX4163" fmla="*/ 3413308 w 4457589"/>
                    <a:gd name="connsiteY4163" fmla="*/ 890032 h 1541722"/>
                    <a:gd name="connsiteX4164" fmla="*/ 3415127 w 4457589"/>
                    <a:gd name="connsiteY4164" fmla="*/ 890639 h 1541722"/>
                    <a:gd name="connsiteX4165" fmla="*/ 3417551 w 4457589"/>
                    <a:gd name="connsiteY4165" fmla="*/ 892760 h 1541722"/>
                    <a:gd name="connsiteX4166" fmla="*/ 3410126 w 4457589"/>
                    <a:gd name="connsiteY4166" fmla="*/ 895336 h 1541722"/>
                    <a:gd name="connsiteX4167" fmla="*/ 3403157 w 4457589"/>
                    <a:gd name="connsiteY4167" fmla="*/ 895942 h 1541722"/>
                    <a:gd name="connsiteX4168" fmla="*/ 3396944 w 4457589"/>
                    <a:gd name="connsiteY4168" fmla="*/ 895184 h 1541722"/>
                    <a:gd name="connsiteX4169" fmla="*/ 3386489 w 4457589"/>
                    <a:gd name="connsiteY4169" fmla="*/ 898518 h 1541722"/>
                    <a:gd name="connsiteX4170" fmla="*/ 3392095 w 4457589"/>
                    <a:gd name="connsiteY4170" fmla="*/ 906851 h 1541722"/>
                    <a:gd name="connsiteX4171" fmla="*/ 3402399 w 4457589"/>
                    <a:gd name="connsiteY4171" fmla="*/ 907154 h 1541722"/>
                    <a:gd name="connsiteX4172" fmla="*/ 3412854 w 4457589"/>
                    <a:gd name="connsiteY4172" fmla="*/ 905488 h 1541722"/>
                    <a:gd name="connsiteX4173" fmla="*/ 3414975 w 4457589"/>
                    <a:gd name="connsiteY4173" fmla="*/ 902003 h 1541722"/>
                    <a:gd name="connsiteX4174" fmla="*/ 3419218 w 4457589"/>
                    <a:gd name="connsiteY4174" fmla="*/ 900639 h 1541722"/>
                    <a:gd name="connsiteX4175" fmla="*/ 3421490 w 4457589"/>
                    <a:gd name="connsiteY4175" fmla="*/ 900790 h 1541722"/>
                    <a:gd name="connsiteX4176" fmla="*/ 3426187 w 4457589"/>
                    <a:gd name="connsiteY4176" fmla="*/ 903669 h 1541722"/>
                    <a:gd name="connsiteX4177" fmla="*/ 3432854 w 4457589"/>
                    <a:gd name="connsiteY4177" fmla="*/ 904730 h 1541722"/>
                    <a:gd name="connsiteX4178" fmla="*/ 3434673 w 4457589"/>
                    <a:gd name="connsiteY4178" fmla="*/ 904275 h 1541722"/>
                    <a:gd name="connsiteX4179" fmla="*/ 3439976 w 4457589"/>
                    <a:gd name="connsiteY4179" fmla="*/ 898518 h 1541722"/>
                    <a:gd name="connsiteX4180" fmla="*/ 3443158 w 4457589"/>
                    <a:gd name="connsiteY4180" fmla="*/ 898063 h 1541722"/>
                    <a:gd name="connsiteX4181" fmla="*/ 3445279 w 4457589"/>
                    <a:gd name="connsiteY4181" fmla="*/ 898215 h 1541722"/>
                    <a:gd name="connsiteX4182" fmla="*/ 3447704 w 4457589"/>
                    <a:gd name="connsiteY4182" fmla="*/ 893214 h 1541722"/>
                    <a:gd name="connsiteX4183" fmla="*/ 3456795 w 4457589"/>
                    <a:gd name="connsiteY4183" fmla="*/ 892760 h 1541722"/>
                    <a:gd name="connsiteX4184" fmla="*/ 3462249 w 4457589"/>
                    <a:gd name="connsiteY4184" fmla="*/ 897154 h 1541722"/>
                    <a:gd name="connsiteX4185" fmla="*/ 3465432 w 4457589"/>
                    <a:gd name="connsiteY4185" fmla="*/ 898821 h 1541722"/>
                    <a:gd name="connsiteX4186" fmla="*/ 3471947 w 4457589"/>
                    <a:gd name="connsiteY4186" fmla="*/ 897457 h 1541722"/>
                    <a:gd name="connsiteX4187" fmla="*/ 3475431 w 4457589"/>
                    <a:gd name="connsiteY4187" fmla="*/ 894275 h 1541722"/>
                    <a:gd name="connsiteX4188" fmla="*/ 3477705 w 4457589"/>
                    <a:gd name="connsiteY4188" fmla="*/ 893063 h 1541722"/>
                    <a:gd name="connsiteX4189" fmla="*/ 3484372 w 4457589"/>
                    <a:gd name="connsiteY4189" fmla="*/ 896093 h 1541722"/>
                    <a:gd name="connsiteX4190" fmla="*/ 3487706 w 4457589"/>
                    <a:gd name="connsiteY4190" fmla="*/ 894275 h 1541722"/>
                    <a:gd name="connsiteX4191" fmla="*/ 3493008 w 4457589"/>
                    <a:gd name="connsiteY4191" fmla="*/ 893972 h 1541722"/>
                    <a:gd name="connsiteX4192" fmla="*/ 3496948 w 4457589"/>
                    <a:gd name="connsiteY4192" fmla="*/ 894124 h 1541722"/>
                    <a:gd name="connsiteX4193" fmla="*/ 3496796 w 4457589"/>
                    <a:gd name="connsiteY4193" fmla="*/ 890942 h 1541722"/>
                    <a:gd name="connsiteX4194" fmla="*/ 3497100 w 4457589"/>
                    <a:gd name="connsiteY4194" fmla="*/ 887305 h 1541722"/>
                    <a:gd name="connsiteX4195" fmla="*/ 3491796 w 4457589"/>
                    <a:gd name="connsiteY4195" fmla="*/ 883669 h 1541722"/>
                    <a:gd name="connsiteX4196" fmla="*/ 3481189 w 4457589"/>
                    <a:gd name="connsiteY4196" fmla="*/ 880032 h 1541722"/>
                    <a:gd name="connsiteX4197" fmla="*/ 3474977 w 4457589"/>
                    <a:gd name="connsiteY4197" fmla="*/ 882305 h 1541722"/>
                    <a:gd name="connsiteX4198" fmla="*/ 3472704 w 4457589"/>
                    <a:gd name="connsiteY4198" fmla="*/ 882608 h 1541722"/>
                    <a:gd name="connsiteX4199" fmla="*/ 3471038 w 4457589"/>
                    <a:gd name="connsiteY4199" fmla="*/ 882305 h 1541722"/>
                    <a:gd name="connsiteX4200" fmla="*/ 3469220 w 4457589"/>
                    <a:gd name="connsiteY4200" fmla="*/ 880487 h 1541722"/>
                    <a:gd name="connsiteX4201" fmla="*/ 3470886 w 4457589"/>
                    <a:gd name="connsiteY4201" fmla="*/ 877608 h 1541722"/>
                    <a:gd name="connsiteX4202" fmla="*/ 3472553 w 4457589"/>
                    <a:gd name="connsiteY4202" fmla="*/ 875184 h 1541722"/>
                    <a:gd name="connsiteX4203" fmla="*/ 3472553 w 4457589"/>
                    <a:gd name="connsiteY4203" fmla="*/ 872305 h 1541722"/>
                    <a:gd name="connsiteX4204" fmla="*/ 3473159 w 4457589"/>
                    <a:gd name="connsiteY4204" fmla="*/ 868062 h 1541722"/>
                    <a:gd name="connsiteX4205" fmla="*/ 3475886 w 4457589"/>
                    <a:gd name="connsiteY4205" fmla="*/ 866244 h 1541722"/>
                    <a:gd name="connsiteX4206" fmla="*/ 3477251 w 4457589"/>
                    <a:gd name="connsiteY4206" fmla="*/ 865941 h 1541722"/>
                    <a:gd name="connsiteX4207" fmla="*/ 3481039 w 4457589"/>
                    <a:gd name="connsiteY4207" fmla="*/ 857304 h 1541722"/>
                    <a:gd name="connsiteX4208" fmla="*/ 3491796 w 4457589"/>
                    <a:gd name="connsiteY4208" fmla="*/ 845788 h 1541722"/>
                    <a:gd name="connsiteX4209" fmla="*/ 3504221 w 4457589"/>
                    <a:gd name="connsiteY4209" fmla="*/ 838667 h 1541722"/>
                    <a:gd name="connsiteX4210" fmla="*/ 3512100 w 4457589"/>
                    <a:gd name="connsiteY4210" fmla="*/ 833212 h 1541722"/>
                    <a:gd name="connsiteX4211" fmla="*/ 3515888 w 4457589"/>
                    <a:gd name="connsiteY4211" fmla="*/ 829273 h 1541722"/>
                    <a:gd name="connsiteX4212" fmla="*/ 3521494 w 4457589"/>
                    <a:gd name="connsiteY4212" fmla="*/ 820181 h 1541722"/>
                    <a:gd name="connsiteX4213" fmla="*/ 3529374 w 4457589"/>
                    <a:gd name="connsiteY4213" fmla="*/ 813514 h 1541722"/>
                    <a:gd name="connsiteX4214" fmla="*/ 3533162 w 4457589"/>
                    <a:gd name="connsiteY4214" fmla="*/ 811393 h 1541722"/>
                    <a:gd name="connsiteX4215" fmla="*/ 3537101 w 4457589"/>
                    <a:gd name="connsiteY4215" fmla="*/ 808666 h 1541722"/>
                    <a:gd name="connsiteX4216" fmla="*/ 3538465 w 4457589"/>
                    <a:gd name="connsiteY4216" fmla="*/ 799878 h 1541722"/>
                    <a:gd name="connsiteX4217" fmla="*/ 3541495 w 4457589"/>
                    <a:gd name="connsiteY4217" fmla="*/ 797908 h 1541722"/>
                    <a:gd name="connsiteX4218" fmla="*/ 3544374 w 4457589"/>
                    <a:gd name="connsiteY4218" fmla="*/ 796393 h 1541722"/>
                    <a:gd name="connsiteX4219" fmla="*/ 3549525 w 4457589"/>
                    <a:gd name="connsiteY4219" fmla="*/ 791696 h 1541722"/>
                    <a:gd name="connsiteX4220" fmla="*/ 3557405 w 4457589"/>
                    <a:gd name="connsiteY4220" fmla="*/ 788665 h 1541722"/>
                    <a:gd name="connsiteX4221" fmla="*/ 3560132 w 4457589"/>
                    <a:gd name="connsiteY4221" fmla="*/ 786544 h 1541722"/>
                    <a:gd name="connsiteX4222" fmla="*/ 3569072 w 4457589"/>
                    <a:gd name="connsiteY4222" fmla="*/ 786695 h 1541722"/>
                    <a:gd name="connsiteX4223" fmla="*/ 3576496 w 4457589"/>
                    <a:gd name="connsiteY4223" fmla="*/ 788514 h 1541722"/>
                    <a:gd name="connsiteX4224" fmla="*/ 3578769 w 4457589"/>
                    <a:gd name="connsiteY4224" fmla="*/ 788059 h 1541722"/>
                    <a:gd name="connsiteX4225" fmla="*/ 3583769 w 4457589"/>
                    <a:gd name="connsiteY4225" fmla="*/ 785483 h 1541722"/>
                    <a:gd name="connsiteX4226" fmla="*/ 3589527 w 4457589"/>
                    <a:gd name="connsiteY4226" fmla="*/ 786089 h 1541722"/>
                    <a:gd name="connsiteX4227" fmla="*/ 3597255 w 4457589"/>
                    <a:gd name="connsiteY4227" fmla="*/ 784423 h 1541722"/>
                    <a:gd name="connsiteX4228" fmla="*/ 3604073 w 4457589"/>
                    <a:gd name="connsiteY4228" fmla="*/ 781392 h 1541722"/>
                    <a:gd name="connsiteX4229" fmla="*/ 3607103 w 4457589"/>
                    <a:gd name="connsiteY4229" fmla="*/ 781089 h 1541722"/>
                    <a:gd name="connsiteX4230" fmla="*/ 3610134 w 4457589"/>
                    <a:gd name="connsiteY4230" fmla="*/ 781695 h 1541722"/>
                    <a:gd name="connsiteX4231" fmla="*/ 3613619 w 4457589"/>
                    <a:gd name="connsiteY4231" fmla="*/ 786089 h 1541722"/>
                    <a:gd name="connsiteX4232" fmla="*/ 3615588 w 4457589"/>
                    <a:gd name="connsiteY4232" fmla="*/ 787301 h 1541722"/>
                    <a:gd name="connsiteX4233" fmla="*/ 3617104 w 4457589"/>
                    <a:gd name="connsiteY4233" fmla="*/ 789877 h 1541722"/>
                    <a:gd name="connsiteX4234" fmla="*/ 3621801 w 4457589"/>
                    <a:gd name="connsiteY4234" fmla="*/ 788211 h 1541722"/>
                    <a:gd name="connsiteX4235" fmla="*/ 3634378 w 4457589"/>
                    <a:gd name="connsiteY4235" fmla="*/ 782150 h 1541722"/>
                    <a:gd name="connsiteX4236" fmla="*/ 3635892 w 4457589"/>
                    <a:gd name="connsiteY4236" fmla="*/ 782150 h 1541722"/>
                    <a:gd name="connsiteX4237" fmla="*/ 3637862 w 4457589"/>
                    <a:gd name="connsiteY4237" fmla="*/ 782453 h 1541722"/>
                    <a:gd name="connsiteX4238" fmla="*/ 3638166 w 4457589"/>
                    <a:gd name="connsiteY4238" fmla="*/ 784877 h 1541722"/>
                    <a:gd name="connsiteX4239" fmla="*/ 3638014 w 4457589"/>
                    <a:gd name="connsiteY4239" fmla="*/ 786847 h 1541722"/>
                    <a:gd name="connsiteX4240" fmla="*/ 3636044 w 4457589"/>
                    <a:gd name="connsiteY4240" fmla="*/ 792908 h 1541722"/>
                    <a:gd name="connsiteX4241" fmla="*/ 3633771 w 4457589"/>
                    <a:gd name="connsiteY4241" fmla="*/ 797605 h 1541722"/>
                    <a:gd name="connsiteX4242" fmla="*/ 3627407 w 4457589"/>
                    <a:gd name="connsiteY4242" fmla="*/ 806545 h 1541722"/>
                    <a:gd name="connsiteX4243" fmla="*/ 3626195 w 4457589"/>
                    <a:gd name="connsiteY4243" fmla="*/ 807757 h 1541722"/>
                    <a:gd name="connsiteX4244" fmla="*/ 3626952 w 4457589"/>
                    <a:gd name="connsiteY4244" fmla="*/ 810181 h 1541722"/>
                    <a:gd name="connsiteX4245" fmla="*/ 3628013 w 4457589"/>
                    <a:gd name="connsiteY4245" fmla="*/ 814575 h 1541722"/>
                    <a:gd name="connsiteX4246" fmla="*/ 3624832 w 4457589"/>
                    <a:gd name="connsiteY4246" fmla="*/ 819424 h 1541722"/>
                    <a:gd name="connsiteX4247" fmla="*/ 3623619 w 4457589"/>
                    <a:gd name="connsiteY4247" fmla="*/ 821848 h 1541722"/>
                    <a:gd name="connsiteX4248" fmla="*/ 3626195 w 4457589"/>
                    <a:gd name="connsiteY4248" fmla="*/ 822303 h 1541722"/>
                    <a:gd name="connsiteX4249" fmla="*/ 3629529 w 4457589"/>
                    <a:gd name="connsiteY4249" fmla="*/ 819727 h 1541722"/>
                    <a:gd name="connsiteX4250" fmla="*/ 3634378 w 4457589"/>
                    <a:gd name="connsiteY4250" fmla="*/ 818060 h 1541722"/>
                    <a:gd name="connsiteX4251" fmla="*/ 3637105 w 4457589"/>
                    <a:gd name="connsiteY4251" fmla="*/ 818060 h 1541722"/>
                    <a:gd name="connsiteX4252" fmla="*/ 3639680 w 4457589"/>
                    <a:gd name="connsiteY4252" fmla="*/ 818969 h 1541722"/>
                    <a:gd name="connsiteX4253" fmla="*/ 3635589 w 4457589"/>
                    <a:gd name="connsiteY4253" fmla="*/ 827000 h 1541722"/>
                    <a:gd name="connsiteX4254" fmla="*/ 3634832 w 4457589"/>
                    <a:gd name="connsiteY4254" fmla="*/ 831243 h 1541722"/>
                    <a:gd name="connsiteX4255" fmla="*/ 3634226 w 4457589"/>
                    <a:gd name="connsiteY4255" fmla="*/ 832758 h 1541722"/>
                    <a:gd name="connsiteX4256" fmla="*/ 3634074 w 4457589"/>
                    <a:gd name="connsiteY4256" fmla="*/ 835031 h 1541722"/>
                    <a:gd name="connsiteX4257" fmla="*/ 3637256 w 4457589"/>
                    <a:gd name="connsiteY4257" fmla="*/ 833818 h 1541722"/>
                    <a:gd name="connsiteX4258" fmla="*/ 3639377 w 4457589"/>
                    <a:gd name="connsiteY4258" fmla="*/ 832000 h 1541722"/>
                    <a:gd name="connsiteX4259" fmla="*/ 3642559 w 4457589"/>
                    <a:gd name="connsiteY4259" fmla="*/ 830788 h 1541722"/>
                    <a:gd name="connsiteX4260" fmla="*/ 3650287 w 4457589"/>
                    <a:gd name="connsiteY4260" fmla="*/ 830182 h 1541722"/>
                    <a:gd name="connsiteX4261" fmla="*/ 3654378 w 4457589"/>
                    <a:gd name="connsiteY4261" fmla="*/ 824424 h 1541722"/>
                    <a:gd name="connsiteX4262" fmla="*/ 3657711 w 4457589"/>
                    <a:gd name="connsiteY4262" fmla="*/ 821545 h 1541722"/>
                    <a:gd name="connsiteX4263" fmla="*/ 3689228 w 4457589"/>
                    <a:gd name="connsiteY4263" fmla="*/ 797453 h 1541722"/>
                    <a:gd name="connsiteX4264" fmla="*/ 3694834 w 4457589"/>
                    <a:gd name="connsiteY4264" fmla="*/ 792302 h 1541722"/>
                    <a:gd name="connsiteX4265" fmla="*/ 3697865 w 4457589"/>
                    <a:gd name="connsiteY4265" fmla="*/ 791999 h 1541722"/>
                    <a:gd name="connsiteX4266" fmla="*/ 3700744 w 4457589"/>
                    <a:gd name="connsiteY4266" fmla="*/ 792756 h 1541722"/>
                    <a:gd name="connsiteX4267" fmla="*/ 3703168 w 4457589"/>
                    <a:gd name="connsiteY4267" fmla="*/ 792756 h 1541722"/>
                    <a:gd name="connsiteX4268" fmla="*/ 3703773 w 4457589"/>
                    <a:gd name="connsiteY4268" fmla="*/ 790938 h 1541722"/>
                    <a:gd name="connsiteX4269" fmla="*/ 3704682 w 4457589"/>
                    <a:gd name="connsiteY4269" fmla="*/ 790180 h 1541722"/>
                    <a:gd name="connsiteX4270" fmla="*/ 3707561 w 4457589"/>
                    <a:gd name="connsiteY4270" fmla="*/ 790483 h 1541722"/>
                    <a:gd name="connsiteX4271" fmla="*/ 3709229 w 4457589"/>
                    <a:gd name="connsiteY4271" fmla="*/ 795029 h 1541722"/>
                    <a:gd name="connsiteX4272" fmla="*/ 3711199 w 4457589"/>
                    <a:gd name="connsiteY4272" fmla="*/ 797302 h 1541722"/>
                    <a:gd name="connsiteX4273" fmla="*/ 3712714 w 4457589"/>
                    <a:gd name="connsiteY4273" fmla="*/ 796847 h 1541722"/>
                    <a:gd name="connsiteX4274" fmla="*/ 3713774 w 4457589"/>
                    <a:gd name="connsiteY4274" fmla="*/ 796090 h 1541722"/>
                    <a:gd name="connsiteX4275" fmla="*/ 3715289 w 4457589"/>
                    <a:gd name="connsiteY4275" fmla="*/ 794423 h 1541722"/>
                    <a:gd name="connsiteX4276" fmla="*/ 3716805 w 4457589"/>
                    <a:gd name="connsiteY4276" fmla="*/ 793059 h 1541722"/>
                    <a:gd name="connsiteX4277" fmla="*/ 3718471 w 4457589"/>
                    <a:gd name="connsiteY4277" fmla="*/ 790786 h 1541722"/>
                    <a:gd name="connsiteX4278" fmla="*/ 3717107 w 4457589"/>
                    <a:gd name="connsiteY4278" fmla="*/ 789120 h 1541722"/>
                    <a:gd name="connsiteX4279" fmla="*/ 3711653 w 4457589"/>
                    <a:gd name="connsiteY4279" fmla="*/ 786847 h 1541722"/>
                    <a:gd name="connsiteX4280" fmla="*/ 3711956 w 4457589"/>
                    <a:gd name="connsiteY4280" fmla="*/ 782604 h 1541722"/>
                    <a:gd name="connsiteX4281" fmla="*/ 3714987 w 4457589"/>
                    <a:gd name="connsiteY4281" fmla="*/ 775937 h 1541722"/>
                    <a:gd name="connsiteX4282" fmla="*/ 3714683 w 4457589"/>
                    <a:gd name="connsiteY4282" fmla="*/ 771543 h 1541722"/>
                    <a:gd name="connsiteX4283" fmla="*/ 3715896 w 4457589"/>
                    <a:gd name="connsiteY4283" fmla="*/ 766998 h 1541722"/>
                    <a:gd name="connsiteX4284" fmla="*/ 3717259 w 4457589"/>
                    <a:gd name="connsiteY4284" fmla="*/ 764725 h 1541722"/>
                    <a:gd name="connsiteX4285" fmla="*/ 3718471 w 4457589"/>
                    <a:gd name="connsiteY4285" fmla="*/ 763816 h 1541722"/>
                    <a:gd name="connsiteX4286" fmla="*/ 3719684 w 4457589"/>
                    <a:gd name="connsiteY4286" fmla="*/ 762301 h 1541722"/>
                    <a:gd name="connsiteX4287" fmla="*/ 3718168 w 4457589"/>
                    <a:gd name="connsiteY4287" fmla="*/ 758816 h 1541722"/>
                    <a:gd name="connsiteX4288" fmla="*/ 3719229 w 4457589"/>
                    <a:gd name="connsiteY4288" fmla="*/ 756391 h 1541722"/>
                    <a:gd name="connsiteX4289" fmla="*/ 3720441 w 4457589"/>
                    <a:gd name="connsiteY4289" fmla="*/ 754725 h 1541722"/>
                    <a:gd name="connsiteX4290" fmla="*/ 3745745 w 4457589"/>
                    <a:gd name="connsiteY4290" fmla="*/ 748512 h 1541722"/>
                    <a:gd name="connsiteX4291" fmla="*/ 3750290 w 4457589"/>
                    <a:gd name="connsiteY4291" fmla="*/ 748058 h 1541722"/>
                    <a:gd name="connsiteX4292" fmla="*/ 3754230 w 4457589"/>
                    <a:gd name="connsiteY4292" fmla="*/ 749421 h 1541722"/>
                    <a:gd name="connsiteX4293" fmla="*/ 3760443 w 4457589"/>
                    <a:gd name="connsiteY4293" fmla="*/ 753815 h 1541722"/>
                    <a:gd name="connsiteX4294" fmla="*/ 3767412 w 4457589"/>
                    <a:gd name="connsiteY4294" fmla="*/ 756088 h 1541722"/>
                    <a:gd name="connsiteX4295" fmla="*/ 3776958 w 4457589"/>
                    <a:gd name="connsiteY4295" fmla="*/ 757149 h 1541722"/>
                    <a:gd name="connsiteX4296" fmla="*/ 3777564 w 4457589"/>
                    <a:gd name="connsiteY4296" fmla="*/ 759119 h 1541722"/>
                    <a:gd name="connsiteX4297" fmla="*/ 3773776 w 4457589"/>
                    <a:gd name="connsiteY4297" fmla="*/ 758361 h 1541722"/>
                    <a:gd name="connsiteX4298" fmla="*/ 3771958 w 4457589"/>
                    <a:gd name="connsiteY4298" fmla="*/ 759119 h 1541722"/>
                    <a:gd name="connsiteX4299" fmla="*/ 3772261 w 4457589"/>
                    <a:gd name="connsiteY4299" fmla="*/ 760785 h 1541722"/>
                    <a:gd name="connsiteX4300" fmla="*/ 3771807 w 4457589"/>
                    <a:gd name="connsiteY4300" fmla="*/ 762149 h 1541722"/>
                    <a:gd name="connsiteX4301" fmla="*/ 3769534 w 4457589"/>
                    <a:gd name="connsiteY4301" fmla="*/ 760634 h 1541722"/>
                    <a:gd name="connsiteX4302" fmla="*/ 3763019 w 4457589"/>
                    <a:gd name="connsiteY4302" fmla="*/ 759725 h 1541722"/>
                    <a:gd name="connsiteX4303" fmla="*/ 3757109 w 4457589"/>
                    <a:gd name="connsiteY4303" fmla="*/ 757906 h 1541722"/>
                    <a:gd name="connsiteX4304" fmla="*/ 3755139 w 4457589"/>
                    <a:gd name="connsiteY4304" fmla="*/ 758058 h 1541722"/>
                    <a:gd name="connsiteX4305" fmla="*/ 3746654 w 4457589"/>
                    <a:gd name="connsiteY4305" fmla="*/ 763361 h 1541722"/>
                    <a:gd name="connsiteX4306" fmla="*/ 3744533 w 4457589"/>
                    <a:gd name="connsiteY4306" fmla="*/ 765634 h 1541722"/>
                    <a:gd name="connsiteX4307" fmla="*/ 3740896 w 4457589"/>
                    <a:gd name="connsiteY4307" fmla="*/ 776089 h 1541722"/>
                    <a:gd name="connsiteX4308" fmla="*/ 3740593 w 4457589"/>
                    <a:gd name="connsiteY4308" fmla="*/ 783362 h 1541722"/>
                    <a:gd name="connsiteX4309" fmla="*/ 3739381 w 4457589"/>
                    <a:gd name="connsiteY4309" fmla="*/ 790332 h 1541722"/>
                    <a:gd name="connsiteX4310" fmla="*/ 3735593 w 4457589"/>
                    <a:gd name="connsiteY4310" fmla="*/ 793211 h 1541722"/>
                    <a:gd name="connsiteX4311" fmla="*/ 3734381 w 4457589"/>
                    <a:gd name="connsiteY4311" fmla="*/ 796696 h 1541722"/>
                    <a:gd name="connsiteX4312" fmla="*/ 3733472 w 4457589"/>
                    <a:gd name="connsiteY4312" fmla="*/ 800787 h 1541722"/>
                    <a:gd name="connsiteX4313" fmla="*/ 3738017 w 4457589"/>
                    <a:gd name="connsiteY4313" fmla="*/ 802454 h 1541722"/>
                    <a:gd name="connsiteX4314" fmla="*/ 3738624 w 4457589"/>
                    <a:gd name="connsiteY4314" fmla="*/ 803817 h 1541722"/>
                    <a:gd name="connsiteX4315" fmla="*/ 3738926 w 4457589"/>
                    <a:gd name="connsiteY4315" fmla="*/ 805635 h 1541722"/>
                    <a:gd name="connsiteX4316" fmla="*/ 3735896 w 4457589"/>
                    <a:gd name="connsiteY4316" fmla="*/ 810030 h 1541722"/>
                    <a:gd name="connsiteX4317" fmla="*/ 3728320 w 4457589"/>
                    <a:gd name="connsiteY4317" fmla="*/ 815333 h 1541722"/>
                    <a:gd name="connsiteX4318" fmla="*/ 3727562 w 4457589"/>
                    <a:gd name="connsiteY4318" fmla="*/ 816545 h 1541722"/>
                    <a:gd name="connsiteX4319" fmla="*/ 3726501 w 4457589"/>
                    <a:gd name="connsiteY4319" fmla="*/ 818969 h 1541722"/>
                    <a:gd name="connsiteX4320" fmla="*/ 3730896 w 4457589"/>
                    <a:gd name="connsiteY4320" fmla="*/ 823363 h 1541722"/>
                    <a:gd name="connsiteX4321" fmla="*/ 3727411 w 4457589"/>
                    <a:gd name="connsiteY4321" fmla="*/ 825030 h 1541722"/>
                    <a:gd name="connsiteX4322" fmla="*/ 3724229 w 4457589"/>
                    <a:gd name="connsiteY4322" fmla="*/ 826242 h 1541722"/>
                    <a:gd name="connsiteX4323" fmla="*/ 3721047 w 4457589"/>
                    <a:gd name="connsiteY4323" fmla="*/ 828212 h 1541722"/>
                    <a:gd name="connsiteX4324" fmla="*/ 3710744 w 4457589"/>
                    <a:gd name="connsiteY4324" fmla="*/ 828970 h 1541722"/>
                    <a:gd name="connsiteX4325" fmla="*/ 3703623 w 4457589"/>
                    <a:gd name="connsiteY4325" fmla="*/ 834121 h 1541722"/>
                    <a:gd name="connsiteX4326" fmla="*/ 3691349 w 4457589"/>
                    <a:gd name="connsiteY4326" fmla="*/ 839122 h 1541722"/>
                    <a:gd name="connsiteX4327" fmla="*/ 3685894 w 4457589"/>
                    <a:gd name="connsiteY4327" fmla="*/ 842000 h 1541722"/>
                    <a:gd name="connsiteX4328" fmla="*/ 3684228 w 4457589"/>
                    <a:gd name="connsiteY4328" fmla="*/ 843970 h 1541722"/>
                    <a:gd name="connsiteX4329" fmla="*/ 3679834 w 4457589"/>
                    <a:gd name="connsiteY4329" fmla="*/ 851698 h 1541722"/>
                    <a:gd name="connsiteX4330" fmla="*/ 3677257 w 4457589"/>
                    <a:gd name="connsiteY4330" fmla="*/ 855031 h 1541722"/>
                    <a:gd name="connsiteX4331" fmla="*/ 3669075 w 4457589"/>
                    <a:gd name="connsiteY4331" fmla="*/ 860183 h 1541722"/>
                    <a:gd name="connsiteX4332" fmla="*/ 3662712 w 4457589"/>
                    <a:gd name="connsiteY4332" fmla="*/ 867607 h 1541722"/>
                    <a:gd name="connsiteX4333" fmla="*/ 3652711 w 4457589"/>
                    <a:gd name="connsiteY4333" fmla="*/ 876396 h 1541722"/>
                    <a:gd name="connsiteX4334" fmla="*/ 3648771 w 4457589"/>
                    <a:gd name="connsiteY4334" fmla="*/ 877456 h 1541722"/>
                    <a:gd name="connsiteX4335" fmla="*/ 3644378 w 4457589"/>
                    <a:gd name="connsiteY4335" fmla="*/ 879729 h 1541722"/>
                    <a:gd name="connsiteX4336" fmla="*/ 3638923 w 4457589"/>
                    <a:gd name="connsiteY4336" fmla="*/ 885941 h 1541722"/>
                    <a:gd name="connsiteX4337" fmla="*/ 3625134 w 4457589"/>
                    <a:gd name="connsiteY4337" fmla="*/ 896699 h 1541722"/>
                    <a:gd name="connsiteX4338" fmla="*/ 3618165 w 4457589"/>
                    <a:gd name="connsiteY4338" fmla="*/ 909730 h 1541722"/>
                    <a:gd name="connsiteX4339" fmla="*/ 3614377 w 4457589"/>
                    <a:gd name="connsiteY4339" fmla="*/ 914124 h 1541722"/>
                    <a:gd name="connsiteX4340" fmla="*/ 3610437 w 4457589"/>
                    <a:gd name="connsiteY4340" fmla="*/ 917458 h 1541722"/>
                    <a:gd name="connsiteX4341" fmla="*/ 3607710 w 4457589"/>
                    <a:gd name="connsiteY4341" fmla="*/ 921094 h 1541722"/>
                    <a:gd name="connsiteX4342" fmla="*/ 3603013 w 4457589"/>
                    <a:gd name="connsiteY4342" fmla="*/ 924882 h 1541722"/>
                    <a:gd name="connsiteX4343" fmla="*/ 3593467 w 4457589"/>
                    <a:gd name="connsiteY4343" fmla="*/ 930640 h 1541722"/>
                    <a:gd name="connsiteX4344" fmla="*/ 3586951 w 4457589"/>
                    <a:gd name="connsiteY4344" fmla="*/ 935337 h 1541722"/>
                    <a:gd name="connsiteX4345" fmla="*/ 3583466 w 4457589"/>
                    <a:gd name="connsiteY4345" fmla="*/ 938519 h 1541722"/>
                    <a:gd name="connsiteX4346" fmla="*/ 3582103 w 4457589"/>
                    <a:gd name="connsiteY4346" fmla="*/ 941398 h 1541722"/>
                    <a:gd name="connsiteX4347" fmla="*/ 3580436 w 4457589"/>
                    <a:gd name="connsiteY4347" fmla="*/ 940792 h 1541722"/>
                    <a:gd name="connsiteX4348" fmla="*/ 3573920 w 4457589"/>
                    <a:gd name="connsiteY4348" fmla="*/ 942307 h 1541722"/>
                    <a:gd name="connsiteX4349" fmla="*/ 3565435 w 4457589"/>
                    <a:gd name="connsiteY4349" fmla="*/ 941095 h 1541722"/>
                    <a:gd name="connsiteX4350" fmla="*/ 3559526 w 4457589"/>
                    <a:gd name="connsiteY4350" fmla="*/ 949732 h 1541722"/>
                    <a:gd name="connsiteX4351" fmla="*/ 3553162 w 4457589"/>
                    <a:gd name="connsiteY4351" fmla="*/ 950641 h 1541722"/>
                    <a:gd name="connsiteX4352" fmla="*/ 3546950 w 4457589"/>
                    <a:gd name="connsiteY4352" fmla="*/ 948519 h 1541722"/>
                    <a:gd name="connsiteX4353" fmla="*/ 3543767 w 4457589"/>
                    <a:gd name="connsiteY4353" fmla="*/ 949580 h 1541722"/>
                    <a:gd name="connsiteX4354" fmla="*/ 3542556 w 4457589"/>
                    <a:gd name="connsiteY4354" fmla="*/ 950489 h 1541722"/>
                    <a:gd name="connsiteX4355" fmla="*/ 3541495 w 4457589"/>
                    <a:gd name="connsiteY4355" fmla="*/ 951853 h 1541722"/>
                    <a:gd name="connsiteX4356" fmla="*/ 3544526 w 4457589"/>
                    <a:gd name="connsiteY4356" fmla="*/ 954580 h 1541722"/>
                    <a:gd name="connsiteX4357" fmla="*/ 3545889 w 4457589"/>
                    <a:gd name="connsiteY4357" fmla="*/ 957005 h 1541722"/>
                    <a:gd name="connsiteX4358" fmla="*/ 3546344 w 4457589"/>
                    <a:gd name="connsiteY4358" fmla="*/ 959126 h 1541722"/>
                    <a:gd name="connsiteX4359" fmla="*/ 3546646 w 4457589"/>
                    <a:gd name="connsiteY4359" fmla="*/ 962914 h 1541722"/>
                    <a:gd name="connsiteX4360" fmla="*/ 3543162 w 4457589"/>
                    <a:gd name="connsiteY4360" fmla="*/ 969884 h 1541722"/>
                    <a:gd name="connsiteX4361" fmla="*/ 3539828 w 4457589"/>
                    <a:gd name="connsiteY4361" fmla="*/ 975187 h 1541722"/>
                    <a:gd name="connsiteX4362" fmla="*/ 3534373 w 4457589"/>
                    <a:gd name="connsiteY4362" fmla="*/ 980339 h 1541722"/>
                    <a:gd name="connsiteX4363" fmla="*/ 3521798 w 4457589"/>
                    <a:gd name="connsiteY4363" fmla="*/ 989733 h 1541722"/>
                    <a:gd name="connsiteX4364" fmla="*/ 3520585 w 4457589"/>
                    <a:gd name="connsiteY4364" fmla="*/ 990945 h 1541722"/>
                    <a:gd name="connsiteX4365" fmla="*/ 3519373 w 4457589"/>
                    <a:gd name="connsiteY4365" fmla="*/ 993067 h 1541722"/>
                    <a:gd name="connsiteX4366" fmla="*/ 3512100 w 4457589"/>
                    <a:gd name="connsiteY4366" fmla="*/ 1017310 h 1541722"/>
                    <a:gd name="connsiteX4367" fmla="*/ 3510130 w 4457589"/>
                    <a:gd name="connsiteY4367" fmla="*/ 1028068 h 1541722"/>
                    <a:gd name="connsiteX4368" fmla="*/ 3507705 w 4457589"/>
                    <a:gd name="connsiteY4368" fmla="*/ 1045038 h 1541722"/>
                    <a:gd name="connsiteX4369" fmla="*/ 3508009 w 4457589"/>
                    <a:gd name="connsiteY4369" fmla="*/ 1050796 h 1541722"/>
                    <a:gd name="connsiteX4370" fmla="*/ 3509524 w 4457589"/>
                    <a:gd name="connsiteY4370" fmla="*/ 1063524 h 1541722"/>
                    <a:gd name="connsiteX4371" fmla="*/ 3511797 w 4457589"/>
                    <a:gd name="connsiteY4371" fmla="*/ 1076554 h 1541722"/>
                    <a:gd name="connsiteX4372" fmla="*/ 3517251 w 4457589"/>
                    <a:gd name="connsiteY4372" fmla="*/ 1098828 h 1541722"/>
                    <a:gd name="connsiteX4373" fmla="*/ 3518615 w 4457589"/>
                    <a:gd name="connsiteY4373" fmla="*/ 1105646 h 1541722"/>
                    <a:gd name="connsiteX4374" fmla="*/ 3522555 w 4457589"/>
                    <a:gd name="connsiteY4374" fmla="*/ 1133223 h 1541722"/>
                    <a:gd name="connsiteX4375" fmla="*/ 3522858 w 4457589"/>
                    <a:gd name="connsiteY4375" fmla="*/ 1138375 h 1541722"/>
                    <a:gd name="connsiteX4376" fmla="*/ 3524070 w 4457589"/>
                    <a:gd name="connsiteY4376" fmla="*/ 1142769 h 1541722"/>
                    <a:gd name="connsiteX4377" fmla="*/ 3526191 w 4457589"/>
                    <a:gd name="connsiteY4377" fmla="*/ 1147163 h 1541722"/>
                    <a:gd name="connsiteX4378" fmla="*/ 3529828 w 4457589"/>
                    <a:gd name="connsiteY4378" fmla="*/ 1151557 h 1541722"/>
                    <a:gd name="connsiteX4379" fmla="*/ 3530283 w 4457589"/>
                    <a:gd name="connsiteY4379" fmla="*/ 1156709 h 1541722"/>
                    <a:gd name="connsiteX4380" fmla="*/ 3533313 w 4457589"/>
                    <a:gd name="connsiteY4380" fmla="*/ 1173376 h 1541722"/>
                    <a:gd name="connsiteX4381" fmla="*/ 3533616 w 4457589"/>
                    <a:gd name="connsiteY4381" fmla="*/ 1189286 h 1541722"/>
                    <a:gd name="connsiteX4382" fmla="*/ 3534222 w 4457589"/>
                    <a:gd name="connsiteY4382" fmla="*/ 1192771 h 1541722"/>
                    <a:gd name="connsiteX4383" fmla="*/ 3534828 w 4457589"/>
                    <a:gd name="connsiteY4383" fmla="*/ 1195195 h 1541722"/>
                    <a:gd name="connsiteX4384" fmla="*/ 3538313 w 4457589"/>
                    <a:gd name="connsiteY4384" fmla="*/ 1198377 h 1541722"/>
                    <a:gd name="connsiteX4385" fmla="*/ 3539374 w 4457589"/>
                    <a:gd name="connsiteY4385" fmla="*/ 1202014 h 1541722"/>
                    <a:gd name="connsiteX4386" fmla="*/ 3539677 w 4457589"/>
                    <a:gd name="connsiteY4386" fmla="*/ 1204892 h 1541722"/>
                    <a:gd name="connsiteX4387" fmla="*/ 3540434 w 4457589"/>
                    <a:gd name="connsiteY4387" fmla="*/ 1207620 h 1541722"/>
                    <a:gd name="connsiteX4388" fmla="*/ 3543162 w 4457589"/>
                    <a:gd name="connsiteY4388" fmla="*/ 1206256 h 1541722"/>
                    <a:gd name="connsiteX4389" fmla="*/ 3552859 w 4457589"/>
                    <a:gd name="connsiteY4389" fmla="*/ 1198832 h 1541722"/>
                    <a:gd name="connsiteX4390" fmla="*/ 3560738 w 4457589"/>
                    <a:gd name="connsiteY4390" fmla="*/ 1191710 h 1541722"/>
                    <a:gd name="connsiteX4391" fmla="*/ 3561798 w 4457589"/>
                    <a:gd name="connsiteY4391" fmla="*/ 1189134 h 1541722"/>
                    <a:gd name="connsiteX4392" fmla="*/ 3564526 w 4457589"/>
                    <a:gd name="connsiteY4392" fmla="*/ 1187165 h 1541722"/>
                    <a:gd name="connsiteX4393" fmla="*/ 3569830 w 4457589"/>
                    <a:gd name="connsiteY4393" fmla="*/ 1184589 h 1541722"/>
                    <a:gd name="connsiteX4394" fmla="*/ 3577406 w 4457589"/>
                    <a:gd name="connsiteY4394" fmla="*/ 1177164 h 1541722"/>
                    <a:gd name="connsiteX4395" fmla="*/ 3583769 w 4457589"/>
                    <a:gd name="connsiteY4395" fmla="*/ 1166861 h 1541722"/>
                    <a:gd name="connsiteX4396" fmla="*/ 3587254 w 4457589"/>
                    <a:gd name="connsiteY4396" fmla="*/ 1158982 h 1541722"/>
                    <a:gd name="connsiteX4397" fmla="*/ 3588163 w 4457589"/>
                    <a:gd name="connsiteY4397" fmla="*/ 1156103 h 1541722"/>
                    <a:gd name="connsiteX4398" fmla="*/ 3588315 w 4457589"/>
                    <a:gd name="connsiteY4398" fmla="*/ 1153375 h 1541722"/>
                    <a:gd name="connsiteX4399" fmla="*/ 3587709 w 4457589"/>
                    <a:gd name="connsiteY4399" fmla="*/ 1147163 h 1541722"/>
                    <a:gd name="connsiteX4400" fmla="*/ 3589224 w 4457589"/>
                    <a:gd name="connsiteY4400" fmla="*/ 1144890 h 1541722"/>
                    <a:gd name="connsiteX4401" fmla="*/ 3591345 w 4457589"/>
                    <a:gd name="connsiteY4401" fmla="*/ 1138072 h 1541722"/>
                    <a:gd name="connsiteX4402" fmla="*/ 3589982 w 4457589"/>
                    <a:gd name="connsiteY4402" fmla="*/ 1136254 h 1541722"/>
                    <a:gd name="connsiteX4403" fmla="*/ 3586496 w 4457589"/>
                    <a:gd name="connsiteY4403" fmla="*/ 1135041 h 1541722"/>
                    <a:gd name="connsiteX4404" fmla="*/ 3587557 w 4457589"/>
                    <a:gd name="connsiteY4404" fmla="*/ 1132163 h 1541722"/>
                    <a:gd name="connsiteX4405" fmla="*/ 3590133 w 4457589"/>
                    <a:gd name="connsiteY4405" fmla="*/ 1131557 h 1541722"/>
                    <a:gd name="connsiteX4406" fmla="*/ 3592103 w 4457589"/>
                    <a:gd name="connsiteY4406" fmla="*/ 1132920 h 1541722"/>
                    <a:gd name="connsiteX4407" fmla="*/ 3593315 w 4457589"/>
                    <a:gd name="connsiteY4407" fmla="*/ 1135799 h 1541722"/>
                    <a:gd name="connsiteX4408" fmla="*/ 3594982 w 4457589"/>
                    <a:gd name="connsiteY4408" fmla="*/ 1136708 h 1541722"/>
                    <a:gd name="connsiteX4409" fmla="*/ 3600739 w 4457589"/>
                    <a:gd name="connsiteY4409" fmla="*/ 1131708 h 1541722"/>
                    <a:gd name="connsiteX4410" fmla="*/ 3605740 w 4457589"/>
                    <a:gd name="connsiteY4410" fmla="*/ 1129132 h 1541722"/>
                    <a:gd name="connsiteX4411" fmla="*/ 3618013 w 4457589"/>
                    <a:gd name="connsiteY4411" fmla="*/ 1124587 h 1541722"/>
                    <a:gd name="connsiteX4412" fmla="*/ 3623164 w 4457589"/>
                    <a:gd name="connsiteY4412" fmla="*/ 1124890 h 1541722"/>
                    <a:gd name="connsiteX4413" fmla="*/ 3627862 w 4457589"/>
                    <a:gd name="connsiteY4413" fmla="*/ 1128829 h 1541722"/>
                    <a:gd name="connsiteX4414" fmla="*/ 3629983 w 4457589"/>
                    <a:gd name="connsiteY4414" fmla="*/ 1128526 h 1541722"/>
                    <a:gd name="connsiteX4415" fmla="*/ 3629377 w 4457589"/>
                    <a:gd name="connsiteY4415" fmla="*/ 1123223 h 1541722"/>
                    <a:gd name="connsiteX4416" fmla="*/ 3626498 w 4457589"/>
                    <a:gd name="connsiteY4416" fmla="*/ 1119283 h 1541722"/>
                    <a:gd name="connsiteX4417" fmla="*/ 3626650 w 4457589"/>
                    <a:gd name="connsiteY4417" fmla="*/ 1116707 h 1541722"/>
                    <a:gd name="connsiteX4418" fmla="*/ 3628165 w 4457589"/>
                    <a:gd name="connsiteY4418" fmla="*/ 1112919 h 1541722"/>
                    <a:gd name="connsiteX4419" fmla="*/ 3626952 w 4457589"/>
                    <a:gd name="connsiteY4419" fmla="*/ 1110344 h 1541722"/>
                    <a:gd name="connsiteX4420" fmla="*/ 3625741 w 4457589"/>
                    <a:gd name="connsiteY4420" fmla="*/ 1108374 h 1541722"/>
                    <a:gd name="connsiteX4421" fmla="*/ 3625134 w 4457589"/>
                    <a:gd name="connsiteY4421" fmla="*/ 1104283 h 1541722"/>
                    <a:gd name="connsiteX4422" fmla="*/ 3627256 w 4457589"/>
                    <a:gd name="connsiteY4422" fmla="*/ 1095798 h 1541722"/>
                    <a:gd name="connsiteX4423" fmla="*/ 3629680 w 4457589"/>
                    <a:gd name="connsiteY4423" fmla="*/ 1091252 h 1541722"/>
                    <a:gd name="connsiteX4424" fmla="*/ 3631347 w 4457589"/>
                    <a:gd name="connsiteY4424" fmla="*/ 1088979 h 1541722"/>
                    <a:gd name="connsiteX4425" fmla="*/ 3637256 w 4457589"/>
                    <a:gd name="connsiteY4425" fmla="*/ 1085343 h 1541722"/>
                    <a:gd name="connsiteX4426" fmla="*/ 3643468 w 4457589"/>
                    <a:gd name="connsiteY4426" fmla="*/ 1079888 h 1541722"/>
                    <a:gd name="connsiteX4427" fmla="*/ 3650439 w 4457589"/>
                    <a:gd name="connsiteY4427" fmla="*/ 1075797 h 1541722"/>
                    <a:gd name="connsiteX4428" fmla="*/ 3654984 w 4457589"/>
                    <a:gd name="connsiteY4428" fmla="*/ 1074282 h 1541722"/>
                    <a:gd name="connsiteX4429" fmla="*/ 3660287 w 4457589"/>
                    <a:gd name="connsiteY4429" fmla="*/ 1073524 h 1541722"/>
                    <a:gd name="connsiteX4430" fmla="*/ 3664682 w 4457589"/>
                    <a:gd name="connsiteY4430" fmla="*/ 1076554 h 1541722"/>
                    <a:gd name="connsiteX4431" fmla="*/ 3673773 w 4457589"/>
                    <a:gd name="connsiteY4431" fmla="*/ 1076706 h 1541722"/>
                    <a:gd name="connsiteX4432" fmla="*/ 3676500 w 4457589"/>
                    <a:gd name="connsiteY4432" fmla="*/ 1076100 h 1541722"/>
                    <a:gd name="connsiteX4433" fmla="*/ 3683167 w 4457589"/>
                    <a:gd name="connsiteY4433" fmla="*/ 1070191 h 1541722"/>
                    <a:gd name="connsiteX4434" fmla="*/ 3686955 w 4457589"/>
                    <a:gd name="connsiteY4434" fmla="*/ 1067766 h 1541722"/>
                    <a:gd name="connsiteX4435" fmla="*/ 3686197 w 4457589"/>
                    <a:gd name="connsiteY4435" fmla="*/ 1062615 h 1541722"/>
                    <a:gd name="connsiteX4436" fmla="*/ 3683924 w 4457589"/>
                    <a:gd name="connsiteY4436" fmla="*/ 1058372 h 1541722"/>
                    <a:gd name="connsiteX4437" fmla="*/ 3679227 w 4457589"/>
                    <a:gd name="connsiteY4437" fmla="*/ 1053069 h 1541722"/>
                    <a:gd name="connsiteX4438" fmla="*/ 3678166 w 4457589"/>
                    <a:gd name="connsiteY4438" fmla="*/ 1050493 h 1541722"/>
                    <a:gd name="connsiteX4439" fmla="*/ 3676651 w 4457589"/>
                    <a:gd name="connsiteY4439" fmla="*/ 1044735 h 1541722"/>
                    <a:gd name="connsiteX4440" fmla="*/ 3676500 w 4457589"/>
                    <a:gd name="connsiteY4440" fmla="*/ 1039432 h 1541722"/>
                    <a:gd name="connsiteX4441" fmla="*/ 3677864 w 4457589"/>
                    <a:gd name="connsiteY4441" fmla="*/ 1033371 h 1541722"/>
                    <a:gd name="connsiteX4442" fmla="*/ 3681954 w 4457589"/>
                    <a:gd name="connsiteY4442" fmla="*/ 1026250 h 1541722"/>
                    <a:gd name="connsiteX4443" fmla="*/ 3686349 w 4457589"/>
                    <a:gd name="connsiteY4443" fmla="*/ 1016552 h 1541722"/>
                    <a:gd name="connsiteX4444" fmla="*/ 3688016 w 4457589"/>
                    <a:gd name="connsiteY4444" fmla="*/ 1015037 h 1541722"/>
                    <a:gd name="connsiteX4445" fmla="*/ 3693168 w 4457589"/>
                    <a:gd name="connsiteY4445" fmla="*/ 1012764 h 1541722"/>
                    <a:gd name="connsiteX4446" fmla="*/ 3696652 w 4457589"/>
                    <a:gd name="connsiteY4446" fmla="*/ 1010946 h 1541722"/>
                    <a:gd name="connsiteX4447" fmla="*/ 3698471 w 4457589"/>
                    <a:gd name="connsiteY4447" fmla="*/ 1010037 h 1541722"/>
                    <a:gd name="connsiteX4448" fmla="*/ 3697410 w 4457589"/>
                    <a:gd name="connsiteY4448" fmla="*/ 1004582 h 1541722"/>
                    <a:gd name="connsiteX4449" fmla="*/ 3700137 w 4457589"/>
                    <a:gd name="connsiteY4449" fmla="*/ 1002461 h 1541722"/>
                    <a:gd name="connsiteX4450" fmla="*/ 3702410 w 4457589"/>
                    <a:gd name="connsiteY4450" fmla="*/ 1001097 h 1541722"/>
                    <a:gd name="connsiteX4451" fmla="*/ 3708016 w 4457589"/>
                    <a:gd name="connsiteY4451" fmla="*/ 1001552 h 1541722"/>
                    <a:gd name="connsiteX4452" fmla="*/ 3709835 w 4457589"/>
                    <a:gd name="connsiteY4452" fmla="*/ 1000340 h 1541722"/>
                    <a:gd name="connsiteX4453" fmla="*/ 3712410 w 4457589"/>
                    <a:gd name="connsiteY4453" fmla="*/ 999885 h 1541722"/>
                    <a:gd name="connsiteX4454" fmla="*/ 3710744 w 4457589"/>
                    <a:gd name="connsiteY4454" fmla="*/ 1002764 h 1541722"/>
                    <a:gd name="connsiteX4455" fmla="*/ 3708470 w 4457589"/>
                    <a:gd name="connsiteY4455" fmla="*/ 1004582 h 1541722"/>
                    <a:gd name="connsiteX4456" fmla="*/ 3703623 w 4457589"/>
                    <a:gd name="connsiteY4456" fmla="*/ 1007309 h 1541722"/>
                    <a:gd name="connsiteX4457" fmla="*/ 3701198 w 4457589"/>
                    <a:gd name="connsiteY4457" fmla="*/ 1011097 h 1541722"/>
                    <a:gd name="connsiteX4458" fmla="*/ 3707107 w 4457589"/>
                    <a:gd name="connsiteY4458" fmla="*/ 1017461 h 1541722"/>
                    <a:gd name="connsiteX4459" fmla="*/ 3710592 w 4457589"/>
                    <a:gd name="connsiteY4459" fmla="*/ 1018825 h 1541722"/>
                    <a:gd name="connsiteX4460" fmla="*/ 3712714 w 4457589"/>
                    <a:gd name="connsiteY4460" fmla="*/ 1018371 h 1541722"/>
                    <a:gd name="connsiteX4461" fmla="*/ 3716653 w 4457589"/>
                    <a:gd name="connsiteY4461" fmla="*/ 1014734 h 1541722"/>
                    <a:gd name="connsiteX4462" fmla="*/ 3718623 w 4457589"/>
                    <a:gd name="connsiteY4462" fmla="*/ 1013370 h 1541722"/>
                    <a:gd name="connsiteX4463" fmla="*/ 3720593 w 4457589"/>
                    <a:gd name="connsiteY4463" fmla="*/ 1011097 h 1541722"/>
                    <a:gd name="connsiteX4464" fmla="*/ 3719532 w 4457589"/>
                    <a:gd name="connsiteY4464" fmla="*/ 1002764 h 1541722"/>
                    <a:gd name="connsiteX4465" fmla="*/ 3718016 w 4457589"/>
                    <a:gd name="connsiteY4465" fmla="*/ 998218 h 1541722"/>
                    <a:gd name="connsiteX4466" fmla="*/ 3718471 w 4457589"/>
                    <a:gd name="connsiteY4466" fmla="*/ 993370 h 1541722"/>
                    <a:gd name="connsiteX4467" fmla="*/ 3715896 w 4457589"/>
                    <a:gd name="connsiteY4467" fmla="*/ 992006 h 1541722"/>
                    <a:gd name="connsiteX4468" fmla="*/ 3712714 w 4457589"/>
                    <a:gd name="connsiteY4468" fmla="*/ 991248 h 1541722"/>
                    <a:gd name="connsiteX4469" fmla="*/ 3709229 w 4457589"/>
                    <a:gd name="connsiteY4469" fmla="*/ 992006 h 1541722"/>
                    <a:gd name="connsiteX4470" fmla="*/ 3707259 w 4457589"/>
                    <a:gd name="connsiteY4470" fmla="*/ 990794 h 1541722"/>
                    <a:gd name="connsiteX4471" fmla="*/ 3706047 w 4457589"/>
                    <a:gd name="connsiteY4471" fmla="*/ 988521 h 1541722"/>
                    <a:gd name="connsiteX4472" fmla="*/ 3705743 w 4457589"/>
                    <a:gd name="connsiteY4472" fmla="*/ 986097 h 1541722"/>
                    <a:gd name="connsiteX4473" fmla="*/ 3706350 w 4457589"/>
                    <a:gd name="connsiteY4473" fmla="*/ 980339 h 1541722"/>
                    <a:gd name="connsiteX4474" fmla="*/ 3706198 w 4457589"/>
                    <a:gd name="connsiteY4474" fmla="*/ 977157 h 1541722"/>
                    <a:gd name="connsiteX4475" fmla="*/ 3704834 w 4457589"/>
                    <a:gd name="connsiteY4475" fmla="*/ 971702 h 1541722"/>
                    <a:gd name="connsiteX4476" fmla="*/ 3704986 w 4457589"/>
                    <a:gd name="connsiteY4476" fmla="*/ 970035 h 1541722"/>
                    <a:gd name="connsiteX4477" fmla="*/ 3705441 w 4457589"/>
                    <a:gd name="connsiteY4477" fmla="*/ 967157 h 1541722"/>
                    <a:gd name="connsiteX4478" fmla="*/ 3710289 w 4457589"/>
                    <a:gd name="connsiteY4478" fmla="*/ 962459 h 1541722"/>
                    <a:gd name="connsiteX4479" fmla="*/ 3714380 w 4457589"/>
                    <a:gd name="connsiteY4479" fmla="*/ 958974 h 1541722"/>
                    <a:gd name="connsiteX4480" fmla="*/ 3716502 w 4457589"/>
                    <a:gd name="connsiteY4480" fmla="*/ 956247 h 1541722"/>
                    <a:gd name="connsiteX4481" fmla="*/ 3717259 w 4457589"/>
                    <a:gd name="connsiteY4481" fmla="*/ 954277 h 1541722"/>
                    <a:gd name="connsiteX4482" fmla="*/ 3717562 w 4457589"/>
                    <a:gd name="connsiteY4482" fmla="*/ 950186 h 1541722"/>
                    <a:gd name="connsiteX4483" fmla="*/ 3715441 w 4457589"/>
                    <a:gd name="connsiteY4483" fmla="*/ 948216 h 1541722"/>
                    <a:gd name="connsiteX4484" fmla="*/ 3703773 w 4457589"/>
                    <a:gd name="connsiteY4484" fmla="*/ 943974 h 1541722"/>
                    <a:gd name="connsiteX4485" fmla="*/ 3701955 w 4457589"/>
                    <a:gd name="connsiteY4485" fmla="*/ 943822 h 1541722"/>
                    <a:gd name="connsiteX4486" fmla="*/ 3698319 w 4457589"/>
                    <a:gd name="connsiteY4486" fmla="*/ 945641 h 1541722"/>
                    <a:gd name="connsiteX4487" fmla="*/ 3696804 w 4457589"/>
                    <a:gd name="connsiteY4487" fmla="*/ 951095 h 1541722"/>
                    <a:gd name="connsiteX4488" fmla="*/ 3694834 w 4457589"/>
                    <a:gd name="connsiteY4488" fmla="*/ 953065 h 1541722"/>
                    <a:gd name="connsiteX4489" fmla="*/ 3694834 w 4457589"/>
                    <a:gd name="connsiteY4489" fmla="*/ 951853 h 1541722"/>
                    <a:gd name="connsiteX4490" fmla="*/ 3695288 w 4457589"/>
                    <a:gd name="connsiteY4490" fmla="*/ 950641 h 1541722"/>
                    <a:gd name="connsiteX4491" fmla="*/ 3689530 w 4457589"/>
                    <a:gd name="connsiteY4491" fmla="*/ 948519 h 1541722"/>
                    <a:gd name="connsiteX4492" fmla="*/ 3686803 w 4457589"/>
                    <a:gd name="connsiteY4492" fmla="*/ 946853 h 1541722"/>
                    <a:gd name="connsiteX4493" fmla="*/ 3685137 w 4457589"/>
                    <a:gd name="connsiteY4493" fmla="*/ 945034 h 1541722"/>
                    <a:gd name="connsiteX4494" fmla="*/ 3684076 w 4457589"/>
                    <a:gd name="connsiteY4494" fmla="*/ 942610 h 1541722"/>
                    <a:gd name="connsiteX4495" fmla="*/ 3683015 w 4457589"/>
                    <a:gd name="connsiteY4495" fmla="*/ 938822 h 1541722"/>
                    <a:gd name="connsiteX4496" fmla="*/ 3685440 w 4457589"/>
                    <a:gd name="connsiteY4496" fmla="*/ 930943 h 1541722"/>
                    <a:gd name="connsiteX4497" fmla="*/ 3688016 w 4457589"/>
                    <a:gd name="connsiteY4497" fmla="*/ 923973 h 1541722"/>
                    <a:gd name="connsiteX4498" fmla="*/ 3696501 w 4457589"/>
                    <a:gd name="connsiteY4498" fmla="*/ 913518 h 1541722"/>
                    <a:gd name="connsiteX4499" fmla="*/ 3701653 w 4457589"/>
                    <a:gd name="connsiteY4499" fmla="*/ 909882 h 1541722"/>
                    <a:gd name="connsiteX4500" fmla="*/ 3707259 w 4457589"/>
                    <a:gd name="connsiteY4500" fmla="*/ 904275 h 1541722"/>
                    <a:gd name="connsiteX4501" fmla="*/ 3709683 w 4457589"/>
                    <a:gd name="connsiteY4501" fmla="*/ 903215 h 1541722"/>
                    <a:gd name="connsiteX4502" fmla="*/ 3710592 w 4457589"/>
                    <a:gd name="connsiteY4502" fmla="*/ 902306 h 1541722"/>
                    <a:gd name="connsiteX4503" fmla="*/ 3711501 w 4457589"/>
                    <a:gd name="connsiteY4503" fmla="*/ 901094 h 1541722"/>
                    <a:gd name="connsiteX4504" fmla="*/ 3709835 w 4457589"/>
                    <a:gd name="connsiteY4504" fmla="*/ 897154 h 1541722"/>
                    <a:gd name="connsiteX4505" fmla="*/ 3710744 w 4457589"/>
                    <a:gd name="connsiteY4505" fmla="*/ 896245 h 1541722"/>
                    <a:gd name="connsiteX4506" fmla="*/ 3711653 w 4457589"/>
                    <a:gd name="connsiteY4506" fmla="*/ 895790 h 1541722"/>
                    <a:gd name="connsiteX4507" fmla="*/ 3713774 w 4457589"/>
                    <a:gd name="connsiteY4507" fmla="*/ 896548 h 1541722"/>
                    <a:gd name="connsiteX4508" fmla="*/ 3718925 w 4457589"/>
                    <a:gd name="connsiteY4508" fmla="*/ 889578 h 1541722"/>
                    <a:gd name="connsiteX4509" fmla="*/ 3718775 w 4457589"/>
                    <a:gd name="connsiteY4509" fmla="*/ 880790 h 1541722"/>
                    <a:gd name="connsiteX4510" fmla="*/ 3720290 w 4457589"/>
                    <a:gd name="connsiteY4510" fmla="*/ 873214 h 1541722"/>
                    <a:gd name="connsiteX4511" fmla="*/ 3721350 w 4457589"/>
                    <a:gd name="connsiteY4511" fmla="*/ 870183 h 1541722"/>
                    <a:gd name="connsiteX4512" fmla="*/ 3722713 w 4457589"/>
                    <a:gd name="connsiteY4512" fmla="*/ 867910 h 1541722"/>
                    <a:gd name="connsiteX4513" fmla="*/ 3724987 w 4457589"/>
                    <a:gd name="connsiteY4513" fmla="*/ 865789 h 1541722"/>
                    <a:gd name="connsiteX4514" fmla="*/ 3727108 w 4457589"/>
                    <a:gd name="connsiteY4514" fmla="*/ 864729 h 1541722"/>
                    <a:gd name="connsiteX4515" fmla="*/ 3730290 w 4457589"/>
                    <a:gd name="connsiteY4515" fmla="*/ 862153 h 1541722"/>
                    <a:gd name="connsiteX4516" fmla="*/ 3731805 w 4457589"/>
                    <a:gd name="connsiteY4516" fmla="*/ 860031 h 1541722"/>
                    <a:gd name="connsiteX4517" fmla="*/ 3732714 w 4457589"/>
                    <a:gd name="connsiteY4517" fmla="*/ 859577 h 1541722"/>
                    <a:gd name="connsiteX4518" fmla="*/ 3736351 w 4457589"/>
                    <a:gd name="connsiteY4518" fmla="*/ 859728 h 1541722"/>
                    <a:gd name="connsiteX4519" fmla="*/ 3739230 w 4457589"/>
                    <a:gd name="connsiteY4519" fmla="*/ 860486 h 1541722"/>
                    <a:gd name="connsiteX4520" fmla="*/ 3742412 w 4457589"/>
                    <a:gd name="connsiteY4520" fmla="*/ 861850 h 1541722"/>
                    <a:gd name="connsiteX4521" fmla="*/ 3741957 w 4457589"/>
                    <a:gd name="connsiteY4521" fmla="*/ 865486 h 1541722"/>
                    <a:gd name="connsiteX4522" fmla="*/ 3745745 w 4457589"/>
                    <a:gd name="connsiteY4522" fmla="*/ 862304 h 1541722"/>
                    <a:gd name="connsiteX4523" fmla="*/ 3749079 w 4457589"/>
                    <a:gd name="connsiteY4523" fmla="*/ 858819 h 1541722"/>
                    <a:gd name="connsiteX4524" fmla="*/ 3750897 w 4457589"/>
                    <a:gd name="connsiteY4524" fmla="*/ 858213 h 1541722"/>
                    <a:gd name="connsiteX4525" fmla="*/ 3753169 w 4457589"/>
                    <a:gd name="connsiteY4525" fmla="*/ 858668 h 1541722"/>
                    <a:gd name="connsiteX4526" fmla="*/ 3757109 w 4457589"/>
                    <a:gd name="connsiteY4526" fmla="*/ 861395 h 1541722"/>
                    <a:gd name="connsiteX4527" fmla="*/ 3760140 w 4457589"/>
                    <a:gd name="connsiteY4527" fmla="*/ 866395 h 1541722"/>
                    <a:gd name="connsiteX4528" fmla="*/ 3762109 w 4457589"/>
                    <a:gd name="connsiteY4528" fmla="*/ 867759 h 1541722"/>
                    <a:gd name="connsiteX4529" fmla="*/ 3764837 w 4457589"/>
                    <a:gd name="connsiteY4529" fmla="*/ 867607 h 1541722"/>
                    <a:gd name="connsiteX4530" fmla="*/ 3766655 w 4457589"/>
                    <a:gd name="connsiteY4530" fmla="*/ 866850 h 1541722"/>
                    <a:gd name="connsiteX4531" fmla="*/ 3768170 w 4457589"/>
                    <a:gd name="connsiteY4531" fmla="*/ 863516 h 1541722"/>
                    <a:gd name="connsiteX4532" fmla="*/ 3768473 w 4457589"/>
                    <a:gd name="connsiteY4532" fmla="*/ 857153 h 1541722"/>
                    <a:gd name="connsiteX4533" fmla="*/ 3771352 w 4457589"/>
                    <a:gd name="connsiteY4533" fmla="*/ 856092 h 1541722"/>
                    <a:gd name="connsiteX4534" fmla="*/ 3773928 w 4457589"/>
                    <a:gd name="connsiteY4534" fmla="*/ 855637 h 1541722"/>
                    <a:gd name="connsiteX4535" fmla="*/ 3777564 w 4457589"/>
                    <a:gd name="connsiteY4535" fmla="*/ 852758 h 1541722"/>
                    <a:gd name="connsiteX4536" fmla="*/ 3782110 w 4457589"/>
                    <a:gd name="connsiteY4536" fmla="*/ 851546 h 1541722"/>
                    <a:gd name="connsiteX4537" fmla="*/ 3791959 w 4457589"/>
                    <a:gd name="connsiteY4537" fmla="*/ 846546 h 1541722"/>
                    <a:gd name="connsiteX4538" fmla="*/ 3798474 w 4457589"/>
                    <a:gd name="connsiteY4538" fmla="*/ 841546 h 1541722"/>
                    <a:gd name="connsiteX4539" fmla="*/ 3803171 w 4457589"/>
                    <a:gd name="connsiteY4539" fmla="*/ 841243 h 1541722"/>
                    <a:gd name="connsiteX4540" fmla="*/ 3801959 w 4457589"/>
                    <a:gd name="connsiteY4540" fmla="*/ 844273 h 1541722"/>
                    <a:gd name="connsiteX4541" fmla="*/ 3801504 w 4457589"/>
                    <a:gd name="connsiteY4541" fmla="*/ 847001 h 1541722"/>
                    <a:gd name="connsiteX4542" fmla="*/ 3799838 w 4457589"/>
                    <a:gd name="connsiteY4542" fmla="*/ 853971 h 1541722"/>
                    <a:gd name="connsiteX4543" fmla="*/ 3798171 w 4457589"/>
                    <a:gd name="connsiteY4543" fmla="*/ 857607 h 1541722"/>
                    <a:gd name="connsiteX4544" fmla="*/ 3797262 w 4457589"/>
                    <a:gd name="connsiteY4544" fmla="*/ 862001 h 1541722"/>
                    <a:gd name="connsiteX4545" fmla="*/ 3797565 w 4457589"/>
                    <a:gd name="connsiteY4545" fmla="*/ 864425 h 1541722"/>
                    <a:gd name="connsiteX4546" fmla="*/ 3798626 w 4457589"/>
                    <a:gd name="connsiteY4546" fmla="*/ 867456 h 1541722"/>
                    <a:gd name="connsiteX4547" fmla="*/ 3801050 w 4457589"/>
                    <a:gd name="connsiteY4547" fmla="*/ 867153 h 1541722"/>
                    <a:gd name="connsiteX4548" fmla="*/ 3802565 w 4457589"/>
                    <a:gd name="connsiteY4548" fmla="*/ 866395 h 1541722"/>
                    <a:gd name="connsiteX4549" fmla="*/ 3805899 w 4457589"/>
                    <a:gd name="connsiteY4549" fmla="*/ 863365 h 1541722"/>
                    <a:gd name="connsiteX4550" fmla="*/ 3819839 w 4457589"/>
                    <a:gd name="connsiteY4550" fmla="*/ 848667 h 1541722"/>
                    <a:gd name="connsiteX4551" fmla="*/ 3827112 w 4457589"/>
                    <a:gd name="connsiteY4551" fmla="*/ 844576 h 1541722"/>
                    <a:gd name="connsiteX4552" fmla="*/ 3838021 w 4457589"/>
                    <a:gd name="connsiteY4552" fmla="*/ 842000 h 1541722"/>
                    <a:gd name="connsiteX4553" fmla="*/ 3841355 w 4457589"/>
                    <a:gd name="connsiteY4553" fmla="*/ 840334 h 1541722"/>
                    <a:gd name="connsiteX4554" fmla="*/ 3851961 w 4457589"/>
                    <a:gd name="connsiteY4554" fmla="*/ 837606 h 1541722"/>
                    <a:gd name="connsiteX4555" fmla="*/ 3860900 w 4457589"/>
                    <a:gd name="connsiteY4555" fmla="*/ 836849 h 1541722"/>
                    <a:gd name="connsiteX4556" fmla="*/ 3866507 w 4457589"/>
                    <a:gd name="connsiteY4556" fmla="*/ 838061 h 1541722"/>
                    <a:gd name="connsiteX4557" fmla="*/ 3869840 w 4457589"/>
                    <a:gd name="connsiteY4557" fmla="*/ 838061 h 1541722"/>
                    <a:gd name="connsiteX4558" fmla="*/ 3881810 w 4457589"/>
                    <a:gd name="connsiteY4558" fmla="*/ 836697 h 1541722"/>
                    <a:gd name="connsiteX4559" fmla="*/ 3883174 w 4457589"/>
                    <a:gd name="connsiteY4559" fmla="*/ 838364 h 1541722"/>
                    <a:gd name="connsiteX4560" fmla="*/ 3892569 w 4457589"/>
                    <a:gd name="connsiteY4560" fmla="*/ 843213 h 1541722"/>
                    <a:gd name="connsiteX4561" fmla="*/ 3897871 w 4457589"/>
                    <a:gd name="connsiteY4561" fmla="*/ 850334 h 1541722"/>
                    <a:gd name="connsiteX4562" fmla="*/ 3898932 w 4457589"/>
                    <a:gd name="connsiteY4562" fmla="*/ 850940 h 1541722"/>
                    <a:gd name="connsiteX4563" fmla="*/ 3899841 w 4457589"/>
                    <a:gd name="connsiteY4563" fmla="*/ 852304 h 1541722"/>
                    <a:gd name="connsiteX4564" fmla="*/ 3900145 w 4457589"/>
                    <a:gd name="connsiteY4564" fmla="*/ 855183 h 1541722"/>
                    <a:gd name="connsiteX4565" fmla="*/ 3900902 w 4457589"/>
                    <a:gd name="connsiteY4565" fmla="*/ 857001 h 1541722"/>
                    <a:gd name="connsiteX4566" fmla="*/ 3902418 w 4457589"/>
                    <a:gd name="connsiteY4566" fmla="*/ 858516 h 1541722"/>
                    <a:gd name="connsiteX4567" fmla="*/ 3907115 w 4457589"/>
                    <a:gd name="connsiteY4567" fmla="*/ 861850 h 1541722"/>
                    <a:gd name="connsiteX4568" fmla="*/ 3912569 w 4457589"/>
                    <a:gd name="connsiteY4568" fmla="*/ 862607 h 1541722"/>
                    <a:gd name="connsiteX4569" fmla="*/ 3913782 w 4457589"/>
                    <a:gd name="connsiteY4569" fmla="*/ 860789 h 1541722"/>
                    <a:gd name="connsiteX4570" fmla="*/ 3914539 w 4457589"/>
                    <a:gd name="connsiteY4570" fmla="*/ 859274 h 1541722"/>
                    <a:gd name="connsiteX4571" fmla="*/ 3916963 w 4457589"/>
                    <a:gd name="connsiteY4571" fmla="*/ 850637 h 1541722"/>
                    <a:gd name="connsiteX4572" fmla="*/ 3919085 w 4457589"/>
                    <a:gd name="connsiteY4572" fmla="*/ 847152 h 1541722"/>
                    <a:gd name="connsiteX4573" fmla="*/ 3919085 w 4457589"/>
                    <a:gd name="connsiteY4573" fmla="*/ 845031 h 1541722"/>
                    <a:gd name="connsiteX4574" fmla="*/ 3919540 w 4457589"/>
                    <a:gd name="connsiteY4574" fmla="*/ 843364 h 1541722"/>
                    <a:gd name="connsiteX4575" fmla="*/ 3924843 w 4457589"/>
                    <a:gd name="connsiteY4575" fmla="*/ 840788 h 1541722"/>
                    <a:gd name="connsiteX4576" fmla="*/ 3928934 w 4457589"/>
                    <a:gd name="connsiteY4576" fmla="*/ 839728 h 1541722"/>
                    <a:gd name="connsiteX4577" fmla="*/ 3943783 w 4457589"/>
                    <a:gd name="connsiteY4577" fmla="*/ 831394 h 1541722"/>
                    <a:gd name="connsiteX4578" fmla="*/ 3950298 w 4457589"/>
                    <a:gd name="connsiteY4578" fmla="*/ 826545 h 1541722"/>
                    <a:gd name="connsiteX4579" fmla="*/ 3953025 w 4457589"/>
                    <a:gd name="connsiteY4579" fmla="*/ 826697 h 1541722"/>
                    <a:gd name="connsiteX4580" fmla="*/ 3955450 w 4457589"/>
                    <a:gd name="connsiteY4580" fmla="*/ 825636 h 1541722"/>
                    <a:gd name="connsiteX4581" fmla="*/ 3957571 w 4457589"/>
                    <a:gd name="connsiteY4581" fmla="*/ 824121 h 1541722"/>
                    <a:gd name="connsiteX4582" fmla="*/ 3959541 w 4457589"/>
                    <a:gd name="connsiteY4582" fmla="*/ 823515 h 1541722"/>
                    <a:gd name="connsiteX4583" fmla="*/ 3963480 w 4457589"/>
                    <a:gd name="connsiteY4583" fmla="*/ 820030 h 1541722"/>
                    <a:gd name="connsiteX4584" fmla="*/ 3968481 w 4457589"/>
                    <a:gd name="connsiteY4584" fmla="*/ 817454 h 1541722"/>
                    <a:gd name="connsiteX4585" fmla="*/ 3967572 w 4457589"/>
                    <a:gd name="connsiteY4585" fmla="*/ 815181 h 1541722"/>
                    <a:gd name="connsiteX4586" fmla="*/ 3968481 w 4457589"/>
                    <a:gd name="connsiteY4586" fmla="*/ 813060 h 1541722"/>
                    <a:gd name="connsiteX4587" fmla="*/ 3971208 w 4457589"/>
                    <a:gd name="connsiteY4587" fmla="*/ 812302 h 1541722"/>
                    <a:gd name="connsiteX4588" fmla="*/ 3973632 w 4457589"/>
                    <a:gd name="connsiteY4588" fmla="*/ 811999 h 1541722"/>
                    <a:gd name="connsiteX4589" fmla="*/ 3976814 w 4457589"/>
                    <a:gd name="connsiteY4589" fmla="*/ 809575 h 1541722"/>
                    <a:gd name="connsiteX4590" fmla="*/ 3976511 w 4457589"/>
                    <a:gd name="connsiteY4590" fmla="*/ 807605 h 1541722"/>
                    <a:gd name="connsiteX4591" fmla="*/ 3977723 w 4457589"/>
                    <a:gd name="connsiteY4591" fmla="*/ 806848 h 1541722"/>
                    <a:gd name="connsiteX4592" fmla="*/ 3979238 w 4457589"/>
                    <a:gd name="connsiteY4592" fmla="*/ 806999 h 1541722"/>
                    <a:gd name="connsiteX4593" fmla="*/ 3981360 w 4457589"/>
                    <a:gd name="connsiteY4593" fmla="*/ 807757 h 1541722"/>
                    <a:gd name="connsiteX4594" fmla="*/ 3982572 w 4457589"/>
                    <a:gd name="connsiteY4594" fmla="*/ 806999 h 1541722"/>
                    <a:gd name="connsiteX4595" fmla="*/ 3980602 w 4457589"/>
                    <a:gd name="connsiteY4595" fmla="*/ 804272 h 1541722"/>
                    <a:gd name="connsiteX4596" fmla="*/ 3979693 w 4457589"/>
                    <a:gd name="connsiteY4596" fmla="*/ 801847 h 1541722"/>
                    <a:gd name="connsiteX4597" fmla="*/ 3981057 w 4457589"/>
                    <a:gd name="connsiteY4597" fmla="*/ 800332 h 1541722"/>
                    <a:gd name="connsiteX4598" fmla="*/ 3986512 w 4457589"/>
                    <a:gd name="connsiteY4598" fmla="*/ 803060 h 1541722"/>
                    <a:gd name="connsiteX4599" fmla="*/ 3988633 w 4457589"/>
                    <a:gd name="connsiteY4599" fmla="*/ 803060 h 1541722"/>
                    <a:gd name="connsiteX4600" fmla="*/ 3995754 w 4457589"/>
                    <a:gd name="connsiteY4600" fmla="*/ 796696 h 1541722"/>
                    <a:gd name="connsiteX4601" fmla="*/ 4002118 w 4457589"/>
                    <a:gd name="connsiteY4601" fmla="*/ 790029 h 1541722"/>
                    <a:gd name="connsiteX4602" fmla="*/ 4007573 w 4457589"/>
                    <a:gd name="connsiteY4602" fmla="*/ 791544 h 1541722"/>
                    <a:gd name="connsiteX4603" fmla="*/ 4016209 w 4457589"/>
                    <a:gd name="connsiteY4603" fmla="*/ 786695 h 1541722"/>
                    <a:gd name="connsiteX4604" fmla="*/ 4020149 w 4457589"/>
                    <a:gd name="connsiteY4604" fmla="*/ 785786 h 1541722"/>
                    <a:gd name="connsiteX4605" fmla="*/ 4026513 w 4457589"/>
                    <a:gd name="connsiteY4605" fmla="*/ 785483 h 1541722"/>
                    <a:gd name="connsiteX4606" fmla="*/ 4029089 w 4457589"/>
                    <a:gd name="connsiteY4606" fmla="*/ 783665 h 1541722"/>
                    <a:gd name="connsiteX4607" fmla="*/ 4031968 w 4457589"/>
                    <a:gd name="connsiteY4607" fmla="*/ 780332 h 1541722"/>
                    <a:gd name="connsiteX4608" fmla="*/ 4034240 w 4457589"/>
                    <a:gd name="connsiteY4608" fmla="*/ 780635 h 1541722"/>
                    <a:gd name="connsiteX4609" fmla="*/ 4044998 w 4457589"/>
                    <a:gd name="connsiteY4609" fmla="*/ 776544 h 1541722"/>
                    <a:gd name="connsiteX4610" fmla="*/ 4047120 w 4457589"/>
                    <a:gd name="connsiteY4610" fmla="*/ 773665 h 1541722"/>
                    <a:gd name="connsiteX4611" fmla="*/ 4049696 w 4457589"/>
                    <a:gd name="connsiteY4611" fmla="*/ 772907 h 1541722"/>
                    <a:gd name="connsiteX4612" fmla="*/ 4051817 w 4457589"/>
                    <a:gd name="connsiteY4612" fmla="*/ 772604 h 1541722"/>
                    <a:gd name="connsiteX4613" fmla="*/ 4056514 w 4457589"/>
                    <a:gd name="connsiteY4613" fmla="*/ 770331 h 1541722"/>
                    <a:gd name="connsiteX4614" fmla="*/ 4076060 w 4457589"/>
                    <a:gd name="connsiteY4614" fmla="*/ 763361 h 1541722"/>
                    <a:gd name="connsiteX4615" fmla="*/ 4079091 w 4457589"/>
                    <a:gd name="connsiteY4615" fmla="*/ 760634 h 1541722"/>
                    <a:gd name="connsiteX4616" fmla="*/ 4086363 w 4457589"/>
                    <a:gd name="connsiteY4616" fmla="*/ 756543 h 1541722"/>
                    <a:gd name="connsiteX4617" fmla="*/ 4091970 w 4457589"/>
                    <a:gd name="connsiteY4617" fmla="*/ 755331 h 1541722"/>
                    <a:gd name="connsiteX4618" fmla="*/ 4098788 w 4457589"/>
                    <a:gd name="connsiteY4618" fmla="*/ 754270 h 1541722"/>
                    <a:gd name="connsiteX4619" fmla="*/ 4099697 w 4457589"/>
                    <a:gd name="connsiteY4619" fmla="*/ 752906 h 1541722"/>
                    <a:gd name="connsiteX4620" fmla="*/ 4094698 w 4457589"/>
                    <a:gd name="connsiteY4620" fmla="*/ 751391 h 1541722"/>
                    <a:gd name="connsiteX4621" fmla="*/ 4093485 w 4457589"/>
                    <a:gd name="connsiteY4621" fmla="*/ 750027 h 1541722"/>
                    <a:gd name="connsiteX4622" fmla="*/ 4093485 w 4457589"/>
                    <a:gd name="connsiteY4622" fmla="*/ 748664 h 1541722"/>
                    <a:gd name="connsiteX4623" fmla="*/ 4094243 w 4457589"/>
                    <a:gd name="connsiteY4623" fmla="*/ 747300 h 1541722"/>
                    <a:gd name="connsiteX4624" fmla="*/ 4095152 w 4457589"/>
                    <a:gd name="connsiteY4624" fmla="*/ 745027 h 1541722"/>
                    <a:gd name="connsiteX4625" fmla="*/ 4096970 w 4457589"/>
                    <a:gd name="connsiteY4625" fmla="*/ 744421 h 1541722"/>
                    <a:gd name="connsiteX4626" fmla="*/ 4099243 w 4457589"/>
                    <a:gd name="connsiteY4626" fmla="*/ 746088 h 1541722"/>
                    <a:gd name="connsiteX4627" fmla="*/ 4101515 w 4457589"/>
                    <a:gd name="connsiteY4627" fmla="*/ 746088 h 1541722"/>
                    <a:gd name="connsiteX4628" fmla="*/ 4102576 w 4457589"/>
                    <a:gd name="connsiteY4628" fmla="*/ 744724 h 1541722"/>
                    <a:gd name="connsiteX4629" fmla="*/ 4103789 w 4457589"/>
                    <a:gd name="connsiteY4629" fmla="*/ 744876 h 1541722"/>
                    <a:gd name="connsiteX4630" fmla="*/ 4104394 w 4457589"/>
                    <a:gd name="connsiteY4630" fmla="*/ 746694 h 1541722"/>
                    <a:gd name="connsiteX4631" fmla="*/ 4103183 w 4457589"/>
                    <a:gd name="connsiteY4631" fmla="*/ 748967 h 1541722"/>
                    <a:gd name="connsiteX4632" fmla="*/ 4102576 w 4457589"/>
                    <a:gd name="connsiteY4632" fmla="*/ 750634 h 1541722"/>
                    <a:gd name="connsiteX4633" fmla="*/ 4102424 w 4457589"/>
                    <a:gd name="connsiteY4633" fmla="*/ 752603 h 1541722"/>
                    <a:gd name="connsiteX4634" fmla="*/ 4104092 w 4457589"/>
                    <a:gd name="connsiteY4634" fmla="*/ 753058 h 1541722"/>
                    <a:gd name="connsiteX4635" fmla="*/ 4112577 w 4457589"/>
                    <a:gd name="connsiteY4635" fmla="*/ 753361 h 1541722"/>
                    <a:gd name="connsiteX4636" fmla="*/ 4122425 w 4457589"/>
                    <a:gd name="connsiteY4636" fmla="*/ 754876 h 1541722"/>
                    <a:gd name="connsiteX4637" fmla="*/ 4148184 w 4457589"/>
                    <a:gd name="connsiteY4637" fmla="*/ 763058 h 1541722"/>
                    <a:gd name="connsiteX4638" fmla="*/ 4150457 w 4457589"/>
                    <a:gd name="connsiteY4638" fmla="*/ 764422 h 1541722"/>
                    <a:gd name="connsiteX4639" fmla="*/ 4152578 w 4457589"/>
                    <a:gd name="connsiteY4639" fmla="*/ 764422 h 1541722"/>
                    <a:gd name="connsiteX4640" fmla="*/ 4152881 w 4457589"/>
                    <a:gd name="connsiteY4640" fmla="*/ 761240 h 1541722"/>
                    <a:gd name="connsiteX4641" fmla="*/ 4154094 w 4457589"/>
                    <a:gd name="connsiteY4641" fmla="*/ 758210 h 1541722"/>
                    <a:gd name="connsiteX4642" fmla="*/ 4157124 w 4457589"/>
                    <a:gd name="connsiteY4642" fmla="*/ 756391 h 1541722"/>
                    <a:gd name="connsiteX4643" fmla="*/ 4162275 w 4457589"/>
                    <a:gd name="connsiteY4643" fmla="*/ 751997 h 1541722"/>
                    <a:gd name="connsiteX4644" fmla="*/ 4164851 w 4457589"/>
                    <a:gd name="connsiteY4644" fmla="*/ 748815 h 1541722"/>
                    <a:gd name="connsiteX4645" fmla="*/ 4164851 w 4457589"/>
                    <a:gd name="connsiteY4645" fmla="*/ 745179 h 1541722"/>
                    <a:gd name="connsiteX4646" fmla="*/ 4163184 w 4457589"/>
                    <a:gd name="connsiteY4646" fmla="*/ 741391 h 1541722"/>
                    <a:gd name="connsiteX4647" fmla="*/ 4159700 w 4457589"/>
                    <a:gd name="connsiteY4647" fmla="*/ 740482 h 1541722"/>
                    <a:gd name="connsiteX4648" fmla="*/ 4157427 w 4457589"/>
                    <a:gd name="connsiteY4648" fmla="*/ 738057 h 1541722"/>
                    <a:gd name="connsiteX4649" fmla="*/ 4156366 w 4457589"/>
                    <a:gd name="connsiteY4649" fmla="*/ 735027 h 1541722"/>
                    <a:gd name="connsiteX4650" fmla="*/ 4158185 w 4457589"/>
                    <a:gd name="connsiteY4650" fmla="*/ 732906 h 1541722"/>
                    <a:gd name="connsiteX4651" fmla="*/ 4160306 w 4457589"/>
                    <a:gd name="connsiteY4651" fmla="*/ 732148 h 1541722"/>
                    <a:gd name="connsiteX4652" fmla="*/ 4159851 w 4457589"/>
                    <a:gd name="connsiteY4652" fmla="*/ 729117 h 1541722"/>
                    <a:gd name="connsiteX4653" fmla="*/ 4158336 w 4457589"/>
                    <a:gd name="connsiteY4653" fmla="*/ 727299 h 1541722"/>
                    <a:gd name="connsiteX4654" fmla="*/ 4150002 w 4457589"/>
                    <a:gd name="connsiteY4654" fmla="*/ 723208 h 1541722"/>
                    <a:gd name="connsiteX4655" fmla="*/ 4147123 w 4457589"/>
                    <a:gd name="connsiteY4655" fmla="*/ 720632 h 1541722"/>
                    <a:gd name="connsiteX4656" fmla="*/ 4146972 w 4457589"/>
                    <a:gd name="connsiteY4656" fmla="*/ 718208 h 1541722"/>
                    <a:gd name="connsiteX4657" fmla="*/ 4143487 w 4457589"/>
                    <a:gd name="connsiteY4657" fmla="*/ 712147 h 1541722"/>
                    <a:gd name="connsiteX4658" fmla="*/ 4143033 w 4457589"/>
                    <a:gd name="connsiteY4658" fmla="*/ 713359 h 1541722"/>
                    <a:gd name="connsiteX4659" fmla="*/ 4143335 w 4457589"/>
                    <a:gd name="connsiteY4659" fmla="*/ 716390 h 1541722"/>
                    <a:gd name="connsiteX4660" fmla="*/ 4142275 w 4457589"/>
                    <a:gd name="connsiteY4660" fmla="*/ 718360 h 1541722"/>
                    <a:gd name="connsiteX4661" fmla="*/ 4140456 w 4457589"/>
                    <a:gd name="connsiteY4661" fmla="*/ 718057 h 1541722"/>
                    <a:gd name="connsiteX4662" fmla="*/ 4140154 w 4457589"/>
                    <a:gd name="connsiteY4662" fmla="*/ 716390 h 1541722"/>
                    <a:gd name="connsiteX4663" fmla="*/ 4141214 w 4457589"/>
                    <a:gd name="connsiteY4663" fmla="*/ 712905 h 1541722"/>
                    <a:gd name="connsiteX4664" fmla="*/ 4139699 w 4457589"/>
                    <a:gd name="connsiteY4664" fmla="*/ 711390 h 1541722"/>
                    <a:gd name="connsiteX4665" fmla="*/ 4134547 w 4457589"/>
                    <a:gd name="connsiteY4665" fmla="*/ 710632 h 1541722"/>
                    <a:gd name="connsiteX4666" fmla="*/ 4133941 w 4457589"/>
                    <a:gd name="connsiteY4666" fmla="*/ 709268 h 1541722"/>
                    <a:gd name="connsiteX4667" fmla="*/ 4138942 w 4457589"/>
                    <a:gd name="connsiteY4667" fmla="*/ 707299 h 1541722"/>
                    <a:gd name="connsiteX4668" fmla="*/ 4140456 w 4457589"/>
                    <a:gd name="connsiteY4668" fmla="*/ 707299 h 1541722"/>
                    <a:gd name="connsiteX4669" fmla="*/ 4141820 w 4457589"/>
                    <a:gd name="connsiteY4669" fmla="*/ 706541 h 1541722"/>
                    <a:gd name="connsiteX4670" fmla="*/ 4140760 w 4457589"/>
                    <a:gd name="connsiteY4670" fmla="*/ 698965 h 1541722"/>
                    <a:gd name="connsiteX4671" fmla="*/ 4139699 w 4457589"/>
                    <a:gd name="connsiteY4671" fmla="*/ 693662 h 1541722"/>
                    <a:gd name="connsiteX4672" fmla="*/ 4136517 w 4457589"/>
                    <a:gd name="connsiteY4672" fmla="*/ 693207 h 1541722"/>
                    <a:gd name="connsiteX4673" fmla="*/ 4134244 w 4457589"/>
                    <a:gd name="connsiteY4673" fmla="*/ 691540 h 1541722"/>
                    <a:gd name="connsiteX4674" fmla="*/ 4134850 w 4457589"/>
                    <a:gd name="connsiteY4674" fmla="*/ 688207 h 1541722"/>
                    <a:gd name="connsiteX4675" fmla="*/ 4134850 w 4457589"/>
                    <a:gd name="connsiteY4675" fmla="*/ 686540 h 1541722"/>
                    <a:gd name="connsiteX4676" fmla="*/ 4132275 w 4457589"/>
                    <a:gd name="connsiteY4676" fmla="*/ 680631 h 1541722"/>
                    <a:gd name="connsiteX4677" fmla="*/ 4130456 w 4457589"/>
                    <a:gd name="connsiteY4677" fmla="*/ 678358 h 1541722"/>
                    <a:gd name="connsiteX4678" fmla="*/ 4128183 w 4457589"/>
                    <a:gd name="connsiteY4678" fmla="*/ 676085 h 1541722"/>
                    <a:gd name="connsiteX4679" fmla="*/ 4126365 w 4457589"/>
                    <a:gd name="connsiteY4679" fmla="*/ 678510 h 1541722"/>
                    <a:gd name="connsiteX4680" fmla="*/ 4125456 w 4457589"/>
                    <a:gd name="connsiteY4680" fmla="*/ 681843 h 1541722"/>
                    <a:gd name="connsiteX4681" fmla="*/ 4123032 w 4457589"/>
                    <a:gd name="connsiteY4681" fmla="*/ 682449 h 1541722"/>
                    <a:gd name="connsiteX4682" fmla="*/ 4120607 w 4457589"/>
                    <a:gd name="connsiteY4682" fmla="*/ 682298 h 1541722"/>
                    <a:gd name="connsiteX4683" fmla="*/ 4113334 w 4457589"/>
                    <a:gd name="connsiteY4683" fmla="*/ 678661 h 1541722"/>
                    <a:gd name="connsiteX4684" fmla="*/ 4106364 w 4457589"/>
                    <a:gd name="connsiteY4684" fmla="*/ 672600 h 1541722"/>
                    <a:gd name="connsiteX4685" fmla="*/ 4105758 w 4457589"/>
                    <a:gd name="connsiteY4685" fmla="*/ 666843 h 1541722"/>
                    <a:gd name="connsiteX4686" fmla="*/ 4107273 w 4457589"/>
                    <a:gd name="connsiteY4686" fmla="*/ 659721 h 1541722"/>
                    <a:gd name="connsiteX4687" fmla="*/ 4106213 w 4457589"/>
                    <a:gd name="connsiteY4687" fmla="*/ 658509 h 1541722"/>
                    <a:gd name="connsiteX4688" fmla="*/ 4105153 w 4457589"/>
                    <a:gd name="connsiteY4688" fmla="*/ 658054 h 1541722"/>
                    <a:gd name="connsiteX4689" fmla="*/ 4095909 w 4457589"/>
                    <a:gd name="connsiteY4689" fmla="*/ 660479 h 1541722"/>
                    <a:gd name="connsiteX4690" fmla="*/ 4090151 w 4457589"/>
                    <a:gd name="connsiteY4690" fmla="*/ 664267 h 1541722"/>
                    <a:gd name="connsiteX4691" fmla="*/ 4087122 w 4457589"/>
                    <a:gd name="connsiteY4691" fmla="*/ 664570 h 1541722"/>
                    <a:gd name="connsiteX4692" fmla="*/ 4081060 w 4457589"/>
                    <a:gd name="connsiteY4692" fmla="*/ 662145 h 1541722"/>
                    <a:gd name="connsiteX4693" fmla="*/ 4070909 w 4457589"/>
                    <a:gd name="connsiteY4693" fmla="*/ 666388 h 1541722"/>
                    <a:gd name="connsiteX4694" fmla="*/ 4073181 w 4457589"/>
                    <a:gd name="connsiteY4694" fmla="*/ 663812 h 1541722"/>
                    <a:gd name="connsiteX4695" fmla="*/ 4074849 w 4457589"/>
                    <a:gd name="connsiteY4695" fmla="*/ 662903 h 1541722"/>
                    <a:gd name="connsiteX4696" fmla="*/ 4076667 w 4457589"/>
                    <a:gd name="connsiteY4696" fmla="*/ 661085 h 1541722"/>
                    <a:gd name="connsiteX4697" fmla="*/ 4075303 w 4457589"/>
                    <a:gd name="connsiteY4697" fmla="*/ 657600 h 1541722"/>
                    <a:gd name="connsiteX4698" fmla="*/ 4073939 w 4457589"/>
                    <a:gd name="connsiteY4698" fmla="*/ 655024 h 1541722"/>
                    <a:gd name="connsiteX4699" fmla="*/ 4071818 w 4457589"/>
                    <a:gd name="connsiteY4699" fmla="*/ 653054 h 1541722"/>
                    <a:gd name="connsiteX4700" fmla="*/ 4068636 w 4457589"/>
                    <a:gd name="connsiteY4700" fmla="*/ 652145 h 1541722"/>
                    <a:gd name="connsiteX4701" fmla="*/ 4065605 w 4457589"/>
                    <a:gd name="connsiteY4701" fmla="*/ 653963 h 1541722"/>
                    <a:gd name="connsiteX4702" fmla="*/ 4063181 w 4457589"/>
                    <a:gd name="connsiteY4702" fmla="*/ 655782 h 1541722"/>
                    <a:gd name="connsiteX4703" fmla="*/ 4058332 w 4457589"/>
                    <a:gd name="connsiteY4703" fmla="*/ 657600 h 1541722"/>
                    <a:gd name="connsiteX4704" fmla="*/ 4048786 w 4457589"/>
                    <a:gd name="connsiteY4704" fmla="*/ 659267 h 1541722"/>
                    <a:gd name="connsiteX4705" fmla="*/ 4042423 w 4457589"/>
                    <a:gd name="connsiteY4705" fmla="*/ 659267 h 1541722"/>
                    <a:gd name="connsiteX4706" fmla="*/ 4031513 w 4457589"/>
                    <a:gd name="connsiteY4706" fmla="*/ 662145 h 1541722"/>
                    <a:gd name="connsiteX4707" fmla="*/ 4027422 w 4457589"/>
                    <a:gd name="connsiteY4707" fmla="*/ 661994 h 1541722"/>
                    <a:gd name="connsiteX4708" fmla="*/ 4042423 w 4457589"/>
                    <a:gd name="connsiteY4708" fmla="*/ 657903 h 1541722"/>
                    <a:gd name="connsiteX4709" fmla="*/ 4050605 w 4457589"/>
                    <a:gd name="connsiteY4709" fmla="*/ 657600 h 1541722"/>
                    <a:gd name="connsiteX4710" fmla="*/ 4061060 w 4457589"/>
                    <a:gd name="connsiteY4710" fmla="*/ 654872 h 1541722"/>
                    <a:gd name="connsiteX4711" fmla="*/ 4068787 w 4457589"/>
                    <a:gd name="connsiteY4711" fmla="*/ 649721 h 1541722"/>
                    <a:gd name="connsiteX4712" fmla="*/ 4078939 w 4457589"/>
                    <a:gd name="connsiteY4712" fmla="*/ 654418 h 1541722"/>
                    <a:gd name="connsiteX4713" fmla="*/ 4082425 w 4457589"/>
                    <a:gd name="connsiteY4713" fmla="*/ 655024 h 1541722"/>
                    <a:gd name="connsiteX4714" fmla="*/ 4089849 w 4457589"/>
                    <a:gd name="connsiteY4714" fmla="*/ 654721 h 1541722"/>
                    <a:gd name="connsiteX4715" fmla="*/ 4096364 w 4457589"/>
                    <a:gd name="connsiteY4715" fmla="*/ 657448 h 1541722"/>
                    <a:gd name="connsiteX4716" fmla="*/ 4098486 w 4457589"/>
                    <a:gd name="connsiteY4716" fmla="*/ 656691 h 1541722"/>
                    <a:gd name="connsiteX4717" fmla="*/ 4100606 w 4457589"/>
                    <a:gd name="connsiteY4717" fmla="*/ 654115 h 1541722"/>
                    <a:gd name="connsiteX4718" fmla="*/ 4097879 w 4457589"/>
                    <a:gd name="connsiteY4718" fmla="*/ 650327 h 1541722"/>
                    <a:gd name="connsiteX4719" fmla="*/ 4095455 w 4457589"/>
                    <a:gd name="connsiteY4719" fmla="*/ 648054 h 1541722"/>
                    <a:gd name="connsiteX4720" fmla="*/ 4092879 w 4457589"/>
                    <a:gd name="connsiteY4720" fmla="*/ 647296 h 1541722"/>
                    <a:gd name="connsiteX4721" fmla="*/ 4084848 w 4457589"/>
                    <a:gd name="connsiteY4721" fmla="*/ 647599 h 1541722"/>
                    <a:gd name="connsiteX4722" fmla="*/ 4079546 w 4457589"/>
                    <a:gd name="connsiteY4722" fmla="*/ 646842 h 1541722"/>
                    <a:gd name="connsiteX4723" fmla="*/ 4076515 w 4457589"/>
                    <a:gd name="connsiteY4723" fmla="*/ 645933 h 1541722"/>
                    <a:gd name="connsiteX4724" fmla="*/ 4078485 w 4457589"/>
                    <a:gd name="connsiteY4724" fmla="*/ 644872 h 1541722"/>
                    <a:gd name="connsiteX4725" fmla="*/ 4084243 w 4457589"/>
                    <a:gd name="connsiteY4725" fmla="*/ 646236 h 1541722"/>
                    <a:gd name="connsiteX4726" fmla="*/ 4091212 w 4457589"/>
                    <a:gd name="connsiteY4726" fmla="*/ 644266 h 1541722"/>
                    <a:gd name="connsiteX4727" fmla="*/ 4099395 w 4457589"/>
                    <a:gd name="connsiteY4727" fmla="*/ 647296 h 1541722"/>
                    <a:gd name="connsiteX4728" fmla="*/ 4101365 w 4457589"/>
                    <a:gd name="connsiteY4728" fmla="*/ 650024 h 1541722"/>
                    <a:gd name="connsiteX4729" fmla="*/ 4103637 w 4457589"/>
                    <a:gd name="connsiteY4729" fmla="*/ 651084 h 1541722"/>
                    <a:gd name="connsiteX4730" fmla="*/ 4110456 w 4457589"/>
                    <a:gd name="connsiteY4730" fmla="*/ 657903 h 1541722"/>
                    <a:gd name="connsiteX4731" fmla="*/ 4115001 w 4457589"/>
                    <a:gd name="connsiteY4731" fmla="*/ 660479 h 1541722"/>
                    <a:gd name="connsiteX4732" fmla="*/ 4129699 w 4457589"/>
                    <a:gd name="connsiteY4732" fmla="*/ 662448 h 1541722"/>
                    <a:gd name="connsiteX4733" fmla="*/ 4136063 w 4457589"/>
                    <a:gd name="connsiteY4733" fmla="*/ 665630 h 1541722"/>
                    <a:gd name="connsiteX4734" fmla="*/ 4140911 w 4457589"/>
                    <a:gd name="connsiteY4734" fmla="*/ 664267 h 1541722"/>
                    <a:gd name="connsiteX4735" fmla="*/ 4153336 w 4457589"/>
                    <a:gd name="connsiteY4735" fmla="*/ 657751 h 1541722"/>
                    <a:gd name="connsiteX4736" fmla="*/ 4161518 w 4457589"/>
                    <a:gd name="connsiteY4736" fmla="*/ 655933 h 1541722"/>
                    <a:gd name="connsiteX4737" fmla="*/ 4166972 w 4457589"/>
                    <a:gd name="connsiteY4737" fmla="*/ 651539 h 1541722"/>
                    <a:gd name="connsiteX4738" fmla="*/ 4171821 w 4457589"/>
                    <a:gd name="connsiteY4738" fmla="*/ 646387 h 1541722"/>
                    <a:gd name="connsiteX4739" fmla="*/ 4176518 w 4457589"/>
                    <a:gd name="connsiteY4739" fmla="*/ 645024 h 1541722"/>
                    <a:gd name="connsiteX4740" fmla="*/ 4184701 w 4457589"/>
                    <a:gd name="connsiteY4740" fmla="*/ 639569 h 1541722"/>
                    <a:gd name="connsiteX4741" fmla="*/ 4186519 w 4457589"/>
                    <a:gd name="connsiteY4741" fmla="*/ 637144 h 1541722"/>
                    <a:gd name="connsiteX4742" fmla="*/ 4189701 w 4457589"/>
                    <a:gd name="connsiteY4742" fmla="*/ 630781 h 1541722"/>
                    <a:gd name="connsiteX4743" fmla="*/ 4191519 w 4457589"/>
                    <a:gd name="connsiteY4743" fmla="*/ 628053 h 1541722"/>
                    <a:gd name="connsiteX4744" fmla="*/ 4194246 w 4457589"/>
                    <a:gd name="connsiteY4744" fmla="*/ 624871 h 1541722"/>
                    <a:gd name="connsiteX4745" fmla="*/ 4194550 w 4457589"/>
                    <a:gd name="connsiteY4745" fmla="*/ 622295 h 1541722"/>
                    <a:gd name="connsiteX4746" fmla="*/ 4193944 w 4457589"/>
                    <a:gd name="connsiteY4746" fmla="*/ 619417 h 1541722"/>
                    <a:gd name="connsiteX4747" fmla="*/ 4191670 w 4457589"/>
                    <a:gd name="connsiteY4747" fmla="*/ 617144 h 1541722"/>
                    <a:gd name="connsiteX4748" fmla="*/ 4186368 w 4457589"/>
                    <a:gd name="connsiteY4748" fmla="*/ 613962 h 1541722"/>
                    <a:gd name="connsiteX4749" fmla="*/ 4183943 w 4457589"/>
                    <a:gd name="connsiteY4749" fmla="*/ 611992 h 1541722"/>
                    <a:gd name="connsiteX4750" fmla="*/ 4182276 w 4457589"/>
                    <a:gd name="connsiteY4750" fmla="*/ 607598 h 1541722"/>
                    <a:gd name="connsiteX4751" fmla="*/ 4182428 w 4457589"/>
                    <a:gd name="connsiteY4751" fmla="*/ 602295 h 1541722"/>
                    <a:gd name="connsiteX4752" fmla="*/ 4183640 w 4457589"/>
                    <a:gd name="connsiteY4752" fmla="*/ 598204 h 1541722"/>
                    <a:gd name="connsiteX4753" fmla="*/ 4185155 w 4457589"/>
                    <a:gd name="connsiteY4753" fmla="*/ 594719 h 1541722"/>
                    <a:gd name="connsiteX4754" fmla="*/ 4187125 w 4457589"/>
                    <a:gd name="connsiteY4754" fmla="*/ 597295 h 1541722"/>
                    <a:gd name="connsiteX4755" fmla="*/ 4192428 w 4457589"/>
                    <a:gd name="connsiteY4755" fmla="*/ 596688 h 1541722"/>
                    <a:gd name="connsiteX4756" fmla="*/ 4195005 w 4457589"/>
                    <a:gd name="connsiteY4756" fmla="*/ 595628 h 1541722"/>
                    <a:gd name="connsiteX4757" fmla="*/ 4195307 w 4457589"/>
                    <a:gd name="connsiteY4757" fmla="*/ 593052 h 1541722"/>
                    <a:gd name="connsiteX4758" fmla="*/ 4194550 w 4457589"/>
                    <a:gd name="connsiteY4758" fmla="*/ 590022 h 1541722"/>
                    <a:gd name="connsiteX4759" fmla="*/ 4195914 w 4457589"/>
                    <a:gd name="connsiteY4759" fmla="*/ 589112 h 1541722"/>
                    <a:gd name="connsiteX4760" fmla="*/ 4198641 w 4457589"/>
                    <a:gd name="connsiteY4760" fmla="*/ 588809 h 1541722"/>
                    <a:gd name="connsiteX4761" fmla="*/ 4199095 w 4457589"/>
                    <a:gd name="connsiteY4761" fmla="*/ 586991 h 1541722"/>
                    <a:gd name="connsiteX4762" fmla="*/ 4200004 w 4457589"/>
                    <a:gd name="connsiteY4762" fmla="*/ 585930 h 1541722"/>
                    <a:gd name="connsiteX4763" fmla="*/ 4201065 w 4457589"/>
                    <a:gd name="connsiteY4763" fmla="*/ 587294 h 1541722"/>
                    <a:gd name="connsiteX4764" fmla="*/ 4201065 w 4457589"/>
                    <a:gd name="connsiteY4764" fmla="*/ 592446 h 1541722"/>
                    <a:gd name="connsiteX4765" fmla="*/ 4203186 w 4457589"/>
                    <a:gd name="connsiteY4765" fmla="*/ 593810 h 1541722"/>
                    <a:gd name="connsiteX4766" fmla="*/ 4206217 w 4457589"/>
                    <a:gd name="connsiteY4766" fmla="*/ 594870 h 1541722"/>
                    <a:gd name="connsiteX4767" fmla="*/ 4207580 w 4457589"/>
                    <a:gd name="connsiteY4767" fmla="*/ 594567 h 1541722"/>
                    <a:gd name="connsiteX4768" fmla="*/ 4208792 w 4457589"/>
                    <a:gd name="connsiteY4768" fmla="*/ 593810 h 1541722"/>
                    <a:gd name="connsiteX4769" fmla="*/ 4210762 w 4457589"/>
                    <a:gd name="connsiteY4769" fmla="*/ 592294 h 1541722"/>
                    <a:gd name="connsiteX4770" fmla="*/ 4214399 w 4457589"/>
                    <a:gd name="connsiteY4770" fmla="*/ 586840 h 1541722"/>
                    <a:gd name="connsiteX4771" fmla="*/ 4216824 w 4457589"/>
                    <a:gd name="connsiteY4771" fmla="*/ 584718 h 1541722"/>
                    <a:gd name="connsiteX4772" fmla="*/ 4216672 w 4457589"/>
                    <a:gd name="connsiteY4772" fmla="*/ 588658 h 1541722"/>
                    <a:gd name="connsiteX4773" fmla="*/ 4215308 w 4457589"/>
                    <a:gd name="connsiteY4773" fmla="*/ 593961 h 1541722"/>
                    <a:gd name="connsiteX4774" fmla="*/ 4214399 w 4457589"/>
                    <a:gd name="connsiteY4774" fmla="*/ 595476 h 1541722"/>
                    <a:gd name="connsiteX4775" fmla="*/ 4212277 w 4457589"/>
                    <a:gd name="connsiteY4775" fmla="*/ 597446 h 1541722"/>
                    <a:gd name="connsiteX4776" fmla="*/ 4211368 w 4457589"/>
                    <a:gd name="connsiteY4776" fmla="*/ 601386 h 1541722"/>
                    <a:gd name="connsiteX4777" fmla="*/ 4210914 w 4457589"/>
                    <a:gd name="connsiteY4777" fmla="*/ 602446 h 1541722"/>
                    <a:gd name="connsiteX4778" fmla="*/ 4207732 w 4457589"/>
                    <a:gd name="connsiteY4778" fmla="*/ 601386 h 1541722"/>
                    <a:gd name="connsiteX4779" fmla="*/ 4205610 w 4457589"/>
                    <a:gd name="connsiteY4779" fmla="*/ 601537 h 1541722"/>
                    <a:gd name="connsiteX4780" fmla="*/ 4207278 w 4457589"/>
                    <a:gd name="connsiteY4780" fmla="*/ 605931 h 1541722"/>
                    <a:gd name="connsiteX4781" fmla="*/ 4209702 w 4457589"/>
                    <a:gd name="connsiteY4781" fmla="*/ 609113 h 1541722"/>
                    <a:gd name="connsiteX4782" fmla="*/ 4212732 w 4457589"/>
                    <a:gd name="connsiteY4782" fmla="*/ 612295 h 1541722"/>
                    <a:gd name="connsiteX4783" fmla="*/ 4216065 w 4457589"/>
                    <a:gd name="connsiteY4783" fmla="*/ 614113 h 1541722"/>
                    <a:gd name="connsiteX4784" fmla="*/ 4216824 w 4457589"/>
                    <a:gd name="connsiteY4784" fmla="*/ 614113 h 1541722"/>
                    <a:gd name="connsiteX4785" fmla="*/ 4217581 w 4457589"/>
                    <a:gd name="connsiteY4785" fmla="*/ 614719 h 1541722"/>
                    <a:gd name="connsiteX4786" fmla="*/ 4217581 w 4457589"/>
                    <a:gd name="connsiteY4786" fmla="*/ 616841 h 1541722"/>
                    <a:gd name="connsiteX4787" fmla="*/ 4216824 w 4457589"/>
                    <a:gd name="connsiteY4787" fmla="*/ 621386 h 1541722"/>
                    <a:gd name="connsiteX4788" fmla="*/ 4217429 w 4457589"/>
                    <a:gd name="connsiteY4788" fmla="*/ 623962 h 1541722"/>
                    <a:gd name="connsiteX4789" fmla="*/ 4220005 w 4457589"/>
                    <a:gd name="connsiteY4789" fmla="*/ 625780 h 1541722"/>
                    <a:gd name="connsiteX4790" fmla="*/ 4222732 w 4457589"/>
                    <a:gd name="connsiteY4790" fmla="*/ 626235 h 1541722"/>
                    <a:gd name="connsiteX4791" fmla="*/ 4239552 w 4457589"/>
                    <a:gd name="connsiteY4791" fmla="*/ 626083 h 1541722"/>
                    <a:gd name="connsiteX4792" fmla="*/ 4245310 w 4457589"/>
                    <a:gd name="connsiteY4792" fmla="*/ 625477 h 1541722"/>
                    <a:gd name="connsiteX4793" fmla="*/ 4253795 w 4457589"/>
                    <a:gd name="connsiteY4793" fmla="*/ 621083 h 1541722"/>
                    <a:gd name="connsiteX4794" fmla="*/ 4257128 w 4457589"/>
                    <a:gd name="connsiteY4794" fmla="*/ 620477 h 1541722"/>
                    <a:gd name="connsiteX4795" fmla="*/ 4260764 w 4457589"/>
                    <a:gd name="connsiteY4795" fmla="*/ 621083 h 1541722"/>
                    <a:gd name="connsiteX4796" fmla="*/ 4271067 w 4457589"/>
                    <a:gd name="connsiteY4796" fmla="*/ 623508 h 1541722"/>
                    <a:gd name="connsiteX4797" fmla="*/ 4283492 w 4457589"/>
                    <a:gd name="connsiteY4797" fmla="*/ 626841 h 1541722"/>
                    <a:gd name="connsiteX4798" fmla="*/ 4288189 w 4457589"/>
                    <a:gd name="connsiteY4798" fmla="*/ 632296 h 1541722"/>
                    <a:gd name="connsiteX4799" fmla="*/ 4290007 w 4457589"/>
                    <a:gd name="connsiteY4799" fmla="*/ 637599 h 1541722"/>
                    <a:gd name="connsiteX4800" fmla="*/ 4290614 w 4457589"/>
                    <a:gd name="connsiteY4800" fmla="*/ 643205 h 1541722"/>
                    <a:gd name="connsiteX4801" fmla="*/ 4289856 w 4457589"/>
                    <a:gd name="connsiteY4801" fmla="*/ 645630 h 1541722"/>
                    <a:gd name="connsiteX4802" fmla="*/ 4290007 w 4457589"/>
                    <a:gd name="connsiteY4802" fmla="*/ 647448 h 1541722"/>
                    <a:gd name="connsiteX4803" fmla="*/ 4293795 w 4457589"/>
                    <a:gd name="connsiteY4803" fmla="*/ 650327 h 1541722"/>
                    <a:gd name="connsiteX4804" fmla="*/ 4299099 w 4457589"/>
                    <a:gd name="connsiteY4804" fmla="*/ 653812 h 1541722"/>
                    <a:gd name="connsiteX4805" fmla="*/ 4300160 w 4457589"/>
                    <a:gd name="connsiteY4805" fmla="*/ 654721 h 1541722"/>
                    <a:gd name="connsiteX4806" fmla="*/ 4301220 w 4457589"/>
                    <a:gd name="connsiteY4806" fmla="*/ 656085 h 1541722"/>
                    <a:gd name="connsiteX4807" fmla="*/ 4302584 w 4457589"/>
                    <a:gd name="connsiteY4807" fmla="*/ 656691 h 1541722"/>
                    <a:gd name="connsiteX4808" fmla="*/ 4306372 w 4457589"/>
                    <a:gd name="connsiteY4808" fmla="*/ 657145 h 1541722"/>
                    <a:gd name="connsiteX4809" fmla="*/ 4309403 w 4457589"/>
                    <a:gd name="connsiteY4809" fmla="*/ 656388 h 1541722"/>
                    <a:gd name="connsiteX4810" fmla="*/ 4312433 w 4457589"/>
                    <a:gd name="connsiteY4810" fmla="*/ 656236 h 1541722"/>
                    <a:gd name="connsiteX4811" fmla="*/ 4318039 w 4457589"/>
                    <a:gd name="connsiteY4811" fmla="*/ 657903 h 1541722"/>
                    <a:gd name="connsiteX4812" fmla="*/ 4325160 w 4457589"/>
                    <a:gd name="connsiteY4812" fmla="*/ 660479 h 1541722"/>
                    <a:gd name="connsiteX4813" fmla="*/ 4331979 w 4457589"/>
                    <a:gd name="connsiteY4813" fmla="*/ 664115 h 1541722"/>
                    <a:gd name="connsiteX4814" fmla="*/ 4335161 w 4457589"/>
                    <a:gd name="connsiteY4814" fmla="*/ 666691 h 1541722"/>
                    <a:gd name="connsiteX4815" fmla="*/ 4340616 w 4457589"/>
                    <a:gd name="connsiteY4815" fmla="*/ 672449 h 1541722"/>
                    <a:gd name="connsiteX4816" fmla="*/ 4343495 w 4457589"/>
                    <a:gd name="connsiteY4816" fmla="*/ 674116 h 1541722"/>
                    <a:gd name="connsiteX4817" fmla="*/ 4348192 w 4457589"/>
                    <a:gd name="connsiteY4817" fmla="*/ 676085 h 1541722"/>
                    <a:gd name="connsiteX4818" fmla="*/ 4349858 w 4457589"/>
                    <a:gd name="connsiteY4818" fmla="*/ 676388 h 1541722"/>
                    <a:gd name="connsiteX4819" fmla="*/ 4351525 w 4457589"/>
                    <a:gd name="connsiteY4819" fmla="*/ 676085 h 1541722"/>
                    <a:gd name="connsiteX4820" fmla="*/ 4355162 w 4457589"/>
                    <a:gd name="connsiteY4820" fmla="*/ 673206 h 1541722"/>
                    <a:gd name="connsiteX4821" fmla="*/ 4357283 w 4457589"/>
                    <a:gd name="connsiteY4821" fmla="*/ 671085 h 1541722"/>
                    <a:gd name="connsiteX4822" fmla="*/ 4359101 w 4457589"/>
                    <a:gd name="connsiteY4822" fmla="*/ 668358 h 1541722"/>
                    <a:gd name="connsiteX4823" fmla="*/ 4359556 w 4457589"/>
                    <a:gd name="connsiteY4823" fmla="*/ 670631 h 1541722"/>
                    <a:gd name="connsiteX4824" fmla="*/ 4359556 w 4457589"/>
                    <a:gd name="connsiteY4824" fmla="*/ 672600 h 1541722"/>
                    <a:gd name="connsiteX4825" fmla="*/ 4357889 w 4457589"/>
                    <a:gd name="connsiteY4825" fmla="*/ 674116 h 1541722"/>
                    <a:gd name="connsiteX4826" fmla="*/ 4357738 w 4457589"/>
                    <a:gd name="connsiteY4826" fmla="*/ 676540 h 1541722"/>
                    <a:gd name="connsiteX4827" fmla="*/ 4360617 w 4457589"/>
                    <a:gd name="connsiteY4827" fmla="*/ 679419 h 1541722"/>
                    <a:gd name="connsiteX4828" fmla="*/ 4363798 w 4457589"/>
                    <a:gd name="connsiteY4828" fmla="*/ 679873 h 1541722"/>
                    <a:gd name="connsiteX4829" fmla="*/ 4367889 w 4457589"/>
                    <a:gd name="connsiteY4829" fmla="*/ 679116 h 1541722"/>
                    <a:gd name="connsiteX4830" fmla="*/ 4369253 w 4457589"/>
                    <a:gd name="connsiteY4830" fmla="*/ 677752 h 1541722"/>
                    <a:gd name="connsiteX4831" fmla="*/ 4370465 w 4457589"/>
                    <a:gd name="connsiteY4831" fmla="*/ 675934 h 1541722"/>
                    <a:gd name="connsiteX4832" fmla="*/ 4369556 w 4457589"/>
                    <a:gd name="connsiteY4832" fmla="*/ 669873 h 1541722"/>
                    <a:gd name="connsiteX4833" fmla="*/ 4370768 w 4457589"/>
                    <a:gd name="connsiteY4833" fmla="*/ 668964 h 1541722"/>
                    <a:gd name="connsiteX4834" fmla="*/ 4373799 w 4457589"/>
                    <a:gd name="connsiteY4834" fmla="*/ 670176 h 1541722"/>
                    <a:gd name="connsiteX4835" fmla="*/ 4374708 w 4457589"/>
                    <a:gd name="connsiteY4835" fmla="*/ 671843 h 1541722"/>
                    <a:gd name="connsiteX4836" fmla="*/ 4375162 w 4457589"/>
                    <a:gd name="connsiteY4836" fmla="*/ 673964 h 1541722"/>
                    <a:gd name="connsiteX4837" fmla="*/ 4376374 w 4457589"/>
                    <a:gd name="connsiteY4837" fmla="*/ 674267 h 1541722"/>
                    <a:gd name="connsiteX4838" fmla="*/ 4384405 w 4457589"/>
                    <a:gd name="connsiteY4838" fmla="*/ 673964 h 1541722"/>
                    <a:gd name="connsiteX4839" fmla="*/ 4385011 w 4457589"/>
                    <a:gd name="connsiteY4839" fmla="*/ 673206 h 1541722"/>
                    <a:gd name="connsiteX4840" fmla="*/ 4384708 w 4457589"/>
                    <a:gd name="connsiteY4840" fmla="*/ 671237 h 1541722"/>
                    <a:gd name="connsiteX4841" fmla="*/ 4383496 w 4457589"/>
                    <a:gd name="connsiteY4841" fmla="*/ 669418 h 1541722"/>
                    <a:gd name="connsiteX4842" fmla="*/ 4382132 w 4457589"/>
                    <a:gd name="connsiteY4842" fmla="*/ 668206 h 1541722"/>
                    <a:gd name="connsiteX4843" fmla="*/ 4378648 w 4457589"/>
                    <a:gd name="connsiteY4843" fmla="*/ 666691 h 1541722"/>
                    <a:gd name="connsiteX4844" fmla="*/ 4375011 w 4457589"/>
                    <a:gd name="connsiteY4844" fmla="*/ 665630 h 1541722"/>
                    <a:gd name="connsiteX4845" fmla="*/ 4372132 w 4457589"/>
                    <a:gd name="connsiteY4845" fmla="*/ 665327 h 1541722"/>
                    <a:gd name="connsiteX4846" fmla="*/ 4370768 w 4457589"/>
                    <a:gd name="connsiteY4846" fmla="*/ 664418 h 1541722"/>
                    <a:gd name="connsiteX4847" fmla="*/ 4371072 w 4457589"/>
                    <a:gd name="connsiteY4847" fmla="*/ 662903 h 1541722"/>
                    <a:gd name="connsiteX4848" fmla="*/ 4370162 w 4457589"/>
                    <a:gd name="connsiteY4848" fmla="*/ 661085 h 1541722"/>
                    <a:gd name="connsiteX4849" fmla="*/ 4370768 w 4457589"/>
                    <a:gd name="connsiteY4849" fmla="*/ 660024 h 1541722"/>
                    <a:gd name="connsiteX4850" fmla="*/ 4373192 w 4457589"/>
                    <a:gd name="connsiteY4850" fmla="*/ 658509 h 1541722"/>
                    <a:gd name="connsiteX4851" fmla="*/ 4373495 w 4457589"/>
                    <a:gd name="connsiteY4851" fmla="*/ 657297 h 1541722"/>
                    <a:gd name="connsiteX4852" fmla="*/ 4370920 w 4457589"/>
                    <a:gd name="connsiteY4852" fmla="*/ 655630 h 1541722"/>
                    <a:gd name="connsiteX4853" fmla="*/ 4368193 w 4457589"/>
                    <a:gd name="connsiteY4853" fmla="*/ 655175 h 1541722"/>
                    <a:gd name="connsiteX4854" fmla="*/ 4365768 w 4457589"/>
                    <a:gd name="connsiteY4854" fmla="*/ 656085 h 1541722"/>
                    <a:gd name="connsiteX4855" fmla="*/ 4366223 w 4457589"/>
                    <a:gd name="connsiteY4855" fmla="*/ 654721 h 1541722"/>
                    <a:gd name="connsiteX4856" fmla="*/ 4368041 w 4457589"/>
                    <a:gd name="connsiteY4856" fmla="*/ 653509 h 1541722"/>
                    <a:gd name="connsiteX4857" fmla="*/ 4370920 w 4457589"/>
                    <a:gd name="connsiteY4857" fmla="*/ 652903 h 1541722"/>
                    <a:gd name="connsiteX4858" fmla="*/ 4373799 w 4457589"/>
                    <a:gd name="connsiteY4858" fmla="*/ 653206 h 1541722"/>
                    <a:gd name="connsiteX4859" fmla="*/ 4379253 w 4457589"/>
                    <a:gd name="connsiteY4859" fmla="*/ 651994 h 1541722"/>
                    <a:gd name="connsiteX4860" fmla="*/ 4384556 w 4457589"/>
                    <a:gd name="connsiteY4860" fmla="*/ 649569 h 1541722"/>
                    <a:gd name="connsiteX4861" fmla="*/ 4387133 w 4457589"/>
                    <a:gd name="connsiteY4861" fmla="*/ 647903 h 1541722"/>
                    <a:gd name="connsiteX4862" fmla="*/ 4389557 w 4457589"/>
                    <a:gd name="connsiteY4862" fmla="*/ 645781 h 1541722"/>
                    <a:gd name="connsiteX4863" fmla="*/ 4389254 w 4457589"/>
                    <a:gd name="connsiteY4863" fmla="*/ 642296 h 1541722"/>
                    <a:gd name="connsiteX4864" fmla="*/ 4387587 w 4457589"/>
                    <a:gd name="connsiteY4864" fmla="*/ 638811 h 1541722"/>
                    <a:gd name="connsiteX4865" fmla="*/ 4385163 w 4457589"/>
                    <a:gd name="connsiteY4865" fmla="*/ 637902 h 1541722"/>
                    <a:gd name="connsiteX4866" fmla="*/ 4382284 w 4457589"/>
                    <a:gd name="connsiteY4866" fmla="*/ 638054 h 1541722"/>
                    <a:gd name="connsiteX4867" fmla="*/ 4379708 w 4457589"/>
                    <a:gd name="connsiteY4867" fmla="*/ 637751 h 1541722"/>
                    <a:gd name="connsiteX4868" fmla="*/ 4377284 w 4457589"/>
                    <a:gd name="connsiteY4868" fmla="*/ 636841 h 1541722"/>
                    <a:gd name="connsiteX4869" fmla="*/ 4386981 w 4457589"/>
                    <a:gd name="connsiteY4869" fmla="*/ 635629 h 1541722"/>
                    <a:gd name="connsiteX4870" fmla="*/ 4388042 w 4457589"/>
                    <a:gd name="connsiteY4870" fmla="*/ 634417 h 1541722"/>
                    <a:gd name="connsiteX4871" fmla="*/ 4389708 w 4457589"/>
                    <a:gd name="connsiteY4871" fmla="*/ 628962 h 1541722"/>
                    <a:gd name="connsiteX4872" fmla="*/ 4389103 w 4457589"/>
                    <a:gd name="connsiteY4872" fmla="*/ 627599 h 1541722"/>
                    <a:gd name="connsiteX4873" fmla="*/ 4387133 w 4457589"/>
                    <a:gd name="connsiteY4873" fmla="*/ 627902 h 1541722"/>
                    <a:gd name="connsiteX4874" fmla="*/ 4383950 w 4457589"/>
                    <a:gd name="connsiteY4874" fmla="*/ 627902 h 1541722"/>
                    <a:gd name="connsiteX4875" fmla="*/ 4384708 w 4457589"/>
                    <a:gd name="connsiteY4875" fmla="*/ 626690 h 1541722"/>
                    <a:gd name="connsiteX4876" fmla="*/ 4385769 w 4457589"/>
                    <a:gd name="connsiteY4876" fmla="*/ 625780 h 1541722"/>
                    <a:gd name="connsiteX4877" fmla="*/ 4380162 w 4457589"/>
                    <a:gd name="connsiteY4877" fmla="*/ 620629 h 1541722"/>
                    <a:gd name="connsiteX4878" fmla="*/ 4373950 w 4457589"/>
                    <a:gd name="connsiteY4878" fmla="*/ 617447 h 1541722"/>
                    <a:gd name="connsiteX4879" fmla="*/ 4375769 w 4457589"/>
                    <a:gd name="connsiteY4879" fmla="*/ 616992 h 1541722"/>
                    <a:gd name="connsiteX4880" fmla="*/ 4378799 w 4457589"/>
                    <a:gd name="connsiteY4880" fmla="*/ 616992 h 1541722"/>
                    <a:gd name="connsiteX4881" fmla="*/ 4383496 w 4457589"/>
                    <a:gd name="connsiteY4881" fmla="*/ 618053 h 1541722"/>
                    <a:gd name="connsiteX4882" fmla="*/ 4386678 w 4457589"/>
                    <a:gd name="connsiteY4882" fmla="*/ 620326 h 1541722"/>
                    <a:gd name="connsiteX4883" fmla="*/ 4387738 w 4457589"/>
                    <a:gd name="connsiteY4883" fmla="*/ 621841 h 1541722"/>
                    <a:gd name="connsiteX4884" fmla="*/ 4389103 w 4457589"/>
                    <a:gd name="connsiteY4884" fmla="*/ 622447 h 1541722"/>
                    <a:gd name="connsiteX4885" fmla="*/ 4391830 w 4457589"/>
                    <a:gd name="connsiteY4885" fmla="*/ 622598 h 1541722"/>
                    <a:gd name="connsiteX4886" fmla="*/ 4396679 w 4457589"/>
                    <a:gd name="connsiteY4886" fmla="*/ 623659 h 1541722"/>
                    <a:gd name="connsiteX4887" fmla="*/ 4396830 w 4457589"/>
                    <a:gd name="connsiteY4887" fmla="*/ 625326 h 1541722"/>
                    <a:gd name="connsiteX4888" fmla="*/ 4398042 w 4457589"/>
                    <a:gd name="connsiteY4888" fmla="*/ 625780 h 1541722"/>
                    <a:gd name="connsiteX4889" fmla="*/ 4401224 w 4457589"/>
                    <a:gd name="connsiteY4889" fmla="*/ 625174 h 1541722"/>
                    <a:gd name="connsiteX4890" fmla="*/ 4410013 w 4457589"/>
                    <a:gd name="connsiteY4890" fmla="*/ 624114 h 1541722"/>
                    <a:gd name="connsiteX4891" fmla="*/ 4412891 w 4457589"/>
                    <a:gd name="connsiteY4891" fmla="*/ 624417 h 1541722"/>
                    <a:gd name="connsiteX4892" fmla="*/ 4416830 w 4457589"/>
                    <a:gd name="connsiteY4892" fmla="*/ 625477 h 1541722"/>
                    <a:gd name="connsiteX4893" fmla="*/ 4418194 w 4457589"/>
                    <a:gd name="connsiteY4893" fmla="*/ 625477 h 1541722"/>
                    <a:gd name="connsiteX4894" fmla="*/ 4419861 w 4457589"/>
                    <a:gd name="connsiteY4894" fmla="*/ 625174 h 1541722"/>
                    <a:gd name="connsiteX4895" fmla="*/ 4421377 w 4457589"/>
                    <a:gd name="connsiteY4895" fmla="*/ 623356 h 1541722"/>
                    <a:gd name="connsiteX4896" fmla="*/ 4419103 w 4457589"/>
                    <a:gd name="connsiteY4896" fmla="*/ 619871 h 1541722"/>
                    <a:gd name="connsiteX4897" fmla="*/ 4414558 w 4457589"/>
                    <a:gd name="connsiteY4897" fmla="*/ 616689 h 1541722"/>
                    <a:gd name="connsiteX4898" fmla="*/ 4411831 w 4457589"/>
                    <a:gd name="connsiteY4898" fmla="*/ 614265 h 1541722"/>
                    <a:gd name="connsiteX4899" fmla="*/ 4410467 w 4457589"/>
                    <a:gd name="connsiteY4899" fmla="*/ 612295 h 1541722"/>
                    <a:gd name="connsiteX4900" fmla="*/ 4411224 w 4457589"/>
                    <a:gd name="connsiteY4900" fmla="*/ 611689 h 1541722"/>
                    <a:gd name="connsiteX4901" fmla="*/ 4412436 w 4457589"/>
                    <a:gd name="connsiteY4901" fmla="*/ 611992 h 1541722"/>
                    <a:gd name="connsiteX4902" fmla="*/ 4416528 w 4457589"/>
                    <a:gd name="connsiteY4902" fmla="*/ 615022 h 1541722"/>
                    <a:gd name="connsiteX4903" fmla="*/ 4419558 w 4457589"/>
                    <a:gd name="connsiteY4903" fmla="*/ 616841 h 1541722"/>
                    <a:gd name="connsiteX4904" fmla="*/ 4422740 w 4457589"/>
                    <a:gd name="connsiteY4904" fmla="*/ 618204 h 1541722"/>
                    <a:gd name="connsiteX4905" fmla="*/ 4425619 w 4457589"/>
                    <a:gd name="connsiteY4905" fmla="*/ 619265 h 1541722"/>
                    <a:gd name="connsiteX4906" fmla="*/ 4431982 w 4457589"/>
                    <a:gd name="connsiteY4906" fmla="*/ 620174 h 1541722"/>
                    <a:gd name="connsiteX4907" fmla="*/ 4434861 w 4457589"/>
                    <a:gd name="connsiteY4907" fmla="*/ 618659 h 1541722"/>
                    <a:gd name="connsiteX4908" fmla="*/ 4435316 w 4457589"/>
                    <a:gd name="connsiteY4908" fmla="*/ 616083 h 1541722"/>
                    <a:gd name="connsiteX4909" fmla="*/ 4434710 w 4457589"/>
                    <a:gd name="connsiteY4909" fmla="*/ 611083 h 1541722"/>
                    <a:gd name="connsiteX4910" fmla="*/ 4435316 w 4457589"/>
                    <a:gd name="connsiteY4910" fmla="*/ 609113 h 1541722"/>
                    <a:gd name="connsiteX4911" fmla="*/ 4439256 w 4457589"/>
                    <a:gd name="connsiteY4911" fmla="*/ 606234 h 1541722"/>
                    <a:gd name="connsiteX4912" fmla="*/ 4445771 w 4457589"/>
                    <a:gd name="connsiteY4912" fmla="*/ 602749 h 1541722"/>
                    <a:gd name="connsiteX4913" fmla="*/ 4450013 w 4457589"/>
                    <a:gd name="connsiteY4913" fmla="*/ 601537 h 1541722"/>
                    <a:gd name="connsiteX4914" fmla="*/ 4451529 w 4457589"/>
                    <a:gd name="connsiteY4914" fmla="*/ 601689 h 1541722"/>
                    <a:gd name="connsiteX4915" fmla="*/ 4453196 w 4457589"/>
                    <a:gd name="connsiteY4915" fmla="*/ 602749 h 1541722"/>
                    <a:gd name="connsiteX4916" fmla="*/ 4454710 w 4457589"/>
                    <a:gd name="connsiteY4916" fmla="*/ 603052 h 1541722"/>
                    <a:gd name="connsiteX4917" fmla="*/ 4457589 w 4457589"/>
                    <a:gd name="connsiteY4917" fmla="*/ 600476 h 154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Lst>
                  <a:rect l="l" t="t" r="r" b="b"/>
                  <a:pathLst>
                    <a:path w="4457589" h="1541722">
                      <a:moveTo>
                        <a:pt x="4456226" y="596537"/>
                      </a:moveTo>
                      <a:lnTo>
                        <a:pt x="4453196" y="595628"/>
                      </a:lnTo>
                      <a:lnTo>
                        <a:pt x="4443498" y="595325"/>
                      </a:lnTo>
                      <a:lnTo>
                        <a:pt x="4444862" y="593961"/>
                      </a:lnTo>
                      <a:lnTo>
                        <a:pt x="4444407" y="592294"/>
                      </a:lnTo>
                      <a:lnTo>
                        <a:pt x="4443346" y="590628"/>
                      </a:lnTo>
                      <a:lnTo>
                        <a:pt x="4441983" y="589719"/>
                      </a:lnTo>
                      <a:lnTo>
                        <a:pt x="4440317" y="589567"/>
                      </a:lnTo>
                      <a:lnTo>
                        <a:pt x="4436983" y="590476"/>
                      </a:lnTo>
                      <a:lnTo>
                        <a:pt x="4433650" y="591688"/>
                      </a:lnTo>
                      <a:lnTo>
                        <a:pt x="4435316" y="589870"/>
                      </a:lnTo>
                      <a:lnTo>
                        <a:pt x="4437286" y="588506"/>
                      </a:lnTo>
                      <a:lnTo>
                        <a:pt x="4436225" y="587446"/>
                      </a:lnTo>
                      <a:lnTo>
                        <a:pt x="4435013" y="586840"/>
                      </a:lnTo>
                      <a:lnTo>
                        <a:pt x="4424861" y="578961"/>
                      </a:lnTo>
                      <a:lnTo>
                        <a:pt x="4418800" y="576082"/>
                      </a:lnTo>
                      <a:lnTo>
                        <a:pt x="4412891" y="572142"/>
                      </a:lnTo>
                      <a:lnTo>
                        <a:pt x="4407284" y="565627"/>
                      </a:lnTo>
                      <a:lnTo>
                        <a:pt x="4401072" y="560475"/>
                      </a:lnTo>
                      <a:lnTo>
                        <a:pt x="4394557" y="558505"/>
                      </a:lnTo>
                      <a:lnTo>
                        <a:pt x="4387890" y="558808"/>
                      </a:lnTo>
                      <a:lnTo>
                        <a:pt x="4383193" y="557596"/>
                      </a:lnTo>
                      <a:lnTo>
                        <a:pt x="4378496" y="556081"/>
                      </a:lnTo>
                      <a:lnTo>
                        <a:pt x="4367889" y="554263"/>
                      </a:lnTo>
                      <a:lnTo>
                        <a:pt x="4368041" y="555778"/>
                      </a:lnTo>
                      <a:lnTo>
                        <a:pt x="4379557" y="558354"/>
                      </a:lnTo>
                      <a:lnTo>
                        <a:pt x="4381223" y="559414"/>
                      </a:lnTo>
                      <a:lnTo>
                        <a:pt x="4380466" y="560475"/>
                      </a:lnTo>
                      <a:lnTo>
                        <a:pt x="4377890" y="560778"/>
                      </a:lnTo>
                      <a:lnTo>
                        <a:pt x="4369102" y="560020"/>
                      </a:lnTo>
                      <a:lnTo>
                        <a:pt x="4366526" y="559263"/>
                      </a:lnTo>
                      <a:lnTo>
                        <a:pt x="4364101" y="557293"/>
                      </a:lnTo>
                      <a:lnTo>
                        <a:pt x="4362738" y="557596"/>
                      </a:lnTo>
                      <a:lnTo>
                        <a:pt x="4361828" y="558808"/>
                      </a:lnTo>
                      <a:lnTo>
                        <a:pt x="4362131" y="561384"/>
                      </a:lnTo>
                      <a:lnTo>
                        <a:pt x="4363344" y="563505"/>
                      </a:lnTo>
                      <a:lnTo>
                        <a:pt x="4361071" y="564718"/>
                      </a:lnTo>
                      <a:lnTo>
                        <a:pt x="4358647" y="564112"/>
                      </a:lnTo>
                      <a:lnTo>
                        <a:pt x="4358647" y="561536"/>
                      </a:lnTo>
                      <a:lnTo>
                        <a:pt x="4359253" y="559414"/>
                      </a:lnTo>
                      <a:lnTo>
                        <a:pt x="4361980" y="555626"/>
                      </a:lnTo>
                      <a:lnTo>
                        <a:pt x="4363496" y="554869"/>
                      </a:lnTo>
                      <a:lnTo>
                        <a:pt x="4363798" y="554111"/>
                      </a:lnTo>
                      <a:lnTo>
                        <a:pt x="4354555" y="552444"/>
                      </a:lnTo>
                      <a:lnTo>
                        <a:pt x="4351980" y="551081"/>
                      </a:lnTo>
                      <a:lnTo>
                        <a:pt x="4349555" y="550626"/>
                      </a:lnTo>
                      <a:lnTo>
                        <a:pt x="4343949" y="552293"/>
                      </a:lnTo>
                      <a:lnTo>
                        <a:pt x="4328494" y="552444"/>
                      </a:lnTo>
                      <a:lnTo>
                        <a:pt x="4325615" y="553051"/>
                      </a:lnTo>
                      <a:lnTo>
                        <a:pt x="4325615" y="554414"/>
                      </a:lnTo>
                      <a:lnTo>
                        <a:pt x="4326524" y="555020"/>
                      </a:lnTo>
                      <a:lnTo>
                        <a:pt x="4328948" y="555475"/>
                      </a:lnTo>
                      <a:lnTo>
                        <a:pt x="4331373" y="555475"/>
                      </a:lnTo>
                      <a:lnTo>
                        <a:pt x="4333040" y="557142"/>
                      </a:lnTo>
                      <a:lnTo>
                        <a:pt x="4336524" y="558051"/>
                      </a:lnTo>
                      <a:lnTo>
                        <a:pt x="4338343" y="559869"/>
                      </a:lnTo>
                      <a:lnTo>
                        <a:pt x="4339555" y="563051"/>
                      </a:lnTo>
                      <a:lnTo>
                        <a:pt x="4340161" y="565172"/>
                      </a:lnTo>
                      <a:lnTo>
                        <a:pt x="4340616" y="567445"/>
                      </a:lnTo>
                      <a:lnTo>
                        <a:pt x="4339100" y="571536"/>
                      </a:lnTo>
                      <a:lnTo>
                        <a:pt x="4336979" y="573354"/>
                      </a:lnTo>
                      <a:lnTo>
                        <a:pt x="4334403" y="574263"/>
                      </a:lnTo>
                      <a:lnTo>
                        <a:pt x="4335312" y="576536"/>
                      </a:lnTo>
                      <a:lnTo>
                        <a:pt x="4337888" y="578354"/>
                      </a:lnTo>
                      <a:lnTo>
                        <a:pt x="4342888" y="579264"/>
                      </a:lnTo>
                      <a:lnTo>
                        <a:pt x="4345010" y="580779"/>
                      </a:lnTo>
                      <a:lnTo>
                        <a:pt x="4346979" y="583203"/>
                      </a:lnTo>
                      <a:lnTo>
                        <a:pt x="4345313" y="586385"/>
                      </a:lnTo>
                      <a:lnTo>
                        <a:pt x="4343495" y="588961"/>
                      </a:lnTo>
                      <a:lnTo>
                        <a:pt x="4341979" y="590022"/>
                      </a:lnTo>
                      <a:lnTo>
                        <a:pt x="4340919" y="591840"/>
                      </a:lnTo>
                      <a:lnTo>
                        <a:pt x="4340010" y="592597"/>
                      </a:lnTo>
                      <a:lnTo>
                        <a:pt x="4338949" y="592597"/>
                      </a:lnTo>
                      <a:lnTo>
                        <a:pt x="4340312" y="585627"/>
                      </a:lnTo>
                      <a:lnTo>
                        <a:pt x="4338343" y="581536"/>
                      </a:lnTo>
                      <a:lnTo>
                        <a:pt x="4335161" y="582446"/>
                      </a:lnTo>
                      <a:lnTo>
                        <a:pt x="4333645" y="583506"/>
                      </a:lnTo>
                      <a:lnTo>
                        <a:pt x="4330767" y="587143"/>
                      </a:lnTo>
                      <a:lnTo>
                        <a:pt x="4330009" y="587446"/>
                      </a:lnTo>
                      <a:lnTo>
                        <a:pt x="4329252" y="586082"/>
                      </a:lnTo>
                      <a:lnTo>
                        <a:pt x="4328343" y="583506"/>
                      </a:lnTo>
                      <a:lnTo>
                        <a:pt x="4327585" y="580627"/>
                      </a:lnTo>
                      <a:lnTo>
                        <a:pt x="4326979" y="578506"/>
                      </a:lnTo>
                      <a:lnTo>
                        <a:pt x="4323948" y="576385"/>
                      </a:lnTo>
                      <a:lnTo>
                        <a:pt x="4322281" y="575476"/>
                      </a:lnTo>
                      <a:lnTo>
                        <a:pt x="4317130" y="575021"/>
                      </a:lnTo>
                      <a:lnTo>
                        <a:pt x="4315463" y="574566"/>
                      </a:lnTo>
                      <a:lnTo>
                        <a:pt x="4316979" y="570021"/>
                      </a:lnTo>
                      <a:lnTo>
                        <a:pt x="4319554" y="567293"/>
                      </a:lnTo>
                      <a:lnTo>
                        <a:pt x="4319251" y="561081"/>
                      </a:lnTo>
                      <a:lnTo>
                        <a:pt x="4318039" y="559111"/>
                      </a:lnTo>
                      <a:lnTo>
                        <a:pt x="4316524" y="557293"/>
                      </a:lnTo>
                      <a:lnTo>
                        <a:pt x="4315009" y="553051"/>
                      </a:lnTo>
                      <a:lnTo>
                        <a:pt x="4315312" y="547899"/>
                      </a:lnTo>
                      <a:lnTo>
                        <a:pt x="4316979" y="544868"/>
                      </a:lnTo>
                      <a:lnTo>
                        <a:pt x="4317433" y="541080"/>
                      </a:lnTo>
                      <a:lnTo>
                        <a:pt x="4315614" y="538353"/>
                      </a:lnTo>
                      <a:lnTo>
                        <a:pt x="4313342" y="536989"/>
                      </a:lnTo>
                      <a:lnTo>
                        <a:pt x="4311524" y="538050"/>
                      </a:lnTo>
                      <a:lnTo>
                        <a:pt x="4310008" y="539868"/>
                      </a:lnTo>
                      <a:lnTo>
                        <a:pt x="4309099" y="540323"/>
                      </a:lnTo>
                      <a:lnTo>
                        <a:pt x="4303190" y="540777"/>
                      </a:lnTo>
                      <a:lnTo>
                        <a:pt x="4306978" y="536535"/>
                      </a:lnTo>
                      <a:lnTo>
                        <a:pt x="4306827" y="533050"/>
                      </a:lnTo>
                      <a:lnTo>
                        <a:pt x="4306069" y="530928"/>
                      </a:lnTo>
                      <a:lnTo>
                        <a:pt x="4304857" y="529262"/>
                      </a:lnTo>
                      <a:lnTo>
                        <a:pt x="4303948" y="525777"/>
                      </a:lnTo>
                      <a:lnTo>
                        <a:pt x="4261219" y="505018"/>
                      </a:lnTo>
                      <a:lnTo>
                        <a:pt x="4253945" y="502443"/>
                      </a:lnTo>
                      <a:lnTo>
                        <a:pt x="4250461" y="500170"/>
                      </a:lnTo>
                      <a:lnTo>
                        <a:pt x="4247430" y="499109"/>
                      </a:lnTo>
                      <a:lnTo>
                        <a:pt x="4244400" y="499412"/>
                      </a:lnTo>
                      <a:lnTo>
                        <a:pt x="4242581" y="500018"/>
                      </a:lnTo>
                      <a:lnTo>
                        <a:pt x="4241218" y="499261"/>
                      </a:lnTo>
                      <a:lnTo>
                        <a:pt x="4242431" y="497291"/>
                      </a:lnTo>
                      <a:lnTo>
                        <a:pt x="4244249" y="496685"/>
                      </a:lnTo>
                      <a:lnTo>
                        <a:pt x="4240006" y="493503"/>
                      </a:lnTo>
                      <a:lnTo>
                        <a:pt x="4224400" y="485018"/>
                      </a:lnTo>
                      <a:lnTo>
                        <a:pt x="4221066" y="483806"/>
                      </a:lnTo>
                      <a:lnTo>
                        <a:pt x="4223490" y="486078"/>
                      </a:lnTo>
                      <a:lnTo>
                        <a:pt x="4235005" y="492745"/>
                      </a:lnTo>
                      <a:lnTo>
                        <a:pt x="4236823" y="494715"/>
                      </a:lnTo>
                      <a:lnTo>
                        <a:pt x="4233339" y="497139"/>
                      </a:lnTo>
                      <a:lnTo>
                        <a:pt x="4229702" y="498048"/>
                      </a:lnTo>
                      <a:lnTo>
                        <a:pt x="4230763" y="495321"/>
                      </a:lnTo>
                      <a:lnTo>
                        <a:pt x="4230006" y="492291"/>
                      </a:lnTo>
                      <a:lnTo>
                        <a:pt x="4228642" y="490472"/>
                      </a:lnTo>
                      <a:lnTo>
                        <a:pt x="4224550" y="488503"/>
                      </a:lnTo>
                      <a:lnTo>
                        <a:pt x="4218338" y="486836"/>
                      </a:lnTo>
                      <a:lnTo>
                        <a:pt x="4212277" y="484715"/>
                      </a:lnTo>
                      <a:lnTo>
                        <a:pt x="4211066" y="482593"/>
                      </a:lnTo>
                      <a:lnTo>
                        <a:pt x="4210762" y="479260"/>
                      </a:lnTo>
                      <a:lnTo>
                        <a:pt x="4214550" y="481987"/>
                      </a:lnTo>
                      <a:lnTo>
                        <a:pt x="4216520" y="482896"/>
                      </a:lnTo>
                      <a:lnTo>
                        <a:pt x="4212429" y="478654"/>
                      </a:lnTo>
                      <a:lnTo>
                        <a:pt x="4207429" y="474866"/>
                      </a:lnTo>
                      <a:lnTo>
                        <a:pt x="4196216" y="471381"/>
                      </a:lnTo>
                      <a:lnTo>
                        <a:pt x="4194246" y="470169"/>
                      </a:lnTo>
                      <a:lnTo>
                        <a:pt x="4191065" y="467290"/>
                      </a:lnTo>
                      <a:lnTo>
                        <a:pt x="4189852" y="466987"/>
                      </a:lnTo>
                      <a:lnTo>
                        <a:pt x="4187579" y="467593"/>
                      </a:lnTo>
                      <a:lnTo>
                        <a:pt x="4182125" y="465926"/>
                      </a:lnTo>
                      <a:lnTo>
                        <a:pt x="4176518" y="463805"/>
                      </a:lnTo>
                      <a:lnTo>
                        <a:pt x="4176518" y="463805"/>
                      </a:lnTo>
                      <a:lnTo>
                        <a:pt x="4173034" y="462441"/>
                      </a:lnTo>
                      <a:lnTo>
                        <a:pt x="4156669" y="450471"/>
                      </a:lnTo>
                      <a:lnTo>
                        <a:pt x="4147881" y="448804"/>
                      </a:lnTo>
                      <a:lnTo>
                        <a:pt x="4147123" y="447289"/>
                      </a:lnTo>
                      <a:lnTo>
                        <a:pt x="4146669" y="445622"/>
                      </a:lnTo>
                      <a:lnTo>
                        <a:pt x="4145002" y="444410"/>
                      </a:lnTo>
                      <a:lnTo>
                        <a:pt x="4133941" y="441228"/>
                      </a:lnTo>
                      <a:lnTo>
                        <a:pt x="4120001" y="439107"/>
                      </a:lnTo>
                      <a:lnTo>
                        <a:pt x="4105303" y="433501"/>
                      </a:lnTo>
                      <a:lnTo>
                        <a:pt x="4092425" y="431834"/>
                      </a:lnTo>
                      <a:lnTo>
                        <a:pt x="4078333" y="425773"/>
                      </a:lnTo>
                      <a:lnTo>
                        <a:pt x="4070000" y="421379"/>
                      </a:lnTo>
                      <a:lnTo>
                        <a:pt x="4064999" y="419561"/>
                      </a:lnTo>
                      <a:lnTo>
                        <a:pt x="4060302" y="419258"/>
                      </a:lnTo>
                      <a:lnTo>
                        <a:pt x="4047877" y="421379"/>
                      </a:lnTo>
                      <a:lnTo>
                        <a:pt x="4033938" y="421531"/>
                      </a:lnTo>
                      <a:lnTo>
                        <a:pt x="4021210" y="420318"/>
                      </a:lnTo>
                      <a:lnTo>
                        <a:pt x="4010906" y="420621"/>
                      </a:lnTo>
                      <a:lnTo>
                        <a:pt x="4005148" y="419864"/>
                      </a:lnTo>
                      <a:lnTo>
                        <a:pt x="3996967" y="417136"/>
                      </a:lnTo>
                      <a:lnTo>
                        <a:pt x="3994693" y="418197"/>
                      </a:lnTo>
                      <a:lnTo>
                        <a:pt x="3992572" y="423197"/>
                      </a:lnTo>
                      <a:lnTo>
                        <a:pt x="3986512" y="421076"/>
                      </a:lnTo>
                      <a:lnTo>
                        <a:pt x="3981511" y="418500"/>
                      </a:lnTo>
                      <a:lnTo>
                        <a:pt x="3973026" y="416076"/>
                      </a:lnTo>
                      <a:lnTo>
                        <a:pt x="3956813" y="414561"/>
                      </a:lnTo>
                      <a:lnTo>
                        <a:pt x="3937116" y="410773"/>
                      </a:lnTo>
                      <a:lnTo>
                        <a:pt x="3926661" y="409863"/>
                      </a:lnTo>
                      <a:lnTo>
                        <a:pt x="3916206" y="409257"/>
                      </a:lnTo>
                      <a:lnTo>
                        <a:pt x="3917267" y="417591"/>
                      </a:lnTo>
                      <a:lnTo>
                        <a:pt x="3916661" y="421531"/>
                      </a:lnTo>
                      <a:lnTo>
                        <a:pt x="3912721" y="426682"/>
                      </a:lnTo>
                      <a:lnTo>
                        <a:pt x="3908478" y="430016"/>
                      </a:lnTo>
                      <a:lnTo>
                        <a:pt x="3907417" y="432743"/>
                      </a:lnTo>
                      <a:lnTo>
                        <a:pt x="3918933" y="434864"/>
                      </a:lnTo>
                      <a:lnTo>
                        <a:pt x="3922569" y="444259"/>
                      </a:lnTo>
                      <a:lnTo>
                        <a:pt x="3927116" y="450319"/>
                      </a:lnTo>
                      <a:lnTo>
                        <a:pt x="3930297" y="456532"/>
                      </a:lnTo>
                      <a:lnTo>
                        <a:pt x="3930145" y="460926"/>
                      </a:lnTo>
                      <a:lnTo>
                        <a:pt x="3917721" y="471381"/>
                      </a:lnTo>
                      <a:lnTo>
                        <a:pt x="3904690" y="472745"/>
                      </a:lnTo>
                      <a:lnTo>
                        <a:pt x="3892265" y="473351"/>
                      </a:lnTo>
                      <a:lnTo>
                        <a:pt x="3886962" y="466987"/>
                      </a:lnTo>
                      <a:lnTo>
                        <a:pt x="3884083" y="459259"/>
                      </a:lnTo>
                      <a:lnTo>
                        <a:pt x="3874084" y="455168"/>
                      </a:lnTo>
                      <a:lnTo>
                        <a:pt x="3864386" y="451986"/>
                      </a:lnTo>
                      <a:lnTo>
                        <a:pt x="3859841" y="451532"/>
                      </a:lnTo>
                      <a:lnTo>
                        <a:pt x="3856507" y="450016"/>
                      </a:lnTo>
                      <a:lnTo>
                        <a:pt x="3854537" y="441531"/>
                      </a:lnTo>
                      <a:lnTo>
                        <a:pt x="3852264" y="435167"/>
                      </a:lnTo>
                      <a:lnTo>
                        <a:pt x="3849536" y="432743"/>
                      </a:lnTo>
                      <a:lnTo>
                        <a:pt x="3846809" y="429258"/>
                      </a:lnTo>
                      <a:lnTo>
                        <a:pt x="3844385" y="427743"/>
                      </a:lnTo>
                      <a:lnTo>
                        <a:pt x="3838021" y="427137"/>
                      </a:lnTo>
                      <a:lnTo>
                        <a:pt x="3822869" y="436228"/>
                      </a:lnTo>
                      <a:lnTo>
                        <a:pt x="3817717" y="438955"/>
                      </a:lnTo>
                      <a:lnTo>
                        <a:pt x="3815899" y="438955"/>
                      </a:lnTo>
                      <a:lnTo>
                        <a:pt x="3793019" y="436683"/>
                      </a:lnTo>
                      <a:lnTo>
                        <a:pt x="3786959" y="434864"/>
                      </a:lnTo>
                      <a:lnTo>
                        <a:pt x="3752867" y="433652"/>
                      </a:lnTo>
                      <a:lnTo>
                        <a:pt x="3743169" y="428197"/>
                      </a:lnTo>
                      <a:lnTo>
                        <a:pt x="3737260" y="427440"/>
                      </a:lnTo>
                      <a:lnTo>
                        <a:pt x="3730745" y="429107"/>
                      </a:lnTo>
                      <a:lnTo>
                        <a:pt x="3724987" y="429561"/>
                      </a:lnTo>
                      <a:lnTo>
                        <a:pt x="3716956" y="428501"/>
                      </a:lnTo>
                      <a:lnTo>
                        <a:pt x="3709986" y="430016"/>
                      </a:lnTo>
                      <a:lnTo>
                        <a:pt x="3694379" y="431682"/>
                      </a:lnTo>
                      <a:lnTo>
                        <a:pt x="3688621" y="433501"/>
                      </a:lnTo>
                      <a:lnTo>
                        <a:pt x="3682561" y="436683"/>
                      </a:lnTo>
                      <a:lnTo>
                        <a:pt x="3671349" y="444713"/>
                      </a:lnTo>
                      <a:lnTo>
                        <a:pt x="3669833" y="448653"/>
                      </a:lnTo>
                      <a:lnTo>
                        <a:pt x="3669833" y="453350"/>
                      </a:lnTo>
                      <a:lnTo>
                        <a:pt x="3672258" y="460017"/>
                      </a:lnTo>
                      <a:lnTo>
                        <a:pt x="3672258" y="467593"/>
                      </a:lnTo>
                      <a:lnTo>
                        <a:pt x="3670288" y="470320"/>
                      </a:lnTo>
                      <a:lnTo>
                        <a:pt x="3666652" y="471532"/>
                      </a:lnTo>
                      <a:lnTo>
                        <a:pt x="3663014" y="479563"/>
                      </a:lnTo>
                      <a:lnTo>
                        <a:pt x="3659530" y="483957"/>
                      </a:lnTo>
                      <a:lnTo>
                        <a:pt x="3652711" y="485169"/>
                      </a:lnTo>
                      <a:lnTo>
                        <a:pt x="3656651" y="481836"/>
                      </a:lnTo>
                      <a:lnTo>
                        <a:pt x="3660287" y="479563"/>
                      </a:lnTo>
                      <a:lnTo>
                        <a:pt x="3666045" y="467593"/>
                      </a:lnTo>
                      <a:lnTo>
                        <a:pt x="3665136" y="463956"/>
                      </a:lnTo>
                      <a:lnTo>
                        <a:pt x="3660590" y="461229"/>
                      </a:lnTo>
                      <a:lnTo>
                        <a:pt x="3657711" y="458350"/>
                      </a:lnTo>
                      <a:lnTo>
                        <a:pt x="3656197" y="446986"/>
                      </a:lnTo>
                      <a:lnTo>
                        <a:pt x="3654832" y="440925"/>
                      </a:lnTo>
                      <a:lnTo>
                        <a:pt x="3654227" y="433804"/>
                      </a:lnTo>
                      <a:lnTo>
                        <a:pt x="3649530" y="431379"/>
                      </a:lnTo>
                      <a:lnTo>
                        <a:pt x="3632559" y="427743"/>
                      </a:lnTo>
                      <a:lnTo>
                        <a:pt x="3624832" y="425016"/>
                      </a:lnTo>
                      <a:lnTo>
                        <a:pt x="3621953" y="420924"/>
                      </a:lnTo>
                      <a:lnTo>
                        <a:pt x="3624983" y="415015"/>
                      </a:lnTo>
                      <a:lnTo>
                        <a:pt x="3624680" y="410470"/>
                      </a:lnTo>
                      <a:lnTo>
                        <a:pt x="3626346" y="406682"/>
                      </a:lnTo>
                      <a:lnTo>
                        <a:pt x="3628922" y="403651"/>
                      </a:lnTo>
                      <a:lnTo>
                        <a:pt x="3629529" y="399257"/>
                      </a:lnTo>
                      <a:lnTo>
                        <a:pt x="3628165" y="393651"/>
                      </a:lnTo>
                      <a:lnTo>
                        <a:pt x="3626952" y="389560"/>
                      </a:lnTo>
                      <a:lnTo>
                        <a:pt x="3624074" y="384711"/>
                      </a:lnTo>
                      <a:lnTo>
                        <a:pt x="3621953" y="382438"/>
                      </a:lnTo>
                      <a:lnTo>
                        <a:pt x="3611649" y="375317"/>
                      </a:lnTo>
                      <a:lnTo>
                        <a:pt x="3593770" y="368195"/>
                      </a:lnTo>
                      <a:lnTo>
                        <a:pt x="3575587" y="362892"/>
                      </a:lnTo>
                      <a:lnTo>
                        <a:pt x="3559526" y="361225"/>
                      </a:lnTo>
                      <a:lnTo>
                        <a:pt x="3538616" y="360165"/>
                      </a:lnTo>
                      <a:lnTo>
                        <a:pt x="3517100" y="360165"/>
                      </a:lnTo>
                      <a:lnTo>
                        <a:pt x="3508918" y="363044"/>
                      </a:lnTo>
                      <a:lnTo>
                        <a:pt x="3493312" y="363195"/>
                      </a:lnTo>
                      <a:lnTo>
                        <a:pt x="3476492" y="366225"/>
                      </a:lnTo>
                      <a:lnTo>
                        <a:pt x="3459522" y="370923"/>
                      </a:lnTo>
                      <a:lnTo>
                        <a:pt x="3450431" y="371074"/>
                      </a:lnTo>
                      <a:lnTo>
                        <a:pt x="3432248" y="373195"/>
                      </a:lnTo>
                      <a:lnTo>
                        <a:pt x="3424369" y="373195"/>
                      </a:lnTo>
                      <a:lnTo>
                        <a:pt x="3403914" y="365771"/>
                      </a:lnTo>
                      <a:lnTo>
                        <a:pt x="3410429" y="364862"/>
                      </a:lnTo>
                      <a:lnTo>
                        <a:pt x="3413005" y="363801"/>
                      </a:lnTo>
                      <a:lnTo>
                        <a:pt x="3403914" y="353952"/>
                      </a:lnTo>
                      <a:lnTo>
                        <a:pt x="3399065" y="350467"/>
                      </a:lnTo>
                      <a:lnTo>
                        <a:pt x="3387096" y="346073"/>
                      </a:lnTo>
                      <a:lnTo>
                        <a:pt x="3382247" y="345770"/>
                      </a:lnTo>
                      <a:lnTo>
                        <a:pt x="3378155" y="346679"/>
                      </a:lnTo>
                      <a:lnTo>
                        <a:pt x="3362398" y="351528"/>
                      </a:lnTo>
                      <a:lnTo>
                        <a:pt x="3358458" y="353498"/>
                      </a:lnTo>
                      <a:lnTo>
                        <a:pt x="3366337" y="347892"/>
                      </a:lnTo>
                      <a:lnTo>
                        <a:pt x="3370125" y="345467"/>
                      </a:lnTo>
                      <a:lnTo>
                        <a:pt x="3374065" y="341982"/>
                      </a:lnTo>
                      <a:lnTo>
                        <a:pt x="3373155" y="339861"/>
                      </a:lnTo>
                      <a:lnTo>
                        <a:pt x="3372095" y="338649"/>
                      </a:lnTo>
                      <a:lnTo>
                        <a:pt x="3357397" y="339255"/>
                      </a:lnTo>
                      <a:lnTo>
                        <a:pt x="3356488" y="338649"/>
                      </a:lnTo>
                      <a:lnTo>
                        <a:pt x="3353306" y="335618"/>
                      </a:lnTo>
                      <a:lnTo>
                        <a:pt x="3351791" y="334558"/>
                      </a:lnTo>
                      <a:lnTo>
                        <a:pt x="3341942" y="331376"/>
                      </a:lnTo>
                      <a:lnTo>
                        <a:pt x="3334821" y="330164"/>
                      </a:lnTo>
                      <a:lnTo>
                        <a:pt x="3327548" y="330012"/>
                      </a:lnTo>
                      <a:lnTo>
                        <a:pt x="3326336" y="328800"/>
                      </a:lnTo>
                      <a:lnTo>
                        <a:pt x="3327093" y="327285"/>
                      </a:lnTo>
                      <a:lnTo>
                        <a:pt x="3327396" y="326376"/>
                      </a:lnTo>
                      <a:lnTo>
                        <a:pt x="3329669" y="324709"/>
                      </a:lnTo>
                      <a:lnTo>
                        <a:pt x="3336033" y="323194"/>
                      </a:lnTo>
                      <a:lnTo>
                        <a:pt x="3352548" y="322284"/>
                      </a:lnTo>
                      <a:lnTo>
                        <a:pt x="3356185" y="319557"/>
                      </a:lnTo>
                      <a:lnTo>
                        <a:pt x="3355731" y="316830"/>
                      </a:lnTo>
                      <a:lnTo>
                        <a:pt x="3354670" y="314708"/>
                      </a:lnTo>
                      <a:lnTo>
                        <a:pt x="3349367" y="309557"/>
                      </a:lnTo>
                      <a:lnTo>
                        <a:pt x="3342093" y="305920"/>
                      </a:lnTo>
                      <a:lnTo>
                        <a:pt x="3327396" y="301375"/>
                      </a:lnTo>
                      <a:lnTo>
                        <a:pt x="3312093" y="298193"/>
                      </a:lnTo>
                      <a:lnTo>
                        <a:pt x="3285576" y="296677"/>
                      </a:lnTo>
                      <a:lnTo>
                        <a:pt x="3280879" y="297435"/>
                      </a:lnTo>
                      <a:lnTo>
                        <a:pt x="3277091" y="299253"/>
                      </a:lnTo>
                      <a:lnTo>
                        <a:pt x="3270728" y="304102"/>
                      </a:lnTo>
                      <a:lnTo>
                        <a:pt x="3256333" y="318193"/>
                      </a:lnTo>
                      <a:lnTo>
                        <a:pt x="3248302" y="324103"/>
                      </a:lnTo>
                      <a:lnTo>
                        <a:pt x="3241029" y="327285"/>
                      </a:lnTo>
                      <a:lnTo>
                        <a:pt x="3224059" y="329861"/>
                      </a:lnTo>
                      <a:lnTo>
                        <a:pt x="3221028" y="329254"/>
                      </a:lnTo>
                      <a:lnTo>
                        <a:pt x="3218605" y="326830"/>
                      </a:lnTo>
                      <a:lnTo>
                        <a:pt x="3219362" y="324860"/>
                      </a:lnTo>
                      <a:lnTo>
                        <a:pt x="3221028" y="322891"/>
                      </a:lnTo>
                      <a:lnTo>
                        <a:pt x="3221028" y="321678"/>
                      </a:lnTo>
                      <a:lnTo>
                        <a:pt x="3220271" y="319406"/>
                      </a:lnTo>
                      <a:lnTo>
                        <a:pt x="3220725" y="318042"/>
                      </a:lnTo>
                      <a:lnTo>
                        <a:pt x="3222393" y="318042"/>
                      </a:lnTo>
                      <a:lnTo>
                        <a:pt x="3226332" y="319709"/>
                      </a:lnTo>
                      <a:lnTo>
                        <a:pt x="3230120" y="319860"/>
                      </a:lnTo>
                      <a:lnTo>
                        <a:pt x="3239665" y="317284"/>
                      </a:lnTo>
                      <a:lnTo>
                        <a:pt x="3239665" y="313193"/>
                      </a:lnTo>
                      <a:lnTo>
                        <a:pt x="3237090" y="310769"/>
                      </a:lnTo>
                      <a:lnTo>
                        <a:pt x="3238302" y="305163"/>
                      </a:lnTo>
                      <a:lnTo>
                        <a:pt x="3238302" y="303647"/>
                      </a:lnTo>
                      <a:lnTo>
                        <a:pt x="3239665" y="302738"/>
                      </a:lnTo>
                      <a:lnTo>
                        <a:pt x="3240878" y="302890"/>
                      </a:lnTo>
                      <a:lnTo>
                        <a:pt x="3247696" y="306981"/>
                      </a:lnTo>
                      <a:lnTo>
                        <a:pt x="3250120" y="306829"/>
                      </a:lnTo>
                      <a:lnTo>
                        <a:pt x="3252545" y="307284"/>
                      </a:lnTo>
                      <a:lnTo>
                        <a:pt x="3246484" y="317133"/>
                      </a:lnTo>
                      <a:lnTo>
                        <a:pt x="3249363" y="317133"/>
                      </a:lnTo>
                      <a:lnTo>
                        <a:pt x="3257242" y="312436"/>
                      </a:lnTo>
                      <a:lnTo>
                        <a:pt x="3262697" y="307890"/>
                      </a:lnTo>
                      <a:lnTo>
                        <a:pt x="3268303" y="302132"/>
                      </a:lnTo>
                      <a:lnTo>
                        <a:pt x="3269060" y="299102"/>
                      </a:lnTo>
                      <a:lnTo>
                        <a:pt x="3262545" y="298799"/>
                      </a:lnTo>
                      <a:lnTo>
                        <a:pt x="3219968" y="300920"/>
                      </a:lnTo>
                      <a:lnTo>
                        <a:pt x="3204513" y="305314"/>
                      </a:lnTo>
                      <a:lnTo>
                        <a:pt x="3199664" y="304405"/>
                      </a:lnTo>
                      <a:lnTo>
                        <a:pt x="3196179" y="300920"/>
                      </a:lnTo>
                      <a:lnTo>
                        <a:pt x="3201483" y="300617"/>
                      </a:lnTo>
                      <a:lnTo>
                        <a:pt x="3207695" y="298647"/>
                      </a:lnTo>
                      <a:lnTo>
                        <a:pt x="3212847" y="294556"/>
                      </a:lnTo>
                      <a:lnTo>
                        <a:pt x="3216180" y="293950"/>
                      </a:lnTo>
                      <a:lnTo>
                        <a:pt x="3224816" y="294102"/>
                      </a:lnTo>
                      <a:lnTo>
                        <a:pt x="3231787" y="295617"/>
                      </a:lnTo>
                      <a:lnTo>
                        <a:pt x="3252697" y="296223"/>
                      </a:lnTo>
                      <a:lnTo>
                        <a:pt x="3253151" y="291526"/>
                      </a:lnTo>
                      <a:lnTo>
                        <a:pt x="3248605" y="290011"/>
                      </a:lnTo>
                      <a:lnTo>
                        <a:pt x="3238454" y="288647"/>
                      </a:lnTo>
                      <a:lnTo>
                        <a:pt x="3232241" y="286374"/>
                      </a:lnTo>
                      <a:lnTo>
                        <a:pt x="3224362" y="284859"/>
                      </a:lnTo>
                      <a:lnTo>
                        <a:pt x="3207089" y="282889"/>
                      </a:lnTo>
                      <a:lnTo>
                        <a:pt x="3199816" y="281071"/>
                      </a:lnTo>
                      <a:lnTo>
                        <a:pt x="3182845" y="279556"/>
                      </a:lnTo>
                      <a:lnTo>
                        <a:pt x="3178299" y="278192"/>
                      </a:lnTo>
                      <a:lnTo>
                        <a:pt x="3138601" y="277131"/>
                      </a:lnTo>
                      <a:lnTo>
                        <a:pt x="3123752" y="273495"/>
                      </a:lnTo>
                      <a:lnTo>
                        <a:pt x="3117994" y="269858"/>
                      </a:lnTo>
                      <a:lnTo>
                        <a:pt x="3104206" y="268192"/>
                      </a:lnTo>
                      <a:lnTo>
                        <a:pt x="3101478" y="268192"/>
                      </a:lnTo>
                      <a:lnTo>
                        <a:pt x="3100569" y="269252"/>
                      </a:lnTo>
                      <a:lnTo>
                        <a:pt x="3099963" y="270767"/>
                      </a:lnTo>
                      <a:lnTo>
                        <a:pt x="3108752" y="277283"/>
                      </a:lnTo>
                      <a:lnTo>
                        <a:pt x="3109054" y="281828"/>
                      </a:lnTo>
                      <a:lnTo>
                        <a:pt x="3111631" y="283950"/>
                      </a:lnTo>
                      <a:lnTo>
                        <a:pt x="3101478" y="287586"/>
                      </a:lnTo>
                      <a:lnTo>
                        <a:pt x="3094509" y="288950"/>
                      </a:lnTo>
                      <a:lnTo>
                        <a:pt x="3071174" y="288798"/>
                      </a:lnTo>
                      <a:lnTo>
                        <a:pt x="3067689" y="290314"/>
                      </a:lnTo>
                      <a:lnTo>
                        <a:pt x="3058599" y="297284"/>
                      </a:lnTo>
                      <a:lnTo>
                        <a:pt x="3058749" y="300769"/>
                      </a:lnTo>
                      <a:lnTo>
                        <a:pt x="3059659" y="305920"/>
                      </a:lnTo>
                      <a:lnTo>
                        <a:pt x="3066477" y="305920"/>
                      </a:lnTo>
                      <a:lnTo>
                        <a:pt x="3068599" y="303647"/>
                      </a:lnTo>
                      <a:lnTo>
                        <a:pt x="3071629" y="302738"/>
                      </a:lnTo>
                      <a:lnTo>
                        <a:pt x="3085872" y="303496"/>
                      </a:lnTo>
                      <a:lnTo>
                        <a:pt x="3087235" y="304405"/>
                      </a:lnTo>
                      <a:lnTo>
                        <a:pt x="3082538" y="305920"/>
                      </a:lnTo>
                      <a:lnTo>
                        <a:pt x="3077993" y="306678"/>
                      </a:lnTo>
                      <a:lnTo>
                        <a:pt x="3072235" y="314405"/>
                      </a:lnTo>
                      <a:lnTo>
                        <a:pt x="3064659" y="316830"/>
                      </a:lnTo>
                      <a:lnTo>
                        <a:pt x="3069811" y="318042"/>
                      </a:lnTo>
                      <a:lnTo>
                        <a:pt x="3074508" y="320163"/>
                      </a:lnTo>
                      <a:lnTo>
                        <a:pt x="3073751" y="329558"/>
                      </a:lnTo>
                      <a:lnTo>
                        <a:pt x="3080418" y="336831"/>
                      </a:lnTo>
                      <a:lnTo>
                        <a:pt x="3081629" y="340164"/>
                      </a:lnTo>
                      <a:lnTo>
                        <a:pt x="3072083" y="340315"/>
                      </a:lnTo>
                      <a:lnTo>
                        <a:pt x="3063598" y="342588"/>
                      </a:lnTo>
                      <a:lnTo>
                        <a:pt x="3060568" y="342588"/>
                      </a:lnTo>
                      <a:lnTo>
                        <a:pt x="3054961" y="336831"/>
                      </a:lnTo>
                      <a:lnTo>
                        <a:pt x="3048749" y="333194"/>
                      </a:lnTo>
                      <a:lnTo>
                        <a:pt x="3045719" y="332891"/>
                      </a:lnTo>
                      <a:lnTo>
                        <a:pt x="3041779" y="336527"/>
                      </a:lnTo>
                      <a:lnTo>
                        <a:pt x="3036173" y="334558"/>
                      </a:lnTo>
                      <a:lnTo>
                        <a:pt x="3033749" y="334861"/>
                      </a:lnTo>
                      <a:lnTo>
                        <a:pt x="3030718" y="336376"/>
                      </a:lnTo>
                      <a:lnTo>
                        <a:pt x="3028749" y="338497"/>
                      </a:lnTo>
                      <a:lnTo>
                        <a:pt x="3027234" y="341528"/>
                      </a:lnTo>
                      <a:lnTo>
                        <a:pt x="3025416" y="343346"/>
                      </a:lnTo>
                      <a:lnTo>
                        <a:pt x="3025112" y="345619"/>
                      </a:lnTo>
                      <a:lnTo>
                        <a:pt x="3027991" y="346679"/>
                      </a:lnTo>
                      <a:lnTo>
                        <a:pt x="3030113" y="346831"/>
                      </a:lnTo>
                      <a:lnTo>
                        <a:pt x="3036021" y="348498"/>
                      </a:lnTo>
                      <a:lnTo>
                        <a:pt x="3029961" y="349407"/>
                      </a:lnTo>
                      <a:lnTo>
                        <a:pt x="3028294" y="350619"/>
                      </a:lnTo>
                      <a:lnTo>
                        <a:pt x="3027688" y="351831"/>
                      </a:lnTo>
                      <a:lnTo>
                        <a:pt x="3023142" y="353498"/>
                      </a:lnTo>
                      <a:lnTo>
                        <a:pt x="3024657" y="355164"/>
                      </a:lnTo>
                      <a:lnTo>
                        <a:pt x="3026627" y="356528"/>
                      </a:lnTo>
                      <a:lnTo>
                        <a:pt x="3027234" y="357740"/>
                      </a:lnTo>
                      <a:lnTo>
                        <a:pt x="3025718" y="358195"/>
                      </a:lnTo>
                      <a:lnTo>
                        <a:pt x="3021930" y="356680"/>
                      </a:lnTo>
                      <a:lnTo>
                        <a:pt x="3017839" y="354407"/>
                      </a:lnTo>
                      <a:lnTo>
                        <a:pt x="3011475" y="349861"/>
                      </a:lnTo>
                      <a:lnTo>
                        <a:pt x="3008748" y="346831"/>
                      </a:lnTo>
                      <a:lnTo>
                        <a:pt x="3003293" y="343952"/>
                      </a:lnTo>
                      <a:lnTo>
                        <a:pt x="2983747" y="336224"/>
                      </a:lnTo>
                      <a:lnTo>
                        <a:pt x="2975111" y="333649"/>
                      </a:lnTo>
                      <a:lnTo>
                        <a:pt x="2969504" y="333042"/>
                      </a:lnTo>
                      <a:lnTo>
                        <a:pt x="2960564" y="334103"/>
                      </a:lnTo>
                      <a:lnTo>
                        <a:pt x="2955110" y="337588"/>
                      </a:lnTo>
                      <a:lnTo>
                        <a:pt x="2945867" y="338952"/>
                      </a:lnTo>
                      <a:lnTo>
                        <a:pt x="2940261" y="341679"/>
                      </a:lnTo>
                      <a:lnTo>
                        <a:pt x="2937230" y="345467"/>
                      </a:lnTo>
                      <a:lnTo>
                        <a:pt x="2920714" y="345922"/>
                      </a:lnTo>
                      <a:lnTo>
                        <a:pt x="2909502" y="343043"/>
                      </a:lnTo>
                      <a:lnTo>
                        <a:pt x="2902229" y="340164"/>
                      </a:lnTo>
                      <a:lnTo>
                        <a:pt x="2894198" y="334406"/>
                      </a:lnTo>
                      <a:lnTo>
                        <a:pt x="2886168" y="326830"/>
                      </a:lnTo>
                      <a:lnTo>
                        <a:pt x="2885259" y="326072"/>
                      </a:lnTo>
                      <a:lnTo>
                        <a:pt x="2884350" y="324557"/>
                      </a:lnTo>
                      <a:lnTo>
                        <a:pt x="2882834" y="320921"/>
                      </a:lnTo>
                      <a:lnTo>
                        <a:pt x="2881167" y="318042"/>
                      </a:lnTo>
                      <a:lnTo>
                        <a:pt x="2878592" y="319557"/>
                      </a:lnTo>
                      <a:lnTo>
                        <a:pt x="2872227" y="328194"/>
                      </a:lnTo>
                      <a:lnTo>
                        <a:pt x="2869500" y="332436"/>
                      </a:lnTo>
                      <a:lnTo>
                        <a:pt x="2866015" y="340619"/>
                      </a:lnTo>
                      <a:lnTo>
                        <a:pt x="2863288" y="347285"/>
                      </a:lnTo>
                      <a:lnTo>
                        <a:pt x="2862985" y="350164"/>
                      </a:lnTo>
                      <a:lnTo>
                        <a:pt x="2864197" y="352740"/>
                      </a:lnTo>
                      <a:lnTo>
                        <a:pt x="2860713" y="354710"/>
                      </a:lnTo>
                      <a:lnTo>
                        <a:pt x="2856925" y="359862"/>
                      </a:lnTo>
                      <a:lnTo>
                        <a:pt x="2851318" y="369862"/>
                      </a:lnTo>
                      <a:lnTo>
                        <a:pt x="2847681" y="373498"/>
                      </a:lnTo>
                      <a:lnTo>
                        <a:pt x="2843287" y="376680"/>
                      </a:lnTo>
                      <a:lnTo>
                        <a:pt x="2840257" y="377741"/>
                      </a:lnTo>
                      <a:lnTo>
                        <a:pt x="2836469" y="377590"/>
                      </a:lnTo>
                      <a:lnTo>
                        <a:pt x="2833136" y="374711"/>
                      </a:lnTo>
                      <a:lnTo>
                        <a:pt x="2831317" y="368195"/>
                      </a:lnTo>
                      <a:lnTo>
                        <a:pt x="2829196" y="366832"/>
                      </a:lnTo>
                      <a:lnTo>
                        <a:pt x="2826771" y="370468"/>
                      </a:lnTo>
                      <a:lnTo>
                        <a:pt x="2823286" y="370317"/>
                      </a:lnTo>
                      <a:lnTo>
                        <a:pt x="2816165" y="367589"/>
                      </a:lnTo>
                      <a:lnTo>
                        <a:pt x="2809195" y="361680"/>
                      </a:lnTo>
                      <a:lnTo>
                        <a:pt x="2802074" y="358953"/>
                      </a:lnTo>
                      <a:lnTo>
                        <a:pt x="2791770" y="344558"/>
                      </a:lnTo>
                      <a:lnTo>
                        <a:pt x="2787376" y="339255"/>
                      </a:lnTo>
                      <a:lnTo>
                        <a:pt x="2784800" y="335012"/>
                      </a:lnTo>
                      <a:lnTo>
                        <a:pt x="2779043" y="334558"/>
                      </a:lnTo>
                      <a:lnTo>
                        <a:pt x="2776921" y="331376"/>
                      </a:lnTo>
                      <a:lnTo>
                        <a:pt x="2779800" y="329254"/>
                      </a:lnTo>
                      <a:lnTo>
                        <a:pt x="2787528" y="327285"/>
                      </a:lnTo>
                      <a:lnTo>
                        <a:pt x="2793740" y="327588"/>
                      </a:lnTo>
                      <a:lnTo>
                        <a:pt x="2789194" y="321981"/>
                      </a:lnTo>
                      <a:lnTo>
                        <a:pt x="2786922" y="318496"/>
                      </a:lnTo>
                      <a:lnTo>
                        <a:pt x="2784497" y="316678"/>
                      </a:lnTo>
                      <a:lnTo>
                        <a:pt x="2785406" y="320466"/>
                      </a:lnTo>
                      <a:lnTo>
                        <a:pt x="2784345" y="323194"/>
                      </a:lnTo>
                      <a:lnTo>
                        <a:pt x="2782224" y="325315"/>
                      </a:lnTo>
                      <a:lnTo>
                        <a:pt x="2778739" y="326830"/>
                      </a:lnTo>
                      <a:lnTo>
                        <a:pt x="2763587" y="309708"/>
                      </a:lnTo>
                      <a:lnTo>
                        <a:pt x="2754496" y="301375"/>
                      </a:lnTo>
                      <a:lnTo>
                        <a:pt x="2749496" y="298496"/>
                      </a:lnTo>
                      <a:lnTo>
                        <a:pt x="2746314" y="293041"/>
                      </a:lnTo>
                      <a:lnTo>
                        <a:pt x="2748435" y="291980"/>
                      </a:lnTo>
                      <a:lnTo>
                        <a:pt x="2759193" y="298344"/>
                      </a:lnTo>
                      <a:lnTo>
                        <a:pt x="2766769" y="301678"/>
                      </a:lnTo>
                      <a:lnTo>
                        <a:pt x="2779346" y="310163"/>
                      </a:lnTo>
                      <a:lnTo>
                        <a:pt x="2788891" y="309557"/>
                      </a:lnTo>
                      <a:lnTo>
                        <a:pt x="2792377" y="305769"/>
                      </a:lnTo>
                      <a:lnTo>
                        <a:pt x="2792377" y="298041"/>
                      </a:lnTo>
                      <a:lnTo>
                        <a:pt x="2788891" y="291677"/>
                      </a:lnTo>
                      <a:lnTo>
                        <a:pt x="2784345" y="289253"/>
                      </a:lnTo>
                      <a:lnTo>
                        <a:pt x="2768891" y="288798"/>
                      </a:lnTo>
                      <a:lnTo>
                        <a:pt x="2765254" y="286677"/>
                      </a:lnTo>
                      <a:lnTo>
                        <a:pt x="2767679" y="286071"/>
                      </a:lnTo>
                      <a:lnTo>
                        <a:pt x="2771163" y="285920"/>
                      </a:lnTo>
                      <a:lnTo>
                        <a:pt x="2776164" y="284101"/>
                      </a:lnTo>
                      <a:lnTo>
                        <a:pt x="2784345" y="279404"/>
                      </a:lnTo>
                      <a:lnTo>
                        <a:pt x="2787982" y="277889"/>
                      </a:lnTo>
                      <a:lnTo>
                        <a:pt x="2787376" y="274252"/>
                      </a:lnTo>
                      <a:lnTo>
                        <a:pt x="2781618" y="269101"/>
                      </a:lnTo>
                      <a:lnTo>
                        <a:pt x="2772224" y="268495"/>
                      </a:lnTo>
                      <a:lnTo>
                        <a:pt x="2770254" y="268040"/>
                      </a:lnTo>
                      <a:lnTo>
                        <a:pt x="2773890" y="265464"/>
                      </a:lnTo>
                      <a:lnTo>
                        <a:pt x="2777224" y="263949"/>
                      </a:lnTo>
                      <a:lnTo>
                        <a:pt x="2782679" y="260161"/>
                      </a:lnTo>
                      <a:lnTo>
                        <a:pt x="2783891" y="256525"/>
                      </a:lnTo>
                      <a:lnTo>
                        <a:pt x="2782831" y="256828"/>
                      </a:lnTo>
                      <a:lnTo>
                        <a:pt x="2778739" y="256676"/>
                      </a:lnTo>
                      <a:lnTo>
                        <a:pt x="2777679" y="255161"/>
                      </a:lnTo>
                      <a:lnTo>
                        <a:pt x="2778134" y="252433"/>
                      </a:lnTo>
                      <a:lnTo>
                        <a:pt x="2773739" y="250161"/>
                      </a:lnTo>
                      <a:lnTo>
                        <a:pt x="2769800" y="248645"/>
                      </a:lnTo>
                      <a:lnTo>
                        <a:pt x="2760860" y="248494"/>
                      </a:lnTo>
                      <a:lnTo>
                        <a:pt x="2761012" y="246676"/>
                      </a:lnTo>
                      <a:lnTo>
                        <a:pt x="2761466" y="245160"/>
                      </a:lnTo>
                      <a:lnTo>
                        <a:pt x="2757678" y="243948"/>
                      </a:lnTo>
                      <a:lnTo>
                        <a:pt x="2754496" y="241979"/>
                      </a:lnTo>
                      <a:lnTo>
                        <a:pt x="2753739" y="240009"/>
                      </a:lnTo>
                      <a:lnTo>
                        <a:pt x="2752526" y="239100"/>
                      </a:lnTo>
                      <a:lnTo>
                        <a:pt x="2746769" y="237130"/>
                      </a:lnTo>
                      <a:lnTo>
                        <a:pt x="2727374" y="233645"/>
                      </a:lnTo>
                      <a:lnTo>
                        <a:pt x="2725253" y="234706"/>
                      </a:lnTo>
                      <a:lnTo>
                        <a:pt x="2722071" y="239554"/>
                      </a:lnTo>
                      <a:lnTo>
                        <a:pt x="2714191" y="244857"/>
                      </a:lnTo>
                      <a:lnTo>
                        <a:pt x="2708283" y="241979"/>
                      </a:lnTo>
                      <a:lnTo>
                        <a:pt x="2707070" y="241675"/>
                      </a:lnTo>
                      <a:lnTo>
                        <a:pt x="2706161" y="240463"/>
                      </a:lnTo>
                      <a:lnTo>
                        <a:pt x="2707524" y="238039"/>
                      </a:lnTo>
                      <a:lnTo>
                        <a:pt x="2708585" y="235766"/>
                      </a:lnTo>
                      <a:lnTo>
                        <a:pt x="2707222" y="234251"/>
                      </a:lnTo>
                      <a:lnTo>
                        <a:pt x="2706009" y="233645"/>
                      </a:lnTo>
                      <a:lnTo>
                        <a:pt x="2702070" y="235160"/>
                      </a:lnTo>
                      <a:lnTo>
                        <a:pt x="2696010" y="236221"/>
                      </a:lnTo>
                      <a:lnTo>
                        <a:pt x="2693433" y="237887"/>
                      </a:lnTo>
                      <a:lnTo>
                        <a:pt x="2688130" y="238948"/>
                      </a:lnTo>
                      <a:lnTo>
                        <a:pt x="2688584" y="235009"/>
                      </a:lnTo>
                      <a:lnTo>
                        <a:pt x="2666159" y="224857"/>
                      </a:lnTo>
                      <a:lnTo>
                        <a:pt x="2659189" y="222735"/>
                      </a:lnTo>
                      <a:lnTo>
                        <a:pt x="2654947" y="222584"/>
                      </a:lnTo>
                      <a:lnTo>
                        <a:pt x="2644946" y="224857"/>
                      </a:lnTo>
                      <a:lnTo>
                        <a:pt x="2642522" y="226069"/>
                      </a:lnTo>
                      <a:lnTo>
                        <a:pt x="2638734" y="229402"/>
                      </a:lnTo>
                      <a:lnTo>
                        <a:pt x="2630401" y="227281"/>
                      </a:lnTo>
                      <a:lnTo>
                        <a:pt x="2628431" y="228948"/>
                      </a:lnTo>
                      <a:lnTo>
                        <a:pt x="2625400" y="234402"/>
                      </a:lnTo>
                      <a:lnTo>
                        <a:pt x="2625855" y="239857"/>
                      </a:lnTo>
                      <a:lnTo>
                        <a:pt x="2626764" y="241372"/>
                      </a:lnTo>
                      <a:lnTo>
                        <a:pt x="2627522" y="244251"/>
                      </a:lnTo>
                      <a:lnTo>
                        <a:pt x="2630703" y="248797"/>
                      </a:lnTo>
                      <a:lnTo>
                        <a:pt x="2634037" y="252282"/>
                      </a:lnTo>
                      <a:lnTo>
                        <a:pt x="2632673" y="253191"/>
                      </a:lnTo>
                      <a:lnTo>
                        <a:pt x="2631310" y="253343"/>
                      </a:lnTo>
                      <a:lnTo>
                        <a:pt x="2629643" y="254858"/>
                      </a:lnTo>
                      <a:lnTo>
                        <a:pt x="2628128" y="258040"/>
                      </a:lnTo>
                      <a:lnTo>
                        <a:pt x="2625249" y="262434"/>
                      </a:lnTo>
                      <a:lnTo>
                        <a:pt x="2621461" y="264858"/>
                      </a:lnTo>
                      <a:lnTo>
                        <a:pt x="2616915" y="264404"/>
                      </a:lnTo>
                      <a:lnTo>
                        <a:pt x="2606460" y="261070"/>
                      </a:lnTo>
                      <a:lnTo>
                        <a:pt x="2604036" y="261676"/>
                      </a:lnTo>
                      <a:lnTo>
                        <a:pt x="2603430" y="263949"/>
                      </a:lnTo>
                      <a:lnTo>
                        <a:pt x="2609642" y="266070"/>
                      </a:lnTo>
                      <a:lnTo>
                        <a:pt x="2610248" y="267434"/>
                      </a:lnTo>
                      <a:lnTo>
                        <a:pt x="2608582" y="268192"/>
                      </a:lnTo>
                      <a:lnTo>
                        <a:pt x="2604339" y="268949"/>
                      </a:lnTo>
                      <a:lnTo>
                        <a:pt x="2596763" y="268798"/>
                      </a:lnTo>
                      <a:lnTo>
                        <a:pt x="2590399" y="267889"/>
                      </a:lnTo>
                      <a:lnTo>
                        <a:pt x="2586459" y="264555"/>
                      </a:lnTo>
                      <a:lnTo>
                        <a:pt x="2582671" y="264101"/>
                      </a:lnTo>
                      <a:lnTo>
                        <a:pt x="2571914" y="263949"/>
                      </a:lnTo>
                      <a:lnTo>
                        <a:pt x="2562216" y="265767"/>
                      </a:lnTo>
                      <a:lnTo>
                        <a:pt x="2551306" y="263494"/>
                      </a:lnTo>
                      <a:lnTo>
                        <a:pt x="2532821" y="263949"/>
                      </a:lnTo>
                      <a:lnTo>
                        <a:pt x="2528124" y="263646"/>
                      </a:lnTo>
                      <a:lnTo>
                        <a:pt x="2519184" y="259100"/>
                      </a:lnTo>
                      <a:lnTo>
                        <a:pt x="2506457" y="256373"/>
                      </a:lnTo>
                      <a:lnTo>
                        <a:pt x="2491911" y="249555"/>
                      </a:lnTo>
                      <a:lnTo>
                        <a:pt x="2490546" y="243191"/>
                      </a:lnTo>
                      <a:lnTo>
                        <a:pt x="2492668" y="238039"/>
                      </a:lnTo>
                      <a:lnTo>
                        <a:pt x="2500851" y="238039"/>
                      </a:lnTo>
                      <a:lnTo>
                        <a:pt x="2505850" y="237130"/>
                      </a:lnTo>
                      <a:lnTo>
                        <a:pt x="2505093" y="235160"/>
                      </a:lnTo>
                      <a:lnTo>
                        <a:pt x="2504032" y="234099"/>
                      </a:lnTo>
                      <a:lnTo>
                        <a:pt x="2492516" y="231372"/>
                      </a:lnTo>
                      <a:lnTo>
                        <a:pt x="2461303" y="230918"/>
                      </a:lnTo>
                      <a:lnTo>
                        <a:pt x="2439030" y="226826"/>
                      </a:lnTo>
                      <a:lnTo>
                        <a:pt x="2407362" y="225311"/>
                      </a:lnTo>
                      <a:lnTo>
                        <a:pt x="2393119" y="230463"/>
                      </a:lnTo>
                      <a:lnTo>
                        <a:pt x="2372361" y="231675"/>
                      </a:lnTo>
                      <a:lnTo>
                        <a:pt x="2366906" y="234402"/>
                      </a:lnTo>
                      <a:lnTo>
                        <a:pt x="2357360" y="235918"/>
                      </a:lnTo>
                      <a:lnTo>
                        <a:pt x="2358118" y="239706"/>
                      </a:lnTo>
                      <a:lnTo>
                        <a:pt x="2362815" y="242585"/>
                      </a:lnTo>
                      <a:lnTo>
                        <a:pt x="2365088" y="243191"/>
                      </a:lnTo>
                      <a:lnTo>
                        <a:pt x="2367663" y="244251"/>
                      </a:lnTo>
                      <a:lnTo>
                        <a:pt x="2366149" y="245312"/>
                      </a:lnTo>
                      <a:lnTo>
                        <a:pt x="2364330" y="245767"/>
                      </a:lnTo>
                      <a:lnTo>
                        <a:pt x="2360845" y="248039"/>
                      </a:lnTo>
                      <a:lnTo>
                        <a:pt x="2358724" y="250312"/>
                      </a:lnTo>
                      <a:lnTo>
                        <a:pt x="2359330" y="255009"/>
                      </a:lnTo>
                      <a:lnTo>
                        <a:pt x="2358269" y="259706"/>
                      </a:lnTo>
                      <a:lnTo>
                        <a:pt x="2354784" y="266070"/>
                      </a:lnTo>
                      <a:lnTo>
                        <a:pt x="2351906" y="268798"/>
                      </a:lnTo>
                      <a:lnTo>
                        <a:pt x="2349329" y="272586"/>
                      </a:lnTo>
                      <a:lnTo>
                        <a:pt x="2351602" y="276071"/>
                      </a:lnTo>
                      <a:lnTo>
                        <a:pt x="2354027" y="277586"/>
                      </a:lnTo>
                      <a:lnTo>
                        <a:pt x="2360694" y="279404"/>
                      </a:lnTo>
                      <a:lnTo>
                        <a:pt x="2362815" y="280465"/>
                      </a:lnTo>
                      <a:lnTo>
                        <a:pt x="2361603" y="281525"/>
                      </a:lnTo>
                      <a:lnTo>
                        <a:pt x="2351906" y="280313"/>
                      </a:lnTo>
                      <a:lnTo>
                        <a:pt x="2348420" y="276525"/>
                      </a:lnTo>
                      <a:lnTo>
                        <a:pt x="2347663" y="274555"/>
                      </a:lnTo>
                      <a:lnTo>
                        <a:pt x="2346905" y="271374"/>
                      </a:lnTo>
                      <a:lnTo>
                        <a:pt x="2350087" y="267889"/>
                      </a:lnTo>
                      <a:lnTo>
                        <a:pt x="2353572" y="265464"/>
                      </a:lnTo>
                      <a:lnTo>
                        <a:pt x="2356451" y="260010"/>
                      </a:lnTo>
                      <a:lnTo>
                        <a:pt x="2356754" y="254858"/>
                      </a:lnTo>
                      <a:lnTo>
                        <a:pt x="2356754" y="244251"/>
                      </a:lnTo>
                      <a:lnTo>
                        <a:pt x="2350996" y="241827"/>
                      </a:lnTo>
                      <a:lnTo>
                        <a:pt x="2347663" y="238342"/>
                      </a:lnTo>
                      <a:lnTo>
                        <a:pt x="2353421" y="231827"/>
                      </a:lnTo>
                      <a:lnTo>
                        <a:pt x="2354784" y="228342"/>
                      </a:lnTo>
                      <a:lnTo>
                        <a:pt x="2352360" y="225160"/>
                      </a:lnTo>
                      <a:lnTo>
                        <a:pt x="2348420" y="218190"/>
                      </a:lnTo>
                      <a:lnTo>
                        <a:pt x="2344329" y="214099"/>
                      </a:lnTo>
                      <a:lnTo>
                        <a:pt x="2341602" y="212432"/>
                      </a:lnTo>
                      <a:lnTo>
                        <a:pt x="2338874" y="211523"/>
                      </a:lnTo>
                      <a:lnTo>
                        <a:pt x="2341753" y="218341"/>
                      </a:lnTo>
                      <a:lnTo>
                        <a:pt x="2339481" y="221675"/>
                      </a:lnTo>
                      <a:lnTo>
                        <a:pt x="2337814" y="223038"/>
                      </a:lnTo>
                      <a:lnTo>
                        <a:pt x="2326905" y="224857"/>
                      </a:lnTo>
                      <a:lnTo>
                        <a:pt x="2320086" y="225008"/>
                      </a:lnTo>
                      <a:lnTo>
                        <a:pt x="2310692" y="223038"/>
                      </a:lnTo>
                      <a:lnTo>
                        <a:pt x="2299631" y="218644"/>
                      </a:lnTo>
                      <a:lnTo>
                        <a:pt x="2296903" y="215614"/>
                      </a:lnTo>
                      <a:lnTo>
                        <a:pt x="2294934" y="211220"/>
                      </a:lnTo>
                      <a:lnTo>
                        <a:pt x="2301298" y="209250"/>
                      </a:lnTo>
                      <a:lnTo>
                        <a:pt x="2303722" y="208038"/>
                      </a:lnTo>
                      <a:lnTo>
                        <a:pt x="2297964" y="206977"/>
                      </a:lnTo>
                      <a:lnTo>
                        <a:pt x="2292206" y="206674"/>
                      </a:lnTo>
                      <a:lnTo>
                        <a:pt x="2290236" y="212735"/>
                      </a:lnTo>
                      <a:lnTo>
                        <a:pt x="2286448" y="212280"/>
                      </a:lnTo>
                      <a:lnTo>
                        <a:pt x="2268417" y="208492"/>
                      </a:lnTo>
                      <a:lnTo>
                        <a:pt x="2263569" y="209856"/>
                      </a:lnTo>
                      <a:lnTo>
                        <a:pt x="2257660" y="213190"/>
                      </a:lnTo>
                      <a:lnTo>
                        <a:pt x="2255084" y="215917"/>
                      </a:lnTo>
                      <a:lnTo>
                        <a:pt x="2252205" y="220160"/>
                      </a:lnTo>
                      <a:lnTo>
                        <a:pt x="2253265" y="223190"/>
                      </a:lnTo>
                      <a:lnTo>
                        <a:pt x="2254478" y="224251"/>
                      </a:lnTo>
                      <a:lnTo>
                        <a:pt x="2263872" y="225008"/>
                      </a:lnTo>
                      <a:lnTo>
                        <a:pt x="2271903" y="224099"/>
                      </a:lnTo>
                      <a:lnTo>
                        <a:pt x="2281145" y="221220"/>
                      </a:lnTo>
                      <a:lnTo>
                        <a:pt x="2283115" y="222281"/>
                      </a:lnTo>
                      <a:lnTo>
                        <a:pt x="2285085" y="223948"/>
                      </a:lnTo>
                      <a:lnTo>
                        <a:pt x="2282509" y="226069"/>
                      </a:lnTo>
                      <a:lnTo>
                        <a:pt x="2273115" y="229251"/>
                      </a:lnTo>
                      <a:lnTo>
                        <a:pt x="2257356" y="237584"/>
                      </a:lnTo>
                      <a:lnTo>
                        <a:pt x="2251447" y="238645"/>
                      </a:lnTo>
                      <a:lnTo>
                        <a:pt x="2242962" y="236827"/>
                      </a:lnTo>
                      <a:lnTo>
                        <a:pt x="2238416" y="241524"/>
                      </a:lnTo>
                      <a:lnTo>
                        <a:pt x="2236447" y="242585"/>
                      </a:lnTo>
                      <a:lnTo>
                        <a:pt x="2222355" y="245767"/>
                      </a:lnTo>
                      <a:lnTo>
                        <a:pt x="2216143" y="246221"/>
                      </a:lnTo>
                      <a:lnTo>
                        <a:pt x="2214324" y="248494"/>
                      </a:lnTo>
                      <a:lnTo>
                        <a:pt x="2210688" y="248949"/>
                      </a:lnTo>
                      <a:lnTo>
                        <a:pt x="2206597" y="250161"/>
                      </a:lnTo>
                      <a:lnTo>
                        <a:pt x="2199779" y="253343"/>
                      </a:lnTo>
                      <a:lnTo>
                        <a:pt x="2189324" y="253949"/>
                      </a:lnTo>
                      <a:lnTo>
                        <a:pt x="2182202" y="253191"/>
                      </a:lnTo>
                      <a:lnTo>
                        <a:pt x="2164929" y="255161"/>
                      </a:lnTo>
                      <a:lnTo>
                        <a:pt x="2160535" y="256979"/>
                      </a:lnTo>
                      <a:lnTo>
                        <a:pt x="2157656" y="259252"/>
                      </a:lnTo>
                      <a:lnTo>
                        <a:pt x="2156292" y="262434"/>
                      </a:lnTo>
                      <a:lnTo>
                        <a:pt x="2153716" y="265161"/>
                      </a:lnTo>
                      <a:lnTo>
                        <a:pt x="2143867" y="271071"/>
                      </a:lnTo>
                      <a:lnTo>
                        <a:pt x="2135534" y="273495"/>
                      </a:lnTo>
                      <a:lnTo>
                        <a:pt x="2128412" y="274101"/>
                      </a:lnTo>
                      <a:lnTo>
                        <a:pt x="2135231" y="270767"/>
                      </a:lnTo>
                      <a:lnTo>
                        <a:pt x="2143110" y="264555"/>
                      </a:lnTo>
                      <a:lnTo>
                        <a:pt x="2157050" y="246221"/>
                      </a:lnTo>
                      <a:lnTo>
                        <a:pt x="2170383" y="245160"/>
                      </a:lnTo>
                      <a:lnTo>
                        <a:pt x="2173565" y="242736"/>
                      </a:lnTo>
                      <a:lnTo>
                        <a:pt x="2183869" y="231372"/>
                      </a:lnTo>
                      <a:lnTo>
                        <a:pt x="2186596" y="229705"/>
                      </a:lnTo>
                      <a:lnTo>
                        <a:pt x="2200233" y="229554"/>
                      </a:lnTo>
                      <a:lnTo>
                        <a:pt x="2212052" y="225766"/>
                      </a:lnTo>
                      <a:lnTo>
                        <a:pt x="2235992" y="207735"/>
                      </a:lnTo>
                      <a:lnTo>
                        <a:pt x="2247962" y="204704"/>
                      </a:lnTo>
                      <a:lnTo>
                        <a:pt x="2256144" y="200462"/>
                      </a:lnTo>
                      <a:lnTo>
                        <a:pt x="2257660" y="198341"/>
                      </a:lnTo>
                      <a:lnTo>
                        <a:pt x="2258872" y="195462"/>
                      </a:lnTo>
                      <a:lnTo>
                        <a:pt x="2257660" y="193795"/>
                      </a:lnTo>
                      <a:lnTo>
                        <a:pt x="2256902" y="192128"/>
                      </a:lnTo>
                      <a:lnTo>
                        <a:pt x="2267508" y="189098"/>
                      </a:lnTo>
                      <a:lnTo>
                        <a:pt x="2271599" y="184401"/>
                      </a:lnTo>
                      <a:lnTo>
                        <a:pt x="2285691" y="179855"/>
                      </a:lnTo>
                      <a:lnTo>
                        <a:pt x="2296903" y="173946"/>
                      </a:lnTo>
                      <a:lnTo>
                        <a:pt x="2312358" y="169400"/>
                      </a:lnTo>
                      <a:lnTo>
                        <a:pt x="2321298" y="163339"/>
                      </a:lnTo>
                      <a:lnTo>
                        <a:pt x="2341299" y="154400"/>
                      </a:lnTo>
                      <a:lnTo>
                        <a:pt x="2360239" y="139096"/>
                      </a:lnTo>
                      <a:lnTo>
                        <a:pt x="2363270" y="130308"/>
                      </a:lnTo>
                      <a:lnTo>
                        <a:pt x="2358724" y="127429"/>
                      </a:lnTo>
                      <a:lnTo>
                        <a:pt x="2353117" y="125762"/>
                      </a:lnTo>
                      <a:lnTo>
                        <a:pt x="2350087" y="121368"/>
                      </a:lnTo>
                      <a:lnTo>
                        <a:pt x="2347814" y="120914"/>
                      </a:lnTo>
                      <a:lnTo>
                        <a:pt x="2342208" y="123641"/>
                      </a:lnTo>
                      <a:lnTo>
                        <a:pt x="2335996" y="114398"/>
                      </a:lnTo>
                      <a:lnTo>
                        <a:pt x="2328420" y="109246"/>
                      </a:lnTo>
                      <a:lnTo>
                        <a:pt x="2328723" y="108489"/>
                      </a:lnTo>
                      <a:lnTo>
                        <a:pt x="2329632" y="108034"/>
                      </a:lnTo>
                      <a:lnTo>
                        <a:pt x="2333268" y="108943"/>
                      </a:lnTo>
                      <a:lnTo>
                        <a:pt x="2346905" y="116519"/>
                      </a:lnTo>
                      <a:lnTo>
                        <a:pt x="2354178" y="117732"/>
                      </a:lnTo>
                      <a:lnTo>
                        <a:pt x="2356299" y="118944"/>
                      </a:lnTo>
                      <a:lnTo>
                        <a:pt x="2357512" y="120762"/>
                      </a:lnTo>
                      <a:lnTo>
                        <a:pt x="2356754" y="124095"/>
                      </a:lnTo>
                      <a:lnTo>
                        <a:pt x="2358875" y="123792"/>
                      </a:lnTo>
                      <a:lnTo>
                        <a:pt x="2360391" y="122429"/>
                      </a:lnTo>
                      <a:lnTo>
                        <a:pt x="2363875" y="116216"/>
                      </a:lnTo>
                      <a:lnTo>
                        <a:pt x="2367209" y="107731"/>
                      </a:lnTo>
                      <a:lnTo>
                        <a:pt x="2366906" y="104095"/>
                      </a:lnTo>
                      <a:lnTo>
                        <a:pt x="2358875" y="105761"/>
                      </a:lnTo>
                      <a:lnTo>
                        <a:pt x="2355087" y="93337"/>
                      </a:lnTo>
                      <a:lnTo>
                        <a:pt x="2353421" y="89549"/>
                      </a:lnTo>
                      <a:lnTo>
                        <a:pt x="2350845" y="85458"/>
                      </a:lnTo>
                      <a:lnTo>
                        <a:pt x="2345693" y="85003"/>
                      </a:lnTo>
                      <a:lnTo>
                        <a:pt x="2343117" y="86064"/>
                      </a:lnTo>
                      <a:lnTo>
                        <a:pt x="2345239" y="87427"/>
                      </a:lnTo>
                      <a:lnTo>
                        <a:pt x="2347511" y="89852"/>
                      </a:lnTo>
                      <a:lnTo>
                        <a:pt x="2345996" y="92125"/>
                      </a:lnTo>
                      <a:lnTo>
                        <a:pt x="2344632" y="93185"/>
                      </a:lnTo>
                      <a:lnTo>
                        <a:pt x="2338420" y="96367"/>
                      </a:lnTo>
                      <a:lnTo>
                        <a:pt x="2334026" y="96670"/>
                      </a:lnTo>
                      <a:lnTo>
                        <a:pt x="2335844" y="95307"/>
                      </a:lnTo>
                      <a:lnTo>
                        <a:pt x="2337814" y="92276"/>
                      </a:lnTo>
                      <a:lnTo>
                        <a:pt x="2336299" y="89094"/>
                      </a:lnTo>
                      <a:lnTo>
                        <a:pt x="2334784" y="87276"/>
                      </a:lnTo>
                      <a:lnTo>
                        <a:pt x="2332965" y="77882"/>
                      </a:lnTo>
                      <a:lnTo>
                        <a:pt x="2327359" y="76518"/>
                      </a:lnTo>
                      <a:lnTo>
                        <a:pt x="2324177" y="75003"/>
                      </a:lnTo>
                      <a:lnTo>
                        <a:pt x="2319934" y="75609"/>
                      </a:lnTo>
                      <a:lnTo>
                        <a:pt x="2314480" y="78185"/>
                      </a:lnTo>
                      <a:lnTo>
                        <a:pt x="2316450" y="75912"/>
                      </a:lnTo>
                      <a:lnTo>
                        <a:pt x="2318571" y="72427"/>
                      </a:lnTo>
                      <a:lnTo>
                        <a:pt x="2314328" y="68336"/>
                      </a:lnTo>
                      <a:lnTo>
                        <a:pt x="2310237" y="65457"/>
                      </a:lnTo>
                      <a:lnTo>
                        <a:pt x="2305086" y="64396"/>
                      </a:lnTo>
                      <a:lnTo>
                        <a:pt x="2299479" y="60608"/>
                      </a:lnTo>
                      <a:lnTo>
                        <a:pt x="2291752" y="58639"/>
                      </a:lnTo>
                      <a:lnTo>
                        <a:pt x="2274175" y="56517"/>
                      </a:lnTo>
                      <a:lnTo>
                        <a:pt x="2260841" y="59245"/>
                      </a:lnTo>
                      <a:lnTo>
                        <a:pt x="2244023" y="57123"/>
                      </a:lnTo>
                      <a:lnTo>
                        <a:pt x="2224022" y="58790"/>
                      </a:lnTo>
                      <a:lnTo>
                        <a:pt x="2216294" y="58790"/>
                      </a:lnTo>
                      <a:lnTo>
                        <a:pt x="2211597" y="57729"/>
                      </a:lnTo>
                      <a:lnTo>
                        <a:pt x="2207355" y="58790"/>
                      </a:lnTo>
                      <a:lnTo>
                        <a:pt x="2205234" y="62123"/>
                      </a:lnTo>
                      <a:lnTo>
                        <a:pt x="2203869" y="67275"/>
                      </a:lnTo>
                      <a:lnTo>
                        <a:pt x="2199021" y="70003"/>
                      </a:lnTo>
                      <a:lnTo>
                        <a:pt x="2196293" y="70760"/>
                      </a:lnTo>
                      <a:lnTo>
                        <a:pt x="2183566" y="70003"/>
                      </a:lnTo>
                      <a:lnTo>
                        <a:pt x="2174474" y="72427"/>
                      </a:lnTo>
                      <a:lnTo>
                        <a:pt x="2170535" y="70457"/>
                      </a:lnTo>
                      <a:lnTo>
                        <a:pt x="2163110" y="70609"/>
                      </a:lnTo>
                      <a:lnTo>
                        <a:pt x="2162353" y="66215"/>
                      </a:lnTo>
                      <a:lnTo>
                        <a:pt x="2166747" y="66366"/>
                      </a:lnTo>
                      <a:lnTo>
                        <a:pt x="2169323" y="67124"/>
                      </a:lnTo>
                      <a:lnTo>
                        <a:pt x="2177657" y="58184"/>
                      </a:lnTo>
                      <a:lnTo>
                        <a:pt x="2184475" y="52881"/>
                      </a:lnTo>
                      <a:lnTo>
                        <a:pt x="2190991" y="46820"/>
                      </a:lnTo>
                      <a:lnTo>
                        <a:pt x="2186899" y="43183"/>
                      </a:lnTo>
                      <a:lnTo>
                        <a:pt x="2177657" y="40608"/>
                      </a:lnTo>
                      <a:lnTo>
                        <a:pt x="2173262" y="40759"/>
                      </a:lnTo>
                      <a:lnTo>
                        <a:pt x="2171141" y="41820"/>
                      </a:lnTo>
                      <a:lnTo>
                        <a:pt x="2161141" y="39850"/>
                      </a:lnTo>
                      <a:lnTo>
                        <a:pt x="2155838" y="40001"/>
                      </a:lnTo>
                      <a:lnTo>
                        <a:pt x="2147049" y="42729"/>
                      </a:lnTo>
                      <a:lnTo>
                        <a:pt x="2144019" y="42577"/>
                      </a:lnTo>
                      <a:lnTo>
                        <a:pt x="2142201" y="36820"/>
                      </a:lnTo>
                      <a:lnTo>
                        <a:pt x="2133261" y="37274"/>
                      </a:lnTo>
                      <a:lnTo>
                        <a:pt x="2102654" y="36820"/>
                      </a:lnTo>
                      <a:lnTo>
                        <a:pt x="2105987" y="35001"/>
                      </a:lnTo>
                      <a:lnTo>
                        <a:pt x="2122048" y="32577"/>
                      </a:lnTo>
                      <a:lnTo>
                        <a:pt x="2135079" y="28789"/>
                      </a:lnTo>
                      <a:lnTo>
                        <a:pt x="2144625" y="22274"/>
                      </a:lnTo>
                      <a:lnTo>
                        <a:pt x="2153565" y="20001"/>
                      </a:lnTo>
                      <a:lnTo>
                        <a:pt x="2151443" y="16667"/>
                      </a:lnTo>
                      <a:lnTo>
                        <a:pt x="2149019" y="14243"/>
                      </a:lnTo>
                      <a:lnTo>
                        <a:pt x="2143867" y="12122"/>
                      </a:lnTo>
                      <a:lnTo>
                        <a:pt x="2132958" y="10758"/>
                      </a:lnTo>
                      <a:lnTo>
                        <a:pt x="2123564" y="8031"/>
                      </a:lnTo>
                      <a:lnTo>
                        <a:pt x="2119473" y="4697"/>
                      </a:lnTo>
                      <a:lnTo>
                        <a:pt x="2102199" y="0"/>
                      </a:lnTo>
                      <a:lnTo>
                        <a:pt x="2097502" y="0"/>
                      </a:lnTo>
                      <a:lnTo>
                        <a:pt x="2085077" y="5909"/>
                      </a:lnTo>
                      <a:lnTo>
                        <a:pt x="2078865" y="5303"/>
                      </a:lnTo>
                      <a:lnTo>
                        <a:pt x="2073410" y="6212"/>
                      </a:lnTo>
                      <a:lnTo>
                        <a:pt x="2059167" y="13031"/>
                      </a:lnTo>
                      <a:lnTo>
                        <a:pt x="2029166" y="31213"/>
                      </a:lnTo>
                      <a:lnTo>
                        <a:pt x="2023105" y="36820"/>
                      </a:lnTo>
                      <a:lnTo>
                        <a:pt x="2020075" y="40911"/>
                      </a:lnTo>
                      <a:lnTo>
                        <a:pt x="2014772" y="43183"/>
                      </a:lnTo>
                      <a:lnTo>
                        <a:pt x="2012499" y="48335"/>
                      </a:lnTo>
                      <a:lnTo>
                        <a:pt x="2012954" y="52881"/>
                      </a:lnTo>
                      <a:lnTo>
                        <a:pt x="2015226" y="55154"/>
                      </a:lnTo>
                      <a:lnTo>
                        <a:pt x="2017802" y="59699"/>
                      </a:lnTo>
                      <a:lnTo>
                        <a:pt x="2015226" y="64699"/>
                      </a:lnTo>
                      <a:lnTo>
                        <a:pt x="2013105" y="68033"/>
                      </a:lnTo>
                      <a:lnTo>
                        <a:pt x="2015075" y="69548"/>
                      </a:lnTo>
                      <a:lnTo>
                        <a:pt x="2020832" y="69245"/>
                      </a:lnTo>
                      <a:lnTo>
                        <a:pt x="2033712" y="72124"/>
                      </a:lnTo>
                      <a:lnTo>
                        <a:pt x="2031439" y="74851"/>
                      </a:lnTo>
                      <a:lnTo>
                        <a:pt x="2023560" y="72578"/>
                      </a:lnTo>
                      <a:lnTo>
                        <a:pt x="2016742" y="72578"/>
                      </a:lnTo>
                      <a:lnTo>
                        <a:pt x="2010832" y="69851"/>
                      </a:lnTo>
                      <a:lnTo>
                        <a:pt x="1996589" y="72578"/>
                      </a:lnTo>
                      <a:lnTo>
                        <a:pt x="1985983" y="71972"/>
                      </a:lnTo>
                      <a:lnTo>
                        <a:pt x="1976134" y="72881"/>
                      </a:lnTo>
                      <a:lnTo>
                        <a:pt x="1956739" y="70760"/>
                      </a:lnTo>
                      <a:lnTo>
                        <a:pt x="1955073" y="72427"/>
                      </a:lnTo>
                      <a:lnTo>
                        <a:pt x="1959467" y="75306"/>
                      </a:lnTo>
                      <a:lnTo>
                        <a:pt x="1962951" y="77882"/>
                      </a:lnTo>
                      <a:lnTo>
                        <a:pt x="1972952" y="84094"/>
                      </a:lnTo>
                      <a:lnTo>
                        <a:pt x="1977194" y="86064"/>
                      </a:lnTo>
                      <a:lnTo>
                        <a:pt x="1982952" y="91973"/>
                      </a:lnTo>
                      <a:lnTo>
                        <a:pt x="1983710" y="103640"/>
                      </a:lnTo>
                      <a:lnTo>
                        <a:pt x="1980528" y="106368"/>
                      </a:lnTo>
                      <a:lnTo>
                        <a:pt x="1977043" y="110307"/>
                      </a:lnTo>
                      <a:lnTo>
                        <a:pt x="1975073" y="110913"/>
                      </a:lnTo>
                      <a:lnTo>
                        <a:pt x="1972497" y="110762"/>
                      </a:lnTo>
                      <a:lnTo>
                        <a:pt x="1976892" y="107883"/>
                      </a:lnTo>
                      <a:lnTo>
                        <a:pt x="1979164" y="102125"/>
                      </a:lnTo>
                      <a:lnTo>
                        <a:pt x="1981437" y="98034"/>
                      </a:lnTo>
                      <a:lnTo>
                        <a:pt x="1978558" y="95307"/>
                      </a:lnTo>
                      <a:lnTo>
                        <a:pt x="1977194" y="95003"/>
                      </a:lnTo>
                      <a:lnTo>
                        <a:pt x="1975679" y="93488"/>
                      </a:lnTo>
                      <a:lnTo>
                        <a:pt x="1965527" y="89549"/>
                      </a:lnTo>
                      <a:lnTo>
                        <a:pt x="1959921" y="87882"/>
                      </a:lnTo>
                      <a:lnTo>
                        <a:pt x="1954012" y="86973"/>
                      </a:lnTo>
                      <a:lnTo>
                        <a:pt x="1951133" y="85912"/>
                      </a:lnTo>
                      <a:lnTo>
                        <a:pt x="1942345" y="89397"/>
                      </a:lnTo>
                      <a:lnTo>
                        <a:pt x="1938253" y="90306"/>
                      </a:lnTo>
                      <a:lnTo>
                        <a:pt x="1933556" y="92125"/>
                      </a:lnTo>
                      <a:lnTo>
                        <a:pt x="1930677" y="94700"/>
                      </a:lnTo>
                      <a:lnTo>
                        <a:pt x="1924010" y="95307"/>
                      </a:lnTo>
                      <a:lnTo>
                        <a:pt x="1923101" y="98034"/>
                      </a:lnTo>
                      <a:lnTo>
                        <a:pt x="1919313" y="100761"/>
                      </a:lnTo>
                      <a:lnTo>
                        <a:pt x="1915222" y="97731"/>
                      </a:lnTo>
                      <a:lnTo>
                        <a:pt x="1911283" y="98640"/>
                      </a:lnTo>
                      <a:lnTo>
                        <a:pt x="1902343" y="103489"/>
                      </a:lnTo>
                      <a:lnTo>
                        <a:pt x="1891888" y="105761"/>
                      </a:lnTo>
                      <a:lnTo>
                        <a:pt x="1892949" y="104095"/>
                      </a:lnTo>
                      <a:lnTo>
                        <a:pt x="1894767" y="100155"/>
                      </a:lnTo>
                      <a:lnTo>
                        <a:pt x="1892192" y="99398"/>
                      </a:lnTo>
                      <a:lnTo>
                        <a:pt x="1876433" y="103792"/>
                      </a:lnTo>
                      <a:lnTo>
                        <a:pt x="1871282" y="106822"/>
                      </a:lnTo>
                      <a:lnTo>
                        <a:pt x="1868706" y="105761"/>
                      </a:lnTo>
                      <a:lnTo>
                        <a:pt x="1877949" y="99095"/>
                      </a:lnTo>
                      <a:lnTo>
                        <a:pt x="1880373" y="95003"/>
                      </a:lnTo>
                      <a:lnTo>
                        <a:pt x="1876130" y="93337"/>
                      </a:lnTo>
                      <a:lnTo>
                        <a:pt x="1866736" y="91973"/>
                      </a:lnTo>
                      <a:lnTo>
                        <a:pt x="1860675" y="91822"/>
                      </a:lnTo>
                      <a:lnTo>
                        <a:pt x="1851887" y="93185"/>
                      </a:lnTo>
                      <a:lnTo>
                        <a:pt x="1839310" y="91064"/>
                      </a:lnTo>
                      <a:lnTo>
                        <a:pt x="1837341" y="93488"/>
                      </a:lnTo>
                      <a:lnTo>
                        <a:pt x="1834159" y="93791"/>
                      </a:lnTo>
                      <a:lnTo>
                        <a:pt x="1826280" y="92731"/>
                      </a:lnTo>
                      <a:lnTo>
                        <a:pt x="1819310" y="93943"/>
                      </a:lnTo>
                      <a:lnTo>
                        <a:pt x="1813855" y="96670"/>
                      </a:lnTo>
                      <a:lnTo>
                        <a:pt x="1805976" y="93943"/>
                      </a:lnTo>
                      <a:lnTo>
                        <a:pt x="1803248" y="94094"/>
                      </a:lnTo>
                      <a:lnTo>
                        <a:pt x="1799006" y="98185"/>
                      </a:lnTo>
                      <a:lnTo>
                        <a:pt x="1795370" y="95458"/>
                      </a:lnTo>
                      <a:lnTo>
                        <a:pt x="1792339" y="100761"/>
                      </a:lnTo>
                      <a:lnTo>
                        <a:pt x="1793248" y="104701"/>
                      </a:lnTo>
                      <a:lnTo>
                        <a:pt x="1795824" y="105155"/>
                      </a:lnTo>
                      <a:lnTo>
                        <a:pt x="1798097" y="104549"/>
                      </a:lnTo>
                      <a:lnTo>
                        <a:pt x="1799309" y="102731"/>
                      </a:lnTo>
                      <a:lnTo>
                        <a:pt x="1801127" y="101973"/>
                      </a:lnTo>
                      <a:lnTo>
                        <a:pt x="1807340" y="105155"/>
                      </a:lnTo>
                      <a:lnTo>
                        <a:pt x="1809158" y="103489"/>
                      </a:lnTo>
                      <a:lnTo>
                        <a:pt x="1811885" y="102125"/>
                      </a:lnTo>
                      <a:lnTo>
                        <a:pt x="1814916" y="104095"/>
                      </a:lnTo>
                      <a:lnTo>
                        <a:pt x="1827795" y="101973"/>
                      </a:lnTo>
                      <a:lnTo>
                        <a:pt x="1825522" y="104549"/>
                      </a:lnTo>
                      <a:lnTo>
                        <a:pt x="1811279" y="107883"/>
                      </a:lnTo>
                      <a:lnTo>
                        <a:pt x="1785369" y="111974"/>
                      </a:lnTo>
                      <a:lnTo>
                        <a:pt x="1779915" y="113641"/>
                      </a:lnTo>
                      <a:lnTo>
                        <a:pt x="1764611" y="115156"/>
                      </a:lnTo>
                      <a:lnTo>
                        <a:pt x="1754610" y="119247"/>
                      </a:lnTo>
                      <a:lnTo>
                        <a:pt x="1741580" y="119247"/>
                      </a:lnTo>
                      <a:lnTo>
                        <a:pt x="1719155" y="122580"/>
                      </a:lnTo>
                      <a:lnTo>
                        <a:pt x="1702942" y="130005"/>
                      </a:lnTo>
                      <a:lnTo>
                        <a:pt x="1695215" y="129247"/>
                      </a:lnTo>
                      <a:lnTo>
                        <a:pt x="1679456" y="134853"/>
                      </a:lnTo>
                      <a:lnTo>
                        <a:pt x="1673092" y="139248"/>
                      </a:lnTo>
                      <a:lnTo>
                        <a:pt x="1650364" y="148187"/>
                      </a:lnTo>
                      <a:lnTo>
                        <a:pt x="1636727" y="144702"/>
                      </a:lnTo>
                      <a:lnTo>
                        <a:pt x="1632182" y="145914"/>
                      </a:lnTo>
                      <a:lnTo>
                        <a:pt x="1629909" y="149096"/>
                      </a:lnTo>
                      <a:lnTo>
                        <a:pt x="1630364" y="151521"/>
                      </a:lnTo>
                      <a:lnTo>
                        <a:pt x="1635818" y="151218"/>
                      </a:lnTo>
                      <a:lnTo>
                        <a:pt x="1639909" y="152278"/>
                      </a:lnTo>
                      <a:lnTo>
                        <a:pt x="1644758" y="154551"/>
                      </a:lnTo>
                      <a:lnTo>
                        <a:pt x="1643546" y="158491"/>
                      </a:lnTo>
                      <a:lnTo>
                        <a:pt x="1633091" y="167279"/>
                      </a:lnTo>
                      <a:lnTo>
                        <a:pt x="1628242" y="170612"/>
                      </a:lnTo>
                      <a:lnTo>
                        <a:pt x="1622484" y="172582"/>
                      </a:lnTo>
                      <a:lnTo>
                        <a:pt x="1610211" y="165309"/>
                      </a:lnTo>
                      <a:lnTo>
                        <a:pt x="1607938" y="168491"/>
                      </a:lnTo>
                      <a:lnTo>
                        <a:pt x="1606271" y="170158"/>
                      </a:lnTo>
                      <a:lnTo>
                        <a:pt x="1601423" y="169400"/>
                      </a:lnTo>
                      <a:lnTo>
                        <a:pt x="1598999" y="174703"/>
                      </a:lnTo>
                      <a:lnTo>
                        <a:pt x="1607787" y="175613"/>
                      </a:lnTo>
                      <a:lnTo>
                        <a:pt x="1616272" y="177885"/>
                      </a:lnTo>
                      <a:lnTo>
                        <a:pt x="1623848" y="181370"/>
                      </a:lnTo>
                      <a:lnTo>
                        <a:pt x="1629151" y="185310"/>
                      </a:lnTo>
                      <a:lnTo>
                        <a:pt x="1634909" y="187734"/>
                      </a:lnTo>
                      <a:lnTo>
                        <a:pt x="1638243" y="189855"/>
                      </a:lnTo>
                      <a:lnTo>
                        <a:pt x="1629151" y="191977"/>
                      </a:lnTo>
                      <a:lnTo>
                        <a:pt x="1622788" y="187128"/>
                      </a:lnTo>
                      <a:lnTo>
                        <a:pt x="1619454" y="185613"/>
                      </a:lnTo>
                      <a:lnTo>
                        <a:pt x="1615514" y="185310"/>
                      </a:lnTo>
                      <a:lnTo>
                        <a:pt x="1609605" y="186674"/>
                      </a:lnTo>
                      <a:lnTo>
                        <a:pt x="1604757" y="192431"/>
                      </a:lnTo>
                      <a:lnTo>
                        <a:pt x="1609454" y="194401"/>
                      </a:lnTo>
                      <a:lnTo>
                        <a:pt x="1620212" y="196371"/>
                      </a:lnTo>
                      <a:lnTo>
                        <a:pt x="1623697" y="198947"/>
                      </a:lnTo>
                      <a:lnTo>
                        <a:pt x="1637788" y="215917"/>
                      </a:lnTo>
                      <a:lnTo>
                        <a:pt x="1641273" y="217735"/>
                      </a:lnTo>
                      <a:lnTo>
                        <a:pt x="1645819" y="218493"/>
                      </a:lnTo>
                      <a:lnTo>
                        <a:pt x="1647637" y="219553"/>
                      </a:lnTo>
                      <a:lnTo>
                        <a:pt x="1642182" y="222584"/>
                      </a:lnTo>
                      <a:lnTo>
                        <a:pt x="1640061" y="225311"/>
                      </a:lnTo>
                      <a:lnTo>
                        <a:pt x="1635364" y="230008"/>
                      </a:lnTo>
                      <a:lnTo>
                        <a:pt x="1614908" y="232433"/>
                      </a:lnTo>
                      <a:lnTo>
                        <a:pt x="1608847" y="234251"/>
                      </a:lnTo>
                      <a:lnTo>
                        <a:pt x="1607181" y="235160"/>
                      </a:lnTo>
                      <a:lnTo>
                        <a:pt x="1604605" y="236827"/>
                      </a:lnTo>
                      <a:lnTo>
                        <a:pt x="1602938" y="238494"/>
                      </a:lnTo>
                      <a:lnTo>
                        <a:pt x="1602181" y="241979"/>
                      </a:lnTo>
                      <a:lnTo>
                        <a:pt x="1603847" y="244251"/>
                      </a:lnTo>
                      <a:lnTo>
                        <a:pt x="1607938" y="246373"/>
                      </a:lnTo>
                      <a:lnTo>
                        <a:pt x="1624151" y="255918"/>
                      </a:lnTo>
                      <a:lnTo>
                        <a:pt x="1623242" y="256828"/>
                      </a:lnTo>
                      <a:lnTo>
                        <a:pt x="1618696" y="255161"/>
                      </a:lnTo>
                      <a:lnTo>
                        <a:pt x="1613090" y="252282"/>
                      </a:lnTo>
                      <a:lnTo>
                        <a:pt x="1607332" y="248191"/>
                      </a:lnTo>
                      <a:lnTo>
                        <a:pt x="1599605" y="245312"/>
                      </a:lnTo>
                      <a:lnTo>
                        <a:pt x="1599302" y="242888"/>
                      </a:lnTo>
                      <a:lnTo>
                        <a:pt x="1598999" y="239403"/>
                      </a:lnTo>
                      <a:lnTo>
                        <a:pt x="1599150" y="238342"/>
                      </a:lnTo>
                      <a:lnTo>
                        <a:pt x="1599908" y="236524"/>
                      </a:lnTo>
                      <a:lnTo>
                        <a:pt x="1607181" y="231978"/>
                      </a:lnTo>
                      <a:lnTo>
                        <a:pt x="1614605" y="229857"/>
                      </a:lnTo>
                      <a:lnTo>
                        <a:pt x="1623697" y="224554"/>
                      </a:lnTo>
                      <a:lnTo>
                        <a:pt x="1632788" y="218947"/>
                      </a:lnTo>
                      <a:lnTo>
                        <a:pt x="1630969" y="216978"/>
                      </a:lnTo>
                      <a:lnTo>
                        <a:pt x="1629151" y="215614"/>
                      </a:lnTo>
                      <a:lnTo>
                        <a:pt x="1620818" y="215159"/>
                      </a:lnTo>
                      <a:lnTo>
                        <a:pt x="1604150" y="217129"/>
                      </a:lnTo>
                      <a:lnTo>
                        <a:pt x="1593998" y="219099"/>
                      </a:lnTo>
                      <a:lnTo>
                        <a:pt x="1589605" y="223645"/>
                      </a:lnTo>
                      <a:lnTo>
                        <a:pt x="1582786" y="224402"/>
                      </a:lnTo>
                      <a:lnTo>
                        <a:pt x="1579452" y="224554"/>
                      </a:lnTo>
                      <a:lnTo>
                        <a:pt x="1570058" y="222129"/>
                      </a:lnTo>
                      <a:lnTo>
                        <a:pt x="1561421" y="224402"/>
                      </a:lnTo>
                      <a:lnTo>
                        <a:pt x="1540815" y="226220"/>
                      </a:lnTo>
                      <a:lnTo>
                        <a:pt x="1537481" y="227281"/>
                      </a:lnTo>
                      <a:lnTo>
                        <a:pt x="1490207" y="227736"/>
                      </a:lnTo>
                      <a:lnTo>
                        <a:pt x="1480661" y="228645"/>
                      </a:lnTo>
                      <a:lnTo>
                        <a:pt x="1456418" y="232584"/>
                      </a:lnTo>
                      <a:lnTo>
                        <a:pt x="1455811" y="235312"/>
                      </a:lnTo>
                      <a:lnTo>
                        <a:pt x="1456720" y="237584"/>
                      </a:lnTo>
                      <a:lnTo>
                        <a:pt x="1453084" y="240766"/>
                      </a:lnTo>
                      <a:lnTo>
                        <a:pt x="1451418" y="243645"/>
                      </a:lnTo>
                      <a:lnTo>
                        <a:pt x="1452023" y="247282"/>
                      </a:lnTo>
                      <a:lnTo>
                        <a:pt x="1452175" y="250312"/>
                      </a:lnTo>
                      <a:lnTo>
                        <a:pt x="1452932" y="254403"/>
                      </a:lnTo>
                      <a:lnTo>
                        <a:pt x="1454448" y="258040"/>
                      </a:lnTo>
                      <a:lnTo>
                        <a:pt x="1457933" y="259858"/>
                      </a:lnTo>
                      <a:lnTo>
                        <a:pt x="1461266" y="261222"/>
                      </a:lnTo>
                      <a:lnTo>
                        <a:pt x="1463539" y="265161"/>
                      </a:lnTo>
                      <a:lnTo>
                        <a:pt x="1461721" y="269707"/>
                      </a:lnTo>
                      <a:lnTo>
                        <a:pt x="1458994" y="275010"/>
                      </a:lnTo>
                      <a:lnTo>
                        <a:pt x="1458387" y="277586"/>
                      </a:lnTo>
                      <a:lnTo>
                        <a:pt x="1460206" y="280919"/>
                      </a:lnTo>
                      <a:lnTo>
                        <a:pt x="1462327" y="287435"/>
                      </a:lnTo>
                      <a:lnTo>
                        <a:pt x="1463085" y="289101"/>
                      </a:lnTo>
                      <a:lnTo>
                        <a:pt x="1470509" y="294253"/>
                      </a:lnTo>
                      <a:lnTo>
                        <a:pt x="1475509" y="295768"/>
                      </a:lnTo>
                      <a:lnTo>
                        <a:pt x="1483843" y="296223"/>
                      </a:lnTo>
                      <a:lnTo>
                        <a:pt x="1489601" y="297435"/>
                      </a:lnTo>
                      <a:lnTo>
                        <a:pt x="1497783" y="300617"/>
                      </a:lnTo>
                      <a:lnTo>
                        <a:pt x="1500207" y="302132"/>
                      </a:lnTo>
                      <a:lnTo>
                        <a:pt x="1500965" y="303496"/>
                      </a:lnTo>
                      <a:lnTo>
                        <a:pt x="1502935" y="308951"/>
                      </a:lnTo>
                      <a:lnTo>
                        <a:pt x="1503995" y="310617"/>
                      </a:lnTo>
                      <a:lnTo>
                        <a:pt x="1512935" y="318042"/>
                      </a:lnTo>
                      <a:lnTo>
                        <a:pt x="1515814" y="319254"/>
                      </a:lnTo>
                      <a:lnTo>
                        <a:pt x="1528087" y="320618"/>
                      </a:lnTo>
                      <a:lnTo>
                        <a:pt x="1531875" y="323042"/>
                      </a:lnTo>
                      <a:lnTo>
                        <a:pt x="1537178" y="330467"/>
                      </a:lnTo>
                      <a:lnTo>
                        <a:pt x="1537784" y="332133"/>
                      </a:lnTo>
                      <a:lnTo>
                        <a:pt x="1538239" y="335012"/>
                      </a:lnTo>
                      <a:lnTo>
                        <a:pt x="1537633" y="337588"/>
                      </a:lnTo>
                      <a:lnTo>
                        <a:pt x="1537027" y="338952"/>
                      </a:lnTo>
                      <a:lnTo>
                        <a:pt x="1535057" y="341376"/>
                      </a:lnTo>
                      <a:lnTo>
                        <a:pt x="1529905" y="351073"/>
                      </a:lnTo>
                      <a:lnTo>
                        <a:pt x="1526723" y="359710"/>
                      </a:lnTo>
                      <a:lnTo>
                        <a:pt x="1531723" y="365468"/>
                      </a:lnTo>
                      <a:lnTo>
                        <a:pt x="1538390" y="376680"/>
                      </a:lnTo>
                      <a:lnTo>
                        <a:pt x="1540360" y="381226"/>
                      </a:lnTo>
                      <a:lnTo>
                        <a:pt x="1542633" y="387590"/>
                      </a:lnTo>
                      <a:lnTo>
                        <a:pt x="1541724" y="391529"/>
                      </a:lnTo>
                      <a:lnTo>
                        <a:pt x="1540663" y="393954"/>
                      </a:lnTo>
                      <a:lnTo>
                        <a:pt x="1536118" y="397439"/>
                      </a:lnTo>
                      <a:lnTo>
                        <a:pt x="1530663" y="398651"/>
                      </a:lnTo>
                      <a:lnTo>
                        <a:pt x="1524602" y="400924"/>
                      </a:lnTo>
                      <a:lnTo>
                        <a:pt x="1525208" y="403651"/>
                      </a:lnTo>
                      <a:lnTo>
                        <a:pt x="1526117" y="406833"/>
                      </a:lnTo>
                      <a:lnTo>
                        <a:pt x="1525511" y="409106"/>
                      </a:lnTo>
                      <a:lnTo>
                        <a:pt x="1524754" y="409863"/>
                      </a:lnTo>
                      <a:lnTo>
                        <a:pt x="1521571" y="410167"/>
                      </a:lnTo>
                      <a:lnTo>
                        <a:pt x="1518692" y="409409"/>
                      </a:lnTo>
                      <a:lnTo>
                        <a:pt x="1516269" y="406985"/>
                      </a:lnTo>
                      <a:lnTo>
                        <a:pt x="1513844" y="403803"/>
                      </a:lnTo>
                      <a:lnTo>
                        <a:pt x="1515511" y="400469"/>
                      </a:lnTo>
                      <a:lnTo>
                        <a:pt x="1520359" y="394408"/>
                      </a:lnTo>
                      <a:lnTo>
                        <a:pt x="1523390" y="385923"/>
                      </a:lnTo>
                      <a:lnTo>
                        <a:pt x="1524147" y="380165"/>
                      </a:lnTo>
                      <a:lnTo>
                        <a:pt x="1523996" y="374105"/>
                      </a:lnTo>
                      <a:lnTo>
                        <a:pt x="1522784" y="370165"/>
                      </a:lnTo>
                      <a:lnTo>
                        <a:pt x="1518996" y="367135"/>
                      </a:lnTo>
                      <a:lnTo>
                        <a:pt x="1515359" y="367892"/>
                      </a:lnTo>
                      <a:lnTo>
                        <a:pt x="1511420" y="370468"/>
                      </a:lnTo>
                      <a:lnTo>
                        <a:pt x="1507632" y="380468"/>
                      </a:lnTo>
                      <a:lnTo>
                        <a:pt x="1502328" y="387741"/>
                      </a:lnTo>
                      <a:lnTo>
                        <a:pt x="1501571" y="390620"/>
                      </a:lnTo>
                      <a:lnTo>
                        <a:pt x="1501722" y="393348"/>
                      </a:lnTo>
                      <a:lnTo>
                        <a:pt x="1501268" y="395014"/>
                      </a:lnTo>
                      <a:lnTo>
                        <a:pt x="1500207" y="389257"/>
                      </a:lnTo>
                      <a:lnTo>
                        <a:pt x="1499601" y="385014"/>
                      </a:lnTo>
                      <a:lnTo>
                        <a:pt x="1502631" y="379559"/>
                      </a:lnTo>
                      <a:lnTo>
                        <a:pt x="1504450" y="374559"/>
                      </a:lnTo>
                      <a:lnTo>
                        <a:pt x="1503844" y="370923"/>
                      </a:lnTo>
                      <a:lnTo>
                        <a:pt x="1501722" y="365013"/>
                      </a:lnTo>
                      <a:lnTo>
                        <a:pt x="1502177" y="362134"/>
                      </a:lnTo>
                      <a:lnTo>
                        <a:pt x="1502783" y="360316"/>
                      </a:lnTo>
                      <a:lnTo>
                        <a:pt x="1503995" y="351831"/>
                      </a:lnTo>
                      <a:lnTo>
                        <a:pt x="1508692" y="350164"/>
                      </a:lnTo>
                      <a:lnTo>
                        <a:pt x="1520359" y="343800"/>
                      </a:lnTo>
                      <a:lnTo>
                        <a:pt x="1521875" y="342134"/>
                      </a:lnTo>
                      <a:lnTo>
                        <a:pt x="1525511" y="336527"/>
                      </a:lnTo>
                      <a:lnTo>
                        <a:pt x="1527026" y="334558"/>
                      </a:lnTo>
                      <a:lnTo>
                        <a:pt x="1528996" y="331224"/>
                      </a:lnTo>
                      <a:lnTo>
                        <a:pt x="1525511" y="328497"/>
                      </a:lnTo>
                      <a:lnTo>
                        <a:pt x="1522178" y="327133"/>
                      </a:lnTo>
                      <a:lnTo>
                        <a:pt x="1515965" y="326376"/>
                      </a:lnTo>
                      <a:lnTo>
                        <a:pt x="1510207" y="326679"/>
                      </a:lnTo>
                      <a:lnTo>
                        <a:pt x="1497328" y="329254"/>
                      </a:lnTo>
                      <a:lnTo>
                        <a:pt x="1485964" y="328800"/>
                      </a:lnTo>
                      <a:lnTo>
                        <a:pt x="1481873" y="327285"/>
                      </a:lnTo>
                      <a:lnTo>
                        <a:pt x="1463842" y="315769"/>
                      </a:lnTo>
                      <a:lnTo>
                        <a:pt x="1462782" y="311527"/>
                      </a:lnTo>
                      <a:lnTo>
                        <a:pt x="1461418" y="309708"/>
                      </a:lnTo>
                      <a:lnTo>
                        <a:pt x="1459599" y="309254"/>
                      </a:lnTo>
                      <a:lnTo>
                        <a:pt x="1453387" y="306375"/>
                      </a:lnTo>
                      <a:lnTo>
                        <a:pt x="1439296" y="302890"/>
                      </a:lnTo>
                      <a:lnTo>
                        <a:pt x="1424750" y="294708"/>
                      </a:lnTo>
                      <a:lnTo>
                        <a:pt x="1398991" y="293950"/>
                      </a:lnTo>
                      <a:lnTo>
                        <a:pt x="1391870" y="294859"/>
                      </a:lnTo>
                      <a:lnTo>
                        <a:pt x="1384900" y="297435"/>
                      </a:lnTo>
                      <a:lnTo>
                        <a:pt x="1378536" y="302435"/>
                      </a:lnTo>
                      <a:lnTo>
                        <a:pt x="1375506" y="303950"/>
                      </a:lnTo>
                      <a:lnTo>
                        <a:pt x="1371263" y="304405"/>
                      </a:lnTo>
                      <a:lnTo>
                        <a:pt x="1370505" y="306223"/>
                      </a:lnTo>
                      <a:lnTo>
                        <a:pt x="1369596" y="308799"/>
                      </a:lnTo>
                      <a:lnTo>
                        <a:pt x="1371869" y="310617"/>
                      </a:lnTo>
                      <a:lnTo>
                        <a:pt x="1379748" y="308345"/>
                      </a:lnTo>
                      <a:lnTo>
                        <a:pt x="1386263" y="309557"/>
                      </a:lnTo>
                      <a:lnTo>
                        <a:pt x="1389597" y="311981"/>
                      </a:lnTo>
                      <a:lnTo>
                        <a:pt x="1392173" y="316678"/>
                      </a:lnTo>
                      <a:lnTo>
                        <a:pt x="1390809" y="319103"/>
                      </a:lnTo>
                      <a:lnTo>
                        <a:pt x="1379748" y="322588"/>
                      </a:lnTo>
                      <a:lnTo>
                        <a:pt x="1373536" y="322284"/>
                      </a:lnTo>
                      <a:lnTo>
                        <a:pt x="1360050" y="314102"/>
                      </a:lnTo>
                      <a:lnTo>
                        <a:pt x="1354899" y="312587"/>
                      </a:lnTo>
                      <a:lnTo>
                        <a:pt x="1342625" y="313951"/>
                      </a:lnTo>
                      <a:lnTo>
                        <a:pt x="1334444" y="318042"/>
                      </a:lnTo>
                      <a:lnTo>
                        <a:pt x="1331868" y="318800"/>
                      </a:lnTo>
                      <a:lnTo>
                        <a:pt x="1333837" y="323042"/>
                      </a:lnTo>
                      <a:lnTo>
                        <a:pt x="1337019" y="330467"/>
                      </a:lnTo>
                      <a:lnTo>
                        <a:pt x="1339595" y="334861"/>
                      </a:lnTo>
                      <a:lnTo>
                        <a:pt x="1342929" y="337134"/>
                      </a:lnTo>
                      <a:lnTo>
                        <a:pt x="1354899" y="342437"/>
                      </a:lnTo>
                      <a:lnTo>
                        <a:pt x="1361565" y="344255"/>
                      </a:lnTo>
                      <a:lnTo>
                        <a:pt x="1371566" y="349255"/>
                      </a:lnTo>
                      <a:lnTo>
                        <a:pt x="1377778" y="349861"/>
                      </a:lnTo>
                      <a:lnTo>
                        <a:pt x="1383233" y="348649"/>
                      </a:lnTo>
                      <a:lnTo>
                        <a:pt x="1391567" y="351528"/>
                      </a:lnTo>
                      <a:lnTo>
                        <a:pt x="1396416" y="360619"/>
                      </a:lnTo>
                      <a:lnTo>
                        <a:pt x="1399143" y="363650"/>
                      </a:lnTo>
                      <a:lnTo>
                        <a:pt x="1401870" y="365165"/>
                      </a:lnTo>
                      <a:lnTo>
                        <a:pt x="1405506" y="366074"/>
                      </a:lnTo>
                      <a:lnTo>
                        <a:pt x="1407780" y="366225"/>
                      </a:lnTo>
                      <a:lnTo>
                        <a:pt x="1410052" y="365013"/>
                      </a:lnTo>
                      <a:lnTo>
                        <a:pt x="1415356" y="364862"/>
                      </a:lnTo>
                      <a:lnTo>
                        <a:pt x="1413537" y="367438"/>
                      </a:lnTo>
                      <a:lnTo>
                        <a:pt x="1411568" y="368195"/>
                      </a:lnTo>
                      <a:lnTo>
                        <a:pt x="1400204" y="369407"/>
                      </a:lnTo>
                      <a:lnTo>
                        <a:pt x="1394597" y="368347"/>
                      </a:lnTo>
                      <a:lnTo>
                        <a:pt x="1387627" y="365619"/>
                      </a:lnTo>
                      <a:lnTo>
                        <a:pt x="1374596" y="356528"/>
                      </a:lnTo>
                      <a:lnTo>
                        <a:pt x="1358232" y="355771"/>
                      </a:lnTo>
                      <a:lnTo>
                        <a:pt x="1356414" y="358498"/>
                      </a:lnTo>
                      <a:lnTo>
                        <a:pt x="1351414" y="354710"/>
                      </a:lnTo>
                      <a:lnTo>
                        <a:pt x="1334140" y="353952"/>
                      </a:lnTo>
                      <a:lnTo>
                        <a:pt x="1323685" y="351528"/>
                      </a:lnTo>
                      <a:lnTo>
                        <a:pt x="1312776" y="347740"/>
                      </a:lnTo>
                      <a:lnTo>
                        <a:pt x="1311867" y="345922"/>
                      </a:lnTo>
                      <a:lnTo>
                        <a:pt x="1311412" y="343346"/>
                      </a:lnTo>
                      <a:lnTo>
                        <a:pt x="1315049" y="340012"/>
                      </a:lnTo>
                      <a:lnTo>
                        <a:pt x="1316564" y="338043"/>
                      </a:lnTo>
                      <a:lnTo>
                        <a:pt x="1317473" y="331830"/>
                      </a:lnTo>
                      <a:lnTo>
                        <a:pt x="1310503" y="323800"/>
                      </a:lnTo>
                      <a:lnTo>
                        <a:pt x="1311109" y="316375"/>
                      </a:lnTo>
                      <a:lnTo>
                        <a:pt x="1314443" y="315163"/>
                      </a:lnTo>
                      <a:lnTo>
                        <a:pt x="1318685" y="305466"/>
                      </a:lnTo>
                      <a:lnTo>
                        <a:pt x="1321261" y="302284"/>
                      </a:lnTo>
                      <a:lnTo>
                        <a:pt x="1322625" y="301223"/>
                      </a:lnTo>
                      <a:lnTo>
                        <a:pt x="1323989" y="299102"/>
                      </a:lnTo>
                      <a:lnTo>
                        <a:pt x="1322625" y="296223"/>
                      </a:lnTo>
                      <a:lnTo>
                        <a:pt x="1321261" y="294556"/>
                      </a:lnTo>
                      <a:lnTo>
                        <a:pt x="1319897" y="290768"/>
                      </a:lnTo>
                      <a:lnTo>
                        <a:pt x="1320201" y="287889"/>
                      </a:lnTo>
                      <a:lnTo>
                        <a:pt x="1320201" y="284253"/>
                      </a:lnTo>
                      <a:lnTo>
                        <a:pt x="1316715" y="278950"/>
                      </a:lnTo>
                      <a:lnTo>
                        <a:pt x="1313837" y="273040"/>
                      </a:lnTo>
                      <a:lnTo>
                        <a:pt x="1307927" y="270161"/>
                      </a:lnTo>
                      <a:lnTo>
                        <a:pt x="1302170" y="270161"/>
                      </a:lnTo>
                      <a:lnTo>
                        <a:pt x="1300048" y="270919"/>
                      </a:lnTo>
                      <a:lnTo>
                        <a:pt x="1297775" y="272283"/>
                      </a:lnTo>
                      <a:lnTo>
                        <a:pt x="1300806" y="277586"/>
                      </a:lnTo>
                      <a:lnTo>
                        <a:pt x="1303836" y="282283"/>
                      </a:lnTo>
                      <a:lnTo>
                        <a:pt x="1305351" y="286071"/>
                      </a:lnTo>
                      <a:lnTo>
                        <a:pt x="1306412" y="292586"/>
                      </a:lnTo>
                      <a:lnTo>
                        <a:pt x="1306109" y="300769"/>
                      </a:lnTo>
                      <a:lnTo>
                        <a:pt x="1305200" y="304102"/>
                      </a:lnTo>
                      <a:lnTo>
                        <a:pt x="1303533" y="306829"/>
                      </a:lnTo>
                      <a:lnTo>
                        <a:pt x="1298382" y="310314"/>
                      </a:lnTo>
                      <a:lnTo>
                        <a:pt x="1289745" y="314405"/>
                      </a:lnTo>
                      <a:lnTo>
                        <a:pt x="1284896" y="316375"/>
                      </a:lnTo>
                      <a:lnTo>
                        <a:pt x="1274593" y="318648"/>
                      </a:lnTo>
                      <a:lnTo>
                        <a:pt x="1267320" y="322133"/>
                      </a:lnTo>
                      <a:lnTo>
                        <a:pt x="1251258" y="342588"/>
                      </a:lnTo>
                      <a:lnTo>
                        <a:pt x="1253077" y="345619"/>
                      </a:lnTo>
                      <a:lnTo>
                        <a:pt x="1258986" y="348801"/>
                      </a:lnTo>
                      <a:lnTo>
                        <a:pt x="1262774" y="351680"/>
                      </a:lnTo>
                      <a:lnTo>
                        <a:pt x="1264744" y="354104"/>
                      </a:lnTo>
                      <a:lnTo>
                        <a:pt x="1268987" y="361528"/>
                      </a:lnTo>
                      <a:lnTo>
                        <a:pt x="1284896" y="382287"/>
                      </a:lnTo>
                      <a:lnTo>
                        <a:pt x="1285654" y="385923"/>
                      </a:lnTo>
                      <a:lnTo>
                        <a:pt x="1282017" y="392590"/>
                      </a:lnTo>
                      <a:lnTo>
                        <a:pt x="1274593" y="401075"/>
                      </a:lnTo>
                      <a:lnTo>
                        <a:pt x="1271714" y="405924"/>
                      </a:lnTo>
                      <a:lnTo>
                        <a:pt x="1264744" y="424106"/>
                      </a:lnTo>
                      <a:lnTo>
                        <a:pt x="1264289" y="428804"/>
                      </a:lnTo>
                      <a:lnTo>
                        <a:pt x="1267168" y="433198"/>
                      </a:lnTo>
                      <a:lnTo>
                        <a:pt x="1271714" y="438652"/>
                      </a:lnTo>
                      <a:lnTo>
                        <a:pt x="1273381" y="442895"/>
                      </a:lnTo>
                      <a:lnTo>
                        <a:pt x="1270198" y="453501"/>
                      </a:lnTo>
                      <a:lnTo>
                        <a:pt x="1271865" y="456229"/>
                      </a:lnTo>
                      <a:lnTo>
                        <a:pt x="1275653" y="457592"/>
                      </a:lnTo>
                      <a:lnTo>
                        <a:pt x="1286260" y="456077"/>
                      </a:lnTo>
                      <a:lnTo>
                        <a:pt x="1298684" y="458653"/>
                      </a:lnTo>
                      <a:lnTo>
                        <a:pt x="1305200" y="457441"/>
                      </a:lnTo>
                      <a:lnTo>
                        <a:pt x="1315200" y="451532"/>
                      </a:lnTo>
                      <a:lnTo>
                        <a:pt x="1318988" y="450926"/>
                      </a:lnTo>
                      <a:lnTo>
                        <a:pt x="1331110" y="451683"/>
                      </a:lnTo>
                      <a:lnTo>
                        <a:pt x="1348686" y="457441"/>
                      </a:lnTo>
                      <a:lnTo>
                        <a:pt x="1367323" y="465017"/>
                      </a:lnTo>
                      <a:lnTo>
                        <a:pt x="1371111" y="467593"/>
                      </a:lnTo>
                      <a:lnTo>
                        <a:pt x="1376263" y="467744"/>
                      </a:lnTo>
                      <a:lnTo>
                        <a:pt x="1379900" y="480775"/>
                      </a:lnTo>
                      <a:lnTo>
                        <a:pt x="1383233" y="487745"/>
                      </a:lnTo>
                      <a:lnTo>
                        <a:pt x="1384597" y="492745"/>
                      </a:lnTo>
                      <a:lnTo>
                        <a:pt x="1385657" y="498352"/>
                      </a:lnTo>
                      <a:lnTo>
                        <a:pt x="1382173" y="499564"/>
                      </a:lnTo>
                      <a:lnTo>
                        <a:pt x="1379142" y="500170"/>
                      </a:lnTo>
                      <a:lnTo>
                        <a:pt x="1376566" y="501685"/>
                      </a:lnTo>
                      <a:lnTo>
                        <a:pt x="1373081" y="510322"/>
                      </a:lnTo>
                      <a:lnTo>
                        <a:pt x="1372627" y="514867"/>
                      </a:lnTo>
                      <a:lnTo>
                        <a:pt x="1374445" y="522292"/>
                      </a:lnTo>
                      <a:lnTo>
                        <a:pt x="1390203" y="525777"/>
                      </a:lnTo>
                      <a:lnTo>
                        <a:pt x="1401113" y="527595"/>
                      </a:lnTo>
                      <a:lnTo>
                        <a:pt x="1408689" y="527898"/>
                      </a:lnTo>
                      <a:lnTo>
                        <a:pt x="1410052" y="528807"/>
                      </a:lnTo>
                      <a:lnTo>
                        <a:pt x="1410961" y="529868"/>
                      </a:lnTo>
                      <a:lnTo>
                        <a:pt x="1401870" y="530474"/>
                      </a:lnTo>
                      <a:lnTo>
                        <a:pt x="1385354" y="531383"/>
                      </a:lnTo>
                      <a:lnTo>
                        <a:pt x="1379445" y="530777"/>
                      </a:lnTo>
                      <a:lnTo>
                        <a:pt x="1376869" y="529868"/>
                      </a:lnTo>
                      <a:lnTo>
                        <a:pt x="1374293" y="527292"/>
                      </a:lnTo>
                      <a:lnTo>
                        <a:pt x="1369293" y="524716"/>
                      </a:lnTo>
                      <a:lnTo>
                        <a:pt x="1367323" y="523049"/>
                      </a:lnTo>
                      <a:lnTo>
                        <a:pt x="1363232" y="521080"/>
                      </a:lnTo>
                      <a:lnTo>
                        <a:pt x="1365202" y="513352"/>
                      </a:lnTo>
                      <a:lnTo>
                        <a:pt x="1365505" y="495776"/>
                      </a:lnTo>
                      <a:lnTo>
                        <a:pt x="1364899" y="488351"/>
                      </a:lnTo>
                      <a:lnTo>
                        <a:pt x="1361414" y="482442"/>
                      </a:lnTo>
                      <a:lnTo>
                        <a:pt x="1351111" y="473805"/>
                      </a:lnTo>
                      <a:lnTo>
                        <a:pt x="1347626" y="468047"/>
                      </a:lnTo>
                      <a:lnTo>
                        <a:pt x="1343534" y="464108"/>
                      </a:lnTo>
                      <a:lnTo>
                        <a:pt x="1339746" y="463502"/>
                      </a:lnTo>
                      <a:lnTo>
                        <a:pt x="1333989" y="464259"/>
                      </a:lnTo>
                      <a:lnTo>
                        <a:pt x="1319746" y="467744"/>
                      </a:lnTo>
                      <a:lnTo>
                        <a:pt x="1307018" y="469714"/>
                      </a:lnTo>
                      <a:lnTo>
                        <a:pt x="1292169" y="475017"/>
                      </a:lnTo>
                      <a:lnTo>
                        <a:pt x="1289442" y="479411"/>
                      </a:lnTo>
                      <a:lnTo>
                        <a:pt x="1287018" y="490776"/>
                      </a:lnTo>
                      <a:lnTo>
                        <a:pt x="1290351" y="496382"/>
                      </a:lnTo>
                      <a:lnTo>
                        <a:pt x="1293684" y="500321"/>
                      </a:lnTo>
                      <a:lnTo>
                        <a:pt x="1296715" y="507140"/>
                      </a:lnTo>
                      <a:lnTo>
                        <a:pt x="1297624" y="511231"/>
                      </a:lnTo>
                      <a:lnTo>
                        <a:pt x="1297927" y="515473"/>
                      </a:lnTo>
                      <a:lnTo>
                        <a:pt x="1297321" y="521686"/>
                      </a:lnTo>
                      <a:lnTo>
                        <a:pt x="1294896" y="525019"/>
                      </a:lnTo>
                      <a:lnTo>
                        <a:pt x="1278381" y="538050"/>
                      </a:lnTo>
                      <a:lnTo>
                        <a:pt x="1275956" y="542141"/>
                      </a:lnTo>
                      <a:lnTo>
                        <a:pt x="1273077" y="553354"/>
                      </a:lnTo>
                      <a:lnTo>
                        <a:pt x="1270653" y="557445"/>
                      </a:lnTo>
                      <a:lnTo>
                        <a:pt x="1263077" y="563657"/>
                      </a:lnTo>
                      <a:lnTo>
                        <a:pt x="1258380" y="566233"/>
                      </a:lnTo>
                      <a:lnTo>
                        <a:pt x="1233076" y="577445"/>
                      </a:lnTo>
                      <a:lnTo>
                        <a:pt x="1232167" y="580021"/>
                      </a:lnTo>
                      <a:lnTo>
                        <a:pt x="1230348" y="587900"/>
                      </a:lnTo>
                      <a:lnTo>
                        <a:pt x="1223379" y="591537"/>
                      </a:lnTo>
                      <a:lnTo>
                        <a:pt x="1219288" y="591840"/>
                      </a:lnTo>
                      <a:lnTo>
                        <a:pt x="1209742" y="587900"/>
                      </a:lnTo>
                      <a:lnTo>
                        <a:pt x="1203984" y="586688"/>
                      </a:lnTo>
                      <a:lnTo>
                        <a:pt x="1198226" y="586385"/>
                      </a:lnTo>
                      <a:lnTo>
                        <a:pt x="1176104" y="587446"/>
                      </a:lnTo>
                      <a:lnTo>
                        <a:pt x="1166407" y="584718"/>
                      </a:lnTo>
                      <a:lnTo>
                        <a:pt x="1158679" y="580930"/>
                      </a:lnTo>
                      <a:lnTo>
                        <a:pt x="1150800" y="579718"/>
                      </a:lnTo>
                      <a:lnTo>
                        <a:pt x="1144891" y="576688"/>
                      </a:lnTo>
                      <a:lnTo>
                        <a:pt x="1143527" y="573809"/>
                      </a:lnTo>
                      <a:lnTo>
                        <a:pt x="1142012" y="570021"/>
                      </a:lnTo>
                      <a:lnTo>
                        <a:pt x="1140951" y="568051"/>
                      </a:lnTo>
                      <a:lnTo>
                        <a:pt x="1139891" y="566990"/>
                      </a:lnTo>
                      <a:lnTo>
                        <a:pt x="1141709" y="565778"/>
                      </a:lnTo>
                      <a:lnTo>
                        <a:pt x="1145497" y="565172"/>
                      </a:lnTo>
                      <a:lnTo>
                        <a:pt x="1159740" y="565778"/>
                      </a:lnTo>
                      <a:lnTo>
                        <a:pt x="1163528" y="564415"/>
                      </a:lnTo>
                      <a:lnTo>
                        <a:pt x="1165498" y="565172"/>
                      </a:lnTo>
                      <a:lnTo>
                        <a:pt x="1169437" y="568657"/>
                      </a:lnTo>
                      <a:lnTo>
                        <a:pt x="1174589" y="571688"/>
                      </a:lnTo>
                      <a:lnTo>
                        <a:pt x="1178983" y="571233"/>
                      </a:lnTo>
                      <a:lnTo>
                        <a:pt x="1182771" y="568657"/>
                      </a:lnTo>
                      <a:lnTo>
                        <a:pt x="1184135" y="568657"/>
                      </a:lnTo>
                      <a:lnTo>
                        <a:pt x="1185801" y="568960"/>
                      </a:lnTo>
                      <a:lnTo>
                        <a:pt x="1182468" y="571081"/>
                      </a:lnTo>
                      <a:lnTo>
                        <a:pt x="1178983" y="572597"/>
                      </a:lnTo>
                      <a:lnTo>
                        <a:pt x="1178074" y="573506"/>
                      </a:lnTo>
                      <a:lnTo>
                        <a:pt x="1177316" y="575627"/>
                      </a:lnTo>
                      <a:lnTo>
                        <a:pt x="1182317" y="578051"/>
                      </a:lnTo>
                      <a:lnTo>
                        <a:pt x="1186711" y="579415"/>
                      </a:lnTo>
                      <a:lnTo>
                        <a:pt x="1192620" y="578051"/>
                      </a:lnTo>
                      <a:lnTo>
                        <a:pt x="1196105" y="575476"/>
                      </a:lnTo>
                      <a:lnTo>
                        <a:pt x="1203529" y="571688"/>
                      </a:lnTo>
                      <a:lnTo>
                        <a:pt x="1208984" y="571839"/>
                      </a:lnTo>
                      <a:lnTo>
                        <a:pt x="1209287" y="568354"/>
                      </a:lnTo>
                      <a:lnTo>
                        <a:pt x="1206560" y="562899"/>
                      </a:lnTo>
                      <a:lnTo>
                        <a:pt x="1204287" y="559111"/>
                      </a:lnTo>
                      <a:lnTo>
                        <a:pt x="1212469" y="560020"/>
                      </a:lnTo>
                      <a:lnTo>
                        <a:pt x="1217470" y="556990"/>
                      </a:lnTo>
                      <a:lnTo>
                        <a:pt x="1237924" y="530019"/>
                      </a:lnTo>
                      <a:lnTo>
                        <a:pt x="1247622" y="524868"/>
                      </a:lnTo>
                      <a:lnTo>
                        <a:pt x="1250804" y="521534"/>
                      </a:lnTo>
                      <a:lnTo>
                        <a:pt x="1253077" y="516989"/>
                      </a:lnTo>
                      <a:lnTo>
                        <a:pt x="1253683" y="511837"/>
                      </a:lnTo>
                      <a:lnTo>
                        <a:pt x="1252471" y="506382"/>
                      </a:lnTo>
                      <a:lnTo>
                        <a:pt x="1252774" y="502140"/>
                      </a:lnTo>
                      <a:lnTo>
                        <a:pt x="1256259" y="496685"/>
                      </a:lnTo>
                      <a:lnTo>
                        <a:pt x="1261713" y="490321"/>
                      </a:lnTo>
                      <a:lnTo>
                        <a:pt x="1265198" y="487897"/>
                      </a:lnTo>
                      <a:lnTo>
                        <a:pt x="1264592" y="485472"/>
                      </a:lnTo>
                      <a:lnTo>
                        <a:pt x="1263986" y="483351"/>
                      </a:lnTo>
                      <a:lnTo>
                        <a:pt x="1254137" y="477139"/>
                      </a:lnTo>
                      <a:lnTo>
                        <a:pt x="1243834" y="471987"/>
                      </a:lnTo>
                      <a:lnTo>
                        <a:pt x="1240198" y="469108"/>
                      </a:lnTo>
                      <a:lnTo>
                        <a:pt x="1237319" y="464562"/>
                      </a:lnTo>
                      <a:lnTo>
                        <a:pt x="1235955" y="459259"/>
                      </a:lnTo>
                      <a:lnTo>
                        <a:pt x="1235955" y="455623"/>
                      </a:lnTo>
                      <a:lnTo>
                        <a:pt x="1236864" y="444865"/>
                      </a:lnTo>
                      <a:lnTo>
                        <a:pt x="1238379" y="439713"/>
                      </a:lnTo>
                      <a:lnTo>
                        <a:pt x="1238076" y="424561"/>
                      </a:lnTo>
                      <a:lnTo>
                        <a:pt x="1236106" y="406075"/>
                      </a:lnTo>
                      <a:lnTo>
                        <a:pt x="1234440" y="400924"/>
                      </a:lnTo>
                      <a:lnTo>
                        <a:pt x="1237015" y="397439"/>
                      </a:lnTo>
                      <a:lnTo>
                        <a:pt x="1239440" y="394560"/>
                      </a:lnTo>
                      <a:lnTo>
                        <a:pt x="1240803" y="391984"/>
                      </a:lnTo>
                      <a:lnTo>
                        <a:pt x="1241561" y="373802"/>
                      </a:lnTo>
                      <a:lnTo>
                        <a:pt x="1240803" y="366832"/>
                      </a:lnTo>
                      <a:lnTo>
                        <a:pt x="1237470" y="357286"/>
                      </a:lnTo>
                      <a:lnTo>
                        <a:pt x="1223833" y="349558"/>
                      </a:lnTo>
                      <a:lnTo>
                        <a:pt x="1217924" y="341831"/>
                      </a:lnTo>
                      <a:lnTo>
                        <a:pt x="1218379" y="339103"/>
                      </a:lnTo>
                      <a:lnTo>
                        <a:pt x="1219136" y="337285"/>
                      </a:lnTo>
                      <a:lnTo>
                        <a:pt x="1225197" y="334255"/>
                      </a:lnTo>
                      <a:lnTo>
                        <a:pt x="1229288" y="329861"/>
                      </a:lnTo>
                      <a:lnTo>
                        <a:pt x="1231864" y="323345"/>
                      </a:lnTo>
                      <a:lnTo>
                        <a:pt x="1237319" y="313648"/>
                      </a:lnTo>
                      <a:lnTo>
                        <a:pt x="1238682" y="310163"/>
                      </a:lnTo>
                      <a:lnTo>
                        <a:pt x="1242167" y="296677"/>
                      </a:lnTo>
                      <a:lnTo>
                        <a:pt x="1243077" y="289405"/>
                      </a:lnTo>
                      <a:lnTo>
                        <a:pt x="1243834" y="278647"/>
                      </a:lnTo>
                      <a:lnTo>
                        <a:pt x="1238985" y="275768"/>
                      </a:lnTo>
                      <a:lnTo>
                        <a:pt x="1233834" y="273495"/>
                      </a:lnTo>
                      <a:lnTo>
                        <a:pt x="1224439" y="271374"/>
                      </a:lnTo>
                      <a:lnTo>
                        <a:pt x="1219742" y="271980"/>
                      </a:lnTo>
                      <a:lnTo>
                        <a:pt x="1211105" y="267586"/>
                      </a:lnTo>
                      <a:lnTo>
                        <a:pt x="1207924" y="266979"/>
                      </a:lnTo>
                      <a:lnTo>
                        <a:pt x="1184741" y="268192"/>
                      </a:lnTo>
                      <a:lnTo>
                        <a:pt x="1171559" y="267586"/>
                      </a:lnTo>
                      <a:lnTo>
                        <a:pt x="1163831" y="268646"/>
                      </a:lnTo>
                      <a:lnTo>
                        <a:pt x="1159740" y="268495"/>
                      </a:lnTo>
                      <a:lnTo>
                        <a:pt x="1157164" y="267889"/>
                      </a:lnTo>
                      <a:lnTo>
                        <a:pt x="1157619" y="266070"/>
                      </a:lnTo>
                      <a:lnTo>
                        <a:pt x="1158982" y="264707"/>
                      </a:lnTo>
                      <a:lnTo>
                        <a:pt x="1158528" y="263646"/>
                      </a:lnTo>
                      <a:lnTo>
                        <a:pt x="1156255" y="263494"/>
                      </a:lnTo>
                      <a:lnTo>
                        <a:pt x="1150194" y="264858"/>
                      </a:lnTo>
                      <a:lnTo>
                        <a:pt x="1140648" y="279707"/>
                      </a:lnTo>
                      <a:lnTo>
                        <a:pt x="1134891" y="294102"/>
                      </a:lnTo>
                      <a:lnTo>
                        <a:pt x="1128830" y="313648"/>
                      </a:lnTo>
                      <a:lnTo>
                        <a:pt x="1125042" y="321830"/>
                      </a:lnTo>
                      <a:lnTo>
                        <a:pt x="1119587" y="330467"/>
                      </a:lnTo>
                      <a:lnTo>
                        <a:pt x="1111102" y="337285"/>
                      </a:lnTo>
                      <a:lnTo>
                        <a:pt x="1099586" y="344255"/>
                      </a:lnTo>
                      <a:lnTo>
                        <a:pt x="1092313" y="347437"/>
                      </a:lnTo>
                      <a:lnTo>
                        <a:pt x="1082616" y="350770"/>
                      </a:lnTo>
                      <a:lnTo>
                        <a:pt x="1078525" y="357892"/>
                      </a:lnTo>
                      <a:lnTo>
                        <a:pt x="1074888" y="360922"/>
                      </a:lnTo>
                      <a:lnTo>
                        <a:pt x="1076404" y="362892"/>
                      </a:lnTo>
                      <a:lnTo>
                        <a:pt x="1080646" y="361680"/>
                      </a:lnTo>
                      <a:lnTo>
                        <a:pt x="1078222" y="366832"/>
                      </a:lnTo>
                      <a:lnTo>
                        <a:pt x="1075646" y="369862"/>
                      </a:lnTo>
                      <a:lnTo>
                        <a:pt x="1075949" y="371680"/>
                      </a:lnTo>
                      <a:lnTo>
                        <a:pt x="1076707" y="373953"/>
                      </a:lnTo>
                      <a:lnTo>
                        <a:pt x="1079888" y="375014"/>
                      </a:lnTo>
                      <a:lnTo>
                        <a:pt x="1088677" y="373044"/>
                      </a:lnTo>
                      <a:lnTo>
                        <a:pt x="1090646" y="375014"/>
                      </a:lnTo>
                      <a:lnTo>
                        <a:pt x="1092616" y="378044"/>
                      </a:lnTo>
                      <a:lnTo>
                        <a:pt x="1091556" y="389863"/>
                      </a:lnTo>
                      <a:lnTo>
                        <a:pt x="1089131" y="400015"/>
                      </a:lnTo>
                      <a:lnTo>
                        <a:pt x="1088828" y="403651"/>
                      </a:lnTo>
                      <a:lnTo>
                        <a:pt x="1090192" y="406075"/>
                      </a:lnTo>
                      <a:lnTo>
                        <a:pt x="1091404" y="409257"/>
                      </a:lnTo>
                      <a:lnTo>
                        <a:pt x="1088677" y="413045"/>
                      </a:lnTo>
                      <a:lnTo>
                        <a:pt x="1086707" y="414258"/>
                      </a:lnTo>
                      <a:lnTo>
                        <a:pt x="1082767" y="413803"/>
                      </a:lnTo>
                      <a:lnTo>
                        <a:pt x="1080192" y="422288"/>
                      </a:lnTo>
                      <a:lnTo>
                        <a:pt x="1079434" y="427288"/>
                      </a:lnTo>
                      <a:lnTo>
                        <a:pt x="1079434" y="431228"/>
                      </a:lnTo>
                      <a:lnTo>
                        <a:pt x="1080495" y="433652"/>
                      </a:lnTo>
                      <a:lnTo>
                        <a:pt x="1082010" y="436228"/>
                      </a:lnTo>
                      <a:lnTo>
                        <a:pt x="1083070" y="434258"/>
                      </a:lnTo>
                      <a:lnTo>
                        <a:pt x="1083828" y="431379"/>
                      </a:lnTo>
                      <a:lnTo>
                        <a:pt x="1086555" y="429410"/>
                      </a:lnTo>
                      <a:lnTo>
                        <a:pt x="1101859" y="434864"/>
                      </a:lnTo>
                      <a:lnTo>
                        <a:pt x="1105950" y="437440"/>
                      </a:lnTo>
                      <a:lnTo>
                        <a:pt x="1112314" y="439865"/>
                      </a:lnTo>
                      <a:lnTo>
                        <a:pt x="1114132" y="442743"/>
                      </a:lnTo>
                      <a:lnTo>
                        <a:pt x="1115344" y="451683"/>
                      </a:lnTo>
                      <a:lnTo>
                        <a:pt x="1121860" y="459865"/>
                      </a:lnTo>
                      <a:lnTo>
                        <a:pt x="1127012" y="464562"/>
                      </a:lnTo>
                      <a:lnTo>
                        <a:pt x="1130193" y="466532"/>
                      </a:lnTo>
                      <a:lnTo>
                        <a:pt x="1133072" y="466987"/>
                      </a:lnTo>
                      <a:lnTo>
                        <a:pt x="1137467" y="465168"/>
                      </a:lnTo>
                      <a:lnTo>
                        <a:pt x="1143376" y="465472"/>
                      </a:lnTo>
                      <a:lnTo>
                        <a:pt x="1140194" y="471835"/>
                      </a:lnTo>
                      <a:lnTo>
                        <a:pt x="1134891" y="483806"/>
                      </a:lnTo>
                      <a:lnTo>
                        <a:pt x="1125951" y="494109"/>
                      </a:lnTo>
                      <a:lnTo>
                        <a:pt x="1122315" y="495776"/>
                      </a:lnTo>
                      <a:lnTo>
                        <a:pt x="1116405" y="491533"/>
                      </a:lnTo>
                      <a:lnTo>
                        <a:pt x="1104738" y="486381"/>
                      </a:lnTo>
                      <a:lnTo>
                        <a:pt x="1102314" y="483199"/>
                      </a:lnTo>
                      <a:lnTo>
                        <a:pt x="1088828" y="474866"/>
                      </a:lnTo>
                      <a:lnTo>
                        <a:pt x="1084889" y="469108"/>
                      </a:lnTo>
                      <a:lnTo>
                        <a:pt x="1078070" y="468199"/>
                      </a:lnTo>
                      <a:lnTo>
                        <a:pt x="1068828" y="465623"/>
                      </a:lnTo>
                      <a:lnTo>
                        <a:pt x="1067464" y="464865"/>
                      </a:lnTo>
                      <a:lnTo>
                        <a:pt x="1059736" y="461380"/>
                      </a:lnTo>
                      <a:lnTo>
                        <a:pt x="1052312" y="459411"/>
                      </a:lnTo>
                      <a:lnTo>
                        <a:pt x="1050190" y="456683"/>
                      </a:lnTo>
                      <a:lnTo>
                        <a:pt x="1044584" y="454714"/>
                      </a:lnTo>
                      <a:lnTo>
                        <a:pt x="1038978" y="453350"/>
                      </a:lnTo>
                      <a:lnTo>
                        <a:pt x="1030947" y="450016"/>
                      </a:lnTo>
                      <a:lnTo>
                        <a:pt x="1027311" y="451077"/>
                      </a:lnTo>
                      <a:lnTo>
                        <a:pt x="1028069" y="447441"/>
                      </a:lnTo>
                      <a:lnTo>
                        <a:pt x="1018977" y="441986"/>
                      </a:lnTo>
                      <a:lnTo>
                        <a:pt x="1007916" y="437289"/>
                      </a:lnTo>
                      <a:lnTo>
                        <a:pt x="985188" y="430319"/>
                      </a:lnTo>
                      <a:lnTo>
                        <a:pt x="965339" y="427137"/>
                      </a:lnTo>
                      <a:lnTo>
                        <a:pt x="941702" y="426076"/>
                      </a:lnTo>
                      <a:lnTo>
                        <a:pt x="921095" y="421834"/>
                      </a:lnTo>
                      <a:lnTo>
                        <a:pt x="918216" y="421985"/>
                      </a:lnTo>
                      <a:lnTo>
                        <a:pt x="915488" y="423197"/>
                      </a:lnTo>
                      <a:lnTo>
                        <a:pt x="908518" y="429561"/>
                      </a:lnTo>
                      <a:lnTo>
                        <a:pt x="900791" y="431531"/>
                      </a:lnTo>
                      <a:lnTo>
                        <a:pt x="897912" y="434561"/>
                      </a:lnTo>
                      <a:lnTo>
                        <a:pt x="902458" y="440925"/>
                      </a:lnTo>
                      <a:lnTo>
                        <a:pt x="911397" y="457744"/>
                      </a:lnTo>
                      <a:lnTo>
                        <a:pt x="916701" y="456077"/>
                      </a:lnTo>
                      <a:lnTo>
                        <a:pt x="918822" y="463653"/>
                      </a:lnTo>
                      <a:lnTo>
                        <a:pt x="915640" y="468047"/>
                      </a:lnTo>
                      <a:lnTo>
                        <a:pt x="910791" y="473199"/>
                      </a:lnTo>
                      <a:lnTo>
                        <a:pt x="906700" y="476078"/>
                      </a:lnTo>
                      <a:lnTo>
                        <a:pt x="897609" y="477442"/>
                      </a:lnTo>
                      <a:lnTo>
                        <a:pt x="890487" y="477139"/>
                      </a:lnTo>
                      <a:lnTo>
                        <a:pt x="889578" y="481987"/>
                      </a:lnTo>
                      <a:lnTo>
                        <a:pt x="891700" y="486533"/>
                      </a:lnTo>
                      <a:lnTo>
                        <a:pt x="891094" y="488351"/>
                      </a:lnTo>
                      <a:lnTo>
                        <a:pt x="890487" y="490624"/>
                      </a:lnTo>
                      <a:lnTo>
                        <a:pt x="889427" y="491836"/>
                      </a:lnTo>
                      <a:lnTo>
                        <a:pt x="888518" y="492594"/>
                      </a:lnTo>
                      <a:lnTo>
                        <a:pt x="885790" y="493957"/>
                      </a:lnTo>
                      <a:lnTo>
                        <a:pt x="882457" y="494109"/>
                      </a:lnTo>
                      <a:lnTo>
                        <a:pt x="874426" y="491685"/>
                      </a:lnTo>
                      <a:lnTo>
                        <a:pt x="868668" y="489563"/>
                      </a:lnTo>
                      <a:lnTo>
                        <a:pt x="868972" y="481381"/>
                      </a:lnTo>
                      <a:lnTo>
                        <a:pt x="872002" y="477896"/>
                      </a:lnTo>
                      <a:lnTo>
                        <a:pt x="874123" y="476987"/>
                      </a:lnTo>
                      <a:lnTo>
                        <a:pt x="876093" y="475623"/>
                      </a:lnTo>
                      <a:lnTo>
                        <a:pt x="872002" y="470320"/>
                      </a:lnTo>
                      <a:lnTo>
                        <a:pt x="868972" y="468047"/>
                      </a:lnTo>
                      <a:lnTo>
                        <a:pt x="867608" y="464411"/>
                      </a:lnTo>
                      <a:lnTo>
                        <a:pt x="867456" y="462744"/>
                      </a:lnTo>
                      <a:lnTo>
                        <a:pt x="863668" y="462896"/>
                      </a:lnTo>
                      <a:lnTo>
                        <a:pt x="848213" y="467138"/>
                      </a:lnTo>
                      <a:lnTo>
                        <a:pt x="845031" y="471078"/>
                      </a:lnTo>
                      <a:lnTo>
                        <a:pt x="843213" y="468350"/>
                      </a:lnTo>
                      <a:lnTo>
                        <a:pt x="823364" y="480169"/>
                      </a:lnTo>
                      <a:lnTo>
                        <a:pt x="814727" y="484412"/>
                      </a:lnTo>
                      <a:lnTo>
                        <a:pt x="808666" y="483806"/>
                      </a:lnTo>
                      <a:lnTo>
                        <a:pt x="800787" y="481230"/>
                      </a:lnTo>
                      <a:lnTo>
                        <a:pt x="791393" y="481078"/>
                      </a:lnTo>
                      <a:lnTo>
                        <a:pt x="785029" y="479866"/>
                      </a:lnTo>
                      <a:lnTo>
                        <a:pt x="781696" y="480472"/>
                      </a:lnTo>
                      <a:lnTo>
                        <a:pt x="774877" y="483351"/>
                      </a:lnTo>
                      <a:lnTo>
                        <a:pt x="767907" y="483806"/>
                      </a:lnTo>
                      <a:lnTo>
                        <a:pt x="760634" y="487897"/>
                      </a:lnTo>
                      <a:lnTo>
                        <a:pt x="754422" y="492897"/>
                      </a:lnTo>
                      <a:lnTo>
                        <a:pt x="752603" y="501079"/>
                      </a:lnTo>
                      <a:lnTo>
                        <a:pt x="748815" y="501988"/>
                      </a:lnTo>
                      <a:lnTo>
                        <a:pt x="744422" y="497745"/>
                      </a:lnTo>
                      <a:lnTo>
                        <a:pt x="742148" y="496685"/>
                      </a:lnTo>
                      <a:lnTo>
                        <a:pt x="739876" y="497594"/>
                      </a:lnTo>
                      <a:lnTo>
                        <a:pt x="735482" y="498048"/>
                      </a:lnTo>
                      <a:lnTo>
                        <a:pt x="731845" y="498352"/>
                      </a:lnTo>
                      <a:lnTo>
                        <a:pt x="728209" y="499867"/>
                      </a:lnTo>
                      <a:lnTo>
                        <a:pt x="726694" y="499715"/>
                      </a:lnTo>
                      <a:lnTo>
                        <a:pt x="715784" y="498352"/>
                      </a:lnTo>
                      <a:lnTo>
                        <a:pt x="712754" y="498503"/>
                      </a:lnTo>
                      <a:lnTo>
                        <a:pt x="708814" y="498048"/>
                      </a:lnTo>
                      <a:lnTo>
                        <a:pt x="709723" y="495927"/>
                      </a:lnTo>
                      <a:lnTo>
                        <a:pt x="711087" y="494412"/>
                      </a:lnTo>
                      <a:lnTo>
                        <a:pt x="717299" y="493351"/>
                      </a:lnTo>
                      <a:lnTo>
                        <a:pt x="720633" y="491533"/>
                      </a:lnTo>
                      <a:lnTo>
                        <a:pt x="724421" y="492594"/>
                      </a:lnTo>
                      <a:lnTo>
                        <a:pt x="727148" y="490018"/>
                      </a:lnTo>
                      <a:lnTo>
                        <a:pt x="726845" y="485169"/>
                      </a:lnTo>
                      <a:lnTo>
                        <a:pt x="722451" y="480624"/>
                      </a:lnTo>
                      <a:lnTo>
                        <a:pt x="724572" y="476987"/>
                      </a:lnTo>
                      <a:lnTo>
                        <a:pt x="726087" y="472593"/>
                      </a:lnTo>
                      <a:lnTo>
                        <a:pt x="727148" y="472138"/>
                      </a:lnTo>
                      <a:lnTo>
                        <a:pt x="728360" y="470472"/>
                      </a:lnTo>
                      <a:lnTo>
                        <a:pt x="726845" y="469260"/>
                      </a:lnTo>
                      <a:lnTo>
                        <a:pt x="723663" y="468654"/>
                      </a:lnTo>
                      <a:lnTo>
                        <a:pt x="723512" y="467441"/>
                      </a:lnTo>
                      <a:lnTo>
                        <a:pt x="725633" y="466532"/>
                      </a:lnTo>
                      <a:lnTo>
                        <a:pt x="739421" y="464714"/>
                      </a:lnTo>
                      <a:lnTo>
                        <a:pt x="742603" y="463350"/>
                      </a:lnTo>
                      <a:lnTo>
                        <a:pt x="734270" y="462896"/>
                      </a:lnTo>
                      <a:lnTo>
                        <a:pt x="723663" y="463199"/>
                      </a:lnTo>
                      <a:lnTo>
                        <a:pt x="713057" y="467290"/>
                      </a:lnTo>
                      <a:lnTo>
                        <a:pt x="693056" y="475926"/>
                      </a:lnTo>
                      <a:lnTo>
                        <a:pt x="683813" y="481836"/>
                      </a:lnTo>
                      <a:lnTo>
                        <a:pt x="686238" y="481684"/>
                      </a:lnTo>
                      <a:lnTo>
                        <a:pt x="689420" y="482593"/>
                      </a:lnTo>
                      <a:lnTo>
                        <a:pt x="692147" y="486684"/>
                      </a:lnTo>
                      <a:lnTo>
                        <a:pt x="694117" y="487745"/>
                      </a:lnTo>
                      <a:lnTo>
                        <a:pt x="692753" y="490472"/>
                      </a:lnTo>
                      <a:lnTo>
                        <a:pt x="687450" y="492594"/>
                      </a:lnTo>
                      <a:lnTo>
                        <a:pt x="685177" y="493957"/>
                      </a:lnTo>
                      <a:lnTo>
                        <a:pt x="683207" y="494564"/>
                      </a:lnTo>
                      <a:lnTo>
                        <a:pt x="681540" y="494109"/>
                      </a:lnTo>
                      <a:lnTo>
                        <a:pt x="679419" y="492897"/>
                      </a:lnTo>
                      <a:lnTo>
                        <a:pt x="680631" y="490776"/>
                      </a:lnTo>
                      <a:lnTo>
                        <a:pt x="682146" y="488957"/>
                      </a:lnTo>
                      <a:lnTo>
                        <a:pt x="677904" y="485472"/>
                      </a:lnTo>
                      <a:lnTo>
                        <a:pt x="675934" y="485018"/>
                      </a:lnTo>
                      <a:lnTo>
                        <a:pt x="674267" y="485169"/>
                      </a:lnTo>
                      <a:lnTo>
                        <a:pt x="663964" y="488048"/>
                      </a:lnTo>
                      <a:lnTo>
                        <a:pt x="656236" y="491533"/>
                      </a:lnTo>
                      <a:lnTo>
                        <a:pt x="649115" y="493503"/>
                      </a:lnTo>
                      <a:lnTo>
                        <a:pt x="642600" y="494109"/>
                      </a:lnTo>
                      <a:lnTo>
                        <a:pt x="638812" y="495624"/>
                      </a:lnTo>
                      <a:lnTo>
                        <a:pt x="630932" y="500321"/>
                      </a:lnTo>
                      <a:lnTo>
                        <a:pt x="626084" y="502291"/>
                      </a:lnTo>
                      <a:lnTo>
                        <a:pt x="617750" y="507594"/>
                      </a:lnTo>
                      <a:lnTo>
                        <a:pt x="596537" y="516686"/>
                      </a:lnTo>
                      <a:lnTo>
                        <a:pt x="591082" y="517443"/>
                      </a:lnTo>
                      <a:lnTo>
                        <a:pt x="587900" y="516837"/>
                      </a:lnTo>
                      <a:lnTo>
                        <a:pt x="585628" y="515473"/>
                      </a:lnTo>
                      <a:lnTo>
                        <a:pt x="583961" y="516534"/>
                      </a:lnTo>
                      <a:lnTo>
                        <a:pt x="585779" y="518807"/>
                      </a:lnTo>
                      <a:lnTo>
                        <a:pt x="588961" y="523201"/>
                      </a:lnTo>
                      <a:lnTo>
                        <a:pt x="587749" y="525625"/>
                      </a:lnTo>
                      <a:lnTo>
                        <a:pt x="582900" y="525019"/>
                      </a:lnTo>
                      <a:lnTo>
                        <a:pt x="572597" y="526989"/>
                      </a:lnTo>
                      <a:lnTo>
                        <a:pt x="561536" y="530171"/>
                      </a:lnTo>
                      <a:lnTo>
                        <a:pt x="561688" y="533353"/>
                      </a:lnTo>
                      <a:lnTo>
                        <a:pt x="562445" y="536232"/>
                      </a:lnTo>
                      <a:lnTo>
                        <a:pt x="560475" y="540777"/>
                      </a:lnTo>
                      <a:lnTo>
                        <a:pt x="558657" y="544565"/>
                      </a:lnTo>
                      <a:lnTo>
                        <a:pt x="556990" y="555172"/>
                      </a:lnTo>
                      <a:lnTo>
                        <a:pt x="555475" y="558354"/>
                      </a:lnTo>
                      <a:lnTo>
                        <a:pt x="551233" y="560475"/>
                      </a:lnTo>
                      <a:lnTo>
                        <a:pt x="529110" y="565324"/>
                      </a:lnTo>
                      <a:lnTo>
                        <a:pt x="525322" y="565627"/>
                      </a:lnTo>
                      <a:lnTo>
                        <a:pt x="523656" y="566536"/>
                      </a:lnTo>
                      <a:lnTo>
                        <a:pt x="522443" y="565627"/>
                      </a:lnTo>
                      <a:lnTo>
                        <a:pt x="518352" y="564566"/>
                      </a:lnTo>
                      <a:lnTo>
                        <a:pt x="512595" y="564566"/>
                      </a:lnTo>
                      <a:lnTo>
                        <a:pt x="509867" y="564112"/>
                      </a:lnTo>
                      <a:lnTo>
                        <a:pt x="507140" y="562293"/>
                      </a:lnTo>
                      <a:lnTo>
                        <a:pt x="503503" y="557748"/>
                      </a:lnTo>
                      <a:lnTo>
                        <a:pt x="498200" y="548656"/>
                      </a:lnTo>
                      <a:lnTo>
                        <a:pt x="486685" y="544111"/>
                      </a:lnTo>
                      <a:lnTo>
                        <a:pt x="481230" y="541080"/>
                      </a:lnTo>
                      <a:lnTo>
                        <a:pt x="480169" y="538050"/>
                      </a:lnTo>
                      <a:lnTo>
                        <a:pt x="481230" y="535171"/>
                      </a:lnTo>
                      <a:lnTo>
                        <a:pt x="493049" y="525171"/>
                      </a:lnTo>
                      <a:lnTo>
                        <a:pt x="497291" y="521989"/>
                      </a:lnTo>
                      <a:lnTo>
                        <a:pt x="515019" y="519110"/>
                      </a:lnTo>
                      <a:lnTo>
                        <a:pt x="521989" y="518958"/>
                      </a:lnTo>
                      <a:lnTo>
                        <a:pt x="529110" y="517746"/>
                      </a:lnTo>
                      <a:lnTo>
                        <a:pt x="528959" y="511988"/>
                      </a:lnTo>
                      <a:lnTo>
                        <a:pt x="521989" y="505018"/>
                      </a:lnTo>
                      <a:lnTo>
                        <a:pt x="514564" y="496836"/>
                      </a:lnTo>
                      <a:lnTo>
                        <a:pt x="507291" y="487897"/>
                      </a:lnTo>
                      <a:lnTo>
                        <a:pt x="497140" y="484715"/>
                      </a:lnTo>
                      <a:lnTo>
                        <a:pt x="485018" y="483199"/>
                      </a:lnTo>
                      <a:lnTo>
                        <a:pt x="460320" y="485018"/>
                      </a:lnTo>
                      <a:lnTo>
                        <a:pt x="456835" y="484715"/>
                      </a:lnTo>
                      <a:lnTo>
                        <a:pt x="441077" y="478351"/>
                      </a:lnTo>
                      <a:lnTo>
                        <a:pt x="439410" y="478351"/>
                      </a:lnTo>
                      <a:lnTo>
                        <a:pt x="437289" y="478654"/>
                      </a:lnTo>
                      <a:lnTo>
                        <a:pt x="437895" y="480472"/>
                      </a:lnTo>
                      <a:lnTo>
                        <a:pt x="439259" y="481836"/>
                      </a:lnTo>
                      <a:lnTo>
                        <a:pt x="460169" y="495170"/>
                      </a:lnTo>
                      <a:lnTo>
                        <a:pt x="461078" y="498655"/>
                      </a:lnTo>
                      <a:lnTo>
                        <a:pt x="461684" y="503352"/>
                      </a:lnTo>
                      <a:lnTo>
                        <a:pt x="461380" y="505321"/>
                      </a:lnTo>
                      <a:lnTo>
                        <a:pt x="461835" y="507291"/>
                      </a:lnTo>
                      <a:lnTo>
                        <a:pt x="461684" y="510776"/>
                      </a:lnTo>
                      <a:lnTo>
                        <a:pt x="456532" y="526080"/>
                      </a:lnTo>
                      <a:lnTo>
                        <a:pt x="451532" y="536838"/>
                      </a:lnTo>
                      <a:lnTo>
                        <a:pt x="449865" y="541989"/>
                      </a:lnTo>
                      <a:lnTo>
                        <a:pt x="449562" y="545474"/>
                      </a:lnTo>
                      <a:lnTo>
                        <a:pt x="451532" y="548505"/>
                      </a:lnTo>
                      <a:lnTo>
                        <a:pt x="457592" y="549566"/>
                      </a:lnTo>
                      <a:lnTo>
                        <a:pt x="463502" y="552747"/>
                      </a:lnTo>
                      <a:lnTo>
                        <a:pt x="466533" y="557142"/>
                      </a:lnTo>
                      <a:lnTo>
                        <a:pt x="467290" y="560172"/>
                      </a:lnTo>
                      <a:lnTo>
                        <a:pt x="467442" y="566687"/>
                      </a:lnTo>
                      <a:lnTo>
                        <a:pt x="468805" y="572445"/>
                      </a:lnTo>
                      <a:lnTo>
                        <a:pt x="464108" y="581082"/>
                      </a:lnTo>
                      <a:lnTo>
                        <a:pt x="461532" y="584567"/>
                      </a:lnTo>
                      <a:lnTo>
                        <a:pt x="458199" y="592294"/>
                      </a:lnTo>
                      <a:lnTo>
                        <a:pt x="459411" y="597901"/>
                      </a:lnTo>
                      <a:lnTo>
                        <a:pt x="459108" y="600173"/>
                      </a:lnTo>
                      <a:lnTo>
                        <a:pt x="458350" y="602598"/>
                      </a:lnTo>
                      <a:lnTo>
                        <a:pt x="455926" y="600780"/>
                      </a:lnTo>
                      <a:lnTo>
                        <a:pt x="453956" y="598507"/>
                      </a:lnTo>
                      <a:lnTo>
                        <a:pt x="451229" y="596537"/>
                      </a:lnTo>
                      <a:lnTo>
                        <a:pt x="448350" y="595931"/>
                      </a:lnTo>
                      <a:lnTo>
                        <a:pt x="445168" y="596385"/>
                      </a:lnTo>
                      <a:lnTo>
                        <a:pt x="442895" y="597446"/>
                      </a:lnTo>
                      <a:lnTo>
                        <a:pt x="443198" y="595173"/>
                      </a:lnTo>
                      <a:lnTo>
                        <a:pt x="446077" y="591688"/>
                      </a:lnTo>
                      <a:lnTo>
                        <a:pt x="444714" y="589870"/>
                      </a:lnTo>
                      <a:lnTo>
                        <a:pt x="443198" y="588506"/>
                      </a:lnTo>
                      <a:lnTo>
                        <a:pt x="434561" y="584112"/>
                      </a:lnTo>
                      <a:lnTo>
                        <a:pt x="428349" y="583961"/>
                      </a:lnTo>
                      <a:lnTo>
                        <a:pt x="422895" y="584264"/>
                      </a:lnTo>
                      <a:lnTo>
                        <a:pt x="417288" y="583809"/>
                      </a:lnTo>
                      <a:lnTo>
                        <a:pt x="413045" y="581082"/>
                      </a:lnTo>
                      <a:lnTo>
                        <a:pt x="409409" y="579567"/>
                      </a:lnTo>
                      <a:lnTo>
                        <a:pt x="406530" y="579415"/>
                      </a:lnTo>
                      <a:lnTo>
                        <a:pt x="403045" y="581839"/>
                      </a:lnTo>
                      <a:lnTo>
                        <a:pt x="394711" y="591234"/>
                      </a:lnTo>
                      <a:lnTo>
                        <a:pt x="386378" y="597446"/>
                      </a:lnTo>
                      <a:lnTo>
                        <a:pt x="375468" y="602143"/>
                      </a:lnTo>
                      <a:lnTo>
                        <a:pt x="367286" y="603658"/>
                      </a:lnTo>
                      <a:lnTo>
                        <a:pt x="365013" y="604719"/>
                      </a:lnTo>
                      <a:lnTo>
                        <a:pt x="360165" y="610174"/>
                      </a:lnTo>
                      <a:lnTo>
                        <a:pt x="355013" y="614265"/>
                      </a:lnTo>
                      <a:lnTo>
                        <a:pt x="341073" y="621235"/>
                      </a:lnTo>
                      <a:lnTo>
                        <a:pt x="340013" y="624114"/>
                      </a:lnTo>
                      <a:lnTo>
                        <a:pt x="339255" y="627902"/>
                      </a:lnTo>
                      <a:lnTo>
                        <a:pt x="340467" y="632296"/>
                      </a:lnTo>
                      <a:lnTo>
                        <a:pt x="343194" y="636538"/>
                      </a:lnTo>
                      <a:lnTo>
                        <a:pt x="350013" y="645175"/>
                      </a:lnTo>
                      <a:lnTo>
                        <a:pt x="353801" y="648054"/>
                      </a:lnTo>
                      <a:lnTo>
                        <a:pt x="356377" y="652600"/>
                      </a:lnTo>
                      <a:lnTo>
                        <a:pt x="358195" y="657751"/>
                      </a:lnTo>
                      <a:lnTo>
                        <a:pt x="357286" y="658812"/>
                      </a:lnTo>
                      <a:lnTo>
                        <a:pt x="351680" y="657600"/>
                      </a:lnTo>
                      <a:lnTo>
                        <a:pt x="347589" y="658206"/>
                      </a:lnTo>
                      <a:lnTo>
                        <a:pt x="341983" y="661691"/>
                      </a:lnTo>
                      <a:lnTo>
                        <a:pt x="341528" y="663206"/>
                      </a:lnTo>
                      <a:lnTo>
                        <a:pt x="339406" y="666691"/>
                      </a:lnTo>
                      <a:lnTo>
                        <a:pt x="334255" y="666994"/>
                      </a:lnTo>
                      <a:lnTo>
                        <a:pt x="320163" y="660630"/>
                      </a:lnTo>
                      <a:lnTo>
                        <a:pt x="308042" y="657448"/>
                      </a:lnTo>
                      <a:lnTo>
                        <a:pt x="306072" y="657297"/>
                      </a:lnTo>
                      <a:lnTo>
                        <a:pt x="303496" y="655630"/>
                      </a:lnTo>
                      <a:lnTo>
                        <a:pt x="302587" y="654266"/>
                      </a:lnTo>
                      <a:lnTo>
                        <a:pt x="297587" y="654569"/>
                      </a:lnTo>
                      <a:lnTo>
                        <a:pt x="294556" y="654418"/>
                      </a:lnTo>
                      <a:lnTo>
                        <a:pt x="291526" y="653357"/>
                      </a:lnTo>
                      <a:lnTo>
                        <a:pt x="278495" y="643205"/>
                      </a:lnTo>
                      <a:lnTo>
                        <a:pt x="267889" y="639266"/>
                      </a:lnTo>
                      <a:lnTo>
                        <a:pt x="265313" y="639266"/>
                      </a:lnTo>
                      <a:lnTo>
                        <a:pt x="260767" y="640326"/>
                      </a:lnTo>
                      <a:lnTo>
                        <a:pt x="258192" y="648508"/>
                      </a:lnTo>
                      <a:lnTo>
                        <a:pt x="254555" y="650781"/>
                      </a:lnTo>
                      <a:lnTo>
                        <a:pt x="251221" y="650630"/>
                      </a:lnTo>
                      <a:lnTo>
                        <a:pt x="251070" y="654721"/>
                      </a:lnTo>
                      <a:lnTo>
                        <a:pt x="252434" y="657297"/>
                      </a:lnTo>
                      <a:lnTo>
                        <a:pt x="253646" y="659115"/>
                      </a:lnTo>
                      <a:lnTo>
                        <a:pt x="257737" y="661994"/>
                      </a:lnTo>
                      <a:lnTo>
                        <a:pt x="265010" y="670631"/>
                      </a:lnTo>
                      <a:lnTo>
                        <a:pt x="268949" y="674116"/>
                      </a:lnTo>
                      <a:lnTo>
                        <a:pt x="271828" y="675479"/>
                      </a:lnTo>
                      <a:lnTo>
                        <a:pt x="275768" y="675631"/>
                      </a:lnTo>
                      <a:lnTo>
                        <a:pt x="284253" y="674722"/>
                      </a:lnTo>
                      <a:lnTo>
                        <a:pt x="287132" y="676085"/>
                      </a:lnTo>
                      <a:lnTo>
                        <a:pt x="290011" y="678055"/>
                      </a:lnTo>
                      <a:lnTo>
                        <a:pt x="290768" y="683055"/>
                      </a:lnTo>
                      <a:lnTo>
                        <a:pt x="293041" y="688055"/>
                      </a:lnTo>
                      <a:lnTo>
                        <a:pt x="293344" y="690934"/>
                      </a:lnTo>
                      <a:lnTo>
                        <a:pt x="290465" y="694268"/>
                      </a:lnTo>
                      <a:lnTo>
                        <a:pt x="281374" y="696692"/>
                      </a:lnTo>
                      <a:lnTo>
                        <a:pt x="276071" y="700177"/>
                      </a:lnTo>
                      <a:lnTo>
                        <a:pt x="274101" y="700026"/>
                      </a:lnTo>
                      <a:lnTo>
                        <a:pt x="263343" y="696086"/>
                      </a:lnTo>
                      <a:lnTo>
                        <a:pt x="256070" y="694419"/>
                      </a:lnTo>
                      <a:lnTo>
                        <a:pt x="246676" y="691995"/>
                      </a:lnTo>
                      <a:lnTo>
                        <a:pt x="244858" y="690631"/>
                      </a:lnTo>
                      <a:lnTo>
                        <a:pt x="240615" y="683813"/>
                      </a:lnTo>
                      <a:lnTo>
                        <a:pt x="231220" y="677449"/>
                      </a:lnTo>
                      <a:lnTo>
                        <a:pt x="226978" y="675479"/>
                      </a:lnTo>
                      <a:lnTo>
                        <a:pt x="221069" y="676843"/>
                      </a:lnTo>
                      <a:lnTo>
                        <a:pt x="216978" y="676237"/>
                      </a:lnTo>
                      <a:lnTo>
                        <a:pt x="210159" y="672752"/>
                      </a:lnTo>
                      <a:lnTo>
                        <a:pt x="205614" y="667449"/>
                      </a:lnTo>
                      <a:lnTo>
                        <a:pt x="205310" y="660933"/>
                      </a:lnTo>
                      <a:lnTo>
                        <a:pt x="206674" y="659570"/>
                      </a:lnTo>
                      <a:lnTo>
                        <a:pt x="207887" y="658812"/>
                      </a:lnTo>
                      <a:lnTo>
                        <a:pt x="204704" y="656842"/>
                      </a:lnTo>
                      <a:lnTo>
                        <a:pt x="204553" y="651842"/>
                      </a:lnTo>
                      <a:lnTo>
                        <a:pt x="203947" y="648660"/>
                      </a:lnTo>
                      <a:lnTo>
                        <a:pt x="200310" y="640478"/>
                      </a:lnTo>
                      <a:lnTo>
                        <a:pt x="196522" y="635629"/>
                      </a:lnTo>
                      <a:lnTo>
                        <a:pt x="193037" y="630326"/>
                      </a:lnTo>
                      <a:lnTo>
                        <a:pt x="196825" y="627599"/>
                      </a:lnTo>
                      <a:lnTo>
                        <a:pt x="198795" y="625174"/>
                      </a:lnTo>
                      <a:lnTo>
                        <a:pt x="201522" y="618204"/>
                      </a:lnTo>
                      <a:lnTo>
                        <a:pt x="201977" y="615932"/>
                      </a:lnTo>
                      <a:lnTo>
                        <a:pt x="203189" y="613507"/>
                      </a:lnTo>
                      <a:lnTo>
                        <a:pt x="203644" y="611386"/>
                      </a:lnTo>
                      <a:lnTo>
                        <a:pt x="203341" y="609113"/>
                      </a:lnTo>
                      <a:lnTo>
                        <a:pt x="200765" y="605174"/>
                      </a:lnTo>
                      <a:lnTo>
                        <a:pt x="192886" y="597295"/>
                      </a:lnTo>
                      <a:lnTo>
                        <a:pt x="185007" y="592749"/>
                      </a:lnTo>
                      <a:lnTo>
                        <a:pt x="170006" y="588506"/>
                      </a:lnTo>
                      <a:lnTo>
                        <a:pt x="165915" y="588658"/>
                      </a:lnTo>
                      <a:lnTo>
                        <a:pt x="164400" y="588052"/>
                      </a:lnTo>
                      <a:lnTo>
                        <a:pt x="167582" y="587294"/>
                      </a:lnTo>
                      <a:lnTo>
                        <a:pt x="170764" y="585476"/>
                      </a:lnTo>
                      <a:lnTo>
                        <a:pt x="172431" y="582900"/>
                      </a:lnTo>
                      <a:lnTo>
                        <a:pt x="168643" y="581536"/>
                      </a:lnTo>
                      <a:lnTo>
                        <a:pt x="165612" y="580930"/>
                      </a:lnTo>
                      <a:lnTo>
                        <a:pt x="160460" y="578809"/>
                      </a:lnTo>
                      <a:lnTo>
                        <a:pt x="159551" y="576839"/>
                      </a:lnTo>
                      <a:lnTo>
                        <a:pt x="160612" y="575476"/>
                      </a:lnTo>
                      <a:lnTo>
                        <a:pt x="159400" y="571991"/>
                      </a:lnTo>
                      <a:lnTo>
                        <a:pt x="152582" y="570930"/>
                      </a:lnTo>
                      <a:lnTo>
                        <a:pt x="150763" y="570172"/>
                      </a:lnTo>
                      <a:lnTo>
                        <a:pt x="150612" y="568960"/>
                      </a:lnTo>
                      <a:lnTo>
                        <a:pt x="145915" y="565172"/>
                      </a:lnTo>
                      <a:lnTo>
                        <a:pt x="139853" y="561081"/>
                      </a:lnTo>
                      <a:lnTo>
                        <a:pt x="140914" y="557142"/>
                      </a:lnTo>
                      <a:lnTo>
                        <a:pt x="136520" y="554111"/>
                      </a:lnTo>
                      <a:lnTo>
                        <a:pt x="132732" y="551990"/>
                      </a:lnTo>
                      <a:lnTo>
                        <a:pt x="126671" y="551232"/>
                      </a:lnTo>
                      <a:lnTo>
                        <a:pt x="124247" y="549869"/>
                      </a:lnTo>
                      <a:lnTo>
                        <a:pt x="138187" y="550172"/>
                      </a:lnTo>
                      <a:lnTo>
                        <a:pt x="152582" y="553202"/>
                      </a:lnTo>
                      <a:lnTo>
                        <a:pt x="151369" y="554414"/>
                      </a:lnTo>
                      <a:lnTo>
                        <a:pt x="150308" y="556232"/>
                      </a:lnTo>
                      <a:lnTo>
                        <a:pt x="154551" y="561536"/>
                      </a:lnTo>
                      <a:lnTo>
                        <a:pt x="158642" y="564415"/>
                      </a:lnTo>
                      <a:lnTo>
                        <a:pt x="167734" y="568203"/>
                      </a:lnTo>
                      <a:lnTo>
                        <a:pt x="168794" y="568203"/>
                      </a:lnTo>
                      <a:lnTo>
                        <a:pt x="170764" y="567142"/>
                      </a:lnTo>
                      <a:lnTo>
                        <a:pt x="175310" y="568809"/>
                      </a:lnTo>
                      <a:lnTo>
                        <a:pt x="178946" y="570778"/>
                      </a:lnTo>
                      <a:lnTo>
                        <a:pt x="185916" y="570930"/>
                      </a:lnTo>
                      <a:lnTo>
                        <a:pt x="194250" y="573354"/>
                      </a:lnTo>
                      <a:lnTo>
                        <a:pt x="193644" y="574263"/>
                      </a:lnTo>
                      <a:lnTo>
                        <a:pt x="192734" y="575021"/>
                      </a:lnTo>
                      <a:lnTo>
                        <a:pt x="195159" y="577900"/>
                      </a:lnTo>
                      <a:lnTo>
                        <a:pt x="198644" y="577597"/>
                      </a:lnTo>
                      <a:lnTo>
                        <a:pt x="204401" y="575173"/>
                      </a:lnTo>
                      <a:lnTo>
                        <a:pt x="219251" y="583506"/>
                      </a:lnTo>
                      <a:lnTo>
                        <a:pt x="223341" y="585021"/>
                      </a:lnTo>
                      <a:lnTo>
                        <a:pt x="246827" y="589264"/>
                      </a:lnTo>
                      <a:lnTo>
                        <a:pt x="257737" y="589719"/>
                      </a:lnTo>
                      <a:lnTo>
                        <a:pt x="263494" y="590628"/>
                      </a:lnTo>
                      <a:lnTo>
                        <a:pt x="271980" y="592900"/>
                      </a:lnTo>
                      <a:lnTo>
                        <a:pt x="281223" y="597143"/>
                      </a:lnTo>
                      <a:lnTo>
                        <a:pt x="288647" y="598658"/>
                      </a:lnTo>
                      <a:lnTo>
                        <a:pt x="302284" y="600173"/>
                      </a:lnTo>
                      <a:lnTo>
                        <a:pt x="309254" y="599870"/>
                      </a:lnTo>
                      <a:lnTo>
                        <a:pt x="326679" y="596992"/>
                      </a:lnTo>
                      <a:lnTo>
                        <a:pt x="348952" y="589415"/>
                      </a:lnTo>
                      <a:lnTo>
                        <a:pt x="360316" y="582749"/>
                      </a:lnTo>
                      <a:lnTo>
                        <a:pt x="378650" y="565324"/>
                      </a:lnTo>
                      <a:lnTo>
                        <a:pt x="380923" y="561233"/>
                      </a:lnTo>
                      <a:lnTo>
                        <a:pt x="383045" y="551687"/>
                      </a:lnTo>
                      <a:lnTo>
                        <a:pt x="383196" y="547596"/>
                      </a:lnTo>
                      <a:lnTo>
                        <a:pt x="380620" y="547141"/>
                      </a:lnTo>
                      <a:lnTo>
                        <a:pt x="377135" y="544868"/>
                      </a:lnTo>
                      <a:lnTo>
                        <a:pt x="377135" y="539414"/>
                      </a:lnTo>
                      <a:lnTo>
                        <a:pt x="375014" y="536686"/>
                      </a:lnTo>
                      <a:lnTo>
                        <a:pt x="372438" y="524110"/>
                      </a:lnTo>
                      <a:lnTo>
                        <a:pt x="366983" y="522746"/>
                      </a:lnTo>
                      <a:lnTo>
                        <a:pt x="363953" y="521231"/>
                      </a:lnTo>
                      <a:lnTo>
                        <a:pt x="360468" y="520474"/>
                      </a:lnTo>
                      <a:lnTo>
                        <a:pt x="356528" y="518504"/>
                      </a:lnTo>
                      <a:lnTo>
                        <a:pt x="351680" y="513352"/>
                      </a:lnTo>
                      <a:lnTo>
                        <a:pt x="346982" y="509867"/>
                      </a:lnTo>
                      <a:lnTo>
                        <a:pt x="343194" y="505170"/>
                      </a:lnTo>
                      <a:lnTo>
                        <a:pt x="340770" y="503503"/>
                      </a:lnTo>
                      <a:lnTo>
                        <a:pt x="339104" y="503049"/>
                      </a:lnTo>
                      <a:lnTo>
                        <a:pt x="340316" y="505321"/>
                      </a:lnTo>
                      <a:lnTo>
                        <a:pt x="341225" y="507897"/>
                      </a:lnTo>
                      <a:lnTo>
                        <a:pt x="334255" y="507291"/>
                      </a:lnTo>
                      <a:lnTo>
                        <a:pt x="314102" y="495321"/>
                      </a:lnTo>
                      <a:lnTo>
                        <a:pt x="310618" y="494412"/>
                      </a:lnTo>
                      <a:lnTo>
                        <a:pt x="309254" y="495473"/>
                      </a:lnTo>
                      <a:lnTo>
                        <a:pt x="303042" y="493806"/>
                      </a:lnTo>
                      <a:lnTo>
                        <a:pt x="301072" y="490927"/>
                      </a:lnTo>
                      <a:lnTo>
                        <a:pt x="283950" y="477745"/>
                      </a:lnTo>
                      <a:lnTo>
                        <a:pt x="253494" y="462896"/>
                      </a:lnTo>
                      <a:lnTo>
                        <a:pt x="232736" y="453804"/>
                      </a:lnTo>
                      <a:lnTo>
                        <a:pt x="217129" y="449713"/>
                      </a:lnTo>
                      <a:lnTo>
                        <a:pt x="215614" y="450319"/>
                      </a:lnTo>
                      <a:lnTo>
                        <a:pt x="214099" y="451986"/>
                      </a:lnTo>
                      <a:lnTo>
                        <a:pt x="209553" y="452441"/>
                      </a:lnTo>
                      <a:lnTo>
                        <a:pt x="205462" y="452138"/>
                      </a:lnTo>
                      <a:lnTo>
                        <a:pt x="191522" y="448501"/>
                      </a:lnTo>
                      <a:lnTo>
                        <a:pt x="188189" y="447895"/>
                      </a:lnTo>
                      <a:lnTo>
                        <a:pt x="173188" y="448047"/>
                      </a:lnTo>
                      <a:lnTo>
                        <a:pt x="171673" y="449107"/>
                      </a:lnTo>
                      <a:lnTo>
                        <a:pt x="166521" y="456835"/>
                      </a:lnTo>
                      <a:lnTo>
                        <a:pt x="163642" y="458350"/>
                      </a:lnTo>
                      <a:lnTo>
                        <a:pt x="158339" y="459714"/>
                      </a:lnTo>
                      <a:lnTo>
                        <a:pt x="159854" y="457441"/>
                      </a:lnTo>
                      <a:lnTo>
                        <a:pt x="163491" y="455774"/>
                      </a:lnTo>
                      <a:lnTo>
                        <a:pt x="165764" y="450168"/>
                      </a:lnTo>
                      <a:lnTo>
                        <a:pt x="165915" y="447895"/>
                      </a:lnTo>
                      <a:lnTo>
                        <a:pt x="167279" y="444865"/>
                      </a:lnTo>
                      <a:lnTo>
                        <a:pt x="166976" y="442440"/>
                      </a:lnTo>
                      <a:lnTo>
                        <a:pt x="165006" y="441683"/>
                      </a:lnTo>
                      <a:lnTo>
                        <a:pt x="161521" y="442440"/>
                      </a:lnTo>
                      <a:lnTo>
                        <a:pt x="153945" y="445319"/>
                      </a:lnTo>
                      <a:lnTo>
                        <a:pt x="152884" y="444562"/>
                      </a:lnTo>
                      <a:lnTo>
                        <a:pt x="155157" y="441531"/>
                      </a:lnTo>
                      <a:lnTo>
                        <a:pt x="154551" y="440319"/>
                      </a:lnTo>
                      <a:lnTo>
                        <a:pt x="151369" y="440774"/>
                      </a:lnTo>
                      <a:lnTo>
                        <a:pt x="144551" y="439410"/>
                      </a:lnTo>
                      <a:lnTo>
                        <a:pt x="137581" y="439865"/>
                      </a:lnTo>
                      <a:lnTo>
                        <a:pt x="136217" y="436228"/>
                      </a:lnTo>
                      <a:lnTo>
                        <a:pt x="131520" y="434258"/>
                      </a:lnTo>
                      <a:lnTo>
                        <a:pt x="129702" y="432440"/>
                      </a:lnTo>
                      <a:lnTo>
                        <a:pt x="131974" y="430470"/>
                      </a:lnTo>
                      <a:lnTo>
                        <a:pt x="147884" y="433804"/>
                      </a:lnTo>
                      <a:lnTo>
                        <a:pt x="152278" y="433955"/>
                      </a:lnTo>
                      <a:lnTo>
                        <a:pt x="154400" y="432743"/>
                      </a:lnTo>
                      <a:lnTo>
                        <a:pt x="154854" y="430622"/>
                      </a:lnTo>
                      <a:lnTo>
                        <a:pt x="154703" y="428046"/>
                      </a:lnTo>
                      <a:lnTo>
                        <a:pt x="152884" y="426682"/>
                      </a:lnTo>
                      <a:lnTo>
                        <a:pt x="142581" y="423955"/>
                      </a:lnTo>
                      <a:lnTo>
                        <a:pt x="137884" y="420924"/>
                      </a:lnTo>
                      <a:lnTo>
                        <a:pt x="126823" y="416833"/>
                      </a:lnTo>
                      <a:lnTo>
                        <a:pt x="126368" y="418652"/>
                      </a:lnTo>
                      <a:lnTo>
                        <a:pt x="128035" y="422591"/>
                      </a:lnTo>
                      <a:lnTo>
                        <a:pt x="127126" y="423803"/>
                      </a:lnTo>
                      <a:lnTo>
                        <a:pt x="123944" y="422743"/>
                      </a:lnTo>
                      <a:lnTo>
                        <a:pt x="121368" y="423500"/>
                      </a:lnTo>
                      <a:lnTo>
                        <a:pt x="118035" y="428197"/>
                      </a:lnTo>
                      <a:lnTo>
                        <a:pt x="114853" y="429258"/>
                      </a:lnTo>
                      <a:lnTo>
                        <a:pt x="112125" y="429713"/>
                      </a:lnTo>
                      <a:lnTo>
                        <a:pt x="101216" y="425773"/>
                      </a:lnTo>
                      <a:lnTo>
                        <a:pt x="96216" y="425167"/>
                      </a:lnTo>
                      <a:lnTo>
                        <a:pt x="97731" y="431531"/>
                      </a:lnTo>
                      <a:lnTo>
                        <a:pt x="97731" y="433804"/>
                      </a:lnTo>
                      <a:lnTo>
                        <a:pt x="96973" y="435925"/>
                      </a:lnTo>
                      <a:lnTo>
                        <a:pt x="96064" y="436986"/>
                      </a:lnTo>
                      <a:lnTo>
                        <a:pt x="94094" y="437592"/>
                      </a:lnTo>
                      <a:lnTo>
                        <a:pt x="89245" y="437289"/>
                      </a:lnTo>
                      <a:lnTo>
                        <a:pt x="82882" y="434864"/>
                      </a:lnTo>
                      <a:lnTo>
                        <a:pt x="78639" y="432440"/>
                      </a:lnTo>
                      <a:lnTo>
                        <a:pt x="77427" y="432289"/>
                      </a:lnTo>
                      <a:lnTo>
                        <a:pt x="76821" y="432592"/>
                      </a:lnTo>
                      <a:lnTo>
                        <a:pt x="77881" y="435016"/>
                      </a:lnTo>
                      <a:lnTo>
                        <a:pt x="77579" y="436834"/>
                      </a:lnTo>
                      <a:lnTo>
                        <a:pt x="76972" y="438804"/>
                      </a:lnTo>
                      <a:lnTo>
                        <a:pt x="76063" y="440622"/>
                      </a:lnTo>
                      <a:lnTo>
                        <a:pt x="74851" y="442137"/>
                      </a:lnTo>
                      <a:lnTo>
                        <a:pt x="72275" y="444107"/>
                      </a:lnTo>
                      <a:lnTo>
                        <a:pt x="67881" y="445622"/>
                      </a:lnTo>
                      <a:lnTo>
                        <a:pt x="55760" y="448653"/>
                      </a:lnTo>
                      <a:lnTo>
                        <a:pt x="54699" y="450016"/>
                      </a:lnTo>
                      <a:lnTo>
                        <a:pt x="50760" y="458350"/>
                      </a:lnTo>
                      <a:lnTo>
                        <a:pt x="49699" y="459562"/>
                      </a:lnTo>
                      <a:lnTo>
                        <a:pt x="48335" y="460623"/>
                      </a:lnTo>
                      <a:lnTo>
                        <a:pt x="44093" y="461987"/>
                      </a:lnTo>
                      <a:lnTo>
                        <a:pt x="42274" y="462593"/>
                      </a:lnTo>
                      <a:lnTo>
                        <a:pt x="36668" y="464865"/>
                      </a:lnTo>
                      <a:lnTo>
                        <a:pt x="33183" y="466532"/>
                      </a:lnTo>
                      <a:lnTo>
                        <a:pt x="29092" y="467593"/>
                      </a:lnTo>
                      <a:lnTo>
                        <a:pt x="30152" y="469260"/>
                      </a:lnTo>
                      <a:lnTo>
                        <a:pt x="36971" y="469563"/>
                      </a:lnTo>
                      <a:lnTo>
                        <a:pt x="38183" y="470017"/>
                      </a:lnTo>
                      <a:lnTo>
                        <a:pt x="38941" y="470775"/>
                      </a:lnTo>
                      <a:lnTo>
                        <a:pt x="38941" y="471987"/>
                      </a:lnTo>
                      <a:lnTo>
                        <a:pt x="38335" y="473957"/>
                      </a:lnTo>
                      <a:lnTo>
                        <a:pt x="30910" y="485169"/>
                      </a:lnTo>
                      <a:lnTo>
                        <a:pt x="30607" y="487442"/>
                      </a:lnTo>
                      <a:lnTo>
                        <a:pt x="33031" y="493957"/>
                      </a:lnTo>
                      <a:lnTo>
                        <a:pt x="36517" y="501685"/>
                      </a:lnTo>
                      <a:lnTo>
                        <a:pt x="46820" y="505018"/>
                      </a:lnTo>
                      <a:lnTo>
                        <a:pt x="54548" y="507746"/>
                      </a:lnTo>
                      <a:lnTo>
                        <a:pt x="59396" y="513958"/>
                      </a:lnTo>
                      <a:lnTo>
                        <a:pt x="67578" y="522140"/>
                      </a:lnTo>
                      <a:lnTo>
                        <a:pt x="71821" y="525322"/>
                      </a:lnTo>
                      <a:lnTo>
                        <a:pt x="72124" y="526231"/>
                      </a:lnTo>
                      <a:lnTo>
                        <a:pt x="70912" y="531838"/>
                      </a:lnTo>
                      <a:lnTo>
                        <a:pt x="65608" y="537444"/>
                      </a:lnTo>
                      <a:lnTo>
                        <a:pt x="60760" y="542293"/>
                      </a:lnTo>
                      <a:lnTo>
                        <a:pt x="55760" y="547899"/>
                      </a:lnTo>
                      <a:lnTo>
                        <a:pt x="51820" y="552747"/>
                      </a:lnTo>
                      <a:lnTo>
                        <a:pt x="47426" y="558657"/>
                      </a:lnTo>
                      <a:lnTo>
                        <a:pt x="46972" y="560475"/>
                      </a:lnTo>
                      <a:lnTo>
                        <a:pt x="46972" y="562293"/>
                      </a:lnTo>
                      <a:lnTo>
                        <a:pt x="47577" y="564263"/>
                      </a:lnTo>
                      <a:lnTo>
                        <a:pt x="53183" y="571385"/>
                      </a:lnTo>
                      <a:lnTo>
                        <a:pt x="55305" y="574869"/>
                      </a:lnTo>
                      <a:lnTo>
                        <a:pt x="57729" y="578809"/>
                      </a:lnTo>
                      <a:lnTo>
                        <a:pt x="60002" y="583052"/>
                      </a:lnTo>
                      <a:lnTo>
                        <a:pt x="61215" y="586840"/>
                      </a:lnTo>
                      <a:lnTo>
                        <a:pt x="63487" y="590476"/>
                      </a:lnTo>
                      <a:lnTo>
                        <a:pt x="64851" y="592446"/>
                      </a:lnTo>
                      <a:lnTo>
                        <a:pt x="67124" y="595022"/>
                      </a:lnTo>
                      <a:lnTo>
                        <a:pt x="69851" y="598961"/>
                      </a:lnTo>
                      <a:lnTo>
                        <a:pt x="70760" y="601992"/>
                      </a:lnTo>
                      <a:lnTo>
                        <a:pt x="74851" y="612750"/>
                      </a:lnTo>
                      <a:lnTo>
                        <a:pt x="75306" y="615477"/>
                      </a:lnTo>
                      <a:lnTo>
                        <a:pt x="75003" y="617447"/>
                      </a:lnTo>
                      <a:lnTo>
                        <a:pt x="73184" y="617901"/>
                      </a:lnTo>
                      <a:lnTo>
                        <a:pt x="69245" y="618204"/>
                      </a:lnTo>
                      <a:lnTo>
                        <a:pt x="64851" y="619568"/>
                      </a:lnTo>
                      <a:lnTo>
                        <a:pt x="64699" y="620023"/>
                      </a:lnTo>
                      <a:lnTo>
                        <a:pt x="67578" y="622598"/>
                      </a:lnTo>
                      <a:lnTo>
                        <a:pt x="65003" y="626841"/>
                      </a:lnTo>
                      <a:lnTo>
                        <a:pt x="64699" y="632902"/>
                      </a:lnTo>
                      <a:lnTo>
                        <a:pt x="61972" y="636084"/>
                      </a:lnTo>
                      <a:lnTo>
                        <a:pt x="61669" y="636841"/>
                      </a:lnTo>
                      <a:lnTo>
                        <a:pt x="61820" y="637448"/>
                      </a:lnTo>
                      <a:lnTo>
                        <a:pt x="62275" y="638054"/>
                      </a:lnTo>
                      <a:lnTo>
                        <a:pt x="67275" y="638811"/>
                      </a:lnTo>
                      <a:lnTo>
                        <a:pt x="67730" y="639720"/>
                      </a:lnTo>
                      <a:lnTo>
                        <a:pt x="67730" y="641539"/>
                      </a:lnTo>
                      <a:lnTo>
                        <a:pt x="67275" y="643205"/>
                      </a:lnTo>
                      <a:lnTo>
                        <a:pt x="64851" y="644417"/>
                      </a:lnTo>
                      <a:lnTo>
                        <a:pt x="62124" y="646236"/>
                      </a:lnTo>
                      <a:lnTo>
                        <a:pt x="61517" y="647903"/>
                      </a:lnTo>
                      <a:lnTo>
                        <a:pt x="61669" y="649418"/>
                      </a:lnTo>
                      <a:lnTo>
                        <a:pt x="62578" y="651842"/>
                      </a:lnTo>
                      <a:lnTo>
                        <a:pt x="64245" y="654872"/>
                      </a:lnTo>
                      <a:lnTo>
                        <a:pt x="66517" y="656691"/>
                      </a:lnTo>
                      <a:lnTo>
                        <a:pt x="74397" y="658357"/>
                      </a:lnTo>
                      <a:lnTo>
                        <a:pt x="75457" y="659873"/>
                      </a:lnTo>
                      <a:lnTo>
                        <a:pt x="75912" y="661842"/>
                      </a:lnTo>
                      <a:lnTo>
                        <a:pt x="75760" y="663812"/>
                      </a:lnTo>
                      <a:lnTo>
                        <a:pt x="72124" y="667600"/>
                      </a:lnTo>
                      <a:lnTo>
                        <a:pt x="72124" y="669115"/>
                      </a:lnTo>
                      <a:lnTo>
                        <a:pt x="73639" y="672600"/>
                      </a:lnTo>
                      <a:lnTo>
                        <a:pt x="75457" y="676085"/>
                      </a:lnTo>
                      <a:lnTo>
                        <a:pt x="83185" y="679722"/>
                      </a:lnTo>
                      <a:lnTo>
                        <a:pt x="85761" y="681692"/>
                      </a:lnTo>
                      <a:lnTo>
                        <a:pt x="86518" y="683358"/>
                      </a:lnTo>
                      <a:lnTo>
                        <a:pt x="86821" y="685934"/>
                      </a:lnTo>
                      <a:lnTo>
                        <a:pt x="86821" y="688661"/>
                      </a:lnTo>
                      <a:lnTo>
                        <a:pt x="86215" y="691237"/>
                      </a:lnTo>
                      <a:lnTo>
                        <a:pt x="83791" y="694419"/>
                      </a:lnTo>
                      <a:lnTo>
                        <a:pt x="78185" y="700632"/>
                      </a:lnTo>
                      <a:lnTo>
                        <a:pt x="72579" y="703056"/>
                      </a:lnTo>
                      <a:lnTo>
                        <a:pt x="72275" y="703662"/>
                      </a:lnTo>
                      <a:lnTo>
                        <a:pt x="73942" y="705632"/>
                      </a:lnTo>
                      <a:lnTo>
                        <a:pt x="83943" y="713662"/>
                      </a:lnTo>
                      <a:lnTo>
                        <a:pt x="90306" y="717450"/>
                      </a:lnTo>
                      <a:lnTo>
                        <a:pt x="99095" y="722451"/>
                      </a:lnTo>
                      <a:lnTo>
                        <a:pt x="104701" y="726542"/>
                      </a:lnTo>
                      <a:lnTo>
                        <a:pt x="106519" y="729269"/>
                      </a:lnTo>
                      <a:lnTo>
                        <a:pt x="109095" y="732451"/>
                      </a:lnTo>
                      <a:lnTo>
                        <a:pt x="111822" y="735178"/>
                      </a:lnTo>
                      <a:lnTo>
                        <a:pt x="113792" y="737300"/>
                      </a:lnTo>
                      <a:lnTo>
                        <a:pt x="114550" y="738815"/>
                      </a:lnTo>
                      <a:lnTo>
                        <a:pt x="114398" y="740330"/>
                      </a:lnTo>
                      <a:lnTo>
                        <a:pt x="111822" y="745027"/>
                      </a:lnTo>
                      <a:lnTo>
                        <a:pt x="110307" y="748664"/>
                      </a:lnTo>
                      <a:lnTo>
                        <a:pt x="107580" y="753967"/>
                      </a:lnTo>
                      <a:lnTo>
                        <a:pt x="104852" y="757603"/>
                      </a:lnTo>
                      <a:lnTo>
                        <a:pt x="98034" y="764270"/>
                      </a:lnTo>
                      <a:lnTo>
                        <a:pt x="87882" y="772604"/>
                      </a:lnTo>
                      <a:lnTo>
                        <a:pt x="85609" y="775180"/>
                      </a:lnTo>
                      <a:lnTo>
                        <a:pt x="80760" y="779574"/>
                      </a:lnTo>
                      <a:lnTo>
                        <a:pt x="72730" y="788362"/>
                      </a:lnTo>
                      <a:lnTo>
                        <a:pt x="70609" y="790180"/>
                      </a:lnTo>
                      <a:lnTo>
                        <a:pt x="63942" y="797150"/>
                      </a:lnTo>
                      <a:lnTo>
                        <a:pt x="60911" y="799423"/>
                      </a:lnTo>
                      <a:lnTo>
                        <a:pt x="58487" y="801393"/>
                      </a:lnTo>
                      <a:lnTo>
                        <a:pt x="51972" y="808060"/>
                      </a:lnTo>
                      <a:lnTo>
                        <a:pt x="44850" y="812909"/>
                      </a:lnTo>
                      <a:lnTo>
                        <a:pt x="37880" y="817606"/>
                      </a:lnTo>
                      <a:lnTo>
                        <a:pt x="35910" y="819878"/>
                      </a:lnTo>
                      <a:lnTo>
                        <a:pt x="33334" y="821697"/>
                      </a:lnTo>
                      <a:lnTo>
                        <a:pt x="30152" y="823363"/>
                      </a:lnTo>
                      <a:lnTo>
                        <a:pt x="28941" y="824273"/>
                      </a:lnTo>
                      <a:lnTo>
                        <a:pt x="21819" y="830485"/>
                      </a:lnTo>
                      <a:lnTo>
                        <a:pt x="12121" y="839122"/>
                      </a:lnTo>
                      <a:lnTo>
                        <a:pt x="22576" y="837758"/>
                      </a:lnTo>
                      <a:lnTo>
                        <a:pt x="31819" y="833364"/>
                      </a:lnTo>
                      <a:lnTo>
                        <a:pt x="33486" y="834424"/>
                      </a:lnTo>
                      <a:lnTo>
                        <a:pt x="35456" y="836091"/>
                      </a:lnTo>
                      <a:lnTo>
                        <a:pt x="35304" y="838970"/>
                      </a:lnTo>
                      <a:lnTo>
                        <a:pt x="34698" y="841091"/>
                      </a:lnTo>
                      <a:lnTo>
                        <a:pt x="31213" y="838970"/>
                      </a:lnTo>
                      <a:lnTo>
                        <a:pt x="31971" y="841394"/>
                      </a:lnTo>
                      <a:lnTo>
                        <a:pt x="35304" y="845788"/>
                      </a:lnTo>
                      <a:lnTo>
                        <a:pt x="40001" y="847607"/>
                      </a:lnTo>
                      <a:lnTo>
                        <a:pt x="46972" y="853365"/>
                      </a:lnTo>
                      <a:lnTo>
                        <a:pt x="55153" y="853971"/>
                      </a:lnTo>
                      <a:lnTo>
                        <a:pt x="60608" y="852910"/>
                      </a:lnTo>
                      <a:lnTo>
                        <a:pt x="64851" y="853213"/>
                      </a:lnTo>
                      <a:lnTo>
                        <a:pt x="68942" y="856243"/>
                      </a:lnTo>
                      <a:lnTo>
                        <a:pt x="71821" y="860183"/>
                      </a:lnTo>
                      <a:lnTo>
                        <a:pt x="74093" y="861092"/>
                      </a:lnTo>
                      <a:lnTo>
                        <a:pt x="77124" y="862910"/>
                      </a:lnTo>
                      <a:lnTo>
                        <a:pt x="76669" y="865183"/>
                      </a:lnTo>
                      <a:lnTo>
                        <a:pt x="75760" y="866395"/>
                      </a:lnTo>
                      <a:lnTo>
                        <a:pt x="63487" y="863062"/>
                      </a:lnTo>
                      <a:lnTo>
                        <a:pt x="49093" y="861244"/>
                      </a:lnTo>
                      <a:lnTo>
                        <a:pt x="47274" y="862759"/>
                      </a:lnTo>
                      <a:lnTo>
                        <a:pt x="45456" y="865183"/>
                      </a:lnTo>
                      <a:lnTo>
                        <a:pt x="44547" y="867153"/>
                      </a:lnTo>
                      <a:lnTo>
                        <a:pt x="43638" y="868213"/>
                      </a:lnTo>
                      <a:lnTo>
                        <a:pt x="41517" y="868971"/>
                      </a:lnTo>
                      <a:lnTo>
                        <a:pt x="38183" y="869123"/>
                      </a:lnTo>
                      <a:lnTo>
                        <a:pt x="34243" y="868668"/>
                      </a:lnTo>
                      <a:lnTo>
                        <a:pt x="31971" y="867304"/>
                      </a:lnTo>
                      <a:lnTo>
                        <a:pt x="30152" y="868820"/>
                      </a:lnTo>
                      <a:lnTo>
                        <a:pt x="29395" y="872153"/>
                      </a:lnTo>
                      <a:lnTo>
                        <a:pt x="26819" y="873820"/>
                      </a:lnTo>
                      <a:lnTo>
                        <a:pt x="23486" y="872456"/>
                      </a:lnTo>
                      <a:lnTo>
                        <a:pt x="21364" y="869880"/>
                      </a:lnTo>
                      <a:lnTo>
                        <a:pt x="19243" y="870183"/>
                      </a:lnTo>
                      <a:lnTo>
                        <a:pt x="18182" y="872456"/>
                      </a:lnTo>
                      <a:lnTo>
                        <a:pt x="18940" y="875638"/>
                      </a:lnTo>
                      <a:lnTo>
                        <a:pt x="19546" y="879426"/>
                      </a:lnTo>
                      <a:lnTo>
                        <a:pt x="18031" y="882305"/>
                      </a:lnTo>
                      <a:lnTo>
                        <a:pt x="19546" y="883517"/>
                      </a:lnTo>
                      <a:lnTo>
                        <a:pt x="21364" y="885487"/>
                      </a:lnTo>
                      <a:lnTo>
                        <a:pt x="21819" y="886699"/>
                      </a:lnTo>
                      <a:lnTo>
                        <a:pt x="21213" y="887457"/>
                      </a:lnTo>
                      <a:lnTo>
                        <a:pt x="19395" y="887911"/>
                      </a:lnTo>
                      <a:lnTo>
                        <a:pt x="18940" y="888517"/>
                      </a:lnTo>
                      <a:lnTo>
                        <a:pt x="18182" y="889578"/>
                      </a:lnTo>
                      <a:lnTo>
                        <a:pt x="16061" y="889881"/>
                      </a:lnTo>
                      <a:lnTo>
                        <a:pt x="15000" y="890639"/>
                      </a:lnTo>
                      <a:lnTo>
                        <a:pt x="13637" y="894124"/>
                      </a:lnTo>
                      <a:lnTo>
                        <a:pt x="11061" y="899730"/>
                      </a:lnTo>
                      <a:lnTo>
                        <a:pt x="8637" y="902609"/>
                      </a:lnTo>
                      <a:lnTo>
                        <a:pt x="9091" y="902609"/>
                      </a:lnTo>
                      <a:lnTo>
                        <a:pt x="10910" y="905336"/>
                      </a:lnTo>
                      <a:lnTo>
                        <a:pt x="12576" y="919124"/>
                      </a:lnTo>
                      <a:lnTo>
                        <a:pt x="12879" y="922458"/>
                      </a:lnTo>
                      <a:lnTo>
                        <a:pt x="12273" y="923973"/>
                      </a:lnTo>
                      <a:lnTo>
                        <a:pt x="10758" y="924731"/>
                      </a:lnTo>
                      <a:lnTo>
                        <a:pt x="6364" y="929579"/>
                      </a:lnTo>
                      <a:lnTo>
                        <a:pt x="5758" y="931549"/>
                      </a:lnTo>
                      <a:lnTo>
                        <a:pt x="5909" y="933216"/>
                      </a:lnTo>
                      <a:lnTo>
                        <a:pt x="6515" y="934883"/>
                      </a:lnTo>
                      <a:lnTo>
                        <a:pt x="9849" y="935337"/>
                      </a:lnTo>
                      <a:lnTo>
                        <a:pt x="14091" y="934883"/>
                      </a:lnTo>
                      <a:lnTo>
                        <a:pt x="16970" y="936549"/>
                      </a:lnTo>
                      <a:lnTo>
                        <a:pt x="20455" y="940034"/>
                      </a:lnTo>
                      <a:lnTo>
                        <a:pt x="21819" y="942762"/>
                      </a:lnTo>
                      <a:lnTo>
                        <a:pt x="22425" y="945186"/>
                      </a:lnTo>
                      <a:lnTo>
                        <a:pt x="20455" y="947307"/>
                      </a:lnTo>
                      <a:lnTo>
                        <a:pt x="17576" y="947004"/>
                      </a:lnTo>
                      <a:lnTo>
                        <a:pt x="15303" y="945944"/>
                      </a:lnTo>
                      <a:lnTo>
                        <a:pt x="14394" y="945034"/>
                      </a:lnTo>
                      <a:lnTo>
                        <a:pt x="14546" y="944277"/>
                      </a:lnTo>
                      <a:lnTo>
                        <a:pt x="12273" y="942156"/>
                      </a:lnTo>
                      <a:lnTo>
                        <a:pt x="8940" y="941095"/>
                      </a:lnTo>
                      <a:lnTo>
                        <a:pt x="8031" y="941246"/>
                      </a:lnTo>
                      <a:lnTo>
                        <a:pt x="8031" y="941246"/>
                      </a:lnTo>
                      <a:lnTo>
                        <a:pt x="8788" y="944428"/>
                      </a:lnTo>
                      <a:lnTo>
                        <a:pt x="10152" y="945641"/>
                      </a:lnTo>
                      <a:lnTo>
                        <a:pt x="11364" y="946398"/>
                      </a:lnTo>
                      <a:lnTo>
                        <a:pt x="11667" y="947004"/>
                      </a:lnTo>
                      <a:lnTo>
                        <a:pt x="11667" y="947459"/>
                      </a:lnTo>
                      <a:lnTo>
                        <a:pt x="10910" y="948065"/>
                      </a:lnTo>
                      <a:lnTo>
                        <a:pt x="5152" y="949732"/>
                      </a:lnTo>
                      <a:lnTo>
                        <a:pt x="4394" y="951095"/>
                      </a:lnTo>
                      <a:lnTo>
                        <a:pt x="3788" y="952762"/>
                      </a:lnTo>
                      <a:lnTo>
                        <a:pt x="1364" y="955035"/>
                      </a:lnTo>
                      <a:lnTo>
                        <a:pt x="606" y="957156"/>
                      </a:lnTo>
                      <a:lnTo>
                        <a:pt x="0" y="959581"/>
                      </a:lnTo>
                      <a:lnTo>
                        <a:pt x="0" y="960490"/>
                      </a:lnTo>
                      <a:lnTo>
                        <a:pt x="3182" y="960641"/>
                      </a:lnTo>
                      <a:lnTo>
                        <a:pt x="4394" y="961247"/>
                      </a:lnTo>
                      <a:lnTo>
                        <a:pt x="5152" y="964429"/>
                      </a:lnTo>
                      <a:lnTo>
                        <a:pt x="8788" y="966853"/>
                      </a:lnTo>
                      <a:lnTo>
                        <a:pt x="12121" y="968823"/>
                      </a:lnTo>
                      <a:lnTo>
                        <a:pt x="13031" y="969732"/>
                      </a:lnTo>
                      <a:lnTo>
                        <a:pt x="13334" y="971551"/>
                      </a:lnTo>
                      <a:lnTo>
                        <a:pt x="13031" y="973672"/>
                      </a:lnTo>
                      <a:lnTo>
                        <a:pt x="12728" y="974733"/>
                      </a:lnTo>
                      <a:lnTo>
                        <a:pt x="11212" y="975945"/>
                      </a:lnTo>
                      <a:lnTo>
                        <a:pt x="10000" y="979127"/>
                      </a:lnTo>
                      <a:lnTo>
                        <a:pt x="9849" y="982006"/>
                      </a:lnTo>
                      <a:lnTo>
                        <a:pt x="7879" y="987309"/>
                      </a:lnTo>
                      <a:lnTo>
                        <a:pt x="8333" y="987309"/>
                      </a:lnTo>
                      <a:lnTo>
                        <a:pt x="12425" y="986400"/>
                      </a:lnTo>
                      <a:lnTo>
                        <a:pt x="13637" y="987006"/>
                      </a:lnTo>
                      <a:lnTo>
                        <a:pt x="14546" y="988066"/>
                      </a:lnTo>
                      <a:lnTo>
                        <a:pt x="14849" y="991400"/>
                      </a:lnTo>
                      <a:lnTo>
                        <a:pt x="16061" y="992763"/>
                      </a:lnTo>
                      <a:lnTo>
                        <a:pt x="17425" y="995036"/>
                      </a:lnTo>
                      <a:lnTo>
                        <a:pt x="17879" y="996855"/>
                      </a:lnTo>
                      <a:lnTo>
                        <a:pt x="20607" y="998976"/>
                      </a:lnTo>
                      <a:lnTo>
                        <a:pt x="20758" y="1000340"/>
                      </a:lnTo>
                      <a:lnTo>
                        <a:pt x="22425" y="1005037"/>
                      </a:lnTo>
                      <a:lnTo>
                        <a:pt x="23031" y="1007916"/>
                      </a:lnTo>
                      <a:lnTo>
                        <a:pt x="23183" y="1010037"/>
                      </a:lnTo>
                      <a:lnTo>
                        <a:pt x="22425" y="1012764"/>
                      </a:lnTo>
                      <a:lnTo>
                        <a:pt x="21819" y="1014582"/>
                      </a:lnTo>
                      <a:lnTo>
                        <a:pt x="25455" y="1017916"/>
                      </a:lnTo>
                      <a:lnTo>
                        <a:pt x="26364" y="1018067"/>
                      </a:lnTo>
                      <a:lnTo>
                        <a:pt x="28486" y="1016704"/>
                      </a:lnTo>
                      <a:lnTo>
                        <a:pt x="28941" y="1016552"/>
                      </a:lnTo>
                      <a:lnTo>
                        <a:pt x="33183" y="1016552"/>
                      </a:lnTo>
                      <a:lnTo>
                        <a:pt x="35153" y="1017613"/>
                      </a:lnTo>
                      <a:lnTo>
                        <a:pt x="36668" y="1019886"/>
                      </a:lnTo>
                      <a:lnTo>
                        <a:pt x="38031" y="1021704"/>
                      </a:lnTo>
                      <a:lnTo>
                        <a:pt x="39547" y="1022310"/>
                      </a:lnTo>
                      <a:lnTo>
                        <a:pt x="43638" y="1020037"/>
                      </a:lnTo>
                      <a:lnTo>
                        <a:pt x="45911" y="1019280"/>
                      </a:lnTo>
                      <a:lnTo>
                        <a:pt x="47426" y="1019280"/>
                      </a:lnTo>
                      <a:lnTo>
                        <a:pt x="52881" y="1021249"/>
                      </a:lnTo>
                      <a:lnTo>
                        <a:pt x="55305" y="1022462"/>
                      </a:lnTo>
                      <a:lnTo>
                        <a:pt x="55911" y="1023371"/>
                      </a:lnTo>
                      <a:lnTo>
                        <a:pt x="55911" y="1024583"/>
                      </a:lnTo>
                      <a:lnTo>
                        <a:pt x="55305" y="1026401"/>
                      </a:lnTo>
                      <a:lnTo>
                        <a:pt x="54699" y="1028371"/>
                      </a:lnTo>
                      <a:lnTo>
                        <a:pt x="56366" y="1030644"/>
                      </a:lnTo>
                      <a:lnTo>
                        <a:pt x="58336" y="1032159"/>
                      </a:lnTo>
                      <a:lnTo>
                        <a:pt x="62275" y="1029583"/>
                      </a:lnTo>
                      <a:lnTo>
                        <a:pt x="63790" y="1028977"/>
                      </a:lnTo>
                      <a:lnTo>
                        <a:pt x="65457" y="1028825"/>
                      </a:lnTo>
                      <a:lnTo>
                        <a:pt x="67578" y="1027916"/>
                      </a:lnTo>
                      <a:lnTo>
                        <a:pt x="69245" y="1026553"/>
                      </a:lnTo>
                      <a:lnTo>
                        <a:pt x="70760" y="1025947"/>
                      </a:lnTo>
                      <a:lnTo>
                        <a:pt x="73639" y="1026401"/>
                      </a:lnTo>
                      <a:lnTo>
                        <a:pt x="78791" y="1025947"/>
                      </a:lnTo>
                      <a:lnTo>
                        <a:pt x="85003" y="1028219"/>
                      </a:lnTo>
                      <a:lnTo>
                        <a:pt x="85457" y="1028977"/>
                      </a:lnTo>
                      <a:lnTo>
                        <a:pt x="88488" y="1031553"/>
                      </a:lnTo>
                      <a:lnTo>
                        <a:pt x="89549" y="1032916"/>
                      </a:lnTo>
                      <a:lnTo>
                        <a:pt x="90609" y="1033371"/>
                      </a:lnTo>
                      <a:lnTo>
                        <a:pt x="92124" y="1034583"/>
                      </a:lnTo>
                      <a:lnTo>
                        <a:pt x="94397" y="1035341"/>
                      </a:lnTo>
                      <a:lnTo>
                        <a:pt x="95912" y="1035189"/>
                      </a:lnTo>
                      <a:lnTo>
                        <a:pt x="96519" y="1035644"/>
                      </a:lnTo>
                      <a:lnTo>
                        <a:pt x="97276" y="1036553"/>
                      </a:lnTo>
                      <a:lnTo>
                        <a:pt x="97276" y="1038371"/>
                      </a:lnTo>
                      <a:lnTo>
                        <a:pt x="97125" y="1043220"/>
                      </a:lnTo>
                      <a:lnTo>
                        <a:pt x="96064" y="1044584"/>
                      </a:lnTo>
                      <a:lnTo>
                        <a:pt x="94852" y="1045796"/>
                      </a:lnTo>
                      <a:lnTo>
                        <a:pt x="94700" y="1046705"/>
                      </a:lnTo>
                      <a:lnTo>
                        <a:pt x="94700" y="1047766"/>
                      </a:lnTo>
                      <a:lnTo>
                        <a:pt x="96519" y="1049887"/>
                      </a:lnTo>
                      <a:lnTo>
                        <a:pt x="98640" y="1053069"/>
                      </a:lnTo>
                      <a:lnTo>
                        <a:pt x="99246" y="1055039"/>
                      </a:lnTo>
                      <a:lnTo>
                        <a:pt x="99246" y="1056402"/>
                      </a:lnTo>
                      <a:lnTo>
                        <a:pt x="96216" y="1060645"/>
                      </a:lnTo>
                      <a:lnTo>
                        <a:pt x="95155" y="1061554"/>
                      </a:lnTo>
                      <a:lnTo>
                        <a:pt x="94397" y="1063675"/>
                      </a:lnTo>
                      <a:lnTo>
                        <a:pt x="94094" y="1065645"/>
                      </a:lnTo>
                      <a:lnTo>
                        <a:pt x="94246" y="1066554"/>
                      </a:lnTo>
                      <a:lnTo>
                        <a:pt x="99398" y="1069888"/>
                      </a:lnTo>
                      <a:lnTo>
                        <a:pt x="103186" y="1071706"/>
                      </a:lnTo>
                      <a:lnTo>
                        <a:pt x="103943" y="1072615"/>
                      </a:lnTo>
                      <a:lnTo>
                        <a:pt x="104095" y="1073070"/>
                      </a:lnTo>
                      <a:lnTo>
                        <a:pt x="102125" y="1076706"/>
                      </a:lnTo>
                      <a:lnTo>
                        <a:pt x="101822" y="1077615"/>
                      </a:lnTo>
                      <a:lnTo>
                        <a:pt x="104852" y="1079130"/>
                      </a:lnTo>
                      <a:lnTo>
                        <a:pt x="106519" y="1081403"/>
                      </a:lnTo>
                      <a:lnTo>
                        <a:pt x="108034" y="1085191"/>
                      </a:lnTo>
                      <a:lnTo>
                        <a:pt x="110913" y="1088828"/>
                      </a:lnTo>
                      <a:lnTo>
                        <a:pt x="116974" y="1092010"/>
                      </a:lnTo>
                      <a:lnTo>
                        <a:pt x="121519" y="1093979"/>
                      </a:lnTo>
                      <a:lnTo>
                        <a:pt x="122429" y="1095040"/>
                      </a:lnTo>
                      <a:lnTo>
                        <a:pt x="122732" y="1096101"/>
                      </a:lnTo>
                      <a:lnTo>
                        <a:pt x="122429" y="1098525"/>
                      </a:lnTo>
                      <a:lnTo>
                        <a:pt x="121217" y="1101555"/>
                      </a:lnTo>
                      <a:lnTo>
                        <a:pt x="120459" y="1103222"/>
                      </a:lnTo>
                      <a:lnTo>
                        <a:pt x="122277" y="1103980"/>
                      </a:lnTo>
                      <a:lnTo>
                        <a:pt x="126974" y="1103677"/>
                      </a:lnTo>
                      <a:lnTo>
                        <a:pt x="132581" y="1104283"/>
                      </a:lnTo>
                      <a:lnTo>
                        <a:pt x="139551" y="1107616"/>
                      </a:lnTo>
                      <a:lnTo>
                        <a:pt x="139551" y="1109131"/>
                      </a:lnTo>
                      <a:lnTo>
                        <a:pt x="138793" y="1110495"/>
                      </a:lnTo>
                      <a:lnTo>
                        <a:pt x="139248" y="1111859"/>
                      </a:lnTo>
                      <a:lnTo>
                        <a:pt x="140005" y="1113071"/>
                      </a:lnTo>
                      <a:lnTo>
                        <a:pt x="145915" y="1116707"/>
                      </a:lnTo>
                      <a:lnTo>
                        <a:pt x="146520" y="1117768"/>
                      </a:lnTo>
                      <a:lnTo>
                        <a:pt x="146672" y="1119586"/>
                      </a:lnTo>
                      <a:lnTo>
                        <a:pt x="146369" y="1120950"/>
                      </a:lnTo>
                      <a:lnTo>
                        <a:pt x="144854" y="1121253"/>
                      </a:lnTo>
                      <a:lnTo>
                        <a:pt x="143036" y="1121859"/>
                      </a:lnTo>
                      <a:lnTo>
                        <a:pt x="140005" y="1123374"/>
                      </a:lnTo>
                      <a:lnTo>
                        <a:pt x="138793" y="1125647"/>
                      </a:lnTo>
                      <a:lnTo>
                        <a:pt x="134096" y="1128678"/>
                      </a:lnTo>
                      <a:lnTo>
                        <a:pt x="131065" y="1130041"/>
                      </a:lnTo>
                      <a:lnTo>
                        <a:pt x="128641" y="1130041"/>
                      </a:lnTo>
                      <a:lnTo>
                        <a:pt x="123035" y="1129435"/>
                      </a:lnTo>
                      <a:lnTo>
                        <a:pt x="121065" y="1127920"/>
                      </a:lnTo>
                      <a:lnTo>
                        <a:pt x="120308" y="1126556"/>
                      </a:lnTo>
                      <a:lnTo>
                        <a:pt x="118035" y="1125950"/>
                      </a:lnTo>
                      <a:lnTo>
                        <a:pt x="115156" y="1125950"/>
                      </a:lnTo>
                      <a:lnTo>
                        <a:pt x="111216" y="1126102"/>
                      </a:lnTo>
                      <a:lnTo>
                        <a:pt x="110459" y="1126556"/>
                      </a:lnTo>
                      <a:lnTo>
                        <a:pt x="109853" y="1128223"/>
                      </a:lnTo>
                      <a:lnTo>
                        <a:pt x="108034" y="1131102"/>
                      </a:lnTo>
                      <a:lnTo>
                        <a:pt x="106822" y="1132769"/>
                      </a:lnTo>
                      <a:lnTo>
                        <a:pt x="107883" y="1133829"/>
                      </a:lnTo>
                      <a:lnTo>
                        <a:pt x="109398" y="1135799"/>
                      </a:lnTo>
                      <a:lnTo>
                        <a:pt x="111974" y="1138526"/>
                      </a:lnTo>
                      <a:lnTo>
                        <a:pt x="114398" y="1140799"/>
                      </a:lnTo>
                      <a:lnTo>
                        <a:pt x="115307" y="1142314"/>
                      </a:lnTo>
                      <a:lnTo>
                        <a:pt x="115156" y="1143375"/>
                      </a:lnTo>
                      <a:lnTo>
                        <a:pt x="114095" y="1144587"/>
                      </a:lnTo>
                      <a:lnTo>
                        <a:pt x="114247" y="1147012"/>
                      </a:lnTo>
                      <a:lnTo>
                        <a:pt x="116671" y="1150193"/>
                      </a:lnTo>
                      <a:lnTo>
                        <a:pt x="115762" y="1150648"/>
                      </a:lnTo>
                      <a:lnTo>
                        <a:pt x="115610" y="1154588"/>
                      </a:lnTo>
                      <a:lnTo>
                        <a:pt x="115610" y="1158830"/>
                      </a:lnTo>
                      <a:lnTo>
                        <a:pt x="116216" y="1159739"/>
                      </a:lnTo>
                      <a:lnTo>
                        <a:pt x="117580" y="1160648"/>
                      </a:lnTo>
                      <a:lnTo>
                        <a:pt x="118641" y="1162164"/>
                      </a:lnTo>
                      <a:lnTo>
                        <a:pt x="120610" y="1165649"/>
                      </a:lnTo>
                      <a:lnTo>
                        <a:pt x="120762" y="1166558"/>
                      </a:lnTo>
                      <a:lnTo>
                        <a:pt x="121217" y="1166558"/>
                      </a:lnTo>
                      <a:lnTo>
                        <a:pt x="123792" y="1167618"/>
                      </a:lnTo>
                      <a:lnTo>
                        <a:pt x="126520" y="1168527"/>
                      </a:lnTo>
                      <a:lnTo>
                        <a:pt x="128338" y="1168527"/>
                      </a:lnTo>
                      <a:lnTo>
                        <a:pt x="130459" y="1168376"/>
                      </a:lnTo>
                      <a:lnTo>
                        <a:pt x="133035" y="1167164"/>
                      </a:lnTo>
                      <a:lnTo>
                        <a:pt x="134853" y="1165952"/>
                      </a:lnTo>
                      <a:lnTo>
                        <a:pt x="137126" y="1160194"/>
                      </a:lnTo>
                      <a:lnTo>
                        <a:pt x="137884" y="1159436"/>
                      </a:lnTo>
                      <a:lnTo>
                        <a:pt x="139096" y="1158982"/>
                      </a:lnTo>
                      <a:lnTo>
                        <a:pt x="141066" y="1158830"/>
                      </a:lnTo>
                      <a:lnTo>
                        <a:pt x="144854" y="1160042"/>
                      </a:lnTo>
                      <a:lnTo>
                        <a:pt x="149248" y="1160951"/>
                      </a:lnTo>
                      <a:lnTo>
                        <a:pt x="151824" y="1160800"/>
                      </a:lnTo>
                      <a:lnTo>
                        <a:pt x="158642" y="1157770"/>
                      </a:lnTo>
                      <a:lnTo>
                        <a:pt x="162430" y="1157315"/>
                      </a:lnTo>
                      <a:lnTo>
                        <a:pt x="166824" y="1157921"/>
                      </a:lnTo>
                      <a:lnTo>
                        <a:pt x="171370" y="1158073"/>
                      </a:lnTo>
                      <a:lnTo>
                        <a:pt x="174703" y="1157618"/>
                      </a:lnTo>
                      <a:lnTo>
                        <a:pt x="176976" y="1158679"/>
                      </a:lnTo>
                      <a:lnTo>
                        <a:pt x="179703" y="1160951"/>
                      </a:lnTo>
                      <a:lnTo>
                        <a:pt x="182279" y="1164436"/>
                      </a:lnTo>
                      <a:lnTo>
                        <a:pt x="185007" y="1170952"/>
                      </a:lnTo>
                      <a:lnTo>
                        <a:pt x="192734" y="1178225"/>
                      </a:lnTo>
                      <a:lnTo>
                        <a:pt x="192886" y="1179589"/>
                      </a:lnTo>
                      <a:lnTo>
                        <a:pt x="192280" y="1180498"/>
                      </a:lnTo>
                      <a:lnTo>
                        <a:pt x="188492" y="1181407"/>
                      </a:lnTo>
                      <a:lnTo>
                        <a:pt x="185158" y="1181861"/>
                      </a:lnTo>
                      <a:lnTo>
                        <a:pt x="185007" y="1183074"/>
                      </a:lnTo>
                      <a:lnTo>
                        <a:pt x="185916" y="1184437"/>
                      </a:lnTo>
                      <a:lnTo>
                        <a:pt x="187431" y="1186407"/>
                      </a:lnTo>
                      <a:lnTo>
                        <a:pt x="187583" y="1188983"/>
                      </a:lnTo>
                      <a:lnTo>
                        <a:pt x="187583" y="1191256"/>
                      </a:lnTo>
                      <a:lnTo>
                        <a:pt x="188189" y="1193377"/>
                      </a:lnTo>
                      <a:lnTo>
                        <a:pt x="189401" y="1194286"/>
                      </a:lnTo>
                      <a:lnTo>
                        <a:pt x="189552" y="1195195"/>
                      </a:lnTo>
                      <a:lnTo>
                        <a:pt x="188189" y="1196559"/>
                      </a:lnTo>
                      <a:lnTo>
                        <a:pt x="187734" y="1197316"/>
                      </a:lnTo>
                      <a:lnTo>
                        <a:pt x="188340" y="1197771"/>
                      </a:lnTo>
                      <a:lnTo>
                        <a:pt x="195310" y="1197923"/>
                      </a:lnTo>
                      <a:lnTo>
                        <a:pt x="198795" y="1199135"/>
                      </a:lnTo>
                      <a:lnTo>
                        <a:pt x="201371" y="1200347"/>
                      </a:lnTo>
                      <a:lnTo>
                        <a:pt x="202735" y="1200347"/>
                      </a:lnTo>
                      <a:lnTo>
                        <a:pt x="205614" y="1199741"/>
                      </a:lnTo>
                      <a:lnTo>
                        <a:pt x="208947" y="1199286"/>
                      </a:lnTo>
                      <a:lnTo>
                        <a:pt x="211068" y="1199135"/>
                      </a:lnTo>
                      <a:lnTo>
                        <a:pt x="211826" y="1200044"/>
                      </a:lnTo>
                      <a:lnTo>
                        <a:pt x="212432" y="1202165"/>
                      </a:lnTo>
                      <a:lnTo>
                        <a:pt x="213644" y="1204286"/>
                      </a:lnTo>
                      <a:lnTo>
                        <a:pt x="214705" y="1204892"/>
                      </a:lnTo>
                      <a:lnTo>
                        <a:pt x="216675" y="1204892"/>
                      </a:lnTo>
                      <a:lnTo>
                        <a:pt x="217735" y="1204892"/>
                      </a:lnTo>
                      <a:lnTo>
                        <a:pt x="218341" y="1205802"/>
                      </a:lnTo>
                      <a:lnTo>
                        <a:pt x="217735" y="1207014"/>
                      </a:lnTo>
                      <a:lnTo>
                        <a:pt x="217887" y="1208377"/>
                      </a:lnTo>
                      <a:lnTo>
                        <a:pt x="218796" y="1210044"/>
                      </a:lnTo>
                      <a:lnTo>
                        <a:pt x="219705" y="1213832"/>
                      </a:lnTo>
                      <a:lnTo>
                        <a:pt x="220614" y="1214893"/>
                      </a:lnTo>
                      <a:lnTo>
                        <a:pt x="221372" y="1216408"/>
                      </a:lnTo>
                      <a:lnTo>
                        <a:pt x="221372" y="1217923"/>
                      </a:lnTo>
                      <a:lnTo>
                        <a:pt x="220463" y="1219438"/>
                      </a:lnTo>
                      <a:lnTo>
                        <a:pt x="220008" y="1220499"/>
                      </a:lnTo>
                      <a:lnTo>
                        <a:pt x="220463" y="1223075"/>
                      </a:lnTo>
                      <a:lnTo>
                        <a:pt x="222584" y="1225954"/>
                      </a:lnTo>
                      <a:lnTo>
                        <a:pt x="224251" y="1226711"/>
                      </a:lnTo>
                      <a:lnTo>
                        <a:pt x="225463" y="1229287"/>
                      </a:lnTo>
                      <a:lnTo>
                        <a:pt x="227736" y="1230045"/>
                      </a:lnTo>
                      <a:lnTo>
                        <a:pt x="231069" y="1227924"/>
                      </a:lnTo>
                      <a:lnTo>
                        <a:pt x="233645" y="1226863"/>
                      </a:lnTo>
                      <a:lnTo>
                        <a:pt x="236827" y="1227469"/>
                      </a:lnTo>
                      <a:lnTo>
                        <a:pt x="239857" y="1227772"/>
                      </a:lnTo>
                      <a:lnTo>
                        <a:pt x="241827" y="1229287"/>
                      </a:lnTo>
                      <a:lnTo>
                        <a:pt x="243342" y="1231257"/>
                      </a:lnTo>
                      <a:lnTo>
                        <a:pt x="245009" y="1232469"/>
                      </a:lnTo>
                      <a:lnTo>
                        <a:pt x="246676" y="1231863"/>
                      </a:lnTo>
                      <a:lnTo>
                        <a:pt x="250312" y="1232469"/>
                      </a:lnTo>
                      <a:lnTo>
                        <a:pt x="251979" y="1233984"/>
                      </a:lnTo>
                      <a:lnTo>
                        <a:pt x="253494" y="1234894"/>
                      </a:lnTo>
                      <a:lnTo>
                        <a:pt x="255615" y="1233681"/>
                      </a:lnTo>
                      <a:lnTo>
                        <a:pt x="257434" y="1232015"/>
                      </a:lnTo>
                      <a:lnTo>
                        <a:pt x="263646" y="1230348"/>
                      </a:lnTo>
                      <a:lnTo>
                        <a:pt x="267586" y="1229893"/>
                      </a:lnTo>
                      <a:lnTo>
                        <a:pt x="268646" y="1229590"/>
                      </a:lnTo>
                      <a:lnTo>
                        <a:pt x="270919" y="1228227"/>
                      </a:lnTo>
                      <a:lnTo>
                        <a:pt x="273344" y="1227469"/>
                      </a:lnTo>
                      <a:lnTo>
                        <a:pt x="275616" y="1227772"/>
                      </a:lnTo>
                      <a:lnTo>
                        <a:pt x="277737" y="1230196"/>
                      </a:lnTo>
                      <a:lnTo>
                        <a:pt x="279859" y="1232015"/>
                      </a:lnTo>
                      <a:lnTo>
                        <a:pt x="280465" y="1234742"/>
                      </a:lnTo>
                      <a:lnTo>
                        <a:pt x="283192" y="1238530"/>
                      </a:lnTo>
                      <a:lnTo>
                        <a:pt x="290011" y="1243682"/>
                      </a:lnTo>
                      <a:lnTo>
                        <a:pt x="292587" y="1245348"/>
                      </a:lnTo>
                      <a:lnTo>
                        <a:pt x="294405" y="1245045"/>
                      </a:lnTo>
                      <a:lnTo>
                        <a:pt x="295314" y="1244591"/>
                      </a:lnTo>
                      <a:lnTo>
                        <a:pt x="295768" y="1243985"/>
                      </a:lnTo>
                      <a:lnTo>
                        <a:pt x="296223" y="1241560"/>
                      </a:lnTo>
                      <a:lnTo>
                        <a:pt x="296981" y="1240651"/>
                      </a:lnTo>
                      <a:lnTo>
                        <a:pt x="298344" y="1240500"/>
                      </a:lnTo>
                      <a:lnTo>
                        <a:pt x="303648" y="1243682"/>
                      </a:lnTo>
                      <a:lnTo>
                        <a:pt x="306375" y="1243985"/>
                      </a:lnTo>
                      <a:lnTo>
                        <a:pt x="309102" y="1244136"/>
                      </a:lnTo>
                      <a:lnTo>
                        <a:pt x="312587" y="1246561"/>
                      </a:lnTo>
                      <a:lnTo>
                        <a:pt x="316527" y="1248682"/>
                      </a:lnTo>
                      <a:lnTo>
                        <a:pt x="319406" y="1248833"/>
                      </a:lnTo>
                      <a:lnTo>
                        <a:pt x="321830" y="1248076"/>
                      </a:lnTo>
                      <a:lnTo>
                        <a:pt x="323497" y="1247621"/>
                      </a:lnTo>
                      <a:lnTo>
                        <a:pt x="324557" y="1248379"/>
                      </a:lnTo>
                      <a:lnTo>
                        <a:pt x="325466" y="1250197"/>
                      </a:lnTo>
                      <a:lnTo>
                        <a:pt x="326982" y="1251561"/>
                      </a:lnTo>
                      <a:lnTo>
                        <a:pt x="328800" y="1252015"/>
                      </a:lnTo>
                      <a:lnTo>
                        <a:pt x="331376" y="1252167"/>
                      </a:lnTo>
                      <a:lnTo>
                        <a:pt x="335770" y="1254894"/>
                      </a:lnTo>
                      <a:lnTo>
                        <a:pt x="340013" y="1257622"/>
                      </a:lnTo>
                      <a:lnTo>
                        <a:pt x="342740" y="1257773"/>
                      </a:lnTo>
                      <a:lnTo>
                        <a:pt x="344861" y="1257016"/>
                      </a:lnTo>
                      <a:lnTo>
                        <a:pt x="346831" y="1256713"/>
                      </a:lnTo>
                      <a:lnTo>
                        <a:pt x="348194" y="1257470"/>
                      </a:lnTo>
                      <a:lnTo>
                        <a:pt x="348649" y="1258682"/>
                      </a:lnTo>
                      <a:lnTo>
                        <a:pt x="347589" y="1260349"/>
                      </a:lnTo>
                      <a:lnTo>
                        <a:pt x="347589" y="1262622"/>
                      </a:lnTo>
                      <a:lnTo>
                        <a:pt x="349559" y="1264895"/>
                      </a:lnTo>
                      <a:lnTo>
                        <a:pt x="349559" y="1267016"/>
                      </a:lnTo>
                      <a:lnTo>
                        <a:pt x="349104" y="1268986"/>
                      </a:lnTo>
                      <a:lnTo>
                        <a:pt x="348043" y="1270804"/>
                      </a:lnTo>
                      <a:lnTo>
                        <a:pt x="345467" y="1273380"/>
                      </a:lnTo>
                      <a:lnTo>
                        <a:pt x="343043" y="1275653"/>
                      </a:lnTo>
                      <a:lnTo>
                        <a:pt x="339406" y="1276562"/>
                      </a:lnTo>
                      <a:lnTo>
                        <a:pt x="337437" y="1277622"/>
                      </a:lnTo>
                      <a:lnTo>
                        <a:pt x="338043" y="1279289"/>
                      </a:lnTo>
                      <a:lnTo>
                        <a:pt x="339255" y="1280956"/>
                      </a:lnTo>
                      <a:lnTo>
                        <a:pt x="342285" y="1282168"/>
                      </a:lnTo>
                      <a:lnTo>
                        <a:pt x="345771" y="1283077"/>
                      </a:lnTo>
                      <a:lnTo>
                        <a:pt x="346225" y="1284138"/>
                      </a:lnTo>
                      <a:lnTo>
                        <a:pt x="345619" y="1284744"/>
                      </a:lnTo>
                      <a:lnTo>
                        <a:pt x="343497" y="1285198"/>
                      </a:lnTo>
                      <a:lnTo>
                        <a:pt x="340316" y="1284592"/>
                      </a:lnTo>
                      <a:lnTo>
                        <a:pt x="339406" y="1285501"/>
                      </a:lnTo>
                      <a:lnTo>
                        <a:pt x="338043" y="1287017"/>
                      </a:lnTo>
                      <a:lnTo>
                        <a:pt x="336982" y="1289744"/>
                      </a:lnTo>
                      <a:lnTo>
                        <a:pt x="336376" y="1292320"/>
                      </a:lnTo>
                      <a:lnTo>
                        <a:pt x="339709" y="1292926"/>
                      </a:lnTo>
                      <a:lnTo>
                        <a:pt x="341528" y="1293987"/>
                      </a:lnTo>
                      <a:lnTo>
                        <a:pt x="342134" y="1295956"/>
                      </a:lnTo>
                      <a:lnTo>
                        <a:pt x="342892" y="1298381"/>
                      </a:lnTo>
                      <a:lnTo>
                        <a:pt x="343043" y="1300351"/>
                      </a:lnTo>
                      <a:lnTo>
                        <a:pt x="341983" y="1301411"/>
                      </a:lnTo>
                      <a:lnTo>
                        <a:pt x="341831" y="1302320"/>
                      </a:lnTo>
                      <a:lnTo>
                        <a:pt x="342437" y="1302926"/>
                      </a:lnTo>
                      <a:lnTo>
                        <a:pt x="343801" y="1303078"/>
                      </a:lnTo>
                      <a:lnTo>
                        <a:pt x="344861" y="1303532"/>
                      </a:lnTo>
                      <a:lnTo>
                        <a:pt x="345013" y="1304593"/>
                      </a:lnTo>
                      <a:lnTo>
                        <a:pt x="342892" y="1307017"/>
                      </a:lnTo>
                      <a:lnTo>
                        <a:pt x="340922" y="1311715"/>
                      </a:lnTo>
                      <a:lnTo>
                        <a:pt x="339861" y="1314139"/>
                      </a:lnTo>
                      <a:lnTo>
                        <a:pt x="340013" y="1316866"/>
                      </a:lnTo>
                      <a:lnTo>
                        <a:pt x="338800" y="1318382"/>
                      </a:lnTo>
                      <a:lnTo>
                        <a:pt x="336679" y="1318533"/>
                      </a:lnTo>
                      <a:lnTo>
                        <a:pt x="329406" y="1318685"/>
                      </a:lnTo>
                      <a:lnTo>
                        <a:pt x="323042" y="1318685"/>
                      </a:lnTo>
                      <a:lnTo>
                        <a:pt x="320315" y="1318230"/>
                      </a:lnTo>
                      <a:lnTo>
                        <a:pt x="315921" y="1317927"/>
                      </a:lnTo>
                      <a:lnTo>
                        <a:pt x="313799" y="1318685"/>
                      </a:lnTo>
                      <a:lnTo>
                        <a:pt x="311072" y="1322927"/>
                      </a:lnTo>
                      <a:lnTo>
                        <a:pt x="308799" y="1324594"/>
                      </a:lnTo>
                      <a:lnTo>
                        <a:pt x="305314" y="1326109"/>
                      </a:lnTo>
                      <a:lnTo>
                        <a:pt x="301375" y="1326564"/>
                      </a:lnTo>
                      <a:lnTo>
                        <a:pt x="299254" y="1328230"/>
                      </a:lnTo>
                      <a:lnTo>
                        <a:pt x="298344" y="1331109"/>
                      </a:lnTo>
                      <a:lnTo>
                        <a:pt x="298344" y="1333534"/>
                      </a:lnTo>
                      <a:lnTo>
                        <a:pt x="298041" y="1334746"/>
                      </a:lnTo>
                      <a:lnTo>
                        <a:pt x="297132" y="1335806"/>
                      </a:lnTo>
                      <a:lnTo>
                        <a:pt x="296829" y="1336564"/>
                      </a:lnTo>
                      <a:lnTo>
                        <a:pt x="296981" y="1337322"/>
                      </a:lnTo>
                      <a:lnTo>
                        <a:pt x="297890" y="1337625"/>
                      </a:lnTo>
                      <a:lnTo>
                        <a:pt x="298950" y="1338079"/>
                      </a:lnTo>
                      <a:lnTo>
                        <a:pt x="298950" y="1338685"/>
                      </a:lnTo>
                      <a:lnTo>
                        <a:pt x="298647" y="1339443"/>
                      </a:lnTo>
                      <a:lnTo>
                        <a:pt x="297435" y="1340352"/>
                      </a:lnTo>
                      <a:lnTo>
                        <a:pt x="296829" y="1341564"/>
                      </a:lnTo>
                      <a:lnTo>
                        <a:pt x="296981" y="1342928"/>
                      </a:lnTo>
                      <a:lnTo>
                        <a:pt x="297132" y="1344443"/>
                      </a:lnTo>
                      <a:lnTo>
                        <a:pt x="304557" y="1341564"/>
                      </a:lnTo>
                      <a:lnTo>
                        <a:pt x="307132" y="1339443"/>
                      </a:lnTo>
                      <a:lnTo>
                        <a:pt x="312133" y="1338534"/>
                      </a:lnTo>
                      <a:lnTo>
                        <a:pt x="311527" y="1339443"/>
                      </a:lnTo>
                      <a:lnTo>
                        <a:pt x="308951" y="1340352"/>
                      </a:lnTo>
                      <a:lnTo>
                        <a:pt x="306526" y="1342473"/>
                      </a:lnTo>
                      <a:lnTo>
                        <a:pt x="309557" y="1342625"/>
                      </a:lnTo>
                      <a:lnTo>
                        <a:pt x="316678" y="1341564"/>
                      </a:lnTo>
                      <a:lnTo>
                        <a:pt x="319406" y="1338231"/>
                      </a:lnTo>
                      <a:lnTo>
                        <a:pt x="324103" y="1338382"/>
                      </a:lnTo>
                      <a:lnTo>
                        <a:pt x="325315" y="1340807"/>
                      </a:lnTo>
                      <a:lnTo>
                        <a:pt x="326679" y="1343988"/>
                      </a:lnTo>
                      <a:lnTo>
                        <a:pt x="326679" y="1345201"/>
                      </a:lnTo>
                      <a:lnTo>
                        <a:pt x="326073" y="1346110"/>
                      </a:lnTo>
                      <a:lnTo>
                        <a:pt x="322133" y="1346867"/>
                      </a:lnTo>
                      <a:lnTo>
                        <a:pt x="313193" y="1350807"/>
                      </a:lnTo>
                      <a:lnTo>
                        <a:pt x="308648" y="1352019"/>
                      </a:lnTo>
                      <a:lnTo>
                        <a:pt x="303344" y="1353989"/>
                      </a:lnTo>
                      <a:lnTo>
                        <a:pt x="304708" y="1356868"/>
                      </a:lnTo>
                      <a:lnTo>
                        <a:pt x="305011" y="1359141"/>
                      </a:lnTo>
                      <a:lnTo>
                        <a:pt x="300769" y="1358686"/>
                      </a:lnTo>
                      <a:lnTo>
                        <a:pt x="297587" y="1357928"/>
                      </a:lnTo>
                      <a:lnTo>
                        <a:pt x="295768" y="1358231"/>
                      </a:lnTo>
                      <a:lnTo>
                        <a:pt x="290465" y="1360807"/>
                      </a:lnTo>
                      <a:lnTo>
                        <a:pt x="287738" y="1360201"/>
                      </a:lnTo>
                      <a:lnTo>
                        <a:pt x="285011" y="1360201"/>
                      </a:lnTo>
                      <a:lnTo>
                        <a:pt x="286071" y="1363686"/>
                      </a:lnTo>
                      <a:lnTo>
                        <a:pt x="288950" y="1368080"/>
                      </a:lnTo>
                      <a:lnTo>
                        <a:pt x="290768" y="1368838"/>
                      </a:lnTo>
                      <a:lnTo>
                        <a:pt x="293496" y="1368383"/>
                      </a:lnTo>
                      <a:lnTo>
                        <a:pt x="300011" y="1373686"/>
                      </a:lnTo>
                      <a:lnTo>
                        <a:pt x="304860" y="1378838"/>
                      </a:lnTo>
                      <a:lnTo>
                        <a:pt x="302284" y="1379141"/>
                      </a:lnTo>
                      <a:lnTo>
                        <a:pt x="299860" y="1378687"/>
                      </a:lnTo>
                      <a:lnTo>
                        <a:pt x="296375" y="1378687"/>
                      </a:lnTo>
                      <a:lnTo>
                        <a:pt x="295011" y="1381869"/>
                      </a:lnTo>
                      <a:lnTo>
                        <a:pt x="293496" y="1384141"/>
                      </a:lnTo>
                      <a:lnTo>
                        <a:pt x="293193" y="1382929"/>
                      </a:lnTo>
                      <a:lnTo>
                        <a:pt x="293344" y="1381263"/>
                      </a:lnTo>
                      <a:lnTo>
                        <a:pt x="291677" y="1380353"/>
                      </a:lnTo>
                      <a:lnTo>
                        <a:pt x="289556" y="1381869"/>
                      </a:lnTo>
                      <a:lnTo>
                        <a:pt x="286980" y="1388687"/>
                      </a:lnTo>
                      <a:lnTo>
                        <a:pt x="282283" y="1393687"/>
                      </a:lnTo>
                      <a:lnTo>
                        <a:pt x="280768" y="1396718"/>
                      </a:lnTo>
                      <a:lnTo>
                        <a:pt x="280616" y="1398991"/>
                      </a:lnTo>
                      <a:lnTo>
                        <a:pt x="281374" y="1399445"/>
                      </a:lnTo>
                      <a:lnTo>
                        <a:pt x="282434" y="1399294"/>
                      </a:lnTo>
                      <a:lnTo>
                        <a:pt x="282434" y="1401263"/>
                      </a:lnTo>
                      <a:lnTo>
                        <a:pt x="281677" y="1403082"/>
                      </a:lnTo>
                      <a:lnTo>
                        <a:pt x="271222" y="1405354"/>
                      </a:lnTo>
                      <a:lnTo>
                        <a:pt x="269858" y="1406567"/>
                      </a:lnTo>
                      <a:lnTo>
                        <a:pt x="266828" y="1405657"/>
                      </a:lnTo>
                      <a:lnTo>
                        <a:pt x="263343" y="1402930"/>
                      </a:lnTo>
                      <a:lnTo>
                        <a:pt x="260313" y="1401415"/>
                      </a:lnTo>
                      <a:lnTo>
                        <a:pt x="258343" y="1402021"/>
                      </a:lnTo>
                      <a:lnTo>
                        <a:pt x="256373" y="1403233"/>
                      </a:lnTo>
                      <a:lnTo>
                        <a:pt x="257434" y="1404142"/>
                      </a:lnTo>
                      <a:lnTo>
                        <a:pt x="258797" y="1404294"/>
                      </a:lnTo>
                      <a:lnTo>
                        <a:pt x="262434" y="1406112"/>
                      </a:lnTo>
                      <a:lnTo>
                        <a:pt x="260464" y="1407324"/>
                      </a:lnTo>
                      <a:lnTo>
                        <a:pt x="253494" y="1409597"/>
                      </a:lnTo>
                      <a:lnTo>
                        <a:pt x="253797" y="1410809"/>
                      </a:lnTo>
                      <a:lnTo>
                        <a:pt x="254404" y="1411567"/>
                      </a:lnTo>
                      <a:lnTo>
                        <a:pt x="262434" y="1413537"/>
                      </a:lnTo>
                      <a:lnTo>
                        <a:pt x="269556" y="1416718"/>
                      </a:lnTo>
                      <a:lnTo>
                        <a:pt x="271677" y="1418991"/>
                      </a:lnTo>
                      <a:lnTo>
                        <a:pt x="273646" y="1422931"/>
                      </a:lnTo>
                      <a:lnTo>
                        <a:pt x="275162" y="1424749"/>
                      </a:lnTo>
                      <a:lnTo>
                        <a:pt x="277586" y="1426113"/>
                      </a:lnTo>
                      <a:lnTo>
                        <a:pt x="279707" y="1426870"/>
                      </a:lnTo>
                      <a:lnTo>
                        <a:pt x="283192" y="1427325"/>
                      </a:lnTo>
                      <a:lnTo>
                        <a:pt x="287283" y="1425961"/>
                      </a:lnTo>
                      <a:lnTo>
                        <a:pt x="296223" y="1435355"/>
                      </a:lnTo>
                      <a:lnTo>
                        <a:pt x="299860" y="1436871"/>
                      </a:lnTo>
                      <a:lnTo>
                        <a:pt x="308799" y="1438840"/>
                      </a:lnTo>
                      <a:lnTo>
                        <a:pt x="310920" y="1439750"/>
                      </a:lnTo>
                      <a:lnTo>
                        <a:pt x="327740" y="1452932"/>
                      </a:lnTo>
                      <a:lnTo>
                        <a:pt x="332891" y="1458538"/>
                      </a:lnTo>
                      <a:lnTo>
                        <a:pt x="342588" y="1467023"/>
                      </a:lnTo>
                      <a:lnTo>
                        <a:pt x="345467" y="1468690"/>
                      </a:lnTo>
                      <a:lnTo>
                        <a:pt x="346680" y="1466569"/>
                      </a:lnTo>
                      <a:lnTo>
                        <a:pt x="348346" y="1464296"/>
                      </a:lnTo>
                      <a:lnTo>
                        <a:pt x="350164" y="1463841"/>
                      </a:lnTo>
                      <a:lnTo>
                        <a:pt x="355468" y="1464599"/>
                      </a:lnTo>
                      <a:lnTo>
                        <a:pt x="360316" y="1465660"/>
                      </a:lnTo>
                      <a:lnTo>
                        <a:pt x="363801" y="1464902"/>
                      </a:lnTo>
                      <a:lnTo>
                        <a:pt x="368044" y="1466720"/>
                      </a:lnTo>
                      <a:lnTo>
                        <a:pt x="371832" y="1468841"/>
                      </a:lnTo>
                      <a:lnTo>
                        <a:pt x="375620" y="1470205"/>
                      </a:lnTo>
                      <a:lnTo>
                        <a:pt x="383196" y="1471569"/>
                      </a:lnTo>
                      <a:lnTo>
                        <a:pt x="386075" y="1473539"/>
                      </a:lnTo>
                      <a:lnTo>
                        <a:pt x="389257" y="1475357"/>
                      </a:lnTo>
                      <a:lnTo>
                        <a:pt x="402136" y="1476417"/>
                      </a:lnTo>
                      <a:lnTo>
                        <a:pt x="403197" y="1476114"/>
                      </a:lnTo>
                      <a:lnTo>
                        <a:pt x="404106" y="1475812"/>
                      </a:lnTo>
                      <a:lnTo>
                        <a:pt x="408500" y="1475054"/>
                      </a:lnTo>
                      <a:lnTo>
                        <a:pt x="412288" y="1475205"/>
                      </a:lnTo>
                      <a:lnTo>
                        <a:pt x="416228" y="1477478"/>
                      </a:lnTo>
                      <a:lnTo>
                        <a:pt x="418803" y="1477478"/>
                      </a:lnTo>
                      <a:lnTo>
                        <a:pt x="421531" y="1477024"/>
                      </a:lnTo>
                      <a:lnTo>
                        <a:pt x="425167" y="1478236"/>
                      </a:lnTo>
                      <a:lnTo>
                        <a:pt x="427895" y="1479600"/>
                      </a:lnTo>
                      <a:lnTo>
                        <a:pt x="428197" y="1480963"/>
                      </a:lnTo>
                      <a:lnTo>
                        <a:pt x="430622" y="1483084"/>
                      </a:lnTo>
                      <a:lnTo>
                        <a:pt x="437592" y="1486115"/>
                      </a:lnTo>
                      <a:lnTo>
                        <a:pt x="443349" y="1487782"/>
                      </a:lnTo>
                      <a:lnTo>
                        <a:pt x="445168" y="1488994"/>
                      </a:lnTo>
                      <a:lnTo>
                        <a:pt x="449562" y="1490964"/>
                      </a:lnTo>
                      <a:lnTo>
                        <a:pt x="450016" y="1491721"/>
                      </a:lnTo>
                      <a:lnTo>
                        <a:pt x="449865" y="1492479"/>
                      </a:lnTo>
                      <a:lnTo>
                        <a:pt x="448653" y="1493994"/>
                      </a:lnTo>
                      <a:lnTo>
                        <a:pt x="448350" y="1495358"/>
                      </a:lnTo>
                      <a:lnTo>
                        <a:pt x="448956" y="1496115"/>
                      </a:lnTo>
                      <a:lnTo>
                        <a:pt x="450774" y="1496873"/>
                      </a:lnTo>
                      <a:lnTo>
                        <a:pt x="454411" y="1497024"/>
                      </a:lnTo>
                      <a:lnTo>
                        <a:pt x="455623" y="1495964"/>
                      </a:lnTo>
                      <a:lnTo>
                        <a:pt x="458350" y="1495358"/>
                      </a:lnTo>
                      <a:lnTo>
                        <a:pt x="460926" y="1494145"/>
                      </a:lnTo>
                      <a:lnTo>
                        <a:pt x="464563" y="1492479"/>
                      </a:lnTo>
                      <a:lnTo>
                        <a:pt x="469411" y="1490964"/>
                      </a:lnTo>
                      <a:lnTo>
                        <a:pt x="471230" y="1490964"/>
                      </a:lnTo>
                      <a:lnTo>
                        <a:pt x="473199" y="1491418"/>
                      </a:lnTo>
                      <a:lnTo>
                        <a:pt x="474412" y="1492327"/>
                      </a:lnTo>
                      <a:lnTo>
                        <a:pt x="476533" y="1495358"/>
                      </a:lnTo>
                      <a:lnTo>
                        <a:pt x="478806" y="1490964"/>
                      </a:lnTo>
                      <a:lnTo>
                        <a:pt x="479260" y="1490660"/>
                      </a:lnTo>
                      <a:lnTo>
                        <a:pt x="481381" y="1491570"/>
                      </a:lnTo>
                      <a:lnTo>
                        <a:pt x="484866" y="1492782"/>
                      </a:lnTo>
                      <a:lnTo>
                        <a:pt x="487291" y="1493388"/>
                      </a:lnTo>
                      <a:lnTo>
                        <a:pt x="488503" y="1494297"/>
                      </a:lnTo>
                      <a:lnTo>
                        <a:pt x="492291" y="1498237"/>
                      </a:lnTo>
                      <a:lnTo>
                        <a:pt x="498200" y="1497934"/>
                      </a:lnTo>
                      <a:lnTo>
                        <a:pt x="500776" y="1498540"/>
                      </a:lnTo>
                      <a:lnTo>
                        <a:pt x="502140" y="1499297"/>
                      </a:lnTo>
                      <a:lnTo>
                        <a:pt x="502746" y="1500055"/>
                      </a:lnTo>
                      <a:lnTo>
                        <a:pt x="501685" y="1503843"/>
                      </a:lnTo>
                      <a:lnTo>
                        <a:pt x="500170" y="1507934"/>
                      </a:lnTo>
                      <a:lnTo>
                        <a:pt x="500321" y="1508843"/>
                      </a:lnTo>
                      <a:lnTo>
                        <a:pt x="502746" y="1510358"/>
                      </a:lnTo>
                      <a:lnTo>
                        <a:pt x="506079" y="1512025"/>
                      </a:lnTo>
                      <a:lnTo>
                        <a:pt x="507746" y="1513237"/>
                      </a:lnTo>
                      <a:lnTo>
                        <a:pt x="508958" y="1514449"/>
                      </a:lnTo>
                      <a:lnTo>
                        <a:pt x="511534" y="1515358"/>
                      </a:lnTo>
                      <a:lnTo>
                        <a:pt x="514564" y="1515813"/>
                      </a:lnTo>
                      <a:lnTo>
                        <a:pt x="516080" y="1515964"/>
                      </a:lnTo>
                      <a:lnTo>
                        <a:pt x="517595" y="1516874"/>
                      </a:lnTo>
                      <a:lnTo>
                        <a:pt x="521534" y="1518692"/>
                      </a:lnTo>
                      <a:lnTo>
                        <a:pt x="521989" y="1519146"/>
                      </a:lnTo>
                      <a:lnTo>
                        <a:pt x="524868" y="1519904"/>
                      </a:lnTo>
                      <a:lnTo>
                        <a:pt x="525322" y="1521722"/>
                      </a:lnTo>
                      <a:lnTo>
                        <a:pt x="525928" y="1522177"/>
                      </a:lnTo>
                      <a:lnTo>
                        <a:pt x="527141" y="1521874"/>
                      </a:lnTo>
                      <a:lnTo>
                        <a:pt x="529110" y="1521116"/>
                      </a:lnTo>
                      <a:lnTo>
                        <a:pt x="530777" y="1521722"/>
                      </a:lnTo>
                      <a:lnTo>
                        <a:pt x="532747" y="1523995"/>
                      </a:lnTo>
                      <a:lnTo>
                        <a:pt x="535626" y="1526419"/>
                      </a:lnTo>
                      <a:lnTo>
                        <a:pt x="537293" y="1527935"/>
                      </a:lnTo>
                      <a:lnTo>
                        <a:pt x="537899" y="1529147"/>
                      </a:lnTo>
                      <a:lnTo>
                        <a:pt x="539262" y="1530207"/>
                      </a:lnTo>
                      <a:lnTo>
                        <a:pt x="541535" y="1531420"/>
                      </a:lnTo>
                      <a:lnTo>
                        <a:pt x="543202" y="1533389"/>
                      </a:lnTo>
                      <a:lnTo>
                        <a:pt x="544717" y="1537935"/>
                      </a:lnTo>
                      <a:lnTo>
                        <a:pt x="546232" y="1538996"/>
                      </a:lnTo>
                      <a:lnTo>
                        <a:pt x="551838" y="1540814"/>
                      </a:lnTo>
                      <a:lnTo>
                        <a:pt x="553808" y="1541117"/>
                      </a:lnTo>
                      <a:lnTo>
                        <a:pt x="559263" y="1541723"/>
                      </a:lnTo>
                      <a:lnTo>
                        <a:pt x="561081" y="1541268"/>
                      </a:lnTo>
                      <a:lnTo>
                        <a:pt x="563960" y="1537329"/>
                      </a:lnTo>
                      <a:lnTo>
                        <a:pt x="566536" y="1533238"/>
                      </a:lnTo>
                      <a:lnTo>
                        <a:pt x="568809" y="1532480"/>
                      </a:lnTo>
                      <a:lnTo>
                        <a:pt x="573052" y="1530510"/>
                      </a:lnTo>
                      <a:lnTo>
                        <a:pt x="575627" y="1528692"/>
                      </a:lnTo>
                      <a:lnTo>
                        <a:pt x="576688" y="1526571"/>
                      </a:lnTo>
                      <a:lnTo>
                        <a:pt x="579112" y="1522783"/>
                      </a:lnTo>
                      <a:lnTo>
                        <a:pt x="580628" y="1520662"/>
                      </a:lnTo>
                      <a:lnTo>
                        <a:pt x="578052" y="1518692"/>
                      </a:lnTo>
                      <a:lnTo>
                        <a:pt x="576536" y="1518086"/>
                      </a:lnTo>
                      <a:lnTo>
                        <a:pt x="575476" y="1517177"/>
                      </a:lnTo>
                      <a:lnTo>
                        <a:pt x="573203" y="1512934"/>
                      </a:lnTo>
                      <a:lnTo>
                        <a:pt x="571233" y="1509601"/>
                      </a:lnTo>
                      <a:lnTo>
                        <a:pt x="567142" y="1503994"/>
                      </a:lnTo>
                      <a:lnTo>
                        <a:pt x="560021" y="1495509"/>
                      </a:lnTo>
                      <a:lnTo>
                        <a:pt x="558657" y="1494448"/>
                      </a:lnTo>
                      <a:lnTo>
                        <a:pt x="557445" y="1493236"/>
                      </a:lnTo>
                      <a:lnTo>
                        <a:pt x="556990" y="1488994"/>
                      </a:lnTo>
                      <a:lnTo>
                        <a:pt x="555021" y="1485812"/>
                      </a:lnTo>
                      <a:lnTo>
                        <a:pt x="551990" y="1483691"/>
                      </a:lnTo>
                      <a:lnTo>
                        <a:pt x="550929" y="1482630"/>
                      </a:lnTo>
                      <a:lnTo>
                        <a:pt x="550324" y="1481569"/>
                      </a:lnTo>
                      <a:lnTo>
                        <a:pt x="551687" y="1475357"/>
                      </a:lnTo>
                      <a:lnTo>
                        <a:pt x="551536" y="1473690"/>
                      </a:lnTo>
                      <a:lnTo>
                        <a:pt x="550929" y="1470054"/>
                      </a:lnTo>
                      <a:lnTo>
                        <a:pt x="551536" y="1465811"/>
                      </a:lnTo>
                      <a:lnTo>
                        <a:pt x="553051" y="1459902"/>
                      </a:lnTo>
                      <a:lnTo>
                        <a:pt x="554717" y="1455962"/>
                      </a:lnTo>
                      <a:lnTo>
                        <a:pt x="555324" y="1453235"/>
                      </a:lnTo>
                      <a:lnTo>
                        <a:pt x="553051" y="1454902"/>
                      </a:lnTo>
                      <a:lnTo>
                        <a:pt x="550172" y="1464296"/>
                      </a:lnTo>
                      <a:lnTo>
                        <a:pt x="549263" y="1456720"/>
                      </a:lnTo>
                      <a:lnTo>
                        <a:pt x="547445" y="1449598"/>
                      </a:lnTo>
                      <a:lnTo>
                        <a:pt x="545929" y="1445962"/>
                      </a:lnTo>
                      <a:lnTo>
                        <a:pt x="543808" y="1442931"/>
                      </a:lnTo>
                      <a:lnTo>
                        <a:pt x="540929" y="1440659"/>
                      </a:lnTo>
                      <a:lnTo>
                        <a:pt x="538202" y="1437931"/>
                      </a:lnTo>
                      <a:lnTo>
                        <a:pt x="535323" y="1436416"/>
                      </a:lnTo>
                      <a:lnTo>
                        <a:pt x="530777" y="1435355"/>
                      </a:lnTo>
                      <a:lnTo>
                        <a:pt x="530019" y="1434295"/>
                      </a:lnTo>
                      <a:lnTo>
                        <a:pt x="529565" y="1432628"/>
                      </a:lnTo>
                      <a:lnTo>
                        <a:pt x="529868" y="1430658"/>
                      </a:lnTo>
                      <a:lnTo>
                        <a:pt x="530929" y="1427476"/>
                      </a:lnTo>
                      <a:lnTo>
                        <a:pt x="533202" y="1425355"/>
                      </a:lnTo>
                      <a:lnTo>
                        <a:pt x="536383" y="1423234"/>
                      </a:lnTo>
                      <a:lnTo>
                        <a:pt x="537141" y="1421719"/>
                      </a:lnTo>
                      <a:lnTo>
                        <a:pt x="537595" y="1420052"/>
                      </a:lnTo>
                      <a:lnTo>
                        <a:pt x="538656" y="1421264"/>
                      </a:lnTo>
                      <a:lnTo>
                        <a:pt x="539869" y="1422022"/>
                      </a:lnTo>
                      <a:lnTo>
                        <a:pt x="540778" y="1418991"/>
                      </a:lnTo>
                      <a:lnTo>
                        <a:pt x="541990" y="1416870"/>
                      </a:lnTo>
                      <a:lnTo>
                        <a:pt x="543657" y="1415052"/>
                      </a:lnTo>
                      <a:lnTo>
                        <a:pt x="545626" y="1410809"/>
                      </a:lnTo>
                      <a:lnTo>
                        <a:pt x="547141" y="1408536"/>
                      </a:lnTo>
                      <a:lnTo>
                        <a:pt x="548354" y="1405809"/>
                      </a:lnTo>
                      <a:lnTo>
                        <a:pt x="548959" y="1401566"/>
                      </a:lnTo>
                      <a:lnTo>
                        <a:pt x="550020" y="1401263"/>
                      </a:lnTo>
                      <a:lnTo>
                        <a:pt x="550929" y="1400506"/>
                      </a:lnTo>
                      <a:lnTo>
                        <a:pt x="551687" y="1399294"/>
                      </a:lnTo>
                      <a:lnTo>
                        <a:pt x="552142" y="1397930"/>
                      </a:lnTo>
                      <a:lnTo>
                        <a:pt x="551990" y="1395506"/>
                      </a:lnTo>
                      <a:lnTo>
                        <a:pt x="550324" y="1392778"/>
                      </a:lnTo>
                      <a:lnTo>
                        <a:pt x="550626" y="1392627"/>
                      </a:lnTo>
                      <a:lnTo>
                        <a:pt x="551536" y="1393081"/>
                      </a:lnTo>
                      <a:lnTo>
                        <a:pt x="553354" y="1394293"/>
                      </a:lnTo>
                      <a:lnTo>
                        <a:pt x="554869" y="1396112"/>
                      </a:lnTo>
                      <a:lnTo>
                        <a:pt x="555324" y="1393536"/>
                      </a:lnTo>
                      <a:lnTo>
                        <a:pt x="556839" y="1392627"/>
                      </a:lnTo>
                      <a:lnTo>
                        <a:pt x="558505" y="1393233"/>
                      </a:lnTo>
                      <a:lnTo>
                        <a:pt x="560324" y="1393384"/>
                      </a:lnTo>
                      <a:lnTo>
                        <a:pt x="566385" y="1391414"/>
                      </a:lnTo>
                      <a:lnTo>
                        <a:pt x="569264" y="1390808"/>
                      </a:lnTo>
                      <a:lnTo>
                        <a:pt x="571991" y="1389445"/>
                      </a:lnTo>
                      <a:lnTo>
                        <a:pt x="578203" y="1384141"/>
                      </a:lnTo>
                      <a:lnTo>
                        <a:pt x="579718" y="1383838"/>
                      </a:lnTo>
                      <a:lnTo>
                        <a:pt x="581082" y="1384141"/>
                      </a:lnTo>
                      <a:lnTo>
                        <a:pt x="582446" y="1385202"/>
                      </a:lnTo>
                      <a:lnTo>
                        <a:pt x="583810" y="1385657"/>
                      </a:lnTo>
                      <a:lnTo>
                        <a:pt x="584870" y="1385505"/>
                      </a:lnTo>
                      <a:lnTo>
                        <a:pt x="585476" y="1384596"/>
                      </a:lnTo>
                      <a:lnTo>
                        <a:pt x="584264" y="1382778"/>
                      </a:lnTo>
                      <a:lnTo>
                        <a:pt x="583810" y="1380960"/>
                      </a:lnTo>
                      <a:lnTo>
                        <a:pt x="583658" y="1378990"/>
                      </a:lnTo>
                      <a:lnTo>
                        <a:pt x="585325" y="1378535"/>
                      </a:lnTo>
                      <a:lnTo>
                        <a:pt x="587143" y="1378535"/>
                      </a:lnTo>
                      <a:lnTo>
                        <a:pt x="594416" y="1375505"/>
                      </a:lnTo>
                      <a:lnTo>
                        <a:pt x="595325" y="1374141"/>
                      </a:lnTo>
                      <a:lnTo>
                        <a:pt x="595780" y="1372323"/>
                      </a:lnTo>
                      <a:lnTo>
                        <a:pt x="598962" y="1372020"/>
                      </a:lnTo>
                      <a:lnTo>
                        <a:pt x="598658" y="1370353"/>
                      </a:lnTo>
                      <a:lnTo>
                        <a:pt x="597295" y="1370050"/>
                      </a:lnTo>
                      <a:lnTo>
                        <a:pt x="591234" y="1366868"/>
                      </a:lnTo>
                      <a:lnTo>
                        <a:pt x="586082" y="1364595"/>
                      </a:lnTo>
                      <a:lnTo>
                        <a:pt x="581688" y="1362474"/>
                      </a:lnTo>
                      <a:lnTo>
                        <a:pt x="580931" y="1362171"/>
                      </a:lnTo>
                      <a:lnTo>
                        <a:pt x="579718" y="1361262"/>
                      </a:lnTo>
                      <a:lnTo>
                        <a:pt x="578809" y="1359595"/>
                      </a:lnTo>
                      <a:lnTo>
                        <a:pt x="578658" y="1357928"/>
                      </a:lnTo>
                      <a:lnTo>
                        <a:pt x="579112" y="1356716"/>
                      </a:lnTo>
                      <a:lnTo>
                        <a:pt x="580173" y="1355959"/>
                      </a:lnTo>
                      <a:lnTo>
                        <a:pt x="581537" y="1355656"/>
                      </a:lnTo>
                      <a:lnTo>
                        <a:pt x="582597" y="1355959"/>
                      </a:lnTo>
                      <a:lnTo>
                        <a:pt x="583961" y="1356716"/>
                      </a:lnTo>
                      <a:lnTo>
                        <a:pt x="586234" y="1357625"/>
                      </a:lnTo>
                      <a:lnTo>
                        <a:pt x="589113" y="1357777"/>
                      </a:lnTo>
                      <a:lnTo>
                        <a:pt x="590931" y="1357019"/>
                      </a:lnTo>
                      <a:lnTo>
                        <a:pt x="591234" y="1355353"/>
                      </a:lnTo>
                      <a:lnTo>
                        <a:pt x="587749" y="1349140"/>
                      </a:lnTo>
                      <a:lnTo>
                        <a:pt x="584416" y="1344140"/>
                      </a:lnTo>
                      <a:lnTo>
                        <a:pt x="581385" y="1338534"/>
                      </a:lnTo>
                      <a:lnTo>
                        <a:pt x="580022" y="1336564"/>
                      </a:lnTo>
                      <a:lnTo>
                        <a:pt x="576233" y="1331867"/>
                      </a:lnTo>
                      <a:lnTo>
                        <a:pt x="572445" y="1327170"/>
                      </a:lnTo>
                      <a:lnTo>
                        <a:pt x="569567" y="1323079"/>
                      </a:lnTo>
                      <a:lnTo>
                        <a:pt x="567900" y="1321866"/>
                      </a:lnTo>
                      <a:lnTo>
                        <a:pt x="563202" y="1321260"/>
                      </a:lnTo>
                      <a:lnTo>
                        <a:pt x="553960" y="1320200"/>
                      </a:lnTo>
                      <a:lnTo>
                        <a:pt x="550778" y="1319745"/>
                      </a:lnTo>
                      <a:lnTo>
                        <a:pt x="548202" y="1320957"/>
                      </a:lnTo>
                      <a:lnTo>
                        <a:pt x="545626" y="1322018"/>
                      </a:lnTo>
                      <a:lnTo>
                        <a:pt x="543050" y="1320200"/>
                      </a:lnTo>
                      <a:lnTo>
                        <a:pt x="541232" y="1317321"/>
                      </a:lnTo>
                      <a:lnTo>
                        <a:pt x="540171" y="1314745"/>
                      </a:lnTo>
                      <a:lnTo>
                        <a:pt x="540626" y="1312321"/>
                      </a:lnTo>
                      <a:lnTo>
                        <a:pt x="540778" y="1308533"/>
                      </a:lnTo>
                      <a:lnTo>
                        <a:pt x="539414" y="1304896"/>
                      </a:lnTo>
                      <a:lnTo>
                        <a:pt x="537747" y="1303078"/>
                      </a:lnTo>
                      <a:lnTo>
                        <a:pt x="533505" y="1301714"/>
                      </a:lnTo>
                      <a:lnTo>
                        <a:pt x="528353" y="1298532"/>
                      </a:lnTo>
                      <a:lnTo>
                        <a:pt x="526838" y="1292926"/>
                      </a:lnTo>
                      <a:lnTo>
                        <a:pt x="529414" y="1284744"/>
                      </a:lnTo>
                      <a:lnTo>
                        <a:pt x="533505" y="1278986"/>
                      </a:lnTo>
                      <a:lnTo>
                        <a:pt x="536535" y="1276562"/>
                      </a:lnTo>
                      <a:lnTo>
                        <a:pt x="538050" y="1274441"/>
                      </a:lnTo>
                      <a:lnTo>
                        <a:pt x="538505" y="1272622"/>
                      </a:lnTo>
                      <a:lnTo>
                        <a:pt x="538050" y="1270804"/>
                      </a:lnTo>
                      <a:lnTo>
                        <a:pt x="536383" y="1268986"/>
                      </a:lnTo>
                      <a:lnTo>
                        <a:pt x="533505" y="1267167"/>
                      </a:lnTo>
                      <a:lnTo>
                        <a:pt x="532141" y="1264895"/>
                      </a:lnTo>
                      <a:lnTo>
                        <a:pt x="532747" y="1260198"/>
                      </a:lnTo>
                      <a:lnTo>
                        <a:pt x="534565" y="1253228"/>
                      </a:lnTo>
                      <a:lnTo>
                        <a:pt x="537293" y="1247621"/>
                      </a:lnTo>
                      <a:lnTo>
                        <a:pt x="541081" y="1244591"/>
                      </a:lnTo>
                      <a:lnTo>
                        <a:pt x="544414" y="1242470"/>
                      </a:lnTo>
                      <a:lnTo>
                        <a:pt x="545626" y="1240348"/>
                      </a:lnTo>
                      <a:lnTo>
                        <a:pt x="545778" y="1237469"/>
                      </a:lnTo>
                      <a:lnTo>
                        <a:pt x="545626" y="1234591"/>
                      </a:lnTo>
                      <a:lnTo>
                        <a:pt x="546536" y="1232621"/>
                      </a:lnTo>
                      <a:lnTo>
                        <a:pt x="547899" y="1231106"/>
                      </a:lnTo>
                      <a:lnTo>
                        <a:pt x="549263" y="1229590"/>
                      </a:lnTo>
                      <a:lnTo>
                        <a:pt x="551384" y="1228075"/>
                      </a:lnTo>
                      <a:lnTo>
                        <a:pt x="553960" y="1227621"/>
                      </a:lnTo>
                      <a:lnTo>
                        <a:pt x="556839" y="1228984"/>
                      </a:lnTo>
                      <a:lnTo>
                        <a:pt x="560778" y="1232318"/>
                      </a:lnTo>
                      <a:lnTo>
                        <a:pt x="566536" y="1239136"/>
                      </a:lnTo>
                      <a:lnTo>
                        <a:pt x="569869" y="1243530"/>
                      </a:lnTo>
                      <a:lnTo>
                        <a:pt x="571082" y="1244894"/>
                      </a:lnTo>
                      <a:lnTo>
                        <a:pt x="574112" y="1247470"/>
                      </a:lnTo>
                      <a:lnTo>
                        <a:pt x="576840" y="1248530"/>
                      </a:lnTo>
                      <a:lnTo>
                        <a:pt x="581385" y="1246864"/>
                      </a:lnTo>
                      <a:lnTo>
                        <a:pt x="585779" y="1245045"/>
                      </a:lnTo>
                      <a:lnTo>
                        <a:pt x="587143" y="1243833"/>
                      </a:lnTo>
                      <a:lnTo>
                        <a:pt x="588052" y="1242015"/>
                      </a:lnTo>
                      <a:lnTo>
                        <a:pt x="587294" y="1238833"/>
                      </a:lnTo>
                      <a:lnTo>
                        <a:pt x="586385" y="1236863"/>
                      </a:lnTo>
                      <a:lnTo>
                        <a:pt x="585476" y="1234288"/>
                      </a:lnTo>
                      <a:lnTo>
                        <a:pt x="584112" y="1229742"/>
                      </a:lnTo>
                      <a:lnTo>
                        <a:pt x="583203" y="1222772"/>
                      </a:lnTo>
                      <a:lnTo>
                        <a:pt x="581991" y="1220499"/>
                      </a:lnTo>
                      <a:lnTo>
                        <a:pt x="582900" y="1220196"/>
                      </a:lnTo>
                      <a:lnTo>
                        <a:pt x="585021" y="1220651"/>
                      </a:lnTo>
                      <a:lnTo>
                        <a:pt x="586991" y="1220954"/>
                      </a:lnTo>
                      <a:lnTo>
                        <a:pt x="590022" y="1219287"/>
                      </a:lnTo>
                      <a:lnTo>
                        <a:pt x="593961" y="1216408"/>
                      </a:lnTo>
                      <a:lnTo>
                        <a:pt x="601083" y="1211862"/>
                      </a:lnTo>
                      <a:lnTo>
                        <a:pt x="602750" y="1208832"/>
                      </a:lnTo>
                      <a:lnTo>
                        <a:pt x="603962" y="1205499"/>
                      </a:lnTo>
                      <a:lnTo>
                        <a:pt x="605931" y="1203529"/>
                      </a:lnTo>
                      <a:lnTo>
                        <a:pt x="610477" y="1202771"/>
                      </a:lnTo>
                      <a:lnTo>
                        <a:pt x="614871" y="1201711"/>
                      </a:lnTo>
                      <a:lnTo>
                        <a:pt x="617750" y="1199438"/>
                      </a:lnTo>
                      <a:lnTo>
                        <a:pt x="622599" y="1197316"/>
                      </a:lnTo>
                      <a:lnTo>
                        <a:pt x="626387" y="1196104"/>
                      </a:lnTo>
                      <a:lnTo>
                        <a:pt x="628053" y="1194892"/>
                      </a:lnTo>
                      <a:lnTo>
                        <a:pt x="629417" y="1193225"/>
                      </a:lnTo>
                      <a:lnTo>
                        <a:pt x="633811" y="1188225"/>
                      </a:lnTo>
                      <a:lnTo>
                        <a:pt x="637296" y="1185195"/>
                      </a:lnTo>
                      <a:lnTo>
                        <a:pt x="640326" y="1182013"/>
                      </a:lnTo>
                      <a:lnTo>
                        <a:pt x="641387" y="1180043"/>
                      </a:lnTo>
                      <a:lnTo>
                        <a:pt x="643812" y="1180498"/>
                      </a:lnTo>
                      <a:lnTo>
                        <a:pt x="647448" y="1181861"/>
                      </a:lnTo>
                      <a:lnTo>
                        <a:pt x="651539" y="1183074"/>
                      </a:lnTo>
                      <a:lnTo>
                        <a:pt x="654418" y="1185043"/>
                      </a:lnTo>
                      <a:lnTo>
                        <a:pt x="655024" y="1187013"/>
                      </a:lnTo>
                      <a:lnTo>
                        <a:pt x="655327" y="1188528"/>
                      </a:lnTo>
                      <a:lnTo>
                        <a:pt x="656388" y="1189286"/>
                      </a:lnTo>
                      <a:lnTo>
                        <a:pt x="657903" y="1189437"/>
                      </a:lnTo>
                      <a:lnTo>
                        <a:pt x="660024" y="1189134"/>
                      </a:lnTo>
                      <a:lnTo>
                        <a:pt x="663661" y="1188983"/>
                      </a:lnTo>
                      <a:lnTo>
                        <a:pt x="668207" y="1186407"/>
                      </a:lnTo>
                      <a:lnTo>
                        <a:pt x="674570" y="1182164"/>
                      </a:lnTo>
                      <a:lnTo>
                        <a:pt x="680328" y="1180801"/>
                      </a:lnTo>
                      <a:lnTo>
                        <a:pt x="683510" y="1181861"/>
                      </a:lnTo>
                      <a:lnTo>
                        <a:pt x="685934" y="1185043"/>
                      </a:lnTo>
                      <a:lnTo>
                        <a:pt x="687904" y="1187922"/>
                      </a:lnTo>
                      <a:lnTo>
                        <a:pt x="690026" y="1189134"/>
                      </a:lnTo>
                      <a:lnTo>
                        <a:pt x="691238" y="1189134"/>
                      </a:lnTo>
                      <a:lnTo>
                        <a:pt x="691692" y="1189134"/>
                      </a:lnTo>
                      <a:lnTo>
                        <a:pt x="694268" y="1188528"/>
                      </a:lnTo>
                      <a:lnTo>
                        <a:pt x="694571" y="1188528"/>
                      </a:lnTo>
                      <a:lnTo>
                        <a:pt x="696844" y="1188680"/>
                      </a:lnTo>
                      <a:lnTo>
                        <a:pt x="699117" y="1189589"/>
                      </a:lnTo>
                      <a:lnTo>
                        <a:pt x="702753" y="1189740"/>
                      </a:lnTo>
                      <a:lnTo>
                        <a:pt x="707905" y="1188983"/>
                      </a:lnTo>
                      <a:lnTo>
                        <a:pt x="708511" y="1188680"/>
                      </a:lnTo>
                      <a:lnTo>
                        <a:pt x="710935" y="1189134"/>
                      </a:lnTo>
                      <a:lnTo>
                        <a:pt x="713966" y="1190498"/>
                      </a:lnTo>
                      <a:lnTo>
                        <a:pt x="716390" y="1192013"/>
                      </a:lnTo>
                      <a:lnTo>
                        <a:pt x="720633" y="1197468"/>
                      </a:lnTo>
                      <a:lnTo>
                        <a:pt x="723057" y="1198832"/>
                      </a:lnTo>
                      <a:lnTo>
                        <a:pt x="727906" y="1200650"/>
                      </a:lnTo>
                      <a:lnTo>
                        <a:pt x="730179" y="1202317"/>
                      </a:lnTo>
                      <a:lnTo>
                        <a:pt x="732906" y="1205044"/>
                      </a:lnTo>
                      <a:lnTo>
                        <a:pt x="734270" y="1206711"/>
                      </a:lnTo>
                      <a:lnTo>
                        <a:pt x="737300" y="1209590"/>
                      </a:lnTo>
                      <a:lnTo>
                        <a:pt x="740634" y="1214438"/>
                      </a:lnTo>
                      <a:lnTo>
                        <a:pt x="741239" y="1218226"/>
                      </a:lnTo>
                      <a:lnTo>
                        <a:pt x="741997" y="1221560"/>
                      </a:lnTo>
                      <a:lnTo>
                        <a:pt x="743209" y="1223075"/>
                      </a:lnTo>
                      <a:lnTo>
                        <a:pt x="744270" y="1223226"/>
                      </a:lnTo>
                      <a:lnTo>
                        <a:pt x="745482" y="1222772"/>
                      </a:lnTo>
                      <a:lnTo>
                        <a:pt x="746543" y="1221257"/>
                      </a:lnTo>
                      <a:lnTo>
                        <a:pt x="746846" y="1218832"/>
                      </a:lnTo>
                      <a:lnTo>
                        <a:pt x="746543" y="1214438"/>
                      </a:lnTo>
                      <a:lnTo>
                        <a:pt x="745634" y="1210802"/>
                      </a:lnTo>
                      <a:lnTo>
                        <a:pt x="744573" y="1209741"/>
                      </a:lnTo>
                      <a:lnTo>
                        <a:pt x="744118" y="1208529"/>
                      </a:lnTo>
                      <a:lnTo>
                        <a:pt x="744725" y="1206862"/>
                      </a:lnTo>
                      <a:lnTo>
                        <a:pt x="746694" y="1206105"/>
                      </a:lnTo>
                      <a:lnTo>
                        <a:pt x="748967" y="1206559"/>
                      </a:lnTo>
                      <a:lnTo>
                        <a:pt x="752907" y="1208680"/>
                      </a:lnTo>
                      <a:lnTo>
                        <a:pt x="756846" y="1211256"/>
                      </a:lnTo>
                      <a:lnTo>
                        <a:pt x="761846" y="1215802"/>
                      </a:lnTo>
                      <a:lnTo>
                        <a:pt x="766392" y="1218529"/>
                      </a:lnTo>
                      <a:lnTo>
                        <a:pt x="771241" y="1220802"/>
                      </a:lnTo>
                      <a:lnTo>
                        <a:pt x="775180" y="1221560"/>
                      </a:lnTo>
                      <a:lnTo>
                        <a:pt x="778362" y="1220802"/>
                      </a:lnTo>
                      <a:lnTo>
                        <a:pt x="781847" y="1218984"/>
                      </a:lnTo>
                      <a:lnTo>
                        <a:pt x="785181" y="1216863"/>
                      </a:lnTo>
                      <a:lnTo>
                        <a:pt x="786696" y="1214590"/>
                      </a:lnTo>
                      <a:lnTo>
                        <a:pt x="787756" y="1212166"/>
                      </a:lnTo>
                      <a:lnTo>
                        <a:pt x="792757" y="1208832"/>
                      </a:lnTo>
                      <a:lnTo>
                        <a:pt x="797302" y="1205802"/>
                      </a:lnTo>
                      <a:lnTo>
                        <a:pt x="799272" y="1206408"/>
                      </a:lnTo>
                      <a:lnTo>
                        <a:pt x="800787" y="1207165"/>
                      </a:lnTo>
                      <a:lnTo>
                        <a:pt x="805484" y="1205347"/>
                      </a:lnTo>
                      <a:lnTo>
                        <a:pt x="806999" y="1204892"/>
                      </a:lnTo>
                      <a:lnTo>
                        <a:pt x="811545" y="1204135"/>
                      </a:lnTo>
                      <a:lnTo>
                        <a:pt x="816091" y="1205196"/>
                      </a:lnTo>
                      <a:lnTo>
                        <a:pt x="819727" y="1208529"/>
                      </a:lnTo>
                      <a:lnTo>
                        <a:pt x="823364" y="1210499"/>
                      </a:lnTo>
                      <a:lnTo>
                        <a:pt x="826394" y="1210347"/>
                      </a:lnTo>
                      <a:lnTo>
                        <a:pt x="829122" y="1209287"/>
                      </a:lnTo>
                      <a:lnTo>
                        <a:pt x="830788" y="1207165"/>
                      </a:lnTo>
                      <a:lnTo>
                        <a:pt x="832152" y="1204892"/>
                      </a:lnTo>
                      <a:lnTo>
                        <a:pt x="833819" y="1203377"/>
                      </a:lnTo>
                      <a:lnTo>
                        <a:pt x="834122" y="1203226"/>
                      </a:lnTo>
                      <a:lnTo>
                        <a:pt x="839728" y="1203983"/>
                      </a:lnTo>
                      <a:lnTo>
                        <a:pt x="843365" y="1203983"/>
                      </a:lnTo>
                      <a:lnTo>
                        <a:pt x="843668" y="1203529"/>
                      </a:lnTo>
                      <a:lnTo>
                        <a:pt x="848365" y="1204286"/>
                      </a:lnTo>
                      <a:lnTo>
                        <a:pt x="853516" y="1207620"/>
                      </a:lnTo>
                      <a:lnTo>
                        <a:pt x="856699" y="1211256"/>
                      </a:lnTo>
                      <a:lnTo>
                        <a:pt x="860789" y="1215954"/>
                      </a:lnTo>
                      <a:lnTo>
                        <a:pt x="862759" y="1217620"/>
                      </a:lnTo>
                      <a:lnTo>
                        <a:pt x="865487" y="1218226"/>
                      </a:lnTo>
                      <a:lnTo>
                        <a:pt x="867608" y="1218529"/>
                      </a:lnTo>
                      <a:lnTo>
                        <a:pt x="870638" y="1219287"/>
                      </a:lnTo>
                      <a:lnTo>
                        <a:pt x="878214" y="1220196"/>
                      </a:lnTo>
                      <a:lnTo>
                        <a:pt x="879427" y="1220802"/>
                      </a:lnTo>
                      <a:lnTo>
                        <a:pt x="880184" y="1221560"/>
                      </a:lnTo>
                      <a:lnTo>
                        <a:pt x="879578" y="1224136"/>
                      </a:lnTo>
                      <a:lnTo>
                        <a:pt x="880184" y="1224742"/>
                      </a:lnTo>
                      <a:lnTo>
                        <a:pt x="886397" y="1222923"/>
                      </a:lnTo>
                      <a:lnTo>
                        <a:pt x="888215" y="1221560"/>
                      </a:lnTo>
                      <a:lnTo>
                        <a:pt x="890185" y="1217772"/>
                      </a:lnTo>
                      <a:lnTo>
                        <a:pt x="892003" y="1213832"/>
                      </a:lnTo>
                      <a:lnTo>
                        <a:pt x="893366" y="1212317"/>
                      </a:lnTo>
                      <a:lnTo>
                        <a:pt x="894882" y="1211862"/>
                      </a:lnTo>
                      <a:lnTo>
                        <a:pt x="896397" y="1212468"/>
                      </a:lnTo>
                      <a:lnTo>
                        <a:pt x="898367" y="1214893"/>
                      </a:lnTo>
                      <a:lnTo>
                        <a:pt x="901094" y="1217166"/>
                      </a:lnTo>
                      <a:lnTo>
                        <a:pt x="904882" y="1218075"/>
                      </a:lnTo>
                      <a:lnTo>
                        <a:pt x="907155" y="1218378"/>
                      </a:lnTo>
                      <a:lnTo>
                        <a:pt x="910791" y="1218681"/>
                      </a:lnTo>
                      <a:lnTo>
                        <a:pt x="919125" y="1217469"/>
                      </a:lnTo>
                      <a:lnTo>
                        <a:pt x="926852" y="1214590"/>
                      </a:lnTo>
                      <a:lnTo>
                        <a:pt x="931247" y="1211559"/>
                      </a:lnTo>
                      <a:lnTo>
                        <a:pt x="933368" y="1206862"/>
                      </a:lnTo>
                      <a:lnTo>
                        <a:pt x="934580" y="1201559"/>
                      </a:lnTo>
                      <a:lnTo>
                        <a:pt x="936702" y="1198226"/>
                      </a:lnTo>
                      <a:lnTo>
                        <a:pt x="935792" y="1194741"/>
                      </a:lnTo>
                      <a:lnTo>
                        <a:pt x="931853" y="1191559"/>
                      </a:lnTo>
                      <a:lnTo>
                        <a:pt x="930640" y="1190498"/>
                      </a:lnTo>
                      <a:lnTo>
                        <a:pt x="921095" y="1188680"/>
                      </a:lnTo>
                      <a:lnTo>
                        <a:pt x="920489" y="1187316"/>
                      </a:lnTo>
                      <a:lnTo>
                        <a:pt x="919882" y="1187013"/>
                      </a:lnTo>
                      <a:lnTo>
                        <a:pt x="910488" y="1184134"/>
                      </a:lnTo>
                      <a:lnTo>
                        <a:pt x="905943" y="1182922"/>
                      </a:lnTo>
                      <a:lnTo>
                        <a:pt x="904730" y="1180952"/>
                      </a:lnTo>
                      <a:lnTo>
                        <a:pt x="903821" y="1178528"/>
                      </a:lnTo>
                      <a:lnTo>
                        <a:pt x="900942" y="1176255"/>
                      </a:lnTo>
                      <a:lnTo>
                        <a:pt x="895185" y="1174134"/>
                      </a:lnTo>
                      <a:lnTo>
                        <a:pt x="894124" y="1172619"/>
                      </a:lnTo>
                      <a:lnTo>
                        <a:pt x="895033" y="1171103"/>
                      </a:lnTo>
                      <a:lnTo>
                        <a:pt x="899730" y="1169285"/>
                      </a:lnTo>
                      <a:lnTo>
                        <a:pt x="904882" y="1165649"/>
                      </a:lnTo>
                      <a:lnTo>
                        <a:pt x="907003" y="1164891"/>
                      </a:lnTo>
                      <a:lnTo>
                        <a:pt x="911549" y="1164739"/>
                      </a:lnTo>
                      <a:lnTo>
                        <a:pt x="915943" y="1161709"/>
                      </a:lnTo>
                      <a:lnTo>
                        <a:pt x="918973" y="1159891"/>
                      </a:lnTo>
                      <a:lnTo>
                        <a:pt x="920489" y="1157921"/>
                      </a:lnTo>
                      <a:lnTo>
                        <a:pt x="920034" y="1155800"/>
                      </a:lnTo>
                      <a:lnTo>
                        <a:pt x="915792" y="1149284"/>
                      </a:lnTo>
                      <a:lnTo>
                        <a:pt x="914428" y="1145345"/>
                      </a:lnTo>
                      <a:lnTo>
                        <a:pt x="915185" y="1142769"/>
                      </a:lnTo>
                      <a:lnTo>
                        <a:pt x="917761" y="1140042"/>
                      </a:lnTo>
                      <a:lnTo>
                        <a:pt x="919125" y="1138526"/>
                      </a:lnTo>
                      <a:lnTo>
                        <a:pt x="920792" y="1135799"/>
                      </a:lnTo>
                      <a:lnTo>
                        <a:pt x="922004" y="1134435"/>
                      </a:lnTo>
                      <a:lnTo>
                        <a:pt x="926247" y="1133829"/>
                      </a:lnTo>
                      <a:lnTo>
                        <a:pt x="931549" y="1133526"/>
                      </a:lnTo>
                      <a:lnTo>
                        <a:pt x="935186" y="1134132"/>
                      </a:lnTo>
                      <a:lnTo>
                        <a:pt x="940338" y="1134587"/>
                      </a:lnTo>
                      <a:lnTo>
                        <a:pt x="944883" y="1135041"/>
                      </a:lnTo>
                      <a:lnTo>
                        <a:pt x="947308" y="1135496"/>
                      </a:lnTo>
                      <a:lnTo>
                        <a:pt x="948975" y="1134587"/>
                      </a:lnTo>
                      <a:lnTo>
                        <a:pt x="950187" y="1133223"/>
                      </a:lnTo>
                      <a:lnTo>
                        <a:pt x="950187" y="1131253"/>
                      </a:lnTo>
                      <a:lnTo>
                        <a:pt x="948368" y="1129435"/>
                      </a:lnTo>
                      <a:lnTo>
                        <a:pt x="941550" y="1127011"/>
                      </a:lnTo>
                      <a:lnTo>
                        <a:pt x="938671" y="1124890"/>
                      </a:lnTo>
                      <a:lnTo>
                        <a:pt x="936398" y="1125193"/>
                      </a:lnTo>
                      <a:lnTo>
                        <a:pt x="932610" y="1124587"/>
                      </a:lnTo>
                      <a:lnTo>
                        <a:pt x="929125" y="1123223"/>
                      </a:lnTo>
                      <a:lnTo>
                        <a:pt x="926095" y="1122768"/>
                      </a:lnTo>
                      <a:lnTo>
                        <a:pt x="925034" y="1120950"/>
                      </a:lnTo>
                      <a:lnTo>
                        <a:pt x="925792" y="1118374"/>
                      </a:lnTo>
                      <a:lnTo>
                        <a:pt x="926852" y="1116859"/>
                      </a:lnTo>
                      <a:lnTo>
                        <a:pt x="929125" y="1116101"/>
                      </a:lnTo>
                      <a:lnTo>
                        <a:pt x="931549" y="1116404"/>
                      </a:lnTo>
                      <a:lnTo>
                        <a:pt x="934277" y="1115344"/>
                      </a:lnTo>
                      <a:lnTo>
                        <a:pt x="935035" y="1114738"/>
                      </a:lnTo>
                      <a:lnTo>
                        <a:pt x="935337" y="1113980"/>
                      </a:lnTo>
                      <a:lnTo>
                        <a:pt x="934883" y="1112768"/>
                      </a:lnTo>
                      <a:lnTo>
                        <a:pt x="933671" y="1111859"/>
                      </a:lnTo>
                      <a:lnTo>
                        <a:pt x="931853" y="1111556"/>
                      </a:lnTo>
                      <a:lnTo>
                        <a:pt x="929883" y="1112465"/>
                      </a:lnTo>
                      <a:lnTo>
                        <a:pt x="927459" y="1112919"/>
                      </a:lnTo>
                      <a:lnTo>
                        <a:pt x="923368" y="1111707"/>
                      </a:lnTo>
                      <a:lnTo>
                        <a:pt x="920034" y="1110344"/>
                      </a:lnTo>
                      <a:lnTo>
                        <a:pt x="920185" y="1108980"/>
                      </a:lnTo>
                      <a:lnTo>
                        <a:pt x="922610" y="1107010"/>
                      </a:lnTo>
                      <a:lnTo>
                        <a:pt x="923671" y="1105343"/>
                      </a:lnTo>
                      <a:lnTo>
                        <a:pt x="923671" y="1100495"/>
                      </a:lnTo>
                      <a:lnTo>
                        <a:pt x="924580" y="1097464"/>
                      </a:lnTo>
                      <a:lnTo>
                        <a:pt x="927004" y="1095343"/>
                      </a:lnTo>
                      <a:lnTo>
                        <a:pt x="929731" y="1094282"/>
                      </a:lnTo>
                      <a:lnTo>
                        <a:pt x="937004" y="1096252"/>
                      </a:lnTo>
                      <a:lnTo>
                        <a:pt x="946096" y="1098070"/>
                      </a:lnTo>
                      <a:lnTo>
                        <a:pt x="947611" y="1097767"/>
                      </a:lnTo>
                      <a:lnTo>
                        <a:pt x="948066" y="1096858"/>
                      </a:lnTo>
                      <a:lnTo>
                        <a:pt x="949126" y="1096101"/>
                      </a:lnTo>
                      <a:lnTo>
                        <a:pt x="961702" y="1095646"/>
                      </a:lnTo>
                      <a:lnTo>
                        <a:pt x="964127" y="1094434"/>
                      </a:lnTo>
                      <a:lnTo>
                        <a:pt x="965339" y="1093525"/>
                      </a:lnTo>
                      <a:lnTo>
                        <a:pt x="977309" y="1092161"/>
                      </a:lnTo>
                      <a:lnTo>
                        <a:pt x="978824" y="1090949"/>
                      </a:lnTo>
                      <a:lnTo>
                        <a:pt x="980642" y="1089737"/>
                      </a:lnTo>
                      <a:lnTo>
                        <a:pt x="983370" y="1089737"/>
                      </a:lnTo>
                      <a:lnTo>
                        <a:pt x="986703" y="1089282"/>
                      </a:lnTo>
                      <a:lnTo>
                        <a:pt x="991249" y="1087767"/>
                      </a:lnTo>
                      <a:lnTo>
                        <a:pt x="994582" y="1087009"/>
                      </a:lnTo>
                      <a:lnTo>
                        <a:pt x="995037" y="1086858"/>
                      </a:lnTo>
                      <a:lnTo>
                        <a:pt x="998522" y="1087313"/>
                      </a:lnTo>
                      <a:lnTo>
                        <a:pt x="1002764" y="1086100"/>
                      </a:lnTo>
                      <a:lnTo>
                        <a:pt x="1003673" y="1085646"/>
                      </a:lnTo>
                      <a:lnTo>
                        <a:pt x="1004431" y="1084737"/>
                      </a:lnTo>
                      <a:lnTo>
                        <a:pt x="1008219" y="1083070"/>
                      </a:lnTo>
                      <a:lnTo>
                        <a:pt x="1015340" y="1081706"/>
                      </a:lnTo>
                      <a:lnTo>
                        <a:pt x="1017159" y="1082464"/>
                      </a:lnTo>
                      <a:lnTo>
                        <a:pt x="1020493" y="1082918"/>
                      </a:lnTo>
                      <a:lnTo>
                        <a:pt x="1024886" y="1082312"/>
                      </a:lnTo>
                      <a:lnTo>
                        <a:pt x="1028069" y="1081252"/>
                      </a:lnTo>
                      <a:lnTo>
                        <a:pt x="1029887" y="1082312"/>
                      </a:lnTo>
                      <a:lnTo>
                        <a:pt x="1032462" y="1083373"/>
                      </a:lnTo>
                      <a:lnTo>
                        <a:pt x="1034432" y="1082464"/>
                      </a:lnTo>
                      <a:lnTo>
                        <a:pt x="1035341" y="1079585"/>
                      </a:lnTo>
                      <a:lnTo>
                        <a:pt x="1036554" y="1076706"/>
                      </a:lnTo>
                      <a:lnTo>
                        <a:pt x="1038675" y="1075342"/>
                      </a:lnTo>
                      <a:lnTo>
                        <a:pt x="1040493" y="1074888"/>
                      </a:lnTo>
                      <a:lnTo>
                        <a:pt x="1042008" y="1073827"/>
                      </a:lnTo>
                      <a:lnTo>
                        <a:pt x="1043069" y="1072615"/>
                      </a:lnTo>
                      <a:lnTo>
                        <a:pt x="1049433" y="1072766"/>
                      </a:lnTo>
                      <a:lnTo>
                        <a:pt x="1055039" y="1070039"/>
                      </a:lnTo>
                      <a:lnTo>
                        <a:pt x="1056251" y="1071251"/>
                      </a:lnTo>
                      <a:lnTo>
                        <a:pt x="1063524" y="1070948"/>
                      </a:lnTo>
                      <a:lnTo>
                        <a:pt x="1072616" y="1069130"/>
                      </a:lnTo>
                      <a:lnTo>
                        <a:pt x="1078070" y="1068372"/>
                      </a:lnTo>
                      <a:lnTo>
                        <a:pt x="1087464" y="1066403"/>
                      </a:lnTo>
                      <a:lnTo>
                        <a:pt x="1091859" y="1064887"/>
                      </a:lnTo>
                      <a:lnTo>
                        <a:pt x="1098071" y="1063827"/>
                      </a:lnTo>
                      <a:lnTo>
                        <a:pt x="1103829" y="1063221"/>
                      </a:lnTo>
                      <a:lnTo>
                        <a:pt x="1107465" y="1060493"/>
                      </a:lnTo>
                      <a:lnTo>
                        <a:pt x="1110496" y="1060039"/>
                      </a:lnTo>
                      <a:lnTo>
                        <a:pt x="1114132" y="1059887"/>
                      </a:lnTo>
                      <a:lnTo>
                        <a:pt x="1116405" y="1059281"/>
                      </a:lnTo>
                      <a:lnTo>
                        <a:pt x="1117920" y="1058220"/>
                      </a:lnTo>
                      <a:lnTo>
                        <a:pt x="1118829" y="1056402"/>
                      </a:lnTo>
                      <a:lnTo>
                        <a:pt x="1118375" y="1053978"/>
                      </a:lnTo>
                      <a:lnTo>
                        <a:pt x="1117769" y="1052160"/>
                      </a:lnTo>
                      <a:lnTo>
                        <a:pt x="1120496" y="1051251"/>
                      </a:lnTo>
                      <a:lnTo>
                        <a:pt x="1124133" y="1050948"/>
                      </a:lnTo>
                      <a:lnTo>
                        <a:pt x="1126557" y="1050493"/>
                      </a:lnTo>
                      <a:lnTo>
                        <a:pt x="1131709" y="1046553"/>
                      </a:lnTo>
                      <a:lnTo>
                        <a:pt x="1135193" y="1044735"/>
                      </a:lnTo>
                      <a:lnTo>
                        <a:pt x="1138830" y="1043523"/>
                      </a:lnTo>
                      <a:lnTo>
                        <a:pt x="1146255" y="1044129"/>
                      </a:lnTo>
                      <a:lnTo>
                        <a:pt x="1153073" y="1044735"/>
                      </a:lnTo>
                      <a:lnTo>
                        <a:pt x="1159740" y="1046705"/>
                      </a:lnTo>
                      <a:lnTo>
                        <a:pt x="1163377" y="1048978"/>
                      </a:lnTo>
                      <a:lnTo>
                        <a:pt x="1166407" y="1050796"/>
                      </a:lnTo>
                      <a:lnTo>
                        <a:pt x="1169286" y="1051554"/>
                      </a:lnTo>
                      <a:lnTo>
                        <a:pt x="1171862" y="1052160"/>
                      </a:lnTo>
                      <a:lnTo>
                        <a:pt x="1174892" y="1051402"/>
                      </a:lnTo>
                      <a:lnTo>
                        <a:pt x="1177013" y="1050341"/>
                      </a:lnTo>
                      <a:lnTo>
                        <a:pt x="1178225" y="1048675"/>
                      </a:lnTo>
                      <a:lnTo>
                        <a:pt x="1180195" y="1047614"/>
                      </a:lnTo>
                      <a:lnTo>
                        <a:pt x="1187014" y="1046705"/>
                      </a:lnTo>
                      <a:lnTo>
                        <a:pt x="1188529" y="1048372"/>
                      </a:lnTo>
                      <a:lnTo>
                        <a:pt x="1191711" y="1053523"/>
                      </a:lnTo>
                      <a:lnTo>
                        <a:pt x="1193984" y="1060190"/>
                      </a:lnTo>
                      <a:lnTo>
                        <a:pt x="1197620" y="1069130"/>
                      </a:lnTo>
                      <a:lnTo>
                        <a:pt x="1199287" y="1073524"/>
                      </a:lnTo>
                      <a:lnTo>
                        <a:pt x="1198529" y="1075797"/>
                      </a:lnTo>
                      <a:lnTo>
                        <a:pt x="1198681" y="1078979"/>
                      </a:lnTo>
                      <a:lnTo>
                        <a:pt x="1198378" y="1082464"/>
                      </a:lnTo>
                      <a:lnTo>
                        <a:pt x="1195651" y="1086403"/>
                      </a:lnTo>
                      <a:lnTo>
                        <a:pt x="1196862" y="1088222"/>
                      </a:lnTo>
                      <a:lnTo>
                        <a:pt x="1203378" y="1090191"/>
                      </a:lnTo>
                      <a:lnTo>
                        <a:pt x="1212772" y="1089434"/>
                      </a:lnTo>
                      <a:lnTo>
                        <a:pt x="1218530" y="1087767"/>
                      </a:lnTo>
                      <a:lnTo>
                        <a:pt x="1221712" y="1088373"/>
                      </a:lnTo>
                      <a:lnTo>
                        <a:pt x="1223379" y="1087464"/>
                      </a:lnTo>
                      <a:lnTo>
                        <a:pt x="1224439" y="1084585"/>
                      </a:lnTo>
                      <a:lnTo>
                        <a:pt x="1226712" y="1083827"/>
                      </a:lnTo>
                      <a:lnTo>
                        <a:pt x="1228985" y="1085949"/>
                      </a:lnTo>
                      <a:lnTo>
                        <a:pt x="1230652" y="1089282"/>
                      </a:lnTo>
                      <a:lnTo>
                        <a:pt x="1232167" y="1091555"/>
                      </a:lnTo>
                      <a:lnTo>
                        <a:pt x="1232015" y="1094131"/>
                      </a:lnTo>
                      <a:lnTo>
                        <a:pt x="1232622" y="1097464"/>
                      </a:lnTo>
                      <a:lnTo>
                        <a:pt x="1233834" y="1098373"/>
                      </a:lnTo>
                      <a:lnTo>
                        <a:pt x="1236106" y="1097010"/>
                      </a:lnTo>
                      <a:lnTo>
                        <a:pt x="1237622" y="1096252"/>
                      </a:lnTo>
                      <a:lnTo>
                        <a:pt x="1237924" y="1095192"/>
                      </a:lnTo>
                      <a:lnTo>
                        <a:pt x="1237319" y="1093979"/>
                      </a:lnTo>
                      <a:lnTo>
                        <a:pt x="1237015" y="1092767"/>
                      </a:lnTo>
                      <a:lnTo>
                        <a:pt x="1237470" y="1091555"/>
                      </a:lnTo>
                      <a:lnTo>
                        <a:pt x="1238682" y="1091101"/>
                      </a:lnTo>
                      <a:lnTo>
                        <a:pt x="1241864" y="1091404"/>
                      </a:lnTo>
                      <a:lnTo>
                        <a:pt x="1246561" y="1092161"/>
                      </a:lnTo>
                      <a:lnTo>
                        <a:pt x="1252167" y="1096858"/>
                      </a:lnTo>
                      <a:lnTo>
                        <a:pt x="1255198" y="1097767"/>
                      </a:lnTo>
                      <a:lnTo>
                        <a:pt x="1256562" y="1097767"/>
                      </a:lnTo>
                      <a:lnTo>
                        <a:pt x="1259441" y="1097464"/>
                      </a:lnTo>
                      <a:lnTo>
                        <a:pt x="1262774" y="1096101"/>
                      </a:lnTo>
                      <a:lnTo>
                        <a:pt x="1265047" y="1094434"/>
                      </a:lnTo>
                      <a:lnTo>
                        <a:pt x="1265805" y="1093525"/>
                      </a:lnTo>
                      <a:lnTo>
                        <a:pt x="1267168" y="1093676"/>
                      </a:lnTo>
                      <a:lnTo>
                        <a:pt x="1268380" y="1094585"/>
                      </a:lnTo>
                      <a:lnTo>
                        <a:pt x="1268532" y="1096252"/>
                      </a:lnTo>
                      <a:lnTo>
                        <a:pt x="1267471" y="1098828"/>
                      </a:lnTo>
                      <a:lnTo>
                        <a:pt x="1264138" y="1101101"/>
                      </a:lnTo>
                      <a:lnTo>
                        <a:pt x="1259895" y="1103222"/>
                      </a:lnTo>
                      <a:lnTo>
                        <a:pt x="1257319" y="1107162"/>
                      </a:lnTo>
                      <a:lnTo>
                        <a:pt x="1256713" y="1111101"/>
                      </a:lnTo>
                      <a:lnTo>
                        <a:pt x="1257925" y="1113223"/>
                      </a:lnTo>
                      <a:lnTo>
                        <a:pt x="1258834" y="1114586"/>
                      </a:lnTo>
                      <a:lnTo>
                        <a:pt x="1259138" y="1116556"/>
                      </a:lnTo>
                      <a:lnTo>
                        <a:pt x="1260047" y="1116707"/>
                      </a:lnTo>
                      <a:lnTo>
                        <a:pt x="1261865" y="1115950"/>
                      </a:lnTo>
                      <a:lnTo>
                        <a:pt x="1266562" y="1112010"/>
                      </a:lnTo>
                      <a:lnTo>
                        <a:pt x="1268987" y="1110950"/>
                      </a:lnTo>
                      <a:lnTo>
                        <a:pt x="1272471" y="1110344"/>
                      </a:lnTo>
                      <a:lnTo>
                        <a:pt x="1278229" y="1110647"/>
                      </a:lnTo>
                      <a:lnTo>
                        <a:pt x="1282017" y="1112010"/>
                      </a:lnTo>
                      <a:lnTo>
                        <a:pt x="1283987" y="1113829"/>
                      </a:lnTo>
                      <a:lnTo>
                        <a:pt x="1285957" y="1115344"/>
                      </a:lnTo>
                      <a:lnTo>
                        <a:pt x="1287320" y="1114586"/>
                      </a:lnTo>
                      <a:lnTo>
                        <a:pt x="1288078" y="1112919"/>
                      </a:lnTo>
                      <a:lnTo>
                        <a:pt x="1288078" y="1110950"/>
                      </a:lnTo>
                      <a:lnTo>
                        <a:pt x="1288684" y="1109283"/>
                      </a:lnTo>
                      <a:lnTo>
                        <a:pt x="1294896" y="1105343"/>
                      </a:lnTo>
                      <a:lnTo>
                        <a:pt x="1299139" y="1102616"/>
                      </a:lnTo>
                      <a:lnTo>
                        <a:pt x="1300654" y="1102313"/>
                      </a:lnTo>
                      <a:lnTo>
                        <a:pt x="1303382" y="1102919"/>
                      </a:lnTo>
                      <a:lnTo>
                        <a:pt x="1305049" y="1102616"/>
                      </a:lnTo>
                      <a:lnTo>
                        <a:pt x="1309746" y="1100040"/>
                      </a:lnTo>
                      <a:lnTo>
                        <a:pt x="1313988" y="1097313"/>
                      </a:lnTo>
                      <a:lnTo>
                        <a:pt x="1314443" y="1095343"/>
                      </a:lnTo>
                      <a:lnTo>
                        <a:pt x="1314594" y="1093525"/>
                      </a:lnTo>
                      <a:lnTo>
                        <a:pt x="1315655" y="1092767"/>
                      </a:lnTo>
                      <a:lnTo>
                        <a:pt x="1321715" y="1092161"/>
                      </a:lnTo>
                      <a:lnTo>
                        <a:pt x="1322625" y="1091858"/>
                      </a:lnTo>
                      <a:lnTo>
                        <a:pt x="1327777" y="1089888"/>
                      </a:lnTo>
                      <a:lnTo>
                        <a:pt x="1334898" y="1086403"/>
                      </a:lnTo>
                      <a:lnTo>
                        <a:pt x="1338383" y="1084434"/>
                      </a:lnTo>
                      <a:lnTo>
                        <a:pt x="1344595" y="1083524"/>
                      </a:lnTo>
                      <a:lnTo>
                        <a:pt x="1345808" y="1082918"/>
                      </a:lnTo>
                      <a:lnTo>
                        <a:pt x="1347929" y="1081555"/>
                      </a:lnTo>
                      <a:lnTo>
                        <a:pt x="1351868" y="1079736"/>
                      </a:lnTo>
                      <a:lnTo>
                        <a:pt x="1353989" y="1079433"/>
                      </a:lnTo>
                      <a:lnTo>
                        <a:pt x="1352626" y="1083979"/>
                      </a:lnTo>
                      <a:lnTo>
                        <a:pt x="1350353" y="1089282"/>
                      </a:lnTo>
                      <a:lnTo>
                        <a:pt x="1348989" y="1090646"/>
                      </a:lnTo>
                      <a:lnTo>
                        <a:pt x="1342625" y="1090494"/>
                      </a:lnTo>
                      <a:lnTo>
                        <a:pt x="1342625" y="1091858"/>
                      </a:lnTo>
                      <a:lnTo>
                        <a:pt x="1343534" y="1093979"/>
                      </a:lnTo>
                      <a:lnTo>
                        <a:pt x="1344292" y="1095343"/>
                      </a:lnTo>
                      <a:lnTo>
                        <a:pt x="1345050" y="1096404"/>
                      </a:lnTo>
                      <a:lnTo>
                        <a:pt x="1346868" y="1098222"/>
                      </a:lnTo>
                      <a:lnTo>
                        <a:pt x="1353535" y="1102768"/>
                      </a:lnTo>
                      <a:lnTo>
                        <a:pt x="1362020" y="1108525"/>
                      </a:lnTo>
                      <a:lnTo>
                        <a:pt x="1371263" y="1114889"/>
                      </a:lnTo>
                      <a:lnTo>
                        <a:pt x="1377627" y="1119283"/>
                      </a:lnTo>
                      <a:lnTo>
                        <a:pt x="1380203" y="1121556"/>
                      </a:lnTo>
                      <a:lnTo>
                        <a:pt x="1381869" y="1123374"/>
                      </a:lnTo>
                      <a:lnTo>
                        <a:pt x="1386718" y="1129890"/>
                      </a:lnTo>
                      <a:lnTo>
                        <a:pt x="1391112" y="1135951"/>
                      </a:lnTo>
                      <a:lnTo>
                        <a:pt x="1398840" y="1146709"/>
                      </a:lnTo>
                      <a:lnTo>
                        <a:pt x="1405506" y="1157163"/>
                      </a:lnTo>
                      <a:lnTo>
                        <a:pt x="1412931" y="1168527"/>
                      </a:lnTo>
                      <a:lnTo>
                        <a:pt x="1417174" y="1175043"/>
                      </a:lnTo>
                      <a:lnTo>
                        <a:pt x="1425962" y="1188680"/>
                      </a:lnTo>
                      <a:lnTo>
                        <a:pt x="1428235" y="1192922"/>
                      </a:lnTo>
                      <a:lnTo>
                        <a:pt x="1432780" y="1200801"/>
                      </a:lnTo>
                      <a:lnTo>
                        <a:pt x="1436720" y="1208074"/>
                      </a:lnTo>
                      <a:lnTo>
                        <a:pt x="1440054" y="1214590"/>
                      </a:lnTo>
                      <a:lnTo>
                        <a:pt x="1442326" y="1215196"/>
                      </a:lnTo>
                      <a:lnTo>
                        <a:pt x="1442478" y="1213529"/>
                      </a:lnTo>
                      <a:lnTo>
                        <a:pt x="1442781" y="1212317"/>
                      </a:lnTo>
                      <a:lnTo>
                        <a:pt x="1443993" y="1211711"/>
                      </a:lnTo>
                      <a:lnTo>
                        <a:pt x="1446569" y="1209741"/>
                      </a:lnTo>
                      <a:lnTo>
                        <a:pt x="1447932" y="1209287"/>
                      </a:lnTo>
                      <a:lnTo>
                        <a:pt x="1449902" y="1209438"/>
                      </a:lnTo>
                      <a:lnTo>
                        <a:pt x="1452023" y="1208529"/>
                      </a:lnTo>
                      <a:lnTo>
                        <a:pt x="1452932" y="1206559"/>
                      </a:lnTo>
                      <a:lnTo>
                        <a:pt x="1452327" y="1203226"/>
                      </a:lnTo>
                      <a:lnTo>
                        <a:pt x="1452023" y="1201559"/>
                      </a:lnTo>
                      <a:lnTo>
                        <a:pt x="1452781" y="1199892"/>
                      </a:lnTo>
                      <a:lnTo>
                        <a:pt x="1453993" y="1199286"/>
                      </a:lnTo>
                      <a:lnTo>
                        <a:pt x="1455509" y="1198680"/>
                      </a:lnTo>
                      <a:lnTo>
                        <a:pt x="1457024" y="1198377"/>
                      </a:lnTo>
                      <a:lnTo>
                        <a:pt x="1458236" y="1196559"/>
                      </a:lnTo>
                      <a:lnTo>
                        <a:pt x="1460660" y="1195953"/>
                      </a:lnTo>
                      <a:lnTo>
                        <a:pt x="1462782" y="1196256"/>
                      </a:lnTo>
                      <a:lnTo>
                        <a:pt x="1464448" y="1196407"/>
                      </a:lnTo>
                      <a:lnTo>
                        <a:pt x="1466115" y="1197771"/>
                      </a:lnTo>
                      <a:lnTo>
                        <a:pt x="1466873" y="1199741"/>
                      </a:lnTo>
                      <a:lnTo>
                        <a:pt x="1468539" y="1199892"/>
                      </a:lnTo>
                      <a:lnTo>
                        <a:pt x="1471267" y="1199589"/>
                      </a:lnTo>
                      <a:lnTo>
                        <a:pt x="1471721" y="1201256"/>
                      </a:lnTo>
                      <a:lnTo>
                        <a:pt x="1470963" y="1203983"/>
                      </a:lnTo>
                      <a:lnTo>
                        <a:pt x="1469903" y="1205953"/>
                      </a:lnTo>
                      <a:lnTo>
                        <a:pt x="1469752" y="1207620"/>
                      </a:lnTo>
                      <a:lnTo>
                        <a:pt x="1471267" y="1208529"/>
                      </a:lnTo>
                      <a:lnTo>
                        <a:pt x="1476570" y="1207771"/>
                      </a:lnTo>
                      <a:lnTo>
                        <a:pt x="1478540" y="1208074"/>
                      </a:lnTo>
                      <a:lnTo>
                        <a:pt x="1479146" y="1209741"/>
                      </a:lnTo>
                      <a:lnTo>
                        <a:pt x="1479752" y="1211256"/>
                      </a:lnTo>
                      <a:lnTo>
                        <a:pt x="1480206" y="1212923"/>
                      </a:lnTo>
                      <a:lnTo>
                        <a:pt x="1479600" y="1214741"/>
                      </a:lnTo>
                      <a:lnTo>
                        <a:pt x="1480661" y="1215954"/>
                      </a:lnTo>
                      <a:lnTo>
                        <a:pt x="1485206" y="1215954"/>
                      </a:lnTo>
                      <a:lnTo>
                        <a:pt x="1488388" y="1215044"/>
                      </a:lnTo>
                      <a:lnTo>
                        <a:pt x="1493389" y="1214893"/>
                      </a:lnTo>
                      <a:lnTo>
                        <a:pt x="1497934" y="1217014"/>
                      </a:lnTo>
                      <a:lnTo>
                        <a:pt x="1500965" y="1216711"/>
                      </a:lnTo>
                      <a:lnTo>
                        <a:pt x="1504147" y="1215802"/>
                      </a:lnTo>
                      <a:lnTo>
                        <a:pt x="1508692" y="1216408"/>
                      </a:lnTo>
                      <a:lnTo>
                        <a:pt x="1511874" y="1214741"/>
                      </a:lnTo>
                      <a:lnTo>
                        <a:pt x="1514147" y="1212772"/>
                      </a:lnTo>
                      <a:lnTo>
                        <a:pt x="1514904" y="1211256"/>
                      </a:lnTo>
                      <a:lnTo>
                        <a:pt x="1515965" y="1210347"/>
                      </a:lnTo>
                      <a:lnTo>
                        <a:pt x="1520359" y="1210347"/>
                      </a:lnTo>
                      <a:lnTo>
                        <a:pt x="1523087" y="1210196"/>
                      </a:lnTo>
                      <a:lnTo>
                        <a:pt x="1525057" y="1207923"/>
                      </a:lnTo>
                      <a:lnTo>
                        <a:pt x="1527026" y="1206862"/>
                      </a:lnTo>
                      <a:lnTo>
                        <a:pt x="1530056" y="1206711"/>
                      </a:lnTo>
                      <a:lnTo>
                        <a:pt x="1532330" y="1206711"/>
                      </a:lnTo>
                      <a:lnTo>
                        <a:pt x="1538542" y="1208832"/>
                      </a:lnTo>
                      <a:lnTo>
                        <a:pt x="1542178" y="1210650"/>
                      </a:lnTo>
                      <a:lnTo>
                        <a:pt x="1546118" y="1213075"/>
                      </a:lnTo>
                      <a:lnTo>
                        <a:pt x="1548391" y="1214590"/>
                      </a:lnTo>
                      <a:lnTo>
                        <a:pt x="1550057" y="1218226"/>
                      </a:lnTo>
                      <a:lnTo>
                        <a:pt x="1552633" y="1220802"/>
                      </a:lnTo>
                      <a:lnTo>
                        <a:pt x="1554754" y="1223833"/>
                      </a:lnTo>
                      <a:lnTo>
                        <a:pt x="1555209" y="1226711"/>
                      </a:lnTo>
                      <a:lnTo>
                        <a:pt x="1557027" y="1232166"/>
                      </a:lnTo>
                      <a:lnTo>
                        <a:pt x="1558846" y="1233833"/>
                      </a:lnTo>
                      <a:lnTo>
                        <a:pt x="1560967" y="1233833"/>
                      </a:lnTo>
                      <a:lnTo>
                        <a:pt x="1563543" y="1234591"/>
                      </a:lnTo>
                      <a:lnTo>
                        <a:pt x="1566573" y="1235197"/>
                      </a:lnTo>
                      <a:lnTo>
                        <a:pt x="1572937" y="1239136"/>
                      </a:lnTo>
                      <a:lnTo>
                        <a:pt x="1575210" y="1239288"/>
                      </a:lnTo>
                      <a:lnTo>
                        <a:pt x="1577028" y="1240197"/>
                      </a:lnTo>
                      <a:lnTo>
                        <a:pt x="1577331" y="1242015"/>
                      </a:lnTo>
                      <a:lnTo>
                        <a:pt x="1576573" y="1244136"/>
                      </a:lnTo>
                      <a:lnTo>
                        <a:pt x="1577331" y="1246258"/>
                      </a:lnTo>
                      <a:lnTo>
                        <a:pt x="1579452" y="1248833"/>
                      </a:lnTo>
                      <a:lnTo>
                        <a:pt x="1580968" y="1251258"/>
                      </a:lnTo>
                      <a:lnTo>
                        <a:pt x="1583089" y="1254288"/>
                      </a:lnTo>
                      <a:lnTo>
                        <a:pt x="1583695" y="1256107"/>
                      </a:lnTo>
                      <a:lnTo>
                        <a:pt x="1585210" y="1256713"/>
                      </a:lnTo>
                      <a:lnTo>
                        <a:pt x="1587483" y="1255803"/>
                      </a:lnTo>
                      <a:lnTo>
                        <a:pt x="1590968" y="1256410"/>
                      </a:lnTo>
                      <a:lnTo>
                        <a:pt x="1601423" y="1258228"/>
                      </a:lnTo>
                      <a:lnTo>
                        <a:pt x="1602787" y="1258379"/>
                      </a:lnTo>
                      <a:lnTo>
                        <a:pt x="1603999" y="1260198"/>
                      </a:lnTo>
                      <a:lnTo>
                        <a:pt x="1605514" y="1260046"/>
                      </a:lnTo>
                      <a:lnTo>
                        <a:pt x="1607181" y="1260046"/>
                      </a:lnTo>
                      <a:lnTo>
                        <a:pt x="1609605" y="1260198"/>
                      </a:lnTo>
                      <a:lnTo>
                        <a:pt x="1611272" y="1258531"/>
                      </a:lnTo>
                      <a:lnTo>
                        <a:pt x="1612635" y="1257167"/>
                      </a:lnTo>
                      <a:lnTo>
                        <a:pt x="1616121" y="1255349"/>
                      </a:lnTo>
                      <a:lnTo>
                        <a:pt x="1619000" y="1252773"/>
                      </a:lnTo>
                      <a:lnTo>
                        <a:pt x="1621272" y="1250652"/>
                      </a:lnTo>
                      <a:lnTo>
                        <a:pt x="1623090" y="1250349"/>
                      </a:lnTo>
                      <a:lnTo>
                        <a:pt x="1624606" y="1251409"/>
                      </a:lnTo>
                      <a:lnTo>
                        <a:pt x="1624606" y="1253228"/>
                      </a:lnTo>
                      <a:lnTo>
                        <a:pt x="1622788" y="1254591"/>
                      </a:lnTo>
                      <a:lnTo>
                        <a:pt x="1621423" y="1256258"/>
                      </a:lnTo>
                      <a:lnTo>
                        <a:pt x="1621727" y="1257925"/>
                      </a:lnTo>
                      <a:lnTo>
                        <a:pt x="1624151" y="1258076"/>
                      </a:lnTo>
                      <a:lnTo>
                        <a:pt x="1626878" y="1260652"/>
                      </a:lnTo>
                      <a:lnTo>
                        <a:pt x="1630667" y="1266561"/>
                      </a:lnTo>
                      <a:lnTo>
                        <a:pt x="1632030" y="1267774"/>
                      </a:lnTo>
                      <a:lnTo>
                        <a:pt x="1634000" y="1268834"/>
                      </a:lnTo>
                      <a:lnTo>
                        <a:pt x="1636121" y="1269440"/>
                      </a:lnTo>
                      <a:lnTo>
                        <a:pt x="1638394" y="1270198"/>
                      </a:lnTo>
                      <a:lnTo>
                        <a:pt x="1640212" y="1272622"/>
                      </a:lnTo>
                      <a:lnTo>
                        <a:pt x="1640819" y="1274895"/>
                      </a:lnTo>
                      <a:lnTo>
                        <a:pt x="1643394" y="1275198"/>
                      </a:lnTo>
                      <a:lnTo>
                        <a:pt x="1645061" y="1274592"/>
                      </a:lnTo>
                      <a:lnTo>
                        <a:pt x="1646121" y="1273531"/>
                      </a:lnTo>
                      <a:lnTo>
                        <a:pt x="1647788" y="1273228"/>
                      </a:lnTo>
                      <a:lnTo>
                        <a:pt x="1650364" y="1272774"/>
                      </a:lnTo>
                      <a:lnTo>
                        <a:pt x="1652940" y="1272016"/>
                      </a:lnTo>
                      <a:lnTo>
                        <a:pt x="1654304" y="1272168"/>
                      </a:lnTo>
                      <a:lnTo>
                        <a:pt x="1654455" y="1272168"/>
                      </a:lnTo>
                      <a:lnTo>
                        <a:pt x="1657637" y="1272016"/>
                      </a:lnTo>
                      <a:lnTo>
                        <a:pt x="1659001" y="1271259"/>
                      </a:lnTo>
                      <a:lnTo>
                        <a:pt x="1660213" y="1270198"/>
                      </a:lnTo>
                      <a:lnTo>
                        <a:pt x="1662486" y="1268834"/>
                      </a:lnTo>
                      <a:lnTo>
                        <a:pt x="1663092" y="1267319"/>
                      </a:lnTo>
                      <a:lnTo>
                        <a:pt x="1663092" y="1264440"/>
                      </a:lnTo>
                      <a:lnTo>
                        <a:pt x="1664607" y="1261864"/>
                      </a:lnTo>
                      <a:lnTo>
                        <a:pt x="1668547" y="1261258"/>
                      </a:lnTo>
                      <a:lnTo>
                        <a:pt x="1670062" y="1260804"/>
                      </a:lnTo>
                      <a:lnTo>
                        <a:pt x="1671729" y="1261107"/>
                      </a:lnTo>
                      <a:lnTo>
                        <a:pt x="1674305" y="1260804"/>
                      </a:lnTo>
                      <a:lnTo>
                        <a:pt x="1676729" y="1260652"/>
                      </a:lnTo>
                      <a:lnTo>
                        <a:pt x="1678093" y="1261410"/>
                      </a:lnTo>
                      <a:lnTo>
                        <a:pt x="1679911" y="1262167"/>
                      </a:lnTo>
                      <a:lnTo>
                        <a:pt x="1682183" y="1262016"/>
                      </a:lnTo>
                      <a:lnTo>
                        <a:pt x="1682941" y="1260804"/>
                      </a:lnTo>
                      <a:lnTo>
                        <a:pt x="1682941" y="1259288"/>
                      </a:lnTo>
                      <a:lnTo>
                        <a:pt x="1684002" y="1258834"/>
                      </a:lnTo>
                      <a:lnTo>
                        <a:pt x="1685214" y="1259895"/>
                      </a:lnTo>
                      <a:lnTo>
                        <a:pt x="1685971" y="1260804"/>
                      </a:lnTo>
                      <a:lnTo>
                        <a:pt x="1687032" y="1261107"/>
                      </a:lnTo>
                      <a:lnTo>
                        <a:pt x="1689760" y="1260198"/>
                      </a:lnTo>
                      <a:lnTo>
                        <a:pt x="1691729" y="1259137"/>
                      </a:lnTo>
                      <a:lnTo>
                        <a:pt x="1692336" y="1256864"/>
                      </a:lnTo>
                      <a:lnTo>
                        <a:pt x="1693396" y="1255652"/>
                      </a:lnTo>
                      <a:lnTo>
                        <a:pt x="1694911" y="1256258"/>
                      </a:lnTo>
                      <a:lnTo>
                        <a:pt x="1697487" y="1256258"/>
                      </a:lnTo>
                      <a:lnTo>
                        <a:pt x="1699760" y="1254440"/>
                      </a:lnTo>
                      <a:lnTo>
                        <a:pt x="1702639" y="1253076"/>
                      </a:lnTo>
                      <a:lnTo>
                        <a:pt x="1704609" y="1252470"/>
                      </a:lnTo>
                      <a:lnTo>
                        <a:pt x="1705063" y="1251258"/>
                      </a:lnTo>
                      <a:lnTo>
                        <a:pt x="1704154" y="1248682"/>
                      </a:lnTo>
                      <a:lnTo>
                        <a:pt x="1704305" y="1245955"/>
                      </a:lnTo>
                      <a:lnTo>
                        <a:pt x="1707033" y="1244288"/>
                      </a:lnTo>
                      <a:lnTo>
                        <a:pt x="1710821" y="1244136"/>
                      </a:lnTo>
                      <a:lnTo>
                        <a:pt x="1713548" y="1242924"/>
                      </a:lnTo>
                      <a:lnTo>
                        <a:pt x="1714306" y="1239894"/>
                      </a:lnTo>
                      <a:lnTo>
                        <a:pt x="1715518" y="1239136"/>
                      </a:lnTo>
                      <a:lnTo>
                        <a:pt x="1716882" y="1238682"/>
                      </a:lnTo>
                      <a:lnTo>
                        <a:pt x="1720215" y="1238227"/>
                      </a:lnTo>
                      <a:lnTo>
                        <a:pt x="1722640" y="1237015"/>
                      </a:lnTo>
                      <a:lnTo>
                        <a:pt x="1724003" y="1236409"/>
                      </a:lnTo>
                      <a:lnTo>
                        <a:pt x="1728246" y="1234742"/>
                      </a:lnTo>
                      <a:lnTo>
                        <a:pt x="1732034" y="1234439"/>
                      </a:lnTo>
                      <a:lnTo>
                        <a:pt x="1733700" y="1233227"/>
                      </a:lnTo>
                      <a:lnTo>
                        <a:pt x="1734913" y="1231560"/>
                      </a:lnTo>
                      <a:lnTo>
                        <a:pt x="1737034" y="1230802"/>
                      </a:lnTo>
                      <a:lnTo>
                        <a:pt x="1739155" y="1229439"/>
                      </a:lnTo>
                      <a:lnTo>
                        <a:pt x="1742034" y="1227621"/>
                      </a:lnTo>
                      <a:lnTo>
                        <a:pt x="1743246" y="1227318"/>
                      </a:lnTo>
                      <a:lnTo>
                        <a:pt x="1747792" y="1226257"/>
                      </a:lnTo>
                      <a:lnTo>
                        <a:pt x="1749610" y="1225802"/>
                      </a:lnTo>
                      <a:lnTo>
                        <a:pt x="1750822" y="1225651"/>
                      </a:lnTo>
                      <a:lnTo>
                        <a:pt x="1752792" y="1225651"/>
                      </a:lnTo>
                      <a:lnTo>
                        <a:pt x="1753701" y="1223681"/>
                      </a:lnTo>
                      <a:lnTo>
                        <a:pt x="1755671" y="1222317"/>
                      </a:lnTo>
                      <a:lnTo>
                        <a:pt x="1757792" y="1221863"/>
                      </a:lnTo>
                      <a:lnTo>
                        <a:pt x="1758853" y="1220348"/>
                      </a:lnTo>
                      <a:lnTo>
                        <a:pt x="1760823" y="1218529"/>
                      </a:lnTo>
                      <a:lnTo>
                        <a:pt x="1763399" y="1217620"/>
                      </a:lnTo>
                      <a:lnTo>
                        <a:pt x="1767641" y="1217469"/>
                      </a:lnTo>
                      <a:lnTo>
                        <a:pt x="1771732" y="1217620"/>
                      </a:lnTo>
                      <a:lnTo>
                        <a:pt x="1774005" y="1217317"/>
                      </a:lnTo>
                      <a:lnTo>
                        <a:pt x="1776127" y="1214590"/>
                      </a:lnTo>
                      <a:lnTo>
                        <a:pt x="1776429" y="1213378"/>
                      </a:lnTo>
                      <a:lnTo>
                        <a:pt x="1776884" y="1212014"/>
                      </a:lnTo>
                      <a:lnTo>
                        <a:pt x="1778551" y="1211408"/>
                      </a:lnTo>
                      <a:lnTo>
                        <a:pt x="1780520" y="1213681"/>
                      </a:lnTo>
                      <a:lnTo>
                        <a:pt x="1782187" y="1215044"/>
                      </a:lnTo>
                      <a:lnTo>
                        <a:pt x="1784612" y="1216408"/>
                      </a:lnTo>
                      <a:lnTo>
                        <a:pt x="1785975" y="1217772"/>
                      </a:lnTo>
                      <a:lnTo>
                        <a:pt x="1787491" y="1217923"/>
                      </a:lnTo>
                      <a:lnTo>
                        <a:pt x="1789006" y="1217014"/>
                      </a:lnTo>
                      <a:lnTo>
                        <a:pt x="1790066" y="1214438"/>
                      </a:lnTo>
                      <a:lnTo>
                        <a:pt x="1792188" y="1214135"/>
                      </a:lnTo>
                      <a:lnTo>
                        <a:pt x="1794612" y="1214590"/>
                      </a:lnTo>
                      <a:lnTo>
                        <a:pt x="1795218" y="1215802"/>
                      </a:lnTo>
                      <a:lnTo>
                        <a:pt x="1795370" y="1216863"/>
                      </a:lnTo>
                      <a:lnTo>
                        <a:pt x="1796430" y="1218984"/>
                      </a:lnTo>
                      <a:lnTo>
                        <a:pt x="1799006" y="1220802"/>
                      </a:lnTo>
                      <a:lnTo>
                        <a:pt x="1802339" y="1220651"/>
                      </a:lnTo>
                      <a:lnTo>
                        <a:pt x="1803552" y="1220348"/>
                      </a:lnTo>
                      <a:lnTo>
                        <a:pt x="1806734" y="1220651"/>
                      </a:lnTo>
                      <a:lnTo>
                        <a:pt x="1809915" y="1221105"/>
                      </a:lnTo>
                      <a:lnTo>
                        <a:pt x="1813249" y="1221408"/>
                      </a:lnTo>
                      <a:lnTo>
                        <a:pt x="1814310" y="1221560"/>
                      </a:lnTo>
                      <a:lnTo>
                        <a:pt x="1817946" y="1221711"/>
                      </a:lnTo>
                      <a:lnTo>
                        <a:pt x="1823249" y="1222014"/>
                      </a:lnTo>
                      <a:lnTo>
                        <a:pt x="1825674" y="1221863"/>
                      </a:lnTo>
                      <a:lnTo>
                        <a:pt x="1830371" y="1222469"/>
                      </a:lnTo>
                      <a:lnTo>
                        <a:pt x="1831432" y="1224136"/>
                      </a:lnTo>
                      <a:lnTo>
                        <a:pt x="1832341" y="1227924"/>
                      </a:lnTo>
                      <a:lnTo>
                        <a:pt x="1833098" y="1231560"/>
                      </a:lnTo>
                      <a:lnTo>
                        <a:pt x="1833250" y="1234439"/>
                      </a:lnTo>
                      <a:lnTo>
                        <a:pt x="1834462" y="1235954"/>
                      </a:lnTo>
                      <a:lnTo>
                        <a:pt x="1836129" y="1236560"/>
                      </a:lnTo>
                      <a:lnTo>
                        <a:pt x="1837189" y="1237621"/>
                      </a:lnTo>
                      <a:lnTo>
                        <a:pt x="1839008" y="1239288"/>
                      </a:lnTo>
                      <a:lnTo>
                        <a:pt x="1840371" y="1241560"/>
                      </a:lnTo>
                      <a:lnTo>
                        <a:pt x="1842038" y="1241409"/>
                      </a:lnTo>
                      <a:lnTo>
                        <a:pt x="1843250" y="1240954"/>
                      </a:lnTo>
                      <a:lnTo>
                        <a:pt x="1845675" y="1240651"/>
                      </a:lnTo>
                      <a:lnTo>
                        <a:pt x="1849008" y="1240803"/>
                      </a:lnTo>
                      <a:lnTo>
                        <a:pt x="1851281" y="1242167"/>
                      </a:lnTo>
                      <a:lnTo>
                        <a:pt x="1852038" y="1243833"/>
                      </a:lnTo>
                      <a:lnTo>
                        <a:pt x="1854008" y="1244742"/>
                      </a:lnTo>
                      <a:lnTo>
                        <a:pt x="1855372" y="1244439"/>
                      </a:lnTo>
                      <a:lnTo>
                        <a:pt x="1859918" y="1244439"/>
                      </a:lnTo>
                      <a:lnTo>
                        <a:pt x="1861433" y="1244591"/>
                      </a:lnTo>
                      <a:lnTo>
                        <a:pt x="1862948" y="1245500"/>
                      </a:lnTo>
                      <a:lnTo>
                        <a:pt x="1865221" y="1245652"/>
                      </a:lnTo>
                      <a:lnTo>
                        <a:pt x="1866433" y="1244439"/>
                      </a:lnTo>
                      <a:lnTo>
                        <a:pt x="1870221" y="1243682"/>
                      </a:lnTo>
                      <a:lnTo>
                        <a:pt x="1872494" y="1242015"/>
                      </a:lnTo>
                      <a:lnTo>
                        <a:pt x="1874160" y="1242015"/>
                      </a:lnTo>
                      <a:lnTo>
                        <a:pt x="1875524" y="1242773"/>
                      </a:lnTo>
                      <a:lnTo>
                        <a:pt x="1876433" y="1243833"/>
                      </a:lnTo>
                      <a:lnTo>
                        <a:pt x="1877949" y="1243379"/>
                      </a:lnTo>
                      <a:lnTo>
                        <a:pt x="1878706" y="1242470"/>
                      </a:lnTo>
                      <a:lnTo>
                        <a:pt x="1880070" y="1242470"/>
                      </a:lnTo>
                      <a:lnTo>
                        <a:pt x="1881282" y="1243076"/>
                      </a:lnTo>
                      <a:lnTo>
                        <a:pt x="1884615" y="1244136"/>
                      </a:lnTo>
                      <a:lnTo>
                        <a:pt x="1886888" y="1245955"/>
                      </a:lnTo>
                      <a:lnTo>
                        <a:pt x="1888706" y="1246106"/>
                      </a:lnTo>
                      <a:lnTo>
                        <a:pt x="1890979" y="1245652"/>
                      </a:lnTo>
                      <a:lnTo>
                        <a:pt x="1892040" y="1245348"/>
                      </a:lnTo>
                      <a:lnTo>
                        <a:pt x="1893101" y="1246258"/>
                      </a:lnTo>
                      <a:lnTo>
                        <a:pt x="1894616" y="1246712"/>
                      </a:lnTo>
                      <a:lnTo>
                        <a:pt x="1895828" y="1246106"/>
                      </a:lnTo>
                      <a:lnTo>
                        <a:pt x="1897798" y="1245652"/>
                      </a:lnTo>
                      <a:lnTo>
                        <a:pt x="1905222" y="1246561"/>
                      </a:lnTo>
                      <a:lnTo>
                        <a:pt x="1906889" y="1248530"/>
                      </a:lnTo>
                      <a:lnTo>
                        <a:pt x="1908253" y="1249440"/>
                      </a:lnTo>
                      <a:lnTo>
                        <a:pt x="1909313" y="1250955"/>
                      </a:lnTo>
                      <a:lnTo>
                        <a:pt x="1911283" y="1252015"/>
                      </a:lnTo>
                      <a:lnTo>
                        <a:pt x="1915525" y="1251561"/>
                      </a:lnTo>
                      <a:lnTo>
                        <a:pt x="1917041" y="1250500"/>
                      </a:lnTo>
                      <a:lnTo>
                        <a:pt x="1920374" y="1248076"/>
                      </a:lnTo>
                      <a:lnTo>
                        <a:pt x="1921738" y="1245652"/>
                      </a:lnTo>
                      <a:lnTo>
                        <a:pt x="1923405" y="1244742"/>
                      </a:lnTo>
                      <a:lnTo>
                        <a:pt x="1925375" y="1244439"/>
                      </a:lnTo>
                      <a:lnTo>
                        <a:pt x="1927041" y="1244439"/>
                      </a:lnTo>
                      <a:lnTo>
                        <a:pt x="1929011" y="1244288"/>
                      </a:lnTo>
                      <a:lnTo>
                        <a:pt x="1931284" y="1242470"/>
                      </a:lnTo>
                      <a:lnTo>
                        <a:pt x="1933102" y="1241864"/>
                      </a:lnTo>
                      <a:lnTo>
                        <a:pt x="1935829" y="1239591"/>
                      </a:lnTo>
                      <a:lnTo>
                        <a:pt x="1936284" y="1238682"/>
                      </a:lnTo>
                      <a:lnTo>
                        <a:pt x="1937648" y="1235954"/>
                      </a:lnTo>
                      <a:lnTo>
                        <a:pt x="1938405" y="1234288"/>
                      </a:lnTo>
                      <a:lnTo>
                        <a:pt x="1939769" y="1231560"/>
                      </a:lnTo>
                      <a:lnTo>
                        <a:pt x="1940527" y="1227318"/>
                      </a:lnTo>
                      <a:lnTo>
                        <a:pt x="1940981" y="1225045"/>
                      </a:lnTo>
                      <a:lnTo>
                        <a:pt x="1940678" y="1223378"/>
                      </a:lnTo>
                      <a:lnTo>
                        <a:pt x="1939011" y="1222469"/>
                      </a:lnTo>
                      <a:lnTo>
                        <a:pt x="1936890" y="1222014"/>
                      </a:lnTo>
                      <a:lnTo>
                        <a:pt x="1935072" y="1220802"/>
                      </a:lnTo>
                      <a:lnTo>
                        <a:pt x="1933860" y="1219287"/>
                      </a:lnTo>
                      <a:lnTo>
                        <a:pt x="1932951" y="1217317"/>
                      </a:lnTo>
                      <a:lnTo>
                        <a:pt x="1931890" y="1214893"/>
                      </a:lnTo>
                      <a:lnTo>
                        <a:pt x="1932041" y="1213075"/>
                      </a:lnTo>
                      <a:lnTo>
                        <a:pt x="1931738" y="1211711"/>
                      </a:lnTo>
                      <a:lnTo>
                        <a:pt x="1930829" y="1210650"/>
                      </a:lnTo>
                      <a:lnTo>
                        <a:pt x="1929011" y="1208529"/>
                      </a:lnTo>
                      <a:lnTo>
                        <a:pt x="1928253" y="1207014"/>
                      </a:lnTo>
                      <a:lnTo>
                        <a:pt x="1928556" y="1204589"/>
                      </a:lnTo>
                      <a:lnTo>
                        <a:pt x="1930526" y="1200498"/>
                      </a:lnTo>
                      <a:lnTo>
                        <a:pt x="1930677" y="1198680"/>
                      </a:lnTo>
                      <a:lnTo>
                        <a:pt x="1930981" y="1197468"/>
                      </a:lnTo>
                      <a:lnTo>
                        <a:pt x="1930829" y="1196407"/>
                      </a:lnTo>
                      <a:lnTo>
                        <a:pt x="1931587" y="1193983"/>
                      </a:lnTo>
                      <a:lnTo>
                        <a:pt x="1932647" y="1192922"/>
                      </a:lnTo>
                      <a:lnTo>
                        <a:pt x="1934011" y="1190195"/>
                      </a:lnTo>
                      <a:lnTo>
                        <a:pt x="1935829" y="1188983"/>
                      </a:lnTo>
                      <a:lnTo>
                        <a:pt x="1938102" y="1188983"/>
                      </a:lnTo>
                      <a:lnTo>
                        <a:pt x="1939011" y="1188225"/>
                      </a:lnTo>
                      <a:lnTo>
                        <a:pt x="1939466" y="1185498"/>
                      </a:lnTo>
                      <a:lnTo>
                        <a:pt x="1940527" y="1183528"/>
                      </a:lnTo>
                      <a:lnTo>
                        <a:pt x="1941284" y="1182013"/>
                      </a:lnTo>
                      <a:lnTo>
                        <a:pt x="1942648" y="1180498"/>
                      </a:lnTo>
                      <a:lnTo>
                        <a:pt x="1950527" y="1177467"/>
                      </a:lnTo>
                      <a:lnTo>
                        <a:pt x="1953709" y="1173679"/>
                      </a:lnTo>
                      <a:lnTo>
                        <a:pt x="1954921" y="1171710"/>
                      </a:lnTo>
                      <a:lnTo>
                        <a:pt x="1956133" y="1167618"/>
                      </a:lnTo>
                      <a:lnTo>
                        <a:pt x="1957345" y="1165952"/>
                      </a:lnTo>
                      <a:lnTo>
                        <a:pt x="1959163" y="1166406"/>
                      </a:lnTo>
                      <a:lnTo>
                        <a:pt x="1961285" y="1168831"/>
                      </a:lnTo>
                      <a:lnTo>
                        <a:pt x="1962800" y="1168982"/>
                      </a:lnTo>
                      <a:lnTo>
                        <a:pt x="1965224" y="1170194"/>
                      </a:lnTo>
                      <a:lnTo>
                        <a:pt x="1971437" y="1172922"/>
                      </a:lnTo>
                      <a:lnTo>
                        <a:pt x="1974922" y="1173831"/>
                      </a:lnTo>
                      <a:lnTo>
                        <a:pt x="1977043" y="1174134"/>
                      </a:lnTo>
                      <a:lnTo>
                        <a:pt x="1980073" y="1174891"/>
                      </a:lnTo>
                      <a:lnTo>
                        <a:pt x="1981892" y="1176558"/>
                      </a:lnTo>
                      <a:lnTo>
                        <a:pt x="1985528" y="1179134"/>
                      </a:lnTo>
                      <a:lnTo>
                        <a:pt x="1988710" y="1179740"/>
                      </a:lnTo>
                      <a:lnTo>
                        <a:pt x="1994013" y="1180043"/>
                      </a:lnTo>
                      <a:lnTo>
                        <a:pt x="2000529" y="1180195"/>
                      </a:lnTo>
                      <a:lnTo>
                        <a:pt x="2002347" y="1180649"/>
                      </a:lnTo>
                      <a:lnTo>
                        <a:pt x="2007196" y="1182467"/>
                      </a:lnTo>
                      <a:lnTo>
                        <a:pt x="2012499" y="1184589"/>
                      </a:lnTo>
                      <a:lnTo>
                        <a:pt x="2017347" y="1186558"/>
                      </a:lnTo>
                      <a:lnTo>
                        <a:pt x="2021135" y="1187922"/>
                      </a:lnTo>
                      <a:lnTo>
                        <a:pt x="2023409" y="1189286"/>
                      </a:lnTo>
                      <a:lnTo>
                        <a:pt x="2025530" y="1190195"/>
                      </a:lnTo>
                      <a:lnTo>
                        <a:pt x="2027802" y="1189437"/>
                      </a:lnTo>
                      <a:lnTo>
                        <a:pt x="2030681" y="1189589"/>
                      </a:lnTo>
                      <a:lnTo>
                        <a:pt x="2037500" y="1191256"/>
                      </a:lnTo>
                      <a:lnTo>
                        <a:pt x="2041894" y="1192771"/>
                      </a:lnTo>
                      <a:lnTo>
                        <a:pt x="2045530" y="1193680"/>
                      </a:lnTo>
                      <a:lnTo>
                        <a:pt x="2046742" y="1195195"/>
                      </a:lnTo>
                      <a:lnTo>
                        <a:pt x="2046742" y="1197165"/>
                      </a:lnTo>
                      <a:lnTo>
                        <a:pt x="2046288" y="1198680"/>
                      </a:lnTo>
                      <a:lnTo>
                        <a:pt x="2046591" y="1202620"/>
                      </a:lnTo>
                      <a:lnTo>
                        <a:pt x="2047803" y="1204741"/>
                      </a:lnTo>
                      <a:lnTo>
                        <a:pt x="2048106" y="1207468"/>
                      </a:lnTo>
                      <a:lnTo>
                        <a:pt x="2048561" y="1210044"/>
                      </a:lnTo>
                      <a:lnTo>
                        <a:pt x="2048258" y="1212620"/>
                      </a:lnTo>
                      <a:lnTo>
                        <a:pt x="2048864" y="1214135"/>
                      </a:lnTo>
                      <a:lnTo>
                        <a:pt x="2049925" y="1214893"/>
                      </a:lnTo>
                      <a:lnTo>
                        <a:pt x="2051137" y="1216711"/>
                      </a:lnTo>
                      <a:lnTo>
                        <a:pt x="2050682" y="1218529"/>
                      </a:lnTo>
                      <a:lnTo>
                        <a:pt x="2050228" y="1219742"/>
                      </a:lnTo>
                      <a:lnTo>
                        <a:pt x="2050379" y="1221408"/>
                      </a:lnTo>
                      <a:lnTo>
                        <a:pt x="2051591" y="1222923"/>
                      </a:lnTo>
                      <a:lnTo>
                        <a:pt x="2053561" y="1223226"/>
                      </a:lnTo>
                      <a:lnTo>
                        <a:pt x="2055228" y="1223681"/>
                      </a:lnTo>
                      <a:lnTo>
                        <a:pt x="2057349" y="1225954"/>
                      </a:lnTo>
                      <a:lnTo>
                        <a:pt x="2061137" y="1228530"/>
                      </a:lnTo>
                      <a:lnTo>
                        <a:pt x="2063410" y="1229287"/>
                      </a:lnTo>
                      <a:lnTo>
                        <a:pt x="2065986" y="1230499"/>
                      </a:lnTo>
                      <a:lnTo>
                        <a:pt x="2070834" y="1231712"/>
                      </a:lnTo>
                      <a:lnTo>
                        <a:pt x="2074168" y="1232015"/>
                      </a:lnTo>
                      <a:lnTo>
                        <a:pt x="2076137" y="1232924"/>
                      </a:lnTo>
                      <a:lnTo>
                        <a:pt x="2078107" y="1235197"/>
                      </a:lnTo>
                      <a:lnTo>
                        <a:pt x="2081289" y="1235803"/>
                      </a:lnTo>
                      <a:lnTo>
                        <a:pt x="2083411" y="1236560"/>
                      </a:lnTo>
                      <a:lnTo>
                        <a:pt x="2087047" y="1237469"/>
                      </a:lnTo>
                      <a:lnTo>
                        <a:pt x="2089623" y="1236863"/>
                      </a:lnTo>
                      <a:lnTo>
                        <a:pt x="2091744" y="1236106"/>
                      </a:lnTo>
                      <a:lnTo>
                        <a:pt x="2093259" y="1236257"/>
                      </a:lnTo>
                      <a:lnTo>
                        <a:pt x="2095987" y="1236863"/>
                      </a:lnTo>
                      <a:lnTo>
                        <a:pt x="2099320" y="1236863"/>
                      </a:lnTo>
                      <a:lnTo>
                        <a:pt x="2102047" y="1236409"/>
                      </a:lnTo>
                      <a:lnTo>
                        <a:pt x="2104321" y="1234742"/>
                      </a:lnTo>
                      <a:lnTo>
                        <a:pt x="2106896" y="1232621"/>
                      </a:lnTo>
                      <a:lnTo>
                        <a:pt x="2109927" y="1231409"/>
                      </a:lnTo>
                      <a:lnTo>
                        <a:pt x="2113412" y="1231106"/>
                      </a:lnTo>
                      <a:lnTo>
                        <a:pt x="2115836" y="1230196"/>
                      </a:lnTo>
                      <a:lnTo>
                        <a:pt x="2123866" y="1228681"/>
                      </a:lnTo>
                      <a:lnTo>
                        <a:pt x="2127049" y="1228530"/>
                      </a:lnTo>
                      <a:lnTo>
                        <a:pt x="2129624" y="1227014"/>
                      </a:lnTo>
                      <a:lnTo>
                        <a:pt x="2131746" y="1225954"/>
                      </a:lnTo>
                      <a:lnTo>
                        <a:pt x="2134928" y="1225499"/>
                      </a:lnTo>
                      <a:lnTo>
                        <a:pt x="2139322" y="1226711"/>
                      </a:lnTo>
                      <a:lnTo>
                        <a:pt x="2143413" y="1227621"/>
                      </a:lnTo>
                      <a:lnTo>
                        <a:pt x="2148413" y="1227924"/>
                      </a:lnTo>
                      <a:lnTo>
                        <a:pt x="2151746" y="1229287"/>
                      </a:lnTo>
                      <a:lnTo>
                        <a:pt x="2154171" y="1230499"/>
                      </a:lnTo>
                      <a:lnTo>
                        <a:pt x="2157807" y="1231560"/>
                      </a:lnTo>
                      <a:lnTo>
                        <a:pt x="2161898" y="1231106"/>
                      </a:lnTo>
                      <a:lnTo>
                        <a:pt x="2167656" y="1230651"/>
                      </a:lnTo>
                      <a:lnTo>
                        <a:pt x="2171293" y="1231257"/>
                      </a:lnTo>
                      <a:lnTo>
                        <a:pt x="2175232" y="1233530"/>
                      </a:lnTo>
                      <a:lnTo>
                        <a:pt x="2177657" y="1235348"/>
                      </a:lnTo>
                      <a:lnTo>
                        <a:pt x="2180384" y="1239288"/>
                      </a:lnTo>
                      <a:lnTo>
                        <a:pt x="2183111" y="1241257"/>
                      </a:lnTo>
                      <a:lnTo>
                        <a:pt x="2185536" y="1242773"/>
                      </a:lnTo>
                      <a:lnTo>
                        <a:pt x="2188717" y="1242924"/>
                      </a:lnTo>
                      <a:lnTo>
                        <a:pt x="2196445" y="1243076"/>
                      </a:lnTo>
                      <a:lnTo>
                        <a:pt x="2200688" y="1243833"/>
                      </a:lnTo>
                      <a:lnTo>
                        <a:pt x="2204324" y="1244288"/>
                      </a:lnTo>
                      <a:lnTo>
                        <a:pt x="2205234" y="1245045"/>
                      </a:lnTo>
                      <a:lnTo>
                        <a:pt x="2204779" y="1247773"/>
                      </a:lnTo>
                      <a:lnTo>
                        <a:pt x="2204930" y="1251712"/>
                      </a:lnTo>
                      <a:lnTo>
                        <a:pt x="2204930" y="1253379"/>
                      </a:lnTo>
                      <a:lnTo>
                        <a:pt x="2205688" y="1254743"/>
                      </a:lnTo>
                      <a:lnTo>
                        <a:pt x="2206900" y="1255046"/>
                      </a:lnTo>
                      <a:lnTo>
                        <a:pt x="2207506" y="1256864"/>
                      </a:lnTo>
                      <a:lnTo>
                        <a:pt x="2209324" y="1257925"/>
                      </a:lnTo>
                      <a:lnTo>
                        <a:pt x="2212355" y="1259288"/>
                      </a:lnTo>
                      <a:lnTo>
                        <a:pt x="2217658" y="1263834"/>
                      </a:lnTo>
                      <a:lnTo>
                        <a:pt x="2220840" y="1265804"/>
                      </a:lnTo>
                      <a:lnTo>
                        <a:pt x="2223416" y="1266561"/>
                      </a:lnTo>
                      <a:lnTo>
                        <a:pt x="2226598" y="1266107"/>
                      </a:lnTo>
                      <a:lnTo>
                        <a:pt x="2231750" y="1266107"/>
                      </a:lnTo>
                      <a:lnTo>
                        <a:pt x="2240386" y="1266107"/>
                      </a:lnTo>
                      <a:lnTo>
                        <a:pt x="2246296" y="1267471"/>
                      </a:lnTo>
                      <a:lnTo>
                        <a:pt x="2248417" y="1268380"/>
                      </a:lnTo>
                      <a:lnTo>
                        <a:pt x="2254478" y="1269440"/>
                      </a:lnTo>
                      <a:lnTo>
                        <a:pt x="2261144" y="1270652"/>
                      </a:lnTo>
                      <a:lnTo>
                        <a:pt x="2266751" y="1271865"/>
                      </a:lnTo>
                      <a:lnTo>
                        <a:pt x="2270084" y="1270198"/>
                      </a:lnTo>
                      <a:lnTo>
                        <a:pt x="2272963" y="1270198"/>
                      </a:lnTo>
                      <a:lnTo>
                        <a:pt x="2275842" y="1271259"/>
                      </a:lnTo>
                      <a:lnTo>
                        <a:pt x="2278570" y="1273077"/>
                      </a:lnTo>
                      <a:lnTo>
                        <a:pt x="2280691" y="1272774"/>
                      </a:lnTo>
                      <a:lnTo>
                        <a:pt x="2284024" y="1272016"/>
                      </a:lnTo>
                      <a:lnTo>
                        <a:pt x="2294327" y="1267167"/>
                      </a:lnTo>
                      <a:lnTo>
                        <a:pt x="2297812" y="1265349"/>
                      </a:lnTo>
                      <a:lnTo>
                        <a:pt x="2300389" y="1265804"/>
                      </a:lnTo>
                      <a:lnTo>
                        <a:pt x="2302661" y="1265198"/>
                      </a:lnTo>
                      <a:lnTo>
                        <a:pt x="2304328" y="1264592"/>
                      </a:lnTo>
                      <a:lnTo>
                        <a:pt x="2308722" y="1263834"/>
                      </a:lnTo>
                      <a:lnTo>
                        <a:pt x="2311449" y="1263683"/>
                      </a:lnTo>
                      <a:lnTo>
                        <a:pt x="2314177" y="1263228"/>
                      </a:lnTo>
                      <a:lnTo>
                        <a:pt x="2318268" y="1262925"/>
                      </a:lnTo>
                      <a:lnTo>
                        <a:pt x="2326298" y="1259743"/>
                      </a:lnTo>
                      <a:lnTo>
                        <a:pt x="2329632" y="1259137"/>
                      </a:lnTo>
                      <a:lnTo>
                        <a:pt x="2335086" y="1259895"/>
                      </a:lnTo>
                      <a:lnTo>
                        <a:pt x="2338117" y="1259440"/>
                      </a:lnTo>
                      <a:lnTo>
                        <a:pt x="2340996" y="1257773"/>
                      </a:lnTo>
                      <a:lnTo>
                        <a:pt x="2344935" y="1256107"/>
                      </a:lnTo>
                      <a:lnTo>
                        <a:pt x="2345845" y="1253379"/>
                      </a:lnTo>
                      <a:lnTo>
                        <a:pt x="2347814" y="1249591"/>
                      </a:lnTo>
                      <a:lnTo>
                        <a:pt x="2352057" y="1246864"/>
                      </a:lnTo>
                      <a:lnTo>
                        <a:pt x="2355542" y="1244439"/>
                      </a:lnTo>
                      <a:lnTo>
                        <a:pt x="2359178" y="1242167"/>
                      </a:lnTo>
                      <a:lnTo>
                        <a:pt x="2363421" y="1240197"/>
                      </a:lnTo>
                      <a:lnTo>
                        <a:pt x="2367512" y="1238833"/>
                      </a:lnTo>
                      <a:lnTo>
                        <a:pt x="2372664" y="1235045"/>
                      </a:lnTo>
                      <a:lnTo>
                        <a:pt x="2376755" y="1233227"/>
                      </a:lnTo>
                      <a:lnTo>
                        <a:pt x="2378876" y="1232621"/>
                      </a:lnTo>
                      <a:lnTo>
                        <a:pt x="2381301" y="1233227"/>
                      </a:lnTo>
                      <a:lnTo>
                        <a:pt x="2385846" y="1233833"/>
                      </a:lnTo>
                      <a:lnTo>
                        <a:pt x="2389180" y="1233681"/>
                      </a:lnTo>
                      <a:lnTo>
                        <a:pt x="2391149" y="1234136"/>
                      </a:lnTo>
                      <a:lnTo>
                        <a:pt x="2394786" y="1235954"/>
                      </a:lnTo>
                      <a:lnTo>
                        <a:pt x="2398271" y="1237469"/>
                      </a:lnTo>
                      <a:lnTo>
                        <a:pt x="2400846" y="1240348"/>
                      </a:lnTo>
                      <a:lnTo>
                        <a:pt x="2405695" y="1244288"/>
                      </a:lnTo>
                      <a:lnTo>
                        <a:pt x="2408120" y="1245500"/>
                      </a:lnTo>
                      <a:lnTo>
                        <a:pt x="2409787" y="1246106"/>
                      </a:lnTo>
                      <a:lnTo>
                        <a:pt x="2414180" y="1246561"/>
                      </a:lnTo>
                      <a:lnTo>
                        <a:pt x="2417817" y="1246712"/>
                      </a:lnTo>
                      <a:lnTo>
                        <a:pt x="2419938" y="1245803"/>
                      </a:lnTo>
                      <a:lnTo>
                        <a:pt x="2423423" y="1244136"/>
                      </a:lnTo>
                      <a:lnTo>
                        <a:pt x="2429181" y="1242015"/>
                      </a:lnTo>
                      <a:lnTo>
                        <a:pt x="2431454" y="1242167"/>
                      </a:lnTo>
                      <a:lnTo>
                        <a:pt x="2435090" y="1243227"/>
                      </a:lnTo>
                      <a:lnTo>
                        <a:pt x="2440545" y="1245197"/>
                      </a:lnTo>
                      <a:lnTo>
                        <a:pt x="2442818" y="1246864"/>
                      </a:lnTo>
                      <a:lnTo>
                        <a:pt x="2444181" y="1248682"/>
                      </a:lnTo>
                      <a:lnTo>
                        <a:pt x="2449788" y="1251712"/>
                      </a:lnTo>
                      <a:lnTo>
                        <a:pt x="2453425" y="1253379"/>
                      </a:lnTo>
                      <a:lnTo>
                        <a:pt x="2459485" y="1255803"/>
                      </a:lnTo>
                      <a:lnTo>
                        <a:pt x="2465849" y="1256258"/>
                      </a:lnTo>
                      <a:lnTo>
                        <a:pt x="2471910" y="1258985"/>
                      </a:lnTo>
                      <a:lnTo>
                        <a:pt x="2475092" y="1259743"/>
                      </a:lnTo>
                      <a:lnTo>
                        <a:pt x="2476758" y="1259743"/>
                      </a:lnTo>
                      <a:lnTo>
                        <a:pt x="2485244" y="1253379"/>
                      </a:lnTo>
                      <a:lnTo>
                        <a:pt x="2492516" y="1247924"/>
                      </a:lnTo>
                      <a:lnTo>
                        <a:pt x="2500851" y="1243682"/>
                      </a:lnTo>
                      <a:lnTo>
                        <a:pt x="2507063" y="1243227"/>
                      </a:lnTo>
                      <a:lnTo>
                        <a:pt x="2511608" y="1242015"/>
                      </a:lnTo>
                      <a:lnTo>
                        <a:pt x="2514639" y="1240045"/>
                      </a:lnTo>
                      <a:lnTo>
                        <a:pt x="2516457" y="1236863"/>
                      </a:lnTo>
                      <a:lnTo>
                        <a:pt x="2517063" y="1232469"/>
                      </a:lnTo>
                      <a:lnTo>
                        <a:pt x="2515851" y="1229742"/>
                      </a:lnTo>
                      <a:lnTo>
                        <a:pt x="2512821" y="1228833"/>
                      </a:lnTo>
                      <a:lnTo>
                        <a:pt x="2512063" y="1227924"/>
                      </a:lnTo>
                      <a:lnTo>
                        <a:pt x="2513426" y="1227014"/>
                      </a:lnTo>
                      <a:lnTo>
                        <a:pt x="2514487" y="1225045"/>
                      </a:lnTo>
                      <a:lnTo>
                        <a:pt x="2515244" y="1222317"/>
                      </a:lnTo>
                      <a:lnTo>
                        <a:pt x="2516912" y="1219742"/>
                      </a:lnTo>
                      <a:lnTo>
                        <a:pt x="2519791" y="1217317"/>
                      </a:lnTo>
                      <a:lnTo>
                        <a:pt x="2521306" y="1214438"/>
                      </a:lnTo>
                      <a:lnTo>
                        <a:pt x="2521609" y="1211408"/>
                      </a:lnTo>
                      <a:lnTo>
                        <a:pt x="2523275" y="1208377"/>
                      </a:lnTo>
                      <a:lnTo>
                        <a:pt x="2526306" y="1205499"/>
                      </a:lnTo>
                      <a:lnTo>
                        <a:pt x="2527973" y="1202620"/>
                      </a:lnTo>
                      <a:lnTo>
                        <a:pt x="2528276" y="1200044"/>
                      </a:lnTo>
                      <a:lnTo>
                        <a:pt x="2529791" y="1196862"/>
                      </a:lnTo>
                      <a:lnTo>
                        <a:pt x="2534034" y="1191256"/>
                      </a:lnTo>
                      <a:lnTo>
                        <a:pt x="2536761" y="1184740"/>
                      </a:lnTo>
                      <a:lnTo>
                        <a:pt x="2541458" y="1180346"/>
                      </a:lnTo>
                      <a:lnTo>
                        <a:pt x="2548883" y="1175801"/>
                      </a:lnTo>
                      <a:lnTo>
                        <a:pt x="2553580" y="1171255"/>
                      </a:lnTo>
                      <a:lnTo>
                        <a:pt x="2555398" y="1166709"/>
                      </a:lnTo>
                      <a:lnTo>
                        <a:pt x="2555246" y="1162618"/>
                      </a:lnTo>
                      <a:lnTo>
                        <a:pt x="2553125" y="1159285"/>
                      </a:lnTo>
                      <a:lnTo>
                        <a:pt x="2552671" y="1155648"/>
                      </a:lnTo>
                      <a:lnTo>
                        <a:pt x="2554034" y="1152163"/>
                      </a:lnTo>
                      <a:lnTo>
                        <a:pt x="2552822" y="1149436"/>
                      </a:lnTo>
                      <a:lnTo>
                        <a:pt x="2549186" y="1147618"/>
                      </a:lnTo>
                      <a:lnTo>
                        <a:pt x="2544791" y="1147163"/>
                      </a:lnTo>
                      <a:lnTo>
                        <a:pt x="2539640" y="1148072"/>
                      </a:lnTo>
                      <a:lnTo>
                        <a:pt x="2536761" y="1147012"/>
                      </a:lnTo>
                      <a:lnTo>
                        <a:pt x="2536154" y="1143830"/>
                      </a:lnTo>
                      <a:lnTo>
                        <a:pt x="2537518" y="1141254"/>
                      </a:lnTo>
                      <a:lnTo>
                        <a:pt x="2540851" y="1139284"/>
                      </a:lnTo>
                      <a:lnTo>
                        <a:pt x="2546458" y="1134587"/>
                      </a:lnTo>
                      <a:lnTo>
                        <a:pt x="2554185" y="1127011"/>
                      </a:lnTo>
                      <a:lnTo>
                        <a:pt x="2561913" y="1122768"/>
                      </a:lnTo>
                      <a:lnTo>
                        <a:pt x="2573429" y="1121708"/>
                      </a:lnTo>
                      <a:lnTo>
                        <a:pt x="2582671" y="1119132"/>
                      </a:lnTo>
                      <a:lnTo>
                        <a:pt x="2592066" y="1116707"/>
                      </a:lnTo>
                      <a:lnTo>
                        <a:pt x="2598884" y="1115344"/>
                      </a:lnTo>
                      <a:lnTo>
                        <a:pt x="2600097" y="1116253"/>
                      </a:lnTo>
                      <a:lnTo>
                        <a:pt x="2603733" y="1116404"/>
                      </a:lnTo>
                      <a:lnTo>
                        <a:pt x="2609945" y="1115950"/>
                      </a:lnTo>
                      <a:lnTo>
                        <a:pt x="2615854" y="1114889"/>
                      </a:lnTo>
                      <a:lnTo>
                        <a:pt x="2621158" y="1113223"/>
                      </a:lnTo>
                      <a:lnTo>
                        <a:pt x="2625400" y="1112768"/>
                      </a:lnTo>
                      <a:lnTo>
                        <a:pt x="2628583" y="1113677"/>
                      </a:lnTo>
                      <a:lnTo>
                        <a:pt x="2630401" y="1113677"/>
                      </a:lnTo>
                      <a:lnTo>
                        <a:pt x="2631613" y="1113829"/>
                      </a:lnTo>
                      <a:lnTo>
                        <a:pt x="2632371" y="1113829"/>
                      </a:lnTo>
                      <a:lnTo>
                        <a:pt x="2633582" y="1113071"/>
                      </a:lnTo>
                      <a:lnTo>
                        <a:pt x="2637219" y="1114435"/>
                      </a:lnTo>
                      <a:lnTo>
                        <a:pt x="2644189" y="1118374"/>
                      </a:lnTo>
                      <a:lnTo>
                        <a:pt x="2648583" y="1120041"/>
                      </a:lnTo>
                      <a:lnTo>
                        <a:pt x="2650402" y="1119586"/>
                      </a:lnTo>
                      <a:lnTo>
                        <a:pt x="2652371" y="1120799"/>
                      </a:lnTo>
                      <a:lnTo>
                        <a:pt x="2654492" y="1123374"/>
                      </a:lnTo>
                      <a:lnTo>
                        <a:pt x="2657069" y="1124890"/>
                      </a:lnTo>
                      <a:lnTo>
                        <a:pt x="2661917" y="1125647"/>
                      </a:lnTo>
                      <a:lnTo>
                        <a:pt x="2666614" y="1128375"/>
                      </a:lnTo>
                      <a:lnTo>
                        <a:pt x="2668433" y="1128526"/>
                      </a:lnTo>
                      <a:lnTo>
                        <a:pt x="2669190" y="1127011"/>
                      </a:lnTo>
                      <a:lnTo>
                        <a:pt x="2670857" y="1126102"/>
                      </a:lnTo>
                      <a:lnTo>
                        <a:pt x="2673735" y="1125799"/>
                      </a:lnTo>
                      <a:lnTo>
                        <a:pt x="2677827" y="1127314"/>
                      </a:lnTo>
                      <a:lnTo>
                        <a:pt x="2683281" y="1130344"/>
                      </a:lnTo>
                      <a:lnTo>
                        <a:pt x="2686614" y="1131708"/>
                      </a:lnTo>
                      <a:lnTo>
                        <a:pt x="2687978" y="1131253"/>
                      </a:lnTo>
                      <a:lnTo>
                        <a:pt x="2689493" y="1131860"/>
                      </a:lnTo>
                      <a:lnTo>
                        <a:pt x="2690706" y="1133223"/>
                      </a:lnTo>
                      <a:lnTo>
                        <a:pt x="2690706" y="1135041"/>
                      </a:lnTo>
                      <a:lnTo>
                        <a:pt x="2690402" y="1135951"/>
                      </a:lnTo>
                      <a:lnTo>
                        <a:pt x="2691615" y="1137466"/>
                      </a:lnTo>
                      <a:lnTo>
                        <a:pt x="2693131" y="1137466"/>
                      </a:lnTo>
                      <a:lnTo>
                        <a:pt x="2695555" y="1138223"/>
                      </a:lnTo>
                      <a:lnTo>
                        <a:pt x="2697524" y="1140799"/>
                      </a:lnTo>
                      <a:lnTo>
                        <a:pt x="2699191" y="1142011"/>
                      </a:lnTo>
                      <a:lnTo>
                        <a:pt x="2700403" y="1143072"/>
                      </a:lnTo>
                      <a:lnTo>
                        <a:pt x="2700555" y="1143830"/>
                      </a:lnTo>
                      <a:lnTo>
                        <a:pt x="2700707" y="1144739"/>
                      </a:lnTo>
                      <a:lnTo>
                        <a:pt x="2700403" y="1145496"/>
                      </a:lnTo>
                      <a:lnTo>
                        <a:pt x="2699646" y="1146557"/>
                      </a:lnTo>
                      <a:lnTo>
                        <a:pt x="2699494" y="1147769"/>
                      </a:lnTo>
                      <a:lnTo>
                        <a:pt x="2700403" y="1149133"/>
                      </a:lnTo>
                      <a:lnTo>
                        <a:pt x="2703434" y="1150193"/>
                      </a:lnTo>
                      <a:lnTo>
                        <a:pt x="2704343" y="1151103"/>
                      </a:lnTo>
                      <a:lnTo>
                        <a:pt x="2704645" y="1152466"/>
                      </a:lnTo>
                      <a:lnTo>
                        <a:pt x="2705554" y="1153830"/>
                      </a:lnTo>
                      <a:lnTo>
                        <a:pt x="2707676" y="1155497"/>
                      </a:lnTo>
                      <a:lnTo>
                        <a:pt x="2708433" y="1156860"/>
                      </a:lnTo>
                      <a:lnTo>
                        <a:pt x="2707979" y="1158073"/>
                      </a:lnTo>
                      <a:lnTo>
                        <a:pt x="2708585" y="1158982"/>
                      </a:lnTo>
                      <a:lnTo>
                        <a:pt x="2709646" y="1159739"/>
                      </a:lnTo>
                      <a:lnTo>
                        <a:pt x="2709798" y="1162315"/>
                      </a:lnTo>
                      <a:lnTo>
                        <a:pt x="2709949" y="1163830"/>
                      </a:lnTo>
                      <a:lnTo>
                        <a:pt x="2711616" y="1165497"/>
                      </a:lnTo>
                      <a:lnTo>
                        <a:pt x="2711919" y="1168982"/>
                      </a:lnTo>
                      <a:lnTo>
                        <a:pt x="2712980" y="1172922"/>
                      </a:lnTo>
                      <a:lnTo>
                        <a:pt x="2716919" y="1178225"/>
                      </a:lnTo>
                      <a:lnTo>
                        <a:pt x="2718283" y="1181104"/>
                      </a:lnTo>
                      <a:lnTo>
                        <a:pt x="2717979" y="1184437"/>
                      </a:lnTo>
                      <a:lnTo>
                        <a:pt x="2718434" y="1185952"/>
                      </a:lnTo>
                      <a:lnTo>
                        <a:pt x="2720252" y="1186710"/>
                      </a:lnTo>
                      <a:lnTo>
                        <a:pt x="2721162" y="1188225"/>
                      </a:lnTo>
                      <a:lnTo>
                        <a:pt x="2721010" y="1190346"/>
                      </a:lnTo>
                      <a:lnTo>
                        <a:pt x="2721767" y="1191559"/>
                      </a:lnTo>
                      <a:lnTo>
                        <a:pt x="2722222" y="1192922"/>
                      </a:lnTo>
                      <a:lnTo>
                        <a:pt x="2721919" y="1195195"/>
                      </a:lnTo>
                      <a:lnTo>
                        <a:pt x="2722526" y="1197013"/>
                      </a:lnTo>
                      <a:lnTo>
                        <a:pt x="2723435" y="1198226"/>
                      </a:lnTo>
                      <a:lnTo>
                        <a:pt x="2724040" y="1200347"/>
                      </a:lnTo>
                      <a:lnTo>
                        <a:pt x="2724344" y="1202923"/>
                      </a:lnTo>
                      <a:lnTo>
                        <a:pt x="2727071" y="1207014"/>
                      </a:lnTo>
                      <a:lnTo>
                        <a:pt x="2731920" y="1212620"/>
                      </a:lnTo>
                      <a:lnTo>
                        <a:pt x="2734799" y="1217014"/>
                      </a:lnTo>
                      <a:lnTo>
                        <a:pt x="2735859" y="1220196"/>
                      </a:lnTo>
                      <a:lnTo>
                        <a:pt x="2736010" y="1222772"/>
                      </a:lnTo>
                      <a:lnTo>
                        <a:pt x="2734950" y="1224742"/>
                      </a:lnTo>
                      <a:lnTo>
                        <a:pt x="2734799" y="1226257"/>
                      </a:lnTo>
                      <a:lnTo>
                        <a:pt x="2735708" y="1227166"/>
                      </a:lnTo>
                      <a:lnTo>
                        <a:pt x="2736010" y="1228378"/>
                      </a:lnTo>
                      <a:lnTo>
                        <a:pt x="2735708" y="1229893"/>
                      </a:lnTo>
                      <a:lnTo>
                        <a:pt x="2737223" y="1231712"/>
                      </a:lnTo>
                      <a:lnTo>
                        <a:pt x="2742526" y="1234894"/>
                      </a:lnTo>
                      <a:lnTo>
                        <a:pt x="2740405" y="1239894"/>
                      </a:lnTo>
                      <a:lnTo>
                        <a:pt x="2739950" y="1243379"/>
                      </a:lnTo>
                      <a:lnTo>
                        <a:pt x="2740253" y="1246864"/>
                      </a:lnTo>
                      <a:lnTo>
                        <a:pt x="2741466" y="1249440"/>
                      </a:lnTo>
                      <a:lnTo>
                        <a:pt x="2743890" y="1250955"/>
                      </a:lnTo>
                      <a:lnTo>
                        <a:pt x="2745254" y="1252470"/>
                      </a:lnTo>
                      <a:lnTo>
                        <a:pt x="2745860" y="1254137"/>
                      </a:lnTo>
                      <a:lnTo>
                        <a:pt x="2748738" y="1255803"/>
                      </a:lnTo>
                      <a:lnTo>
                        <a:pt x="2753739" y="1257773"/>
                      </a:lnTo>
                      <a:lnTo>
                        <a:pt x="2760254" y="1258076"/>
                      </a:lnTo>
                      <a:lnTo>
                        <a:pt x="2768284" y="1256864"/>
                      </a:lnTo>
                      <a:lnTo>
                        <a:pt x="2773133" y="1256713"/>
                      </a:lnTo>
                      <a:lnTo>
                        <a:pt x="2774800" y="1257470"/>
                      </a:lnTo>
                      <a:lnTo>
                        <a:pt x="2775406" y="1258682"/>
                      </a:lnTo>
                      <a:lnTo>
                        <a:pt x="2774951" y="1260349"/>
                      </a:lnTo>
                      <a:lnTo>
                        <a:pt x="2776164" y="1261561"/>
                      </a:lnTo>
                      <a:lnTo>
                        <a:pt x="2779497" y="1262016"/>
                      </a:lnTo>
                      <a:lnTo>
                        <a:pt x="2781770" y="1263076"/>
                      </a:lnTo>
                      <a:lnTo>
                        <a:pt x="2782982" y="1264592"/>
                      </a:lnTo>
                      <a:lnTo>
                        <a:pt x="2784497" y="1265046"/>
                      </a:lnTo>
                      <a:lnTo>
                        <a:pt x="2786164" y="1264440"/>
                      </a:lnTo>
                      <a:lnTo>
                        <a:pt x="2787982" y="1264440"/>
                      </a:lnTo>
                      <a:lnTo>
                        <a:pt x="2789649" y="1265349"/>
                      </a:lnTo>
                      <a:lnTo>
                        <a:pt x="2790710" y="1265046"/>
                      </a:lnTo>
                      <a:lnTo>
                        <a:pt x="2791619" y="1264137"/>
                      </a:lnTo>
                      <a:lnTo>
                        <a:pt x="2793286" y="1264137"/>
                      </a:lnTo>
                      <a:lnTo>
                        <a:pt x="2794800" y="1264137"/>
                      </a:lnTo>
                      <a:lnTo>
                        <a:pt x="2795710" y="1266410"/>
                      </a:lnTo>
                      <a:lnTo>
                        <a:pt x="2797376" y="1267774"/>
                      </a:lnTo>
                      <a:lnTo>
                        <a:pt x="2799498" y="1268077"/>
                      </a:lnTo>
                      <a:lnTo>
                        <a:pt x="2802831" y="1270804"/>
                      </a:lnTo>
                      <a:lnTo>
                        <a:pt x="2809498" y="1278835"/>
                      </a:lnTo>
                      <a:lnTo>
                        <a:pt x="2813892" y="1281713"/>
                      </a:lnTo>
                      <a:lnTo>
                        <a:pt x="2818286" y="1282623"/>
                      </a:lnTo>
                      <a:lnTo>
                        <a:pt x="2823590" y="1282774"/>
                      </a:lnTo>
                      <a:lnTo>
                        <a:pt x="2825408" y="1285956"/>
                      </a:lnTo>
                      <a:lnTo>
                        <a:pt x="2824044" y="1289138"/>
                      </a:lnTo>
                      <a:lnTo>
                        <a:pt x="2823590" y="1291865"/>
                      </a:lnTo>
                      <a:lnTo>
                        <a:pt x="2824802" y="1292926"/>
                      </a:lnTo>
                      <a:lnTo>
                        <a:pt x="2826620" y="1296108"/>
                      </a:lnTo>
                      <a:lnTo>
                        <a:pt x="2828893" y="1297926"/>
                      </a:lnTo>
                      <a:lnTo>
                        <a:pt x="2829348" y="1299441"/>
                      </a:lnTo>
                      <a:lnTo>
                        <a:pt x="2830559" y="1300957"/>
                      </a:lnTo>
                      <a:lnTo>
                        <a:pt x="2830105" y="1304139"/>
                      </a:lnTo>
                      <a:lnTo>
                        <a:pt x="2827984" y="1308533"/>
                      </a:lnTo>
                      <a:lnTo>
                        <a:pt x="2828590" y="1312321"/>
                      </a:lnTo>
                      <a:lnTo>
                        <a:pt x="2831772" y="1315351"/>
                      </a:lnTo>
                      <a:lnTo>
                        <a:pt x="2833590" y="1318382"/>
                      </a:lnTo>
                      <a:lnTo>
                        <a:pt x="2834045" y="1321260"/>
                      </a:lnTo>
                      <a:lnTo>
                        <a:pt x="2834802" y="1323079"/>
                      </a:lnTo>
                      <a:lnTo>
                        <a:pt x="2836015" y="1323685"/>
                      </a:lnTo>
                      <a:lnTo>
                        <a:pt x="2839196" y="1323533"/>
                      </a:lnTo>
                      <a:lnTo>
                        <a:pt x="2844651" y="1322473"/>
                      </a:lnTo>
                      <a:lnTo>
                        <a:pt x="2848590" y="1322624"/>
                      </a:lnTo>
                      <a:lnTo>
                        <a:pt x="2851167" y="1323988"/>
                      </a:lnTo>
                      <a:lnTo>
                        <a:pt x="2857379" y="1324139"/>
                      </a:lnTo>
                      <a:lnTo>
                        <a:pt x="2867379" y="1322776"/>
                      </a:lnTo>
                      <a:lnTo>
                        <a:pt x="2873591" y="1322321"/>
                      </a:lnTo>
                      <a:lnTo>
                        <a:pt x="2876319" y="1322927"/>
                      </a:lnTo>
                      <a:lnTo>
                        <a:pt x="2878592" y="1320957"/>
                      </a:lnTo>
                      <a:lnTo>
                        <a:pt x="2880712" y="1316715"/>
                      </a:lnTo>
                      <a:lnTo>
                        <a:pt x="2882532" y="1314745"/>
                      </a:lnTo>
                      <a:lnTo>
                        <a:pt x="2884350" y="1315048"/>
                      </a:lnTo>
                      <a:lnTo>
                        <a:pt x="2887229" y="1313684"/>
                      </a:lnTo>
                      <a:lnTo>
                        <a:pt x="2891167" y="1310654"/>
                      </a:lnTo>
                      <a:lnTo>
                        <a:pt x="2894501" y="1309290"/>
                      </a:lnTo>
                      <a:lnTo>
                        <a:pt x="2898895" y="1309442"/>
                      </a:lnTo>
                      <a:lnTo>
                        <a:pt x="2903441" y="1309593"/>
                      </a:lnTo>
                      <a:lnTo>
                        <a:pt x="2906320" y="1308381"/>
                      </a:lnTo>
                      <a:lnTo>
                        <a:pt x="2909048" y="1305654"/>
                      </a:lnTo>
                      <a:lnTo>
                        <a:pt x="2913593" y="1303381"/>
                      </a:lnTo>
                      <a:lnTo>
                        <a:pt x="2923593" y="1300351"/>
                      </a:lnTo>
                      <a:lnTo>
                        <a:pt x="2926018" y="1299896"/>
                      </a:lnTo>
                      <a:lnTo>
                        <a:pt x="2927079" y="1300047"/>
                      </a:lnTo>
                      <a:lnTo>
                        <a:pt x="2930412" y="1300502"/>
                      </a:lnTo>
                      <a:lnTo>
                        <a:pt x="2933442" y="1301714"/>
                      </a:lnTo>
                      <a:lnTo>
                        <a:pt x="2936170" y="1304139"/>
                      </a:lnTo>
                      <a:lnTo>
                        <a:pt x="2936624" y="1305654"/>
                      </a:lnTo>
                      <a:lnTo>
                        <a:pt x="2936321" y="1307623"/>
                      </a:lnTo>
                      <a:lnTo>
                        <a:pt x="2935715" y="1308836"/>
                      </a:lnTo>
                      <a:lnTo>
                        <a:pt x="2934503" y="1310048"/>
                      </a:lnTo>
                      <a:lnTo>
                        <a:pt x="2933442" y="1312169"/>
                      </a:lnTo>
                      <a:lnTo>
                        <a:pt x="2934200" y="1313836"/>
                      </a:lnTo>
                      <a:lnTo>
                        <a:pt x="2935715" y="1317321"/>
                      </a:lnTo>
                      <a:lnTo>
                        <a:pt x="2937079" y="1319897"/>
                      </a:lnTo>
                      <a:lnTo>
                        <a:pt x="2938593" y="1322927"/>
                      </a:lnTo>
                      <a:lnTo>
                        <a:pt x="2937836" y="1323988"/>
                      </a:lnTo>
                      <a:lnTo>
                        <a:pt x="2937079" y="1325958"/>
                      </a:lnTo>
                      <a:lnTo>
                        <a:pt x="2934351" y="1329442"/>
                      </a:lnTo>
                      <a:lnTo>
                        <a:pt x="2932836" y="1330806"/>
                      </a:lnTo>
                      <a:lnTo>
                        <a:pt x="2931169" y="1332170"/>
                      </a:lnTo>
                      <a:lnTo>
                        <a:pt x="2928442" y="1332473"/>
                      </a:lnTo>
                      <a:lnTo>
                        <a:pt x="2927229" y="1332776"/>
                      </a:lnTo>
                      <a:lnTo>
                        <a:pt x="2925866" y="1333382"/>
                      </a:lnTo>
                      <a:lnTo>
                        <a:pt x="2925109" y="1334594"/>
                      </a:lnTo>
                      <a:lnTo>
                        <a:pt x="2924200" y="1335503"/>
                      </a:lnTo>
                      <a:lnTo>
                        <a:pt x="2922532" y="1337170"/>
                      </a:lnTo>
                      <a:lnTo>
                        <a:pt x="2922381" y="1338685"/>
                      </a:lnTo>
                      <a:lnTo>
                        <a:pt x="2923139" y="1340958"/>
                      </a:lnTo>
                      <a:lnTo>
                        <a:pt x="2923441" y="1343231"/>
                      </a:lnTo>
                      <a:lnTo>
                        <a:pt x="2921775" y="1345201"/>
                      </a:lnTo>
                      <a:lnTo>
                        <a:pt x="2920260" y="1348383"/>
                      </a:lnTo>
                      <a:lnTo>
                        <a:pt x="2919957" y="1349292"/>
                      </a:lnTo>
                      <a:lnTo>
                        <a:pt x="2919199" y="1351716"/>
                      </a:lnTo>
                      <a:lnTo>
                        <a:pt x="2919048" y="1352474"/>
                      </a:lnTo>
                      <a:lnTo>
                        <a:pt x="2918593" y="1357474"/>
                      </a:lnTo>
                      <a:lnTo>
                        <a:pt x="2916774" y="1360959"/>
                      </a:lnTo>
                      <a:lnTo>
                        <a:pt x="2914351" y="1364898"/>
                      </a:lnTo>
                      <a:lnTo>
                        <a:pt x="2914805" y="1367171"/>
                      </a:lnTo>
                      <a:lnTo>
                        <a:pt x="2915260" y="1369444"/>
                      </a:lnTo>
                      <a:lnTo>
                        <a:pt x="2914654" y="1370505"/>
                      </a:lnTo>
                      <a:lnTo>
                        <a:pt x="2914502" y="1371414"/>
                      </a:lnTo>
                      <a:lnTo>
                        <a:pt x="2914199" y="1373383"/>
                      </a:lnTo>
                      <a:lnTo>
                        <a:pt x="2913441" y="1374293"/>
                      </a:lnTo>
                      <a:lnTo>
                        <a:pt x="2911168" y="1375505"/>
                      </a:lnTo>
                      <a:lnTo>
                        <a:pt x="2909805" y="1377172"/>
                      </a:lnTo>
                      <a:lnTo>
                        <a:pt x="2910108" y="1379596"/>
                      </a:lnTo>
                      <a:lnTo>
                        <a:pt x="2909350" y="1381566"/>
                      </a:lnTo>
                      <a:lnTo>
                        <a:pt x="2908289" y="1383384"/>
                      </a:lnTo>
                      <a:lnTo>
                        <a:pt x="2907229" y="1384596"/>
                      </a:lnTo>
                      <a:lnTo>
                        <a:pt x="2905714" y="1385354"/>
                      </a:lnTo>
                      <a:lnTo>
                        <a:pt x="2904653" y="1386111"/>
                      </a:lnTo>
                      <a:lnTo>
                        <a:pt x="2903896" y="1388384"/>
                      </a:lnTo>
                      <a:lnTo>
                        <a:pt x="2903592" y="1390202"/>
                      </a:lnTo>
                      <a:lnTo>
                        <a:pt x="2902835" y="1392020"/>
                      </a:lnTo>
                      <a:lnTo>
                        <a:pt x="2903290" y="1393839"/>
                      </a:lnTo>
                      <a:lnTo>
                        <a:pt x="2902531" y="1395354"/>
                      </a:lnTo>
                      <a:lnTo>
                        <a:pt x="2900259" y="1396415"/>
                      </a:lnTo>
                      <a:lnTo>
                        <a:pt x="2899047" y="1397172"/>
                      </a:lnTo>
                      <a:lnTo>
                        <a:pt x="2897986" y="1397324"/>
                      </a:lnTo>
                      <a:lnTo>
                        <a:pt x="2895714" y="1399142"/>
                      </a:lnTo>
                      <a:lnTo>
                        <a:pt x="2893744" y="1405051"/>
                      </a:lnTo>
                      <a:lnTo>
                        <a:pt x="2893289" y="1408385"/>
                      </a:lnTo>
                      <a:lnTo>
                        <a:pt x="2893744" y="1411415"/>
                      </a:lnTo>
                      <a:lnTo>
                        <a:pt x="2890865" y="1413385"/>
                      </a:lnTo>
                      <a:lnTo>
                        <a:pt x="2888895" y="1414900"/>
                      </a:lnTo>
                      <a:lnTo>
                        <a:pt x="2887531" y="1414294"/>
                      </a:lnTo>
                      <a:lnTo>
                        <a:pt x="2886168" y="1413839"/>
                      </a:lnTo>
                      <a:lnTo>
                        <a:pt x="2885410" y="1413688"/>
                      </a:lnTo>
                      <a:lnTo>
                        <a:pt x="2885410" y="1414143"/>
                      </a:lnTo>
                      <a:lnTo>
                        <a:pt x="2883591" y="1417779"/>
                      </a:lnTo>
                      <a:lnTo>
                        <a:pt x="2880107" y="1425507"/>
                      </a:lnTo>
                      <a:lnTo>
                        <a:pt x="2875865" y="1428840"/>
                      </a:lnTo>
                      <a:lnTo>
                        <a:pt x="2873288" y="1431719"/>
                      </a:lnTo>
                      <a:lnTo>
                        <a:pt x="2870864" y="1430355"/>
                      </a:lnTo>
                      <a:lnTo>
                        <a:pt x="2869803" y="1429143"/>
                      </a:lnTo>
                      <a:lnTo>
                        <a:pt x="2869803" y="1428385"/>
                      </a:lnTo>
                      <a:lnTo>
                        <a:pt x="2867834" y="1426870"/>
                      </a:lnTo>
                      <a:lnTo>
                        <a:pt x="2865106" y="1424597"/>
                      </a:lnTo>
                      <a:lnTo>
                        <a:pt x="2865560" y="1420809"/>
                      </a:lnTo>
                      <a:lnTo>
                        <a:pt x="2866167" y="1416870"/>
                      </a:lnTo>
                      <a:lnTo>
                        <a:pt x="2863591" y="1413385"/>
                      </a:lnTo>
                      <a:lnTo>
                        <a:pt x="2863742" y="1411567"/>
                      </a:lnTo>
                      <a:lnTo>
                        <a:pt x="2863440" y="1408688"/>
                      </a:lnTo>
                      <a:lnTo>
                        <a:pt x="2863894" y="1407930"/>
                      </a:lnTo>
                      <a:lnTo>
                        <a:pt x="2862682" y="1407627"/>
                      </a:lnTo>
                      <a:lnTo>
                        <a:pt x="2860713" y="1406567"/>
                      </a:lnTo>
                      <a:lnTo>
                        <a:pt x="2859197" y="1404748"/>
                      </a:lnTo>
                      <a:lnTo>
                        <a:pt x="2857682" y="1405506"/>
                      </a:lnTo>
                      <a:lnTo>
                        <a:pt x="2856166" y="1407627"/>
                      </a:lnTo>
                      <a:lnTo>
                        <a:pt x="2853742" y="1408839"/>
                      </a:lnTo>
                      <a:lnTo>
                        <a:pt x="2852681" y="1411264"/>
                      </a:lnTo>
                      <a:lnTo>
                        <a:pt x="2851772" y="1413082"/>
                      </a:lnTo>
                      <a:lnTo>
                        <a:pt x="2849197" y="1415355"/>
                      </a:lnTo>
                      <a:lnTo>
                        <a:pt x="2848136" y="1416415"/>
                      </a:lnTo>
                      <a:lnTo>
                        <a:pt x="2843287" y="1417931"/>
                      </a:lnTo>
                      <a:lnTo>
                        <a:pt x="2842075" y="1418537"/>
                      </a:lnTo>
                      <a:lnTo>
                        <a:pt x="2838135" y="1418840"/>
                      </a:lnTo>
                      <a:lnTo>
                        <a:pt x="2836772" y="1419597"/>
                      </a:lnTo>
                      <a:lnTo>
                        <a:pt x="2835408" y="1421113"/>
                      </a:lnTo>
                      <a:lnTo>
                        <a:pt x="2834954" y="1422628"/>
                      </a:lnTo>
                      <a:lnTo>
                        <a:pt x="2836015" y="1424143"/>
                      </a:lnTo>
                      <a:lnTo>
                        <a:pt x="2837529" y="1427325"/>
                      </a:lnTo>
                      <a:lnTo>
                        <a:pt x="2838287" y="1429446"/>
                      </a:lnTo>
                      <a:lnTo>
                        <a:pt x="2839348" y="1433689"/>
                      </a:lnTo>
                      <a:lnTo>
                        <a:pt x="2842832" y="1447023"/>
                      </a:lnTo>
                      <a:lnTo>
                        <a:pt x="2841772" y="1449295"/>
                      </a:lnTo>
                      <a:lnTo>
                        <a:pt x="2840712" y="1459296"/>
                      </a:lnTo>
                      <a:lnTo>
                        <a:pt x="2840863" y="1461114"/>
                      </a:lnTo>
                      <a:lnTo>
                        <a:pt x="2840863" y="1463841"/>
                      </a:lnTo>
                      <a:lnTo>
                        <a:pt x="2840863" y="1465963"/>
                      </a:lnTo>
                      <a:lnTo>
                        <a:pt x="2841621" y="1466417"/>
                      </a:lnTo>
                      <a:lnTo>
                        <a:pt x="2842530" y="1467175"/>
                      </a:lnTo>
                      <a:lnTo>
                        <a:pt x="2842984" y="1468387"/>
                      </a:lnTo>
                      <a:lnTo>
                        <a:pt x="2842984" y="1470205"/>
                      </a:lnTo>
                      <a:lnTo>
                        <a:pt x="2842378" y="1471417"/>
                      </a:lnTo>
                      <a:lnTo>
                        <a:pt x="2841621" y="1474145"/>
                      </a:lnTo>
                      <a:lnTo>
                        <a:pt x="2840712" y="1477933"/>
                      </a:lnTo>
                      <a:lnTo>
                        <a:pt x="2839651" y="1479448"/>
                      </a:lnTo>
                      <a:lnTo>
                        <a:pt x="2838893" y="1480660"/>
                      </a:lnTo>
                      <a:lnTo>
                        <a:pt x="2838287" y="1481418"/>
                      </a:lnTo>
                      <a:lnTo>
                        <a:pt x="2838135" y="1484145"/>
                      </a:lnTo>
                      <a:lnTo>
                        <a:pt x="2837833" y="1485963"/>
                      </a:lnTo>
                      <a:lnTo>
                        <a:pt x="2836015" y="1486569"/>
                      </a:lnTo>
                      <a:lnTo>
                        <a:pt x="2834347" y="1487630"/>
                      </a:lnTo>
                      <a:lnTo>
                        <a:pt x="2832227" y="1487176"/>
                      </a:lnTo>
                      <a:lnTo>
                        <a:pt x="2830559" y="1487479"/>
                      </a:lnTo>
                      <a:lnTo>
                        <a:pt x="2828287" y="1488085"/>
                      </a:lnTo>
                      <a:lnTo>
                        <a:pt x="2824347" y="1488842"/>
                      </a:lnTo>
                      <a:lnTo>
                        <a:pt x="2822074" y="1489903"/>
                      </a:lnTo>
                      <a:lnTo>
                        <a:pt x="2820862" y="1490812"/>
                      </a:lnTo>
                      <a:lnTo>
                        <a:pt x="2820104" y="1491721"/>
                      </a:lnTo>
                      <a:lnTo>
                        <a:pt x="2819953" y="1492630"/>
                      </a:lnTo>
                      <a:lnTo>
                        <a:pt x="2820559" y="1493085"/>
                      </a:lnTo>
                      <a:lnTo>
                        <a:pt x="2822832" y="1493388"/>
                      </a:lnTo>
                      <a:lnTo>
                        <a:pt x="2824347" y="1495055"/>
                      </a:lnTo>
                      <a:lnTo>
                        <a:pt x="2824499" y="1497024"/>
                      </a:lnTo>
                      <a:lnTo>
                        <a:pt x="2822983" y="1497934"/>
                      </a:lnTo>
                      <a:lnTo>
                        <a:pt x="2823741" y="1500055"/>
                      </a:lnTo>
                      <a:lnTo>
                        <a:pt x="2825408" y="1502025"/>
                      </a:lnTo>
                      <a:lnTo>
                        <a:pt x="2826317" y="1503388"/>
                      </a:lnTo>
                      <a:lnTo>
                        <a:pt x="2826469" y="1504903"/>
                      </a:lnTo>
                      <a:lnTo>
                        <a:pt x="2827378" y="1505661"/>
                      </a:lnTo>
                      <a:lnTo>
                        <a:pt x="2828439" y="1504903"/>
                      </a:lnTo>
                      <a:lnTo>
                        <a:pt x="2831317" y="1498388"/>
                      </a:lnTo>
                      <a:lnTo>
                        <a:pt x="2827984" y="1493994"/>
                      </a:lnTo>
                      <a:lnTo>
                        <a:pt x="2829196" y="1493539"/>
                      </a:lnTo>
                      <a:lnTo>
                        <a:pt x="2834347" y="1494752"/>
                      </a:lnTo>
                      <a:lnTo>
                        <a:pt x="2836620" y="1494448"/>
                      </a:lnTo>
                      <a:lnTo>
                        <a:pt x="2840257" y="1495055"/>
                      </a:lnTo>
                      <a:lnTo>
                        <a:pt x="2842530" y="1492630"/>
                      </a:lnTo>
                      <a:lnTo>
                        <a:pt x="2843893" y="1490206"/>
                      </a:lnTo>
                      <a:lnTo>
                        <a:pt x="2846620" y="1488539"/>
                      </a:lnTo>
                      <a:lnTo>
                        <a:pt x="2849954" y="1482781"/>
                      </a:lnTo>
                      <a:lnTo>
                        <a:pt x="2855712" y="1475963"/>
                      </a:lnTo>
                      <a:lnTo>
                        <a:pt x="2857682" y="1474145"/>
                      </a:lnTo>
                      <a:lnTo>
                        <a:pt x="2861622" y="1472629"/>
                      </a:lnTo>
                      <a:lnTo>
                        <a:pt x="2862531" y="1472933"/>
                      </a:lnTo>
                      <a:lnTo>
                        <a:pt x="2863591" y="1473387"/>
                      </a:lnTo>
                      <a:lnTo>
                        <a:pt x="2860409" y="1477024"/>
                      </a:lnTo>
                      <a:lnTo>
                        <a:pt x="2859652" y="1479600"/>
                      </a:lnTo>
                      <a:lnTo>
                        <a:pt x="2861772" y="1479448"/>
                      </a:lnTo>
                      <a:lnTo>
                        <a:pt x="2864046" y="1478690"/>
                      </a:lnTo>
                      <a:lnTo>
                        <a:pt x="2869652" y="1474599"/>
                      </a:lnTo>
                      <a:lnTo>
                        <a:pt x="2871773" y="1472326"/>
                      </a:lnTo>
                      <a:lnTo>
                        <a:pt x="2872379" y="1474751"/>
                      </a:lnTo>
                      <a:lnTo>
                        <a:pt x="2871622" y="1486569"/>
                      </a:lnTo>
                      <a:lnTo>
                        <a:pt x="2876470" y="1485660"/>
                      </a:lnTo>
                      <a:lnTo>
                        <a:pt x="2879046" y="1486872"/>
                      </a:lnTo>
                      <a:lnTo>
                        <a:pt x="2882682" y="1486721"/>
                      </a:lnTo>
                      <a:lnTo>
                        <a:pt x="2886925" y="1489448"/>
                      </a:lnTo>
                      <a:lnTo>
                        <a:pt x="2888592" y="1489145"/>
                      </a:lnTo>
                      <a:lnTo>
                        <a:pt x="2890562" y="1488994"/>
                      </a:lnTo>
                      <a:lnTo>
                        <a:pt x="2892228" y="1491873"/>
                      </a:lnTo>
                      <a:lnTo>
                        <a:pt x="2894955" y="1492630"/>
                      </a:lnTo>
                      <a:lnTo>
                        <a:pt x="2899653" y="1490509"/>
                      </a:lnTo>
                      <a:lnTo>
                        <a:pt x="2906623" y="1488388"/>
                      </a:lnTo>
                      <a:lnTo>
                        <a:pt x="2909957" y="1488236"/>
                      </a:lnTo>
                      <a:lnTo>
                        <a:pt x="2918290" y="1484448"/>
                      </a:lnTo>
                      <a:lnTo>
                        <a:pt x="2922230" y="1481266"/>
                      </a:lnTo>
                      <a:lnTo>
                        <a:pt x="2936927" y="1473084"/>
                      </a:lnTo>
                      <a:lnTo>
                        <a:pt x="2942988" y="1468538"/>
                      </a:lnTo>
                      <a:lnTo>
                        <a:pt x="2948897" y="1465205"/>
                      </a:lnTo>
                      <a:lnTo>
                        <a:pt x="2952382" y="1459902"/>
                      </a:lnTo>
                      <a:lnTo>
                        <a:pt x="2958594" y="1454902"/>
                      </a:lnTo>
                      <a:lnTo>
                        <a:pt x="2958746" y="1452780"/>
                      </a:lnTo>
                      <a:lnTo>
                        <a:pt x="2959958" y="1450356"/>
                      </a:lnTo>
                      <a:lnTo>
                        <a:pt x="2969201" y="1436871"/>
                      </a:lnTo>
                      <a:lnTo>
                        <a:pt x="2972383" y="1434749"/>
                      </a:lnTo>
                      <a:lnTo>
                        <a:pt x="2976625" y="1433083"/>
                      </a:lnTo>
                      <a:lnTo>
                        <a:pt x="2978444" y="1430658"/>
                      </a:lnTo>
                      <a:lnTo>
                        <a:pt x="2979504" y="1427022"/>
                      </a:lnTo>
                      <a:lnTo>
                        <a:pt x="2985262" y="1421870"/>
                      </a:lnTo>
                      <a:lnTo>
                        <a:pt x="2989202" y="1416567"/>
                      </a:lnTo>
                      <a:lnTo>
                        <a:pt x="2992838" y="1413082"/>
                      </a:lnTo>
                      <a:lnTo>
                        <a:pt x="2994656" y="1410051"/>
                      </a:lnTo>
                      <a:lnTo>
                        <a:pt x="3004051" y="1402475"/>
                      </a:lnTo>
                      <a:lnTo>
                        <a:pt x="3011627" y="1394142"/>
                      </a:lnTo>
                      <a:lnTo>
                        <a:pt x="3018749" y="1388081"/>
                      </a:lnTo>
                      <a:lnTo>
                        <a:pt x="3021021" y="1384293"/>
                      </a:lnTo>
                      <a:lnTo>
                        <a:pt x="3030264" y="1373383"/>
                      </a:lnTo>
                      <a:lnTo>
                        <a:pt x="3033143" y="1366110"/>
                      </a:lnTo>
                      <a:lnTo>
                        <a:pt x="3036628" y="1363383"/>
                      </a:lnTo>
                      <a:lnTo>
                        <a:pt x="3038143" y="1356413"/>
                      </a:lnTo>
                      <a:lnTo>
                        <a:pt x="3041173" y="1351413"/>
                      </a:lnTo>
                      <a:lnTo>
                        <a:pt x="3041931" y="1348383"/>
                      </a:lnTo>
                      <a:lnTo>
                        <a:pt x="3043447" y="1345655"/>
                      </a:lnTo>
                      <a:lnTo>
                        <a:pt x="3054811" y="1334443"/>
                      </a:lnTo>
                      <a:lnTo>
                        <a:pt x="3059356" y="1325654"/>
                      </a:lnTo>
                      <a:lnTo>
                        <a:pt x="3064962" y="1316866"/>
                      </a:lnTo>
                      <a:lnTo>
                        <a:pt x="3069054" y="1313836"/>
                      </a:lnTo>
                      <a:lnTo>
                        <a:pt x="3073296" y="1309745"/>
                      </a:lnTo>
                      <a:lnTo>
                        <a:pt x="3075569" y="1306714"/>
                      </a:lnTo>
                      <a:lnTo>
                        <a:pt x="3082084" y="1301714"/>
                      </a:lnTo>
                      <a:lnTo>
                        <a:pt x="3085265" y="1298229"/>
                      </a:lnTo>
                      <a:lnTo>
                        <a:pt x="3086781" y="1294593"/>
                      </a:lnTo>
                      <a:lnTo>
                        <a:pt x="3088296" y="1285956"/>
                      </a:lnTo>
                      <a:lnTo>
                        <a:pt x="3092539" y="1279138"/>
                      </a:lnTo>
                      <a:lnTo>
                        <a:pt x="3091327" y="1278077"/>
                      </a:lnTo>
                      <a:lnTo>
                        <a:pt x="3090569" y="1275956"/>
                      </a:lnTo>
                      <a:lnTo>
                        <a:pt x="3091023" y="1273683"/>
                      </a:lnTo>
                      <a:lnTo>
                        <a:pt x="3091630" y="1272319"/>
                      </a:lnTo>
                      <a:lnTo>
                        <a:pt x="3092084" y="1270046"/>
                      </a:lnTo>
                      <a:lnTo>
                        <a:pt x="3092993" y="1267622"/>
                      </a:lnTo>
                      <a:lnTo>
                        <a:pt x="3093902" y="1266107"/>
                      </a:lnTo>
                      <a:lnTo>
                        <a:pt x="3096327" y="1256864"/>
                      </a:lnTo>
                      <a:lnTo>
                        <a:pt x="3096175" y="1250955"/>
                      </a:lnTo>
                      <a:lnTo>
                        <a:pt x="3094811" y="1248682"/>
                      </a:lnTo>
                      <a:lnTo>
                        <a:pt x="3094811" y="1245652"/>
                      </a:lnTo>
                      <a:lnTo>
                        <a:pt x="3098145" y="1241257"/>
                      </a:lnTo>
                      <a:lnTo>
                        <a:pt x="3098903" y="1240500"/>
                      </a:lnTo>
                      <a:lnTo>
                        <a:pt x="3099206" y="1239439"/>
                      </a:lnTo>
                      <a:lnTo>
                        <a:pt x="3097540" y="1238682"/>
                      </a:lnTo>
                      <a:lnTo>
                        <a:pt x="3096781" y="1237772"/>
                      </a:lnTo>
                      <a:lnTo>
                        <a:pt x="3095115" y="1222923"/>
                      </a:lnTo>
                      <a:lnTo>
                        <a:pt x="3096327" y="1213681"/>
                      </a:lnTo>
                      <a:lnTo>
                        <a:pt x="3099812" y="1207014"/>
                      </a:lnTo>
                      <a:lnTo>
                        <a:pt x="3100418" y="1204741"/>
                      </a:lnTo>
                      <a:lnTo>
                        <a:pt x="3101024" y="1198074"/>
                      </a:lnTo>
                      <a:lnTo>
                        <a:pt x="3105116" y="1191559"/>
                      </a:lnTo>
                      <a:lnTo>
                        <a:pt x="3107691" y="1184134"/>
                      </a:lnTo>
                      <a:lnTo>
                        <a:pt x="3112994" y="1180195"/>
                      </a:lnTo>
                      <a:lnTo>
                        <a:pt x="3116630" y="1175346"/>
                      </a:lnTo>
                      <a:lnTo>
                        <a:pt x="3119509" y="1173073"/>
                      </a:lnTo>
                      <a:lnTo>
                        <a:pt x="3120116" y="1168073"/>
                      </a:lnTo>
                      <a:lnTo>
                        <a:pt x="3122843" y="1163679"/>
                      </a:lnTo>
                      <a:lnTo>
                        <a:pt x="3120722" y="1161558"/>
                      </a:lnTo>
                      <a:lnTo>
                        <a:pt x="3118449" y="1160194"/>
                      </a:lnTo>
                      <a:lnTo>
                        <a:pt x="3114206" y="1156709"/>
                      </a:lnTo>
                      <a:lnTo>
                        <a:pt x="3113146" y="1154285"/>
                      </a:lnTo>
                      <a:lnTo>
                        <a:pt x="3116176" y="1150042"/>
                      </a:lnTo>
                      <a:lnTo>
                        <a:pt x="3116782" y="1146254"/>
                      </a:lnTo>
                      <a:lnTo>
                        <a:pt x="3116480" y="1139284"/>
                      </a:lnTo>
                      <a:lnTo>
                        <a:pt x="3111933" y="1137163"/>
                      </a:lnTo>
                      <a:lnTo>
                        <a:pt x="3106025" y="1131860"/>
                      </a:lnTo>
                      <a:lnTo>
                        <a:pt x="3105116" y="1130193"/>
                      </a:lnTo>
                      <a:lnTo>
                        <a:pt x="3106479" y="1130041"/>
                      </a:lnTo>
                      <a:lnTo>
                        <a:pt x="3114510" y="1132769"/>
                      </a:lnTo>
                      <a:lnTo>
                        <a:pt x="3118449" y="1129738"/>
                      </a:lnTo>
                      <a:lnTo>
                        <a:pt x="3120418" y="1126556"/>
                      </a:lnTo>
                      <a:lnTo>
                        <a:pt x="3119661" y="1122465"/>
                      </a:lnTo>
                      <a:lnTo>
                        <a:pt x="3115419" y="1120950"/>
                      </a:lnTo>
                      <a:lnTo>
                        <a:pt x="3109963" y="1116556"/>
                      </a:lnTo>
                      <a:lnTo>
                        <a:pt x="3109661" y="1115041"/>
                      </a:lnTo>
                      <a:lnTo>
                        <a:pt x="3100873" y="1111253"/>
                      </a:lnTo>
                      <a:lnTo>
                        <a:pt x="3091630" y="1103222"/>
                      </a:lnTo>
                      <a:lnTo>
                        <a:pt x="3088751" y="1096101"/>
                      </a:lnTo>
                      <a:lnTo>
                        <a:pt x="3087085" y="1094131"/>
                      </a:lnTo>
                      <a:lnTo>
                        <a:pt x="3078296" y="1088373"/>
                      </a:lnTo>
                      <a:lnTo>
                        <a:pt x="3076478" y="1086555"/>
                      </a:lnTo>
                      <a:lnTo>
                        <a:pt x="3074053" y="1085646"/>
                      </a:lnTo>
                      <a:lnTo>
                        <a:pt x="3063447" y="1088828"/>
                      </a:lnTo>
                      <a:lnTo>
                        <a:pt x="3057690" y="1087918"/>
                      </a:lnTo>
                      <a:lnTo>
                        <a:pt x="3046476" y="1084130"/>
                      </a:lnTo>
                      <a:lnTo>
                        <a:pt x="3045416" y="1084888"/>
                      </a:lnTo>
                      <a:lnTo>
                        <a:pt x="3046931" y="1087767"/>
                      </a:lnTo>
                      <a:lnTo>
                        <a:pt x="3046628" y="1090646"/>
                      </a:lnTo>
                      <a:lnTo>
                        <a:pt x="3047083" y="1094434"/>
                      </a:lnTo>
                      <a:lnTo>
                        <a:pt x="3046476" y="1100949"/>
                      </a:lnTo>
                      <a:lnTo>
                        <a:pt x="3045416" y="1105646"/>
                      </a:lnTo>
                      <a:lnTo>
                        <a:pt x="3041325" y="1112162"/>
                      </a:lnTo>
                      <a:lnTo>
                        <a:pt x="3039809" y="1113374"/>
                      </a:lnTo>
                      <a:lnTo>
                        <a:pt x="3036173" y="1113980"/>
                      </a:lnTo>
                      <a:lnTo>
                        <a:pt x="3034203" y="1113980"/>
                      </a:lnTo>
                      <a:lnTo>
                        <a:pt x="3035415" y="1111404"/>
                      </a:lnTo>
                      <a:lnTo>
                        <a:pt x="3038598" y="1108374"/>
                      </a:lnTo>
                      <a:lnTo>
                        <a:pt x="3042992" y="1102919"/>
                      </a:lnTo>
                      <a:lnTo>
                        <a:pt x="3042992" y="1098070"/>
                      </a:lnTo>
                      <a:lnTo>
                        <a:pt x="3041931" y="1097616"/>
                      </a:lnTo>
                      <a:lnTo>
                        <a:pt x="3040870" y="1097616"/>
                      </a:lnTo>
                      <a:lnTo>
                        <a:pt x="3037840" y="1099586"/>
                      </a:lnTo>
                      <a:lnTo>
                        <a:pt x="3034355" y="1106404"/>
                      </a:lnTo>
                      <a:lnTo>
                        <a:pt x="3026021" y="1110950"/>
                      </a:lnTo>
                      <a:lnTo>
                        <a:pt x="3020263" y="1112616"/>
                      </a:lnTo>
                      <a:lnTo>
                        <a:pt x="3009051" y="1113374"/>
                      </a:lnTo>
                      <a:lnTo>
                        <a:pt x="3006930" y="1113071"/>
                      </a:lnTo>
                      <a:lnTo>
                        <a:pt x="3006172" y="1111859"/>
                      </a:lnTo>
                      <a:lnTo>
                        <a:pt x="3008596" y="1109889"/>
                      </a:lnTo>
                      <a:lnTo>
                        <a:pt x="3014203" y="1107162"/>
                      </a:lnTo>
                      <a:lnTo>
                        <a:pt x="3017688" y="1101101"/>
                      </a:lnTo>
                      <a:lnTo>
                        <a:pt x="3021628" y="1099737"/>
                      </a:lnTo>
                      <a:lnTo>
                        <a:pt x="3022839" y="1098070"/>
                      </a:lnTo>
                      <a:lnTo>
                        <a:pt x="3017081" y="1097161"/>
                      </a:lnTo>
                      <a:lnTo>
                        <a:pt x="3013142" y="1095040"/>
                      </a:lnTo>
                      <a:lnTo>
                        <a:pt x="3009354" y="1092313"/>
                      </a:lnTo>
                      <a:lnTo>
                        <a:pt x="3011021" y="1091555"/>
                      </a:lnTo>
                      <a:lnTo>
                        <a:pt x="3012384" y="1091252"/>
                      </a:lnTo>
                      <a:lnTo>
                        <a:pt x="3014051" y="1090191"/>
                      </a:lnTo>
                      <a:lnTo>
                        <a:pt x="3018294" y="1085494"/>
                      </a:lnTo>
                      <a:lnTo>
                        <a:pt x="3014354" y="1085191"/>
                      </a:lnTo>
                      <a:lnTo>
                        <a:pt x="3010415" y="1085494"/>
                      </a:lnTo>
                      <a:lnTo>
                        <a:pt x="3003899" y="1089282"/>
                      </a:lnTo>
                      <a:lnTo>
                        <a:pt x="3002687" y="1091252"/>
                      </a:lnTo>
                      <a:lnTo>
                        <a:pt x="3004808" y="1093979"/>
                      </a:lnTo>
                      <a:lnTo>
                        <a:pt x="3007081" y="1095192"/>
                      </a:lnTo>
                      <a:lnTo>
                        <a:pt x="3004354" y="1102768"/>
                      </a:lnTo>
                      <a:lnTo>
                        <a:pt x="3000566" y="1101858"/>
                      </a:lnTo>
                      <a:lnTo>
                        <a:pt x="2996930" y="1102161"/>
                      </a:lnTo>
                      <a:lnTo>
                        <a:pt x="2994656" y="1104283"/>
                      </a:lnTo>
                      <a:lnTo>
                        <a:pt x="2992384" y="1103525"/>
                      </a:lnTo>
                      <a:lnTo>
                        <a:pt x="2991323" y="1098677"/>
                      </a:lnTo>
                      <a:lnTo>
                        <a:pt x="2992687" y="1093828"/>
                      </a:lnTo>
                      <a:lnTo>
                        <a:pt x="2993747" y="1082767"/>
                      </a:lnTo>
                      <a:lnTo>
                        <a:pt x="2995111" y="1079130"/>
                      </a:lnTo>
                      <a:lnTo>
                        <a:pt x="2995263" y="1075039"/>
                      </a:lnTo>
                      <a:lnTo>
                        <a:pt x="2994505" y="1072766"/>
                      </a:lnTo>
                      <a:lnTo>
                        <a:pt x="2992232" y="1072615"/>
                      </a:lnTo>
                      <a:lnTo>
                        <a:pt x="2988596" y="1073070"/>
                      </a:lnTo>
                      <a:lnTo>
                        <a:pt x="2979201" y="1072918"/>
                      </a:lnTo>
                      <a:lnTo>
                        <a:pt x="2968595" y="1074130"/>
                      </a:lnTo>
                      <a:lnTo>
                        <a:pt x="2957383" y="1070039"/>
                      </a:lnTo>
                      <a:lnTo>
                        <a:pt x="2954201" y="1069433"/>
                      </a:lnTo>
                      <a:lnTo>
                        <a:pt x="2952382" y="1068524"/>
                      </a:lnTo>
                      <a:lnTo>
                        <a:pt x="2951170" y="1064433"/>
                      </a:lnTo>
                      <a:lnTo>
                        <a:pt x="2951776" y="1062008"/>
                      </a:lnTo>
                      <a:lnTo>
                        <a:pt x="2952534" y="1060493"/>
                      </a:lnTo>
                      <a:lnTo>
                        <a:pt x="2960110" y="1053978"/>
                      </a:lnTo>
                      <a:lnTo>
                        <a:pt x="2965868" y="1052311"/>
                      </a:lnTo>
                      <a:lnTo>
                        <a:pt x="2977534" y="1044887"/>
                      </a:lnTo>
                      <a:lnTo>
                        <a:pt x="2982232" y="1038826"/>
                      </a:lnTo>
                      <a:lnTo>
                        <a:pt x="2985262" y="1036402"/>
                      </a:lnTo>
                      <a:lnTo>
                        <a:pt x="2994353" y="1031856"/>
                      </a:lnTo>
                      <a:lnTo>
                        <a:pt x="3000414" y="1027916"/>
                      </a:lnTo>
                      <a:lnTo>
                        <a:pt x="3005263" y="1024280"/>
                      </a:lnTo>
                      <a:lnTo>
                        <a:pt x="3010566" y="1021098"/>
                      </a:lnTo>
                      <a:lnTo>
                        <a:pt x="3015718" y="1015795"/>
                      </a:lnTo>
                      <a:lnTo>
                        <a:pt x="3018900" y="1014734"/>
                      </a:lnTo>
                      <a:lnTo>
                        <a:pt x="3029506" y="1003370"/>
                      </a:lnTo>
                      <a:lnTo>
                        <a:pt x="3031324" y="1000794"/>
                      </a:lnTo>
                      <a:lnTo>
                        <a:pt x="3032385" y="997309"/>
                      </a:lnTo>
                      <a:lnTo>
                        <a:pt x="3033294" y="995642"/>
                      </a:lnTo>
                      <a:lnTo>
                        <a:pt x="3045567" y="982612"/>
                      </a:lnTo>
                      <a:lnTo>
                        <a:pt x="3053902" y="977763"/>
                      </a:lnTo>
                      <a:lnTo>
                        <a:pt x="3059810" y="970945"/>
                      </a:lnTo>
                      <a:lnTo>
                        <a:pt x="3066932" y="968369"/>
                      </a:lnTo>
                      <a:lnTo>
                        <a:pt x="3068599" y="967157"/>
                      </a:lnTo>
                      <a:lnTo>
                        <a:pt x="3071781" y="963369"/>
                      </a:lnTo>
                      <a:lnTo>
                        <a:pt x="3076780" y="961096"/>
                      </a:lnTo>
                      <a:lnTo>
                        <a:pt x="3078296" y="959581"/>
                      </a:lnTo>
                      <a:lnTo>
                        <a:pt x="3082236" y="954126"/>
                      </a:lnTo>
                      <a:lnTo>
                        <a:pt x="3094357" y="949277"/>
                      </a:lnTo>
                      <a:lnTo>
                        <a:pt x="3095720" y="947156"/>
                      </a:lnTo>
                      <a:lnTo>
                        <a:pt x="3100873" y="933367"/>
                      </a:lnTo>
                      <a:lnTo>
                        <a:pt x="3103752" y="929731"/>
                      </a:lnTo>
                      <a:lnTo>
                        <a:pt x="3109206" y="925185"/>
                      </a:lnTo>
                      <a:lnTo>
                        <a:pt x="3119055" y="920791"/>
                      </a:lnTo>
                      <a:lnTo>
                        <a:pt x="3126025" y="915943"/>
                      </a:lnTo>
                      <a:lnTo>
                        <a:pt x="3130116" y="912003"/>
                      </a:lnTo>
                      <a:lnTo>
                        <a:pt x="3137540" y="901851"/>
                      </a:lnTo>
                      <a:lnTo>
                        <a:pt x="3145874" y="895639"/>
                      </a:lnTo>
                      <a:lnTo>
                        <a:pt x="3152692" y="892154"/>
                      </a:lnTo>
                      <a:lnTo>
                        <a:pt x="3169512" y="886851"/>
                      </a:lnTo>
                      <a:lnTo>
                        <a:pt x="3178603" y="887911"/>
                      </a:lnTo>
                      <a:lnTo>
                        <a:pt x="3187997" y="885184"/>
                      </a:lnTo>
                      <a:lnTo>
                        <a:pt x="3194967" y="885335"/>
                      </a:lnTo>
                      <a:lnTo>
                        <a:pt x="3204816" y="886699"/>
                      </a:lnTo>
                      <a:lnTo>
                        <a:pt x="3234059" y="885184"/>
                      </a:lnTo>
                      <a:lnTo>
                        <a:pt x="3239665" y="886699"/>
                      </a:lnTo>
                      <a:lnTo>
                        <a:pt x="3241635" y="888517"/>
                      </a:lnTo>
                      <a:lnTo>
                        <a:pt x="3244362" y="893821"/>
                      </a:lnTo>
                      <a:lnTo>
                        <a:pt x="3247696" y="894881"/>
                      </a:lnTo>
                      <a:lnTo>
                        <a:pt x="3253757" y="892911"/>
                      </a:lnTo>
                      <a:lnTo>
                        <a:pt x="3258455" y="884426"/>
                      </a:lnTo>
                      <a:lnTo>
                        <a:pt x="3261030" y="883366"/>
                      </a:lnTo>
                      <a:lnTo>
                        <a:pt x="3268303" y="886699"/>
                      </a:lnTo>
                      <a:lnTo>
                        <a:pt x="3274818" y="887002"/>
                      </a:lnTo>
                      <a:lnTo>
                        <a:pt x="3287698" y="890942"/>
                      </a:lnTo>
                      <a:lnTo>
                        <a:pt x="3292547" y="890032"/>
                      </a:lnTo>
                      <a:lnTo>
                        <a:pt x="3297546" y="886093"/>
                      </a:lnTo>
                      <a:lnTo>
                        <a:pt x="3308001" y="885032"/>
                      </a:lnTo>
                      <a:lnTo>
                        <a:pt x="3314516" y="891245"/>
                      </a:lnTo>
                      <a:lnTo>
                        <a:pt x="3320881" y="891396"/>
                      </a:lnTo>
                      <a:lnTo>
                        <a:pt x="3326032" y="890487"/>
                      </a:lnTo>
                      <a:lnTo>
                        <a:pt x="3327396" y="886851"/>
                      </a:lnTo>
                      <a:lnTo>
                        <a:pt x="3325426" y="885638"/>
                      </a:lnTo>
                      <a:lnTo>
                        <a:pt x="3321335" y="886699"/>
                      </a:lnTo>
                      <a:lnTo>
                        <a:pt x="3320426" y="883669"/>
                      </a:lnTo>
                      <a:lnTo>
                        <a:pt x="3322851" y="880335"/>
                      </a:lnTo>
                      <a:lnTo>
                        <a:pt x="3326336" y="882608"/>
                      </a:lnTo>
                      <a:lnTo>
                        <a:pt x="3332093" y="882456"/>
                      </a:lnTo>
                      <a:lnTo>
                        <a:pt x="3334063" y="882153"/>
                      </a:lnTo>
                      <a:lnTo>
                        <a:pt x="3333154" y="880487"/>
                      </a:lnTo>
                      <a:lnTo>
                        <a:pt x="3331942" y="879275"/>
                      </a:lnTo>
                      <a:lnTo>
                        <a:pt x="3330124" y="876244"/>
                      </a:lnTo>
                      <a:lnTo>
                        <a:pt x="3336336" y="872305"/>
                      </a:lnTo>
                      <a:lnTo>
                        <a:pt x="3339973" y="870941"/>
                      </a:lnTo>
                      <a:lnTo>
                        <a:pt x="3346033" y="870638"/>
                      </a:lnTo>
                      <a:lnTo>
                        <a:pt x="3361337" y="875487"/>
                      </a:lnTo>
                      <a:lnTo>
                        <a:pt x="3364670" y="875941"/>
                      </a:lnTo>
                      <a:lnTo>
                        <a:pt x="3368307" y="877911"/>
                      </a:lnTo>
                      <a:lnTo>
                        <a:pt x="3374065" y="879275"/>
                      </a:lnTo>
                      <a:lnTo>
                        <a:pt x="3370579" y="880638"/>
                      </a:lnTo>
                      <a:lnTo>
                        <a:pt x="3368913" y="881850"/>
                      </a:lnTo>
                      <a:lnTo>
                        <a:pt x="3372549" y="881396"/>
                      </a:lnTo>
                      <a:lnTo>
                        <a:pt x="3375731" y="882911"/>
                      </a:lnTo>
                      <a:lnTo>
                        <a:pt x="3378307" y="883214"/>
                      </a:lnTo>
                      <a:lnTo>
                        <a:pt x="3379368" y="882608"/>
                      </a:lnTo>
                      <a:lnTo>
                        <a:pt x="3380731" y="880638"/>
                      </a:lnTo>
                      <a:lnTo>
                        <a:pt x="3382550" y="878668"/>
                      </a:lnTo>
                      <a:lnTo>
                        <a:pt x="3384065" y="878062"/>
                      </a:lnTo>
                      <a:lnTo>
                        <a:pt x="3387701" y="878214"/>
                      </a:lnTo>
                      <a:lnTo>
                        <a:pt x="3392702" y="879123"/>
                      </a:lnTo>
                      <a:lnTo>
                        <a:pt x="3396338" y="880638"/>
                      </a:lnTo>
                      <a:lnTo>
                        <a:pt x="3404975" y="888820"/>
                      </a:lnTo>
                      <a:lnTo>
                        <a:pt x="3408915" y="890336"/>
                      </a:lnTo>
                      <a:lnTo>
                        <a:pt x="3413308" y="890032"/>
                      </a:lnTo>
                      <a:lnTo>
                        <a:pt x="3415127" y="890639"/>
                      </a:lnTo>
                      <a:lnTo>
                        <a:pt x="3417551" y="892760"/>
                      </a:lnTo>
                      <a:lnTo>
                        <a:pt x="3410126" y="895336"/>
                      </a:lnTo>
                      <a:lnTo>
                        <a:pt x="3403157" y="895942"/>
                      </a:lnTo>
                      <a:lnTo>
                        <a:pt x="3396944" y="895184"/>
                      </a:lnTo>
                      <a:lnTo>
                        <a:pt x="3386489" y="898518"/>
                      </a:lnTo>
                      <a:lnTo>
                        <a:pt x="3392095" y="906851"/>
                      </a:lnTo>
                      <a:lnTo>
                        <a:pt x="3402399" y="907154"/>
                      </a:lnTo>
                      <a:lnTo>
                        <a:pt x="3412854" y="905488"/>
                      </a:lnTo>
                      <a:lnTo>
                        <a:pt x="3414975" y="902003"/>
                      </a:lnTo>
                      <a:lnTo>
                        <a:pt x="3419218" y="900639"/>
                      </a:lnTo>
                      <a:lnTo>
                        <a:pt x="3421490" y="900790"/>
                      </a:lnTo>
                      <a:lnTo>
                        <a:pt x="3426187" y="903669"/>
                      </a:lnTo>
                      <a:lnTo>
                        <a:pt x="3432854" y="904730"/>
                      </a:lnTo>
                      <a:lnTo>
                        <a:pt x="3434673" y="904275"/>
                      </a:lnTo>
                      <a:lnTo>
                        <a:pt x="3439976" y="898518"/>
                      </a:lnTo>
                      <a:lnTo>
                        <a:pt x="3443158" y="898063"/>
                      </a:lnTo>
                      <a:lnTo>
                        <a:pt x="3445279" y="898215"/>
                      </a:lnTo>
                      <a:lnTo>
                        <a:pt x="3447704" y="893214"/>
                      </a:lnTo>
                      <a:lnTo>
                        <a:pt x="3456795" y="892760"/>
                      </a:lnTo>
                      <a:lnTo>
                        <a:pt x="3462249" y="897154"/>
                      </a:lnTo>
                      <a:lnTo>
                        <a:pt x="3465432" y="898821"/>
                      </a:lnTo>
                      <a:lnTo>
                        <a:pt x="3471947" y="897457"/>
                      </a:lnTo>
                      <a:lnTo>
                        <a:pt x="3475431" y="894275"/>
                      </a:lnTo>
                      <a:lnTo>
                        <a:pt x="3477705" y="893063"/>
                      </a:lnTo>
                      <a:lnTo>
                        <a:pt x="3484372" y="896093"/>
                      </a:lnTo>
                      <a:lnTo>
                        <a:pt x="3487706" y="894275"/>
                      </a:lnTo>
                      <a:lnTo>
                        <a:pt x="3493008" y="893972"/>
                      </a:lnTo>
                      <a:lnTo>
                        <a:pt x="3496948" y="894124"/>
                      </a:lnTo>
                      <a:lnTo>
                        <a:pt x="3496796" y="890942"/>
                      </a:lnTo>
                      <a:lnTo>
                        <a:pt x="3497100" y="887305"/>
                      </a:lnTo>
                      <a:lnTo>
                        <a:pt x="3491796" y="883669"/>
                      </a:lnTo>
                      <a:lnTo>
                        <a:pt x="3481189" y="880032"/>
                      </a:lnTo>
                      <a:lnTo>
                        <a:pt x="3474977" y="882305"/>
                      </a:lnTo>
                      <a:lnTo>
                        <a:pt x="3472704" y="882608"/>
                      </a:lnTo>
                      <a:lnTo>
                        <a:pt x="3471038" y="882305"/>
                      </a:lnTo>
                      <a:lnTo>
                        <a:pt x="3469220" y="880487"/>
                      </a:lnTo>
                      <a:lnTo>
                        <a:pt x="3470886" y="877608"/>
                      </a:lnTo>
                      <a:lnTo>
                        <a:pt x="3472553" y="875184"/>
                      </a:lnTo>
                      <a:lnTo>
                        <a:pt x="3472553" y="872305"/>
                      </a:lnTo>
                      <a:lnTo>
                        <a:pt x="3473159" y="868062"/>
                      </a:lnTo>
                      <a:lnTo>
                        <a:pt x="3475886" y="866244"/>
                      </a:lnTo>
                      <a:lnTo>
                        <a:pt x="3477251" y="865941"/>
                      </a:lnTo>
                      <a:lnTo>
                        <a:pt x="3481039" y="857304"/>
                      </a:lnTo>
                      <a:lnTo>
                        <a:pt x="3491796" y="845788"/>
                      </a:lnTo>
                      <a:lnTo>
                        <a:pt x="3504221" y="838667"/>
                      </a:lnTo>
                      <a:lnTo>
                        <a:pt x="3512100" y="833212"/>
                      </a:lnTo>
                      <a:lnTo>
                        <a:pt x="3515888" y="829273"/>
                      </a:lnTo>
                      <a:lnTo>
                        <a:pt x="3521494" y="820181"/>
                      </a:lnTo>
                      <a:lnTo>
                        <a:pt x="3529374" y="813514"/>
                      </a:lnTo>
                      <a:lnTo>
                        <a:pt x="3533162" y="811393"/>
                      </a:lnTo>
                      <a:lnTo>
                        <a:pt x="3537101" y="808666"/>
                      </a:lnTo>
                      <a:lnTo>
                        <a:pt x="3538465" y="799878"/>
                      </a:lnTo>
                      <a:lnTo>
                        <a:pt x="3541495" y="797908"/>
                      </a:lnTo>
                      <a:lnTo>
                        <a:pt x="3544374" y="796393"/>
                      </a:lnTo>
                      <a:lnTo>
                        <a:pt x="3549525" y="791696"/>
                      </a:lnTo>
                      <a:lnTo>
                        <a:pt x="3557405" y="788665"/>
                      </a:lnTo>
                      <a:lnTo>
                        <a:pt x="3560132" y="786544"/>
                      </a:lnTo>
                      <a:lnTo>
                        <a:pt x="3569072" y="786695"/>
                      </a:lnTo>
                      <a:lnTo>
                        <a:pt x="3576496" y="788514"/>
                      </a:lnTo>
                      <a:lnTo>
                        <a:pt x="3578769" y="788059"/>
                      </a:lnTo>
                      <a:lnTo>
                        <a:pt x="3583769" y="785483"/>
                      </a:lnTo>
                      <a:lnTo>
                        <a:pt x="3589527" y="786089"/>
                      </a:lnTo>
                      <a:lnTo>
                        <a:pt x="3597255" y="784423"/>
                      </a:lnTo>
                      <a:lnTo>
                        <a:pt x="3604073" y="781392"/>
                      </a:lnTo>
                      <a:lnTo>
                        <a:pt x="3607103" y="781089"/>
                      </a:lnTo>
                      <a:lnTo>
                        <a:pt x="3610134" y="781695"/>
                      </a:lnTo>
                      <a:lnTo>
                        <a:pt x="3613619" y="786089"/>
                      </a:lnTo>
                      <a:lnTo>
                        <a:pt x="3615588" y="787301"/>
                      </a:lnTo>
                      <a:lnTo>
                        <a:pt x="3617104" y="789877"/>
                      </a:lnTo>
                      <a:lnTo>
                        <a:pt x="3621801" y="788211"/>
                      </a:lnTo>
                      <a:lnTo>
                        <a:pt x="3634378" y="782150"/>
                      </a:lnTo>
                      <a:lnTo>
                        <a:pt x="3635892" y="782150"/>
                      </a:lnTo>
                      <a:lnTo>
                        <a:pt x="3637862" y="782453"/>
                      </a:lnTo>
                      <a:lnTo>
                        <a:pt x="3638166" y="784877"/>
                      </a:lnTo>
                      <a:lnTo>
                        <a:pt x="3638014" y="786847"/>
                      </a:lnTo>
                      <a:lnTo>
                        <a:pt x="3636044" y="792908"/>
                      </a:lnTo>
                      <a:lnTo>
                        <a:pt x="3633771" y="797605"/>
                      </a:lnTo>
                      <a:lnTo>
                        <a:pt x="3627407" y="806545"/>
                      </a:lnTo>
                      <a:lnTo>
                        <a:pt x="3626195" y="807757"/>
                      </a:lnTo>
                      <a:lnTo>
                        <a:pt x="3626952" y="810181"/>
                      </a:lnTo>
                      <a:lnTo>
                        <a:pt x="3628013" y="814575"/>
                      </a:lnTo>
                      <a:lnTo>
                        <a:pt x="3624832" y="819424"/>
                      </a:lnTo>
                      <a:lnTo>
                        <a:pt x="3623619" y="821848"/>
                      </a:lnTo>
                      <a:lnTo>
                        <a:pt x="3626195" y="822303"/>
                      </a:lnTo>
                      <a:lnTo>
                        <a:pt x="3629529" y="819727"/>
                      </a:lnTo>
                      <a:lnTo>
                        <a:pt x="3634378" y="818060"/>
                      </a:lnTo>
                      <a:lnTo>
                        <a:pt x="3637105" y="818060"/>
                      </a:lnTo>
                      <a:lnTo>
                        <a:pt x="3639680" y="818969"/>
                      </a:lnTo>
                      <a:lnTo>
                        <a:pt x="3635589" y="827000"/>
                      </a:lnTo>
                      <a:lnTo>
                        <a:pt x="3634832" y="831243"/>
                      </a:lnTo>
                      <a:lnTo>
                        <a:pt x="3634226" y="832758"/>
                      </a:lnTo>
                      <a:lnTo>
                        <a:pt x="3634074" y="835031"/>
                      </a:lnTo>
                      <a:lnTo>
                        <a:pt x="3637256" y="833818"/>
                      </a:lnTo>
                      <a:lnTo>
                        <a:pt x="3639377" y="832000"/>
                      </a:lnTo>
                      <a:lnTo>
                        <a:pt x="3642559" y="830788"/>
                      </a:lnTo>
                      <a:lnTo>
                        <a:pt x="3650287" y="830182"/>
                      </a:lnTo>
                      <a:lnTo>
                        <a:pt x="3654378" y="824424"/>
                      </a:lnTo>
                      <a:lnTo>
                        <a:pt x="3657711" y="821545"/>
                      </a:lnTo>
                      <a:lnTo>
                        <a:pt x="3689228" y="797453"/>
                      </a:lnTo>
                      <a:lnTo>
                        <a:pt x="3694834" y="792302"/>
                      </a:lnTo>
                      <a:lnTo>
                        <a:pt x="3697865" y="791999"/>
                      </a:lnTo>
                      <a:lnTo>
                        <a:pt x="3700744" y="792756"/>
                      </a:lnTo>
                      <a:lnTo>
                        <a:pt x="3703168" y="792756"/>
                      </a:lnTo>
                      <a:lnTo>
                        <a:pt x="3703773" y="790938"/>
                      </a:lnTo>
                      <a:lnTo>
                        <a:pt x="3704682" y="790180"/>
                      </a:lnTo>
                      <a:lnTo>
                        <a:pt x="3707561" y="790483"/>
                      </a:lnTo>
                      <a:lnTo>
                        <a:pt x="3709229" y="795029"/>
                      </a:lnTo>
                      <a:lnTo>
                        <a:pt x="3711199" y="797302"/>
                      </a:lnTo>
                      <a:lnTo>
                        <a:pt x="3712714" y="796847"/>
                      </a:lnTo>
                      <a:lnTo>
                        <a:pt x="3713774" y="796090"/>
                      </a:lnTo>
                      <a:lnTo>
                        <a:pt x="3715289" y="794423"/>
                      </a:lnTo>
                      <a:lnTo>
                        <a:pt x="3716805" y="793059"/>
                      </a:lnTo>
                      <a:lnTo>
                        <a:pt x="3718471" y="790786"/>
                      </a:lnTo>
                      <a:lnTo>
                        <a:pt x="3717107" y="789120"/>
                      </a:lnTo>
                      <a:lnTo>
                        <a:pt x="3711653" y="786847"/>
                      </a:lnTo>
                      <a:lnTo>
                        <a:pt x="3711956" y="782604"/>
                      </a:lnTo>
                      <a:lnTo>
                        <a:pt x="3714987" y="775937"/>
                      </a:lnTo>
                      <a:lnTo>
                        <a:pt x="3714683" y="771543"/>
                      </a:lnTo>
                      <a:lnTo>
                        <a:pt x="3715896" y="766998"/>
                      </a:lnTo>
                      <a:lnTo>
                        <a:pt x="3717259" y="764725"/>
                      </a:lnTo>
                      <a:lnTo>
                        <a:pt x="3718471" y="763816"/>
                      </a:lnTo>
                      <a:lnTo>
                        <a:pt x="3719684" y="762301"/>
                      </a:lnTo>
                      <a:lnTo>
                        <a:pt x="3718168" y="758816"/>
                      </a:lnTo>
                      <a:lnTo>
                        <a:pt x="3719229" y="756391"/>
                      </a:lnTo>
                      <a:lnTo>
                        <a:pt x="3720441" y="754725"/>
                      </a:lnTo>
                      <a:lnTo>
                        <a:pt x="3745745" y="748512"/>
                      </a:lnTo>
                      <a:lnTo>
                        <a:pt x="3750290" y="748058"/>
                      </a:lnTo>
                      <a:lnTo>
                        <a:pt x="3754230" y="749421"/>
                      </a:lnTo>
                      <a:lnTo>
                        <a:pt x="3760443" y="753815"/>
                      </a:lnTo>
                      <a:lnTo>
                        <a:pt x="3767412" y="756088"/>
                      </a:lnTo>
                      <a:lnTo>
                        <a:pt x="3776958" y="757149"/>
                      </a:lnTo>
                      <a:lnTo>
                        <a:pt x="3777564" y="759119"/>
                      </a:lnTo>
                      <a:lnTo>
                        <a:pt x="3773776" y="758361"/>
                      </a:lnTo>
                      <a:lnTo>
                        <a:pt x="3771958" y="759119"/>
                      </a:lnTo>
                      <a:lnTo>
                        <a:pt x="3772261" y="760785"/>
                      </a:lnTo>
                      <a:lnTo>
                        <a:pt x="3771807" y="762149"/>
                      </a:lnTo>
                      <a:lnTo>
                        <a:pt x="3769534" y="760634"/>
                      </a:lnTo>
                      <a:lnTo>
                        <a:pt x="3763019" y="759725"/>
                      </a:lnTo>
                      <a:lnTo>
                        <a:pt x="3757109" y="757906"/>
                      </a:lnTo>
                      <a:lnTo>
                        <a:pt x="3755139" y="758058"/>
                      </a:lnTo>
                      <a:lnTo>
                        <a:pt x="3746654" y="763361"/>
                      </a:lnTo>
                      <a:lnTo>
                        <a:pt x="3744533" y="765634"/>
                      </a:lnTo>
                      <a:lnTo>
                        <a:pt x="3740896" y="776089"/>
                      </a:lnTo>
                      <a:lnTo>
                        <a:pt x="3740593" y="783362"/>
                      </a:lnTo>
                      <a:lnTo>
                        <a:pt x="3739381" y="790332"/>
                      </a:lnTo>
                      <a:lnTo>
                        <a:pt x="3735593" y="793211"/>
                      </a:lnTo>
                      <a:lnTo>
                        <a:pt x="3734381" y="796696"/>
                      </a:lnTo>
                      <a:lnTo>
                        <a:pt x="3733472" y="800787"/>
                      </a:lnTo>
                      <a:lnTo>
                        <a:pt x="3738017" y="802454"/>
                      </a:lnTo>
                      <a:lnTo>
                        <a:pt x="3738624" y="803817"/>
                      </a:lnTo>
                      <a:lnTo>
                        <a:pt x="3738926" y="805635"/>
                      </a:lnTo>
                      <a:lnTo>
                        <a:pt x="3735896" y="810030"/>
                      </a:lnTo>
                      <a:lnTo>
                        <a:pt x="3728320" y="815333"/>
                      </a:lnTo>
                      <a:lnTo>
                        <a:pt x="3727562" y="816545"/>
                      </a:lnTo>
                      <a:lnTo>
                        <a:pt x="3726501" y="818969"/>
                      </a:lnTo>
                      <a:lnTo>
                        <a:pt x="3730896" y="823363"/>
                      </a:lnTo>
                      <a:lnTo>
                        <a:pt x="3727411" y="825030"/>
                      </a:lnTo>
                      <a:lnTo>
                        <a:pt x="3724229" y="826242"/>
                      </a:lnTo>
                      <a:lnTo>
                        <a:pt x="3721047" y="828212"/>
                      </a:lnTo>
                      <a:lnTo>
                        <a:pt x="3710744" y="828970"/>
                      </a:lnTo>
                      <a:lnTo>
                        <a:pt x="3703623" y="834121"/>
                      </a:lnTo>
                      <a:lnTo>
                        <a:pt x="3691349" y="839122"/>
                      </a:lnTo>
                      <a:lnTo>
                        <a:pt x="3685894" y="842000"/>
                      </a:lnTo>
                      <a:lnTo>
                        <a:pt x="3684228" y="843970"/>
                      </a:lnTo>
                      <a:lnTo>
                        <a:pt x="3679834" y="851698"/>
                      </a:lnTo>
                      <a:lnTo>
                        <a:pt x="3677257" y="855031"/>
                      </a:lnTo>
                      <a:lnTo>
                        <a:pt x="3669075" y="860183"/>
                      </a:lnTo>
                      <a:lnTo>
                        <a:pt x="3662712" y="867607"/>
                      </a:lnTo>
                      <a:lnTo>
                        <a:pt x="3652711" y="876396"/>
                      </a:lnTo>
                      <a:lnTo>
                        <a:pt x="3648771" y="877456"/>
                      </a:lnTo>
                      <a:lnTo>
                        <a:pt x="3644378" y="879729"/>
                      </a:lnTo>
                      <a:lnTo>
                        <a:pt x="3638923" y="885941"/>
                      </a:lnTo>
                      <a:lnTo>
                        <a:pt x="3625134" y="896699"/>
                      </a:lnTo>
                      <a:lnTo>
                        <a:pt x="3618165" y="909730"/>
                      </a:lnTo>
                      <a:lnTo>
                        <a:pt x="3614377" y="914124"/>
                      </a:lnTo>
                      <a:lnTo>
                        <a:pt x="3610437" y="917458"/>
                      </a:lnTo>
                      <a:lnTo>
                        <a:pt x="3607710" y="921094"/>
                      </a:lnTo>
                      <a:lnTo>
                        <a:pt x="3603013" y="924882"/>
                      </a:lnTo>
                      <a:lnTo>
                        <a:pt x="3593467" y="930640"/>
                      </a:lnTo>
                      <a:lnTo>
                        <a:pt x="3586951" y="935337"/>
                      </a:lnTo>
                      <a:lnTo>
                        <a:pt x="3583466" y="938519"/>
                      </a:lnTo>
                      <a:lnTo>
                        <a:pt x="3582103" y="941398"/>
                      </a:lnTo>
                      <a:lnTo>
                        <a:pt x="3580436" y="940792"/>
                      </a:lnTo>
                      <a:lnTo>
                        <a:pt x="3573920" y="942307"/>
                      </a:lnTo>
                      <a:lnTo>
                        <a:pt x="3565435" y="941095"/>
                      </a:lnTo>
                      <a:lnTo>
                        <a:pt x="3559526" y="949732"/>
                      </a:lnTo>
                      <a:lnTo>
                        <a:pt x="3553162" y="950641"/>
                      </a:lnTo>
                      <a:lnTo>
                        <a:pt x="3546950" y="948519"/>
                      </a:lnTo>
                      <a:lnTo>
                        <a:pt x="3543767" y="949580"/>
                      </a:lnTo>
                      <a:lnTo>
                        <a:pt x="3542556" y="950489"/>
                      </a:lnTo>
                      <a:lnTo>
                        <a:pt x="3541495" y="951853"/>
                      </a:lnTo>
                      <a:lnTo>
                        <a:pt x="3544526" y="954580"/>
                      </a:lnTo>
                      <a:lnTo>
                        <a:pt x="3545889" y="957005"/>
                      </a:lnTo>
                      <a:lnTo>
                        <a:pt x="3546344" y="959126"/>
                      </a:lnTo>
                      <a:lnTo>
                        <a:pt x="3546646" y="962914"/>
                      </a:lnTo>
                      <a:lnTo>
                        <a:pt x="3543162" y="969884"/>
                      </a:lnTo>
                      <a:lnTo>
                        <a:pt x="3539828" y="975187"/>
                      </a:lnTo>
                      <a:lnTo>
                        <a:pt x="3534373" y="980339"/>
                      </a:lnTo>
                      <a:lnTo>
                        <a:pt x="3521798" y="989733"/>
                      </a:lnTo>
                      <a:lnTo>
                        <a:pt x="3520585" y="990945"/>
                      </a:lnTo>
                      <a:lnTo>
                        <a:pt x="3519373" y="993067"/>
                      </a:lnTo>
                      <a:lnTo>
                        <a:pt x="3512100" y="1017310"/>
                      </a:lnTo>
                      <a:lnTo>
                        <a:pt x="3510130" y="1028068"/>
                      </a:lnTo>
                      <a:lnTo>
                        <a:pt x="3507705" y="1045038"/>
                      </a:lnTo>
                      <a:lnTo>
                        <a:pt x="3508009" y="1050796"/>
                      </a:lnTo>
                      <a:lnTo>
                        <a:pt x="3509524" y="1063524"/>
                      </a:lnTo>
                      <a:lnTo>
                        <a:pt x="3511797" y="1076554"/>
                      </a:lnTo>
                      <a:lnTo>
                        <a:pt x="3517251" y="1098828"/>
                      </a:lnTo>
                      <a:lnTo>
                        <a:pt x="3518615" y="1105646"/>
                      </a:lnTo>
                      <a:lnTo>
                        <a:pt x="3522555" y="1133223"/>
                      </a:lnTo>
                      <a:lnTo>
                        <a:pt x="3522858" y="1138375"/>
                      </a:lnTo>
                      <a:lnTo>
                        <a:pt x="3524070" y="1142769"/>
                      </a:lnTo>
                      <a:lnTo>
                        <a:pt x="3526191" y="1147163"/>
                      </a:lnTo>
                      <a:lnTo>
                        <a:pt x="3529828" y="1151557"/>
                      </a:lnTo>
                      <a:lnTo>
                        <a:pt x="3530283" y="1156709"/>
                      </a:lnTo>
                      <a:lnTo>
                        <a:pt x="3533313" y="1173376"/>
                      </a:lnTo>
                      <a:lnTo>
                        <a:pt x="3533616" y="1189286"/>
                      </a:lnTo>
                      <a:lnTo>
                        <a:pt x="3534222" y="1192771"/>
                      </a:lnTo>
                      <a:lnTo>
                        <a:pt x="3534828" y="1195195"/>
                      </a:lnTo>
                      <a:lnTo>
                        <a:pt x="3538313" y="1198377"/>
                      </a:lnTo>
                      <a:lnTo>
                        <a:pt x="3539374" y="1202014"/>
                      </a:lnTo>
                      <a:lnTo>
                        <a:pt x="3539677" y="1204892"/>
                      </a:lnTo>
                      <a:lnTo>
                        <a:pt x="3540434" y="1207620"/>
                      </a:lnTo>
                      <a:lnTo>
                        <a:pt x="3543162" y="1206256"/>
                      </a:lnTo>
                      <a:lnTo>
                        <a:pt x="3552859" y="1198832"/>
                      </a:lnTo>
                      <a:lnTo>
                        <a:pt x="3560738" y="1191710"/>
                      </a:lnTo>
                      <a:lnTo>
                        <a:pt x="3561798" y="1189134"/>
                      </a:lnTo>
                      <a:lnTo>
                        <a:pt x="3564526" y="1187165"/>
                      </a:lnTo>
                      <a:lnTo>
                        <a:pt x="3569830" y="1184589"/>
                      </a:lnTo>
                      <a:lnTo>
                        <a:pt x="3577406" y="1177164"/>
                      </a:lnTo>
                      <a:lnTo>
                        <a:pt x="3583769" y="1166861"/>
                      </a:lnTo>
                      <a:lnTo>
                        <a:pt x="3587254" y="1158982"/>
                      </a:lnTo>
                      <a:lnTo>
                        <a:pt x="3588163" y="1156103"/>
                      </a:lnTo>
                      <a:lnTo>
                        <a:pt x="3588315" y="1153375"/>
                      </a:lnTo>
                      <a:lnTo>
                        <a:pt x="3587709" y="1147163"/>
                      </a:lnTo>
                      <a:lnTo>
                        <a:pt x="3589224" y="1144890"/>
                      </a:lnTo>
                      <a:lnTo>
                        <a:pt x="3591345" y="1138072"/>
                      </a:lnTo>
                      <a:lnTo>
                        <a:pt x="3589982" y="1136254"/>
                      </a:lnTo>
                      <a:lnTo>
                        <a:pt x="3586496" y="1135041"/>
                      </a:lnTo>
                      <a:lnTo>
                        <a:pt x="3587557" y="1132163"/>
                      </a:lnTo>
                      <a:lnTo>
                        <a:pt x="3590133" y="1131557"/>
                      </a:lnTo>
                      <a:lnTo>
                        <a:pt x="3592103" y="1132920"/>
                      </a:lnTo>
                      <a:lnTo>
                        <a:pt x="3593315" y="1135799"/>
                      </a:lnTo>
                      <a:lnTo>
                        <a:pt x="3594982" y="1136708"/>
                      </a:lnTo>
                      <a:lnTo>
                        <a:pt x="3600739" y="1131708"/>
                      </a:lnTo>
                      <a:lnTo>
                        <a:pt x="3605740" y="1129132"/>
                      </a:lnTo>
                      <a:lnTo>
                        <a:pt x="3618013" y="1124587"/>
                      </a:lnTo>
                      <a:lnTo>
                        <a:pt x="3623164" y="1124890"/>
                      </a:lnTo>
                      <a:lnTo>
                        <a:pt x="3627862" y="1128829"/>
                      </a:lnTo>
                      <a:lnTo>
                        <a:pt x="3629983" y="1128526"/>
                      </a:lnTo>
                      <a:lnTo>
                        <a:pt x="3629377" y="1123223"/>
                      </a:lnTo>
                      <a:lnTo>
                        <a:pt x="3626498" y="1119283"/>
                      </a:lnTo>
                      <a:lnTo>
                        <a:pt x="3626650" y="1116707"/>
                      </a:lnTo>
                      <a:lnTo>
                        <a:pt x="3628165" y="1112919"/>
                      </a:lnTo>
                      <a:lnTo>
                        <a:pt x="3626952" y="1110344"/>
                      </a:lnTo>
                      <a:lnTo>
                        <a:pt x="3625741" y="1108374"/>
                      </a:lnTo>
                      <a:lnTo>
                        <a:pt x="3625134" y="1104283"/>
                      </a:lnTo>
                      <a:lnTo>
                        <a:pt x="3627256" y="1095798"/>
                      </a:lnTo>
                      <a:lnTo>
                        <a:pt x="3629680" y="1091252"/>
                      </a:lnTo>
                      <a:lnTo>
                        <a:pt x="3631347" y="1088979"/>
                      </a:lnTo>
                      <a:lnTo>
                        <a:pt x="3637256" y="1085343"/>
                      </a:lnTo>
                      <a:lnTo>
                        <a:pt x="3643468" y="1079888"/>
                      </a:lnTo>
                      <a:lnTo>
                        <a:pt x="3650439" y="1075797"/>
                      </a:lnTo>
                      <a:lnTo>
                        <a:pt x="3654984" y="1074282"/>
                      </a:lnTo>
                      <a:lnTo>
                        <a:pt x="3660287" y="1073524"/>
                      </a:lnTo>
                      <a:lnTo>
                        <a:pt x="3664682" y="1076554"/>
                      </a:lnTo>
                      <a:lnTo>
                        <a:pt x="3673773" y="1076706"/>
                      </a:lnTo>
                      <a:lnTo>
                        <a:pt x="3676500" y="1076100"/>
                      </a:lnTo>
                      <a:lnTo>
                        <a:pt x="3683167" y="1070191"/>
                      </a:lnTo>
                      <a:lnTo>
                        <a:pt x="3686955" y="1067766"/>
                      </a:lnTo>
                      <a:lnTo>
                        <a:pt x="3686197" y="1062615"/>
                      </a:lnTo>
                      <a:lnTo>
                        <a:pt x="3683924" y="1058372"/>
                      </a:lnTo>
                      <a:lnTo>
                        <a:pt x="3679227" y="1053069"/>
                      </a:lnTo>
                      <a:lnTo>
                        <a:pt x="3678166" y="1050493"/>
                      </a:lnTo>
                      <a:lnTo>
                        <a:pt x="3676651" y="1044735"/>
                      </a:lnTo>
                      <a:lnTo>
                        <a:pt x="3676500" y="1039432"/>
                      </a:lnTo>
                      <a:lnTo>
                        <a:pt x="3677864" y="1033371"/>
                      </a:lnTo>
                      <a:lnTo>
                        <a:pt x="3681954" y="1026250"/>
                      </a:lnTo>
                      <a:lnTo>
                        <a:pt x="3686349" y="1016552"/>
                      </a:lnTo>
                      <a:lnTo>
                        <a:pt x="3688016" y="1015037"/>
                      </a:lnTo>
                      <a:lnTo>
                        <a:pt x="3693168" y="1012764"/>
                      </a:lnTo>
                      <a:lnTo>
                        <a:pt x="3696652" y="1010946"/>
                      </a:lnTo>
                      <a:lnTo>
                        <a:pt x="3698471" y="1010037"/>
                      </a:lnTo>
                      <a:lnTo>
                        <a:pt x="3697410" y="1004582"/>
                      </a:lnTo>
                      <a:lnTo>
                        <a:pt x="3700137" y="1002461"/>
                      </a:lnTo>
                      <a:lnTo>
                        <a:pt x="3702410" y="1001097"/>
                      </a:lnTo>
                      <a:lnTo>
                        <a:pt x="3708016" y="1001552"/>
                      </a:lnTo>
                      <a:lnTo>
                        <a:pt x="3709835" y="1000340"/>
                      </a:lnTo>
                      <a:lnTo>
                        <a:pt x="3712410" y="999885"/>
                      </a:lnTo>
                      <a:lnTo>
                        <a:pt x="3710744" y="1002764"/>
                      </a:lnTo>
                      <a:lnTo>
                        <a:pt x="3708470" y="1004582"/>
                      </a:lnTo>
                      <a:lnTo>
                        <a:pt x="3703623" y="1007309"/>
                      </a:lnTo>
                      <a:lnTo>
                        <a:pt x="3701198" y="1011097"/>
                      </a:lnTo>
                      <a:lnTo>
                        <a:pt x="3707107" y="1017461"/>
                      </a:lnTo>
                      <a:lnTo>
                        <a:pt x="3710592" y="1018825"/>
                      </a:lnTo>
                      <a:lnTo>
                        <a:pt x="3712714" y="1018371"/>
                      </a:lnTo>
                      <a:lnTo>
                        <a:pt x="3716653" y="1014734"/>
                      </a:lnTo>
                      <a:lnTo>
                        <a:pt x="3718623" y="1013370"/>
                      </a:lnTo>
                      <a:lnTo>
                        <a:pt x="3720593" y="1011097"/>
                      </a:lnTo>
                      <a:lnTo>
                        <a:pt x="3719532" y="1002764"/>
                      </a:lnTo>
                      <a:lnTo>
                        <a:pt x="3718016" y="998218"/>
                      </a:lnTo>
                      <a:lnTo>
                        <a:pt x="3718471" y="993370"/>
                      </a:lnTo>
                      <a:lnTo>
                        <a:pt x="3715896" y="992006"/>
                      </a:lnTo>
                      <a:lnTo>
                        <a:pt x="3712714" y="991248"/>
                      </a:lnTo>
                      <a:lnTo>
                        <a:pt x="3709229" y="992006"/>
                      </a:lnTo>
                      <a:lnTo>
                        <a:pt x="3707259" y="990794"/>
                      </a:lnTo>
                      <a:lnTo>
                        <a:pt x="3706047" y="988521"/>
                      </a:lnTo>
                      <a:lnTo>
                        <a:pt x="3705743" y="986097"/>
                      </a:lnTo>
                      <a:lnTo>
                        <a:pt x="3706350" y="980339"/>
                      </a:lnTo>
                      <a:lnTo>
                        <a:pt x="3706198" y="977157"/>
                      </a:lnTo>
                      <a:lnTo>
                        <a:pt x="3704834" y="971702"/>
                      </a:lnTo>
                      <a:lnTo>
                        <a:pt x="3704986" y="970035"/>
                      </a:lnTo>
                      <a:lnTo>
                        <a:pt x="3705441" y="967157"/>
                      </a:lnTo>
                      <a:lnTo>
                        <a:pt x="3710289" y="962459"/>
                      </a:lnTo>
                      <a:lnTo>
                        <a:pt x="3714380" y="958974"/>
                      </a:lnTo>
                      <a:lnTo>
                        <a:pt x="3716502" y="956247"/>
                      </a:lnTo>
                      <a:lnTo>
                        <a:pt x="3717259" y="954277"/>
                      </a:lnTo>
                      <a:lnTo>
                        <a:pt x="3717562" y="950186"/>
                      </a:lnTo>
                      <a:lnTo>
                        <a:pt x="3715441" y="948216"/>
                      </a:lnTo>
                      <a:lnTo>
                        <a:pt x="3703773" y="943974"/>
                      </a:lnTo>
                      <a:lnTo>
                        <a:pt x="3701955" y="943822"/>
                      </a:lnTo>
                      <a:lnTo>
                        <a:pt x="3698319" y="945641"/>
                      </a:lnTo>
                      <a:lnTo>
                        <a:pt x="3696804" y="951095"/>
                      </a:lnTo>
                      <a:lnTo>
                        <a:pt x="3694834" y="953065"/>
                      </a:lnTo>
                      <a:lnTo>
                        <a:pt x="3694834" y="951853"/>
                      </a:lnTo>
                      <a:lnTo>
                        <a:pt x="3695288" y="950641"/>
                      </a:lnTo>
                      <a:lnTo>
                        <a:pt x="3689530" y="948519"/>
                      </a:lnTo>
                      <a:lnTo>
                        <a:pt x="3686803" y="946853"/>
                      </a:lnTo>
                      <a:lnTo>
                        <a:pt x="3685137" y="945034"/>
                      </a:lnTo>
                      <a:lnTo>
                        <a:pt x="3684076" y="942610"/>
                      </a:lnTo>
                      <a:lnTo>
                        <a:pt x="3683015" y="938822"/>
                      </a:lnTo>
                      <a:lnTo>
                        <a:pt x="3685440" y="930943"/>
                      </a:lnTo>
                      <a:lnTo>
                        <a:pt x="3688016" y="923973"/>
                      </a:lnTo>
                      <a:lnTo>
                        <a:pt x="3696501" y="913518"/>
                      </a:lnTo>
                      <a:lnTo>
                        <a:pt x="3701653" y="909882"/>
                      </a:lnTo>
                      <a:lnTo>
                        <a:pt x="3707259" y="904275"/>
                      </a:lnTo>
                      <a:lnTo>
                        <a:pt x="3709683" y="903215"/>
                      </a:lnTo>
                      <a:lnTo>
                        <a:pt x="3710592" y="902306"/>
                      </a:lnTo>
                      <a:lnTo>
                        <a:pt x="3711501" y="901094"/>
                      </a:lnTo>
                      <a:lnTo>
                        <a:pt x="3709835" y="897154"/>
                      </a:lnTo>
                      <a:lnTo>
                        <a:pt x="3710744" y="896245"/>
                      </a:lnTo>
                      <a:lnTo>
                        <a:pt x="3711653" y="895790"/>
                      </a:lnTo>
                      <a:lnTo>
                        <a:pt x="3713774" y="896548"/>
                      </a:lnTo>
                      <a:lnTo>
                        <a:pt x="3718925" y="889578"/>
                      </a:lnTo>
                      <a:lnTo>
                        <a:pt x="3718775" y="880790"/>
                      </a:lnTo>
                      <a:lnTo>
                        <a:pt x="3720290" y="873214"/>
                      </a:lnTo>
                      <a:lnTo>
                        <a:pt x="3721350" y="870183"/>
                      </a:lnTo>
                      <a:lnTo>
                        <a:pt x="3722713" y="867910"/>
                      </a:lnTo>
                      <a:lnTo>
                        <a:pt x="3724987" y="865789"/>
                      </a:lnTo>
                      <a:lnTo>
                        <a:pt x="3727108" y="864729"/>
                      </a:lnTo>
                      <a:lnTo>
                        <a:pt x="3730290" y="862153"/>
                      </a:lnTo>
                      <a:lnTo>
                        <a:pt x="3731805" y="860031"/>
                      </a:lnTo>
                      <a:lnTo>
                        <a:pt x="3732714" y="859577"/>
                      </a:lnTo>
                      <a:lnTo>
                        <a:pt x="3736351" y="859728"/>
                      </a:lnTo>
                      <a:lnTo>
                        <a:pt x="3739230" y="860486"/>
                      </a:lnTo>
                      <a:lnTo>
                        <a:pt x="3742412" y="861850"/>
                      </a:lnTo>
                      <a:lnTo>
                        <a:pt x="3741957" y="865486"/>
                      </a:lnTo>
                      <a:lnTo>
                        <a:pt x="3745745" y="862304"/>
                      </a:lnTo>
                      <a:lnTo>
                        <a:pt x="3749079" y="858819"/>
                      </a:lnTo>
                      <a:lnTo>
                        <a:pt x="3750897" y="858213"/>
                      </a:lnTo>
                      <a:lnTo>
                        <a:pt x="3753169" y="858668"/>
                      </a:lnTo>
                      <a:lnTo>
                        <a:pt x="3757109" y="861395"/>
                      </a:lnTo>
                      <a:lnTo>
                        <a:pt x="3760140" y="866395"/>
                      </a:lnTo>
                      <a:lnTo>
                        <a:pt x="3762109" y="867759"/>
                      </a:lnTo>
                      <a:lnTo>
                        <a:pt x="3764837" y="867607"/>
                      </a:lnTo>
                      <a:lnTo>
                        <a:pt x="3766655" y="866850"/>
                      </a:lnTo>
                      <a:lnTo>
                        <a:pt x="3768170" y="863516"/>
                      </a:lnTo>
                      <a:lnTo>
                        <a:pt x="3768473" y="857153"/>
                      </a:lnTo>
                      <a:lnTo>
                        <a:pt x="3771352" y="856092"/>
                      </a:lnTo>
                      <a:lnTo>
                        <a:pt x="3773928" y="855637"/>
                      </a:lnTo>
                      <a:lnTo>
                        <a:pt x="3777564" y="852758"/>
                      </a:lnTo>
                      <a:lnTo>
                        <a:pt x="3782110" y="851546"/>
                      </a:lnTo>
                      <a:lnTo>
                        <a:pt x="3791959" y="846546"/>
                      </a:lnTo>
                      <a:lnTo>
                        <a:pt x="3798474" y="841546"/>
                      </a:lnTo>
                      <a:lnTo>
                        <a:pt x="3803171" y="841243"/>
                      </a:lnTo>
                      <a:lnTo>
                        <a:pt x="3801959" y="844273"/>
                      </a:lnTo>
                      <a:lnTo>
                        <a:pt x="3801504" y="847001"/>
                      </a:lnTo>
                      <a:lnTo>
                        <a:pt x="3799838" y="853971"/>
                      </a:lnTo>
                      <a:lnTo>
                        <a:pt x="3798171" y="857607"/>
                      </a:lnTo>
                      <a:lnTo>
                        <a:pt x="3797262" y="862001"/>
                      </a:lnTo>
                      <a:lnTo>
                        <a:pt x="3797565" y="864425"/>
                      </a:lnTo>
                      <a:lnTo>
                        <a:pt x="3798626" y="867456"/>
                      </a:lnTo>
                      <a:lnTo>
                        <a:pt x="3801050" y="867153"/>
                      </a:lnTo>
                      <a:lnTo>
                        <a:pt x="3802565" y="866395"/>
                      </a:lnTo>
                      <a:lnTo>
                        <a:pt x="3805899" y="863365"/>
                      </a:lnTo>
                      <a:lnTo>
                        <a:pt x="3819839" y="848667"/>
                      </a:lnTo>
                      <a:lnTo>
                        <a:pt x="3827112" y="844576"/>
                      </a:lnTo>
                      <a:lnTo>
                        <a:pt x="3838021" y="842000"/>
                      </a:lnTo>
                      <a:lnTo>
                        <a:pt x="3841355" y="840334"/>
                      </a:lnTo>
                      <a:lnTo>
                        <a:pt x="3851961" y="837606"/>
                      </a:lnTo>
                      <a:lnTo>
                        <a:pt x="3860900" y="836849"/>
                      </a:lnTo>
                      <a:lnTo>
                        <a:pt x="3866507" y="838061"/>
                      </a:lnTo>
                      <a:lnTo>
                        <a:pt x="3869840" y="838061"/>
                      </a:lnTo>
                      <a:lnTo>
                        <a:pt x="3881810" y="836697"/>
                      </a:lnTo>
                      <a:lnTo>
                        <a:pt x="3883174" y="838364"/>
                      </a:lnTo>
                      <a:lnTo>
                        <a:pt x="3892569" y="843213"/>
                      </a:lnTo>
                      <a:lnTo>
                        <a:pt x="3897871" y="850334"/>
                      </a:lnTo>
                      <a:lnTo>
                        <a:pt x="3898932" y="850940"/>
                      </a:lnTo>
                      <a:lnTo>
                        <a:pt x="3899841" y="852304"/>
                      </a:lnTo>
                      <a:lnTo>
                        <a:pt x="3900145" y="855183"/>
                      </a:lnTo>
                      <a:lnTo>
                        <a:pt x="3900902" y="857001"/>
                      </a:lnTo>
                      <a:lnTo>
                        <a:pt x="3902418" y="858516"/>
                      </a:lnTo>
                      <a:lnTo>
                        <a:pt x="3907115" y="861850"/>
                      </a:lnTo>
                      <a:lnTo>
                        <a:pt x="3912569" y="862607"/>
                      </a:lnTo>
                      <a:lnTo>
                        <a:pt x="3913782" y="860789"/>
                      </a:lnTo>
                      <a:lnTo>
                        <a:pt x="3914539" y="859274"/>
                      </a:lnTo>
                      <a:lnTo>
                        <a:pt x="3916963" y="850637"/>
                      </a:lnTo>
                      <a:lnTo>
                        <a:pt x="3919085" y="847152"/>
                      </a:lnTo>
                      <a:lnTo>
                        <a:pt x="3919085" y="845031"/>
                      </a:lnTo>
                      <a:lnTo>
                        <a:pt x="3919540" y="843364"/>
                      </a:lnTo>
                      <a:lnTo>
                        <a:pt x="3924843" y="840788"/>
                      </a:lnTo>
                      <a:lnTo>
                        <a:pt x="3928934" y="839728"/>
                      </a:lnTo>
                      <a:lnTo>
                        <a:pt x="3943783" y="831394"/>
                      </a:lnTo>
                      <a:lnTo>
                        <a:pt x="3950298" y="826545"/>
                      </a:lnTo>
                      <a:lnTo>
                        <a:pt x="3953025" y="826697"/>
                      </a:lnTo>
                      <a:lnTo>
                        <a:pt x="3955450" y="825636"/>
                      </a:lnTo>
                      <a:lnTo>
                        <a:pt x="3957571" y="824121"/>
                      </a:lnTo>
                      <a:lnTo>
                        <a:pt x="3959541" y="823515"/>
                      </a:lnTo>
                      <a:lnTo>
                        <a:pt x="3963480" y="820030"/>
                      </a:lnTo>
                      <a:lnTo>
                        <a:pt x="3968481" y="817454"/>
                      </a:lnTo>
                      <a:lnTo>
                        <a:pt x="3967572" y="815181"/>
                      </a:lnTo>
                      <a:lnTo>
                        <a:pt x="3968481" y="813060"/>
                      </a:lnTo>
                      <a:lnTo>
                        <a:pt x="3971208" y="812302"/>
                      </a:lnTo>
                      <a:lnTo>
                        <a:pt x="3973632" y="811999"/>
                      </a:lnTo>
                      <a:lnTo>
                        <a:pt x="3976814" y="809575"/>
                      </a:lnTo>
                      <a:lnTo>
                        <a:pt x="3976511" y="807605"/>
                      </a:lnTo>
                      <a:lnTo>
                        <a:pt x="3977723" y="806848"/>
                      </a:lnTo>
                      <a:lnTo>
                        <a:pt x="3979238" y="806999"/>
                      </a:lnTo>
                      <a:lnTo>
                        <a:pt x="3981360" y="807757"/>
                      </a:lnTo>
                      <a:lnTo>
                        <a:pt x="3982572" y="806999"/>
                      </a:lnTo>
                      <a:lnTo>
                        <a:pt x="3980602" y="804272"/>
                      </a:lnTo>
                      <a:lnTo>
                        <a:pt x="3979693" y="801847"/>
                      </a:lnTo>
                      <a:lnTo>
                        <a:pt x="3981057" y="800332"/>
                      </a:lnTo>
                      <a:lnTo>
                        <a:pt x="3986512" y="803060"/>
                      </a:lnTo>
                      <a:lnTo>
                        <a:pt x="3988633" y="803060"/>
                      </a:lnTo>
                      <a:lnTo>
                        <a:pt x="3995754" y="796696"/>
                      </a:lnTo>
                      <a:lnTo>
                        <a:pt x="4002118" y="790029"/>
                      </a:lnTo>
                      <a:lnTo>
                        <a:pt x="4007573" y="791544"/>
                      </a:lnTo>
                      <a:lnTo>
                        <a:pt x="4016209" y="786695"/>
                      </a:lnTo>
                      <a:lnTo>
                        <a:pt x="4020149" y="785786"/>
                      </a:lnTo>
                      <a:lnTo>
                        <a:pt x="4026513" y="785483"/>
                      </a:lnTo>
                      <a:lnTo>
                        <a:pt x="4029089" y="783665"/>
                      </a:lnTo>
                      <a:lnTo>
                        <a:pt x="4031968" y="780332"/>
                      </a:lnTo>
                      <a:lnTo>
                        <a:pt x="4034240" y="780635"/>
                      </a:lnTo>
                      <a:lnTo>
                        <a:pt x="4044998" y="776544"/>
                      </a:lnTo>
                      <a:lnTo>
                        <a:pt x="4047120" y="773665"/>
                      </a:lnTo>
                      <a:lnTo>
                        <a:pt x="4049696" y="772907"/>
                      </a:lnTo>
                      <a:lnTo>
                        <a:pt x="4051817" y="772604"/>
                      </a:lnTo>
                      <a:lnTo>
                        <a:pt x="4056514" y="770331"/>
                      </a:lnTo>
                      <a:lnTo>
                        <a:pt x="4076060" y="763361"/>
                      </a:lnTo>
                      <a:lnTo>
                        <a:pt x="4079091" y="760634"/>
                      </a:lnTo>
                      <a:lnTo>
                        <a:pt x="4086363" y="756543"/>
                      </a:lnTo>
                      <a:lnTo>
                        <a:pt x="4091970" y="755331"/>
                      </a:lnTo>
                      <a:lnTo>
                        <a:pt x="4098788" y="754270"/>
                      </a:lnTo>
                      <a:lnTo>
                        <a:pt x="4099697" y="752906"/>
                      </a:lnTo>
                      <a:lnTo>
                        <a:pt x="4094698" y="751391"/>
                      </a:lnTo>
                      <a:lnTo>
                        <a:pt x="4093485" y="750027"/>
                      </a:lnTo>
                      <a:lnTo>
                        <a:pt x="4093485" y="748664"/>
                      </a:lnTo>
                      <a:lnTo>
                        <a:pt x="4094243" y="747300"/>
                      </a:lnTo>
                      <a:lnTo>
                        <a:pt x="4095152" y="745027"/>
                      </a:lnTo>
                      <a:lnTo>
                        <a:pt x="4096970" y="744421"/>
                      </a:lnTo>
                      <a:lnTo>
                        <a:pt x="4099243" y="746088"/>
                      </a:lnTo>
                      <a:lnTo>
                        <a:pt x="4101515" y="746088"/>
                      </a:lnTo>
                      <a:lnTo>
                        <a:pt x="4102576" y="744724"/>
                      </a:lnTo>
                      <a:lnTo>
                        <a:pt x="4103789" y="744876"/>
                      </a:lnTo>
                      <a:lnTo>
                        <a:pt x="4104394" y="746694"/>
                      </a:lnTo>
                      <a:lnTo>
                        <a:pt x="4103183" y="748967"/>
                      </a:lnTo>
                      <a:lnTo>
                        <a:pt x="4102576" y="750634"/>
                      </a:lnTo>
                      <a:lnTo>
                        <a:pt x="4102424" y="752603"/>
                      </a:lnTo>
                      <a:lnTo>
                        <a:pt x="4104092" y="753058"/>
                      </a:lnTo>
                      <a:lnTo>
                        <a:pt x="4112577" y="753361"/>
                      </a:lnTo>
                      <a:lnTo>
                        <a:pt x="4122425" y="754876"/>
                      </a:lnTo>
                      <a:lnTo>
                        <a:pt x="4148184" y="763058"/>
                      </a:lnTo>
                      <a:lnTo>
                        <a:pt x="4150457" y="764422"/>
                      </a:lnTo>
                      <a:lnTo>
                        <a:pt x="4152578" y="764422"/>
                      </a:lnTo>
                      <a:lnTo>
                        <a:pt x="4152881" y="761240"/>
                      </a:lnTo>
                      <a:lnTo>
                        <a:pt x="4154094" y="758210"/>
                      </a:lnTo>
                      <a:lnTo>
                        <a:pt x="4157124" y="756391"/>
                      </a:lnTo>
                      <a:lnTo>
                        <a:pt x="4162275" y="751997"/>
                      </a:lnTo>
                      <a:lnTo>
                        <a:pt x="4164851" y="748815"/>
                      </a:lnTo>
                      <a:lnTo>
                        <a:pt x="4164851" y="745179"/>
                      </a:lnTo>
                      <a:lnTo>
                        <a:pt x="4163184" y="741391"/>
                      </a:lnTo>
                      <a:lnTo>
                        <a:pt x="4159700" y="740482"/>
                      </a:lnTo>
                      <a:lnTo>
                        <a:pt x="4157427" y="738057"/>
                      </a:lnTo>
                      <a:lnTo>
                        <a:pt x="4156366" y="735027"/>
                      </a:lnTo>
                      <a:lnTo>
                        <a:pt x="4158185" y="732906"/>
                      </a:lnTo>
                      <a:lnTo>
                        <a:pt x="4160306" y="732148"/>
                      </a:lnTo>
                      <a:lnTo>
                        <a:pt x="4159851" y="729117"/>
                      </a:lnTo>
                      <a:lnTo>
                        <a:pt x="4158336" y="727299"/>
                      </a:lnTo>
                      <a:lnTo>
                        <a:pt x="4150002" y="723208"/>
                      </a:lnTo>
                      <a:lnTo>
                        <a:pt x="4147123" y="720632"/>
                      </a:lnTo>
                      <a:lnTo>
                        <a:pt x="4146972" y="718208"/>
                      </a:lnTo>
                      <a:lnTo>
                        <a:pt x="4143487" y="712147"/>
                      </a:lnTo>
                      <a:lnTo>
                        <a:pt x="4143033" y="713359"/>
                      </a:lnTo>
                      <a:lnTo>
                        <a:pt x="4143335" y="716390"/>
                      </a:lnTo>
                      <a:lnTo>
                        <a:pt x="4142275" y="718360"/>
                      </a:lnTo>
                      <a:lnTo>
                        <a:pt x="4140456" y="718057"/>
                      </a:lnTo>
                      <a:lnTo>
                        <a:pt x="4140154" y="716390"/>
                      </a:lnTo>
                      <a:lnTo>
                        <a:pt x="4141214" y="712905"/>
                      </a:lnTo>
                      <a:lnTo>
                        <a:pt x="4139699" y="711390"/>
                      </a:lnTo>
                      <a:lnTo>
                        <a:pt x="4134547" y="710632"/>
                      </a:lnTo>
                      <a:lnTo>
                        <a:pt x="4133941" y="709268"/>
                      </a:lnTo>
                      <a:lnTo>
                        <a:pt x="4138942" y="707299"/>
                      </a:lnTo>
                      <a:lnTo>
                        <a:pt x="4140456" y="707299"/>
                      </a:lnTo>
                      <a:lnTo>
                        <a:pt x="4141820" y="706541"/>
                      </a:lnTo>
                      <a:lnTo>
                        <a:pt x="4140760" y="698965"/>
                      </a:lnTo>
                      <a:lnTo>
                        <a:pt x="4139699" y="693662"/>
                      </a:lnTo>
                      <a:lnTo>
                        <a:pt x="4136517" y="693207"/>
                      </a:lnTo>
                      <a:lnTo>
                        <a:pt x="4134244" y="691540"/>
                      </a:lnTo>
                      <a:lnTo>
                        <a:pt x="4134850" y="688207"/>
                      </a:lnTo>
                      <a:lnTo>
                        <a:pt x="4134850" y="686540"/>
                      </a:lnTo>
                      <a:lnTo>
                        <a:pt x="4132275" y="680631"/>
                      </a:lnTo>
                      <a:lnTo>
                        <a:pt x="4130456" y="678358"/>
                      </a:lnTo>
                      <a:lnTo>
                        <a:pt x="4128183" y="676085"/>
                      </a:lnTo>
                      <a:lnTo>
                        <a:pt x="4126365" y="678510"/>
                      </a:lnTo>
                      <a:lnTo>
                        <a:pt x="4125456" y="681843"/>
                      </a:lnTo>
                      <a:lnTo>
                        <a:pt x="4123032" y="682449"/>
                      </a:lnTo>
                      <a:lnTo>
                        <a:pt x="4120607" y="682298"/>
                      </a:lnTo>
                      <a:lnTo>
                        <a:pt x="4113334" y="678661"/>
                      </a:lnTo>
                      <a:lnTo>
                        <a:pt x="4106364" y="672600"/>
                      </a:lnTo>
                      <a:lnTo>
                        <a:pt x="4105758" y="666843"/>
                      </a:lnTo>
                      <a:lnTo>
                        <a:pt x="4107273" y="659721"/>
                      </a:lnTo>
                      <a:lnTo>
                        <a:pt x="4106213" y="658509"/>
                      </a:lnTo>
                      <a:lnTo>
                        <a:pt x="4105153" y="658054"/>
                      </a:lnTo>
                      <a:lnTo>
                        <a:pt x="4095909" y="660479"/>
                      </a:lnTo>
                      <a:lnTo>
                        <a:pt x="4090151" y="664267"/>
                      </a:lnTo>
                      <a:lnTo>
                        <a:pt x="4087122" y="664570"/>
                      </a:lnTo>
                      <a:lnTo>
                        <a:pt x="4081060" y="662145"/>
                      </a:lnTo>
                      <a:lnTo>
                        <a:pt x="4070909" y="666388"/>
                      </a:lnTo>
                      <a:lnTo>
                        <a:pt x="4073181" y="663812"/>
                      </a:lnTo>
                      <a:lnTo>
                        <a:pt x="4074849" y="662903"/>
                      </a:lnTo>
                      <a:lnTo>
                        <a:pt x="4076667" y="661085"/>
                      </a:lnTo>
                      <a:lnTo>
                        <a:pt x="4075303" y="657600"/>
                      </a:lnTo>
                      <a:lnTo>
                        <a:pt x="4073939" y="655024"/>
                      </a:lnTo>
                      <a:lnTo>
                        <a:pt x="4071818" y="653054"/>
                      </a:lnTo>
                      <a:lnTo>
                        <a:pt x="4068636" y="652145"/>
                      </a:lnTo>
                      <a:lnTo>
                        <a:pt x="4065605" y="653963"/>
                      </a:lnTo>
                      <a:lnTo>
                        <a:pt x="4063181" y="655782"/>
                      </a:lnTo>
                      <a:lnTo>
                        <a:pt x="4058332" y="657600"/>
                      </a:lnTo>
                      <a:lnTo>
                        <a:pt x="4048786" y="659267"/>
                      </a:lnTo>
                      <a:lnTo>
                        <a:pt x="4042423" y="659267"/>
                      </a:lnTo>
                      <a:lnTo>
                        <a:pt x="4031513" y="662145"/>
                      </a:lnTo>
                      <a:lnTo>
                        <a:pt x="4027422" y="661994"/>
                      </a:lnTo>
                      <a:lnTo>
                        <a:pt x="4042423" y="657903"/>
                      </a:lnTo>
                      <a:lnTo>
                        <a:pt x="4050605" y="657600"/>
                      </a:lnTo>
                      <a:lnTo>
                        <a:pt x="4061060" y="654872"/>
                      </a:lnTo>
                      <a:lnTo>
                        <a:pt x="4068787" y="649721"/>
                      </a:lnTo>
                      <a:lnTo>
                        <a:pt x="4078939" y="654418"/>
                      </a:lnTo>
                      <a:lnTo>
                        <a:pt x="4082425" y="655024"/>
                      </a:lnTo>
                      <a:lnTo>
                        <a:pt x="4089849" y="654721"/>
                      </a:lnTo>
                      <a:lnTo>
                        <a:pt x="4096364" y="657448"/>
                      </a:lnTo>
                      <a:lnTo>
                        <a:pt x="4098486" y="656691"/>
                      </a:lnTo>
                      <a:lnTo>
                        <a:pt x="4100606" y="654115"/>
                      </a:lnTo>
                      <a:lnTo>
                        <a:pt x="4097879" y="650327"/>
                      </a:lnTo>
                      <a:lnTo>
                        <a:pt x="4095455" y="648054"/>
                      </a:lnTo>
                      <a:lnTo>
                        <a:pt x="4092879" y="647296"/>
                      </a:lnTo>
                      <a:lnTo>
                        <a:pt x="4084848" y="647599"/>
                      </a:lnTo>
                      <a:lnTo>
                        <a:pt x="4079546" y="646842"/>
                      </a:lnTo>
                      <a:lnTo>
                        <a:pt x="4076515" y="645933"/>
                      </a:lnTo>
                      <a:lnTo>
                        <a:pt x="4078485" y="644872"/>
                      </a:lnTo>
                      <a:lnTo>
                        <a:pt x="4084243" y="646236"/>
                      </a:lnTo>
                      <a:lnTo>
                        <a:pt x="4091212" y="644266"/>
                      </a:lnTo>
                      <a:lnTo>
                        <a:pt x="4099395" y="647296"/>
                      </a:lnTo>
                      <a:lnTo>
                        <a:pt x="4101365" y="650024"/>
                      </a:lnTo>
                      <a:lnTo>
                        <a:pt x="4103637" y="651084"/>
                      </a:lnTo>
                      <a:lnTo>
                        <a:pt x="4110456" y="657903"/>
                      </a:lnTo>
                      <a:lnTo>
                        <a:pt x="4115001" y="660479"/>
                      </a:lnTo>
                      <a:lnTo>
                        <a:pt x="4129699" y="662448"/>
                      </a:lnTo>
                      <a:lnTo>
                        <a:pt x="4136063" y="665630"/>
                      </a:lnTo>
                      <a:lnTo>
                        <a:pt x="4140911" y="664267"/>
                      </a:lnTo>
                      <a:lnTo>
                        <a:pt x="4153336" y="657751"/>
                      </a:lnTo>
                      <a:lnTo>
                        <a:pt x="4161518" y="655933"/>
                      </a:lnTo>
                      <a:lnTo>
                        <a:pt x="4166972" y="651539"/>
                      </a:lnTo>
                      <a:lnTo>
                        <a:pt x="4171821" y="646387"/>
                      </a:lnTo>
                      <a:lnTo>
                        <a:pt x="4176518" y="645024"/>
                      </a:lnTo>
                      <a:lnTo>
                        <a:pt x="4184701" y="639569"/>
                      </a:lnTo>
                      <a:lnTo>
                        <a:pt x="4186519" y="637144"/>
                      </a:lnTo>
                      <a:lnTo>
                        <a:pt x="4189701" y="630781"/>
                      </a:lnTo>
                      <a:lnTo>
                        <a:pt x="4191519" y="628053"/>
                      </a:lnTo>
                      <a:lnTo>
                        <a:pt x="4194246" y="624871"/>
                      </a:lnTo>
                      <a:lnTo>
                        <a:pt x="4194550" y="622295"/>
                      </a:lnTo>
                      <a:lnTo>
                        <a:pt x="4193944" y="619417"/>
                      </a:lnTo>
                      <a:lnTo>
                        <a:pt x="4191670" y="617144"/>
                      </a:lnTo>
                      <a:lnTo>
                        <a:pt x="4186368" y="613962"/>
                      </a:lnTo>
                      <a:lnTo>
                        <a:pt x="4183943" y="611992"/>
                      </a:lnTo>
                      <a:lnTo>
                        <a:pt x="4182276" y="607598"/>
                      </a:lnTo>
                      <a:lnTo>
                        <a:pt x="4182428" y="602295"/>
                      </a:lnTo>
                      <a:lnTo>
                        <a:pt x="4183640" y="598204"/>
                      </a:lnTo>
                      <a:lnTo>
                        <a:pt x="4185155" y="594719"/>
                      </a:lnTo>
                      <a:lnTo>
                        <a:pt x="4187125" y="597295"/>
                      </a:lnTo>
                      <a:lnTo>
                        <a:pt x="4192428" y="596688"/>
                      </a:lnTo>
                      <a:lnTo>
                        <a:pt x="4195005" y="595628"/>
                      </a:lnTo>
                      <a:lnTo>
                        <a:pt x="4195307" y="593052"/>
                      </a:lnTo>
                      <a:lnTo>
                        <a:pt x="4194550" y="590022"/>
                      </a:lnTo>
                      <a:lnTo>
                        <a:pt x="4195914" y="589112"/>
                      </a:lnTo>
                      <a:lnTo>
                        <a:pt x="4198641" y="588809"/>
                      </a:lnTo>
                      <a:lnTo>
                        <a:pt x="4199095" y="586991"/>
                      </a:lnTo>
                      <a:lnTo>
                        <a:pt x="4200004" y="585930"/>
                      </a:lnTo>
                      <a:lnTo>
                        <a:pt x="4201065" y="587294"/>
                      </a:lnTo>
                      <a:lnTo>
                        <a:pt x="4201065" y="592446"/>
                      </a:lnTo>
                      <a:lnTo>
                        <a:pt x="4203186" y="593810"/>
                      </a:lnTo>
                      <a:lnTo>
                        <a:pt x="4206217" y="594870"/>
                      </a:lnTo>
                      <a:lnTo>
                        <a:pt x="4207580" y="594567"/>
                      </a:lnTo>
                      <a:lnTo>
                        <a:pt x="4208792" y="593810"/>
                      </a:lnTo>
                      <a:lnTo>
                        <a:pt x="4210762" y="592294"/>
                      </a:lnTo>
                      <a:lnTo>
                        <a:pt x="4214399" y="586840"/>
                      </a:lnTo>
                      <a:lnTo>
                        <a:pt x="4216824" y="584718"/>
                      </a:lnTo>
                      <a:lnTo>
                        <a:pt x="4216672" y="588658"/>
                      </a:lnTo>
                      <a:lnTo>
                        <a:pt x="4215308" y="593961"/>
                      </a:lnTo>
                      <a:lnTo>
                        <a:pt x="4214399" y="595476"/>
                      </a:lnTo>
                      <a:lnTo>
                        <a:pt x="4212277" y="597446"/>
                      </a:lnTo>
                      <a:lnTo>
                        <a:pt x="4211368" y="601386"/>
                      </a:lnTo>
                      <a:lnTo>
                        <a:pt x="4210914" y="602446"/>
                      </a:lnTo>
                      <a:lnTo>
                        <a:pt x="4207732" y="601386"/>
                      </a:lnTo>
                      <a:lnTo>
                        <a:pt x="4205610" y="601537"/>
                      </a:lnTo>
                      <a:lnTo>
                        <a:pt x="4207278" y="605931"/>
                      </a:lnTo>
                      <a:lnTo>
                        <a:pt x="4209702" y="609113"/>
                      </a:lnTo>
                      <a:lnTo>
                        <a:pt x="4212732" y="612295"/>
                      </a:lnTo>
                      <a:lnTo>
                        <a:pt x="4216065" y="614113"/>
                      </a:lnTo>
                      <a:lnTo>
                        <a:pt x="4216824" y="614113"/>
                      </a:lnTo>
                      <a:lnTo>
                        <a:pt x="4217581" y="614719"/>
                      </a:lnTo>
                      <a:lnTo>
                        <a:pt x="4217581" y="616841"/>
                      </a:lnTo>
                      <a:lnTo>
                        <a:pt x="4216824" y="621386"/>
                      </a:lnTo>
                      <a:lnTo>
                        <a:pt x="4217429" y="623962"/>
                      </a:lnTo>
                      <a:lnTo>
                        <a:pt x="4220005" y="625780"/>
                      </a:lnTo>
                      <a:lnTo>
                        <a:pt x="4222732" y="626235"/>
                      </a:lnTo>
                      <a:lnTo>
                        <a:pt x="4239552" y="626083"/>
                      </a:lnTo>
                      <a:lnTo>
                        <a:pt x="4245310" y="625477"/>
                      </a:lnTo>
                      <a:lnTo>
                        <a:pt x="4253795" y="621083"/>
                      </a:lnTo>
                      <a:lnTo>
                        <a:pt x="4257128" y="620477"/>
                      </a:lnTo>
                      <a:lnTo>
                        <a:pt x="4260764" y="621083"/>
                      </a:lnTo>
                      <a:lnTo>
                        <a:pt x="4271067" y="623508"/>
                      </a:lnTo>
                      <a:lnTo>
                        <a:pt x="4283492" y="626841"/>
                      </a:lnTo>
                      <a:lnTo>
                        <a:pt x="4288189" y="632296"/>
                      </a:lnTo>
                      <a:lnTo>
                        <a:pt x="4290007" y="637599"/>
                      </a:lnTo>
                      <a:lnTo>
                        <a:pt x="4290614" y="643205"/>
                      </a:lnTo>
                      <a:lnTo>
                        <a:pt x="4289856" y="645630"/>
                      </a:lnTo>
                      <a:lnTo>
                        <a:pt x="4290007" y="647448"/>
                      </a:lnTo>
                      <a:lnTo>
                        <a:pt x="4293795" y="650327"/>
                      </a:lnTo>
                      <a:lnTo>
                        <a:pt x="4299099" y="653812"/>
                      </a:lnTo>
                      <a:lnTo>
                        <a:pt x="4300160" y="654721"/>
                      </a:lnTo>
                      <a:lnTo>
                        <a:pt x="4301220" y="656085"/>
                      </a:lnTo>
                      <a:lnTo>
                        <a:pt x="4302584" y="656691"/>
                      </a:lnTo>
                      <a:lnTo>
                        <a:pt x="4306372" y="657145"/>
                      </a:lnTo>
                      <a:lnTo>
                        <a:pt x="4309403" y="656388"/>
                      </a:lnTo>
                      <a:lnTo>
                        <a:pt x="4312433" y="656236"/>
                      </a:lnTo>
                      <a:lnTo>
                        <a:pt x="4318039" y="657903"/>
                      </a:lnTo>
                      <a:lnTo>
                        <a:pt x="4325160" y="660479"/>
                      </a:lnTo>
                      <a:lnTo>
                        <a:pt x="4331979" y="664115"/>
                      </a:lnTo>
                      <a:lnTo>
                        <a:pt x="4335161" y="666691"/>
                      </a:lnTo>
                      <a:lnTo>
                        <a:pt x="4340616" y="672449"/>
                      </a:lnTo>
                      <a:lnTo>
                        <a:pt x="4343495" y="674116"/>
                      </a:lnTo>
                      <a:lnTo>
                        <a:pt x="4348192" y="676085"/>
                      </a:lnTo>
                      <a:lnTo>
                        <a:pt x="4349858" y="676388"/>
                      </a:lnTo>
                      <a:lnTo>
                        <a:pt x="4351525" y="676085"/>
                      </a:lnTo>
                      <a:lnTo>
                        <a:pt x="4355162" y="673206"/>
                      </a:lnTo>
                      <a:lnTo>
                        <a:pt x="4357283" y="671085"/>
                      </a:lnTo>
                      <a:lnTo>
                        <a:pt x="4359101" y="668358"/>
                      </a:lnTo>
                      <a:lnTo>
                        <a:pt x="4359556" y="670631"/>
                      </a:lnTo>
                      <a:lnTo>
                        <a:pt x="4359556" y="672600"/>
                      </a:lnTo>
                      <a:lnTo>
                        <a:pt x="4357889" y="674116"/>
                      </a:lnTo>
                      <a:lnTo>
                        <a:pt x="4357738" y="676540"/>
                      </a:lnTo>
                      <a:lnTo>
                        <a:pt x="4360617" y="679419"/>
                      </a:lnTo>
                      <a:lnTo>
                        <a:pt x="4363798" y="679873"/>
                      </a:lnTo>
                      <a:lnTo>
                        <a:pt x="4367889" y="679116"/>
                      </a:lnTo>
                      <a:lnTo>
                        <a:pt x="4369253" y="677752"/>
                      </a:lnTo>
                      <a:lnTo>
                        <a:pt x="4370465" y="675934"/>
                      </a:lnTo>
                      <a:lnTo>
                        <a:pt x="4369556" y="669873"/>
                      </a:lnTo>
                      <a:lnTo>
                        <a:pt x="4370768" y="668964"/>
                      </a:lnTo>
                      <a:lnTo>
                        <a:pt x="4373799" y="670176"/>
                      </a:lnTo>
                      <a:lnTo>
                        <a:pt x="4374708" y="671843"/>
                      </a:lnTo>
                      <a:lnTo>
                        <a:pt x="4375162" y="673964"/>
                      </a:lnTo>
                      <a:lnTo>
                        <a:pt x="4376374" y="674267"/>
                      </a:lnTo>
                      <a:lnTo>
                        <a:pt x="4384405" y="673964"/>
                      </a:lnTo>
                      <a:lnTo>
                        <a:pt x="4385011" y="673206"/>
                      </a:lnTo>
                      <a:lnTo>
                        <a:pt x="4384708" y="671237"/>
                      </a:lnTo>
                      <a:lnTo>
                        <a:pt x="4383496" y="669418"/>
                      </a:lnTo>
                      <a:lnTo>
                        <a:pt x="4382132" y="668206"/>
                      </a:lnTo>
                      <a:lnTo>
                        <a:pt x="4378648" y="666691"/>
                      </a:lnTo>
                      <a:lnTo>
                        <a:pt x="4375011" y="665630"/>
                      </a:lnTo>
                      <a:lnTo>
                        <a:pt x="4372132" y="665327"/>
                      </a:lnTo>
                      <a:lnTo>
                        <a:pt x="4370768" y="664418"/>
                      </a:lnTo>
                      <a:lnTo>
                        <a:pt x="4371072" y="662903"/>
                      </a:lnTo>
                      <a:lnTo>
                        <a:pt x="4370162" y="661085"/>
                      </a:lnTo>
                      <a:lnTo>
                        <a:pt x="4370768" y="660024"/>
                      </a:lnTo>
                      <a:lnTo>
                        <a:pt x="4373192" y="658509"/>
                      </a:lnTo>
                      <a:lnTo>
                        <a:pt x="4373495" y="657297"/>
                      </a:lnTo>
                      <a:lnTo>
                        <a:pt x="4370920" y="655630"/>
                      </a:lnTo>
                      <a:lnTo>
                        <a:pt x="4368193" y="655175"/>
                      </a:lnTo>
                      <a:lnTo>
                        <a:pt x="4365768" y="656085"/>
                      </a:lnTo>
                      <a:lnTo>
                        <a:pt x="4366223" y="654721"/>
                      </a:lnTo>
                      <a:lnTo>
                        <a:pt x="4368041" y="653509"/>
                      </a:lnTo>
                      <a:lnTo>
                        <a:pt x="4370920" y="652903"/>
                      </a:lnTo>
                      <a:lnTo>
                        <a:pt x="4373799" y="653206"/>
                      </a:lnTo>
                      <a:lnTo>
                        <a:pt x="4379253" y="651994"/>
                      </a:lnTo>
                      <a:lnTo>
                        <a:pt x="4384556" y="649569"/>
                      </a:lnTo>
                      <a:lnTo>
                        <a:pt x="4387133" y="647903"/>
                      </a:lnTo>
                      <a:lnTo>
                        <a:pt x="4389557" y="645781"/>
                      </a:lnTo>
                      <a:lnTo>
                        <a:pt x="4389254" y="642296"/>
                      </a:lnTo>
                      <a:lnTo>
                        <a:pt x="4387587" y="638811"/>
                      </a:lnTo>
                      <a:lnTo>
                        <a:pt x="4385163" y="637902"/>
                      </a:lnTo>
                      <a:lnTo>
                        <a:pt x="4382284" y="638054"/>
                      </a:lnTo>
                      <a:lnTo>
                        <a:pt x="4379708" y="637751"/>
                      </a:lnTo>
                      <a:lnTo>
                        <a:pt x="4377284" y="636841"/>
                      </a:lnTo>
                      <a:lnTo>
                        <a:pt x="4386981" y="635629"/>
                      </a:lnTo>
                      <a:lnTo>
                        <a:pt x="4388042" y="634417"/>
                      </a:lnTo>
                      <a:lnTo>
                        <a:pt x="4389708" y="628962"/>
                      </a:lnTo>
                      <a:lnTo>
                        <a:pt x="4389103" y="627599"/>
                      </a:lnTo>
                      <a:lnTo>
                        <a:pt x="4387133" y="627902"/>
                      </a:lnTo>
                      <a:lnTo>
                        <a:pt x="4383950" y="627902"/>
                      </a:lnTo>
                      <a:lnTo>
                        <a:pt x="4384708" y="626690"/>
                      </a:lnTo>
                      <a:lnTo>
                        <a:pt x="4385769" y="625780"/>
                      </a:lnTo>
                      <a:lnTo>
                        <a:pt x="4380162" y="620629"/>
                      </a:lnTo>
                      <a:lnTo>
                        <a:pt x="4373950" y="617447"/>
                      </a:lnTo>
                      <a:lnTo>
                        <a:pt x="4375769" y="616992"/>
                      </a:lnTo>
                      <a:lnTo>
                        <a:pt x="4378799" y="616992"/>
                      </a:lnTo>
                      <a:lnTo>
                        <a:pt x="4383496" y="618053"/>
                      </a:lnTo>
                      <a:lnTo>
                        <a:pt x="4386678" y="620326"/>
                      </a:lnTo>
                      <a:lnTo>
                        <a:pt x="4387738" y="621841"/>
                      </a:lnTo>
                      <a:lnTo>
                        <a:pt x="4389103" y="622447"/>
                      </a:lnTo>
                      <a:lnTo>
                        <a:pt x="4391830" y="622598"/>
                      </a:lnTo>
                      <a:lnTo>
                        <a:pt x="4396679" y="623659"/>
                      </a:lnTo>
                      <a:lnTo>
                        <a:pt x="4396830" y="625326"/>
                      </a:lnTo>
                      <a:lnTo>
                        <a:pt x="4398042" y="625780"/>
                      </a:lnTo>
                      <a:lnTo>
                        <a:pt x="4401224" y="625174"/>
                      </a:lnTo>
                      <a:lnTo>
                        <a:pt x="4410013" y="624114"/>
                      </a:lnTo>
                      <a:lnTo>
                        <a:pt x="4412891" y="624417"/>
                      </a:lnTo>
                      <a:lnTo>
                        <a:pt x="4416830" y="625477"/>
                      </a:lnTo>
                      <a:lnTo>
                        <a:pt x="4418194" y="625477"/>
                      </a:lnTo>
                      <a:lnTo>
                        <a:pt x="4419861" y="625174"/>
                      </a:lnTo>
                      <a:lnTo>
                        <a:pt x="4421377" y="623356"/>
                      </a:lnTo>
                      <a:lnTo>
                        <a:pt x="4419103" y="619871"/>
                      </a:lnTo>
                      <a:lnTo>
                        <a:pt x="4414558" y="616689"/>
                      </a:lnTo>
                      <a:lnTo>
                        <a:pt x="4411831" y="614265"/>
                      </a:lnTo>
                      <a:lnTo>
                        <a:pt x="4410467" y="612295"/>
                      </a:lnTo>
                      <a:lnTo>
                        <a:pt x="4411224" y="611689"/>
                      </a:lnTo>
                      <a:lnTo>
                        <a:pt x="4412436" y="611992"/>
                      </a:lnTo>
                      <a:lnTo>
                        <a:pt x="4416528" y="615022"/>
                      </a:lnTo>
                      <a:lnTo>
                        <a:pt x="4419558" y="616841"/>
                      </a:lnTo>
                      <a:lnTo>
                        <a:pt x="4422740" y="618204"/>
                      </a:lnTo>
                      <a:lnTo>
                        <a:pt x="4425619" y="619265"/>
                      </a:lnTo>
                      <a:lnTo>
                        <a:pt x="4431982" y="620174"/>
                      </a:lnTo>
                      <a:lnTo>
                        <a:pt x="4434861" y="618659"/>
                      </a:lnTo>
                      <a:lnTo>
                        <a:pt x="4435316" y="616083"/>
                      </a:lnTo>
                      <a:lnTo>
                        <a:pt x="4434710" y="611083"/>
                      </a:lnTo>
                      <a:lnTo>
                        <a:pt x="4435316" y="609113"/>
                      </a:lnTo>
                      <a:lnTo>
                        <a:pt x="4439256" y="606234"/>
                      </a:lnTo>
                      <a:lnTo>
                        <a:pt x="4445771" y="602749"/>
                      </a:lnTo>
                      <a:lnTo>
                        <a:pt x="4450013" y="601537"/>
                      </a:lnTo>
                      <a:lnTo>
                        <a:pt x="4451529" y="601689"/>
                      </a:lnTo>
                      <a:lnTo>
                        <a:pt x="4453196" y="602749"/>
                      </a:lnTo>
                      <a:lnTo>
                        <a:pt x="4454710" y="603052"/>
                      </a:lnTo>
                      <a:lnTo>
                        <a:pt x="4457589" y="6004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7" name="Freeform: Shape 3146">
                  <a:extLst>
                    <a:ext uri="{FF2B5EF4-FFF2-40B4-BE49-F238E27FC236}">
                      <a16:creationId xmlns:a16="http://schemas.microsoft.com/office/drawing/2014/main" id="{41C7B9E8-4A1D-48A3-9C9A-6BC2831BDAF2}"/>
                    </a:ext>
                  </a:extLst>
                </p:cNvPr>
                <p:cNvSpPr/>
                <p:nvPr/>
              </p:nvSpPr>
              <p:spPr>
                <a:xfrm>
                  <a:off x="9779318" y="3292553"/>
                  <a:ext cx="2423" cy="1060"/>
                </a:xfrm>
                <a:custGeom>
                  <a:avLst/>
                  <a:gdLst>
                    <a:gd name="connsiteX0" fmla="*/ 1667 w 2423"/>
                    <a:gd name="connsiteY0" fmla="*/ 0 h 1060"/>
                    <a:gd name="connsiteX1" fmla="*/ 1060 w 2423"/>
                    <a:gd name="connsiteY1" fmla="*/ 0 h 1060"/>
                    <a:gd name="connsiteX2" fmla="*/ 302 w 2423"/>
                    <a:gd name="connsiteY2" fmla="*/ 303 h 1060"/>
                    <a:gd name="connsiteX3" fmla="*/ 0 w 2423"/>
                    <a:gd name="connsiteY3" fmla="*/ 606 h 1060"/>
                    <a:gd name="connsiteX4" fmla="*/ 454 w 2423"/>
                    <a:gd name="connsiteY4" fmla="*/ 758 h 1060"/>
                    <a:gd name="connsiteX5" fmla="*/ 1667 w 2423"/>
                    <a:gd name="connsiteY5" fmla="*/ 1061 h 1060"/>
                    <a:gd name="connsiteX6" fmla="*/ 2424 w 2423"/>
                    <a:gd name="connsiteY6" fmla="*/ 758 h 1060"/>
                    <a:gd name="connsiteX7" fmla="*/ 2121 w 2423"/>
                    <a:gd name="connsiteY7" fmla="*/ 151 h 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3" h="1060">
                      <a:moveTo>
                        <a:pt x="1667" y="0"/>
                      </a:moveTo>
                      <a:lnTo>
                        <a:pt x="1060" y="0"/>
                      </a:lnTo>
                      <a:lnTo>
                        <a:pt x="302" y="303"/>
                      </a:lnTo>
                      <a:lnTo>
                        <a:pt x="0" y="606"/>
                      </a:lnTo>
                      <a:lnTo>
                        <a:pt x="454" y="758"/>
                      </a:lnTo>
                      <a:lnTo>
                        <a:pt x="1667" y="1061"/>
                      </a:lnTo>
                      <a:lnTo>
                        <a:pt x="2424" y="758"/>
                      </a:lnTo>
                      <a:lnTo>
                        <a:pt x="2121"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8" name="Freeform: Shape 3147">
                  <a:extLst>
                    <a:ext uri="{FF2B5EF4-FFF2-40B4-BE49-F238E27FC236}">
                      <a16:creationId xmlns:a16="http://schemas.microsoft.com/office/drawing/2014/main" id="{3349551C-B5AF-46E0-A517-6A4299C8D0FF}"/>
                    </a:ext>
                  </a:extLst>
                </p:cNvPr>
                <p:cNvSpPr/>
                <p:nvPr/>
              </p:nvSpPr>
              <p:spPr>
                <a:xfrm>
                  <a:off x="7389229" y="1686131"/>
                  <a:ext cx="27122" cy="12273"/>
                </a:xfrm>
                <a:custGeom>
                  <a:avLst/>
                  <a:gdLst>
                    <a:gd name="connsiteX0" fmla="*/ 0 w 27122"/>
                    <a:gd name="connsiteY0" fmla="*/ 8485 h 12273"/>
                    <a:gd name="connsiteX1" fmla="*/ 5000 w 27122"/>
                    <a:gd name="connsiteY1" fmla="*/ 9697 h 12273"/>
                    <a:gd name="connsiteX2" fmla="*/ 6818 w 27122"/>
                    <a:gd name="connsiteY2" fmla="*/ 10758 h 12273"/>
                    <a:gd name="connsiteX3" fmla="*/ 7727 w 27122"/>
                    <a:gd name="connsiteY3" fmla="*/ 11667 h 12273"/>
                    <a:gd name="connsiteX4" fmla="*/ 11364 w 27122"/>
                    <a:gd name="connsiteY4" fmla="*/ 12273 h 12273"/>
                    <a:gd name="connsiteX5" fmla="*/ 21061 w 27122"/>
                    <a:gd name="connsiteY5" fmla="*/ 10303 h 12273"/>
                    <a:gd name="connsiteX6" fmla="*/ 27122 w 27122"/>
                    <a:gd name="connsiteY6" fmla="*/ 7879 h 12273"/>
                    <a:gd name="connsiteX7" fmla="*/ 24243 w 27122"/>
                    <a:gd name="connsiteY7" fmla="*/ 2273 h 12273"/>
                    <a:gd name="connsiteX8" fmla="*/ 17122 w 27122"/>
                    <a:gd name="connsiteY8" fmla="*/ 0 h 12273"/>
                    <a:gd name="connsiteX9" fmla="*/ 2273 w 27122"/>
                    <a:gd name="connsiteY9" fmla="*/ 4091 h 12273"/>
                    <a:gd name="connsiteX10" fmla="*/ 757 w 27122"/>
                    <a:gd name="connsiteY10" fmla="*/ 4849 h 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122" h="12273">
                      <a:moveTo>
                        <a:pt x="0" y="8485"/>
                      </a:moveTo>
                      <a:lnTo>
                        <a:pt x="5000" y="9697"/>
                      </a:lnTo>
                      <a:lnTo>
                        <a:pt x="6818" y="10758"/>
                      </a:lnTo>
                      <a:lnTo>
                        <a:pt x="7727" y="11667"/>
                      </a:lnTo>
                      <a:lnTo>
                        <a:pt x="11364" y="12273"/>
                      </a:lnTo>
                      <a:lnTo>
                        <a:pt x="21061" y="10303"/>
                      </a:lnTo>
                      <a:lnTo>
                        <a:pt x="27122" y="7879"/>
                      </a:lnTo>
                      <a:lnTo>
                        <a:pt x="24243" y="2273"/>
                      </a:lnTo>
                      <a:lnTo>
                        <a:pt x="17122" y="0"/>
                      </a:lnTo>
                      <a:lnTo>
                        <a:pt x="2273" y="4091"/>
                      </a:lnTo>
                      <a:lnTo>
                        <a:pt x="757" y="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9" name="Freeform: Shape 3148">
                  <a:extLst>
                    <a:ext uri="{FF2B5EF4-FFF2-40B4-BE49-F238E27FC236}">
                      <a16:creationId xmlns:a16="http://schemas.microsoft.com/office/drawing/2014/main" id="{BFBEF3B9-4759-42A0-8D75-7631E4CF12CB}"/>
                    </a:ext>
                  </a:extLst>
                </p:cNvPr>
                <p:cNvSpPr/>
                <p:nvPr/>
              </p:nvSpPr>
              <p:spPr>
                <a:xfrm>
                  <a:off x="7294832" y="1593248"/>
                  <a:ext cx="84700" cy="28031"/>
                </a:xfrm>
                <a:custGeom>
                  <a:avLst/>
                  <a:gdLst>
                    <a:gd name="connsiteX0" fmla="*/ 6819 w 84700"/>
                    <a:gd name="connsiteY0" fmla="*/ 24546 h 28031"/>
                    <a:gd name="connsiteX1" fmla="*/ 19849 w 84700"/>
                    <a:gd name="connsiteY1" fmla="*/ 22274 h 28031"/>
                    <a:gd name="connsiteX2" fmla="*/ 24546 w 84700"/>
                    <a:gd name="connsiteY2" fmla="*/ 25152 h 28031"/>
                    <a:gd name="connsiteX3" fmla="*/ 28638 w 84700"/>
                    <a:gd name="connsiteY3" fmla="*/ 25455 h 28031"/>
                    <a:gd name="connsiteX4" fmla="*/ 32880 w 84700"/>
                    <a:gd name="connsiteY4" fmla="*/ 23940 h 28031"/>
                    <a:gd name="connsiteX5" fmla="*/ 37123 w 84700"/>
                    <a:gd name="connsiteY5" fmla="*/ 21364 h 28031"/>
                    <a:gd name="connsiteX6" fmla="*/ 46214 w 84700"/>
                    <a:gd name="connsiteY6" fmla="*/ 25152 h 28031"/>
                    <a:gd name="connsiteX7" fmla="*/ 54245 w 84700"/>
                    <a:gd name="connsiteY7" fmla="*/ 28031 h 28031"/>
                    <a:gd name="connsiteX8" fmla="*/ 63033 w 84700"/>
                    <a:gd name="connsiteY8" fmla="*/ 25759 h 28031"/>
                    <a:gd name="connsiteX9" fmla="*/ 66972 w 84700"/>
                    <a:gd name="connsiteY9" fmla="*/ 23940 h 28031"/>
                    <a:gd name="connsiteX10" fmla="*/ 69700 w 84700"/>
                    <a:gd name="connsiteY10" fmla="*/ 20304 h 28031"/>
                    <a:gd name="connsiteX11" fmla="*/ 66821 w 84700"/>
                    <a:gd name="connsiteY11" fmla="*/ 17122 h 28031"/>
                    <a:gd name="connsiteX12" fmla="*/ 65457 w 84700"/>
                    <a:gd name="connsiteY12" fmla="*/ 12879 h 28031"/>
                    <a:gd name="connsiteX13" fmla="*/ 79397 w 84700"/>
                    <a:gd name="connsiteY13" fmla="*/ 11667 h 28031"/>
                    <a:gd name="connsiteX14" fmla="*/ 84700 w 84700"/>
                    <a:gd name="connsiteY14" fmla="*/ 9546 h 28031"/>
                    <a:gd name="connsiteX15" fmla="*/ 81215 w 84700"/>
                    <a:gd name="connsiteY15" fmla="*/ 6667 h 28031"/>
                    <a:gd name="connsiteX16" fmla="*/ 69700 w 84700"/>
                    <a:gd name="connsiteY16" fmla="*/ 5303 h 28031"/>
                    <a:gd name="connsiteX17" fmla="*/ 65457 w 84700"/>
                    <a:gd name="connsiteY17" fmla="*/ 3788 h 28031"/>
                    <a:gd name="connsiteX18" fmla="*/ 64093 w 84700"/>
                    <a:gd name="connsiteY18" fmla="*/ 1212 h 28031"/>
                    <a:gd name="connsiteX19" fmla="*/ 61517 w 84700"/>
                    <a:gd name="connsiteY19" fmla="*/ 0 h 28031"/>
                    <a:gd name="connsiteX20" fmla="*/ 54396 w 84700"/>
                    <a:gd name="connsiteY20" fmla="*/ 1515 h 28031"/>
                    <a:gd name="connsiteX21" fmla="*/ 51972 w 84700"/>
                    <a:gd name="connsiteY21" fmla="*/ 1970 h 28031"/>
                    <a:gd name="connsiteX22" fmla="*/ 44395 w 84700"/>
                    <a:gd name="connsiteY22" fmla="*/ 1515 h 28031"/>
                    <a:gd name="connsiteX23" fmla="*/ 41214 w 84700"/>
                    <a:gd name="connsiteY23" fmla="*/ 3636 h 28031"/>
                    <a:gd name="connsiteX24" fmla="*/ 34244 w 84700"/>
                    <a:gd name="connsiteY24" fmla="*/ 9243 h 28031"/>
                    <a:gd name="connsiteX25" fmla="*/ 25607 w 84700"/>
                    <a:gd name="connsiteY25" fmla="*/ 11667 h 28031"/>
                    <a:gd name="connsiteX26" fmla="*/ 18788 w 84700"/>
                    <a:gd name="connsiteY26" fmla="*/ 17122 h 28031"/>
                    <a:gd name="connsiteX27" fmla="*/ 8637 w 84700"/>
                    <a:gd name="connsiteY27" fmla="*/ 15455 h 28031"/>
                    <a:gd name="connsiteX28" fmla="*/ 0 w 84700"/>
                    <a:gd name="connsiteY28" fmla="*/ 16667 h 28031"/>
                    <a:gd name="connsiteX29" fmla="*/ 2879 w 84700"/>
                    <a:gd name="connsiteY29" fmla="*/ 21970 h 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4700" h="28031">
                      <a:moveTo>
                        <a:pt x="6819" y="24546"/>
                      </a:moveTo>
                      <a:lnTo>
                        <a:pt x="19849" y="22274"/>
                      </a:lnTo>
                      <a:lnTo>
                        <a:pt x="24546" y="25152"/>
                      </a:lnTo>
                      <a:lnTo>
                        <a:pt x="28638" y="25455"/>
                      </a:lnTo>
                      <a:lnTo>
                        <a:pt x="32880" y="23940"/>
                      </a:lnTo>
                      <a:lnTo>
                        <a:pt x="37123" y="21364"/>
                      </a:lnTo>
                      <a:lnTo>
                        <a:pt x="46214" y="25152"/>
                      </a:lnTo>
                      <a:lnTo>
                        <a:pt x="54245" y="28031"/>
                      </a:lnTo>
                      <a:lnTo>
                        <a:pt x="63033" y="25759"/>
                      </a:lnTo>
                      <a:lnTo>
                        <a:pt x="66972" y="23940"/>
                      </a:lnTo>
                      <a:lnTo>
                        <a:pt x="69700" y="20304"/>
                      </a:lnTo>
                      <a:lnTo>
                        <a:pt x="66821" y="17122"/>
                      </a:lnTo>
                      <a:lnTo>
                        <a:pt x="65457" y="12879"/>
                      </a:lnTo>
                      <a:lnTo>
                        <a:pt x="79397" y="11667"/>
                      </a:lnTo>
                      <a:lnTo>
                        <a:pt x="84700" y="9546"/>
                      </a:lnTo>
                      <a:lnTo>
                        <a:pt x="81215" y="6667"/>
                      </a:lnTo>
                      <a:lnTo>
                        <a:pt x="69700" y="5303"/>
                      </a:lnTo>
                      <a:lnTo>
                        <a:pt x="65457" y="3788"/>
                      </a:lnTo>
                      <a:lnTo>
                        <a:pt x="64093" y="1212"/>
                      </a:lnTo>
                      <a:lnTo>
                        <a:pt x="61517" y="0"/>
                      </a:lnTo>
                      <a:lnTo>
                        <a:pt x="54396" y="1515"/>
                      </a:lnTo>
                      <a:lnTo>
                        <a:pt x="51972" y="1970"/>
                      </a:lnTo>
                      <a:lnTo>
                        <a:pt x="44395" y="1515"/>
                      </a:lnTo>
                      <a:lnTo>
                        <a:pt x="41214" y="3636"/>
                      </a:lnTo>
                      <a:lnTo>
                        <a:pt x="34244" y="9243"/>
                      </a:lnTo>
                      <a:lnTo>
                        <a:pt x="25607" y="11667"/>
                      </a:lnTo>
                      <a:lnTo>
                        <a:pt x="18788" y="17122"/>
                      </a:lnTo>
                      <a:lnTo>
                        <a:pt x="8637" y="15455"/>
                      </a:lnTo>
                      <a:lnTo>
                        <a:pt x="0" y="16667"/>
                      </a:lnTo>
                      <a:lnTo>
                        <a:pt x="2879" y="2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0" name="Freeform: Shape 3149">
                  <a:extLst>
                    <a:ext uri="{FF2B5EF4-FFF2-40B4-BE49-F238E27FC236}">
                      <a16:creationId xmlns:a16="http://schemas.microsoft.com/office/drawing/2014/main" id="{1125A61E-CB6A-4A16-AB3F-D134DDD3B1C5}"/>
                    </a:ext>
                  </a:extLst>
                </p:cNvPr>
                <p:cNvSpPr/>
                <p:nvPr/>
              </p:nvSpPr>
              <p:spPr>
                <a:xfrm>
                  <a:off x="7361652" y="1574157"/>
                  <a:ext cx="41061" cy="10454"/>
                </a:xfrm>
                <a:custGeom>
                  <a:avLst/>
                  <a:gdLst>
                    <a:gd name="connsiteX0" fmla="*/ 1515 w 41061"/>
                    <a:gd name="connsiteY0" fmla="*/ 10455 h 10454"/>
                    <a:gd name="connsiteX1" fmla="*/ 10607 w 41061"/>
                    <a:gd name="connsiteY1" fmla="*/ 9243 h 10454"/>
                    <a:gd name="connsiteX2" fmla="*/ 39547 w 41061"/>
                    <a:gd name="connsiteY2" fmla="*/ 6364 h 10454"/>
                    <a:gd name="connsiteX3" fmla="*/ 39547 w 41061"/>
                    <a:gd name="connsiteY3" fmla="*/ 4849 h 10454"/>
                    <a:gd name="connsiteX4" fmla="*/ 41062 w 41061"/>
                    <a:gd name="connsiteY4" fmla="*/ 1970 h 10454"/>
                    <a:gd name="connsiteX5" fmla="*/ 36971 w 41061"/>
                    <a:gd name="connsiteY5" fmla="*/ 0 h 10454"/>
                    <a:gd name="connsiteX6" fmla="*/ 6212 w 41061"/>
                    <a:gd name="connsiteY6" fmla="*/ 1818 h 10454"/>
                    <a:gd name="connsiteX7" fmla="*/ 2122 w 41061"/>
                    <a:gd name="connsiteY7" fmla="*/ 3788 h 10454"/>
                    <a:gd name="connsiteX8" fmla="*/ 909 w 41061"/>
                    <a:gd name="connsiteY8" fmla="*/ 6970 h 10454"/>
                    <a:gd name="connsiteX9" fmla="*/ 0 w 41061"/>
                    <a:gd name="connsiteY9" fmla="*/ 8788 h 10454"/>
                    <a:gd name="connsiteX10" fmla="*/ 303 w 41061"/>
                    <a:gd name="connsiteY10" fmla="*/ 9546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61" h="10454">
                      <a:moveTo>
                        <a:pt x="1515" y="10455"/>
                      </a:moveTo>
                      <a:lnTo>
                        <a:pt x="10607" y="9243"/>
                      </a:lnTo>
                      <a:lnTo>
                        <a:pt x="39547" y="6364"/>
                      </a:lnTo>
                      <a:lnTo>
                        <a:pt x="39547" y="4849"/>
                      </a:lnTo>
                      <a:lnTo>
                        <a:pt x="41062" y="1970"/>
                      </a:lnTo>
                      <a:lnTo>
                        <a:pt x="36971" y="0"/>
                      </a:lnTo>
                      <a:lnTo>
                        <a:pt x="6212" y="1818"/>
                      </a:lnTo>
                      <a:lnTo>
                        <a:pt x="2122" y="3788"/>
                      </a:lnTo>
                      <a:lnTo>
                        <a:pt x="909" y="6970"/>
                      </a:lnTo>
                      <a:lnTo>
                        <a:pt x="0" y="8788"/>
                      </a:lnTo>
                      <a:lnTo>
                        <a:pt x="303" y="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1" name="Freeform: Shape 3150">
                  <a:extLst>
                    <a:ext uri="{FF2B5EF4-FFF2-40B4-BE49-F238E27FC236}">
                      <a16:creationId xmlns:a16="http://schemas.microsoft.com/office/drawing/2014/main" id="{22D797C4-7FE3-4460-8D99-4CC0821DB73A}"/>
                    </a:ext>
                  </a:extLst>
                </p:cNvPr>
                <p:cNvSpPr/>
                <p:nvPr/>
              </p:nvSpPr>
              <p:spPr>
                <a:xfrm>
                  <a:off x="7399381" y="1636886"/>
                  <a:ext cx="80457" cy="30304"/>
                </a:xfrm>
                <a:custGeom>
                  <a:avLst/>
                  <a:gdLst>
                    <a:gd name="connsiteX0" fmla="*/ 455 w 80457"/>
                    <a:gd name="connsiteY0" fmla="*/ 17728 h 30304"/>
                    <a:gd name="connsiteX1" fmla="*/ 0 w 80457"/>
                    <a:gd name="connsiteY1" fmla="*/ 20607 h 30304"/>
                    <a:gd name="connsiteX2" fmla="*/ 455 w 80457"/>
                    <a:gd name="connsiteY2" fmla="*/ 23789 h 30304"/>
                    <a:gd name="connsiteX3" fmla="*/ 1515 w 80457"/>
                    <a:gd name="connsiteY3" fmla="*/ 24849 h 30304"/>
                    <a:gd name="connsiteX4" fmla="*/ 9849 w 80457"/>
                    <a:gd name="connsiteY4" fmla="*/ 29547 h 30304"/>
                    <a:gd name="connsiteX5" fmla="*/ 16667 w 80457"/>
                    <a:gd name="connsiteY5" fmla="*/ 28637 h 30304"/>
                    <a:gd name="connsiteX6" fmla="*/ 27122 w 80457"/>
                    <a:gd name="connsiteY6" fmla="*/ 25607 h 30304"/>
                    <a:gd name="connsiteX7" fmla="*/ 39244 w 80457"/>
                    <a:gd name="connsiteY7" fmla="*/ 29395 h 30304"/>
                    <a:gd name="connsiteX8" fmla="*/ 48184 w 80457"/>
                    <a:gd name="connsiteY8" fmla="*/ 30304 h 30304"/>
                    <a:gd name="connsiteX9" fmla="*/ 54548 w 80457"/>
                    <a:gd name="connsiteY9" fmla="*/ 24849 h 30304"/>
                    <a:gd name="connsiteX10" fmla="*/ 63184 w 80457"/>
                    <a:gd name="connsiteY10" fmla="*/ 23031 h 30304"/>
                    <a:gd name="connsiteX11" fmla="*/ 65457 w 80457"/>
                    <a:gd name="connsiteY11" fmla="*/ 19698 h 30304"/>
                    <a:gd name="connsiteX12" fmla="*/ 67881 w 80457"/>
                    <a:gd name="connsiteY12" fmla="*/ 18789 h 30304"/>
                    <a:gd name="connsiteX13" fmla="*/ 76215 w 80457"/>
                    <a:gd name="connsiteY13" fmla="*/ 17728 h 30304"/>
                    <a:gd name="connsiteX14" fmla="*/ 77276 w 80457"/>
                    <a:gd name="connsiteY14" fmla="*/ 13485 h 30304"/>
                    <a:gd name="connsiteX15" fmla="*/ 79397 w 80457"/>
                    <a:gd name="connsiteY15" fmla="*/ 10455 h 30304"/>
                    <a:gd name="connsiteX16" fmla="*/ 80457 w 80457"/>
                    <a:gd name="connsiteY16" fmla="*/ 6364 h 30304"/>
                    <a:gd name="connsiteX17" fmla="*/ 78791 w 80457"/>
                    <a:gd name="connsiteY17" fmla="*/ 3788 h 30304"/>
                    <a:gd name="connsiteX18" fmla="*/ 76973 w 80457"/>
                    <a:gd name="connsiteY18" fmla="*/ 1667 h 30304"/>
                    <a:gd name="connsiteX19" fmla="*/ 70154 w 80457"/>
                    <a:gd name="connsiteY19" fmla="*/ 455 h 30304"/>
                    <a:gd name="connsiteX20" fmla="*/ 63184 w 80457"/>
                    <a:gd name="connsiteY20" fmla="*/ 0 h 30304"/>
                    <a:gd name="connsiteX21" fmla="*/ 55457 w 80457"/>
                    <a:gd name="connsiteY21" fmla="*/ 1970 h 30304"/>
                    <a:gd name="connsiteX22" fmla="*/ 41820 w 80457"/>
                    <a:gd name="connsiteY22" fmla="*/ 4243 h 30304"/>
                    <a:gd name="connsiteX23" fmla="*/ 32577 w 80457"/>
                    <a:gd name="connsiteY23" fmla="*/ 5758 h 30304"/>
                    <a:gd name="connsiteX24" fmla="*/ 27122 w 80457"/>
                    <a:gd name="connsiteY24" fmla="*/ 5909 h 30304"/>
                    <a:gd name="connsiteX25" fmla="*/ 25910 w 80457"/>
                    <a:gd name="connsiteY25" fmla="*/ 3636 h 30304"/>
                    <a:gd name="connsiteX26" fmla="*/ 21971 w 80457"/>
                    <a:gd name="connsiteY26" fmla="*/ 2879 h 30304"/>
                    <a:gd name="connsiteX27" fmla="*/ 11667 w 80457"/>
                    <a:gd name="connsiteY27" fmla="*/ 3636 h 30304"/>
                    <a:gd name="connsiteX28" fmla="*/ 8334 w 80457"/>
                    <a:gd name="connsiteY28" fmla="*/ 5000 h 30304"/>
                    <a:gd name="connsiteX29" fmla="*/ 7121 w 80457"/>
                    <a:gd name="connsiteY29" fmla="*/ 7121 h 30304"/>
                    <a:gd name="connsiteX30" fmla="*/ 5607 w 80457"/>
                    <a:gd name="connsiteY30" fmla="*/ 8182 h 30304"/>
                    <a:gd name="connsiteX31" fmla="*/ 2728 w 80457"/>
                    <a:gd name="connsiteY31" fmla="*/ 11667 h 3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0457" h="30304">
                      <a:moveTo>
                        <a:pt x="455" y="17728"/>
                      </a:moveTo>
                      <a:lnTo>
                        <a:pt x="0" y="20607"/>
                      </a:lnTo>
                      <a:lnTo>
                        <a:pt x="455" y="23789"/>
                      </a:lnTo>
                      <a:lnTo>
                        <a:pt x="1515" y="24849"/>
                      </a:lnTo>
                      <a:lnTo>
                        <a:pt x="9849" y="29547"/>
                      </a:lnTo>
                      <a:lnTo>
                        <a:pt x="16667" y="28637"/>
                      </a:lnTo>
                      <a:lnTo>
                        <a:pt x="27122" y="25607"/>
                      </a:lnTo>
                      <a:lnTo>
                        <a:pt x="39244" y="29395"/>
                      </a:lnTo>
                      <a:lnTo>
                        <a:pt x="48184" y="30304"/>
                      </a:lnTo>
                      <a:lnTo>
                        <a:pt x="54548" y="24849"/>
                      </a:lnTo>
                      <a:lnTo>
                        <a:pt x="63184" y="23031"/>
                      </a:lnTo>
                      <a:lnTo>
                        <a:pt x="65457" y="19698"/>
                      </a:lnTo>
                      <a:lnTo>
                        <a:pt x="67881" y="18789"/>
                      </a:lnTo>
                      <a:lnTo>
                        <a:pt x="76215" y="17728"/>
                      </a:lnTo>
                      <a:lnTo>
                        <a:pt x="77276" y="13485"/>
                      </a:lnTo>
                      <a:lnTo>
                        <a:pt x="79397" y="10455"/>
                      </a:lnTo>
                      <a:lnTo>
                        <a:pt x="80457" y="6364"/>
                      </a:lnTo>
                      <a:lnTo>
                        <a:pt x="78791" y="3788"/>
                      </a:lnTo>
                      <a:lnTo>
                        <a:pt x="76973" y="1667"/>
                      </a:lnTo>
                      <a:lnTo>
                        <a:pt x="70154" y="455"/>
                      </a:lnTo>
                      <a:lnTo>
                        <a:pt x="63184" y="0"/>
                      </a:lnTo>
                      <a:lnTo>
                        <a:pt x="55457" y="1970"/>
                      </a:lnTo>
                      <a:lnTo>
                        <a:pt x="41820" y="4243"/>
                      </a:lnTo>
                      <a:lnTo>
                        <a:pt x="32577" y="5758"/>
                      </a:lnTo>
                      <a:lnTo>
                        <a:pt x="27122" y="5909"/>
                      </a:lnTo>
                      <a:lnTo>
                        <a:pt x="25910" y="3636"/>
                      </a:lnTo>
                      <a:lnTo>
                        <a:pt x="21971" y="2879"/>
                      </a:lnTo>
                      <a:lnTo>
                        <a:pt x="11667" y="3636"/>
                      </a:lnTo>
                      <a:lnTo>
                        <a:pt x="8334" y="5000"/>
                      </a:lnTo>
                      <a:lnTo>
                        <a:pt x="7121" y="7121"/>
                      </a:lnTo>
                      <a:lnTo>
                        <a:pt x="5607" y="8182"/>
                      </a:lnTo>
                      <a:lnTo>
                        <a:pt x="2728" y="1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2" name="Freeform: Shape 3151">
                  <a:extLst>
                    <a:ext uri="{FF2B5EF4-FFF2-40B4-BE49-F238E27FC236}">
                      <a16:creationId xmlns:a16="http://schemas.microsoft.com/office/drawing/2014/main" id="{93C0F9E9-2189-44A0-A590-142146D88C0B}"/>
                    </a:ext>
                  </a:extLst>
                </p:cNvPr>
                <p:cNvSpPr/>
                <p:nvPr/>
              </p:nvSpPr>
              <p:spPr>
                <a:xfrm>
                  <a:off x="7255891" y="1622492"/>
                  <a:ext cx="99852" cy="31364"/>
                </a:xfrm>
                <a:custGeom>
                  <a:avLst/>
                  <a:gdLst>
                    <a:gd name="connsiteX0" fmla="*/ 9091 w 99852"/>
                    <a:gd name="connsiteY0" fmla="*/ 21213 h 31364"/>
                    <a:gd name="connsiteX1" fmla="*/ 13334 w 99852"/>
                    <a:gd name="connsiteY1" fmla="*/ 21516 h 31364"/>
                    <a:gd name="connsiteX2" fmla="*/ 15910 w 99852"/>
                    <a:gd name="connsiteY2" fmla="*/ 22577 h 31364"/>
                    <a:gd name="connsiteX3" fmla="*/ 17122 w 99852"/>
                    <a:gd name="connsiteY3" fmla="*/ 24395 h 31364"/>
                    <a:gd name="connsiteX4" fmla="*/ 29395 w 99852"/>
                    <a:gd name="connsiteY4" fmla="*/ 23486 h 31364"/>
                    <a:gd name="connsiteX5" fmla="*/ 40911 w 99852"/>
                    <a:gd name="connsiteY5" fmla="*/ 26668 h 31364"/>
                    <a:gd name="connsiteX6" fmla="*/ 45608 w 99852"/>
                    <a:gd name="connsiteY6" fmla="*/ 30759 h 31364"/>
                    <a:gd name="connsiteX7" fmla="*/ 50305 w 99852"/>
                    <a:gd name="connsiteY7" fmla="*/ 31365 h 31364"/>
                    <a:gd name="connsiteX8" fmla="*/ 62124 w 99852"/>
                    <a:gd name="connsiteY8" fmla="*/ 31062 h 31364"/>
                    <a:gd name="connsiteX9" fmla="*/ 75760 w 99852"/>
                    <a:gd name="connsiteY9" fmla="*/ 29092 h 31364"/>
                    <a:gd name="connsiteX10" fmla="*/ 96670 w 99852"/>
                    <a:gd name="connsiteY10" fmla="*/ 23334 h 31364"/>
                    <a:gd name="connsiteX11" fmla="*/ 99853 w 99852"/>
                    <a:gd name="connsiteY11" fmla="*/ 20910 h 31364"/>
                    <a:gd name="connsiteX12" fmla="*/ 96367 w 99852"/>
                    <a:gd name="connsiteY12" fmla="*/ 19092 h 31364"/>
                    <a:gd name="connsiteX13" fmla="*/ 78336 w 99852"/>
                    <a:gd name="connsiteY13" fmla="*/ 13182 h 31364"/>
                    <a:gd name="connsiteX14" fmla="*/ 66366 w 99852"/>
                    <a:gd name="connsiteY14" fmla="*/ 7576 h 31364"/>
                    <a:gd name="connsiteX15" fmla="*/ 58184 w 99852"/>
                    <a:gd name="connsiteY15" fmla="*/ 5606 h 31364"/>
                    <a:gd name="connsiteX16" fmla="*/ 39093 w 99852"/>
                    <a:gd name="connsiteY16" fmla="*/ 6212 h 31364"/>
                    <a:gd name="connsiteX17" fmla="*/ 18486 w 99852"/>
                    <a:gd name="connsiteY17" fmla="*/ 0 h 31364"/>
                    <a:gd name="connsiteX18" fmla="*/ 16061 w 99852"/>
                    <a:gd name="connsiteY18" fmla="*/ 152 h 31364"/>
                    <a:gd name="connsiteX19" fmla="*/ 10152 w 99852"/>
                    <a:gd name="connsiteY19" fmla="*/ 8334 h 31364"/>
                    <a:gd name="connsiteX20" fmla="*/ 8788 w 99852"/>
                    <a:gd name="connsiteY20" fmla="*/ 13788 h 31364"/>
                    <a:gd name="connsiteX21" fmla="*/ 5303 w 99852"/>
                    <a:gd name="connsiteY21" fmla="*/ 13788 h 31364"/>
                    <a:gd name="connsiteX22" fmla="*/ 0 w 99852"/>
                    <a:gd name="connsiteY22" fmla="*/ 15758 h 31364"/>
                    <a:gd name="connsiteX23" fmla="*/ 606 w 99852"/>
                    <a:gd name="connsiteY23" fmla="*/ 19546 h 3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9852" h="31364">
                      <a:moveTo>
                        <a:pt x="9091" y="21213"/>
                      </a:moveTo>
                      <a:lnTo>
                        <a:pt x="13334" y="21516"/>
                      </a:lnTo>
                      <a:lnTo>
                        <a:pt x="15910" y="22577"/>
                      </a:lnTo>
                      <a:lnTo>
                        <a:pt x="17122" y="24395"/>
                      </a:lnTo>
                      <a:lnTo>
                        <a:pt x="29395" y="23486"/>
                      </a:lnTo>
                      <a:lnTo>
                        <a:pt x="40911" y="26668"/>
                      </a:lnTo>
                      <a:lnTo>
                        <a:pt x="45608" y="30759"/>
                      </a:lnTo>
                      <a:lnTo>
                        <a:pt x="50305" y="31365"/>
                      </a:lnTo>
                      <a:lnTo>
                        <a:pt x="62124" y="31062"/>
                      </a:lnTo>
                      <a:lnTo>
                        <a:pt x="75760" y="29092"/>
                      </a:lnTo>
                      <a:lnTo>
                        <a:pt x="96670" y="23334"/>
                      </a:lnTo>
                      <a:lnTo>
                        <a:pt x="99853" y="20910"/>
                      </a:lnTo>
                      <a:lnTo>
                        <a:pt x="96367" y="19092"/>
                      </a:lnTo>
                      <a:lnTo>
                        <a:pt x="78336" y="13182"/>
                      </a:lnTo>
                      <a:lnTo>
                        <a:pt x="66366" y="7576"/>
                      </a:lnTo>
                      <a:lnTo>
                        <a:pt x="58184" y="5606"/>
                      </a:lnTo>
                      <a:lnTo>
                        <a:pt x="39093" y="6212"/>
                      </a:lnTo>
                      <a:lnTo>
                        <a:pt x="18486" y="0"/>
                      </a:lnTo>
                      <a:lnTo>
                        <a:pt x="16061" y="152"/>
                      </a:lnTo>
                      <a:lnTo>
                        <a:pt x="10152" y="8334"/>
                      </a:lnTo>
                      <a:lnTo>
                        <a:pt x="8788" y="13788"/>
                      </a:lnTo>
                      <a:lnTo>
                        <a:pt x="5303" y="13788"/>
                      </a:lnTo>
                      <a:lnTo>
                        <a:pt x="0" y="15758"/>
                      </a:lnTo>
                      <a:lnTo>
                        <a:pt x="606"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3" name="Freeform: Shape 3152">
                  <a:extLst>
                    <a:ext uri="{FF2B5EF4-FFF2-40B4-BE49-F238E27FC236}">
                      <a16:creationId xmlns:a16="http://schemas.microsoft.com/office/drawing/2014/main" id="{0DA02165-6E83-4F46-B2E3-0AA84E684BC0}"/>
                    </a:ext>
                  </a:extLst>
                </p:cNvPr>
                <p:cNvSpPr/>
                <p:nvPr/>
              </p:nvSpPr>
              <p:spPr>
                <a:xfrm>
                  <a:off x="7249527" y="1655372"/>
                  <a:ext cx="17121" cy="11667"/>
                </a:xfrm>
                <a:custGeom>
                  <a:avLst/>
                  <a:gdLst>
                    <a:gd name="connsiteX0" fmla="*/ 16516 w 17121"/>
                    <a:gd name="connsiteY0" fmla="*/ 8485 h 11667"/>
                    <a:gd name="connsiteX1" fmla="*/ 17122 w 17121"/>
                    <a:gd name="connsiteY1" fmla="*/ 6818 h 11667"/>
                    <a:gd name="connsiteX2" fmla="*/ 16213 w 17121"/>
                    <a:gd name="connsiteY2" fmla="*/ 4091 h 11667"/>
                    <a:gd name="connsiteX3" fmla="*/ 10758 w 17121"/>
                    <a:gd name="connsiteY3" fmla="*/ 2727 h 11667"/>
                    <a:gd name="connsiteX4" fmla="*/ 10000 w 17121"/>
                    <a:gd name="connsiteY4" fmla="*/ 1970 h 11667"/>
                    <a:gd name="connsiteX5" fmla="*/ 1818 w 17121"/>
                    <a:gd name="connsiteY5" fmla="*/ 0 h 11667"/>
                    <a:gd name="connsiteX6" fmla="*/ 1212 w 17121"/>
                    <a:gd name="connsiteY6" fmla="*/ 2727 h 11667"/>
                    <a:gd name="connsiteX7" fmla="*/ 2424 w 17121"/>
                    <a:gd name="connsiteY7" fmla="*/ 3940 h 11667"/>
                    <a:gd name="connsiteX8" fmla="*/ 2424 w 17121"/>
                    <a:gd name="connsiteY8" fmla="*/ 5758 h 11667"/>
                    <a:gd name="connsiteX9" fmla="*/ 1061 w 17121"/>
                    <a:gd name="connsiteY9" fmla="*/ 6515 h 11667"/>
                    <a:gd name="connsiteX10" fmla="*/ 0 w 17121"/>
                    <a:gd name="connsiteY10" fmla="*/ 8182 h 11667"/>
                    <a:gd name="connsiteX11" fmla="*/ 12728 w 17121"/>
                    <a:gd name="connsiteY11" fmla="*/ 11667 h 1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21" h="11667">
                      <a:moveTo>
                        <a:pt x="16516" y="8485"/>
                      </a:moveTo>
                      <a:lnTo>
                        <a:pt x="17122" y="6818"/>
                      </a:lnTo>
                      <a:lnTo>
                        <a:pt x="16213" y="4091"/>
                      </a:lnTo>
                      <a:lnTo>
                        <a:pt x="10758" y="2727"/>
                      </a:lnTo>
                      <a:lnTo>
                        <a:pt x="10000" y="1970"/>
                      </a:lnTo>
                      <a:lnTo>
                        <a:pt x="1818" y="0"/>
                      </a:lnTo>
                      <a:lnTo>
                        <a:pt x="1212" y="2727"/>
                      </a:lnTo>
                      <a:lnTo>
                        <a:pt x="2424" y="3940"/>
                      </a:lnTo>
                      <a:lnTo>
                        <a:pt x="2424" y="5758"/>
                      </a:lnTo>
                      <a:lnTo>
                        <a:pt x="1061" y="6515"/>
                      </a:lnTo>
                      <a:lnTo>
                        <a:pt x="0" y="8182"/>
                      </a:lnTo>
                      <a:lnTo>
                        <a:pt x="12728" y="1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4" name="Freeform: Shape 3153">
                  <a:extLst>
                    <a:ext uri="{FF2B5EF4-FFF2-40B4-BE49-F238E27FC236}">
                      <a16:creationId xmlns:a16="http://schemas.microsoft.com/office/drawing/2014/main" id="{DFE5396E-B447-4E8E-90CE-72050D96F050}"/>
                    </a:ext>
                  </a:extLst>
                </p:cNvPr>
                <p:cNvSpPr/>
                <p:nvPr/>
              </p:nvSpPr>
              <p:spPr>
                <a:xfrm>
                  <a:off x="7205737" y="1667645"/>
                  <a:ext cx="44850" cy="15152"/>
                </a:xfrm>
                <a:custGeom>
                  <a:avLst/>
                  <a:gdLst>
                    <a:gd name="connsiteX0" fmla="*/ 9243 w 44850"/>
                    <a:gd name="connsiteY0" fmla="*/ 13334 h 15152"/>
                    <a:gd name="connsiteX1" fmla="*/ 10758 w 44850"/>
                    <a:gd name="connsiteY1" fmla="*/ 13940 h 15152"/>
                    <a:gd name="connsiteX2" fmla="*/ 11667 w 44850"/>
                    <a:gd name="connsiteY2" fmla="*/ 14698 h 15152"/>
                    <a:gd name="connsiteX3" fmla="*/ 17576 w 44850"/>
                    <a:gd name="connsiteY3" fmla="*/ 15152 h 15152"/>
                    <a:gd name="connsiteX4" fmla="*/ 35910 w 44850"/>
                    <a:gd name="connsiteY4" fmla="*/ 14394 h 15152"/>
                    <a:gd name="connsiteX5" fmla="*/ 39395 w 44850"/>
                    <a:gd name="connsiteY5" fmla="*/ 11970 h 15152"/>
                    <a:gd name="connsiteX6" fmla="*/ 42881 w 44850"/>
                    <a:gd name="connsiteY6" fmla="*/ 11667 h 15152"/>
                    <a:gd name="connsiteX7" fmla="*/ 44850 w 44850"/>
                    <a:gd name="connsiteY7" fmla="*/ 9091 h 15152"/>
                    <a:gd name="connsiteX8" fmla="*/ 34850 w 44850"/>
                    <a:gd name="connsiteY8" fmla="*/ 5606 h 15152"/>
                    <a:gd name="connsiteX9" fmla="*/ 31062 w 44850"/>
                    <a:gd name="connsiteY9" fmla="*/ 2879 h 15152"/>
                    <a:gd name="connsiteX10" fmla="*/ 30607 w 44850"/>
                    <a:gd name="connsiteY10" fmla="*/ 606 h 15152"/>
                    <a:gd name="connsiteX11" fmla="*/ 26668 w 44850"/>
                    <a:gd name="connsiteY11" fmla="*/ 0 h 15152"/>
                    <a:gd name="connsiteX12" fmla="*/ 17576 w 44850"/>
                    <a:gd name="connsiteY12" fmla="*/ 606 h 15152"/>
                    <a:gd name="connsiteX13" fmla="*/ 13788 w 44850"/>
                    <a:gd name="connsiteY13" fmla="*/ 4091 h 15152"/>
                    <a:gd name="connsiteX14" fmla="*/ 12879 w 44850"/>
                    <a:gd name="connsiteY14" fmla="*/ 5909 h 15152"/>
                    <a:gd name="connsiteX15" fmla="*/ 10000 w 44850"/>
                    <a:gd name="connsiteY15" fmla="*/ 7273 h 15152"/>
                    <a:gd name="connsiteX16" fmla="*/ 1667 w 44850"/>
                    <a:gd name="connsiteY16" fmla="*/ 8637 h 15152"/>
                    <a:gd name="connsiteX17" fmla="*/ 0 w 44850"/>
                    <a:gd name="connsiteY17" fmla="*/ 9394 h 15152"/>
                    <a:gd name="connsiteX18" fmla="*/ 3637 w 44850"/>
                    <a:gd name="connsiteY18" fmla="*/ 12576 h 1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850" h="15152">
                      <a:moveTo>
                        <a:pt x="9243" y="13334"/>
                      </a:moveTo>
                      <a:lnTo>
                        <a:pt x="10758" y="13940"/>
                      </a:lnTo>
                      <a:lnTo>
                        <a:pt x="11667" y="14698"/>
                      </a:lnTo>
                      <a:lnTo>
                        <a:pt x="17576" y="15152"/>
                      </a:lnTo>
                      <a:lnTo>
                        <a:pt x="35910" y="14394"/>
                      </a:lnTo>
                      <a:lnTo>
                        <a:pt x="39395" y="11970"/>
                      </a:lnTo>
                      <a:lnTo>
                        <a:pt x="42881" y="11667"/>
                      </a:lnTo>
                      <a:lnTo>
                        <a:pt x="44850" y="9091"/>
                      </a:lnTo>
                      <a:lnTo>
                        <a:pt x="34850" y="5606"/>
                      </a:lnTo>
                      <a:lnTo>
                        <a:pt x="31062" y="2879"/>
                      </a:lnTo>
                      <a:lnTo>
                        <a:pt x="30607" y="606"/>
                      </a:lnTo>
                      <a:lnTo>
                        <a:pt x="26668" y="0"/>
                      </a:lnTo>
                      <a:lnTo>
                        <a:pt x="17576" y="606"/>
                      </a:lnTo>
                      <a:lnTo>
                        <a:pt x="13788" y="4091"/>
                      </a:lnTo>
                      <a:lnTo>
                        <a:pt x="12879" y="5909"/>
                      </a:lnTo>
                      <a:lnTo>
                        <a:pt x="10000" y="7273"/>
                      </a:lnTo>
                      <a:lnTo>
                        <a:pt x="1667" y="8637"/>
                      </a:lnTo>
                      <a:lnTo>
                        <a:pt x="0" y="9394"/>
                      </a:lnTo>
                      <a:lnTo>
                        <a:pt x="3637" y="125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5" name="Freeform: Shape 3154">
                  <a:extLst>
                    <a:ext uri="{FF2B5EF4-FFF2-40B4-BE49-F238E27FC236}">
                      <a16:creationId xmlns:a16="http://schemas.microsoft.com/office/drawing/2014/main" id="{1E3BACC8-12CB-45BF-84E8-52C8D83A6630}"/>
                    </a:ext>
                  </a:extLst>
                </p:cNvPr>
                <p:cNvSpPr/>
                <p:nvPr/>
              </p:nvSpPr>
              <p:spPr>
                <a:xfrm>
                  <a:off x="7337106" y="1662493"/>
                  <a:ext cx="61365" cy="24546"/>
                </a:xfrm>
                <a:custGeom>
                  <a:avLst/>
                  <a:gdLst>
                    <a:gd name="connsiteX0" fmla="*/ 1667 w 61365"/>
                    <a:gd name="connsiteY0" fmla="*/ 0 h 24546"/>
                    <a:gd name="connsiteX1" fmla="*/ 0 w 61365"/>
                    <a:gd name="connsiteY1" fmla="*/ 1515 h 24546"/>
                    <a:gd name="connsiteX2" fmla="*/ 1970 w 61365"/>
                    <a:gd name="connsiteY2" fmla="*/ 3030 h 24546"/>
                    <a:gd name="connsiteX3" fmla="*/ 4697 w 61365"/>
                    <a:gd name="connsiteY3" fmla="*/ 6212 h 24546"/>
                    <a:gd name="connsiteX4" fmla="*/ 5455 w 61365"/>
                    <a:gd name="connsiteY4" fmla="*/ 7879 h 24546"/>
                    <a:gd name="connsiteX5" fmla="*/ 5455 w 61365"/>
                    <a:gd name="connsiteY5" fmla="*/ 10455 h 24546"/>
                    <a:gd name="connsiteX6" fmla="*/ 7273 w 61365"/>
                    <a:gd name="connsiteY6" fmla="*/ 18940 h 24546"/>
                    <a:gd name="connsiteX7" fmla="*/ 8788 w 61365"/>
                    <a:gd name="connsiteY7" fmla="*/ 21213 h 24546"/>
                    <a:gd name="connsiteX8" fmla="*/ 10303 w 61365"/>
                    <a:gd name="connsiteY8" fmla="*/ 22425 h 24546"/>
                    <a:gd name="connsiteX9" fmla="*/ 21516 w 61365"/>
                    <a:gd name="connsiteY9" fmla="*/ 24546 h 24546"/>
                    <a:gd name="connsiteX10" fmla="*/ 25758 w 61365"/>
                    <a:gd name="connsiteY10" fmla="*/ 23334 h 24546"/>
                    <a:gd name="connsiteX11" fmla="*/ 31516 w 61365"/>
                    <a:gd name="connsiteY11" fmla="*/ 18789 h 24546"/>
                    <a:gd name="connsiteX12" fmla="*/ 33941 w 61365"/>
                    <a:gd name="connsiteY12" fmla="*/ 18486 h 24546"/>
                    <a:gd name="connsiteX13" fmla="*/ 34850 w 61365"/>
                    <a:gd name="connsiteY13" fmla="*/ 15607 h 24546"/>
                    <a:gd name="connsiteX14" fmla="*/ 34698 w 61365"/>
                    <a:gd name="connsiteY14" fmla="*/ 12425 h 24546"/>
                    <a:gd name="connsiteX15" fmla="*/ 37880 w 61365"/>
                    <a:gd name="connsiteY15" fmla="*/ 11061 h 24546"/>
                    <a:gd name="connsiteX16" fmla="*/ 61366 w 61365"/>
                    <a:gd name="connsiteY16" fmla="*/ 9546 h 24546"/>
                    <a:gd name="connsiteX17" fmla="*/ 57578 w 61365"/>
                    <a:gd name="connsiteY17" fmla="*/ 6667 h 24546"/>
                    <a:gd name="connsiteX18" fmla="*/ 53638 w 61365"/>
                    <a:gd name="connsiteY18" fmla="*/ 4849 h 24546"/>
                    <a:gd name="connsiteX19" fmla="*/ 40153 w 61365"/>
                    <a:gd name="connsiteY19" fmla="*/ 1818 h 24546"/>
                    <a:gd name="connsiteX20" fmla="*/ 13940 w 61365"/>
                    <a:gd name="connsiteY20" fmla="*/ 1212 h 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365" h="24546">
                      <a:moveTo>
                        <a:pt x="1667" y="0"/>
                      </a:moveTo>
                      <a:lnTo>
                        <a:pt x="0" y="1515"/>
                      </a:lnTo>
                      <a:lnTo>
                        <a:pt x="1970" y="3030"/>
                      </a:lnTo>
                      <a:lnTo>
                        <a:pt x="4697" y="6212"/>
                      </a:lnTo>
                      <a:lnTo>
                        <a:pt x="5455" y="7879"/>
                      </a:lnTo>
                      <a:lnTo>
                        <a:pt x="5455" y="10455"/>
                      </a:lnTo>
                      <a:lnTo>
                        <a:pt x="7273" y="18940"/>
                      </a:lnTo>
                      <a:lnTo>
                        <a:pt x="8788" y="21213"/>
                      </a:lnTo>
                      <a:lnTo>
                        <a:pt x="10303" y="22425"/>
                      </a:lnTo>
                      <a:lnTo>
                        <a:pt x="21516" y="24546"/>
                      </a:lnTo>
                      <a:lnTo>
                        <a:pt x="25758" y="23334"/>
                      </a:lnTo>
                      <a:lnTo>
                        <a:pt x="31516" y="18789"/>
                      </a:lnTo>
                      <a:lnTo>
                        <a:pt x="33941" y="18486"/>
                      </a:lnTo>
                      <a:lnTo>
                        <a:pt x="34850" y="15607"/>
                      </a:lnTo>
                      <a:lnTo>
                        <a:pt x="34698" y="12425"/>
                      </a:lnTo>
                      <a:lnTo>
                        <a:pt x="37880" y="11061"/>
                      </a:lnTo>
                      <a:lnTo>
                        <a:pt x="61366" y="9546"/>
                      </a:lnTo>
                      <a:lnTo>
                        <a:pt x="57578" y="6667"/>
                      </a:lnTo>
                      <a:lnTo>
                        <a:pt x="53638" y="4849"/>
                      </a:lnTo>
                      <a:lnTo>
                        <a:pt x="40153" y="1818"/>
                      </a:lnTo>
                      <a:lnTo>
                        <a:pt x="13940"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6" name="Freeform: Shape 3155">
                  <a:extLst>
                    <a:ext uri="{FF2B5EF4-FFF2-40B4-BE49-F238E27FC236}">
                      <a16:creationId xmlns:a16="http://schemas.microsoft.com/office/drawing/2014/main" id="{2B4E12D4-D59A-48FB-B355-59FFB5A27FA4}"/>
                    </a:ext>
                  </a:extLst>
                </p:cNvPr>
                <p:cNvSpPr/>
                <p:nvPr/>
              </p:nvSpPr>
              <p:spPr>
                <a:xfrm>
                  <a:off x="7380744" y="1604158"/>
                  <a:ext cx="20909" cy="6969"/>
                </a:xfrm>
                <a:custGeom>
                  <a:avLst/>
                  <a:gdLst>
                    <a:gd name="connsiteX0" fmla="*/ 13334 w 20909"/>
                    <a:gd name="connsiteY0" fmla="*/ 6970 h 6969"/>
                    <a:gd name="connsiteX1" fmla="*/ 19243 w 20909"/>
                    <a:gd name="connsiteY1" fmla="*/ 6061 h 6969"/>
                    <a:gd name="connsiteX2" fmla="*/ 20910 w 20909"/>
                    <a:gd name="connsiteY2" fmla="*/ 4849 h 6969"/>
                    <a:gd name="connsiteX3" fmla="*/ 18486 w 20909"/>
                    <a:gd name="connsiteY3" fmla="*/ 2121 h 6969"/>
                    <a:gd name="connsiteX4" fmla="*/ 12728 w 20909"/>
                    <a:gd name="connsiteY4" fmla="*/ 0 h 6969"/>
                    <a:gd name="connsiteX5" fmla="*/ 7424 w 20909"/>
                    <a:gd name="connsiteY5" fmla="*/ 455 h 6969"/>
                    <a:gd name="connsiteX6" fmla="*/ 757 w 20909"/>
                    <a:gd name="connsiteY6" fmla="*/ 2424 h 6969"/>
                    <a:gd name="connsiteX7" fmla="*/ 0 w 20909"/>
                    <a:gd name="connsiteY7" fmla="*/ 3940 h 6969"/>
                    <a:gd name="connsiteX8" fmla="*/ 3030 w 20909"/>
                    <a:gd name="connsiteY8" fmla="*/ 5606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9" h="6969">
                      <a:moveTo>
                        <a:pt x="13334" y="6970"/>
                      </a:moveTo>
                      <a:lnTo>
                        <a:pt x="19243" y="6061"/>
                      </a:lnTo>
                      <a:lnTo>
                        <a:pt x="20910" y="4849"/>
                      </a:lnTo>
                      <a:lnTo>
                        <a:pt x="18486" y="2121"/>
                      </a:lnTo>
                      <a:lnTo>
                        <a:pt x="12728" y="0"/>
                      </a:lnTo>
                      <a:lnTo>
                        <a:pt x="7424" y="455"/>
                      </a:lnTo>
                      <a:lnTo>
                        <a:pt x="757" y="2424"/>
                      </a:lnTo>
                      <a:lnTo>
                        <a:pt x="0" y="3940"/>
                      </a:lnTo>
                      <a:lnTo>
                        <a:pt x="3030" y="5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7" name="Freeform: Shape 3156">
                  <a:extLst>
                    <a:ext uri="{FF2B5EF4-FFF2-40B4-BE49-F238E27FC236}">
                      <a16:creationId xmlns:a16="http://schemas.microsoft.com/office/drawing/2014/main" id="{B86E1584-1DCF-4A4A-85CF-AEF2196A619F}"/>
                    </a:ext>
                  </a:extLst>
                </p:cNvPr>
                <p:cNvSpPr/>
                <p:nvPr/>
              </p:nvSpPr>
              <p:spPr>
                <a:xfrm>
                  <a:off x="7184373" y="2073569"/>
                  <a:ext cx="169551" cy="144550"/>
                </a:xfrm>
                <a:custGeom>
                  <a:avLst/>
                  <a:gdLst>
                    <a:gd name="connsiteX0" fmla="*/ 4091 w 169551"/>
                    <a:gd name="connsiteY0" fmla="*/ 68487 h 144550"/>
                    <a:gd name="connsiteX1" fmla="*/ 1364 w 169551"/>
                    <a:gd name="connsiteY1" fmla="*/ 73184 h 144550"/>
                    <a:gd name="connsiteX2" fmla="*/ 303 w 169551"/>
                    <a:gd name="connsiteY2" fmla="*/ 75457 h 144550"/>
                    <a:gd name="connsiteX3" fmla="*/ 0 w 169551"/>
                    <a:gd name="connsiteY3" fmla="*/ 81064 h 144550"/>
                    <a:gd name="connsiteX4" fmla="*/ 152 w 169551"/>
                    <a:gd name="connsiteY4" fmla="*/ 83488 h 144550"/>
                    <a:gd name="connsiteX5" fmla="*/ 2273 w 169551"/>
                    <a:gd name="connsiteY5" fmla="*/ 90155 h 144550"/>
                    <a:gd name="connsiteX6" fmla="*/ 4394 w 169551"/>
                    <a:gd name="connsiteY6" fmla="*/ 93943 h 144550"/>
                    <a:gd name="connsiteX7" fmla="*/ 7121 w 169551"/>
                    <a:gd name="connsiteY7" fmla="*/ 96367 h 144550"/>
                    <a:gd name="connsiteX8" fmla="*/ 10455 w 169551"/>
                    <a:gd name="connsiteY8" fmla="*/ 98034 h 144550"/>
                    <a:gd name="connsiteX9" fmla="*/ 13940 w 169551"/>
                    <a:gd name="connsiteY9" fmla="*/ 98943 h 144550"/>
                    <a:gd name="connsiteX10" fmla="*/ 20455 w 169551"/>
                    <a:gd name="connsiteY10" fmla="*/ 98034 h 144550"/>
                    <a:gd name="connsiteX11" fmla="*/ 26971 w 169551"/>
                    <a:gd name="connsiteY11" fmla="*/ 95761 h 144550"/>
                    <a:gd name="connsiteX12" fmla="*/ 34092 w 169551"/>
                    <a:gd name="connsiteY12" fmla="*/ 97276 h 144550"/>
                    <a:gd name="connsiteX13" fmla="*/ 40456 w 169551"/>
                    <a:gd name="connsiteY13" fmla="*/ 97882 h 144550"/>
                    <a:gd name="connsiteX14" fmla="*/ 52881 w 169551"/>
                    <a:gd name="connsiteY14" fmla="*/ 95458 h 144550"/>
                    <a:gd name="connsiteX15" fmla="*/ 54245 w 169551"/>
                    <a:gd name="connsiteY15" fmla="*/ 96064 h 144550"/>
                    <a:gd name="connsiteX16" fmla="*/ 51972 w 169551"/>
                    <a:gd name="connsiteY16" fmla="*/ 98791 h 144550"/>
                    <a:gd name="connsiteX17" fmla="*/ 51669 w 169551"/>
                    <a:gd name="connsiteY17" fmla="*/ 102731 h 144550"/>
                    <a:gd name="connsiteX18" fmla="*/ 54093 w 169551"/>
                    <a:gd name="connsiteY18" fmla="*/ 105761 h 144550"/>
                    <a:gd name="connsiteX19" fmla="*/ 56972 w 169551"/>
                    <a:gd name="connsiteY19" fmla="*/ 105610 h 144550"/>
                    <a:gd name="connsiteX20" fmla="*/ 60003 w 169551"/>
                    <a:gd name="connsiteY20" fmla="*/ 106064 h 144550"/>
                    <a:gd name="connsiteX21" fmla="*/ 59093 w 169551"/>
                    <a:gd name="connsiteY21" fmla="*/ 107883 h 144550"/>
                    <a:gd name="connsiteX22" fmla="*/ 67124 w 169551"/>
                    <a:gd name="connsiteY22" fmla="*/ 112883 h 144550"/>
                    <a:gd name="connsiteX23" fmla="*/ 74548 w 169551"/>
                    <a:gd name="connsiteY23" fmla="*/ 116519 h 144550"/>
                    <a:gd name="connsiteX24" fmla="*/ 72882 w 169551"/>
                    <a:gd name="connsiteY24" fmla="*/ 117580 h 144550"/>
                    <a:gd name="connsiteX25" fmla="*/ 68184 w 169551"/>
                    <a:gd name="connsiteY25" fmla="*/ 115913 h 144550"/>
                    <a:gd name="connsiteX26" fmla="*/ 65760 w 169551"/>
                    <a:gd name="connsiteY26" fmla="*/ 116368 h 144550"/>
                    <a:gd name="connsiteX27" fmla="*/ 66366 w 169551"/>
                    <a:gd name="connsiteY27" fmla="*/ 119247 h 144550"/>
                    <a:gd name="connsiteX28" fmla="*/ 61215 w 169551"/>
                    <a:gd name="connsiteY28" fmla="*/ 118489 h 144550"/>
                    <a:gd name="connsiteX29" fmla="*/ 59093 w 169551"/>
                    <a:gd name="connsiteY29" fmla="*/ 120156 h 144550"/>
                    <a:gd name="connsiteX30" fmla="*/ 59093 w 169551"/>
                    <a:gd name="connsiteY30" fmla="*/ 122732 h 144550"/>
                    <a:gd name="connsiteX31" fmla="*/ 59851 w 169551"/>
                    <a:gd name="connsiteY31" fmla="*/ 125308 h 144550"/>
                    <a:gd name="connsiteX32" fmla="*/ 59699 w 169551"/>
                    <a:gd name="connsiteY32" fmla="*/ 127126 h 144550"/>
                    <a:gd name="connsiteX33" fmla="*/ 55760 w 169551"/>
                    <a:gd name="connsiteY33" fmla="*/ 127732 h 144550"/>
                    <a:gd name="connsiteX34" fmla="*/ 53487 w 169551"/>
                    <a:gd name="connsiteY34" fmla="*/ 129096 h 144550"/>
                    <a:gd name="connsiteX35" fmla="*/ 62730 w 169551"/>
                    <a:gd name="connsiteY35" fmla="*/ 132126 h 144550"/>
                    <a:gd name="connsiteX36" fmla="*/ 75760 w 169551"/>
                    <a:gd name="connsiteY36" fmla="*/ 134550 h 144550"/>
                    <a:gd name="connsiteX37" fmla="*/ 79397 w 169551"/>
                    <a:gd name="connsiteY37" fmla="*/ 135611 h 144550"/>
                    <a:gd name="connsiteX38" fmla="*/ 84397 w 169551"/>
                    <a:gd name="connsiteY38" fmla="*/ 138187 h 144550"/>
                    <a:gd name="connsiteX39" fmla="*/ 86822 w 169551"/>
                    <a:gd name="connsiteY39" fmla="*/ 138793 h 144550"/>
                    <a:gd name="connsiteX40" fmla="*/ 86973 w 169551"/>
                    <a:gd name="connsiteY40" fmla="*/ 137126 h 144550"/>
                    <a:gd name="connsiteX41" fmla="*/ 87882 w 169551"/>
                    <a:gd name="connsiteY41" fmla="*/ 135763 h 144550"/>
                    <a:gd name="connsiteX42" fmla="*/ 94095 w 169551"/>
                    <a:gd name="connsiteY42" fmla="*/ 138944 h 144550"/>
                    <a:gd name="connsiteX43" fmla="*/ 99095 w 169551"/>
                    <a:gd name="connsiteY43" fmla="*/ 139399 h 144550"/>
                    <a:gd name="connsiteX44" fmla="*/ 104095 w 169551"/>
                    <a:gd name="connsiteY44" fmla="*/ 139551 h 144550"/>
                    <a:gd name="connsiteX45" fmla="*/ 116520 w 169551"/>
                    <a:gd name="connsiteY45" fmla="*/ 138187 h 144550"/>
                    <a:gd name="connsiteX46" fmla="*/ 116974 w 169551"/>
                    <a:gd name="connsiteY46" fmla="*/ 138944 h 144550"/>
                    <a:gd name="connsiteX47" fmla="*/ 116974 w 169551"/>
                    <a:gd name="connsiteY47" fmla="*/ 140611 h 144550"/>
                    <a:gd name="connsiteX48" fmla="*/ 119398 w 169551"/>
                    <a:gd name="connsiteY48" fmla="*/ 141975 h 144550"/>
                    <a:gd name="connsiteX49" fmla="*/ 122429 w 169551"/>
                    <a:gd name="connsiteY49" fmla="*/ 141520 h 144550"/>
                    <a:gd name="connsiteX50" fmla="*/ 123490 w 169551"/>
                    <a:gd name="connsiteY50" fmla="*/ 140308 h 144550"/>
                    <a:gd name="connsiteX51" fmla="*/ 127429 w 169551"/>
                    <a:gd name="connsiteY51" fmla="*/ 141823 h 144550"/>
                    <a:gd name="connsiteX52" fmla="*/ 128187 w 169551"/>
                    <a:gd name="connsiteY52" fmla="*/ 140460 h 144550"/>
                    <a:gd name="connsiteX53" fmla="*/ 128944 w 169551"/>
                    <a:gd name="connsiteY53" fmla="*/ 139854 h 144550"/>
                    <a:gd name="connsiteX54" fmla="*/ 136975 w 169551"/>
                    <a:gd name="connsiteY54" fmla="*/ 144551 h 144550"/>
                    <a:gd name="connsiteX55" fmla="*/ 138642 w 169551"/>
                    <a:gd name="connsiteY55" fmla="*/ 144399 h 144550"/>
                    <a:gd name="connsiteX56" fmla="*/ 140308 w 169551"/>
                    <a:gd name="connsiteY56" fmla="*/ 143036 h 144550"/>
                    <a:gd name="connsiteX57" fmla="*/ 136369 w 169551"/>
                    <a:gd name="connsiteY57" fmla="*/ 139551 h 144550"/>
                    <a:gd name="connsiteX58" fmla="*/ 134248 w 169551"/>
                    <a:gd name="connsiteY58" fmla="*/ 138944 h 144550"/>
                    <a:gd name="connsiteX59" fmla="*/ 132126 w 169551"/>
                    <a:gd name="connsiteY59" fmla="*/ 136975 h 144550"/>
                    <a:gd name="connsiteX60" fmla="*/ 135611 w 169551"/>
                    <a:gd name="connsiteY60" fmla="*/ 136066 h 144550"/>
                    <a:gd name="connsiteX61" fmla="*/ 138945 w 169551"/>
                    <a:gd name="connsiteY61" fmla="*/ 136369 h 144550"/>
                    <a:gd name="connsiteX62" fmla="*/ 140611 w 169551"/>
                    <a:gd name="connsiteY62" fmla="*/ 137884 h 144550"/>
                    <a:gd name="connsiteX63" fmla="*/ 141975 w 169551"/>
                    <a:gd name="connsiteY63" fmla="*/ 140005 h 144550"/>
                    <a:gd name="connsiteX64" fmla="*/ 142733 w 169551"/>
                    <a:gd name="connsiteY64" fmla="*/ 140460 h 144550"/>
                    <a:gd name="connsiteX65" fmla="*/ 156370 w 169551"/>
                    <a:gd name="connsiteY65" fmla="*/ 143339 h 144550"/>
                    <a:gd name="connsiteX66" fmla="*/ 159097 w 169551"/>
                    <a:gd name="connsiteY66" fmla="*/ 142429 h 144550"/>
                    <a:gd name="connsiteX67" fmla="*/ 159551 w 169551"/>
                    <a:gd name="connsiteY67" fmla="*/ 140914 h 144550"/>
                    <a:gd name="connsiteX68" fmla="*/ 164552 w 169551"/>
                    <a:gd name="connsiteY68" fmla="*/ 139702 h 144550"/>
                    <a:gd name="connsiteX69" fmla="*/ 169552 w 169551"/>
                    <a:gd name="connsiteY69" fmla="*/ 136369 h 144550"/>
                    <a:gd name="connsiteX70" fmla="*/ 167582 w 169551"/>
                    <a:gd name="connsiteY70" fmla="*/ 134550 h 144550"/>
                    <a:gd name="connsiteX71" fmla="*/ 165613 w 169551"/>
                    <a:gd name="connsiteY71" fmla="*/ 133187 h 144550"/>
                    <a:gd name="connsiteX72" fmla="*/ 154249 w 169551"/>
                    <a:gd name="connsiteY72" fmla="*/ 128944 h 144550"/>
                    <a:gd name="connsiteX73" fmla="*/ 149551 w 169551"/>
                    <a:gd name="connsiteY73" fmla="*/ 126520 h 144550"/>
                    <a:gd name="connsiteX74" fmla="*/ 137429 w 169551"/>
                    <a:gd name="connsiteY74" fmla="*/ 117429 h 144550"/>
                    <a:gd name="connsiteX75" fmla="*/ 126217 w 169551"/>
                    <a:gd name="connsiteY75" fmla="*/ 105458 h 144550"/>
                    <a:gd name="connsiteX76" fmla="*/ 120005 w 169551"/>
                    <a:gd name="connsiteY76" fmla="*/ 97276 h 144550"/>
                    <a:gd name="connsiteX77" fmla="*/ 114398 w 169551"/>
                    <a:gd name="connsiteY77" fmla="*/ 88033 h 144550"/>
                    <a:gd name="connsiteX78" fmla="*/ 112580 w 169551"/>
                    <a:gd name="connsiteY78" fmla="*/ 83185 h 144550"/>
                    <a:gd name="connsiteX79" fmla="*/ 110610 w 169551"/>
                    <a:gd name="connsiteY79" fmla="*/ 78791 h 144550"/>
                    <a:gd name="connsiteX80" fmla="*/ 105762 w 169551"/>
                    <a:gd name="connsiteY80" fmla="*/ 75457 h 144550"/>
                    <a:gd name="connsiteX81" fmla="*/ 107883 w 169551"/>
                    <a:gd name="connsiteY81" fmla="*/ 71366 h 144550"/>
                    <a:gd name="connsiteX82" fmla="*/ 108641 w 169551"/>
                    <a:gd name="connsiteY82" fmla="*/ 66669 h 144550"/>
                    <a:gd name="connsiteX83" fmla="*/ 111217 w 169551"/>
                    <a:gd name="connsiteY83" fmla="*/ 62730 h 144550"/>
                    <a:gd name="connsiteX84" fmla="*/ 111822 w 169551"/>
                    <a:gd name="connsiteY84" fmla="*/ 60760 h 144550"/>
                    <a:gd name="connsiteX85" fmla="*/ 108641 w 169551"/>
                    <a:gd name="connsiteY85" fmla="*/ 56063 h 144550"/>
                    <a:gd name="connsiteX86" fmla="*/ 108338 w 169551"/>
                    <a:gd name="connsiteY86" fmla="*/ 52729 h 144550"/>
                    <a:gd name="connsiteX87" fmla="*/ 107429 w 169551"/>
                    <a:gd name="connsiteY87" fmla="*/ 51062 h 144550"/>
                    <a:gd name="connsiteX88" fmla="*/ 107429 w 169551"/>
                    <a:gd name="connsiteY88" fmla="*/ 48184 h 144550"/>
                    <a:gd name="connsiteX89" fmla="*/ 109095 w 169551"/>
                    <a:gd name="connsiteY89" fmla="*/ 46365 h 144550"/>
                    <a:gd name="connsiteX90" fmla="*/ 108641 w 169551"/>
                    <a:gd name="connsiteY90" fmla="*/ 43789 h 144550"/>
                    <a:gd name="connsiteX91" fmla="*/ 109701 w 169551"/>
                    <a:gd name="connsiteY91" fmla="*/ 42426 h 144550"/>
                    <a:gd name="connsiteX92" fmla="*/ 114550 w 169551"/>
                    <a:gd name="connsiteY92" fmla="*/ 41214 h 144550"/>
                    <a:gd name="connsiteX93" fmla="*/ 116823 w 169551"/>
                    <a:gd name="connsiteY93" fmla="*/ 37426 h 144550"/>
                    <a:gd name="connsiteX94" fmla="*/ 117277 w 169551"/>
                    <a:gd name="connsiteY94" fmla="*/ 34850 h 144550"/>
                    <a:gd name="connsiteX95" fmla="*/ 117429 w 169551"/>
                    <a:gd name="connsiteY95" fmla="*/ 32577 h 144550"/>
                    <a:gd name="connsiteX96" fmla="*/ 120156 w 169551"/>
                    <a:gd name="connsiteY96" fmla="*/ 31365 h 144550"/>
                    <a:gd name="connsiteX97" fmla="*/ 127278 w 169551"/>
                    <a:gd name="connsiteY97" fmla="*/ 31365 h 144550"/>
                    <a:gd name="connsiteX98" fmla="*/ 128338 w 169551"/>
                    <a:gd name="connsiteY98" fmla="*/ 30456 h 144550"/>
                    <a:gd name="connsiteX99" fmla="*/ 129702 w 169551"/>
                    <a:gd name="connsiteY99" fmla="*/ 28334 h 144550"/>
                    <a:gd name="connsiteX100" fmla="*/ 130308 w 169551"/>
                    <a:gd name="connsiteY100" fmla="*/ 25304 h 144550"/>
                    <a:gd name="connsiteX101" fmla="*/ 129551 w 169551"/>
                    <a:gd name="connsiteY101" fmla="*/ 21213 h 144550"/>
                    <a:gd name="connsiteX102" fmla="*/ 130157 w 169551"/>
                    <a:gd name="connsiteY102" fmla="*/ 18637 h 144550"/>
                    <a:gd name="connsiteX103" fmla="*/ 134248 w 169551"/>
                    <a:gd name="connsiteY103" fmla="*/ 14394 h 144550"/>
                    <a:gd name="connsiteX104" fmla="*/ 135914 w 169551"/>
                    <a:gd name="connsiteY104" fmla="*/ 13031 h 144550"/>
                    <a:gd name="connsiteX105" fmla="*/ 136823 w 169551"/>
                    <a:gd name="connsiteY105" fmla="*/ 9849 h 144550"/>
                    <a:gd name="connsiteX106" fmla="*/ 134551 w 169551"/>
                    <a:gd name="connsiteY106" fmla="*/ 8485 h 144550"/>
                    <a:gd name="connsiteX107" fmla="*/ 128793 w 169551"/>
                    <a:gd name="connsiteY107" fmla="*/ 6970 h 144550"/>
                    <a:gd name="connsiteX108" fmla="*/ 119247 w 169551"/>
                    <a:gd name="connsiteY108" fmla="*/ 6212 h 144550"/>
                    <a:gd name="connsiteX109" fmla="*/ 106368 w 169551"/>
                    <a:gd name="connsiteY109" fmla="*/ 4091 h 144550"/>
                    <a:gd name="connsiteX110" fmla="*/ 100913 w 169551"/>
                    <a:gd name="connsiteY110" fmla="*/ 1515 h 144550"/>
                    <a:gd name="connsiteX111" fmla="*/ 96065 w 169551"/>
                    <a:gd name="connsiteY111" fmla="*/ 151 h 144550"/>
                    <a:gd name="connsiteX112" fmla="*/ 92277 w 169551"/>
                    <a:gd name="connsiteY112" fmla="*/ 0 h 144550"/>
                    <a:gd name="connsiteX113" fmla="*/ 88791 w 169551"/>
                    <a:gd name="connsiteY113" fmla="*/ 909 h 144550"/>
                    <a:gd name="connsiteX114" fmla="*/ 79246 w 169551"/>
                    <a:gd name="connsiteY114" fmla="*/ 4546 h 144550"/>
                    <a:gd name="connsiteX115" fmla="*/ 75760 w 169551"/>
                    <a:gd name="connsiteY115" fmla="*/ 5606 h 144550"/>
                    <a:gd name="connsiteX116" fmla="*/ 72730 w 169551"/>
                    <a:gd name="connsiteY116" fmla="*/ 5758 h 144550"/>
                    <a:gd name="connsiteX117" fmla="*/ 66670 w 169551"/>
                    <a:gd name="connsiteY117" fmla="*/ 4697 h 144550"/>
                    <a:gd name="connsiteX118" fmla="*/ 63487 w 169551"/>
                    <a:gd name="connsiteY118" fmla="*/ 5000 h 144550"/>
                    <a:gd name="connsiteX119" fmla="*/ 60305 w 169551"/>
                    <a:gd name="connsiteY119" fmla="*/ 6667 h 144550"/>
                    <a:gd name="connsiteX120" fmla="*/ 56972 w 169551"/>
                    <a:gd name="connsiteY120" fmla="*/ 7879 h 144550"/>
                    <a:gd name="connsiteX121" fmla="*/ 52729 w 169551"/>
                    <a:gd name="connsiteY121" fmla="*/ 8637 h 144550"/>
                    <a:gd name="connsiteX122" fmla="*/ 49850 w 169551"/>
                    <a:gd name="connsiteY122" fmla="*/ 10758 h 144550"/>
                    <a:gd name="connsiteX123" fmla="*/ 48335 w 169551"/>
                    <a:gd name="connsiteY123" fmla="*/ 12576 h 144550"/>
                    <a:gd name="connsiteX124" fmla="*/ 48032 w 169551"/>
                    <a:gd name="connsiteY124" fmla="*/ 14849 h 144550"/>
                    <a:gd name="connsiteX125" fmla="*/ 49396 w 169551"/>
                    <a:gd name="connsiteY125" fmla="*/ 19698 h 144550"/>
                    <a:gd name="connsiteX126" fmla="*/ 49699 w 169551"/>
                    <a:gd name="connsiteY126" fmla="*/ 21819 h 144550"/>
                    <a:gd name="connsiteX127" fmla="*/ 53032 w 169551"/>
                    <a:gd name="connsiteY127" fmla="*/ 24698 h 144550"/>
                    <a:gd name="connsiteX128" fmla="*/ 49850 w 169551"/>
                    <a:gd name="connsiteY128" fmla="*/ 25455 h 144550"/>
                    <a:gd name="connsiteX129" fmla="*/ 46669 w 169551"/>
                    <a:gd name="connsiteY129" fmla="*/ 24849 h 144550"/>
                    <a:gd name="connsiteX130" fmla="*/ 43638 w 169551"/>
                    <a:gd name="connsiteY130" fmla="*/ 24849 h 144550"/>
                    <a:gd name="connsiteX131" fmla="*/ 40608 w 169551"/>
                    <a:gd name="connsiteY131" fmla="*/ 25607 h 144550"/>
                    <a:gd name="connsiteX132" fmla="*/ 37729 w 169551"/>
                    <a:gd name="connsiteY132" fmla="*/ 26819 h 144550"/>
                    <a:gd name="connsiteX133" fmla="*/ 31365 w 169551"/>
                    <a:gd name="connsiteY133" fmla="*/ 31213 h 144550"/>
                    <a:gd name="connsiteX134" fmla="*/ 30607 w 169551"/>
                    <a:gd name="connsiteY134" fmla="*/ 32425 h 144550"/>
                    <a:gd name="connsiteX135" fmla="*/ 30001 w 169551"/>
                    <a:gd name="connsiteY135" fmla="*/ 34092 h 144550"/>
                    <a:gd name="connsiteX136" fmla="*/ 32123 w 169551"/>
                    <a:gd name="connsiteY136" fmla="*/ 35759 h 144550"/>
                    <a:gd name="connsiteX137" fmla="*/ 34244 w 169551"/>
                    <a:gd name="connsiteY137" fmla="*/ 36971 h 144550"/>
                    <a:gd name="connsiteX138" fmla="*/ 40608 w 169551"/>
                    <a:gd name="connsiteY138" fmla="*/ 37577 h 144550"/>
                    <a:gd name="connsiteX139" fmla="*/ 38486 w 169551"/>
                    <a:gd name="connsiteY139" fmla="*/ 40153 h 144550"/>
                    <a:gd name="connsiteX140" fmla="*/ 38032 w 169551"/>
                    <a:gd name="connsiteY140" fmla="*/ 41668 h 144550"/>
                    <a:gd name="connsiteX141" fmla="*/ 39244 w 169551"/>
                    <a:gd name="connsiteY141" fmla="*/ 43789 h 144550"/>
                    <a:gd name="connsiteX142" fmla="*/ 36062 w 169551"/>
                    <a:gd name="connsiteY142" fmla="*/ 47274 h 144550"/>
                    <a:gd name="connsiteX143" fmla="*/ 35153 w 169551"/>
                    <a:gd name="connsiteY143" fmla="*/ 49699 h 144550"/>
                    <a:gd name="connsiteX144" fmla="*/ 34850 w 169551"/>
                    <a:gd name="connsiteY144" fmla="*/ 51972 h 144550"/>
                    <a:gd name="connsiteX145" fmla="*/ 33638 w 169551"/>
                    <a:gd name="connsiteY145" fmla="*/ 54850 h 144550"/>
                    <a:gd name="connsiteX146" fmla="*/ 32577 w 169551"/>
                    <a:gd name="connsiteY146" fmla="*/ 56669 h 144550"/>
                    <a:gd name="connsiteX147" fmla="*/ 31668 w 169551"/>
                    <a:gd name="connsiteY147" fmla="*/ 57578 h 144550"/>
                    <a:gd name="connsiteX148" fmla="*/ 28183 w 169551"/>
                    <a:gd name="connsiteY148" fmla="*/ 59245 h 144550"/>
                    <a:gd name="connsiteX149" fmla="*/ 26668 w 169551"/>
                    <a:gd name="connsiteY149" fmla="*/ 62123 h 144550"/>
                    <a:gd name="connsiteX150" fmla="*/ 24698 w 169551"/>
                    <a:gd name="connsiteY150" fmla="*/ 64245 h 144550"/>
                    <a:gd name="connsiteX151" fmla="*/ 22425 w 169551"/>
                    <a:gd name="connsiteY151" fmla="*/ 65457 h 144550"/>
                    <a:gd name="connsiteX152" fmla="*/ 17425 w 169551"/>
                    <a:gd name="connsiteY152" fmla="*/ 65457 h 144550"/>
                    <a:gd name="connsiteX153" fmla="*/ 12425 w 169551"/>
                    <a:gd name="connsiteY153" fmla="*/ 64245 h 144550"/>
                    <a:gd name="connsiteX154" fmla="*/ 10304 w 169551"/>
                    <a:gd name="connsiteY154" fmla="*/ 64851 h 144550"/>
                    <a:gd name="connsiteX155" fmla="*/ 6061 w 169551"/>
                    <a:gd name="connsiteY155" fmla="*/ 67124 h 14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69551" h="144550">
                      <a:moveTo>
                        <a:pt x="4091" y="68487"/>
                      </a:moveTo>
                      <a:lnTo>
                        <a:pt x="1364" y="73184"/>
                      </a:lnTo>
                      <a:lnTo>
                        <a:pt x="303" y="75457"/>
                      </a:lnTo>
                      <a:lnTo>
                        <a:pt x="0" y="81064"/>
                      </a:lnTo>
                      <a:lnTo>
                        <a:pt x="152" y="83488"/>
                      </a:lnTo>
                      <a:lnTo>
                        <a:pt x="2273" y="90155"/>
                      </a:lnTo>
                      <a:lnTo>
                        <a:pt x="4394" y="93943"/>
                      </a:lnTo>
                      <a:lnTo>
                        <a:pt x="7121" y="96367"/>
                      </a:lnTo>
                      <a:lnTo>
                        <a:pt x="10455" y="98034"/>
                      </a:lnTo>
                      <a:lnTo>
                        <a:pt x="13940" y="98943"/>
                      </a:lnTo>
                      <a:lnTo>
                        <a:pt x="20455" y="98034"/>
                      </a:lnTo>
                      <a:lnTo>
                        <a:pt x="26971" y="95761"/>
                      </a:lnTo>
                      <a:lnTo>
                        <a:pt x="34092" y="97276"/>
                      </a:lnTo>
                      <a:lnTo>
                        <a:pt x="40456" y="97882"/>
                      </a:lnTo>
                      <a:lnTo>
                        <a:pt x="52881" y="95458"/>
                      </a:lnTo>
                      <a:lnTo>
                        <a:pt x="54245" y="96064"/>
                      </a:lnTo>
                      <a:lnTo>
                        <a:pt x="51972" y="98791"/>
                      </a:lnTo>
                      <a:lnTo>
                        <a:pt x="51669" y="102731"/>
                      </a:lnTo>
                      <a:lnTo>
                        <a:pt x="54093" y="105761"/>
                      </a:lnTo>
                      <a:lnTo>
                        <a:pt x="56972" y="105610"/>
                      </a:lnTo>
                      <a:lnTo>
                        <a:pt x="60003" y="106064"/>
                      </a:lnTo>
                      <a:lnTo>
                        <a:pt x="59093" y="107883"/>
                      </a:lnTo>
                      <a:lnTo>
                        <a:pt x="67124" y="112883"/>
                      </a:lnTo>
                      <a:lnTo>
                        <a:pt x="74548" y="116519"/>
                      </a:lnTo>
                      <a:lnTo>
                        <a:pt x="72882" y="117580"/>
                      </a:lnTo>
                      <a:lnTo>
                        <a:pt x="68184" y="115913"/>
                      </a:lnTo>
                      <a:lnTo>
                        <a:pt x="65760" y="116368"/>
                      </a:lnTo>
                      <a:lnTo>
                        <a:pt x="66366" y="119247"/>
                      </a:lnTo>
                      <a:lnTo>
                        <a:pt x="61215" y="118489"/>
                      </a:lnTo>
                      <a:lnTo>
                        <a:pt x="59093" y="120156"/>
                      </a:lnTo>
                      <a:lnTo>
                        <a:pt x="59093" y="122732"/>
                      </a:lnTo>
                      <a:lnTo>
                        <a:pt x="59851" y="125308"/>
                      </a:lnTo>
                      <a:lnTo>
                        <a:pt x="59699" y="127126"/>
                      </a:lnTo>
                      <a:lnTo>
                        <a:pt x="55760" y="127732"/>
                      </a:lnTo>
                      <a:lnTo>
                        <a:pt x="53487" y="129096"/>
                      </a:lnTo>
                      <a:lnTo>
                        <a:pt x="62730" y="132126"/>
                      </a:lnTo>
                      <a:lnTo>
                        <a:pt x="75760" y="134550"/>
                      </a:lnTo>
                      <a:lnTo>
                        <a:pt x="79397" y="135611"/>
                      </a:lnTo>
                      <a:lnTo>
                        <a:pt x="84397" y="138187"/>
                      </a:lnTo>
                      <a:lnTo>
                        <a:pt x="86822" y="138793"/>
                      </a:lnTo>
                      <a:lnTo>
                        <a:pt x="86973" y="137126"/>
                      </a:lnTo>
                      <a:lnTo>
                        <a:pt x="87882" y="135763"/>
                      </a:lnTo>
                      <a:lnTo>
                        <a:pt x="94095" y="138944"/>
                      </a:lnTo>
                      <a:lnTo>
                        <a:pt x="99095" y="139399"/>
                      </a:lnTo>
                      <a:lnTo>
                        <a:pt x="104095" y="139551"/>
                      </a:lnTo>
                      <a:lnTo>
                        <a:pt x="116520" y="138187"/>
                      </a:lnTo>
                      <a:lnTo>
                        <a:pt x="116974" y="138944"/>
                      </a:lnTo>
                      <a:lnTo>
                        <a:pt x="116974" y="140611"/>
                      </a:lnTo>
                      <a:lnTo>
                        <a:pt x="119398" y="141975"/>
                      </a:lnTo>
                      <a:lnTo>
                        <a:pt x="122429" y="141520"/>
                      </a:lnTo>
                      <a:lnTo>
                        <a:pt x="123490" y="140308"/>
                      </a:lnTo>
                      <a:lnTo>
                        <a:pt x="127429" y="141823"/>
                      </a:lnTo>
                      <a:lnTo>
                        <a:pt x="128187" y="140460"/>
                      </a:lnTo>
                      <a:lnTo>
                        <a:pt x="128944" y="139854"/>
                      </a:lnTo>
                      <a:lnTo>
                        <a:pt x="136975" y="144551"/>
                      </a:lnTo>
                      <a:lnTo>
                        <a:pt x="138642" y="144399"/>
                      </a:lnTo>
                      <a:lnTo>
                        <a:pt x="140308" y="143036"/>
                      </a:lnTo>
                      <a:lnTo>
                        <a:pt x="136369" y="139551"/>
                      </a:lnTo>
                      <a:lnTo>
                        <a:pt x="134248" y="138944"/>
                      </a:lnTo>
                      <a:lnTo>
                        <a:pt x="132126" y="136975"/>
                      </a:lnTo>
                      <a:lnTo>
                        <a:pt x="135611" y="136066"/>
                      </a:lnTo>
                      <a:lnTo>
                        <a:pt x="138945" y="136369"/>
                      </a:lnTo>
                      <a:lnTo>
                        <a:pt x="140611" y="137884"/>
                      </a:lnTo>
                      <a:lnTo>
                        <a:pt x="141975" y="140005"/>
                      </a:lnTo>
                      <a:lnTo>
                        <a:pt x="142733" y="140460"/>
                      </a:lnTo>
                      <a:lnTo>
                        <a:pt x="156370" y="143339"/>
                      </a:lnTo>
                      <a:lnTo>
                        <a:pt x="159097" y="142429"/>
                      </a:lnTo>
                      <a:lnTo>
                        <a:pt x="159551" y="140914"/>
                      </a:lnTo>
                      <a:lnTo>
                        <a:pt x="164552" y="139702"/>
                      </a:lnTo>
                      <a:lnTo>
                        <a:pt x="169552" y="136369"/>
                      </a:lnTo>
                      <a:lnTo>
                        <a:pt x="167582" y="134550"/>
                      </a:lnTo>
                      <a:lnTo>
                        <a:pt x="165613" y="133187"/>
                      </a:lnTo>
                      <a:lnTo>
                        <a:pt x="154249" y="128944"/>
                      </a:lnTo>
                      <a:lnTo>
                        <a:pt x="149551" y="126520"/>
                      </a:lnTo>
                      <a:lnTo>
                        <a:pt x="137429" y="117429"/>
                      </a:lnTo>
                      <a:lnTo>
                        <a:pt x="126217" y="105458"/>
                      </a:lnTo>
                      <a:lnTo>
                        <a:pt x="120005" y="97276"/>
                      </a:lnTo>
                      <a:lnTo>
                        <a:pt x="114398" y="88033"/>
                      </a:lnTo>
                      <a:lnTo>
                        <a:pt x="112580" y="83185"/>
                      </a:lnTo>
                      <a:lnTo>
                        <a:pt x="110610" y="78791"/>
                      </a:lnTo>
                      <a:lnTo>
                        <a:pt x="105762" y="75457"/>
                      </a:lnTo>
                      <a:lnTo>
                        <a:pt x="107883" y="71366"/>
                      </a:lnTo>
                      <a:lnTo>
                        <a:pt x="108641" y="66669"/>
                      </a:lnTo>
                      <a:lnTo>
                        <a:pt x="111217" y="62730"/>
                      </a:lnTo>
                      <a:lnTo>
                        <a:pt x="111822" y="60760"/>
                      </a:lnTo>
                      <a:lnTo>
                        <a:pt x="108641" y="56063"/>
                      </a:lnTo>
                      <a:lnTo>
                        <a:pt x="108338" y="52729"/>
                      </a:lnTo>
                      <a:lnTo>
                        <a:pt x="107429" y="51062"/>
                      </a:lnTo>
                      <a:lnTo>
                        <a:pt x="107429" y="48184"/>
                      </a:lnTo>
                      <a:lnTo>
                        <a:pt x="109095" y="46365"/>
                      </a:lnTo>
                      <a:lnTo>
                        <a:pt x="108641" y="43789"/>
                      </a:lnTo>
                      <a:lnTo>
                        <a:pt x="109701" y="42426"/>
                      </a:lnTo>
                      <a:lnTo>
                        <a:pt x="114550" y="41214"/>
                      </a:lnTo>
                      <a:lnTo>
                        <a:pt x="116823" y="37426"/>
                      </a:lnTo>
                      <a:lnTo>
                        <a:pt x="117277" y="34850"/>
                      </a:lnTo>
                      <a:lnTo>
                        <a:pt x="117429" y="32577"/>
                      </a:lnTo>
                      <a:lnTo>
                        <a:pt x="120156" y="31365"/>
                      </a:lnTo>
                      <a:lnTo>
                        <a:pt x="127278" y="31365"/>
                      </a:lnTo>
                      <a:lnTo>
                        <a:pt x="128338" y="30456"/>
                      </a:lnTo>
                      <a:lnTo>
                        <a:pt x="129702" y="28334"/>
                      </a:lnTo>
                      <a:lnTo>
                        <a:pt x="130308" y="25304"/>
                      </a:lnTo>
                      <a:lnTo>
                        <a:pt x="129551" y="21213"/>
                      </a:lnTo>
                      <a:lnTo>
                        <a:pt x="130157" y="18637"/>
                      </a:lnTo>
                      <a:lnTo>
                        <a:pt x="134248" y="14394"/>
                      </a:lnTo>
                      <a:lnTo>
                        <a:pt x="135914" y="13031"/>
                      </a:lnTo>
                      <a:lnTo>
                        <a:pt x="136823" y="9849"/>
                      </a:lnTo>
                      <a:lnTo>
                        <a:pt x="134551" y="8485"/>
                      </a:lnTo>
                      <a:lnTo>
                        <a:pt x="128793" y="6970"/>
                      </a:lnTo>
                      <a:lnTo>
                        <a:pt x="119247" y="6212"/>
                      </a:lnTo>
                      <a:lnTo>
                        <a:pt x="106368" y="4091"/>
                      </a:lnTo>
                      <a:lnTo>
                        <a:pt x="100913" y="1515"/>
                      </a:lnTo>
                      <a:lnTo>
                        <a:pt x="96065" y="151"/>
                      </a:lnTo>
                      <a:lnTo>
                        <a:pt x="92277" y="0"/>
                      </a:lnTo>
                      <a:lnTo>
                        <a:pt x="88791" y="909"/>
                      </a:lnTo>
                      <a:lnTo>
                        <a:pt x="79246" y="4546"/>
                      </a:lnTo>
                      <a:lnTo>
                        <a:pt x="75760" y="5606"/>
                      </a:lnTo>
                      <a:lnTo>
                        <a:pt x="72730" y="5758"/>
                      </a:lnTo>
                      <a:lnTo>
                        <a:pt x="66670" y="4697"/>
                      </a:lnTo>
                      <a:lnTo>
                        <a:pt x="63487" y="5000"/>
                      </a:lnTo>
                      <a:lnTo>
                        <a:pt x="60305" y="6667"/>
                      </a:lnTo>
                      <a:lnTo>
                        <a:pt x="56972" y="7879"/>
                      </a:lnTo>
                      <a:lnTo>
                        <a:pt x="52729" y="8637"/>
                      </a:lnTo>
                      <a:lnTo>
                        <a:pt x="49850" y="10758"/>
                      </a:lnTo>
                      <a:lnTo>
                        <a:pt x="48335" y="12576"/>
                      </a:lnTo>
                      <a:lnTo>
                        <a:pt x="48032" y="14849"/>
                      </a:lnTo>
                      <a:lnTo>
                        <a:pt x="49396" y="19698"/>
                      </a:lnTo>
                      <a:lnTo>
                        <a:pt x="49699" y="21819"/>
                      </a:lnTo>
                      <a:lnTo>
                        <a:pt x="53032" y="24698"/>
                      </a:lnTo>
                      <a:lnTo>
                        <a:pt x="49850" y="25455"/>
                      </a:lnTo>
                      <a:lnTo>
                        <a:pt x="46669" y="24849"/>
                      </a:lnTo>
                      <a:lnTo>
                        <a:pt x="43638" y="24849"/>
                      </a:lnTo>
                      <a:lnTo>
                        <a:pt x="40608" y="25607"/>
                      </a:lnTo>
                      <a:lnTo>
                        <a:pt x="37729" y="26819"/>
                      </a:lnTo>
                      <a:lnTo>
                        <a:pt x="31365" y="31213"/>
                      </a:lnTo>
                      <a:lnTo>
                        <a:pt x="30607" y="32425"/>
                      </a:lnTo>
                      <a:lnTo>
                        <a:pt x="30001" y="34092"/>
                      </a:lnTo>
                      <a:lnTo>
                        <a:pt x="32123" y="35759"/>
                      </a:lnTo>
                      <a:lnTo>
                        <a:pt x="34244" y="36971"/>
                      </a:lnTo>
                      <a:lnTo>
                        <a:pt x="40608" y="37577"/>
                      </a:lnTo>
                      <a:lnTo>
                        <a:pt x="38486" y="40153"/>
                      </a:lnTo>
                      <a:lnTo>
                        <a:pt x="38032" y="41668"/>
                      </a:lnTo>
                      <a:lnTo>
                        <a:pt x="39244" y="43789"/>
                      </a:lnTo>
                      <a:lnTo>
                        <a:pt x="36062" y="47274"/>
                      </a:lnTo>
                      <a:lnTo>
                        <a:pt x="35153" y="49699"/>
                      </a:lnTo>
                      <a:lnTo>
                        <a:pt x="34850" y="51972"/>
                      </a:lnTo>
                      <a:lnTo>
                        <a:pt x="33638" y="54850"/>
                      </a:lnTo>
                      <a:lnTo>
                        <a:pt x="32577" y="56669"/>
                      </a:lnTo>
                      <a:lnTo>
                        <a:pt x="31668" y="57578"/>
                      </a:lnTo>
                      <a:lnTo>
                        <a:pt x="28183" y="59245"/>
                      </a:lnTo>
                      <a:lnTo>
                        <a:pt x="26668" y="62123"/>
                      </a:lnTo>
                      <a:lnTo>
                        <a:pt x="24698" y="64245"/>
                      </a:lnTo>
                      <a:lnTo>
                        <a:pt x="22425" y="65457"/>
                      </a:lnTo>
                      <a:lnTo>
                        <a:pt x="17425" y="65457"/>
                      </a:lnTo>
                      <a:lnTo>
                        <a:pt x="12425" y="64245"/>
                      </a:lnTo>
                      <a:lnTo>
                        <a:pt x="10304" y="64851"/>
                      </a:lnTo>
                      <a:lnTo>
                        <a:pt x="6061" y="671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8" name="Freeform: Shape 3157">
                  <a:extLst>
                    <a:ext uri="{FF2B5EF4-FFF2-40B4-BE49-F238E27FC236}">
                      <a16:creationId xmlns:a16="http://schemas.microsoft.com/office/drawing/2014/main" id="{255AB534-E61B-4340-86AE-6F2EC7D88E06}"/>
                    </a:ext>
                  </a:extLst>
                </p:cNvPr>
                <p:cNvSpPr/>
                <p:nvPr/>
              </p:nvSpPr>
              <p:spPr>
                <a:xfrm>
                  <a:off x="7420443" y="1623250"/>
                  <a:ext cx="41213" cy="11364"/>
                </a:xfrm>
                <a:custGeom>
                  <a:avLst/>
                  <a:gdLst>
                    <a:gd name="connsiteX0" fmla="*/ 21061 w 41213"/>
                    <a:gd name="connsiteY0" fmla="*/ 11364 h 11364"/>
                    <a:gd name="connsiteX1" fmla="*/ 29546 w 41213"/>
                    <a:gd name="connsiteY1" fmla="*/ 10000 h 11364"/>
                    <a:gd name="connsiteX2" fmla="*/ 38638 w 41213"/>
                    <a:gd name="connsiteY2" fmla="*/ 6061 h 11364"/>
                    <a:gd name="connsiteX3" fmla="*/ 41214 w 41213"/>
                    <a:gd name="connsiteY3" fmla="*/ 3485 h 11364"/>
                    <a:gd name="connsiteX4" fmla="*/ 38335 w 41213"/>
                    <a:gd name="connsiteY4" fmla="*/ 0 h 11364"/>
                    <a:gd name="connsiteX5" fmla="*/ 14394 w 41213"/>
                    <a:gd name="connsiteY5" fmla="*/ 1061 h 11364"/>
                    <a:gd name="connsiteX6" fmla="*/ 2424 w 41213"/>
                    <a:gd name="connsiteY6" fmla="*/ 5758 h 11364"/>
                    <a:gd name="connsiteX7" fmla="*/ 606 w 41213"/>
                    <a:gd name="connsiteY7" fmla="*/ 6818 h 11364"/>
                    <a:gd name="connsiteX8" fmla="*/ 0 w 41213"/>
                    <a:gd name="connsiteY8" fmla="*/ 7728 h 11364"/>
                    <a:gd name="connsiteX9" fmla="*/ 7121 w 41213"/>
                    <a:gd name="connsiteY9" fmla="*/ 9697 h 1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13" h="11364">
                      <a:moveTo>
                        <a:pt x="21061" y="11364"/>
                      </a:moveTo>
                      <a:lnTo>
                        <a:pt x="29546" y="10000"/>
                      </a:lnTo>
                      <a:lnTo>
                        <a:pt x="38638" y="6061"/>
                      </a:lnTo>
                      <a:lnTo>
                        <a:pt x="41214" y="3485"/>
                      </a:lnTo>
                      <a:lnTo>
                        <a:pt x="38335" y="0"/>
                      </a:lnTo>
                      <a:lnTo>
                        <a:pt x="14394" y="1061"/>
                      </a:lnTo>
                      <a:lnTo>
                        <a:pt x="2424" y="5758"/>
                      </a:lnTo>
                      <a:lnTo>
                        <a:pt x="606" y="6818"/>
                      </a:lnTo>
                      <a:lnTo>
                        <a:pt x="0" y="7728"/>
                      </a:lnTo>
                      <a:lnTo>
                        <a:pt x="7121" y="9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9" name="Freeform: Shape 3158">
                  <a:extLst>
                    <a:ext uri="{FF2B5EF4-FFF2-40B4-BE49-F238E27FC236}">
                      <a16:creationId xmlns:a16="http://schemas.microsoft.com/office/drawing/2014/main" id="{D831160C-E6BA-487A-B71D-38BEA1A8ED9F}"/>
                    </a:ext>
                  </a:extLst>
                </p:cNvPr>
                <p:cNvSpPr/>
                <p:nvPr/>
              </p:nvSpPr>
              <p:spPr>
                <a:xfrm>
                  <a:off x="7487718" y="1617189"/>
                  <a:ext cx="79851" cy="32273"/>
                </a:xfrm>
                <a:custGeom>
                  <a:avLst/>
                  <a:gdLst>
                    <a:gd name="connsiteX0" fmla="*/ 16364 w 79851"/>
                    <a:gd name="connsiteY0" fmla="*/ 15001 h 32273"/>
                    <a:gd name="connsiteX1" fmla="*/ 8182 w 79851"/>
                    <a:gd name="connsiteY1" fmla="*/ 19698 h 32273"/>
                    <a:gd name="connsiteX2" fmla="*/ 2121 w 79851"/>
                    <a:gd name="connsiteY2" fmla="*/ 22274 h 32273"/>
                    <a:gd name="connsiteX3" fmla="*/ 0 w 79851"/>
                    <a:gd name="connsiteY3" fmla="*/ 24243 h 32273"/>
                    <a:gd name="connsiteX4" fmla="*/ 6667 w 79851"/>
                    <a:gd name="connsiteY4" fmla="*/ 28031 h 32273"/>
                    <a:gd name="connsiteX5" fmla="*/ 13182 w 79851"/>
                    <a:gd name="connsiteY5" fmla="*/ 31365 h 32273"/>
                    <a:gd name="connsiteX6" fmla="*/ 18334 w 79851"/>
                    <a:gd name="connsiteY6" fmla="*/ 32274 h 32273"/>
                    <a:gd name="connsiteX7" fmla="*/ 23486 w 79851"/>
                    <a:gd name="connsiteY7" fmla="*/ 32122 h 32273"/>
                    <a:gd name="connsiteX8" fmla="*/ 55608 w 79851"/>
                    <a:gd name="connsiteY8" fmla="*/ 28637 h 32273"/>
                    <a:gd name="connsiteX9" fmla="*/ 67881 w 79851"/>
                    <a:gd name="connsiteY9" fmla="*/ 24546 h 32273"/>
                    <a:gd name="connsiteX10" fmla="*/ 79851 w 79851"/>
                    <a:gd name="connsiteY10" fmla="*/ 17273 h 32273"/>
                    <a:gd name="connsiteX11" fmla="*/ 78033 w 79851"/>
                    <a:gd name="connsiteY11" fmla="*/ 14849 h 32273"/>
                    <a:gd name="connsiteX12" fmla="*/ 77730 w 79851"/>
                    <a:gd name="connsiteY12" fmla="*/ 12273 h 32273"/>
                    <a:gd name="connsiteX13" fmla="*/ 78336 w 79851"/>
                    <a:gd name="connsiteY13" fmla="*/ 9243 h 32273"/>
                    <a:gd name="connsiteX14" fmla="*/ 76367 w 79851"/>
                    <a:gd name="connsiteY14" fmla="*/ 6667 h 32273"/>
                    <a:gd name="connsiteX15" fmla="*/ 72579 w 79851"/>
                    <a:gd name="connsiteY15" fmla="*/ 3485 h 32273"/>
                    <a:gd name="connsiteX16" fmla="*/ 68639 w 79851"/>
                    <a:gd name="connsiteY16" fmla="*/ 1818 h 32273"/>
                    <a:gd name="connsiteX17" fmla="*/ 62578 w 79851"/>
                    <a:gd name="connsiteY17" fmla="*/ 0 h 32273"/>
                    <a:gd name="connsiteX18" fmla="*/ 56366 w 79851"/>
                    <a:gd name="connsiteY18" fmla="*/ 0 h 32273"/>
                    <a:gd name="connsiteX19" fmla="*/ 49093 w 79851"/>
                    <a:gd name="connsiteY19" fmla="*/ 1515 h 32273"/>
                    <a:gd name="connsiteX20" fmla="*/ 47577 w 79851"/>
                    <a:gd name="connsiteY20" fmla="*/ 3485 h 32273"/>
                    <a:gd name="connsiteX21" fmla="*/ 46365 w 79851"/>
                    <a:gd name="connsiteY21" fmla="*/ 5909 h 32273"/>
                    <a:gd name="connsiteX22" fmla="*/ 45153 w 79851"/>
                    <a:gd name="connsiteY22" fmla="*/ 10606 h 32273"/>
                    <a:gd name="connsiteX23" fmla="*/ 43184 w 79851"/>
                    <a:gd name="connsiteY23" fmla="*/ 12879 h 32273"/>
                    <a:gd name="connsiteX24" fmla="*/ 36668 w 79851"/>
                    <a:gd name="connsiteY24" fmla="*/ 14091 h 32273"/>
                    <a:gd name="connsiteX25" fmla="*/ 30001 w 79851"/>
                    <a:gd name="connsiteY25" fmla="*/ 14091 h 3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51" h="32273">
                      <a:moveTo>
                        <a:pt x="16364" y="15001"/>
                      </a:moveTo>
                      <a:lnTo>
                        <a:pt x="8182" y="19698"/>
                      </a:lnTo>
                      <a:lnTo>
                        <a:pt x="2121" y="22274"/>
                      </a:lnTo>
                      <a:lnTo>
                        <a:pt x="0" y="24243"/>
                      </a:lnTo>
                      <a:lnTo>
                        <a:pt x="6667" y="28031"/>
                      </a:lnTo>
                      <a:lnTo>
                        <a:pt x="13182" y="31365"/>
                      </a:lnTo>
                      <a:lnTo>
                        <a:pt x="18334" y="32274"/>
                      </a:lnTo>
                      <a:lnTo>
                        <a:pt x="23486" y="32122"/>
                      </a:lnTo>
                      <a:lnTo>
                        <a:pt x="55608" y="28637"/>
                      </a:lnTo>
                      <a:lnTo>
                        <a:pt x="67881" y="24546"/>
                      </a:lnTo>
                      <a:lnTo>
                        <a:pt x="79851" y="17273"/>
                      </a:lnTo>
                      <a:lnTo>
                        <a:pt x="78033" y="14849"/>
                      </a:lnTo>
                      <a:lnTo>
                        <a:pt x="77730" y="12273"/>
                      </a:lnTo>
                      <a:lnTo>
                        <a:pt x="78336" y="9243"/>
                      </a:lnTo>
                      <a:lnTo>
                        <a:pt x="76367" y="6667"/>
                      </a:lnTo>
                      <a:lnTo>
                        <a:pt x="72579" y="3485"/>
                      </a:lnTo>
                      <a:lnTo>
                        <a:pt x="68639" y="1818"/>
                      </a:lnTo>
                      <a:lnTo>
                        <a:pt x="62578" y="0"/>
                      </a:lnTo>
                      <a:lnTo>
                        <a:pt x="56366" y="0"/>
                      </a:lnTo>
                      <a:lnTo>
                        <a:pt x="49093" y="1515"/>
                      </a:lnTo>
                      <a:lnTo>
                        <a:pt x="47577" y="3485"/>
                      </a:lnTo>
                      <a:lnTo>
                        <a:pt x="46365" y="5909"/>
                      </a:lnTo>
                      <a:lnTo>
                        <a:pt x="45153" y="10606"/>
                      </a:lnTo>
                      <a:lnTo>
                        <a:pt x="43184" y="12879"/>
                      </a:lnTo>
                      <a:lnTo>
                        <a:pt x="36668" y="14091"/>
                      </a:lnTo>
                      <a:lnTo>
                        <a:pt x="30001" y="1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0" name="Freeform: Shape 3159">
                  <a:extLst>
                    <a:ext uri="{FF2B5EF4-FFF2-40B4-BE49-F238E27FC236}">
                      <a16:creationId xmlns:a16="http://schemas.microsoft.com/office/drawing/2014/main" id="{C66829C9-6051-42C4-AD4A-0D95D18165AD}"/>
                    </a:ext>
                  </a:extLst>
                </p:cNvPr>
                <p:cNvSpPr/>
                <p:nvPr/>
              </p:nvSpPr>
              <p:spPr>
                <a:xfrm>
                  <a:off x="9772651" y="3299220"/>
                  <a:ext cx="1969" cy="1363"/>
                </a:xfrm>
                <a:custGeom>
                  <a:avLst/>
                  <a:gdLst>
                    <a:gd name="connsiteX0" fmla="*/ 606 w 1969"/>
                    <a:gd name="connsiteY0" fmla="*/ 455 h 1363"/>
                    <a:gd name="connsiteX1" fmla="*/ 0 w 1969"/>
                    <a:gd name="connsiteY1" fmla="*/ 909 h 1363"/>
                    <a:gd name="connsiteX2" fmla="*/ 151 w 1969"/>
                    <a:gd name="connsiteY2" fmla="*/ 1364 h 1363"/>
                    <a:gd name="connsiteX3" fmla="*/ 454 w 1969"/>
                    <a:gd name="connsiteY3" fmla="*/ 1364 h 1363"/>
                    <a:gd name="connsiteX4" fmla="*/ 1060 w 1969"/>
                    <a:gd name="connsiteY4" fmla="*/ 909 h 1363"/>
                    <a:gd name="connsiteX5" fmla="*/ 1515 w 1969"/>
                    <a:gd name="connsiteY5" fmla="*/ 606 h 1363"/>
                    <a:gd name="connsiteX6" fmla="*/ 1970 w 1969"/>
                    <a:gd name="connsiteY6" fmla="*/ 303 h 1363"/>
                    <a:gd name="connsiteX7" fmla="*/ 1667 w 1969"/>
                    <a:gd name="connsiteY7" fmla="*/ 0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 h="1363">
                      <a:moveTo>
                        <a:pt x="606" y="455"/>
                      </a:moveTo>
                      <a:lnTo>
                        <a:pt x="0" y="909"/>
                      </a:lnTo>
                      <a:lnTo>
                        <a:pt x="151" y="1364"/>
                      </a:lnTo>
                      <a:lnTo>
                        <a:pt x="454" y="1364"/>
                      </a:lnTo>
                      <a:lnTo>
                        <a:pt x="1060" y="909"/>
                      </a:lnTo>
                      <a:lnTo>
                        <a:pt x="1515" y="606"/>
                      </a:lnTo>
                      <a:lnTo>
                        <a:pt x="1970" y="303"/>
                      </a:lnTo>
                      <a:lnTo>
                        <a:pt x="1667"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1" name="Freeform: Shape 3160">
                  <a:extLst>
                    <a:ext uri="{FF2B5EF4-FFF2-40B4-BE49-F238E27FC236}">
                      <a16:creationId xmlns:a16="http://schemas.microsoft.com/office/drawing/2014/main" id="{E2A116FF-8AFD-4970-8501-77EC5DC23281}"/>
                    </a:ext>
                  </a:extLst>
                </p:cNvPr>
                <p:cNvSpPr/>
                <p:nvPr/>
              </p:nvSpPr>
              <p:spPr>
                <a:xfrm>
                  <a:off x="7476505" y="1583097"/>
                  <a:ext cx="45759" cy="8030"/>
                </a:xfrm>
                <a:custGeom>
                  <a:avLst/>
                  <a:gdLst>
                    <a:gd name="connsiteX0" fmla="*/ 11516 w 45759"/>
                    <a:gd name="connsiteY0" fmla="*/ 4697 h 8030"/>
                    <a:gd name="connsiteX1" fmla="*/ 12728 w 45759"/>
                    <a:gd name="connsiteY1" fmla="*/ 5606 h 8030"/>
                    <a:gd name="connsiteX2" fmla="*/ 21213 w 45759"/>
                    <a:gd name="connsiteY2" fmla="*/ 7273 h 8030"/>
                    <a:gd name="connsiteX3" fmla="*/ 38941 w 45759"/>
                    <a:gd name="connsiteY3" fmla="*/ 8031 h 8030"/>
                    <a:gd name="connsiteX4" fmla="*/ 42274 w 45759"/>
                    <a:gd name="connsiteY4" fmla="*/ 7273 h 8030"/>
                    <a:gd name="connsiteX5" fmla="*/ 45760 w 45759"/>
                    <a:gd name="connsiteY5" fmla="*/ 4546 h 8030"/>
                    <a:gd name="connsiteX6" fmla="*/ 45456 w 45759"/>
                    <a:gd name="connsiteY6" fmla="*/ 3636 h 8030"/>
                    <a:gd name="connsiteX7" fmla="*/ 43790 w 45759"/>
                    <a:gd name="connsiteY7" fmla="*/ 2121 h 8030"/>
                    <a:gd name="connsiteX8" fmla="*/ 18789 w 45759"/>
                    <a:gd name="connsiteY8" fmla="*/ 0 h 8030"/>
                    <a:gd name="connsiteX9" fmla="*/ 4849 w 45759"/>
                    <a:gd name="connsiteY9" fmla="*/ 758 h 8030"/>
                    <a:gd name="connsiteX10" fmla="*/ 0 w 45759"/>
                    <a:gd name="connsiteY10" fmla="*/ 2576 h 8030"/>
                    <a:gd name="connsiteX11" fmla="*/ 11213 w 45759"/>
                    <a:gd name="connsiteY11" fmla="*/ 3940 h 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59" h="8030">
                      <a:moveTo>
                        <a:pt x="11516" y="4697"/>
                      </a:moveTo>
                      <a:lnTo>
                        <a:pt x="12728" y="5606"/>
                      </a:lnTo>
                      <a:lnTo>
                        <a:pt x="21213" y="7273"/>
                      </a:lnTo>
                      <a:lnTo>
                        <a:pt x="38941" y="8031"/>
                      </a:lnTo>
                      <a:lnTo>
                        <a:pt x="42274" y="7273"/>
                      </a:lnTo>
                      <a:lnTo>
                        <a:pt x="45760" y="4546"/>
                      </a:lnTo>
                      <a:lnTo>
                        <a:pt x="45456" y="3636"/>
                      </a:lnTo>
                      <a:lnTo>
                        <a:pt x="43790" y="2121"/>
                      </a:lnTo>
                      <a:lnTo>
                        <a:pt x="18789" y="0"/>
                      </a:lnTo>
                      <a:lnTo>
                        <a:pt x="4849" y="758"/>
                      </a:lnTo>
                      <a:lnTo>
                        <a:pt x="0" y="2576"/>
                      </a:lnTo>
                      <a:lnTo>
                        <a:pt x="11213" y="3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2" name="Freeform: Shape 3161">
                  <a:extLst>
                    <a:ext uri="{FF2B5EF4-FFF2-40B4-BE49-F238E27FC236}">
                      <a16:creationId xmlns:a16="http://schemas.microsoft.com/office/drawing/2014/main" id="{45422962-313A-445D-89FE-1D0FBB4D6D22}"/>
                    </a:ext>
                  </a:extLst>
                </p:cNvPr>
                <p:cNvSpPr/>
                <p:nvPr/>
              </p:nvSpPr>
              <p:spPr>
                <a:xfrm>
                  <a:off x="6313583" y="2878901"/>
                  <a:ext cx="88336" cy="35455"/>
                </a:xfrm>
                <a:custGeom>
                  <a:avLst/>
                  <a:gdLst>
                    <a:gd name="connsiteX0" fmla="*/ 85003 w 88336"/>
                    <a:gd name="connsiteY0" fmla="*/ 24849 h 35455"/>
                    <a:gd name="connsiteX1" fmla="*/ 88337 w 88336"/>
                    <a:gd name="connsiteY1" fmla="*/ 16970 h 35455"/>
                    <a:gd name="connsiteX2" fmla="*/ 88034 w 88336"/>
                    <a:gd name="connsiteY2" fmla="*/ 15758 h 35455"/>
                    <a:gd name="connsiteX3" fmla="*/ 85761 w 88336"/>
                    <a:gd name="connsiteY3" fmla="*/ 13637 h 35455"/>
                    <a:gd name="connsiteX4" fmla="*/ 82731 w 88336"/>
                    <a:gd name="connsiteY4" fmla="*/ 11970 h 35455"/>
                    <a:gd name="connsiteX5" fmla="*/ 81064 w 88336"/>
                    <a:gd name="connsiteY5" fmla="*/ 8637 h 35455"/>
                    <a:gd name="connsiteX6" fmla="*/ 75003 w 88336"/>
                    <a:gd name="connsiteY6" fmla="*/ 8485 h 35455"/>
                    <a:gd name="connsiteX7" fmla="*/ 69245 w 88336"/>
                    <a:gd name="connsiteY7" fmla="*/ 8637 h 35455"/>
                    <a:gd name="connsiteX8" fmla="*/ 67579 w 88336"/>
                    <a:gd name="connsiteY8" fmla="*/ 8485 h 35455"/>
                    <a:gd name="connsiteX9" fmla="*/ 62124 w 88336"/>
                    <a:gd name="connsiteY9" fmla="*/ 7121 h 35455"/>
                    <a:gd name="connsiteX10" fmla="*/ 56820 w 88336"/>
                    <a:gd name="connsiteY10" fmla="*/ 4849 h 35455"/>
                    <a:gd name="connsiteX11" fmla="*/ 53336 w 88336"/>
                    <a:gd name="connsiteY11" fmla="*/ 3485 h 35455"/>
                    <a:gd name="connsiteX12" fmla="*/ 50457 w 88336"/>
                    <a:gd name="connsiteY12" fmla="*/ 1970 h 35455"/>
                    <a:gd name="connsiteX13" fmla="*/ 48790 w 88336"/>
                    <a:gd name="connsiteY13" fmla="*/ 455 h 35455"/>
                    <a:gd name="connsiteX14" fmla="*/ 46366 w 88336"/>
                    <a:gd name="connsiteY14" fmla="*/ 758 h 35455"/>
                    <a:gd name="connsiteX15" fmla="*/ 44699 w 88336"/>
                    <a:gd name="connsiteY15" fmla="*/ 758 h 35455"/>
                    <a:gd name="connsiteX16" fmla="*/ 44244 w 88336"/>
                    <a:gd name="connsiteY16" fmla="*/ 6819 h 35455"/>
                    <a:gd name="connsiteX17" fmla="*/ 43335 w 88336"/>
                    <a:gd name="connsiteY17" fmla="*/ 13334 h 35455"/>
                    <a:gd name="connsiteX18" fmla="*/ 38032 w 88336"/>
                    <a:gd name="connsiteY18" fmla="*/ 14546 h 35455"/>
                    <a:gd name="connsiteX19" fmla="*/ 35153 w 88336"/>
                    <a:gd name="connsiteY19" fmla="*/ 14395 h 35455"/>
                    <a:gd name="connsiteX20" fmla="*/ 31971 w 88336"/>
                    <a:gd name="connsiteY20" fmla="*/ 12879 h 35455"/>
                    <a:gd name="connsiteX21" fmla="*/ 29395 w 88336"/>
                    <a:gd name="connsiteY21" fmla="*/ 12576 h 35455"/>
                    <a:gd name="connsiteX22" fmla="*/ 27122 w 88336"/>
                    <a:gd name="connsiteY22" fmla="*/ 11516 h 35455"/>
                    <a:gd name="connsiteX23" fmla="*/ 34396 w 88336"/>
                    <a:gd name="connsiteY23" fmla="*/ 3940 h 35455"/>
                    <a:gd name="connsiteX24" fmla="*/ 36971 w 88336"/>
                    <a:gd name="connsiteY24" fmla="*/ 303 h 35455"/>
                    <a:gd name="connsiteX25" fmla="*/ 35456 w 88336"/>
                    <a:gd name="connsiteY25" fmla="*/ 0 h 35455"/>
                    <a:gd name="connsiteX26" fmla="*/ 33941 w 88336"/>
                    <a:gd name="connsiteY26" fmla="*/ 2121 h 35455"/>
                    <a:gd name="connsiteX27" fmla="*/ 29395 w 88336"/>
                    <a:gd name="connsiteY27" fmla="*/ 6970 h 35455"/>
                    <a:gd name="connsiteX28" fmla="*/ 25001 w 88336"/>
                    <a:gd name="connsiteY28" fmla="*/ 11061 h 35455"/>
                    <a:gd name="connsiteX29" fmla="*/ 21668 w 88336"/>
                    <a:gd name="connsiteY29" fmla="*/ 12728 h 35455"/>
                    <a:gd name="connsiteX30" fmla="*/ 13788 w 88336"/>
                    <a:gd name="connsiteY30" fmla="*/ 12576 h 35455"/>
                    <a:gd name="connsiteX31" fmla="*/ 10152 w 88336"/>
                    <a:gd name="connsiteY31" fmla="*/ 13940 h 35455"/>
                    <a:gd name="connsiteX32" fmla="*/ 9546 w 88336"/>
                    <a:gd name="connsiteY32" fmla="*/ 17273 h 35455"/>
                    <a:gd name="connsiteX33" fmla="*/ 9243 w 88336"/>
                    <a:gd name="connsiteY33" fmla="*/ 20455 h 35455"/>
                    <a:gd name="connsiteX34" fmla="*/ 6970 w 88336"/>
                    <a:gd name="connsiteY34" fmla="*/ 24849 h 35455"/>
                    <a:gd name="connsiteX35" fmla="*/ 4243 w 88336"/>
                    <a:gd name="connsiteY35" fmla="*/ 28183 h 35455"/>
                    <a:gd name="connsiteX36" fmla="*/ 0 w 88336"/>
                    <a:gd name="connsiteY36" fmla="*/ 31365 h 35455"/>
                    <a:gd name="connsiteX37" fmla="*/ 1061 w 88336"/>
                    <a:gd name="connsiteY37" fmla="*/ 31819 h 35455"/>
                    <a:gd name="connsiteX38" fmla="*/ 8788 w 88336"/>
                    <a:gd name="connsiteY38" fmla="*/ 32274 h 35455"/>
                    <a:gd name="connsiteX39" fmla="*/ 16516 w 88336"/>
                    <a:gd name="connsiteY39" fmla="*/ 32880 h 35455"/>
                    <a:gd name="connsiteX40" fmla="*/ 28941 w 88336"/>
                    <a:gd name="connsiteY40" fmla="*/ 33335 h 35455"/>
                    <a:gd name="connsiteX41" fmla="*/ 41972 w 88336"/>
                    <a:gd name="connsiteY41" fmla="*/ 33941 h 35455"/>
                    <a:gd name="connsiteX42" fmla="*/ 55608 w 88336"/>
                    <a:gd name="connsiteY42" fmla="*/ 34547 h 35455"/>
                    <a:gd name="connsiteX43" fmla="*/ 70154 w 88336"/>
                    <a:gd name="connsiteY43" fmla="*/ 35153 h 35455"/>
                    <a:gd name="connsiteX44" fmla="*/ 85610 w 88336"/>
                    <a:gd name="connsiteY44" fmla="*/ 35456 h 35455"/>
                    <a:gd name="connsiteX45" fmla="*/ 86519 w 88336"/>
                    <a:gd name="connsiteY45" fmla="*/ 35304 h 35455"/>
                    <a:gd name="connsiteX46" fmla="*/ 85306 w 88336"/>
                    <a:gd name="connsiteY46" fmla="*/ 33335 h 35455"/>
                    <a:gd name="connsiteX47" fmla="*/ 84094 w 88336"/>
                    <a:gd name="connsiteY47" fmla="*/ 30153 h 35455"/>
                    <a:gd name="connsiteX48" fmla="*/ 84246 w 88336"/>
                    <a:gd name="connsiteY48" fmla="*/ 27425 h 3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8336" h="35455">
                      <a:moveTo>
                        <a:pt x="85003" y="24849"/>
                      </a:moveTo>
                      <a:lnTo>
                        <a:pt x="88337" y="16970"/>
                      </a:lnTo>
                      <a:lnTo>
                        <a:pt x="88034" y="15758"/>
                      </a:lnTo>
                      <a:lnTo>
                        <a:pt x="85761" y="13637"/>
                      </a:lnTo>
                      <a:lnTo>
                        <a:pt x="82731" y="11970"/>
                      </a:lnTo>
                      <a:lnTo>
                        <a:pt x="81064" y="8637"/>
                      </a:lnTo>
                      <a:lnTo>
                        <a:pt x="75003" y="8485"/>
                      </a:lnTo>
                      <a:lnTo>
                        <a:pt x="69245" y="8637"/>
                      </a:lnTo>
                      <a:lnTo>
                        <a:pt x="67579" y="8485"/>
                      </a:lnTo>
                      <a:lnTo>
                        <a:pt x="62124" y="7121"/>
                      </a:lnTo>
                      <a:lnTo>
                        <a:pt x="56820" y="4849"/>
                      </a:lnTo>
                      <a:lnTo>
                        <a:pt x="53336" y="3485"/>
                      </a:lnTo>
                      <a:lnTo>
                        <a:pt x="50457" y="1970"/>
                      </a:lnTo>
                      <a:lnTo>
                        <a:pt x="48790" y="455"/>
                      </a:lnTo>
                      <a:lnTo>
                        <a:pt x="46366" y="758"/>
                      </a:lnTo>
                      <a:lnTo>
                        <a:pt x="44699" y="758"/>
                      </a:lnTo>
                      <a:lnTo>
                        <a:pt x="44244" y="6819"/>
                      </a:lnTo>
                      <a:lnTo>
                        <a:pt x="43335" y="13334"/>
                      </a:lnTo>
                      <a:lnTo>
                        <a:pt x="38032" y="14546"/>
                      </a:lnTo>
                      <a:lnTo>
                        <a:pt x="35153" y="14395"/>
                      </a:lnTo>
                      <a:lnTo>
                        <a:pt x="31971" y="12879"/>
                      </a:lnTo>
                      <a:lnTo>
                        <a:pt x="29395" y="12576"/>
                      </a:lnTo>
                      <a:lnTo>
                        <a:pt x="27122" y="11516"/>
                      </a:lnTo>
                      <a:lnTo>
                        <a:pt x="34396" y="3940"/>
                      </a:lnTo>
                      <a:lnTo>
                        <a:pt x="36971" y="303"/>
                      </a:lnTo>
                      <a:lnTo>
                        <a:pt x="35456" y="0"/>
                      </a:lnTo>
                      <a:lnTo>
                        <a:pt x="33941" y="2121"/>
                      </a:lnTo>
                      <a:lnTo>
                        <a:pt x="29395" y="6970"/>
                      </a:lnTo>
                      <a:lnTo>
                        <a:pt x="25001" y="11061"/>
                      </a:lnTo>
                      <a:lnTo>
                        <a:pt x="21668" y="12728"/>
                      </a:lnTo>
                      <a:lnTo>
                        <a:pt x="13788" y="12576"/>
                      </a:lnTo>
                      <a:lnTo>
                        <a:pt x="10152" y="13940"/>
                      </a:lnTo>
                      <a:lnTo>
                        <a:pt x="9546" y="17273"/>
                      </a:lnTo>
                      <a:lnTo>
                        <a:pt x="9243" y="20455"/>
                      </a:lnTo>
                      <a:lnTo>
                        <a:pt x="6970" y="24849"/>
                      </a:lnTo>
                      <a:lnTo>
                        <a:pt x="4243" y="28183"/>
                      </a:lnTo>
                      <a:lnTo>
                        <a:pt x="0" y="31365"/>
                      </a:lnTo>
                      <a:lnTo>
                        <a:pt x="1061" y="31819"/>
                      </a:lnTo>
                      <a:lnTo>
                        <a:pt x="8788" y="32274"/>
                      </a:lnTo>
                      <a:lnTo>
                        <a:pt x="16516" y="32880"/>
                      </a:lnTo>
                      <a:lnTo>
                        <a:pt x="28941" y="33335"/>
                      </a:lnTo>
                      <a:lnTo>
                        <a:pt x="41972" y="33941"/>
                      </a:lnTo>
                      <a:lnTo>
                        <a:pt x="55608" y="34547"/>
                      </a:lnTo>
                      <a:lnTo>
                        <a:pt x="70154" y="35153"/>
                      </a:lnTo>
                      <a:lnTo>
                        <a:pt x="85610" y="35456"/>
                      </a:lnTo>
                      <a:lnTo>
                        <a:pt x="86519" y="35304"/>
                      </a:lnTo>
                      <a:lnTo>
                        <a:pt x="85306" y="33335"/>
                      </a:lnTo>
                      <a:lnTo>
                        <a:pt x="84094" y="30153"/>
                      </a:lnTo>
                      <a:lnTo>
                        <a:pt x="84246" y="274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3" name="Freeform: Shape 3162">
                  <a:extLst>
                    <a:ext uri="{FF2B5EF4-FFF2-40B4-BE49-F238E27FC236}">
                      <a16:creationId xmlns:a16="http://schemas.microsoft.com/office/drawing/2014/main" id="{875C47AA-D760-4FEE-92C3-0140AB91D1C7}"/>
                    </a:ext>
                  </a:extLst>
                </p:cNvPr>
                <p:cNvSpPr/>
                <p:nvPr/>
              </p:nvSpPr>
              <p:spPr>
                <a:xfrm>
                  <a:off x="6938910" y="2398126"/>
                  <a:ext cx="6969" cy="5000"/>
                </a:xfrm>
                <a:custGeom>
                  <a:avLst/>
                  <a:gdLst>
                    <a:gd name="connsiteX0" fmla="*/ 5909 w 6969"/>
                    <a:gd name="connsiteY0" fmla="*/ 5000 h 5000"/>
                    <a:gd name="connsiteX1" fmla="*/ 6970 w 6969"/>
                    <a:gd name="connsiteY1" fmla="*/ 4394 h 5000"/>
                    <a:gd name="connsiteX2" fmla="*/ 6364 w 6969"/>
                    <a:gd name="connsiteY2" fmla="*/ 2727 h 5000"/>
                    <a:gd name="connsiteX3" fmla="*/ 4697 w 6969"/>
                    <a:gd name="connsiteY3" fmla="*/ 606 h 5000"/>
                    <a:gd name="connsiteX4" fmla="*/ 2424 w 6969"/>
                    <a:gd name="connsiteY4" fmla="*/ 0 h 5000"/>
                    <a:gd name="connsiteX5" fmla="*/ 303 w 6969"/>
                    <a:gd name="connsiteY5" fmla="*/ 455 h 5000"/>
                    <a:gd name="connsiteX6" fmla="*/ 0 w 6969"/>
                    <a:gd name="connsiteY6" fmla="*/ 1212 h 5000"/>
                    <a:gd name="connsiteX7" fmla="*/ 455 w 6969"/>
                    <a:gd name="connsiteY7" fmla="*/ 2879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9" h="5000">
                      <a:moveTo>
                        <a:pt x="5909" y="5000"/>
                      </a:moveTo>
                      <a:lnTo>
                        <a:pt x="6970" y="4394"/>
                      </a:lnTo>
                      <a:lnTo>
                        <a:pt x="6364" y="2727"/>
                      </a:lnTo>
                      <a:lnTo>
                        <a:pt x="4697" y="606"/>
                      </a:lnTo>
                      <a:lnTo>
                        <a:pt x="2424" y="0"/>
                      </a:lnTo>
                      <a:lnTo>
                        <a:pt x="303" y="455"/>
                      </a:lnTo>
                      <a:lnTo>
                        <a:pt x="0" y="1212"/>
                      </a:lnTo>
                      <a:lnTo>
                        <a:pt x="455" y="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4" name="Freeform: Shape 3163">
                  <a:extLst>
                    <a:ext uri="{FF2B5EF4-FFF2-40B4-BE49-F238E27FC236}">
                      <a16:creationId xmlns:a16="http://schemas.microsoft.com/office/drawing/2014/main" id="{963E8C61-93DA-480F-8AF8-724B507540B7}"/>
                    </a:ext>
                  </a:extLst>
                </p:cNvPr>
                <p:cNvSpPr/>
                <p:nvPr/>
              </p:nvSpPr>
              <p:spPr>
                <a:xfrm>
                  <a:off x="7005882" y="1639462"/>
                  <a:ext cx="103337" cy="26061"/>
                </a:xfrm>
                <a:custGeom>
                  <a:avLst/>
                  <a:gdLst>
                    <a:gd name="connsiteX0" fmla="*/ 13183 w 103337"/>
                    <a:gd name="connsiteY0" fmla="*/ 18789 h 26061"/>
                    <a:gd name="connsiteX1" fmla="*/ 20001 w 103337"/>
                    <a:gd name="connsiteY1" fmla="*/ 20304 h 26061"/>
                    <a:gd name="connsiteX2" fmla="*/ 29092 w 103337"/>
                    <a:gd name="connsiteY2" fmla="*/ 18182 h 26061"/>
                    <a:gd name="connsiteX3" fmla="*/ 30607 w 103337"/>
                    <a:gd name="connsiteY3" fmla="*/ 20001 h 26061"/>
                    <a:gd name="connsiteX4" fmla="*/ 31517 w 103337"/>
                    <a:gd name="connsiteY4" fmla="*/ 23637 h 26061"/>
                    <a:gd name="connsiteX5" fmla="*/ 33789 w 103337"/>
                    <a:gd name="connsiteY5" fmla="*/ 26062 h 26061"/>
                    <a:gd name="connsiteX6" fmla="*/ 40305 w 103337"/>
                    <a:gd name="connsiteY6" fmla="*/ 25304 h 26061"/>
                    <a:gd name="connsiteX7" fmla="*/ 43941 w 103337"/>
                    <a:gd name="connsiteY7" fmla="*/ 24092 h 26061"/>
                    <a:gd name="connsiteX8" fmla="*/ 46972 w 103337"/>
                    <a:gd name="connsiteY8" fmla="*/ 20001 h 26061"/>
                    <a:gd name="connsiteX9" fmla="*/ 48487 w 103337"/>
                    <a:gd name="connsiteY9" fmla="*/ 18637 h 26061"/>
                    <a:gd name="connsiteX10" fmla="*/ 57578 w 103337"/>
                    <a:gd name="connsiteY10" fmla="*/ 18637 h 26061"/>
                    <a:gd name="connsiteX11" fmla="*/ 61215 w 103337"/>
                    <a:gd name="connsiteY11" fmla="*/ 15607 h 26061"/>
                    <a:gd name="connsiteX12" fmla="*/ 62730 w 103337"/>
                    <a:gd name="connsiteY12" fmla="*/ 15304 h 26061"/>
                    <a:gd name="connsiteX13" fmla="*/ 65609 w 103337"/>
                    <a:gd name="connsiteY13" fmla="*/ 15910 h 26061"/>
                    <a:gd name="connsiteX14" fmla="*/ 68639 w 103337"/>
                    <a:gd name="connsiteY14" fmla="*/ 11516 h 26061"/>
                    <a:gd name="connsiteX15" fmla="*/ 71215 w 103337"/>
                    <a:gd name="connsiteY15" fmla="*/ 10606 h 26061"/>
                    <a:gd name="connsiteX16" fmla="*/ 73639 w 103337"/>
                    <a:gd name="connsiteY16" fmla="*/ 7121 h 26061"/>
                    <a:gd name="connsiteX17" fmla="*/ 76518 w 103337"/>
                    <a:gd name="connsiteY17" fmla="*/ 5606 h 26061"/>
                    <a:gd name="connsiteX18" fmla="*/ 78488 w 103337"/>
                    <a:gd name="connsiteY18" fmla="*/ 6212 h 26061"/>
                    <a:gd name="connsiteX19" fmla="*/ 85761 w 103337"/>
                    <a:gd name="connsiteY19" fmla="*/ 11819 h 26061"/>
                    <a:gd name="connsiteX20" fmla="*/ 101671 w 103337"/>
                    <a:gd name="connsiteY20" fmla="*/ 14394 h 26061"/>
                    <a:gd name="connsiteX21" fmla="*/ 103337 w 103337"/>
                    <a:gd name="connsiteY21" fmla="*/ 14091 h 26061"/>
                    <a:gd name="connsiteX22" fmla="*/ 103337 w 103337"/>
                    <a:gd name="connsiteY22" fmla="*/ 8637 h 26061"/>
                    <a:gd name="connsiteX23" fmla="*/ 99549 w 103337"/>
                    <a:gd name="connsiteY23" fmla="*/ 4849 h 26061"/>
                    <a:gd name="connsiteX24" fmla="*/ 96822 w 103337"/>
                    <a:gd name="connsiteY24" fmla="*/ 3030 h 26061"/>
                    <a:gd name="connsiteX25" fmla="*/ 94095 w 103337"/>
                    <a:gd name="connsiteY25" fmla="*/ 2273 h 26061"/>
                    <a:gd name="connsiteX26" fmla="*/ 91216 w 103337"/>
                    <a:gd name="connsiteY26" fmla="*/ 1970 h 26061"/>
                    <a:gd name="connsiteX27" fmla="*/ 81822 w 103337"/>
                    <a:gd name="connsiteY27" fmla="*/ 2576 h 26061"/>
                    <a:gd name="connsiteX28" fmla="*/ 69397 w 103337"/>
                    <a:gd name="connsiteY28" fmla="*/ 0 h 26061"/>
                    <a:gd name="connsiteX29" fmla="*/ 66972 w 103337"/>
                    <a:gd name="connsiteY29" fmla="*/ 0 h 26061"/>
                    <a:gd name="connsiteX30" fmla="*/ 57881 w 103337"/>
                    <a:gd name="connsiteY30" fmla="*/ 2576 h 26061"/>
                    <a:gd name="connsiteX31" fmla="*/ 51820 w 103337"/>
                    <a:gd name="connsiteY31" fmla="*/ 6364 h 26061"/>
                    <a:gd name="connsiteX32" fmla="*/ 38789 w 103337"/>
                    <a:gd name="connsiteY32" fmla="*/ 7576 h 26061"/>
                    <a:gd name="connsiteX33" fmla="*/ 5910 w 103337"/>
                    <a:gd name="connsiteY33" fmla="*/ 12879 h 26061"/>
                    <a:gd name="connsiteX34" fmla="*/ 0 w 103337"/>
                    <a:gd name="connsiteY34" fmla="*/ 15455 h 26061"/>
                    <a:gd name="connsiteX35" fmla="*/ 6667 w 103337"/>
                    <a:gd name="connsiteY35" fmla="*/ 16364 h 2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3337" h="26061">
                      <a:moveTo>
                        <a:pt x="13183" y="18789"/>
                      </a:moveTo>
                      <a:lnTo>
                        <a:pt x="20001" y="20304"/>
                      </a:lnTo>
                      <a:lnTo>
                        <a:pt x="29092" y="18182"/>
                      </a:lnTo>
                      <a:lnTo>
                        <a:pt x="30607" y="20001"/>
                      </a:lnTo>
                      <a:lnTo>
                        <a:pt x="31517" y="23637"/>
                      </a:lnTo>
                      <a:lnTo>
                        <a:pt x="33789" y="26062"/>
                      </a:lnTo>
                      <a:lnTo>
                        <a:pt x="40305" y="25304"/>
                      </a:lnTo>
                      <a:lnTo>
                        <a:pt x="43941" y="24092"/>
                      </a:lnTo>
                      <a:lnTo>
                        <a:pt x="46972" y="20001"/>
                      </a:lnTo>
                      <a:lnTo>
                        <a:pt x="48487" y="18637"/>
                      </a:lnTo>
                      <a:lnTo>
                        <a:pt x="57578" y="18637"/>
                      </a:lnTo>
                      <a:lnTo>
                        <a:pt x="61215" y="15607"/>
                      </a:lnTo>
                      <a:lnTo>
                        <a:pt x="62730" y="15304"/>
                      </a:lnTo>
                      <a:lnTo>
                        <a:pt x="65609" y="15910"/>
                      </a:lnTo>
                      <a:lnTo>
                        <a:pt x="68639" y="11516"/>
                      </a:lnTo>
                      <a:lnTo>
                        <a:pt x="71215" y="10606"/>
                      </a:lnTo>
                      <a:lnTo>
                        <a:pt x="73639" y="7121"/>
                      </a:lnTo>
                      <a:lnTo>
                        <a:pt x="76518" y="5606"/>
                      </a:lnTo>
                      <a:lnTo>
                        <a:pt x="78488" y="6212"/>
                      </a:lnTo>
                      <a:lnTo>
                        <a:pt x="85761" y="11819"/>
                      </a:lnTo>
                      <a:lnTo>
                        <a:pt x="101671" y="14394"/>
                      </a:lnTo>
                      <a:lnTo>
                        <a:pt x="103337" y="14091"/>
                      </a:lnTo>
                      <a:lnTo>
                        <a:pt x="103337" y="8637"/>
                      </a:lnTo>
                      <a:lnTo>
                        <a:pt x="99549" y="4849"/>
                      </a:lnTo>
                      <a:lnTo>
                        <a:pt x="96822" y="3030"/>
                      </a:lnTo>
                      <a:lnTo>
                        <a:pt x="94095" y="2273"/>
                      </a:lnTo>
                      <a:lnTo>
                        <a:pt x="91216" y="1970"/>
                      </a:lnTo>
                      <a:lnTo>
                        <a:pt x="81822" y="2576"/>
                      </a:lnTo>
                      <a:lnTo>
                        <a:pt x="69397" y="0"/>
                      </a:lnTo>
                      <a:lnTo>
                        <a:pt x="66972" y="0"/>
                      </a:lnTo>
                      <a:lnTo>
                        <a:pt x="57881" y="2576"/>
                      </a:lnTo>
                      <a:lnTo>
                        <a:pt x="51820" y="6364"/>
                      </a:lnTo>
                      <a:lnTo>
                        <a:pt x="38789" y="7576"/>
                      </a:lnTo>
                      <a:lnTo>
                        <a:pt x="5910" y="12879"/>
                      </a:lnTo>
                      <a:lnTo>
                        <a:pt x="0" y="15455"/>
                      </a:lnTo>
                      <a:lnTo>
                        <a:pt x="6667" y="16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5" name="Freeform: Shape 3164">
                  <a:extLst>
                    <a:ext uri="{FF2B5EF4-FFF2-40B4-BE49-F238E27FC236}">
                      <a16:creationId xmlns:a16="http://schemas.microsoft.com/office/drawing/2014/main" id="{D25E681B-C99F-4C06-B620-49CC9E05E128}"/>
                    </a:ext>
                  </a:extLst>
                </p:cNvPr>
                <p:cNvSpPr/>
                <p:nvPr/>
              </p:nvSpPr>
              <p:spPr>
                <a:xfrm>
                  <a:off x="9768257" y="3298917"/>
                  <a:ext cx="2121" cy="1212"/>
                </a:xfrm>
                <a:custGeom>
                  <a:avLst/>
                  <a:gdLst>
                    <a:gd name="connsiteX0" fmla="*/ 1667 w 2121"/>
                    <a:gd name="connsiteY0" fmla="*/ 0 h 1212"/>
                    <a:gd name="connsiteX1" fmla="*/ 1212 w 2121"/>
                    <a:gd name="connsiteY1" fmla="*/ 152 h 1212"/>
                    <a:gd name="connsiteX2" fmla="*/ 757 w 2121"/>
                    <a:gd name="connsiteY2" fmla="*/ 152 h 1212"/>
                    <a:gd name="connsiteX3" fmla="*/ 303 w 2121"/>
                    <a:gd name="connsiteY3" fmla="*/ 0 h 1212"/>
                    <a:gd name="connsiteX4" fmla="*/ 0 w 2121"/>
                    <a:gd name="connsiteY4" fmla="*/ 0 h 1212"/>
                    <a:gd name="connsiteX5" fmla="*/ 0 w 2121"/>
                    <a:gd name="connsiteY5" fmla="*/ 303 h 1212"/>
                    <a:gd name="connsiteX6" fmla="*/ 303 w 2121"/>
                    <a:gd name="connsiteY6" fmla="*/ 455 h 1212"/>
                    <a:gd name="connsiteX7" fmla="*/ 455 w 2121"/>
                    <a:gd name="connsiteY7" fmla="*/ 909 h 1212"/>
                    <a:gd name="connsiteX8" fmla="*/ 757 w 2121"/>
                    <a:gd name="connsiteY8" fmla="*/ 1212 h 1212"/>
                    <a:gd name="connsiteX9" fmla="*/ 1061 w 2121"/>
                    <a:gd name="connsiteY9" fmla="*/ 1212 h 1212"/>
                    <a:gd name="connsiteX10" fmla="*/ 1667 w 2121"/>
                    <a:gd name="connsiteY10" fmla="*/ 1061 h 1212"/>
                    <a:gd name="connsiteX11" fmla="*/ 2122 w 2121"/>
                    <a:gd name="connsiteY11" fmla="*/ 1061 h 1212"/>
                    <a:gd name="connsiteX12" fmla="*/ 1970 w 2121"/>
                    <a:gd name="connsiteY12" fmla="*/ 455 h 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21" h="1212">
                      <a:moveTo>
                        <a:pt x="1667" y="0"/>
                      </a:moveTo>
                      <a:lnTo>
                        <a:pt x="1212" y="152"/>
                      </a:lnTo>
                      <a:lnTo>
                        <a:pt x="757" y="152"/>
                      </a:lnTo>
                      <a:lnTo>
                        <a:pt x="303" y="0"/>
                      </a:lnTo>
                      <a:lnTo>
                        <a:pt x="0" y="0"/>
                      </a:lnTo>
                      <a:lnTo>
                        <a:pt x="0" y="303"/>
                      </a:lnTo>
                      <a:lnTo>
                        <a:pt x="303" y="455"/>
                      </a:lnTo>
                      <a:lnTo>
                        <a:pt x="455" y="909"/>
                      </a:lnTo>
                      <a:lnTo>
                        <a:pt x="757" y="1212"/>
                      </a:lnTo>
                      <a:lnTo>
                        <a:pt x="1061" y="1212"/>
                      </a:lnTo>
                      <a:lnTo>
                        <a:pt x="1667" y="1061"/>
                      </a:lnTo>
                      <a:lnTo>
                        <a:pt x="2122" y="1061"/>
                      </a:lnTo>
                      <a:lnTo>
                        <a:pt x="1970" y="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6" name="Freeform: Shape 3165">
                  <a:extLst>
                    <a:ext uri="{FF2B5EF4-FFF2-40B4-BE49-F238E27FC236}">
                      <a16:creationId xmlns:a16="http://schemas.microsoft.com/office/drawing/2014/main" id="{1E124707-DAC2-47F4-ADE7-D7C1284421AB}"/>
                    </a:ext>
                  </a:extLst>
                </p:cNvPr>
                <p:cNvSpPr/>
                <p:nvPr/>
              </p:nvSpPr>
              <p:spPr>
                <a:xfrm>
                  <a:off x="9653101" y="2911933"/>
                  <a:ext cx="83639" cy="304253"/>
                </a:xfrm>
                <a:custGeom>
                  <a:avLst/>
                  <a:gdLst>
                    <a:gd name="connsiteX0" fmla="*/ 82730 w 83639"/>
                    <a:gd name="connsiteY0" fmla="*/ 201977 h 304253"/>
                    <a:gd name="connsiteX1" fmla="*/ 80609 w 83639"/>
                    <a:gd name="connsiteY1" fmla="*/ 199704 h 304253"/>
                    <a:gd name="connsiteX2" fmla="*/ 75912 w 83639"/>
                    <a:gd name="connsiteY2" fmla="*/ 195613 h 304253"/>
                    <a:gd name="connsiteX3" fmla="*/ 73336 w 83639"/>
                    <a:gd name="connsiteY3" fmla="*/ 191068 h 304253"/>
                    <a:gd name="connsiteX4" fmla="*/ 71517 w 83639"/>
                    <a:gd name="connsiteY4" fmla="*/ 186370 h 304253"/>
                    <a:gd name="connsiteX5" fmla="*/ 70608 w 83639"/>
                    <a:gd name="connsiteY5" fmla="*/ 182128 h 304253"/>
                    <a:gd name="connsiteX6" fmla="*/ 69548 w 83639"/>
                    <a:gd name="connsiteY6" fmla="*/ 177885 h 304253"/>
                    <a:gd name="connsiteX7" fmla="*/ 67881 w 83639"/>
                    <a:gd name="connsiteY7" fmla="*/ 173946 h 304253"/>
                    <a:gd name="connsiteX8" fmla="*/ 65305 w 83639"/>
                    <a:gd name="connsiteY8" fmla="*/ 165612 h 304253"/>
                    <a:gd name="connsiteX9" fmla="*/ 58942 w 83639"/>
                    <a:gd name="connsiteY9" fmla="*/ 151824 h 304253"/>
                    <a:gd name="connsiteX10" fmla="*/ 56820 w 83639"/>
                    <a:gd name="connsiteY10" fmla="*/ 143793 h 304253"/>
                    <a:gd name="connsiteX11" fmla="*/ 51366 w 83639"/>
                    <a:gd name="connsiteY11" fmla="*/ 117126 h 304253"/>
                    <a:gd name="connsiteX12" fmla="*/ 50002 w 83639"/>
                    <a:gd name="connsiteY12" fmla="*/ 116065 h 304253"/>
                    <a:gd name="connsiteX13" fmla="*/ 49548 w 83639"/>
                    <a:gd name="connsiteY13" fmla="*/ 115156 h 304253"/>
                    <a:gd name="connsiteX14" fmla="*/ 49396 w 83639"/>
                    <a:gd name="connsiteY14" fmla="*/ 111519 h 304253"/>
                    <a:gd name="connsiteX15" fmla="*/ 49093 w 83639"/>
                    <a:gd name="connsiteY15" fmla="*/ 108943 h 304253"/>
                    <a:gd name="connsiteX16" fmla="*/ 48032 w 83639"/>
                    <a:gd name="connsiteY16" fmla="*/ 107125 h 304253"/>
                    <a:gd name="connsiteX17" fmla="*/ 45456 w 83639"/>
                    <a:gd name="connsiteY17" fmla="*/ 104852 h 304253"/>
                    <a:gd name="connsiteX18" fmla="*/ 44850 w 83639"/>
                    <a:gd name="connsiteY18" fmla="*/ 103186 h 304253"/>
                    <a:gd name="connsiteX19" fmla="*/ 44699 w 83639"/>
                    <a:gd name="connsiteY19" fmla="*/ 99095 h 304253"/>
                    <a:gd name="connsiteX20" fmla="*/ 43486 w 83639"/>
                    <a:gd name="connsiteY20" fmla="*/ 95307 h 304253"/>
                    <a:gd name="connsiteX21" fmla="*/ 41820 w 83639"/>
                    <a:gd name="connsiteY21" fmla="*/ 91670 h 304253"/>
                    <a:gd name="connsiteX22" fmla="*/ 40911 w 83639"/>
                    <a:gd name="connsiteY22" fmla="*/ 86670 h 304253"/>
                    <a:gd name="connsiteX23" fmla="*/ 41365 w 83639"/>
                    <a:gd name="connsiteY23" fmla="*/ 76973 h 304253"/>
                    <a:gd name="connsiteX24" fmla="*/ 42122 w 83639"/>
                    <a:gd name="connsiteY24" fmla="*/ 73488 h 304253"/>
                    <a:gd name="connsiteX25" fmla="*/ 43940 w 83639"/>
                    <a:gd name="connsiteY25" fmla="*/ 72124 h 304253"/>
                    <a:gd name="connsiteX26" fmla="*/ 44699 w 83639"/>
                    <a:gd name="connsiteY26" fmla="*/ 70306 h 304253"/>
                    <a:gd name="connsiteX27" fmla="*/ 45456 w 83639"/>
                    <a:gd name="connsiteY27" fmla="*/ 67124 h 304253"/>
                    <a:gd name="connsiteX28" fmla="*/ 45760 w 83639"/>
                    <a:gd name="connsiteY28" fmla="*/ 63942 h 304253"/>
                    <a:gd name="connsiteX29" fmla="*/ 45608 w 83639"/>
                    <a:gd name="connsiteY29" fmla="*/ 54244 h 304253"/>
                    <a:gd name="connsiteX30" fmla="*/ 44547 w 83639"/>
                    <a:gd name="connsiteY30" fmla="*/ 47881 h 304253"/>
                    <a:gd name="connsiteX31" fmla="*/ 43790 w 83639"/>
                    <a:gd name="connsiteY31" fmla="*/ 44850 h 304253"/>
                    <a:gd name="connsiteX32" fmla="*/ 42729 w 83639"/>
                    <a:gd name="connsiteY32" fmla="*/ 41971 h 304253"/>
                    <a:gd name="connsiteX33" fmla="*/ 39243 w 83639"/>
                    <a:gd name="connsiteY33" fmla="*/ 34698 h 304253"/>
                    <a:gd name="connsiteX34" fmla="*/ 34396 w 83639"/>
                    <a:gd name="connsiteY34" fmla="*/ 23334 h 304253"/>
                    <a:gd name="connsiteX35" fmla="*/ 35001 w 83639"/>
                    <a:gd name="connsiteY35" fmla="*/ 22728 h 304253"/>
                    <a:gd name="connsiteX36" fmla="*/ 34244 w 83639"/>
                    <a:gd name="connsiteY36" fmla="*/ 20152 h 304253"/>
                    <a:gd name="connsiteX37" fmla="*/ 34698 w 83639"/>
                    <a:gd name="connsiteY37" fmla="*/ 17273 h 304253"/>
                    <a:gd name="connsiteX38" fmla="*/ 35759 w 83639"/>
                    <a:gd name="connsiteY38" fmla="*/ 14546 h 304253"/>
                    <a:gd name="connsiteX39" fmla="*/ 36364 w 83639"/>
                    <a:gd name="connsiteY39" fmla="*/ 12425 h 304253"/>
                    <a:gd name="connsiteX40" fmla="*/ 36062 w 83639"/>
                    <a:gd name="connsiteY40" fmla="*/ 10303 h 304253"/>
                    <a:gd name="connsiteX41" fmla="*/ 30152 w 83639"/>
                    <a:gd name="connsiteY41" fmla="*/ 758 h 304253"/>
                    <a:gd name="connsiteX42" fmla="*/ 28334 w 83639"/>
                    <a:gd name="connsiteY42" fmla="*/ 0 h 304253"/>
                    <a:gd name="connsiteX43" fmla="*/ 27577 w 83639"/>
                    <a:gd name="connsiteY43" fmla="*/ 2121 h 304253"/>
                    <a:gd name="connsiteX44" fmla="*/ 26213 w 83639"/>
                    <a:gd name="connsiteY44" fmla="*/ 4243 h 304253"/>
                    <a:gd name="connsiteX45" fmla="*/ 24395 w 83639"/>
                    <a:gd name="connsiteY45" fmla="*/ 5152 h 304253"/>
                    <a:gd name="connsiteX46" fmla="*/ 18485 w 83639"/>
                    <a:gd name="connsiteY46" fmla="*/ 5152 h 304253"/>
                    <a:gd name="connsiteX47" fmla="*/ 22121 w 83639"/>
                    <a:gd name="connsiteY47" fmla="*/ 10000 h 304253"/>
                    <a:gd name="connsiteX48" fmla="*/ 27577 w 83639"/>
                    <a:gd name="connsiteY48" fmla="*/ 16819 h 304253"/>
                    <a:gd name="connsiteX49" fmla="*/ 28638 w 83639"/>
                    <a:gd name="connsiteY49" fmla="*/ 19546 h 304253"/>
                    <a:gd name="connsiteX50" fmla="*/ 28031 w 83639"/>
                    <a:gd name="connsiteY50" fmla="*/ 22577 h 304253"/>
                    <a:gd name="connsiteX51" fmla="*/ 26970 w 83639"/>
                    <a:gd name="connsiteY51" fmla="*/ 25455 h 304253"/>
                    <a:gd name="connsiteX52" fmla="*/ 28183 w 83639"/>
                    <a:gd name="connsiteY52" fmla="*/ 25759 h 304253"/>
                    <a:gd name="connsiteX53" fmla="*/ 27879 w 83639"/>
                    <a:gd name="connsiteY53" fmla="*/ 27880 h 304253"/>
                    <a:gd name="connsiteX54" fmla="*/ 24395 w 83639"/>
                    <a:gd name="connsiteY54" fmla="*/ 28637 h 304253"/>
                    <a:gd name="connsiteX55" fmla="*/ 23182 w 83639"/>
                    <a:gd name="connsiteY55" fmla="*/ 31062 h 304253"/>
                    <a:gd name="connsiteX56" fmla="*/ 25304 w 83639"/>
                    <a:gd name="connsiteY56" fmla="*/ 33032 h 304253"/>
                    <a:gd name="connsiteX57" fmla="*/ 23637 w 83639"/>
                    <a:gd name="connsiteY57" fmla="*/ 36213 h 304253"/>
                    <a:gd name="connsiteX58" fmla="*/ 20910 w 83639"/>
                    <a:gd name="connsiteY58" fmla="*/ 37729 h 304253"/>
                    <a:gd name="connsiteX59" fmla="*/ 19394 w 83639"/>
                    <a:gd name="connsiteY59" fmla="*/ 38032 h 304253"/>
                    <a:gd name="connsiteX60" fmla="*/ 18031 w 83639"/>
                    <a:gd name="connsiteY60" fmla="*/ 37880 h 304253"/>
                    <a:gd name="connsiteX61" fmla="*/ 14243 w 83639"/>
                    <a:gd name="connsiteY61" fmla="*/ 34850 h 304253"/>
                    <a:gd name="connsiteX62" fmla="*/ 13182 w 83639"/>
                    <a:gd name="connsiteY62" fmla="*/ 34547 h 304253"/>
                    <a:gd name="connsiteX63" fmla="*/ 8333 w 83639"/>
                    <a:gd name="connsiteY63" fmla="*/ 35910 h 304253"/>
                    <a:gd name="connsiteX64" fmla="*/ 5303 w 83639"/>
                    <a:gd name="connsiteY64" fmla="*/ 38486 h 304253"/>
                    <a:gd name="connsiteX65" fmla="*/ 4545 w 83639"/>
                    <a:gd name="connsiteY65" fmla="*/ 40305 h 304253"/>
                    <a:gd name="connsiteX66" fmla="*/ 4849 w 83639"/>
                    <a:gd name="connsiteY66" fmla="*/ 47729 h 304253"/>
                    <a:gd name="connsiteX67" fmla="*/ 5910 w 83639"/>
                    <a:gd name="connsiteY67" fmla="*/ 51517 h 304253"/>
                    <a:gd name="connsiteX68" fmla="*/ 5303 w 83639"/>
                    <a:gd name="connsiteY68" fmla="*/ 60608 h 304253"/>
                    <a:gd name="connsiteX69" fmla="*/ 3940 w 83639"/>
                    <a:gd name="connsiteY69" fmla="*/ 69245 h 304253"/>
                    <a:gd name="connsiteX70" fmla="*/ 2424 w 83639"/>
                    <a:gd name="connsiteY70" fmla="*/ 73033 h 304253"/>
                    <a:gd name="connsiteX71" fmla="*/ 606 w 83639"/>
                    <a:gd name="connsiteY71" fmla="*/ 76518 h 304253"/>
                    <a:gd name="connsiteX72" fmla="*/ 0 w 83639"/>
                    <a:gd name="connsiteY72" fmla="*/ 79700 h 304253"/>
                    <a:gd name="connsiteX73" fmla="*/ 303 w 83639"/>
                    <a:gd name="connsiteY73" fmla="*/ 92125 h 304253"/>
                    <a:gd name="connsiteX74" fmla="*/ 1667 w 83639"/>
                    <a:gd name="connsiteY74" fmla="*/ 95307 h 304253"/>
                    <a:gd name="connsiteX75" fmla="*/ 4091 w 83639"/>
                    <a:gd name="connsiteY75" fmla="*/ 97428 h 304253"/>
                    <a:gd name="connsiteX76" fmla="*/ 3031 w 83639"/>
                    <a:gd name="connsiteY76" fmla="*/ 98792 h 304253"/>
                    <a:gd name="connsiteX77" fmla="*/ 1667 w 83639"/>
                    <a:gd name="connsiteY77" fmla="*/ 99398 h 304253"/>
                    <a:gd name="connsiteX78" fmla="*/ 3031 w 83639"/>
                    <a:gd name="connsiteY78" fmla="*/ 101064 h 304253"/>
                    <a:gd name="connsiteX79" fmla="*/ 5910 w 83639"/>
                    <a:gd name="connsiteY79" fmla="*/ 103186 h 304253"/>
                    <a:gd name="connsiteX80" fmla="*/ 9546 w 83639"/>
                    <a:gd name="connsiteY80" fmla="*/ 107125 h 304253"/>
                    <a:gd name="connsiteX81" fmla="*/ 11818 w 83639"/>
                    <a:gd name="connsiteY81" fmla="*/ 110459 h 304253"/>
                    <a:gd name="connsiteX82" fmla="*/ 15000 w 83639"/>
                    <a:gd name="connsiteY82" fmla="*/ 118035 h 304253"/>
                    <a:gd name="connsiteX83" fmla="*/ 15000 w 83639"/>
                    <a:gd name="connsiteY83" fmla="*/ 126065 h 304253"/>
                    <a:gd name="connsiteX84" fmla="*/ 13334 w 83639"/>
                    <a:gd name="connsiteY84" fmla="*/ 130005 h 304253"/>
                    <a:gd name="connsiteX85" fmla="*/ 12121 w 83639"/>
                    <a:gd name="connsiteY85" fmla="*/ 134096 h 304253"/>
                    <a:gd name="connsiteX86" fmla="*/ 11061 w 83639"/>
                    <a:gd name="connsiteY86" fmla="*/ 139399 h 304253"/>
                    <a:gd name="connsiteX87" fmla="*/ 11212 w 83639"/>
                    <a:gd name="connsiteY87" fmla="*/ 143490 h 304253"/>
                    <a:gd name="connsiteX88" fmla="*/ 13182 w 83639"/>
                    <a:gd name="connsiteY88" fmla="*/ 150763 h 304253"/>
                    <a:gd name="connsiteX89" fmla="*/ 13486 w 83639"/>
                    <a:gd name="connsiteY89" fmla="*/ 154248 h 304253"/>
                    <a:gd name="connsiteX90" fmla="*/ 13182 w 83639"/>
                    <a:gd name="connsiteY90" fmla="*/ 177279 h 304253"/>
                    <a:gd name="connsiteX91" fmla="*/ 12273 w 83639"/>
                    <a:gd name="connsiteY91" fmla="*/ 181825 h 304253"/>
                    <a:gd name="connsiteX92" fmla="*/ 11061 w 83639"/>
                    <a:gd name="connsiteY92" fmla="*/ 186370 h 304253"/>
                    <a:gd name="connsiteX93" fmla="*/ 9848 w 83639"/>
                    <a:gd name="connsiteY93" fmla="*/ 194704 h 304253"/>
                    <a:gd name="connsiteX94" fmla="*/ 8788 w 83639"/>
                    <a:gd name="connsiteY94" fmla="*/ 198341 h 304253"/>
                    <a:gd name="connsiteX95" fmla="*/ 5606 w 83639"/>
                    <a:gd name="connsiteY95" fmla="*/ 206220 h 304253"/>
                    <a:gd name="connsiteX96" fmla="*/ 5910 w 83639"/>
                    <a:gd name="connsiteY96" fmla="*/ 207886 h 304253"/>
                    <a:gd name="connsiteX97" fmla="*/ 6515 w 83639"/>
                    <a:gd name="connsiteY97" fmla="*/ 209553 h 304253"/>
                    <a:gd name="connsiteX98" fmla="*/ 10152 w 83639"/>
                    <a:gd name="connsiteY98" fmla="*/ 215765 h 304253"/>
                    <a:gd name="connsiteX99" fmla="*/ 13031 w 83639"/>
                    <a:gd name="connsiteY99" fmla="*/ 222281 h 304253"/>
                    <a:gd name="connsiteX100" fmla="*/ 14243 w 83639"/>
                    <a:gd name="connsiteY100" fmla="*/ 231978 h 304253"/>
                    <a:gd name="connsiteX101" fmla="*/ 13334 w 83639"/>
                    <a:gd name="connsiteY101" fmla="*/ 235918 h 304253"/>
                    <a:gd name="connsiteX102" fmla="*/ 11364 w 83639"/>
                    <a:gd name="connsiteY102" fmla="*/ 239100 h 304253"/>
                    <a:gd name="connsiteX103" fmla="*/ 9698 w 83639"/>
                    <a:gd name="connsiteY103" fmla="*/ 242888 h 304253"/>
                    <a:gd name="connsiteX104" fmla="*/ 8333 w 83639"/>
                    <a:gd name="connsiteY104" fmla="*/ 246827 h 304253"/>
                    <a:gd name="connsiteX105" fmla="*/ 8333 w 83639"/>
                    <a:gd name="connsiteY105" fmla="*/ 248342 h 304253"/>
                    <a:gd name="connsiteX106" fmla="*/ 8939 w 83639"/>
                    <a:gd name="connsiteY106" fmla="*/ 255161 h 304253"/>
                    <a:gd name="connsiteX107" fmla="*/ 9848 w 83639"/>
                    <a:gd name="connsiteY107" fmla="*/ 258646 h 304253"/>
                    <a:gd name="connsiteX108" fmla="*/ 10303 w 83639"/>
                    <a:gd name="connsiteY108" fmla="*/ 262282 h 304253"/>
                    <a:gd name="connsiteX109" fmla="*/ 9546 w 83639"/>
                    <a:gd name="connsiteY109" fmla="*/ 266070 h 304253"/>
                    <a:gd name="connsiteX110" fmla="*/ 5606 w 83639"/>
                    <a:gd name="connsiteY110" fmla="*/ 277586 h 304253"/>
                    <a:gd name="connsiteX111" fmla="*/ 4697 w 83639"/>
                    <a:gd name="connsiteY111" fmla="*/ 286071 h 304253"/>
                    <a:gd name="connsiteX112" fmla="*/ 6969 w 83639"/>
                    <a:gd name="connsiteY112" fmla="*/ 295617 h 304253"/>
                    <a:gd name="connsiteX113" fmla="*/ 7424 w 83639"/>
                    <a:gd name="connsiteY113" fmla="*/ 298344 h 304253"/>
                    <a:gd name="connsiteX114" fmla="*/ 8333 w 83639"/>
                    <a:gd name="connsiteY114" fmla="*/ 300920 h 304253"/>
                    <a:gd name="connsiteX115" fmla="*/ 9698 w 83639"/>
                    <a:gd name="connsiteY115" fmla="*/ 302738 h 304253"/>
                    <a:gd name="connsiteX116" fmla="*/ 11364 w 83639"/>
                    <a:gd name="connsiteY116" fmla="*/ 304254 h 304253"/>
                    <a:gd name="connsiteX117" fmla="*/ 13486 w 83639"/>
                    <a:gd name="connsiteY117" fmla="*/ 301375 h 304253"/>
                    <a:gd name="connsiteX118" fmla="*/ 15000 w 83639"/>
                    <a:gd name="connsiteY118" fmla="*/ 298344 h 304253"/>
                    <a:gd name="connsiteX119" fmla="*/ 17576 w 83639"/>
                    <a:gd name="connsiteY119" fmla="*/ 289253 h 304253"/>
                    <a:gd name="connsiteX120" fmla="*/ 18940 w 83639"/>
                    <a:gd name="connsiteY120" fmla="*/ 285768 h 304253"/>
                    <a:gd name="connsiteX121" fmla="*/ 20455 w 83639"/>
                    <a:gd name="connsiteY121" fmla="*/ 282435 h 304253"/>
                    <a:gd name="connsiteX122" fmla="*/ 22425 w 83639"/>
                    <a:gd name="connsiteY122" fmla="*/ 279404 h 304253"/>
                    <a:gd name="connsiteX123" fmla="*/ 25152 w 83639"/>
                    <a:gd name="connsiteY123" fmla="*/ 277434 h 304253"/>
                    <a:gd name="connsiteX124" fmla="*/ 26668 w 83639"/>
                    <a:gd name="connsiteY124" fmla="*/ 276828 h 304253"/>
                    <a:gd name="connsiteX125" fmla="*/ 28183 w 83639"/>
                    <a:gd name="connsiteY125" fmla="*/ 277131 h 304253"/>
                    <a:gd name="connsiteX126" fmla="*/ 29697 w 83639"/>
                    <a:gd name="connsiteY126" fmla="*/ 278495 h 304253"/>
                    <a:gd name="connsiteX127" fmla="*/ 31062 w 83639"/>
                    <a:gd name="connsiteY127" fmla="*/ 280162 h 304253"/>
                    <a:gd name="connsiteX128" fmla="*/ 31971 w 83639"/>
                    <a:gd name="connsiteY128" fmla="*/ 280768 h 304253"/>
                    <a:gd name="connsiteX129" fmla="*/ 38032 w 83639"/>
                    <a:gd name="connsiteY129" fmla="*/ 281071 h 304253"/>
                    <a:gd name="connsiteX130" fmla="*/ 44395 w 83639"/>
                    <a:gd name="connsiteY130" fmla="*/ 282283 h 304253"/>
                    <a:gd name="connsiteX131" fmla="*/ 46365 w 83639"/>
                    <a:gd name="connsiteY131" fmla="*/ 285162 h 304253"/>
                    <a:gd name="connsiteX132" fmla="*/ 46819 w 83639"/>
                    <a:gd name="connsiteY132" fmla="*/ 289101 h 304253"/>
                    <a:gd name="connsiteX133" fmla="*/ 48183 w 83639"/>
                    <a:gd name="connsiteY133" fmla="*/ 293799 h 304253"/>
                    <a:gd name="connsiteX134" fmla="*/ 48487 w 83639"/>
                    <a:gd name="connsiteY134" fmla="*/ 300466 h 304253"/>
                    <a:gd name="connsiteX135" fmla="*/ 49396 w 83639"/>
                    <a:gd name="connsiteY135" fmla="*/ 299102 h 304253"/>
                    <a:gd name="connsiteX136" fmla="*/ 49850 w 83639"/>
                    <a:gd name="connsiteY136" fmla="*/ 297435 h 304253"/>
                    <a:gd name="connsiteX137" fmla="*/ 50153 w 83639"/>
                    <a:gd name="connsiteY137" fmla="*/ 295465 h 304253"/>
                    <a:gd name="connsiteX138" fmla="*/ 50607 w 83639"/>
                    <a:gd name="connsiteY138" fmla="*/ 293496 h 304253"/>
                    <a:gd name="connsiteX139" fmla="*/ 52577 w 83639"/>
                    <a:gd name="connsiteY139" fmla="*/ 289101 h 304253"/>
                    <a:gd name="connsiteX140" fmla="*/ 52577 w 83639"/>
                    <a:gd name="connsiteY140" fmla="*/ 287586 h 304253"/>
                    <a:gd name="connsiteX141" fmla="*/ 51517 w 83639"/>
                    <a:gd name="connsiteY141" fmla="*/ 281677 h 304253"/>
                    <a:gd name="connsiteX142" fmla="*/ 50002 w 83639"/>
                    <a:gd name="connsiteY142" fmla="*/ 275616 h 304253"/>
                    <a:gd name="connsiteX143" fmla="*/ 48941 w 83639"/>
                    <a:gd name="connsiteY143" fmla="*/ 274252 h 304253"/>
                    <a:gd name="connsiteX144" fmla="*/ 47123 w 83639"/>
                    <a:gd name="connsiteY144" fmla="*/ 273798 h 304253"/>
                    <a:gd name="connsiteX145" fmla="*/ 45456 w 83639"/>
                    <a:gd name="connsiteY145" fmla="*/ 273798 h 304253"/>
                    <a:gd name="connsiteX146" fmla="*/ 42577 w 83639"/>
                    <a:gd name="connsiteY146" fmla="*/ 274252 h 304253"/>
                    <a:gd name="connsiteX147" fmla="*/ 41517 w 83639"/>
                    <a:gd name="connsiteY147" fmla="*/ 272434 h 304253"/>
                    <a:gd name="connsiteX148" fmla="*/ 39093 w 83639"/>
                    <a:gd name="connsiteY148" fmla="*/ 267131 h 304253"/>
                    <a:gd name="connsiteX149" fmla="*/ 36819 w 83639"/>
                    <a:gd name="connsiteY149" fmla="*/ 259403 h 304253"/>
                    <a:gd name="connsiteX150" fmla="*/ 35001 w 83639"/>
                    <a:gd name="connsiteY150" fmla="*/ 255918 h 304253"/>
                    <a:gd name="connsiteX151" fmla="*/ 34092 w 83639"/>
                    <a:gd name="connsiteY151" fmla="*/ 254555 h 304253"/>
                    <a:gd name="connsiteX152" fmla="*/ 32880 w 83639"/>
                    <a:gd name="connsiteY152" fmla="*/ 253646 h 304253"/>
                    <a:gd name="connsiteX153" fmla="*/ 31213 w 83639"/>
                    <a:gd name="connsiteY153" fmla="*/ 252737 h 304253"/>
                    <a:gd name="connsiteX154" fmla="*/ 29697 w 83639"/>
                    <a:gd name="connsiteY154" fmla="*/ 251524 h 304253"/>
                    <a:gd name="connsiteX155" fmla="*/ 27577 w 83639"/>
                    <a:gd name="connsiteY155" fmla="*/ 248494 h 304253"/>
                    <a:gd name="connsiteX156" fmla="*/ 25152 w 83639"/>
                    <a:gd name="connsiteY156" fmla="*/ 243494 h 304253"/>
                    <a:gd name="connsiteX157" fmla="*/ 24546 w 83639"/>
                    <a:gd name="connsiteY157" fmla="*/ 241524 h 304253"/>
                    <a:gd name="connsiteX158" fmla="*/ 24243 w 83639"/>
                    <a:gd name="connsiteY158" fmla="*/ 236524 h 304253"/>
                    <a:gd name="connsiteX159" fmla="*/ 25000 w 83639"/>
                    <a:gd name="connsiteY159" fmla="*/ 230008 h 304253"/>
                    <a:gd name="connsiteX160" fmla="*/ 27122 w 83639"/>
                    <a:gd name="connsiteY160" fmla="*/ 223796 h 304253"/>
                    <a:gd name="connsiteX161" fmla="*/ 35910 w 83639"/>
                    <a:gd name="connsiteY161" fmla="*/ 200310 h 304253"/>
                    <a:gd name="connsiteX162" fmla="*/ 37425 w 83639"/>
                    <a:gd name="connsiteY162" fmla="*/ 193643 h 304253"/>
                    <a:gd name="connsiteX163" fmla="*/ 39547 w 83639"/>
                    <a:gd name="connsiteY163" fmla="*/ 190310 h 304253"/>
                    <a:gd name="connsiteX164" fmla="*/ 43183 w 83639"/>
                    <a:gd name="connsiteY164" fmla="*/ 188189 h 304253"/>
                    <a:gd name="connsiteX165" fmla="*/ 47123 w 83639"/>
                    <a:gd name="connsiteY165" fmla="*/ 187128 h 304253"/>
                    <a:gd name="connsiteX166" fmla="*/ 56669 w 83639"/>
                    <a:gd name="connsiteY166" fmla="*/ 186370 h 304253"/>
                    <a:gd name="connsiteX167" fmla="*/ 59093 w 83639"/>
                    <a:gd name="connsiteY167" fmla="*/ 186522 h 304253"/>
                    <a:gd name="connsiteX168" fmla="*/ 63184 w 83639"/>
                    <a:gd name="connsiteY168" fmla="*/ 187583 h 304253"/>
                    <a:gd name="connsiteX169" fmla="*/ 65305 w 83639"/>
                    <a:gd name="connsiteY169" fmla="*/ 188643 h 304253"/>
                    <a:gd name="connsiteX170" fmla="*/ 67427 w 83639"/>
                    <a:gd name="connsiteY170" fmla="*/ 190007 h 304253"/>
                    <a:gd name="connsiteX171" fmla="*/ 71821 w 83639"/>
                    <a:gd name="connsiteY171" fmla="*/ 195007 h 304253"/>
                    <a:gd name="connsiteX172" fmla="*/ 75305 w 83639"/>
                    <a:gd name="connsiteY172" fmla="*/ 197886 h 304253"/>
                    <a:gd name="connsiteX173" fmla="*/ 78639 w 83639"/>
                    <a:gd name="connsiteY173" fmla="*/ 201219 h 304253"/>
                    <a:gd name="connsiteX174" fmla="*/ 81063 w 83639"/>
                    <a:gd name="connsiteY174" fmla="*/ 203947 h 304253"/>
                    <a:gd name="connsiteX175" fmla="*/ 82427 w 83639"/>
                    <a:gd name="connsiteY175" fmla="*/ 208644 h 304253"/>
                    <a:gd name="connsiteX176" fmla="*/ 83640 w 83639"/>
                    <a:gd name="connsiteY176" fmla="*/ 210008 h 304253"/>
                    <a:gd name="connsiteX177" fmla="*/ 83336 w 83639"/>
                    <a:gd name="connsiteY177" fmla="*/ 203795 h 3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83639" h="304253">
                      <a:moveTo>
                        <a:pt x="82730" y="201977"/>
                      </a:moveTo>
                      <a:lnTo>
                        <a:pt x="80609" y="199704"/>
                      </a:lnTo>
                      <a:lnTo>
                        <a:pt x="75912" y="195613"/>
                      </a:lnTo>
                      <a:lnTo>
                        <a:pt x="73336" y="191068"/>
                      </a:lnTo>
                      <a:lnTo>
                        <a:pt x="71517" y="186370"/>
                      </a:lnTo>
                      <a:lnTo>
                        <a:pt x="70608" y="182128"/>
                      </a:lnTo>
                      <a:lnTo>
                        <a:pt x="69548" y="177885"/>
                      </a:lnTo>
                      <a:lnTo>
                        <a:pt x="67881" y="173946"/>
                      </a:lnTo>
                      <a:lnTo>
                        <a:pt x="65305" y="165612"/>
                      </a:lnTo>
                      <a:lnTo>
                        <a:pt x="58942" y="151824"/>
                      </a:lnTo>
                      <a:lnTo>
                        <a:pt x="56820" y="143793"/>
                      </a:lnTo>
                      <a:lnTo>
                        <a:pt x="51366" y="117126"/>
                      </a:lnTo>
                      <a:lnTo>
                        <a:pt x="50002" y="116065"/>
                      </a:lnTo>
                      <a:lnTo>
                        <a:pt x="49548" y="115156"/>
                      </a:lnTo>
                      <a:lnTo>
                        <a:pt x="49396" y="111519"/>
                      </a:lnTo>
                      <a:lnTo>
                        <a:pt x="49093" y="108943"/>
                      </a:lnTo>
                      <a:lnTo>
                        <a:pt x="48032" y="107125"/>
                      </a:lnTo>
                      <a:lnTo>
                        <a:pt x="45456" y="104852"/>
                      </a:lnTo>
                      <a:lnTo>
                        <a:pt x="44850" y="103186"/>
                      </a:lnTo>
                      <a:lnTo>
                        <a:pt x="44699" y="99095"/>
                      </a:lnTo>
                      <a:lnTo>
                        <a:pt x="43486" y="95307"/>
                      </a:lnTo>
                      <a:lnTo>
                        <a:pt x="41820" y="91670"/>
                      </a:lnTo>
                      <a:lnTo>
                        <a:pt x="40911" y="86670"/>
                      </a:lnTo>
                      <a:lnTo>
                        <a:pt x="41365" y="76973"/>
                      </a:lnTo>
                      <a:lnTo>
                        <a:pt x="42122" y="73488"/>
                      </a:lnTo>
                      <a:lnTo>
                        <a:pt x="43940" y="72124"/>
                      </a:lnTo>
                      <a:lnTo>
                        <a:pt x="44699" y="70306"/>
                      </a:lnTo>
                      <a:lnTo>
                        <a:pt x="45456" y="67124"/>
                      </a:lnTo>
                      <a:lnTo>
                        <a:pt x="45760" y="63942"/>
                      </a:lnTo>
                      <a:lnTo>
                        <a:pt x="45608" y="54244"/>
                      </a:lnTo>
                      <a:lnTo>
                        <a:pt x="44547" y="47881"/>
                      </a:lnTo>
                      <a:lnTo>
                        <a:pt x="43790" y="44850"/>
                      </a:lnTo>
                      <a:lnTo>
                        <a:pt x="42729" y="41971"/>
                      </a:lnTo>
                      <a:lnTo>
                        <a:pt x="39243" y="34698"/>
                      </a:lnTo>
                      <a:lnTo>
                        <a:pt x="34396" y="23334"/>
                      </a:lnTo>
                      <a:lnTo>
                        <a:pt x="35001" y="22728"/>
                      </a:lnTo>
                      <a:lnTo>
                        <a:pt x="34244" y="20152"/>
                      </a:lnTo>
                      <a:lnTo>
                        <a:pt x="34698" y="17273"/>
                      </a:lnTo>
                      <a:lnTo>
                        <a:pt x="35759" y="14546"/>
                      </a:lnTo>
                      <a:lnTo>
                        <a:pt x="36364" y="12425"/>
                      </a:lnTo>
                      <a:lnTo>
                        <a:pt x="36062" y="10303"/>
                      </a:lnTo>
                      <a:lnTo>
                        <a:pt x="30152" y="758"/>
                      </a:lnTo>
                      <a:lnTo>
                        <a:pt x="28334" y="0"/>
                      </a:lnTo>
                      <a:lnTo>
                        <a:pt x="27577" y="2121"/>
                      </a:lnTo>
                      <a:lnTo>
                        <a:pt x="26213" y="4243"/>
                      </a:lnTo>
                      <a:lnTo>
                        <a:pt x="24395" y="5152"/>
                      </a:lnTo>
                      <a:lnTo>
                        <a:pt x="18485" y="5152"/>
                      </a:lnTo>
                      <a:lnTo>
                        <a:pt x="22121" y="10000"/>
                      </a:lnTo>
                      <a:lnTo>
                        <a:pt x="27577" y="16819"/>
                      </a:lnTo>
                      <a:lnTo>
                        <a:pt x="28638" y="19546"/>
                      </a:lnTo>
                      <a:lnTo>
                        <a:pt x="28031" y="22577"/>
                      </a:lnTo>
                      <a:lnTo>
                        <a:pt x="26970" y="25455"/>
                      </a:lnTo>
                      <a:lnTo>
                        <a:pt x="28183" y="25759"/>
                      </a:lnTo>
                      <a:lnTo>
                        <a:pt x="27879" y="27880"/>
                      </a:lnTo>
                      <a:lnTo>
                        <a:pt x="24395" y="28637"/>
                      </a:lnTo>
                      <a:lnTo>
                        <a:pt x="23182" y="31062"/>
                      </a:lnTo>
                      <a:lnTo>
                        <a:pt x="25304" y="33032"/>
                      </a:lnTo>
                      <a:lnTo>
                        <a:pt x="23637" y="36213"/>
                      </a:lnTo>
                      <a:lnTo>
                        <a:pt x="20910" y="37729"/>
                      </a:lnTo>
                      <a:lnTo>
                        <a:pt x="19394" y="38032"/>
                      </a:lnTo>
                      <a:lnTo>
                        <a:pt x="18031" y="37880"/>
                      </a:lnTo>
                      <a:lnTo>
                        <a:pt x="14243" y="34850"/>
                      </a:lnTo>
                      <a:lnTo>
                        <a:pt x="13182" y="34547"/>
                      </a:lnTo>
                      <a:lnTo>
                        <a:pt x="8333" y="35910"/>
                      </a:lnTo>
                      <a:lnTo>
                        <a:pt x="5303" y="38486"/>
                      </a:lnTo>
                      <a:lnTo>
                        <a:pt x="4545" y="40305"/>
                      </a:lnTo>
                      <a:lnTo>
                        <a:pt x="4849" y="47729"/>
                      </a:lnTo>
                      <a:lnTo>
                        <a:pt x="5910" y="51517"/>
                      </a:lnTo>
                      <a:lnTo>
                        <a:pt x="5303" y="60608"/>
                      </a:lnTo>
                      <a:lnTo>
                        <a:pt x="3940" y="69245"/>
                      </a:lnTo>
                      <a:lnTo>
                        <a:pt x="2424" y="73033"/>
                      </a:lnTo>
                      <a:lnTo>
                        <a:pt x="606" y="76518"/>
                      </a:lnTo>
                      <a:lnTo>
                        <a:pt x="0" y="79700"/>
                      </a:lnTo>
                      <a:lnTo>
                        <a:pt x="303" y="92125"/>
                      </a:lnTo>
                      <a:lnTo>
                        <a:pt x="1667" y="95307"/>
                      </a:lnTo>
                      <a:lnTo>
                        <a:pt x="4091" y="97428"/>
                      </a:lnTo>
                      <a:lnTo>
                        <a:pt x="3031" y="98792"/>
                      </a:lnTo>
                      <a:lnTo>
                        <a:pt x="1667" y="99398"/>
                      </a:lnTo>
                      <a:lnTo>
                        <a:pt x="3031" y="101064"/>
                      </a:lnTo>
                      <a:lnTo>
                        <a:pt x="5910" y="103186"/>
                      </a:lnTo>
                      <a:lnTo>
                        <a:pt x="9546" y="107125"/>
                      </a:lnTo>
                      <a:lnTo>
                        <a:pt x="11818" y="110459"/>
                      </a:lnTo>
                      <a:lnTo>
                        <a:pt x="15000" y="118035"/>
                      </a:lnTo>
                      <a:lnTo>
                        <a:pt x="15000" y="126065"/>
                      </a:lnTo>
                      <a:lnTo>
                        <a:pt x="13334" y="130005"/>
                      </a:lnTo>
                      <a:lnTo>
                        <a:pt x="12121" y="134096"/>
                      </a:lnTo>
                      <a:lnTo>
                        <a:pt x="11061" y="139399"/>
                      </a:lnTo>
                      <a:lnTo>
                        <a:pt x="11212" y="143490"/>
                      </a:lnTo>
                      <a:lnTo>
                        <a:pt x="13182" y="150763"/>
                      </a:lnTo>
                      <a:lnTo>
                        <a:pt x="13486" y="154248"/>
                      </a:lnTo>
                      <a:lnTo>
                        <a:pt x="13182" y="177279"/>
                      </a:lnTo>
                      <a:lnTo>
                        <a:pt x="12273" y="181825"/>
                      </a:lnTo>
                      <a:lnTo>
                        <a:pt x="11061" y="186370"/>
                      </a:lnTo>
                      <a:lnTo>
                        <a:pt x="9848" y="194704"/>
                      </a:lnTo>
                      <a:lnTo>
                        <a:pt x="8788" y="198341"/>
                      </a:lnTo>
                      <a:lnTo>
                        <a:pt x="5606" y="206220"/>
                      </a:lnTo>
                      <a:lnTo>
                        <a:pt x="5910" y="207886"/>
                      </a:lnTo>
                      <a:lnTo>
                        <a:pt x="6515" y="209553"/>
                      </a:lnTo>
                      <a:lnTo>
                        <a:pt x="10152" y="215765"/>
                      </a:lnTo>
                      <a:lnTo>
                        <a:pt x="13031" y="222281"/>
                      </a:lnTo>
                      <a:lnTo>
                        <a:pt x="14243" y="231978"/>
                      </a:lnTo>
                      <a:lnTo>
                        <a:pt x="13334" y="235918"/>
                      </a:lnTo>
                      <a:lnTo>
                        <a:pt x="11364" y="239100"/>
                      </a:lnTo>
                      <a:lnTo>
                        <a:pt x="9698" y="242888"/>
                      </a:lnTo>
                      <a:lnTo>
                        <a:pt x="8333" y="246827"/>
                      </a:lnTo>
                      <a:lnTo>
                        <a:pt x="8333" y="248342"/>
                      </a:lnTo>
                      <a:lnTo>
                        <a:pt x="8939" y="255161"/>
                      </a:lnTo>
                      <a:lnTo>
                        <a:pt x="9848" y="258646"/>
                      </a:lnTo>
                      <a:lnTo>
                        <a:pt x="10303" y="262282"/>
                      </a:lnTo>
                      <a:lnTo>
                        <a:pt x="9546" y="266070"/>
                      </a:lnTo>
                      <a:lnTo>
                        <a:pt x="5606" y="277586"/>
                      </a:lnTo>
                      <a:lnTo>
                        <a:pt x="4697" y="286071"/>
                      </a:lnTo>
                      <a:lnTo>
                        <a:pt x="6969" y="295617"/>
                      </a:lnTo>
                      <a:lnTo>
                        <a:pt x="7424" y="298344"/>
                      </a:lnTo>
                      <a:lnTo>
                        <a:pt x="8333" y="300920"/>
                      </a:lnTo>
                      <a:lnTo>
                        <a:pt x="9698" y="302738"/>
                      </a:lnTo>
                      <a:lnTo>
                        <a:pt x="11364" y="304254"/>
                      </a:lnTo>
                      <a:lnTo>
                        <a:pt x="13486" y="301375"/>
                      </a:lnTo>
                      <a:lnTo>
                        <a:pt x="15000" y="298344"/>
                      </a:lnTo>
                      <a:lnTo>
                        <a:pt x="17576" y="289253"/>
                      </a:lnTo>
                      <a:lnTo>
                        <a:pt x="18940" y="285768"/>
                      </a:lnTo>
                      <a:lnTo>
                        <a:pt x="20455" y="282435"/>
                      </a:lnTo>
                      <a:lnTo>
                        <a:pt x="22425" y="279404"/>
                      </a:lnTo>
                      <a:lnTo>
                        <a:pt x="25152" y="277434"/>
                      </a:lnTo>
                      <a:lnTo>
                        <a:pt x="26668" y="276828"/>
                      </a:lnTo>
                      <a:lnTo>
                        <a:pt x="28183" y="277131"/>
                      </a:lnTo>
                      <a:lnTo>
                        <a:pt x="29697" y="278495"/>
                      </a:lnTo>
                      <a:lnTo>
                        <a:pt x="31062" y="280162"/>
                      </a:lnTo>
                      <a:lnTo>
                        <a:pt x="31971" y="280768"/>
                      </a:lnTo>
                      <a:lnTo>
                        <a:pt x="38032" y="281071"/>
                      </a:lnTo>
                      <a:lnTo>
                        <a:pt x="44395" y="282283"/>
                      </a:lnTo>
                      <a:lnTo>
                        <a:pt x="46365" y="285162"/>
                      </a:lnTo>
                      <a:lnTo>
                        <a:pt x="46819" y="289101"/>
                      </a:lnTo>
                      <a:lnTo>
                        <a:pt x="48183" y="293799"/>
                      </a:lnTo>
                      <a:lnTo>
                        <a:pt x="48487" y="300466"/>
                      </a:lnTo>
                      <a:lnTo>
                        <a:pt x="49396" y="299102"/>
                      </a:lnTo>
                      <a:lnTo>
                        <a:pt x="49850" y="297435"/>
                      </a:lnTo>
                      <a:lnTo>
                        <a:pt x="50153" y="295465"/>
                      </a:lnTo>
                      <a:lnTo>
                        <a:pt x="50607" y="293496"/>
                      </a:lnTo>
                      <a:lnTo>
                        <a:pt x="52577" y="289101"/>
                      </a:lnTo>
                      <a:lnTo>
                        <a:pt x="52577" y="287586"/>
                      </a:lnTo>
                      <a:lnTo>
                        <a:pt x="51517" y="281677"/>
                      </a:lnTo>
                      <a:lnTo>
                        <a:pt x="50002" y="275616"/>
                      </a:lnTo>
                      <a:lnTo>
                        <a:pt x="48941" y="274252"/>
                      </a:lnTo>
                      <a:lnTo>
                        <a:pt x="47123" y="273798"/>
                      </a:lnTo>
                      <a:lnTo>
                        <a:pt x="45456" y="273798"/>
                      </a:lnTo>
                      <a:lnTo>
                        <a:pt x="42577" y="274252"/>
                      </a:lnTo>
                      <a:lnTo>
                        <a:pt x="41517" y="272434"/>
                      </a:lnTo>
                      <a:lnTo>
                        <a:pt x="39093" y="267131"/>
                      </a:lnTo>
                      <a:lnTo>
                        <a:pt x="36819" y="259403"/>
                      </a:lnTo>
                      <a:lnTo>
                        <a:pt x="35001" y="255918"/>
                      </a:lnTo>
                      <a:lnTo>
                        <a:pt x="34092" y="254555"/>
                      </a:lnTo>
                      <a:lnTo>
                        <a:pt x="32880" y="253646"/>
                      </a:lnTo>
                      <a:lnTo>
                        <a:pt x="31213" y="252737"/>
                      </a:lnTo>
                      <a:lnTo>
                        <a:pt x="29697" y="251524"/>
                      </a:lnTo>
                      <a:lnTo>
                        <a:pt x="27577" y="248494"/>
                      </a:lnTo>
                      <a:lnTo>
                        <a:pt x="25152" y="243494"/>
                      </a:lnTo>
                      <a:lnTo>
                        <a:pt x="24546" y="241524"/>
                      </a:lnTo>
                      <a:lnTo>
                        <a:pt x="24243" y="236524"/>
                      </a:lnTo>
                      <a:lnTo>
                        <a:pt x="25000" y="230008"/>
                      </a:lnTo>
                      <a:lnTo>
                        <a:pt x="27122" y="223796"/>
                      </a:lnTo>
                      <a:lnTo>
                        <a:pt x="35910" y="200310"/>
                      </a:lnTo>
                      <a:lnTo>
                        <a:pt x="37425" y="193643"/>
                      </a:lnTo>
                      <a:lnTo>
                        <a:pt x="39547" y="190310"/>
                      </a:lnTo>
                      <a:lnTo>
                        <a:pt x="43183" y="188189"/>
                      </a:lnTo>
                      <a:lnTo>
                        <a:pt x="47123" y="187128"/>
                      </a:lnTo>
                      <a:lnTo>
                        <a:pt x="56669" y="186370"/>
                      </a:lnTo>
                      <a:lnTo>
                        <a:pt x="59093" y="186522"/>
                      </a:lnTo>
                      <a:lnTo>
                        <a:pt x="63184" y="187583"/>
                      </a:lnTo>
                      <a:lnTo>
                        <a:pt x="65305" y="188643"/>
                      </a:lnTo>
                      <a:lnTo>
                        <a:pt x="67427" y="190007"/>
                      </a:lnTo>
                      <a:lnTo>
                        <a:pt x="71821" y="195007"/>
                      </a:lnTo>
                      <a:lnTo>
                        <a:pt x="75305" y="197886"/>
                      </a:lnTo>
                      <a:lnTo>
                        <a:pt x="78639" y="201219"/>
                      </a:lnTo>
                      <a:lnTo>
                        <a:pt x="81063" y="203947"/>
                      </a:lnTo>
                      <a:lnTo>
                        <a:pt x="82427" y="208644"/>
                      </a:lnTo>
                      <a:lnTo>
                        <a:pt x="83640" y="210008"/>
                      </a:lnTo>
                      <a:lnTo>
                        <a:pt x="83336" y="203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7" name="Freeform: Shape 3166">
                  <a:extLst>
                    <a:ext uri="{FF2B5EF4-FFF2-40B4-BE49-F238E27FC236}">
                      <a16:creationId xmlns:a16="http://schemas.microsoft.com/office/drawing/2014/main" id="{6AC1AB5F-070B-4119-91B8-376FA9A74680}"/>
                    </a:ext>
                  </a:extLst>
                </p:cNvPr>
                <p:cNvSpPr/>
                <p:nvPr/>
              </p:nvSpPr>
              <p:spPr>
                <a:xfrm>
                  <a:off x="7147705" y="1687797"/>
                  <a:ext cx="36819" cy="10757"/>
                </a:xfrm>
                <a:custGeom>
                  <a:avLst/>
                  <a:gdLst>
                    <a:gd name="connsiteX0" fmla="*/ 26971 w 36819"/>
                    <a:gd name="connsiteY0" fmla="*/ 10152 h 10757"/>
                    <a:gd name="connsiteX1" fmla="*/ 36668 w 36819"/>
                    <a:gd name="connsiteY1" fmla="*/ 10758 h 10757"/>
                    <a:gd name="connsiteX2" fmla="*/ 36819 w 36819"/>
                    <a:gd name="connsiteY2" fmla="*/ 10152 h 10757"/>
                    <a:gd name="connsiteX3" fmla="*/ 36062 w 36819"/>
                    <a:gd name="connsiteY3" fmla="*/ 9394 h 10757"/>
                    <a:gd name="connsiteX4" fmla="*/ 33789 w 36819"/>
                    <a:gd name="connsiteY4" fmla="*/ 7576 h 10757"/>
                    <a:gd name="connsiteX5" fmla="*/ 31516 w 36819"/>
                    <a:gd name="connsiteY5" fmla="*/ 6364 h 10757"/>
                    <a:gd name="connsiteX6" fmla="*/ 31365 w 36819"/>
                    <a:gd name="connsiteY6" fmla="*/ 5152 h 10757"/>
                    <a:gd name="connsiteX7" fmla="*/ 31819 w 36819"/>
                    <a:gd name="connsiteY7" fmla="*/ 2727 h 10757"/>
                    <a:gd name="connsiteX8" fmla="*/ 23183 w 36819"/>
                    <a:gd name="connsiteY8" fmla="*/ 0 h 10757"/>
                    <a:gd name="connsiteX9" fmla="*/ 16061 w 36819"/>
                    <a:gd name="connsiteY9" fmla="*/ 2727 h 10757"/>
                    <a:gd name="connsiteX10" fmla="*/ 10455 w 36819"/>
                    <a:gd name="connsiteY10" fmla="*/ 3636 h 10757"/>
                    <a:gd name="connsiteX11" fmla="*/ 0 w 36819"/>
                    <a:gd name="connsiteY11" fmla="*/ 7121 h 10757"/>
                    <a:gd name="connsiteX12" fmla="*/ 10000 w 36819"/>
                    <a:gd name="connsiteY12" fmla="*/ 10606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19" h="10757">
                      <a:moveTo>
                        <a:pt x="26971" y="10152"/>
                      </a:moveTo>
                      <a:lnTo>
                        <a:pt x="36668" y="10758"/>
                      </a:lnTo>
                      <a:lnTo>
                        <a:pt x="36819" y="10152"/>
                      </a:lnTo>
                      <a:lnTo>
                        <a:pt x="36062" y="9394"/>
                      </a:lnTo>
                      <a:lnTo>
                        <a:pt x="33789" y="7576"/>
                      </a:lnTo>
                      <a:lnTo>
                        <a:pt x="31516" y="6364"/>
                      </a:lnTo>
                      <a:lnTo>
                        <a:pt x="31365" y="5152"/>
                      </a:lnTo>
                      <a:lnTo>
                        <a:pt x="31819" y="2727"/>
                      </a:lnTo>
                      <a:lnTo>
                        <a:pt x="23183" y="0"/>
                      </a:lnTo>
                      <a:lnTo>
                        <a:pt x="16061" y="2727"/>
                      </a:lnTo>
                      <a:lnTo>
                        <a:pt x="10455" y="3636"/>
                      </a:lnTo>
                      <a:lnTo>
                        <a:pt x="0" y="7121"/>
                      </a:lnTo>
                      <a:lnTo>
                        <a:pt x="10000" y="10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8" name="Freeform: Shape 3167">
                  <a:extLst>
                    <a:ext uri="{FF2B5EF4-FFF2-40B4-BE49-F238E27FC236}">
                      <a16:creationId xmlns:a16="http://schemas.microsoft.com/office/drawing/2014/main" id="{F8BBA08A-053E-4FB0-83A7-AC2B738B8EC0}"/>
                    </a:ext>
                  </a:extLst>
                </p:cNvPr>
                <p:cNvSpPr/>
                <p:nvPr/>
              </p:nvSpPr>
              <p:spPr>
                <a:xfrm>
                  <a:off x="7098158" y="2269788"/>
                  <a:ext cx="54850" cy="37425"/>
                </a:xfrm>
                <a:custGeom>
                  <a:avLst/>
                  <a:gdLst>
                    <a:gd name="connsiteX0" fmla="*/ 18485 w 54850"/>
                    <a:gd name="connsiteY0" fmla="*/ 151 h 37425"/>
                    <a:gd name="connsiteX1" fmla="*/ 15455 w 54850"/>
                    <a:gd name="connsiteY1" fmla="*/ 758 h 37425"/>
                    <a:gd name="connsiteX2" fmla="*/ 9545 w 54850"/>
                    <a:gd name="connsiteY2" fmla="*/ 3636 h 37425"/>
                    <a:gd name="connsiteX3" fmla="*/ 3636 w 54850"/>
                    <a:gd name="connsiteY3" fmla="*/ 8031 h 37425"/>
                    <a:gd name="connsiteX4" fmla="*/ 1060 w 54850"/>
                    <a:gd name="connsiteY4" fmla="*/ 11667 h 37425"/>
                    <a:gd name="connsiteX5" fmla="*/ 455 w 54850"/>
                    <a:gd name="connsiteY5" fmla="*/ 15910 h 37425"/>
                    <a:gd name="connsiteX6" fmla="*/ 0 w 54850"/>
                    <a:gd name="connsiteY6" fmla="*/ 20001 h 37425"/>
                    <a:gd name="connsiteX7" fmla="*/ 0 w 54850"/>
                    <a:gd name="connsiteY7" fmla="*/ 22728 h 37425"/>
                    <a:gd name="connsiteX8" fmla="*/ 455 w 54850"/>
                    <a:gd name="connsiteY8" fmla="*/ 25455 h 37425"/>
                    <a:gd name="connsiteX9" fmla="*/ 1060 w 54850"/>
                    <a:gd name="connsiteY9" fmla="*/ 27425 h 37425"/>
                    <a:gd name="connsiteX10" fmla="*/ 4394 w 54850"/>
                    <a:gd name="connsiteY10" fmla="*/ 34092 h 37425"/>
                    <a:gd name="connsiteX11" fmla="*/ 10606 w 54850"/>
                    <a:gd name="connsiteY11" fmla="*/ 37426 h 37425"/>
                    <a:gd name="connsiteX12" fmla="*/ 17273 w 54850"/>
                    <a:gd name="connsiteY12" fmla="*/ 36971 h 37425"/>
                    <a:gd name="connsiteX13" fmla="*/ 24697 w 54850"/>
                    <a:gd name="connsiteY13" fmla="*/ 35304 h 37425"/>
                    <a:gd name="connsiteX14" fmla="*/ 36819 w 54850"/>
                    <a:gd name="connsiteY14" fmla="*/ 31365 h 37425"/>
                    <a:gd name="connsiteX15" fmla="*/ 42729 w 54850"/>
                    <a:gd name="connsiteY15" fmla="*/ 25910 h 37425"/>
                    <a:gd name="connsiteX16" fmla="*/ 44850 w 54850"/>
                    <a:gd name="connsiteY16" fmla="*/ 22122 h 37425"/>
                    <a:gd name="connsiteX17" fmla="*/ 49699 w 54850"/>
                    <a:gd name="connsiteY17" fmla="*/ 18637 h 37425"/>
                    <a:gd name="connsiteX18" fmla="*/ 50911 w 54850"/>
                    <a:gd name="connsiteY18" fmla="*/ 20001 h 37425"/>
                    <a:gd name="connsiteX19" fmla="*/ 51517 w 54850"/>
                    <a:gd name="connsiteY19" fmla="*/ 22880 h 37425"/>
                    <a:gd name="connsiteX20" fmla="*/ 53032 w 54850"/>
                    <a:gd name="connsiteY20" fmla="*/ 22425 h 37425"/>
                    <a:gd name="connsiteX21" fmla="*/ 54850 w 54850"/>
                    <a:gd name="connsiteY21" fmla="*/ 20455 h 37425"/>
                    <a:gd name="connsiteX22" fmla="*/ 54396 w 54850"/>
                    <a:gd name="connsiteY22" fmla="*/ 15758 h 37425"/>
                    <a:gd name="connsiteX23" fmla="*/ 51668 w 54850"/>
                    <a:gd name="connsiteY23" fmla="*/ 12273 h 37425"/>
                    <a:gd name="connsiteX24" fmla="*/ 46971 w 54850"/>
                    <a:gd name="connsiteY24" fmla="*/ 9849 h 37425"/>
                    <a:gd name="connsiteX25" fmla="*/ 25910 w 54850"/>
                    <a:gd name="connsiteY25" fmla="*/ 0 h 3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4850" h="37425">
                      <a:moveTo>
                        <a:pt x="18485" y="151"/>
                      </a:moveTo>
                      <a:lnTo>
                        <a:pt x="15455" y="758"/>
                      </a:lnTo>
                      <a:lnTo>
                        <a:pt x="9545" y="3636"/>
                      </a:lnTo>
                      <a:lnTo>
                        <a:pt x="3636" y="8031"/>
                      </a:lnTo>
                      <a:lnTo>
                        <a:pt x="1060" y="11667"/>
                      </a:lnTo>
                      <a:lnTo>
                        <a:pt x="455" y="15910"/>
                      </a:lnTo>
                      <a:lnTo>
                        <a:pt x="0" y="20001"/>
                      </a:lnTo>
                      <a:lnTo>
                        <a:pt x="0" y="22728"/>
                      </a:lnTo>
                      <a:lnTo>
                        <a:pt x="455" y="25455"/>
                      </a:lnTo>
                      <a:lnTo>
                        <a:pt x="1060" y="27425"/>
                      </a:lnTo>
                      <a:lnTo>
                        <a:pt x="4394" y="34092"/>
                      </a:lnTo>
                      <a:lnTo>
                        <a:pt x="10606" y="37426"/>
                      </a:lnTo>
                      <a:lnTo>
                        <a:pt x="17273" y="36971"/>
                      </a:lnTo>
                      <a:lnTo>
                        <a:pt x="24697" y="35304"/>
                      </a:lnTo>
                      <a:lnTo>
                        <a:pt x="36819" y="31365"/>
                      </a:lnTo>
                      <a:lnTo>
                        <a:pt x="42729" y="25910"/>
                      </a:lnTo>
                      <a:lnTo>
                        <a:pt x="44850" y="22122"/>
                      </a:lnTo>
                      <a:lnTo>
                        <a:pt x="49699" y="18637"/>
                      </a:lnTo>
                      <a:lnTo>
                        <a:pt x="50911" y="20001"/>
                      </a:lnTo>
                      <a:lnTo>
                        <a:pt x="51517" y="22880"/>
                      </a:lnTo>
                      <a:lnTo>
                        <a:pt x="53032" y="22425"/>
                      </a:lnTo>
                      <a:lnTo>
                        <a:pt x="54850" y="20455"/>
                      </a:lnTo>
                      <a:lnTo>
                        <a:pt x="54396" y="15758"/>
                      </a:lnTo>
                      <a:lnTo>
                        <a:pt x="51668" y="12273"/>
                      </a:lnTo>
                      <a:lnTo>
                        <a:pt x="46971" y="9849"/>
                      </a:lnTo>
                      <a:lnTo>
                        <a:pt x="25910"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9" name="Freeform: Shape 3168">
                  <a:extLst>
                    <a:ext uri="{FF2B5EF4-FFF2-40B4-BE49-F238E27FC236}">
                      <a16:creationId xmlns:a16="http://schemas.microsoft.com/office/drawing/2014/main" id="{7E378E13-4430-4406-9CD9-B99F750470CE}"/>
                    </a:ext>
                  </a:extLst>
                </p:cNvPr>
                <p:cNvSpPr/>
                <p:nvPr/>
              </p:nvSpPr>
              <p:spPr>
                <a:xfrm>
                  <a:off x="7133008" y="1679161"/>
                  <a:ext cx="20909" cy="10606"/>
                </a:xfrm>
                <a:custGeom>
                  <a:avLst/>
                  <a:gdLst>
                    <a:gd name="connsiteX0" fmla="*/ 13637 w 20909"/>
                    <a:gd name="connsiteY0" fmla="*/ 9849 h 10606"/>
                    <a:gd name="connsiteX1" fmla="*/ 14243 w 20909"/>
                    <a:gd name="connsiteY1" fmla="*/ 7576 h 10606"/>
                    <a:gd name="connsiteX2" fmla="*/ 20910 w 20909"/>
                    <a:gd name="connsiteY2" fmla="*/ 3636 h 10606"/>
                    <a:gd name="connsiteX3" fmla="*/ 20758 w 20909"/>
                    <a:gd name="connsiteY3" fmla="*/ 2879 h 10606"/>
                    <a:gd name="connsiteX4" fmla="*/ 19092 w 20909"/>
                    <a:gd name="connsiteY4" fmla="*/ 606 h 10606"/>
                    <a:gd name="connsiteX5" fmla="*/ 9091 w 20909"/>
                    <a:gd name="connsiteY5" fmla="*/ 0 h 10606"/>
                    <a:gd name="connsiteX6" fmla="*/ 0 w 20909"/>
                    <a:gd name="connsiteY6" fmla="*/ 4546 h 10606"/>
                    <a:gd name="connsiteX7" fmla="*/ 909 w 20909"/>
                    <a:gd name="connsiteY7" fmla="*/ 5909 h 10606"/>
                    <a:gd name="connsiteX8" fmla="*/ 11364 w 20909"/>
                    <a:gd name="connsiteY8" fmla="*/ 10606 h 1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9" h="10606">
                      <a:moveTo>
                        <a:pt x="13637" y="9849"/>
                      </a:moveTo>
                      <a:lnTo>
                        <a:pt x="14243" y="7576"/>
                      </a:lnTo>
                      <a:lnTo>
                        <a:pt x="20910" y="3636"/>
                      </a:lnTo>
                      <a:lnTo>
                        <a:pt x="20758" y="2879"/>
                      </a:lnTo>
                      <a:lnTo>
                        <a:pt x="19092" y="606"/>
                      </a:lnTo>
                      <a:lnTo>
                        <a:pt x="9091" y="0"/>
                      </a:lnTo>
                      <a:lnTo>
                        <a:pt x="0" y="4546"/>
                      </a:lnTo>
                      <a:lnTo>
                        <a:pt x="909" y="5909"/>
                      </a:lnTo>
                      <a:lnTo>
                        <a:pt x="11364" y="10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0" name="Freeform: Shape 3169">
                  <a:extLst>
                    <a:ext uri="{FF2B5EF4-FFF2-40B4-BE49-F238E27FC236}">
                      <a16:creationId xmlns:a16="http://schemas.microsoft.com/office/drawing/2014/main" id="{C589FD06-AAD7-47C4-A6F7-E61229F45FE6}"/>
                    </a:ext>
                  </a:extLst>
                </p:cNvPr>
                <p:cNvSpPr/>
                <p:nvPr/>
              </p:nvSpPr>
              <p:spPr>
                <a:xfrm>
                  <a:off x="7155281" y="1619007"/>
                  <a:ext cx="15909" cy="8333"/>
                </a:xfrm>
                <a:custGeom>
                  <a:avLst/>
                  <a:gdLst>
                    <a:gd name="connsiteX0" fmla="*/ 1212 w 15909"/>
                    <a:gd name="connsiteY0" fmla="*/ 5606 h 8333"/>
                    <a:gd name="connsiteX1" fmla="*/ 4091 w 15909"/>
                    <a:gd name="connsiteY1" fmla="*/ 8031 h 8333"/>
                    <a:gd name="connsiteX2" fmla="*/ 6818 w 15909"/>
                    <a:gd name="connsiteY2" fmla="*/ 8334 h 8333"/>
                    <a:gd name="connsiteX3" fmla="*/ 10606 w 15909"/>
                    <a:gd name="connsiteY3" fmla="*/ 8031 h 8333"/>
                    <a:gd name="connsiteX4" fmla="*/ 11516 w 15909"/>
                    <a:gd name="connsiteY4" fmla="*/ 6364 h 8333"/>
                    <a:gd name="connsiteX5" fmla="*/ 15909 w 15909"/>
                    <a:gd name="connsiteY5" fmla="*/ 4091 h 8333"/>
                    <a:gd name="connsiteX6" fmla="*/ 13940 w 15909"/>
                    <a:gd name="connsiteY6" fmla="*/ 1212 h 8333"/>
                    <a:gd name="connsiteX7" fmla="*/ 9546 w 15909"/>
                    <a:gd name="connsiteY7" fmla="*/ 0 h 8333"/>
                    <a:gd name="connsiteX8" fmla="*/ 6212 w 15909"/>
                    <a:gd name="connsiteY8" fmla="*/ 0 h 8333"/>
                    <a:gd name="connsiteX9" fmla="*/ 4243 w 15909"/>
                    <a:gd name="connsiteY9" fmla="*/ 758 h 8333"/>
                    <a:gd name="connsiteX10" fmla="*/ 3788 w 15909"/>
                    <a:gd name="connsiteY10" fmla="*/ 1667 h 8333"/>
                    <a:gd name="connsiteX11" fmla="*/ 2727 w 15909"/>
                    <a:gd name="connsiteY11" fmla="*/ 2879 h 8333"/>
                    <a:gd name="connsiteX12" fmla="*/ 0 w 15909"/>
                    <a:gd name="connsiteY12" fmla="*/ 3030 h 8333"/>
                    <a:gd name="connsiteX13" fmla="*/ 303 w 15909"/>
                    <a:gd name="connsiteY13" fmla="*/ 4394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09" h="8333">
                      <a:moveTo>
                        <a:pt x="1212" y="5606"/>
                      </a:moveTo>
                      <a:lnTo>
                        <a:pt x="4091" y="8031"/>
                      </a:lnTo>
                      <a:lnTo>
                        <a:pt x="6818" y="8334"/>
                      </a:lnTo>
                      <a:lnTo>
                        <a:pt x="10606" y="8031"/>
                      </a:lnTo>
                      <a:lnTo>
                        <a:pt x="11516" y="6364"/>
                      </a:lnTo>
                      <a:lnTo>
                        <a:pt x="15909" y="4091"/>
                      </a:lnTo>
                      <a:lnTo>
                        <a:pt x="13940" y="1212"/>
                      </a:lnTo>
                      <a:lnTo>
                        <a:pt x="9546" y="0"/>
                      </a:lnTo>
                      <a:lnTo>
                        <a:pt x="6212" y="0"/>
                      </a:lnTo>
                      <a:lnTo>
                        <a:pt x="4243" y="758"/>
                      </a:lnTo>
                      <a:lnTo>
                        <a:pt x="3788" y="1667"/>
                      </a:lnTo>
                      <a:lnTo>
                        <a:pt x="2727" y="2879"/>
                      </a:lnTo>
                      <a:lnTo>
                        <a:pt x="0" y="3030"/>
                      </a:lnTo>
                      <a:lnTo>
                        <a:pt x="303" y="439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1" name="Freeform: Shape 3170">
                  <a:extLst>
                    <a:ext uri="{FF2B5EF4-FFF2-40B4-BE49-F238E27FC236}">
                      <a16:creationId xmlns:a16="http://schemas.microsoft.com/office/drawing/2014/main" id="{109E88AB-5D92-471B-9C3E-8D058E3C4121}"/>
                    </a:ext>
                  </a:extLst>
                </p:cNvPr>
                <p:cNvSpPr/>
                <p:nvPr/>
              </p:nvSpPr>
              <p:spPr>
                <a:xfrm>
                  <a:off x="7206495" y="2175997"/>
                  <a:ext cx="26364" cy="21970"/>
                </a:xfrm>
                <a:custGeom>
                  <a:avLst/>
                  <a:gdLst>
                    <a:gd name="connsiteX0" fmla="*/ 26364 w 26364"/>
                    <a:gd name="connsiteY0" fmla="*/ 12425 h 21970"/>
                    <a:gd name="connsiteX1" fmla="*/ 26062 w 26364"/>
                    <a:gd name="connsiteY1" fmla="*/ 9546 h 21970"/>
                    <a:gd name="connsiteX2" fmla="*/ 24698 w 26364"/>
                    <a:gd name="connsiteY2" fmla="*/ 8182 h 21970"/>
                    <a:gd name="connsiteX3" fmla="*/ 22879 w 26364"/>
                    <a:gd name="connsiteY3" fmla="*/ 8485 h 21970"/>
                    <a:gd name="connsiteX4" fmla="*/ 20607 w 26364"/>
                    <a:gd name="connsiteY4" fmla="*/ 5758 h 21970"/>
                    <a:gd name="connsiteX5" fmla="*/ 18182 w 26364"/>
                    <a:gd name="connsiteY5" fmla="*/ 1970 h 21970"/>
                    <a:gd name="connsiteX6" fmla="*/ 14698 w 26364"/>
                    <a:gd name="connsiteY6" fmla="*/ 303 h 21970"/>
                    <a:gd name="connsiteX7" fmla="*/ 13485 w 26364"/>
                    <a:gd name="connsiteY7" fmla="*/ 0 h 21970"/>
                    <a:gd name="connsiteX8" fmla="*/ 13182 w 26364"/>
                    <a:gd name="connsiteY8" fmla="*/ 758 h 21970"/>
                    <a:gd name="connsiteX9" fmla="*/ 13485 w 26364"/>
                    <a:gd name="connsiteY9" fmla="*/ 2576 h 21970"/>
                    <a:gd name="connsiteX10" fmla="*/ 10303 w 26364"/>
                    <a:gd name="connsiteY10" fmla="*/ 1061 h 21970"/>
                    <a:gd name="connsiteX11" fmla="*/ 7424 w 26364"/>
                    <a:gd name="connsiteY11" fmla="*/ 1061 h 21970"/>
                    <a:gd name="connsiteX12" fmla="*/ 1515 w 26364"/>
                    <a:gd name="connsiteY12" fmla="*/ 2424 h 21970"/>
                    <a:gd name="connsiteX13" fmla="*/ 0 w 26364"/>
                    <a:gd name="connsiteY13" fmla="*/ 4091 h 21970"/>
                    <a:gd name="connsiteX14" fmla="*/ 303 w 26364"/>
                    <a:gd name="connsiteY14" fmla="*/ 6061 h 21970"/>
                    <a:gd name="connsiteX15" fmla="*/ 1364 w 26364"/>
                    <a:gd name="connsiteY15" fmla="*/ 6818 h 21970"/>
                    <a:gd name="connsiteX16" fmla="*/ 5152 w 26364"/>
                    <a:gd name="connsiteY16" fmla="*/ 8334 h 21970"/>
                    <a:gd name="connsiteX17" fmla="*/ 8333 w 26364"/>
                    <a:gd name="connsiteY17" fmla="*/ 7728 h 21970"/>
                    <a:gd name="connsiteX18" fmla="*/ 13637 w 26364"/>
                    <a:gd name="connsiteY18" fmla="*/ 11364 h 21970"/>
                    <a:gd name="connsiteX19" fmla="*/ 15000 w 26364"/>
                    <a:gd name="connsiteY19" fmla="*/ 14546 h 21970"/>
                    <a:gd name="connsiteX20" fmla="*/ 16364 w 26364"/>
                    <a:gd name="connsiteY20" fmla="*/ 16061 h 21970"/>
                    <a:gd name="connsiteX21" fmla="*/ 19395 w 26364"/>
                    <a:gd name="connsiteY21" fmla="*/ 17728 h 21970"/>
                    <a:gd name="connsiteX22" fmla="*/ 20910 w 26364"/>
                    <a:gd name="connsiteY22" fmla="*/ 19849 h 21970"/>
                    <a:gd name="connsiteX23" fmla="*/ 21364 w 26364"/>
                    <a:gd name="connsiteY23" fmla="*/ 21971 h 21970"/>
                    <a:gd name="connsiteX24" fmla="*/ 24092 w 26364"/>
                    <a:gd name="connsiteY24" fmla="*/ 21213 h 21970"/>
                    <a:gd name="connsiteX25" fmla="*/ 23637 w 26364"/>
                    <a:gd name="connsiteY25" fmla="*/ 20455 h 21970"/>
                    <a:gd name="connsiteX26" fmla="*/ 22122 w 26364"/>
                    <a:gd name="connsiteY26" fmla="*/ 18789 h 21970"/>
                    <a:gd name="connsiteX27" fmla="*/ 22728 w 26364"/>
                    <a:gd name="connsiteY27" fmla="*/ 17122 h 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364" h="21970">
                      <a:moveTo>
                        <a:pt x="26364" y="12425"/>
                      </a:moveTo>
                      <a:lnTo>
                        <a:pt x="26062" y="9546"/>
                      </a:lnTo>
                      <a:lnTo>
                        <a:pt x="24698" y="8182"/>
                      </a:lnTo>
                      <a:lnTo>
                        <a:pt x="22879" y="8485"/>
                      </a:lnTo>
                      <a:lnTo>
                        <a:pt x="20607" y="5758"/>
                      </a:lnTo>
                      <a:lnTo>
                        <a:pt x="18182" y="1970"/>
                      </a:lnTo>
                      <a:lnTo>
                        <a:pt x="14698" y="303"/>
                      </a:lnTo>
                      <a:lnTo>
                        <a:pt x="13485" y="0"/>
                      </a:lnTo>
                      <a:lnTo>
                        <a:pt x="13182" y="758"/>
                      </a:lnTo>
                      <a:lnTo>
                        <a:pt x="13485" y="2576"/>
                      </a:lnTo>
                      <a:lnTo>
                        <a:pt x="10303" y="1061"/>
                      </a:lnTo>
                      <a:lnTo>
                        <a:pt x="7424" y="1061"/>
                      </a:lnTo>
                      <a:lnTo>
                        <a:pt x="1515" y="2424"/>
                      </a:lnTo>
                      <a:lnTo>
                        <a:pt x="0" y="4091"/>
                      </a:lnTo>
                      <a:lnTo>
                        <a:pt x="303" y="6061"/>
                      </a:lnTo>
                      <a:lnTo>
                        <a:pt x="1364" y="6818"/>
                      </a:lnTo>
                      <a:lnTo>
                        <a:pt x="5152" y="8334"/>
                      </a:lnTo>
                      <a:lnTo>
                        <a:pt x="8333" y="7728"/>
                      </a:lnTo>
                      <a:lnTo>
                        <a:pt x="13637" y="11364"/>
                      </a:lnTo>
                      <a:lnTo>
                        <a:pt x="15000" y="14546"/>
                      </a:lnTo>
                      <a:lnTo>
                        <a:pt x="16364" y="16061"/>
                      </a:lnTo>
                      <a:lnTo>
                        <a:pt x="19395" y="17728"/>
                      </a:lnTo>
                      <a:lnTo>
                        <a:pt x="20910" y="19849"/>
                      </a:lnTo>
                      <a:lnTo>
                        <a:pt x="21364" y="21971"/>
                      </a:lnTo>
                      <a:lnTo>
                        <a:pt x="24092" y="21213"/>
                      </a:lnTo>
                      <a:lnTo>
                        <a:pt x="23637" y="20455"/>
                      </a:lnTo>
                      <a:lnTo>
                        <a:pt x="22122" y="18789"/>
                      </a:lnTo>
                      <a:lnTo>
                        <a:pt x="22728" y="1712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2" name="Freeform: Shape 3171">
                  <a:extLst>
                    <a:ext uri="{FF2B5EF4-FFF2-40B4-BE49-F238E27FC236}">
                      <a16:creationId xmlns:a16="http://schemas.microsoft.com/office/drawing/2014/main" id="{0591A2FB-E52F-4DBE-A061-05B383609658}"/>
                    </a:ext>
                  </a:extLst>
                </p:cNvPr>
                <p:cNvSpPr/>
                <p:nvPr/>
              </p:nvSpPr>
              <p:spPr>
                <a:xfrm>
                  <a:off x="7053459" y="1634765"/>
                  <a:ext cx="138338" cy="53789"/>
                </a:xfrm>
                <a:custGeom>
                  <a:avLst/>
                  <a:gdLst>
                    <a:gd name="connsiteX0" fmla="*/ 66821 w 138338"/>
                    <a:gd name="connsiteY0" fmla="*/ 26365 h 53789"/>
                    <a:gd name="connsiteX1" fmla="*/ 54093 w 138338"/>
                    <a:gd name="connsiteY1" fmla="*/ 26819 h 53789"/>
                    <a:gd name="connsiteX2" fmla="*/ 49699 w 138338"/>
                    <a:gd name="connsiteY2" fmla="*/ 23637 h 53789"/>
                    <a:gd name="connsiteX3" fmla="*/ 48032 w 138338"/>
                    <a:gd name="connsiteY3" fmla="*/ 22880 h 53789"/>
                    <a:gd name="connsiteX4" fmla="*/ 45456 w 138338"/>
                    <a:gd name="connsiteY4" fmla="*/ 23334 h 53789"/>
                    <a:gd name="connsiteX5" fmla="*/ 42729 w 138338"/>
                    <a:gd name="connsiteY5" fmla="*/ 24546 h 53789"/>
                    <a:gd name="connsiteX6" fmla="*/ 34244 w 138338"/>
                    <a:gd name="connsiteY6" fmla="*/ 25455 h 53789"/>
                    <a:gd name="connsiteX7" fmla="*/ 27577 w 138338"/>
                    <a:gd name="connsiteY7" fmla="*/ 27274 h 53789"/>
                    <a:gd name="connsiteX8" fmla="*/ 20758 w 138338"/>
                    <a:gd name="connsiteY8" fmla="*/ 30759 h 53789"/>
                    <a:gd name="connsiteX9" fmla="*/ 0 w 138338"/>
                    <a:gd name="connsiteY9" fmla="*/ 40001 h 53789"/>
                    <a:gd name="connsiteX10" fmla="*/ 2576 w 138338"/>
                    <a:gd name="connsiteY10" fmla="*/ 42729 h 53789"/>
                    <a:gd name="connsiteX11" fmla="*/ 5455 w 138338"/>
                    <a:gd name="connsiteY11" fmla="*/ 43941 h 53789"/>
                    <a:gd name="connsiteX12" fmla="*/ 9394 w 138338"/>
                    <a:gd name="connsiteY12" fmla="*/ 47426 h 53789"/>
                    <a:gd name="connsiteX13" fmla="*/ 16516 w 138338"/>
                    <a:gd name="connsiteY13" fmla="*/ 47577 h 53789"/>
                    <a:gd name="connsiteX14" fmla="*/ 19092 w 138338"/>
                    <a:gd name="connsiteY14" fmla="*/ 46971 h 53789"/>
                    <a:gd name="connsiteX15" fmla="*/ 21819 w 138338"/>
                    <a:gd name="connsiteY15" fmla="*/ 44396 h 53789"/>
                    <a:gd name="connsiteX16" fmla="*/ 27274 w 138338"/>
                    <a:gd name="connsiteY16" fmla="*/ 43486 h 53789"/>
                    <a:gd name="connsiteX17" fmla="*/ 34092 w 138338"/>
                    <a:gd name="connsiteY17" fmla="*/ 43789 h 53789"/>
                    <a:gd name="connsiteX18" fmla="*/ 36365 w 138338"/>
                    <a:gd name="connsiteY18" fmla="*/ 45456 h 53789"/>
                    <a:gd name="connsiteX19" fmla="*/ 29547 w 138338"/>
                    <a:gd name="connsiteY19" fmla="*/ 49396 h 53789"/>
                    <a:gd name="connsiteX20" fmla="*/ 26971 w 138338"/>
                    <a:gd name="connsiteY20" fmla="*/ 51820 h 53789"/>
                    <a:gd name="connsiteX21" fmla="*/ 29850 w 138338"/>
                    <a:gd name="connsiteY21" fmla="*/ 53790 h 53789"/>
                    <a:gd name="connsiteX22" fmla="*/ 35456 w 138338"/>
                    <a:gd name="connsiteY22" fmla="*/ 53335 h 53789"/>
                    <a:gd name="connsiteX23" fmla="*/ 37729 w 138338"/>
                    <a:gd name="connsiteY23" fmla="*/ 52578 h 53789"/>
                    <a:gd name="connsiteX24" fmla="*/ 39698 w 138338"/>
                    <a:gd name="connsiteY24" fmla="*/ 51214 h 53789"/>
                    <a:gd name="connsiteX25" fmla="*/ 41668 w 138338"/>
                    <a:gd name="connsiteY25" fmla="*/ 50608 h 53789"/>
                    <a:gd name="connsiteX26" fmla="*/ 47577 w 138338"/>
                    <a:gd name="connsiteY26" fmla="*/ 52881 h 53789"/>
                    <a:gd name="connsiteX27" fmla="*/ 49850 w 138338"/>
                    <a:gd name="connsiteY27" fmla="*/ 51972 h 53789"/>
                    <a:gd name="connsiteX28" fmla="*/ 51669 w 138338"/>
                    <a:gd name="connsiteY28" fmla="*/ 48941 h 53789"/>
                    <a:gd name="connsiteX29" fmla="*/ 52275 w 138338"/>
                    <a:gd name="connsiteY29" fmla="*/ 47426 h 53789"/>
                    <a:gd name="connsiteX30" fmla="*/ 53032 w 138338"/>
                    <a:gd name="connsiteY30" fmla="*/ 46668 h 53789"/>
                    <a:gd name="connsiteX31" fmla="*/ 58790 w 138338"/>
                    <a:gd name="connsiteY31" fmla="*/ 48790 h 53789"/>
                    <a:gd name="connsiteX32" fmla="*/ 61517 w 138338"/>
                    <a:gd name="connsiteY32" fmla="*/ 49093 h 53789"/>
                    <a:gd name="connsiteX33" fmla="*/ 63790 w 138338"/>
                    <a:gd name="connsiteY33" fmla="*/ 48638 h 53789"/>
                    <a:gd name="connsiteX34" fmla="*/ 64699 w 138338"/>
                    <a:gd name="connsiteY34" fmla="*/ 45759 h 53789"/>
                    <a:gd name="connsiteX35" fmla="*/ 64093 w 138338"/>
                    <a:gd name="connsiteY35" fmla="*/ 43638 h 53789"/>
                    <a:gd name="connsiteX36" fmla="*/ 63336 w 138338"/>
                    <a:gd name="connsiteY36" fmla="*/ 42123 h 53789"/>
                    <a:gd name="connsiteX37" fmla="*/ 62275 w 138338"/>
                    <a:gd name="connsiteY37" fmla="*/ 41517 h 53789"/>
                    <a:gd name="connsiteX38" fmla="*/ 55911 w 138338"/>
                    <a:gd name="connsiteY38" fmla="*/ 40608 h 53789"/>
                    <a:gd name="connsiteX39" fmla="*/ 55608 w 138338"/>
                    <a:gd name="connsiteY39" fmla="*/ 40001 h 53789"/>
                    <a:gd name="connsiteX40" fmla="*/ 59245 w 138338"/>
                    <a:gd name="connsiteY40" fmla="*/ 36516 h 53789"/>
                    <a:gd name="connsiteX41" fmla="*/ 61517 w 138338"/>
                    <a:gd name="connsiteY41" fmla="*/ 35607 h 53789"/>
                    <a:gd name="connsiteX42" fmla="*/ 80457 w 138338"/>
                    <a:gd name="connsiteY42" fmla="*/ 35153 h 53789"/>
                    <a:gd name="connsiteX43" fmla="*/ 86064 w 138338"/>
                    <a:gd name="connsiteY43" fmla="*/ 32122 h 53789"/>
                    <a:gd name="connsiteX44" fmla="*/ 84852 w 138338"/>
                    <a:gd name="connsiteY44" fmla="*/ 29092 h 53789"/>
                    <a:gd name="connsiteX45" fmla="*/ 87579 w 138338"/>
                    <a:gd name="connsiteY45" fmla="*/ 27425 h 53789"/>
                    <a:gd name="connsiteX46" fmla="*/ 99398 w 138338"/>
                    <a:gd name="connsiteY46" fmla="*/ 25607 h 53789"/>
                    <a:gd name="connsiteX47" fmla="*/ 118035 w 138338"/>
                    <a:gd name="connsiteY47" fmla="*/ 24698 h 53789"/>
                    <a:gd name="connsiteX48" fmla="*/ 123186 w 138338"/>
                    <a:gd name="connsiteY48" fmla="*/ 20607 h 53789"/>
                    <a:gd name="connsiteX49" fmla="*/ 138339 w 138338"/>
                    <a:gd name="connsiteY49" fmla="*/ 15304 h 53789"/>
                    <a:gd name="connsiteX50" fmla="*/ 135308 w 138338"/>
                    <a:gd name="connsiteY50" fmla="*/ 11970 h 53789"/>
                    <a:gd name="connsiteX51" fmla="*/ 131520 w 138338"/>
                    <a:gd name="connsiteY51" fmla="*/ 11667 h 53789"/>
                    <a:gd name="connsiteX52" fmla="*/ 116822 w 138338"/>
                    <a:gd name="connsiteY52" fmla="*/ 2273 h 53789"/>
                    <a:gd name="connsiteX53" fmla="*/ 113641 w 138338"/>
                    <a:gd name="connsiteY53" fmla="*/ 758 h 53789"/>
                    <a:gd name="connsiteX54" fmla="*/ 103640 w 138338"/>
                    <a:gd name="connsiteY54" fmla="*/ 1061 h 53789"/>
                    <a:gd name="connsiteX55" fmla="*/ 99398 w 138338"/>
                    <a:gd name="connsiteY55" fmla="*/ 0 h 53789"/>
                    <a:gd name="connsiteX56" fmla="*/ 95155 w 138338"/>
                    <a:gd name="connsiteY56" fmla="*/ 152 h 53789"/>
                    <a:gd name="connsiteX57" fmla="*/ 78336 w 138338"/>
                    <a:gd name="connsiteY57" fmla="*/ 3940 h 53789"/>
                    <a:gd name="connsiteX58" fmla="*/ 71063 w 138338"/>
                    <a:gd name="connsiteY58" fmla="*/ 6818 h 53789"/>
                    <a:gd name="connsiteX59" fmla="*/ 68487 w 138338"/>
                    <a:gd name="connsiteY59" fmla="*/ 13788 h 53789"/>
                    <a:gd name="connsiteX60" fmla="*/ 69700 w 138338"/>
                    <a:gd name="connsiteY60" fmla="*/ 17425 h 53789"/>
                    <a:gd name="connsiteX61" fmla="*/ 69548 w 138338"/>
                    <a:gd name="connsiteY61" fmla="*/ 23637 h 5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8338" h="53789">
                      <a:moveTo>
                        <a:pt x="66821" y="26365"/>
                      </a:moveTo>
                      <a:lnTo>
                        <a:pt x="54093" y="26819"/>
                      </a:lnTo>
                      <a:lnTo>
                        <a:pt x="49699" y="23637"/>
                      </a:lnTo>
                      <a:lnTo>
                        <a:pt x="48032" y="22880"/>
                      </a:lnTo>
                      <a:lnTo>
                        <a:pt x="45456" y="23334"/>
                      </a:lnTo>
                      <a:lnTo>
                        <a:pt x="42729" y="24546"/>
                      </a:lnTo>
                      <a:lnTo>
                        <a:pt x="34244" y="25455"/>
                      </a:lnTo>
                      <a:lnTo>
                        <a:pt x="27577" y="27274"/>
                      </a:lnTo>
                      <a:lnTo>
                        <a:pt x="20758" y="30759"/>
                      </a:lnTo>
                      <a:lnTo>
                        <a:pt x="0" y="40001"/>
                      </a:lnTo>
                      <a:lnTo>
                        <a:pt x="2576" y="42729"/>
                      </a:lnTo>
                      <a:lnTo>
                        <a:pt x="5455" y="43941"/>
                      </a:lnTo>
                      <a:lnTo>
                        <a:pt x="9394" y="47426"/>
                      </a:lnTo>
                      <a:lnTo>
                        <a:pt x="16516" y="47577"/>
                      </a:lnTo>
                      <a:lnTo>
                        <a:pt x="19092" y="46971"/>
                      </a:lnTo>
                      <a:lnTo>
                        <a:pt x="21819" y="44396"/>
                      </a:lnTo>
                      <a:lnTo>
                        <a:pt x="27274" y="43486"/>
                      </a:lnTo>
                      <a:lnTo>
                        <a:pt x="34092" y="43789"/>
                      </a:lnTo>
                      <a:lnTo>
                        <a:pt x="36365" y="45456"/>
                      </a:lnTo>
                      <a:lnTo>
                        <a:pt x="29547" y="49396"/>
                      </a:lnTo>
                      <a:lnTo>
                        <a:pt x="26971" y="51820"/>
                      </a:lnTo>
                      <a:lnTo>
                        <a:pt x="29850" y="53790"/>
                      </a:lnTo>
                      <a:lnTo>
                        <a:pt x="35456" y="53335"/>
                      </a:lnTo>
                      <a:lnTo>
                        <a:pt x="37729" y="52578"/>
                      </a:lnTo>
                      <a:lnTo>
                        <a:pt x="39698" y="51214"/>
                      </a:lnTo>
                      <a:lnTo>
                        <a:pt x="41668" y="50608"/>
                      </a:lnTo>
                      <a:lnTo>
                        <a:pt x="47577" y="52881"/>
                      </a:lnTo>
                      <a:lnTo>
                        <a:pt x="49850" y="51972"/>
                      </a:lnTo>
                      <a:lnTo>
                        <a:pt x="51669" y="48941"/>
                      </a:lnTo>
                      <a:lnTo>
                        <a:pt x="52275" y="47426"/>
                      </a:lnTo>
                      <a:lnTo>
                        <a:pt x="53032" y="46668"/>
                      </a:lnTo>
                      <a:lnTo>
                        <a:pt x="58790" y="48790"/>
                      </a:lnTo>
                      <a:lnTo>
                        <a:pt x="61517" y="49093"/>
                      </a:lnTo>
                      <a:lnTo>
                        <a:pt x="63790" y="48638"/>
                      </a:lnTo>
                      <a:lnTo>
                        <a:pt x="64699" y="45759"/>
                      </a:lnTo>
                      <a:lnTo>
                        <a:pt x="64093" y="43638"/>
                      </a:lnTo>
                      <a:lnTo>
                        <a:pt x="63336" y="42123"/>
                      </a:lnTo>
                      <a:lnTo>
                        <a:pt x="62275" y="41517"/>
                      </a:lnTo>
                      <a:lnTo>
                        <a:pt x="55911" y="40608"/>
                      </a:lnTo>
                      <a:lnTo>
                        <a:pt x="55608" y="40001"/>
                      </a:lnTo>
                      <a:lnTo>
                        <a:pt x="59245" y="36516"/>
                      </a:lnTo>
                      <a:lnTo>
                        <a:pt x="61517" y="35607"/>
                      </a:lnTo>
                      <a:lnTo>
                        <a:pt x="80457" y="35153"/>
                      </a:lnTo>
                      <a:lnTo>
                        <a:pt x="86064" y="32122"/>
                      </a:lnTo>
                      <a:lnTo>
                        <a:pt x="84852" y="29092"/>
                      </a:lnTo>
                      <a:lnTo>
                        <a:pt x="87579" y="27425"/>
                      </a:lnTo>
                      <a:lnTo>
                        <a:pt x="99398" y="25607"/>
                      </a:lnTo>
                      <a:lnTo>
                        <a:pt x="118035" y="24698"/>
                      </a:lnTo>
                      <a:lnTo>
                        <a:pt x="123186" y="20607"/>
                      </a:lnTo>
                      <a:lnTo>
                        <a:pt x="138339" y="15304"/>
                      </a:lnTo>
                      <a:lnTo>
                        <a:pt x="135308" y="11970"/>
                      </a:lnTo>
                      <a:lnTo>
                        <a:pt x="131520" y="11667"/>
                      </a:lnTo>
                      <a:lnTo>
                        <a:pt x="116822" y="2273"/>
                      </a:lnTo>
                      <a:lnTo>
                        <a:pt x="113641" y="758"/>
                      </a:lnTo>
                      <a:lnTo>
                        <a:pt x="103640" y="1061"/>
                      </a:lnTo>
                      <a:lnTo>
                        <a:pt x="99398" y="0"/>
                      </a:lnTo>
                      <a:lnTo>
                        <a:pt x="95155" y="152"/>
                      </a:lnTo>
                      <a:lnTo>
                        <a:pt x="78336" y="3940"/>
                      </a:lnTo>
                      <a:lnTo>
                        <a:pt x="71063" y="6818"/>
                      </a:lnTo>
                      <a:lnTo>
                        <a:pt x="68487" y="13788"/>
                      </a:lnTo>
                      <a:lnTo>
                        <a:pt x="69700" y="17425"/>
                      </a:lnTo>
                      <a:lnTo>
                        <a:pt x="69548" y="236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3" name="Freeform: Shape 3172">
                  <a:extLst>
                    <a:ext uri="{FF2B5EF4-FFF2-40B4-BE49-F238E27FC236}">
                      <a16:creationId xmlns:a16="http://schemas.microsoft.com/office/drawing/2014/main" id="{9943F749-3CCC-4829-843B-3927C85E20D0}"/>
                    </a:ext>
                  </a:extLst>
                </p:cNvPr>
                <p:cNvSpPr/>
                <p:nvPr/>
              </p:nvSpPr>
              <p:spPr>
                <a:xfrm>
                  <a:off x="10664654" y="2166300"/>
                  <a:ext cx="105912" cy="38940"/>
                </a:xfrm>
                <a:custGeom>
                  <a:avLst/>
                  <a:gdLst>
                    <a:gd name="connsiteX0" fmla="*/ 105004 w 105912"/>
                    <a:gd name="connsiteY0" fmla="*/ 16819 h 38940"/>
                    <a:gd name="connsiteX1" fmla="*/ 103640 w 105912"/>
                    <a:gd name="connsiteY1" fmla="*/ 15910 h 38940"/>
                    <a:gd name="connsiteX2" fmla="*/ 97124 w 105912"/>
                    <a:gd name="connsiteY2" fmla="*/ 13031 h 38940"/>
                    <a:gd name="connsiteX3" fmla="*/ 92882 w 105912"/>
                    <a:gd name="connsiteY3" fmla="*/ 10455 h 38940"/>
                    <a:gd name="connsiteX4" fmla="*/ 90609 w 105912"/>
                    <a:gd name="connsiteY4" fmla="*/ 8031 h 38940"/>
                    <a:gd name="connsiteX5" fmla="*/ 88488 w 105912"/>
                    <a:gd name="connsiteY5" fmla="*/ 6667 h 38940"/>
                    <a:gd name="connsiteX6" fmla="*/ 86366 w 105912"/>
                    <a:gd name="connsiteY6" fmla="*/ 5758 h 38940"/>
                    <a:gd name="connsiteX7" fmla="*/ 82578 w 105912"/>
                    <a:gd name="connsiteY7" fmla="*/ 3333 h 38940"/>
                    <a:gd name="connsiteX8" fmla="*/ 80154 w 105912"/>
                    <a:gd name="connsiteY8" fmla="*/ 2727 h 38940"/>
                    <a:gd name="connsiteX9" fmla="*/ 68184 w 105912"/>
                    <a:gd name="connsiteY9" fmla="*/ 909 h 38940"/>
                    <a:gd name="connsiteX10" fmla="*/ 65002 w 105912"/>
                    <a:gd name="connsiteY10" fmla="*/ 151 h 38940"/>
                    <a:gd name="connsiteX11" fmla="*/ 61820 w 105912"/>
                    <a:gd name="connsiteY11" fmla="*/ 0 h 38940"/>
                    <a:gd name="connsiteX12" fmla="*/ 57881 w 105912"/>
                    <a:gd name="connsiteY12" fmla="*/ 1212 h 38940"/>
                    <a:gd name="connsiteX13" fmla="*/ 53790 w 105912"/>
                    <a:gd name="connsiteY13" fmla="*/ 1515 h 38940"/>
                    <a:gd name="connsiteX14" fmla="*/ 49850 w 105912"/>
                    <a:gd name="connsiteY14" fmla="*/ 758 h 38940"/>
                    <a:gd name="connsiteX15" fmla="*/ 45910 w 105912"/>
                    <a:gd name="connsiteY15" fmla="*/ 909 h 38940"/>
                    <a:gd name="connsiteX16" fmla="*/ 41668 w 105912"/>
                    <a:gd name="connsiteY16" fmla="*/ 2273 h 38940"/>
                    <a:gd name="connsiteX17" fmla="*/ 37425 w 105912"/>
                    <a:gd name="connsiteY17" fmla="*/ 3030 h 38940"/>
                    <a:gd name="connsiteX18" fmla="*/ 34395 w 105912"/>
                    <a:gd name="connsiteY18" fmla="*/ 3637 h 38940"/>
                    <a:gd name="connsiteX19" fmla="*/ 29697 w 105912"/>
                    <a:gd name="connsiteY19" fmla="*/ 6515 h 38940"/>
                    <a:gd name="connsiteX20" fmla="*/ 25152 w 105912"/>
                    <a:gd name="connsiteY20" fmla="*/ 7576 h 38940"/>
                    <a:gd name="connsiteX21" fmla="*/ 16515 w 105912"/>
                    <a:gd name="connsiteY21" fmla="*/ 13788 h 38940"/>
                    <a:gd name="connsiteX22" fmla="*/ 7121 w 105912"/>
                    <a:gd name="connsiteY22" fmla="*/ 18486 h 38940"/>
                    <a:gd name="connsiteX23" fmla="*/ 5455 w 105912"/>
                    <a:gd name="connsiteY23" fmla="*/ 21213 h 38940"/>
                    <a:gd name="connsiteX24" fmla="*/ 1515 w 105912"/>
                    <a:gd name="connsiteY24" fmla="*/ 24698 h 38940"/>
                    <a:gd name="connsiteX25" fmla="*/ 0 w 105912"/>
                    <a:gd name="connsiteY25" fmla="*/ 27728 h 38940"/>
                    <a:gd name="connsiteX26" fmla="*/ 454 w 105912"/>
                    <a:gd name="connsiteY26" fmla="*/ 30001 h 38940"/>
                    <a:gd name="connsiteX27" fmla="*/ 4394 w 105912"/>
                    <a:gd name="connsiteY27" fmla="*/ 38941 h 38940"/>
                    <a:gd name="connsiteX28" fmla="*/ 6364 w 105912"/>
                    <a:gd name="connsiteY28" fmla="*/ 38789 h 38940"/>
                    <a:gd name="connsiteX29" fmla="*/ 14243 w 105912"/>
                    <a:gd name="connsiteY29" fmla="*/ 36062 h 38940"/>
                    <a:gd name="connsiteX30" fmla="*/ 27879 w 105912"/>
                    <a:gd name="connsiteY30" fmla="*/ 35153 h 38940"/>
                    <a:gd name="connsiteX31" fmla="*/ 34244 w 105912"/>
                    <a:gd name="connsiteY31" fmla="*/ 31213 h 38940"/>
                    <a:gd name="connsiteX32" fmla="*/ 37425 w 105912"/>
                    <a:gd name="connsiteY32" fmla="*/ 30456 h 38940"/>
                    <a:gd name="connsiteX33" fmla="*/ 44698 w 105912"/>
                    <a:gd name="connsiteY33" fmla="*/ 31516 h 38940"/>
                    <a:gd name="connsiteX34" fmla="*/ 50911 w 105912"/>
                    <a:gd name="connsiteY34" fmla="*/ 33941 h 38940"/>
                    <a:gd name="connsiteX35" fmla="*/ 53486 w 105912"/>
                    <a:gd name="connsiteY35" fmla="*/ 34092 h 38940"/>
                    <a:gd name="connsiteX36" fmla="*/ 60608 w 105912"/>
                    <a:gd name="connsiteY36" fmla="*/ 33032 h 38940"/>
                    <a:gd name="connsiteX37" fmla="*/ 77730 w 105912"/>
                    <a:gd name="connsiteY37" fmla="*/ 29395 h 38940"/>
                    <a:gd name="connsiteX38" fmla="*/ 90457 w 105912"/>
                    <a:gd name="connsiteY38" fmla="*/ 28031 h 38940"/>
                    <a:gd name="connsiteX39" fmla="*/ 97124 w 105912"/>
                    <a:gd name="connsiteY39" fmla="*/ 26668 h 38940"/>
                    <a:gd name="connsiteX40" fmla="*/ 105155 w 105912"/>
                    <a:gd name="connsiteY40" fmla="*/ 21667 h 38940"/>
                    <a:gd name="connsiteX41" fmla="*/ 105913 w 105912"/>
                    <a:gd name="connsiteY41" fmla="*/ 19092 h 3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5912" h="38940">
                      <a:moveTo>
                        <a:pt x="105004" y="16819"/>
                      </a:moveTo>
                      <a:lnTo>
                        <a:pt x="103640" y="15910"/>
                      </a:lnTo>
                      <a:lnTo>
                        <a:pt x="97124" y="13031"/>
                      </a:lnTo>
                      <a:lnTo>
                        <a:pt x="92882" y="10455"/>
                      </a:lnTo>
                      <a:lnTo>
                        <a:pt x="90609" y="8031"/>
                      </a:lnTo>
                      <a:lnTo>
                        <a:pt x="88488" y="6667"/>
                      </a:lnTo>
                      <a:lnTo>
                        <a:pt x="86366" y="5758"/>
                      </a:lnTo>
                      <a:lnTo>
                        <a:pt x="82578" y="3333"/>
                      </a:lnTo>
                      <a:lnTo>
                        <a:pt x="80154" y="2727"/>
                      </a:lnTo>
                      <a:lnTo>
                        <a:pt x="68184" y="909"/>
                      </a:lnTo>
                      <a:lnTo>
                        <a:pt x="65002" y="151"/>
                      </a:lnTo>
                      <a:lnTo>
                        <a:pt x="61820" y="0"/>
                      </a:lnTo>
                      <a:lnTo>
                        <a:pt x="57881" y="1212"/>
                      </a:lnTo>
                      <a:lnTo>
                        <a:pt x="53790" y="1515"/>
                      </a:lnTo>
                      <a:lnTo>
                        <a:pt x="49850" y="758"/>
                      </a:lnTo>
                      <a:lnTo>
                        <a:pt x="45910" y="909"/>
                      </a:lnTo>
                      <a:lnTo>
                        <a:pt x="41668" y="2273"/>
                      </a:lnTo>
                      <a:lnTo>
                        <a:pt x="37425" y="3030"/>
                      </a:lnTo>
                      <a:lnTo>
                        <a:pt x="34395" y="3637"/>
                      </a:lnTo>
                      <a:lnTo>
                        <a:pt x="29697" y="6515"/>
                      </a:lnTo>
                      <a:lnTo>
                        <a:pt x="25152" y="7576"/>
                      </a:lnTo>
                      <a:lnTo>
                        <a:pt x="16515" y="13788"/>
                      </a:lnTo>
                      <a:lnTo>
                        <a:pt x="7121" y="18486"/>
                      </a:lnTo>
                      <a:lnTo>
                        <a:pt x="5455" y="21213"/>
                      </a:lnTo>
                      <a:lnTo>
                        <a:pt x="1515" y="24698"/>
                      </a:lnTo>
                      <a:lnTo>
                        <a:pt x="0" y="27728"/>
                      </a:lnTo>
                      <a:lnTo>
                        <a:pt x="454" y="30001"/>
                      </a:lnTo>
                      <a:lnTo>
                        <a:pt x="4394" y="38941"/>
                      </a:lnTo>
                      <a:lnTo>
                        <a:pt x="6364" y="38789"/>
                      </a:lnTo>
                      <a:lnTo>
                        <a:pt x="14243" y="36062"/>
                      </a:lnTo>
                      <a:lnTo>
                        <a:pt x="27879" y="35153"/>
                      </a:lnTo>
                      <a:lnTo>
                        <a:pt x="34244" y="31213"/>
                      </a:lnTo>
                      <a:lnTo>
                        <a:pt x="37425" y="30456"/>
                      </a:lnTo>
                      <a:lnTo>
                        <a:pt x="44698" y="31516"/>
                      </a:lnTo>
                      <a:lnTo>
                        <a:pt x="50911" y="33941"/>
                      </a:lnTo>
                      <a:lnTo>
                        <a:pt x="53486" y="34092"/>
                      </a:lnTo>
                      <a:lnTo>
                        <a:pt x="60608" y="33032"/>
                      </a:lnTo>
                      <a:lnTo>
                        <a:pt x="77730" y="29395"/>
                      </a:lnTo>
                      <a:lnTo>
                        <a:pt x="90457" y="28031"/>
                      </a:lnTo>
                      <a:lnTo>
                        <a:pt x="97124" y="26668"/>
                      </a:lnTo>
                      <a:lnTo>
                        <a:pt x="105155" y="21667"/>
                      </a:lnTo>
                      <a:lnTo>
                        <a:pt x="105913" y="190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3174" name="Freeform: Shape 3173">
                <a:extLst>
                  <a:ext uri="{FF2B5EF4-FFF2-40B4-BE49-F238E27FC236}">
                    <a16:creationId xmlns:a16="http://schemas.microsoft.com/office/drawing/2014/main" id="{2DE8D339-5160-4186-BD37-E8C958C4E027}"/>
                  </a:ext>
                </a:extLst>
              </p:cNvPr>
              <p:cNvSpPr/>
              <p:nvPr/>
            </p:nvSpPr>
            <p:spPr>
              <a:xfrm>
                <a:off x="6292674" y="3207550"/>
                <a:ext cx="113186" cy="131519"/>
              </a:xfrm>
              <a:custGeom>
                <a:avLst/>
                <a:gdLst>
                  <a:gd name="connsiteX0" fmla="*/ 110004 w 113186"/>
                  <a:gd name="connsiteY0" fmla="*/ 98185 h 131519"/>
                  <a:gd name="connsiteX1" fmla="*/ 108943 w 113186"/>
                  <a:gd name="connsiteY1" fmla="*/ 96670 h 131519"/>
                  <a:gd name="connsiteX2" fmla="*/ 107428 w 113186"/>
                  <a:gd name="connsiteY2" fmla="*/ 94852 h 131519"/>
                  <a:gd name="connsiteX3" fmla="*/ 105458 w 113186"/>
                  <a:gd name="connsiteY3" fmla="*/ 93640 h 131519"/>
                  <a:gd name="connsiteX4" fmla="*/ 101670 w 113186"/>
                  <a:gd name="connsiteY4" fmla="*/ 91519 h 131519"/>
                  <a:gd name="connsiteX5" fmla="*/ 100155 w 113186"/>
                  <a:gd name="connsiteY5" fmla="*/ 89397 h 131519"/>
                  <a:gd name="connsiteX6" fmla="*/ 99398 w 113186"/>
                  <a:gd name="connsiteY6" fmla="*/ 86518 h 131519"/>
                  <a:gd name="connsiteX7" fmla="*/ 98337 w 113186"/>
                  <a:gd name="connsiteY7" fmla="*/ 84549 h 131519"/>
                  <a:gd name="connsiteX8" fmla="*/ 97276 w 113186"/>
                  <a:gd name="connsiteY8" fmla="*/ 83033 h 131519"/>
                  <a:gd name="connsiteX9" fmla="*/ 96973 w 113186"/>
                  <a:gd name="connsiteY9" fmla="*/ 81973 h 131519"/>
                  <a:gd name="connsiteX10" fmla="*/ 96519 w 113186"/>
                  <a:gd name="connsiteY10" fmla="*/ 80609 h 131519"/>
                  <a:gd name="connsiteX11" fmla="*/ 96519 w 113186"/>
                  <a:gd name="connsiteY11" fmla="*/ 77882 h 131519"/>
                  <a:gd name="connsiteX12" fmla="*/ 97428 w 113186"/>
                  <a:gd name="connsiteY12" fmla="*/ 74397 h 131519"/>
                  <a:gd name="connsiteX13" fmla="*/ 98034 w 113186"/>
                  <a:gd name="connsiteY13" fmla="*/ 73033 h 131519"/>
                  <a:gd name="connsiteX14" fmla="*/ 99246 w 113186"/>
                  <a:gd name="connsiteY14" fmla="*/ 72730 h 131519"/>
                  <a:gd name="connsiteX15" fmla="*/ 102731 w 113186"/>
                  <a:gd name="connsiteY15" fmla="*/ 70760 h 131519"/>
                  <a:gd name="connsiteX16" fmla="*/ 103034 w 113186"/>
                  <a:gd name="connsiteY16" fmla="*/ 68336 h 131519"/>
                  <a:gd name="connsiteX17" fmla="*/ 103640 w 113186"/>
                  <a:gd name="connsiteY17" fmla="*/ 66821 h 131519"/>
                  <a:gd name="connsiteX18" fmla="*/ 104701 w 113186"/>
                  <a:gd name="connsiteY18" fmla="*/ 65911 h 131519"/>
                  <a:gd name="connsiteX19" fmla="*/ 105761 w 113186"/>
                  <a:gd name="connsiteY19" fmla="*/ 65305 h 131519"/>
                  <a:gd name="connsiteX20" fmla="*/ 105307 w 113186"/>
                  <a:gd name="connsiteY20" fmla="*/ 65002 h 131519"/>
                  <a:gd name="connsiteX21" fmla="*/ 105155 w 113186"/>
                  <a:gd name="connsiteY21" fmla="*/ 63790 h 131519"/>
                  <a:gd name="connsiteX22" fmla="*/ 104246 w 113186"/>
                  <a:gd name="connsiteY22" fmla="*/ 62730 h 131519"/>
                  <a:gd name="connsiteX23" fmla="*/ 102428 w 113186"/>
                  <a:gd name="connsiteY23" fmla="*/ 61972 h 131519"/>
                  <a:gd name="connsiteX24" fmla="*/ 100913 w 113186"/>
                  <a:gd name="connsiteY24" fmla="*/ 60608 h 131519"/>
                  <a:gd name="connsiteX25" fmla="*/ 100003 w 113186"/>
                  <a:gd name="connsiteY25" fmla="*/ 58790 h 131519"/>
                  <a:gd name="connsiteX26" fmla="*/ 100155 w 113186"/>
                  <a:gd name="connsiteY26" fmla="*/ 56972 h 131519"/>
                  <a:gd name="connsiteX27" fmla="*/ 101670 w 113186"/>
                  <a:gd name="connsiteY27" fmla="*/ 55154 h 131519"/>
                  <a:gd name="connsiteX28" fmla="*/ 103488 w 113186"/>
                  <a:gd name="connsiteY28" fmla="*/ 54547 h 131519"/>
                  <a:gd name="connsiteX29" fmla="*/ 105610 w 113186"/>
                  <a:gd name="connsiteY29" fmla="*/ 54699 h 131519"/>
                  <a:gd name="connsiteX30" fmla="*/ 106519 w 113186"/>
                  <a:gd name="connsiteY30" fmla="*/ 54244 h 131519"/>
                  <a:gd name="connsiteX31" fmla="*/ 106216 w 113186"/>
                  <a:gd name="connsiteY31" fmla="*/ 53032 h 131519"/>
                  <a:gd name="connsiteX32" fmla="*/ 104095 w 113186"/>
                  <a:gd name="connsiteY32" fmla="*/ 51517 h 131519"/>
                  <a:gd name="connsiteX33" fmla="*/ 100003 w 113186"/>
                  <a:gd name="connsiteY33" fmla="*/ 49699 h 131519"/>
                  <a:gd name="connsiteX34" fmla="*/ 96064 w 113186"/>
                  <a:gd name="connsiteY34" fmla="*/ 50608 h 131519"/>
                  <a:gd name="connsiteX35" fmla="*/ 91973 w 113186"/>
                  <a:gd name="connsiteY35" fmla="*/ 54547 h 131519"/>
                  <a:gd name="connsiteX36" fmla="*/ 88943 w 113186"/>
                  <a:gd name="connsiteY36" fmla="*/ 55154 h 131519"/>
                  <a:gd name="connsiteX37" fmla="*/ 87124 w 113186"/>
                  <a:gd name="connsiteY37" fmla="*/ 52578 h 131519"/>
                  <a:gd name="connsiteX38" fmla="*/ 83942 w 113186"/>
                  <a:gd name="connsiteY38" fmla="*/ 50911 h 131519"/>
                  <a:gd name="connsiteX39" fmla="*/ 79397 w 113186"/>
                  <a:gd name="connsiteY39" fmla="*/ 50456 h 131519"/>
                  <a:gd name="connsiteX40" fmla="*/ 76518 w 113186"/>
                  <a:gd name="connsiteY40" fmla="*/ 49547 h 131519"/>
                  <a:gd name="connsiteX41" fmla="*/ 75457 w 113186"/>
                  <a:gd name="connsiteY41" fmla="*/ 48032 h 131519"/>
                  <a:gd name="connsiteX42" fmla="*/ 73336 w 113186"/>
                  <a:gd name="connsiteY42" fmla="*/ 46820 h 131519"/>
                  <a:gd name="connsiteX43" fmla="*/ 68942 w 113186"/>
                  <a:gd name="connsiteY43" fmla="*/ 45608 h 131519"/>
                  <a:gd name="connsiteX44" fmla="*/ 68942 w 113186"/>
                  <a:gd name="connsiteY44" fmla="*/ 44396 h 131519"/>
                  <a:gd name="connsiteX45" fmla="*/ 69548 w 113186"/>
                  <a:gd name="connsiteY45" fmla="*/ 44092 h 131519"/>
                  <a:gd name="connsiteX46" fmla="*/ 71214 w 113186"/>
                  <a:gd name="connsiteY46" fmla="*/ 43941 h 131519"/>
                  <a:gd name="connsiteX47" fmla="*/ 73336 w 113186"/>
                  <a:gd name="connsiteY47" fmla="*/ 43789 h 131519"/>
                  <a:gd name="connsiteX48" fmla="*/ 73639 w 113186"/>
                  <a:gd name="connsiteY48" fmla="*/ 43032 h 131519"/>
                  <a:gd name="connsiteX49" fmla="*/ 73639 w 113186"/>
                  <a:gd name="connsiteY49" fmla="*/ 42426 h 131519"/>
                  <a:gd name="connsiteX50" fmla="*/ 71972 w 113186"/>
                  <a:gd name="connsiteY50" fmla="*/ 41668 h 131519"/>
                  <a:gd name="connsiteX51" fmla="*/ 70305 w 113186"/>
                  <a:gd name="connsiteY51" fmla="*/ 41214 h 131519"/>
                  <a:gd name="connsiteX52" fmla="*/ 69396 w 113186"/>
                  <a:gd name="connsiteY52" fmla="*/ 40608 h 131519"/>
                  <a:gd name="connsiteX53" fmla="*/ 68790 w 113186"/>
                  <a:gd name="connsiteY53" fmla="*/ 40001 h 131519"/>
                  <a:gd name="connsiteX54" fmla="*/ 68790 w 113186"/>
                  <a:gd name="connsiteY54" fmla="*/ 39395 h 131519"/>
                  <a:gd name="connsiteX55" fmla="*/ 69245 w 113186"/>
                  <a:gd name="connsiteY55" fmla="*/ 38941 h 131519"/>
                  <a:gd name="connsiteX56" fmla="*/ 69851 w 113186"/>
                  <a:gd name="connsiteY56" fmla="*/ 38941 h 131519"/>
                  <a:gd name="connsiteX57" fmla="*/ 70609 w 113186"/>
                  <a:gd name="connsiteY57" fmla="*/ 38638 h 131519"/>
                  <a:gd name="connsiteX58" fmla="*/ 70912 w 113186"/>
                  <a:gd name="connsiteY58" fmla="*/ 37123 h 131519"/>
                  <a:gd name="connsiteX59" fmla="*/ 71821 w 113186"/>
                  <a:gd name="connsiteY59" fmla="*/ 36062 h 131519"/>
                  <a:gd name="connsiteX60" fmla="*/ 72578 w 113186"/>
                  <a:gd name="connsiteY60" fmla="*/ 35607 h 131519"/>
                  <a:gd name="connsiteX61" fmla="*/ 72578 w 113186"/>
                  <a:gd name="connsiteY61" fmla="*/ 34698 h 131519"/>
                  <a:gd name="connsiteX62" fmla="*/ 71821 w 113186"/>
                  <a:gd name="connsiteY62" fmla="*/ 33941 h 131519"/>
                  <a:gd name="connsiteX63" fmla="*/ 70912 w 113186"/>
                  <a:gd name="connsiteY63" fmla="*/ 33183 h 131519"/>
                  <a:gd name="connsiteX64" fmla="*/ 69548 w 113186"/>
                  <a:gd name="connsiteY64" fmla="*/ 32880 h 131519"/>
                  <a:gd name="connsiteX65" fmla="*/ 65305 w 113186"/>
                  <a:gd name="connsiteY65" fmla="*/ 31516 h 131519"/>
                  <a:gd name="connsiteX66" fmla="*/ 63184 w 113186"/>
                  <a:gd name="connsiteY66" fmla="*/ 29850 h 131519"/>
                  <a:gd name="connsiteX67" fmla="*/ 61820 w 113186"/>
                  <a:gd name="connsiteY67" fmla="*/ 29850 h 131519"/>
                  <a:gd name="connsiteX68" fmla="*/ 59699 w 113186"/>
                  <a:gd name="connsiteY68" fmla="*/ 28789 h 131519"/>
                  <a:gd name="connsiteX69" fmla="*/ 57426 w 113186"/>
                  <a:gd name="connsiteY69" fmla="*/ 27425 h 131519"/>
                  <a:gd name="connsiteX70" fmla="*/ 55608 w 113186"/>
                  <a:gd name="connsiteY70" fmla="*/ 25304 h 131519"/>
                  <a:gd name="connsiteX71" fmla="*/ 53487 w 113186"/>
                  <a:gd name="connsiteY71" fmla="*/ 23940 h 131519"/>
                  <a:gd name="connsiteX72" fmla="*/ 52881 w 113186"/>
                  <a:gd name="connsiteY72" fmla="*/ 23334 h 131519"/>
                  <a:gd name="connsiteX73" fmla="*/ 52881 w 113186"/>
                  <a:gd name="connsiteY73" fmla="*/ 22880 h 131519"/>
                  <a:gd name="connsiteX74" fmla="*/ 53183 w 113186"/>
                  <a:gd name="connsiteY74" fmla="*/ 22274 h 131519"/>
                  <a:gd name="connsiteX75" fmla="*/ 53183 w 113186"/>
                  <a:gd name="connsiteY75" fmla="*/ 21516 h 131519"/>
                  <a:gd name="connsiteX76" fmla="*/ 52729 w 113186"/>
                  <a:gd name="connsiteY76" fmla="*/ 19546 h 131519"/>
                  <a:gd name="connsiteX77" fmla="*/ 53032 w 113186"/>
                  <a:gd name="connsiteY77" fmla="*/ 17273 h 131519"/>
                  <a:gd name="connsiteX78" fmla="*/ 53032 w 113186"/>
                  <a:gd name="connsiteY78" fmla="*/ 15304 h 131519"/>
                  <a:gd name="connsiteX79" fmla="*/ 52881 w 113186"/>
                  <a:gd name="connsiteY79" fmla="*/ 14394 h 131519"/>
                  <a:gd name="connsiteX80" fmla="*/ 52578 w 113186"/>
                  <a:gd name="connsiteY80" fmla="*/ 14091 h 131519"/>
                  <a:gd name="connsiteX81" fmla="*/ 52123 w 113186"/>
                  <a:gd name="connsiteY81" fmla="*/ 14394 h 131519"/>
                  <a:gd name="connsiteX82" fmla="*/ 51669 w 113186"/>
                  <a:gd name="connsiteY82" fmla="*/ 14698 h 131519"/>
                  <a:gd name="connsiteX83" fmla="*/ 51062 w 113186"/>
                  <a:gd name="connsiteY83" fmla="*/ 14849 h 131519"/>
                  <a:gd name="connsiteX84" fmla="*/ 49547 w 113186"/>
                  <a:gd name="connsiteY84" fmla="*/ 13334 h 131519"/>
                  <a:gd name="connsiteX85" fmla="*/ 47577 w 113186"/>
                  <a:gd name="connsiteY85" fmla="*/ 10303 h 131519"/>
                  <a:gd name="connsiteX86" fmla="*/ 46365 w 113186"/>
                  <a:gd name="connsiteY86" fmla="*/ 9243 h 131519"/>
                  <a:gd name="connsiteX87" fmla="*/ 43789 w 113186"/>
                  <a:gd name="connsiteY87" fmla="*/ 7879 h 131519"/>
                  <a:gd name="connsiteX88" fmla="*/ 41517 w 113186"/>
                  <a:gd name="connsiteY88" fmla="*/ 6667 h 131519"/>
                  <a:gd name="connsiteX89" fmla="*/ 40001 w 113186"/>
                  <a:gd name="connsiteY89" fmla="*/ 4091 h 131519"/>
                  <a:gd name="connsiteX90" fmla="*/ 38335 w 113186"/>
                  <a:gd name="connsiteY90" fmla="*/ 2121 h 131519"/>
                  <a:gd name="connsiteX91" fmla="*/ 37426 w 113186"/>
                  <a:gd name="connsiteY91" fmla="*/ 1515 h 131519"/>
                  <a:gd name="connsiteX92" fmla="*/ 36213 w 113186"/>
                  <a:gd name="connsiteY92" fmla="*/ 909 h 131519"/>
                  <a:gd name="connsiteX93" fmla="*/ 30001 w 113186"/>
                  <a:gd name="connsiteY93" fmla="*/ 303 h 131519"/>
                  <a:gd name="connsiteX94" fmla="*/ 27425 w 113186"/>
                  <a:gd name="connsiteY94" fmla="*/ 758 h 131519"/>
                  <a:gd name="connsiteX95" fmla="*/ 24243 w 113186"/>
                  <a:gd name="connsiteY95" fmla="*/ 606 h 131519"/>
                  <a:gd name="connsiteX96" fmla="*/ 21213 w 113186"/>
                  <a:gd name="connsiteY96" fmla="*/ 0 h 131519"/>
                  <a:gd name="connsiteX97" fmla="*/ 18940 w 113186"/>
                  <a:gd name="connsiteY97" fmla="*/ 455 h 131519"/>
                  <a:gd name="connsiteX98" fmla="*/ 16819 w 113186"/>
                  <a:gd name="connsiteY98" fmla="*/ 2879 h 131519"/>
                  <a:gd name="connsiteX99" fmla="*/ 15909 w 113186"/>
                  <a:gd name="connsiteY99" fmla="*/ 3636 h 131519"/>
                  <a:gd name="connsiteX100" fmla="*/ 15152 w 113186"/>
                  <a:gd name="connsiteY100" fmla="*/ 4091 h 131519"/>
                  <a:gd name="connsiteX101" fmla="*/ 13333 w 113186"/>
                  <a:gd name="connsiteY101" fmla="*/ 4849 h 131519"/>
                  <a:gd name="connsiteX102" fmla="*/ 11970 w 113186"/>
                  <a:gd name="connsiteY102" fmla="*/ 5758 h 131519"/>
                  <a:gd name="connsiteX103" fmla="*/ 10000 w 113186"/>
                  <a:gd name="connsiteY103" fmla="*/ 6364 h 131519"/>
                  <a:gd name="connsiteX104" fmla="*/ 8333 w 113186"/>
                  <a:gd name="connsiteY104" fmla="*/ 6212 h 131519"/>
                  <a:gd name="connsiteX105" fmla="*/ 6818 w 113186"/>
                  <a:gd name="connsiteY105" fmla="*/ 5303 h 131519"/>
                  <a:gd name="connsiteX106" fmla="*/ 6212 w 113186"/>
                  <a:gd name="connsiteY106" fmla="*/ 5455 h 131519"/>
                  <a:gd name="connsiteX107" fmla="*/ 5606 w 113186"/>
                  <a:gd name="connsiteY107" fmla="*/ 6364 h 131519"/>
                  <a:gd name="connsiteX108" fmla="*/ 4848 w 113186"/>
                  <a:gd name="connsiteY108" fmla="*/ 7121 h 131519"/>
                  <a:gd name="connsiteX109" fmla="*/ 2424 w 113186"/>
                  <a:gd name="connsiteY109" fmla="*/ 8182 h 131519"/>
                  <a:gd name="connsiteX110" fmla="*/ 1818 w 113186"/>
                  <a:gd name="connsiteY110" fmla="*/ 8182 h 131519"/>
                  <a:gd name="connsiteX111" fmla="*/ 1667 w 113186"/>
                  <a:gd name="connsiteY111" fmla="*/ 8940 h 131519"/>
                  <a:gd name="connsiteX112" fmla="*/ 1515 w 113186"/>
                  <a:gd name="connsiteY112" fmla="*/ 10455 h 131519"/>
                  <a:gd name="connsiteX113" fmla="*/ 0 w 113186"/>
                  <a:gd name="connsiteY113" fmla="*/ 11364 h 131519"/>
                  <a:gd name="connsiteX114" fmla="*/ 1515 w 113186"/>
                  <a:gd name="connsiteY114" fmla="*/ 13788 h 131519"/>
                  <a:gd name="connsiteX115" fmla="*/ 2879 w 113186"/>
                  <a:gd name="connsiteY115" fmla="*/ 17576 h 131519"/>
                  <a:gd name="connsiteX116" fmla="*/ 2121 w 113186"/>
                  <a:gd name="connsiteY116" fmla="*/ 19395 h 131519"/>
                  <a:gd name="connsiteX117" fmla="*/ 3030 w 113186"/>
                  <a:gd name="connsiteY117" fmla="*/ 20910 h 131519"/>
                  <a:gd name="connsiteX118" fmla="*/ 5909 w 113186"/>
                  <a:gd name="connsiteY118" fmla="*/ 21819 h 131519"/>
                  <a:gd name="connsiteX119" fmla="*/ 6061 w 113186"/>
                  <a:gd name="connsiteY119" fmla="*/ 22274 h 131519"/>
                  <a:gd name="connsiteX120" fmla="*/ 5303 w 113186"/>
                  <a:gd name="connsiteY120" fmla="*/ 22728 h 131519"/>
                  <a:gd name="connsiteX121" fmla="*/ 4545 w 113186"/>
                  <a:gd name="connsiteY121" fmla="*/ 23940 h 131519"/>
                  <a:gd name="connsiteX122" fmla="*/ 4545 w 113186"/>
                  <a:gd name="connsiteY122" fmla="*/ 26213 h 131519"/>
                  <a:gd name="connsiteX123" fmla="*/ 6970 w 113186"/>
                  <a:gd name="connsiteY123" fmla="*/ 28334 h 131519"/>
                  <a:gd name="connsiteX124" fmla="*/ 11819 w 113186"/>
                  <a:gd name="connsiteY124" fmla="*/ 30304 h 131519"/>
                  <a:gd name="connsiteX125" fmla="*/ 13333 w 113186"/>
                  <a:gd name="connsiteY125" fmla="*/ 30607 h 131519"/>
                  <a:gd name="connsiteX126" fmla="*/ 13940 w 113186"/>
                  <a:gd name="connsiteY126" fmla="*/ 31516 h 131519"/>
                  <a:gd name="connsiteX127" fmla="*/ 14849 w 113186"/>
                  <a:gd name="connsiteY127" fmla="*/ 31971 h 131519"/>
                  <a:gd name="connsiteX128" fmla="*/ 15303 w 113186"/>
                  <a:gd name="connsiteY128" fmla="*/ 32577 h 131519"/>
                  <a:gd name="connsiteX129" fmla="*/ 15303 w 113186"/>
                  <a:gd name="connsiteY129" fmla="*/ 33335 h 131519"/>
                  <a:gd name="connsiteX130" fmla="*/ 15000 w 113186"/>
                  <a:gd name="connsiteY130" fmla="*/ 33941 h 131519"/>
                  <a:gd name="connsiteX131" fmla="*/ 12728 w 113186"/>
                  <a:gd name="connsiteY131" fmla="*/ 34092 h 131519"/>
                  <a:gd name="connsiteX132" fmla="*/ 10000 w 113186"/>
                  <a:gd name="connsiteY132" fmla="*/ 34092 h 131519"/>
                  <a:gd name="connsiteX133" fmla="*/ 8182 w 113186"/>
                  <a:gd name="connsiteY133" fmla="*/ 33032 h 131519"/>
                  <a:gd name="connsiteX134" fmla="*/ 7879 w 113186"/>
                  <a:gd name="connsiteY134" fmla="*/ 33789 h 131519"/>
                  <a:gd name="connsiteX135" fmla="*/ 7879 w 113186"/>
                  <a:gd name="connsiteY135" fmla="*/ 34547 h 131519"/>
                  <a:gd name="connsiteX136" fmla="*/ 6061 w 113186"/>
                  <a:gd name="connsiteY136" fmla="*/ 35153 h 131519"/>
                  <a:gd name="connsiteX137" fmla="*/ 7121 w 113186"/>
                  <a:gd name="connsiteY137" fmla="*/ 40608 h 131519"/>
                  <a:gd name="connsiteX138" fmla="*/ 6667 w 113186"/>
                  <a:gd name="connsiteY138" fmla="*/ 42274 h 131519"/>
                  <a:gd name="connsiteX139" fmla="*/ 6061 w 113186"/>
                  <a:gd name="connsiteY139" fmla="*/ 42729 h 131519"/>
                  <a:gd name="connsiteX140" fmla="*/ 5455 w 113186"/>
                  <a:gd name="connsiteY140" fmla="*/ 42577 h 131519"/>
                  <a:gd name="connsiteX141" fmla="*/ 4697 w 113186"/>
                  <a:gd name="connsiteY141" fmla="*/ 42426 h 131519"/>
                  <a:gd name="connsiteX142" fmla="*/ 4243 w 113186"/>
                  <a:gd name="connsiteY142" fmla="*/ 43032 h 131519"/>
                  <a:gd name="connsiteX143" fmla="*/ 4545 w 113186"/>
                  <a:gd name="connsiteY143" fmla="*/ 44092 h 131519"/>
                  <a:gd name="connsiteX144" fmla="*/ 5455 w 113186"/>
                  <a:gd name="connsiteY144" fmla="*/ 44092 h 131519"/>
                  <a:gd name="connsiteX145" fmla="*/ 8031 w 113186"/>
                  <a:gd name="connsiteY145" fmla="*/ 43183 h 131519"/>
                  <a:gd name="connsiteX146" fmla="*/ 10910 w 113186"/>
                  <a:gd name="connsiteY146" fmla="*/ 42577 h 131519"/>
                  <a:gd name="connsiteX147" fmla="*/ 12879 w 113186"/>
                  <a:gd name="connsiteY147" fmla="*/ 43183 h 131519"/>
                  <a:gd name="connsiteX148" fmla="*/ 13940 w 113186"/>
                  <a:gd name="connsiteY148" fmla="*/ 43789 h 131519"/>
                  <a:gd name="connsiteX149" fmla="*/ 14091 w 113186"/>
                  <a:gd name="connsiteY149" fmla="*/ 44547 h 131519"/>
                  <a:gd name="connsiteX150" fmla="*/ 13485 w 113186"/>
                  <a:gd name="connsiteY150" fmla="*/ 47123 h 131519"/>
                  <a:gd name="connsiteX151" fmla="*/ 12424 w 113186"/>
                  <a:gd name="connsiteY151" fmla="*/ 50002 h 131519"/>
                  <a:gd name="connsiteX152" fmla="*/ 10455 w 113186"/>
                  <a:gd name="connsiteY152" fmla="*/ 52881 h 131519"/>
                  <a:gd name="connsiteX153" fmla="*/ 8485 w 113186"/>
                  <a:gd name="connsiteY153" fmla="*/ 55608 h 131519"/>
                  <a:gd name="connsiteX154" fmla="*/ 8031 w 113186"/>
                  <a:gd name="connsiteY154" fmla="*/ 57123 h 131519"/>
                  <a:gd name="connsiteX155" fmla="*/ 7879 w 113186"/>
                  <a:gd name="connsiteY155" fmla="*/ 59396 h 131519"/>
                  <a:gd name="connsiteX156" fmla="*/ 7576 w 113186"/>
                  <a:gd name="connsiteY156" fmla="*/ 61214 h 131519"/>
                  <a:gd name="connsiteX157" fmla="*/ 7879 w 113186"/>
                  <a:gd name="connsiteY157" fmla="*/ 62275 h 131519"/>
                  <a:gd name="connsiteX158" fmla="*/ 8485 w 113186"/>
                  <a:gd name="connsiteY158" fmla="*/ 63184 h 131519"/>
                  <a:gd name="connsiteX159" fmla="*/ 10758 w 113186"/>
                  <a:gd name="connsiteY159" fmla="*/ 63942 h 131519"/>
                  <a:gd name="connsiteX160" fmla="*/ 13637 w 113186"/>
                  <a:gd name="connsiteY160" fmla="*/ 65760 h 131519"/>
                  <a:gd name="connsiteX161" fmla="*/ 16212 w 113186"/>
                  <a:gd name="connsiteY161" fmla="*/ 68184 h 131519"/>
                  <a:gd name="connsiteX162" fmla="*/ 19395 w 113186"/>
                  <a:gd name="connsiteY162" fmla="*/ 70912 h 131519"/>
                  <a:gd name="connsiteX163" fmla="*/ 20304 w 113186"/>
                  <a:gd name="connsiteY163" fmla="*/ 71821 h 131519"/>
                  <a:gd name="connsiteX164" fmla="*/ 20304 w 113186"/>
                  <a:gd name="connsiteY164" fmla="*/ 72881 h 131519"/>
                  <a:gd name="connsiteX165" fmla="*/ 19395 w 113186"/>
                  <a:gd name="connsiteY165" fmla="*/ 73790 h 131519"/>
                  <a:gd name="connsiteX166" fmla="*/ 16667 w 113186"/>
                  <a:gd name="connsiteY166" fmla="*/ 74094 h 131519"/>
                  <a:gd name="connsiteX167" fmla="*/ 13788 w 113186"/>
                  <a:gd name="connsiteY167" fmla="*/ 73790 h 131519"/>
                  <a:gd name="connsiteX168" fmla="*/ 12728 w 113186"/>
                  <a:gd name="connsiteY168" fmla="*/ 73488 h 131519"/>
                  <a:gd name="connsiteX169" fmla="*/ 11667 w 113186"/>
                  <a:gd name="connsiteY169" fmla="*/ 73942 h 131519"/>
                  <a:gd name="connsiteX170" fmla="*/ 11061 w 113186"/>
                  <a:gd name="connsiteY170" fmla="*/ 74548 h 131519"/>
                  <a:gd name="connsiteX171" fmla="*/ 11364 w 113186"/>
                  <a:gd name="connsiteY171" fmla="*/ 75154 h 131519"/>
                  <a:gd name="connsiteX172" fmla="*/ 14394 w 113186"/>
                  <a:gd name="connsiteY172" fmla="*/ 78488 h 131519"/>
                  <a:gd name="connsiteX173" fmla="*/ 17728 w 113186"/>
                  <a:gd name="connsiteY173" fmla="*/ 83185 h 131519"/>
                  <a:gd name="connsiteX174" fmla="*/ 17879 w 113186"/>
                  <a:gd name="connsiteY174" fmla="*/ 85155 h 131519"/>
                  <a:gd name="connsiteX175" fmla="*/ 17576 w 113186"/>
                  <a:gd name="connsiteY175" fmla="*/ 86821 h 131519"/>
                  <a:gd name="connsiteX176" fmla="*/ 16667 w 113186"/>
                  <a:gd name="connsiteY176" fmla="*/ 87882 h 131519"/>
                  <a:gd name="connsiteX177" fmla="*/ 15303 w 113186"/>
                  <a:gd name="connsiteY177" fmla="*/ 87730 h 131519"/>
                  <a:gd name="connsiteX178" fmla="*/ 14243 w 113186"/>
                  <a:gd name="connsiteY178" fmla="*/ 86821 h 131519"/>
                  <a:gd name="connsiteX179" fmla="*/ 12576 w 113186"/>
                  <a:gd name="connsiteY179" fmla="*/ 86973 h 131519"/>
                  <a:gd name="connsiteX180" fmla="*/ 11364 w 113186"/>
                  <a:gd name="connsiteY180" fmla="*/ 87124 h 131519"/>
                  <a:gd name="connsiteX181" fmla="*/ 9697 w 113186"/>
                  <a:gd name="connsiteY181" fmla="*/ 88943 h 131519"/>
                  <a:gd name="connsiteX182" fmla="*/ 9545 w 113186"/>
                  <a:gd name="connsiteY182" fmla="*/ 89246 h 131519"/>
                  <a:gd name="connsiteX183" fmla="*/ 9697 w 113186"/>
                  <a:gd name="connsiteY183" fmla="*/ 90458 h 131519"/>
                  <a:gd name="connsiteX184" fmla="*/ 10303 w 113186"/>
                  <a:gd name="connsiteY184" fmla="*/ 91670 h 131519"/>
                  <a:gd name="connsiteX185" fmla="*/ 12576 w 113186"/>
                  <a:gd name="connsiteY185" fmla="*/ 92882 h 131519"/>
                  <a:gd name="connsiteX186" fmla="*/ 15758 w 113186"/>
                  <a:gd name="connsiteY186" fmla="*/ 95155 h 131519"/>
                  <a:gd name="connsiteX187" fmla="*/ 19395 w 113186"/>
                  <a:gd name="connsiteY187" fmla="*/ 99549 h 131519"/>
                  <a:gd name="connsiteX188" fmla="*/ 21213 w 113186"/>
                  <a:gd name="connsiteY188" fmla="*/ 100761 h 131519"/>
                  <a:gd name="connsiteX189" fmla="*/ 22728 w 113186"/>
                  <a:gd name="connsiteY189" fmla="*/ 101064 h 131519"/>
                  <a:gd name="connsiteX190" fmla="*/ 25758 w 113186"/>
                  <a:gd name="connsiteY190" fmla="*/ 102883 h 131519"/>
                  <a:gd name="connsiteX191" fmla="*/ 27880 w 113186"/>
                  <a:gd name="connsiteY191" fmla="*/ 103337 h 131519"/>
                  <a:gd name="connsiteX192" fmla="*/ 30152 w 113186"/>
                  <a:gd name="connsiteY192" fmla="*/ 103792 h 131519"/>
                  <a:gd name="connsiteX193" fmla="*/ 36365 w 113186"/>
                  <a:gd name="connsiteY193" fmla="*/ 107580 h 131519"/>
                  <a:gd name="connsiteX194" fmla="*/ 39092 w 113186"/>
                  <a:gd name="connsiteY194" fmla="*/ 108640 h 131519"/>
                  <a:gd name="connsiteX195" fmla="*/ 41062 w 113186"/>
                  <a:gd name="connsiteY195" fmla="*/ 110155 h 131519"/>
                  <a:gd name="connsiteX196" fmla="*/ 41214 w 113186"/>
                  <a:gd name="connsiteY196" fmla="*/ 111368 h 131519"/>
                  <a:gd name="connsiteX197" fmla="*/ 41214 w 113186"/>
                  <a:gd name="connsiteY197" fmla="*/ 112277 h 131519"/>
                  <a:gd name="connsiteX198" fmla="*/ 44547 w 113186"/>
                  <a:gd name="connsiteY198" fmla="*/ 111216 h 131519"/>
                  <a:gd name="connsiteX199" fmla="*/ 45002 w 113186"/>
                  <a:gd name="connsiteY199" fmla="*/ 110610 h 131519"/>
                  <a:gd name="connsiteX200" fmla="*/ 44244 w 113186"/>
                  <a:gd name="connsiteY200" fmla="*/ 109095 h 131519"/>
                  <a:gd name="connsiteX201" fmla="*/ 44698 w 113186"/>
                  <a:gd name="connsiteY201" fmla="*/ 108186 h 131519"/>
                  <a:gd name="connsiteX202" fmla="*/ 48790 w 113186"/>
                  <a:gd name="connsiteY202" fmla="*/ 105458 h 131519"/>
                  <a:gd name="connsiteX203" fmla="*/ 49547 w 113186"/>
                  <a:gd name="connsiteY203" fmla="*/ 104246 h 131519"/>
                  <a:gd name="connsiteX204" fmla="*/ 49699 w 113186"/>
                  <a:gd name="connsiteY204" fmla="*/ 103186 h 131519"/>
                  <a:gd name="connsiteX205" fmla="*/ 49244 w 113186"/>
                  <a:gd name="connsiteY205" fmla="*/ 102276 h 131519"/>
                  <a:gd name="connsiteX206" fmla="*/ 48486 w 113186"/>
                  <a:gd name="connsiteY206" fmla="*/ 100610 h 131519"/>
                  <a:gd name="connsiteX207" fmla="*/ 48790 w 113186"/>
                  <a:gd name="connsiteY207" fmla="*/ 100004 h 131519"/>
                  <a:gd name="connsiteX208" fmla="*/ 50911 w 113186"/>
                  <a:gd name="connsiteY208" fmla="*/ 99095 h 131519"/>
                  <a:gd name="connsiteX209" fmla="*/ 52578 w 113186"/>
                  <a:gd name="connsiteY209" fmla="*/ 98034 h 131519"/>
                  <a:gd name="connsiteX210" fmla="*/ 53638 w 113186"/>
                  <a:gd name="connsiteY210" fmla="*/ 97882 h 131519"/>
                  <a:gd name="connsiteX211" fmla="*/ 54244 w 113186"/>
                  <a:gd name="connsiteY211" fmla="*/ 98640 h 131519"/>
                  <a:gd name="connsiteX212" fmla="*/ 54244 w 113186"/>
                  <a:gd name="connsiteY212" fmla="*/ 99549 h 131519"/>
                  <a:gd name="connsiteX213" fmla="*/ 54850 w 113186"/>
                  <a:gd name="connsiteY213" fmla="*/ 100761 h 131519"/>
                  <a:gd name="connsiteX214" fmla="*/ 56062 w 113186"/>
                  <a:gd name="connsiteY214" fmla="*/ 101519 h 131519"/>
                  <a:gd name="connsiteX215" fmla="*/ 58184 w 113186"/>
                  <a:gd name="connsiteY215" fmla="*/ 102731 h 131519"/>
                  <a:gd name="connsiteX216" fmla="*/ 60608 w 113186"/>
                  <a:gd name="connsiteY216" fmla="*/ 103489 h 131519"/>
                  <a:gd name="connsiteX217" fmla="*/ 62578 w 113186"/>
                  <a:gd name="connsiteY217" fmla="*/ 105155 h 131519"/>
                  <a:gd name="connsiteX218" fmla="*/ 65154 w 113186"/>
                  <a:gd name="connsiteY218" fmla="*/ 108034 h 131519"/>
                  <a:gd name="connsiteX219" fmla="*/ 65608 w 113186"/>
                  <a:gd name="connsiteY219" fmla="*/ 109398 h 131519"/>
                  <a:gd name="connsiteX220" fmla="*/ 67881 w 113186"/>
                  <a:gd name="connsiteY220" fmla="*/ 110762 h 131519"/>
                  <a:gd name="connsiteX221" fmla="*/ 70154 w 113186"/>
                  <a:gd name="connsiteY221" fmla="*/ 112125 h 131519"/>
                  <a:gd name="connsiteX222" fmla="*/ 69851 w 113186"/>
                  <a:gd name="connsiteY222" fmla="*/ 114853 h 131519"/>
                  <a:gd name="connsiteX223" fmla="*/ 77275 w 113186"/>
                  <a:gd name="connsiteY223" fmla="*/ 117125 h 131519"/>
                  <a:gd name="connsiteX224" fmla="*/ 78942 w 113186"/>
                  <a:gd name="connsiteY224" fmla="*/ 117125 h 131519"/>
                  <a:gd name="connsiteX225" fmla="*/ 79700 w 113186"/>
                  <a:gd name="connsiteY225" fmla="*/ 117429 h 131519"/>
                  <a:gd name="connsiteX226" fmla="*/ 79700 w 113186"/>
                  <a:gd name="connsiteY226" fmla="*/ 118035 h 131519"/>
                  <a:gd name="connsiteX227" fmla="*/ 79094 w 113186"/>
                  <a:gd name="connsiteY227" fmla="*/ 119853 h 131519"/>
                  <a:gd name="connsiteX228" fmla="*/ 76063 w 113186"/>
                  <a:gd name="connsiteY228" fmla="*/ 125611 h 131519"/>
                  <a:gd name="connsiteX229" fmla="*/ 75760 w 113186"/>
                  <a:gd name="connsiteY229" fmla="*/ 126823 h 131519"/>
                  <a:gd name="connsiteX230" fmla="*/ 73639 w 113186"/>
                  <a:gd name="connsiteY230" fmla="*/ 128035 h 131519"/>
                  <a:gd name="connsiteX231" fmla="*/ 73336 w 113186"/>
                  <a:gd name="connsiteY231" fmla="*/ 128641 h 131519"/>
                  <a:gd name="connsiteX232" fmla="*/ 73942 w 113186"/>
                  <a:gd name="connsiteY232" fmla="*/ 130308 h 131519"/>
                  <a:gd name="connsiteX233" fmla="*/ 74548 w 113186"/>
                  <a:gd name="connsiteY233" fmla="*/ 131368 h 131519"/>
                  <a:gd name="connsiteX234" fmla="*/ 76063 w 113186"/>
                  <a:gd name="connsiteY234" fmla="*/ 131520 h 131519"/>
                  <a:gd name="connsiteX235" fmla="*/ 79245 w 113186"/>
                  <a:gd name="connsiteY235" fmla="*/ 130762 h 131519"/>
                  <a:gd name="connsiteX236" fmla="*/ 81367 w 113186"/>
                  <a:gd name="connsiteY236" fmla="*/ 129550 h 131519"/>
                  <a:gd name="connsiteX237" fmla="*/ 82427 w 113186"/>
                  <a:gd name="connsiteY237" fmla="*/ 129399 h 131519"/>
                  <a:gd name="connsiteX238" fmla="*/ 83791 w 113186"/>
                  <a:gd name="connsiteY238" fmla="*/ 128944 h 131519"/>
                  <a:gd name="connsiteX239" fmla="*/ 85912 w 113186"/>
                  <a:gd name="connsiteY239" fmla="*/ 128944 h 131519"/>
                  <a:gd name="connsiteX240" fmla="*/ 87882 w 113186"/>
                  <a:gd name="connsiteY240" fmla="*/ 129550 h 131519"/>
                  <a:gd name="connsiteX241" fmla="*/ 90458 w 113186"/>
                  <a:gd name="connsiteY241" fmla="*/ 128793 h 131519"/>
                  <a:gd name="connsiteX242" fmla="*/ 93034 w 113186"/>
                  <a:gd name="connsiteY242" fmla="*/ 127732 h 131519"/>
                  <a:gd name="connsiteX243" fmla="*/ 94094 w 113186"/>
                  <a:gd name="connsiteY243" fmla="*/ 128035 h 131519"/>
                  <a:gd name="connsiteX244" fmla="*/ 95155 w 113186"/>
                  <a:gd name="connsiteY244" fmla="*/ 128944 h 131519"/>
                  <a:gd name="connsiteX245" fmla="*/ 95912 w 113186"/>
                  <a:gd name="connsiteY245" fmla="*/ 129247 h 131519"/>
                  <a:gd name="connsiteX246" fmla="*/ 98034 w 113186"/>
                  <a:gd name="connsiteY246" fmla="*/ 128641 h 131519"/>
                  <a:gd name="connsiteX247" fmla="*/ 98640 w 113186"/>
                  <a:gd name="connsiteY247" fmla="*/ 127732 h 131519"/>
                  <a:gd name="connsiteX248" fmla="*/ 100761 w 113186"/>
                  <a:gd name="connsiteY248" fmla="*/ 125005 h 131519"/>
                  <a:gd name="connsiteX249" fmla="*/ 101064 w 113186"/>
                  <a:gd name="connsiteY249" fmla="*/ 123641 h 131519"/>
                  <a:gd name="connsiteX250" fmla="*/ 100761 w 113186"/>
                  <a:gd name="connsiteY250" fmla="*/ 122883 h 131519"/>
                  <a:gd name="connsiteX251" fmla="*/ 99398 w 113186"/>
                  <a:gd name="connsiteY251" fmla="*/ 121671 h 131519"/>
                  <a:gd name="connsiteX252" fmla="*/ 98337 w 113186"/>
                  <a:gd name="connsiteY252" fmla="*/ 118792 h 131519"/>
                  <a:gd name="connsiteX253" fmla="*/ 99094 w 113186"/>
                  <a:gd name="connsiteY253" fmla="*/ 116216 h 131519"/>
                  <a:gd name="connsiteX254" fmla="*/ 99246 w 113186"/>
                  <a:gd name="connsiteY254" fmla="*/ 114853 h 131519"/>
                  <a:gd name="connsiteX255" fmla="*/ 98489 w 113186"/>
                  <a:gd name="connsiteY255" fmla="*/ 113489 h 131519"/>
                  <a:gd name="connsiteX256" fmla="*/ 99246 w 113186"/>
                  <a:gd name="connsiteY256" fmla="*/ 111822 h 131519"/>
                  <a:gd name="connsiteX257" fmla="*/ 100761 w 113186"/>
                  <a:gd name="connsiteY257" fmla="*/ 110913 h 131519"/>
                  <a:gd name="connsiteX258" fmla="*/ 101670 w 113186"/>
                  <a:gd name="connsiteY258" fmla="*/ 110610 h 131519"/>
                  <a:gd name="connsiteX259" fmla="*/ 105761 w 113186"/>
                  <a:gd name="connsiteY259" fmla="*/ 110459 h 131519"/>
                  <a:gd name="connsiteX260" fmla="*/ 108337 w 113186"/>
                  <a:gd name="connsiteY260" fmla="*/ 106974 h 131519"/>
                  <a:gd name="connsiteX261" fmla="*/ 109853 w 113186"/>
                  <a:gd name="connsiteY261" fmla="*/ 105913 h 131519"/>
                  <a:gd name="connsiteX262" fmla="*/ 111519 w 113186"/>
                  <a:gd name="connsiteY262" fmla="*/ 104095 h 131519"/>
                  <a:gd name="connsiteX263" fmla="*/ 112277 w 113186"/>
                  <a:gd name="connsiteY263" fmla="*/ 103337 h 131519"/>
                  <a:gd name="connsiteX264" fmla="*/ 112883 w 113186"/>
                  <a:gd name="connsiteY264" fmla="*/ 101822 h 131519"/>
                  <a:gd name="connsiteX265" fmla="*/ 113186 w 113186"/>
                  <a:gd name="connsiteY265" fmla="*/ 100307 h 13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13186" h="131519">
                    <a:moveTo>
                      <a:pt x="110004" y="98185"/>
                    </a:moveTo>
                    <a:lnTo>
                      <a:pt x="108943" y="96670"/>
                    </a:lnTo>
                    <a:lnTo>
                      <a:pt x="107428" y="94852"/>
                    </a:lnTo>
                    <a:lnTo>
                      <a:pt x="105458" y="93640"/>
                    </a:lnTo>
                    <a:lnTo>
                      <a:pt x="101670" y="91519"/>
                    </a:lnTo>
                    <a:lnTo>
                      <a:pt x="100155" y="89397"/>
                    </a:lnTo>
                    <a:lnTo>
                      <a:pt x="99398" y="86518"/>
                    </a:lnTo>
                    <a:lnTo>
                      <a:pt x="98337" y="84549"/>
                    </a:lnTo>
                    <a:lnTo>
                      <a:pt x="97276" y="83033"/>
                    </a:lnTo>
                    <a:lnTo>
                      <a:pt x="96973" y="81973"/>
                    </a:lnTo>
                    <a:lnTo>
                      <a:pt x="96519" y="80609"/>
                    </a:lnTo>
                    <a:lnTo>
                      <a:pt x="96519" y="77882"/>
                    </a:lnTo>
                    <a:lnTo>
                      <a:pt x="97428" y="74397"/>
                    </a:lnTo>
                    <a:lnTo>
                      <a:pt x="98034" y="73033"/>
                    </a:lnTo>
                    <a:lnTo>
                      <a:pt x="99246" y="72730"/>
                    </a:lnTo>
                    <a:lnTo>
                      <a:pt x="102731" y="70760"/>
                    </a:lnTo>
                    <a:lnTo>
                      <a:pt x="103034" y="68336"/>
                    </a:lnTo>
                    <a:lnTo>
                      <a:pt x="103640" y="66821"/>
                    </a:lnTo>
                    <a:lnTo>
                      <a:pt x="104701" y="65911"/>
                    </a:lnTo>
                    <a:lnTo>
                      <a:pt x="105761" y="65305"/>
                    </a:lnTo>
                    <a:lnTo>
                      <a:pt x="105307" y="65002"/>
                    </a:lnTo>
                    <a:lnTo>
                      <a:pt x="105155" y="63790"/>
                    </a:lnTo>
                    <a:lnTo>
                      <a:pt x="104246" y="62730"/>
                    </a:lnTo>
                    <a:lnTo>
                      <a:pt x="102428" y="61972"/>
                    </a:lnTo>
                    <a:lnTo>
                      <a:pt x="100913" y="60608"/>
                    </a:lnTo>
                    <a:lnTo>
                      <a:pt x="100003" y="58790"/>
                    </a:lnTo>
                    <a:lnTo>
                      <a:pt x="100155" y="56972"/>
                    </a:lnTo>
                    <a:lnTo>
                      <a:pt x="101670" y="55154"/>
                    </a:lnTo>
                    <a:lnTo>
                      <a:pt x="103488" y="54547"/>
                    </a:lnTo>
                    <a:lnTo>
                      <a:pt x="105610" y="54699"/>
                    </a:lnTo>
                    <a:lnTo>
                      <a:pt x="106519" y="54244"/>
                    </a:lnTo>
                    <a:lnTo>
                      <a:pt x="106216" y="53032"/>
                    </a:lnTo>
                    <a:lnTo>
                      <a:pt x="104095" y="51517"/>
                    </a:lnTo>
                    <a:lnTo>
                      <a:pt x="100003" y="49699"/>
                    </a:lnTo>
                    <a:lnTo>
                      <a:pt x="96064" y="50608"/>
                    </a:lnTo>
                    <a:lnTo>
                      <a:pt x="91973" y="54547"/>
                    </a:lnTo>
                    <a:lnTo>
                      <a:pt x="88943" y="55154"/>
                    </a:lnTo>
                    <a:lnTo>
                      <a:pt x="87124" y="52578"/>
                    </a:lnTo>
                    <a:lnTo>
                      <a:pt x="83942" y="50911"/>
                    </a:lnTo>
                    <a:lnTo>
                      <a:pt x="79397" y="50456"/>
                    </a:lnTo>
                    <a:lnTo>
                      <a:pt x="76518" y="49547"/>
                    </a:lnTo>
                    <a:lnTo>
                      <a:pt x="75457" y="48032"/>
                    </a:lnTo>
                    <a:lnTo>
                      <a:pt x="73336" y="46820"/>
                    </a:lnTo>
                    <a:lnTo>
                      <a:pt x="68942" y="45608"/>
                    </a:lnTo>
                    <a:lnTo>
                      <a:pt x="68942" y="44396"/>
                    </a:lnTo>
                    <a:lnTo>
                      <a:pt x="69548" y="44092"/>
                    </a:lnTo>
                    <a:lnTo>
                      <a:pt x="71214" y="43941"/>
                    </a:lnTo>
                    <a:lnTo>
                      <a:pt x="73336" y="43789"/>
                    </a:lnTo>
                    <a:lnTo>
                      <a:pt x="73639" y="43032"/>
                    </a:lnTo>
                    <a:lnTo>
                      <a:pt x="73639" y="42426"/>
                    </a:lnTo>
                    <a:lnTo>
                      <a:pt x="71972" y="41668"/>
                    </a:lnTo>
                    <a:lnTo>
                      <a:pt x="70305" y="41214"/>
                    </a:lnTo>
                    <a:lnTo>
                      <a:pt x="69396" y="40608"/>
                    </a:lnTo>
                    <a:lnTo>
                      <a:pt x="68790" y="40001"/>
                    </a:lnTo>
                    <a:lnTo>
                      <a:pt x="68790" y="39395"/>
                    </a:lnTo>
                    <a:lnTo>
                      <a:pt x="69245" y="38941"/>
                    </a:lnTo>
                    <a:lnTo>
                      <a:pt x="69851" y="38941"/>
                    </a:lnTo>
                    <a:lnTo>
                      <a:pt x="70609" y="38638"/>
                    </a:lnTo>
                    <a:lnTo>
                      <a:pt x="70912" y="37123"/>
                    </a:lnTo>
                    <a:lnTo>
                      <a:pt x="71821" y="36062"/>
                    </a:lnTo>
                    <a:lnTo>
                      <a:pt x="72578" y="35607"/>
                    </a:lnTo>
                    <a:lnTo>
                      <a:pt x="72578" y="34698"/>
                    </a:lnTo>
                    <a:lnTo>
                      <a:pt x="71821" y="33941"/>
                    </a:lnTo>
                    <a:lnTo>
                      <a:pt x="70912" y="33183"/>
                    </a:lnTo>
                    <a:lnTo>
                      <a:pt x="69548" y="32880"/>
                    </a:lnTo>
                    <a:lnTo>
                      <a:pt x="65305" y="31516"/>
                    </a:lnTo>
                    <a:lnTo>
                      <a:pt x="63184" y="29850"/>
                    </a:lnTo>
                    <a:lnTo>
                      <a:pt x="61820" y="29850"/>
                    </a:lnTo>
                    <a:lnTo>
                      <a:pt x="59699" y="28789"/>
                    </a:lnTo>
                    <a:lnTo>
                      <a:pt x="57426" y="27425"/>
                    </a:lnTo>
                    <a:lnTo>
                      <a:pt x="55608" y="25304"/>
                    </a:lnTo>
                    <a:lnTo>
                      <a:pt x="53487" y="23940"/>
                    </a:lnTo>
                    <a:lnTo>
                      <a:pt x="52881" y="23334"/>
                    </a:lnTo>
                    <a:lnTo>
                      <a:pt x="52881" y="22880"/>
                    </a:lnTo>
                    <a:lnTo>
                      <a:pt x="53183" y="22274"/>
                    </a:lnTo>
                    <a:lnTo>
                      <a:pt x="53183" y="21516"/>
                    </a:lnTo>
                    <a:lnTo>
                      <a:pt x="52729" y="19546"/>
                    </a:lnTo>
                    <a:lnTo>
                      <a:pt x="53032" y="17273"/>
                    </a:lnTo>
                    <a:lnTo>
                      <a:pt x="53032" y="15304"/>
                    </a:lnTo>
                    <a:lnTo>
                      <a:pt x="52881" y="14394"/>
                    </a:lnTo>
                    <a:lnTo>
                      <a:pt x="52578" y="14091"/>
                    </a:lnTo>
                    <a:lnTo>
                      <a:pt x="52123" y="14394"/>
                    </a:lnTo>
                    <a:lnTo>
                      <a:pt x="51669" y="14698"/>
                    </a:lnTo>
                    <a:lnTo>
                      <a:pt x="51062" y="14849"/>
                    </a:lnTo>
                    <a:lnTo>
                      <a:pt x="49547" y="13334"/>
                    </a:lnTo>
                    <a:lnTo>
                      <a:pt x="47577" y="10303"/>
                    </a:lnTo>
                    <a:lnTo>
                      <a:pt x="46365" y="9243"/>
                    </a:lnTo>
                    <a:lnTo>
                      <a:pt x="43789" y="7879"/>
                    </a:lnTo>
                    <a:lnTo>
                      <a:pt x="41517" y="6667"/>
                    </a:lnTo>
                    <a:lnTo>
                      <a:pt x="40001" y="4091"/>
                    </a:lnTo>
                    <a:lnTo>
                      <a:pt x="38335" y="2121"/>
                    </a:lnTo>
                    <a:lnTo>
                      <a:pt x="37426" y="1515"/>
                    </a:lnTo>
                    <a:lnTo>
                      <a:pt x="36213" y="909"/>
                    </a:lnTo>
                    <a:lnTo>
                      <a:pt x="30001" y="303"/>
                    </a:lnTo>
                    <a:lnTo>
                      <a:pt x="27425" y="758"/>
                    </a:lnTo>
                    <a:lnTo>
                      <a:pt x="24243" y="606"/>
                    </a:lnTo>
                    <a:lnTo>
                      <a:pt x="21213" y="0"/>
                    </a:lnTo>
                    <a:lnTo>
                      <a:pt x="18940" y="455"/>
                    </a:lnTo>
                    <a:lnTo>
                      <a:pt x="16819" y="2879"/>
                    </a:lnTo>
                    <a:lnTo>
                      <a:pt x="15909" y="3636"/>
                    </a:lnTo>
                    <a:lnTo>
                      <a:pt x="15152" y="4091"/>
                    </a:lnTo>
                    <a:lnTo>
                      <a:pt x="13333" y="4849"/>
                    </a:lnTo>
                    <a:lnTo>
                      <a:pt x="11970" y="5758"/>
                    </a:lnTo>
                    <a:lnTo>
                      <a:pt x="10000" y="6364"/>
                    </a:lnTo>
                    <a:lnTo>
                      <a:pt x="8333" y="6212"/>
                    </a:lnTo>
                    <a:lnTo>
                      <a:pt x="6818" y="5303"/>
                    </a:lnTo>
                    <a:lnTo>
                      <a:pt x="6212" y="5455"/>
                    </a:lnTo>
                    <a:lnTo>
                      <a:pt x="5606" y="6364"/>
                    </a:lnTo>
                    <a:lnTo>
                      <a:pt x="4848" y="7121"/>
                    </a:lnTo>
                    <a:lnTo>
                      <a:pt x="2424" y="8182"/>
                    </a:lnTo>
                    <a:lnTo>
                      <a:pt x="1818" y="8182"/>
                    </a:lnTo>
                    <a:lnTo>
                      <a:pt x="1667" y="8940"/>
                    </a:lnTo>
                    <a:lnTo>
                      <a:pt x="1515" y="10455"/>
                    </a:lnTo>
                    <a:lnTo>
                      <a:pt x="0" y="11364"/>
                    </a:lnTo>
                    <a:lnTo>
                      <a:pt x="1515" y="13788"/>
                    </a:lnTo>
                    <a:lnTo>
                      <a:pt x="2879" y="17576"/>
                    </a:lnTo>
                    <a:lnTo>
                      <a:pt x="2121" y="19395"/>
                    </a:lnTo>
                    <a:lnTo>
                      <a:pt x="3030" y="20910"/>
                    </a:lnTo>
                    <a:lnTo>
                      <a:pt x="5909" y="21819"/>
                    </a:lnTo>
                    <a:lnTo>
                      <a:pt x="6061" y="22274"/>
                    </a:lnTo>
                    <a:lnTo>
                      <a:pt x="5303" y="22728"/>
                    </a:lnTo>
                    <a:lnTo>
                      <a:pt x="4545" y="23940"/>
                    </a:lnTo>
                    <a:lnTo>
                      <a:pt x="4545" y="26213"/>
                    </a:lnTo>
                    <a:lnTo>
                      <a:pt x="6970" y="28334"/>
                    </a:lnTo>
                    <a:lnTo>
                      <a:pt x="11819" y="30304"/>
                    </a:lnTo>
                    <a:lnTo>
                      <a:pt x="13333" y="30607"/>
                    </a:lnTo>
                    <a:lnTo>
                      <a:pt x="13940" y="31516"/>
                    </a:lnTo>
                    <a:lnTo>
                      <a:pt x="14849" y="31971"/>
                    </a:lnTo>
                    <a:lnTo>
                      <a:pt x="15303" y="32577"/>
                    </a:lnTo>
                    <a:lnTo>
                      <a:pt x="15303" y="33335"/>
                    </a:lnTo>
                    <a:lnTo>
                      <a:pt x="15000" y="33941"/>
                    </a:lnTo>
                    <a:lnTo>
                      <a:pt x="12728" y="34092"/>
                    </a:lnTo>
                    <a:lnTo>
                      <a:pt x="10000" y="34092"/>
                    </a:lnTo>
                    <a:lnTo>
                      <a:pt x="8182" y="33032"/>
                    </a:lnTo>
                    <a:lnTo>
                      <a:pt x="7879" y="33789"/>
                    </a:lnTo>
                    <a:lnTo>
                      <a:pt x="7879" y="34547"/>
                    </a:lnTo>
                    <a:lnTo>
                      <a:pt x="6061" y="35153"/>
                    </a:lnTo>
                    <a:lnTo>
                      <a:pt x="7121" y="40608"/>
                    </a:lnTo>
                    <a:lnTo>
                      <a:pt x="6667" y="42274"/>
                    </a:lnTo>
                    <a:lnTo>
                      <a:pt x="6061" y="42729"/>
                    </a:lnTo>
                    <a:lnTo>
                      <a:pt x="5455" y="42577"/>
                    </a:lnTo>
                    <a:lnTo>
                      <a:pt x="4697" y="42426"/>
                    </a:lnTo>
                    <a:lnTo>
                      <a:pt x="4243" y="43032"/>
                    </a:lnTo>
                    <a:lnTo>
                      <a:pt x="4545" y="44092"/>
                    </a:lnTo>
                    <a:lnTo>
                      <a:pt x="5455" y="44092"/>
                    </a:lnTo>
                    <a:lnTo>
                      <a:pt x="8031" y="43183"/>
                    </a:lnTo>
                    <a:lnTo>
                      <a:pt x="10910" y="42577"/>
                    </a:lnTo>
                    <a:lnTo>
                      <a:pt x="12879" y="43183"/>
                    </a:lnTo>
                    <a:lnTo>
                      <a:pt x="13940" y="43789"/>
                    </a:lnTo>
                    <a:lnTo>
                      <a:pt x="14091" y="44547"/>
                    </a:lnTo>
                    <a:lnTo>
                      <a:pt x="13485" y="47123"/>
                    </a:lnTo>
                    <a:lnTo>
                      <a:pt x="12424" y="50002"/>
                    </a:lnTo>
                    <a:lnTo>
                      <a:pt x="10455" y="52881"/>
                    </a:lnTo>
                    <a:lnTo>
                      <a:pt x="8485" y="55608"/>
                    </a:lnTo>
                    <a:lnTo>
                      <a:pt x="8031" y="57123"/>
                    </a:lnTo>
                    <a:lnTo>
                      <a:pt x="7879" y="59396"/>
                    </a:lnTo>
                    <a:lnTo>
                      <a:pt x="7576" y="61214"/>
                    </a:lnTo>
                    <a:lnTo>
                      <a:pt x="7879" y="62275"/>
                    </a:lnTo>
                    <a:lnTo>
                      <a:pt x="8485" y="63184"/>
                    </a:lnTo>
                    <a:lnTo>
                      <a:pt x="10758" y="63942"/>
                    </a:lnTo>
                    <a:lnTo>
                      <a:pt x="13637" y="65760"/>
                    </a:lnTo>
                    <a:lnTo>
                      <a:pt x="16212" y="68184"/>
                    </a:lnTo>
                    <a:lnTo>
                      <a:pt x="19395" y="70912"/>
                    </a:lnTo>
                    <a:lnTo>
                      <a:pt x="20304" y="71821"/>
                    </a:lnTo>
                    <a:lnTo>
                      <a:pt x="20304" y="72881"/>
                    </a:lnTo>
                    <a:lnTo>
                      <a:pt x="19395" y="73790"/>
                    </a:lnTo>
                    <a:lnTo>
                      <a:pt x="16667" y="74094"/>
                    </a:lnTo>
                    <a:lnTo>
                      <a:pt x="13788" y="73790"/>
                    </a:lnTo>
                    <a:lnTo>
                      <a:pt x="12728" y="73488"/>
                    </a:lnTo>
                    <a:lnTo>
                      <a:pt x="11667" y="73942"/>
                    </a:lnTo>
                    <a:lnTo>
                      <a:pt x="11061" y="74548"/>
                    </a:lnTo>
                    <a:lnTo>
                      <a:pt x="11364" y="75154"/>
                    </a:lnTo>
                    <a:lnTo>
                      <a:pt x="14394" y="78488"/>
                    </a:lnTo>
                    <a:lnTo>
                      <a:pt x="17728" y="83185"/>
                    </a:lnTo>
                    <a:lnTo>
                      <a:pt x="17879" y="85155"/>
                    </a:lnTo>
                    <a:lnTo>
                      <a:pt x="17576" y="86821"/>
                    </a:lnTo>
                    <a:lnTo>
                      <a:pt x="16667" y="87882"/>
                    </a:lnTo>
                    <a:lnTo>
                      <a:pt x="15303" y="87730"/>
                    </a:lnTo>
                    <a:lnTo>
                      <a:pt x="14243" y="86821"/>
                    </a:lnTo>
                    <a:lnTo>
                      <a:pt x="12576" y="86973"/>
                    </a:lnTo>
                    <a:lnTo>
                      <a:pt x="11364" y="87124"/>
                    </a:lnTo>
                    <a:lnTo>
                      <a:pt x="9697" y="88943"/>
                    </a:lnTo>
                    <a:lnTo>
                      <a:pt x="9545" y="89246"/>
                    </a:lnTo>
                    <a:lnTo>
                      <a:pt x="9697" y="90458"/>
                    </a:lnTo>
                    <a:lnTo>
                      <a:pt x="10303" y="91670"/>
                    </a:lnTo>
                    <a:lnTo>
                      <a:pt x="12576" y="92882"/>
                    </a:lnTo>
                    <a:lnTo>
                      <a:pt x="15758" y="95155"/>
                    </a:lnTo>
                    <a:lnTo>
                      <a:pt x="19395" y="99549"/>
                    </a:lnTo>
                    <a:lnTo>
                      <a:pt x="21213" y="100761"/>
                    </a:lnTo>
                    <a:lnTo>
                      <a:pt x="22728" y="101064"/>
                    </a:lnTo>
                    <a:lnTo>
                      <a:pt x="25758" y="102883"/>
                    </a:lnTo>
                    <a:lnTo>
                      <a:pt x="27880" y="103337"/>
                    </a:lnTo>
                    <a:lnTo>
                      <a:pt x="30152" y="103792"/>
                    </a:lnTo>
                    <a:lnTo>
                      <a:pt x="36365" y="107580"/>
                    </a:lnTo>
                    <a:lnTo>
                      <a:pt x="39092" y="108640"/>
                    </a:lnTo>
                    <a:lnTo>
                      <a:pt x="41062" y="110155"/>
                    </a:lnTo>
                    <a:lnTo>
                      <a:pt x="41214" y="111368"/>
                    </a:lnTo>
                    <a:lnTo>
                      <a:pt x="41214" y="112277"/>
                    </a:lnTo>
                    <a:lnTo>
                      <a:pt x="44547" y="111216"/>
                    </a:lnTo>
                    <a:lnTo>
                      <a:pt x="45002" y="110610"/>
                    </a:lnTo>
                    <a:lnTo>
                      <a:pt x="44244" y="109095"/>
                    </a:lnTo>
                    <a:lnTo>
                      <a:pt x="44698" y="108186"/>
                    </a:lnTo>
                    <a:lnTo>
                      <a:pt x="48790" y="105458"/>
                    </a:lnTo>
                    <a:lnTo>
                      <a:pt x="49547" y="104246"/>
                    </a:lnTo>
                    <a:lnTo>
                      <a:pt x="49699" y="103186"/>
                    </a:lnTo>
                    <a:lnTo>
                      <a:pt x="49244" y="102276"/>
                    </a:lnTo>
                    <a:lnTo>
                      <a:pt x="48486" y="100610"/>
                    </a:lnTo>
                    <a:lnTo>
                      <a:pt x="48790" y="100004"/>
                    </a:lnTo>
                    <a:lnTo>
                      <a:pt x="50911" y="99095"/>
                    </a:lnTo>
                    <a:lnTo>
                      <a:pt x="52578" y="98034"/>
                    </a:lnTo>
                    <a:lnTo>
                      <a:pt x="53638" y="97882"/>
                    </a:lnTo>
                    <a:lnTo>
                      <a:pt x="54244" y="98640"/>
                    </a:lnTo>
                    <a:lnTo>
                      <a:pt x="54244" y="99549"/>
                    </a:lnTo>
                    <a:lnTo>
                      <a:pt x="54850" y="100761"/>
                    </a:lnTo>
                    <a:lnTo>
                      <a:pt x="56062" y="101519"/>
                    </a:lnTo>
                    <a:lnTo>
                      <a:pt x="58184" y="102731"/>
                    </a:lnTo>
                    <a:lnTo>
                      <a:pt x="60608" y="103489"/>
                    </a:lnTo>
                    <a:lnTo>
                      <a:pt x="62578" y="105155"/>
                    </a:lnTo>
                    <a:lnTo>
                      <a:pt x="65154" y="108034"/>
                    </a:lnTo>
                    <a:lnTo>
                      <a:pt x="65608" y="109398"/>
                    </a:lnTo>
                    <a:lnTo>
                      <a:pt x="67881" y="110762"/>
                    </a:lnTo>
                    <a:lnTo>
                      <a:pt x="70154" y="112125"/>
                    </a:lnTo>
                    <a:lnTo>
                      <a:pt x="69851" y="114853"/>
                    </a:lnTo>
                    <a:lnTo>
                      <a:pt x="77275" y="117125"/>
                    </a:lnTo>
                    <a:lnTo>
                      <a:pt x="78942" y="117125"/>
                    </a:lnTo>
                    <a:lnTo>
                      <a:pt x="79700" y="117429"/>
                    </a:lnTo>
                    <a:lnTo>
                      <a:pt x="79700" y="118035"/>
                    </a:lnTo>
                    <a:lnTo>
                      <a:pt x="79094" y="119853"/>
                    </a:lnTo>
                    <a:lnTo>
                      <a:pt x="76063" y="125611"/>
                    </a:lnTo>
                    <a:lnTo>
                      <a:pt x="75760" y="126823"/>
                    </a:lnTo>
                    <a:lnTo>
                      <a:pt x="73639" y="128035"/>
                    </a:lnTo>
                    <a:lnTo>
                      <a:pt x="73336" y="128641"/>
                    </a:lnTo>
                    <a:lnTo>
                      <a:pt x="73942" y="130308"/>
                    </a:lnTo>
                    <a:lnTo>
                      <a:pt x="74548" y="131368"/>
                    </a:lnTo>
                    <a:lnTo>
                      <a:pt x="76063" y="131520"/>
                    </a:lnTo>
                    <a:lnTo>
                      <a:pt x="79245" y="130762"/>
                    </a:lnTo>
                    <a:lnTo>
                      <a:pt x="81367" y="129550"/>
                    </a:lnTo>
                    <a:lnTo>
                      <a:pt x="82427" y="129399"/>
                    </a:lnTo>
                    <a:lnTo>
                      <a:pt x="83791" y="128944"/>
                    </a:lnTo>
                    <a:lnTo>
                      <a:pt x="85912" y="128944"/>
                    </a:lnTo>
                    <a:lnTo>
                      <a:pt x="87882" y="129550"/>
                    </a:lnTo>
                    <a:lnTo>
                      <a:pt x="90458" y="128793"/>
                    </a:lnTo>
                    <a:lnTo>
                      <a:pt x="93034" y="127732"/>
                    </a:lnTo>
                    <a:lnTo>
                      <a:pt x="94094" y="128035"/>
                    </a:lnTo>
                    <a:lnTo>
                      <a:pt x="95155" y="128944"/>
                    </a:lnTo>
                    <a:lnTo>
                      <a:pt x="95912" y="129247"/>
                    </a:lnTo>
                    <a:lnTo>
                      <a:pt x="98034" y="128641"/>
                    </a:lnTo>
                    <a:lnTo>
                      <a:pt x="98640" y="127732"/>
                    </a:lnTo>
                    <a:lnTo>
                      <a:pt x="100761" y="125005"/>
                    </a:lnTo>
                    <a:lnTo>
                      <a:pt x="101064" y="123641"/>
                    </a:lnTo>
                    <a:lnTo>
                      <a:pt x="100761" y="122883"/>
                    </a:lnTo>
                    <a:lnTo>
                      <a:pt x="99398" y="121671"/>
                    </a:lnTo>
                    <a:lnTo>
                      <a:pt x="98337" y="118792"/>
                    </a:lnTo>
                    <a:lnTo>
                      <a:pt x="99094" y="116216"/>
                    </a:lnTo>
                    <a:lnTo>
                      <a:pt x="99246" y="114853"/>
                    </a:lnTo>
                    <a:lnTo>
                      <a:pt x="98489" y="113489"/>
                    </a:lnTo>
                    <a:lnTo>
                      <a:pt x="99246" y="111822"/>
                    </a:lnTo>
                    <a:lnTo>
                      <a:pt x="100761" y="110913"/>
                    </a:lnTo>
                    <a:lnTo>
                      <a:pt x="101670" y="110610"/>
                    </a:lnTo>
                    <a:lnTo>
                      <a:pt x="105761" y="110459"/>
                    </a:lnTo>
                    <a:lnTo>
                      <a:pt x="108337" y="106974"/>
                    </a:lnTo>
                    <a:lnTo>
                      <a:pt x="109853" y="105913"/>
                    </a:lnTo>
                    <a:lnTo>
                      <a:pt x="111519" y="104095"/>
                    </a:lnTo>
                    <a:lnTo>
                      <a:pt x="112277" y="103337"/>
                    </a:lnTo>
                    <a:lnTo>
                      <a:pt x="112883" y="101822"/>
                    </a:lnTo>
                    <a:lnTo>
                      <a:pt x="113186" y="1003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5" name="Freeform: Shape 3174">
                <a:extLst>
                  <a:ext uri="{FF2B5EF4-FFF2-40B4-BE49-F238E27FC236}">
                    <a16:creationId xmlns:a16="http://schemas.microsoft.com/office/drawing/2014/main" id="{71B94D4D-A877-4C09-9E0F-FDD82BB54AD7}"/>
                  </a:ext>
                </a:extLst>
              </p:cNvPr>
              <p:cNvSpPr/>
              <p:nvPr/>
            </p:nvSpPr>
            <p:spPr>
              <a:xfrm>
                <a:off x="6331008" y="3135123"/>
                <a:ext cx="258948" cy="156672"/>
              </a:xfrm>
              <a:custGeom>
                <a:avLst/>
                <a:gdLst>
                  <a:gd name="connsiteX0" fmla="*/ 257434 w 258948"/>
                  <a:gd name="connsiteY0" fmla="*/ 101519 h 156672"/>
                  <a:gd name="connsiteX1" fmla="*/ 255161 w 258948"/>
                  <a:gd name="connsiteY1" fmla="*/ 99549 h 156672"/>
                  <a:gd name="connsiteX2" fmla="*/ 250615 w 258948"/>
                  <a:gd name="connsiteY2" fmla="*/ 98034 h 156672"/>
                  <a:gd name="connsiteX3" fmla="*/ 245767 w 258948"/>
                  <a:gd name="connsiteY3" fmla="*/ 98488 h 156672"/>
                  <a:gd name="connsiteX4" fmla="*/ 240463 w 258948"/>
                  <a:gd name="connsiteY4" fmla="*/ 101367 h 156672"/>
                  <a:gd name="connsiteX5" fmla="*/ 236827 w 258948"/>
                  <a:gd name="connsiteY5" fmla="*/ 102428 h 156672"/>
                  <a:gd name="connsiteX6" fmla="*/ 234857 w 258948"/>
                  <a:gd name="connsiteY6" fmla="*/ 101670 h 156672"/>
                  <a:gd name="connsiteX7" fmla="*/ 233645 w 258948"/>
                  <a:gd name="connsiteY7" fmla="*/ 101670 h 156672"/>
                  <a:gd name="connsiteX8" fmla="*/ 233190 w 258948"/>
                  <a:gd name="connsiteY8" fmla="*/ 102428 h 156672"/>
                  <a:gd name="connsiteX9" fmla="*/ 233342 w 258948"/>
                  <a:gd name="connsiteY9" fmla="*/ 103186 h 156672"/>
                  <a:gd name="connsiteX10" fmla="*/ 233948 w 258948"/>
                  <a:gd name="connsiteY10" fmla="*/ 103640 h 156672"/>
                  <a:gd name="connsiteX11" fmla="*/ 233796 w 258948"/>
                  <a:gd name="connsiteY11" fmla="*/ 103943 h 156672"/>
                  <a:gd name="connsiteX12" fmla="*/ 233039 w 258948"/>
                  <a:gd name="connsiteY12" fmla="*/ 104246 h 156672"/>
                  <a:gd name="connsiteX13" fmla="*/ 224553 w 258948"/>
                  <a:gd name="connsiteY13" fmla="*/ 102276 h 156672"/>
                  <a:gd name="connsiteX14" fmla="*/ 220917 w 258948"/>
                  <a:gd name="connsiteY14" fmla="*/ 100458 h 156672"/>
                  <a:gd name="connsiteX15" fmla="*/ 218038 w 258948"/>
                  <a:gd name="connsiteY15" fmla="*/ 96973 h 156672"/>
                  <a:gd name="connsiteX16" fmla="*/ 216675 w 258948"/>
                  <a:gd name="connsiteY16" fmla="*/ 94700 h 156672"/>
                  <a:gd name="connsiteX17" fmla="*/ 215311 w 258948"/>
                  <a:gd name="connsiteY17" fmla="*/ 92882 h 156672"/>
                  <a:gd name="connsiteX18" fmla="*/ 214250 w 258948"/>
                  <a:gd name="connsiteY18" fmla="*/ 91821 h 156672"/>
                  <a:gd name="connsiteX19" fmla="*/ 214705 w 258948"/>
                  <a:gd name="connsiteY19" fmla="*/ 91367 h 156672"/>
                  <a:gd name="connsiteX20" fmla="*/ 215917 w 258948"/>
                  <a:gd name="connsiteY20" fmla="*/ 90912 h 156672"/>
                  <a:gd name="connsiteX21" fmla="*/ 216675 w 258948"/>
                  <a:gd name="connsiteY21" fmla="*/ 90306 h 156672"/>
                  <a:gd name="connsiteX22" fmla="*/ 216523 w 258948"/>
                  <a:gd name="connsiteY22" fmla="*/ 88033 h 156672"/>
                  <a:gd name="connsiteX23" fmla="*/ 215917 w 258948"/>
                  <a:gd name="connsiteY23" fmla="*/ 85458 h 156672"/>
                  <a:gd name="connsiteX24" fmla="*/ 215463 w 258948"/>
                  <a:gd name="connsiteY24" fmla="*/ 84245 h 156672"/>
                  <a:gd name="connsiteX25" fmla="*/ 215463 w 258948"/>
                  <a:gd name="connsiteY25" fmla="*/ 82276 h 156672"/>
                  <a:gd name="connsiteX26" fmla="*/ 215008 w 258948"/>
                  <a:gd name="connsiteY26" fmla="*/ 79094 h 156672"/>
                  <a:gd name="connsiteX27" fmla="*/ 215614 w 258948"/>
                  <a:gd name="connsiteY27" fmla="*/ 73488 h 156672"/>
                  <a:gd name="connsiteX28" fmla="*/ 217735 w 258948"/>
                  <a:gd name="connsiteY28" fmla="*/ 66366 h 156672"/>
                  <a:gd name="connsiteX29" fmla="*/ 218947 w 258948"/>
                  <a:gd name="connsiteY29" fmla="*/ 62730 h 156672"/>
                  <a:gd name="connsiteX30" fmla="*/ 218341 w 258948"/>
                  <a:gd name="connsiteY30" fmla="*/ 60911 h 156672"/>
                  <a:gd name="connsiteX31" fmla="*/ 218796 w 258948"/>
                  <a:gd name="connsiteY31" fmla="*/ 56366 h 156672"/>
                  <a:gd name="connsiteX32" fmla="*/ 217887 w 258948"/>
                  <a:gd name="connsiteY32" fmla="*/ 54093 h 156672"/>
                  <a:gd name="connsiteX33" fmla="*/ 216372 w 258948"/>
                  <a:gd name="connsiteY33" fmla="*/ 51062 h 156672"/>
                  <a:gd name="connsiteX34" fmla="*/ 214250 w 258948"/>
                  <a:gd name="connsiteY34" fmla="*/ 44699 h 156672"/>
                  <a:gd name="connsiteX35" fmla="*/ 211523 w 258948"/>
                  <a:gd name="connsiteY35" fmla="*/ 42426 h 156672"/>
                  <a:gd name="connsiteX36" fmla="*/ 208341 w 258948"/>
                  <a:gd name="connsiteY36" fmla="*/ 40001 h 156672"/>
                  <a:gd name="connsiteX37" fmla="*/ 206826 w 258948"/>
                  <a:gd name="connsiteY37" fmla="*/ 38183 h 156672"/>
                  <a:gd name="connsiteX38" fmla="*/ 205917 w 258948"/>
                  <a:gd name="connsiteY38" fmla="*/ 36062 h 156672"/>
                  <a:gd name="connsiteX39" fmla="*/ 203947 w 258948"/>
                  <a:gd name="connsiteY39" fmla="*/ 34092 h 156672"/>
                  <a:gd name="connsiteX40" fmla="*/ 201674 w 258948"/>
                  <a:gd name="connsiteY40" fmla="*/ 32122 h 156672"/>
                  <a:gd name="connsiteX41" fmla="*/ 199098 w 258948"/>
                  <a:gd name="connsiteY41" fmla="*/ 27425 h 156672"/>
                  <a:gd name="connsiteX42" fmla="*/ 197583 w 258948"/>
                  <a:gd name="connsiteY42" fmla="*/ 25455 h 156672"/>
                  <a:gd name="connsiteX43" fmla="*/ 197280 w 258948"/>
                  <a:gd name="connsiteY43" fmla="*/ 24849 h 156672"/>
                  <a:gd name="connsiteX44" fmla="*/ 194098 w 258948"/>
                  <a:gd name="connsiteY44" fmla="*/ 21819 h 156672"/>
                  <a:gd name="connsiteX45" fmla="*/ 192583 w 258948"/>
                  <a:gd name="connsiteY45" fmla="*/ 19092 h 156672"/>
                  <a:gd name="connsiteX46" fmla="*/ 191674 w 258948"/>
                  <a:gd name="connsiteY46" fmla="*/ 16819 h 156672"/>
                  <a:gd name="connsiteX47" fmla="*/ 191219 w 258948"/>
                  <a:gd name="connsiteY47" fmla="*/ 14849 h 156672"/>
                  <a:gd name="connsiteX48" fmla="*/ 189098 w 258948"/>
                  <a:gd name="connsiteY48" fmla="*/ 10758 h 156672"/>
                  <a:gd name="connsiteX49" fmla="*/ 187128 w 258948"/>
                  <a:gd name="connsiteY49" fmla="*/ 7576 h 156672"/>
                  <a:gd name="connsiteX50" fmla="*/ 185310 w 258948"/>
                  <a:gd name="connsiteY50" fmla="*/ 5455 h 156672"/>
                  <a:gd name="connsiteX51" fmla="*/ 184401 w 258948"/>
                  <a:gd name="connsiteY51" fmla="*/ 3788 h 156672"/>
                  <a:gd name="connsiteX52" fmla="*/ 182279 w 258948"/>
                  <a:gd name="connsiteY52" fmla="*/ 1970 h 156672"/>
                  <a:gd name="connsiteX53" fmla="*/ 179097 w 258948"/>
                  <a:gd name="connsiteY53" fmla="*/ 303 h 156672"/>
                  <a:gd name="connsiteX54" fmla="*/ 177128 w 258948"/>
                  <a:gd name="connsiteY54" fmla="*/ 0 h 156672"/>
                  <a:gd name="connsiteX55" fmla="*/ 174552 w 258948"/>
                  <a:gd name="connsiteY55" fmla="*/ 151 h 156672"/>
                  <a:gd name="connsiteX56" fmla="*/ 173188 w 258948"/>
                  <a:gd name="connsiteY56" fmla="*/ 606 h 156672"/>
                  <a:gd name="connsiteX57" fmla="*/ 169703 w 258948"/>
                  <a:gd name="connsiteY57" fmla="*/ 1212 h 156672"/>
                  <a:gd name="connsiteX58" fmla="*/ 165915 w 258948"/>
                  <a:gd name="connsiteY58" fmla="*/ 2121 h 156672"/>
                  <a:gd name="connsiteX59" fmla="*/ 165158 w 258948"/>
                  <a:gd name="connsiteY59" fmla="*/ 5303 h 156672"/>
                  <a:gd name="connsiteX60" fmla="*/ 164097 w 258948"/>
                  <a:gd name="connsiteY60" fmla="*/ 6970 h 156672"/>
                  <a:gd name="connsiteX61" fmla="*/ 161976 w 258948"/>
                  <a:gd name="connsiteY61" fmla="*/ 9546 h 156672"/>
                  <a:gd name="connsiteX62" fmla="*/ 155005 w 258948"/>
                  <a:gd name="connsiteY62" fmla="*/ 10455 h 156672"/>
                  <a:gd name="connsiteX63" fmla="*/ 149096 w 258948"/>
                  <a:gd name="connsiteY63" fmla="*/ 11667 h 156672"/>
                  <a:gd name="connsiteX64" fmla="*/ 142884 w 258948"/>
                  <a:gd name="connsiteY64" fmla="*/ 12425 h 156672"/>
                  <a:gd name="connsiteX65" fmla="*/ 134853 w 258948"/>
                  <a:gd name="connsiteY65" fmla="*/ 15455 h 156672"/>
                  <a:gd name="connsiteX66" fmla="*/ 132277 w 258948"/>
                  <a:gd name="connsiteY66" fmla="*/ 18182 h 156672"/>
                  <a:gd name="connsiteX67" fmla="*/ 129702 w 258948"/>
                  <a:gd name="connsiteY67" fmla="*/ 18940 h 156672"/>
                  <a:gd name="connsiteX68" fmla="*/ 127277 w 258948"/>
                  <a:gd name="connsiteY68" fmla="*/ 19092 h 156672"/>
                  <a:gd name="connsiteX69" fmla="*/ 125762 w 258948"/>
                  <a:gd name="connsiteY69" fmla="*/ 17576 h 156672"/>
                  <a:gd name="connsiteX70" fmla="*/ 120610 w 258948"/>
                  <a:gd name="connsiteY70" fmla="*/ 13637 h 156672"/>
                  <a:gd name="connsiteX71" fmla="*/ 118641 w 258948"/>
                  <a:gd name="connsiteY71" fmla="*/ 11667 h 156672"/>
                  <a:gd name="connsiteX72" fmla="*/ 116065 w 258948"/>
                  <a:gd name="connsiteY72" fmla="*/ 11061 h 156672"/>
                  <a:gd name="connsiteX73" fmla="*/ 113337 w 258948"/>
                  <a:gd name="connsiteY73" fmla="*/ 11364 h 156672"/>
                  <a:gd name="connsiteX74" fmla="*/ 110610 w 258948"/>
                  <a:gd name="connsiteY74" fmla="*/ 12425 h 156672"/>
                  <a:gd name="connsiteX75" fmla="*/ 107731 w 258948"/>
                  <a:gd name="connsiteY75" fmla="*/ 12576 h 156672"/>
                  <a:gd name="connsiteX76" fmla="*/ 104549 w 258948"/>
                  <a:gd name="connsiteY76" fmla="*/ 11212 h 156672"/>
                  <a:gd name="connsiteX77" fmla="*/ 104095 w 258948"/>
                  <a:gd name="connsiteY77" fmla="*/ 11364 h 156672"/>
                  <a:gd name="connsiteX78" fmla="*/ 102882 w 258948"/>
                  <a:gd name="connsiteY78" fmla="*/ 11515 h 156672"/>
                  <a:gd name="connsiteX79" fmla="*/ 94852 w 258948"/>
                  <a:gd name="connsiteY79" fmla="*/ 9849 h 156672"/>
                  <a:gd name="connsiteX80" fmla="*/ 94094 w 258948"/>
                  <a:gd name="connsiteY80" fmla="*/ 9546 h 156672"/>
                  <a:gd name="connsiteX81" fmla="*/ 93791 w 258948"/>
                  <a:gd name="connsiteY81" fmla="*/ 9546 h 156672"/>
                  <a:gd name="connsiteX82" fmla="*/ 92731 w 258948"/>
                  <a:gd name="connsiteY82" fmla="*/ 9394 h 156672"/>
                  <a:gd name="connsiteX83" fmla="*/ 86670 w 258948"/>
                  <a:gd name="connsiteY83" fmla="*/ 9546 h 156672"/>
                  <a:gd name="connsiteX84" fmla="*/ 81063 w 258948"/>
                  <a:gd name="connsiteY84" fmla="*/ 6364 h 156672"/>
                  <a:gd name="connsiteX85" fmla="*/ 79245 w 258948"/>
                  <a:gd name="connsiteY85" fmla="*/ 6212 h 156672"/>
                  <a:gd name="connsiteX86" fmla="*/ 78033 w 258948"/>
                  <a:gd name="connsiteY86" fmla="*/ 7576 h 156672"/>
                  <a:gd name="connsiteX87" fmla="*/ 76972 w 258948"/>
                  <a:gd name="connsiteY87" fmla="*/ 9091 h 156672"/>
                  <a:gd name="connsiteX88" fmla="*/ 73033 w 258948"/>
                  <a:gd name="connsiteY88" fmla="*/ 10455 h 156672"/>
                  <a:gd name="connsiteX89" fmla="*/ 72124 w 258948"/>
                  <a:gd name="connsiteY89" fmla="*/ 11061 h 156672"/>
                  <a:gd name="connsiteX90" fmla="*/ 71366 w 258948"/>
                  <a:gd name="connsiteY90" fmla="*/ 11970 h 156672"/>
                  <a:gd name="connsiteX91" fmla="*/ 66669 w 258948"/>
                  <a:gd name="connsiteY91" fmla="*/ 16213 h 156672"/>
                  <a:gd name="connsiteX92" fmla="*/ 64699 w 258948"/>
                  <a:gd name="connsiteY92" fmla="*/ 17425 h 156672"/>
                  <a:gd name="connsiteX93" fmla="*/ 63487 w 258948"/>
                  <a:gd name="connsiteY93" fmla="*/ 17576 h 156672"/>
                  <a:gd name="connsiteX94" fmla="*/ 61517 w 258948"/>
                  <a:gd name="connsiteY94" fmla="*/ 17122 h 156672"/>
                  <a:gd name="connsiteX95" fmla="*/ 59548 w 258948"/>
                  <a:gd name="connsiteY95" fmla="*/ 17576 h 156672"/>
                  <a:gd name="connsiteX96" fmla="*/ 57729 w 258948"/>
                  <a:gd name="connsiteY96" fmla="*/ 18486 h 156672"/>
                  <a:gd name="connsiteX97" fmla="*/ 56062 w 258948"/>
                  <a:gd name="connsiteY97" fmla="*/ 18789 h 156672"/>
                  <a:gd name="connsiteX98" fmla="*/ 54850 w 258948"/>
                  <a:gd name="connsiteY98" fmla="*/ 19849 h 156672"/>
                  <a:gd name="connsiteX99" fmla="*/ 53183 w 258948"/>
                  <a:gd name="connsiteY99" fmla="*/ 22122 h 156672"/>
                  <a:gd name="connsiteX100" fmla="*/ 51214 w 258948"/>
                  <a:gd name="connsiteY100" fmla="*/ 24092 h 156672"/>
                  <a:gd name="connsiteX101" fmla="*/ 49093 w 258948"/>
                  <a:gd name="connsiteY101" fmla="*/ 25455 h 156672"/>
                  <a:gd name="connsiteX102" fmla="*/ 48183 w 258948"/>
                  <a:gd name="connsiteY102" fmla="*/ 26516 h 156672"/>
                  <a:gd name="connsiteX103" fmla="*/ 48032 w 258948"/>
                  <a:gd name="connsiteY103" fmla="*/ 30304 h 156672"/>
                  <a:gd name="connsiteX104" fmla="*/ 46820 w 258948"/>
                  <a:gd name="connsiteY104" fmla="*/ 31365 h 156672"/>
                  <a:gd name="connsiteX105" fmla="*/ 45305 w 258948"/>
                  <a:gd name="connsiteY105" fmla="*/ 32425 h 156672"/>
                  <a:gd name="connsiteX106" fmla="*/ 44547 w 258948"/>
                  <a:gd name="connsiteY106" fmla="*/ 33486 h 156672"/>
                  <a:gd name="connsiteX107" fmla="*/ 42274 w 258948"/>
                  <a:gd name="connsiteY107" fmla="*/ 39244 h 156672"/>
                  <a:gd name="connsiteX108" fmla="*/ 40456 w 258948"/>
                  <a:gd name="connsiteY108" fmla="*/ 41062 h 156672"/>
                  <a:gd name="connsiteX109" fmla="*/ 38789 w 258948"/>
                  <a:gd name="connsiteY109" fmla="*/ 42426 h 156672"/>
                  <a:gd name="connsiteX110" fmla="*/ 38638 w 258948"/>
                  <a:gd name="connsiteY110" fmla="*/ 43789 h 156672"/>
                  <a:gd name="connsiteX111" fmla="*/ 38638 w 258948"/>
                  <a:gd name="connsiteY111" fmla="*/ 45153 h 156672"/>
                  <a:gd name="connsiteX112" fmla="*/ 36668 w 258948"/>
                  <a:gd name="connsiteY112" fmla="*/ 48184 h 156672"/>
                  <a:gd name="connsiteX113" fmla="*/ 34243 w 258948"/>
                  <a:gd name="connsiteY113" fmla="*/ 51214 h 156672"/>
                  <a:gd name="connsiteX114" fmla="*/ 33789 w 258948"/>
                  <a:gd name="connsiteY114" fmla="*/ 52426 h 156672"/>
                  <a:gd name="connsiteX115" fmla="*/ 34395 w 258948"/>
                  <a:gd name="connsiteY115" fmla="*/ 54093 h 156672"/>
                  <a:gd name="connsiteX116" fmla="*/ 31971 w 258948"/>
                  <a:gd name="connsiteY116" fmla="*/ 56063 h 156672"/>
                  <a:gd name="connsiteX117" fmla="*/ 30607 w 258948"/>
                  <a:gd name="connsiteY117" fmla="*/ 56972 h 156672"/>
                  <a:gd name="connsiteX118" fmla="*/ 29546 w 258948"/>
                  <a:gd name="connsiteY118" fmla="*/ 57426 h 156672"/>
                  <a:gd name="connsiteX119" fmla="*/ 28789 w 258948"/>
                  <a:gd name="connsiteY119" fmla="*/ 58638 h 156672"/>
                  <a:gd name="connsiteX120" fmla="*/ 27728 w 258948"/>
                  <a:gd name="connsiteY120" fmla="*/ 61669 h 156672"/>
                  <a:gd name="connsiteX121" fmla="*/ 28031 w 258948"/>
                  <a:gd name="connsiteY121" fmla="*/ 62881 h 156672"/>
                  <a:gd name="connsiteX122" fmla="*/ 28031 w 258948"/>
                  <a:gd name="connsiteY122" fmla="*/ 64093 h 156672"/>
                  <a:gd name="connsiteX123" fmla="*/ 26062 w 258948"/>
                  <a:gd name="connsiteY123" fmla="*/ 64851 h 156672"/>
                  <a:gd name="connsiteX124" fmla="*/ 25455 w 258948"/>
                  <a:gd name="connsiteY124" fmla="*/ 66214 h 156672"/>
                  <a:gd name="connsiteX125" fmla="*/ 24849 w 258948"/>
                  <a:gd name="connsiteY125" fmla="*/ 67881 h 156672"/>
                  <a:gd name="connsiteX126" fmla="*/ 24092 w 258948"/>
                  <a:gd name="connsiteY126" fmla="*/ 68639 h 156672"/>
                  <a:gd name="connsiteX127" fmla="*/ 21819 w 258948"/>
                  <a:gd name="connsiteY127" fmla="*/ 70002 h 156672"/>
                  <a:gd name="connsiteX128" fmla="*/ 16364 w 258948"/>
                  <a:gd name="connsiteY128" fmla="*/ 69396 h 156672"/>
                  <a:gd name="connsiteX129" fmla="*/ 14243 w 258948"/>
                  <a:gd name="connsiteY129" fmla="*/ 69851 h 156672"/>
                  <a:gd name="connsiteX130" fmla="*/ 13637 w 258948"/>
                  <a:gd name="connsiteY130" fmla="*/ 70760 h 156672"/>
                  <a:gd name="connsiteX131" fmla="*/ 13485 w 258948"/>
                  <a:gd name="connsiteY131" fmla="*/ 71669 h 156672"/>
                  <a:gd name="connsiteX132" fmla="*/ 12728 w 258948"/>
                  <a:gd name="connsiteY132" fmla="*/ 72275 h 156672"/>
                  <a:gd name="connsiteX133" fmla="*/ 11515 w 258948"/>
                  <a:gd name="connsiteY133" fmla="*/ 73336 h 156672"/>
                  <a:gd name="connsiteX134" fmla="*/ 10152 w 258948"/>
                  <a:gd name="connsiteY134" fmla="*/ 73639 h 156672"/>
                  <a:gd name="connsiteX135" fmla="*/ 7273 w 258948"/>
                  <a:gd name="connsiteY135" fmla="*/ 72578 h 156672"/>
                  <a:gd name="connsiteX136" fmla="*/ 1060 w 258948"/>
                  <a:gd name="connsiteY136" fmla="*/ 73639 h 156672"/>
                  <a:gd name="connsiteX137" fmla="*/ 0 w 258948"/>
                  <a:gd name="connsiteY137" fmla="*/ 74548 h 156672"/>
                  <a:gd name="connsiteX138" fmla="*/ 1667 w 258948"/>
                  <a:gd name="connsiteY138" fmla="*/ 76518 h 156672"/>
                  <a:gd name="connsiteX139" fmla="*/ 3182 w 258948"/>
                  <a:gd name="connsiteY139" fmla="*/ 79094 h 156672"/>
                  <a:gd name="connsiteX140" fmla="*/ 5455 w 258948"/>
                  <a:gd name="connsiteY140" fmla="*/ 80306 h 156672"/>
                  <a:gd name="connsiteX141" fmla="*/ 8031 w 258948"/>
                  <a:gd name="connsiteY141" fmla="*/ 81670 h 156672"/>
                  <a:gd name="connsiteX142" fmla="*/ 9243 w 258948"/>
                  <a:gd name="connsiteY142" fmla="*/ 82730 h 156672"/>
                  <a:gd name="connsiteX143" fmla="*/ 11212 w 258948"/>
                  <a:gd name="connsiteY143" fmla="*/ 85761 h 156672"/>
                  <a:gd name="connsiteX144" fmla="*/ 12728 w 258948"/>
                  <a:gd name="connsiteY144" fmla="*/ 87276 h 156672"/>
                  <a:gd name="connsiteX145" fmla="*/ 13334 w 258948"/>
                  <a:gd name="connsiteY145" fmla="*/ 87124 h 156672"/>
                  <a:gd name="connsiteX146" fmla="*/ 13788 w 258948"/>
                  <a:gd name="connsiteY146" fmla="*/ 86821 h 156672"/>
                  <a:gd name="connsiteX147" fmla="*/ 14243 w 258948"/>
                  <a:gd name="connsiteY147" fmla="*/ 86518 h 156672"/>
                  <a:gd name="connsiteX148" fmla="*/ 14546 w 258948"/>
                  <a:gd name="connsiteY148" fmla="*/ 86821 h 156672"/>
                  <a:gd name="connsiteX149" fmla="*/ 14698 w 258948"/>
                  <a:gd name="connsiteY149" fmla="*/ 87730 h 156672"/>
                  <a:gd name="connsiteX150" fmla="*/ 14698 w 258948"/>
                  <a:gd name="connsiteY150" fmla="*/ 89700 h 156672"/>
                  <a:gd name="connsiteX151" fmla="*/ 14394 w 258948"/>
                  <a:gd name="connsiteY151" fmla="*/ 91973 h 156672"/>
                  <a:gd name="connsiteX152" fmla="*/ 14849 w 258948"/>
                  <a:gd name="connsiteY152" fmla="*/ 93943 h 156672"/>
                  <a:gd name="connsiteX153" fmla="*/ 14849 w 258948"/>
                  <a:gd name="connsiteY153" fmla="*/ 94700 h 156672"/>
                  <a:gd name="connsiteX154" fmla="*/ 14546 w 258948"/>
                  <a:gd name="connsiteY154" fmla="*/ 95307 h 156672"/>
                  <a:gd name="connsiteX155" fmla="*/ 14546 w 258948"/>
                  <a:gd name="connsiteY155" fmla="*/ 95761 h 156672"/>
                  <a:gd name="connsiteX156" fmla="*/ 15152 w 258948"/>
                  <a:gd name="connsiteY156" fmla="*/ 96367 h 156672"/>
                  <a:gd name="connsiteX157" fmla="*/ 17273 w 258948"/>
                  <a:gd name="connsiteY157" fmla="*/ 97731 h 156672"/>
                  <a:gd name="connsiteX158" fmla="*/ 19091 w 258948"/>
                  <a:gd name="connsiteY158" fmla="*/ 99852 h 156672"/>
                  <a:gd name="connsiteX159" fmla="*/ 21364 w 258948"/>
                  <a:gd name="connsiteY159" fmla="*/ 101216 h 156672"/>
                  <a:gd name="connsiteX160" fmla="*/ 23486 w 258948"/>
                  <a:gd name="connsiteY160" fmla="*/ 102276 h 156672"/>
                  <a:gd name="connsiteX161" fmla="*/ 24849 w 258948"/>
                  <a:gd name="connsiteY161" fmla="*/ 102276 h 156672"/>
                  <a:gd name="connsiteX162" fmla="*/ 26971 w 258948"/>
                  <a:gd name="connsiteY162" fmla="*/ 103943 h 156672"/>
                  <a:gd name="connsiteX163" fmla="*/ 31213 w 258948"/>
                  <a:gd name="connsiteY163" fmla="*/ 105307 h 156672"/>
                  <a:gd name="connsiteX164" fmla="*/ 32577 w 258948"/>
                  <a:gd name="connsiteY164" fmla="*/ 105610 h 156672"/>
                  <a:gd name="connsiteX165" fmla="*/ 33486 w 258948"/>
                  <a:gd name="connsiteY165" fmla="*/ 106367 h 156672"/>
                  <a:gd name="connsiteX166" fmla="*/ 34243 w 258948"/>
                  <a:gd name="connsiteY166" fmla="*/ 107125 h 156672"/>
                  <a:gd name="connsiteX167" fmla="*/ 34243 w 258948"/>
                  <a:gd name="connsiteY167" fmla="*/ 108034 h 156672"/>
                  <a:gd name="connsiteX168" fmla="*/ 33486 w 258948"/>
                  <a:gd name="connsiteY168" fmla="*/ 108489 h 156672"/>
                  <a:gd name="connsiteX169" fmla="*/ 32577 w 258948"/>
                  <a:gd name="connsiteY169" fmla="*/ 109549 h 156672"/>
                  <a:gd name="connsiteX170" fmla="*/ 32274 w 258948"/>
                  <a:gd name="connsiteY170" fmla="*/ 111065 h 156672"/>
                  <a:gd name="connsiteX171" fmla="*/ 31516 w 258948"/>
                  <a:gd name="connsiteY171" fmla="*/ 111368 h 156672"/>
                  <a:gd name="connsiteX172" fmla="*/ 30910 w 258948"/>
                  <a:gd name="connsiteY172" fmla="*/ 111368 h 156672"/>
                  <a:gd name="connsiteX173" fmla="*/ 30455 w 258948"/>
                  <a:gd name="connsiteY173" fmla="*/ 111822 h 156672"/>
                  <a:gd name="connsiteX174" fmla="*/ 30455 w 258948"/>
                  <a:gd name="connsiteY174" fmla="*/ 112428 h 156672"/>
                  <a:gd name="connsiteX175" fmla="*/ 31062 w 258948"/>
                  <a:gd name="connsiteY175" fmla="*/ 113034 h 156672"/>
                  <a:gd name="connsiteX176" fmla="*/ 31971 w 258948"/>
                  <a:gd name="connsiteY176" fmla="*/ 113641 h 156672"/>
                  <a:gd name="connsiteX177" fmla="*/ 33638 w 258948"/>
                  <a:gd name="connsiteY177" fmla="*/ 114095 h 156672"/>
                  <a:gd name="connsiteX178" fmla="*/ 35304 w 258948"/>
                  <a:gd name="connsiteY178" fmla="*/ 114853 h 156672"/>
                  <a:gd name="connsiteX179" fmla="*/ 35304 w 258948"/>
                  <a:gd name="connsiteY179" fmla="*/ 115459 h 156672"/>
                  <a:gd name="connsiteX180" fmla="*/ 35001 w 258948"/>
                  <a:gd name="connsiteY180" fmla="*/ 116216 h 156672"/>
                  <a:gd name="connsiteX181" fmla="*/ 32880 w 258948"/>
                  <a:gd name="connsiteY181" fmla="*/ 116368 h 156672"/>
                  <a:gd name="connsiteX182" fmla="*/ 31213 w 258948"/>
                  <a:gd name="connsiteY182" fmla="*/ 116519 h 156672"/>
                  <a:gd name="connsiteX183" fmla="*/ 30607 w 258948"/>
                  <a:gd name="connsiteY183" fmla="*/ 116822 h 156672"/>
                  <a:gd name="connsiteX184" fmla="*/ 30607 w 258948"/>
                  <a:gd name="connsiteY184" fmla="*/ 118035 h 156672"/>
                  <a:gd name="connsiteX185" fmla="*/ 35001 w 258948"/>
                  <a:gd name="connsiteY185" fmla="*/ 119247 h 156672"/>
                  <a:gd name="connsiteX186" fmla="*/ 37122 w 258948"/>
                  <a:gd name="connsiteY186" fmla="*/ 120459 h 156672"/>
                  <a:gd name="connsiteX187" fmla="*/ 38183 w 258948"/>
                  <a:gd name="connsiteY187" fmla="*/ 121974 h 156672"/>
                  <a:gd name="connsiteX188" fmla="*/ 41062 w 258948"/>
                  <a:gd name="connsiteY188" fmla="*/ 122883 h 156672"/>
                  <a:gd name="connsiteX189" fmla="*/ 45607 w 258948"/>
                  <a:gd name="connsiteY189" fmla="*/ 123338 h 156672"/>
                  <a:gd name="connsiteX190" fmla="*/ 48790 w 258948"/>
                  <a:gd name="connsiteY190" fmla="*/ 125005 h 156672"/>
                  <a:gd name="connsiteX191" fmla="*/ 50608 w 258948"/>
                  <a:gd name="connsiteY191" fmla="*/ 127580 h 156672"/>
                  <a:gd name="connsiteX192" fmla="*/ 53638 w 258948"/>
                  <a:gd name="connsiteY192" fmla="*/ 126974 h 156672"/>
                  <a:gd name="connsiteX193" fmla="*/ 57729 w 258948"/>
                  <a:gd name="connsiteY193" fmla="*/ 123035 h 156672"/>
                  <a:gd name="connsiteX194" fmla="*/ 61669 w 258948"/>
                  <a:gd name="connsiteY194" fmla="*/ 122126 h 156672"/>
                  <a:gd name="connsiteX195" fmla="*/ 65760 w 258948"/>
                  <a:gd name="connsiteY195" fmla="*/ 123944 h 156672"/>
                  <a:gd name="connsiteX196" fmla="*/ 67881 w 258948"/>
                  <a:gd name="connsiteY196" fmla="*/ 125459 h 156672"/>
                  <a:gd name="connsiteX197" fmla="*/ 68184 w 258948"/>
                  <a:gd name="connsiteY197" fmla="*/ 126671 h 156672"/>
                  <a:gd name="connsiteX198" fmla="*/ 67275 w 258948"/>
                  <a:gd name="connsiteY198" fmla="*/ 127126 h 156672"/>
                  <a:gd name="connsiteX199" fmla="*/ 65154 w 258948"/>
                  <a:gd name="connsiteY199" fmla="*/ 126974 h 156672"/>
                  <a:gd name="connsiteX200" fmla="*/ 63336 w 258948"/>
                  <a:gd name="connsiteY200" fmla="*/ 127580 h 156672"/>
                  <a:gd name="connsiteX201" fmla="*/ 61820 w 258948"/>
                  <a:gd name="connsiteY201" fmla="*/ 129399 h 156672"/>
                  <a:gd name="connsiteX202" fmla="*/ 61669 w 258948"/>
                  <a:gd name="connsiteY202" fmla="*/ 131217 h 156672"/>
                  <a:gd name="connsiteX203" fmla="*/ 62578 w 258948"/>
                  <a:gd name="connsiteY203" fmla="*/ 133035 h 156672"/>
                  <a:gd name="connsiteX204" fmla="*/ 64093 w 258948"/>
                  <a:gd name="connsiteY204" fmla="*/ 134399 h 156672"/>
                  <a:gd name="connsiteX205" fmla="*/ 65911 w 258948"/>
                  <a:gd name="connsiteY205" fmla="*/ 135156 h 156672"/>
                  <a:gd name="connsiteX206" fmla="*/ 66821 w 258948"/>
                  <a:gd name="connsiteY206" fmla="*/ 136217 h 156672"/>
                  <a:gd name="connsiteX207" fmla="*/ 66972 w 258948"/>
                  <a:gd name="connsiteY207" fmla="*/ 137429 h 156672"/>
                  <a:gd name="connsiteX208" fmla="*/ 67426 w 258948"/>
                  <a:gd name="connsiteY208" fmla="*/ 137732 h 156672"/>
                  <a:gd name="connsiteX209" fmla="*/ 69396 w 258948"/>
                  <a:gd name="connsiteY209" fmla="*/ 139247 h 156672"/>
                  <a:gd name="connsiteX210" fmla="*/ 73942 w 258948"/>
                  <a:gd name="connsiteY210" fmla="*/ 141520 h 156672"/>
                  <a:gd name="connsiteX211" fmla="*/ 76215 w 258948"/>
                  <a:gd name="connsiteY211" fmla="*/ 143187 h 156672"/>
                  <a:gd name="connsiteX212" fmla="*/ 76215 w 258948"/>
                  <a:gd name="connsiteY212" fmla="*/ 144096 h 156672"/>
                  <a:gd name="connsiteX213" fmla="*/ 75003 w 258948"/>
                  <a:gd name="connsiteY213" fmla="*/ 145157 h 156672"/>
                  <a:gd name="connsiteX214" fmla="*/ 73033 w 258948"/>
                  <a:gd name="connsiteY214" fmla="*/ 146217 h 156672"/>
                  <a:gd name="connsiteX215" fmla="*/ 71821 w 258948"/>
                  <a:gd name="connsiteY215" fmla="*/ 147430 h 156672"/>
                  <a:gd name="connsiteX216" fmla="*/ 71518 w 258948"/>
                  <a:gd name="connsiteY216" fmla="*/ 149096 h 156672"/>
                  <a:gd name="connsiteX217" fmla="*/ 71821 w 258948"/>
                  <a:gd name="connsiteY217" fmla="*/ 150308 h 156672"/>
                  <a:gd name="connsiteX218" fmla="*/ 73336 w 258948"/>
                  <a:gd name="connsiteY218" fmla="*/ 151218 h 156672"/>
                  <a:gd name="connsiteX219" fmla="*/ 81669 w 258948"/>
                  <a:gd name="connsiteY219" fmla="*/ 150005 h 156672"/>
                  <a:gd name="connsiteX220" fmla="*/ 90155 w 258948"/>
                  <a:gd name="connsiteY220" fmla="*/ 150611 h 156672"/>
                  <a:gd name="connsiteX221" fmla="*/ 101519 w 258948"/>
                  <a:gd name="connsiteY221" fmla="*/ 152884 h 156672"/>
                  <a:gd name="connsiteX222" fmla="*/ 109095 w 258948"/>
                  <a:gd name="connsiteY222" fmla="*/ 153642 h 156672"/>
                  <a:gd name="connsiteX223" fmla="*/ 114550 w 258948"/>
                  <a:gd name="connsiteY223" fmla="*/ 152581 h 156672"/>
                  <a:gd name="connsiteX224" fmla="*/ 125005 w 258948"/>
                  <a:gd name="connsiteY224" fmla="*/ 154399 h 156672"/>
                  <a:gd name="connsiteX225" fmla="*/ 134551 w 258948"/>
                  <a:gd name="connsiteY225" fmla="*/ 156218 h 156672"/>
                  <a:gd name="connsiteX226" fmla="*/ 143793 w 258948"/>
                  <a:gd name="connsiteY226" fmla="*/ 156672 h 156672"/>
                  <a:gd name="connsiteX227" fmla="*/ 148945 w 258948"/>
                  <a:gd name="connsiteY227" fmla="*/ 155309 h 156672"/>
                  <a:gd name="connsiteX228" fmla="*/ 152581 w 258948"/>
                  <a:gd name="connsiteY228" fmla="*/ 153490 h 156672"/>
                  <a:gd name="connsiteX229" fmla="*/ 155763 w 258948"/>
                  <a:gd name="connsiteY229" fmla="*/ 150005 h 156672"/>
                  <a:gd name="connsiteX230" fmla="*/ 163491 w 258948"/>
                  <a:gd name="connsiteY230" fmla="*/ 145460 h 156672"/>
                  <a:gd name="connsiteX231" fmla="*/ 170915 w 258948"/>
                  <a:gd name="connsiteY231" fmla="*/ 142884 h 156672"/>
                  <a:gd name="connsiteX232" fmla="*/ 180764 w 258948"/>
                  <a:gd name="connsiteY232" fmla="*/ 140914 h 156672"/>
                  <a:gd name="connsiteX233" fmla="*/ 187279 w 258948"/>
                  <a:gd name="connsiteY233" fmla="*/ 140157 h 156672"/>
                  <a:gd name="connsiteX234" fmla="*/ 188189 w 258948"/>
                  <a:gd name="connsiteY234" fmla="*/ 140914 h 156672"/>
                  <a:gd name="connsiteX235" fmla="*/ 196522 w 258948"/>
                  <a:gd name="connsiteY235" fmla="*/ 145005 h 156672"/>
                  <a:gd name="connsiteX236" fmla="*/ 200310 w 258948"/>
                  <a:gd name="connsiteY236" fmla="*/ 145005 h 156672"/>
                  <a:gd name="connsiteX237" fmla="*/ 203341 w 258948"/>
                  <a:gd name="connsiteY237" fmla="*/ 145763 h 156672"/>
                  <a:gd name="connsiteX238" fmla="*/ 204401 w 258948"/>
                  <a:gd name="connsiteY238" fmla="*/ 146975 h 156672"/>
                  <a:gd name="connsiteX239" fmla="*/ 205159 w 258948"/>
                  <a:gd name="connsiteY239" fmla="*/ 147278 h 156672"/>
                  <a:gd name="connsiteX240" fmla="*/ 209098 w 258948"/>
                  <a:gd name="connsiteY240" fmla="*/ 146217 h 156672"/>
                  <a:gd name="connsiteX241" fmla="*/ 210917 w 258948"/>
                  <a:gd name="connsiteY241" fmla="*/ 148490 h 156672"/>
                  <a:gd name="connsiteX242" fmla="*/ 213644 w 258948"/>
                  <a:gd name="connsiteY242" fmla="*/ 151672 h 156672"/>
                  <a:gd name="connsiteX243" fmla="*/ 218341 w 258948"/>
                  <a:gd name="connsiteY243" fmla="*/ 153339 h 156672"/>
                  <a:gd name="connsiteX244" fmla="*/ 222584 w 258948"/>
                  <a:gd name="connsiteY244" fmla="*/ 154248 h 156672"/>
                  <a:gd name="connsiteX245" fmla="*/ 223796 w 258948"/>
                  <a:gd name="connsiteY245" fmla="*/ 154399 h 156672"/>
                  <a:gd name="connsiteX246" fmla="*/ 228341 w 258948"/>
                  <a:gd name="connsiteY246" fmla="*/ 154399 h 156672"/>
                  <a:gd name="connsiteX247" fmla="*/ 228493 w 258948"/>
                  <a:gd name="connsiteY247" fmla="*/ 152430 h 156672"/>
                  <a:gd name="connsiteX248" fmla="*/ 230311 w 258948"/>
                  <a:gd name="connsiteY248" fmla="*/ 146217 h 156672"/>
                  <a:gd name="connsiteX249" fmla="*/ 230008 w 258948"/>
                  <a:gd name="connsiteY249" fmla="*/ 135914 h 156672"/>
                  <a:gd name="connsiteX250" fmla="*/ 231372 w 258948"/>
                  <a:gd name="connsiteY250" fmla="*/ 133187 h 156672"/>
                  <a:gd name="connsiteX251" fmla="*/ 235615 w 258948"/>
                  <a:gd name="connsiteY251" fmla="*/ 128793 h 156672"/>
                  <a:gd name="connsiteX252" fmla="*/ 236524 w 258948"/>
                  <a:gd name="connsiteY252" fmla="*/ 126520 h 156672"/>
                  <a:gd name="connsiteX253" fmla="*/ 234403 w 258948"/>
                  <a:gd name="connsiteY253" fmla="*/ 126823 h 156672"/>
                  <a:gd name="connsiteX254" fmla="*/ 234554 w 258948"/>
                  <a:gd name="connsiteY254" fmla="*/ 125611 h 156672"/>
                  <a:gd name="connsiteX255" fmla="*/ 235463 w 258948"/>
                  <a:gd name="connsiteY255" fmla="*/ 124398 h 156672"/>
                  <a:gd name="connsiteX256" fmla="*/ 235463 w 258948"/>
                  <a:gd name="connsiteY256" fmla="*/ 121671 h 156672"/>
                  <a:gd name="connsiteX257" fmla="*/ 236069 w 258948"/>
                  <a:gd name="connsiteY257" fmla="*/ 120610 h 156672"/>
                  <a:gd name="connsiteX258" fmla="*/ 237584 w 258948"/>
                  <a:gd name="connsiteY258" fmla="*/ 118641 h 156672"/>
                  <a:gd name="connsiteX259" fmla="*/ 236675 w 258948"/>
                  <a:gd name="connsiteY259" fmla="*/ 114853 h 156672"/>
                  <a:gd name="connsiteX260" fmla="*/ 237736 w 258948"/>
                  <a:gd name="connsiteY260" fmla="*/ 113337 h 156672"/>
                  <a:gd name="connsiteX261" fmla="*/ 239100 w 258948"/>
                  <a:gd name="connsiteY261" fmla="*/ 112428 h 156672"/>
                  <a:gd name="connsiteX262" fmla="*/ 242282 w 258948"/>
                  <a:gd name="connsiteY262" fmla="*/ 113034 h 156672"/>
                  <a:gd name="connsiteX263" fmla="*/ 240918 w 258948"/>
                  <a:gd name="connsiteY263" fmla="*/ 114701 h 156672"/>
                  <a:gd name="connsiteX264" fmla="*/ 241524 w 258948"/>
                  <a:gd name="connsiteY264" fmla="*/ 116519 h 156672"/>
                  <a:gd name="connsiteX265" fmla="*/ 241827 w 258948"/>
                  <a:gd name="connsiteY265" fmla="*/ 118944 h 156672"/>
                  <a:gd name="connsiteX266" fmla="*/ 240918 w 258948"/>
                  <a:gd name="connsiteY266" fmla="*/ 120307 h 156672"/>
                  <a:gd name="connsiteX267" fmla="*/ 254858 w 258948"/>
                  <a:gd name="connsiteY267" fmla="*/ 117429 h 156672"/>
                  <a:gd name="connsiteX268" fmla="*/ 256222 w 258948"/>
                  <a:gd name="connsiteY268" fmla="*/ 115004 h 156672"/>
                  <a:gd name="connsiteX269" fmla="*/ 256979 w 258948"/>
                  <a:gd name="connsiteY269" fmla="*/ 112883 h 156672"/>
                  <a:gd name="connsiteX270" fmla="*/ 258191 w 258948"/>
                  <a:gd name="connsiteY270" fmla="*/ 106974 h 156672"/>
                  <a:gd name="connsiteX271" fmla="*/ 258494 w 258948"/>
                  <a:gd name="connsiteY271" fmla="*/ 105610 h 156672"/>
                  <a:gd name="connsiteX272" fmla="*/ 258949 w 258948"/>
                  <a:gd name="connsiteY272" fmla="*/ 103337 h 1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58948" h="156672">
                    <a:moveTo>
                      <a:pt x="257434" y="101519"/>
                    </a:moveTo>
                    <a:lnTo>
                      <a:pt x="255161" y="99549"/>
                    </a:lnTo>
                    <a:lnTo>
                      <a:pt x="250615" y="98034"/>
                    </a:lnTo>
                    <a:lnTo>
                      <a:pt x="245767" y="98488"/>
                    </a:lnTo>
                    <a:lnTo>
                      <a:pt x="240463" y="101367"/>
                    </a:lnTo>
                    <a:lnTo>
                      <a:pt x="236827" y="102428"/>
                    </a:lnTo>
                    <a:lnTo>
                      <a:pt x="234857" y="101670"/>
                    </a:lnTo>
                    <a:lnTo>
                      <a:pt x="233645" y="101670"/>
                    </a:lnTo>
                    <a:lnTo>
                      <a:pt x="233190" y="102428"/>
                    </a:lnTo>
                    <a:lnTo>
                      <a:pt x="233342" y="103186"/>
                    </a:lnTo>
                    <a:lnTo>
                      <a:pt x="233948" y="103640"/>
                    </a:lnTo>
                    <a:lnTo>
                      <a:pt x="233796" y="103943"/>
                    </a:lnTo>
                    <a:lnTo>
                      <a:pt x="233039" y="104246"/>
                    </a:lnTo>
                    <a:lnTo>
                      <a:pt x="224553" y="102276"/>
                    </a:lnTo>
                    <a:lnTo>
                      <a:pt x="220917" y="100458"/>
                    </a:lnTo>
                    <a:lnTo>
                      <a:pt x="218038" y="96973"/>
                    </a:lnTo>
                    <a:lnTo>
                      <a:pt x="216675" y="94700"/>
                    </a:lnTo>
                    <a:lnTo>
                      <a:pt x="215311" y="92882"/>
                    </a:lnTo>
                    <a:lnTo>
                      <a:pt x="214250" y="91821"/>
                    </a:lnTo>
                    <a:lnTo>
                      <a:pt x="214705" y="91367"/>
                    </a:lnTo>
                    <a:lnTo>
                      <a:pt x="215917" y="90912"/>
                    </a:lnTo>
                    <a:lnTo>
                      <a:pt x="216675" y="90306"/>
                    </a:lnTo>
                    <a:lnTo>
                      <a:pt x="216523" y="88033"/>
                    </a:lnTo>
                    <a:lnTo>
                      <a:pt x="215917" y="85458"/>
                    </a:lnTo>
                    <a:lnTo>
                      <a:pt x="215463" y="84245"/>
                    </a:lnTo>
                    <a:lnTo>
                      <a:pt x="215463" y="82276"/>
                    </a:lnTo>
                    <a:lnTo>
                      <a:pt x="215008" y="79094"/>
                    </a:lnTo>
                    <a:lnTo>
                      <a:pt x="215614" y="73488"/>
                    </a:lnTo>
                    <a:lnTo>
                      <a:pt x="217735" y="66366"/>
                    </a:lnTo>
                    <a:lnTo>
                      <a:pt x="218947" y="62730"/>
                    </a:lnTo>
                    <a:lnTo>
                      <a:pt x="218341" y="60911"/>
                    </a:lnTo>
                    <a:lnTo>
                      <a:pt x="218796" y="56366"/>
                    </a:lnTo>
                    <a:lnTo>
                      <a:pt x="217887" y="54093"/>
                    </a:lnTo>
                    <a:lnTo>
                      <a:pt x="216372" y="51062"/>
                    </a:lnTo>
                    <a:lnTo>
                      <a:pt x="214250" y="44699"/>
                    </a:lnTo>
                    <a:lnTo>
                      <a:pt x="211523" y="42426"/>
                    </a:lnTo>
                    <a:lnTo>
                      <a:pt x="208341" y="40001"/>
                    </a:lnTo>
                    <a:lnTo>
                      <a:pt x="206826" y="38183"/>
                    </a:lnTo>
                    <a:lnTo>
                      <a:pt x="205917" y="36062"/>
                    </a:lnTo>
                    <a:lnTo>
                      <a:pt x="203947" y="34092"/>
                    </a:lnTo>
                    <a:lnTo>
                      <a:pt x="201674" y="32122"/>
                    </a:lnTo>
                    <a:lnTo>
                      <a:pt x="199098" y="27425"/>
                    </a:lnTo>
                    <a:lnTo>
                      <a:pt x="197583" y="25455"/>
                    </a:lnTo>
                    <a:lnTo>
                      <a:pt x="197280" y="24849"/>
                    </a:lnTo>
                    <a:lnTo>
                      <a:pt x="194098" y="21819"/>
                    </a:lnTo>
                    <a:lnTo>
                      <a:pt x="192583" y="19092"/>
                    </a:lnTo>
                    <a:lnTo>
                      <a:pt x="191674" y="16819"/>
                    </a:lnTo>
                    <a:lnTo>
                      <a:pt x="191219" y="14849"/>
                    </a:lnTo>
                    <a:lnTo>
                      <a:pt x="189098" y="10758"/>
                    </a:lnTo>
                    <a:lnTo>
                      <a:pt x="187128" y="7576"/>
                    </a:lnTo>
                    <a:lnTo>
                      <a:pt x="185310" y="5455"/>
                    </a:lnTo>
                    <a:lnTo>
                      <a:pt x="184401" y="3788"/>
                    </a:lnTo>
                    <a:lnTo>
                      <a:pt x="182279" y="1970"/>
                    </a:lnTo>
                    <a:lnTo>
                      <a:pt x="179097" y="303"/>
                    </a:lnTo>
                    <a:lnTo>
                      <a:pt x="177128" y="0"/>
                    </a:lnTo>
                    <a:lnTo>
                      <a:pt x="174552" y="151"/>
                    </a:lnTo>
                    <a:lnTo>
                      <a:pt x="173188" y="606"/>
                    </a:lnTo>
                    <a:lnTo>
                      <a:pt x="169703" y="1212"/>
                    </a:lnTo>
                    <a:lnTo>
                      <a:pt x="165915" y="2121"/>
                    </a:lnTo>
                    <a:lnTo>
                      <a:pt x="165158" y="5303"/>
                    </a:lnTo>
                    <a:lnTo>
                      <a:pt x="164097" y="6970"/>
                    </a:lnTo>
                    <a:lnTo>
                      <a:pt x="161976" y="9546"/>
                    </a:lnTo>
                    <a:lnTo>
                      <a:pt x="155005" y="10455"/>
                    </a:lnTo>
                    <a:lnTo>
                      <a:pt x="149096" y="11667"/>
                    </a:lnTo>
                    <a:lnTo>
                      <a:pt x="142884" y="12425"/>
                    </a:lnTo>
                    <a:lnTo>
                      <a:pt x="134853" y="15455"/>
                    </a:lnTo>
                    <a:lnTo>
                      <a:pt x="132277" y="18182"/>
                    </a:lnTo>
                    <a:lnTo>
                      <a:pt x="129702" y="18940"/>
                    </a:lnTo>
                    <a:lnTo>
                      <a:pt x="127277" y="19092"/>
                    </a:lnTo>
                    <a:lnTo>
                      <a:pt x="125762" y="17576"/>
                    </a:lnTo>
                    <a:lnTo>
                      <a:pt x="120610" y="13637"/>
                    </a:lnTo>
                    <a:lnTo>
                      <a:pt x="118641" y="11667"/>
                    </a:lnTo>
                    <a:lnTo>
                      <a:pt x="116065" y="11061"/>
                    </a:lnTo>
                    <a:lnTo>
                      <a:pt x="113337" y="11364"/>
                    </a:lnTo>
                    <a:lnTo>
                      <a:pt x="110610" y="12425"/>
                    </a:lnTo>
                    <a:lnTo>
                      <a:pt x="107731" y="12576"/>
                    </a:lnTo>
                    <a:lnTo>
                      <a:pt x="104549" y="11212"/>
                    </a:lnTo>
                    <a:lnTo>
                      <a:pt x="104095" y="11364"/>
                    </a:lnTo>
                    <a:lnTo>
                      <a:pt x="102882" y="11515"/>
                    </a:lnTo>
                    <a:lnTo>
                      <a:pt x="94852" y="9849"/>
                    </a:lnTo>
                    <a:lnTo>
                      <a:pt x="94094" y="9546"/>
                    </a:lnTo>
                    <a:lnTo>
                      <a:pt x="93791" y="9546"/>
                    </a:lnTo>
                    <a:lnTo>
                      <a:pt x="92731" y="9394"/>
                    </a:lnTo>
                    <a:lnTo>
                      <a:pt x="86670" y="9546"/>
                    </a:lnTo>
                    <a:lnTo>
                      <a:pt x="81063" y="6364"/>
                    </a:lnTo>
                    <a:lnTo>
                      <a:pt x="79245" y="6212"/>
                    </a:lnTo>
                    <a:lnTo>
                      <a:pt x="78033" y="7576"/>
                    </a:lnTo>
                    <a:lnTo>
                      <a:pt x="76972" y="9091"/>
                    </a:lnTo>
                    <a:lnTo>
                      <a:pt x="73033" y="10455"/>
                    </a:lnTo>
                    <a:lnTo>
                      <a:pt x="72124" y="11061"/>
                    </a:lnTo>
                    <a:lnTo>
                      <a:pt x="71366" y="11970"/>
                    </a:lnTo>
                    <a:lnTo>
                      <a:pt x="66669" y="16213"/>
                    </a:lnTo>
                    <a:lnTo>
                      <a:pt x="64699" y="17425"/>
                    </a:lnTo>
                    <a:lnTo>
                      <a:pt x="63487" y="17576"/>
                    </a:lnTo>
                    <a:lnTo>
                      <a:pt x="61517" y="17122"/>
                    </a:lnTo>
                    <a:lnTo>
                      <a:pt x="59548" y="17576"/>
                    </a:lnTo>
                    <a:lnTo>
                      <a:pt x="57729" y="18486"/>
                    </a:lnTo>
                    <a:lnTo>
                      <a:pt x="56062" y="18789"/>
                    </a:lnTo>
                    <a:lnTo>
                      <a:pt x="54850" y="19849"/>
                    </a:lnTo>
                    <a:lnTo>
                      <a:pt x="53183" y="22122"/>
                    </a:lnTo>
                    <a:lnTo>
                      <a:pt x="51214" y="24092"/>
                    </a:lnTo>
                    <a:lnTo>
                      <a:pt x="49093" y="25455"/>
                    </a:lnTo>
                    <a:lnTo>
                      <a:pt x="48183" y="26516"/>
                    </a:lnTo>
                    <a:lnTo>
                      <a:pt x="48032" y="30304"/>
                    </a:lnTo>
                    <a:lnTo>
                      <a:pt x="46820" y="31365"/>
                    </a:lnTo>
                    <a:lnTo>
                      <a:pt x="45305" y="32425"/>
                    </a:lnTo>
                    <a:lnTo>
                      <a:pt x="44547" y="33486"/>
                    </a:lnTo>
                    <a:lnTo>
                      <a:pt x="42274" y="39244"/>
                    </a:lnTo>
                    <a:lnTo>
                      <a:pt x="40456" y="41062"/>
                    </a:lnTo>
                    <a:lnTo>
                      <a:pt x="38789" y="42426"/>
                    </a:lnTo>
                    <a:lnTo>
                      <a:pt x="38638" y="43789"/>
                    </a:lnTo>
                    <a:lnTo>
                      <a:pt x="38638" y="45153"/>
                    </a:lnTo>
                    <a:lnTo>
                      <a:pt x="36668" y="48184"/>
                    </a:lnTo>
                    <a:lnTo>
                      <a:pt x="34243" y="51214"/>
                    </a:lnTo>
                    <a:lnTo>
                      <a:pt x="33789" y="52426"/>
                    </a:lnTo>
                    <a:lnTo>
                      <a:pt x="34395" y="54093"/>
                    </a:lnTo>
                    <a:lnTo>
                      <a:pt x="31971" y="56063"/>
                    </a:lnTo>
                    <a:lnTo>
                      <a:pt x="30607" y="56972"/>
                    </a:lnTo>
                    <a:lnTo>
                      <a:pt x="29546" y="57426"/>
                    </a:lnTo>
                    <a:lnTo>
                      <a:pt x="28789" y="58638"/>
                    </a:lnTo>
                    <a:lnTo>
                      <a:pt x="27728" y="61669"/>
                    </a:lnTo>
                    <a:lnTo>
                      <a:pt x="28031" y="62881"/>
                    </a:lnTo>
                    <a:lnTo>
                      <a:pt x="28031" y="64093"/>
                    </a:lnTo>
                    <a:lnTo>
                      <a:pt x="26062" y="64851"/>
                    </a:lnTo>
                    <a:lnTo>
                      <a:pt x="25455" y="66214"/>
                    </a:lnTo>
                    <a:lnTo>
                      <a:pt x="24849" y="67881"/>
                    </a:lnTo>
                    <a:lnTo>
                      <a:pt x="24092" y="68639"/>
                    </a:lnTo>
                    <a:lnTo>
                      <a:pt x="21819" y="70002"/>
                    </a:lnTo>
                    <a:lnTo>
                      <a:pt x="16364" y="69396"/>
                    </a:lnTo>
                    <a:lnTo>
                      <a:pt x="14243" y="69851"/>
                    </a:lnTo>
                    <a:lnTo>
                      <a:pt x="13637" y="70760"/>
                    </a:lnTo>
                    <a:lnTo>
                      <a:pt x="13485" y="71669"/>
                    </a:lnTo>
                    <a:lnTo>
                      <a:pt x="12728" y="72275"/>
                    </a:lnTo>
                    <a:lnTo>
                      <a:pt x="11515" y="73336"/>
                    </a:lnTo>
                    <a:lnTo>
                      <a:pt x="10152" y="73639"/>
                    </a:lnTo>
                    <a:lnTo>
                      <a:pt x="7273" y="72578"/>
                    </a:lnTo>
                    <a:lnTo>
                      <a:pt x="1060" y="73639"/>
                    </a:lnTo>
                    <a:lnTo>
                      <a:pt x="0" y="74548"/>
                    </a:lnTo>
                    <a:lnTo>
                      <a:pt x="1667" y="76518"/>
                    </a:lnTo>
                    <a:lnTo>
                      <a:pt x="3182" y="79094"/>
                    </a:lnTo>
                    <a:lnTo>
                      <a:pt x="5455" y="80306"/>
                    </a:lnTo>
                    <a:lnTo>
                      <a:pt x="8031" y="81670"/>
                    </a:lnTo>
                    <a:lnTo>
                      <a:pt x="9243" y="82730"/>
                    </a:lnTo>
                    <a:lnTo>
                      <a:pt x="11212" y="85761"/>
                    </a:lnTo>
                    <a:lnTo>
                      <a:pt x="12728" y="87276"/>
                    </a:lnTo>
                    <a:lnTo>
                      <a:pt x="13334" y="87124"/>
                    </a:lnTo>
                    <a:lnTo>
                      <a:pt x="13788" y="86821"/>
                    </a:lnTo>
                    <a:lnTo>
                      <a:pt x="14243" y="86518"/>
                    </a:lnTo>
                    <a:lnTo>
                      <a:pt x="14546" y="86821"/>
                    </a:lnTo>
                    <a:lnTo>
                      <a:pt x="14698" y="87730"/>
                    </a:lnTo>
                    <a:lnTo>
                      <a:pt x="14698" y="89700"/>
                    </a:lnTo>
                    <a:lnTo>
                      <a:pt x="14394" y="91973"/>
                    </a:lnTo>
                    <a:lnTo>
                      <a:pt x="14849" y="93943"/>
                    </a:lnTo>
                    <a:lnTo>
                      <a:pt x="14849" y="94700"/>
                    </a:lnTo>
                    <a:lnTo>
                      <a:pt x="14546" y="95307"/>
                    </a:lnTo>
                    <a:lnTo>
                      <a:pt x="14546" y="95761"/>
                    </a:lnTo>
                    <a:lnTo>
                      <a:pt x="15152" y="96367"/>
                    </a:lnTo>
                    <a:lnTo>
                      <a:pt x="17273" y="97731"/>
                    </a:lnTo>
                    <a:lnTo>
                      <a:pt x="19091" y="99852"/>
                    </a:lnTo>
                    <a:lnTo>
                      <a:pt x="21364" y="101216"/>
                    </a:lnTo>
                    <a:lnTo>
                      <a:pt x="23486" y="102276"/>
                    </a:lnTo>
                    <a:lnTo>
                      <a:pt x="24849" y="102276"/>
                    </a:lnTo>
                    <a:lnTo>
                      <a:pt x="26971" y="103943"/>
                    </a:lnTo>
                    <a:lnTo>
                      <a:pt x="31213" y="105307"/>
                    </a:lnTo>
                    <a:lnTo>
                      <a:pt x="32577" y="105610"/>
                    </a:lnTo>
                    <a:lnTo>
                      <a:pt x="33486" y="106367"/>
                    </a:lnTo>
                    <a:lnTo>
                      <a:pt x="34243" y="107125"/>
                    </a:lnTo>
                    <a:lnTo>
                      <a:pt x="34243" y="108034"/>
                    </a:lnTo>
                    <a:lnTo>
                      <a:pt x="33486" y="108489"/>
                    </a:lnTo>
                    <a:lnTo>
                      <a:pt x="32577" y="109549"/>
                    </a:lnTo>
                    <a:lnTo>
                      <a:pt x="32274" y="111065"/>
                    </a:lnTo>
                    <a:lnTo>
                      <a:pt x="31516" y="111368"/>
                    </a:lnTo>
                    <a:lnTo>
                      <a:pt x="30910" y="111368"/>
                    </a:lnTo>
                    <a:lnTo>
                      <a:pt x="30455" y="111822"/>
                    </a:lnTo>
                    <a:lnTo>
                      <a:pt x="30455" y="112428"/>
                    </a:lnTo>
                    <a:lnTo>
                      <a:pt x="31062" y="113034"/>
                    </a:lnTo>
                    <a:lnTo>
                      <a:pt x="31971" y="113641"/>
                    </a:lnTo>
                    <a:lnTo>
                      <a:pt x="33638" y="114095"/>
                    </a:lnTo>
                    <a:lnTo>
                      <a:pt x="35304" y="114853"/>
                    </a:lnTo>
                    <a:lnTo>
                      <a:pt x="35304" y="115459"/>
                    </a:lnTo>
                    <a:lnTo>
                      <a:pt x="35001" y="116216"/>
                    </a:lnTo>
                    <a:lnTo>
                      <a:pt x="32880" y="116368"/>
                    </a:lnTo>
                    <a:lnTo>
                      <a:pt x="31213" y="116519"/>
                    </a:lnTo>
                    <a:lnTo>
                      <a:pt x="30607" y="116822"/>
                    </a:lnTo>
                    <a:lnTo>
                      <a:pt x="30607" y="118035"/>
                    </a:lnTo>
                    <a:lnTo>
                      <a:pt x="35001" y="119247"/>
                    </a:lnTo>
                    <a:lnTo>
                      <a:pt x="37122" y="120459"/>
                    </a:lnTo>
                    <a:lnTo>
                      <a:pt x="38183" y="121974"/>
                    </a:lnTo>
                    <a:lnTo>
                      <a:pt x="41062" y="122883"/>
                    </a:lnTo>
                    <a:lnTo>
                      <a:pt x="45607" y="123338"/>
                    </a:lnTo>
                    <a:lnTo>
                      <a:pt x="48790" y="125005"/>
                    </a:lnTo>
                    <a:lnTo>
                      <a:pt x="50608" y="127580"/>
                    </a:lnTo>
                    <a:lnTo>
                      <a:pt x="53638" y="126974"/>
                    </a:lnTo>
                    <a:lnTo>
                      <a:pt x="57729" y="123035"/>
                    </a:lnTo>
                    <a:lnTo>
                      <a:pt x="61669" y="122126"/>
                    </a:lnTo>
                    <a:lnTo>
                      <a:pt x="65760" y="123944"/>
                    </a:lnTo>
                    <a:lnTo>
                      <a:pt x="67881" y="125459"/>
                    </a:lnTo>
                    <a:lnTo>
                      <a:pt x="68184" y="126671"/>
                    </a:lnTo>
                    <a:lnTo>
                      <a:pt x="67275" y="127126"/>
                    </a:lnTo>
                    <a:lnTo>
                      <a:pt x="65154" y="126974"/>
                    </a:lnTo>
                    <a:lnTo>
                      <a:pt x="63336" y="127580"/>
                    </a:lnTo>
                    <a:lnTo>
                      <a:pt x="61820" y="129399"/>
                    </a:lnTo>
                    <a:lnTo>
                      <a:pt x="61669" y="131217"/>
                    </a:lnTo>
                    <a:lnTo>
                      <a:pt x="62578" y="133035"/>
                    </a:lnTo>
                    <a:lnTo>
                      <a:pt x="64093" y="134399"/>
                    </a:lnTo>
                    <a:lnTo>
                      <a:pt x="65911" y="135156"/>
                    </a:lnTo>
                    <a:lnTo>
                      <a:pt x="66821" y="136217"/>
                    </a:lnTo>
                    <a:lnTo>
                      <a:pt x="66972" y="137429"/>
                    </a:lnTo>
                    <a:lnTo>
                      <a:pt x="67426" y="137732"/>
                    </a:lnTo>
                    <a:lnTo>
                      <a:pt x="69396" y="139247"/>
                    </a:lnTo>
                    <a:lnTo>
                      <a:pt x="73942" y="141520"/>
                    </a:lnTo>
                    <a:lnTo>
                      <a:pt x="76215" y="143187"/>
                    </a:lnTo>
                    <a:lnTo>
                      <a:pt x="76215" y="144096"/>
                    </a:lnTo>
                    <a:lnTo>
                      <a:pt x="75003" y="145157"/>
                    </a:lnTo>
                    <a:lnTo>
                      <a:pt x="73033" y="146217"/>
                    </a:lnTo>
                    <a:lnTo>
                      <a:pt x="71821" y="147430"/>
                    </a:lnTo>
                    <a:lnTo>
                      <a:pt x="71518" y="149096"/>
                    </a:lnTo>
                    <a:lnTo>
                      <a:pt x="71821" y="150308"/>
                    </a:lnTo>
                    <a:lnTo>
                      <a:pt x="73336" y="151218"/>
                    </a:lnTo>
                    <a:lnTo>
                      <a:pt x="81669" y="150005"/>
                    </a:lnTo>
                    <a:lnTo>
                      <a:pt x="90155" y="150611"/>
                    </a:lnTo>
                    <a:lnTo>
                      <a:pt x="101519" y="152884"/>
                    </a:lnTo>
                    <a:lnTo>
                      <a:pt x="109095" y="153642"/>
                    </a:lnTo>
                    <a:lnTo>
                      <a:pt x="114550" y="152581"/>
                    </a:lnTo>
                    <a:lnTo>
                      <a:pt x="125005" y="154399"/>
                    </a:lnTo>
                    <a:lnTo>
                      <a:pt x="134551" y="156218"/>
                    </a:lnTo>
                    <a:lnTo>
                      <a:pt x="143793" y="156672"/>
                    </a:lnTo>
                    <a:lnTo>
                      <a:pt x="148945" y="155309"/>
                    </a:lnTo>
                    <a:lnTo>
                      <a:pt x="152581" y="153490"/>
                    </a:lnTo>
                    <a:lnTo>
                      <a:pt x="155763" y="150005"/>
                    </a:lnTo>
                    <a:lnTo>
                      <a:pt x="163491" y="145460"/>
                    </a:lnTo>
                    <a:lnTo>
                      <a:pt x="170915" y="142884"/>
                    </a:lnTo>
                    <a:lnTo>
                      <a:pt x="180764" y="140914"/>
                    </a:lnTo>
                    <a:lnTo>
                      <a:pt x="187279" y="140157"/>
                    </a:lnTo>
                    <a:lnTo>
                      <a:pt x="188189" y="140914"/>
                    </a:lnTo>
                    <a:lnTo>
                      <a:pt x="196522" y="145005"/>
                    </a:lnTo>
                    <a:lnTo>
                      <a:pt x="200310" y="145005"/>
                    </a:lnTo>
                    <a:lnTo>
                      <a:pt x="203341" y="145763"/>
                    </a:lnTo>
                    <a:lnTo>
                      <a:pt x="204401" y="146975"/>
                    </a:lnTo>
                    <a:lnTo>
                      <a:pt x="205159" y="147278"/>
                    </a:lnTo>
                    <a:lnTo>
                      <a:pt x="209098" y="146217"/>
                    </a:lnTo>
                    <a:lnTo>
                      <a:pt x="210917" y="148490"/>
                    </a:lnTo>
                    <a:lnTo>
                      <a:pt x="213644" y="151672"/>
                    </a:lnTo>
                    <a:lnTo>
                      <a:pt x="218341" y="153339"/>
                    </a:lnTo>
                    <a:lnTo>
                      <a:pt x="222584" y="154248"/>
                    </a:lnTo>
                    <a:lnTo>
                      <a:pt x="223796" y="154399"/>
                    </a:lnTo>
                    <a:lnTo>
                      <a:pt x="228341" y="154399"/>
                    </a:lnTo>
                    <a:lnTo>
                      <a:pt x="228493" y="152430"/>
                    </a:lnTo>
                    <a:lnTo>
                      <a:pt x="230311" y="146217"/>
                    </a:lnTo>
                    <a:lnTo>
                      <a:pt x="230008" y="135914"/>
                    </a:lnTo>
                    <a:lnTo>
                      <a:pt x="231372" y="133187"/>
                    </a:lnTo>
                    <a:lnTo>
                      <a:pt x="235615" y="128793"/>
                    </a:lnTo>
                    <a:lnTo>
                      <a:pt x="236524" y="126520"/>
                    </a:lnTo>
                    <a:lnTo>
                      <a:pt x="234403" y="126823"/>
                    </a:lnTo>
                    <a:lnTo>
                      <a:pt x="234554" y="125611"/>
                    </a:lnTo>
                    <a:lnTo>
                      <a:pt x="235463" y="124398"/>
                    </a:lnTo>
                    <a:lnTo>
                      <a:pt x="235463" y="121671"/>
                    </a:lnTo>
                    <a:lnTo>
                      <a:pt x="236069" y="120610"/>
                    </a:lnTo>
                    <a:lnTo>
                      <a:pt x="237584" y="118641"/>
                    </a:lnTo>
                    <a:lnTo>
                      <a:pt x="236675" y="114853"/>
                    </a:lnTo>
                    <a:lnTo>
                      <a:pt x="237736" y="113337"/>
                    </a:lnTo>
                    <a:lnTo>
                      <a:pt x="239100" y="112428"/>
                    </a:lnTo>
                    <a:lnTo>
                      <a:pt x="242282" y="113034"/>
                    </a:lnTo>
                    <a:lnTo>
                      <a:pt x="240918" y="114701"/>
                    </a:lnTo>
                    <a:lnTo>
                      <a:pt x="241524" y="116519"/>
                    </a:lnTo>
                    <a:lnTo>
                      <a:pt x="241827" y="118944"/>
                    </a:lnTo>
                    <a:lnTo>
                      <a:pt x="240918" y="120307"/>
                    </a:lnTo>
                    <a:lnTo>
                      <a:pt x="254858" y="117429"/>
                    </a:lnTo>
                    <a:lnTo>
                      <a:pt x="256222" y="115004"/>
                    </a:lnTo>
                    <a:lnTo>
                      <a:pt x="256979" y="112883"/>
                    </a:lnTo>
                    <a:lnTo>
                      <a:pt x="258191" y="106974"/>
                    </a:lnTo>
                    <a:lnTo>
                      <a:pt x="258494" y="105610"/>
                    </a:lnTo>
                    <a:lnTo>
                      <a:pt x="258949" y="1033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6" name="Freeform: Shape 3175">
                <a:extLst>
                  <a:ext uri="{FF2B5EF4-FFF2-40B4-BE49-F238E27FC236}">
                    <a16:creationId xmlns:a16="http://schemas.microsoft.com/office/drawing/2014/main" id="{FF89AD89-BA14-4184-9FCE-8B21CB1A8A3E}"/>
                  </a:ext>
                </a:extLst>
              </p:cNvPr>
              <p:cNvSpPr/>
              <p:nvPr/>
            </p:nvSpPr>
            <p:spPr>
              <a:xfrm>
                <a:off x="7288468" y="5137620"/>
                <a:ext cx="16515" cy="14242"/>
              </a:xfrm>
              <a:custGeom>
                <a:avLst/>
                <a:gdLst>
                  <a:gd name="connsiteX0" fmla="*/ 13788 w 16515"/>
                  <a:gd name="connsiteY0" fmla="*/ 4394 h 14242"/>
                  <a:gd name="connsiteX1" fmla="*/ 11667 w 16515"/>
                  <a:gd name="connsiteY1" fmla="*/ 1061 h 14242"/>
                  <a:gd name="connsiteX2" fmla="*/ 9849 w 16515"/>
                  <a:gd name="connsiteY2" fmla="*/ 303 h 14242"/>
                  <a:gd name="connsiteX3" fmla="*/ 5909 w 16515"/>
                  <a:gd name="connsiteY3" fmla="*/ 0 h 14242"/>
                  <a:gd name="connsiteX4" fmla="*/ 2121 w 16515"/>
                  <a:gd name="connsiteY4" fmla="*/ 1061 h 14242"/>
                  <a:gd name="connsiteX5" fmla="*/ 455 w 16515"/>
                  <a:gd name="connsiteY5" fmla="*/ 3788 h 14242"/>
                  <a:gd name="connsiteX6" fmla="*/ 0 w 16515"/>
                  <a:gd name="connsiteY6" fmla="*/ 5455 h 14242"/>
                  <a:gd name="connsiteX7" fmla="*/ 2121 w 16515"/>
                  <a:gd name="connsiteY7" fmla="*/ 10000 h 14242"/>
                  <a:gd name="connsiteX8" fmla="*/ 3485 w 16515"/>
                  <a:gd name="connsiteY8" fmla="*/ 11515 h 14242"/>
                  <a:gd name="connsiteX9" fmla="*/ 8788 w 16515"/>
                  <a:gd name="connsiteY9" fmla="*/ 13940 h 14242"/>
                  <a:gd name="connsiteX10" fmla="*/ 11515 w 16515"/>
                  <a:gd name="connsiteY10" fmla="*/ 14243 h 14242"/>
                  <a:gd name="connsiteX11" fmla="*/ 15303 w 16515"/>
                  <a:gd name="connsiteY11" fmla="*/ 13485 h 14242"/>
                  <a:gd name="connsiteX12" fmla="*/ 16061 w 16515"/>
                  <a:gd name="connsiteY12" fmla="*/ 11667 h 14242"/>
                  <a:gd name="connsiteX13" fmla="*/ 16516 w 16515"/>
                  <a:gd name="connsiteY13" fmla="*/ 7727 h 1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15" h="14242">
                    <a:moveTo>
                      <a:pt x="13788" y="4394"/>
                    </a:moveTo>
                    <a:lnTo>
                      <a:pt x="11667" y="1061"/>
                    </a:lnTo>
                    <a:lnTo>
                      <a:pt x="9849" y="303"/>
                    </a:lnTo>
                    <a:lnTo>
                      <a:pt x="5909" y="0"/>
                    </a:lnTo>
                    <a:lnTo>
                      <a:pt x="2121" y="1061"/>
                    </a:lnTo>
                    <a:lnTo>
                      <a:pt x="455" y="3788"/>
                    </a:lnTo>
                    <a:lnTo>
                      <a:pt x="0" y="5455"/>
                    </a:lnTo>
                    <a:lnTo>
                      <a:pt x="2121" y="10000"/>
                    </a:lnTo>
                    <a:lnTo>
                      <a:pt x="3485" y="11515"/>
                    </a:lnTo>
                    <a:lnTo>
                      <a:pt x="8788" y="13940"/>
                    </a:lnTo>
                    <a:lnTo>
                      <a:pt x="11515" y="14243"/>
                    </a:lnTo>
                    <a:lnTo>
                      <a:pt x="15303" y="13485"/>
                    </a:lnTo>
                    <a:lnTo>
                      <a:pt x="16061" y="11667"/>
                    </a:lnTo>
                    <a:lnTo>
                      <a:pt x="16516" y="7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7" name="Freeform: Shape 3176">
                <a:extLst>
                  <a:ext uri="{FF2B5EF4-FFF2-40B4-BE49-F238E27FC236}">
                    <a16:creationId xmlns:a16="http://schemas.microsoft.com/office/drawing/2014/main" id="{B37896B8-BD42-446A-B2CE-03F5F6322561}"/>
                  </a:ext>
                </a:extLst>
              </p:cNvPr>
              <p:cNvSpPr/>
              <p:nvPr/>
            </p:nvSpPr>
            <p:spPr>
              <a:xfrm>
                <a:off x="7165887" y="3834542"/>
                <a:ext cx="23334" cy="46062"/>
              </a:xfrm>
              <a:custGeom>
                <a:avLst/>
                <a:gdLst>
                  <a:gd name="connsiteX0" fmla="*/ 23183 w 23334"/>
                  <a:gd name="connsiteY0" fmla="*/ 29243 h 46062"/>
                  <a:gd name="connsiteX1" fmla="*/ 22122 w 23334"/>
                  <a:gd name="connsiteY1" fmla="*/ 25152 h 46062"/>
                  <a:gd name="connsiteX2" fmla="*/ 20910 w 23334"/>
                  <a:gd name="connsiteY2" fmla="*/ 22122 h 46062"/>
                  <a:gd name="connsiteX3" fmla="*/ 20607 w 23334"/>
                  <a:gd name="connsiteY3" fmla="*/ 20304 h 46062"/>
                  <a:gd name="connsiteX4" fmla="*/ 20001 w 23334"/>
                  <a:gd name="connsiteY4" fmla="*/ 18182 h 46062"/>
                  <a:gd name="connsiteX5" fmla="*/ 21062 w 23334"/>
                  <a:gd name="connsiteY5" fmla="*/ 13637 h 46062"/>
                  <a:gd name="connsiteX6" fmla="*/ 22425 w 23334"/>
                  <a:gd name="connsiteY6" fmla="*/ 10758 h 46062"/>
                  <a:gd name="connsiteX7" fmla="*/ 21516 w 23334"/>
                  <a:gd name="connsiteY7" fmla="*/ 7273 h 46062"/>
                  <a:gd name="connsiteX8" fmla="*/ 17274 w 23334"/>
                  <a:gd name="connsiteY8" fmla="*/ 4091 h 46062"/>
                  <a:gd name="connsiteX9" fmla="*/ 13940 w 23334"/>
                  <a:gd name="connsiteY9" fmla="*/ 0 h 46062"/>
                  <a:gd name="connsiteX10" fmla="*/ 9698 w 23334"/>
                  <a:gd name="connsiteY10" fmla="*/ 2121 h 46062"/>
                  <a:gd name="connsiteX11" fmla="*/ 6819 w 23334"/>
                  <a:gd name="connsiteY11" fmla="*/ 5000 h 46062"/>
                  <a:gd name="connsiteX12" fmla="*/ 4091 w 23334"/>
                  <a:gd name="connsiteY12" fmla="*/ 12425 h 46062"/>
                  <a:gd name="connsiteX13" fmla="*/ 3031 w 23334"/>
                  <a:gd name="connsiteY13" fmla="*/ 15758 h 46062"/>
                  <a:gd name="connsiteX14" fmla="*/ 1364 w 23334"/>
                  <a:gd name="connsiteY14" fmla="*/ 19092 h 46062"/>
                  <a:gd name="connsiteX15" fmla="*/ 152 w 23334"/>
                  <a:gd name="connsiteY15" fmla="*/ 20607 h 46062"/>
                  <a:gd name="connsiteX16" fmla="*/ 0 w 23334"/>
                  <a:gd name="connsiteY16" fmla="*/ 21819 h 46062"/>
                  <a:gd name="connsiteX17" fmla="*/ 606 w 23334"/>
                  <a:gd name="connsiteY17" fmla="*/ 28334 h 46062"/>
                  <a:gd name="connsiteX18" fmla="*/ 2576 w 23334"/>
                  <a:gd name="connsiteY18" fmla="*/ 36668 h 46062"/>
                  <a:gd name="connsiteX19" fmla="*/ 2273 w 23334"/>
                  <a:gd name="connsiteY19" fmla="*/ 37729 h 46062"/>
                  <a:gd name="connsiteX20" fmla="*/ 1364 w 23334"/>
                  <a:gd name="connsiteY20" fmla="*/ 39547 h 46062"/>
                  <a:gd name="connsiteX21" fmla="*/ 2728 w 23334"/>
                  <a:gd name="connsiteY21" fmla="*/ 42729 h 46062"/>
                  <a:gd name="connsiteX22" fmla="*/ 4698 w 23334"/>
                  <a:gd name="connsiteY22" fmla="*/ 45153 h 46062"/>
                  <a:gd name="connsiteX23" fmla="*/ 5758 w 23334"/>
                  <a:gd name="connsiteY23" fmla="*/ 45759 h 46062"/>
                  <a:gd name="connsiteX24" fmla="*/ 7273 w 23334"/>
                  <a:gd name="connsiteY24" fmla="*/ 46062 h 46062"/>
                  <a:gd name="connsiteX25" fmla="*/ 9243 w 23334"/>
                  <a:gd name="connsiteY25" fmla="*/ 46062 h 46062"/>
                  <a:gd name="connsiteX26" fmla="*/ 11516 w 23334"/>
                  <a:gd name="connsiteY26" fmla="*/ 45456 h 46062"/>
                  <a:gd name="connsiteX27" fmla="*/ 14092 w 23334"/>
                  <a:gd name="connsiteY27" fmla="*/ 44850 h 46062"/>
                  <a:gd name="connsiteX28" fmla="*/ 17576 w 23334"/>
                  <a:gd name="connsiteY28" fmla="*/ 43789 h 46062"/>
                  <a:gd name="connsiteX29" fmla="*/ 18334 w 23334"/>
                  <a:gd name="connsiteY29" fmla="*/ 43032 h 46062"/>
                  <a:gd name="connsiteX30" fmla="*/ 21364 w 23334"/>
                  <a:gd name="connsiteY30" fmla="*/ 36668 h 46062"/>
                  <a:gd name="connsiteX31" fmla="*/ 22728 w 23334"/>
                  <a:gd name="connsiteY31" fmla="*/ 34547 h 46062"/>
                  <a:gd name="connsiteX32" fmla="*/ 23334 w 23334"/>
                  <a:gd name="connsiteY32" fmla="*/ 31971 h 4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334" h="46062">
                    <a:moveTo>
                      <a:pt x="23183" y="29243"/>
                    </a:moveTo>
                    <a:lnTo>
                      <a:pt x="22122" y="25152"/>
                    </a:lnTo>
                    <a:lnTo>
                      <a:pt x="20910" y="22122"/>
                    </a:lnTo>
                    <a:lnTo>
                      <a:pt x="20607" y="20304"/>
                    </a:lnTo>
                    <a:lnTo>
                      <a:pt x="20001" y="18182"/>
                    </a:lnTo>
                    <a:lnTo>
                      <a:pt x="21062" y="13637"/>
                    </a:lnTo>
                    <a:lnTo>
                      <a:pt x="22425" y="10758"/>
                    </a:lnTo>
                    <a:lnTo>
                      <a:pt x="21516" y="7273"/>
                    </a:lnTo>
                    <a:lnTo>
                      <a:pt x="17274" y="4091"/>
                    </a:lnTo>
                    <a:lnTo>
                      <a:pt x="13940" y="0"/>
                    </a:lnTo>
                    <a:lnTo>
                      <a:pt x="9698" y="2121"/>
                    </a:lnTo>
                    <a:lnTo>
                      <a:pt x="6819" y="5000"/>
                    </a:lnTo>
                    <a:lnTo>
                      <a:pt x="4091" y="12425"/>
                    </a:lnTo>
                    <a:lnTo>
                      <a:pt x="3031" y="15758"/>
                    </a:lnTo>
                    <a:lnTo>
                      <a:pt x="1364" y="19092"/>
                    </a:lnTo>
                    <a:lnTo>
                      <a:pt x="152" y="20607"/>
                    </a:lnTo>
                    <a:lnTo>
                      <a:pt x="0" y="21819"/>
                    </a:lnTo>
                    <a:lnTo>
                      <a:pt x="606" y="28334"/>
                    </a:lnTo>
                    <a:lnTo>
                      <a:pt x="2576" y="36668"/>
                    </a:lnTo>
                    <a:lnTo>
                      <a:pt x="2273" y="37729"/>
                    </a:lnTo>
                    <a:lnTo>
                      <a:pt x="1364" y="39547"/>
                    </a:lnTo>
                    <a:lnTo>
                      <a:pt x="2728" y="42729"/>
                    </a:lnTo>
                    <a:lnTo>
                      <a:pt x="4698" y="45153"/>
                    </a:lnTo>
                    <a:lnTo>
                      <a:pt x="5758" y="45759"/>
                    </a:lnTo>
                    <a:lnTo>
                      <a:pt x="7273" y="46062"/>
                    </a:lnTo>
                    <a:lnTo>
                      <a:pt x="9243" y="46062"/>
                    </a:lnTo>
                    <a:lnTo>
                      <a:pt x="11516" y="45456"/>
                    </a:lnTo>
                    <a:lnTo>
                      <a:pt x="14092" y="44850"/>
                    </a:lnTo>
                    <a:lnTo>
                      <a:pt x="17576" y="43789"/>
                    </a:lnTo>
                    <a:lnTo>
                      <a:pt x="18334" y="43032"/>
                    </a:lnTo>
                    <a:lnTo>
                      <a:pt x="21364" y="36668"/>
                    </a:lnTo>
                    <a:lnTo>
                      <a:pt x="22728" y="34547"/>
                    </a:lnTo>
                    <a:lnTo>
                      <a:pt x="23334" y="31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8" name="Freeform: Shape 3177">
                <a:extLst>
                  <a:ext uri="{FF2B5EF4-FFF2-40B4-BE49-F238E27FC236}">
                    <a16:creationId xmlns:a16="http://schemas.microsoft.com/office/drawing/2014/main" id="{D18FA82C-6A4E-4FDF-8730-9033A250794E}"/>
                  </a:ext>
                </a:extLst>
              </p:cNvPr>
              <p:cNvSpPr/>
              <p:nvPr/>
            </p:nvSpPr>
            <p:spPr>
              <a:xfrm>
                <a:off x="4063045" y="5092921"/>
                <a:ext cx="230008" cy="237735"/>
              </a:xfrm>
              <a:custGeom>
                <a:avLst/>
                <a:gdLst>
                  <a:gd name="connsiteX0" fmla="*/ 230008 w 230008"/>
                  <a:gd name="connsiteY0" fmla="*/ 135611 h 237735"/>
                  <a:gd name="connsiteX1" fmla="*/ 226524 w 230008"/>
                  <a:gd name="connsiteY1" fmla="*/ 133490 h 237735"/>
                  <a:gd name="connsiteX2" fmla="*/ 224554 w 230008"/>
                  <a:gd name="connsiteY2" fmla="*/ 131520 h 237735"/>
                  <a:gd name="connsiteX3" fmla="*/ 222130 w 230008"/>
                  <a:gd name="connsiteY3" fmla="*/ 130005 h 237735"/>
                  <a:gd name="connsiteX4" fmla="*/ 219554 w 230008"/>
                  <a:gd name="connsiteY4" fmla="*/ 128944 h 237735"/>
                  <a:gd name="connsiteX5" fmla="*/ 218341 w 230008"/>
                  <a:gd name="connsiteY5" fmla="*/ 129399 h 237735"/>
                  <a:gd name="connsiteX6" fmla="*/ 216978 w 230008"/>
                  <a:gd name="connsiteY6" fmla="*/ 130005 h 237735"/>
                  <a:gd name="connsiteX7" fmla="*/ 214250 w 230008"/>
                  <a:gd name="connsiteY7" fmla="*/ 131066 h 237735"/>
                  <a:gd name="connsiteX8" fmla="*/ 211371 w 230008"/>
                  <a:gd name="connsiteY8" fmla="*/ 132884 h 237735"/>
                  <a:gd name="connsiteX9" fmla="*/ 209705 w 230008"/>
                  <a:gd name="connsiteY9" fmla="*/ 133641 h 237735"/>
                  <a:gd name="connsiteX10" fmla="*/ 207129 w 230008"/>
                  <a:gd name="connsiteY10" fmla="*/ 134247 h 237735"/>
                  <a:gd name="connsiteX11" fmla="*/ 203947 w 230008"/>
                  <a:gd name="connsiteY11" fmla="*/ 134854 h 237735"/>
                  <a:gd name="connsiteX12" fmla="*/ 201523 w 230008"/>
                  <a:gd name="connsiteY12" fmla="*/ 134399 h 237735"/>
                  <a:gd name="connsiteX13" fmla="*/ 199250 w 230008"/>
                  <a:gd name="connsiteY13" fmla="*/ 134096 h 237735"/>
                  <a:gd name="connsiteX14" fmla="*/ 197886 w 230008"/>
                  <a:gd name="connsiteY14" fmla="*/ 132884 h 237735"/>
                  <a:gd name="connsiteX15" fmla="*/ 197128 w 230008"/>
                  <a:gd name="connsiteY15" fmla="*/ 130459 h 237735"/>
                  <a:gd name="connsiteX16" fmla="*/ 197128 w 230008"/>
                  <a:gd name="connsiteY16" fmla="*/ 128338 h 237735"/>
                  <a:gd name="connsiteX17" fmla="*/ 196674 w 230008"/>
                  <a:gd name="connsiteY17" fmla="*/ 125308 h 237735"/>
                  <a:gd name="connsiteX18" fmla="*/ 195159 w 230008"/>
                  <a:gd name="connsiteY18" fmla="*/ 123641 h 237735"/>
                  <a:gd name="connsiteX19" fmla="*/ 194553 w 230008"/>
                  <a:gd name="connsiteY19" fmla="*/ 122277 h 237735"/>
                  <a:gd name="connsiteX20" fmla="*/ 194553 w 230008"/>
                  <a:gd name="connsiteY20" fmla="*/ 120611 h 237735"/>
                  <a:gd name="connsiteX21" fmla="*/ 194704 w 230008"/>
                  <a:gd name="connsiteY21" fmla="*/ 118792 h 237735"/>
                  <a:gd name="connsiteX22" fmla="*/ 195159 w 230008"/>
                  <a:gd name="connsiteY22" fmla="*/ 117580 h 237735"/>
                  <a:gd name="connsiteX23" fmla="*/ 194856 w 230008"/>
                  <a:gd name="connsiteY23" fmla="*/ 115913 h 237735"/>
                  <a:gd name="connsiteX24" fmla="*/ 194098 w 230008"/>
                  <a:gd name="connsiteY24" fmla="*/ 114701 h 237735"/>
                  <a:gd name="connsiteX25" fmla="*/ 194250 w 230008"/>
                  <a:gd name="connsiteY25" fmla="*/ 112731 h 237735"/>
                  <a:gd name="connsiteX26" fmla="*/ 193947 w 230008"/>
                  <a:gd name="connsiteY26" fmla="*/ 110004 h 237735"/>
                  <a:gd name="connsiteX27" fmla="*/ 192886 w 230008"/>
                  <a:gd name="connsiteY27" fmla="*/ 108337 h 237735"/>
                  <a:gd name="connsiteX28" fmla="*/ 192280 w 230008"/>
                  <a:gd name="connsiteY28" fmla="*/ 106368 h 237735"/>
                  <a:gd name="connsiteX29" fmla="*/ 192280 w 230008"/>
                  <a:gd name="connsiteY29" fmla="*/ 104246 h 237735"/>
                  <a:gd name="connsiteX30" fmla="*/ 191522 w 230008"/>
                  <a:gd name="connsiteY30" fmla="*/ 102276 h 237735"/>
                  <a:gd name="connsiteX31" fmla="*/ 191371 w 230008"/>
                  <a:gd name="connsiteY31" fmla="*/ 100155 h 237735"/>
                  <a:gd name="connsiteX32" fmla="*/ 192128 w 230008"/>
                  <a:gd name="connsiteY32" fmla="*/ 98186 h 237735"/>
                  <a:gd name="connsiteX33" fmla="*/ 192431 w 230008"/>
                  <a:gd name="connsiteY33" fmla="*/ 96216 h 237735"/>
                  <a:gd name="connsiteX34" fmla="*/ 191522 w 230008"/>
                  <a:gd name="connsiteY34" fmla="*/ 94700 h 237735"/>
                  <a:gd name="connsiteX35" fmla="*/ 190007 w 230008"/>
                  <a:gd name="connsiteY35" fmla="*/ 93943 h 237735"/>
                  <a:gd name="connsiteX36" fmla="*/ 188946 w 230008"/>
                  <a:gd name="connsiteY36" fmla="*/ 91670 h 237735"/>
                  <a:gd name="connsiteX37" fmla="*/ 188643 w 230008"/>
                  <a:gd name="connsiteY37" fmla="*/ 88640 h 237735"/>
                  <a:gd name="connsiteX38" fmla="*/ 187431 w 230008"/>
                  <a:gd name="connsiteY38" fmla="*/ 87124 h 237735"/>
                  <a:gd name="connsiteX39" fmla="*/ 186067 w 230008"/>
                  <a:gd name="connsiteY39" fmla="*/ 85761 h 237735"/>
                  <a:gd name="connsiteX40" fmla="*/ 184552 w 230008"/>
                  <a:gd name="connsiteY40" fmla="*/ 85761 h 237735"/>
                  <a:gd name="connsiteX41" fmla="*/ 182128 w 230008"/>
                  <a:gd name="connsiteY41" fmla="*/ 85003 h 237735"/>
                  <a:gd name="connsiteX42" fmla="*/ 180158 w 230008"/>
                  <a:gd name="connsiteY42" fmla="*/ 85155 h 237735"/>
                  <a:gd name="connsiteX43" fmla="*/ 176673 w 230008"/>
                  <a:gd name="connsiteY43" fmla="*/ 85003 h 237735"/>
                  <a:gd name="connsiteX44" fmla="*/ 175158 w 230008"/>
                  <a:gd name="connsiteY44" fmla="*/ 84549 h 237735"/>
                  <a:gd name="connsiteX45" fmla="*/ 174400 w 230008"/>
                  <a:gd name="connsiteY45" fmla="*/ 83488 h 237735"/>
                  <a:gd name="connsiteX46" fmla="*/ 172279 w 230008"/>
                  <a:gd name="connsiteY46" fmla="*/ 82124 h 237735"/>
                  <a:gd name="connsiteX47" fmla="*/ 171067 w 230008"/>
                  <a:gd name="connsiteY47" fmla="*/ 79548 h 237735"/>
                  <a:gd name="connsiteX48" fmla="*/ 169703 w 230008"/>
                  <a:gd name="connsiteY48" fmla="*/ 79094 h 237735"/>
                  <a:gd name="connsiteX49" fmla="*/ 167582 w 230008"/>
                  <a:gd name="connsiteY49" fmla="*/ 79851 h 237735"/>
                  <a:gd name="connsiteX50" fmla="*/ 166824 w 230008"/>
                  <a:gd name="connsiteY50" fmla="*/ 80761 h 237735"/>
                  <a:gd name="connsiteX51" fmla="*/ 166067 w 230008"/>
                  <a:gd name="connsiteY51" fmla="*/ 82124 h 237735"/>
                  <a:gd name="connsiteX52" fmla="*/ 164552 w 230008"/>
                  <a:gd name="connsiteY52" fmla="*/ 83639 h 237735"/>
                  <a:gd name="connsiteX53" fmla="*/ 162733 w 230008"/>
                  <a:gd name="connsiteY53" fmla="*/ 83639 h 237735"/>
                  <a:gd name="connsiteX54" fmla="*/ 160764 w 230008"/>
                  <a:gd name="connsiteY54" fmla="*/ 84397 h 237735"/>
                  <a:gd name="connsiteX55" fmla="*/ 158794 w 230008"/>
                  <a:gd name="connsiteY55" fmla="*/ 84549 h 237735"/>
                  <a:gd name="connsiteX56" fmla="*/ 156369 w 230008"/>
                  <a:gd name="connsiteY56" fmla="*/ 84700 h 237735"/>
                  <a:gd name="connsiteX57" fmla="*/ 153793 w 230008"/>
                  <a:gd name="connsiteY57" fmla="*/ 83943 h 237735"/>
                  <a:gd name="connsiteX58" fmla="*/ 150612 w 230008"/>
                  <a:gd name="connsiteY58" fmla="*/ 83034 h 237735"/>
                  <a:gd name="connsiteX59" fmla="*/ 148036 w 230008"/>
                  <a:gd name="connsiteY59" fmla="*/ 82579 h 237735"/>
                  <a:gd name="connsiteX60" fmla="*/ 145460 w 230008"/>
                  <a:gd name="connsiteY60" fmla="*/ 83034 h 237735"/>
                  <a:gd name="connsiteX61" fmla="*/ 143793 w 230008"/>
                  <a:gd name="connsiteY61" fmla="*/ 82579 h 237735"/>
                  <a:gd name="connsiteX62" fmla="*/ 141520 w 230008"/>
                  <a:gd name="connsiteY62" fmla="*/ 82276 h 237735"/>
                  <a:gd name="connsiteX63" fmla="*/ 138945 w 230008"/>
                  <a:gd name="connsiteY63" fmla="*/ 82124 h 237735"/>
                  <a:gd name="connsiteX64" fmla="*/ 136975 w 230008"/>
                  <a:gd name="connsiteY64" fmla="*/ 80609 h 237735"/>
                  <a:gd name="connsiteX65" fmla="*/ 134853 w 230008"/>
                  <a:gd name="connsiteY65" fmla="*/ 79851 h 237735"/>
                  <a:gd name="connsiteX66" fmla="*/ 133641 w 230008"/>
                  <a:gd name="connsiteY66" fmla="*/ 80003 h 237735"/>
                  <a:gd name="connsiteX67" fmla="*/ 132126 w 230008"/>
                  <a:gd name="connsiteY67" fmla="*/ 81064 h 237735"/>
                  <a:gd name="connsiteX68" fmla="*/ 130459 w 230008"/>
                  <a:gd name="connsiteY68" fmla="*/ 80761 h 237735"/>
                  <a:gd name="connsiteX69" fmla="*/ 128490 w 230008"/>
                  <a:gd name="connsiteY69" fmla="*/ 80003 h 237735"/>
                  <a:gd name="connsiteX70" fmla="*/ 127580 w 230008"/>
                  <a:gd name="connsiteY70" fmla="*/ 78336 h 237735"/>
                  <a:gd name="connsiteX71" fmla="*/ 127732 w 230008"/>
                  <a:gd name="connsiteY71" fmla="*/ 77124 h 237735"/>
                  <a:gd name="connsiteX72" fmla="*/ 128186 w 230008"/>
                  <a:gd name="connsiteY72" fmla="*/ 76063 h 237735"/>
                  <a:gd name="connsiteX73" fmla="*/ 129096 w 230008"/>
                  <a:gd name="connsiteY73" fmla="*/ 74397 h 237735"/>
                  <a:gd name="connsiteX74" fmla="*/ 128641 w 230008"/>
                  <a:gd name="connsiteY74" fmla="*/ 72730 h 237735"/>
                  <a:gd name="connsiteX75" fmla="*/ 128793 w 230008"/>
                  <a:gd name="connsiteY75" fmla="*/ 71215 h 237735"/>
                  <a:gd name="connsiteX76" fmla="*/ 129096 w 230008"/>
                  <a:gd name="connsiteY76" fmla="*/ 69851 h 237735"/>
                  <a:gd name="connsiteX77" fmla="*/ 129550 w 230008"/>
                  <a:gd name="connsiteY77" fmla="*/ 68336 h 237735"/>
                  <a:gd name="connsiteX78" fmla="*/ 129247 w 230008"/>
                  <a:gd name="connsiteY78" fmla="*/ 66972 h 237735"/>
                  <a:gd name="connsiteX79" fmla="*/ 129096 w 230008"/>
                  <a:gd name="connsiteY79" fmla="*/ 65457 h 237735"/>
                  <a:gd name="connsiteX80" fmla="*/ 128944 w 230008"/>
                  <a:gd name="connsiteY80" fmla="*/ 64093 h 237735"/>
                  <a:gd name="connsiteX81" fmla="*/ 128641 w 230008"/>
                  <a:gd name="connsiteY81" fmla="*/ 62578 h 237735"/>
                  <a:gd name="connsiteX82" fmla="*/ 129853 w 230008"/>
                  <a:gd name="connsiteY82" fmla="*/ 60305 h 237735"/>
                  <a:gd name="connsiteX83" fmla="*/ 130763 w 230008"/>
                  <a:gd name="connsiteY83" fmla="*/ 58639 h 237735"/>
                  <a:gd name="connsiteX84" fmla="*/ 130156 w 230008"/>
                  <a:gd name="connsiteY84" fmla="*/ 57123 h 237735"/>
                  <a:gd name="connsiteX85" fmla="*/ 130308 w 230008"/>
                  <a:gd name="connsiteY85" fmla="*/ 56063 h 237735"/>
                  <a:gd name="connsiteX86" fmla="*/ 131065 w 230008"/>
                  <a:gd name="connsiteY86" fmla="*/ 54396 h 237735"/>
                  <a:gd name="connsiteX87" fmla="*/ 131974 w 230008"/>
                  <a:gd name="connsiteY87" fmla="*/ 52275 h 237735"/>
                  <a:gd name="connsiteX88" fmla="*/ 131823 w 230008"/>
                  <a:gd name="connsiteY88" fmla="*/ 48487 h 237735"/>
                  <a:gd name="connsiteX89" fmla="*/ 131065 w 230008"/>
                  <a:gd name="connsiteY89" fmla="*/ 46214 h 237735"/>
                  <a:gd name="connsiteX90" fmla="*/ 130156 w 230008"/>
                  <a:gd name="connsiteY90" fmla="*/ 45608 h 237735"/>
                  <a:gd name="connsiteX91" fmla="*/ 130005 w 230008"/>
                  <a:gd name="connsiteY91" fmla="*/ 44850 h 237735"/>
                  <a:gd name="connsiteX92" fmla="*/ 130308 w 230008"/>
                  <a:gd name="connsiteY92" fmla="*/ 43941 h 237735"/>
                  <a:gd name="connsiteX93" fmla="*/ 129853 w 230008"/>
                  <a:gd name="connsiteY93" fmla="*/ 43032 h 237735"/>
                  <a:gd name="connsiteX94" fmla="*/ 129702 w 230008"/>
                  <a:gd name="connsiteY94" fmla="*/ 42123 h 237735"/>
                  <a:gd name="connsiteX95" fmla="*/ 130156 w 230008"/>
                  <a:gd name="connsiteY95" fmla="*/ 41365 h 237735"/>
                  <a:gd name="connsiteX96" fmla="*/ 129550 w 230008"/>
                  <a:gd name="connsiteY96" fmla="*/ 39699 h 237735"/>
                  <a:gd name="connsiteX97" fmla="*/ 128186 w 230008"/>
                  <a:gd name="connsiteY97" fmla="*/ 39244 h 237735"/>
                  <a:gd name="connsiteX98" fmla="*/ 127732 w 230008"/>
                  <a:gd name="connsiteY98" fmla="*/ 38789 h 237735"/>
                  <a:gd name="connsiteX99" fmla="*/ 127277 w 230008"/>
                  <a:gd name="connsiteY99" fmla="*/ 36971 h 237735"/>
                  <a:gd name="connsiteX100" fmla="*/ 126974 w 230008"/>
                  <a:gd name="connsiteY100" fmla="*/ 34850 h 237735"/>
                  <a:gd name="connsiteX101" fmla="*/ 127126 w 230008"/>
                  <a:gd name="connsiteY101" fmla="*/ 33335 h 237735"/>
                  <a:gd name="connsiteX102" fmla="*/ 126520 w 230008"/>
                  <a:gd name="connsiteY102" fmla="*/ 31819 h 237735"/>
                  <a:gd name="connsiteX103" fmla="*/ 125611 w 230008"/>
                  <a:gd name="connsiteY103" fmla="*/ 31062 h 237735"/>
                  <a:gd name="connsiteX104" fmla="*/ 124702 w 230008"/>
                  <a:gd name="connsiteY104" fmla="*/ 29547 h 237735"/>
                  <a:gd name="connsiteX105" fmla="*/ 123792 w 230008"/>
                  <a:gd name="connsiteY105" fmla="*/ 28486 h 237735"/>
                  <a:gd name="connsiteX106" fmla="*/ 123489 w 230008"/>
                  <a:gd name="connsiteY106" fmla="*/ 26819 h 237735"/>
                  <a:gd name="connsiteX107" fmla="*/ 122883 w 230008"/>
                  <a:gd name="connsiteY107" fmla="*/ 24698 h 237735"/>
                  <a:gd name="connsiteX108" fmla="*/ 123338 w 230008"/>
                  <a:gd name="connsiteY108" fmla="*/ 20001 h 237735"/>
                  <a:gd name="connsiteX109" fmla="*/ 122883 w 230008"/>
                  <a:gd name="connsiteY109" fmla="*/ 16061 h 237735"/>
                  <a:gd name="connsiteX110" fmla="*/ 122277 w 230008"/>
                  <a:gd name="connsiteY110" fmla="*/ 15001 h 237735"/>
                  <a:gd name="connsiteX111" fmla="*/ 114247 w 230008"/>
                  <a:gd name="connsiteY111" fmla="*/ 10152 h 237735"/>
                  <a:gd name="connsiteX112" fmla="*/ 106974 w 230008"/>
                  <a:gd name="connsiteY112" fmla="*/ 5758 h 237735"/>
                  <a:gd name="connsiteX113" fmla="*/ 97428 w 230008"/>
                  <a:gd name="connsiteY113" fmla="*/ 0 h 237735"/>
                  <a:gd name="connsiteX114" fmla="*/ 85003 w 230008"/>
                  <a:gd name="connsiteY114" fmla="*/ 152 h 237735"/>
                  <a:gd name="connsiteX115" fmla="*/ 72275 w 230008"/>
                  <a:gd name="connsiteY115" fmla="*/ 303 h 237735"/>
                  <a:gd name="connsiteX116" fmla="*/ 60154 w 230008"/>
                  <a:gd name="connsiteY116" fmla="*/ 2879 h 237735"/>
                  <a:gd name="connsiteX117" fmla="*/ 48183 w 230008"/>
                  <a:gd name="connsiteY117" fmla="*/ 5303 h 237735"/>
                  <a:gd name="connsiteX118" fmla="*/ 42577 w 230008"/>
                  <a:gd name="connsiteY118" fmla="*/ 6516 h 237735"/>
                  <a:gd name="connsiteX119" fmla="*/ 31062 w 230008"/>
                  <a:gd name="connsiteY119" fmla="*/ 8940 h 237735"/>
                  <a:gd name="connsiteX120" fmla="*/ 24395 w 230008"/>
                  <a:gd name="connsiteY120" fmla="*/ 10152 h 237735"/>
                  <a:gd name="connsiteX121" fmla="*/ 22728 w 230008"/>
                  <a:gd name="connsiteY121" fmla="*/ 14698 h 237735"/>
                  <a:gd name="connsiteX122" fmla="*/ 20001 w 230008"/>
                  <a:gd name="connsiteY122" fmla="*/ 21668 h 237735"/>
                  <a:gd name="connsiteX123" fmla="*/ 17425 w 230008"/>
                  <a:gd name="connsiteY123" fmla="*/ 25759 h 237735"/>
                  <a:gd name="connsiteX124" fmla="*/ 14394 w 230008"/>
                  <a:gd name="connsiteY124" fmla="*/ 30001 h 237735"/>
                  <a:gd name="connsiteX125" fmla="*/ 10152 w 230008"/>
                  <a:gd name="connsiteY125" fmla="*/ 36062 h 237735"/>
                  <a:gd name="connsiteX126" fmla="*/ 10152 w 230008"/>
                  <a:gd name="connsiteY126" fmla="*/ 43335 h 237735"/>
                  <a:gd name="connsiteX127" fmla="*/ 10152 w 230008"/>
                  <a:gd name="connsiteY127" fmla="*/ 50305 h 237735"/>
                  <a:gd name="connsiteX128" fmla="*/ 7273 w 230008"/>
                  <a:gd name="connsiteY128" fmla="*/ 60154 h 237735"/>
                  <a:gd name="connsiteX129" fmla="*/ 4697 w 230008"/>
                  <a:gd name="connsiteY129" fmla="*/ 68487 h 237735"/>
                  <a:gd name="connsiteX130" fmla="*/ 2273 w 230008"/>
                  <a:gd name="connsiteY130" fmla="*/ 76670 h 237735"/>
                  <a:gd name="connsiteX131" fmla="*/ 606 w 230008"/>
                  <a:gd name="connsiteY131" fmla="*/ 82276 h 237735"/>
                  <a:gd name="connsiteX132" fmla="*/ 0 w 230008"/>
                  <a:gd name="connsiteY132" fmla="*/ 83639 h 237735"/>
                  <a:gd name="connsiteX133" fmla="*/ 606 w 230008"/>
                  <a:gd name="connsiteY133" fmla="*/ 84397 h 237735"/>
                  <a:gd name="connsiteX134" fmla="*/ 606 w 230008"/>
                  <a:gd name="connsiteY134" fmla="*/ 85306 h 237735"/>
                  <a:gd name="connsiteX135" fmla="*/ 3030 w 230008"/>
                  <a:gd name="connsiteY135" fmla="*/ 86973 h 237735"/>
                  <a:gd name="connsiteX136" fmla="*/ 7576 w 230008"/>
                  <a:gd name="connsiteY136" fmla="*/ 89549 h 237735"/>
                  <a:gd name="connsiteX137" fmla="*/ 11970 w 230008"/>
                  <a:gd name="connsiteY137" fmla="*/ 94398 h 237735"/>
                  <a:gd name="connsiteX138" fmla="*/ 15910 w 230008"/>
                  <a:gd name="connsiteY138" fmla="*/ 101822 h 237735"/>
                  <a:gd name="connsiteX139" fmla="*/ 19698 w 230008"/>
                  <a:gd name="connsiteY139" fmla="*/ 107277 h 237735"/>
                  <a:gd name="connsiteX140" fmla="*/ 23334 w 230008"/>
                  <a:gd name="connsiteY140" fmla="*/ 110762 h 237735"/>
                  <a:gd name="connsiteX141" fmla="*/ 26516 w 230008"/>
                  <a:gd name="connsiteY141" fmla="*/ 113338 h 237735"/>
                  <a:gd name="connsiteX142" fmla="*/ 29547 w 230008"/>
                  <a:gd name="connsiteY142" fmla="*/ 114701 h 237735"/>
                  <a:gd name="connsiteX143" fmla="*/ 31062 w 230008"/>
                  <a:gd name="connsiteY143" fmla="*/ 115913 h 237735"/>
                  <a:gd name="connsiteX144" fmla="*/ 31365 w 230008"/>
                  <a:gd name="connsiteY144" fmla="*/ 116823 h 237735"/>
                  <a:gd name="connsiteX145" fmla="*/ 34092 w 230008"/>
                  <a:gd name="connsiteY145" fmla="*/ 118641 h 237735"/>
                  <a:gd name="connsiteX146" fmla="*/ 39395 w 230008"/>
                  <a:gd name="connsiteY146" fmla="*/ 121520 h 237735"/>
                  <a:gd name="connsiteX147" fmla="*/ 42880 w 230008"/>
                  <a:gd name="connsiteY147" fmla="*/ 124399 h 237735"/>
                  <a:gd name="connsiteX148" fmla="*/ 44244 w 230008"/>
                  <a:gd name="connsiteY148" fmla="*/ 127278 h 237735"/>
                  <a:gd name="connsiteX149" fmla="*/ 49547 w 230008"/>
                  <a:gd name="connsiteY149" fmla="*/ 130308 h 237735"/>
                  <a:gd name="connsiteX150" fmla="*/ 58638 w 230008"/>
                  <a:gd name="connsiteY150" fmla="*/ 133338 h 237735"/>
                  <a:gd name="connsiteX151" fmla="*/ 65305 w 230008"/>
                  <a:gd name="connsiteY151" fmla="*/ 134702 h 237735"/>
                  <a:gd name="connsiteX152" fmla="*/ 69548 w 230008"/>
                  <a:gd name="connsiteY152" fmla="*/ 134550 h 237735"/>
                  <a:gd name="connsiteX153" fmla="*/ 75457 w 230008"/>
                  <a:gd name="connsiteY153" fmla="*/ 136975 h 237735"/>
                  <a:gd name="connsiteX154" fmla="*/ 83185 w 230008"/>
                  <a:gd name="connsiteY154" fmla="*/ 141975 h 237735"/>
                  <a:gd name="connsiteX155" fmla="*/ 87882 w 230008"/>
                  <a:gd name="connsiteY155" fmla="*/ 145460 h 237735"/>
                  <a:gd name="connsiteX156" fmla="*/ 89700 w 230008"/>
                  <a:gd name="connsiteY156" fmla="*/ 147430 h 237735"/>
                  <a:gd name="connsiteX157" fmla="*/ 94700 w 230008"/>
                  <a:gd name="connsiteY157" fmla="*/ 150612 h 237735"/>
                  <a:gd name="connsiteX158" fmla="*/ 107428 w 230008"/>
                  <a:gd name="connsiteY158" fmla="*/ 156975 h 237735"/>
                  <a:gd name="connsiteX159" fmla="*/ 113034 w 230008"/>
                  <a:gd name="connsiteY159" fmla="*/ 158642 h 237735"/>
                  <a:gd name="connsiteX160" fmla="*/ 115610 w 230008"/>
                  <a:gd name="connsiteY160" fmla="*/ 160157 h 237735"/>
                  <a:gd name="connsiteX161" fmla="*/ 117277 w 230008"/>
                  <a:gd name="connsiteY161" fmla="*/ 161976 h 237735"/>
                  <a:gd name="connsiteX162" fmla="*/ 118792 w 230008"/>
                  <a:gd name="connsiteY162" fmla="*/ 162582 h 237735"/>
                  <a:gd name="connsiteX163" fmla="*/ 120308 w 230008"/>
                  <a:gd name="connsiteY163" fmla="*/ 161824 h 237735"/>
                  <a:gd name="connsiteX164" fmla="*/ 123489 w 230008"/>
                  <a:gd name="connsiteY164" fmla="*/ 162582 h 237735"/>
                  <a:gd name="connsiteX165" fmla="*/ 128338 w 230008"/>
                  <a:gd name="connsiteY165" fmla="*/ 164703 h 237735"/>
                  <a:gd name="connsiteX166" fmla="*/ 132126 w 230008"/>
                  <a:gd name="connsiteY166" fmla="*/ 167127 h 237735"/>
                  <a:gd name="connsiteX167" fmla="*/ 136975 w 230008"/>
                  <a:gd name="connsiteY167" fmla="*/ 172734 h 237735"/>
                  <a:gd name="connsiteX168" fmla="*/ 138490 w 230008"/>
                  <a:gd name="connsiteY168" fmla="*/ 175006 h 237735"/>
                  <a:gd name="connsiteX169" fmla="*/ 139248 w 230008"/>
                  <a:gd name="connsiteY169" fmla="*/ 176976 h 237735"/>
                  <a:gd name="connsiteX170" fmla="*/ 138945 w 230008"/>
                  <a:gd name="connsiteY170" fmla="*/ 178643 h 237735"/>
                  <a:gd name="connsiteX171" fmla="*/ 137429 w 230008"/>
                  <a:gd name="connsiteY171" fmla="*/ 180613 h 237735"/>
                  <a:gd name="connsiteX172" fmla="*/ 134702 w 230008"/>
                  <a:gd name="connsiteY172" fmla="*/ 182582 h 237735"/>
                  <a:gd name="connsiteX173" fmla="*/ 133944 w 230008"/>
                  <a:gd name="connsiteY173" fmla="*/ 183492 h 237735"/>
                  <a:gd name="connsiteX174" fmla="*/ 133793 w 230008"/>
                  <a:gd name="connsiteY174" fmla="*/ 184249 h 237735"/>
                  <a:gd name="connsiteX175" fmla="*/ 133187 w 230008"/>
                  <a:gd name="connsiteY175" fmla="*/ 185916 h 237735"/>
                  <a:gd name="connsiteX176" fmla="*/ 130914 w 230008"/>
                  <a:gd name="connsiteY176" fmla="*/ 189553 h 237735"/>
                  <a:gd name="connsiteX177" fmla="*/ 130308 w 230008"/>
                  <a:gd name="connsiteY177" fmla="*/ 191219 h 237735"/>
                  <a:gd name="connsiteX178" fmla="*/ 130156 w 230008"/>
                  <a:gd name="connsiteY178" fmla="*/ 192431 h 237735"/>
                  <a:gd name="connsiteX179" fmla="*/ 128793 w 230008"/>
                  <a:gd name="connsiteY179" fmla="*/ 193795 h 237735"/>
                  <a:gd name="connsiteX180" fmla="*/ 125005 w 230008"/>
                  <a:gd name="connsiteY180" fmla="*/ 196371 h 237735"/>
                  <a:gd name="connsiteX181" fmla="*/ 124247 w 230008"/>
                  <a:gd name="connsiteY181" fmla="*/ 197583 h 237735"/>
                  <a:gd name="connsiteX182" fmla="*/ 123944 w 230008"/>
                  <a:gd name="connsiteY182" fmla="*/ 198795 h 237735"/>
                  <a:gd name="connsiteX183" fmla="*/ 123489 w 230008"/>
                  <a:gd name="connsiteY183" fmla="*/ 199553 h 237735"/>
                  <a:gd name="connsiteX184" fmla="*/ 123035 w 230008"/>
                  <a:gd name="connsiteY184" fmla="*/ 199856 h 237735"/>
                  <a:gd name="connsiteX185" fmla="*/ 122277 w 230008"/>
                  <a:gd name="connsiteY185" fmla="*/ 201219 h 237735"/>
                  <a:gd name="connsiteX186" fmla="*/ 121671 w 230008"/>
                  <a:gd name="connsiteY186" fmla="*/ 203341 h 237735"/>
                  <a:gd name="connsiteX187" fmla="*/ 121671 w 230008"/>
                  <a:gd name="connsiteY187" fmla="*/ 206220 h 237735"/>
                  <a:gd name="connsiteX188" fmla="*/ 122126 w 230008"/>
                  <a:gd name="connsiteY188" fmla="*/ 209553 h 237735"/>
                  <a:gd name="connsiteX189" fmla="*/ 121974 w 230008"/>
                  <a:gd name="connsiteY189" fmla="*/ 210614 h 237735"/>
                  <a:gd name="connsiteX190" fmla="*/ 121217 w 230008"/>
                  <a:gd name="connsiteY190" fmla="*/ 211220 h 237735"/>
                  <a:gd name="connsiteX191" fmla="*/ 120610 w 230008"/>
                  <a:gd name="connsiteY191" fmla="*/ 211978 h 237735"/>
                  <a:gd name="connsiteX192" fmla="*/ 120459 w 230008"/>
                  <a:gd name="connsiteY192" fmla="*/ 213644 h 237735"/>
                  <a:gd name="connsiteX193" fmla="*/ 119853 w 230008"/>
                  <a:gd name="connsiteY193" fmla="*/ 214705 h 237735"/>
                  <a:gd name="connsiteX194" fmla="*/ 118489 w 230008"/>
                  <a:gd name="connsiteY194" fmla="*/ 215462 h 237735"/>
                  <a:gd name="connsiteX195" fmla="*/ 118035 w 230008"/>
                  <a:gd name="connsiteY195" fmla="*/ 216372 h 237735"/>
                  <a:gd name="connsiteX196" fmla="*/ 118338 w 230008"/>
                  <a:gd name="connsiteY196" fmla="*/ 217281 h 237735"/>
                  <a:gd name="connsiteX197" fmla="*/ 117429 w 230008"/>
                  <a:gd name="connsiteY197" fmla="*/ 218190 h 237735"/>
                  <a:gd name="connsiteX198" fmla="*/ 115307 w 230008"/>
                  <a:gd name="connsiteY198" fmla="*/ 219250 h 237735"/>
                  <a:gd name="connsiteX199" fmla="*/ 113944 w 230008"/>
                  <a:gd name="connsiteY199" fmla="*/ 220614 h 237735"/>
                  <a:gd name="connsiteX200" fmla="*/ 113489 w 230008"/>
                  <a:gd name="connsiteY200" fmla="*/ 222281 h 237735"/>
                  <a:gd name="connsiteX201" fmla="*/ 112277 w 230008"/>
                  <a:gd name="connsiteY201" fmla="*/ 223948 h 237735"/>
                  <a:gd name="connsiteX202" fmla="*/ 110307 w 230008"/>
                  <a:gd name="connsiteY202" fmla="*/ 225311 h 237735"/>
                  <a:gd name="connsiteX203" fmla="*/ 109701 w 230008"/>
                  <a:gd name="connsiteY203" fmla="*/ 227281 h 237735"/>
                  <a:gd name="connsiteX204" fmla="*/ 110610 w 230008"/>
                  <a:gd name="connsiteY204" fmla="*/ 230614 h 237735"/>
                  <a:gd name="connsiteX205" fmla="*/ 122580 w 230008"/>
                  <a:gd name="connsiteY205" fmla="*/ 229554 h 237735"/>
                  <a:gd name="connsiteX206" fmla="*/ 132429 w 230008"/>
                  <a:gd name="connsiteY206" fmla="*/ 230766 h 237735"/>
                  <a:gd name="connsiteX207" fmla="*/ 143945 w 230008"/>
                  <a:gd name="connsiteY207" fmla="*/ 234100 h 237735"/>
                  <a:gd name="connsiteX208" fmla="*/ 151521 w 230008"/>
                  <a:gd name="connsiteY208" fmla="*/ 235312 h 237735"/>
                  <a:gd name="connsiteX209" fmla="*/ 155309 w 230008"/>
                  <a:gd name="connsiteY209" fmla="*/ 234251 h 237735"/>
                  <a:gd name="connsiteX210" fmla="*/ 158036 w 230008"/>
                  <a:gd name="connsiteY210" fmla="*/ 234403 h 237735"/>
                  <a:gd name="connsiteX211" fmla="*/ 159854 w 230008"/>
                  <a:gd name="connsiteY211" fmla="*/ 235615 h 237735"/>
                  <a:gd name="connsiteX212" fmla="*/ 162430 w 230008"/>
                  <a:gd name="connsiteY212" fmla="*/ 235918 h 237735"/>
                  <a:gd name="connsiteX213" fmla="*/ 165461 w 230008"/>
                  <a:gd name="connsiteY213" fmla="*/ 235160 h 237735"/>
                  <a:gd name="connsiteX214" fmla="*/ 168036 w 230008"/>
                  <a:gd name="connsiteY214" fmla="*/ 235766 h 237735"/>
                  <a:gd name="connsiteX215" fmla="*/ 170006 w 230008"/>
                  <a:gd name="connsiteY215" fmla="*/ 237736 h 237735"/>
                  <a:gd name="connsiteX216" fmla="*/ 171825 w 230008"/>
                  <a:gd name="connsiteY216" fmla="*/ 237281 h 237735"/>
                  <a:gd name="connsiteX217" fmla="*/ 173491 w 230008"/>
                  <a:gd name="connsiteY217" fmla="*/ 234403 h 237735"/>
                  <a:gd name="connsiteX218" fmla="*/ 175309 w 230008"/>
                  <a:gd name="connsiteY218" fmla="*/ 232281 h 237735"/>
                  <a:gd name="connsiteX219" fmla="*/ 177431 w 230008"/>
                  <a:gd name="connsiteY219" fmla="*/ 230918 h 237735"/>
                  <a:gd name="connsiteX220" fmla="*/ 180158 w 230008"/>
                  <a:gd name="connsiteY220" fmla="*/ 230463 h 237735"/>
                  <a:gd name="connsiteX221" fmla="*/ 183340 w 230008"/>
                  <a:gd name="connsiteY221" fmla="*/ 231069 h 237735"/>
                  <a:gd name="connsiteX222" fmla="*/ 185764 w 230008"/>
                  <a:gd name="connsiteY222" fmla="*/ 232130 h 237735"/>
                  <a:gd name="connsiteX223" fmla="*/ 187734 w 230008"/>
                  <a:gd name="connsiteY223" fmla="*/ 233645 h 237735"/>
                  <a:gd name="connsiteX224" fmla="*/ 189704 w 230008"/>
                  <a:gd name="connsiteY224" fmla="*/ 233645 h 237735"/>
                  <a:gd name="connsiteX225" fmla="*/ 191977 w 230008"/>
                  <a:gd name="connsiteY225" fmla="*/ 231978 h 237735"/>
                  <a:gd name="connsiteX226" fmla="*/ 193038 w 230008"/>
                  <a:gd name="connsiteY226" fmla="*/ 229857 h 237735"/>
                  <a:gd name="connsiteX227" fmla="*/ 192886 w 230008"/>
                  <a:gd name="connsiteY227" fmla="*/ 227584 h 237735"/>
                  <a:gd name="connsiteX228" fmla="*/ 193795 w 230008"/>
                  <a:gd name="connsiteY228" fmla="*/ 225917 h 237735"/>
                  <a:gd name="connsiteX229" fmla="*/ 195765 w 230008"/>
                  <a:gd name="connsiteY229" fmla="*/ 224857 h 237735"/>
                  <a:gd name="connsiteX230" fmla="*/ 196977 w 230008"/>
                  <a:gd name="connsiteY230" fmla="*/ 223493 h 237735"/>
                  <a:gd name="connsiteX231" fmla="*/ 197583 w 230008"/>
                  <a:gd name="connsiteY231" fmla="*/ 221675 h 237735"/>
                  <a:gd name="connsiteX232" fmla="*/ 199856 w 230008"/>
                  <a:gd name="connsiteY232" fmla="*/ 220614 h 237735"/>
                  <a:gd name="connsiteX233" fmla="*/ 203644 w 230008"/>
                  <a:gd name="connsiteY233" fmla="*/ 220311 h 237735"/>
                  <a:gd name="connsiteX234" fmla="*/ 205614 w 230008"/>
                  <a:gd name="connsiteY234" fmla="*/ 219402 h 237735"/>
                  <a:gd name="connsiteX235" fmla="*/ 205765 w 230008"/>
                  <a:gd name="connsiteY235" fmla="*/ 218190 h 237735"/>
                  <a:gd name="connsiteX236" fmla="*/ 206826 w 230008"/>
                  <a:gd name="connsiteY236" fmla="*/ 216978 h 237735"/>
                  <a:gd name="connsiteX237" fmla="*/ 208947 w 230008"/>
                  <a:gd name="connsiteY237" fmla="*/ 215766 h 237735"/>
                  <a:gd name="connsiteX238" fmla="*/ 210311 w 230008"/>
                  <a:gd name="connsiteY238" fmla="*/ 214402 h 237735"/>
                  <a:gd name="connsiteX239" fmla="*/ 211068 w 230008"/>
                  <a:gd name="connsiteY239" fmla="*/ 212735 h 237735"/>
                  <a:gd name="connsiteX240" fmla="*/ 212281 w 230008"/>
                  <a:gd name="connsiteY240" fmla="*/ 211674 h 237735"/>
                  <a:gd name="connsiteX241" fmla="*/ 214099 w 230008"/>
                  <a:gd name="connsiteY241" fmla="*/ 211220 h 237735"/>
                  <a:gd name="connsiteX242" fmla="*/ 216069 w 230008"/>
                  <a:gd name="connsiteY242" fmla="*/ 207735 h 237735"/>
                  <a:gd name="connsiteX243" fmla="*/ 218190 w 230008"/>
                  <a:gd name="connsiteY243" fmla="*/ 201219 h 237735"/>
                  <a:gd name="connsiteX244" fmla="*/ 219402 w 230008"/>
                  <a:gd name="connsiteY244" fmla="*/ 192431 h 237735"/>
                  <a:gd name="connsiteX245" fmla="*/ 219857 w 230008"/>
                  <a:gd name="connsiteY245" fmla="*/ 180007 h 237735"/>
                  <a:gd name="connsiteX246" fmla="*/ 220008 w 230008"/>
                  <a:gd name="connsiteY246" fmla="*/ 175764 h 237735"/>
                  <a:gd name="connsiteX247" fmla="*/ 223645 w 230008"/>
                  <a:gd name="connsiteY247" fmla="*/ 169552 h 237735"/>
                  <a:gd name="connsiteX248" fmla="*/ 224705 w 230008"/>
                  <a:gd name="connsiteY248" fmla="*/ 166673 h 237735"/>
                  <a:gd name="connsiteX249" fmla="*/ 224251 w 230008"/>
                  <a:gd name="connsiteY249" fmla="*/ 165158 h 237735"/>
                  <a:gd name="connsiteX250" fmla="*/ 225311 w 230008"/>
                  <a:gd name="connsiteY250" fmla="*/ 159400 h 237735"/>
                  <a:gd name="connsiteX251" fmla="*/ 228039 w 230008"/>
                  <a:gd name="connsiteY251" fmla="*/ 149551 h 237735"/>
                  <a:gd name="connsiteX252" fmla="*/ 228948 w 230008"/>
                  <a:gd name="connsiteY252" fmla="*/ 143187 h 237735"/>
                  <a:gd name="connsiteX253" fmla="*/ 228039 w 230008"/>
                  <a:gd name="connsiteY253" fmla="*/ 140157 h 237735"/>
                  <a:gd name="connsiteX254" fmla="*/ 227887 w 230008"/>
                  <a:gd name="connsiteY254" fmla="*/ 138035 h 237735"/>
                  <a:gd name="connsiteX255" fmla="*/ 229402 w 230008"/>
                  <a:gd name="connsiteY255" fmla="*/ 136217 h 23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230008" h="237735">
                    <a:moveTo>
                      <a:pt x="230008" y="135611"/>
                    </a:moveTo>
                    <a:lnTo>
                      <a:pt x="226524" y="133490"/>
                    </a:lnTo>
                    <a:lnTo>
                      <a:pt x="224554" y="131520"/>
                    </a:lnTo>
                    <a:lnTo>
                      <a:pt x="222130" y="130005"/>
                    </a:lnTo>
                    <a:lnTo>
                      <a:pt x="219554" y="128944"/>
                    </a:lnTo>
                    <a:lnTo>
                      <a:pt x="218341" y="129399"/>
                    </a:lnTo>
                    <a:lnTo>
                      <a:pt x="216978" y="130005"/>
                    </a:lnTo>
                    <a:lnTo>
                      <a:pt x="214250" y="131066"/>
                    </a:lnTo>
                    <a:lnTo>
                      <a:pt x="211371" y="132884"/>
                    </a:lnTo>
                    <a:lnTo>
                      <a:pt x="209705" y="133641"/>
                    </a:lnTo>
                    <a:lnTo>
                      <a:pt x="207129" y="134247"/>
                    </a:lnTo>
                    <a:lnTo>
                      <a:pt x="203947" y="134854"/>
                    </a:lnTo>
                    <a:lnTo>
                      <a:pt x="201523" y="134399"/>
                    </a:lnTo>
                    <a:lnTo>
                      <a:pt x="199250" y="134096"/>
                    </a:lnTo>
                    <a:lnTo>
                      <a:pt x="197886" y="132884"/>
                    </a:lnTo>
                    <a:lnTo>
                      <a:pt x="197128" y="130459"/>
                    </a:lnTo>
                    <a:lnTo>
                      <a:pt x="197128" y="128338"/>
                    </a:lnTo>
                    <a:lnTo>
                      <a:pt x="196674" y="125308"/>
                    </a:lnTo>
                    <a:lnTo>
                      <a:pt x="195159" y="123641"/>
                    </a:lnTo>
                    <a:lnTo>
                      <a:pt x="194553" y="122277"/>
                    </a:lnTo>
                    <a:lnTo>
                      <a:pt x="194553" y="120611"/>
                    </a:lnTo>
                    <a:lnTo>
                      <a:pt x="194704" y="118792"/>
                    </a:lnTo>
                    <a:lnTo>
                      <a:pt x="195159" y="117580"/>
                    </a:lnTo>
                    <a:lnTo>
                      <a:pt x="194856" y="115913"/>
                    </a:lnTo>
                    <a:lnTo>
                      <a:pt x="194098" y="114701"/>
                    </a:lnTo>
                    <a:lnTo>
                      <a:pt x="194250" y="112731"/>
                    </a:lnTo>
                    <a:lnTo>
                      <a:pt x="193947" y="110004"/>
                    </a:lnTo>
                    <a:lnTo>
                      <a:pt x="192886" y="108337"/>
                    </a:lnTo>
                    <a:lnTo>
                      <a:pt x="192280" y="106368"/>
                    </a:lnTo>
                    <a:lnTo>
                      <a:pt x="192280" y="104246"/>
                    </a:lnTo>
                    <a:lnTo>
                      <a:pt x="191522" y="102276"/>
                    </a:lnTo>
                    <a:lnTo>
                      <a:pt x="191371" y="100155"/>
                    </a:lnTo>
                    <a:lnTo>
                      <a:pt x="192128" y="98186"/>
                    </a:lnTo>
                    <a:lnTo>
                      <a:pt x="192431" y="96216"/>
                    </a:lnTo>
                    <a:lnTo>
                      <a:pt x="191522" y="94700"/>
                    </a:lnTo>
                    <a:lnTo>
                      <a:pt x="190007" y="93943"/>
                    </a:lnTo>
                    <a:lnTo>
                      <a:pt x="188946" y="91670"/>
                    </a:lnTo>
                    <a:lnTo>
                      <a:pt x="188643" y="88640"/>
                    </a:lnTo>
                    <a:lnTo>
                      <a:pt x="187431" y="87124"/>
                    </a:lnTo>
                    <a:lnTo>
                      <a:pt x="186067" y="85761"/>
                    </a:lnTo>
                    <a:lnTo>
                      <a:pt x="184552" y="85761"/>
                    </a:lnTo>
                    <a:lnTo>
                      <a:pt x="182128" y="85003"/>
                    </a:lnTo>
                    <a:lnTo>
                      <a:pt x="180158" y="85155"/>
                    </a:lnTo>
                    <a:lnTo>
                      <a:pt x="176673" y="85003"/>
                    </a:lnTo>
                    <a:lnTo>
                      <a:pt x="175158" y="84549"/>
                    </a:lnTo>
                    <a:lnTo>
                      <a:pt x="174400" y="83488"/>
                    </a:lnTo>
                    <a:lnTo>
                      <a:pt x="172279" y="82124"/>
                    </a:lnTo>
                    <a:lnTo>
                      <a:pt x="171067" y="79548"/>
                    </a:lnTo>
                    <a:lnTo>
                      <a:pt x="169703" y="79094"/>
                    </a:lnTo>
                    <a:lnTo>
                      <a:pt x="167582" y="79851"/>
                    </a:lnTo>
                    <a:lnTo>
                      <a:pt x="166824" y="80761"/>
                    </a:lnTo>
                    <a:lnTo>
                      <a:pt x="166067" y="82124"/>
                    </a:lnTo>
                    <a:lnTo>
                      <a:pt x="164552" y="83639"/>
                    </a:lnTo>
                    <a:lnTo>
                      <a:pt x="162733" y="83639"/>
                    </a:lnTo>
                    <a:lnTo>
                      <a:pt x="160764" y="84397"/>
                    </a:lnTo>
                    <a:lnTo>
                      <a:pt x="158794" y="84549"/>
                    </a:lnTo>
                    <a:lnTo>
                      <a:pt x="156369" y="84700"/>
                    </a:lnTo>
                    <a:lnTo>
                      <a:pt x="153793" y="83943"/>
                    </a:lnTo>
                    <a:lnTo>
                      <a:pt x="150612" y="83034"/>
                    </a:lnTo>
                    <a:lnTo>
                      <a:pt x="148036" y="82579"/>
                    </a:lnTo>
                    <a:lnTo>
                      <a:pt x="145460" y="83034"/>
                    </a:lnTo>
                    <a:lnTo>
                      <a:pt x="143793" y="82579"/>
                    </a:lnTo>
                    <a:lnTo>
                      <a:pt x="141520" y="82276"/>
                    </a:lnTo>
                    <a:lnTo>
                      <a:pt x="138945" y="82124"/>
                    </a:lnTo>
                    <a:lnTo>
                      <a:pt x="136975" y="80609"/>
                    </a:lnTo>
                    <a:lnTo>
                      <a:pt x="134853" y="79851"/>
                    </a:lnTo>
                    <a:lnTo>
                      <a:pt x="133641" y="80003"/>
                    </a:lnTo>
                    <a:lnTo>
                      <a:pt x="132126" y="81064"/>
                    </a:lnTo>
                    <a:lnTo>
                      <a:pt x="130459" y="80761"/>
                    </a:lnTo>
                    <a:lnTo>
                      <a:pt x="128490" y="80003"/>
                    </a:lnTo>
                    <a:lnTo>
                      <a:pt x="127580" y="78336"/>
                    </a:lnTo>
                    <a:lnTo>
                      <a:pt x="127732" y="77124"/>
                    </a:lnTo>
                    <a:lnTo>
                      <a:pt x="128186" y="76063"/>
                    </a:lnTo>
                    <a:lnTo>
                      <a:pt x="129096" y="74397"/>
                    </a:lnTo>
                    <a:lnTo>
                      <a:pt x="128641" y="72730"/>
                    </a:lnTo>
                    <a:lnTo>
                      <a:pt x="128793" y="71215"/>
                    </a:lnTo>
                    <a:lnTo>
                      <a:pt x="129096" y="69851"/>
                    </a:lnTo>
                    <a:lnTo>
                      <a:pt x="129550" y="68336"/>
                    </a:lnTo>
                    <a:lnTo>
                      <a:pt x="129247" y="66972"/>
                    </a:lnTo>
                    <a:lnTo>
                      <a:pt x="129096" y="65457"/>
                    </a:lnTo>
                    <a:lnTo>
                      <a:pt x="128944" y="64093"/>
                    </a:lnTo>
                    <a:lnTo>
                      <a:pt x="128641" y="62578"/>
                    </a:lnTo>
                    <a:lnTo>
                      <a:pt x="129853" y="60305"/>
                    </a:lnTo>
                    <a:lnTo>
                      <a:pt x="130763" y="58639"/>
                    </a:lnTo>
                    <a:lnTo>
                      <a:pt x="130156" y="57123"/>
                    </a:lnTo>
                    <a:lnTo>
                      <a:pt x="130308" y="56063"/>
                    </a:lnTo>
                    <a:lnTo>
                      <a:pt x="131065" y="54396"/>
                    </a:lnTo>
                    <a:lnTo>
                      <a:pt x="131974" y="52275"/>
                    </a:lnTo>
                    <a:lnTo>
                      <a:pt x="131823" y="48487"/>
                    </a:lnTo>
                    <a:lnTo>
                      <a:pt x="131065" y="46214"/>
                    </a:lnTo>
                    <a:lnTo>
                      <a:pt x="130156" y="45608"/>
                    </a:lnTo>
                    <a:lnTo>
                      <a:pt x="130005" y="44850"/>
                    </a:lnTo>
                    <a:lnTo>
                      <a:pt x="130308" y="43941"/>
                    </a:lnTo>
                    <a:lnTo>
                      <a:pt x="129853" y="43032"/>
                    </a:lnTo>
                    <a:lnTo>
                      <a:pt x="129702" y="42123"/>
                    </a:lnTo>
                    <a:lnTo>
                      <a:pt x="130156" y="41365"/>
                    </a:lnTo>
                    <a:lnTo>
                      <a:pt x="129550" y="39699"/>
                    </a:lnTo>
                    <a:lnTo>
                      <a:pt x="128186" y="39244"/>
                    </a:lnTo>
                    <a:lnTo>
                      <a:pt x="127732" y="38789"/>
                    </a:lnTo>
                    <a:lnTo>
                      <a:pt x="127277" y="36971"/>
                    </a:lnTo>
                    <a:lnTo>
                      <a:pt x="126974" y="34850"/>
                    </a:lnTo>
                    <a:lnTo>
                      <a:pt x="127126" y="33335"/>
                    </a:lnTo>
                    <a:lnTo>
                      <a:pt x="126520" y="31819"/>
                    </a:lnTo>
                    <a:lnTo>
                      <a:pt x="125611" y="31062"/>
                    </a:lnTo>
                    <a:lnTo>
                      <a:pt x="124702" y="29547"/>
                    </a:lnTo>
                    <a:lnTo>
                      <a:pt x="123792" y="28486"/>
                    </a:lnTo>
                    <a:lnTo>
                      <a:pt x="123489" y="26819"/>
                    </a:lnTo>
                    <a:lnTo>
                      <a:pt x="122883" y="24698"/>
                    </a:lnTo>
                    <a:lnTo>
                      <a:pt x="123338" y="20001"/>
                    </a:lnTo>
                    <a:lnTo>
                      <a:pt x="122883" y="16061"/>
                    </a:lnTo>
                    <a:lnTo>
                      <a:pt x="122277" y="15001"/>
                    </a:lnTo>
                    <a:lnTo>
                      <a:pt x="114247" y="10152"/>
                    </a:lnTo>
                    <a:lnTo>
                      <a:pt x="106974" y="5758"/>
                    </a:lnTo>
                    <a:lnTo>
                      <a:pt x="97428" y="0"/>
                    </a:lnTo>
                    <a:lnTo>
                      <a:pt x="85003" y="152"/>
                    </a:lnTo>
                    <a:lnTo>
                      <a:pt x="72275" y="303"/>
                    </a:lnTo>
                    <a:lnTo>
                      <a:pt x="60154" y="2879"/>
                    </a:lnTo>
                    <a:lnTo>
                      <a:pt x="48183" y="5303"/>
                    </a:lnTo>
                    <a:lnTo>
                      <a:pt x="42577" y="6516"/>
                    </a:lnTo>
                    <a:lnTo>
                      <a:pt x="31062" y="8940"/>
                    </a:lnTo>
                    <a:lnTo>
                      <a:pt x="24395" y="10152"/>
                    </a:lnTo>
                    <a:lnTo>
                      <a:pt x="22728" y="14698"/>
                    </a:lnTo>
                    <a:lnTo>
                      <a:pt x="20001" y="21668"/>
                    </a:lnTo>
                    <a:lnTo>
                      <a:pt x="17425" y="25759"/>
                    </a:lnTo>
                    <a:lnTo>
                      <a:pt x="14394" y="30001"/>
                    </a:lnTo>
                    <a:lnTo>
                      <a:pt x="10152" y="36062"/>
                    </a:lnTo>
                    <a:lnTo>
                      <a:pt x="10152" y="43335"/>
                    </a:lnTo>
                    <a:lnTo>
                      <a:pt x="10152" y="50305"/>
                    </a:lnTo>
                    <a:lnTo>
                      <a:pt x="7273" y="60154"/>
                    </a:lnTo>
                    <a:lnTo>
                      <a:pt x="4697" y="68487"/>
                    </a:lnTo>
                    <a:lnTo>
                      <a:pt x="2273" y="76670"/>
                    </a:lnTo>
                    <a:lnTo>
                      <a:pt x="606" y="82276"/>
                    </a:lnTo>
                    <a:lnTo>
                      <a:pt x="0" y="83639"/>
                    </a:lnTo>
                    <a:lnTo>
                      <a:pt x="606" y="84397"/>
                    </a:lnTo>
                    <a:lnTo>
                      <a:pt x="606" y="85306"/>
                    </a:lnTo>
                    <a:lnTo>
                      <a:pt x="3030" y="86973"/>
                    </a:lnTo>
                    <a:lnTo>
                      <a:pt x="7576" y="89549"/>
                    </a:lnTo>
                    <a:lnTo>
                      <a:pt x="11970" y="94398"/>
                    </a:lnTo>
                    <a:lnTo>
                      <a:pt x="15910" y="101822"/>
                    </a:lnTo>
                    <a:lnTo>
                      <a:pt x="19698" y="107277"/>
                    </a:lnTo>
                    <a:lnTo>
                      <a:pt x="23334" y="110762"/>
                    </a:lnTo>
                    <a:lnTo>
                      <a:pt x="26516" y="113338"/>
                    </a:lnTo>
                    <a:lnTo>
                      <a:pt x="29547" y="114701"/>
                    </a:lnTo>
                    <a:lnTo>
                      <a:pt x="31062" y="115913"/>
                    </a:lnTo>
                    <a:lnTo>
                      <a:pt x="31365" y="116823"/>
                    </a:lnTo>
                    <a:lnTo>
                      <a:pt x="34092" y="118641"/>
                    </a:lnTo>
                    <a:lnTo>
                      <a:pt x="39395" y="121520"/>
                    </a:lnTo>
                    <a:lnTo>
                      <a:pt x="42880" y="124399"/>
                    </a:lnTo>
                    <a:lnTo>
                      <a:pt x="44244" y="127278"/>
                    </a:lnTo>
                    <a:lnTo>
                      <a:pt x="49547" y="130308"/>
                    </a:lnTo>
                    <a:lnTo>
                      <a:pt x="58638" y="133338"/>
                    </a:lnTo>
                    <a:lnTo>
                      <a:pt x="65305" y="134702"/>
                    </a:lnTo>
                    <a:lnTo>
                      <a:pt x="69548" y="134550"/>
                    </a:lnTo>
                    <a:lnTo>
                      <a:pt x="75457" y="136975"/>
                    </a:lnTo>
                    <a:lnTo>
                      <a:pt x="83185" y="141975"/>
                    </a:lnTo>
                    <a:lnTo>
                      <a:pt x="87882" y="145460"/>
                    </a:lnTo>
                    <a:lnTo>
                      <a:pt x="89700" y="147430"/>
                    </a:lnTo>
                    <a:lnTo>
                      <a:pt x="94700" y="150612"/>
                    </a:lnTo>
                    <a:lnTo>
                      <a:pt x="107428" y="156975"/>
                    </a:lnTo>
                    <a:lnTo>
                      <a:pt x="113034" y="158642"/>
                    </a:lnTo>
                    <a:lnTo>
                      <a:pt x="115610" y="160157"/>
                    </a:lnTo>
                    <a:lnTo>
                      <a:pt x="117277" y="161976"/>
                    </a:lnTo>
                    <a:lnTo>
                      <a:pt x="118792" y="162582"/>
                    </a:lnTo>
                    <a:lnTo>
                      <a:pt x="120308" y="161824"/>
                    </a:lnTo>
                    <a:lnTo>
                      <a:pt x="123489" y="162582"/>
                    </a:lnTo>
                    <a:lnTo>
                      <a:pt x="128338" y="164703"/>
                    </a:lnTo>
                    <a:lnTo>
                      <a:pt x="132126" y="167127"/>
                    </a:lnTo>
                    <a:lnTo>
                      <a:pt x="136975" y="172734"/>
                    </a:lnTo>
                    <a:lnTo>
                      <a:pt x="138490" y="175006"/>
                    </a:lnTo>
                    <a:lnTo>
                      <a:pt x="139248" y="176976"/>
                    </a:lnTo>
                    <a:lnTo>
                      <a:pt x="138945" y="178643"/>
                    </a:lnTo>
                    <a:lnTo>
                      <a:pt x="137429" y="180613"/>
                    </a:lnTo>
                    <a:lnTo>
                      <a:pt x="134702" y="182582"/>
                    </a:lnTo>
                    <a:lnTo>
                      <a:pt x="133944" y="183492"/>
                    </a:lnTo>
                    <a:lnTo>
                      <a:pt x="133793" y="184249"/>
                    </a:lnTo>
                    <a:lnTo>
                      <a:pt x="133187" y="185916"/>
                    </a:lnTo>
                    <a:lnTo>
                      <a:pt x="130914" y="189553"/>
                    </a:lnTo>
                    <a:lnTo>
                      <a:pt x="130308" y="191219"/>
                    </a:lnTo>
                    <a:lnTo>
                      <a:pt x="130156" y="192431"/>
                    </a:lnTo>
                    <a:lnTo>
                      <a:pt x="128793" y="193795"/>
                    </a:lnTo>
                    <a:lnTo>
                      <a:pt x="125005" y="196371"/>
                    </a:lnTo>
                    <a:lnTo>
                      <a:pt x="124247" y="197583"/>
                    </a:lnTo>
                    <a:lnTo>
                      <a:pt x="123944" y="198795"/>
                    </a:lnTo>
                    <a:lnTo>
                      <a:pt x="123489" y="199553"/>
                    </a:lnTo>
                    <a:lnTo>
                      <a:pt x="123035" y="199856"/>
                    </a:lnTo>
                    <a:lnTo>
                      <a:pt x="122277" y="201219"/>
                    </a:lnTo>
                    <a:lnTo>
                      <a:pt x="121671" y="203341"/>
                    </a:lnTo>
                    <a:lnTo>
                      <a:pt x="121671" y="206220"/>
                    </a:lnTo>
                    <a:lnTo>
                      <a:pt x="122126" y="209553"/>
                    </a:lnTo>
                    <a:lnTo>
                      <a:pt x="121974" y="210614"/>
                    </a:lnTo>
                    <a:lnTo>
                      <a:pt x="121217" y="211220"/>
                    </a:lnTo>
                    <a:lnTo>
                      <a:pt x="120610" y="211978"/>
                    </a:lnTo>
                    <a:lnTo>
                      <a:pt x="120459" y="213644"/>
                    </a:lnTo>
                    <a:lnTo>
                      <a:pt x="119853" y="214705"/>
                    </a:lnTo>
                    <a:lnTo>
                      <a:pt x="118489" y="215462"/>
                    </a:lnTo>
                    <a:lnTo>
                      <a:pt x="118035" y="216372"/>
                    </a:lnTo>
                    <a:lnTo>
                      <a:pt x="118338" y="217281"/>
                    </a:lnTo>
                    <a:lnTo>
                      <a:pt x="117429" y="218190"/>
                    </a:lnTo>
                    <a:lnTo>
                      <a:pt x="115307" y="219250"/>
                    </a:lnTo>
                    <a:lnTo>
                      <a:pt x="113944" y="220614"/>
                    </a:lnTo>
                    <a:lnTo>
                      <a:pt x="113489" y="222281"/>
                    </a:lnTo>
                    <a:lnTo>
                      <a:pt x="112277" y="223948"/>
                    </a:lnTo>
                    <a:lnTo>
                      <a:pt x="110307" y="225311"/>
                    </a:lnTo>
                    <a:lnTo>
                      <a:pt x="109701" y="227281"/>
                    </a:lnTo>
                    <a:lnTo>
                      <a:pt x="110610" y="230614"/>
                    </a:lnTo>
                    <a:lnTo>
                      <a:pt x="122580" y="229554"/>
                    </a:lnTo>
                    <a:lnTo>
                      <a:pt x="132429" y="230766"/>
                    </a:lnTo>
                    <a:lnTo>
                      <a:pt x="143945" y="234100"/>
                    </a:lnTo>
                    <a:lnTo>
                      <a:pt x="151521" y="235312"/>
                    </a:lnTo>
                    <a:lnTo>
                      <a:pt x="155309" y="234251"/>
                    </a:lnTo>
                    <a:lnTo>
                      <a:pt x="158036" y="234403"/>
                    </a:lnTo>
                    <a:lnTo>
                      <a:pt x="159854" y="235615"/>
                    </a:lnTo>
                    <a:lnTo>
                      <a:pt x="162430" y="235918"/>
                    </a:lnTo>
                    <a:lnTo>
                      <a:pt x="165461" y="235160"/>
                    </a:lnTo>
                    <a:lnTo>
                      <a:pt x="168036" y="235766"/>
                    </a:lnTo>
                    <a:lnTo>
                      <a:pt x="170006" y="237736"/>
                    </a:lnTo>
                    <a:lnTo>
                      <a:pt x="171825" y="237281"/>
                    </a:lnTo>
                    <a:lnTo>
                      <a:pt x="173491" y="234403"/>
                    </a:lnTo>
                    <a:lnTo>
                      <a:pt x="175309" y="232281"/>
                    </a:lnTo>
                    <a:lnTo>
                      <a:pt x="177431" y="230918"/>
                    </a:lnTo>
                    <a:lnTo>
                      <a:pt x="180158" y="230463"/>
                    </a:lnTo>
                    <a:lnTo>
                      <a:pt x="183340" y="231069"/>
                    </a:lnTo>
                    <a:lnTo>
                      <a:pt x="185764" y="232130"/>
                    </a:lnTo>
                    <a:lnTo>
                      <a:pt x="187734" y="233645"/>
                    </a:lnTo>
                    <a:lnTo>
                      <a:pt x="189704" y="233645"/>
                    </a:lnTo>
                    <a:lnTo>
                      <a:pt x="191977" y="231978"/>
                    </a:lnTo>
                    <a:lnTo>
                      <a:pt x="193038" y="229857"/>
                    </a:lnTo>
                    <a:lnTo>
                      <a:pt x="192886" y="227584"/>
                    </a:lnTo>
                    <a:lnTo>
                      <a:pt x="193795" y="225917"/>
                    </a:lnTo>
                    <a:lnTo>
                      <a:pt x="195765" y="224857"/>
                    </a:lnTo>
                    <a:lnTo>
                      <a:pt x="196977" y="223493"/>
                    </a:lnTo>
                    <a:lnTo>
                      <a:pt x="197583" y="221675"/>
                    </a:lnTo>
                    <a:lnTo>
                      <a:pt x="199856" y="220614"/>
                    </a:lnTo>
                    <a:lnTo>
                      <a:pt x="203644" y="220311"/>
                    </a:lnTo>
                    <a:lnTo>
                      <a:pt x="205614" y="219402"/>
                    </a:lnTo>
                    <a:lnTo>
                      <a:pt x="205765" y="218190"/>
                    </a:lnTo>
                    <a:lnTo>
                      <a:pt x="206826" y="216978"/>
                    </a:lnTo>
                    <a:lnTo>
                      <a:pt x="208947" y="215766"/>
                    </a:lnTo>
                    <a:lnTo>
                      <a:pt x="210311" y="214402"/>
                    </a:lnTo>
                    <a:lnTo>
                      <a:pt x="211068" y="212735"/>
                    </a:lnTo>
                    <a:lnTo>
                      <a:pt x="212281" y="211674"/>
                    </a:lnTo>
                    <a:lnTo>
                      <a:pt x="214099" y="211220"/>
                    </a:lnTo>
                    <a:lnTo>
                      <a:pt x="216069" y="207735"/>
                    </a:lnTo>
                    <a:lnTo>
                      <a:pt x="218190" y="201219"/>
                    </a:lnTo>
                    <a:lnTo>
                      <a:pt x="219402" y="192431"/>
                    </a:lnTo>
                    <a:lnTo>
                      <a:pt x="219857" y="180007"/>
                    </a:lnTo>
                    <a:lnTo>
                      <a:pt x="220008" y="175764"/>
                    </a:lnTo>
                    <a:lnTo>
                      <a:pt x="223645" y="169552"/>
                    </a:lnTo>
                    <a:lnTo>
                      <a:pt x="224705" y="166673"/>
                    </a:lnTo>
                    <a:lnTo>
                      <a:pt x="224251" y="165158"/>
                    </a:lnTo>
                    <a:lnTo>
                      <a:pt x="225311" y="159400"/>
                    </a:lnTo>
                    <a:lnTo>
                      <a:pt x="228039" y="149551"/>
                    </a:lnTo>
                    <a:lnTo>
                      <a:pt x="228948" y="143187"/>
                    </a:lnTo>
                    <a:lnTo>
                      <a:pt x="228039" y="140157"/>
                    </a:lnTo>
                    <a:lnTo>
                      <a:pt x="227887" y="138035"/>
                    </a:lnTo>
                    <a:lnTo>
                      <a:pt x="229402" y="13621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9" name="Freeform: Shape 3178">
                <a:extLst>
                  <a:ext uri="{FF2B5EF4-FFF2-40B4-BE49-F238E27FC236}">
                    <a16:creationId xmlns:a16="http://schemas.microsoft.com/office/drawing/2014/main" id="{A78B8D1F-7BFA-4F11-BA07-F5806F77A3E8}"/>
                  </a:ext>
                </a:extLst>
              </p:cNvPr>
              <p:cNvSpPr/>
              <p:nvPr/>
            </p:nvSpPr>
            <p:spPr>
              <a:xfrm>
                <a:off x="9365212" y="4351985"/>
                <a:ext cx="96215" cy="128186"/>
              </a:xfrm>
              <a:custGeom>
                <a:avLst/>
                <a:gdLst>
                  <a:gd name="connsiteX0" fmla="*/ 454 w 96215"/>
                  <a:gd name="connsiteY0" fmla="*/ 127126 h 128186"/>
                  <a:gd name="connsiteX1" fmla="*/ 0 w 96215"/>
                  <a:gd name="connsiteY1" fmla="*/ 127580 h 128186"/>
                  <a:gd name="connsiteX2" fmla="*/ 0 w 96215"/>
                  <a:gd name="connsiteY2" fmla="*/ 128035 h 128186"/>
                  <a:gd name="connsiteX3" fmla="*/ 454 w 96215"/>
                  <a:gd name="connsiteY3" fmla="*/ 128187 h 128186"/>
                  <a:gd name="connsiteX4" fmla="*/ 1061 w 96215"/>
                  <a:gd name="connsiteY4" fmla="*/ 128035 h 128186"/>
                  <a:gd name="connsiteX5" fmla="*/ 1515 w 96215"/>
                  <a:gd name="connsiteY5" fmla="*/ 127580 h 128186"/>
                  <a:gd name="connsiteX6" fmla="*/ 1515 w 96215"/>
                  <a:gd name="connsiteY6" fmla="*/ 127277 h 128186"/>
                  <a:gd name="connsiteX7" fmla="*/ 1061 w 96215"/>
                  <a:gd name="connsiteY7" fmla="*/ 127126 h 128186"/>
                  <a:gd name="connsiteX8" fmla="*/ 454 w 96215"/>
                  <a:gd name="connsiteY8" fmla="*/ 127126 h 128186"/>
                  <a:gd name="connsiteX9" fmla="*/ 96064 w 96215"/>
                  <a:gd name="connsiteY9" fmla="*/ 0 h 128186"/>
                  <a:gd name="connsiteX10" fmla="*/ 94852 w 96215"/>
                  <a:gd name="connsiteY10" fmla="*/ 2424 h 128186"/>
                  <a:gd name="connsiteX11" fmla="*/ 94549 w 96215"/>
                  <a:gd name="connsiteY11" fmla="*/ 2576 h 128186"/>
                  <a:gd name="connsiteX12" fmla="*/ 93336 w 96215"/>
                  <a:gd name="connsiteY12" fmla="*/ 3182 h 128186"/>
                  <a:gd name="connsiteX13" fmla="*/ 92276 w 96215"/>
                  <a:gd name="connsiteY13" fmla="*/ 5000 h 128186"/>
                  <a:gd name="connsiteX14" fmla="*/ 91973 w 96215"/>
                  <a:gd name="connsiteY14" fmla="*/ 7425 h 128186"/>
                  <a:gd name="connsiteX15" fmla="*/ 92731 w 96215"/>
                  <a:gd name="connsiteY15" fmla="*/ 9546 h 128186"/>
                  <a:gd name="connsiteX16" fmla="*/ 94397 w 96215"/>
                  <a:gd name="connsiteY16" fmla="*/ 8940 h 128186"/>
                  <a:gd name="connsiteX17" fmla="*/ 94549 w 96215"/>
                  <a:gd name="connsiteY17" fmla="*/ 7425 h 128186"/>
                  <a:gd name="connsiteX18" fmla="*/ 95458 w 96215"/>
                  <a:gd name="connsiteY18" fmla="*/ 5758 h 128186"/>
                  <a:gd name="connsiteX19" fmla="*/ 96215 w 96215"/>
                  <a:gd name="connsiteY19" fmla="*/ 1364 h 128186"/>
                  <a:gd name="connsiteX20" fmla="*/ 96064 w 96215"/>
                  <a:gd name="connsiteY20" fmla="*/ 0 h 12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6215" h="128186">
                    <a:moveTo>
                      <a:pt x="454" y="127126"/>
                    </a:moveTo>
                    <a:lnTo>
                      <a:pt x="0" y="127580"/>
                    </a:lnTo>
                    <a:lnTo>
                      <a:pt x="0" y="128035"/>
                    </a:lnTo>
                    <a:lnTo>
                      <a:pt x="454" y="128187"/>
                    </a:lnTo>
                    <a:lnTo>
                      <a:pt x="1061" y="128035"/>
                    </a:lnTo>
                    <a:lnTo>
                      <a:pt x="1515" y="127580"/>
                    </a:lnTo>
                    <a:lnTo>
                      <a:pt x="1515" y="127277"/>
                    </a:lnTo>
                    <a:lnTo>
                      <a:pt x="1061" y="127126"/>
                    </a:lnTo>
                    <a:lnTo>
                      <a:pt x="454" y="127126"/>
                    </a:lnTo>
                    <a:close/>
                    <a:moveTo>
                      <a:pt x="96064" y="0"/>
                    </a:moveTo>
                    <a:lnTo>
                      <a:pt x="94852" y="2424"/>
                    </a:lnTo>
                    <a:lnTo>
                      <a:pt x="94549" y="2576"/>
                    </a:lnTo>
                    <a:lnTo>
                      <a:pt x="93336" y="3182"/>
                    </a:lnTo>
                    <a:lnTo>
                      <a:pt x="92276" y="5000"/>
                    </a:lnTo>
                    <a:lnTo>
                      <a:pt x="91973" y="7425"/>
                    </a:lnTo>
                    <a:lnTo>
                      <a:pt x="92731" y="9546"/>
                    </a:lnTo>
                    <a:lnTo>
                      <a:pt x="94397" y="8940"/>
                    </a:lnTo>
                    <a:lnTo>
                      <a:pt x="94549" y="7425"/>
                    </a:lnTo>
                    <a:lnTo>
                      <a:pt x="95458" y="5758"/>
                    </a:lnTo>
                    <a:lnTo>
                      <a:pt x="96215" y="1364"/>
                    </a:lnTo>
                    <a:lnTo>
                      <a:pt x="9606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0" name="Freeform: Shape 3179">
                <a:extLst>
                  <a:ext uri="{FF2B5EF4-FFF2-40B4-BE49-F238E27FC236}">
                    <a16:creationId xmlns:a16="http://schemas.microsoft.com/office/drawing/2014/main" id="{66CDAEA3-27DC-4EE2-908F-5A979AD6775F}"/>
                  </a:ext>
                </a:extLst>
              </p:cNvPr>
              <p:cNvSpPr/>
              <p:nvPr/>
            </p:nvSpPr>
            <p:spPr>
              <a:xfrm>
                <a:off x="4921259" y="3342555"/>
                <a:ext cx="686237" cy="298798"/>
              </a:xfrm>
              <a:custGeom>
                <a:avLst/>
                <a:gdLst>
                  <a:gd name="connsiteX0" fmla="*/ 110156 w 686237"/>
                  <a:gd name="connsiteY0" fmla="*/ 107731 h 298798"/>
                  <a:gd name="connsiteX1" fmla="*/ 107580 w 686237"/>
                  <a:gd name="connsiteY1" fmla="*/ 108186 h 298798"/>
                  <a:gd name="connsiteX2" fmla="*/ 106671 w 686237"/>
                  <a:gd name="connsiteY2" fmla="*/ 108944 h 298798"/>
                  <a:gd name="connsiteX3" fmla="*/ 107277 w 686237"/>
                  <a:gd name="connsiteY3" fmla="*/ 111065 h 298798"/>
                  <a:gd name="connsiteX4" fmla="*/ 108943 w 686237"/>
                  <a:gd name="connsiteY4" fmla="*/ 112277 h 298798"/>
                  <a:gd name="connsiteX5" fmla="*/ 114550 w 686237"/>
                  <a:gd name="connsiteY5" fmla="*/ 113186 h 298798"/>
                  <a:gd name="connsiteX6" fmla="*/ 115156 w 686237"/>
                  <a:gd name="connsiteY6" fmla="*/ 112883 h 298798"/>
                  <a:gd name="connsiteX7" fmla="*/ 116065 w 686237"/>
                  <a:gd name="connsiteY7" fmla="*/ 111822 h 298798"/>
                  <a:gd name="connsiteX8" fmla="*/ 116065 w 686237"/>
                  <a:gd name="connsiteY8" fmla="*/ 109853 h 298798"/>
                  <a:gd name="connsiteX9" fmla="*/ 113792 w 686237"/>
                  <a:gd name="connsiteY9" fmla="*/ 108337 h 298798"/>
                  <a:gd name="connsiteX10" fmla="*/ 110156 w 686237"/>
                  <a:gd name="connsiteY10" fmla="*/ 107731 h 298798"/>
                  <a:gd name="connsiteX11" fmla="*/ 78791 w 686237"/>
                  <a:gd name="connsiteY11" fmla="*/ 115610 h 298798"/>
                  <a:gd name="connsiteX12" fmla="*/ 75760 w 686237"/>
                  <a:gd name="connsiteY12" fmla="*/ 115610 h 298798"/>
                  <a:gd name="connsiteX13" fmla="*/ 74700 w 686237"/>
                  <a:gd name="connsiteY13" fmla="*/ 116671 h 298798"/>
                  <a:gd name="connsiteX14" fmla="*/ 75154 w 686237"/>
                  <a:gd name="connsiteY14" fmla="*/ 118489 h 298798"/>
                  <a:gd name="connsiteX15" fmla="*/ 77276 w 686237"/>
                  <a:gd name="connsiteY15" fmla="*/ 120156 h 298798"/>
                  <a:gd name="connsiteX16" fmla="*/ 80609 w 686237"/>
                  <a:gd name="connsiteY16" fmla="*/ 120004 h 298798"/>
                  <a:gd name="connsiteX17" fmla="*/ 83336 w 686237"/>
                  <a:gd name="connsiteY17" fmla="*/ 120914 h 298798"/>
                  <a:gd name="connsiteX18" fmla="*/ 84397 w 686237"/>
                  <a:gd name="connsiteY18" fmla="*/ 120308 h 298798"/>
                  <a:gd name="connsiteX19" fmla="*/ 87882 w 686237"/>
                  <a:gd name="connsiteY19" fmla="*/ 120004 h 298798"/>
                  <a:gd name="connsiteX20" fmla="*/ 85609 w 686237"/>
                  <a:gd name="connsiteY20" fmla="*/ 118792 h 298798"/>
                  <a:gd name="connsiteX21" fmla="*/ 78791 w 686237"/>
                  <a:gd name="connsiteY21" fmla="*/ 115610 h 298798"/>
                  <a:gd name="connsiteX22" fmla="*/ 71821 w 686237"/>
                  <a:gd name="connsiteY22" fmla="*/ 113792 h 298798"/>
                  <a:gd name="connsiteX23" fmla="*/ 70609 w 686237"/>
                  <a:gd name="connsiteY23" fmla="*/ 113034 h 298798"/>
                  <a:gd name="connsiteX24" fmla="*/ 66669 w 686237"/>
                  <a:gd name="connsiteY24" fmla="*/ 114247 h 298798"/>
                  <a:gd name="connsiteX25" fmla="*/ 69397 w 686237"/>
                  <a:gd name="connsiteY25" fmla="*/ 116671 h 298798"/>
                  <a:gd name="connsiteX26" fmla="*/ 72275 w 686237"/>
                  <a:gd name="connsiteY26" fmla="*/ 116520 h 298798"/>
                  <a:gd name="connsiteX27" fmla="*/ 73185 w 686237"/>
                  <a:gd name="connsiteY27" fmla="*/ 115762 h 298798"/>
                  <a:gd name="connsiteX28" fmla="*/ 72730 w 686237"/>
                  <a:gd name="connsiteY28" fmla="*/ 114701 h 298798"/>
                  <a:gd name="connsiteX29" fmla="*/ 71821 w 686237"/>
                  <a:gd name="connsiteY29" fmla="*/ 113792 h 298798"/>
                  <a:gd name="connsiteX30" fmla="*/ 2273 w 686237"/>
                  <a:gd name="connsiteY30" fmla="*/ 84852 h 298798"/>
                  <a:gd name="connsiteX31" fmla="*/ 606 w 686237"/>
                  <a:gd name="connsiteY31" fmla="*/ 85609 h 298798"/>
                  <a:gd name="connsiteX32" fmla="*/ 0 w 686237"/>
                  <a:gd name="connsiteY32" fmla="*/ 88943 h 298798"/>
                  <a:gd name="connsiteX33" fmla="*/ 758 w 686237"/>
                  <a:gd name="connsiteY33" fmla="*/ 89549 h 298798"/>
                  <a:gd name="connsiteX34" fmla="*/ 2879 w 686237"/>
                  <a:gd name="connsiteY34" fmla="*/ 90155 h 298798"/>
                  <a:gd name="connsiteX35" fmla="*/ 4091 w 686237"/>
                  <a:gd name="connsiteY35" fmla="*/ 88640 h 298798"/>
                  <a:gd name="connsiteX36" fmla="*/ 4091 w 686237"/>
                  <a:gd name="connsiteY36" fmla="*/ 86367 h 298798"/>
                  <a:gd name="connsiteX37" fmla="*/ 2273 w 686237"/>
                  <a:gd name="connsiteY37" fmla="*/ 84852 h 298798"/>
                  <a:gd name="connsiteX38" fmla="*/ 81367 w 686237"/>
                  <a:gd name="connsiteY38" fmla="*/ 109550 h 298798"/>
                  <a:gd name="connsiteX39" fmla="*/ 84700 w 686237"/>
                  <a:gd name="connsiteY39" fmla="*/ 112428 h 298798"/>
                  <a:gd name="connsiteX40" fmla="*/ 87276 w 686237"/>
                  <a:gd name="connsiteY40" fmla="*/ 113489 h 298798"/>
                  <a:gd name="connsiteX41" fmla="*/ 94549 w 686237"/>
                  <a:gd name="connsiteY41" fmla="*/ 115913 h 298798"/>
                  <a:gd name="connsiteX42" fmla="*/ 95913 w 686237"/>
                  <a:gd name="connsiteY42" fmla="*/ 115459 h 298798"/>
                  <a:gd name="connsiteX43" fmla="*/ 90912 w 686237"/>
                  <a:gd name="connsiteY43" fmla="*/ 112883 h 298798"/>
                  <a:gd name="connsiteX44" fmla="*/ 81367 w 686237"/>
                  <a:gd name="connsiteY44" fmla="*/ 109550 h 298798"/>
                  <a:gd name="connsiteX45" fmla="*/ 392742 w 686237"/>
                  <a:gd name="connsiteY45" fmla="*/ 293041 h 298798"/>
                  <a:gd name="connsiteX46" fmla="*/ 389257 w 686237"/>
                  <a:gd name="connsiteY46" fmla="*/ 293799 h 298798"/>
                  <a:gd name="connsiteX47" fmla="*/ 385469 w 686237"/>
                  <a:gd name="connsiteY47" fmla="*/ 292132 h 298798"/>
                  <a:gd name="connsiteX48" fmla="*/ 384105 w 686237"/>
                  <a:gd name="connsiteY48" fmla="*/ 293950 h 298798"/>
                  <a:gd name="connsiteX49" fmla="*/ 384560 w 686237"/>
                  <a:gd name="connsiteY49" fmla="*/ 295162 h 298798"/>
                  <a:gd name="connsiteX50" fmla="*/ 386075 w 686237"/>
                  <a:gd name="connsiteY50" fmla="*/ 296526 h 298798"/>
                  <a:gd name="connsiteX51" fmla="*/ 390318 w 686237"/>
                  <a:gd name="connsiteY51" fmla="*/ 298344 h 298798"/>
                  <a:gd name="connsiteX52" fmla="*/ 395318 w 686237"/>
                  <a:gd name="connsiteY52" fmla="*/ 298799 h 298798"/>
                  <a:gd name="connsiteX53" fmla="*/ 397287 w 686237"/>
                  <a:gd name="connsiteY53" fmla="*/ 296981 h 298798"/>
                  <a:gd name="connsiteX54" fmla="*/ 399257 w 686237"/>
                  <a:gd name="connsiteY54" fmla="*/ 295465 h 298798"/>
                  <a:gd name="connsiteX55" fmla="*/ 396985 w 686237"/>
                  <a:gd name="connsiteY55" fmla="*/ 295011 h 298798"/>
                  <a:gd name="connsiteX56" fmla="*/ 392742 w 686237"/>
                  <a:gd name="connsiteY56" fmla="*/ 293041 h 298798"/>
                  <a:gd name="connsiteX57" fmla="*/ 685632 w 686237"/>
                  <a:gd name="connsiteY57" fmla="*/ 18789 h 298798"/>
                  <a:gd name="connsiteX58" fmla="*/ 685025 w 686237"/>
                  <a:gd name="connsiteY58" fmla="*/ 17425 h 298798"/>
                  <a:gd name="connsiteX59" fmla="*/ 683207 w 686237"/>
                  <a:gd name="connsiteY59" fmla="*/ 16061 h 298798"/>
                  <a:gd name="connsiteX60" fmla="*/ 680934 w 686237"/>
                  <a:gd name="connsiteY60" fmla="*/ 15304 h 298798"/>
                  <a:gd name="connsiteX61" fmla="*/ 678358 w 686237"/>
                  <a:gd name="connsiteY61" fmla="*/ 15304 h 298798"/>
                  <a:gd name="connsiteX62" fmla="*/ 676844 w 686237"/>
                  <a:gd name="connsiteY62" fmla="*/ 15001 h 298798"/>
                  <a:gd name="connsiteX63" fmla="*/ 676389 w 686237"/>
                  <a:gd name="connsiteY63" fmla="*/ 13940 h 298798"/>
                  <a:gd name="connsiteX64" fmla="*/ 676540 w 686237"/>
                  <a:gd name="connsiteY64" fmla="*/ 11213 h 298798"/>
                  <a:gd name="connsiteX65" fmla="*/ 676389 w 686237"/>
                  <a:gd name="connsiteY65" fmla="*/ 8485 h 298798"/>
                  <a:gd name="connsiteX66" fmla="*/ 675934 w 686237"/>
                  <a:gd name="connsiteY66" fmla="*/ 7273 h 298798"/>
                  <a:gd name="connsiteX67" fmla="*/ 674722 w 686237"/>
                  <a:gd name="connsiteY67" fmla="*/ 6364 h 298798"/>
                  <a:gd name="connsiteX68" fmla="*/ 672449 w 686237"/>
                  <a:gd name="connsiteY68" fmla="*/ 6667 h 298798"/>
                  <a:gd name="connsiteX69" fmla="*/ 670479 w 686237"/>
                  <a:gd name="connsiteY69" fmla="*/ 5909 h 298798"/>
                  <a:gd name="connsiteX70" fmla="*/ 668964 w 686237"/>
                  <a:gd name="connsiteY70" fmla="*/ 5758 h 298798"/>
                  <a:gd name="connsiteX71" fmla="*/ 668055 w 686237"/>
                  <a:gd name="connsiteY71" fmla="*/ 6364 h 298798"/>
                  <a:gd name="connsiteX72" fmla="*/ 663510 w 686237"/>
                  <a:gd name="connsiteY72" fmla="*/ 6212 h 298798"/>
                  <a:gd name="connsiteX73" fmla="*/ 661691 w 686237"/>
                  <a:gd name="connsiteY73" fmla="*/ 5758 h 298798"/>
                  <a:gd name="connsiteX74" fmla="*/ 660327 w 686237"/>
                  <a:gd name="connsiteY74" fmla="*/ 5152 h 298798"/>
                  <a:gd name="connsiteX75" fmla="*/ 659418 w 686237"/>
                  <a:gd name="connsiteY75" fmla="*/ 5455 h 298798"/>
                  <a:gd name="connsiteX76" fmla="*/ 658964 w 686237"/>
                  <a:gd name="connsiteY76" fmla="*/ 6061 h 298798"/>
                  <a:gd name="connsiteX77" fmla="*/ 658813 w 686237"/>
                  <a:gd name="connsiteY77" fmla="*/ 6970 h 298798"/>
                  <a:gd name="connsiteX78" fmla="*/ 658509 w 686237"/>
                  <a:gd name="connsiteY78" fmla="*/ 8031 h 298798"/>
                  <a:gd name="connsiteX79" fmla="*/ 656843 w 686237"/>
                  <a:gd name="connsiteY79" fmla="*/ 9091 h 298798"/>
                  <a:gd name="connsiteX80" fmla="*/ 653206 w 686237"/>
                  <a:gd name="connsiteY80" fmla="*/ 10152 h 298798"/>
                  <a:gd name="connsiteX81" fmla="*/ 650176 w 686237"/>
                  <a:gd name="connsiteY81" fmla="*/ 10152 h 298798"/>
                  <a:gd name="connsiteX82" fmla="*/ 647448 w 686237"/>
                  <a:gd name="connsiteY82" fmla="*/ 9394 h 298798"/>
                  <a:gd name="connsiteX83" fmla="*/ 646539 w 686237"/>
                  <a:gd name="connsiteY83" fmla="*/ 8940 h 298798"/>
                  <a:gd name="connsiteX84" fmla="*/ 645175 w 686237"/>
                  <a:gd name="connsiteY84" fmla="*/ 8485 h 298798"/>
                  <a:gd name="connsiteX85" fmla="*/ 639569 w 686237"/>
                  <a:gd name="connsiteY85" fmla="*/ 9091 h 298798"/>
                  <a:gd name="connsiteX86" fmla="*/ 638963 w 686237"/>
                  <a:gd name="connsiteY86" fmla="*/ 8637 h 298798"/>
                  <a:gd name="connsiteX87" fmla="*/ 636993 w 686237"/>
                  <a:gd name="connsiteY87" fmla="*/ 9697 h 298798"/>
                  <a:gd name="connsiteX88" fmla="*/ 634115 w 686237"/>
                  <a:gd name="connsiteY88" fmla="*/ 10910 h 298798"/>
                  <a:gd name="connsiteX89" fmla="*/ 632599 w 686237"/>
                  <a:gd name="connsiteY89" fmla="*/ 10910 h 298798"/>
                  <a:gd name="connsiteX90" fmla="*/ 631993 w 686237"/>
                  <a:gd name="connsiteY90" fmla="*/ 10607 h 298798"/>
                  <a:gd name="connsiteX91" fmla="*/ 631842 w 686237"/>
                  <a:gd name="connsiteY91" fmla="*/ 10000 h 298798"/>
                  <a:gd name="connsiteX92" fmla="*/ 630629 w 686237"/>
                  <a:gd name="connsiteY92" fmla="*/ 8031 h 298798"/>
                  <a:gd name="connsiteX93" fmla="*/ 630932 w 686237"/>
                  <a:gd name="connsiteY93" fmla="*/ 6970 h 298798"/>
                  <a:gd name="connsiteX94" fmla="*/ 633205 w 686237"/>
                  <a:gd name="connsiteY94" fmla="*/ 3940 h 298798"/>
                  <a:gd name="connsiteX95" fmla="*/ 632902 w 686237"/>
                  <a:gd name="connsiteY95" fmla="*/ 3182 h 298798"/>
                  <a:gd name="connsiteX96" fmla="*/ 631993 w 686237"/>
                  <a:gd name="connsiteY96" fmla="*/ 2273 h 298798"/>
                  <a:gd name="connsiteX97" fmla="*/ 631084 w 686237"/>
                  <a:gd name="connsiteY97" fmla="*/ 909 h 298798"/>
                  <a:gd name="connsiteX98" fmla="*/ 630781 w 686237"/>
                  <a:gd name="connsiteY98" fmla="*/ 152 h 298798"/>
                  <a:gd name="connsiteX99" fmla="*/ 629266 w 686237"/>
                  <a:gd name="connsiteY99" fmla="*/ 0 h 298798"/>
                  <a:gd name="connsiteX100" fmla="*/ 627750 w 686237"/>
                  <a:gd name="connsiteY100" fmla="*/ 758 h 298798"/>
                  <a:gd name="connsiteX101" fmla="*/ 621841 w 686237"/>
                  <a:gd name="connsiteY101" fmla="*/ 2273 h 298798"/>
                  <a:gd name="connsiteX102" fmla="*/ 620478 w 686237"/>
                  <a:gd name="connsiteY102" fmla="*/ 2879 h 298798"/>
                  <a:gd name="connsiteX103" fmla="*/ 617902 w 686237"/>
                  <a:gd name="connsiteY103" fmla="*/ 4394 h 298798"/>
                  <a:gd name="connsiteX104" fmla="*/ 615326 w 686237"/>
                  <a:gd name="connsiteY104" fmla="*/ 6667 h 298798"/>
                  <a:gd name="connsiteX105" fmla="*/ 612598 w 686237"/>
                  <a:gd name="connsiteY105" fmla="*/ 10303 h 298798"/>
                  <a:gd name="connsiteX106" fmla="*/ 612296 w 686237"/>
                  <a:gd name="connsiteY106" fmla="*/ 12576 h 298798"/>
                  <a:gd name="connsiteX107" fmla="*/ 613356 w 686237"/>
                  <a:gd name="connsiteY107" fmla="*/ 14546 h 298798"/>
                  <a:gd name="connsiteX108" fmla="*/ 615780 w 686237"/>
                  <a:gd name="connsiteY108" fmla="*/ 14698 h 298798"/>
                  <a:gd name="connsiteX109" fmla="*/ 614265 w 686237"/>
                  <a:gd name="connsiteY109" fmla="*/ 16213 h 298798"/>
                  <a:gd name="connsiteX110" fmla="*/ 614417 w 686237"/>
                  <a:gd name="connsiteY110" fmla="*/ 19243 h 298798"/>
                  <a:gd name="connsiteX111" fmla="*/ 616235 w 686237"/>
                  <a:gd name="connsiteY111" fmla="*/ 28183 h 298798"/>
                  <a:gd name="connsiteX112" fmla="*/ 618053 w 686237"/>
                  <a:gd name="connsiteY112" fmla="*/ 32425 h 298798"/>
                  <a:gd name="connsiteX113" fmla="*/ 618508 w 686237"/>
                  <a:gd name="connsiteY113" fmla="*/ 34698 h 298798"/>
                  <a:gd name="connsiteX114" fmla="*/ 618659 w 686237"/>
                  <a:gd name="connsiteY114" fmla="*/ 36517 h 298798"/>
                  <a:gd name="connsiteX115" fmla="*/ 618205 w 686237"/>
                  <a:gd name="connsiteY115" fmla="*/ 40153 h 298798"/>
                  <a:gd name="connsiteX116" fmla="*/ 617902 w 686237"/>
                  <a:gd name="connsiteY116" fmla="*/ 45456 h 298798"/>
                  <a:gd name="connsiteX117" fmla="*/ 616690 w 686237"/>
                  <a:gd name="connsiteY117" fmla="*/ 48790 h 298798"/>
                  <a:gd name="connsiteX118" fmla="*/ 615629 w 686237"/>
                  <a:gd name="connsiteY118" fmla="*/ 50305 h 298798"/>
                  <a:gd name="connsiteX119" fmla="*/ 612902 w 686237"/>
                  <a:gd name="connsiteY119" fmla="*/ 61517 h 298798"/>
                  <a:gd name="connsiteX120" fmla="*/ 612447 w 686237"/>
                  <a:gd name="connsiteY120" fmla="*/ 64093 h 298798"/>
                  <a:gd name="connsiteX121" fmla="*/ 613356 w 686237"/>
                  <a:gd name="connsiteY121" fmla="*/ 65002 h 298798"/>
                  <a:gd name="connsiteX122" fmla="*/ 613659 w 686237"/>
                  <a:gd name="connsiteY122" fmla="*/ 66215 h 298798"/>
                  <a:gd name="connsiteX123" fmla="*/ 609114 w 686237"/>
                  <a:gd name="connsiteY123" fmla="*/ 75760 h 298798"/>
                  <a:gd name="connsiteX124" fmla="*/ 605174 w 686237"/>
                  <a:gd name="connsiteY124" fmla="*/ 84700 h 298798"/>
                  <a:gd name="connsiteX125" fmla="*/ 602295 w 686237"/>
                  <a:gd name="connsiteY125" fmla="*/ 88488 h 298798"/>
                  <a:gd name="connsiteX126" fmla="*/ 600477 w 686237"/>
                  <a:gd name="connsiteY126" fmla="*/ 89549 h 298798"/>
                  <a:gd name="connsiteX127" fmla="*/ 598962 w 686237"/>
                  <a:gd name="connsiteY127" fmla="*/ 91215 h 298798"/>
                  <a:gd name="connsiteX128" fmla="*/ 599416 w 686237"/>
                  <a:gd name="connsiteY128" fmla="*/ 92882 h 298798"/>
                  <a:gd name="connsiteX129" fmla="*/ 599568 w 686237"/>
                  <a:gd name="connsiteY129" fmla="*/ 94094 h 298798"/>
                  <a:gd name="connsiteX130" fmla="*/ 597901 w 686237"/>
                  <a:gd name="connsiteY130" fmla="*/ 98489 h 298798"/>
                  <a:gd name="connsiteX131" fmla="*/ 597446 w 686237"/>
                  <a:gd name="connsiteY131" fmla="*/ 103337 h 298798"/>
                  <a:gd name="connsiteX132" fmla="*/ 596234 w 686237"/>
                  <a:gd name="connsiteY132" fmla="*/ 106822 h 298798"/>
                  <a:gd name="connsiteX133" fmla="*/ 596083 w 686237"/>
                  <a:gd name="connsiteY133" fmla="*/ 108489 h 298798"/>
                  <a:gd name="connsiteX134" fmla="*/ 596234 w 686237"/>
                  <a:gd name="connsiteY134" fmla="*/ 110610 h 298798"/>
                  <a:gd name="connsiteX135" fmla="*/ 598053 w 686237"/>
                  <a:gd name="connsiteY135" fmla="*/ 111368 h 298798"/>
                  <a:gd name="connsiteX136" fmla="*/ 599568 w 686237"/>
                  <a:gd name="connsiteY136" fmla="*/ 111671 h 298798"/>
                  <a:gd name="connsiteX137" fmla="*/ 602447 w 686237"/>
                  <a:gd name="connsiteY137" fmla="*/ 111216 h 298798"/>
                  <a:gd name="connsiteX138" fmla="*/ 605629 w 686237"/>
                  <a:gd name="connsiteY138" fmla="*/ 110307 h 298798"/>
                  <a:gd name="connsiteX139" fmla="*/ 606841 w 686237"/>
                  <a:gd name="connsiteY139" fmla="*/ 107428 h 298798"/>
                  <a:gd name="connsiteX140" fmla="*/ 610629 w 686237"/>
                  <a:gd name="connsiteY140" fmla="*/ 101670 h 298798"/>
                  <a:gd name="connsiteX141" fmla="*/ 613053 w 686237"/>
                  <a:gd name="connsiteY141" fmla="*/ 100004 h 298798"/>
                  <a:gd name="connsiteX142" fmla="*/ 615174 w 686237"/>
                  <a:gd name="connsiteY142" fmla="*/ 99549 h 298798"/>
                  <a:gd name="connsiteX143" fmla="*/ 611235 w 686237"/>
                  <a:gd name="connsiteY143" fmla="*/ 102125 h 298798"/>
                  <a:gd name="connsiteX144" fmla="*/ 609568 w 686237"/>
                  <a:gd name="connsiteY144" fmla="*/ 105156 h 298798"/>
                  <a:gd name="connsiteX145" fmla="*/ 610174 w 686237"/>
                  <a:gd name="connsiteY145" fmla="*/ 108337 h 298798"/>
                  <a:gd name="connsiteX146" fmla="*/ 608962 w 686237"/>
                  <a:gd name="connsiteY146" fmla="*/ 110155 h 298798"/>
                  <a:gd name="connsiteX147" fmla="*/ 606992 w 686237"/>
                  <a:gd name="connsiteY147" fmla="*/ 111822 h 298798"/>
                  <a:gd name="connsiteX148" fmla="*/ 604719 w 686237"/>
                  <a:gd name="connsiteY148" fmla="*/ 112125 h 298798"/>
                  <a:gd name="connsiteX149" fmla="*/ 602750 w 686237"/>
                  <a:gd name="connsiteY149" fmla="*/ 113186 h 298798"/>
                  <a:gd name="connsiteX150" fmla="*/ 603962 w 686237"/>
                  <a:gd name="connsiteY150" fmla="*/ 116974 h 298798"/>
                  <a:gd name="connsiteX151" fmla="*/ 603659 w 686237"/>
                  <a:gd name="connsiteY151" fmla="*/ 119853 h 298798"/>
                  <a:gd name="connsiteX152" fmla="*/ 604416 w 686237"/>
                  <a:gd name="connsiteY152" fmla="*/ 120156 h 298798"/>
                  <a:gd name="connsiteX153" fmla="*/ 606841 w 686237"/>
                  <a:gd name="connsiteY153" fmla="*/ 119550 h 298798"/>
                  <a:gd name="connsiteX154" fmla="*/ 611841 w 686237"/>
                  <a:gd name="connsiteY154" fmla="*/ 117732 h 298798"/>
                  <a:gd name="connsiteX155" fmla="*/ 613356 w 686237"/>
                  <a:gd name="connsiteY155" fmla="*/ 117732 h 298798"/>
                  <a:gd name="connsiteX156" fmla="*/ 615023 w 686237"/>
                  <a:gd name="connsiteY156" fmla="*/ 117429 h 298798"/>
                  <a:gd name="connsiteX157" fmla="*/ 616841 w 686237"/>
                  <a:gd name="connsiteY157" fmla="*/ 118489 h 298798"/>
                  <a:gd name="connsiteX158" fmla="*/ 618659 w 686237"/>
                  <a:gd name="connsiteY158" fmla="*/ 120308 h 298798"/>
                  <a:gd name="connsiteX159" fmla="*/ 612902 w 686237"/>
                  <a:gd name="connsiteY159" fmla="*/ 119550 h 298798"/>
                  <a:gd name="connsiteX160" fmla="*/ 614871 w 686237"/>
                  <a:gd name="connsiteY160" fmla="*/ 124247 h 298798"/>
                  <a:gd name="connsiteX161" fmla="*/ 615174 w 686237"/>
                  <a:gd name="connsiteY161" fmla="*/ 127884 h 298798"/>
                  <a:gd name="connsiteX162" fmla="*/ 613053 w 686237"/>
                  <a:gd name="connsiteY162" fmla="*/ 135005 h 298798"/>
                  <a:gd name="connsiteX163" fmla="*/ 614568 w 686237"/>
                  <a:gd name="connsiteY163" fmla="*/ 137732 h 298798"/>
                  <a:gd name="connsiteX164" fmla="*/ 615477 w 686237"/>
                  <a:gd name="connsiteY164" fmla="*/ 142126 h 298798"/>
                  <a:gd name="connsiteX165" fmla="*/ 614720 w 686237"/>
                  <a:gd name="connsiteY165" fmla="*/ 146521 h 298798"/>
                  <a:gd name="connsiteX166" fmla="*/ 614871 w 686237"/>
                  <a:gd name="connsiteY166" fmla="*/ 151672 h 298798"/>
                  <a:gd name="connsiteX167" fmla="*/ 611841 w 686237"/>
                  <a:gd name="connsiteY167" fmla="*/ 160006 h 298798"/>
                  <a:gd name="connsiteX168" fmla="*/ 609871 w 686237"/>
                  <a:gd name="connsiteY168" fmla="*/ 164248 h 298798"/>
                  <a:gd name="connsiteX169" fmla="*/ 611538 w 686237"/>
                  <a:gd name="connsiteY169" fmla="*/ 164703 h 298798"/>
                  <a:gd name="connsiteX170" fmla="*/ 613962 w 686237"/>
                  <a:gd name="connsiteY170" fmla="*/ 162885 h 298798"/>
                  <a:gd name="connsiteX171" fmla="*/ 616993 w 686237"/>
                  <a:gd name="connsiteY171" fmla="*/ 162885 h 298798"/>
                  <a:gd name="connsiteX172" fmla="*/ 620932 w 686237"/>
                  <a:gd name="connsiteY172" fmla="*/ 161370 h 298798"/>
                  <a:gd name="connsiteX173" fmla="*/ 623962 w 686237"/>
                  <a:gd name="connsiteY173" fmla="*/ 161976 h 298798"/>
                  <a:gd name="connsiteX174" fmla="*/ 633508 w 686237"/>
                  <a:gd name="connsiteY174" fmla="*/ 162733 h 298798"/>
                  <a:gd name="connsiteX175" fmla="*/ 638963 w 686237"/>
                  <a:gd name="connsiteY175" fmla="*/ 165006 h 298798"/>
                  <a:gd name="connsiteX176" fmla="*/ 641842 w 686237"/>
                  <a:gd name="connsiteY176" fmla="*/ 165006 h 298798"/>
                  <a:gd name="connsiteX177" fmla="*/ 651085 w 686237"/>
                  <a:gd name="connsiteY177" fmla="*/ 159854 h 298798"/>
                  <a:gd name="connsiteX178" fmla="*/ 653509 w 686237"/>
                  <a:gd name="connsiteY178" fmla="*/ 159551 h 298798"/>
                  <a:gd name="connsiteX179" fmla="*/ 651842 w 686237"/>
                  <a:gd name="connsiteY179" fmla="*/ 151672 h 298798"/>
                  <a:gd name="connsiteX180" fmla="*/ 651085 w 686237"/>
                  <a:gd name="connsiteY180" fmla="*/ 148642 h 298798"/>
                  <a:gd name="connsiteX181" fmla="*/ 650933 w 686237"/>
                  <a:gd name="connsiteY181" fmla="*/ 146672 h 298798"/>
                  <a:gd name="connsiteX182" fmla="*/ 652600 w 686237"/>
                  <a:gd name="connsiteY182" fmla="*/ 142126 h 298798"/>
                  <a:gd name="connsiteX183" fmla="*/ 654418 w 686237"/>
                  <a:gd name="connsiteY183" fmla="*/ 140308 h 298798"/>
                  <a:gd name="connsiteX184" fmla="*/ 656843 w 686237"/>
                  <a:gd name="connsiteY184" fmla="*/ 136520 h 298798"/>
                  <a:gd name="connsiteX185" fmla="*/ 659722 w 686237"/>
                  <a:gd name="connsiteY185" fmla="*/ 133338 h 298798"/>
                  <a:gd name="connsiteX186" fmla="*/ 662752 w 686237"/>
                  <a:gd name="connsiteY186" fmla="*/ 132581 h 298798"/>
                  <a:gd name="connsiteX187" fmla="*/ 664115 w 686237"/>
                  <a:gd name="connsiteY187" fmla="*/ 132126 h 298798"/>
                  <a:gd name="connsiteX188" fmla="*/ 665328 w 686237"/>
                  <a:gd name="connsiteY188" fmla="*/ 129702 h 298798"/>
                  <a:gd name="connsiteX189" fmla="*/ 665934 w 686237"/>
                  <a:gd name="connsiteY189" fmla="*/ 127581 h 298798"/>
                  <a:gd name="connsiteX190" fmla="*/ 665479 w 686237"/>
                  <a:gd name="connsiteY190" fmla="*/ 127429 h 298798"/>
                  <a:gd name="connsiteX191" fmla="*/ 661843 w 686237"/>
                  <a:gd name="connsiteY191" fmla="*/ 127884 h 298798"/>
                  <a:gd name="connsiteX192" fmla="*/ 655327 w 686237"/>
                  <a:gd name="connsiteY192" fmla="*/ 119095 h 298798"/>
                  <a:gd name="connsiteX193" fmla="*/ 655479 w 686237"/>
                  <a:gd name="connsiteY193" fmla="*/ 117732 h 298798"/>
                  <a:gd name="connsiteX194" fmla="*/ 656236 w 686237"/>
                  <a:gd name="connsiteY194" fmla="*/ 115610 h 298798"/>
                  <a:gd name="connsiteX195" fmla="*/ 656843 w 686237"/>
                  <a:gd name="connsiteY195" fmla="*/ 113034 h 298798"/>
                  <a:gd name="connsiteX196" fmla="*/ 656994 w 686237"/>
                  <a:gd name="connsiteY196" fmla="*/ 110913 h 298798"/>
                  <a:gd name="connsiteX197" fmla="*/ 658661 w 686237"/>
                  <a:gd name="connsiteY197" fmla="*/ 109095 h 298798"/>
                  <a:gd name="connsiteX198" fmla="*/ 661236 w 686237"/>
                  <a:gd name="connsiteY198" fmla="*/ 107277 h 298798"/>
                  <a:gd name="connsiteX199" fmla="*/ 663358 w 686237"/>
                  <a:gd name="connsiteY199" fmla="*/ 104701 h 298798"/>
                  <a:gd name="connsiteX200" fmla="*/ 664419 w 686237"/>
                  <a:gd name="connsiteY200" fmla="*/ 102277 h 298798"/>
                  <a:gd name="connsiteX201" fmla="*/ 664722 w 686237"/>
                  <a:gd name="connsiteY201" fmla="*/ 100004 h 298798"/>
                  <a:gd name="connsiteX202" fmla="*/ 663510 w 686237"/>
                  <a:gd name="connsiteY202" fmla="*/ 98337 h 298798"/>
                  <a:gd name="connsiteX203" fmla="*/ 660024 w 686237"/>
                  <a:gd name="connsiteY203" fmla="*/ 97428 h 298798"/>
                  <a:gd name="connsiteX204" fmla="*/ 656388 w 686237"/>
                  <a:gd name="connsiteY204" fmla="*/ 90913 h 298798"/>
                  <a:gd name="connsiteX205" fmla="*/ 655630 w 686237"/>
                  <a:gd name="connsiteY205" fmla="*/ 86821 h 298798"/>
                  <a:gd name="connsiteX206" fmla="*/ 654873 w 686237"/>
                  <a:gd name="connsiteY206" fmla="*/ 86367 h 298798"/>
                  <a:gd name="connsiteX207" fmla="*/ 652600 w 686237"/>
                  <a:gd name="connsiteY207" fmla="*/ 84549 h 298798"/>
                  <a:gd name="connsiteX208" fmla="*/ 650479 w 686237"/>
                  <a:gd name="connsiteY208" fmla="*/ 81064 h 298798"/>
                  <a:gd name="connsiteX209" fmla="*/ 650176 w 686237"/>
                  <a:gd name="connsiteY209" fmla="*/ 80458 h 298798"/>
                  <a:gd name="connsiteX210" fmla="*/ 652448 w 686237"/>
                  <a:gd name="connsiteY210" fmla="*/ 79851 h 298798"/>
                  <a:gd name="connsiteX211" fmla="*/ 661691 w 686237"/>
                  <a:gd name="connsiteY211" fmla="*/ 79851 h 298798"/>
                  <a:gd name="connsiteX212" fmla="*/ 663661 w 686237"/>
                  <a:gd name="connsiteY212" fmla="*/ 79094 h 298798"/>
                  <a:gd name="connsiteX213" fmla="*/ 663964 w 686237"/>
                  <a:gd name="connsiteY213" fmla="*/ 78791 h 298798"/>
                  <a:gd name="connsiteX214" fmla="*/ 665631 w 686237"/>
                  <a:gd name="connsiteY214" fmla="*/ 76063 h 298798"/>
                  <a:gd name="connsiteX215" fmla="*/ 667449 w 686237"/>
                  <a:gd name="connsiteY215" fmla="*/ 71669 h 298798"/>
                  <a:gd name="connsiteX216" fmla="*/ 667903 w 686237"/>
                  <a:gd name="connsiteY216" fmla="*/ 68942 h 298798"/>
                  <a:gd name="connsiteX217" fmla="*/ 667298 w 686237"/>
                  <a:gd name="connsiteY217" fmla="*/ 67881 h 298798"/>
                  <a:gd name="connsiteX218" fmla="*/ 664267 w 686237"/>
                  <a:gd name="connsiteY218" fmla="*/ 65154 h 298798"/>
                  <a:gd name="connsiteX219" fmla="*/ 664115 w 686237"/>
                  <a:gd name="connsiteY219" fmla="*/ 64396 h 298798"/>
                  <a:gd name="connsiteX220" fmla="*/ 664570 w 686237"/>
                  <a:gd name="connsiteY220" fmla="*/ 63033 h 298798"/>
                  <a:gd name="connsiteX221" fmla="*/ 666389 w 686237"/>
                  <a:gd name="connsiteY221" fmla="*/ 61669 h 298798"/>
                  <a:gd name="connsiteX222" fmla="*/ 668812 w 686237"/>
                  <a:gd name="connsiteY222" fmla="*/ 60154 h 298798"/>
                  <a:gd name="connsiteX223" fmla="*/ 670177 w 686237"/>
                  <a:gd name="connsiteY223" fmla="*/ 58790 h 298798"/>
                  <a:gd name="connsiteX224" fmla="*/ 669873 w 686237"/>
                  <a:gd name="connsiteY224" fmla="*/ 57729 h 298798"/>
                  <a:gd name="connsiteX225" fmla="*/ 669116 w 686237"/>
                  <a:gd name="connsiteY225" fmla="*/ 56669 h 298798"/>
                  <a:gd name="connsiteX226" fmla="*/ 668964 w 686237"/>
                  <a:gd name="connsiteY226" fmla="*/ 55608 h 298798"/>
                  <a:gd name="connsiteX227" fmla="*/ 669419 w 686237"/>
                  <a:gd name="connsiteY227" fmla="*/ 54245 h 298798"/>
                  <a:gd name="connsiteX228" fmla="*/ 669570 w 686237"/>
                  <a:gd name="connsiteY228" fmla="*/ 49850 h 298798"/>
                  <a:gd name="connsiteX229" fmla="*/ 669873 w 686237"/>
                  <a:gd name="connsiteY229" fmla="*/ 48790 h 298798"/>
                  <a:gd name="connsiteX230" fmla="*/ 669419 w 686237"/>
                  <a:gd name="connsiteY230" fmla="*/ 44850 h 298798"/>
                  <a:gd name="connsiteX231" fmla="*/ 668812 w 686237"/>
                  <a:gd name="connsiteY231" fmla="*/ 41517 h 298798"/>
                  <a:gd name="connsiteX232" fmla="*/ 666843 w 686237"/>
                  <a:gd name="connsiteY232" fmla="*/ 37274 h 298798"/>
                  <a:gd name="connsiteX233" fmla="*/ 667146 w 686237"/>
                  <a:gd name="connsiteY233" fmla="*/ 36365 h 298798"/>
                  <a:gd name="connsiteX234" fmla="*/ 668055 w 686237"/>
                  <a:gd name="connsiteY234" fmla="*/ 35607 h 298798"/>
                  <a:gd name="connsiteX235" fmla="*/ 670934 w 686237"/>
                  <a:gd name="connsiteY235" fmla="*/ 34092 h 298798"/>
                  <a:gd name="connsiteX236" fmla="*/ 673207 w 686237"/>
                  <a:gd name="connsiteY236" fmla="*/ 30607 h 298798"/>
                  <a:gd name="connsiteX237" fmla="*/ 676540 w 686237"/>
                  <a:gd name="connsiteY237" fmla="*/ 27728 h 298798"/>
                  <a:gd name="connsiteX238" fmla="*/ 680934 w 686237"/>
                  <a:gd name="connsiteY238" fmla="*/ 25455 h 298798"/>
                  <a:gd name="connsiteX239" fmla="*/ 684116 w 686237"/>
                  <a:gd name="connsiteY239" fmla="*/ 22880 h 298798"/>
                  <a:gd name="connsiteX240" fmla="*/ 685329 w 686237"/>
                  <a:gd name="connsiteY240" fmla="*/ 20910 h 298798"/>
                  <a:gd name="connsiteX241" fmla="*/ 686238 w 686237"/>
                  <a:gd name="connsiteY241" fmla="*/ 20455 h 298798"/>
                  <a:gd name="connsiteX242" fmla="*/ 685632 w 686237"/>
                  <a:gd name="connsiteY242" fmla="*/ 18789 h 298798"/>
                  <a:gd name="connsiteX243" fmla="*/ 169703 w 686237"/>
                  <a:gd name="connsiteY243" fmla="*/ 163945 h 298798"/>
                  <a:gd name="connsiteX244" fmla="*/ 167430 w 686237"/>
                  <a:gd name="connsiteY244" fmla="*/ 164097 h 298798"/>
                  <a:gd name="connsiteX245" fmla="*/ 166521 w 686237"/>
                  <a:gd name="connsiteY245" fmla="*/ 164854 h 298798"/>
                  <a:gd name="connsiteX246" fmla="*/ 167582 w 686237"/>
                  <a:gd name="connsiteY246" fmla="*/ 166521 h 298798"/>
                  <a:gd name="connsiteX247" fmla="*/ 169552 w 686237"/>
                  <a:gd name="connsiteY247" fmla="*/ 166370 h 298798"/>
                  <a:gd name="connsiteX248" fmla="*/ 171067 w 686237"/>
                  <a:gd name="connsiteY248" fmla="*/ 166673 h 298798"/>
                  <a:gd name="connsiteX249" fmla="*/ 171218 w 686237"/>
                  <a:gd name="connsiteY249" fmla="*/ 166067 h 298798"/>
                  <a:gd name="connsiteX250" fmla="*/ 170764 w 686237"/>
                  <a:gd name="connsiteY250" fmla="*/ 164854 h 298798"/>
                  <a:gd name="connsiteX251" fmla="*/ 169703 w 686237"/>
                  <a:gd name="connsiteY251" fmla="*/ 163945 h 298798"/>
                  <a:gd name="connsiteX252" fmla="*/ 166976 w 686237"/>
                  <a:gd name="connsiteY252" fmla="*/ 138338 h 298798"/>
                  <a:gd name="connsiteX253" fmla="*/ 164703 w 686237"/>
                  <a:gd name="connsiteY253" fmla="*/ 138035 h 298798"/>
                  <a:gd name="connsiteX254" fmla="*/ 155915 w 686237"/>
                  <a:gd name="connsiteY254" fmla="*/ 138490 h 298798"/>
                  <a:gd name="connsiteX255" fmla="*/ 154248 w 686237"/>
                  <a:gd name="connsiteY255" fmla="*/ 138338 h 298798"/>
                  <a:gd name="connsiteX256" fmla="*/ 150612 w 686237"/>
                  <a:gd name="connsiteY256" fmla="*/ 136066 h 298798"/>
                  <a:gd name="connsiteX257" fmla="*/ 148945 w 686237"/>
                  <a:gd name="connsiteY257" fmla="*/ 136672 h 298798"/>
                  <a:gd name="connsiteX258" fmla="*/ 148945 w 686237"/>
                  <a:gd name="connsiteY258" fmla="*/ 137429 h 298798"/>
                  <a:gd name="connsiteX259" fmla="*/ 149399 w 686237"/>
                  <a:gd name="connsiteY259" fmla="*/ 138945 h 298798"/>
                  <a:gd name="connsiteX260" fmla="*/ 152127 w 686237"/>
                  <a:gd name="connsiteY260" fmla="*/ 140914 h 298798"/>
                  <a:gd name="connsiteX261" fmla="*/ 160158 w 686237"/>
                  <a:gd name="connsiteY261" fmla="*/ 142429 h 298798"/>
                  <a:gd name="connsiteX262" fmla="*/ 165309 w 686237"/>
                  <a:gd name="connsiteY262" fmla="*/ 141823 h 298798"/>
                  <a:gd name="connsiteX263" fmla="*/ 166976 w 686237"/>
                  <a:gd name="connsiteY263" fmla="*/ 140914 h 298798"/>
                  <a:gd name="connsiteX264" fmla="*/ 166976 w 686237"/>
                  <a:gd name="connsiteY264" fmla="*/ 138338 h 29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686237" h="298798">
                    <a:moveTo>
                      <a:pt x="110156" y="107731"/>
                    </a:moveTo>
                    <a:lnTo>
                      <a:pt x="107580" y="108186"/>
                    </a:lnTo>
                    <a:lnTo>
                      <a:pt x="106671" y="108944"/>
                    </a:lnTo>
                    <a:lnTo>
                      <a:pt x="107277" y="111065"/>
                    </a:lnTo>
                    <a:lnTo>
                      <a:pt x="108943" y="112277"/>
                    </a:lnTo>
                    <a:lnTo>
                      <a:pt x="114550" y="113186"/>
                    </a:lnTo>
                    <a:lnTo>
                      <a:pt x="115156" y="112883"/>
                    </a:lnTo>
                    <a:lnTo>
                      <a:pt x="116065" y="111822"/>
                    </a:lnTo>
                    <a:lnTo>
                      <a:pt x="116065" y="109853"/>
                    </a:lnTo>
                    <a:lnTo>
                      <a:pt x="113792" y="108337"/>
                    </a:lnTo>
                    <a:lnTo>
                      <a:pt x="110156" y="107731"/>
                    </a:lnTo>
                    <a:close/>
                    <a:moveTo>
                      <a:pt x="78791" y="115610"/>
                    </a:moveTo>
                    <a:lnTo>
                      <a:pt x="75760" y="115610"/>
                    </a:lnTo>
                    <a:lnTo>
                      <a:pt x="74700" y="116671"/>
                    </a:lnTo>
                    <a:lnTo>
                      <a:pt x="75154" y="118489"/>
                    </a:lnTo>
                    <a:lnTo>
                      <a:pt x="77276" y="120156"/>
                    </a:lnTo>
                    <a:lnTo>
                      <a:pt x="80609" y="120004"/>
                    </a:lnTo>
                    <a:lnTo>
                      <a:pt x="83336" y="120914"/>
                    </a:lnTo>
                    <a:lnTo>
                      <a:pt x="84397" y="120308"/>
                    </a:lnTo>
                    <a:lnTo>
                      <a:pt x="87882" y="120004"/>
                    </a:lnTo>
                    <a:lnTo>
                      <a:pt x="85609" y="118792"/>
                    </a:lnTo>
                    <a:lnTo>
                      <a:pt x="78791" y="115610"/>
                    </a:lnTo>
                    <a:close/>
                    <a:moveTo>
                      <a:pt x="71821" y="113792"/>
                    </a:moveTo>
                    <a:lnTo>
                      <a:pt x="70609" y="113034"/>
                    </a:lnTo>
                    <a:lnTo>
                      <a:pt x="66669" y="114247"/>
                    </a:lnTo>
                    <a:lnTo>
                      <a:pt x="69397" y="116671"/>
                    </a:lnTo>
                    <a:lnTo>
                      <a:pt x="72275" y="116520"/>
                    </a:lnTo>
                    <a:lnTo>
                      <a:pt x="73185" y="115762"/>
                    </a:lnTo>
                    <a:lnTo>
                      <a:pt x="72730" y="114701"/>
                    </a:lnTo>
                    <a:lnTo>
                      <a:pt x="71821" y="113792"/>
                    </a:lnTo>
                    <a:close/>
                    <a:moveTo>
                      <a:pt x="2273" y="84852"/>
                    </a:moveTo>
                    <a:lnTo>
                      <a:pt x="606" y="85609"/>
                    </a:lnTo>
                    <a:lnTo>
                      <a:pt x="0" y="88943"/>
                    </a:lnTo>
                    <a:lnTo>
                      <a:pt x="758" y="89549"/>
                    </a:lnTo>
                    <a:lnTo>
                      <a:pt x="2879" y="90155"/>
                    </a:lnTo>
                    <a:lnTo>
                      <a:pt x="4091" y="88640"/>
                    </a:lnTo>
                    <a:lnTo>
                      <a:pt x="4091" y="86367"/>
                    </a:lnTo>
                    <a:lnTo>
                      <a:pt x="2273" y="84852"/>
                    </a:lnTo>
                    <a:close/>
                    <a:moveTo>
                      <a:pt x="81367" y="109550"/>
                    </a:moveTo>
                    <a:lnTo>
                      <a:pt x="84700" y="112428"/>
                    </a:lnTo>
                    <a:lnTo>
                      <a:pt x="87276" y="113489"/>
                    </a:lnTo>
                    <a:lnTo>
                      <a:pt x="94549" y="115913"/>
                    </a:lnTo>
                    <a:lnTo>
                      <a:pt x="95913" y="115459"/>
                    </a:lnTo>
                    <a:lnTo>
                      <a:pt x="90912" y="112883"/>
                    </a:lnTo>
                    <a:lnTo>
                      <a:pt x="81367" y="109550"/>
                    </a:lnTo>
                    <a:close/>
                    <a:moveTo>
                      <a:pt x="392742" y="293041"/>
                    </a:moveTo>
                    <a:lnTo>
                      <a:pt x="389257" y="293799"/>
                    </a:lnTo>
                    <a:lnTo>
                      <a:pt x="385469" y="292132"/>
                    </a:lnTo>
                    <a:lnTo>
                      <a:pt x="384105" y="293950"/>
                    </a:lnTo>
                    <a:lnTo>
                      <a:pt x="384560" y="295162"/>
                    </a:lnTo>
                    <a:lnTo>
                      <a:pt x="386075" y="296526"/>
                    </a:lnTo>
                    <a:lnTo>
                      <a:pt x="390318" y="298344"/>
                    </a:lnTo>
                    <a:lnTo>
                      <a:pt x="395318" y="298799"/>
                    </a:lnTo>
                    <a:lnTo>
                      <a:pt x="397287" y="296981"/>
                    </a:lnTo>
                    <a:lnTo>
                      <a:pt x="399257" y="295465"/>
                    </a:lnTo>
                    <a:lnTo>
                      <a:pt x="396985" y="295011"/>
                    </a:lnTo>
                    <a:lnTo>
                      <a:pt x="392742" y="293041"/>
                    </a:lnTo>
                    <a:close/>
                    <a:moveTo>
                      <a:pt x="685632" y="18789"/>
                    </a:moveTo>
                    <a:lnTo>
                      <a:pt x="685025" y="17425"/>
                    </a:lnTo>
                    <a:lnTo>
                      <a:pt x="683207" y="16061"/>
                    </a:lnTo>
                    <a:lnTo>
                      <a:pt x="680934" y="15304"/>
                    </a:lnTo>
                    <a:lnTo>
                      <a:pt x="678358" y="15304"/>
                    </a:lnTo>
                    <a:lnTo>
                      <a:pt x="676844" y="15001"/>
                    </a:lnTo>
                    <a:lnTo>
                      <a:pt x="676389" y="13940"/>
                    </a:lnTo>
                    <a:lnTo>
                      <a:pt x="676540" y="11213"/>
                    </a:lnTo>
                    <a:lnTo>
                      <a:pt x="676389" y="8485"/>
                    </a:lnTo>
                    <a:lnTo>
                      <a:pt x="675934" y="7273"/>
                    </a:lnTo>
                    <a:lnTo>
                      <a:pt x="674722" y="6364"/>
                    </a:lnTo>
                    <a:lnTo>
                      <a:pt x="672449" y="6667"/>
                    </a:lnTo>
                    <a:lnTo>
                      <a:pt x="670479" y="5909"/>
                    </a:lnTo>
                    <a:lnTo>
                      <a:pt x="668964" y="5758"/>
                    </a:lnTo>
                    <a:lnTo>
                      <a:pt x="668055" y="6364"/>
                    </a:lnTo>
                    <a:lnTo>
                      <a:pt x="663510" y="6212"/>
                    </a:lnTo>
                    <a:lnTo>
                      <a:pt x="661691" y="5758"/>
                    </a:lnTo>
                    <a:lnTo>
                      <a:pt x="660327" y="5152"/>
                    </a:lnTo>
                    <a:lnTo>
                      <a:pt x="659418" y="5455"/>
                    </a:lnTo>
                    <a:lnTo>
                      <a:pt x="658964" y="6061"/>
                    </a:lnTo>
                    <a:lnTo>
                      <a:pt x="658813" y="6970"/>
                    </a:lnTo>
                    <a:lnTo>
                      <a:pt x="658509" y="8031"/>
                    </a:lnTo>
                    <a:lnTo>
                      <a:pt x="656843" y="9091"/>
                    </a:lnTo>
                    <a:lnTo>
                      <a:pt x="653206" y="10152"/>
                    </a:lnTo>
                    <a:lnTo>
                      <a:pt x="650176" y="10152"/>
                    </a:lnTo>
                    <a:lnTo>
                      <a:pt x="647448" y="9394"/>
                    </a:lnTo>
                    <a:lnTo>
                      <a:pt x="646539" y="8940"/>
                    </a:lnTo>
                    <a:lnTo>
                      <a:pt x="645175" y="8485"/>
                    </a:lnTo>
                    <a:lnTo>
                      <a:pt x="639569" y="9091"/>
                    </a:lnTo>
                    <a:lnTo>
                      <a:pt x="638963" y="8637"/>
                    </a:lnTo>
                    <a:lnTo>
                      <a:pt x="636993" y="9697"/>
                    </a:lnTo>
                    <a:lnTo>
                      <a:pt x="634115" y="10910"/>
                    </a:lnTo>
                    <a:lnTo>
                      <a:pt x="632599" y="10910"/>
                    </a:lnTo>
                    <a:lnTo>
                      <a:pt x="631993" y="10607"/>
                    </a:lnTo>
                    <a:lnTo>
                      <a:pt x="631842" y="10000"/>
                    </a:lnTo>
                    <a:lnTo>
                      <a:pt x="630629" y="8031"/>
                    </a:lnTo>
                    <a:lnTo>
                      <a:pt x="630932" y="6970"/>
                    </a:lnTo>
                    <a:lnTo>
                      <a:pt x="633205" y="3940"/>
                    </a:lnTo>
                    <a:lnTo>
                      <a:pt x="632902" y="3182"/>
                    </a:lnTo>
                    <a:lnTo>
                      <a:pt x="631993" y="2273"/>
                    </a:lnTo>
                    <a:lnTo>
                      <a:pt x="631084" y="909"/>
                    </a:lnTo>
                    <a:lnTo>
                      <a:pt x="630781" y="152"/>
                    </a:lnTo>
                    <a:lnTo>
                      <a:pt x="629266" y="0"/>
                    </a:lnTo>
                    <a:lnTo>
                      <a:pt x="627750" y="758"/>
                    </a:lnTo>
                    <a:lnTo>
                      <a:pt x="621841" y="2273"/>
                    </a:lnTo>
                    <a:lnTo>
                      <a:pt x="620478" y="2879"/>
                    </a:lnTo>
                    <a:lnTo>
                      <a:pt x="617902" y="4394"/>
                    </a:lnTo>
                    <a:lnTo>
                      <a:pt x="615326" y="6667"/>
                    </a:lnTo>
                    <a:lnTo>
                      <a:pt x="612598" y="10303"/>
                    </a:lnTo>
                    <a:lnTo>
                      <a:pt x="612296" y="12576"/>
                    </a:lnTo>
                    <a:lnTo>
                      <a:pt x="613356" y="14546"/>
                    </a:lnTo>
                    <a:lnTo>
                      <a:pt x="615780" y="14698"/>
                    </a:lnTo>
                    <a:lnTo>
                      <a:pt x="614265" y="16213"/>
                    </a:lnTo>
                    <a:lnTo>
                      <a:pt x="614417" y="19243"/>
                    </a:lnTo>
                    <a:lnTo>
                      <a:pt x="616235" y="28183"/>
                    </a:lnTo>
                    <a:lnTo>
                      <a:pt x="618053" y="32425"/>
                    </a:lnTo>
                    <a:lnTo>
                      <a:pt x="618508" y="34698"/>
                    </a:lnTo>
                    <a:lnTo>
                      <a:pt x="618659" y="36517"/>
                    </a:lnTo>
                    <a:lnTo>
                      <a:pt x="618205" y="40153"/>
                    </a:lnTo>
                    <a:lnTo>
                      <a:pt x="617902" y="45456"/>
                    </a:lnTo>
                    <a:lnTo>
                      <a:pt x="616690" y="48790"/>
                    </a:lnTo>
                    <a:lnTo>
                      <a:pt x="615629" y="50305"/>
                    </a:lnTo>
                    <a:lnTo>
                      <a:pt x="612902" y="61517"/>
                    </a:lnTo>
                    <a:lnTo>
                      <a:pt x="612447" y="64093"/>
                    </a:lnTo>
                    <a:lnTo>
                      <a:pt x="613356" y="65002"/>
                    </a:lnTo>
                    <a:lnTo>
                      <a:pt x="613659" y="66215"/>
                    </a:lnTo>
                    <a:lnTo>
                      <a:pt x="609114" y="75760"/>
                    </a:lnTo>
                    <a:lnTo>
                      <a:pt x="605174" y="84700"/>
                    </a:lnTo>
                    <a:lnTo>
                      <a:pt x="602295" y="88488"/>
                    </a:lnTo>
                    <a:lnTo>
                      <a:pt x="600477" y="89549"/>
                    </a:lnTo>
                    <a:lnTo>
                      <a:pt x="598962" y="91215"/>
                    </a:lnTo>
                    <a:lnTo>
                      <a:pt x="599416" y="92882"/>
                    </a:lnTo>
                    <a:lnTo>
                      <a:pt x="599568" y="94094"/>
                    </a:lnTo>
                    <a:lnTo>
                      <a:pt x="597901" y="98489"/>
                    </a:lnTo>
                    <a:lnTo>
                      <a:pt x="597446" y="103337"/>
                    </a:lnTo>
                    <a:lnTo>
                      <a:pt x="596234" y="106822"/>
                    </a:lnTo>
                    <a:lnTo>
                      <a:pt x="596083" y="108489"/>
                    </a:lnTo>
                    <a:lnTo>
                      <a:pt x="596234" y="110610"/>
                    </a:lnTo>
                    <a:lnTo>
                      <a:pt x="598053" y="111368"/>
                    </a:lnTo>
                    <a:lnTo>
                      <a:pt x="599568" y="111671"/>
                    </a:lnTo>
                    <a:lnTo>
                      <a:pt x="602447" y="111216"/>
                    </a:lnTo>
                    <a:lnTo>
                      <a:pt x="605629" y="110307"/>
                    </a:lnTo>
                    <a:lnTo>
                      <a:pt x="606841" y="107428"/>
                    </a:lnTo>
                    <a:lnTo>
                      <a:pt x="610629" y="101670"/>
                    </a:lnTo>
                    <a:lnTo>
                      <a:pt x="613053" y="100004"/>
                    </a:lnTo>
                    <a:lnTo>
                      <a:pt x="615174" y="99549"/>
                    </a:lnTo>
                    <a:lnTo>
                      <a:pt x="611235" y="102125"/>
                    </a:lnTo>
                    <a:lnTo>
                      <a:pt x="609568" y="105156"/>
                    </a:lnTo>
                    <a:lnTo>
                      <a:pt x="610174" y="108337"/>
                    </a:lnTo>
                    <a:lnTo>
                      <a:pt x="608962" y="110155"/>
                    </a:lnTo>
                    <a:lnTo>
                      <a:pt x="606992" y="111822"/>
                    </a:lnTo>
                    <a:lnTo>
                      <a:pt x="604719" y="112125"/>
                    </a:lnTo>
                    <a:lnTo>
                      <a:pt x="602750" y="113186"/>
                    </a:lnTo>
                    <a:lnTo>
                      <a:pt x="603962" y="116974"/>
                    </a:lnTo>
                    <a:lnTo>
                      <a:pt x="603659" y="119853"/>
                    </a:lnTo>
                    <a:lnTo>
                      <a:pt x="604416" y="120156"/>
                    </a:lnTo>
                    <a:lnTo>
                      <a:pt x="606841" y="119550"/>
                    </a:lnTo>
                    <a:lnTo>
                      <a:pt x="611841" y="117732"/>
                    </a:lnTo>
                    <a:lnTo>
                      <a:pt x="613356" y="117732"/>
                    </a:lnTo>
                    <a:lnTo>
                      <a:pt x="615023" y="117429"/>
                    </a:lnTo>
                    <a:lnTo>
                      <a:pt x="616841" y="118489"/>
                    </a:lnTo>
                    <a:lnTo>
                      <a:pt x="618659" y="120308"/>
                    </a:lnTo>
                    <a:lnTo>
                      <a:pt x="612902" y="119550"/>
                    </a:lnTo>
                    <a:lnTo>
                      <a:pt x="614871" y="124247"/>
                    </a:lnTo>
                    <a:lnTo>
                      <a:pt x="615174" y="127884"/>
                    </a:lnTo>
                    <a:lnTo>
                      <a:pt x="613053" y="135005"/>
                    </a:lnTo>
                    <a:lnTo>
                      <a:pt x="614568" y="137732"/>
                    </a:lnTo>
                    <a:lnTo>
                      <a:pt x="615477" y="142126"/>
                    </a:lnTo>
                    <a:lnTo>
                      <a:pt x="614720" y="146521"/>
                    </a:lnTo>
                    <a:lnTo>
                      <a:pt x="614871" y="151672"/>
                    </a:lnTo>
                    <a:lnTo>
                      <a:pt x="611841" y="160006"/>
                    </a:lnTo>
                    <a:lnTo>
                      <a:pt x="609871" y="164248"/>
                    </a:lnTo>
                    <a:lnTo>
                      <a:pt x="611538" y="164703"/>
                    </a:lnTo>
                    <a:lnTo>
                      <a:pt x="613962" y="162885"/>
                    </a:lnTo>
                    <a:lnTo>
                      <a:pt x="616993" y="162885"/>
                    </a:lnTo>
                    <a:lnTo>
                      <a:pt x="620932" y="161370"/>
                    </a:lnTo>
                    <a:lnTo>
                      <a:pt x="623962" y="161976"/>
                    </a:lnTo>
                    <a:lnTo>
                      <a:pt x="633508" y="162733"/>
                    </a:lnTo>
                    <a:lnTo>
                      <a:pt x="638963" y="165006"/>
                    </a:lnTo>
                    <a:lnTo>
                      <a:pt x="641842" y="165006"/>
                    </a:lnTo>
                    <a:lnTo>
                      <a:pt x="651085" y="159854"/>
                    </a:lnTo>
                    <a:lnTo>
                      <a:pt x="653509" y="159551"/>
                    </a:lnTo>
                    <a:lnTo>
                      <a:pt x="651842" y="151672"/>
                    </a:lnTo>
                    <a:lnTo>
                      <a:pt x="651085" y="148642"/>
                    </a:lnTo>
                    <a:lnTo>
                      <a:pt x="650933" y="146672"/>
                    </a:lnTo>
                    <a:lnTo>
                      <a:pt x="652600" y="142126"/>
                    </a:lnTo>
                    <a:lnTo>
                      <a:pt x="654418" y="140308"/>
                    </a:lnTo>
                    <a:lnTo>
                      <a:pt x="656843" y="136520"/>
                    </a:lnTo>
                    <a:lnTo>
                      <a:pt x="659722" y="133338"/>
                    </a:lnTo>
                    <a:lnTo>
                      <a:pt x="662752" y="132581"/>
                    </a:lnTo>
                    <a:lnTo>
                      <a:pt x="664115" y="132126"/>
                    </a:lnTo>
                    <a:lnTo>
                      <a:pt x="665328" y="129702"/>
                    </a:lnTo>
                    <a:lnTo>
                      <a:pt x="665934" y="127581"/>
                    </a:lnTo>
                    <a:lnTo>
                      <a:pt x="665479" y="127429"/>
                    </a:lnTo>
                    <a:lnTo>
                      <a:pt x="661843" y="127884"/>
                    </a:lnTo>
                    <a:lnTo>
                      <a:pt x="655327" y="119095"/>
                    </a:lnTo>
                    <a:lnTo>
                      <a:pt x="655479" y="117732"/>
                    </a:lnTo>
                    <a:lnTo>
                      <a:pt x="656236" y="115610"/>
                    </a:lnTo>
                    <a:lnTo>
                      <a:pt x="656843" y="113034"/>
                    </a:lnTo>
                    <a:lnTo>
                      <a:pt x="656994" y="110913"/>
                    </a:lnTo>
                    <a:lnTo>
                      <a:pt x="658661" y="109095"/>
                    </a:lnTo>
                    <a:lnTo>
                      <a:pt x="661236" y="107277"/>
                    </a:lnTo>
                    <a:lnTo>
                      <a:pt x="663358" y="104701"/>
                    </a:lnTo>
                    <a:lnTo>
                      <a:pt x="664419" y="102277"/>
                    </a:lnTo>
                    <a:lnTo>
                      <a:pt x="664722" y="100004"/>
                    </a:lnTo>
                    <a:lnTo>
                      <a:pt x="663510" y="98337"/>
                    </a:lnTo>
                    <a:lnTo>
                      <a:pt x="660024" y="97428"/>
                    </a:lnTo>
                    <a:lnTo>
                      <a:pt x="656388" y="90913"/>
                    </a:lnTo>
                    <a:lnTo>
                      <a:pt x="655630" y="86821"/>
                    </a:lnTo>
                    <a:lnTo>
                      <a:pt x="654873" y="86367"/>
                    </a:lnTo>
                    <a:lnTo>
                      <a:pt x="652600" y="84549"/>
                    </a:lnTo>
                    <a:lnTo>
                      <a:pt x="650479" y="81064"/>
                    </a:lnTo>
                    <a:lnTo>
                      <a:pt x="650176" y="80458"/>
                    </a:lnTo>
                    <a:lnTo>
                      <a:pt x="652448" y="79851"/>
                    </a:lnTo>
                    <a:lnTo>
                      <a:pt x="661691" y="79851"/>
                    </a:lnTo>
                    <a:lnTo>
                      <a:pt x="663661" y="79094"/>
                    </a:lnTo>
                    <a:lnTo>
                      <a:pt x="663964" y="78791"/>
                    </a:lnTo>
                    <a:lnTo>
                      <a:pt x="665631" y="76063"/>
                    </a:lnTo>
                    <a:lnTo>
                      <a:pt x="667449" y="71669"/>
                    </a:lnTo>
                    <a:lnTo>
                      <a:pt x="667903" y="68942"/>
                    </a:lnTo>
                    <a:lnTo>
                      <a:pt x="667298" y="67881"/>
                    </a:lnTo>
                    <a:lnTo>
                      <a:pt x="664267" y="65154"/>
                    </a:lnTo>
                    <a:lnTo>
                      <a:pt x="664115" y="64396"/>
                    </a:lnTo>
                    <a:lnTo>
                      <a:pt x="664570" y="63033"/>
                    </a:lnTo>
                    <a:lnTo>
                      <a:pt x="666389" y="61669"/>
                    </a:lnTo>
                    <a:lnTo>
                      <a:pt x="668812" y="60154"/>
                    </a:lnTo>
                    <a:lnTo>
                      <a:pt x="670177" y="58790"/>
                    </a:lnTo>
                    <a:lnTo>
                      <a:pt x="669873" y="57729"/>
                    </a:lnTo>
                    <a:lnTo>
                      <a:pt x="669116" y="56669"/>
                    </a:lnTo>
                    <a:lnTo>
                      <a:pt x="668964" y="55608"/>
                    </a:lnTo>
                    <a:lnTo>
                      <a:pt x="669419" y="54245"/>
                    </a:lnTo>
                    <a:lnTo>
                      <a:pt x="669570" y="49850"/>
                    </a:lnTo>
                    <a:lnTo>
                      <a:pt x="669873" y="48790"/>
                    </a:lnTo>
                    <a:lnTo>
                      <a:pt x="669419" y="44850"/>
                    </a:lnTo>
                    <a:lnTo>
                      <a:pt x="668812" y="41517"/>
                    </a:lnTo>
                    <a:lnTo>
                      <a:pt x="666843" y="37274"/>
                    </a:lnTo>
                    <a:lnTo>
                      <a:pt x="667146" y="36365"/>
                    </a:lnTo>
                    <a:lnTo>
                      <a:pt x="668055" y="35607"/>
                    </a:lnTo>
                    <a:lnTo>
                      <a:pt x="670934" y="34092"/>
                    </a:lnTo>
                    <a:lnTo>
                      <a:pt x="673207" y="30607"/>
                    </a:lnTo>
                    <a:lnTo>
                      <a:pt x="676540" y="27728"/>
                    </a:lnTo>
                    <a:lnTo>
                      <a:pt x="680934" y="25455"/>
                    </a:lnTo>
                    <a:lnTo>
                      <a:pt x="684116" y="22880"/>
                    </a:lnTo>
                    <a:lnTo>
                      <a:pt x="685329" y="20910"/>
                    </a:lnTo>
                    <a:lnTo>
                      <a:pt x="686238" y="20455"/>
                    </a:lnTo>
                    <a:lnTo>
                      <a:pt x="685632" y="18789"/>
                    </a:lnTo>
                    <a:close/>
                    <a:moveTo>
                      <a:pt x="169703" y="163945"/>
                    </a:moveTo>
                    <a:lnTo>
                      <a:pt x="167430" y="164097"/>
                    </a:lnTo>
                    <a:lnTo>
                      <a:pt x="166521" y="164854"/>
                    </a:lnTo>
                    <a:lnTo>
                      <a:pt x="167582" y="166521"/>
                    </a:lnTo>
                    <a:lnTo>
                      <a:pt x="169552" y="166370"/>
                    </a:lnTo>
                    <a:lnTo>
                      <a:pt x="171067" y="166673"/>
                    </a:lnTo>
                    <a:lnTo>
                      <a:pt x="171218" y="166067"/>
                    </a:lnTo>
                    <a:lnTo>
                      <a:pt x="170764" y="164854"/>
                    </a:lnTo>
                    <a:lnTo>
                      <a:pt x="169703" y="163945"/>
                    </a:lnTo>
                    <a:close/>
                    <a:moveTo>
                      <a:pt x="166976" y="138338"/>
                    </a:moveTo>
                    <a:lnTo>
                      <a:pt x="164703" y="138035"/>
                    </a:lnTo>
                    <a:lnTo>
                      <a:pt x="155915" y="138490"/>
                    </a:lnTo>
                    <a:lnTo>
                      <a:pt x="154248" y="138338"/>
                    </a:lnTo>
                    <a:lnTo>
                      <a:pt x="150612" y="136066"/>
                    </a:lnTo>
                    <a:lnTo>
                      <a:pt x="148945" y="136672"/>
                    </a:lnTo>
                    <a:lnTo>
                      <a:pt x="148945" y="137429"/>
                    </a:lnTo>
                    <a:lnTo>
                      <a:pt x="149399" y="138945"/>
                    </a:lnTo>
                    <a:lnTo>
                      <a:pt x="152127" y="140914"/>
                    </a:lnTo>
                    <a:lnTo>
                      <a:pt x="160158" y="142429"/>
                    </a:lnTo>
                    <a:lnTo>
                      <a:pt x="165309" y="141823"/>
                    </a:lnTo>
                    <a:lnTo>
                      <a:pt x="166976" y="140914"/>
                    </a:lnTo>
                    <a:lnTo>
                      <a:pt x="166976" y="1383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1" name="Freeform: Shape 3180">
                <a:extLst>
                  <a:ext uri="{FF2B5EF4-FFF2-40B4-BE49-F238E27FC236}">
                    <a16:creationId xmlns:a16="http://schemas.microsoft.com/office/drawing/2014/main" id="{C55B26BE-CD74-474A-A60C-0A0ED321340F}"/>
                  </a:ext>
                </a:extLst>
              </p:cNvPr>
              <p:cNvSpPr/>
              <p:nvPr/>
            </p:nvSpPr>
            <p:spPr>
              <a:xfrm>
                <a:off x="6712992" y="3644990"/>
                <a:ext cx="37577" cy="40001"/>
              </a:xfrm>
              <a:custGeom>
                <a:avLst/>
                <a:gdLst>
                  <a:gd name="connsiteX0" fmla="*/ 7576 w 37577"/>
                  <a:gd name="connsiteY0" fmla="*/ 28637 h 40001"/>
                  <a:gd name="connsiteX1" fmla="*/ 5152 w 37577"/>
                  <a:gd name="connsiteY1" fmla="*/ 31668 h 40001"/>
                  <a:gd name="connsiteX2" fmla="*/ 0 w 37577"/>
                  <a:gd name="connsiteY2" fmla="*/ 36517 h 40001"/>
                  <a:gd name="connsiteX3" fmla="*/ 455 w 37577"/>
                  <a:gd name="connsiteY3" fmla="*/ 37426 h 40001"/>
                  <a:gd name="connsiteX4" fmla="*/ 1364 w 37577"/>
                  <a:gd name="connsiteY4" fmla="*/ 40001 h 40001"/>
                  <a:gd name="connsiteX5" fmla="*/ 4243 w 37577"/>
                  <a:gd name="connsiteY5" fmla="*/ 37426 h 40001"/>
                  <a:gd name="connsiteX6" fmla="*/ 4243 w 37577"/>
                  <a:gd name="connsiteY6" fmla="*/ 35304 h 40001"/>
                  <a:gd name="connsiteX7" fmla="*/ 9091 w 37577"/>
                  <a:gd name="connsiteY7" fmla="*/ 30456 h 40001"/>
                  <a:gd name="connsiteX8" fmla="*/ 9091 w 37577"/>
                  <a:gd name="connsiteY8" fmla="*/ 30001 h 40001"/>
                  <a:gd name="connsiteX9" fmla="*/ 7576 w 37577"/>
                  <a:gd name="connsiteY9" fmla="*/ 28637 h 40001"/>
                  <a:gd name="connsiteX10" fmla="*/ 36517 w 37577"/>
                  <a:gd name="connsiteY10" fmla="*/ 13031 h 40001"/>
                  <a:gd name="connsiteX11" fmla="*/ 37577 w 37577"/>
                  <a:gd name="connsiteY11" fmla="*/ 8940 h 40001"/>
                  <a:gd name="connsiteX12" fmla="*/ 36971 w 37577"/>
                  <a:gd name="connsiteY12" fmla="*/ 4091 h 40001"/>
                  <a:gd name="connsiteX13" fmla="*/ 35153 w 37577"/>
                  <a:gd name="connsiteY13" fmla="*/ 3940 h 40001"/>
                  <a:gd name="connsiteX14" fmla="*/ 32880 w 37577"/>
                  <a:gd name="connsiteY14" fmla="*/ 2424 h 40001"/>
                  <a:gd name="connsiteX15" fmla="*/ 32425 w 37577"/>
                  <a:gd name="connsiteY15" fmla="*/ 1212 h 40001"/>
                  <a:gd name="connsiteX16" fmla="*/ 31819 w 37577"/>
                  <a:gd name="connsiteY16" fmla="*/ 758 h 40001"/>
                  <a:gd name="connsiteX17" fmla="*/ 30152 w 37577"/>
                  <a:gd name="connsiteY17" fmla="*/ 606 h 40001"/>
                  <a:gd name="connsiteX18" fmla="*/ 27122 w 37577"/>
                  <a:gd name="connsiteY18" fmla="*/ 0 h 40001"/>
                  <a:gd name="connsiteX19" fmla="*/ 23637 w 37577"/>
                  <a:gd name="connsiteY19" fmla="*/ 2273 h 40001"/>
                  <a:gd name="connsiteX20" fmla="*/ 22122 w 37577"/>
                  <a:gd name="connsiteY20" fmla="*/ 5909 h 40001"/>
                  <a:gd name="connsiteX21" fmla="*/ 21819 w 37577"/>
                  <a:gd name="connsiteY21" fmla="*/ 7576 h 40001"/>
                  <a:gd name="connsiteX22" fmla="*/ 20607 w 37577"/>
                  <a:gd name="connsiteY22" fmla="*/ 11213 h 40001"/>
                  <a:gd name="connsiteX23" fmla="*/ 21061 w 37577"/>
                  <a:gd name="connsiteY23" fmla="*/ 13485 h 40001"/>
                  <a:gd name="connsiteX24" fmla="*/ 21213 w 37577"/>
                  <a:gd name="connsiteY24" fmla="*/ 16364 h 40001"/>
                  <a:gd name="connsiteX25" fmla="*/ 21516 w 37577"/>
                  <a:gd name="connsiteY25" fmla="*/ 18789 h 40001"/>
                  <a:gd name="connsiteX26" fmla="*/ 21213 w 37577"/>
                  <a:gd name="connsiteY26" fmla="*/ 20152 h 40001"/>
                  <a:gd name="connsiteX27" fmla="*/ 20607 w 37577"/>
                  <a:gd name="connsiteY27" fmla="*/ 20910 h 40001"/>
                  <a:gd name="connsiteX28" fmla="*/ 20758 w 37577"/>
                  <a:gd name="connsiteY28" fmla="*/ 21516 h 40001"/>
                  <a:gd name="connsiteX29" fmla="*/ 21364 w 37577"/>
                  <a:gd name="connsiteY29" fmla="*/ 21668 h 40001"/>
                  <a:gd name="connsiteX30" fmla="*/ 23334 w 37577"/>
                  <a:gd name="connsiteY30" fmla="*/ 21061 h 40001"/>
                  <a:gd name="connsiteX31" fmla="*/ 25304 w 37577"/>
                  <a:gd name="connsiteY31" fmla="*/ 21668 h 40001"/>
                  <a:gd name="connsiteX32" fmla="*/ 27274 w 37577"/>
                  <a:gd name="connsiteY32" fmla="*/ 22880 h 40001"/>
                  <a:gd name="connsiteX33" fmla="*/ 27425 w 37577"/>
                  <a:gd name="connsiteY33" fmla="*/ 23637 h 40001"/>
                  <a:gd name="connsiteX34" fmla="*/ 26062 w 37577"/>
                  <a:gd name="connsiteY34" fmla="*/ 24092 h 40001"/>
                  <a:gd name="connsiteX35" fmla="*/ 22880 w 37577"/>
                  <a:gd name="connsiteY35" fmla="*/ 25910 h 40001"/>
                  <a:gd name="connsiteX36" fmla="*/ 20607 w 37577"/>
                  <a:gd name="connsiteY36" fmla="*/ 28031 h 40001"/>
                  <a:gd name="connsiteX37" fmla="*/ 20001 w 37577"/>
                  <a:gd name="connsiteY37" fmla="*/ 30001 h 40001"/>
                  <a:gd name="connsiteX38" fmla="*/ 18486 w 37577"/>
                  <a:gd name="connsiteY38" fmla="*/ 34244 h 40001"/>
                  <a:gd name="connsiteX39" fmla="*/ 18637 w 37577"/>
                  <a:gd name="connsiteY39" fmla="*/ 35153 h 40001"/>
                  <a:gd name="connsiteX40" fmla="*/ 19395 w 37577"/>
                  <a:gd name="connsiteY40" fmla="*/ 35607 h 40001"/>
                  <a:gd name="connsiteX41" fmla="*/ 24698 w 37577"/>
                  <a:gd name="connsiteY41" fmla="*/ 35153 h 40001"/>
                  <a:gd name="connsiteX42" fmla="*/ 29547 w 37577"/>
                  <a:gd name="connsiteY42" fmla="*/ 33486 h 40001"/>
                  <a:gd name="connsiteX43" fmla="*/ 33183 w 37577"/>
                  <a:gd name="connsiteY43" fmla="*/ 31668 h 40001"/>
                  <a:gd name="connsiteX44" fmla="*/ 34395 w 37577"/>
                  <a:gd name="connsiteY44" fmla="*/ 31819 h 40001"/>
                  <a:gd name="connsiteX45" fmla="*/ 34850 w 37577"/>
                  <a:gd name="connsiteY45" fmla="*/ 29244 h 40001"/>
                  <a:gd name="connsiteX46" fmla="*/ 35759 w 37577"/>
                  <a:gd name="connsiteY46" fmla="*/ 25910 h 40001"/>
                  <a:gd name="connsiteX47" fmla="*/ 37426 w 37577"/>
                  <a:gd name="connsiteY47" fmla="*/ 23031 h 40001"/>
                  <a:gd name="connsiteX48" fmla="*/ 36668 w 37577"/>
                  <a:gd name="connsiteY48" fmla="*/ 16364 h 40001"/>
                  <a:gd name="connsiteX49" fmla="*/ 36517 w 37577"/>
                  <a:gd name="connsiteY49" fmla="*/ 13031 h 4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7577" h="40001">
                    <a:moveTo>
                      <a:pt x="7576" y="28637"/>
                    </a:moveTo>
                    <a:lnTo>
                      <a:pt x="5152" y="31668"/>
                    </a:lnTo>
                    <a:lnTo>
                      <a:pt x="0" y="36517"/>
                    </a:lnTo>
                    <a:lnTo>
                      <a:pt x="455" y="37426"/>
                    </a:lnTo>
                    <a:lnTo>
                      <a:pt x="1364" y="40001"/>
                    </a:lnTo>
                    <a:lnTo>
                      <a:pt x="4243" y="37426"/>
                    </a:lnTo>
                    <a:lnTo>
                      <a:pt x="4243" y="35304"/>
                    </a:lnTo>
                    <a:lnTo>
                      <a:pt x="9091" y="30456"/>
                    </a:lnTo>
                    <a:lnTo>
                      <a:pt x="9091" y="30001"/>
                    </a:lnTo>
                    <a:lnTo>
                      <a:pt x="7576" y="28637"/>
                    </a:lnTo>
                    <a:close/>
                    <a:moveTo>
                      <a:pt x="36517" y="13031"/>
                    </a:moveTo>
                    <a:lnTo>
                      <a:pt x="37577" y="8940"/>
                    </a:lnTo>
                    <a:lnTo>
                      <a:pt x="36971" y="4091"/>
                    </a:lnTo>
                    <a:lnTo>
                      <a:pt x="35153" y="3940"/>
                    </a:lnTo>
                    <a:lnTo>
                      <a:pt x="32880" y="2424"/>
                    </a:lnTo>
                    <a:lnTo>
                      <a:pt x="32425" y="1212"/>
                    </a:lnTo>
                    <a:lnTo>
                      <a:pt x="31819" y="758"/>
                    </a:lnTo>
                    <a:lnTo>
                      <a:pt x="30152" y="606"/>
                    </a:lnTo>
                    <a:lnTo>
                      <a:pt x="27122" y="0"/>
                    </a:lnTo>
                    <a:lnTo>
                      <a:pt x="23637" y="2273"/>
                    </a:lnTo>
                    <a:lnTo>
                      <a:pt x="22122" y="5909"/>
                    </a:lnTo>
                    <a:lnTo>
                      <a:pt x="21819" y="7576"/>
                    </a:lnTo>
                    <a:lnTo>
                      <a:pt x="20607" y="11213"/>
                    </a:lnTo>
                    <a:lnTo>
                      <a:pt x="21061" y="13485"/>
                    </a:lnTo>
                    <a:lnTo>
                      <a:pt x="21213" y="16364"/>
                    </a:lnTo>
                    <a:lnTo>
                      <a:pt x="21516" y="18789"/>
                    </a:lnTo>
                    <a:lnTo>
                      <a:pt x="21213" y="20152"/>
                    </a:lnTo>
                    <a:lnTo>
                      <a:pt x="20607" y="20910"/>
                    </a:lnTo>
                    <a:lnTo>
                      <a:pt x="20758" y="21516"/>
                    </a:lnTo>
                    <a:lnTo>
                      <a:pt x="21364" y="21668"/>
                    </a:lnTo>
                    <a:lnTo>
                      <a:pt x="23334" y="21061"/>
                    </a:lnTo>
                    <a:lnTo>
                      <a:pt x="25304" y="21668"/>
                    </a:lnTo>
                    <a:lnTo>
                      <a:pt x="27274" y="22880"/>
                    </a:lnTo>
                    <a:lnTo>
                      <a:pt x="27425" y="23637"/>
                    </a:lnTo>
                    <a:lnTo>
                      <a:pt x="26062" y="24092"/>
                    </a:lnTo>
                    <a:lnTo>
                      <a:pt x="22880" y="25910"/>
                    </a:lnTo>
                    <a:lnTo>
                      <a:pt x="20607" y="28031"/>
                    </a:lnTo>
                    <a:lnTo>
                      <a:pt x="20001" y="30001"/>
                    </a:lnTo>
                    <a:lnTo>
                      <a:pt x="18486" y="34244"/>
                    </a:lnTo>
                    <a:lnTo>
                      <a:pt x="18637" y="35153"/>
                    </a:lnTo>
                    <a:lnTo>
                      <a:pt x="19395" y="35607"/>
                    </a:lnTo>
                    <a:lnTo>
                      <a:pt x="24698" y="35153"/>
                    </a:lnTo>
                    <a:lnTo>
                      <a:pt x="29547" y="33486"/>
                    </a:lnTo>
                    <a:lnTo>
                      <a:pt x="33183" y="31668"/>
                    </a:lnTo>
                    <a:lnTo>
                      <a:pt x="34395" y="31819"/>
                    </a:lnTo>
                    <a:lnTo>
                      <a:pt x="34850" y="29244"/>
                    </a:lnTo>
                    <a:lnTo>
                      <a:pt x="35759" y="25910"/>
                    </a:lnTo>
                    <a:lnTo>
                      <a:pt x="37426" y="23031"/>
                    </a:lnTo>
                    <a:lnTo>
                      <a:pt x="36668" y="16364"/>
                    </a:lnTo>
                    <a:lnTo>
                      <a:pt x="36517" y="130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2" name="Freeform: Shape 3181">
                <a:extLst>
                  <a:ext uri="{FF2B5EF4-FFF2-40B4-BE49-F238E27FC236}">
                    <a16:creationId xmlns:a16="http://schemas.microsoft.com/office/drawing/2014/main" id="{25E38F30-25A2-4937-B842-3EA5ABC21B37}"/>
                  </a:ext>
                </a:extLst>
              </p:cNvPr>
              <p:cNvSpPr/>
              <p:nvPr/>
            </p:nvSpPr>
            <p:spPr>
              <a:xfrm>
                <a:off x="3918494" y="4052884"/>
                <a:ext cx="72275" cy="16212"/>
              </a:xfrm>
              <a:custGeom>
                <a:avLst/>
                <a:gdLst>
                  <a:gd name="connsiteX0" fmla="*/ 2121 w 72275"/>
                  <a:gd name="connsiteY0" fmla="*/ 11213 h 16212"/>
                  <a:gd name="connsiteX1" fmla="*/ 1970 w 72275"/>
                  <a:gd name="connsiteY1" fmla="*/ 11213 h 16212"/>
                  <a:gd name="connsiteX2" fmla="*/ 455 w 72275"/>
                  <a:gd name="connsiteY2" fmla="*/ 11213 h 16212"/>
                  <a:gd name="connsiteX3" fmla="*/ 152 w 72275"/>
                  <a:gd name="connsiteY3" fmla="*/ 11364 h 16212"/>
                  <a:gd name="connsiteX4" fmla="*/ 0 w 72275"/>
                  <a:gd name="connsiteY4" fmla="*/ 11819 h 16212"/>
                  <a:gd name="connsiteX5" fmla="*/ 152 w 72275"/>
                  <a:gd name="connsiteY5" fmla="*/ 12273 h 16212"/>
                  <a:gd name="connsiteX6" fmla="*/ 909 w 72275"/>
                  <a:gd name="connsiteY6" fmla="*/ 12728 h 16212"/>
                  <a:gd name="connsiteX7" fmla="*/ 1061 w 72275"/>
                  <a:gd name="connsiteY7" fmla="*/ 13031 h 16212"/>
                  <a:gd name="connsiteX8" fmla="*/ 1212 w 72275"/>
                  <a:gd name="connsiteY8" fmla="*/ 13182 h 16212"/>
                  <a:gd name="connsiteX9" fmla="*/ 1515 w 72275"/>
                  <a:gd name="connsiteY9" fmla="*/ 13182 h 16212"/>
                  <a:gd name="connsiteX10" fmla="*/ 1818 w 72275"/>
                  <a:gd name="connsiteY10" fmla="*/ 13182 h 16212"/>
                  <a:gd name="connsiteX11" fmla="*/ 1970 w 72275"/>
                  <a:gd name="connsiteY11" fmla="*/ 13031 h 16212"/>
                  <a:gd name="connsiteX12" fmla="*/ 1970 w 72275"/>
                  <a:gd name="connsiteY12" fmla="*/ 12879 h 16212"/>
                  <a:gd name="connsiteX13" fmla="*/ 2121 w 72275"/>
                  <a:gd name="connsiteY13" fmla="*/ 12728 h 16212"/>
                  <a:gd name="connsiteX14" fmla="*/ 2273 w 72275"/>
                  <a:gd name="connsiteY14" fmla="*/ 12576 h 16212"/>
                  <a:gd name="connsiteX15" fmla="*/ 2576 w 72275"/>
                  <a:gd name="connsiteY15" fmla="*/ 12122 h 16212"/>
                  <a:gd name="connsiteX16" fmla="*/ 2727 w 72275"/>
                  <a:gd name="connsiteY16" fmla="*/ 11970 h 16212"/>
                  <a:gd name="connsiteX17" fmla="*/ 2727 w 72275"/>
                  <a:gd name="connsiteY17" fmla="*/ 11819 h 16212"/>
                  <a:gd name="connsiteX18" fmla="*/ 2121 w 72275"/>
                  <a:gd name="connsiteY18" fmla="*/ 11213 h 16212"/>
                  <a:gd name="connsiteX19" fmla="*/ 59548 w 72275"/>
                  <a:gd name="connsiteY19" fmla="*/ 3333 h 16212"/>
                  <a:gd name="connsiteX20" fmla="*/ 56214 w 72275"/>
                  <a:gd name="connsiteY20" fmla="*/ 2121 h 16212"/>
                  <a:gd name="connsiteX21" fmla="*/ 50911 w 72275"/>
                  <a:gd name="connsiteY21" fmla="*/ 1364 h 16212"/>
                  <a:gd name="connsiteX22" fmla="*/ 50305 w 72275"/>
                  <a:gd name="connsiteY22" fmla="*/ 1364 h 16212"/>
                  <a:gd name="connsiteX23" fmla="*/ 50911 w 72275"/>
                  <a:gd name="connsiteY23" fmla="*/ 2576 h 16212"/>
                  <a:gd name="connsiteX24" fmla="*/ 50154 w 72275"/>
                  <a:gd name="connsiteY24" fmla="*/ 2727 h 16212"/>
                  <a:gd name="connsiteX25" fmla="*/ 49244 w 72275"/>
                  <a:gd name="connsiteY25" fmla="*/ 2121 h 16212"/>
                  <a:gd name="connsiteX26" fmla="*/ 48638 w 72275"/>
                  <a:gd name="connsiteY26" fmla="*/ 1364 h 16212"/>
                  <a:gd name="connsiteX27" fmla="*/ 47729 w 72275"/>
                  <a:gd name="connsiteY27" fmla="*/ 1212 h 16212"/>
                  <a:gd name="connsiteX28" fmla="*/ 30607 w 72275"/>
                  <a:gd name="connsiteY28" fmla="*/ 758 h 16212"/>
                  <a:gd name="connsiteX29" fmla="*/ 23789 w 72275"/>
                  <a:gd name="connsiteY29" fmla="*/ 0 h 16212"/>
                  <a:gd name="connsiteX30" fmla="*/ 22274 w 72275"/>
                  <a:gd name="connsiteY30" fmla="*/ 152 h 16212"/>
                  <a:gd name="connsiteX31" fmla="*/ 21061 w 72275"/>
                  <a:gd name="connsiteY31" fmla="*/ 606 h 16212"/>
                  <a:gd name="connsiteX32" fmla="*/ 20759 w 72275"/>
                  <a:gd name="connsiteY32" fmla="*/ 2424 h 16212"/>
                  <a:gd name="connsiteX33" fmla="*/ 19546 w 72275"/>
                  <a:gd name="connsiteY33" fmla="*/ 3637 h 16212"/>
                  <a:gd name="connsiteX34" fmla="*/ 18183 w 72275"/>
                  <a:gd name="connsiteY34" fmla="*/ 4394 h 16212"/>
                  <a:gd name="connsiteX35" fmla="*/ 18940 w 72275"/>
                  <a:gd name="connsiteY35" fmla="*/ 5606 h 16212"/>
                  <a:gd name="connsiteX36" fmla="*/ 19849 w 72275"/>
                  <a:gd name="connsiteY36" fmla="*/ 6667 h 16212"/>
                  <a:gd name="connsiteX37" fmla="*/ 20759 w 72275"/>
                  <a:gd name="connsiteY37" fmla="*/ 8334 h 16212"/>
                  <a:gd name="connsiteX38" fmla="*/ 20759 w 72275"/>
                  <a:gd name="connsiteY38" fmla="*/ 10304 h 16212"/>
                  <a:gd name="connsiteX39" fmla="*/ 20152 w 72275"/>
                  <a:gd name="connsiteY39" fmla="*/ 14698 h 16212"/>
                  <a:gd name="connsiteX40" fmla="*/ 21668 w 72275"/>
                  <a:gd name="connsiteY40" fmla="*/ 15455 h 16212"/>
                  <a:gd name="connsiteX41" fmla="*/ 25153 w 72275"/>
                  <a:gd name="connsiteY41" fmla="*/ 15455 h 16212"/>
                  <a:gd name="connsiteX42" fmla="*/ 26516 w 72275"/>
                  <a:gd name="connsiteY42" fmla="*/ 15910 h 16212"/>
                  <a:gd name="connsiteX43" fmla="*/ 28183 w 72275"/>
                  <a:gd name="connsiteY43" fmla="*/ 16061 h 16212"/>
                  <a:gd name="connsiteX44" fmla="*/ 29850 w 72275"/>
                  <a:gd name="connsiteY44" fmla="*/ 15910 h 16212"/>
                  <a:gd name="connsiteX45" fmla="*/ 31668 w 72275"/>
                  <a:gd name="connsiteY45" fmla="*/ 15001 h 16212"/>
                  <a:gd name="connsiteX46" fmla="*/ 36365 w 72275"/>
                  <a:gd name="connsiteY46" fmla="*/ 15304 h 16212"/>
                  <a:gd name="connsiteX47" fmla="*/ 38790 w 72275"/>
                  <a:gd name="connsiteY47" fmla="*/ 15001 h 16212"/>
                  <a:gd name="connsiteX48" fmla="*/ 41517 w 72275"/>
                  <a:gd name="connsiteY48" fmla="*/ 16061 h 16212"/>
                  <a:gd name="connsiteX49" fmla="*/ 43789 w 72275"/>
                  <a:gd name="connsiteY49" fmla="*/ 15607 h 16212"/>
                  <a:gd name="connsiteX50" fmla="*/ 44850 w 72275"/>
                  <a:gd name="connsiteY50" fmla="*/ 16061 h 16212"/>
                  <a:gd name="connsiteX51" fmla="*/ 45911 w 72275"/>
                  <a:gd name="connsiteY51" fmla="*/ 16213 h 16212"/>
                  <a:gd name="connsiteX52" fmla="*/ 48941 w 72275"/>
                  <a:gd name="connsiteY52" fmla="*/ 16213 h 16212"/>
                  <a:gd name="connsiteX53" fmla="*/ 53487 w 72275"/>
                  <a:gd name="connsiteY53" fmla="*/ 15455 h 16212"/>
                  <a:gd name="connsiteX54" fmla="*/ 57275 w 72275"/>
                  <a:gd name="connsiteY54" fmla="*/ 13182 h 16212"/>
                  <a:gd name="connsiteX55" fmla="*/ 58639 w 72275"/>
                  <a:gd name="connsiteY55" fmla="*/ 11213 h 16212"/>
                  <a:gd name="connsiteX56" fmla="*/ 60457 w 72275"/>
                  <a:gd name="connsiteY56" fmla="*/ 9546 h 16212"/>
                  <a:gd name="connsiteX57" fmla="*/ 63184 w 72275"/>
                  <a:gd name="connsiteY57" fmla="*/ 8031 h 16212"/>
                  <a:gd name="connsiteX58" fmla="*/ 63033 w 72275"/>
                  <a:gd name="connsiteY58" fmla="*/ 4091 h 16212"/>
                  <a:gd name="connsiteX59" fmla="*/ 59548 w 72275"/>
                  <a:gd name="connsiteY59" fmla="*/ 3333 h 16212"/>
                  <a:gd name="connsiteX60" fmla="*/ 71972 w 72275"/>
                  <a:gd name="connsiteY60" fmla="*/ 10607 h 16212"/>
                  <a:gd name="connsiteX61" fmla="*/ 70306 w 72275"/>
                  <a:gd name="connsiteY61" fmla="*/ 10152 h 16212"/>
                  <a:gd name="connsiteX62" fmla="*/ 67275 w 72275"/>
                  <a:gd name="connsiteY62" fmla="*/ 10000 h 16212"/>
                  <a:gd name="connsiteX63" fmla="*/ 64699 w 72275"/>
                  <a:gd name="connsiteY63" fmla="*/ 10758 h 16212"/>
                  <a:gd name="connsiteX64" fmla="*/ 65154 w 72275"/>
                  <a:gd name="connsiteY64" fmla="*/ 11516 h 16212"/>
                  <a:gd name="connsiteX65" fmla="*/ 66518 w 72275"/>
                  <a:gd name="connsiteY65" fmla="*/ 11819 h 16212"/>
                  <a:gd name="connsiteX66" fmla="*/ 68639 w 72275"/>
                  <a:gd name="connsiteY66" fmla="*/ 11667 h 16212"/>
                  <a:gd name="connsiteX67" fmla="*/ 72275 w 72275"/>
                  <a:gd name="connsiteY67" fmla="*/ 10910 h 16212"/>
                  <a:gd name="connsiteX68" fmla="*/ 71972 w 72275"/>
                  <a:gd name="connsiteY68" fmla="*/ 10607 h 1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2275" h="16212">
                    <a:moveTo>
                      <a:pt x="2121" y="11213"/>
                    </a:moveTo>
                    <a:lnTo>
                      <a:pt x="1970" y="11213"/>
                    </a:lnTo>
                    <a:lnTo>
                      <a:pt x="455" y="11213"/>
                    </a:lnTo>
                    <a:lnTo>
                      <a:pt x="152" y="11364"/>
                    </a:lnTo>
                    <a:lnTo>
                      <a:pt x="0" y="11819"/>
                    </a:lnTo>
                    <a:lnTo>
                      <a:pt x="152" y="12273"/>
                    </a:lnTo>
                    <a:lnTo>
                      <a:pt x="909" y="12728"/>
                    </a:lnTo>
                    <a:lnTo>
                      <a:pt x="1061" y="13031"/>
                    </a:lnTo>
                    <a:lnTo>
                      <a:pt x="1212" y="13182"/>
                    </a:lnTo>
                    <a:lnTo>
                      <a:pt x="1515" y="13182"/>
                    </a:lnTo>
                    <a:lnTo>
                      <a:pt x="1818" y="13182"/>
                    </a:lnTo>
                    <a:lnTo>
                      <a:pt x="1970" y="13031"/>
                    </a:lnTo>
                    <a:lnTo>
                      <a:pt x="1970" y="12879"/>
                    </a:lnTo>
                    <a:lnTo>
                      <a:pt x="2121" y="12728"/>
                    </a:lnTo>
                    <a:lnTo>
                      <a:pt x="2273" y="12576"/>
                    </a:lnTo>
                    <a:lnTo>
                      <a:pt x="2576" y="12122"/>
                    </a:lnTo>
                    <a:lnTo>
                      <a:pt x="2727" y="11970"/>
                    </a:lnTo>
                    <a:lnTo>
                      <a:pt x="2727" y="11819"/>
                    </a:lnTo>
                    <a:lnTo>
                      <a:pt x="2121" y="11213"/>
                    </a:lnTo>
                    <a:close/>
                    <a:moveTo>
                      <a:pt x="59548" y="3333"/>
                    </a:moveTo>
                    <a:lnTo>
                      <a:pt x="56214" y="2121"/>
                    </a:lnTo>
                    <a:lnTo>
                      <a:pt x="50911" y="1364"/>
                    </a:lnTo>
                    <a:lnTo>
                      <a:pt x="50305" y="1364"/>
                    </a:lnTo>
                    <a:lnTo>
                      <a:pt x="50911" y="2576"/>
                    </a:lnTo>
                    <a:lnTo>
                      <a:pt x="50154" y="2727"/>
                    </a:lnTo>
                    <a:lnTo>
                      <a:pt x="49244" y="2121"/>
                    </a:lnTo>
                    <a:lnTo>
                      <a:pt x="48638" y="1364"/>
                    </a:lnTo>
                    <a:lnTo>
                      <a:pt x="47729" y="1212"/>
                    </a:lnTo>
                    <a:lnTo>
                      <a:pt x="30607" y="758"/>
                    </a:lnTo>
                    <a:lnTo>
                      <a:pt x="23789" y="0"/>
                    </a:lnTo>
                    <a:lnTo>
                      <a:pt x="22274" y="152"/>
                    </a:lnTo>
                    <a:lnTo>
                      <a:pt x="21061" y="606"/>
                    </a:lnTo>
                    <a:lnTo>
                      <a:pt x="20759" y="2424"/>
                    </a:lnTo>
                    <a:lnTo>
                      <a:pt x="19546" y="3637"/>
                    </a:lnTo>
                    <a:lnTo>
                      <a:pt x="18183" y="4394"/>
                    </a:lnTo>
                    <a:lnTo>
                      <a:pt x="18940" y="5606"/>
                    </a:lnTo>
                    <a:lnTo>
                      <a:pt x="19849" y="6667"/>
                    </a:lnTo>
                    <a:lnTo>
                      <a:pt x="20759" y="8334"/>
                    </a:lnTo>
                    <a:lnTo>
                      <a:pt x="20759" y="10304"/>
                    </a:lnTo>
                    <a:lnTo>
                      <a:pt x="20152" y="14698"/>
                    </a:lnTo>
                    <a:lnTo>
                      <a:pt x="21668" y="15455"/>
                    </a:lnTo>
                    <a:lnTo>
                      <a:pt x="25153" y="15455"/>
                    </a:lnTo>
                    <a:lnTo>
                      <a:pt x="26516" y="15910"/>
                    </a:lnTo>
                    <a:lnTo>
                      <a:pt x="28183" y="16061"/>
                    </a:lnTo>
                    <a:lnTo>
                      <a:pt x="29850" y="15910"/>
                    </a:lnTo>
                    <a:lnTo>
                      <a:pt x="31668" y="15001"/>
                    </a:lnTo>
                    <a:lnTo>
                      <a:pt x="36365" y="15304"/>
                    </a:lnTo>
                    <a:lnTo>
                      <a:pt x="38790" y="15001"/>
                    </a:lnTo>
                    <a:lnTo>
                      <a:pt x="41517" y="16061"/>
                    </a:lnTo>
                    <a:lnTo>
                      <a:pt x="43789" y="15607"/>
                    </a:lnTo>
                    <a:lnTo>
                      <a:pt x="44850" y="16061"/>
                    </a:lnTo>
                    <a:lnTo>
                      <a:pt x="45911" y="16213"/>
                    </a:lnTo>
                    <a:lnTo>
                      <a:pt x="48941" y="16213"/>
                    </a:lnTo>
                    <a:lnTo>
                      <a:pt x="53487" y="15455"/>
                    </a:lnTo>
                    <a:lnTo>
                      <a:pt x="57275" y="13182"/>
                    </a:lnTo>
                    <a:lnTo>
                      <a:pt x="58639" y="11213"/>
                    </a:lnTo>
                    <a:lnTo>
                      <a:pt x="60457" y="9546"/>
                    </a:lnTo>
                    <a:lnTo>
                      <a:pt x="63184" y="8031"/>
                    </a:lnTo>
                    <a:lnTo>
                      <a:pt x="63033" y="4091"/>
                    </a:lnTo>
                    <a:lnTo>
                      <a:pt x="59548" y="3333"/>
                    </a:lnTo>
                    <a:close/>
                    <a:moveTo>
                      <a:pt x="71972" y="10607"/>
                    </a:moveTo>
                    <a:lnTo>
                      <a:pt x="70306" y="10152"/>
                    </a:lnTo>
                    <a:lnTo>
                      <a:pt x="67275" y="10000"/>
                    </a:lnTo>
                    <a:lnTo>
                      <a:pt x="64699" y="10758"/>
                    </a:lnTo>
                    <a:lnTo>
                      <a:pt x="65154" y="11516"/>
                    </a:lnTo>
                    <a:lnTo>
                      <a:pt x="66518" y="11819"/>
                    </a:lnTo>
                    <a:lnTo>
                      <a:pt x="68639" y="11667"/>
                    </a:lnTo>
                    <a:lnTo>
                      <a:pt x="72275" y="10910"/>
                    </a:lnTo>
                    <a:lnTo>
                      <a:pt x="71972" y="106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3" name="Freeform: Shape 3182">
                <a:extLst>
                  <a:ext uri="{FF2B5EF4-FFF2-40B4-BE49-F238E27FC236}">
                    <a16:creationId xmlns:a16="http://schemas.microsoft.com/office/drawing/2014/main" id="{C091A56D-04D5-4CB5-80F0-ADC9B3607B5F}"/>
                  </a:ext>
                </a:extLst>
              </p:cNvPr>
              <p:cNvSpPr/>
              <p:nvPr/>
            </p:nvSpPr>
            <p:spPr>
              <a:xfrm>
                <a:off x="2265403" y="5236563"/>
                <a:ext cx="1666" cy="2575"/>
              </a:xfrm>
              <a:custGeom>
                <a:avLst/>
                <a:gdLst>
                  <a:gd name="connsiteX0" fmla="*/ 1667 w 1666"/>
                  <a:gd name="connsiteY0" fmla="*/ 1212 h 2575"/>
                  <a:gd name="connsiteX1" fmla="*/ 1364 w 1666"/>
                  <a:gd name="connsiteY1" fmla="*/ 303 h 2575"/>
                  <a:gd name="connsiteX2" fmla="*/ 606 w 1666"/>
                  <a:gd name="connsiteY2" fmla="*/ 0 h 2575"/>
                  <a:gd name="connsiteX3" fmla="*/ 0 w 1666"/>
                  <a:gd name="connsiteY3" fmla="*/ 455 h 2575"/>
                  <a:gd name="connsiteX4" fmla="*/ 303 w 1666"/>
                  <a:gd name="connsiteY4" fmla="*/ 1364 h 2575"/>
                  <a:gd name="connsiteX5" fmla="*/ 909 w 1666"/>
                  <a:gd name="connsiteY5" fmla="*/ 2273 h 2575"/>
                  <a:gd name="connsiteX6" fmla="*/ 1364 w 1666"/>
                  <a:gd name="connsiteY6" fmla="*/ 2576 h 2575"/>
                  <a:gd name="connsiteX7" fmla="*/ 1667 w 1666"/>
                  <a:gd name="connsiteY7" fmla="*/ 2121 h 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 h="2575">
                    <a:moveTo>
                      <a:pt x="1667" y="1212"/>
                    </a:moveTo>
                    <a:lnTo>
                      <a:pt x="1364" y="303"/>
                    </a:lnTo>
                    <a:lnTo>
                      <a:pt x="606" y="0"/>
                    </a:lnTo>
                    <a:lnTo>
                      <a:pt x="0" y="455"/>
                    </a:lnTo>
                    <a:lnTo>
                      <a:pt x="303" y="1364"/>
                    </a:lnTo>
                    <a:lnTo>
                      <a:pt x="909" y="2273"/>
                    </a:lnTo>
                    <a:lnTo>
                      <a:pt x="1364" y="2576"/>
                    </a:lnTo>
                    <a:lnTo>
                      <a:pt x="1667" y="2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4" name="Freeform: Shape 3183">
                <a:extLst>
                  <a:ext uri="{FF2B5EF4-FFF2-40B4-BE49-F238E27FC236}">
                    <a16:creationId xmlns:a16="http://schemas.microsoft.com/office/drawing/2014/main" id="{04254298-11A5-4BF7-A813-2E075300B484}"/>
                  </a:ext>
                </a:extLst>
              </p:cNvPr>
              <p:cNvSpPr/>
              <p:nvPr/>
            </p:nvSpPr>
            <p:spPr>
              <a:xfrm>
                <a:off x="4234415" y="3175730"/>
                <a:ext cx="6818" cy="11818"/>
              </a:xfrm>
              <a:custGeom>
                <a:avLst/>
                <a:gdLst>
                  <a:gd name="connsiteX0" fmla="*/ 6364 w 6818"/>
                  <a:gd name="connsiteY0" fmla="*/ 9849 h 11818"/>
                  <a:gd name="connsiteX1" fmla="*/ 5455 w 6818"/>
                  <a:gd name="connsiteY1" fmla="*/ 10000 h 11818"/>
                  <a:gd name="connsiteX2" fmla="*/ 4849 w 6818"/>
                  <a:gd name="connsiteY2" fmla="*/ 10303 h 11818"/>
                  <a:gd name="connsiteX3" fmla="*/ 3939 w 6818"/>
                  <a:gd name="connsiteY3" fmla="*/ 11364 h 11818"/>
                  <a:gd name="connsiteX4" fmla="*/ 5909 w 6818"/>
                  <a:gd name="connsiteY4" fmla="*/ 11819 h 11818"/>
                  <a:gd name="connsiteX5" fmla="*/ 6516 w 6818"/>
                  <a:gd name="connsiteY5" fmla="*/ 11515 h 11818"/>
                  <a:gd name="connsiteX6" fmla="*/ 6818 w 6818"/>
                  <a:gd name="connsiteY6" fmla="*/ 10909 h 11818"/>
                  <a:gd name="connsiteX7" fmla="*/ 6818 w 6818"/>
                  <a:gd name="connsiteY7" fmla="*/ 10152 h 11818"/>
                  <a:gd name="connsiteX8" fmla="*/ 6364 w 6818"/>
                  <a:gd name="connsiteY8" fmla="*/ 9849 h 11818"/>
                  <a:gd name="connsiteX9" fmla="*/ 1970 w 6818"/>
                  <a:gd name="connsiteY9" fmla="*/ 4849 h 11818"/>
                  <a:gd name="connsiteX10" fmla="*/ 3030 w 6818"/>
                  <a:gd name="connsiteY10" fmla="*/ 2121 h 11818"/>
                  <a:gd name="connsiteX11" fmla="*/ 2727 w 6818"/>
                  <a:gd name="connsiteY11" fmla="*/ 909 h 11818"/>
                  <a:gd name="connsiteX12" fmla="*/ 606 w 6818"/>
                  <a:gd name="connsiteY12" fmla="*/ 0 h 11818"/>
                  <a:gd name="connsiteX13" fmla="*/ 303 w 6818"/>
                  <a:gd name="connsiteY13" fmla="*/ 303 h 11818"/>
                  <a:gd name="connsiteX14" fmla="*/ 0 w 6818"/>
                  <a:gd name="connsiteY14" fmla="*/ 1061 h 11818"/>
                  <a:gd name="connsiteX15" fmla="*/ 1515 w 6818"/>
                  <a:gd name="connsiteY15" fmla="*/ 5606 h 11818"/>
                  <a:gd name="connsiteX16" fmla="*/ 1515 w 6818"/>
                  <a:gd name="connsiteY16" fmla="*/ 6212 h 11818"/>
                  <a:gd name="connsiteX17" fmla="*/ 303 w 6818"/>
                  <a:gd name="connsiteY17" fmla="*/ 8637 h 11818"/>
                  <a:gd name="connsiteX18" fmla="*/ 151 w 6818"/>
                  <a:gd name="connsiteY18" fmla="*/ 9546 h 11818"/>
                  <a:gd name="connsiteX19" fmla="*/ 1061 w 6818"/>
                  <a:gd name="connsiteY19" fmla="*/ 10303 h 11818"/>
                  <a:gd name="connsiteX20" fmla="*/ 3485 w 6818"/>
                  <a:gd name="connsiteY20" fmla="*/ 8788 h 11818"/>
                  <a:gd name="connsiteX21" fmla="*/ 3788 w 6818"/>
                  <a:gd name="connsiteY21" fmla="*/ 8031 h 11818"/>
                  <a:gd name="connsiteX22" fmla="*/ 2879 w 6818"/>
                  <a:gd name="connsiteY22" fmla="*/ 6667 h 11818"/>
                  <a:gd name="connsiteX23" fmla="*/ 1970 w 6818"/>
                  <a:gd name="connsiteY23" fmla="*/ 4849 h 1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18" h="11818">
                    <a:moveTo>
                      <a:pt x="6364" y="9849"/>
                    </a:moveTo>
                    <a:lnTo>
                      <a:pt x="5455" y="10000"/>
                    </a:lnTo>
                    <a:lnTo>
                      <a:pt x="4849" y="10303"/>
                    </a:lnTo>
                    <a:lnTo>
                      <a:pt x="3939" y="11364"/>
                    </a:lnTo>
                    <a:lnTo>
                      <a:pt x="5909" y="11819"/>
                    </a:lnTo>
                    <a:lnTo>
                      <a:pt x="6516" y="11515"/>
                    </a:lnTo>
                    <a:lnTo>
                      <a:pt x="6818" y="10909"/>
                    </a:lnTo>
                    <a:lnTo>
                      <a:pt x="6818" y="10152"/>
                    </a:lnTo>
                    <a:lnTo>
                      <a:pt x="6364" y="9849"/>
                    </a:lnTo>
                    <a:close/>
                    <a:moveTo>
                      <a:pt x="1970" y="4849"/>
                    </a:moveTo>
                    <a:lnTo>
                      <a:pt x="3030" y="2121"/>
                    </a:lnTo>
                    <a:lnTo>
                      <a:pt x="2727" y="909"/>
                    </a:lnTo>
                    <a:lnTo>
                      <a:pt x="606" y="0"/>
                    </a:lnTo>
                    <a:lnTo>
                      <a:pt x="303" y="303"/>
                    </a:lnTo>
                    <a:lnTo>
                      <a:pt x="0" y="1061"/>
                    </a:lnTo>
                    <a:lnTo>
                      <a:pt x="1515" y="5606"/>
                    </a:lnTo>
                    <a:lnTo>
                      <a:pt x="1515" y="6212"/>
                    </a:lnTo>
                    <a:lnTo>
                      <a:pt x="303" y="8637"/>
                    </a:lnTo>
                    <a:lnTo>
                      <a:pt x="151" y="9546"/>
                    </a:lnTo>
                    <a:lnTo>
                      <a:pt x="1061" y="10303"/>
                    </a:lnTo>
                    <a:lnTo>
                      <a:pt x="3485" y="8788"/>
                    </a:lnTo>
                    <a:lnTo>
                      <a:pt x="3788" y="8031"/>
                    </a:lnTo>
                    <a:lnTo>
                      <a:pt x="2879" y="6667"/>
                    </a:lnTo>
                    <a:lnTo>
                      <a:pt x="1970" y="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5" name="Freeform: Shape 3184">
                <a:extLst>
                  <a:ext uri="{FF2B5EF4-FFF2-40B4-BE49-F238E27FC236}">
                    <a16:creationId xmlns:a16="http://schemas.microsoft.com/office/drawing/2014/main" id="{C926D4F0-0145-4AAB-B354-0FB5DFCA10BA}"/>
                  </a:ext>
                </a:extLst>
              </p:cNvPr>
              <p:cNvSpPr/>
              <p:nvPr/>
            </p:nvSpPr>
            <p:spPr>
              <a:xfrm>
                <a:off x="6163729" y="2895872"/>
                <a:ext cx="273040" cy="212735"/>
              </a:xfrm>
              <a:custGeom>
                <a:avLst/>
                <a:gdLst>
                  <a:gd name="connsiteX0" fmla="*/ 270313 w 273040"/>
                  <a:gd name="connsiteY0" fmla="*/ 150763 h 212735"/>
                  <a:gd name="connsiteX1" fmla="*/ 269556 w 273040"/>
                  <a:gd name="connsiteY1" fmla="*/ 149854 h 212735"/>
                  <a:gd name="connsiteX2" fmla="*/ 270010 w 273040"/>
                  <a:gd name="connsiteY2" fmla="*/ 148945 h 212735"/>
                  <a:gd name="connsiteX3" fmla="*/ 270768 w 273040"/>
                  <a:gd name="connsiteY3" fmla="*/ 148793 h 212735"/>
                  <a:gd name="connsiteX4" fmla="*/ 271828 w 273040"/>
                  <a:gd name="connsiteY4" fmla="*/ 148642 h 212735"/>
                  <a:gd name="connsiteX5" fmla="*/ 273040 w 273040"/>
                  <a:gd name="connsiteY5" fmla="*/ 147733 h 212735"/>
                  <a:gd name="connsiteX6" fmla="*/ 272737 w 273040"/>
                  <a:gd name="connsiteY6" fmla="*/ 146672 h 212735"/>
                  <a:gd name="connsiteX7" fmla="*/ 269707 w 273040"/>
                  <a:gd name="connsiteY7" fmla="*/ 144248 h 212735"/>
                  <a:gd name="connsiteX8" fmla="*/ 268495 w 273040"/>
                  <a:gd name="connsiteY8" fmla="*/ 142429 h 212735"/>
                  <a:gd name="connsiteX9" fmla="*/ 266373 w 273040"/>
                  <a:gd name="connsiteY9" fmla="*/ 137581 h 212735"/>
                  <a:gd name="connsiteX10" fmla="*/ 262282 w 273040"/>
                  <a:gd name="connsiteY10" fmla="*/ 132581 h 212735"/>
                  <a:gd name="connsiteX11" fmla="*/ 260919 w 273040"/>
                  <a:gd name="connsiteY11" fmla="*/ 130914 h 212735"/>
                  <a:gd name="connsiteX12" fmla="*/ 260767 w 273040"/>
                  <a:gd name="connsiteY12" fmla="*/ 129399 h 212735"/>
                  <a:gd name="connsiteX13" fmla="*/ 261373 w 273040"/>
                  <a:gd name="connsiteY13" fmla="*/ 127732 h 212735"/>
                  <a:gd name="connsiteX14" fmla="*/ 260767 w 273040"/>
                  <a:gd name="connsiteY14" fmla="*/ 125914 h 212735"/>
                  <a:gd name="connsiteX15" fmla="*/ 259252 w 273040"/>
                  <a:gd name="connsiteY15" fmla="*/ 123338 h 212735"/>
                  <a:gd name="connsiteX16" fmla="*/ 257585 w 273040"/>
                  <a:gd name="connsiteY16" fmla="*/ 119701 h 212735"/>
                  <a:gd name="connsiteX17" fmla="*/ 257737 w 273040"/>
                  <a:gd name="connsiteY17" fmla="*/ 116368 h 212735"/>
                  <a:gd name="connsiteX18" fmla="*/ 258646 w 273040"/>
                  <a:gd name="connsiteY18" fmla="*/ 114398 h 212735"/>
                  <a:gd name="connsiteX19" fmla="*/ 259858 w 273040"/>
                  <a:gd name="connsiteY19" fmla="*/ 112731 h 212735"/>
                  <a:gd name="connsiteX20" fmla="*/ 259403 w 273040"/>
                  <a:gd name="connsiteY20" fmla="*/ 110155 h 212735"/>
                  <a:gd name="connsiteX21" fmla="*/ 260616 w 273040"/>
                  <a:gd name="connsiteY21" fmla="*/ 106822 h 212735"/>
                  <a:gd name="connsiteX22" fmla="*/ 260616 w 273040"/>
                  <a:gd name="connsiteY22" fmla="*/ 104246 h 212735"/>
                  <a:gd name="connsiteX23" fmla="*/ 260010 w 273040"/>
                  <a:gd name="connsiteY23" fmla="*/ 103186 h 212735"/>
                  <a:gd name="connsiteX24" fmla="*/ 259101 w 273040"/>
                  <a:gd name="connsiteY24" fmla="*/ 101973 h 212735"/>
                  <a:gd name="connsiteX25" fmla="*/ 256525 w 273040"/>
                  <a:gd name="connsiteY25" fmla="*/ 100610 h 212735"/>
                  <a:gd name="connsiteX26" fmla="*/ 255313 w 273040"/>
                  <a:gd name="connsiteY26" fmla="*/ 99549 h 212735"/>
                  <a:gd name="connsiteX27" fmla="*/ 251676 w 273040"/>
                  <a:gd name="connsiteY27" fmla="*/ 98185 h 212735"/>
                  <a:gd name="connsiteX28" fmla="*/ 248191 w 273040"/>
                  <a:gd name="connsiteY28" fmla="*/ 96367 h 212735"/>
                  <a:gd name="connsiteX29" fmla="*/ 247585 w 273040"/>
                  <a:gd name="connsiteY29" fmla="*/ 95307 h 212735"/>
                  <a:gd name="connsiteX30" fmla="*/ 247737 w 273040"/>
                  <a:gd name="connsiteY30" fmla="*/ 94549 h 212735"/>
                  <a:gd name="connsiteX31" fmla="*/ 248342 w 273040"/>
                  <a:gd name="connsiteY31" fmla="*/ 93337 h 212735"/>
                  <a:gd name="connsiteX32" fmla="*/ 251070 w 273040"/>
                  <a:gd name="connsiteY32" fmla="*/ 90003 h 212735"/>
                  <a:gd name="connsiteX33" fmla="*/ 253949 w 273040"/>
                  <a:gd name="connsiteY33" fmla="*/ 86821 h 212735"/>
                  <a:gd name="connsiteX34" fmla="*/ 255918 w 273040"/>
                  <a:gd name="connsiteY34" fmla="*/ 85458 h 212735"/>
                  <a:gd name="connsiteX35" fmla="*/ 265919 w 273040"/>
                  <a:gd name="connsiteY35" fmla="*/ 81367 h 212735"/>
                  <a:gd name="connsiteX36" fmla="*/ 267434 w 273040"/>
                  <a:gd name="connsiteY36" fmla="*/ 79851 h 212735"/>
                  <a:gd name="connsiteX37" fmla="*/ 267737 w 273040"/>
                  <a:gd name="connsiteY37" fmla="*/ 77427 h 212735"/>
                  <a:gd name="connsiteX38" fmla="*/ 267889 w 273040"/>
                  <a:gd name="connsiteY38" fmla="*/ 75609 h 212735"/>
                  <a:gd name="connsiteX39" fmla="*/ 267586 w 273040"/>
                  <a:gd name="connsiteY39" fmla="*/ 72427 h 212735"/>
                  <a:gd name="connsiteX40" fmla="*/ 266980 w 273040"/>
                  <a:gd name="connsiteY40" fmla="*/ 67881 h 212735"/>
                  <a:gd name="connsiteX41" fmla="*/ 266222 w 273040"/>
                  <a:gd name="connsiteY41" fmla="*/ 64851 h 212735"/>
                  <a:gd name="connsiteX42" fmla="*/ 264404 w 273040"/>
                  <a:gd name="connsiteY42" fmla="*/ 58942 h 212735"/>
                  <a:gd name="connsiteX43" fmla="*/ 259101 w 273040"/>
                  <a:gd name="connsiteY43" fmla="*/ 46668 h 212735"/>
                  <a:gd name="connsiteX44" fmla="*/ 256070 w 273040"/>
                  <a:gd name="connsiteY44" fmla="*/ 33941 h 212735"/>
                  <a:gd name="connsiteX45" fmla="*/ 255767 w 273040"/>
                  <a:gd name="connsiteY45" fmla="*/ 33183 h 212735"/>
                  <a:gd name="connsiteX46" fmla="*/ 255918 w 273040"/>
                  <a:gd name="connsiteY46" fmla="*/ 31516 h 212735"/>
                  <a:gd name="connsiteX47" fmla="*/ 255918 w 273040"/>
                  <a:gd name="connsiteY47" fmla="*/ 28789 h 212735"/>
                  <a:gd name="connsiteX48" fmla="*/ 255161 w 273040"/>
                  <a:gd name="connsiteY48" fmla="*/ 26365 h 212735"/>
                  <a:gd name="connsiteX49" fmla="*/ 252888 w 273040"/>
                  <a:gd name="connsiteY49" fmla="*/ 24092 h 212735"/>
                  <a:gd name="connsiteX50" fmla="*/ 250464 w 273040"/>
                  <a:gd name="connsiteY50" fmla="*/ 22728 h 212735"/>
                  <a:gd name="connsiteX51" fmla="*/ 247433 w 273040"/>
                  <a:gd name="connsiteY51" fmla="*/ 21061 h 212735"/>
                  <a:gd name="connsiteX52" fmla="*/ 245161 w 273040"/>
                  <a:gd name="connsiteY52" fmla="*/ 20455 h 212735"/>
                  <a:gd name="connsiteX53" fmla="*/ 243949 w 273040"/>
                  <a:gd name="connsiteY53" fmla="*/ 20304 h 212735"/>
                  <a:gd name="connsiteX54" fmla="*/ 243645 w 273040"/>
                  <a:gd name="connsiteY54" fmla="*/ 19395 h 212735"/>
                  <a:gd name="connsiteX55" fmla="*/ 243191 w 273040"/>
                  <a:gd name="connsiteY55" fmla="*/ 18637 h 212735"/>
                  <a:gd name="connsiteX56" fmla="*/ 242130 w 273040"/>
                  <a:gd name="connsiteY56" fmla="*/ 17879 h 212735"/>
                  <a:gd name="connsiteX57" fmla="*/ 239857 w 273040"/>
                  <a:gd name="connsiteY57" fmla="*/ 16970 h 212735"/>
                  <a:gd name="connsiteX58" fmla="*/ 237888 w 273040"/>
                  <a:gd name="connsiteY58" fmla="*/ 16819 h 212735"/>
                  <a:gd name="connsiteX59" fmla="*/ 236373 w 273040"/>
                  <a:gd name="connsiteY59" fmla="*/ 18334 h 212735"/>
                  <a:gd name="connsiteX60" fmla="*/ 235463 w 273040"/>
                  <a:gd name="connsiteY60" fmla="*/ 18486 h 212735"/>
                  <a:gd name="connsiteX61" fmla="*/ 220008 w 273040"/>
                  <a:gd name="connsiteY61" fmla="*/ 18182 h 212735"/>
                  <a:gd name="connsiteX62" fmla="*/ 205462 w 273040"/>
                  <a:gd name="connsiteY62" fmla="*/ 17576 h 212735"/>
                  <a:gd name="connsiteX63" fmla="*/ 191825 w 273040"/>
                  <a:gd name="connsiteY63" fmla="*/ 16970 h 212735"/>
                  <a:gd name="connsiteX64" fmla="*/ 178794 w 273040"/>
                  <a:gd name="connsiteY64" fmla="*/ 16364 h 212735"/>
                  <a:gd name="connsiteX65" fmla="*/ 166370 w 273040"/>
                  <a:gd name="connsiteY65" fmla="*/ 15910 h 212735"/>
                  <a:gd name="connsiteX66" fmla="*/ 158642 w 273040"/>
                  <a:gd name="connsiteY66" fmla="*/ 15304 h 212735"/>
                  <a:gd name="connsiteX67" fmla="*/ 150915 w 273040"/>
                  <a:gd name="connsiteY67" fmla="*/ 14849 h 212735"/>
                  <a:gd name="connsiteX68" fmla="*/ 149854 w 273040"/>
                  <a:gd name="connsiteY68" fmla="*/ 14394 h 212735"/>
                  <a:gd name="connsiteX69" fmla="*/ 148642 w 273040"/>
                  <a:gd name="connsiteY69" fmla="*/ 15304 h 212735"/>
                  <a:gd name="connsiteX70" fmla="*/ 144399 w 273040"/>
                  <a:gd name="connsiteY70" fmla="*/ 17122 h 212735"/>
                  <a:gd name="connsiteX71" fmla="*/ 132732 w 273040"/>
                  <a:gd name="connsiteY71" fmla="*/ 18637 h 212735"/>
                  <a:gd name="connsiteX72" fmla="*/ 128793 w 273040"/>
                  <a:gd name="connsiteY72" fmla="*/ 17728 h 212735"/>
                  <a:gd name="connsiteX73" fmla="*/ 124247 w 273040"/>
                  <a:gd name="connsiteY73" fmla="*/ 15455 h 212735"/>
                  <a:gd name="connsiteX74" fmla="*/ 121974 w 273040"/>
                  <a:gd name="connsiteY74" fmla="*/ 12425 h 212735"/>
                  <a:gd name="connsiteX75" fmla="*/ 117883 w 273040"/>
                  <a:gd name="connsiteY75" fmla="*/ 3636 h 212735"/>
                  <a:gd name="connsiteX76" fmla="*/ 119701 w 273040"/>
                  <a:gd name="connsiteY76" fmla="*/ 3788 h 212735"/>
                  <a:gd name="connsiteX77" fmla="*/ 124550 w 273040"/>
                  <a:gd name="connsiteY77" fmla="*/ 6667 h 212735"/>
                  <a:gd name="connsiteX78" fmla="*/ 127884 w 273040"/>
                  <a:gd name="connsiteY78" fmla="*/ 7879 h 212735"/>
                  <a:gd name="connsiteX79" fmla="*/ 126671 w 273040"/>
                  <a:gd name="connsiteY79" fmla="*/ 5909 h 212735"/>
                  <a:gd name="connsiteX80" fmla="*/ 120610 w 273040"/>
                  <a:gd name="connsiteY80" fmla="*/ 2727 h 212735"/>
                  <a:gd name="connsiteX81" fmla="*/ 114853 w 273040"/>
                  <a:gd name="connsiteY81" fmla="*/ 0 h 212735"/>
                  <a:gd name="connsiteX82" fmla="*/ 108337 w 273040"/>
                  <a:gd name="connsiteY82" fmla="*/ 152 h 212735"/>
                  <a:gd name="connsiteX83" fmla="*/ 101670 w 273040"/>
                  <a:gd name="connsiteY83" fmla="*/ 909 h 212735"/>
                  <a:gd name="connsiteX84" fmla="*/ 85761 w 273040"/>
                  <a:gd name="connsiteY84" fmla="*/ 4243 h 212735"/>
                  <a:gd name="connsiteX85" fmla="*/ 78791 w 273040"/>
                  <a:gd name="connsiteY85" fmla="*/ 7121 h 212735"/>
                  <a:gd name="connsiteX86" fmla="*/ 75458 w 273040"/>
                  <a:gd name="connsiteY86" fmla="*/ 9243 h 212735"/>
                  <a:gd name="connsiteX87" fmla="*/ 66517 w 273040"/>
                  <a:gd name="connsiteY87" fmla="*/ 10910 h 212735"/>
                  <a:gd name="connsiteX88" fmla="*/ 61517 w 273040"/>
                  <a:gd name="connsiteY88" fmla="*/ 15304 h 212735"/>
                  <a:gd name="connsiteX89" fmla="*/ 59245 w 273040"/>
                  <a:gd name="connsiteY89" fmla="*/ 18031 h 212735"/>
                  <a:gd name="connsiteX90" fmla="*/ 57729 w 273040"/>
                  <a:gd name="connsiteY90" fmla="*/ 19243 h 212735"/>
                  <a:gd name="connsiteX91" fmla="*/ 56366 w 273040"/>
                  <a:gd name="connsiteY91" fmla="*/ 20758 h 212735"/>
                  <a:gd name="connsiteX92" fmla="*/ 52426 w 273040"/>
                  <a:gd name="connsiteY92" fmla="*/ 21667 h 212735"/>
                  <a:gd name="connsiteX93" fmla="*/ 48487 w 273040"/>
                  <a:gd name="connsiteY93" fmla="*/ 22122 h 212735"/>
                  <a:gd name="connsiteX94" fmla="*/ 31819 w 273040"/>
                  <a:gd name="connsiteY94" fmla="*/ 26365 h 212735"/>
                  <a:gd name="connsiteX95" fmla="*/ 16061 w 273040"/>
                  <a:gd name="connsiteY95" fmla="*/ 31062 h 212735"/>
                  <a:gd name="connsiteX96" fmla="*/ 6970 w 273040"/>
                  <a:gd name="connsiteY96" fmla="*/ 34547 h 212735"/>
                  <a:gd name="connsiteX97" fmla="*/ 3333 w 273040"/>
                  <a:gd name="connsiteY97" fmla="*/ 34244 h 212735"/>
                  <a:gd name="connsiteX98" fmla="*/ 2273 w 273040"/>
                  <a:gd name="connsiteY98" fmla="*/ 33486 h 212735"/>
                  <a:gd name="connsiteX99" fmla="*/ 1970 w 273040"/>
                  <a:gd name="connsiteY99" fmla="*/ 34698 h 212735"/>
                  <a:gd name="connsiteX100" fmla="*/ 2424 w 273040"/>
                  <a:gd name="connsiteY100" fmla="*/ 36516 h 212735"/>
                  <a:gd name="connsiteX101" fmla="*/ 6061 w 273040"/>
                  <a:gd name="connsiteY101" fmla="*/ 36971 h 212735"/>
                  <a:gd name="connsiteX102" fmla="*/ 11819 w 273040"/>
                  <a:gd name="connsiteY102" fmla="*/ 38335 h 212735"/>
                  <a:gd name="connsiteX103" fmla="*/ 11970 w 273040"/>
                  <a:gd name="connsiteY103" fmla="*/ 40911 h 212735"/>
                  <a:gd name="connsiteX104" fmla="*/ 11667 w 273040"/>
                  <a:gd name="connsiteY104" fmla="*/ 42729 h 212735"/>
                  <a:gd name="connsiteX105" fmla="*/ 12121 w 273040"/>
                  <a:gd name="connsiteY105" fmla="*/ 43789 h 212735"/>
                  <a:gd name="connsiteX106" fmla="*/ 12425 w 273040"/>
                  <a:gd name="connsiteY106" fmla="*/ 45153 h 212735"/>
                  <a:gd name="connsiteX107" fmla="*/ 9849 w 273040"/>
                  <a:gd name="connsiteY107" fmla="*/ 43941 h 212735"/>
                  <a:gd name="connsiteX108" fmla="*/ 3636 w 273040"/>
                  <a:gd name="connsiteY108" fmla="*/ 41820 h 212735"/>
                  <a:gd name="connsiteX109" fmla="*/ 3788 w 273040"/>
                  <a:gd name="connsiteY109" fmla="*/ 42729 h 212735"/>
                  <a:gd name="connsiteX110" fmla="*/ 4243 w 273040"/>
                  <a:gd name="connsiteY110" fmla="*/ 45759 h 212735"/>
                  <a:gd name="connsiteX111" fmla="*/ 4697 w 273040"/>
                  <a:gd name="connsiteY111" fmla="*/ 48335 h 212735"/>
                  <a:gd name="connsiteX112" fmla="*/ 7879 w 273040"/>
                  <a:gd name="connsiteY112" fmla="*/ 58487 h 212735"/>
                  <a:gd name="connsiteX113" fmla="*/ 7728 w 273040"/>
                  <a:gd name="connsiteY113" fmla="*/ 60911 h 212735"/>
                  <a:gd name="connsiteX114" fmla="*/ 7728 w 273040"/>
                  <a:gd name="connsiteY114" fmla="*/ 61517 h 212735"/>
                  <a:gd name="connsiteX115" fmla="*/ 6667 w 273040"/>
                  <a:gd name="connsiteY115" fmla="*/ 65002 h 212735"/>
                  <a:gd name="connsiteX116" fmla="*/ 4545 w 273040"/>
                  <a:gd name="connsiteY116" fmla="*/ 68033 h 212735"/>
                  <a:gd name="connsiteX117" fmla="*/ 1818 w 273040"/>
                  <a:gd name="connsiteY117" fmla="*/ 69548 h 212735"/>
                  <a:gd name="connsiteX118" fmla="*/ 303 w 273040"/>
                  <a:gd name="connsiteY118" fmla="*/ 71518 h 212735"/>
                  <a:gd name="connsiteX119" fmla="*/ 0 w 273040"/>
                  <a:gd name="connsiteY119" fmla="*/ 73488 h 212735"/>
                  <a:gd name="connsiteX120" fmla="*/ 3485 w 273040"/>
                  <a:gd name="connsiteY120" fmla="*/ 76973 h 212735"/>
                  <a:gd name="connsiteX121" fmla="*/ 10607 w 273040"/>
                  <a:gd name="connsiteY121" fmla="*/ 82124 h 212735"/>
                  <a:gd name="connsiteX122" fmla="*/ 13485 w 273040"/>
                  <a:gd name="connsiteY122" fmla="*/ 86367 h 212735"/>
                  <a:gd name="connsiteX123" fmla="*/ 12121 w 273040"/>
                  <a:gd name="connsiteY123" fmla="*/ 90003 h 212735"/>
                  <a:gd name="connsiteX124" fmla="*/ 11667 w 273040"/>
                  <a:gd name="connsiteY124" fmla="*/ 92579 h 212735"/>
                  <a:gd name="connsiteX125" fmla="*/ 12273 w 273040"/>
                  <a:gd name="connsiteY125" fmla="*/ 94246 h 212735"/>
                  <a:gd name="connsiteX126" fmla="*/ 13334 w 273040"/>
                  <a:gd name="connsiteY126" fmla="*/ 95610 h 212735"/>
                  <a:gd name="connsiteX127" fmla="*/ 15152 w 273040"/>
                  <a:gd name="connsiteY127" fmla="*/ 96670 h 212735"/>
                  <a:gd name="connsiteX128" fmla="*/ 15758 w 273040"/>
                  <a:gd name="connsiteY128" fmla="*/ 98185 h 212735"/>
                  <a:gd name="connsiteX129" fmla="*/ 15455 w 273040"/>
                  <a:gd name="connsiteY129" fmla="*/ 100307 h 212735"/>
                  <a:gd name="connsiteX130" fmla="*/ 15758 w 273040"/>
                  <a:gd name="connsiteY130" fmla="*/ 101670 h 212735"/>
                  <a:gd name="connsiteX131" fmla="*/ 17122 w 273040"/>
                  <a:gd name="connsiteY131" fmla="*/ 102731 h 212735"/>
                  <a:gd name="connsiteX132" fmla="*/ 16970 w 273040"/>
                  <a:gd name="connsiteY132" fmla="*/ 103186 h 212735"/>
                  <a:gd name="connsiteX133" fmla="*/ 16364 w 273040"/>
                  <a:gd name="connsiteY133" fmla="*/ 104701 h 212735"/>
                  <a:gd name="connsiteX134" fmla="*/ 15455 w 273040"/>
                  <a:gd name="connsiteY134" fmla="*/ 107277 h 212735"/>
                  <a:gd name="connsiteX135" fmla="*/ 15000 w 273040"/>
                  <a:gd name="connsiteY135" fmla="*/ 109246 h 212735"/>
                  <a:gd name="connsiteX136" fmla="*/ 13031 w 273040"/>
                  <a:gd name="connsiteY136" fmla="*/ 111822 h 212735"/>
                  <a:gd name="connsiteX137" fmla="*/ 13637 w 273040"/>
                  <a:gd name="connsiteY137" fmla="*/ 114095 h 212735"/>
                  <a:gd name="connsiteX138" fmla="*/ 15152 w 273040"/>
                  <a:gd name="connsiteY138" fmla="*/ 116822 h 212735"/>
                  <a:gd name="connsiteX139" fmla="*/ 16364 w 273040"/>
                  <a:gd name="connsiteY139" fmla="*/ 118035 h 212735"/>
                  <a:gd name="connsiteX140" fmla="*/ 16667 w 273040"/>
                  <a:gd name="connsiteY140" fmla="*/ 119398 h 212735"/>
                  <a:gd name="connsiteX141" fmla="*/ 15909 w 273040"/>
                  <a:gd name="connsiteY141" fmla="*/ 122429 h 212735"/>
                  <a:gd name="connsiteX142" fmla="*/ 16364 w 273040"/>
                  <a:gd name="connsiteY142" fmla="*/ 123186 h 212735"/>
                  <a:gd name="connsiteX143" fmla="*/ 21364 w 273040"/>
                  <a:gd name="connsiteY143" fmla="*/ 125308 h 212735"/>
                  <a:gd name="connsiteX144" fmla="*/ 22122 w 273040"/>
                  <a:gd name="connsiteY144" fmla="*/ 126368 h 212735"/>
                  <a:gd name="connsiteX145" fmla="*/ 22576 w 273040"/>
                  <a:gd name="connsiteY145" fmla="*/ 128489 h 212735"/>
                  <a:gd name="connsiteX146" fmla="*/ 24395 w 273040"/>
                  <a:gd name="connsiteY146" fmla="*/ 132884 h 212735"/>
                  <a:gd name="connsiteX147" fmla="*/ 22880 w 273040"/>
                  <a:gd name="connsiteY147" fmla="*/ 138641 h 212735"/>
                  <a:gd name="connsiteX148" fmla="*/ 21667 w 273040"/>
                  <a:gd name="connsiteY148" fmla="*/ 141823 h 212735"/>
                  <a:gd name="connsiteX149" fmla="*/ 18788 w 273040"/>
                  <a:gd name="connsiteY149" fmla="*/ 146672 h 212735"/>
                  <a:gd name="connsiteX150" fmla="*/ 18637 w 273040"/>
                  <a:gd name="connsiteY150" fmla="*/ 147127 h 212735"/>
                  <a:gd name="connsiteX151" fmla="*/ 21061 w 273040"/>
                  <a:gd name="connsiteY151" fmla="*/ 147127 h 212735"/>
                  <a:gd name="connsiteX152" fmla="*/ 23334 w 273040"/>
                  <a:gd name="connsiteY152" fmla="*/ 146217 h 212735"/>
                  <a:gd name="connsiteX153" fmla="*/ 23637 w 273040"/>
                  <a:gd name="connsiteY153" fmla="*/ 144702 h 212735"/>
                  <a:gd name="connsiteX154" fmla="*/ 23486 w 273040"/>
                  <a:gd name="connsiteY154" fmla="*/ 141975 h 212735"/>
                  <a:gd name="connsiteX155" fmla="*/ 23637 w 273040"/>
                  <a:gd name="connsiteY155" fmla="*/ 141520 h 212735"/>
                  <a:gd name="connsiteX156" fmla="*/ 27274 w 273040"/>
                  <a:gd name="connsiteY156" fmla="*/ 142429 h 212735"/>
                  <a:gd name="connsiteX157" fmla="*/ 30910 w 273040"/>
                  <a:gd name="connsiteY157" fmla="*/ 143642 h 212735"/>
                  <a:gd name="connsiteX158" fmla="*/ 31516 w 273040"/>
                  <a:gd name="connsiteY158" fmla="*/ 146369 h 212735"/>
                  <a:gd name="connsiteX159" fmla="*/ 32425 w 273040"/>
                  <a:gd name="connsiteY159" fmla="*/ 147733 h 212735"/>
                  <a:gd name="connsiteX160" fmla="*/ 33638 w 273040"/>
                  <a:gd name="connsiteY160" fmla="*/ 148945 h 212735"/>
                  <a:gd name="connsiteX161" fmla="*/ 34698 w 273040"/>
                  <a:gd name="connsiteY161" fmla="*/ 149399 h 212735"/>
                  <a:gd name="connsiteX162" fmla="*/ 36517 w 273040"/>
                  <a:gd name="connsiteY162" fmla="*/ 149551 h 212735"/>
                  <a:gd name="connsiteX163" fmla="*/ 41517 w 273040"/>
                  <a:gd name="connsiteY163" fmla="*/ 151218 h 212735"/>
                  <a:gd name="connsiteX164" fmla="*/ 43789 w 273040"/>
                  <a:gd name="connsiteY164" fmla="*/ 151521 h 212735"/>
                  <a:gd name="connsiteX165" fmla="*/ 46214 w 273040"/>
                  <a:gd name="connsiteY165" fmla="*/ 152581 h 212735"/>
                  <a:gd name="connsiteX166" fmla="*/ 48335 w 273040"/>
                  <a:gd name="connsiteY166" fmla="*/ 153794 h 212735"/>
                  <a:gd name="connsiteX167" fmla="*/ 49850 w 273040"/>
                  <a:gd name="connsiteY167" fmla="*/ 153945 h 212735"/>
                  <a:gd name="connsiteX168" fmla="*/ 50456 w 273040"/>
                  <a:gd name="connsiteY168" fmla="*/ 155309 h 212735"/>
                  <a:gd name="connsiteX169" fmla="*/ 51365 w 273040"/>
                  <a:gd name="connsiteY169" fmla="*/ 156066 h 212735"/>
                  <a:gd name="connsiteX170" fmla="*/ 53032 w 273040"/>
                  <a:gd name="connsiteY170" fmla="*/ 155460 h 212735"/>
                  <a:gd name="connsiteX171" fmla="*/ 58941 w 273040"/>
                  <a:gd name="connsiteY171" fmla="*/ 154551 h 212735"/>
                  <a:gd name="connsiteX172" fmla="*/ 61063 w 273040"/>
                  <a:gd name="connsiteY172" fmla="*/ 155763 h 212735"/>
                  <a:gd name="connsiteX173" fmla="*/ 62578 w 273040"/>
                  <a:gd name="connsiteY173" fmla="*/ 156975 h 212735"/>
                  <a:gd name="connsiteX174" fmla="*/ 62729 w 273040"/>
                  <a:gd name="connsiteY174" fmla="*/ 157430 h 212735"/>
                  <a:gd name="connsiteX175" fmla="*/ 61972 w 273040"/>
                  <a:gd name="connsiteY175" fmla="*/ 158642 h 212735"/>
                  <a:gd name="connsiteX176" fmla="*/ 61669 w 273040"/>
                  <a:gd name="connsiteY176" fmla="*/ 159551 h 212735"/>
                  <a:gd name="connsiteX177" fmla="*/ 61063 w 273040"/>
                  <a:gd name="connsiteY177" fmla="*/ 160006 h 212735"/>
                  <a:gd name="connsiteX178" fmla="*/ 58941 w 273040"/>
                  <a:gd name="connsiteY178" fmla="*/ 160763 h 212735"/>
                  <a:gd name="connsiteX179" fmla="*/ 57881 w 273040"/>
                  <a:gd name="connsiteY179" fmla="*/ 161673 h 212735"/>
                  <a:gd name="connsiteX180" fmla="*/ 56972 w 273040"/>
                  <a:gd name="connsiteY180" fmla="*/ 162885 h 212735"/>
                  <a:gd name="connsiteX181" fmla="*/ 57578 w 273040"/>
                  <a:gd name="connsiteY181" fmla="*/ 163945 h 212735"/>
                  <a:gd name="connsiteX182" fmla="*/ 59245 w 273040"/>
                  <a:gd name="connsiteY182" fmla="*/ 164703 h 212735"/>
                  <a:gd name="connsiteX183" fmla="*/ 60305 w 273040"/>
                  <a:gd name="connsiteY183" fmla="*/ 164854 h 212735"/>
                  <a:gd name="connsiteX184" fmla="*/ 60760 w 273040"/>
                  <a:gd name="connsiteY184" fmla="*/ 165612 h 212735"/>
                  <a:gd name="connsiteX185" fmla="*/ 64548 w 273040"/>
                  <a:gd name="connsiteY185" fmla="*/ 169097 h 212735"/>
                  <a:gd name="connsiteX186" fmla="*/ 67578 w 273040"/>
                  <a:gd name="connsiteY186" fmla="*/ 173643 h 212735"/>
                  <a:gd name="connsiteX187" fmla="*/ 68791 w 273040"/>
                  <a:gd name="connsiteY187" fmla="*/ 174400 h 212735"/>
                  <a:gd name="connsiteX188" fmla="*/ 69851 w 273040"/>
                  <a:gd name="connsiteY188" fmla="*/ 174552 h 212735"/>
                  <a:gd name="connsiteX189" fmla="*/ 71063 w 273040"/>
                  <a:gd name="connsiteY189" fmla="*/ 173794 h 212735"/>
                  <a:gd name="connsiteX190" fmla="*/ 72579 w 273040"/>
                  <a:gd name="connsiteY190" fmla="*/ 172430 h 212735"/>
                  <a:gd name="connsiteX191" fmla="*/ 74245 w 273040"/>
                  <a:gd name="connsiteY191" fmla="*/ 171370 h 212735"/>
                  <a:gd name="connsiteX192" fmla="*/ 75760 w 273040"/>
                  <a:gd name="connsiteY192" fmla="*/ 170764 h 212735"/>
                  <a:gd name="connsiteX193" fmla="*/ 78336 w 273040"/>
                  <a:gd name="connsiteY193" fmla="*/ 169552 h 212735"/>
                  <a:gd name="connsiteX194" fmla="*/ 78336 w 273040"/>
                  <a:gd name="connsiteY194" fmla="*/ 168642 h 212735"/>
                  <a:gd name="connsiteX195" fmla="*/ 76215 w 273040"/>
                  <a:gd name="connsiteY195" fmla="*/ 165612 h 212735"/>
                  <a:gd name="connsiteX196" fmla="*/ 75003 w 273040"/>
                  <a:gd name="connsiteY196" fmla="*/ 163188 h 212735"/>
                  <a:gd name="connsiteX197" fmla="*/ 75306 w 273040"/>
                  <a:gd name="connsiteY197" fmla="*/ 162733 h 212735"/>
                  <a:gd name="connsiteX198" fmla="*/ 78033 w 273040"/>
                  <a:gd name="connsiteY198" fmla="*/ 163036 h 212735"/>
                  <a:gd name="connsiteX199" fmla="*/ 82730 w 273040"/>
                  <a:gd name="connsiteY199" fmla="*/ 164400 h 212735"/>
                  <a:gd name="connsiteX200" fmla="*/ 90003 w 273040"/>
                  <a:gd name="connsiteY200" fmla="*/ 168946 h 212735"/>
                  <a:gd name="connsiteX201" fmla="*/ 91215 w 273040"/>
                  <a:gd name="connsiteY201" fmla="*/ 168946 h 212735"/>
                  <a:gd name="connsiteX202" fmla="*/ 93791 w 273040"/>
                  <a:gd name="connsiteY202" fmla="*/ 168491 h 212735"/>
                  <a:gd name="connsiteX203" fmla="*/ 96519 w 273040"/>
                  <a:gd name="connsiteY203" fmla="*/ 167885 h 212735"/>
                  <a:gd name="connsiteX204" fmla="*/ 97882 w 273040"/>
                  <a:gd name="connsiteY204" fmla="*/ 166976 h 212735"/>
                  <a:gd name="connsiteX205" fmla="*/ 98337 w 273040"/>
                  <a:gd name="connsiteY205" fmla="*/ 167279 h 212735"/>
                  <a:gd name="connsiteX206" fmla="*/ 98640 w 273040"/>
                  <a:gd name="connsiteY206" fmla="*/ 169703 h 212735"/>
                  <a:gd name="connsiteX207" fmla="*/ 98034 w 273040"/>
                  <a:gd name="connsiteY207" fmla="*/ 171067 h 212735"/>
                  <a:gd name="connsiteX208" fmla="*/ 94700 w 273040"/>
                  <a:gd name="connsiteY208" fmla="*/ 172430 h 212735"/>
                  <a:gd name="connsiteX209" fmla="*/ 94852 w 273040"/>
                  <a:gd name="connsiteY209" fmla="*/ 173037 h 212735"/>
                  <a:gd name="connsiteX210" fmla="*/ 95761 w 273040"/>
                  <a:gd name="connsiteY210" fmla="*/ 173794 h 212735"/>
                  <a:gd name="connsiteX211" fmla="*/ 97277 w 273040"/>
                  <a:gd name="connsiteY211" fmla="*/ 174400 h 212735"/>
                  <a:gd name="connsiteX212" fmla="*/ 99095 w 273040"/>
                  <a:gd name="connsiteY212" fmla="*/ 175916 h 212735"/>
                  <a:gd name="connsiteX213" fmla="*/ 100307 w 273040"/>
                  <a:gd name="connsiteY213" fmla="*/ 177734 h 212735"/>
                  <a:gd name="connsiteX214" fmla="*/ 101367 w 273040"/>
                  <a:gd name="connsiteY214" fmla="*/ 178643 h 212735"/>
                  <a:gd name="connsiteX215" fmla="*/ 102579 w 273040"/>
                  <a:gd name="connsiteY215" fmla="*/ 178946 h 212735"/>
                  <a:gd name="connsiteX216" fmla="*/ 105458 w 273040"/>
                  <a:gd name="connsiteY216" fmla="*/ 178037 h 212735"/>
                  <a:gd name="connsiteX217" fmla="*/ 106367 w 273040"/>
                  <a:gd name="connsiteY217" fmla="*/ 177279 h 212735"/>
                  <a:gd name="connsiteX218" fmla="*/ 106671 w 273040"/>
                  <a:gd name="connsiteY218" fmla="*/ 176673 h 212735"/>
                  <a:gd name="connsiteX219" fmla="*/ 107277 w 273040"/>
                  <a:gd name="connsiteY219" fmla="*/ 176825 h 212735"/>
                  <a:gd name="connsiteX220" fmla="*/ 108337 w 273040"/>
                  <a:gd name="connsiteY220" fmla="*/ 177734 h 212735"/>
                  <a:gd name="connsiteX221" fmla="*/ 108641 w 273040"/>
                  <a:gd name="connsiteY221" fmla="*/ 178188 h 212735"/>
                  <a:gd name="connsiteX222" fmla="*/ 111519 w 273040"/>
                  <a:gd name="connsiteY222" fmla="*/ 179249 h 212735"/>
                  <a:gd name="connsiteX223" fmla="*/ 113186 w 273040"/>
                  <a:gd name="connsiteY223" fmla="*/ 180461 h 212735"/>
                  <a:gd name="connsiteX224" fmla="*/ 114247 w 273040"/>
                  <a:gd name="connsiteY224" fmla="*/ 181067 h 212735"/>
                  <a:gd name="connsiteX225" fmla="*/ 115459 w 273040"/>
                  <a:gd name="connsiteY225" fmla="*/ 180461 h 212735"/>
                  <a:gd name="connsiteX226" fmla="*/ 120005 w 273040"/>
                  <a:gd name="connsiteY226" fmla="*/ 181522 h 212735"/>
                  <a:gd name="connsiteX227" fmla="*/ 121368 w 273040"/>
                  <a:gd name="connsiteY227" fmla="*/ 182279 h 212735"/>
                  <a:gd name="connsiteX228" fmla="*/ 121671 w 273040"/>
                  <a:gd name="connsiteY228" fmla="*/ 183643 h 212735"/>
                  <a:gd name="connsiteX229" fmla="*/ 121519 w 273040"/>
                  <a:gd name="connsiteY229" fmla="*/ 184552 h 212735"/>
                  <a:gd name="connsiteX230" fmla="*/ 122277 w 273040"/>
                  <a:gd name="connsiteY230" fmla="*/ 186673 h 212735"/>
                  <a:gd name="connsiteX231" fmla="*/ 128035 w 273040"/>
                  <a:gd name="connsiteY231" fmla="*/ 191674 h 212735"/>
                  <a:gd name="connsiteX232" fmla="*/ 128641 w 273040"/>
                  <a:gd name="connsiteY232" fmla="*/ 194401 h 212735"/>
                  <a:gd name="connsiteX233" fmla="*/ 128793 w 273040"/>
                  <a:gd name="connsiteY233" fmla="*/ 195462 h 212735"/>
                  <a:gd name="connsiteX234" fmla="*/ 131672 w 273040"/>
                  <a:gd name="connsiteY234" fmla="*/ 195765 h 212735"/>
                  <a:gd name="connsiteX235" fmla="*/ 132126 w 273040"/>
                  <a:gd name="connsiteY235" fmla="*/ 197583 h 212735"/>
                  <a:gd name="connsiteX236" fmla="*/ 132429 w 273040"/>
                  <a:gd name="connsiteY236" fmla="*/ 199401 h 212735"/>
                  <a:gd name="connsiteX237" fmla="*/ 137429 w 273040"/>
                  <a:gd name="connsiteY237" fmla="*/ 199250 h 212735"/>
                  <a:gd name="connsiteX238" fmla="*/ 140157 w 273040"/>
                  <a:gd name="connsiteY238" fmla="*/ 195310 h 212735"/>
                  <a:gd name="connsiteX239" fmla="*/ 141520 w 273040"/>
                  <a:gd name="connsiteY239" fmla="*/ 194856 h 212735"/>
                  <a:gd name="connsiteX240" fmla="*/ 143945 w 273040"/>
                  <a:gd name="connsiteY240" fmla="*/ 193492 h 212735"/>
                  <a:gd name="connsiteX241" fmla="*/ 145460 w 273040"/>
                  <a:gd name="connsiteY241" fmla="*/ 192280 h 212735"/>
                  <a:gd name="connsiteX242" fmla="*/ 146369 w 273040"/>
                  <a:gd name="connsiteY242" fmla="*/ 193037 h 212735"/>
                  <a:gd name="connsiteX243" fmla="*/ 147884 w 273040"/>
                  <a:gd name="connsiteY243" fmla="*/ 195613 h 212735"/>
                  <a:gd name="connsiteX244" fmla="*/ 149551 w 273040"/>
                  <a:gd name="connsiteY244" fmla="*/ 197583 h 212735"/>
                  <a:gd name="connsiteX245" fmla="*/ 150460 w 273040"/>
                  <a:gd name="connsiteY245" fmla="*/ 198492 h 212735"/>
                  <a:gd name="connsiteX246" fmla="*/ 150612 w 273040"/>
                  <a:gd name="connsiteY246" fmla="*/ 199098 h 212735"/>
                  <a:gd name="connsiteX247" fmla="*/ 151521 w 273040"/>
                  <a:gd name="connsiteY247" fmla="*/ 199401 h 212735"/>
                  <a:gd name="connsiteX248" fmla="*/ 153339 w 273040"/>
                  <a:gd name="connsiteY248" fmla="*/ 199704 h 212735"/>
                  <a:gd name="connsiteX249" fmla="*/ 154551 w 273040"/>
                  <a:gd name="connsiteY249" fmla="*/ 200310 h 212735"/>
                  <a:gd name="connsiteX250" fmla="*/ 154854 w 273040"/>
                  <a:gd name="connsiteY250" fmla="*/ 202280 h 212735"/>
                  <a:gd name="connsiteX251" fmla="*/ 154854 w 273040"/>
                  <a:gd name="connsiteY251" fmla="*/ 203947 h 212735"/>
                  <a:gd name="connsiteX252" fmla="*/ 154248 w 273040"/>
                  <a:gd name="connsiteY252" fmla="*/ 205159 h 212735"/>
                  <a:gd name="connsiteX253" fmla="*/ 153945 w 273040"/>
                  <a:gd name="connsiteY253" fmla="*/ 206220 h 212735"/>
                  <a:gd name="connsiteX254" fmla="*/ 155309 w 273040"/>
                  <a:gd name="connsiteY254" fmla="*/ 206674 h 212735"/>
                  <a:gd name="connsiteX255" fmla="*/ 157127 w 273040"/>
                  <a:gd name="connsiteY255" fmla="*/ 206220 h 212735"/>
                  <a:gd name="connsiteX256" fmla="*/ 158339 w 273040"/>
                  <a:gd name="connsiteY256" fmla="*/ 205614 h 212735"/>
                  <a:gd name="connsiteX257" fmla="*/ 162279 w 273040"/>
                  <a:gd name="connsiteY257" fmla="*/ 207129 h 212735"/>
                  <a:gd name="connsiteX258" fmla="*/ 163642 w 273040"/>
                  <a:gd name="connsiteY258" fmla="*/ 203947 h 212735"/>
                  <a:gd name="connsiteX259" fmla="*/ 165158 w 273040"/>
                  <a:gd name="connsiteY259" fmla="*/ 202280 h 212735"/>
                  <a:gd name="connsiteX260" fmla="*/ 167127 w 273040"/>
                  <a:gd name="connsiteY260" fmla="*/ 201522 h 212735"/>
                  <a:gd name="connsiteX261" fmla="*/ 168946 w 273040"/>
                  <a:gd name="connsiteY261" fmla="*/ 200613 h 212735"/>
                  <a:gd name="connsiteX262" fmla="*/ 170613 w 273040"/>
                  <a:gd name="connsiteY262" fmla="*/ 199856 h 212735"/>
                  <a:gd name="connsiteX263" fmla="*/ 171673 w 273040"/>
                  <a:gd name="connsiteY263" fmla="*/ 199856 h 212735"/>
                  <a:gd name="connsiteX264" fmla="*/ 172279 w 273040"/>
                  <a:gd name="connsiteY264" fmla="*/ 199553 h 212735"/>
                  <a:gd name="connsiteX265" fmla="*/ 173643 w 273040"/>
                  <a:gd name="connsiteY265" fmla="*/ 199704 h 212735"/>
                  <a:gd name="connsiteX266" fmla="*/ 175310 w 273040"/>
                  <a:gd name="connsiteY266" fmla="*/ 200007 h 212735"/>
                  <a:gd name="connsiteX267" fmla="*/ 177582 w 273040"/>
                  <a:gd name="connsiteY267" fmla="*/ 199553 h 212735"/>
                  <a:gd name="connsiteX268" fmla="*/ 180613 w 273040"/>
                  <a:gd name="connsiteY268" fmla="*/ 200462 h 212735"/>
                  <a:gd name="connsiteX269" fmla="*/ 182582 w 273040"/>
                  <a:gd name="connsiteY269" fmla="*/ 201826 h 212735"/>
                  <a:gd name="connsiteX270" fmla="*/ 184401 w 273040"/>
                  <a:gd name="connsiteY270" fmla="*/ 202280 h 212735"/>
                  <a:gd name="connsiteX271" fmla="*/ 186522 w 273040"/>
                  <a:gd name="connsiteY271" fmla="*/ 202280 h 212735"/>
                  <a:gd name="connsiteX272" fmla="*/ 188037 w 273040"/>
                  <a:gd name="connsiteY272" fmla="*/ 201522 h 212735"/>
                  <a:gd name="connsiteX273" fmla="*/ 190158 w 273040"/>
                  <a:gd name="connsiteY273" fmla="*/ 198644 h 212735"/>
                  <a:gd name="connsiteX274" fmla="*/ 191825 w 273040"/>
                  <a:gd name="connsiteY274" fmla="*/ 198644 h 212735"/>
                  <a:gd name="connsiteX275" fmla="*/ 194250 w 273040"/>
                  <a:gd name="connsiteY275" fmla="*/ 198341 h 212735"/>
                  <a:gd name="connsiteX276" fmla="*/ 197583 w 273040"/>
                  <a:gd name="connsiteY276" fmla="*/ 198341 h 212735"/>
                  <a:gd name="connsiteX277" fmla="*/ 205462 w 273040"/>
                  <a:gd name="connsiteY277" fmla="*/ 198947 h 212735"/>
                  <a:gd name="connsiteX278" fmla="*/ 207584 w 273040"/>
                  <a:gd name="connsiteY278" fmla="*/ 200007 h 212735"/>
                  <a:gd name="connsiteX279" fmla="*/ 212432 w 273040"/>
                  <a:gd name="connsiteY279" fmla="*/ 201371 h 212735"/>
                  <a:gd name="connsiteX280" fmla="*/ 214553 w 273040"/>
                  <a:gd name="connsiteY280" fmla="*/ 202886 h 212735"/>
                  <a:gd name="connsiteX281" fmla="*/ 215463 w 273040"/>
                  <a:gd name="connsiteY281" fmla="*/ 204704 h 212735"/>
                  <a:gd name="connsiteX282" fmla="*/ 215917 w 273040"/>
                  <a:gd name="connsiteY282" fmla="*/ 206068 h 212735"/>
                  <a:gd name="connsiteX283" fmla="*/ 220917 w 273040"/>
                  <a:gd name="connsiteY283" fmla="*/ 208038 h 212735"/>
                  <a:gd name="connsiteX284" fmla="*/ 228342 w 273040"/>
                  <a:gd name="connsiteY284" fmla="*/ 210614 h 212735"/>
                  <a:gd name="connsiteX285" fmla="*/ 230160 w 273040"/>
                  <a:gd name="connsiteY285" fmla="*/ 210917 h 212735"/>
                  <a:gd name="connsiteX286" fmla="*/ 231221 w 273040"/>
                  <a:gd name="connsiteY286" fmla="*/ 210765 h 212735"/>
                  <a:gd name="connsiteX287" fmla="*/ 234554 w 273040"/>
                  <a:gd name="connsiteY287" fmla="*/ 211977 h 212735"/>
                  <a:gd name="connsiteX288" fmla="*/ 237584 w 273040"/>
                  <a:gd name="connsiteY288" fmla="*/ 212735 h 212735"/>
                  <a:gd name="connsiteX289" fmla="*/ 238342 w 273040"/>
                  <a:gd name="connsiteY289" fmla="*/ 212129 h 212735"/>
                  <a:gd name="connsiteX290" fmla="*/ 238645 w 273040"/>
                  <a:gd name="connsiteY290" fmla="*/ 211220 h 212735"/>
                  <a:gd name="connsiteX291" fmla="*/ 238645 w 273040"/>
                  <a:gd name="connsiteY291" fmla="*/ 210614 h 212735"/>
                  <a:gd name="connsiteX292" fmla="*/ 236221 w 273040"/>
                  <a:gd name="connsiteY292" fmla="*/ 208644 h 212735"/>
                  <a:gd name="connsiteX293" fmla="*/ 234706 w 273040"/>
                  <a:gd name="connsiteY293" fmla="*/ 207432 h 212735"/>
                  <a:gd name="connsiteX294" fmla="*/ 234554 w 273040"/>
                  <a:gd name="connsiteY294" fmla="*/ 206674 h 212735"/>
                  <a:gd name="connsiteX295" fmla="*/ 235160 w 273040"/>
                  <a:gd name="connsiteY295" fmla="*/ 205007 h 212735"/>
                  <a:gd name="connsiteX296" fmla="*/ 235463 w 273040"/>
                  <a:gd name="connsiteY296" fmla="*/ 203038 h 212735"/>
                  <a:gd name="connsiteX297" fmla="*/ 235160 w 273040"/>
                  <a:gd name="connsiteY297" fmla="*/ 200916 h 212735"/>
                  <a:gd name="connsiteX298" fmla="*/ 233494 w 273040"/>
                  <a:gd name="connsiteY298" fmla="*/ 196371 h 212735"/>
                  <a:gd name="connsiteX299" fmla="*/ 233190 w 273040"/>
                  <a:gd name="connsiteY299" fmla="*/ 194401 h 212735"/>
                  <a:gd name="connsiteX300" fmla="*/ 234706 w 273040"/>
                  <a:gd name="connsiteY300" fmla="*/ 191977 h 212735"/>
                  <a:gd name="connsiteX301" fmla="*/ 239706 w 273040"/>
                  <a:gd name="connsiteY301" fmla="*/ 186370 h 212735"/>
                  <a:gd name="connsiteX302" fmla="*/ 241524 w 273040"/>
                  <a:gd name="connsiteY302" fmla="*/ 184249 h 212735"/>
                  <a:gd name="connsiteX303" fmla="*/ 243797 w 273040"/>
                  <a:gd name="connsiteY303" fmla="*/ 181522 h 212735"/>
                  <a:gd name="connsiteX304" fmla="*/ 250009 w 273040"/>
                  <a:gd name="connsiteY304" fmla="*/ 175461 h 212735"/>
                  <a:gd name="connsiteX305" fmla="*/ 253949 w 273040"/>
                  <a:gd name="connsiteY305" fmla="*/ 171824 h 212735"/>
                  <a:gd name="connsiteX306" fmla="*/ 256676 w 273040"/>
                  <a:gd name="connsiteY306" fmla="*/ 169855 h 212735"/>
                  <a:gd name="connsiteX307" fmla="*/ 260464 w 273040"/>
                  <a:gd name="connsiteY307" fmla="*/ 166370 h 212735"/>
                  <a:gd name="connsiteX308" fmla="*/ 262282 w 273040"/>
                  <a:gd name="connsiteY308" fmla="*/ 164551 h 212735"/>
                  <a:gd name="connsiteX309" fmla="*/ 269404 w 273040"/>
                  <a:gd name="connsiteY309" fmla="*/ 163339 h 212735"/>
                  <a:gd name="connsiteX310" fmla="*/ 270313 w 273040"/>
                  <a:gd name="connsiteY310" fmla="*/ 161673 h 212735"/>
                  <a:gd name="connsiteX311" fmla="*/ 271525 w 273040"/>
                  <a:gd name="connsiteY311" fmla="*/ 159854 h 212735"/>
                  <a:gd name="connsiteX312" fmla="*/ 272586 w 273040"/>
                  <a:gd name="connsiteY312" fmla="*/ 158945 h 212735"/>
                  <a:gd name="connsiteX313" fmla="*/ 272737 w 273040"/>
                  <a:gd name="connsiteY313" fmla="*/ 155915 h 212735"/>
                  <a:gd name="connsiteX314" fmla="*/ 271374 w 273040"/>
                  <a:gd name="connsiteY314" fmla="*/ 152127 h 21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273040" h="212735">
                    <a:moveTo>
                      <a:pt x="270313" y="150763"/>
                    </a:moveTo>
                    <a:lnTo>
                      <a:pt x="269556" y="149854"/>
                    </a:lnTo>
                    <a:lnTo>
                      <a:pt x="270010" y="148945"/>
                    </a:lnTo>
                    <a:lnTo>
                      <a:pt x="270768" y="148793"/>
                    </a:lnTo>
                    <a:lnTo>
                      <a:pt x="271828" y="148642"/>
                    </a:lnTo>
                    <a:lnTo>
                      <a:pt x="273040" y="147733"/>
                    </a:lnTo>
                    <a:lnTo>
                      <a:pt x="272737" y="146672"/>
                    </a:lnTo>
                    <a:lnTo>
                      <a:pt x="269707" y="144248"/>
                    </a:lnTo>
                    <a:lnTo>
                      <a:pt x="268495" y="142429"/>
                    </a:lnTo>
                    <a:lnTo>
                      <a:pt x="266373" y="137581"/>
                    </a:lnTo>
                    <a:lnTo>
                      <a:pt x="262282" y="132581"/>
                    </a:lnTo>
                    <a:lnTo>
                      <a:pt x="260919" y="130914"/>
                    </a:lnTo>
                    <a:lnTo>
                      <a:pt x="260767" y="129399"/>
                    </a:lnTo>
                    <a:lnTo>
                      <a:pt x="261373" y="127732"/>
                    </a:lnTo>
                    <a:lnTo>
                      <a:pt x="260767" y="125914"/>
                    </a:lnTo>
                    <a:lnTo>
                      <a:pt x="259252" y="123338"/>
                    </a:lnTo>
                    <a:lnTo>
                      <a:pt x="257585" y="119701"/>
                    </a:lnTo>
                    <a:lnTo>
                      <a:pt x="257737" y="116368"/>
                    </a:lnTo>
                    <a:lnTo>
                      <a:pt x="258646" y="114398"/>
                    </a:lnTo>
                    <a:lnTo>
                      <a:pt x="259858" y="112731"/>
                    </a:lnTo>
                    <a:lnTo>
                      <a:pt x="259403" y="110155"/>
                    </a:lnTo>
                    <a:lnTo>
                      <a:pt x="260616" y="106822"/>
                    </a:lnTo>
                    <a:lnTo>
                      <a:pt x="260616" y="104246"/>
                    </a:lnTo>
                    <a:lnTo>
                      <a:pt x="260010" y="103186"/>
                    </a:lnTo>
                    <a:lnTo>
                      <a:pt x="259101" y="101973"/>
                    </a:lnTo>
                    <a:lnTo>
                      <a:pt x="256525" y="100610"/>
                    </a:lnTo>
                    <a:lnTo>
                      <a:pt x="255313" y="99549"/>
                    </a:lnTo>
                    <a:lnTo>
                      <a:pt x="251676" y="98185"/>
                    </a:lnTo>
                    <a:lnTo>
                      <a:pt x="248191" y="96367"/>
                    </a:lnTo>
                    <a:lnTo>
                      <a:pt x="247585" y="95307"/>
                    </a:lnTo>
                    <a:lnTo>
                      <a:pt x="247737" y="94549"/>
                    </a:lnTo>
                    <a:lnTo>
                      <a:pt x="248342" y="93337"/>
                    </a:lnTo>
                    <a:lnTo>
                      <a:pt x="251070" y="90003"/>
                    </a:lnTo>
                    <a:lnTo>
                      <a:pt x="253949" y="86821"/>
                    </a:lnTo>
                    <a:lnTo>
                      <a:pt x="255918" y="85458"/>
                    </a:lnTo>
                    <a:lnTo>
                      <a:pt x="265919" y="81367"/>
                    </a:lnTo>
                    <a:lnTo>
                      <a:pt x="267434" y="79851"/>
                    </a:lnTo>
                    <a:lnTo>
                      <a:pt x="267737" y="77427"/>
                    </a:lnTo>
                    <a:lnTo>
                      <a:pt x="267889" y="75609"/>
                    </a:lnTo>
                    <a:lnTo>
                      <a:pt x="267586" y="72427"/>
                    </a:lnTo>
                    <a:lnTo>
                      <a:pt x="266980" y="67881"/>
                    </a:lnTo>
                    <a:lnTo>
                      <a:pt x="266222" y="64851"/>
                    </a:lnTo>
                    <a:lnTo>
                      <a:pt x="264404" y="58942"/>
                    </a:lnTo>
                    <a:lnTo>
                      <a:pt x="259101" y="46668"/>
                    </a:lnTo>
                    <a:lnTo>
                      <a:pt x="256070" y="33941"/>
                    </a:lnTo>
                    <a:lnTo>
                      <a:pt x="255767" y="33183"/>
                    </a:lnTo>
                    <a:lnTo>
                      <a:pt x="255918" y="31516"/>
                    </a:lnTo>
                    <a:lnTo>
                      <a:pt x="255918" y="28789"/>
                    </a:lnTo>
                    <a:lnTo>
                      <a:pt x="255161" y="26365"/>
                    </a:lnTo>
                    <a:lnTo>
                      <a:pt x="252888" y="24092"/>
                    </a:lnTo>
                    <a:lnTo>
                      <a:pt x="250464" y="22728"/>
                    </a:lnTo>
                    <a:lnTo>
                      <a:pt x="247433" y="21061"/>
                    </a:lnTo>
                    <a:lnTo>
                      <a:pt x="245161" y="20455"/>
                    </a:lnTo>
                    <a:lnTo>
                      <a:pt x="243949" y="20304"/>
                    </a:lnTo>
                    <a:lnTo>
                      <a:pt x="243645" y="19395"/>
                    </a:lnTo>
                    <a:lnTo>
                      <a:pt x="243191" y="18637"/>
                    </a:lnTo>
                    <a:lnTo>
                      <a:pt x="242130" y="17879"/>
                    </a:lnTo>
                    <a:lnTo>
                      <a:pt x="239857" y="16970"/>
                    </a:lnTo>
                    <a:lnTo>
                      <a:pt x="237888" y="16819"/>
                    </a:lnTo>
                    <a:lnTo>
                      <a:pt x="236373" y="18334"/>
                    </a:lnTo>
                    <a:lnTo>
                      <a:pt x="235463" y="18486"/>
                    </a:lnTo>
                    <a:lnTo>
                      <a:pt x="220008" y="18182"/>
                    </a:lnTo>
                    <a:lnTo>
                      <a:pt x="205462" y="17576"/>
                    </a:lnTo>
                    <a:lnTo>
                      <a:pt x="191825" y="16970"/>
                    </a:lnTo>
                    <a:lnTo>
                      <a:pt x="178794" y="16364"/>
                    </a:lnTo>
                    <a:lnTo>
                      <a:pt x="166370" y="15910"/>
                    </a:lnTo>
                    <a:lnTo>
                      <a:pt x="158642" y="15304"/>
                    </a:lnTo>
                    <a:lnTo>
                      <a:pt x="150915" y="14849"/>
                    </a:lnTo>
                    <a:lnTo>
                      <a:pt x="149854" y="14394"/>
                    </a:lnTo>
                    <a:lnTo>
                      <a:pt x="148642" y="15304"/>
                    </a:lnTo>
                    <a:lnTo>
                      <a:pt x="144399" y="17122"/>
                    </a:lnTo>
                    <a:lnTo>
                      <a:pt x="132732" y="18637"/>
                    </a:lnTo>
                    <a:lnTo>
                      <a:pt x="128793" y="17728"/>
                    </a:lnTo>
                    <a:lnTo>
                      <a:pt x="124247" y="15455"/>
                    </a:lnTo>
                    <a:lnTo>
                      <a:pt x="121974" y="12425"/>
                    </a:lnTo>
                    <a:lnTo>
                      <a:pt x="117883" y="3636"/>
                    </a:lnTo>
                    <a:lnTo>
                      <a:pt x="119701" y="3788"/>
                    </a:lnTo>
                    <a:lnTo>
                      <a:pt x="124550" y="6667"/>
                    </a:lnTo>
                    <a:lnTo>
                      <a:pt x="127884" y="7879"/>
                    </a:lnTo>
                    <a:lnTo>
                      <a:pt x="126671" y="5909"/>
                    </a:lnTo>
                    <a:lnTo>
                      <a:pt x="120610" y="2727"/>
                    </a:lnTo>
                    <a:lnTo>
                      <a:pt x="114853" y="0"/>
                    </a:lnTo>
                    <a:lnTo>
                      <a:pt x="108337" y="152"/>
                    </a:lnTo>
                    <a:lnTo>
                      <a:pt x="101670" y="909"/>
                    </a:lnTo>
                    <a:lnTo>
                      <a:pt x="85761" y="4243"/>
                    </a:lnTo>
                    <a:lnTo>
                      <a:pt x="78791" y="7121"/>
                    </a:lnTo>
                    <a:lnTo>
                      <a:pt x="75458" y="9243"/>
                    </a:lnTo>
                    <a:lnTo>
                      <a:pt x="66517" y="10910"/>
                    </a:lnTo>
                    <a:lnTo>
                      <a:pt x="61517" y="15304"/>
                    </a:lnTo>
                    <a:lnTo>
                      <a:pt x="59245" y="18031"/>
                    </a:lnTo>
                    <a:lnTo>
                      <a:pt x="57729" y="19243"/>
                    </a:lnTo>
                    <a:lnTo>
                      <a:pt x="56366" y="20758"/>
                    </a:lnTo>
                    <a:lnTo>
                      <a:pt x="52426" y="21667"/>
                    </a:lnTo>
                    <a:lnTo>
                      <a:pt x="48487" y="22122"/>
                    </a:lnTo>
                    <a:lnTo>
                      <a:pt x="31819" y="26365"/>
                    </a:lnTo>
                    <a:lnTo>
                      <a:pt x="16061" y="31062"/>
                    </a:lnTo>
                    <a:lnTo>
                      <a:pt x="6970" y="34547"/>
                    </a:lnTo>
                    <a:lnTo>
                      <a:pt x="3333" y="34244"/>
                    </a:lnTo>
                    <a:lnTo>
                      <a:pt x="2273" y="33486"/>
                    </a:lnTo>
                    <a:lnTo>
                      <a:pt x="1970" y="34698"/>
                    </a:lnTo>
                    <a:lnTo>
                      <a:pt x="2424" y="36516"/>
                    </a:lnTo>
                    <a:lnTo>
                      <a:pt x="6061" y="36971"/>
                    </a:lnTo>
                    <a:lnTo>
                      <a:pt x="11819" y="38335"/>
                    </a:lnTo>
                    <a:lnTo>
                      <a:pt x="11970" y="40911"/>
                    </a:lnTo>
                    <a:lnTo>
                      <a:pt x="11667" y="42729"/>
                    </a:lnTo>
                    <a:lnTo>
                      <a:pt x="12121" y="43789"/>
                    </a:lnTo>
                    <a:lnTo>
                      <a:pt x="12425" y="45153"/>
                    </a:lnTo>
                    <a:lnTo>
                      <a:pt x="9849" y="43941"/>
                    </a:lnTo>
                    <a:lnTo>
                      <a:pt x="3636" y="41820"/>
                    </a:lnTo>
                    <a:lnTo>
                      <a:pt x="3788" y="42729"/>
                    </a:lnTo>
                    <a:lnTo>
                      <a:pt x="4243" y="45759"/>
                    </a:lnTo>
                    <a:lnTo>
                      <a:pt x="4697" y="48335"/>
                    </a:lnTo>
                    <a:lnTo>
                      <a:pt x="7879" y="58487"/>
                    </a:lnTo>
                    <a:lnTo>
                      <a:pt x="7728" y="60911"/>
                    </a:lnTo>
                    <a:lnTo>
                      <a:pt x="7728" y="61517"/>
                    </a:lnTo>
                    <a:lnTo>
                      <a:pt x="6667" y="65002"/>
                    </a:lnTo>
                    <a:lnTo>
                      <a:pt x="4545" y="68033"/>
                    </a:lnTo>
                    <a:lnTo>
                      <a:pt x="1818" y="69548"/>
                    </a:lnTo>
                    <a:lnTo>
                      <a:pt x="303" y="71518"/>
                    </a:lnTo>
                    <a:lnTo>
                      <a:pt x="0" y="73488"/>
                    </a:lnTo>
                    <a:lnTo>
                      <a:pt x="3485" y="76973"/>
                    </a:lnTo>
                    <a:lnTo>
                      <a:pt x="10607" y="82124"/>
                    </a:lnTo>
                    <a:lnTo>
                      <a:pt x="13485" y="86367"/>
                    </a:lnTo>
                    <a:lnTo>
                      <a:pt x="12121" y="90003"/>
                    </a:lnTo>
                    <a:lnTo>
                      <a:pt x="11667" y="92579"/>
                    </a:lnTo>
                    <a:lnTo>
                      <a:pt x="12273" y="94246"/>
                    </a:lnTo>
                    <a:lnTo>
                      <a:pt x="13334" y="95610"/>
                    </a:lnTo>
                    <a:lnTo>
                      <a:pt x="15152" y="96670"/>
                    </a:lnTo>
                    <a:lnTo>
                      <a:pt x="15758" y="98185"/>
                    </a:lnTo>
                    <a:lnTo>
                      <a:pt x="15455" y="100307"/>
                    </a:lnTo>
                    <a:lnTo>
                      <a:pt x="15758" y="101670"/>
                    </a:lnTo>
                    <a:lnTo>
                      <a:pt x="17122" y="102731"/>
                    </a:lnTo>
                    <a:lnTo>
                      <a:pt x="16970" y="103186"/>
                    </a:lnTo>
                    <a:lnTo>
                      <a:pt x="16364" y="104701"/>
                    </a:lnTo>
                    <a:lnTo>
                      <a:pt x="15455" y="107277"/>
                    </a:lnTo>
                    <a:lnTo>
                      <a:pt x="15000" y="109246"/>
                    </a:lnTo>
                    <a:lnTo>
                      <a:pt x="13031" y="111822"/>
                    </a:lnTo>
                    <a:lnTo>
                      <a:pt x="13637" y="114095"/>
                    </a:lnTo>
                    <a:lnTo>
                      <a:pt x="15152" y="116822"/>
                    </a:lnTo>
                    <a:lnTo>
                      <a:pt x="16364" y="118035"/>
                    </a:lnTo>
                    <a:lnTo>
                      <a:pt x="16667" y="119398"/>
                    </a:lnTo>
                    <a:lnTo>
                      <a:pt x="15909" y="122429"/>
                    </a:lnTo>
                    <a:lnTo>
                      <a:pt x="16364" y="123186"/>
                    </a:lnTo>
                    <a:lnTo>
                      <a:pt x="21364" y="125308"/>
                    </a:lnTo>
                    <a:lnTo>
                      <a:pt x="22122" y="126368"/>
                    </a:lnTo>
                    <a:lnTo>
                      <a:pt x="22576" y="128489"/>
                    </a:lnTo>
                    <a:lnTo>
                      <a:pt x="24395" y="132884"/>
                    </a:lnTo>
                    <a:lnTo>
                      <a:pt x="22880" y="138641"/>
                    </a:lnTo>
                    <a:lnTo>
                      <a:pt x="21667" y="141823"/>
                    </a:lnTo>
                    <a:lnTo>
                      <a:pt x="18788" y="146672"/>
                    </a:lnTo>
                    <a:lnTo>
                      <a:pt x="18637" y="147127"/>
                    </a:lnTo>
                    <a:lnTo>
                      <a:pt x="21061" y="147127"/>
                    </a:lnTo>
                    <a:lnTo>
                      <a:pt x="23334" y="146217"/>
                    </a:lnTo>
                    <a:lnTo>
                      <a:pt x="23637" y="144702"/>
                    </a:lnTo>
                    <a:lnTo>
                      <a:pt x="23486" y="141975"/>
                    </a:lnTo>
                    <a:lnTo>
                      <a:pt x="23637" y="141520"/>
                    </a:lnTo>
                    <a:lnTo>
                      <a:pt x="27274" y="142429"/>
                    </a:lnTo>
                    <a:lnTo>
                      <a:pt x="30910" y="143642"/>
                    </a:lnTo>
                    <a:lnTo>
                      <a:pt x="31516" y="146369"/>
                    </a:lnTo>
                    <a:lnTo>
                      <a:pt x="32425" y="147733"/>
                    </a:lnTo>
                    <a:lnTo>
                      <a:pt x="33638" y="148945"/>
                    </a:lnTo>
                    <a:lnTo>
                      <a:pt x="34698" y="149399"/>
                    </a:lnTo>
                    <a:lnTo>
                      <a:pt x="36517" y="149551"/>
                    </a:lnTo>
                    <a:lnTo>
                      <a:pt x="41517" y="151218"/>
                    </a:lnTo>
                    <a:lnTo>
                      <a:pt x="43789" y="151521"/>
                    </a:lnTo>
                    <a:lnTo>
                      <a:pt x="46214" y="152581"/>
                    </a:lnTo>
                    <a:lnTo>
                      <a:pt x="48335" y="153794"/>
                    </a:lnTo>
                    <a:lnTo>
                      <a:pt x="49850" y="153945"/>
                    </a:lnTo>
                    <a:lnTo>
                      <a:pt x="50456" y="155309"/>
                    </a:lnTo>
                    <a:lnTo>
                      <a:pt x="51365" y="156066"/>
                    </a:lnTo>
                    <a:lnTo>
                      <a:pt x="53032" y="155460"/>
                    </a:lnTo>
                    <a:lnTo>
                      <a:pt x="58941" y="154551"/>
                    </a:lnTo>
                    <a:lnTo>
                      <a:pt x="61063" y="155763"/>
                    </a:lnTo>
                    <a:lnTo>
                      <a:pt x="62578" y="156975"/>
                    </a:lnTo>
                    <a:lnTo>
                      <a:pt x="62729" y="157430"/>
                    </a:lnTo>
                    <a:lnTo>
                      <a:pt x="61972" y="158642"/>
                    </a:lnTo>
                    <a:lnTo>
                      <a:pt x="61669" y="159551"/>
                    </a:lnTo>
                    <a:lnTo>
                      <a:pt x="61063" y="160006"/>
                    </a:lnTo>
                    <a:lnTo>
                      <a:pt x="58941" y="160763"/>
                    </a:lnTo>
                    <a:lnTo>
                      <a:pt x="57881" y="161673"/>
                    </a:lnTo>
                    <a:lnTo>
                      <a:pt x="56972" y="162885"/>
                    </a:lnTo>
                    <a:lnTo>
                      <a:pt x="57578" y="163945"/>
                    </a:lnTo>
                    <a:lnTo>
                      <a:pt x="59245" y="164703"/>
                    </a:lnTo>
                    <a:lnTo>
                      <a:pt x="60305" y="164854"/>
                    </a:lnTo>
                    <a:lnTo>
                      <a:pt x="60760" y="165612"/>
                    </a:lnTo>
                    <a:lnTo>
                      <a:pt x="64548" y="169097"/>
                    </a:lnTo>
                    <a:lnTo>
                      <a:pt x="67578" y="173643"/>
                    </a:lnTo>
                    <a:lnTo>
                      <a:pt x="68791" y="174400"/>
                    </a:lnTo>
                    <a:lnTo>
                      <a:pt x="69851" y="174552"/>
                    </a:lnTo>
                    <a:lnTo>
                      <a:pt x="71063" y="173794"/>
                    </a:lnTo>
                    <a:lnTo>
                      <a:pt x="72579" y="172430"/>
                    </a:lnTo>
                    <a:lnTo>
                      <a:pt x="74245" y="171370"/>
                    </a:lnTo>
                    <a:lnTo>
                      <a:pt x="75760" y="170764"/>
                    </a:lnTo>
                    <a:lnTo>
                      <a:pt x="78336" y="169552"/>
                    </a:lnTo>
                    <a:lnTo>
                      <a:pt x="78336" y="168642"/>
                    </a:lnTo>
                    <a:lnTo>
                      <a:pt x="76215" y="165612"/>
                    </a:lnTo>
                    <a:lnTo>
                      <a:pt x="75003" y="163188"/>
                    </a:lnTo>
                    <a:lnTo>
                      <a:pt x="75306" y="162733"/>
                    </a:lnTo>
                    <a:lnTo>
                      <a:pt x="78033" y="163036"/>
                    </a:lnTo>
                    <a:lnTo>
                      <a:pt x="82730" y="164400"/>
                    </a:lnTo>
                    <a:lnTo>
                      <a:pt x="90003" y="168946"/>
                    </a:lnTo>
                    <a:lnTo>
                      <a:pt x="91215" y="168946"/>
                    </a:lnTo>
                    <a:lnTo>
                      <a:pt x="93791" y="168491"/>
                    </a:lnTo>
                    <a:lnTo>
                      <a:pt x="96519" y="167885"/>
                    </a:lnTo>
                    <a:lnTo>
                      <a:pt x="97882" y="166976"/>
                    </a:lnTo>
                    <a:lnTo>
                      <a:pt x="98337" y="167279"/>
                    </a:lnTo>
                    <a:lnTo>
                      <a:pt x="98640" y="169703"/>
                    </a:lnTo>
                    <a:lnTo>
                      <a:pt x="98034" y="171067"/>
                    </a:lnTo>
                    <a:lnTo>
                      <a:pt x="94700" y="172430"/>
                    </a:lnTo>
                    <a:lnTo>
                      <a:pt x="94852" y="173037"/>
                    </a:lnTo>
                    <a:lnTo>
                      <a:pt x="95761" y="173794"/>
                    </a:lnTo>
                    <a:lnTo>
                      <a:pt x="97277" y="174400"/>
                    </a:lnTo>
                    <a:lnTo>
                      <a:pt x="99095" y="175916"/>
                    </a:lnTo>
                    <a:lnTo>
                      <a:pt x="100307" y="177734"/>
                    </a:lnTo>
                    <a:lnTo>
                      <a:pt x="101367" y="178643"/>
                    </a:lnTo>
                    <a:lnTo>
                      <a:pt x="102579" y="178946"/>
                    </a:lnTo>
                    <a:lnTo>
                      <a:pt x="105458" y="178037"/>
                    </a:lnTo>
                    <a:lnTo>
                      <a:pt x="106367" y="177279"/>
                    </a:lnTo>
                    <a:lnTo>
                      <a:pt x="106671" y="176673"/>
                    </a:lnTo>
                    <a:lnTo>
                      <a:pt x="107277" y="176825"/>
                    </a:lnTo>
                    <a:lnTo>
                      <a:pt x="108337" y="177734"/>
                    </a:lnTo>
                    <a:lnTo>
                      <a:pt x="108641" y="178188"/>
                    </a:lnTo>
                    <a:lnTo>
                      <a:pt x="111519" y="179249"/>
                    </a:lnTo>
                    <a:lnTo>
                      <a:pt x="113186" y="180461"/>
                    </a:lnTo>
                    <a:lnTo>
                      <a:pt x="114247" y="181067"/>
                    </a:lnTo>
                    <a:lnTo>
                      <a:pt x="115459" y="180461"/>
                    </a:lnTo>
                    <a:lnTo>
                      <a:pt x="120005" y="181522"/>
                    </a:lnTo>
                    <a:lnTo>
                      <a:pt x="121368" y="182279"/>
                    </a:lnTo>
                    <a:lnTo>
                      <a:pt x="121671" y="183643"/>
                    </a:lnTo>
                    <a:lnTo>
                      <a:pt x="121519" y="184552"/>
                    </a:lnTo>
                    <a:lnTo>
                      <a:pt x="122277" y="186673"/>
                    </a:lnTo>
                    <a:lnTo>
                      <a:pt x="128035" y="191674"/>
                    </a:lnTo>
                    <a:lnTo>
                      <a:pt x="128641" y="194401"/>
                    </a:lnTo>
                    <a:lnTo>
                      <a:pt x="128793" y="195462"/>
                    </a:lnTo>
                    <a:lnTo>
                      <a:pt x="131672" y="195765"/>
                    </a:lnTo>
                    <a:lnTo>
                      <a:pt x="132126" y="197583"/>
                    </a:lnTo>
                    <a:lnTo>
                      <a:pt x="132429" y="199401"/>
                    </a:lnTo>
                    <a:lnTo>
                      <a:pt x="137429" y="199250"/>
                    </a:lnTo>
                    <a:lnTo>
                      <a:pt x="140157" y="195310"/>
                    </a:lnTo>
                    <a:lnTo>
                      <a:pt x="141520" y="194856"/>
                    </a:lnTo>
                    <a:lnTo>
                      <a:pt x="143945" y="193492"/>
                    </a:lnTo>
                    <a:lnTo>
                      <a:pt x="145460" y="192280"/>
                    </a:lnTo>
                    <a:lnTo>
                      <a:pt x="146369" y="193037"/>
                    </a:lnTo>
                    <a:lnTo>
                      <a:pt x="147884" y="195613"/>
                    </a:lnTo>
                    <a:lnTo>
                      <a:pt x="149551" y="197583"/>
                    </a:lnTo>
                    <a:lnTo>
                      <a:pt x="150460" y="198492"/>
                    </a:lnTo>
                    <a:lnTo>
                      <a:pt x="150612" y="199098"/>
                    </a:lnTo>
                    <a:lnTo>
                      <a:pt x="151521" y="199401"/>
                    </a:lnTo>
                    <a:lnTo>
                      <a:pt x="153339" y="199704"/>
                    </a:lnTo>
                    <a:lnTo>
                      <a:pt x="154551" y="200310"/>
                    </a:lnTo>
                    <a:lnTo>
                      <a:pt x="154854" y="202280"/>
                    </a:lnTo>
                    <a:lnTo>
                      <a:pt x="154854" y="203947"/>
                    </a:lnTo>
                    <a:lnTo>
                      <a:pt x="154248" y="205159"/>
                    </a:lnTo>
                    <a:lnTo>
                      <a:pt x="153945" y="206220"/>
                    </a:lnTo>
                    <a:lnTo>
                      <a:pt x="155309" y="206674"/>
                    </a:lnTo>
                    <a:lnTo>
                      <a:pt x="157127" y="206220"/>
                    </a:lnTo>
                    <a:lnTo>
                      <a:pt x="158339" y="205614"/>
                    </a:lnTo>
                    <a:lnTo>
                      <a:pt x="162279" y="207129"/>
                    </a:lnTo>
                    <a:lnTo>
                      <a:pt x="163642" y="203947"/>
                    </a:lnTo>
                    <a:lnTo>
                      <a:pt x="165158" y="202280"/>
                    </a:lnTo>
                    <a:lnTo>
                      <a:pt x="167127" y="201522"/>
                    </a:lnTo>
                    <a:lnTo>
                      <a:pt x="168946" y="200613"/>
                    </a:lnTo>
                    <a:lnTo>
                      <a:pt x="170613" y="199856"/>
                    </a:lnTo>
                    <a:lnTo>
                      <a:pt x="171673" y="199856"/>
                    </a:lnTo>
                    <a:lnTo>
                      <a:pt x="172279" y="199553"/>
                    </a:lnTo>
                    <a:lnTo>
                      <a:pt x="173643" y="199704"/>
                    </a:lnTo>
                    <a:lnTo>
                      <a:pt x="175310" y="200007"/>
                    </a:lnTo>
                    <a:lnTo>
                      <a:pt x="177582" y="199553"/>
                    </a:lnTo>
                    <a:lnTo>
                      <a:pt x="180613" y="200462"/>
                    </a:lnTo>
                    <a:lnTo>
                      <a:pt x="182582" y="201826"/>
                    </a:lnTo>
                    <a:lnTo>
                      <a:pt x="184401" y="202280"/>
                    </a:lnTo>
                    <a:lnTo>
                      <a:pt x="186522" y="202280"/>
                    </a:lnTo>
                    <a:lnTo>
                      <a:pt x="188037" y="201522"/>
                    </a:lnTo>
                    <a:lnTo>
                      <a:pt x="190158" y="198644"/>
                    </a:lnTo>
                    <a:lnTo>
                      <a:pt x="191825" y="198644"/>
                    </a:lnTo>
                    <a:lnTo>
                      <a:pt x="194250" y="198341"/>
                    </a:lnTo>
                    <a:lnTo>
                      <a:pt x="197583" y="198341"/>
                    </a:lnTo>
                    <a:lnTo>
                      <a:pt x="205462" y="198947"/>
                    </a:lnTo>
                    <a:lnTo>
                      <a:pt x="207584" y="200007"/>
                    </a:lnTo>
                    <a:lnTo>
                      <a:pt x="212432" y="201371"/>
                    </a:lnTo>
                    <a:lnTo>
                      <a:pt x="214553" y="202886"/>
                    </a:lnTo>
                    <a:lnTo>
                      <a:pt x="215463" y="204704"/>
                    </a:lnTo>
                    <a:lnTo>
                      <a:pt x="215917" y="206068"/>
                    </a:lnTo>
                    <a:lnTo>
                      <a:pt x="220917" y="208038"/>
                    </a:lnTo>
                    <a:lnTo>
                      <a:pt x="228342" y="210614"/>
                    </a:lnTo>
                    <a:lnTo>
                      <a:pt x="230160" y="210917"/>
                    </a:lnTo>
                    <a:lnTo>
                      <a:pt x="231221" y="210765"/>
                    </a:lnTo>
                    <a:lnTo>
                      <a:pt x="234554" y="211977"/>
                    </a:lnTo>
                    <a:lnTo>
                      <a:pt x="237584" y="212735"/>
                    </a:lnTo>
                    <a:lnTo>
                      <a:pt x="238342" y="212129"/>
                    </a:lnTo>
                    <a:lnTo>
                      <a:pt x="238645" y="211220"/>
                    </a:lnTo>
                    <a:lnTo>
                      <a:pt x="238645" y="210614"/>
                    </a:lnTo>
                    <a:lnTo>
                      <a:pt x="236221" y="208644"/>
                    </a:lnTo>
                    <a:lnTo>
                      <a:pt x="234706" y="207432"/>
                    </a:lnTo>
                    <a:lnTo>
                      <a:pt x="234554" y="206674"/>
                    </a:lnTo>
                    <a:lnTo>
                      <a:pt x="235160" y="205007"/>
                    </a:lnTo>
                    <a:lnTo>
                      <a:pt x="235463" y="203038"/>
                    </a:lnTo>
                    <a:lnTo>
                      <a:pt x="235160" y="200916"/>
                    </a:lnTo>
                    <a:lnTo>
                      <a:pt x="233494" y="196371"/>
                    </a:lnTo>
                    <a:lnTo>
                      <a:pt x="233190" y="194401"/>
                    </a:lnTo>
                    <a:lnTo>
                      <a:pt x="234706" y="191977"/>
                    </a:lnTo>
                    <a:lnTo>
                      <a:pt x="239706" y="186370"/>
                    </a:lnTo>
                    <a:lnTo>
                      <a:pt x="241524" y="184249"/>
                    </a:lnTo>
                    <a:lnTo>
                      <a:pt x="243797" y="181522"/>
                    </a:lnTo>
                    <a:lnTo>
                      <a:pt x="250009" y="175461"/>
                    </a:lnTo>
                    <a:lnTo>
                      <a:pt x="253949" y="171824"/>
                    </a:lnTo>
                    <a:lnTo>
                      <a:pt x="256676" y="169855"/>
                    </a:lnTo>
                    <a:lnTo>
                      <a:pt x="260464" y="166370"/>
                    </a:lnTo>
                    <a:lnTo>
                      <a:pt x="262282" y="164551"/>
                    </a:lnTo>
                    <a:lnTo>
                      <a:pt x="269404" y="163339"/>
                    </a:lnTo>
                    <a:lnTo>
                      <a:pt x="270313" y="161673"/>
                    </a:lnTo>
                    <a:lnTo>
                      <a:pt x="271525" y="159854"/>
                    </a:lnTo>
                    <a:lnTo>
                      <a:pt x="272586" y="158945"/>
                    </a:lnTo>
                    <a:lnTo>
                      <a:pt x="272737" y="155915"/>
                    </a:lnTo>
                    <a:lnTo>
                      <a:pt x="271374" y="1521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6" name="Freeform: Shape 3185">
                <a:extLst>
                  <a:ext uri="{FF2B5EF4-FFF2-40B4-BE49-F238E27FC236}">
                    <a16:creationId xmlns:a16="http://schemas.microsoft.com/office/drawing/2014/main" id="{0F349F62-F929-45D6-ADAE-748D3FC771CE}"/>
                  </a:ext>
                </a:extLst>
              </p:cNvPr>
              <p:cNvSpPr/>
              <p:nvPr/>
            </p:nvSpPr>
            <p:spPr>
              <a:xfrm>
                <a:off x="7441958" y="3506045"/>
                <a:ext cx="443349" cy="397893"/>
              </a:xfrm>
              <a:custGeom>
                <a:avLst/>
                <a:gdLst>
                  <a:gd name="connsiteX0" fmla="*/ 442138 w 443349"/>
                  <a:gd name="connsiteY0" fmla="*/ 57426 h 397893"/>
                  <a:gd name="connsiteX1" fmla="*/ 441380 w 443349"/>
                  <a:gd name="connsiteY1" fmla="*/ 55760 h 397893"/>
                  <a:gd name="connsiteX2" fmla="*/ 440016 w 443349"/>
                  <a:gd name="connsiteY2" fmla="*/ 52729 h 397893"/>
                  <a:gd name="connsiteX3" fmla="*/ 438804 w 443349"/>
                  <a:gd name="connsiteY3" fmla="*/ 50002 h 397893"/>
                  <a:gd name="connsiteX4" fmla="*/ 436835 w 443349"/>
                  <a:gd name="connsiteY4" fmla="*/ 45759 h 397893"/>
                  <a:gd name="connsiteX5" fmla="*/ 435622 w 443349"/>
                  <a:gd name="connsiteY5" fmla="*/ 42880 h 397893"/>
                  <a:gd name="connsiteX6" fmla="*/ 434562 w 443349"/>
                  <a:gd name="connsiteY6" fmla="*/ 42426 h 397893"/>
                  <a:gd name="connsiteX7" fmla="*/ 431986 w 443349"/>
                  <a:gd name="connsiteY7" fmla="*/ 40911 h 397893"/>
                  <a:gd name="connsiteX8" fmla="*/ 430016 w 443349"/>
                  <a:gd name="connsiteY8" fmla="*/ 39547 h 397893"/>
                  <a:gd name="connsiteX9" fmla="*/ 429713 w 443349"/>
                  <a:gd name="connsiteY9" fmla="*/ 35910 h 397893"/>
                  <a:gd name="connsiteX10" fmla="*/ 428350 w 443349"/>
                  <a:gd name="connsiteY10" fmla="*/ 36213 h 397893"/>
                  <a:gd name="connsiteX11" fmla="*/ 425168 w 443349"/>
                  <a:gd name="connsiteY11" fmla="*/ 37577 h 397893"/>
                  <a:gd name="connsiteX12" fmla="*/ 421531 w 443349"/>
                  <a:gd name="connsiteY12" fmla="*/ 38335 h 397893"/>
                  <a:gd name="connsiteX13" fmla="*/ 419561 w 443349"/>
                  <a:gd name="connsiteY13" fmla="*/ 38335 h 397893"/>
                  <a:gd name="connsiteX14" fmla="*/ 418652 w 443349"/>
                  <a:gd name="connsiteY14" fmla="*/ 37729 h 397893"/>
                  <a:gd name="connsiteX15" fmla="*/ 417440 w 443349"/>
                  <a:gd name="connsiteY15" fmla="*/ 34092 h 397893"/>
                  <a:gd name="connsiteX16" fmla="*/ 416531 w 443349"/>
                  <a:gd name="connsiteY16" fmla="*/ 33032 h 397893"/>
                  <a:gd name="connsiteX17" fmla="*/ 414864 w 443349"/>
                  <a:gd name="connsiteY17" fmla="*/ 32577 h 397893"/>
                  <a:gd name="connsiteX18" fmla="*/ 413197 w 443349"/>
                  <a:gd name="connsiteY18" fmla="*/ 31819 h 397893"/>
                  <a:gd name="connsiteX19" fmla="*/ 412288 w 443349"/>
                  <a:gd name="connsiteY19" fmla="*/ 30910 h 397893"/>
                  <a:gd name="connsiteX20" fmla="*/ 411985 w 443349"/>
                  <a:gd name="connsiteY20" fmla="*/ 29698 h 397893"/>
                  <a:gd name="connsiteX21" fmla="*/ 412894 w 443349"/>
                  <a:gd name="connsiteY21" fmla="*/ 28334 h 397893"/>
                  <a:gd name="connsiteX22" fmla="*/ 413804 w 443349"/>
                  <a:gd name="connsiteY22" fmla="*/ 27122 h 397893"/>
                  <a:gd name="connsiteX23" fmla="*/ 413955 w 443349"/>
                  <a:gd name="connsiteY23" fmla="*/ 20455 h 397893"/>
                  <a:gd name="connsiteX24" fmla="*/ 413349 w 443349"/>
                  <a:gd name="connsiteY24" fmla="*/ 18182 h 397893"/>
                  <a:gd name="connsiteX25" fmla="*/ 412743 w 443349"/>
                  <a:gd name="connsiteY25" fmla="*/ 16213 h 397893"/>
                  <a:gd name="connsiteX26" fmla="*/ 411530 w 443349"/>
                  <a:gd name="connsiteY26" fmla="*/ 13637 h 397893"/>
                  <a:gd name="connsiteX27" fmla="*/ 410319 w 443349"/>
                  <a:gd name="connsiteY27" fmla="*/ 12122 h 397893"/>
                  <a:gd name="connsiteX28" fmla="*/ 408349 w 443349"/>
                  <a:gd name="connsiteY28" fmla="*/ 10758 h 397893"/>
                  <a:gd name="connsiteX29" fmla="*/ 405470 w 443349"/>
                  <a:gd name="connsiteY29" fmla="*/ 9243 h 397893"/>
                  <a:gd name="connsiteX30" fmla="*/ 403045 w 443349"/>
                  <a:gd name="connsiteY30" fmla="*/ 8788 h 397893"/>
                  <a:gd name="connsiteX31" fmla="*/ 399864 w 443349"/>
                  <a:gd name="connsiteY31" fmla="*/ 9849 h 397893"/>
                  <a:gd name="connsiteX32" fmla="*/ 398954 w 443349"/>
                  <a:gd name="connsiteY32" fmla="*/ 9394 h 397893"/>
                  <a:gd name="connsiteX33" fmla="*/ 397591 w 443349"/>
                  <a:gd name="connsiteY33" fmla="*/ 4849 h 397893"/>
                  <a:gd name="connsiteX34" fmla="*/ 396833 w 443349"/>
                  <a:gd name="connsiteY34" fmla="*/ 3939 h 397893"/>
                  <a:gd name="connsiteX35" fmla="*/ 391227 w 443349"/>
                  <a:gd name="connsiteY35" fmla="*/ 1970 h 397893"/>
                  <a:gd name="connsiteX36" fmla="*/ 388802 w 443349"/>
                  <a:gd name="connsiteY36" fmla="*/ 1667 h 397893"/>
                  <a:gd name="connsiteX37" fmla="*/ 385923 w 443349"/>
                  <a:gd name="connsiteY37" fmla="*/ 2121 h 397893"/>
                  <a:gd name="connsiteX38" fmla="*/ 384257 w 443349"/>
                  <a:gd name="connsiteY38" fmla="*/ 2727 h 397893"/>
                  <a:gd name="connsiteX39" fmla="*/ 382893 w 443349"/>
                  <a:gd name="connsiteY39" fmla="*/ 1818 h 397893"/>
                  <a:gd name="connsiteX40" fmla="*/ 380923 w 443349"/>
                  <a:gd name="connsiteY40" fmla="*/ 758 h 397893"/>
                  <a:gd name="connsiteX41" fmla="*/ 378802 w 443349"/>
                  <a:gd name="connsiteY41" fmla="*/ 151 h 397893"/>
                  <a:gd name="connsiteX42" fmla="*/ 376378 w 443349"/>
                  <a:gd name="connsiteY42" fmla="*/ 0 h 397893"/>
                  <a:gd name="connsiteX43" fmla="*/ 374711 w 443349"/>
                  <a:gd name="connsiteY43" fmla="*/ 455 h 397893"/>
                  <a:gd name="connsiteX44" fmla="*/ 371680 w 443349"/>
                  <a:gd name="connsiteY44" fmla="*/ 1667 h 397893"/>
                  <a:gd name="connsiteX45" fmla="*/ 365317 w 443349"/>
                  <a:gd name="connsiteY45" fmla="*/ 4394 h 397893"/>
                  <a:gd name="connsiteX46" fmla="*/ 360923 w 443349"/>
                  <a:gd name="connsiteY46" fmla="*/ 6667 h 397893"/>
                  <a:gd name="connsiteX47" fmla="*/ 360014 w 443349"/>
                  <a:gd name="connsiteY47" fmla="*/ 6818 h 397893"/>
                  <a:gd name="connsiteX48" fmla="*/ 357438 w 443349"/>
                  <a:gd name="connsiteY48" fmla="*/ 5758 h 397893"/>
                  <a:gd name="connsiteX49" fmla="*/ 353650 w 443349"/>
                  <a:gd name="connsiteY49" fmla="*/ 4697 h 397893"/>
                  <a:gd name="connsiteX50" fmla="*/ 352589 w 443349"/>
                  <a:gd name="connsiteY50" fmla="*/ 4697 h 397893"/>
                  <a:gd name="connsiteX51" fmla="*/ 343801 w 443349"/>
                  <a:gd name="connsiteY51" fmla="*/ 4849 h 397893"/>
                  <a:gd name="connsiteX52" fmla="*/ 335770 w 443349"/>
                  <a:gd name="connsiteY52" fmla="*/ 5303 h 397893"/>
                  <a:gd name="connsiteX53" fmla="*/ 332437 w 443349"/>
                  <a:gd name="connsiteY53" fmla="*/ 5909 h 397893"/>
                  <a:gd name="connsiteX54" fmla="*/ 326224 w 443349"/>
                  <a:gd name="connsiteY54" fmla="*/ 6364 h 397893"/>
                  <a:gd name="connsiteX55" fmla="*/ 322285 w 443349"/>
                  <a:gd name="connsiteY55" fmla="*/ 6516 h 397893"/>
                  <a:gd name="connsiteX56" fmla="*/ 319709 w 443349"/>
                  <a:gd name="connsiteY56" fmla="*/ 7425 h 397893"/>
                  <a:gd name="connsiteX57" fmla="*/ 316982 w 443349"/>
                  <a:gd name="connsiteY57" fmla="*/ 8485 h 397893"/>
                  <a:gd name="connsiteX58" fmla="*/ 314103 w 443349"/>
                  <a:gd name="connsiteY58" fmla="*/ 9243 h 397893"/>
                  <a:gd name="connsiteX59" fmla="*/ 311982 w 443349"/>
                  <a:gd name="connsiteY59" fmla="*/ 9546 h 397893"/>
                  <a:gd name="connsiteX60" fmla="*/ 309557 w 443349"/>
                  <a:gd name="connsiteY60" fmla="*/ 10606 h 397893"/>
                  <a:gd name="connsiteX61" fmla="*/ 307890 w 443349"/>
                  <a:gd name="connsiteY61" fmla="*/ 12728 h 397893"/>
                  <a:gd name="connsiteX62" fmla="*/ 303042 w 443349"/>
                  <a:gd name="connsiteY62" fmla="*/ 15758 h 397893"/>
                  <a:gd name="connsiteX63" fmla="*/ 300314 w 443349"/>
                  <a:gd name="connsiteY63" fmla="*/ 17273 h 397893"/>
                  <a:gd name="connsiteX64" fmla="*/ 298951 w 443349"/>
                  <a:gd name="connsiteY64" fmla="*/ 18940 h 397893"/>
                  <a:gd name="connsiteX65" fmla="*/ 297435 w 443349"/>
                  <a:gd name="connsiteY65" fmla="*/ 19092 h 397893"/>
                  <a:gd name="connsiteX66" fmla="*/ 294860 w 443349"/>
                  <a:gd name="connsiteY66" fmla="*/ 18789 h 397893"/>
                  <a:gd name="connsiteX67" fmla="*/ 292738 w 443349"/>
                  <a:gd name="connsiteY67" fmla="*/ 20607 h 397893"/>
                  <a:gd name="connsiteX68" fmla="*/ 290466 w 443349"/>
                  <a:gd name="connsiteY68" fmla="*/ 23334 h 397893"/>
                  <a:gd name="connsiteX69" fmla="*/ 286375 w 443349"/>
                  <a:gd name="connsiteY69" fmla="*/ 27122 h 397893"/>
                  <a:gd name="connsiteX70" fmla="*/ 284253 w 443349"/>
                  <a:gd name="connsiteY70" fmla="*/ 28637 h 397893"/>
                  <a:gd name="connsiteX71" fmla="*/ 282889 w 443349"/>
                  <a:gd name="connsiteY71" fmla="*/ 31062 h 397893"/>
                  <a:gd name="connsiteX72" fmla="*/ 283799 w 443349"/>
                  <a:gd name="connsiteY72" fmla="*/ 32425 h 397893"/>
                  <a:gd name="connsiteX73" fmla="*/ 287284 w 443349"/>
                  <a:gd name="connsiteY73" fmla="*/ 34395 h 397893"/>
                  <a:gd name="connsiteX74" fmla="*/ 288647 w 443349"/>
                  <a:gd name="connsiteY74" fmla="*/ 36213 h 397893"/>
                  <a:gd name="connsiteX75" fmla="*/ 289556 w 443349"/>
                  <a:gd name="connsiteY75" fmla="*/ 37577 h 397893"/>
                  <a:gd name="connsiteX76" fmla="*/ 291072 w 443349"/>
                  <a:gd name="connsiteY76" fmla="*/ 41365 h 397893"/>
                  <a:gd name="connsiteX77" fmla="*/ 291981 w 443349"/>
                  <a:gd name="connsiteY77" fmla="*/ 45002 h 397893"/>
                  <a:gd name="connsiteX78" fmla="*/ 293496 w 443349"/>
                  <a:gd name="connsiteY78" fmla="*/ 46517 h 397893"/>
                  <a:gd name="connsiteX79" fmla="*/ 293951 w 443349"/>
                  <a:gd name="connsiteY79" fmla="*/ 49244 h 397893"/>
                  <a:gd name="connsiteX80" fmla="*/ 294254 w 443349"/>
                  <a:gd name="connsiteY80" fmla="*/ 50760 h 397893"/>
                  <a:gd name="connsiteX81" fmla="*/ 293496 w 443349"/>
                  <a:gd name="connsiteY81" fmla="*/ 51972 h 397893"/>
                  <a:gd name="connsiteX82" fmla="*/ 292738 w 443349"/>
                  <a:gd name="connsiteY82" fmla="*/ 53335 h 397893"/>
                  <a:gd name="connsiteX83" fmla="*/ 292738 w 443349"/>
                  <a:gd name="connsiteY83" fmla="*/ 54548 h 397893"/>
                  <a:gd name="connsiteX84" fmla="*/ 293647 w 443349"/>
                  <a:gd name="connsiteY84" fmla="*/ 55760 h 397893"/>
                  <a:gd name="connsiteX85" fmla="*/ 294405 w 443349"/>
                  <a:gd name="connsiteY85" fmla="*/ 56820 h 397893"/>
                  <a:gd name="connsiteX86" fmla="*/ 294860 w 443349"/>
                  <a:gd name="connsiteY86" fmla="*/ 57729 h 397893"/>
                  <a:gd name="connsiteX87" fmla="*/ 294254 w 443349"/>
                  <a:gd name="connsiteY87" fmla="*/ 58790 h 397893"/>
                  <a:gd name="connsiteX88" fmla="*/ 292738 w 443349"/>
                  <a:gd name="connsiteY88" fmla="*/ 60305 h 397893"/>
                  <a:gd name="connsiteX89" fmla="*/ 291981 w 443349"/>
                  <a:gd name="connsiteY89" fmla="*/ 61820 h 397893"/>
                  <a:gd name="connsiteX90" fmla="*/ 290314 w 443349"/>
                  <a:gd name="connsiteY90" fmla="*/ 64396 h 397893"/>
                  <a:gd name="connsiteX91" fmla="*/ 287587 w 443349"/>
                  <a:gd name="connsiteY91" fmla="*/ 66214 h 397893"/>
                  <a:gd name="connsiteX92" fmla="*/ 285920 w 443349"/>
                  <a:gd name="connsiteY92" fmla="*/ 67578 h 397893"/>
                  <a:gd name="connsiteX93" fmla="*/ 283950 w 443349"/>
                  <a:gd name="connsiteY93" fmla="*/ 70306 h 397893"/>
                  <a:gd name="connsiteX94" fmla="*/ 280920 w 443349"/>
                  <a:gd name="connsiteY94" fmla="*/ 73185 h 397893"/>
                  <a:gd name="connsiteX95" fmla="*/ 279708 w 443349"/>
                  <a:gd name="connsiteY95" fmla="*/ 75760 h 397893"/>
                  <a:gd name="connsiteX96" fmla="*/ 278344 w 443349"/>
                  <a:gd name="connsiteY96" fmla="*/ 77124 h 397893"/>
                  <a:gd name="connsiteX97" fmla="*/ 276829 w 443349"/>
                  <a:gd name="connsiteY97" fmla="*/ 77882 h 397893"/>
                  <a:gd name="connsiteX98" fmla="*/ 277283 w 443349"/>
                  <a:gd name="connsiteY98" fmla="*/ 79245 h 397893"/>
                  <a:gd name="connsiteX99" fmla="*/ 278495 w 443349"/>
                  <a:gd name="connsiteY99" fmla="*/ 80912 h 397893"/>
                  <a:gd name="connsiteX100" fmla="*/ 280465 w 443349"/>
                  <a:gd name="connsiteY100" fmla="*/ 82882 h 397893"/>
                  <a:gd name="connsiteX101" fmla="*/ 280313 w 443349"/>
                  <a:gd name="connsiteY101" fmla="*/ 85761 h 397893"/>
                  <a:gd name="connsiteX102" fmla="*/ 280313 w 443349"/>
                  <a:gd name="connsiteY102" fmla="*/ 87882 h 397893"/>
                  <a:gd name="connsiteX103" fmla="*/ 280313 w 443349"/>
                  <a:gd name="connsiteY103" fmla="*/ 90458 h 397893"/>
                  <a:gd name="connsiteX104" fmla="*/ 279253 w 443349"/>
                  <a:gd name="connsiteY104" fmla="*/ 92731 h 397893"/>
                  <a:gd name="connsiteX105" fmla="*/ 273647 w 443349"/>
                  <a:gd name="connsiteY105" fmla="*/ 94700 h 397893"/>
                  <a:gd name="connsiteX106" fmla="*/ 268344 w 443349"/>
                  <a:gd name="connsiteY106" fmla="*/ 95610 h 397893"/>
                  <a:gd name="connsiteX107" fmla="*/ 261828 w 443349"/>
                  <a:gd name="connsiteY107" fmla="*/ 95761 h 397893"/>
                  <a:gd name="connsiteX108" fmla="*/ 259404 w 443349"/>
                  <a:gd name="connsiteY108" fmla="*/ 95307 h 397893"/>
                  <a:gd name="connsiteX109" fmla="*/ 257434 w 443349"/>
                  <a:gd name="connsiteY109" fmla="*/ 94852 h 397893"/>
                  <a:gd name="connsiteX110" fmla="*/ 250313 w 443349"/>
                  <a:gd name="connsiteY110" fmla="*/ 92579 h 397893"/>
                  <a:gd name="connsiteX111" fmla="*/ 247434 w 443349"/>
                  <a:gd name="connsiteY111" fmla="*/ 93943 h 397893"/>
                  <a:gd name="connsiteX112" fmla="*/ 246827 w 443349"/>
                  <a:gd name="connsiteY112" fmla="*/ 97276 h 397893"/>
                  <a:gd name="connsiteX113" fmla="*/ 251979 w 443349"/>
                  <a:gd name="connsiteY113" fmla="*/ 102731 h 397893"/>
                  <a:gd name="connsiteX114" fmla="*/ 254101 w 443349"/>
                  <a:gd name="connsiteY114" fmla="*/ 105761 h 397893"/>
                  <a:gd name="connsiteX115" fmla="*/ 256525 w 443349"/>
                  <a:gd name="connsiteY115" fmla="*/ 110913 h 397893"/>
                  <a:gd name="connsiteX116" fmla="*/ 258192 w 443349"/>
                  <a:gd name="connsiteY116" fmla="*/ 113489 h 397893"/>
                  <a:gd name="connsiteX117" fmla="*/ 257585 w 443349"/>
                  <a:gd name="connsiteY117" fmla="*/ 115913 h 397893"/>
                  <a:gd name="connsiteX118" fmla="*/ 252888 w 443349"/>
                  <a:gd name="connsiteY118" fmla="*/ 118641 h 397893"/>
                  <a:gd name="connsiteX119" fmla="*/ 248343 w 443349"/>
                  <a:gd name="connsiteY119" fmla="*/ 121368 h 397893"/>
                  <a:gd name="connsiteX120" fmla="*/ 242433 w 443349"/>
                  <a:gd name="connsiteY120" fmla="*/ 121823 h 397893"/>
                  <a:gd name="connsiteX121" fmla="*/ 238645 w 443349"/>
                  <a:gd name="connsiteY121" fmla="*/ 122732 h 397893"/>
                  <a:gd name="connsiteX122" fmla="*/ 236827 w 443349"/>
                  <a:gd name="connsiteY122" fmla="*/ 124095 h 397893"/>
                  <a:gd name="connsiteX123" fmla="*/ 235463 w 443349"/>
                  <a:gd name="connsiteY123" fmla="*/ 129853 h 397893"/>
                  <a:gd name="connsiteX124" fmla="*/ 234251 w 443349"/>
                  <a:gd name="connsiteY124" fmla="*/ 131823 h 397893"/>
                  <a:gd name="connsiteX125" fmla="*/ 234251 w 443349"/>
                  <a:gd name="connsiteY125" fmla="*/ 134399 h 397893"/>
                  <a:gd name="connsiteX126" fmla="*/ 232888 w 443349"/>
                  <a:gd name="connsiteY126" fmla="*/ 137126 h 397893"/>
                  <a:gd name="connsiteX127" fmla="*/ 231069 w 443349"/>
                  <a:gd name="connsiteY127" fmla="*/ 138944 h 397893"/>
                  <a:gd name="connsiteX128" fmla="*/ 229706 w 443349"/>
                  <a:gd name="connsiteY128" fmla="*/ 141975 h 397893"/>
                  <a:gd name="connsiteX129" fmla="*/ 230160 w 443349"/>
                  <a:gd name="connsiteY129" fmla="*/ 147430 h 397893"/>
                  <a:gd name="connsiteX130" fmla="*/ 230766 w 443349"/>
                  <a:gd name="connsiteY130" fmla="*/ 156975 h 397893"/>
                  <a:gd name="connsiteX131" fmla="*/ 228191 w 443349"/>
                  <a:gd name="connsiteY131" fmla="*/ 160006 h 397893"/>
                  <a:gd name="connsiteX132" fmla="*/ 225463 w 443349"/>
                  <a:gd name="connsiteY132" fmla="*/ 162885 h 397893"/>
                  <a:gd name="connsiteX133" fmla="*/ 222433 w 443349"/>
                  <a:gd name="connsiteY133" fmla="*/ 165158 h 397893"/>
                  <a:gd name="connsiteX134" fmla="*/ 219554 w 443349"/>
                  <a:gd name="connsiteY134" fmla="*/ 166067 h 397893"/>
                  <a:gd name="connsiteX135" fmla="*/ 217130 w 443349"/>
                  <a:gd name="connsiteY135" fmla="*/ 165764 h 397893"/>
                  <a:gd name="connsiteX136" fmla="*/ 215311 w 443349"/>
                  <a:gd name="connsiteY136" fmla="*/ 163794 h 397893"/>
                  <a:gd name="connsiteX137" fmla="*/ 214251 w 443349"/>
                  <a:gd name="connsiteY137" fmla="*/ 162279 h 397893"/>
                  <a:gd name="connsiteX138" fmla="*/ 212129 w 443349"/>
                  <a:gd name="connsiteY138" fmla="*/ 161067 h 397893"/>
                  <a:gd name="connsiteX139" fmla="*/ 210008 w 443349"/>
                  <a:gd name="connsiteY139" fmla="*/ 161218 h 397893"/>
                  <a:gd name="connsiteX140" fmla="*/ 207887 w 443349"/>
                  <a:gd name="connsiteY140" fmla="*/ 162430 h 397893"/>
                  <a:gd name="connsiteX141" fmla="*/ 204553 w 443349"/>
                  <a:gd name="connsiteY141" fmla="*/ 162127 h 397893"/>
                  <a:gd name="connsiteX142" fmla="*/ 201675 w 443349"/>
                  <a:gd name="connsiteY142" fmla="*/ 160915 h 397893"/>
                  <a:gd name="connsiteX143" fmla="*/ 200159 w 443349"/>
                  <a:gd name="connsiteY143" fmla="*/ 161067 h 397893"/>
                  <a:gd name="connsiteX144" fmla="*/ 199250 w 443349"/>
                  <a:gd name="connsiteY144" fmla="*/ 162127 h 397893"/>
                  <a:gd name="connsiteX145" fmla="*/ 196220 w 443349"/>
                  <a:gd name="connsiteY145" fmla="*/ 164703 h 397893"/>
                  <a:gd name="connsiteX146" fmla="*/ 188644 w 443349"/>
                  <a:gd name="connsiteY146" fmla="*/ 168643 h 397893"/>
                  <a:gd name="connsiteX147" fmla="*/ 185613 w 443349"/>
                  <a:gd name="connsiteY147" fmla="*/ 168946 h 397893"/>
                  <a:gd name="connsiteX148" fmla="*/ 184249 w 443349"/>
                  <a:gd name="connsiteY148" fmla="*/ 169855 h 397893"/>
                  <a:gd name="connsiteX149" fmla="*/ 184704 w 443349"/>
                  <a:gd name="connsiteY149" fmla="*/ 171522 h 397893"/>
                  <a:gd name="connsiteX150" fmla="*/ 186067 w 443349"/>
                  <a:gd name="connsiteY150" fmla="*/ 172885 h 397893"/>
                  <a:gd name="connsiteX151" fmla="*/ 188492 w 443349"/>
                  <a:gd name="connsiteY151" fmla="*/ 173794 h 397893"/>
                  <a:gd name="connsiteX152" fmla="*/ 188644 w 443349"/>
                  <a:gd name="connsiteY152" fmla="*/ 174855 h 397893"/>
                  <a:gd name="connsiteX153" fmla="*/ 186523 w 443349"/>
                  <a:gd name="connsiteY153" fmla="*/ 175764 h 397893"/>
                  <a:gd name="connsiteX154" fmla="*/ 184704 w 443349"/>
                  <a:gd name="connsiteY154" fmla="*/ 176825 h 397893"/>
                  <a:gd name="connsiteX155" fmla="*/ 180765 w 443349"/>
                  <a:gd name="connsiteY155" fmla="*/ 178037 h 397893"/>
                  <a:gd name="connsiteX156" fmla="*/ 176219 w 443349"/>
                  <a:gd name="connsiteY156" fmla="*/ 178643 h 397893"/>
                  <a:gd name="connsiteX157" fmla="*/ 171522 w 443349"/>
                  <a:gd name="connsiteY157" fmla="*/ 177885 h 397893"/>
                  <a:gd name="connsiteX158" fmla="*/ 169097 w 443349"/>
                  <a:gd name="connsiteY158" fmla="*/ 176067 h 397893"/>
                  <a:gd name="connsiteX159" fmla="*/ 166370 w 443349"/>
                  <a:gd name="connsiteY159" fmla="*/ 175916 h 397893"/>
                  <a:gd name="connsiteX160" fmla="*/ 163794 w 443349"/>
                  <a:gd name="connsiteY160" fmla="*/ 177279 h 397893"/>
                  <a:gd name="connsiteX161" fmla="*/ 161067 w 443349"/>
                  <a:gd name="connsiteY161" fmla="*/ 179249 h 397893"/>
                  <a:gd name="connsiteX162" fmla="*/ 158188 w 443349"/>
                  <a:gd name="connsiteY162" fmla="*/ 183795 h 397893"/>
                  <a:gd name="connsiteX163" fmla="*/ 157279 w 443349"/>
                  <a:gd name="connsiteY163" fmla="*/ 184552 h 397893"/>
                  <a:gd name="connsiteX164" fmla="*/ 156521 w 443349"/>
                  <a:gd name="connsiteY164" fmla="*/ 185310 h 397893"/>
                  <a:gd name="connsiteX165" fmla="*/ 154703 w 443349"/>
                  <a:gd name="connsiteY165" fmla="*/ 186219 h 397893"/>
                  <a:gd name="connsiteX166" fmla="*/ 151975 w 443349"/>
                  <a:gd name="connsiteY166" fmla="*/ 187734 h 397893"/>
                  <a:gd name="connsiteX167" fmla="*/ 150460 w 443349"/>
                  <a:gd name="connsiteY167" fmla="*/ 191068 h 397893"/>
                  <a:gd name="connsiteX168" fmla="*/ 148945 w 443349"/>
                  <a:gd name="connsiteY168" fmla="*/ 196977 h 397893"/>
                  <a:gd name="connsiteX169" fmla="*/ 149248 w 443349"/>
                  <a:gd name="connsiteY169" fmla="*/ 200007 h 397893"/>
                  <a:gd name="connsiteX170" fmla="*/ 149400 w 443349"/>
                  <a:gd name="connsiteY170" fmla="*/ 205462 h 397893"/>
                  <a:gd name="connsiteX171" fmla="*/ 148794 w 443349"/>
                  <a:gd name="connsiteY171" fmla="*/ 209250 h 397893"/>
                  <a:gd name="connsiteX172" fmla="*/ 147582 w 443349"/>
                  <a:gd name="connsiteY172" fmla="*/ 211826 h 397893"/>
                  <a:gd name="connsiteX173" fmla="*/ 147733 w 443349"/>
                  <a:gd name="connsiteY173" fmla="*/ 213796 h 397893"/>
                  <a:gd name="connsiteX174" fmla="*/ 149551 w 443349"/>
                  <a:gd name="connsiteY174" fmla="*/ 216068 h 397893"/>
                  <a:gd name="connsiteX175" fmla="*/ 148945 w 443349"/>
                  <a:gd name="connsiteY175" fmla="*/ 217432 h 397893"/>
                  <a:gd name="connsiteX176" fmla="*/ 147430 w 443349"/>
                  <a:gd name="connsiteY176" fmla="*/ 219099 h 397893"/>
                  <a:gd name="connsiteX177" fmla="*/ 145915 w 443349"/>
                  <a:gd name="connsiteY177" fmla="*/ 220008 h 397893"/>
                  <a:gd name="connsiteX178" fmla="*/ 140006 w 443349"/>
                  <a:gd name="connsiteY178" fmla="*/ 221675 h 397893"/>
                  <a:gd name="connsiteX179" fmla="*/ 131975 w 443349"/>
                  <a:gd name="connsiteY179" fmla="*/ 223948 h 397893"/>
                  <a:gd name="connsiteX180" fmla="*/ 126520 w 443349"/>
                  <a:gd name="connsiteY180" fmla="*/ 225463 h 397893"/>
                  <a:gd name="connsiteX181" fmla="*/ 118641 w 443349"/>
                  <a:gd name="connsiteY181" fmla="*/ 227584 h 397893"/>
                  <a:gd name="connsiteX182" fmla="*/ 116217 w 443349"/>
                  <a:gd name="connsiteY182" fmla="*/ 228190 h 397893"/>
                  <a:gd name="connsiteX183" fmla="*/ 111520 w 443349"/>
                  <a:gd name="connsiteY183" fmla="*/ 228342 h 397893"/>
                  <a:gd name="connsiteX184" fmla="*/ 108943 w 443349"/>
                  <a:gd name="connsiteY184" fmla="*/ 228039 h 397893"/>
                  <a:gd name="connsiteX185" fmla="*/ 105610 w 443349"/>
                  <a:gd name="connsiteY185" fmla="*/ 227887 h 397893"/>
                  <a:gd name="connsiteX186" fmla="*/ 100610 w 443349"/>
                  <a:gd name="connsiteY186" fmla="*/ 228039 h 397893"/>
                  <a:gd name="connsiteX187" fmla="*/ 97125 w 443349"/>
                  <a:gd name="connsiteY187" fmla="*/ 228645 h 397893"/>
                  <a:gd name="connsiteX188" fmla="*/ 93640 w 443349"/>
                  <a:gd name="connsiteY188" fmla="*/ 229705 h 397893"/>
                  <a:gd name="connsiteX189" fmla="*/ 91064 w 443349"/>
                  <a:gd name="connsiteY189" fmla="*/ 231069 h 397893"/>
                  <a:gd name="connsiteX190" fmla="*/ 89549 w 443349"/>
                  <a:gd name="connsiteY190" fmla="*/ 232433 h 397893"/>
                  <a:gd name="connsiteX191" fmla="*/ 89094 w 443349"/>
                  <a:gd name="connsiteY191" fmla="*/ 233190 h 397893"/>
                  <a:gd name="connsiteX192" fmla="*/ 85458 w 443349"/>
                  <a:gd name="connsiteY192" fmla="*/ 231978 h 397893"/>
                  <a:gd name="connsiteX193" fmla="*/ 74548 w 443349"/>
                  <a:gd name="connsiteY193" fmla="*/ 230009 h 397893"/>
                  <a:gd name="connsiteX194" fmla="*/ 44699 w 443349"/>
                  <a:gd name="connsiteY194" fmla="*/ 232736 h 397893"/>
                  <a:gd name="connsiteX195" fmla="*/ 41820 w 443349"/>
                  <a:gd name="connsiteY195" fmla="*/ 232130 h 397893"/>
                  <a:gd name="connsiteX196" fmla="*/ 31668 w 443349"/>
                  <a:gd name="connsiteY196" fmla="*/ 229099 h 397893"/>
                  <a:gd name="connsiteX197" fmla="*/ 18486 w 443349"/>
                  <a:gd name="connsiteY197" fmla="*/ 225008 h 397893"/>
                  <a:gd name="connsiteX198" fmla="*/ 10304 w 443349"/>
                  <a:gd name="connsiteY198" fmla="*/ 222584 h 397893"/>
                  <a:gd name="connsiteX199" fmla="*/ 0 w 443349"/>
                  <a:gd name="connsiteY199" fmla="*/ 219250 h 397893"/>
                  <a:gd name="connsiteX200" fmla="*/ 5152 w 443349"/>
                  <a:gd name="connsiteY200" fmla="*/ 225160 h 397893"/>
                  <a:gd name="connsiteX201" fmla="*/ 8334 w 443349"/>
                  <a:gd name="connsiteY201" fmla="*/ 228645 h 397893"/>
                  <a:gd name="connsiteX202" fmla="*/ 12879 w 443349"/>
                  <a:gd name="connsiteY202" fmla="*/ 233797 h 397893"/>
                  <a:gd name="connsiteX203" fmla="*/ 13486 w 443349"/>
                  <a:gd name="connsiteY203" fmla="*/ 235008 h 397893"/>
                  <a:gd name="connsiteX204" fmla="*/ 13486 w 443349"/>
                  <a:gd name="connsiteY204" fmla="*/ 236978 h 397893"/>
                  <a:gd name="connsiteX205" fmla="*/ 18183 w 443349"/>
                  <a:gd name="connsiteY205" fmla="*/ 244554 h 397893"/>
                  <a:gd name="connsiteX206" fmla="*/ 19850 w 443349"/>
                  <a:gd name="connsiteY206" fmla="*/ 248645 h 397893"/>
                  <a:gd name="connsiteX207" fmla="*/ 21213 w 443349"/>
                  <a:gd name="connsiteY207" fmla="*/ 250918 h 397893"/>
                  <a:gd name="connsiteX208" fmla="*/ 25001 w 443349"/>
                  <a:gd name="connsiteY208" fmla="*/ 254706 h 397893"/>
                  <a:gd name="connsiteX209" fmla="*/ 28638 w 443349"/>
                  <a:gd name="connsiteY209" fmla="*/ 258191 h 397893"/>
                  <a:gd name="connsiteX210" fmla="*/ 32426 w 443349"/>
                  <a:gd name="connsiteY210" fmla="*/ 259858 h 397893"/>
                  <a:gd name="connsiteX211" fmla="*/ 35153 w 443349"/>
                  <a:gd name="connsiteY211" fmla="*/ 260161 h 397893"/>
                  <a:gd name="connsiteX212" fmla="*/ 41214 w 443349"/>
                  <a:gd name="connsiteY212" fmla="*/ 262131 h 397893"/>
                  <a:gd name="connsiteX213" fmla="*/ 43487 w 443349"/>
                  <a:gd name="connsiteY213" fmla="*/ 263646 h 397893"/>
                  <a:gd name="connsiteX214" fmla="*/ 46972 w 443349"/>
                  <a:gd name="connsiteY214" fmla="*/ 267434 h 397893"/>
                  <a:gd name="connsiteX215" fmla="*/ 51214 w 443349"/>
                  <a:gd name="connsiteY215" fmla="*/ 266828 h 397893"/>
                  <a:gd name="connsiteX216" fmla="*/ 52123 w 443349"/>
                  <a:gd name="connsiteY216" fmla="*/ 266828 h 397893"/>
                  <a:gd name="connsiteX217" fmla="*/ 52275 w 443349"/>
                  <a:gd name="connsiteY217" fmla="*/ 267131 h 397893"/>
                  <a:gd name="connsiteX218" fmla="*/ 52427 w 443349"/>
                  <a:gd name="connsiteY218" fmla="*/ 268343 h 397893"/>
                  <a:gd name="connsiteX219" fmla="*/ 51820 w 443349"/>
                  <a:gd name="connsiteY219" fmla="*/ 274253 h 397893"/>
                  <a:gd name="connsiteX220" fmla="*/ 53032 w 443349"/>
                  <a:gd name="connsiteY220" fmla="*/ 280162 h 397893"/>
                  <a:gd name="connsiteX221" fmla="*/ 53790 w 443349"/>
                  <a:gd name="connsiteY221" fmla="*/ 289101 h 397893"/>
                  <a:gd name="connsiteX222" fmla="*/ 53487 w 443349"/>
                  <a:gd name="connsiteY222" fmla="*/ 290617 h 397893"/>
                  <a:gd name="connsiteX223" fmla="*/ 52578 w 443349"/>
                  <a:gd name="connsiteY223" fmla="*/ 293193 h 397893"/>
                  <a:gd name="connsiteX224" fmla="*/ 52427 w 443349"/>
                  <a:gd name="connsiteY224" fmla="*/ 294859 h 397893"/>
                  <a:gd name="connsiteX225" fmla="*/ 52123 w 443349"/>
                  <a:gd name="connsiteY225" fmla="*/ 295920 h 397893"/>
                  <a:gd name="connsiteX226" fmla="*/ 52427 w 443349"/>
                  <a:gd name="connsiteY226" fmla="*/ 296374 h 397893"/>
                  <a:gd name="connsiteX227" fmla="*/ 53790 w 443349"/>
                  <a:gd name="connsiteY227" fmla="*/ 296981 h 397893"/>
                  <a:gd name="connsiteX228" fmla="*/ 56669 w 443349"/>
                  <a:gd name="connsiteY228" fmla="*/ 297284 h 397893"/>
                  <a:gd name="connsiteX229" fmla="*/ 63487 w 443349"/>
                  <a:gd name="connsiteY229" fmla="*/ 296374 h 397893"/>
                  <a:gd name="connsiteX230" fmla="*/ 64396 w 443349"/>
                  <a:gd name="connsiteY230" fmla="*/ 296526 h 397893"/>
                  <a:gd name="connsiteX231" fmla="*/ 65912 w 443349"/>
                  <a:gd name="connsiteY231" fmla="*/ 297587 h 397893"/>
                  <a:gd name="connsiteX232" fmla="*/ 67275 w 443349"/>
                  <a:gd name="connsiteY232" fmla="*/ 299253 h 397893"/>
                  <a:gd name="connsiteX233" fmla="*/ 67275 w 443349"/>
                  <a:gd name="connsiteY233" fmla="*/ 300011 h 397893"/>
                  <a:gd name="connsiteX234" fmla="*/ 65609 w 443349"/>
                  <a:gd name="connsiteY234" fmla="*/ 301375 h 397893"/>
                  <a:gd name="connsiteX235" fmla="*/ 65306 w 443349"/>
                  <a:gd name="connsiteY235" fmla="*/ 303799 h 397893"/>
                  <a:gd name="connsiteX236" fmla="*/ 65760 w 443349"/>
                  <a:gd name="connsiteY236" fmla="*/ 307284 h 397893"/>
                  <a:gd name="connsiteX237" fmla="*/ 65609 w 443349"/>
                  <a:gd name="connsiteY237" fmla="*/ 307738 h 397893"/>
                  <a:gd name="connsiteX238" fmla="*/ 64093 w 443349"/>
                  <a:gd name="connsiteY238" fmla="*/ 308496 h 397893"/>
                  <a:gd name="connsiteX239" fmla="*/ 63487 w 443349"/>
                  <a:gd name="connsiteY239" fmla="*/ 313496 h 397893"/>
                  <a:gd name="connsiteX240" fmla="*/ 63336 w 443349"/>
                  <a:gd name="connsiteY240" fmla="*/ 313951 h 397893"/>
                  <a:gd name="connsiteX241" fmla="*/ 61518 w 443349"/>
                  <a:gd name="connsiteY241" fmla="*/ 314405 h 397893"/>
                  <a:gd name="connsiteX242" fmla="*/ 53184 w 443349"/>
                  <a:gd name="connsiteY242" fmla="*/ 314102 h 397893"/>
                  <a:gd name="connsiteX243" fmla="*/ 52123 w 443349"/>
                  <a:gd name="connsiteY243" fmla="*/ 314254 h 397893"/>
                  <a:gd name="connsiteX244" fmla="*/ 48941 w 443349"/>
                  <a:gd name="connsiteY244" fmla="*/ 315618 h 397893"/>
                  <a:gd name="connsiteX245" fmla="*/ 43638 w 443349"/>
                  <a:gd name="connsiteY245" fmla="*/ 316527 h 397893"/>
                  <a:gd name="connsiteX246" fmla="*/ 42123 w 443349"/>
                  <a:gd name="connsiteY246" fmla="*/ 317133 h 397893"/>
                  <a:gd name="connsiteX247" fmla="*/ 40153 w 443349"/>
                  <a:gd name="connsiteY247" fmla="*/ 318648 h 397893"/>
                  <a:gd name="connsiteX248" fmla="*/ 38638 w 443349"/>
                  <a:gd name="connsiteY248" fmla="*/ 320466 h 397893"/>
                  <a:gd name="connsiteX249" fmla="*/ 38486 w 443349"/>
                  <a:gd name="connsiteY249" fmla="*/ 322133 h 397893"/>
                  <a:gd name="connsiteX250" fmla="*/ 38184 w 443349"/>
                  <a:gd name="connsiteY250" fmla="*/ 322436 h 397893"/>
                  <a:gd name="connsiteX251" fmla="*/ 35002 w 443349"/>
                  <a:gd name="connsiteY251" fmla="*/ 322133 h 397893"/>
                  <a:gd name="connsiteX252" fmla="*/ 34092 w 443349"/>
                  <a:gd name="connsiteY252" fmla="*/ 323648 h 397893"/>
                  <a:gd name="connsiteX253" fmla="*/ 28031 w 443349"/>
                  <a:gd name="connsiteY253" fmla="*/ 325921 h 397893"/>
                  <a:gd name="connsiteX254" fmla="*/ 27274 w 443349"/>
                  <a:gd name="connsiteY254" fmla="*/ 326376 h 397893"/>
                  <a:gd name="connsiteX255" fmla="*/ 26365 w 443349"/>
                  <a:gd name="connsiteY255" fmla="*/ 328042 h 397893"/>
                  <a:gd name="connsiteX256" fmla="*/ 25607 w 443349"/>
                  <a:gd name="connsiteY256" fmla="*/ 333042 h 397893"/>
                  <a:gd name="connsiteX257" fmla="*/ 24850 w 443349"/>
                  <a:gd name="connsiteY257" fmla="*/ 337437 h 397893"/>
                  <a:gd name="connsiteX258" fmla="*/ 24395 w 443349"/>
                  <a:gd name="connsiteY258" fmla="*/ 338194 h 397893"/>
                  <a:gd name="connsiteX259" fmla="*/ 22577 w 443349"/>
                  <a:gd name="connsiteY259" fmla="*/ 339709 h 397893"/>
                  <a:gd name="connsiteX260" fmla="*/ 22274 w 443349"/>
                  <a:gd name="connsiteY260" fmla="*/ 340164 h 397893"/>
                  <a:gd name="connsiteX261" fmla="*/ 22577 w 443349"/>
                  <a:gd name="connsiteY261" fmla="*/ 341831 h 397893"/>
                  <a:gd name="connsiteX262" fmla="*/ 21819 w 443349"/>
                  <a:gd name="connsiteY262" fmla="*/ 345013 h 397893"/>
                  <a:gd name="connsiteX263" fmla="*/ 21062 w 443349"/>
                  <a:gd name="connsiteY263" fmla="*/ 353649 h 397893"/>
                  <a:gd name="connsiteX264" fmla="*/ 20304 w 443349"/>
                  <a:gd name="connsiteY264" fmla="*/ 356074 h 397893"/>
                  <a:gd name="connsiteX265" fmla="*/ 19698 w 443349"/>
                  <a:gd name="connsiteY265" fmla="*/ 356528 h 397893"/>
                  <a:gd name="connsiteX266" fmla="*/ 24547 w 443349"/>
                  <a:gd name="connsiteY266" fmla="*/ 357892 h 397893"/>
                  <a:gd name="connsiteX267" fmla="*/ 29092 w 443349"/>
                  <a:gd name="connsiteY267" fmla="*/ 358195 h 397893"/>
                  <a:gd name="connsiteX268" fmla="*/ 34092 w 443349"/>
                  <a:gd name="connsiteY268" fmla="*/ 357437 h 397893"/>
                  <a:gd name="connsiteX269" fmla="*/ 35759 w 443349"/>
                  <a:gd name="connsiteY269" fmla="*/ 355922 h 397893"/>
                  <a:gd name="connsiteX270" fmla="*/ 36971 w 443349"/>
                  <a:gd name="connsiteY270" fmla="*/ 355468 h 397893"/>
                  <a:gd name="connsiteX271" fmla="*/ 38335 w 443349"/>
                  <a:gd name="connsiteY271" fmla="*/ 356225 h 397893"/>
                  <a:gd name="connsiteX272" fmla="*/ 40153 w 443349"/>
                  <a:gd name="connsiteY272" fmla="*/ 358043 h 397893"/>
                  <a:gd name="connsiteX273" fmla="*/ 42274 w 443349"/>
                  <a:gd name="connsiteY273" fmla="*/ 357589 h 397893"/>
                  <a:gd name="connsiteX274" fmla="*/ 43790 w 443349"/>
                  <a:gd name="connsiteY274" fmla="*/ 356225 h 397893"/>
                  <a:gd name="connsiteX275" fmla="*/ 47275 w 443349"/>
                  <a:gd name="connsiteY275" fmla="*/ 354559 h 397893"/>
                  <a:gd name="connsiteX276" fmla="*/ 49850 w 443349"/>
                  <a:gd name="connsiteY276" fmla="*/ 354255 h 397893"/>
                  <a:gd name="connsiteX277" fmla="*/ 59396 w 443349"/>
                  <a:gd name="connsiteY277" fmla="*/ 355468 h 397893"/>
                  <a:gd name="connsiteX278" fmla="*/ 63639 w 443349"/>
                  <a:gd name="connsiteY278" fmla="*/ 354559 h 397893"/>
                  <a:gd name="connsiteX279" fmla="*/ 66821 w 443349"/>
                  <a:gd name="connsiteY279" fmla="*/ 355316 h 397893"/>
                  <a:gd name="connsiteX280" fmla="*/ 72427 w 443349"/>
                  <a:gd name="connsiteY280" fmla="*/ 355922 h 397893"/>
                  <a:gd name="connsiteX281" fmla="*/ 72579 w 443349"/>
                  <a:gd name="connsiteY281" fmla="*/ 353346 h 397893"/>
                  <a:gd name="connsiteX282" fmla="*/ 74246 w 443349"/>
                  <a:gd name="connsiteY282" fmla="*/ 351680 h 397893"/>
                  <a:gd name="connsiteX283" fmla="*/ 78639 w 443349"/>
                  <a:gd name="connsiteY283" fmla="*/ 350771 h 397893"/>
                  <a:gd name="connsiteX284" fmla="*/ 84549 w 443349"/>
                  <a:gd name="connsiteY284" fmla="*/ 351982 h 397893"/>
                  <a:gd name="connsiteX285" fmla="*/ 85912 w 443349"/>
                  <a:gd name="connsiteY285" fmla="*/ 351831 h 397893"/>
                  <a:gd name="connsiteX286" fmla="*/ 87882 w 443349"/>
                  <a:gd name="connsiteY286" fmla="*/ 350316 h 397893"/>
                  <a:gd name="connsiteX287" fmla="*/ 89701 w 443349"/>
                  <a:gd name="connsiteY287" fmla="*/ 351073 h 397893"/>
                  <a:gd name="connsiteX288" fmla="*/ 90458 w 443349"/>
                  <a:gd name="connsiteY288" fmla="*/ 352286 h 397893"/>
                  <a:gd name="connsiteX289" fmla="*/ 101216 w 443349"/>
                  <a:gd name="connsiteY289" fmla="*/ 355165 h 397893"/>
                  <a:gd name="connsiteX290" fmla="*/ 102580 w 443349"/>
                  <a:gd name="connsiteY290" fmla="*/ 355922 h 397893"/>
                  <a:gd name="connsiteX291" fmla="*/ 104398 w 443349"/>
                  <a:gd name="connsiteY291" fmla="*/ 356680 h 397893"/>
                  <a:gd name="connsiteX292" fmla="*/ 107580 w 443349"/>
                  <a:gd name="connsiteY292" fmla="*/ 353043 h 397893"/>
                  <a:gd name="connsiteX293" fmla="*/ 115308 w 443349"/>
                  <a:gd name="connsiteY293" fmla="*/ 352892 h 397893"/>
                  <a:gd name="connsiteX294" fmla="*/ 124853 w 443349"/>
                  <a:gd name="connsiteY294" fmla="*/ 351073 h 397893"/>
                  <a:gd name="connsiteX295" fmla="*/ 132278 w 443349"/>
                  <a:gd name="connsiteY295" fmla="*/ 351680 h 397893"/>
                  <a:gd name="connsiteX296" fmla="*/ 137884 w 443349"/>
                  <a:gd name="connsiteY296" fmla="*/ 349861 h 397893"/>
                  <a:gd name="connsiteX297" fmla="*/ 147430 w 443349"/>
                  <a:gd name="connsiteY297" fmla="*/ 348498 h 397893"/>
                  <a:gd name="connsiteX298" fmla="*/ 150006 w 443349"/>
                  <a:gd name="connsiteY298" fmla="*/ 348498 h 397893"/>
                  <a:gd name="connsiteX299" fmla="*/ 152127 w 443349"/>
                  <a:gd name="connsiteY299" fmla="*/ 348952 h 397893"/>
                  <a:gd name="connsiteX300" fmla="*/ 153794 w 443349"/>
                  <a:gd name="connsiteY300" fmla="*/ 349104 h 397893"/>
                  <a:gd name="connsiteX301" fmla="*/ 152127 w 443349"/>
                  <a:gd name="connsiteY301" fmla="*/ 347892 h 397893"/>
                  <a:gd name="connsiteX302" fmla="*/ 150763 w 443349"/>
                  <a:gd name="connsiteY302" fmla="*/ 347285 h 397893"/>
                  <a:gd name="connsiteX303" fmla="*/ 144703 w 443349"/>
                  <a:gd name="connsiteY303" fmla="*/ 347588 h 397893"/>
                  <a:gd name="connsiteX304" fmla="*/ 145460 w 443349"/>
                  <a:gd name="connsiteY304" fmla="*/ 345922 h 397893"/>
                  <a:gd name="connsiteX305" fmla="*/ 146975 w 443349"/>
                  <a:gd name="connsiteY305" fmla="*/ 344861 h 397893"/>
                  <a:gd name="connsiteX306" fmla="*/ 149854 w 443349"/>
                  <a:gd name="connsiteY306" fmla="*/ 344558 h 397893"/>
                  <a:gd name="connsiteX307" fmla="*/ 152733 w 443349"/>
                  <a:gd name="connsiteY307" fmla="*/ 345316 h 397893"/>
                  <a:gd name="connsiteX308" fmla="*/ 155612 w 443349"/>
                  <a:gd name="connsiteY308" fmla="*/ 347892 h 397893"/>
                  <a:gd name="connsiteX309" fmla="*/ 156673 w 443349"/>
                  <a:gd name="connsiteY309" fmla="*/ 350922 h 397893"/>
                  <a:gd name="connsiteX310" fmla="*/ 160158 w 443349"/>
                  <a:gd name="connsiteY310" fmla="*/ 355468 h 397893"/>
                  <a:gd name="connsiteX311" fmla="*/ 160461 w 443349"/>
                  <a:gd name="connsiteY311" fmla="*/ 358801 h 397893"/>
                  <a:gd name="connsiteX312" fmla="*/ 159703 w 443349"/>
                  <a:gd name="connsiteY312" fmla="*/ 363953 h 397893"/>
                  <a:gd name="connsiteX313" fmla="*/ 160309 w 443349"/>
                  <a:gd name="connsiteY313" fmla="*/ 365923 h 397893"/>
                  <a:gd name="connsiteX314" fmla="*/ 171219 w 443349"/>
                  <a:gd name="connsiteY314" fmla="*/ 368044 h 397893"/>
                  <a:gd name="connsiteX315" fmla="*/ 173037 w 443349"/>
                  <a:gd name="connsiteY315" fmla="*/ 368953 h 397893"/>
                  <a:gd name="connsiteX316" fmla="*/ 176370 w 443349"/>
                  <a:gd name="connsiteY316" fmla="*/ 380317 h 397893"/>
                  <a:gd name="connsiteX317" fmla="*/ 176673 w 443349"/>
                  <a:gd name="connsiteY317" fmla="*/ 383347 h 397893"/>
                  <a:gd name="connsiteX318" fmla="*/ 176825 w 443349"/>
                  <a:gd name="connsiteY318" fmla="*/ 385772 h 397893"/>
                  <a:gd name="connsiteX319" fmla="*/ 178340 w 443349"/>
                  <a:gd name="connsiteY319" fmla="*/ 388196 h 397893"/>
                  <a:gd name="connsiteX320" fmla="*/ 180158 w 443349"/>
                  <a:gd name="connsiteY320" fmla="*/ 388954 h 397893"/>
                  <a:gd name="connsiteX321" fmla="*/ 180765 w 443349"/>
                  <a:gd name="connsiteY321" fmla="*/ 389711 h 397893"/>
                  <a:gd name="connsiteX322" fmla="*/ 181522 w 443349"/>
                  <a:gd name="connsiteY322" fmla="*/ 390317 h 397893"/>
                  <a:gd name="connsiteX323" fmla="*/ 182128 w 443349"/>
                  <a:gd name="connsiteY323" fmla="*/ 392590 h 397893"/>
                  <a:gd name="connsiteX324" fmla="*/ 183795 w 443349"/>
                  <a:gd name="connsiteY324" fmla="*/ 394257 h 397893"/>
                  <a:gd name="connsiteX325" fmla="*/ 186067 w 443349"/>
                  <a:gd name="connsiteY325" fmla="*/ 393196 h 397893"/>
                  <a:gd name="connsiteX326" fmla="*/ 186219 w 443349"/>
                  <a:gd name="connsiteY326" fmla="*/ 394711 h 397893"/>
                  <a:gd name="connsiteX327" fmla="*/ 186674 w 443349"/>
                  <a:gd name="connsiteY327" fmla="*/ 396227 h 397893"/>
                  <a:gd name="connsiteX328" fmla="*/ 190765 w 443349"/>
                  <a:gd name="connsiteY328" fmla="*/ 395772 h 397893"/>
                  <a:gd name="connsiteX329" fmla="*/ 191977 w 443349"/>
                  <a:gd name="connsiteY329" fmla="*/ 393651 h 397893"/>
                  <a:gd name="connsiteX330" fmla="*/ 194401 w 443349"/>
                  <a:gd name="connsiteY330" fmla="*/ 395772 h 397893"/>
                  <a:gd name="connsiteX331" fmla="*/ 195765 w 443349"/>
                  <a:gd name="connsiteY331" fmla="*/ 395924 h 397893"/>
                  <a:gd name="connsiteX332" fmla="*/ 196826 w 443349"/>
                  <a:gd name="connsiteY332" fmla="*/ 395166 h 397893"/>
                  <a:gd name="connsiteX333" fmla="*/ 197583 w 443349"/>
                  <a:gd name="connsiteY333" fmla="*/ 396075 h 397893"/>
                  <a:gd name="connsiteX334" fmla="*/ 198947 w 443349"/>
                  <a:gd name="connsiteY334" fmla="*/ 397893 h 397893"/>
                  <a:gd name="connsiteX335" fmla="*/ 199856 w 443349"/>
                  <a:gd name="connsiteY335" fmla="*/ 396681 h 397893"/>
                  <a:gd name="connsiteX336" fmla="*/ 200310 w 443349"/>
                  <a:gd name="connsiteY336" fmla="*/ 395015 h 397893"/>
                  <a:gd name="connsiteX337" fmla="*/ 202129 w 443349"/>
                  <a:gd name="connsiteY337" fmla="*/ 393651 h 397893"/>
                  <a:gd name="connsiteX338" fmla="*/ 203493 w 443349"/>
                  <a:gd name="connsiteY338" fmla="*/ 392893 h 397893"/>
                  <a:gd name="connsiteX339" fmla="*/ 206220 w 443349"/>
                  <a:gd name="connsiteY339" fmla="*/ 392287 h 397893"/>
                  <a:gd name="connsiteX340" fmla="*/ 209099 w 443349"/>
                  <a:gd name="connsiteY340" fmla="*/ 391832 h 397893"/>
                  <a:gd name="connsiteX341" fmla="*/ 211826 w 443349"/>
                  <a:gd name="connsiteY341" fmla="*/ 391832 h 397893"/>
                  <a:gd name="connsiteX342" fmla="*/ 215614 w 443349"/>
                  <a:gd name="connsiteY342" fmla="*/ 391832 h 397893"/>
                  <a:gd name="connsiteX343" fmla="*/ 215614 w 443349"/>
                  <a:gd name="connsiteY343" fmla="*/ 383196 h 397893"/>
                  <a:gd name="connsiteX344" fmla="*/ 216069 w 443349"/>
                  <a:gd name="connsiteY344" fmla="*/ 382438 h 397893"/>
                  <a:gd name="connsiteX345" fmla="*/ 216523 w 443349"/>
                  <a:gd name="connsiteY345" fmla="*/ 381984 h 397893"/>
                  <a:gd name="connsiteX346" fmla="*/ 217130 w 443349"/>
                  <a:gd name="connsiteY346" fmla="*/ 381832 h 397893"/>
                  <a:gd name="connsiteX347" fmla="*/ 217584 w 443349"/>
                  <a:gd name="connsiteY347" fmla="*/ 381984 h 397893"/>
                  <a:gd name="connsiteX348" fmla="*/ 218493 w 443349"/>
                  <a:gd name="connsiteY348" fmla="*/ 383196 h 397893"/>
                  <a:gd name="connsiteX349" fmla="*/ 219402 w 443349"/>
                  <a:gd name="connsiteY349" fmla="*/ 383196 h 397893"/>
                  <a:gd name="connsiteX350" fmla="*/ 220463 w 443349"/>
                  <a:gd name="connsiteY350" fmla="*/ 382438 h 397893"/>
                  <a:gd name="connsiteX351" fmla="*/ 222736 w 443349"/>
                  <a:gd name="connsiteY351" fmla="*/ 383044 h 397893"/>
                  <a:gd name="connsiteX352" fmla="*/ 224554 w 443349"/>
                  <a:gd name="connsiteY352" fmla="*/ 382590 h 397893"/>
                  <a:gd name="connsiteX353" fmla="*/ 226372 w 443349"/>
                  <a:gd name="connsiteY353" fmla="*/ 383044 h 397893"/>
                  <a:gd name="connsiteX354" fmla="*/ 229554 w 443349"/>
                  <a:gd name="connsiteY354" fmla="*/ 383044 h 397893"/>
                  <a:gd name="connsiteX355" fmla="*/ 235312 w 443349"/>
                  <a:gd name="connsiteY355" fmla="*/ 382893 h 397893"/>
                  <a:gd name="connsiteX356" fmla="*/ 238494 w 443349"/>
                  <a:gd name="connsiteY356" fmla="*/ 383044 h 397893"/>
                  <a:gd name="connsiteX357" fmla="*/ 240464 w 443349"/>
                  <a:gd name="connsiteY357" fmla="*/ 384408 h 397893"/>
                  <a:gd name="connsiteX358" fmla="*/ 242737 w 443349"/>
                  <a:gd name="connsiteY358" fmla="*/ 385923 h 397893"/>
                  <a:gd name="connsiteX359" fmla="*/ 245161 w 443349"/>
                  <a:gd name="connsiteY359" fmla="*/ 386075 h 397893"/>
                  <a:gd name="connsiteX360" fmla="*/ 248646 w 443349"/>
                  <a:gd name="connsiteY360" fmla="*/ 385923 h 397893"/>
                  <a:gd name="connsiteX361" fmla="*/ 251070 w 443349"/>
                  <a:gd name="connsiteY361" fmla="*/ 385317 h 397893"/>
                  <a:gd name="connsiteX362" fmla="*/ 252282 w 443349"/>
                  <a:gd name="connsiteY362" fmla="*/ 383953 h 397893"/>
                  <a:gd name="connsiteX363" fmla="*/ 253192 w 443349"/>
                  <a:gd name="connsiteY363" fmla="*/ 382590 h 397893"/>
                  <a:gd name="connsiteX364" fmla="*/ 258343 w 443349"/>
                  <a:gd name="connsiteY364" fmla="*/ 380620 h 397893"/>
                  <a:gd name="connsiteX365" fmla="*/ 263798 w 443349"/>
                  <a:gd name="connsiteY365" fmla="*/ 378953 h 397893"/>
                  <a:gd name="connsiteX366" fmla="*/ 265465 w 443349"/>
                  <a:gd name="connsiteY366" fmla="*/ 378802 h 397893"/>
                  <a:gd name="connsiteX367" fmla="*/ 265919 w 443349"/>
                  <a:gd name="connsiteY367" fmla="*/ 379711 h 397893"/>
                  <a:gd name="connsiteX368" fmla="*/ 265768 w 443349"/>
                  <a:gd name="connsiteY368" fmla="*/ 381378 h 397893"/>
                  <a:gd name="connsiteX369" fmla="*/ 266374 w 443349"/>
                  <a:gd name="connsiteY369" fmla="*/ 382741 h 397893"/>
                  <a:gd name="connsiteX370" fmla="*/ 268495 w 443349"/>
                  <a:gd name="connsiteY370" fmla="*/ 383802 h 397893"/>
                  <a:gd name="connsiteX371" fmla="*/ 270010 w 443349"/>
                  <a:gd name="connsiteY371" fmla="*/ 383953 h 397893"/>
                  <a:gd name="connsiteX372" fmla="*/ 271525 w 443349"/>
                  <a:gd name="connsiteY372" fmla="*/ 383802 h 397893"/>
                  <a:gd name="connsiteX373" fmla="*/ 272586 w 443349"/>
                  <a:gd name="connsiteY373" fmla="*/ 383347 h 397893"/>
                  <a:gd name="connsiteX374" fmla="*/ 274707 w 443349"/>
                  <a:gd name="connsiteY374" fmla="*/ 380923 h 397893"/>
                  <a:gd name="connsiteX375" fmla="*/ 275920 w 443349"/>
                  <a:gd name="connsiteY375" fmla="*/ 380468 h 397893"/>
                  <a:gd name="connsiteX376" fmla="*/ 277435 w 443349"/>
                  <a:gd name="connsiteY376" fmla="*/ 380468 h 397893"/>
                  <a:gd name="connsiteX377" fmla="*/ 279101 w 443349"/>
                  <a:gd name="connsiteY377" fmla="*/ 379256 h 397893"/>
                  <a:gd name="connsiteX378" fmla="*/ 279101 w 443349"/>
                  <a:gd name="connsiteY378" fmla="*/ 378499 h 397893"/>
                  <a:gd name="connsiteX379" fmla="*/ 278041 w 443349"/>
                  <a:gd name="connsiteY379" fmla="*/ 378044 h 397893"/>
                  <a:gd name="connsiteX380" fmla="*/ 277132 w 443349"/>
                  <a:gd name="connsiteY380" fmla="*/ 376832 h 397893"/>
                  <a:gd name="connsiteX381" fmla="*/ 277283 w 443349"/>
                  <a:gd name="connsiteY381" fmla="*/ 375771 h 397893"/>
                  <a:gd name="connsiteX382" fmla="*/ 276980 w 443349"/>
                  <a:gd name="connsiteY382" fmla="*/ 374408 h 397893"/>
                  <a:gd name="connsiteX383" fmla="*/ 277132 w 443349"/>
                  <a:gd name="connsiteY383" fmla="*/ 373044 h 397893"/>
                  <a:gd name="connsiteX384" fmla="*/ 277890 w 443349"/>
                  <a:gd name="connsiteY384" fmla="*/ 371983 h 397893"/>
                  <a:gd name="connsiteX385" fmla="*/ 279101 w 443349"/>
                  <a:gd name="connsiteY385" fmla="*/ 371074 h 397893"/>
                  <a:gd name="connsiteX386" fmla="*/ 278344 w 443349"/>
                  <a:gd name="connsiteY386" fmla="*/ 368953 h 397893"/>
                  <a:gd name="connsiteX387" fmla="*/ 276525 w 443349"/>
                  <a:gd name="connsiteY387" fmla="*/ 365165 h 397893"/>
                  <a:gd name="connsiteX388" fmla="*/ 274556 w 443349"/>
                  <a:gd name="connsiteY388" fmla="*/ 360165 h 397893"/>
                  <a:gd name="connsiteX389" fmla="*/ 272435 w 443349"/>
                  <a:gd name="connsiteY389" fmla="*/ 355922 h 397893"/>
                  <a:gd name="connsiteX390" fmla="*/ 269707 w 443349"/>
                  <a:gd name="connsiteY390" fmla="*/ 352437 h 397893"/>
                  <a:gd name="connsiteX391" fmla="*/ 268344 w 443349"/>
                  <a:gd name="connsiteY391" fmla="*/ 349710 h 397893"/>
                  <a:gd name="connsiteX392" fmla="*/ 268495 w 443349"/>
                  <a:gd name="connsiteY392" fmla="*/ 343800 h 397893"/>
                  <a:gd name="connsiteX393" fmla="*/ 268192 w 443349"/>
                  <a:gd name="connsiteY393" fmla="*/ 342588 h 397893"/>
                  <a:gd name="connsiteX394" fmla="*/ 267283 w 443349"/>
                  <a:gd name="connsiteY394" fmla="*/ 341831 h 397893"/>
                  <a:gd name="connsiteX395" fmla="*/ 266071 w 443349"/>
                  <a:gd name="connsiteY395" fmla="*/ 341528 h 397893"/>
                  <a:gd name="connsiteX396" fmla="*/ 264252 w 443349"/>
                  <a:gd name="connsiteY396" fmla="*/ 342134 h 397893"/>
                  <a:gd name="connsiteX397" fmla="*/ 262737 w 443349"/>
                  <a:gd name="connsiteY397" fmla="*/ 342134 h 397893"/>
                  <a:gd name="connsiteX398" fmla="*/ 259404 w 443349"/>
                  <a:gd name="connsiteY398" fmla="*/ 342134 h 397893"/>
                  <a:gd name="connsiteX399" fmla="*/ 257737 w 443349"/>
                  <a:gd name="connsiteY399" fmla="*/ 341528 h 397893"/>
                  <a:gd name="connsiteX400" fmla="*/ 253192 w 443349"/>
                  <a:gd name="connsiteY400" fmla="*/ 335467 h 397893"/>
                  <a:gd name="connsiteX401" fmla="*/ 252585 w 443349"/>
                  <a:gd name="connsiteY401" fmla="*/ 333194 h 397893"/>
                  <a:gd name="connsiteX402" fmla="*/ 252585 w 443349"/>
                  <a:gd name="connsiteY402" fmla="*/ 330770 h 397893"/>
                  <a:gd name="connsiteX403" fmla="*/ 254101 w 443349"/>
                  <a:gd name="connsiteY403" fmla="*/ 326679 h 397893"/>
                  <a:gd name="connsiteX404" fmla="*/ 254555 w 443349"/>
                  <a:gd name="connsiteY404" fmla="*/ 322739 h 397893"/>
                  <a:gd name="connsiteX405" fmla="*/ 254707 w 443349"/>
                  <a:gd name="connsiteY405" fmla="*/ 319103 h 397893"/>
                  <a:gd name="connsiteX406" fmla="*/ 254555 w 443349"/>
                  <a:gd name="connsiteY406" fmla="*/ 318193 h 397893"/>
                  <a:gd name="connsiteX407" fmla="*/ 253646 w 443349"/>
                  <a:gd name="connsiteY407" fmla="*/ 316981 h 397893"/>
                  <a:gd name="connsiteX408" fmla="*/ 252131 w 443349"/>
                  <a:gd name="connsiteY408" fmla="*/ 316072 h 397893"/>
                  <a:gd name="connsiteX409" fmla="*/ 248040 w 443349"/>
                  <a:gd name="connsiteY409" fmla="*/ 315769 h 397893"/>
                  <a:gd name="connsiteX410" fmla="*/ 243191 w 443349"/>
                  <a:gd name="connsiteY410" fmla="*/ 314557 h 397893"/>
                  <a:gd name="connsiteX411" fmla="*/ 239555 w 443349"/>
                  <a:gd name="connsiteY411" fmla="*/ 312587 h 397893"/>
                  <a:gd name="connsiteX412" fmla="*/ 236979 w 443349"/>
                  <a:gd name="connsiteY412" fmla="*/ 311224 h 397893"/>
                  <a:gd name="connsiteX413" fmla="*/ 236221 w 443349"/>
                  <a:gd name="connsiteY413" fmla="*/ 310466 h 397893"/>
                  <a:gd name="connsiteX414" fmla="*/ 235918 w 443349"/>
                  <a:gd name="connsiteY414" fmla="*/ 309405 h 397893"/>
                  <a:gd name="connsiteX415" fmla="*/ 236676 w 443349"/>
                  <a:gd name="connsiteY415" fmla="*/ 305011 h 397893"/>
                  <a:gd name="connsiteX416" fmla="*/ 237888 w 443349"/>
                  <a:gd name="connsiteY416" fmla="*/ 300162 h 397893"/>
                  <a:gd name="connsiteX417" fmla="*/ 238645 w 443349"/>
                  <a:gd name="connsiteY417" fmla="*/ 298647 h 397893"/>
                  <a:gd name="connsiteX418" fmla="*/ 240161 w 443349"/>
                  <a:gd name="connsiteY418" fmla="*/ 296981 h 397893"/>
                  <a:gd name="connsiteX419" fmla="*/ 241221 w 443349"/>
                  <a:gd name="connsiteY419" fmla="*/ 295920 h 397893"/>
                  <a:gd name="connsiteX420" fmla="*/ 242888 w 443349"/>
                  <a:gd name="connsiteY420" fmla="*/ 294556 h 397893"/>
                  <a:gd name="connsiteX421" fmla="*/ 247585 w 443349"/>
                  <a:gd name="connsiteY421" fmla="*/ 289859 h 397893"/>
                  <a:gd name="connsiteX422" fmla="*/ 251828 w 443349"/>
                  <a:gd name="connsiteY422" fmla="*/ 283344 h 397893"/>
                  <a:gd name="connsiteX423" fmla="*/ 254404 w 443349"/>
                  <a:gd name="connsiteY423" fmla="*/ 278798 h 397893"/>
                  <a:gd name="connsiteX424" fmla="*/ 255767 w 443349"/>
                  <a:gd name="connsiteY424" fmla="*/ 277434 h 397893"/>
                  <a:gd name="connsiteX425" fmla="*/ 257131 w 443349"/>
                  <a:gd name="connsiteY425" fmla="*/ 276222 h 397893"/>
                  <a:gd name="connsiteX426" fmla="*/ 259252 w 443349"/>
                  <a:gd name="connsiteY426" fmla="*/ 274859 h 397893"/>
                  <a:gd name="connsiteX427" fmla="*/ 261525 w 443349"/>
                  <a:gd name="connsiteY427" fmla="*/ 273646 h 397893"/>
                  <a:gd name="connsiteX428" fmla="*/ 263798 w 443349"/>
                  <a:gd name="connsiteY428" fmla="*/ 273646 h 397893"/>
                  <a:gd name="connsiteX429" fmla="*/ 266071 w 443349"/>
                  <a:gd name="connsiteY429" fmla="*/ 274859 h 397893"/>
                  <a:gd name="connsiteX430" fmla="*/ 267737 w 443349"/>
                  <a:gd name="connsiteY430" fmla="*/ 276222 h 397893"/>
                  <a:gd name="connsiteX431" fmla="*/ 268192 w 443349"/>
                  <a:gd name="connsiteY431" fmla="*/ 279253 h 397893"/>
                  <a:gd name="connsiteX432" fmla="*/ 269404 w 443349"/>
                  <a:gd name="connsiteY432" fmla="*/ 281071 h 397893"/>
                  <a:gd name="connsiteX433" fmla="*/ 270616 w 443349"/>
                  <a:gd name="connsiteY433" fmla="*/ 282283 h 397893"/>
                  <a:gd name="connsiteX434" fmla="*/ 272283 w 443349"/>
                  <a:gd name="connsiteY434" fmla="*/ 282889 h 397893"/>
                  <a:gd name="connsiteX435" fmla="*/ 274404 w 443349"/>
                  <a:gd name="connsiteY435" fmla="*/ 282738 h 397893"/>
                  <a:gd name="connsiteX436" fmla="*/ 282889 w 443349"/>
                  <a:gd name="connsiteY436" fmla="*/ 279253 h 397893"/>
                  <a:gd name="connsiteX437" fmla="*/ 285768 w 443349"/>
                  <a:gd name="connsiteY437" fmla="*/ 278647 h 397893"/>
                  <a:gd name="connsiteX438" fmla="*/ 292738 w 443349"/>
                  <a:gd name="connsiteY438" fmla="*/ 278192 h 397893"/>
                  <a:gd name="connsiteX439" fmla="*/ 297435 w 443349"/>
                  <a:gd name="connsiteY439" fmla="*/ 276828 h 397893"/>
                  <a:gd name="connsiteX440" fmla="*/ 301678 w 443349"/>
                  <a:gd name="connsiteY440" fmla="*/ 275465 h 397893"/>
                  <a:gd name="connsiteX441" fmla="*/ 302132 w 443349"/>
                  <a:gd name="connsiteY441" fmla="*/ 272889 h 397893"/>
                  <a:gd name="connsiteX442" fmla="*/ 303799 w 443349"/>
                  <a:gd name="connsiteY442" fmla="*/ 269101 h 397893"/>
                  <a:gd name="connsiteX443" fmla="*/ 308648 w 443349"/>
                  <a:gd name="connsiteY443" fmla="*/ 264101 h 397893"/>
                  <a:gd name="connsiteX444" fmla="*/ 310163 w 443349"/>
                  <a:gd name="connsiteY444" fmla="*/ 261828 h 397893"/>
                  <a:gd name="connsiteX445" fmla="*/ 311678 w 443349"/>
                  <a:gd name="connsiteY445" fmla="*/ 257585 h 397893"/>
                  <a:gd name="connsiteX446" fmla="*/ 313194 w 443349"/>
                  <a:gd name="connsiteY446" fmla="*/ 253797 h 397893"/>
                  <a:gd name="connsiteX447" fmla="*/ 314557 w 443349"/>
                  <a:gd name="connsiteY447" fmla="*/ 252130 h 397893"/>
                  <a:gd name="connsiteX448" fmla="*/ 322285 w 443349"/>
                  <a:gd name="connsiteY448" fmla="*/ 247888 h 397893"/>
                  <a:gd name="connsiteX449" fmla="*/ 329861 w 443349"/>
                  <a:gd name="connsiteY449" fmla="*/ 243948 h 397893"/>
                  <a:gd name="connsiteX450" fmla="*/ 331225 w 443349"/>
                  <a:gd name="connsiteY450" fmla="*/ 242130 h 397893"/>
                  <a:gd name="connsiteX451" fmla="*/ 336073 w 443349"/>
                  <a:gd name="connsiteY451" fmla="*/ 233948 h 397893"/>
                  <a:gd name="connsiteX452" fmla="*/ 338952 w 443349"/>
                  <a:gd name="connsiteY452" fmla="*/ 228493 h 397893"/>
                  <a:gd name="connsiteX453" fmla="*/ 339558 w 443349"/>
                  <a:gd name="connsiteY453" fmla="*/ 226675 h 397893"/>
                  <a:gd name="connsiteX454" fmla="*/ 341225 w 443349"/>
                  <a:gd name="connsiteY454" fmla="*/ 221826 h 397893"/>
                  <a:gd name="connsiteX455" fmla="*/ 343043 w 443349"/>
                  <a:gd name="connsiteY455" fmla="*/ 216978 h 397893"/>
                  <a:gd name="connsiteX456" fmla="*/ 345316 w 443349"/>
                  <a:gd name="connsiteY456" fmla="*/ 215917 h 397893"/>
                  <a:gd name="connsiteX457" fmla="*/ 350619 w 443349"/>
                  <a:gd name="connsiteY457" fmla="*/ 214099 h 397893"/>
                  <a:gd name="connsiteX458" fmla="*/ 354710 w 443349"/>
                  <a:gd name="connsiteY458" fmla="*/ 212280 h 397893"/>
                  <a:gd name="connsiteX459" fmla="*/ 356832 w 443349"/>
                  <a:gd name="connsiteY459" fmla="*/ 210311 h 397893"/>
                  <a:gd name="connsiteX460" fmla="*/ 358044 w 443349"/>
                  <a:gd name="connsiteY460" fmla="*/ 208492 h 397893"/>
                  <a:gd name="connsiteX461" fmla="*/ 357892 w 443349"/>
                  <a:gd name="connsiteY461" fmla="*/ 206674 h 397893"/>
                  <a:gd name="connsiteX462" fmla="*/ 356680 w 443349"/>
                  <a:gd name="connsiteY462" fmla="*/ 204553 h 397893"/>
                  <a:gd name="connsiteX463" fmla="*/ 356983 w 443349"/>
                  <a:gd name="connsiteY463" fmla="*/ 203341 h 397893"/>
                  <a:gd name="connsiteX464" fmla="*/ 357135 w 443349"/>
                  <a:gd name="connsiteY464" fmla="*/ 202129 h 397893"/>
                  <a:gd name="connsiteX465" fmla="*/ 360165 w 443349"/>
                  <a:gd name="connsiteY465" fmla="*/ 199553 h 397893"/>
                  <a:gd name="connsiteX466" fmla="*/ 365771 w 443349"/>
                  <a:gd name="connsiteY466" fmla="*/ 192128 h 397893"/>
                  <a:gd name="connsiteX467" fmla="*/ 369257 w 443349"/>
                  <a:gd name="connsiteY467" fmla="*/ 188340 h 397893"/>
                  <a:gd name="connsiteX468" fmla="*/ 370317 w 443349"/>
                  <a:gd name="connsiteY468" fmla="*/ 188340 h 397893"/>
                  <a:gd name="connsiteX469" fmla="*/ 373802 w 443349"/>
                  <a:gd name="connsiteY469" fmla="*/ 186370 h 397893"/>
                  <a:gd name="connsiteX470" fmla="*/ 377287 w 443349"/>
                  <a:gd name="connsiteY470" fmla="*/ 184098 h 397893"/>
                  <a:gd name="connsiteX471" fmla="*/ 376984 w 443349"/>
                  <a:gd name="connsiteY471" fmla="*/ 183037 h 397893"/>
                  <a:gd name="connsiteX472" fmla="*/ 376681 w 443349"/>
                  <a:gd name="connsiteY472" fmla="*/ 181825 h 397893"/>
                  <a:gd name="connsiteX473" fmla="*/ 374711 w 443349"/>
                  <a:gd name="connsiteY473" fmla="*/ 181219 h 397893"/>
                  <a:gd name="connsiteX474" fmla="*/ 374105 w 443349"/>
                  <a:gd name="connsiteY474" fmla="*/ 179552 h 397893"/>
                  <a:gd name="connsiteX475" fmla="*/ 374559 w 443349"/>
                  <a:gd name="connsiteY475" fmla="*/ 177279 h 397893"/>
                  <a:gd name="connsiteX476" fmla="*/ 376226 w 443349"/>
                  <a:gd name="connsiteY476" fmla="*/ 171218 h 397893"/>
                  <a:gd name="connsiteX477" fmla="*/ 375772 w 443349"/>
                  <a:gd name="connsiteY477" fmla="*/ 169400 h 397893"/>
                  <a:gd name="connsiteX478" fmla="*/ 373954 w 443349"/>
                  <a:gd name="connsiteY478" fmla="*/ 163642 h 397893"/>
                  <a:gd name="connsiteX479" fmla="*/ 374257 w 443349"/>
                  <a:gd name="connsiteY479" fmla="*/ 162127 h 397893"/>
                  <a:gd name="connsiteX480" fmla="*/ 375166 w 443349"/>
                  <a:gd name="connsiteY480" fmla="*/ 160460 h 397893"/>
                  <a:gd name="connsiteX481" fmla="*/ 377287 w 443349"/>
                  <a:gd name="connsiteY481" fmla="*/ 158339 h 397893"/>
                  <a:gd name="connsiteX482" fmla="*/ 380166 w 443349"/>
                  <a:gd name="connsiteY482" fmla="*/ 156521 h 397893"/>
                  <a:gd name="connsiteX483" fmla="*/ 389257 w 443349"/>
                  <a:gd name="connsiteY483" fmla="*/ 152278 h 397893"/>
                  <a:gd name="connsiteX484" fmla="*/ 391076 w 443349"/>
                  <a:gd name="connsiteY484" fmla="*/ 151824 h 397893"/>
                  <a:gd name="connsiteX485" fmla="*/ 394257 w 443349"/>
                  <a:gd name="connsiteY485" fmla="*/ 150763 h 397893"/>
                  <a:gd name="connsiteX486" fmla="*/ 396227 w 443349"/>
                  <a:gd name="connsiteY486" fmla="*/ 148490 h 397893"/>
                  <a:gd name="connsiteX487" fmla="*/ 396378 w 443349"/>
                  <a:gd name="connsiteY487" fmla="*/ 146672 h 397893"/>
                  <a:gd name="connsiteX488" fmla="*/ 395621 w 443349"/>
                  <a:gd name="connsiteY488" fmla="*/ 145460 h 397893"/>
                  <a:gd name="connsiteX489" fmla="*/ 393651 w 443349"/>
                  <a:gd name="connsiteY489" fmla="*/ 143793 h 397893"/>
                  <a:gd name="connsiteX490" fmla="*/ 390166 w 443349"/>
                  <a:gd name="connsiteY490" fmla="*/ 142278 h 397893"/>
                  <a:gd name="connsiteX491" fmla="*/ 386984 w 443349"/>
                  <a:gd name="connsiteY491" fmla="*/ 141066 h 397893"/>
                  <a:gd name="connsiteX492" fmla="*/ 381530 w 443349"/>
                  <a:gd name="connsiteY492" fmla="*/ 141217 h 397893"/>
                  <a:gd name="connsiteX493" fmla="*/ 378651 w 443349"/>
                  <a:gd name="connsiteY493" fmla="*/ 140157 h 397893"/>
                  <a:gd name="connsiteX494" fmla="*/ 377893 w 443349"/>
                  <a:gd name="connsiteY494" fmla="*/ 139399 h 397893"/>
                  <a:gd name="connsiteX495" fmla="*/ 377590 w 443349"/>
                  <a:gd name="connsiteY495" fmla="*/ 136672 h 397893"/>
                  <a:gd name="connsiteX496" fmla="*/ 378045 w 443349"/>
                  <a:gd name="connsiteY496" fmla="*/ 132126 h 397893"/>
                  <a:gd name="connsiteX497" fmla="*/ 377287 w 443349"/>
                  <a:gd name="connsiteY497" fmla="*/ 131672 h 397893"/>
                  <a:gd name="connsiteX498" fmla="*/ 376075 w 443349"/>
                  <a:gd name="connsiteY498" fmla="*/ 132277 h 397893"/>
                  <a:gd name="connsiteX499" fmla="*/ 373196 w 443349"/>
                  <a:gd name="connsiteY499" fmla="*/ 131672 h 397893"/>
                  <a:gd name="connsiteX500" fmla="*/ 369559 w 443349"/>
                  <a:gd name="connsiteY500" fmla="*/ 131823 h 397893"/>
                  <a:gd name="connsiteX501" fmla="*/ 368347 w 443349"/>
                  <a:gd name="connsiteY501" fmla="*/ 130459 h 397893"/>
                  <a:gd name="connsiteX502" fmla="*/ 368953 w 443349"/>
                  <a:gd name="connsiteY502" fmla="*/ 128944 h 397893"/>
                  <a:gd name="connsiteX503" fmla="*/ 368802 w 443349"/>
                  <a:gd name="connsiteY503" fmla="*/ 126974 h 397893"/>
                  <a:gd name="connsiteX504" fmla="*/ 368196 w 443349"/>
                  <a:gd name="connsiteY504" fmla="*/ 125005 h 397893"/>
                  <a:gd name="connsiteX505" fmla="*/ 367741 w 443349"/>
                  <a:gd name="connsiteY505" fmla="*/ 124550 h 397893"/>
                  <a:gd name="connsiteX506" fmla="*/ 366074 w 443349"/>
                  <a:gd name="connsiteY506" fmla="*/ 124095 h 397893"/>
                  <a:gd name="connsiteX507" fmla="*/ 363347 w 443349"/>
                  <a:gd name="connsiteY507" fmla="*/ 122429 h 397893"/>
                  <a:gd name="connsiteX508" fmla="*/ 361226 w 443349"/>
                  <a:gd name="connsiteY508" fmla="*/ 120307 h 397893"/>
                  <a:gd name="connsiteX509" fmla="*/ 360014 w 443349"/>
                  <a:gd name="connsiteY509" fmla="*/ 118944 h 397893"/>
                  <a:gd name="connsiteX510" fmla="*/ 359711 w 443349"/>
                  <a:gd name="connsiteY510" fmla="*/ 118035 h 397893"/>
                  <a:gd name="connsiteX511" fmla="*/ 359711 w 443349"/>
                  <a:gd name="connsiteY511" fmla="*/ 117277 h 397893"/>
                  <a:gd name="connsiteX512" fmla="*/ 361377 w 443349"/>
                  <a:gd name="connsiteY512" fmla="*/ 115610 h 397893"/>
                  <a:gd name="connsiteX513" fmla="*/ 363195 w 443349"/>
                  <a:gd name="connsiteY513" fmla="*/ 113035 h 397893"/>
                  <a:gd name="connsiteX514" fmla="*/ 363802 w 443349"/>
                  <a:gd name="connsiteY514" fmla="*/ 110913 h 397893"/>
                  <a:gd name="connsiteX515" fmla="*/ 364104 w 443349"/>
                  <a:gd name="connsiteY515" fmla="*/ 109247 h 397893"/>
                  <a:gd name="connsiteX516" fmla="*/ 363499 w 443349"/>
                  <a:gd name="connsiteY516" fmla="*/ 108034 h 397893"/>
                  <a:gd name="connsiteX517" fmla="*/ 361832 w 443349"/>
                  <a:gd name="connsiteY517" fmla="*/ 106671 h 397893"/>
                  <a:gd name="connsiteX518" fmla="*/ 360014 w 443349"/>
                  <a:gd name="connsiteY518" fmla="*/ 105458 h 397893"/>
                  <a:gd name="connsiteX519" fmla="*/ 359256 w 443349"/>
                  <a:gd name="connsiteY519" fmla="*/ 104398 h 397893"/>
                  <a:gd name="connsiteX520" fmla="*/ 359256 w 443349"/>
                  <a:gd name="connsiteY520" fmla="*/ 102731 h 397893"/>
                  <a:gd name="connsiteX521" fmla="*/ 360014 w 443349"/>
                  <a:gd name="connsiteY521" fmla="*/ 100610 h 397893"/>
                  <a:gd name="connsiteX522" fmla="*/ 362135 w 443349"/>
                  <a:gd name="connsiteY522" fmla="*/ 99095 h 397893"/>
                  <a:gd name="connsiteX523" fmla="*/ 365771 w 443349"/>
                  <a:gd name="connsiteY523" fmla="*/ 97731 h 397893"/>
                  <a:gd name="connsiteX524" fmla="*/ 366832 w 443349"/>
                  <a:gd name="connsiteY524" fmla="*/ 95913 h 397893"/>
                  <a:gd name="connsiteX525" fmla="*/ 366680 w 443349"/>
                  <a:gd name="connsiteY525" fmla="*/ 94549 h 397893"/>
                  <a:gd name="connsiteX526" fmla="*/ 365620 w 443349"/>
                  <a:gd name="connsiteY526" fmla="*/ 94094 h 397893"/>
                  <a:gd name="connsiteX527" fmla="*/ 363044 w 443349"/>
                  <a:gd name="connsiteY527" fmla="*/ 94094 h 397893"/>
                  <a:gd name="connsiteX528" fmla="*/ 358498 w 443349"/>
                  <a:gd name="connsiteY528" fmla="*/ 93640 h 397893"/>
                  <a:gd name="connsiteX529" fmla="*/ 357741 w 443349"/>
                  <a:gd name="connsiteY529" fmla="*/ 92882 h 397893"/>
                  <a:gd name="connsiteX530" fmla="*/ 357286 w 443349"/>
                  <a:gd name="connsiteY530" fmla="*/ 91821 h 397893"/>
                  <a:gd name="connsiteX531" fmla="*/ 357286 w 443349"/>
                  <a:gd name="connsiteY531" fmla="*/ 90912 h 397893"/>
                  <a:gd name="connsiteX532" fmla="*/ 358195 w 443349"/>
                  <a:gd name="connsiteY532" fmla="*/ 89700 h 397893"/>
                  <a:gd name="connsiteX533" fmla="*/ 359407 w 443349"/>
                  <a:gd name="connsiteY533" fmla="*/ 88337 h 397893"/>
                  <a:gd name="connsiteX534" fmla="*/ 359104 w 443349"/>
                  <a:gd name="connsiteY534" fmla="*/ 86973 h 397893"/>
                  <a:gd name="connsiteX535" fmla="*/ 357892 w 443349"/>
                  <a:gd name="connsiteY535" fmla="*/ 85306 h 397893"/>
                  <a:gd name="connsiteX536" fmla="*/ 354710 w 443349"/>
                  <a:gd name="connsiteY536" fmla="*/ 84245 h 397893"/>
                  <a:gd name="connsiteX537" fmla="*/ 354256 w 443349"/>
                  <a:gd name="connsiteY537" fmla="*/ 82579 h 397893"/>
                  <a:gd name="connsiteX538" fmla="*/ 354710 w 443349"/>
                  <a:gd name="connsiteY538" fmla="*/ 81215 h 397893"/>
                  <a:gd name="connsiteX539" fmla="*/ 355771 w 443349"/>
                  <a:gd name="connsiteY539" fmla="*/ 79245 h 397893"/>
                  <a:gd name="connsiteX540" fmla="*/ 356680 w 443349"/>
                  <a:gd name="connsiteY540" fmla="*/ 77882 h 397893"/>
                  <a:gd name="connsiteX541" fmla="*/ 358802 w 443349"/>
                  <a:gd name="connsiteY541" fmla="*/ 74094 h 397893"/>
                  <a:gd name="connsiteX542" fmla="*/ 361529 w 443349"/>
                  <a:gd name="connsiteY542" fmla="*/ 73336 h 397893"/>
                  <a:gd name="connsiteX543" fmla="*/ 364559 w 443349"/>
                  <a:gd name="connsiteY543" fmla="*/ 71972 h 397893"/>
                  <a:gd name="connsiteX544" fmla="*/ 368196 w 443349"/>
                  <a:gd name="connsiteY544" fmla="*/ 70609 h 397893"/>
                  <a:gd name="connsiteX545" fmla="*/ 373499 w 443349"/>
                  <a:gd name="connsiteY545" fmla="*/ 71669 h 397893"/>
                  <a:gd name="connsiteX546" fmla="*/ 376226 w 443349"/>
                  <a:gd name="connsiteY546" fmla="*/ 72124 h 397893"/>
                  <a:gd name="connsiteX547" fmla="*/ 381530 w 443349"/>
                  <a:gd name="connsiteY547" fmla="*/ 73336 h 397893"/>
                  <a:gd name="connsiteX548" fmla="*/ 385923 w 443349"/>
                  <a:gd name="connsiteY548" fmla="*/ 74397 h 397893"/>
                  <a:gd name="connsiteX549" fmla="*/ 390469 w 443349"/>
                  <a:gd name="connsiteY549" fmla="*/ 74700 h 397893"/>
                  <a:gd name="connsiteX550" fmla="*/ 392439 w 443349"/>
                  <a:gd name="connsiteY550" fmla="*/ 74548 h 397893"/>
                  <a:gd name="connsiteX551" fmla="*/ 394560 w 443349"/>
                  <a:gd name="connsiteY551" fmla="*/ 75760 h 397893"/>
                  <a:gd name="connsiteX552" fmla="*/ 399712 w 443349"/>
                  <a:gd name="connsiteY552" fmla="*/ 77730 h 397893"/>
                  <a:gd name="connsiteX553" fmla="*/ 403803 w 443349"/>
                  <a:gd name="connsiteY553" fmla="*/ 78791 h 397893"/>
                  <a:gd name="connsiteX554" fmla="*/ 406682 w 443349"/>
                  <a:gd name="connsiteY554" fmla="*/ 78791 h 397893"/>
                  <a:gd name="connsiteX555" fmla="*/ 410925 w 443349"/>
                  <a:gd name="connsiteY555" fmla="*/ 76973 h 397893"/>
                  <a:gd name="connsiteX556" fmla="*/ 412894 w 443349"/>
                  <a:gd name="connsiteY556" fmla="*/ 75306 h 397893"/>
                  <a:gd name="connsiteX557" fmla="*/ 415773 w 443349"/>
                  <a:gd name="connsiteY557" fmla="*/ 73639 h 397893"/>
                  <a:gd name="connsiteX558" fmla="*/ 419410 w 443349"/>
                  <a:gd name="connsiteY558" fmla="*/ 73639 h 397893"/>
                  <a:gd name="connsiteX559" fmla="*/ 427137 w 443349"/>
                  <a:gd name="connsiteY559" fmla="*/ 70912 h 397893"/>
                  <a:gd name="connsiteX560" fmla="*/ 428652 w 443349"/>
                  <a:gd name="connsiteY560" fmla="*/ 71366 h 397893"/>
                  <a:gd name="connsiteX561" fmla="*/ 430925 w 443349"/>
                  <a:gd name="connsiteY561" fmla="*/ 71518 h 397893"/>
                  <a:gd name="connsiteX562" fmla="*/ 433653 w 443349"/>
                  <a:gd name="connsiteY562" fmla="*/ 70002 h 397893"/>
                  <a:gd name="connsiteX563" fmla="*/ 435168 w 443349"/>
                  <a:gd name="connsiteY563" fmla="*/ 68184 h 397893"/>
                  <a:gd name="connsiteX564" fmla="*/ 435319 w 443349"/>
                  <a:gd name="connsiteY564" fmla="*/ 67275 h 397893"/>
                  <a:gd name="connsiteX565" fmla="*/ 436077 w 443349"/>
                  <a:gd name="connsiteY565" fmla="*/ 66518 h 397893"/>
                  <a:gd name="connsiteX566" fmla="*/ 439107 w 443349"/>
                  <a:gd name="connsiteY566" fmla="*/ 65305 h 397893"/>
                  <a:gd name="connsiteX567" fmla="*/ 441986 w 443349"/>
                  <a:gd name="connsiteY567" fmla="*/ 63639 h 397893"/>
                  <a:gd name="connsiteX568" fmla="*/ 442895 w 443349"/>
                  <a:gd name="connsiteY568" fmla="*/ 61517 h 397893"/>
                  <a:gd name="connsiteX569" fmla="*/ 443350 w 443349"/>
                  <a:gd name="connsiteY569" fmla="*/ 60002 h 397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Lst>
                <a:rect l="l" t="t" r="r" b="b"/>
                <a:pathLst>
                  <a:path w="443349" h="397893">
                    <a:moveTo>
                      <a:pt x="442138" y="57426"/>
                    </a:moveTo>
                    <a:lnTo>
                      <a:pt x="441380" y="55760"/>
                    </a:lnTo>
                    <a:lnTo>
                      <a:pt x="440016" y="52729"/>
                    </a:lnTo>
                    <a:lnTo>
                      <a:pt x="438804" y="50002"/>
                    </a:lnTo>
                    <a:lnTo>
                      <a:pt x="436835" y="45759"/>
                    </a:lnTo>
                    <a:lnTo>
                      <a:pt x="435622" y="42880"/>
                    </a:lnTo>
                    <a:lnTo>
                      <a:pt x="434562" y="42426"/>
                    </a:lnTo>
                    <a:lnTo>
                      <a:pt x="431986" y="40911"/>
                    </a:lnTo>
                    <a:lnTo>
                      <a:pt x="430016" y="39547"/>
                    </a:lnTo>
                    <a:lnTo>
                      <a:pt x="429713" y="35910"/>
                    </a:lnTo>
                    <a:lnTo>
                      <a:pt x="428350" y="36213"/>
                    </a:lnTo>
                    <a:lnTo>
                      <a:pt x="425168" y="37577"/>
                    </a:lnTo>
                    <a:lnTo>
                      <a:pt x="421531" y="38335"/>
                    </a:lnTo>
                    <a:lnTo>
                      <a:pt x="419561" y="38335"/>
                    </a:lnTo>
                    <a:lnTo>
                      <a:pt x="418652" y="37729"/>
                    </a:lnTo>
                    <a:lnTo>
                      <a:pt x="417440" y="34092"/>
                    </a:lnTo>
                    <a:lnTo>
                      <a:pt x="416531" y="33032"/>
                    </a:lnTo>
                    <a:lnTo>
                      <a:pt x="414864" y="32577"/>
                    </a:lnTo>
                    <a:lnTo>
                      <a:pt x="413197" y="31819"/>
                    </a:lnTo>
                    <a:lnTo>
                      <a:pt x="412288" y="30910"/>
                    </a:lnTo>
                    <a:lnTo>
                      <a:pt x="411985" y="29698"/>
                    </a:lnTo>
                    <a:lnTo>
                      <a:pt x="412894" y="28334"/>
                    </a:lnTo>
                    <a:lnTo>
                      <a:pt x="413804" y="27122"/>
                    </a:lnTo>
                    <a:lnTo>
                      <a:pt x="413955" y="20455"/>
                    </a:lnTo>
                    <a:lnTo>
                      <a:pt x="413349" y="18182"/>
                    </a:lnTo>
                    <a:lnTo>
                      <a:pt x="412743" y="16213"/>
                    </a:lnTo>
                    <a:lnTo>
                      <a:pt x="411530" y="13637"/>
                    </a:lnTo>
                    <a:lnTo>
                      <a:pt x="410319" y="12122"/>
                    </a:lnTo>
                    <a:lnTo>
                      <a:pt x="408349" y="10758"/>
                    </a:lnTo>
                    <a:lnTo>
                      <a:pt x="405470" y="9243"/>
                    </a:lnTo>
                    <a:lnTo>
                      <a:pt x="403045" y="8788"/>
                    </a:lnTo>
                    <a:lnTo>
                      <a:pt x="399864" y="9849"/>
                    </a:lnTo>
                    <a:lnTo>
                      <a:pt x="398954" y="9394"/>
                    </a:lnTo>
                    <a:lnTo>
                      <a:pt x="397591" y="4849"/>
                    </a:lnTo>
                    <a:lnTo>
                      <a:pt x="396833" y="3939"/>
                    </a:lnTo>
                    <a:lnTo>
                      <a:pt x="391227" y="1970"/>
                    </a:lnTo>
                    <a:lnTo>
                      <a:pt x="388802" y="1667"/>
                    </a:lnTo>
                    <a:lnTo>
                      <a:pt x="385923" y="2121"/>
                    </a:lnTo>
                    <a:lnTo>
                      <a:pt x="384257" y="2727"/>
                    </a:lnTo>
                    <a:lnTo>
                      <a:pt x="382893" y="1818"/>
                    </a:lnTo>
                    <a:lnTo>
                      <a:pt x="380923" y="758"/>
                    </a:lnTo>
                    <a:lnTo>
                      <a:pt x="378802" y="151"/>
                    </a:lnTo>
                    <a:lnTo>
                      <a:pt x="376378" y="0"/>
                    </a:lnTo>
                    <a:lnTo>
                      <a:pt x="374711" y="455"/>
                    </a:lnTo>
                    <a:lnTo>
                      <a:pt x="371680" y="1667"/>
                    </a:lnTo>
                    <a:lnTo>
                      <a:pt x="365317" y="4394"/>
                    </a:lnTo>
                    <a:lnTo>
                      <a:pt x="360923" y="6667"/>
                    </a:lnTo>
                    <a:lnTo>
                      <a:pt x="360014" y="6818"/>
                    </a:lnTo>
                    <a:lnTo>
                      <a:pt x="357438" y="5758"/>
                    </a:lnTo>
                    <a:lnTo>
                      <a:pt x="353650" y="4697"/>
                    </a:lnTo>
                    <a:lnTo>
                      <a:pt x="352589" y="4697"/>
                    </a:lnTo>
                    <a:lnTo>
                      <a:pt x="343801" y="4849"/>
                    </a:lnTo>
                    <a:lnTo>
                      <a:pt x="335770" y="5303"/>
                    </a:lnTo>
                    <a:lnTo>
                      <a:pt x="332437" y="5909"/>
                    </a:lnTo>
                    <a:lnTo>
                      <a:pt x="326224" y="6364"/>
                    </a:lnTo>
                    <a:lnTo>
                      <a:pt x="322285" y="6516"/>
                    </a:lnTo>
                    <a:lnTo>
                      <a:pt x="319709" y="7425"/>
                    </a:lnTo>
                    <a:lnTo>
                      <a:pt x="316982" y="8485"/>
                    </a:lnTo>
                    <a:lnTo>
                      <a:pt x="314103" y="9243"/>
                    </a:lnTo>
                    <a:lnTo>
                      <a:pt x="311982" y="9546"/>
                    </a:lnTo>
                    <a:lnTo>
                      <a:pt x="309557" y="10606"/>
                    </a:lnTo>
                    <a:lnTo>
                      <a:pt x="307890" y="12728"/>
                    </a:lnTo>
                    <a:lnTo>
                      <a:pt x="303042" y="15758"/>
                    </a:lnTo>
                    <a:lnTo>
                      <a:pt x="300314" y="17273"/>
                    </a:lnTo>
                    <a:lnTo>
                      <a:pt x="298951" y="18940"/>
                    </a:lnTo>
                    <a:lnTo>
                      <a:pt x="297435" y="19092"/>
                    </a:lnTo>
                    <a:lnTo>
                      <a:pt x="294860" y="18789"/>
                    </a:lnTo>
                    <a:lnTo>
                      <a:pt x="292738" y="20607"/>
                    </a:lnTo>
                    <a:lnTo>
                      <a:pt x="290466" y="23334"/>
                    </a:lnTo>
                    <a:lnTo>
                      <a:pt x="286375" y="27122"/>
                    </a:lnTo>
                    <a:lnTo>
                      <a:pt x="284253" y="28637"/>
                    </a:lnTo>
                    <a:lnTo>
                      <a:pt x="282889" y="31062"/>
                    </a:lnTo>
                    <a:lnTo>
                      <a:pt x="283799" y="32425"/>
                    </a:lnTo>
                    <a:lnTo>
                      <a:pt x="287284" y="34395"/>
                    </a:lnTo>
                    <a:lnTo>
                      <a:pt x="288647" y="36213"/>
                    </a:lnTo>
                    <a:lnTo>
                      <a:pt x="289556" y="37577"/>
                    </a:lnTo>
                    <a:lnTo>
                      <a:pt x="291072" y="41365"/>
                    </a:lnTo>
                    <a:lnTo>
                      <a:pt x="291981" y="45002"/>
                    </a:lnTo>
                    <a:lnTo>
                      <a:pt x="293496" y="46517"/>
                    </a:lnTo>
                    <a:lnTo>
                      <a:pt x="293951" y="49244"/>
                    </a:lnTo>
                    <a:lnTo>
                      <a:pt x="294254" y="50760"/>
                    </a:lnTo>
                    <a:lnTo>
                      <a:pt x="293496" y="51972"/>
                    </a:lnTo>
                    <a:lnTo>
                      <a:pt x="292738" y="53335"/>
                    </a:lnTo>
                    <a:lnTo>
                      <a:pt x="292738" y="54548"/>
                    </a:lnTo>
                    <a:lnTo>
                      <a:pt x="293647" y="55760"/>
                    </a:lnTo>
                    <a:lnTo>
                      <a:pt x="294405" y="56820"/>
                    </a:lnTo>
                    <a:lnTo>
                      <a:pt x="294860" y="57729"/>
                    </a:lnTo>
                    <a:lnTo>
                      <a:pt x="294254" y="58790"/>
                    </a:lnTo>
                    <a:lnTo>
                      <a:pt x="292738" y="60305"/>
                    </a:lnTo>
                    <a:lnTo>
                      <a:pt x="291981" y="61820"/>
                    </a:lnTo>
                    <a:lnTo>
                      <a:pt x="290314" y="64396"/>
                    </a:lnTo>
                    <a:lnTo>
                      <a:pt x="287587" y="66214"/>
                    </a:lnTo>
                    <a:lnTo>
                      <a:pt x="285920" y="67578"/>
                    </a:lnTo>
                    <a:lnTo>
                      <a:pt x="283950" y="70306"/>
                    </a:lnTo>
                    <a:lnTo>
                      <a:pt x="280920" y="73185"/>
                    </a:lnTo>
                    <a:lnTo>
                      <a:pt x="279708" y="75760"/>
                    </a:lnTo>
                    <a:lnTo>
                      <a:pt x="278344" y="77124"/>
                    </a:lnTo>
                    <a:lnTo>
                      <a:pt x="276829" y="77882"/>
                    </a:lnTo>
                    <a:lnTo>
                      <a:pt x="277283" y="79245"/>
                    </a:lnTo>
                    <a:lnTo>
                      <a:pt x="278495" y="80912"/>
                    </a:lnTo>
                    <a:lnTo>
                      <a:pt x="280465" y="82882"/>
                    </a:lnTo>
                    <a:lnTo>
                      <a:pt x="280313" y="85761"/>
                    </a:lnTo>
                    <a:lnTo>
                      <a:pt x="280313" y="87882"/>
                    </a:lnTo>
                    <a:lnTo>
                      <a:pt x="280313" y="90458"/>
                    </a:lnTo>
                    <a:lnTo>
                      <a:pt x="279253" y="92731"/>
                    </a:lnTo>
                    <a:lnTo>
                      <a:pt x="273647" y="94700"/>
                    </a:lnTo>
                    <a:lnTo>
                      <a:pt x="268344" y="95610"/>
                    </a:lnTo>
                    <a:lnTo>
                      <a:pt x="261828" y="95761"/>
                    </a:lnTo>
                    <a:lnTo>
                      <a:pt x="259404" y="95307"/>
                    </a:lnTo>
                    <a:lnTo>
                      <a:pt x="257434" y="94852"/>
                    </a:lnTo>
                    <a:lnTo>
                      <a:pt x="250313" y="92579"/>
                    </a:lnTo>
                    <a:lnTo>
                      <a:pt x="247434" y="93943"/>
                    </a:lnTo>
                    <a:lnTo>
                      <a:pt x="246827" y="97276"/>
                    </a:lnTo>
                    <a:lnTo>
                      <a:pt x="251979" y="102731"/>
                    </a:lnTo>
                    <a:lnTo>
                      <a:pt x="254101" y="105761"/>
                    </a:lnTo>
                    <a:lnTo>
                      <a:pt x="256525" y="110913"/>
                    </a:lnTo>
                    <a:lnTo>
                      <a:pt x="258192" y="113489"/>
                    </a:lnTo>
                    <a:lnTo>
                      <a:pt x="257585" y="115913"/>
                    </a:lnTo>
                    <a:lnTo>
                      <a:pt x="252888" y="118641"/>
                    </a:lnTo>
                    <a:lnTo>
                      <a:pt x="248343" y="121368"/>
                    </a:lnTo>
                    <a:lnTo>
                      <a:pt x="242433" y="121823"/>
                    </a:lnTo>
                    <a:lnTo>
                      <a:pt x="238645" y="122732"/>
                    </a:lnTo>
                    <a:lnTo>
                      <a:pt x="236827" y="124095"/>
                    </a:lnTo>
                    <a:lnTo>
                      <a:pt x="235463" y="129853"/>
                    </a:lnTo>
                    <a:lnTo>
                      <a:pt x="234251" y="131823"/>
                    </a:lnTo>
                    <a:lnTo>
                      <a:pt x="234251" y="134399"/>
                    </a:lnTo>
                    <a:lnTo>
                      <a:pt x="232888" y="137126"/>
                    </a:lnTo>
                    <a:lnTo>
                      <a:pt x="231069" y="138944"/>
                    </a:lnTo>
                    <a:lnTo>
                      <a:pt x="229706" y="141975"/>
                    </a:lnTo>
                    <a:lnTo>
                      <a:pt x="230160" y="147430"/>
                    </a:lnTo>
                    <a:lnTo>
                      <a:pt x="230766" y="156975"/>
                    </a:lnTo>
                    <a:lnTo>
                      <a:pt x="228191" y="160006"/>
                    </a:lnTo>
                    <a:lnTo>
                      <a:pt x="225463" y="162885"/>
                    </a:lnTo>
                    <a:lnTo>
                      <a:pt x="222433" y="165158"/>
                    </a:lnTo>
                    <a:lnTo>
                      <a:pt x="219554" y="166067"/>
                    </a:lnTo>
                    <a:lnTo>
                      <a:pt x="217130" y="165764"/>
                    </a:lnTo>
                    <a:lnTo>
                      <a:pt x="215311" y="163794"/>
                    </a:lnTo>
                    <a:lnTo>
                      <a:pt x="214251" y="162279"/>
                    </a:lnTo>
                    <a:lnTo>
                      <a:pt x="212129" y="161067"/>
                    </a:lnTo>
                    <a:lnTo>
                      <a:pt x="210008" y="161218"/>
                    </a:lnTo>
                    <a:lnTo>
                      <a:pt x="207887" y="162430"/>
                    </a:lnTo>
                    <a:lnTo>
                      <a:pt x="204553" y="162127"/>
                    </a:lnTo>
                    <a:lnTo>
                      <a:pt x="201675" y="160915"/>
                    </a:lnTo>
                    <a:lnTo>
                      <a:pt x="200159" y="161067"/>
                    </a:lnTo>
                    <a:lnTo>
                      <a:pt x="199250" y="162127"/>
                    </a:lnTo>
                    <a:lnTo>
                      <a:pt x="196220" y="164703"/>
                    </a:lnTo>
                    <a:lnTo>
                      <a:pt x="188644" y="168643"/>
                    </a:lnTo>
                    <a:lnTo>
                      <a:pt x="185613" y="168946"/>
                    </a:lnTo>
                    <a:lnTo>
                      <a:pt x="184249" y="169855"/>
                    </a:lnTo>
                    <a:lnTo>
                      <a:pt x="184704" y="171522"/>
                    </a:lnTo>
                    <a:lnTo>
                      <a:pt x="186067" y="172885"/>
                    </a:lnTo>
                    <a:lnTo>
                      <a:pt x="188492" y="173794"/>
                    </a:lnTo>
                    <a:lnTo>
                      <a:pt x="188644" y="174855"/>
                    </a:lnTo>
                    <a:lnTo>
                      <a:pt x="186523" y="175764"/>
                    </a:lnTo>
                    <a:lnTo>
                      <a:pt x="184704" y="176825"/>
                    </a:lnTo>
                    <a:lnTo>
                      <a:pt x="180765" y="178037"/>
                    </a:lnTo>
                    <a:lnTo>
                      <a:pt x="176219" y="178643"/>
                    </a:lnTo>
                    <a:lnTo>
                      <a:pt x="171522" y="177885"/>
                    </a:lnTo>
                    <a:lnTo>
                      <a:pt x="169097" y="176067"/>
                    </a:lnTo>
                    <a:lnTo>
                      <a:pt x="166370" y="175916"/>
                    </a:lnTo>
                    <a:lnTo>
                      <a:pt x="163794" y="177279"/>
                    </a:lnTo>
                    <a:lnTo>
                      <a:pt x="161067" y="179249"/>
                    </a:lnTo>
                    <a:lnTo>
                      <a:pt x="158188" y="183795"/>
                    </a:lnTo>
                    <a:lnTo>
                      <a:pt x="157279" y="184552"/>
                    </a:lnTo>
                    <a:lnTo>
                      <a:pt x="156521" y="185310"/>
                    </a:lnTo>
                    <a:lnTo>
                      <a:pt x="154703" y="186219"/>
                    </a:lnTo>
                    <a:lnTo>
                      <a:pt x="151975" y="187734"/>
                    </a:lnTo>
                    <a:lnTo>
                      <a:pt x="150460" y="191068"/>
                    </a:lnTo>
                    <a:lnTo>
                      <a:pt x="148945" y="196977"/>
                    </a:lnTo>
                    <a:lnTo>
                      <a:pt x="149248" y="200007"/>
                    </a:lnTo>
                    <a:lnTo>
                      <a:pt x="149400" y="205462"/>
                    </a:lnTo>
                    <a:lnTo>
                      <a:pt x="148794" y="209250"/>
                    </a:lnTo>
                    <a:lnTo>
                      <a:pt x="147582" y="211826"/>
                    </a:lnTo>
                    <a:lnTo>
                      <a:pt x="147733" y="213796"/>
                    </a:lnTo>
                    <a:lnTo>
                      <a:pt x="149551" y="216068"/>
                    </a:lnTo>
                    <a:lnTo>
                      <a:pt x="148945" y="217432"/>
                    </a:lnTo>
                    <a:lnTo>
                      <a:pt x="147430" y="219099"/>
                    </a:lnTo>
                    <a:lnTo>
                      <a:pt x="145915" y="220008"/>
                    </a:lnTo>
                    <a:lnTo>
                      <a:pt x="140006" y="221675"/>
                    </a:lnTo>
                    <a:lnTo>
                      <a:pt x="131975" y="223948"/>
                    </a:lnTo>
                    <a:lnTo>
                      <a:pt x="126520" y="225463"/>
                    </a:lnTo>
                    <a:lnTo>
                      <a:pt x="118641" y="227584"/>
                    </a:lnTo>
                    <a:lnTo>
                      <a:pt x="116217" y="228190"/>
                    </a:lnTo>
                    <a:lnTo>
                      <a:pt x="111520" y="228342"/>
                    </a:lnTo>
                    <a:lnTo>
                      <a:pt x="108943" y="228039"/>
                    </a:lnTo>
                    <a:lnTo>
                      <a:pt x="105610" y="227887"/>
                    </a:lnTo>
                    <a:lnTo>
                      <a:pt x="100610" y="228039"/>
                    </a:lnTo>
                    <a:lnTo>
                      <a:pt x="97125" y="228645"/>
                    </a:lnTo>
                    <a:lnTo>
                      <a:pt x="93640" y="229705"/>
                    </a:lnTo>
                    <a:lnTo>
                      <a:pt x="91064" y="231069"/>
                    </a:lnTo>
                    <a:lnTo>
                      <a:pt x="89549" y="232433"/>
                    </a:lnTo>
                    <a:lnTo>
                      <a:pt x="89094" y="233190"/>
                    </a:lnTo>
                    <a:lnTo>
                      <a:pt x="85458" y="231978"/>
                    </a:lnTo>
                    <a:lnTo>
                      <a:pt x="74548" y="230009"/>
                    </a:lnTo>
                    <a:lnTo>
                      <a:pt x="44699" y="232736"/>
                    </a:lnTo>
                    <a:lnTo>
                      <a:pt x="41820" y="232130"/>
                    </a:lnTo>
                    <a:lnTo>
                      <a:pt x="31668" y="229099"/>
                    </a:lnTo>
                    <a:lnTo>
                      <a:pt x="18486" y="225008"/>
                    </a:lnTo>
                    <a:lnTo>
                      <a:pt x="10304" y="222584"/>
                    </a:lnTo>
                    <a:lnTo>
                      <a:pt x="0" y="219250"/>
                    </a:lnTo>
                    <a:lnTo>
                      <a:pt x="5152" y="225160"/>
                    </a:lnTo>
                    <a:lnTo>
                      <a:pt x="8334" y="228645"/>
                    </a:lnTo>
                    <a:lnTo>
                      <a:pt x="12879" y="233797"/>
                    </a:lnTo>
                    <a:lnTo>
                      <a:pt x="13486" y="235008"/>
                    </a:lnTo>
                    <a:lnTo>
                      <a:pt x="13486" y="236978"/>
                    </a:lnTo>
                    <a:lnTo>
                      <a:pt x="18183" y="244554"/>
                    </a:lnTo>
                    <a:lnTo>
                      <a:pt x="19850" y="248645"/>
                    </a:lnTo>
                    <a:lnTo>
                      <a:pt x="21213" y="250918"/>
                    </a:lnTo>
                    <a:lnTo>
                      <a:pt x="25001" y="254706"/>
                    </a:lnTo>
                    <a:lnTo>
                      <a:pt x="28638" y="258191"/>
                    </a:lnTo>
                    <a:lnTo>
                      <a:pt x="32426" y="259858"/>
                    </a:lnTo>
                    <a:lnTo>
                      <a:pt x="35153" y="260161"/>
                    </a:lnTo>
                    <a:lnTo>
                      <a:pt x="41214" y="262131"/>
                    </a:lnTo>
                    <a:lnTo>
                      <a:pt x="43487" y="263646"/>
                    </a:lnTo>
                    <a:lnTo>
                      <a:pt x="46972" y="267434"/>
                    </a:lnTo>
                    <a:lnTo>
                      <a:pt x="51214" y="266828"/>
                    </a:lnTo>
                    <a:lnTo>
                      <a:pt x="52123" y="266828"/>
                    </a:lnTo>
                    <a:lnTo>
                      <a:pt x="52275" y="267131"/>
                    </a:lnTo>
                    <a:lnTo>
                      <a:pt x="52427" y="268343"/>
                    </a:lnTo>
                    <a:lnTo>
                      <a:pt x="51820" y="274253"/>
                    </a:lnTo>
                    <a:lnTo>
                      <a:pt x="53032" y="280162"/>
                    </a:lnTo>
                    <a:lnTo>
                      <a:pt x="53790" y="289101"/>
                    </a:lnTo>
                    <a:lnTo>
                      <a:pt x="53487" y="290617"/>
                    </a:lnTo>
                    <a:lnTo>
                      <a:pt x="52578" y="293193"/>
                    </a:lnTo>
                    <a:lnTo>
                      <a:pt x="52427" y="294859"/>
                    </a:lnTo>
                    <a:lnTo>
                      <a:pt x="52123" y="295920"/>
                    </a:lnTo>
                    <a:lnTo>
                      <a:pt x="52427" y="296374"/>
                    </a:lnTo>
                    <a:lnTo>
                      <a:pt x="53790" y="296981"/>
                    </a:lnTo>
                    <a:lnTo>
                      <a:pt x="56669" y="297284"/>
                    </a:lnTo>
                    <a:lnTo>
                      <a:pt x="63487" y="296374"/>
                    </a:lnTo>
                    <a:lnTo>
                      <a:pt x="64396" y="296526"/>
                    </a:lnTo>
                    <a:lnTo>
                      <a:pt x="65912" y="297587"/>
                    </a:lnTo>
                    <a:lnTo>
                      <a:pt x="67275" y="299253"/>
                    </a:lnTo>
                    <a:lnTo>
                      <a:pt x="67275" y="300011"/>
                    </a:lnTo>
                    <a:lnTo>
                      <a:pt x="65609" y="301375"/>
                    </a:lnTo>
                    <a:lnTo>
                      <a:pt x="65306" y="303799"/>
                    </a:lnTo>
                    <a:lnTo>
                      <a:pt x="65760" y="307284"/>
                    </a:lnTo>
                    <a:lnTo>
                      <a:pt x="65609" y="307738"/>
                    </a:lnTo>
                    <a:lnTo>
                      <a:pt x="64093" y="308496"/>
                    </a:lnTo>
                    <a:lnTo>
                      <a:pt x="63487" y="313496"/>
                    </a:lnTo>
                    <a:lnTo>
                      <a:pt x="63336" y="313951"/>
                    </a:lnTo>
                    <a:lnTo>
                      <a:pt x="61518" y="314405"/>
                    </a:lnTo>
                    <a:lnTo>
                      <a:pt x="53184" y="314102"/>
                    </a:lnTo>
                    <a:lnTo>
                      <a:pt x="52123" y="314254"/>
                    </a:lnTo>
                    <a:lnTo>
                      <a:pt x="48941" y="315618"/>
                    </a:lnTo>
                    <a:lnTo>
                      <a:pt x="43638" y="316527"/>
                    </a:lnTo>
                    <a:lnTo>
                      <a:pt x="42123" y="317133"/>
                    </a:lnTo>
                    <a:lnTo>
                      <a:pt x="40153" y="318648"/>
                    </a:lnTo>
                    <a:lnTo>
                      <a:pt x="38638" y="320466"/>
                    </a:lnTo>
                    <a:lnTo>
                      <a:pt x="38486" y="322133"/>
                    </a:lnTo>
                    <a:lnTo>
                      <a:pt x="38184" y="322436"/>
                    </a:lnTo>
                    <a:lnTo>
                      <a:pt x="35002" y="322133"/>
                    </a:lnTo>
                    <a:lnTo>
                      <a:pt x="34092" y="323648"/>
                    </a:lnTo>
                    <a:lnTo>
                      <a:pt x="28031" y="325921"/>
                    </a:lnTo>
                    <a:lnTo>
                      <a:pt x="27274" y="326376"/>
                    </a:lnTo>
                    <a:lnTo>
                      <a:pt x="26365" y="328042"/>
                    </a:lnTo>
                    <a:lnTo>
                      <a:pt x="25607" y="333042"/>
                    </a:lnTo>
                    <a:lnTo>
                      <a:pt x="24850" y="337437"/>
                    </a:lnTo>
                    <a:lnTo>
                      <a:pt x="24395" y="338194"/>
                    </a:lnTo>
                    <a:lnTo>
                      <a:pt x="22577" y="339709"/>
                    </a:lnTo>
                    <a:lnTo>
                      <a:pt x="22274" y="340164"/>
                    </a:lnTo>
                    <a:lnTo>
                      <a:pt x="22577" y="341831"/>
                    </a:lnTo>
                    <a:lnTo>
                      <a:pt x="21819" y="345013"/>
                    </a:lnTo>
                    <a:lnTo>
                      <a:pt x="21062" y="353649"/>
                    </a:lnTo>
                    <a:lnTo>
                      <a:pt x="20304" y="356074"/>
                    </a:lnTo>
                    <a:lnTo>
                      <a:pt x="19698" y="356528"/>
                    </a:lnTo>
                    <a:lnTo>
                      <a:pt x="24547" y="357892"/>
                    </a:lnTo>
                    <a:lnTo>
                      <a:pt x="29092" y="358195"/>
                    </a:lnTo>
                    <a:lnTo>
                      <a:pt x="34092" y="357437"/>
                    </a:lnTo>
                    <a:lnTo>
                      <a:pt x="35759" y="355922"/>
                    </a:lnTo>
                    <a:lnTo>
                      <a:pt x="36971" y="355468"/>
                    </a:lnTo>
                    <a:lnTo>
                      <a:pt x="38335" y="356225"/>
                    </a:lnTo>
                    <a:lnTo>
                      <a:pt x="40153" y="358043"/>
                    </a:lnTo>
                    <a:lnTo>
                      <a:pt x="42274" y="357589"/>
                    </a:lnTo>
                    <a:lnTo>
                      <a:pt x="43790" y="356225"/>
                    </a:lnTo>
                    <a:lnTo>
                      <a:pt x="47275" y="354559"/>
                    </a:lnTo>
                    <a:lnTo>
                      <a:pt x="49850" y="354255"/>
                    </a:lnTo>
                    <a:lnTo>
                      <a:pt x="59396" y="355468"/>
                    </a:lnTo>
                    <a:lnTo>
                      <a:pt x="63639" y="354559"/>
                    </a:lnTo>
                    <a:lnTo>
                      <a:pt x="66821" y="355316"/>
                    </a:lnTo>
                    <a:lnTo>
                      <a:pt x="72427" y="355922"/>
                    </a:lnTo>
                    <a:lnTo>
                      <a:pt x="72579" y="353346"/>
                    </a:lnTo>
                    <a:lnTo>
                      <a:pt x="74246" y="351680"/>
                    </a:lnTo>
                    <a:lnTo>
                      <a:pt x="78639" y="350771"/>
                    </a:lnTo>
                    <a:lnTo>
                      <a:pt x="84549" y="351982"/>
                    </a:lnTo>
                    <a:lnTo>
                      <a:pt x="85912" y="351831"/>
                    </a:lnTo>
                    <a:lnTo>
                      <a:pt x="87882" y="350316"/>
                    </a:lnTo>
                    <a:lnTo>
                      <a:pt x="89701" y="351073"/>
                    </a:lnTo>
                    <a:lnTo>
                      <a:pt x="90458" y="352286"/>
                    </a:lnTo>
                    <a:lnTo>
                      <a:pt x="101216" y="355165"/>
                    </a:lnTo>
                    <a:lnTo>
                      <a:pt x="102580" y="355922"/>
                    </a:lnTo>
                    <a:lnTo>
                      <a:pt x="104398" y="356680"/>
                    </a:lnTo>
                    <a:lnTo>
                      <a:pt x="107580" y="353043"/>
                    </a:lnTo>
                    <a:lnTo>
                      <a:pt x="115308" y="352892"/>
                    </a:lnTo>
                    <a:lnTo>
                      <a:pt x="124853" y="351073"/>
                    </a:lnTo>
                    <a:lnTo>
                      <a:pt x="132278" y="351680"/>
                    </a:lnTo>
                    <a:lnTo>
                      <a:pt x="137884" y="349861"/>
                    </a:lnTo>
                    <a:lnTo>
                      <a:pt x="147430" y="348498"/>
                    </a:lnTo>
                    <a:lnTo>
                      <a:pt x="150006" y="348498"/>
                    </a:lnTo>
                    <a:lnTo>
                      <a:pt x="152127" y="348952"/>
                    </a:lnTo>
                    <a:lnTo>
                      <a:pt x="153794" y="349104"/>
                    </a:lnTo>
                    <a:lnTo>
                      <a:pt x="152127" y="347892"/>
                    </a:lnTo>
                    <a:lnTo>
                      <a:pt x="150763" y="347285"/>
                    </a:lnTo>
                    <a:lnTo>
                      <a:pt x="144703" y="347588"/>
                    </a:lnTo>
                    <a:lnTo>
                      <a:pt x="145460" y="345922"/>
                    </a:lnTo>
                    <a:lnTo>
                      <a:pt x="146975" y="344861"/>
                    </a:lnTo>
                    <a:lnTo>
                      <a:pt x="149854" y="344558"/>
                    </a:lnTo>
                    <a:lnTo>
                      <a:pt x="152733" y="345316"/>
                    </a:lnTo>
                    <a:lnTo>
                      <a:pt x="155612" y="347892"/>
                    </a:lnTo>
                    <a:lnTo>
                      <a:pt x="156673" y="350922"/>
                    </a:lnTo>
                    <a:lnTo>
                      <a:pt x="160158" y="355468"/>
                    </a:lnTo>
                    <a:lnTo>
                      <a:pt x="160461" y="358801"/>
                    </a:lnTo>
                    <a:lnTo>
                      <a:pt x="159703" y="363953"/>
                    </a:lnTo>
                    <a:lnTo>
                      <a:pt x="160309" y="365923"/>
                    </a:lnTo>
                    <a:lnTo>
                      <a:pt x="171219" y="368044"/>
                    </a:lnTo>
                    <a:lnTo>
                      <a:pt x="173037" y="368953"/>
                    </a:lnTo>
                    <a:lnTo>
                      <a:pt x="176370" y="380317"/>
                    </a:lnTo>
                    <a:lnTo>
                      <a:pt x="176673" y="383347"/>
                    </a:lnTo>
                    <a:lnTo>
                      <a:pt x="176825" y="385772"/>
                    </a:lnTo>
                    <a:lnTo>
                      <a:pt x="178340" y="388196"/>
                    </a:lnTo>
                    <a:lnTo>
                      <a:pt x="180158" y="388954"/>
                    </a:lnTo>
                    <a:lnTo>
                      <a:pt x="180765" y="389711"/>
                    </a:lnTo>
                    <a:lnTo>
                      <a:pt x="181522" y="390317"/>
                    </a:lnTo>
                    <a:lnTo>
                      <a:pt x="182128" y="392590"/>
                    </a:lnTo>
                    <a:lnTo>
                      <a:pt x="183795" y="394257"/>
                    </a:lnTo>
                    <a:lnTo>
                      <a:pt x="186067" y="393196"/>
                    </a:lnTo>
                    <a:lnTo>
                      <a:pt x="186219" y="394711"/>
                    </a:lnTo>
                    <a:lnTo>
                      <a:pt x="186674" y="396227"/>
                    </a:lnTo>
                    <a:lnTo>
                      <a:pt x="190765" y="395772"/>
                    </a:lnTo>
                    <a:lnTo>
                      <a:pt x="191977" y="393651"/>
                    </a:lnTo>
                    <a:lnTo>
                      <a:pt x="194401" y="395772"/>
                    </a:lnTo>
                    <a:lnTo>
                      <a:pt x="195765" y="395924"/>
                    </a:lnTo>
                    <a:lnTo>
                      <a:pt x="196826" y="395166"/>
                    </a:lnTo>
                    <a:lnTo>
                      <a:pt x="197583" y="396075"/>
                    </a:lnTo>
                    <a:lnTo>
                      <a:pt x="198947" y="397893"/>
                    </a:lnTo>
                    <a:lnTo>
                      <a:pt x="199856" y="396681"/>
                    </a:lnTo>
                    <a:lnTo>
                      <a:pt x="200310" y="395015"/>
                    </a:lnTo>
                    <a:lnTo>
                      <a:pt x="202129" y="393651"/>
                    </a:lnTo>
                    <a:lnTo>
                      <a:pt x="203493" y="392893"/>
                    </a:lnTo>
                    <a:lnTo>
                      <a:pt x="206220" y="392287"/>
                    </a:lnTo>
                    <a:lnTo>
                      <a:pt x="209099" y="391832"/>
                    </a:lnTo>
                    <a:lnTo>
                      <a:pt x="211826" y="391832"/>
                    </a:lnTo>
                    <a:lnTo>
                      <a:pt x="215614" y="391832"/>
                    </a:lnTo>
                    <a:lnTo>
                      <a:pt x="215614" y="383196"/>
                    </a:lnTo>
                    <a:lnTo>
                      <a:pt x="216069" y="382438"/>
                    </a:lnTo>
                    <a:lnTo>
                      <a:pt x="216523" y="381984"/>
                    </a:lnTo>
                    <a:lnTo>
                      <a:pt x="217130" y="381832"/>
                    </a:lnTo>
                    <a:lnTo>
                      <a:pt x="217584" y="381984"/>
                    </a:lnTo>
                    <a:lnTo>
                      <a:pt x="218493" y="383196"/>
                    </a:lnTo>
                    <a:lnTo>
                      <a:pt x="219402" y="383196"/>
                    </a:lnTo>
                    <a:lnTo>
                      <a:pt x="220463" y="382438"/>
                    </a:lnTo>
                    <a:lnTo>
                      <a:pt x="222736" y="383044"/>
                    </a:lnTo>
                    <a:lnTo>
                      <a:pt x="224554" y="382590"/>
                    </a:lnTo>
                    <a:lnTo>
                      <a:pt x="226372" y="383044"/>
                    </a:lnTo>
                    <a:lnTo>
                      <a:pt x="229554" y="383044"/>
                    </a:lnTo>
                    <a:lnTo>
                      <a:pt x="235312" y="382893"/>
                    </a:lnTo>
                    <a:lnTo>
                      <a:pt x="238494" y="383044"/>
                    </a:lnTo>
                    <a:lnTo>
                      <a:pt x="240464" y="384408"/>
                    </a:lnTo>
                    <a:lnTo>
                      <a:pt x="242737" y="385923"/>
                    </a:lnTo>
                    <a:lnTo>
                      <a:pt x="245161" y="386075"/>
                    </a:lnTo>
                    <a:lnTo>
                      <a:pt x="248646" y="385923"/>
                    </a:lnTo>
                    <a:lnTo>
                      <a:pt x="251070" y="385317"/>
                    </a:lnTo>
                    <a:lnTo>
                      <a:pt x="252282" y="383953"/>
                    </a:lnTo>
                    <a:lnTo>
                      <a:pt x="253192" y="382590"/>
                    </a:lnTo>
                    <a:lnTo>
                      <a:pt x="258343" y="380620"/>
                    </a:lnTo>
                    <a:lnTo>
                      <a:pt x="263798" y="378953"/>
                    </a:lnTo>
                    <a:lnTo>
                      <a:pt x="265465" y="378802"/>
                    </a:lnTo>
                    <a:lnTo>
                      <a:pt x="265919" y="379711"/>
                    </a:lnTo>
                    <a:lnTo>
                      <a:pt x="265768" y="381378"/>
                    </a:lnTo>
                    <a:lnTo>
                      <a:pt x="266374" y="382741"/>
                    </a:lnTo>
                    <a:lnTo>
                      <a:pt x="268495" y="383802"/>
                    </a:lnTo>
                    <a:lnTo>
                      <a:pt x="270010" y="383953"/>
                    </a:lnTo>
                    <a:lnTo>
                      <a:pt x="271525" y="383802"/>
                    </a:lnTo>
                    <a:lnTo>
                      <a:pt x="272586" y="383347"/>
                    </a:lnTo>
                    <a:lnTo>
                      <a:pt x="274707" y="380923"/>
                    </a:lnTo>
                    <a:lnTo>
                      <a:pt x="275920" y="380468"/>
                    </a:lnTo>
                    <a:lnTo>
                      <a:pt x="277435" y="380468"/>
                    </a:lnTo>
                    <a:lnTo>
                      <a:pt x="279101" y="379256"/>
                    </a:lnTo>
                    <a:lnTo>
                      <a:pt x="279101" y="378499"/>
                    </a:lnTo>
                    <a:lnTo>
                      <a:pt x="278041" y="378044"/>
                    </a:lnTo>
                    <a:lnTo>
                      <a:pt x="277132" y="376832"/>
                    </a:lnTo>
                    <a:lnTo>
                      <a:pt x="277283" y="375771"/>
                    </a:lnTo>
                    <a:lnTo>
                      <a:pt x="276980" y="374408"/>
                    </a:lnTo>
                    <a:lnTo>
                      <a:pt x="277132" y="373044"/>
                    </a:lnTo>
                    <a:lnTo>
                      <a:pt x="277890" y="371983"/>
                    </a:lnTo>
                    <a:lnTo>
                      <a:pt x="279101" y="371074"/>
                    </a:lnTo>
                    <a:lnTo>
                      <a:pt x="278344" y="368953"/>
                    </a:lnTo>
                    <a:lnTo>
                      <a:pt x="276525" y="365165"/>
                    </a:lnTo>
                    <a:lnTo>
                      <a:pt x="274556" y="360165"/>
                    </a:lnTo>
                    <a:lnTo>
                      <a:pt x="272435" y="355922"/>
                    </a:lnTo>
                    <a:lnTo>
                      <a:pt x="269707" y="352437"/>
                    </a:lnTo>
                    <a:lnTo>
                      <a:pt x="268344" y="349710"/>
                    </a:lnTo>
                    <a:lnTo>
                      <a:pt x="268495" y="343800"/>
                    </a:lnTo>
                    <a:lnTo>
                      <a:pt x="268192" y="342588"/>
                    </a:lnTo>
                    <a:lnTo>
                      <a:pt x="267283" y="341831"/>
                    </a:lnTo>
                    <a:lnTo>
                      <a:pt x="266071" y="341528"/>
                    </a:lnTo>
                    <a:lnTo>
                      <a:pt x="264252" y="342134"/>
                    </a:lnTo>
                    <a:lnTo>
                      <a:pt x="262737" y="342134"/>
                    </a:lnTo>
                    <a:lnTo>
                      <a:pt x="259404" y="342134"/>
                    </a:lnTo>
                    <a:lnTo>
                      <a:pt x="257737" y="341528"/>
                    </a:lnTo>
                    <a:lnTo>
                      <a:pt x="253192" y="335467"/>
                    </a:lnTo>
                    <a:lnTo>
                      <a:pt x="252585" y="333194"/>
                    </a:lnTo>
                    <a:lnTo>
                      <a:pt x="252585" y="330770"/>
                    </a:lnTo>
                    <a:lnTo>
                      <a:pt x="254101" y="326679"/>
                    </a:lnTo>
                    <a:lnTo>
                      <a:pt x="254555" y="322739"/>
                    </a:lnTo>
                    <a:lnTo>
                      <a:pt x="254707" y="319103"/>
                    </a:lnTo>
                    <a:lnTo>
                      <a:pt x="254555" y="318193"/>
                    </a:lnTo>
                    <a:lnTo>
                      <a:pt x="253646" y="316981"/>
                    </a:lnTo>
                    <a:lnTo>
                      <a:pt x="252131" y="316072"/>
                    </a:lnTo>
                    <a:lnTo>
                      <a:pt x="248040" y="315769"/>
                    </a:lnTo>
                    <a:lnTo>
                      <a:pt x="243191" y="314557"/>
                    </a:lnTo>
                    <a:lnTo>
                      <a:pt x="239555" y="312587"/>
                    </a:lnTo>
                    <a:lnTo>
                      <a:pt x="236979" y="311224"/>
                    </a:lnTo>
                    <a:lnTo>
                      <a:pt x="236221" y="310466"/>
                    </a:lnTo>
                    <a:lnTo>
                      <a:pt x="235918" y="309405"/>
                    </a:lnTo>
                    <a:lnTo>
                      <a:pt x="236676" y="305011"/>
                    </a:lnTo>
                    <a:lnTo>
                      <a:pt x="237888" y="300162"/>
                    </a:lnTo>
                    <a:lnTo>
                      <a:pt x="238645" y="298647"/>
                    </a:lnTo>
                    <a:lnTo>
                      <a:pt x="240161" y="296981"/>
                    </a:lnTo>
                    <a:lnTo>
                      <a:pt x="241221" y="295920"/>
                    </a:lnTo>
                    <a:lnTo>
                      <a:pt x="242888" y="294556"/>
                    </a:lnTo>
                    <a:lnTo>
                      <a:pt x="247585" y="289859"/>
                    </a:lnTo>
                    <a:lnTo>
                      <a:pt x="251828" y="283344"/>
                    </a:lnTo>
                    <a:lnTo>
                      <a:pt x="254404" y="278798"/>
                    </a:lnTo>
                    <a:lnTo>
                      <a:pt x="255767" y="277434"/>
                    </a:lnTo>
                    <a:lnTo>
                      <a:pt x="257131" y="276222"/>
                    </a:lnTo>
                    <a:lnTo>
                      <a:pt x="259252" y="274859"/>
                    </a:lnTo>
                    <a:lnTo>
                      <a:pt x="261525" y="273646"/>
                    </a:lnTo>
                    <a:lnTo>
                      <a:pt x="263798" y="273646"/>
                    </a:lnTo>
                    <a:lnTo>
                      <a:pt x="266071" y="274859"/>
                    </a:lnTo>
                    <a:lnTo>
                      <a:pt x="267737" y="276222"/>
                    </a:lnTo>
                    <a:lnTo>
                      <a:pt x="268192" y="279253"/>
                    </a:lnTo>
                    <a:lnTo>
                      <a:pt x="269404" y="281071"/>
                    </a:lnTo>
                    <a:lnTo>
                      <a:pt x="270616" y="282283"/>
                    </a:lnTo>
                    <a:lnTo>
                      <a:pt x="272283" y="282889"/>
                    </a:lnTo>
                    <a:lnTo>
                      <a:pt x="274404" y="282738"/>
                    </a:lnTo>
                    <a:lnTo>
                      <a:pt x="282889" y="279253"/>
                    </a:lnTo>
                    <a:lnTo>
                      <a:pt x="285768" y="278647"/>
                    </a:lnTo>
                    <a:lnTo>
                      <a:pt x="292738" y="278192"/>
                    </a:lnTo>
                    <a:lnTo>
                      <a:pt x="297435" y="276828"/>
                    </a:lnTo>
                    <a:lnTo>
                      <a:pt x="301678" y="275465"/>
                    </a:lnTo>
                    <a:lnTo>
                      <a:pt x="302132" y="272889"/>
                    </a:lnTo>
                    <a:lnTo>
                      <a:pt x="303799" y="269101"/>
                    </a:lnTo>
                    <a:lnTo>
                      <a:pt x="308648" y="264101"/>
                    </a:lnTo>
                    <a:lnTo>
                      <a:pt x="310163" y="261828"/>
                    </a:lnTo>
                    <a:lnTo>
                      <a:pt x="311678" y="257585"/>
                    </a:lnTo>
                    <a:lnTo>
                      <a:pt x="313194" y="253797"/>
                    </a:lnTo>
                    <a:lnTo>
                      <a:pt x="314557" y="252130"/>
                    </a:lnTo>
                    <a:lnTo>
                      <a:pt x="322285" y="247888"/>
                    </a:lnTo>
                    <a:lnTo>
                      <a:pt x="329861" y="243948"/>
                    </a:lnTo>
                    <a:lnTo>
                      <a:pt x="331225" y="242130"/>
                    </a:lnTo>
                    <a:lnTo>
                      <a:pt x="336073" y="233948"/>
                    </a:lnTo>
                    <a:lnTo>
                      <a:pt x="338952" y="228493"/>
                    </a:lnTo>
                    <a:lnTo>
                      <a:pt x="339558" y="226675"/>
                    </a:lnTo>
                    <a:lnTo>
                      <a:pt x="341225" y="221826"/>
                    </a:lnTo>
                    <a:lnTo>
                      <a:pt x="343043" y="216978"/>
                    </a:lnTo>
                    <a:lnTo>
                      <a:pt x="345316" y="215917"/>
                    </a:lnTo>
                    <a:lnTo>
                      <a:pt x="350619" y="214099"/>
                    </a:lnTo>
                    <a:lnTo>
                      <a:pt x="354710" y="212280"/>
                    </a:lnTo>
                    <a:lnTo>
                      <a:pt x="356832" y="210311"/>
                    </a:lnTo>
                    <a:lnTo>
                      <a:pt x="358044" y="208492"/>
                    </a:lnTo>
                    <a:lnTo>
                      <a:pt x="357892" y="206674"/>
                    </a:lnTo>
                    <a:lnTo>
                      <a:pt x="356680" y="204553"/>
                    </a:lnTo>
                    <a:lnTo>
                      <a:pt x="356983" y="203341"/>
                    </a:lnTo>
                    <a:lnTo>
                      <a:pt x="357135" y="202129"/>
                    </a:lnTo>
                    <a:lnTo>
                      <a:pt x="360165" y="199553"/>
                    </a:lnTo>
                    <a:lnTo>
                      <a:pt x="365771" y="192128"/>
                    </a:lnTo>
                    <a:lnTo>
                      <a:pt x="369257" y="188340"/>
                    </a:lnTo>
                    <a:lnTo>
                      <a:pt x="370317" y="188340"/>
                    </a:lnTo>
                    <a:lnTo>
                      <a:pt x="373802" y="186370"/>
                    </a:lnTo>
                    <a:lnTo>
                      <a:pt x="377287" y="184098"/>
                    </a:lnTo>
                    <a:lnTo>
                      <a:pt x="376984" y="183037"/>
                    </a:lnTo>
                    <a:lnTo>
                      <a:pt x="376681" y="181825"/>
                    </a:lnTo>
                    <a:lnTo>
                      <a:pt x="374711" y="181219"/>
                    </a:lnTo>
                    <a:lnTo>
                      <a:pt x="374105" y="179552"/>
                    </a:lnTo>
                    <a:lnTo>
                      <a:pt x="374559" y="177279"/>
                    </a:lnTo>
                    <a:lnTo>
                      <a:pt x="376226" y="171218"/>
                    </a:lnTo>
                    <a:lnTo>
                      <a:pt x="375772" y="169400"/>
                    </a:lnTo>
                    <a:lnTo>
                      <a:pt x="373954" y="163642"/>
                    </a:lnTo>
                    <a:lnTo>
                      <a:pt x="374257" y="162127"/>
                    </a:lnTo>
                    <a:lnTo>
                      <a:pt x="375166" y="160460"/>
                    </a:lnTo>
                    <a:lnTo>
                      <a:pt x="377287" y="158339"/>
                    </a:lnTo>
                    <a:lnTo>
                      <a:pt x="380166" y="156521"/>
                    </a:lnTo>
                    <a:lnTo>
                      <a:pt x="389257" y="152278"/>
                    </a:lnTo>
                    <a:lnTo>
                      <a:pt x="391076" y="151824"/>
                    </a:lnTo>
                    <a:lnTo>
                      <a:pt x="394257" y="150763"/>
                    </a:lnTo>
                    <a:lnTo>
                      <a:pt x="396227" y="148490"/>
                    </a:lnTo>
                    <a:lnTo>
                      <a:pt x="396378" y="146672"/>
                    </a:lnTo>
                    <a:lnTo>
                      <a:pt x="395621" y="145460"/>
                    </a:lnTo>
                    <a:lnTo>
                      <a:pt x="393651" y="143793"/>
                    </a:lnTo>
                    <a:lnTo>
                      <a:pt x="390166" y="142278"/>
                    </a:lnTo>
                    <a:lnTo>
                      <a:pt x="386984" y="141066"/>
                    </a:lnTo>
                    <a:lnTo>
                      <a:pt x="381530" y="141217"/>
                    </a:lnTo>
                    <a:lnTo>
                      <a:pt x="378651" y="140157"/>
                    </a:lnTo>
                    <a:lnTo>
                      <a:pt x="377893" y="139399"/>
                    </a:lnTo>
                    <a:lnTo>
                      <a:pt x="377590" y="136672"/>
                    </a:lnTo>
                    <a:lnTo>
                      <a:pt x="378045" y="132126"/>
                    </a:lnTo>
                    <a:lnTo>
                      <a:pt x="377287" y="131672"/>
                    </a:lnTo>
                    <a:lnTo>
                      <a:pt x="376075" y="132277"/>
                    </a:lnTo>
                    <a:lnTo>
                      <a:pt x="373196" y="131672"/>
                    </a:lnTo>
                    <a:lnTo>
                      <a:pt x="369559" y="131823"/>
                    </a:lnTo>
                    <a:lnTo>
                      <a:pt x="368347" y="130459"/>
                    </a:lnTo>
                    <a:lnTo>
                      <a:pt x="368953" y="128944"/>
                    </a:lnTo>
                    <a:lnTo>
                      <a:pt x="368802" y="126974"/>
                    </a:lnTo>
                    <a:lnTo>
                      <a:pt x="368196" y="125005"/>
                    </a:lnTo>
                    <a:lnTo>
                      <a:pt x="367741" y="124550"/>
                    </a:lnTo>
                    <a:lnTo>
                      <a:pt x="366074" y="124095"/>
                    </a:lnTo>
                    <a:lnTo>
                      <a:pt x="363347" y="122429"/>
                    </a:lnTo>
                    <a:lnTo>
                      <a:pt x="361226" y="120307"/>
                    </a:lnTo>
                    <a:lnTo>
                      <a:pt x="360014" y="118944"/>
                    </a:lnTo>
                    <a:lnTo>
                      <a:pt x="359711" y="118035"/>
                    </a:lnTo>
                    <a:lnTo>
                      <a:pt x="359711" y="117277"/>
                    </a:lnTo>
                    <a:lnTo>
                      <a:pt x="361377" y="115610"/>
                    </a:lnTo>
                    <a:lnTo>
                      <a:pt x="363195" y="113035"/>
                    </a:lnTo>
                    <a:lnTo>
                      <a:pt x="363802" y="110913"/>
                    </a:lnTo>
                    <a:lnTo>
                      <a:pt x="364104" y="109247"/>
                    </a:lnTo>
                    <a:lnTo>
                      <a:pt x="363499" y="108034"/>
                    </a:lnTo>
                    <a:lnTo>
                      <a:pt x="361832" y="106671"/>
                    </a:lnTo>
                    <a:lnTo>
                      <a:pt x="360014" y="105458"/>
                    </a:lnTo>
                    <a:lnTo>
                      <a:pt x="359256" y="104398"/>
                    </a:lnTo>
                    <a:lnTo>
                      <a:pt x="359256" y="102731"/>
                    </a:lnTo>
                    <a:lnTo>
                      <a:pt x="360014" y="100610"/>
                    </a:lnTo>
                    <a:lnTo>
                      <a:pt x="362135" y="99095"/>
                    </a:lnTo>
                    <a:lnTo>
                      <a:pt x="365771" y="97731"/>
                    </a:lnTo>
                    <a:lnTo>
                      <a:pt x="366832" y="95913"/>
                    </a:lnTo>
                    <a:lnTo>
                      <a:pt x="366680" y="94549"/>
                    </a:lnTo>
                    <a:lnTo>
                      <a:pt x="365620" y="94094"/>
                    </a:lnTo>
                    <a:lnTo>
                      <a:pt x="363044" y="94094"/>
                    </a:lnTo>
                    <a:lnTo>
                      <a:pt x="358498" y="93640"/>
                    </a:lnTo>
                    <a:lnTo>
                      <a:pt x="357741" y="92882"/>
                    </a:lnTo>
                    <a:lnTo>
                      <a:pt x="357286" y="91821"/>
                    </a:lnTo>
                    <a:lnTo>
                      <a:pt x="357286" y="90912"/>
                    </a:lnTo>
                    <a:lnTo>
                      <a:pt x="358195" y="89700"/>
                    </a:lnTo>
                    <a:lnTo>
                      <a:pt x="359407" y="88337"/>
                    </a:lnTo>
                    <a:lnTo>
                      <a:pt x="359104" y="86973"/>
                    </a:lnTo>
                    <a:lnTo>
                      <a:pt x="357892" y="85306"/>
                    </a:lnTo>
                    <a:lnTo>
                      <a:pt x="354710" y="84245"/>
                    </a:lnTo>
                    <a:lnTo>
                      <a:pt x="354256" y="82579"/>
                    </a:lnTo>
                    <a:lnTo>
                      <a:pt x="354710" y="81215"/>
                    </a:lnTo>
                    <a:lnTo>
                      <a:pt x="355771" y="79245"/>
                    </a:lnTo>
                    <a:lnTo>
                      <a:pt x="356680" y="77882"/>
                    </a:lnTo>
                    <a:lnTo>
                      <a:pt x="358802" y="74094"/>
                    </a:lnTo>
                    <a:lnTo>
                      <a:pt x="361529" y="73336"/>
                    </a:lnTo>
                    <a:lnTo>
                      <a:pt x="364559" y="71972"/>
                    </a:lnTo>
                    <a:lnTo>
                      <a:pt x="368196" y="70609"/>
                    </a:lnTo>
                    <a:lnTo>
                      <a:pt x="373499" y="71669"/>
                    </a:lnTo>
                    <a:lnTo>
                      <a:pt x="376226" y="72124"/>
                    </a:lnTo>
                    <a:lnTo>
                      <a:pt x="381530" y="73336"/>
                    </a:lnTo>
                    <a:lnTo>
                      <a:pt x="385923" y="74397"/>
                    </a:lnTo>
                    <a:lnTo>
                      <a:pt x="390469" y="74700"/>
                    </a:lnTo>
                    <a:lnTo>
                      <a:pt x="392439" y="74548"/>
                    </a:lnTo>
                    <a:lnTo>
                      <a:pt x="394560" y="75760"/>
                    </a:lnTo>
                    <a:lnTo>
                      <a:pt x="399712" y="77730"/>
                    </a:lnTo>
                    <a:lnTo>
                      <a:pt x="403803" y="78791"/>
                    </a:lnTo>
                    <a:lnTo>
                      <a:pt x="406682" y="78791"/>
                    </a:lnTo>
                    <a:lnTo>
                      <a:pt x="410925" y="76973"/>
                    </a:lnTo>
                    <a:lnTo>
                      <a:pt x="412894" y="75306"/>
                    </a:lnTo>
                    <a:lnTo>
                      <a:pt x="415773" y="73639"/>
                    </a:lnTo>
                    <a:lnTo>
                      <a:pt x="419410" y="73639"/>
                    </a:lnTo>
                    <a:lnTo>
                      <a:pt x="427137" y="70912"/>
                    </a:lnTo>
                    <a:lnTo>
                      <a:pt x="428652" y="71366"/>
                    </a:lnTo>
                    <a:lnTo>
                      <a:pt x="430925" y="71518"/>
                    </a:lnTo>
                    <a:lnTo>
                      <a:pt x="433653" y="70002"/>
                    </a:lnTo>
                    <a:lnTo>
                      <a:pt x="435168" y="68184"/>
                    </a:lnTo>
                    <a:lnTo>
                      <a:pt x="435319" y="67275"/>
                    </a:lnTo>
                    <a:lnTo>
                      <a:pt x="436077" y="66518"/>
                    </a:lnTo>
                    <a:lnTo>
                      <a:pt x="439107" y="65305"/>
                    </a:lnTo>
                    <a:lnTo>
                      <a:pt x="441986" y="63639"/>
                    </a:lnTo>
                    <a:lnTo>
                      <a:pt x="442895" y="61517"/>
                    </a:lnTo>
                    <a:lnTo>
                      <a:pt x="443350" y="6000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7" name="Freeform: Shape 3186">
                <a:extLst>
                  <a:ext uri="{FF2B5EF4-FFF2-40B4-BE49-F238E27FC236}">
                    <a16:creationId xmlns:a16="http://schemas.microsoft.com/office/drawing/2014/main" id="{6CF25C6F-C0A8-4347-A793-5123CDA3D480}"/>
                  </a:ext>
                </a:extLst>
              </p:cNvPr>
              <p:cNvSpPr/>
              <p:nvPr/>
            </p:nvSpPr>
            <p:spPr>
              <a:xfrm>
                <a:off x="8977621" y="3987275"/>
                <a:ext cx="262585" cy="436985"/>
              </a:xfrm>
              <a:custGeom>
                <a:avLst/>
                <a:gdLst>
                  <a:gd name="connsiteX0" fmla="*/ 186219 w 262585"/>
                  <a:gd name="connsiteY0" fmla="*/ 236979 h 436985"/>
                  <a:gd name="connsiteX1" fmla="*/ 186068 w 262585"/>
                  <a:gd name="connsiteY1" fmla="*/ 234554 h 436985"/>
                  <a:gd name="connsiteX2" fmla="*/ 184250 w 262585"/>
                  <a:gd name="connsiteY2" fmla="*/ 230160 h 436985"/>
                  <a:gd name="connsiteX3" fmla="*/ 181825 w 262585"/>
                  <a:gd name="connsiteY3" fmla="*/ 228342 h 436985"/>
                  <a:gd name="connsiteX4" fmla="*/ 180916 w 262585"/>
                  <a:gd name="connsiteY4" fmla="*/ 229554 h 436985"/>
                  <a:gd name="connsiteX5" fmla="*/ 181825 w 262585"/>
                  <a:gd name="connsiteY5" fmla="*/ 231221 h 436985"/>
                  <a:gd name="connsiteX6" fmla="*/ 185159 w 262585"/>
                  <a:gd name="connsiteY6" fmla="*/ 235918 h 436985"/>
                  <a:gd name="connsiteX7" fmla="*/ 186219 w 262585"/>
                  <a:gd name="connsiteY7" fmla="*/ 236979 h 436985"/>
                  <a:gd name="connsiteX8" fmla="*/ 184250 w 262585"/>
                  <a:gd name="connsiteY8" fmla="*/ 267737 h 436985"/>
                  <a:gd name="connsiteX9" fmla="*/ 185007 w 262585"/>
                  <a:gd name="connsiteY9" fmla="*/ 270465 h 436985"/>
                  <a:gd name="connsiteX10" fmla="*/ 187129 w 262585"/>
                  <a:gd name="connsiteY10" fmla="*/ 270465 h 436985"/>
                  <a:gd name="connsiteX11" fmla="*/ 185461 w 262585"/>
                  <a:gd name="connsiteY11" fmla="*/ 266828 h 436985"/>
                  <a:gd name="connsiteX12" fmla="*/ 185007 w 262585"/>
                  <a:gd name="connsiteY12" fmla="*/ 266980 h 436985"/>
                  <a:gd name="connsiteX13" fmla="*/ 184250 w 262585"/>
                  <a:gd name="connsiteY13" fmla="*/ 267737 h 436985"/>
                  <a:gd name="connsiteX14" fmla="*/ 170613 w 262585"/>
                  <a:gd name="connsiteY14" fmla="*/ 222129 h 436985"/>
                  <a:gd name="connsiteX15" fmla="*/ 166219 w 262585"/>
                  <a:gd name="connsiteY15" fmla="*/ 216372 h 436985"/>
                  <a:gd name="connsiteX16" fmla="*/ 165460 w 262585"/>
                  <a:gd name="connsiteY16" fmla="*/ 216220 h 436985"/>
                  <a:gd name="connsiteX17" fmla="*/ 163794 w 262585"/>
                  <a:gd name="connsiteY17" fmla="*/ 216523 h 436985"/>
                  <a:gd name="connsiteX18" fmla="*/ 163491 w 262585"/>
                  <a:gd name="connsiteY18" fmla="*/ 217887 h 436985"/>
                  <a:gd name="connsiteX19" fmla="*/ 164097 w 262585"/>
                  <a:gd name="connsiteY19" fmla="*/ 218493 h 436985"/>
                  <a:gd name="connsiteX20" fmla="*/ 166370 w 262585"/>
                  <a:gd name="connsiteY20" fmla="*/ 219705 h 436985"/>
                  <a:gd name="connsiteX21" fmla="*/ 169400 w 262585"/>
                  <a:gd name="connsiteY21" fmla="*/ 222887 h 436985"/>
                  <a:gd name="connsiteX22" fmla="*/ 172279 w 262585"/>
                  <a:gd name="connsiteY22" fmla="*/ 224857 h 436985"/>
                  <a:gd name="connsiteX23" fmla="*/ 174855 w 262585"/>
                  <a:gd name="connsiteY23" fmla="*/ 227736 h 436985"/>
                  <a:gd name="connsiteX24" fmla="*/ 172582 w 262585"/>
                  <a:gd name="connsiteY24" fmla="*/ 223493 h 436985"/>
                  <a:gd name="connsiteX25" fmla="*/ 170613 w 262585"/>
                  <a:gd name="connsiteY25" fmla="*/ 222129 h 436985"/>
                  <a:gd name="connsiteX26" fmla="*/ 180158 w 262585"/>
                  <a:gd name="connsiteY26" fmla="*/ 234857 h 436985"/>
                  <a:gd name="connsiteX27" fmla="*/ 177583 w 262585"/>
                  <a:gd name="connsiteY27" fmla="*/ 233342 h 436985"/>
                  <a:gd name="connsiteX28" fmla="*/ 174097 w 262585"/>
                  <a:gd name="connsiteY28" fmla="*/ 232130 h 436985"/>
                  <a:gd name="connsiteX29" fmla="*/ 171370 w 262585"/>
                  <a:gd name="connsiteY29" fmla="*/ 231069 h 436985"/>
                  <a:gd name="connsiteX30" fmla="*/ 171522 w 262585"/>
                  <a:gd name="connsiteY30" fmla="*/ 233493 h 436985"/>
                  <a:gd name="connsiteX31" fmla="*/ 172279 w 262585"/>
                  <a:gd name="connsiteY31" fmla="*/ 236221 h 436985"/>
                  <a:gd name="connsiteX32" fmla="*/ 171673 w 262585"/>
                  <a:gd name="connsiteY32" fmla="*/ 238039 h 436985"/>
                  <a:gd name="connsiteX33" fmla="*/ 170764 w 262585"/>
                  <a:gd name="connsiteY33" fmla="*/ 244100 h 436985"/>
                  <a:gd name="connsiteX34" fmla="*/ 169248 w 262585"/>
                  <a:gd name="connsiteY34" fmla="*/ 247888 h 436985"/>
                  <a:gd name="connsiteX35" fmla="*/ 169248 w 262585"/>
                  <a:gd name="connsiteY35" fmla="*/ 249100 h 436985"/>
                  <a:gd name="connsiteX36" fmla="*/ 172886 w 262585"/>
                  <a:gd name="connsiteY36" fmla="*/ 246070 h 436985"/>
                  <a:gd name="connsiteX37" fmla="*/ 176370 w 262585"/>
                  <a:gd name="connsiteY37" fmla="*/ 241676 h 436985"/>
                  <a:gd name="connsiteX38" fmla="*/ 177885 w 262585"/>
                  <a:gd name="connsiteY38" fmla="*/ 241069 h 436985"/>
                  <a:gd name="connsiteX39" fmla="*/ 179401 w 262585"/>
                  <a:gd name="connsiteY39" fmla="*/ 241676 h 436985"/>
                  <a:gd name="connsiteX40" fmla="*/ 181673 w 262585"/>
                  <a:gd name="connsiteY40" fmla="*/ 244555 h 436985"/>
                  <a:gd name="connsiteX41" fmla="*/ 183189 w 262585"/>
                  <a:gd name="connsiteY41" fmla="*/ 245161 h 436985"/>
                  <a:gd name="connsiteX42" fmla="*/ 183341 w 262585"/>
                  <a:gd name="connsiteY42" fmla="*/ 245767 h 436985"/>
                  <a:gd name="connsiteX43" fmla="*/ 185007 w 262585"/>
                  <a:gd name="connsiteY43" fmla="*/ 247130 h 436985"/>
                  <a:gd name="connsiteX44" fmla="*/ 184704 w 262585"/>
                  <a:gd name="connsiteY44" fmla="*/ 248494 h 436985"/>
                  <a:gd name="connsiteX45" fmla="*/ 185461 w 262585"/>
                  <a:gd name="connsiteY45" fmla="*/ 248949 h 436985"/>
                  <a:gd name="connsiteX46" fmla="*/ 188038 w 262585"/>
                  <a:gd name="connsiteY46" fmla="*/ 249555 h 436985"/>
                  <a:gd name="connsiteX47" fmla="*/ 191674 w 262585"/>
                  <a:gd name="connsiteY47" fmla="*/ 252131 h 436985"/>
                  <a:gd name="connsiteX48" fmla="*/ 193341 w 262585"/>
                  <a:gd name="connsiteY48" fmla="*/ 253949 h 436985"/>
                  <a:gd name="connsiteX49" fmla="*/ 193644 w 262585"/>
                  <a:gd name="connsiteY49" fmla="*/ 252282 h 436985"/>
                  <a:gd name="connsiteX50" fmla="*/ 193189 w 262585"/>
                  <a:gd name="connsiteY50" fmla="*/ 248040 h 436985"/>
                  <a:gd name="connsiteX51" fmla="*/ 189553 w 262585"/>
                  <a:gd name="connsiteY51" fmla="*/ 242433 h 436985"/>
                  <a:gd name="connsiteX52" fmla="*/ 184250 w 262585"/>
                  <a:gd name="connsiteY52" fmla="*/ 239100 h 436985"/>
                  <a:gd name="connsiteX53" fmla="*/ 180310 w 262585"/>
                  <a:gd name="connsiteY53" fmla="*/ 235766 h 436985"/>
                  <a:gd name="connsiteX54" fmla="*/ 180158 w 262585"/>
                  <a:gd name="connsiteY54" fmla="*/ 234857 h 436985"/>
                  <a:gd name="connsiteX55" fmla="*/ 154096 w 262585"/>
                  <a:gd name="connsiteY55" fmla="*/ 239251 h 436985"/>
                  <a:gd name="connsiteX56" fmla="*/ 155460 w 262585"/>
                  <a:gd name="connsiteY56" fmla="*/ 238645 h 436985"/>
                  <a:gd name="connsiteX57" fmla="*/ 156218 w 262585"/>
                  <a:gd name="connsiteY57" fmla="*/ 236675 h 436985"/>
                  <a:gd name="connsiteX58" fmla="*/ 155915 w 262585"/>
                  <a:gd name="connsiteY58" fmla="*/ 235463 h 436985"/>
                  <a:gd name="connsiteX59" fmla="*/ 153946 w 262585"/>
                  <a:gd name="connsiteY59" fmla="*/ 233645 h 436985"/>
                  <a:gd name="connsiteX60" fmla="*/ 150308 w 262585"/>
                  <a:gd name="connsiteY60" fmla="*/ 233645 h 436985"/>
                  <a:gd name="connsiteX61" fmla="*/ 148945 w 262585"/>
                  <a:gd name="connsiteY61" fmla="*/ 234706 h 436985"/>
                  <a:gd name="connsiteX62" fmla="*/ 149399 w 262585"/>
                  <a:gd name="connsiteY62" fmla="*/ 235463 h 436985"/>
                  <a:gd name="connsiteX63" fmla="*/ 151067 w 262585"/>
                  <a:gd name="connsiteY63" fmla="*/ 236675 h 436985"/>
                  <a:gd name="connsiteX64" fmla="*/ 154096 w 262585"/>
                  <a:gd name="connsiteY64" fmla="*/ 239251 h 436985"/>
                  <a:gd name="connsiteX65" fmla="*/ 188795 w 262585"/>
                  <a:gd name="connsiteY65" fmla="*/ 311072 h 436985"/>
                  <a:gd name="connsiteX66" fmla="*/ 190613 w 262585"/>
                  <a:gd name="connsiteY66" fmla="*/ 312436 h 436985"/>
                  <a:gd name="connsiteX67" fmla="*/ 195765 w 262585"/>
                  <a:gd name="connsiteY67" fmla="*/ 313042 h 436985"/>
                  <a:gd name="connsiteX68" fmla="*/ 202281 w 262585"/>
                  <a:gd name="connsiteY68" fmla="*/ 312133 h 436985"/>
                  <a:gd name="connsiteX69" fmla="*/ 203492 w 262585"/>
                  <a:gd name="connsiteY69" fmla="*/ 311527 h 436985"/>
                  <a:gd name="connsiteX70" fmla="*/ 205462 w 262585"/>
                  <a:gd name="connsiteY70" fmla="*/ 308951 h 436985"/>
                  <a:gd name="connsiteX71" fmla="*/ 206220 w 262585"/>
                  <a:gd name="connsiteY71" fmla="*/ 308799 h 436985"/>
                  <a:gd name="connsiteX72" fmla="*/ 208341 w 262585"/>
                  <a:gd name="connsiteY72" fmla="*/ 308951 h 436985"/>
                  <a:gd name="connsiteX73" fmla="*/ 208644 w 262585"/>
                  <a:gd name="connsiteY73" fmla="*/ 307890 h 436985"/>
                  <a:gd name="connsiteX74" fmla="*/ 208341 w 262585"/>
                  <a:gd name="connsiteY74" fmla="*/ 306678 h 436985"/>
                  <a:gd name="connsiteX75" fmla="*/ 207584 w 262585"/>
                  <a:gd name="connsiteY75" fmla="*/ 305314 h 436985"/>
                  <a:gd name="connsiteX76" fmla="*/ 208189 w 262585"/>
                  <a:gd name="connsiteY76" fmla="*/ 301223 h 436985"/>
                  <a:gd name="connsiteX77" fmla="*/ 205765 w 262585"/>
                  <a:gd name="connsiteY77" fmla="*/ 300163 h 436985"/>
                  <a:gd name="connsiteX78" fmla="*/ 203492 w 262585"/>
                  <a:gd name="connsiteY78" fmla="*/ 298496 h 436985"/>
                  <a:gd name="connsiteX79" fmla="*/ 202583 w 262585"/>
                  <a:gd name="connsiteY79" fmla="*/ 298344 h 436985"/>
                  <a:gd name="connsiteX80" fmla="*/ 201977 w 262585"/>
                  <a:gd name="connsiteY80" fmla="*/ 298041 h 436985"/>
                  <a:gd name="connsiteX81" fmla="*/ 201522 w 262585"/>
                  <a:gd name="connsiteY81" fmla="*/ 297587 h 436985"/>
                  <a:gd name="connsiteX82" fmla="*/ 197129 w 262585"/>
                  <a:gd name="connsiteY82" fmla="*/ 298193 h 436985"/>
                  <a:gd name="connsiteX83" fmla="*/ 195007 w 262585"/>
                  <a:gd name="connsiteY83" fmla="*/ 300163 h 436985"/>
                  <a:gd name="connsiteX84" fmla="*/ 194098 w 262585"/>
                  <a:gd name="connsiteY84" fmla="*/ 301829 h 436985"/>
                  <a:gd name="connsiteX85" fmla="*/ 190007 w 262585"/>
                  <a:gd name="connsiteY85" fmla="*/ 304102 h 436985"/>
                  <a:gd name="connsiteX86" fmla="*/ 188795 w 262585"/>
                  <a:gd name="connsiteY86" fmla="*/ 305163 h 436985"/>
                  <a:gd name="connsiteX87" fmla="*/ 187583 w 262585"/>
                  <a:gd name="connsiteY87" fmla="*/ 306829 h 436985"/>
                  <a:gd name="connsiteX88" fmla="*/ 187886 w 262585"/>
                  <a:gd name="connsiteY88" fmla="*/ 308345 h 436985"/>
                  <a:gd name="connsiteX89" fmla="*/ 188795 w 262585"/>
                  <a:gd name="connsiteY89" fmla="*/ 311072 h 436985"/>
                  <a:gd name="connsiteX90" fmla="*/ 155915 w 262585"/>
                  <a:gd name="connsiteY90" fmla="*/ 281829 h 436985"/>
                  <a:gd name="connsiteX91" fmla="*/ 155309 w 262585"/>
                  <a:gd name="connsiteY91" fmla="*/ 282283 h 436985"/>
                  <a:gd name="connsiteX92" fmla="*/ 154703 w 262585"/>
                  <a:gd name="connsiteY92" fmla="*/ 283041 h 436985"/>
                  <a:gd name="connsiteX93" fmla="*/ 152278 w 262585"/>
                  <a:gd name="connsiteY93" fmla="*/ 285465 h 436985"/>
                  <a:gd name="connsiteX94" fmla="*/ 151672 w 262585"/>
                  <a:gd name="connsiteY94" fmla="*/ 288647 h 436985"/>
                  <a:gd name="connsiteX95" fmla="*/ 152278 w 262585"/>
                  <a:gd name="connsiteY95" fmla="*/ 290465 h 436985"/>
                  <a:gd name="connsiteX96" fmla="*/ 153946 w 262585"/>
                  <a:gd name="connsiteY96" fmla="*/ 289405 h 436985"/>
                  <a:gd name="connsiteX97" fmla="*/ 154551 w 262585"/>
                  <a:gd name="connsiteY97" fmla="*/ 289405 h 436985"/>
                  <a:gd name="connsiteX98" fmla="*/ 155309 w 262585"/>
                  <a:gd name="connsiteY98" fmla="*/ 289101 h 436985"/>
                  <a:gd name="connsiteX99" fmla="*/ 156218 w 262585"/>
                  <a:gd name="connsiteY99" fmla="*/ 288344 h 436985"/>
                  <a:gd name="connsiteX100" fmla="*/ 157734 w 262585"/>
                  <a:gd name="connsiteY100" fmla="*/ 284101 h 436985"/>
                  <a:gd name="connsiteX101" fmla="*/ 157582 w 262585"/>
                  <a:gd name="connsiteY101" fmla="*/ 282738 h 436985"/>
                  <a:gd name="connsiteX102" fmla="*/ 156825 w 262585"/>
                  <a:gd name="connsiteY102" fmla="*/ 281829 h 436985"/>
                  <a:gd name="connsiteX103" fmla="*/ 155915 w 262585"/>
                  <a:gd name="connsiteY103" fmla="*/ 281829 h 436985"/>
                  <a:gd name="connsiteX104" fmla="*/ 202735 w 262585"/>
                  <a:gd name="connsiteY104" fmla="*/ 283495 h 436985"/>
                  <a:gd name="connsiteX105" fmla="*/ 202432 w 262585"/>
                  <a:gd name="connsiteY105" fmla="*/ 283192 h 436985"/>
                  <a:gd name="connsiteX106" fmla="*/ 201371 w 262585"/>
                  <a:gd name="connsiteY106" fmla="*/ 282738 h 436985"/>
                  <a:gd name="connsiteX107" fmla="*/ 200159 w 262585"/>
                  <a:gd name="connsiteY107" fmla="*/ 285617 h 436985"/>
                  <a:gd name="connsiteX108" fmla="*/ 200917 w 262585"/>
                  <a:gd name="connsiteY108" fmla="*/ 285465 h 436985"/>
                  <a:gd name="connsiteX109" fmla="*/ 202735 w 262585"/>
                  <a:gd name="connsiteY109" fmla="*/ 284707 h 436985"/>
                  <a:gd name="connsiteX110" fmla="*/ 202735 w 262585"/>
                  <a:gd name="connsiteY110" fmla="*/ 283495 h 436985"/>
                  <a:gd name="connsiteX111" fmla="*/ 205462 w 262585"/>
                  <a:gd name="connsiteY111" fmla="*/ 261222 h 436985"/>
                  <a:gd name="connsiteX112" fmla="*/ 208947 w 262585"/>
                  <a:gd name="connsiteY112" fmla="*/ 261070 h 436985"/>
                  <a:gd name="connsiteX113" fmla="*/ 209402 w 262585"/>
                  <a:gd name="connsiteY113" fmla="*/ 259555 h 436985"/>
                  <a:gd name="connsiteX114" fmla="*/ 207887 w 262585"/>
                  <a:gd name="connsiteY114" fmla="*/ 257131 h 436985"/>
                  <a:gd name="connsiteX115" fmla="*/ 206371 w 262585"/>
                  <a:gd name="connsiteY115" fmla="*/ 255767 h 436985"/>
                  <a:gd name="connsiteX116" fmla="*/ 204401 w 262585"/>
                  <a:gd name="connsiteY116" fmla="*/ 255616 h 436985"/>
                  <a:gd name="connsiteX117" fmla="*/ 202281 w 262585"/>
                  <a:gd name="connsiteY117" fmla="*/ 256373 h 436985"/>
                  <a:gd name="connsiteX118" fmla="*/ 204099 w 262585"/>
                  <a:gd name="connsiteY118" fmla="*/ 260010 h 436985"/>
                  <a:gd name="connsiteX119" fmla="*/ 205462 w 262585"/>
                  <a:gd name="connsiteY119" fmla="*/ 261222 h 436985"/>
                  <a:gd name="connsiteX120" fmla="*/ 153037 w 262585"/>
                  <a:gd name="connsiteY120" fmla="*/ 316375 h 436985"/>
                  <a:gd name="connsiteX121" fmla="*/ 154400 w 262585"/>
                  <a:gd name="connsiteY121" fmla="*/ 317436 h 436985"/>
                  <a:gd name="connsiteX122" fmla="*/ 155915 w 262585"/>
                  <a:gd name="connsiteY122" fmla="*/ 318345 h 436985"/>
                  <a:gd name="connsiteX123" fmla="*/ 158793 w 262585"/>
                  <a:gd name="connsiteY123" fmla="*/ 319406 h 436985"/>
                  <a:gd name="connsiteX124" fmla="*/ 161370 w 262585"/>
                  <a:gd name="connsiteY124" fmla="*/ 320769 h 436985"/>
                  <a:gd name="connsiteX125" fmla="*/ 163642 w 262585"/>
                  <a:gd name="connsiteY125" fmla="*/ 326527 h 436985"/>
                  <a:gd name="connsiteX126" fmla="*/ 164855 w 262585"/>
                  <a:gd name="connsiteY126" fmla="*/ 327891 h 436985"/>
                  <a:gd name="connsiteX127" fmla="*/ 166825 w 262585"/>
                  <a:gd name="connsiteY127" fmla="*/ 328042 h 436985"/>
                  <a:gd name="connsiteX128" fmla="*/ 168643 w 262585"/>
                  <a:gd name="connsiteY128" fmla="*/ 327739 h 436985"/>
                  <a:gd name="connsiteX129" fmla="*/ 170309 w 262585"/>
                  <a:gd name="connsiteY129" fmla="*/ 327133 h 436985"/>
                  <a:gd name="connsiteX130" fmla="*/ 171370 w 262585"/>
                  <a:gd name="connsiteY130" fmla="*/ 326224 h 436985"/>
                  <a:gd name="connsiteX131" fmla="*/ 173188 w 262585"/>
                  <a:gd name="connsiteY131" fmla="*/ 323648 h 436985"/>
                  <a:gd name="connsiteX132" fmla="*/ 173946 w 262585"/>
                  <a:gd name="connsiteY132" fmla="*/ 322133 h 436985"/>
                  <a:gd name="connsiteX133" fmla="*/ 173946 w 262585"/>
                  <a:gd name="connsiteY133" fmla="*/ 320921 h 436985"/>
                  <a:gd name="connsiteX134" fmla="*/ 173643 w 262585"/>
                  <a:gd name="connsiteY134" fmla="*/ 319860 h 436985"/>
                  <a:gd name="connsiteX135" fmla="*/ 169248 w 262585"/>
                  <a:gd name="connsiteY135" fmla="*/ 313042 h 436985"/>
                  <a:gd name="connsiteX136" fmla="*/ 169248 w 262585"/>
                  <a:gd name="connsiteY136" fmla="*/ 311527 h 436985"/>
                  <a:gd name="connsiteX137" fmla="*/ 169552 w 262585"/>
                  <a:gd name="connsiteY137" fmla="*/ 310011 h 436985"/>
                  <a:gd name="connsiteX138" fmla="*/ 169552 w 262585"/>
                  <a:gd name="connsiteY138" fmla="*/ 305920 h 436985"/>
                  <a:gd name="connsiteX139" fmla="*/ 170158 w 262585"/>
                  <a:gd name="connsiteY139" fmla="*/ 304102 h 436985"/>
                  <a:gd name="connsiteX140" fmla="*/ 172279 w 262585"/>
                  <a:gd name="connsiteY140" fmla="*/ 300617 h 436985"/>
                  <a:gd name="connsiteX141" fmla="*/ 173036 w 262585"/>
                  <a:gd name="connsiteY141" fmla="*/ 298799 h 436985"/>
                  <a:gd name="connsiteX142" fmla="*/ 174401 w 262585"/>
                  <a:gd name="connsiteY142" fmla="*/ 293344 h 436985"/>
                  <a:gd name="connsiteX143" fmla="*/ 176067 w 262585"/>
                  <a:gd name="connsiteY143" fmla="*/ 289708 h 436985"/>
                  <a:gd name="connsiteX144" fmla="*/ 178492 w 262585"/>
                  <a:gd name="connsiteY144" fmla="*/ 286374 h 436985"/>
                  <a:gd name="connsiteX145" fmla="*/ 179401 w 262585"/>
                  <a:gd name="connsiteY145" fmla="*/ 284253 h 436985"/>
                  <a:gd name="connsiteX146" fmla="*/ 180462 w 262585"/>
                  <a:gd name="connsiteY146" fmla="*/ 280919 h 436985"/>
                  <a:gd name="connsiteX147" fmla="*/ 180310 w 262585"/>
                  <a:gd name="connsiteY147" fmla="*/ 280010 h 436985"/>
                  <a:gd name="connsiteX148" fmla="*/ 178946 w 262585"/>
                  <a:gd name="connsiteY148" fmla="*/ 277131 h 436985"/>
                  <a:gd name="connsiteX149" fmla="*/ 171977 w 262585"/>
                  <a:gd name="connsiteY149" fmla="*/ 275162 h 436985"/>
                  <a:gd name="connsiteX150" fmla="*/ 171067 w 262585"/>
                  <a:gd name="connsiteY150" fmla="*/ 275313 h 436985"/>
                  <a:gd name="connsiteX151" fmla="*/ 165612 w 262585"/>
                  <a:gd name="connsiteY151" fmla="*/ 277435 h 436985"/>
                  <a:gd name="connsiteX152" fmla="*/ 164551 w 262585"/>
                  <a:gd name="connsiteY152" fmla="*/ 278192 h 436985"/>
                  <a:gd name="connsiteX153" fmla="*/ 164249 w 262585"/>
                  <a:gd name="connsiteY153" fmla="*/ 279556 h 436985"/>
                  <a:gd name="connsiteX154" fmla="*/ 164249 w 262585"/>
                  <a:gd name="connsiteY154" fmla="*/ 281525 h 436985"/>
                  <a:gd name="connsiteX155" fmla="*/ 163946 w 262585"/>
                  <a:gd name="connsiteY155" fmla="*/ 283344 h 436985"/>
                  <a:gd name="connsiteX156" fmla="*/ 162581 w 262585"/>
                  <a:gd name="connsiteY156" fmla="*/ 285920 h 436985"/>
                  <a:gd name="connsiteX157" fmla="*/ 161218 w 262585"/>
                  <a:gd name="connsiteY157" fmla="*/ 287283 h 436985"/>
                  <a:gd name="connsiteX158" fmla="*/ 160158 w 262585"/>
                  <a:gd name="connsiteY158" fmla="*/ 288647 h 436985"/>
                  <a:gd name="connsiteX159" fmla="*/ 161067 w 262585"/>
                  <a:gd name="connsiteY159" fmla="*/ 291677 h 436985"/>
                  <a:gd name="connsiteX160" fmla="*/ 161522 w 262585"/>
                  <a:gd name="connsiteY160" fmla="*/ 294708 h 436985"/>
                  <a:gd name="connsiteX161" fmla="*/ 161522 w 262585"/>
                  <a:gd name="connsiteY161" fmla="*/ 299102 h 436985"/>
                  <a:gd name="connsiteX162" fmla="*/ 161218 w 262585"/>
                  <a:gd name="connsiteY162" fmla="*/ 300163 h 436985"/>
                  <a:gd name="connsiteX163" fmla="*/ 157279 w 262585"/>
                  <a:gd name="connsiteY163" fmla="*/ 302890 h 436985"/>
                  <a:gd name="connsiteX164" fmla="*/ 155460 w 262585"/>
                  <a:gd name="connsiteY164" fmla="*/ 303193 h 436985"/>
                  <a:gd name="connsiteX165" fmla="*/ 151976 w 262585"/>
                  <a:gd name="connsiteY165" fmla="*/ 303193 h 436985"/>
                  <a:gd name="connsiteX166" fmla="*/ 150612 w 262585"/>
                  <a:gd name="connsiteY166" fmla="*/ 303648 h 436985"/>
                  <a:gd name="connsiteX167" fmla="*/ 149399 w 262585"/>
                  <a:gd name="connsiteY167" fmla="*/ 305466 h 436985"/>
                  <a:gd name="connsiteX168" fmla="*/ 148642 w 262585"/>
                  <a:gd name="connsiteY168" fmla="*/ 307436 h 436985"/>
                  <a:gd name="connsiteX169" fmla="*/ 148945 w 262585"/>
                  <a:gd name="connsiteY169" fmla="*/ 310921 h 436985"/>
                  <a:gd name="connsiteX170" fmla="*/ 153037 w 262585"/>
                  <a:gd name="connsiteY170" fmla="*/ 316375 h 436985"/>
                  <a:gd name="connsiteX171" fmla="*/ 214402 w 262585"/>
                  <a:gd name="connsiteY171" fmla="*/ 259252 h 436985"/>
                  <a:gd name="connsiteX172" fmla="*/ 215160 w 262585"/>
                  <a:gd name="connsiteY172" fmla="*/ 259707 h 436985"/>
                  <a:gd name="connsiteX173" fmla="*/ 215614 w 262585"/>
                  <a:gd name="connsiteY173" fmla="*/ 258343 h 436985"/>
                  <a:gd name="connsiteX174" fmla="*/ 214705 w 262585"/>
                  <a:gd name="connsiteY174" fmla="*/ 257434 h 436985"/>
                  <a:gd name="connsiteX175" fmla="*/ 213796 w 262585"/>
                  <a:gd name="connsiteY175" fmla="*/ 255919 h 436985"/>
                  <a:gd name="connsiteX176" fmla="*/ 212281 w 262585"/>
                  <a:gd name="connsiteY176" fmla="*/ 255009 h 436985"/>
                  <a:gd name="connsiteX177" fmla="*/ 212584 w 262585"/>
                  <a:gd name="connsiteY177" fmla="*/ 256525 h 436985"/>
                  <a:gd name="connsiteX178" fmla="*/ 213645 w 262585"/>
                  <a:gd name="connsiteY178" fmla="*/ 258646 h 436985"/>
                  <a:gd name="connsiteX179" fmla="*/ 214402 w 262585"/>
                  <a:gd name="connsiteY179" fmla="*/ 259252 h 436985"/>
                  <a:gd name="connsiteX180" fmla="*/ 140460 w 262585"/>
                  <a:gd name="connsiteY180" fmla="*/ 229099 h 436985"/>
                  <a:gd name="connsiteX181" fmla="*/ 137733 w 262585"/>
                  <a:gd name="connsiteY181" fmla="*/ 230463 h 436985"/>
                  <a:gd name="connsiteX182" fmla="*/ 137429 w 262585"/>
                  <a:gd name="connsiteY182" fmla="*/ 235009 h 436985"/>
                  <a:gd name="connsiteX183" fmla="*/ 136065 w 262585"/>
                  <a:gd name="connsiteY183" fmla="*/ 236372 h 436985"/>
                  <a:gd name="connsiteX184" fmla="*/ 135611 w 262585"/>
                  <a:gd name="connsiteY184" fmla="*/ 237888 h 436985"/>
                  <a:gd name="connsiteX185" fmla="*/ 135915 w 262585"/>
                  <a:gd name="connsiteY185" fmla="*/ 238948 h 436985"/>
                  <a:gd name="connsiteX186" fmla="*/ 137126 w 262585"/>
                  <a:gd name="connsiteY186" fmla="*/ 240160 h 436985"/>
                  <a:gd name="connsiteX187" fmla="*/ 136520 w 262585"/>
                  <a:gd name="connsiteY187" fmla="*/ 241676 h 436985"/>
                  <a:gd name="connsiteX188" fmla="*/ 138035 w 262585"/>
                  <a:gd name="connsiteY188" fmla="*/ 244100 h 436985"/>
                  <a:gd name="connsiteX189" fmla="*/ 140157 w 262585"/>
                  <a:gd name="connsiteY189" fmla="*/ 237281 h 436985"/>
                  <a:gd name="connsiteX190" fmla="*/ 141217 w 262585"/>
                  <a:gd name="connsiteY190" fmla="*/ 232281 h 436985"/>
                  <a:gd name="connsiteX191" fmla="*/ 141217 w 262585"/>
                  <a:gd name="connsiteY191" fmla="*/ 230160 h 436985"/>
                  <a:gd name="connsiteX192" fmla="*/ 141672 w 262585"/>
                  <a:gd name="connsiteY192" fmla="*/ 229099 h 436985"/>
                  <a:gd name="connsiteX193" fmla="*/ 140460 w 262585"/>
                  <a:gd name="connsiteY193" fmla="*/ 229099 h 436985"/>
                  <a:gd name="connsiteX194" fmla="*/ 201220 w 262585"/>
                  <a:gd name="connsiteY194" fmla="*/ 235918 h 436985"/>
                  <a:gd name="connsiteX195" fmla="*/ 202887 w 262585"/>
                  <a:gd name="connsiteY195" fmla="*/ 240312 h 436985"/>
                  <a:gd name="connsiteX196" fmla="*/ 204553 w 262585"/>
                  <a:gd name="connsiteY196" fmla="*/ 242888 h 436985"/>
                  <a:gd name="connsiteX197" fmla="*/ 206826 w 262585"/>
                  <a:gd name="connsiteY197" fmla="*/ 244857 h 436985"/>
                  <a:gd name="connsiteX198" fmla="*/ 208038 w 262585"/>
                  <a:gd name="connsiteY198" fmla="*/ 245464 h 436985"/>
                  <a:gd name="connsiteX199" fmla="*/ 210917 w 262585"/>
                  <a:gd name="connsiteY199" fmla="*/ 246373 h 436985"/>
                  <a:gd name="connsiteX200" fmla="*/ 212887 w 262585"/>
                  <a:gd name="connsiteY200" fmla="*/ 248797 h 436985"/>
                  <a:gd name="connsiteX201" fmla="*/ 214099 w 262585"/>
                  <a:gd name="connsiteY201" fmla="*/ 249858 h 436985"/>
                  <a:gd name="connsiteX202" fmla="*/ 214856 w 262585"/>
                  <a:gd name="connsiteY202" fmla="*/ 251070 h 436985"/>
                  <a:gd name="connsiteX203" fmla="*/ 216523 w 262585"/>
                  <a:gd name="connsiteY203" fmla="*/ 253191 h 436985"/>
                  <a:gd name="connsiteX204" fmla="*/ 217887 w 262585"/>
                  <a:gd name="connsiteY204" fmla="*/ 253797 h 436985"/>
                  <a:gd name="connsiteX205" fmla="*/ 219553 w 262585"/>
                  <a:gd name="connsiteY205" fmla="*/ 253494 h 436985"/>
                  <a:gd name="connsiteX206" fmla="*/ 219705 w 262585"/>
                  <a:gd name="connsiteY206" fmla="*/ 255161 h 436985"/>
                  <a:gd name="connsiteX207" fmla="*/ 219251 w 262585"/>
                  <a:gd name="connsiteY207" fmla="*/ 256979 h 436985"/>
                  <a:gd name="connsiteX208" fmla="*/ 217584 w 262585"/>
                  <a:gd name="connsiteY208" fmla="*/ 259252 h 436985"/>
                  <a:gd name="connsiteX209" fmla="*/ 218342 w 262585"/>
                  <a:gd name="connsiteY209" fmla="*/ 261373 h 436985"/>
                  <a:gd name="connsiteX210" fmla="*/ 220766 w 262585"/>
                  <a:gd name="connsiteY210" fmla="*/ 265161 h 436985"/>
                  <a:gd name="connsiteX211" fmla="*/ 222281 w 262585"/>
                  <a:gd name="connsiteY211" fmla="*/ 266676 h 436985"/>
                  <a:gd name="connsiteX212" fmla="*/ 224099 w 262585"/>
                  <a:gd name="connsiteY212" fmla="*/ 267283 h 436985"/>
                  <a:gd name="connsiteX213" fmla="*/ 226220 w 262585"/>
                  <a:gd name="connsiteY213" fmla="*/ 270616 h 436985"/>
                  <a:gd name="connsiteX214" fmla="*/ 228342 w 262585"/>
                  <a:gd name="connsiteY214" fmla="*/ 270768 h 436985"/>
                  <a:gd name="connsiteX215" fmla="*/ 231675 w 262585"/>
                  <a:gd name="connsiteY215" fmla="*/ 271525 h 436985"/>
                  <a:gd name="connsiteX216" fmla="*/ 236979 w 262585"/>
                  <a:gd name="connsiteY216" fmla="*/ 270919 h 436985"/>
                  <a:gd name="connsiteX217" fmla="*/ 238191 w 262585"/>
                  <a:gd name="connsiteY217" fmla="*/ 271222 h 436985"/>
                  <a:gd name="connsiteX218" fmla="*/ 239858 w 262585"/>
                  <a:gd name="connsiteY218" fmla="*/ 273192 h 436985"/>
                  <a:gd name="connsiteX219" fmla="*/ 240161 w 262585"/>
                  <a:gd name="connsiteY219" fmla="*/ 272586 h 436985"/>
                  <a:gd name="connsiteX220" fmla="*/ 238949 w 262585"/>
                  <a:gd name="connsiteY220" fmla="*/ 270010 h 436985"/>
                  <a:gd name="connsiteX221" fmla="*/ 236827 w 262585"/>
                  <a:gd name="connsiteY221" fmla="*/ 268040 h 436985"/>
                  <a:gd name="connsiteX222" fmla="*/ 235312 w 262585"/>
                  <a:gd name="connsiteY222" fmla="*/ 267889 h 436985"/>
                  <a:gd name="connsiteX223" fmla="*/ 235615 w 262585"/>
                  <a:gd name="connsiteY223" fmla="*/ 266828 h 436985"/>
                  <a:gd name="connsiteX224" fmla="*/ 236373 w 262585"/>
                  <a:gd name="connsiteY224" fmla="*/ 265616 h 436985"/>
                  <a:gd name="connsiteX225" fmla="*/ 235918 w 262585"/>
                  <a:gd name="connsiteY225" fmla="*/ 264101 h 436985"/>
                  <a:gd name="connsiteX226" fmla="*/ 233494 w 262585"/>
                  <a:gd name="connsiteY226" fmla="*/ 259555 h 436985"/>
                  <a:gd name="connsiteX227" fmla="*/ 233039 w 262585"/>
                  <a:gd name="connsiteY227" fmla="*/ 258191 h 436985"/>
                  <a:gd name="connsiteX228" fmla="*/ 233191 w 262585"/>
                  <a:gd name="connsiteY228" fmla="*/ 256525 h 436985"/>
                  <a:gd name="connsiteX229" fmla="*/ 233039 w 262585"/>
                  <a:gd name="connsiteY229" fmla="*/ 254858 h 436985"/>
                  <a:gd name="connsiteX230" fmla="*/ 232130 w 262585"/>
                  <a:gd name="connsiteY230" fmla="*/ 253191 h 436985"/>
                  <a:gd name="connsiteX231" fmla="*/ 231978 w 262585"/>
                  <a:gd name="connsiteY231" fmla="*/ 248191 h 436985"/>
                  <a:gd name="connsiteX232" fmla="*/ 233494 w 262585"/>
                  <a:gd name="connsiteY232" fmla="*/ 245312 h 436985"/>
                  <a:gd name="connsiteX233" fmla="*/ 233191 w 262585"/>
                  <a:gd name="connsiteY233" fmla="*/ 243039 h 436985"/>
                  <a:gd name="connsiteX234" fmla="*/ 234100 w 262585"/>
                  <a:gd name="connsiteY234" fmla="*/ 241524 h 436985"/>
                  <a:gd name="connsiteX235" fmla="*/ 232585 w 262585"/>
                  <a:gd name="connsiteY235" fmla="*/ 239857 h 436985"/>
                  <a:gd name="connsiteX236" fmla="*/ 230615 w 262585"/>
                  <a:gd name="connsiteY236" fmla="*/ 238948 h 436985"/>
                  <a:gd name="connsiteX237" fmla="*/ 229099 w 262585"/>
                  <a:gd name="connsiteY237" fmla="*/ 238797 h 436985"/>
                  <a:gd name="connsiteX238" fmla="*/ 228190 w 262585"/>
                  <a:gd name="connsiteY238" fmla="*/ 238039 h 436985"/>
                  <a:gd name="connsiteX239" fmla="*/ 228342 w 262585"/>
                  <a:gd name="connsiteY239" fmla="*/ 236221 h 436985"/>
                  <a:gd name="connsiteX240" fmla="*/ 227887 w 262585"/>
                  <a:gd name="connsiteY240" fmla="*/ 234554 h 436985"/>
                  <a:gd name="connsiteX241" fmla="*/ 225918 w 262585"/>
                  <a:gd name="connsiteY241" fmla="*/ 232281 h 436985"/>
                  <a:gd name="connsiteX242" fmla="*/ 223493 w 262585"/>
                  <a:gd name="connsiteY242" fmla="*/ 231069 h 436985"/>
                  <a:gd name="connsiteX243" fmla="*/ 215008 w 262585"/>
                  <a:gd name="connsiteY243" fmla="*/ 232130 h 436985"/>
                  <a:gd name="connsiteX244" fmla="*/ 207432 w 262585"/>
                  <a:gd name="connsiteY244" fmla="*/ 232433 h 436985"/>
                  <a:gd name="connsiteX245" fmla="*/ 200008 w 262585"/>
                  <a:gd name="connsiteY245" fmla="*/ 231221 h 436985"/>
                  <a:gd name="connsiteX246" fmla="*/ 201220 w 262585"/>
                  <a:gd name="connsiteY246" fmla="*/ 235918 h 436985"/>
                  <a:gd name="connsiteX247" fmla="*/ 237282 w 262585"/>
                  <a:gd name="connsiteY247" fmla="*/ 295314 h 436985"/>
                  <a:gd name="connsiteX248" fmla="*/ 238342 w 262585"/>
                  <a:gd name="connsiteY248" fmla="*/ 291223 h 436985"/>
                  <a:gd name="connsiteX249" fmla="*/ 237888 w 262585"/>
                  <a:gd name="connsiteY249" fmla="*/ 289859 h 436985"/>
                  <a:gd name="connsiteX250" fmla="*/ 237433 w 262585"/>
                  <a:gd name="connsiteY250" fmla="*/ 290011 h 436985"/>
                  <a:gd name="connsiteX251" fmla="*/ 236221 w 262585"/>
                  <a:gd name="connsiteY251" fmla="*/ 291526 h 436985"/>
                  <a:gd name="connsiteX252" fmla="*/ 235463 w 262585"/>
                  <a:gd name="connsiteY252" fmla="*/ 291980 h 436985"/>
                  <a:gd name="connsiteX253" fmla="*/ 233948 w 262585"/>
                  <a:gd name="connsiteY253" fmla="*/ 293496 h 436985"/>
                  <a:gd name="connsiteX254" fmla="*/ 233948 w 262585"/>
                  <a:gd name="connsiteY254" fmla="*/ 296678 h 436985"/>
                  <a:gd name="connsiteX255" fmla="*/ 233191 w 262585"/>
                  <a:gd name="connsiteY255" fmla="*/ 298647 h 436985"/>
                  <a:gd name="connsiteX256" fmla="*/ 234251 w 262585"/>
                  <a:gd name="connsiteY256" fmla="*/ 299405 h 436985"/>
                  <a:gd name="connsiteX257" fmla="*/ 235766 w 262585"/>
                  <a:gd name="connsiteY257" fmla="*/ 301981 h 436985"/>
                  <a:gd name="connsiteX258" fmla="*/ 237282 w 262585"/>
                  <a:gd name="connsiteY258" fmla="*/ 303496 h 436985"/>
                  <a:gd name="connsiteX259" fmla="*/ 237888 w 262585"/>
                  <a:gd name="connsiteY259" fmla="*/ 305011 h 436985"/>
                  <a:gd name="connsiteX260" fmla="*/ 238342 w 262585"/>
                  <a:gd name="connsiteY260" fmla="*/ 304254 h 436985"/>
                  <a:gd name="connsiteX261" fmla="*/ 238342 w 262585"/>
                  <a:gd name="connsiteY261" fmla="*/ 303648 h 436985"/>
                  <a:gd name="connsiteX262" fmla="*/ 238191 w 262585"/>
                  <a:gd name="connsiteY262" fmla="*/ 303041 h 436985"/>
                  <a:gd name="connsiteX263" fmla="*/ 238645 w 262585"/>
                  <a:gd name="connsiteY263" fmla="*/ 300011 h 436985"/>
                  <a:gd name="connsiteX264" fmla="*/ 237282 w 262585"/>
                  <a:gd name="connsiteY264" fmla="*/ 295314 h 436985"/>
                  <a:gd name="connsiteX265" fmla="*/ 222584 w 262585"/>
                  <a:gd name="connsiteY265" fmla="*/ 296072 h 436985"/>
                  <a:gd name="connsiteX266" fmla="*/ 223645 w 262585"/>
                  <a:gd name="connsiteY266" fmla="*/ 296829 h 436985"/>
                  <a:gd name="connsiteX267" fmla="*/ 223645 w 262585"/>
                  <a:gd name="connsiteY267" fmla="*/ 295617 h 436985"/>
                  <a:gd name="connsiteX268" fmla="*/ 223948 w 262585"/>
                  <a:gd name="connsiteY268" fmla="*/ 294556 h 436985"/>
                  <a:gd name="connsiteX269" fmla="*/ 226827 w 262585"/>
                  <a:gd name="connsiteY269" fmla="*/ 294859 h 436985"/>
                  <a:gd name="connsiteX270" fmla="*/ 227281 w 262585"/>
                  <a:gd name="connsiteY270" fmla="*/ 293647 h 436985"/>
                  <a:gd name="connsiteX271" fmla="*/ 226978 w 262585"/>
                  <a:gd name="connsiteY271" fmla="*/ 292435 h 436985"/>
                  <a:gd name="connsiteX272" fmla="*/ 225311 w 262585"/>
                  <a:gd name="connsiteY272" fmla="*/ 289405 h 436985"/>
                  <a:gd name="connsiteX273" fmla="*/ 225009 w 262585"/>
                  <a:gd name="connsiteY273" fmla="*/ 285920 h 436985"/>
                  <a:gd name="connsiteX274" fmla="*/ 224402 w 262585"/>
                  <a:gd name="connsiteY274" fmla="*/ 284404 h 436985"/>
                  <a:gd name="connsiteX275" fmla="*/ 223341 w 262585"/>
                  <a:gd name="connsiteY275" fmla="*/ 283041 h 436985"/>
                  <a:gd name="connsiteX276" fmla="*/ 222130 w 262585"/>
                  <a:gd name="connsiteY276" fmla="*/ 281980 h 436985"/>
                  <a:gd name="connsiteX277" fmla="*/ 220766 w 262585"/>
                  <a:gd name="connsiteY277" fmla="*/ 281223 h 436985"/>
                  <a:gd name="connsiteX278" fmla="*/ 220160 w 262585"/>
                  <a:gd name="connsiteY278" fmla="*/ 280313 h 436985"/>
                  <a:gd name="connsiteX279" fmla="*/ 220918 w 262585"/>
                  <a:gd name="connsiteY279" fmla="*/ 275768 h 436985"/>
                  <a:gd name="connsiteX280" fmla="*/ 221069 w 262585"/>
                  <a:gd name="connsiteY280" fmla="*/ 270768 h 436985"/>
                  <a:gd name="connsiteX281" fmla="*/ 220614 w 262585"/>
                  <a:gd name="connsiteY281" fmla="*/ 268646 h 436985"/>
                  <a:gd name="connsiteX282" fmla="*/ 219705 w 262585"/>
                  <a:gd name="connsiteY282" fmla="*/ 267434 h 436985"/>
                  <a:gd name="connsiteX283" fmla="*/ 217887 w 262585"/>
                  <a:gd name="connsiteY283" fmla="*/ 264252 h 436985"/>
                  <a:gd name="connsiteX284" fmla="*/ 214856 w 262585"/>
                  <a:gd name="connsiteY284" fmla="*/ 263495 h 436985"/>
                  <a:gd name="connsiteX285" fmla="*/ 212281 w 262585"/>
                  <a:gd name="connsiteY285" fmla="*/ 265616 h 436985"/>
                  <a:gd name="connsiteX286" fmla="*/ 210159 w 262585"/>
                  <a:gd name="connsiteY286" fmla="*/ 266071 h 436985"/>
                  <a:gd name="connsiteX287" fmla="*/ 208189 w 262585"/>
                  <a:gd name="connsiteY287" fmla="*/ 265161 h 436985"/>
                  <a:gd name="connsiteX288" fmla="*/ 207432 w 262585"/>
                  <a:gd name="connsiteY288" fmla="*/ 263798 h 436985"/>
                  <a:gd name="connsiteX289" fmla="*/ 206371 w 262585"/>
                  <a:gd name="connsiteY289" fmla="*/ 263040 h 436985"/>
                  <a:gd name="connsiteX290" fmla="*/ 204250 w 262585"/>
                  <a:gd name="connsiteY290" fmla="*/ 262131 h 436985"/>
                  <a:gd name="connsiteX291" fmla="*/ 202583 w 262585"/>
                  <a:gd name="connsiteY291" fmla="*/ 260464 h 436985"/>
                  <a:gd name="connsiteX292" fmla="*/ 201371 w 262585"/>
                  <a:gd name="connsiteY292" fmla="*/ 259858 h 436985"/>
                  <a:gd name="connsiteX293" fmla="*/ 200765 w 262585"/>
                  <a:gd name="connsiteY293" fmla="*/ 261222 h 436985"/>
                  <a:gd name="connsiteX294" fmla="*/ 201371 w 262585"/>
                  <a:gd name="connsiteY294" fmla="*/ 262888 h 436985"/>
                  <a:gd name="connsiteX295" fmla="*/ 202281 w 262585"/>
                  <a:gd name="connsiteY295" fmla="*/ 264404 h 436985"/>
                  <a:gd name="connsiteX296" fmla="*/ 203492 w 262585"/>
                  <a:gd name="connsiteY296" fmla="*/ 270465 h 436985"/>
                  <a:gd name="connsiteX297" fmla="*/ 204401 w 262585"/>
                  <a:gd name="connsiteY297" fmla="*/ 276677 h 436985"/>
                  <a:gd name="connsiteX298" fmla="*/ 205917 w 262585"/>
                  <a:gd name="connsiteY298" fmla="*/ 277131 h 436985"/>
                  <a:gd name="connsiteX299" fmla="*/ 208947 w 262585"/>
                  <a:gd name="connsiteY299" fmla="*/ 275616 h 436985"/>
                  <a:gd name="connsiteX300" fmla="*/ 210159 w 262585"/>
                  <a:gd name="connsiteY300" fmla="*/ 275616 h 436985"/>
                  <a:gd name="connsiteX301" fmla="*/ 212281 w 262585"/>
                  <a:gd name="connsiteY301" fmla="*/ 277889 h 436985"/>
                  <a:gd name="connsiteX302" fmla="*/ 213645 w 262585"/>
                  <a:gd name="connsiteY302" fmla="*/ 280616 h 436985"/>
                  <a:gd name="connsiteX303" fmla="*/ 213947 w 262585"/>
                  <a:gd name="connsiteY303" fmla="*/ 281980 h 436985"/>
                  <a:gd name="connsiteX304" fmla="*/ 213947 w 262585"/>
                  <a:gd name="connsiteY304" fmla="*/ 283344 h 436985"/>
                  <a:gd name="connsiteX305" fmla="*/ 212281 w 262585"/>
                  <a:gd name="connsiteY305" fmla="*/ 290011 h 436985"/>
                  <a:gd name="connsiteX306" fmla="*/ 213645 w 262585"/>
                  <a:gd name="connsiteY306" fmla="*/ 293041 h 436985"/>
                  <a:gd name="connsiteX307" fmla="*/ 213645 w 262585"/>
                  <a:gd name="connsiteY307" fmla="*/ 294556 h 436985"/>
                  <a:gd name="connsiteX308" fmla="*/ 213342 w 262585"/>
                  <a:gd name="connsiteY308" fmla="*/ 297435 h 436985"/>
                  <a:gd name="connsiteX309" fmla="*/ 214251 w 262585"/>
                  <a:gd name="connsiteY309" fmla="*/ 298344 h 436985"/>
                  <a:gd name="connsiteX310" fmla="*/ 217433 w 262585"/>
                  <a:gd name="connsiteY310" fmla="*/ 299405 h 436985"/>
                  <a:gd name="connsiteX311" fmla="*/ 220160 w 262585"/>
                  <a:gd name="connsiteY311" fmla="*/ 301072 h 436985"/>
                  <a:gd name="connsiteX312" fmla="*/ 220008 w 262585"/>
                  <a:gd name="connsiteY312" fmla="*/ 298799 h 436985"/>
                  <a:gd name="connsiteX313" fmla="*/ 219553 w 262585"/>
                  <a:gd name="connsiteY313" fmla="*/ 296526 h 436985"/>
                  <a:gd name="connsiteX314" fmla="*/ 219099 w 262585"/>
                  <a:gd name="connsiteY314" fmla="*/ 291829 h 436985"/>
                  <a:gd name="connsiteX315" fmla="*/ 220614 w 262585"/>
                  <a:gd name="connsiteY315" fmla="*/ 293041 h 436985"/>
                  <a:gd name="connsiteX316" fmla="*/ 222584 w 262585"/>
                  <a:gd name="connsiteY316" fmla="*/ 296072 h 436985"/>
                  <a:gd name="connsiteX317" fmla="*/ 246221 w 262585"/>
                  <a:gd name="connsiteY317" fmla="*/ 313193 h 436985"/>
                  <a:gd name="connsiteX318" fmla="*/ 246827 w 262585"/>
                  <a:gd name="connsiteY318" fmla="*/ 310769 h 436985"/>
                  <a:gd name="connsiteX319" fmla="*/ 246070 w 262585"/>
                  <a:gd name="connsiteY319" fmla="*/ 308799 h 436985"/>
                  <a:gd name="connsiteX320" fmla="*/ 245616 w 262585"/>
                  <a:gd name="connsiteY320" fmla="*/ 309405 h 436985"/>
                  <a:gd name="connsiteX321" fmla="*/ 244858 w 262585"/>
                  <a:gd name="connsiteY321" fmla="*/ 312587 h 436985"/>
                  <a:gd name="connsiteX322" fmla="*/ 245616 w 262585"/>
                  <a:gd name="connsiteY322" fmla="*/ 314103 h 436985"/>
                  <a:gd name="connsiteX323" fmla="*/ 246221 w 262585"/>
                  <a:gd name="connsiteY323" fmla="*/ 313193 h 436985"/>
                  <a:gd name="connsiteX324" fmla="*/ 211675 w 262585"/>
                  <a:gd name="connsiteY324" fmla="*/ 322891 h 436985"/>
                  <a:gd name="connsiteX325" fmla="*/ 210159 w 262585"/>
                  <a:gd name="connsiteY325" fmla="*/ 323345 h 436985"/>
                  <a:gd name="connsiteX326" fmla="*/ 209705 w 262585"/>
                  <a:gd name="connsiteY326" fmla="*/ 324709 h 436985"/>
                  <a:gd name="connsiteX327" fmla="*/ 210463 w 262585"/>
                  <a:gd name="connsiteY327" fmla="*/ 325921 h 436985"/>
                  <a:gd name="connsiteX328" fmla="*/ 213493 w 262585"/>
                  <a:gd name="connsiteY328" fmla="*/ 327285 h 436985"/>
                  <a:gd name="connsiteX329" fmla="*/ 214251 w 262585"/>
                  <a:gd name="connsiteY329" fmla="*/ 325618 h 436985"/>
                  <a:gd name="connsiteX330" fmla="*/ 213796 w 262585"/>
                  <a:gd name="connsiteY330" fmla="*/ 324254 h 436985"/>
                  <a:gd name="connsiteX331" fmla="*/ 212281 w 262585"/>
                  <a:gd name="connsiteY331" fmla="*/ 322739 h 436985"/>
                  <a:gd name="connsiteX332" fmla="*/ 211675 w 262585"/>
                  <a:gd name="connsiteY332" fmla="*/ 322891 h 436985"/>
                  <a:gd name="connsiteX333" fmla="*/ 146066 w 262585"/>
                  <a:gd name="connsiteY333" fmla="*/ 232433 h 436985"/>
                  <a:gd name="connsiteX334" fmla="*/ 145461 w 262585"/>
                  <a:gd name="connsiteY334" fmla="*/ 230766 h 436985"/>
                  <a:gd name="connsiteX335" fmla="*/ 145157 w 262585"/>
                  <a:gd name="connsiteY335" fmla="*/ 230614 h 436985"/>
                  <a:gd name="connsiteX336" fmla="*/ 144400 w 262585"/>
                  <a:gd name="connsiteY336" fmla="*/ 231675 h 436985"/>
                  <a:gd name="connsiteX337" fmla="*/ 144702 w 262585"/>
                  <a:gd name="connsiteY337" fmla="*/ 233191 h 436985"/>
                  <a:gd name="connsiteX338" fmla="*/ 145157 w 262585"/>
                  <a:gd name="connsiteY338" fmla="*/ 233342 h 436985"/>
                  <a:gd name="connsiteX339" fmla="*/ 146066 w 262585"/>
                  <a:gd name="connsiteY339" fmla="*/ 232433 h 436985"/>
                  <a:gd name="connsiteX340" fmla="*/ 248646 w 262585"/>
                  <a:gd name="connsiteY340" fmla="*/ 308496 h 436985"/>
                  <a:gd name="connsiteX341" fmla="*/ 250767 w 262585"/>
                  <a:gd name="connsiteY341" fmla="*/ 308496 h 436985"/>
                  <a:gd name="connsiteX342" fmla="*/ 251676 w 262585"/>
                  <a:gd name="connsiteY342" fmla="*/ 307587 h 436985"/>
                  <a:gd name="connsiteX343" fmla="*/ 250313 w 262585"/>
                  <a:gd name="connsiteY343" fmla="*/ 305769 h 436985"/>
                  <a:gd name="connsiteX344" fmla="*/ 250464 w 262585"/>
                  <a:gd name="connsiteY344" fmla="*/ 305011 h 436985"/>
                  <a:gd name="connsiteX345" fmla="*/ 250464 w 262585"/>
                  <a:gd name="connsiteY345" fmla="*/ 303496 h 436985"/>
                  <a:gd name="connsiteX346" fmla="*/ 248949 w 262585"/>
                  <a:gd name="connsiteY346" fmla="*/ 300314 h 436985"/>
                  <a:gd name="connsiteX347" fmla="*/ 246827 w 262585"/>
                  <a:gd name="connsiteY347" fmla="*/ 303951 h 436985"/>
                  <a:gd name="connsiteX348" fmla="*/ 246676 w 262585"/>
                  <a:gd name="connsiteY348" fmla="*/ 306375 h 436985"/>
                  <a:gd name="connsiteX349" fmla="*/ 248191 w 262585"/>
                  <a:gd name="connsiteY349" fmla="*/ 308496 h 436985"/>
                  <a:gd name="connsiteX350" fmla="*/ 248646 w 262585"/>
                  <a:gd name="connsiteY350" fmla="*/ 308496 h 436985"/>
                  <a:gd name="connsiteX351" fmla="*/ 137429 w 262585"/>
                  <a:gd name="connsiteY351" fmla="*/ 204401 h 436985"/>
                  <a:gd name="connsiteX352" fmla="*/ 136974 w 262585"/>
                  <a:gd name="connsiteY352" fmla="*/ 204705 h 436985"/>
                  <a:gd name="connsiteX353" fmla="*/ 135308 w 262585"/>
                  <a:gd name="connsiteY353" fmla="*/ 204553 h 436985"/>
                  <a:gd name="connsiteX354" fmla="*/ 133945 w 262585"/>
                  <a:gd name="connsiteY354" fmla="*/ 203796 h 436985"/>
                  <a:gd name="connsiteX355" fmla="*/ 132581 w 262585"/>
                  <a:gd name="connsiteY355" fmla="*/ 207735 h 436985"/>
                  <a:gd name="connsiteX356" fmla="*/ 133036 w 262585"/>
                  <a:gd name="connsiteY356" fmla="*/ 210462 h 436985"/>
                  <a:gd name="connsiteX357" fmla="*/ 134247 w 262585"/>
                  <a:gd name="connsiteY357" fmla="*/ 211826 h 436985"/>
                  <a:gd name="connsiteX358" fmla="*/ 137733 w 262585"/>
                  <a:gd name="connsiteY358" fmla="*/ 213947 h 436985"/>
                  <a:gd name="connsiteX359" fmla="*/ 138794 w 262585"/>
                  <a:gd name="connsiteY359" fmla="*/ 213038 h 436985"/>
                  <a:gd name="connsiteX360" fmla="*/ 139096 w 262585"/>
                  <a:gd name="connsiteY360" fmla="*/ 212129 h 436985"/>
                  <a:gd name="connsiteX361" fmla="*/ 140914 w 262585"/>
                  <a:gd name="connsiteY361" fmla="*/ 209402 h 436985"/>
                  <a:gd name="connsiteX362" fmla="*/ 140460 w 262585"/>
                  <a:gd name="connsiteY362" fmla="*/ 207886 h 436985"/>
                  <a:gd name="connsiteX363" fmla="*/ 140612 w 262585"/>
                  <a:gd name="connsiteY363" fmla="*/ 206674 h 436985"/>
                  <a:gd name="connsiteX364" fmla="*/ 137429 w 262585"/>
                  <a:gd name="connsiteY364" fmla="*/ 204401 h 436985"/>
                  <a:gd name="connsiteX365" fmla="*/ 227584 w 262585"/>
                  <a:gd name="connsiteY365" fmla="*/ 303951 h 436985"/>
                  <a:gd name="connsiteX366" fmla="*/ 227433 w 262585"/>
                  <a:gd name="connsiteY366" fmla="*/ 302587 h 436985"/>
                  <a:gd name="connsiteX367" fmla="*/ 226069 w 262585"/>
                  <a:gd name="connsiteY367" fmla="*/ 298950 h 436985"/>
                  <a:gd name="connsiteX368" fmla="*/ 224554 w 262585"/>
                  <a:gd name="connsiteY368" fmla="*/ 298041 h 436985"/>
                  <a:gd name="connsiteX369" fmla="*/ 223341 w 262585"/>
                  <a:gd name="connsiteY369" fmla="*/ 297890 h 436985"/>
                  <a:gd name="connsiteX370" fmla="*/ 224099 w 262585"/>
                  <a:gd name="connsiteY370" fmla="*/ 300466 h 436985"/>
                  <a:gd name="connsiteX371" fmla="*/ 227584 w 262585"/>
                  <a:gd name="connsiteY371" fmla="*/ 303951 h 436985"/>
                  <a:gd name="connsiteX372" fmla="*/ 135915 w 262585"/>
                  <a:gd name="connsiteY372" fmla="*/ 289101 h 436985"/>
                  <a:gd name="connsiteX373" fmla="*/ 136369 w 262585"/>
                  <a:gd name="connsiteY373" fmla="*/ 289859 h 436985"/>
                  <a:gd name="connsiteX374" fmla="*/ 137278 w 262585"/>
                  <a:gd name="connsiteY374" fmla="*/ 289405 h 436985"/>
                  <a:gd name="connsiteX375" fmla="*/ 138944 w 262585"/>
                  <a:gd name="connsiteY375" fmla="*/ 287889 h 436985"/>
                  <a:gd name="connsiteX376" fmla="*/ 140460 w 262585"/>
                  <a:gd name="connsiteY376" fmla="*/ 286223 h 436985"/>
                  <a:gd name="connsiteX377" fmla="*/ 142884 w 262585"/>
                  <a:gd name="connsiteY377" fmla="*/ 284859 h 436985"/>
                  <a:gd name="connsiteX378" fmla="*/ 151824 w 262585"/>
                  <a:gd name="connsiteY378" fmla="*/ 282889 h 436985"/>
                  <a:gd name="connsiteX379" fmla="*/ 155915 w 262585"/>
                  <a:gd name="connsiteY379" fmla="*/ 279859 h 436985"/>
                  <a:gd name="connsiteX380" fmla="*/ 158491 w 262585"/>
                  <a:gd name="connsiteY380" fmla="*/ 279253 h 436985"/>
                  <a:gd name="connsiteX381" fmla="*/ 159097 w 262585"/>
                  <a:gd name="connsiteY381" fmla="*/ 277737 h 436985"/>
                  <a:gd name="connsiteX382" fmla="*/ 159097 w 262585"/>
                  <a:gd name="connsiteY382" fmla="*/ 276071 h 436985"/>
                  <a:gd name="connsiteX383" fmla="*/ 159400 w 262585"/>
                  <a:gd name="connsiteY383" fmla="*/ 274707 h 436985"/>
                  <a:gd name="connsiteX384" fmla="*/ 160613 w 262585"/>
                  <a:gd name="connsiteY384" fmla="*/ 273798 h 436985"/>
                  <a:gd name="connsiteX385" fmla="*/ 163188 w 262585"/>
                  <a:gd name="connsiteY385" fmla="*/ 272889 h 436985"/>
                  <a:gd name="connsiteX386" fmla="*/ 165310 w 262585"/>
                  <a:gd name="connsiteY386" fmla="*/ 271222 h 436985"/>
                  <a:gd name="connsiteX387" fmla="*/ 166976 w 262585"/>
                  <a:gd name="connsiteY387" fmla="*/ 268949 h 436985"/>
                  <a:gd name="connsiteX388" fmla="*/ 168189 w 262585"/>
                  <a:gd name="connsiteY388" fmla="*/ 266525 h 436985"/>
                  <a:gd name="connsiteX389" fmla="*/ 168794 w 262585"/>
                  <a:gd name="connsiteY389" fmla="*/ 264404 h 436985"/>
                  <a:gd name="connsiteX390" fmla="*/ 169098 w 262585"/>
                  <a:gd name="connsiteY390" fmla="*/ 262283 h 436985"/>
                  <a:gd name="connsiteX391" fmla="*/ 169098 w 262585"/>
                  <a:gd name="connsiteY391" fmla="*/ 259707 h 436985"/>
                  <a:gd name="connsiteX392" fmla="*/ 167582 w 262585"/>
                  <a:gd name="connsiteY392" fmla="*/ 259555 h 436985"/>
                  <a:gd name="connsiteX393" fmla="*/ 161824 w 262585"/>
                  <a:gd name="connsiteY393" fmla="*/ 262283 h 436985"/>
                  <a:gd name="connsiteX394" fmla="*/ 161976 w 262585"/>
                  <a:gd name="connsiteY394" fmla="*/ 261070 h 436985"/>
                  <a:gd name="connsiteX395" fmla="*/ 162885 w 262585"/>
                  <a:gd name="connsiteY395" fmla="*/ 259858 h 436985"/>
                  <a:gd name="connsiteX396" fmla="*/ 160309 w 262585"/>
                  <a:gd name="connsiteY396" fmla="*/ 258040 h 436985"/>
                  <a:gd name="connsiteX397" fmla="*/ 157279 w 262585"/>
                  <a:gd name="connsiteY397" fmla="*/ 257737 h 436985"/>
                  <a:gd name="connsiteX398" fmla="*/ 154096 w 262585"/>
                  <a:gd name="connsiteY398" fmla="*/ 258949 h 436985"/>
                  <a:gd name="connsiteX399" fmla="*/ 150915 w 262585"/>
                  <a:gd name="connsiteY399" fmla="*/ 257585 h 436985"/>
                  <a:gd name="connsiteX400" fmla="*/ 148188 w 262585"/>
                  <a:gd name="connsiteY400" fmla="*/ 255161 h 436985"/>
                  <a:gd name="connsiteX401" fmla="*/ 145157 w 262585"/>
                  <a:gd name="connsiteY401" fmla="*/ 253191 h 436985"/>
                  <a:gd name="connsiteX402" fmla="*/ 139551 w 262585"/>
                  <a:gd name="connsiteY402" fmla="*/ 250918 h 436985"/>
                  <a:gd name="connsiteX403" fmla="*/ 138035 w 262585"/>
                  <a:gd name="connsiteY403" fmla="*/ 249858 h 436985"/>
                  <a:gd name="connsiteX404" fmla="*/ 136217 w 262585"/>
                  <a:gd name="connsiteY404" fmla="*/ 249858 h 436985"/>
                  <a:gd name="connsiteX405" fmla="*/ 134854 w 262585"/>
                  <a:gd name="connsiteY405" fmla="*/ 251070 h 436985"/>
                  <a:gd name="connsiteX406" fmla="*/ 134247 w 262585"/>
                  <a:gd name="connsiteY406" fmla="*/ 252888 h 436985"/>
                  <a:gd name="connsiteX407" fmla="*/ 135611 w 262585"/>
                  <a:gd name="connsiteY407" fmla="*/ 253797 h 436985"/>
                  <a:gd name="connsiteX408" fmla="*/ 139096 w 262585"/>
                  <a:gd name="connsiteY408" fmla="*/ 254706 h 436985"/>
                  <a:gd name="connsiteX409" fmla="*/ 140005 w 262585"/>
                  <a:gd name="connsiteY409" fmla="*/ 255919 h 436985"/>
                  <a:gd name="connsiteX410" fmla="*/ 140005 w 262585"/>
                  <a:gd name="connsiteY410" fmla="*/ 256979 h 436985"/>
                  <a:gd name="connsiteX411" fmla="*/ 138794 w 262585"/>
                  <a:gd name="connsiteY411" fmla="*/ 265767 h 436985"/>
                  <a:gd name="connsiteX412" fmla="*/ 138490 w 262585"/>
                  <a:gd name="connsiteY412" fmla="*/ 271980 h 436985"/>
                  <a:gd name="connsiteX413" fmla="*/ 137733 w 262585"/>
                  <a:gd name="connsiteY413" fmla="*/ 275162 h 436985"/>
                  <a:gd name="connsiteX414" fmla="*/ 136217 w 262585"/>
                  <a:gd name="connsiteY414" fmla="*/ 278041 h 436985"/>
                  <a:gd name="connsiteX415" fmla="*/ 135763 w 262585"/>
                  <a:gd name="connsiteY415" fmla="*/ 281223 h 436985"/>
                  <a:gd name="connsiteX416" fmla="*/ 136369 w 262585"/>
                  <a:gd name="connsiteY416" fmla="*/ 282889 h 436985"/>
                  <a:gd name="connsiteX417" fmla="*/ 136520 w 262585"/>
                  <a:gd name="connsiteY417" fmla="*/ 284556 h 436985"/>
                  <a:gd name="connsiteX418" fmla="*/ 135308 w 262585"/>
                  <a:gd name="connsiteY418" fmla="*/ 288496 h 436985"/>
                  <a:gd name="connsiteX419" fmla="*/ 135915 w 262585"/>
                  <a:gd name="connsiteY419" fmla="*/ 289101 h 436985"/>
                  <a:gd name="connsiteX420" fmla="*/ 182886 w 262585"/>
                  <a:gd name="connsiteY420" fmla="*/ 321830 h 436985"/>
                  <a:gd name="connsiteX421" fmla="*/ 182128 w 262585"/>
                  <a:gd name="connsiteY421" fmla="*/ 322133 h 436985"/>
                  <a:gd name="connsiteX422" fmla="*/ 179703 w 262585"/>
                  <a:gd name="connsiteY422" fmla="*/ 323648 h 436985"/>
                  <a:gd name="connsiteX423" fmla="*/ 178492 w 262585"/>
                  <a:gd name="connsiteY423" fmla="*/ 323648 h 436985"/>
                  <a:gd name="connsiteX424" fmla="*/ 178492 w 262585"/>
                  <a:gd name="connsiteY424" fmla="*/ 324254 h 436985"/>
                  <a:gd name="connsiteX425" fmla="*/ 179855 w 262585"/>
                  <a:gd name="connsiteY425" fmla="*/ 325921 h 436985"/>
                  <a:gd name="connsiteX426" fmla="*/ 181825 w 262585"/>
                  <a:gd name="connsiteY426" fmla="*/ 326679 h 436985"/>
                  <a:gd name="connsiteX427" fmla="*/ 184401 w 262585"/>
                  <a:gd name="connsiteY427" fmla="*/ 325921 h 436985"/>
                  <a:gd name="connsiteX428" fmla="*/ 184098 w 262585"/>
                  <a:gd name="connsiteY428" fmla="*/ 323042 h 436985"/>
                  <a:gd name="connsiteX429" fmla="*/ 182886 w 262585"/>
                  <a:gd name="connsiteY429" fmla="*/ 321830 h 436985"/>
                  <a:gd name="connsiteX430" fmla="*/ 188795 w 262585"/>
                  <a:gd name="connsiteY430" fmla="*/ 295011 h 436985"/>
                  <a:gd name="connsiteX431" fmla="*/ 190917 w 262585"/>
                  <a:gd name="connsiteY431" fmla="*/ 293344 h 436985"/>
                  <a:gd name="connsiteX432" fmla="*/ 192432 w 262585"/>
                  <a:gd name="connsiteY432" fmla="*/ 291071 h 436985"/>
                  <a:gd name="connsiteX433" fmla="*/ 193644 w 262585"/>
                  <a:gd name="connsiteY433" fmla="*/ 285920 h 436985"/>
                  <a:gd name="connsiteX434" fmla="*/ 193037 w 262585"/>
                  <a:gd name="connsiteY434" fmla="*/ 280919 h 436985"/>
                  <a:gd name="connsiteX435" fmla="*/ 193795 w 262585"/>
                  <a:gd name="connsiteY435" fmla="*/ 276525 h 436985"/>
                  <a:gd name="connsiteX436" fmla="*/ 193795 w 262585"/>
                  <a:gd name="connsiteY436" fmla="*/ 273647 h 436985"/>
                  <a:gd name="connsiteX437" fmla="*/ 193492 w 262585"/>
                  <a:gd name="connsiteY437" fmla="*/ 272889 h 436985"/>
                  <a:gd name="connsiteX438" fmla="*/ 193341 w 262585"/>
                  <a:gd name="connsiteY438" fmla="*/ 271374 h 436985"/>
                  <a:gd name="connsiteX439" fmla="*/ 193946 w 262585"/>
                  <a:gd name="connsiteY439" fmla="*/ 268343 h 436985"/>
                  <a:gd name="connsiteX440" fmla="*/ 193492 w 262585"/>
                  <a:gd name="connsiteY440" fmla="*/ 266828 h 436985"/>
                  <a:gd name="connsiteX441" fmla="*/ 191522 w 262585"/>
                  <a:gd name="connsiteY441" fmla="*/ 269252 h 436985"/>
                  <a:gd name="connsiteX442" fmla="*/ 191371 w 262585"/>
                  <a:gd name="connsiteY442" fmla="*/ 270616 h 436985"/>
                  <a:gd name="connsiteX443" fmla="*/ 190917 w 262585"/>
                  <a:gd name="connsiteY443" fmla="*/ 272283 h 436985"/>
                  <a:gd name="connsiteX444" fmla="*/ 190158 w 262585"/>
                  <a:gd name="connsiteY444" fmla="*/ 273343 h 436985"/>
                  <a:gd name="connsiteX445" fmla="*/ 190310 w 262585"/>
                  <a:gd name="connsiteY445" fmla="*/ 275465 h 436985"/>
                  <a:gd name="connsiteX446" fmla="*/ 187583 w 262585"/>
                  <a:gd name="connsiteY446" fmla="*/ 281829 h 436985"/>
                  <a:gd name="connsiteX447" fmla="*/ 184704 w 262585"/>
                  <a:gd name="connsiteY447" fmla="*/ 286526 h 436985"/>
                  <a:gd name="connsiteX448" fmla="*/ 184250 w 262585"/>
                  <a:gd name="connsiteY448" fmla="*/ 288950 h 436985"/>
                  <a:gd name="connsiteX449" fmla="*/ 181068 w 262585"/>
                  <a:gd name="connsiteY449" fmla="*/ 293647 h 436985"/>
                  <a:gd name="connsiteX450" fmla="*/ 178946 w 262585"/>
                  <a:gd name="connsiteY450" fmla="*/ 298041 h 436985"/>
                  <a:gd name="connsiteX451" fmla="*/ 175461 w 262585"/>
                  <a:gd name="connsiteY451" fmla="*/ 302738 h 436985"/>
                  <a:gd name="connsiteX452" fmla="*/ 175915 w 262585"/>
                  <a:gd name="connsiteY452" fmla="*/ 304860 h 436985"/>
                  <a:gd name="connsiteX453" fmla="*/ 173795 w 262585"/>
                  <a:gd name="connsiteY453" fmla="*/ 313345 h 436985"/>
                  <a:gd name="connsiteX454" fmla="*/ 173491 w 262585"/>
                  <a:gd name="connsiteY454" fmla="*/ 315769 h 436985"/>
                  <a:gd name="connsiteX455" fmla="*/ 173946 w 262585"/>
                  <a:gd name="connsiteY455" fmla="*/ 317587 h 436985"/>
                  <a:gd name="connsiteX456" fmla="*/ 175006 w 262585"/>
                  <a:gd name="connsiteY456" fmla="*/ 316830 h 436985"/>
                  <a:gd name="connsiteX457" fmla="*/ 178340 w 262585"/>
                  <a:gd name="connsiteY457" fmla="*/ 313042 h 436985"/>
                  <a:gd name="connsiteX458" fmla="*/ 182128 w 262585"/>
                  <a:gd name="connsiteY458" fmla="*/ 303951 h 436985"/>
                  <a:gd name="connsiteX459" fmla="*/ 182431 w 262585"/>
                  <a:gd name="connsiteY459" fmla="*/ 301223 h 436985"/>
                  <a:gd name="connsiteX460" fmla="*/ 183946 w 262585"/>
                  <a:gd name="connsiteY460" fmla="*/ 298193 h 436985"/>
                  <a:gd name="connsiteX461" fmla="*/ 186370 w 262585"/>
                  <a:gd name="connsiteY461" fmla="*/ 295617 h 436985"/>
                  <a:gd name="connsiteX462" fmla="*/ 188795 w 262585"/>
                  <a:gd name="connsiteY462" fmla="*/ 295011 h 436985"/>
                  <a:gd name="connsiteX463" fmla="*/ 82276 w 262585"/>
                  <a:gd name="connsiteY463" fmla="*/ 287283 h 436985"/>
                  <a:gd name="connsiteX464" fmla="*/ 83033 w 262585"/>
                  <a:gd name="connsiteY464" fmla="*/ 286374 h 436985"/>
                  <a:gd name="connsiteX465" fmla="*/ 81367 w 262585"/>
                  <a:gd name="connsiteY465" fmla="*/ 285465 h 436985"/>
                  <a:gd name="connsiteX466" fmla="*/ 78639 w 262585"/>
                  <a:gd name="connsiteY466" fmla="*/ 284556 h 436985"/>
                  <a:gd name="connsiteX467" fmla="*/ 76215 w 262585"/>
                  <a:gd name="connsiteY467" fmla="*/ 286980 h 436985"/>
                  <a:gd name="connsiteX468" fmla="*/ 76973 w 262585"/>
                  <a:gd name="connsiteY468" fmla="*/ 289556 h 436985"/>
                  <a:gd name="connsiteX469" fmla="*/ 80306 w 262585"/>
                  <a:gd name="connsiteY469" fmla="*/ 288647 h 436985"/>
                  <a:gd name="connsiteX470" fmla="*/ 82276 w 262585"/>
                  <a:gd name="connsiteY470" fmla="*/ 287283 h 436985"/>
                  <a:gd name="connsiteX471" fmla="*/ 135156 w 262585"/>
                  <a:gd name="connsiteY471" fmla="*/ 173340 h 436985"/>
                  <a:gd name="connsiteX472" fmla="*/ 135763 w 262585"/>
                  <a:gd name="connsiteY472" fmla="*/ 173643 h 436985"/>
                  <a:gd name="connsiteX473" fmla="*/ 137278 w 262585"/>
                  <a:gd name="connsiteY473" fmla="*/ 173491 h 436985"/>
                  <a:gd name="connsiteX474" fmla="*/ 138187 w 262585"/>
                  <a:gd name="connsiteY474" fmla="*/ 170764 h 436985"/>
                  <a:gd name="connsiteX475" fmla="*/ 136824 w 262585"/>
                  <a:gd name="connsiteY475" fmla="*/ 167128 h 436985"/>
                  <a:gd name="connsiteX476" fmla="*/ 138035 w 262585"/>
                  <a:gd name="connsiteY476" fmla="*/ 165158 h 436985"/>
                  <a:gd name="connsiteX477" fmla="*/ 138490 w 262585"/>
                  <a:gd name="connsiteY477" fmla="*/ 165006 h 436985"/>
                  <a:gd name="connsiteX478" fmla="*/ 139096 w 262585"/>
                  <a:gd name="connsiteY478" fmla="*/ 165006 h 436985"/>
                  <a:gd name="connsiteX479" fmla="*/ 138642 w 262585"/>
                  <a:gd name="connsiteY479" fmla="*/ 164097 h 436985"/>
                  <a:gd name="connsiteX480" fmla="*/ 136974 w 262585"/>
                  <a:gd name="connsiteY480" fmla="*/ 162885 h 436985"/>
                  <a:gd name="connsiteX481" fmla="*/ 133338 w 262585"/>
                  <a:gd name="connsiteY481" fmla="*/ 163188 h 436985"/>
                  <a:gd name="connsiteX482" fmla="*/ 132732 w 262585"/>
                  <a:gd name="connsiteY482" fmla="*/ 165309 h 436985"/>
                  <a:gd name="connsiteX483" fmla="*/ 133945 w 262585"/>
                  <a:gd name="connsiteY483" fmla="*/ 166673 h 436985"/>
                  <a:gd name="connsiteX484" fmla="*/ 134702 w 262585"/>
                  <a:gd name="connsiteY484" fmla="*/ 168794 h 436985"/>
                  <a:gd name="connsiteX485" fmla="*/ 135611 w 262585"/>
                  <a:gd name="connsiteY485" fmla="*/ 169855 h 436985"/>
                  <a:gd name="connsiteX486" fmla="*/ 135915 w 262585"/>
                  <a:gd name="connsiteY486" fmla="*/ 171673 h 436985"/>
                  <a:gd name="connsiteX487" fmla="*/ 135611 w 262585"/>
                  <a:gd name="connsiteY487" fmla="*/ 172279 h 436985"/>
                  <a:gd name="connsiteX488" fmla="*/ 135156 w 262585"/>
                  <a:gd name="connsiteY488" fmla="*/ 173340 h 436985"/>
                  <a:gd name="connsiteX489" fmla="*/ 123186 w 262585"/>
                  <a:gd name="connsiteY489" fmla="*/ 221372 h 436985"/>
                  <a:gd name="connsiteX490" fmla="*/ 123641 w 262585"/>
                  <a:gd name="connsiteY490" fmla="*/ 218948 h 436985"/>
                  <a:gd name="connsiteX491" fmla="*/ 125005 w 262585"/>
                  <a:gd name="connsiteY491" fmla="*/ 216978 h 436985"/>
                  <a:gd name="connsiteX492" fmla="*/ 124551 w 262585"/>
                  <a:gd name="connsiteY492" fmla="*/ 215766 h 436985"/>
                  <a:gd name="connsiteX493" fmla="*/ 122277 w 262585"/>
                  <a:gd name="connsiteY493" fmla="*/ 214250 h 436985"/>
                  <a:gd name="connsiteX494" fmla="*/ 120004 w 262585"/>
                  <a:gd name="connsiteY494" fmla="*/ 212129 h 436985"/>
                  <a:gd name="connsiteX495" fmla="*/ 118034 w 262585"/>
                  <a:gd name="connsiteY495" fmla="*/ 209099 h 436985"/>
                  <a:gd name="connsiteX496" fmla="*/ 115762 w 262585"/>
                  <a:gd name="connsiteY496" fmla="*/ 207432 h 436985"/>
                  <a:gd name="connsiteX497" fmla="*/ 113641 w 262585"/>
                  <a:gd name="connsiteY497" fmla="*/ 208796 h 436985"/>
                  <a:gd name="connsiteX498" fmla="*/ 112428 w 262585"/>
                  <a:gd name="connsiteY498" fmla="*/ 208038 h 436985"/>
                  <a:gd name="connsiteX499" fmla="*/ 110913 w 262585"/>
                  <a:gd name="connsiteY499" fmla="*/ 207584 h 436985"/>
                  <a:gd name="connsiteX500" fmla="*/ 109701 w 262585"/>
                  <a:gd name="connsiteY500" fmla="*/ 206068 h 436985"/>
                  <a:gd name="connsiteX501" fmla="*/ 107883 w 262585"/>
                  <a:gd name="connsiteY501" fmla="*/ 205614 h 436985"/>
                  <a:gd name="connsiteX502" fmla="*/ 103489 w 262585"/>
                  <a:gd name="connsiteY502" fmla="*/ 206371 h 436985"/>
                  <a:gd name="connsiteX503" fmla="*/ 102125 w 262585"/>
                  <a:gd name="connsiteY503" fmla="*/ 206068 h 436985"/>
                  <a:gd name="connsiteX504" fmla="*/ 100762 w 262585"/>
                  <a:gd name="connsiteY504" fmla="*/ 205614 h 436985"/>
                  <a:gd name="connsiteX505" fmla="*/ 95761 w 262585"/>
                  <a:gd name="connsiteY505" fmla="*/ 204856 h 436985"/>
                  <a:gd name="connsiteX506" fmla="*/ 93943 w 262585"/>
                  <a:gd name="connsiteY506" fmla="*/ 205008 h 436985"/>
                  <a:gd name="connsiteX507" fmla="*/ 92579 w 262585"/>
                  <a:gd name="connsiteY507" fmla="*/ 206220 h 436985"/>
                  <a:gd name="connsiteX508" fmla="*/ 92125 w 262585"/>
                  <a:gd name="connsiteY508" fmla="*/ 207886 h 436985"/>
                  <a:gd name="connsiteX509" fmla="*/ 93488 w 262585"/>
                  <a:gd name="connsiteY509" fmla="*/ 208190 h 436985"/>
                  <a:gd name="connsiteX510" fmla="*/ 94852 w 262585"/>
                  <a:gd name="connsiteY510" fmla="*/ 208038 h 436985"/>
                  <a:gd name="connsiteX511" fmla="*/ 95306 w 262585"/>
                  <a:gd name="connsiteY511" fmla="*/ 208341 h 436985"/>
                  <a:gd name="connsiteX512" fmla="*/ 96065 w 262585"/>
                  <a:gd name="connsiteY512" fmla="*/ 210614 h 436985"/>
                  <a:gd name="connsiteX513" fmla="*/ 96822 w 262585"/>
                  <a:gd name="connsiteY513" fmla="*/ 211978 h 436985"/>
                  <a:gd name="connsiteX514" fmla="*/ 98640 w 262585"/>
                  <a:gd name="connsiteY514" fmla="*/ 213341 h 436985"/>
                  <a:gd name="connsiteX515" fmla="*/ 100762 w 262585"/>
                  <a:gd name="connsiteY515" fmla="*/ 214402 h 436985"/>
                  <a:gd name="connsiteX516" fmla="*/ 101519 w 262585"/>
                  <a:gd name="connsiteY516" fmla="*/ 215462 h 436985"/>
                  <a:gd name="connsiteX517" fmla="*/ 103792 w 262585"/>
                  <a:gd name="connsiteY517" fmla="*/ 219857 h 436985"/>
                  <a:gd name="connsiteX518" fmla="*/ 103943 w 262585"/>
                  <a:gd name="connsiteY518" fmla="*/ 223493 h 436985"/>
                  <a:gd name="connsiteX519" fmla="*/ 104095 w 262585"/>
                  <a:gd name="connsiteY519" fmla="*/ 224857 h 436985"/>
                  <a:gd name="connsiteX520" fmla="*/ 104701 w 262585"/>
                  <a:gd name="connsiteY520" fmla="*/ 226069 h 436985"/>
                  <a:gd name="connsiteX521" fmla="*/ 106368 w 262585"/>
                  <a:gd name="connsiteY521" fmla="*/ 227281 h 436985"/>
                  <a:gd name="connsiteX522" fmla="*/ 107580 w 262585"/>
                  <a:gd name="connsiteY522" fmla="*/ 228948 h 436985"/>
                  <a:gd name="connsiteX523" fmla="*/ 108186 w 262585"/>
                  <a:gd name="connsiteY523" fmla="*/ 230766 h 436985"/>
                  <a:gd name="connsiteX524" fmla="*/ 108186 w 262585"/>
                  <a:gd name="connsiteY524" fmla="*/ 232736 h 436985"/>
                  <a:gd name="connsiteX525" fmla="*/ 109247 w 262585"/>
                  <a:gd name="connsiteY525" fmla="*/ 234554 h 436985"/>
                  <a:gd name="connsiteX526" fmla="*/ 111671 w 262585"/>
                  <a:gd name="connsiteY526" fmla="*/ 236979 h 436985"/>
                  <a:gd name="connsiteX527" fmla="*/ 112580 w 262585"/>
                  <a:gd name="connsiteY527" fmla="*/ 237585 h 436985"/>
                  <a:gd name="connsiteX528" fmla="*/ 113186 w 262585"/>
                  <a:gd name="connsiteY528" fmla="*/ 238494 h 436985"/>
                  <a:gd name="connsiteX529" fmla="*/ 113489 w 262585"/>
                  <a:gd name="connsiteY529" fmla="*/ 239857 h 436985"/>
                  <a:gd name="connsiteX530" fmla="*/ 114550 w 262585"/>
                  <a:gd name="connsiteY530" fmla="*/ 240312 h 436985"/>
                  <a:gd name="connsiteX531" fmla="*/ 116823 w 262585"/>
                  <a:gd name="connsiteY531" fmla="*/ 240767 h 436985"/>
                  <a:gd name="connsiteX532" fmla="*/ 118186 w 262585"/>
                  <a:gd name="connsiteY532" fmla="*/ 239100 h 436985"/>
                  <a:gd name="connsiteX533" fmla="*/ 119095 w 262585"/>
                  <a:gd name="connsiteY533" fmla="*/ 238342 h 436985"/>
                  <a:gd name="connsiteX534" fmla="*/ 120004 w 262585"/>
                  <a:gd name="connsiteY534" fmla="*/ 238039 h 436985"/>
                  <a:gd name="connsiteX535" fmla="*/ 121065 w 262585"/>
                  <a:gd name="connsiteY535" fmla="*/ 238342 h 436985"/>
                  <a:gd name="connsiteX536" fmla="*/ 121217 w 262585"/>
                  <a:gd name="connsiteY536" fmla="*/ 236675 h 436985"/>
                  <a:gd name="connsiteX537" fmla="*/ 121672 w 262585"/>
                  <a:gd name="connsiteY537" fmla="*/ 235918 h 436985"/>
                  <a:gd name="connsiteX538" fmla="*/ 121520 w 262585"/>
                  <a:gd name="connsiteY538" fmla="*/ 235009 h 436985"/>
                  <a:gd name="connsiteX539" fmla="*/ 122732 w 262585"/>
                  <a:gd name="connsiteY539" fmla="*/ 232736 h 436985"/>
                  <a:gd name="connsiteX540" fmla="*/ 124399 w 262585"/>
                  <a:gd name="connsiteY540" fmla="*/ 230614 h 436985"/>
                  <a:gd name="connsiteX541" fmla="*/ 125005 w 262585"/>
                  <a:gd name="connsiteY541" fmla="*/ 229099 h 436985"/>
                  <a:gd name="connsiteX542" fmla="*/ 123338 w 262585"/>
                  <a:gd name="connsiteY542" fmla="*/ 223645 h 436985"/>
                  <a:gd name="connsiteX543" fmla="*/ 123186 w 262585"/>
                  <a:gd name="connsiteY543" fmla="*/ 221372 h 436985"/>
                  <a:gd name="connsiteX544" fmla="*/ 143187 w 262585"/>
                  <a:gd name="connsiteY544" fmla="*/ 201523 h 436985"/>
                  <a:gd name="connsiteX545" fmla="*/ 147884 w 262585"/>
                  <a:gd name="connsiteY545" fmla="*/ 205008 h 436985"/>
                  <a:gd name="connsiteX546" fmla="*/ 148642 w 262585"/>
                  <a:gd name="connsiteY546" fmla="*/ 205765 h 436985"/>
                  <a:gd name="connsiteX547" fmla="*/ 151067 w 262585"/>
                  <a:gd name="connsiteY547" fmla="*/ 209402 h 436985"/>
                  <a:gd name="connsiteX548" fmla="*/ 151521 w 262585"/>
                  <a:gd name="connsiteY548" fmla="*/ 210765 h 436985"/>
                  <a:gd name="connsiteX549" fmla="*/ 151521 w 262585"/>
                  <a:gd name="connsiteY549" fmla="*/ 212281 h 436985"/>
                  <a:gd name="connsiteX550" fmla="*/ 153794 w 262585"/>
                  <a:gd name="connsiteY550" fmla="*/ 214099 h 436985"/>
                  <a:gd name="connsiteX551" fmla="*/ 155915 w 262585"/>
                  <a:gd name="connsiteY551" fmla="*/ 212432 h 436985"/>
                  <a:gd name="connsiteX552" fmla="*/ 155764 w 262585"/>
                  <a:gd name="connsiteY552" fmla="*/ 208493 h 436985"/>
                  <a:gd name="connsiteX553" fmla="*/ 154096 w 262585"/>
                  <a:gd name="connsiteY553" fmla="*/ 205159 h 436985"/>
                  <a:gd name="connsiteX554" fmla="*/ 153794 w 262585"/>
                  <a:gd name="connsiteY554" fmla="*/ 203947 h 436985"/>
                  <a:gd name="connsiteX555" fmla="*/ 151369 w 262585"/>
                  <a:gd name="connsiteY555" fmla="*/ 201371 h 436985"/>
                  <a:gd name="connsiteX556" fmla="*/ 151217 w 262585"/>
                  <a:gd name="connsiteY556" fmla="*/ 200159 h 436985"/>
                  <a:gd name="connsiteX557" fmla="*/ 151369 w 262585"/>
                  <a:gd name="connsiteY557" fmla="*/ 198492 h 436985"/>
                  <a:gd name="connsiteX558" fmla="*/ 151067 w 262585"/>
                  <a:gd name="connsiteY558" fmla="*/ 196977 h 436985"/>
                  <a:gd name="connsiteX559" fmla="*/ 150308 w 262585"/>
                  <a:gd name="connsiteY559" fmla="*/ 195159 h 436985"/>
                  <a:gd name="connsiteX560" fmla="*/ 150763 w 262585"/>
                  <a:gd name="connsiteY560" fmla="*/ 193947 h 436985"/>
                  <a:gd name="connsiteX561" fmla="*/ 152278 w 262585"/>
                  <a:gd name="connsiteY561" fmla="*/ 194098 h 436985"/>
                  <a:gd name="connsiteX562" fmla="*/ 153642 w 262585"/>
                  <a:gd name="connsiteY562" fmla="*/ 194553 h 436985"/>
                  <a:gd name="connsiteX563" fmla="*/ 158793 w 262585"/>
                  <a:gd name="connsiteY563" fmla="*/ 199250 h 436985"/>
                  <a:gd name="connsiteX564" fmla="*/ 161067 w 262585"/>
                  <a:gd name="connsiteY564" fmla="*/ 202583 h 436985"/>
                  <a:gd name="connsiteX565" fmla="*/ 161976 w 262585"/>
                  <a:gd name="connsiteY565" fmla="*/ 203341 h 436985"/>
                  <a:gd name="connsiteX566" fmla="*/ 169248 w 262585"/>
                  <a:gd name="connsiteY566" fmla="*/ 207432 h 436985"/>
                  <a:gd name="connsiteX567" fmla="*/ 170007 w 262585"/>
                  <a:gd name="connsiteY567" fmla="*/ 208493 h 436985"/>
                  <a:gd name="connsiteX568" fmla="*/ 170461 w 262585"/>
                  <a:gd name="connsiteY568" fmla="*/ 209856 h 436985"/>
                  <a:gd name="connsiteX569" fmla="*/ 172886 w 262585"/>
                  <a:gd name="connsiteY569" fmla="*/ 213644 h 436985"/>
                  <a:gd name="connsiteX570" fmla="*/ 172734 w 262585"/>
                  <a:gd name="connsiteY570" fmla="*/ 216826 h 436985"/>
                  <a:gd name="connsiteX571" fmla="*/ 173340 w 262585"/>
                  <a:gd name="connsiteY571" fmla="*/ 218341 h 436985"/>
                  <a:gd name="connsiteX572" fmla="*/ 175915 w 262585"/>
                  <a:gd name="connsiteY572" fmla="*/ 218644 h 436985"/>
                  <a:gd name="connsiteX573" fmla="*/ 182128 w 262585"/>
                  <a:gd name="connsiteY573" fmla="*/ 221978 h 436985"/>
                  <a:gd name="connsiteX574" fmla="*/ 185159 w 262585"/>
                  <a:gd name="connsiteY574" fmla="*/ 222432 h 436985"/>
                  <a:gd name="connsiteX575" fmla="*/ 186977 w 262585"/>
                  <a:gd name="connsiteY575" fmla="*/ 222129 h 436985"/>
                  <a:gd name="connsiteX576" fmla="*/ 188644 w 262585"/>
                  <a:gd name="connsiteY576" fmla="*/ 221372 h 436985"/>
                  <a:gd name="connsiteX577" fmla="*/ 190158 w 262585"/>
                  <a:gd name="connsiteY577" fmla="*/ 221069 h 436985"/>
                  <a:gd name="connsiteX578" fmla="*/ 191067 w 262585"/>
                  <a:gd name="connsiteY578" fmla="*/ 221675 h 436985"/>
                  <a:gd name="connsiteX579" fmla="*/ 189553 w 262585"/>
                  <a:gd name="connsiteY579" fmla="*/ 224705 h 436985"/>
                  <a:gd name="connsiteX580" fmla="*/ 189098 w 262585"/>
                  <a:gd name="connsiteY580" fmla="*/ 227887 h 436985"/>
                  <a:gd name="connsiteX581" fmla="*/ 191371 w 262585"/>
                  <a:gd name="connsiteY581" fmla="*/ 230463 h 436985"/>
                  <a:gd name="connsiteX582" fmla="*/ 194098 w 262585"/>
                  <a:gd name="connsiteY582" fmla="*/ 231221 h 436985"/>
                  <a:gd name="connsiteX583" fmla="*/ 196220 w 262585"/>
                  <a:gd name="connsiteY583" fmla="*/ 225008 h 436985"/>
                  <a:gd name="connsiteX584" fmla="*/ 196371 w 262585"/>
                  <a:gd name="connsiteY584" fmla="*/ 218190 h 436985"/>
                  <a:gd name="connsiteX585" fmla="*/ 195311 w 262585"/>
                  <a:gd name="connsiteY585" fmla="*/ 218493 h 436985"/>
                  <a:gd name="connsiteX586" fmla="*/ 194401 w 262585"/>
                  <a:gd name="connsiteY586" fmla="*/ 218341 h 436985"/>
                  <a:gd name="connsiteX587" fmla="*/ 191219 w 262585"/>
                  <a:gd name="connsiteY587" fmla="*/ 216523 h 436985"/>
                  <a:gd name="connsiteX588" fmla="*/ 188947 w 262585"/>
                  <a:gd name="connsiteY588" fmla="*/ 216069 h 436985"/>
                  <a:gd name="connsiteX589" fmla="*/ 186522 w 262585"/>
                  <a:gd name="connsiteY589" fmla="*/ 216220 h 436985"/>
                  <a:gd name="connsiteX590" fmla="*/ 187431 w 262585"/>
                  <a:gd name="connsiteY590" fmla="*/ 213947 h 436985"/>
                  <a:gd name="connsiteX591" fmla="*/ 187431 w 262585"/>
                  <a:gd name="connsiteY591" fmla="*/ 211826 h 436985"/>
                  <a:gd name="connsiteX592" fmla="*/ 185916 w 262585"/>
                  <a:gd name="connsiteY592" fmla="*/ 209553 h 436985"/>
                  <a:gd name="connsiteX593" fmla="*/ 184250 w 262585"/>
                  <a:gd name="connsiteY593" fmla="*/ 207432 h 436985"/>
                  <a:gd name="connsiteX594" fmla="*/ 181673 w 262585"/>
                  <a:gd name="connsiteY594" fmla="*/ 204705 h 436985"/>
                  <a:gd name="connsiteX595" fmla="*/ 180007 w 262585"/>
                  <a:gd name="connsiteY595" fmla="*/ 201371 h 436985"/>
                  <a:gd name="connsiteX596" fmla="*/ 181522 w 262585"/>
                  <a:gd name="connsiteY596" fmla="*/ 199704 h 436985"/>
                  <a:gd name="connsiteX597" fmla="*/ 186977 w 262585"/>
                  <a:gd name="connsiteY597" fmla="*/ 199250 h 436985"/>
                  <a:gd name="connsiteX598" fmla="*/ 188340 w 262585"/>
                  <a:gd name="connsiteY598" fmla="*/ 197129 h 436985"/>
                  <a:gd name="connsiteX599" fmla="*/ 187129 w 262585"/>
                  <a:gd name="connsiteY599" fmla="*/ 196068 h 436985"/>
                  <a:gd name="connsiteX600" fmla="*/ 184704 w 262585"/>
                  <a:gd name="connsiteY600" fmla="*/ 194704 h 436985"/>
                  <a:gd name="connsiteX601" fmla="*/ 183491 w 262585"/>
                  <a:gd name="connsiteY601" fmla="*/ 194401 h 436985"/>
                  <a:gd name="connsiteX602" fmla="*/ 182128 w 262585"/>
                  <a:gd name="connsiteY602" fmla="*/ 194401 h 436985"/>
                  <a:gd name="connsiteX603" fmla="*/ 176674 w 262585"/>
                  <a:gd name="connsiteY603" fmla="*/ 192583 h 436985"/>
                  <a:gd name="connsiteX604" fmla="*/ 175158 w 262585"/>
                  <a:gd name="connsiteY604" fmla="*/ 190916 h 436985"/>
                  <a:gd name="connsiteX605" fmla="*/ 173643 w 262585"/>
                  <a:gd name="connsiteY605" fmla="*/ 190007 h 436985"/>
                  <a:gd name="connsiteX606" fmla="*/ 172582 w 262585"/>
                  <a:gd name="connsiteY606" fmla="*/ 191068 h 436985"/>
                  <a:gd name="connsiteX607" fmla="*/ 171977 w 262585"/>
                  <a:gd name="connsiteY607" fmla="*/ 192431 h 436985"/>
                  <a:gd name="connsiteX608" fmla="*/ 173188 w 262585"/>
                  <a:gd name="connsiteY608" fmla="*/ 193492 h 436985"/>
                  <a:gd name="connsiteX609" fmla="*/ 172886 w 262585"/>
                  <a:gd name="connsiteY609" fmla="*/ 196219 h 436985"/>
                  <a:gd name="connsiteX610" fmla="*/ 171067 w 262585"/>
                  <a:gd name="connsiteY610" fmla="*/ 198644 h 436985"/>
                  <a:gd name="connsiteX611" fmla="*/ 167582 w 262585"/>
                  <a:gd name="connsiteY611" fmla="*/ 198492 h 436985"/>
                  <a:gd name="connsiteX612" fmla="*/ 166370 w 262585"/>
                  <a:gd name="connsiteY612" fmla="*/ 197432 h 436985"/>
                  <a:gd name="connsiteX613" fmla="*/ 166219 w 262585"/>
                  <a:gd name="connsiteY613" fmla="*/ 195916 h 436985"/>
                  <a:gd name="connsiteX614" fmla="*/ 166521 w 262585"/>
                  <a:gd name="connsiteY614" fmla="*/ 194401 h 436985"/>
                  <a:gd name="connsiteX615" fmla="*/ 166521 w 262585"/>
                  <a:gd name="connsiteY615" fmla="*/ 192886 h 436985"/>
                  <a:gd name="connsiteX616" fmla="*/ 165006 w 262585"/>
                  <a:gd name="connsiteY616" fmla="*/ 189553 h 436985"/>
                  <a:gd name="connsiteX617" fmla="*/ 162733 w 262585"/>
                  <a:gd name="connsiteY617" fmla="*/ 186522 h 436985"/>
                  <a:gd name="connsiteX618" fmla="*/ 160613 w 262585"/>
                  <a:gd name="connsiteY618" fmla="*/ 184855 h 436985"/>
                  <a:gd name="connsiteX619" fmla="*/ 158036 w 262585"/>
                  <a:gd name="connsiteY619" fmla="*/ 183946 h 436985"/>
                  <a:gd name="connsiteX620" fmla="*/ 154400 w 262585"/>
                  <a:gd name="connsiteY620" fmla="*/ 183037 h 436985"/>
                  <a:gd name="connsiteX621" fmla="*/ 150612 w 262585"/>
                  <a:gd name="connsiteY621" fmla="*/ 182886 h 436985"/>
                  <a:gd name="connsiteX622" fmla="*/ 147733 w 262585"/>
                  <a:gd name="connsiteY622" fmla="*/ 184552 h 436985"/>
                  <a:gd name="connsiteX623" fmla="*/ 145005 w 262585"/>
                  <a:gd name="connsiteY623" fmla="*/ 186522 h 436985"/>
                  <a:gd name="connsiteX624" fmla="*/ 143793 w 262585"/>
                  <a:gd name="connsiteY624" fmla="*/ 186977 h 436985"/>
                  <a:gd name="connsiteX625" fmla="*/ 142732 w 262585"/>
                  <a:gd name="connsiteY625" fmla="*/ 187734 h 436985"/>
                  <a:gd name="connsiteX626" fmla="*/ 142884 w 262585"/>
                  <a:gd name="connsiteY626" fmla="*/ 188795 h 436985"/>
                  <a:gd name="connsiteX627" fmla="*/ 144854 w 262585"/>
                  <a:gd name="connsiteY627" fmla="*/ 190613 h 436985"/>
                  <a:gd name="connsiteX628" fmla="*/ 145157 w 262585"/>
                  <a:gd name="connsiteY628" fmla="*/ 191977 h 436985"/>
                  <a:gd name="connsiteX629" fmla="*/ 143491 w 262585"/>
                  <a:gd name="connsiteY629" fmla="*/ 192431 h 436985"/>
                  <a:gd name="connsiteX630" fmla="*/ 143036 w 262585"/>
                  <a:gd name="connsiteY630" fmla="*/ 193795 h 436985"/>
                  <a:gd name="connsiteX631" fmla="*/ 141217 w 262585"/>
                  <a:gd name="connsiteY631" fmla="*/ 193795 h 436985"/>
                  <a:gd name="connsiteX632" fmla="*/ 139399 w 262585"/>
                  <a:gd name="connsiteY632" fmla="*/ 193341 h 436985"/>
                  <a:gd name="connsiteX633" fmla="*/ 134854 w 262585"/>
                  <a:gd name="connsiteY633" fmla="*/ 191371 h 436985"/>
                  <a:gd name="connsiteX634" fmla="*/ 133186 w 262585"/>
                  <a:gd name="connsiteY634" fmla="*/ 190159 h 436985"/>
                  <a:gd name="connsiteX635" fmla="*/ 131672 w 262585"/>
                  <a:gd name="connsiteY635" fmla="*/ 188795 h 436985"/>
                  <a:gd name="connsiteX636" fmla="*/ 130763 w 262585"/>
                  <a:gd name="connsiteY636" fmla="*/ 187280 h 436985"/>
                  <a:gd name="connsiteX637" fmla="*/ 130308 w 262585"/>
                  <a:gd name="connsiteY637" fmla="*/ 185461 h 436985"/>
                  <a:gd name="connsiteX638" fmla="*/ 127429 w 262585"/>
                  <a:gd name="connsiteY638" fmla="*/ 178643 h 436985"/>
                  <a:gd name="connsiteX639" fmla="*/ 126823 w 262585"/>
                  <a:gd name="connsiteY639" fmla="*/ 175916 h 436985"/>
                  <a:gd name="connsiteX640" fmla="*/ 126823 w 262585"/>
                  <a:gd name="connsiteY640" fmla="*/ 173188 h 436985"/>
                  <a:gd name="connsiteX641" fmla="*/ 128641 w 262585"/>
                  <a:gd name="connsiteY641" fmla="*/ 171673 h 436985"/>
                  <a:gd name="connsiteX642" fmla="*/ 128339 w 262585"/>
                  <a:gd name="connsiteY642" fmla="*/ 170916 h 436985"/>
                  <a:gd name="connsiteX643" fmla="*/ 127580 w 262585"/>
                  <a:gd name="connsiteY643" fmla="*/ 170309 h 436985"/>
                  <a:gd name="connsiteX644" fmla="*/ 124399 w 262585"/>
                  <a:gd name="connsiteY644" fmla="*/ 164551 h 436985"/>
                  <a:gd name="connsiteX645" fmla="*/ 121368 w 262585"/>
                  <a:gd name="connsiteY645" fmla="*/ 158491 h 436985"/>
                  <a:gd name="connsiteX646" fmla="*/ 120308 w 262585"/>
                  <a:gd name="connsiteY646" fmla="*/ 157127 h 436985"/>
                  <a:gd name="connsiteX647" fmla="*/ 120156 w 262585"/>
                  <a:gd name="connsiteY647" fmla="*/ 155460 h 436985"/>
                  <a:gd name="connsiteX648" fmla="*/ 120763 w 262585"/>
                  <a:gd name="connsiteY648" fmla="*/ 154097 h 436985"/>
                  <a:gd name="connsiteX649" fmla="*/ 121822 w 262585"/>
                  <a:gd name="connsiteY649" fmla="*/ 152885 h 436985"/>
                  <a:gd name="connsiteX650" fmla="*/ 122883 w 262585"/>
                  <a:gd name="connsiteY650" fmla="*/ 150309 h 436985"/>
                  <a:gd name="connsiteX651" fmla="*/ 125308 w 262585"/>
                  <a:gd name="connsiteY651" fmla="*/ 147127 h 436985"/>
                  <a:gd name="connsiteX652" fmla="*/ 126065 w 262585"/>
                  <a:gd name="connsiteY652" fmla="*/ 145763 h 436985"/>
                  <a:gd name="connsiteX653" fmla="*/ 126065 w 262585"/>
                  <a:gd name="connsiteY653" fmla="*/ 144248 h 436985"/>
                  <a:gd name="connsiteX654" fmla="*/ 125610 w 262585"/>
                  <a:gd name="connsiteY654" fmla="*/ 142733 h 436985"/>
                  <a:gd name="connsiteX655" fmla="*/ 124853 w 262585"/>
                  <a:gd name="connsiteY655" fmla="*/ 141369 h 436985"/>
                  <a:gd name="connsiteX656" fmla="*/ 125762 w 262585"/>
                  <a:gd name="connsiteY656" fmla="*/ 138338 h 436985"/>
                  <a:gd name="connsiteX657" fmla="*/ 128187 w 262585"/>
                  <a:gd name="connsiteY657" fmla="*/ 136066 h 436985"/>
                  <a:gd name="connsiteX658" fmla="*/ 131066 w 262585"/>
                  <a:gd name="connsiteY658" fmla="*/ 134247 h 436985"/>
                  <a:gd name="connsiteX659" fmla="*/ 136217 w 262585"/>
                  <a:gd name="connsiteY659" fmla="*/ 131975 h 436985"/>
                  <a:gd name="connsiteX660" fmla="*/ 140612 w 262585"/>
                  <a:gd name="connsiteY660" fmla="*/ 131217 h 436985"/>
                  <a:gd name="connsiteX661" fmla="*/ 142732 w 262585"/>
                  <a:gd name="connsiteY661" fmla="*/ 126520 h 436985"/>
                  <a:gd name="connsiteX662" fmla="*/ 143036 w 262585"/>
                  <a:gd name="connsiteY662" fmla="*/ 124247 h 436985"/>
                  <a:gd name="connsiteX663" fmla="*/ 148490 w 262585"/>
                  <a:gd name="connsiteY663" fmla="*/ 113489 h 436985"/>
                  <a:gd name="connsiteX664" fmla="*/ 149703 w 262585"/>
                  <a:gd name="connsiteY664" fmla="*/ 108792 h 436985"/>
                  <a:gd name="connsiteX665" fmla="*/ 150612 w 262585"/>
                  <a:gd name="connsiteY665" fmla="*/ 106822 h 436985"/>
                  <a:gd name="connsiteX666" fmla="*/ 151067 w 262585"/>
                  <a:gd name="connsiteY666" fmla="*/ 105004 h 436985"/>
                  <a:gd name="connsiteX667" fmla="*/ 149703 w 262585"/>
                  <a:gd name="connsiteY667" fmla="*/ 104095 h 436985"/>
                  <a:gd name="connsiteX668" fmla="*/ 148794 w 262585"/>
                  <a:gd name="connsiteY668" fmla="*/ 103337 h 436985"/>
                  <a:gd name="connsiteX669" fmla="*/ 148339 w 262585"/>
                  <a:gd name="connsiteY669" fmla="*/ 101670 h 436985"/>
                  <a:gd name="connsiteX670" fmla="*/ 148188 w 262585"/>
                  <a:gd name="connsiteY670" fmla="*/ 99701 h 436985"/>
                  <a:gd name="connsiteX671" fmla="*/ 147429 w 262585"/>
                  <a:gd name="connsiteY671" fmla="*/ 98640 h 436985"/>
                  <a:gd name="connsiteX672" fmla="*/ 144854 w 262585"/>
                  <a:gd name="connsiteY672" fmla="*/ 97276 h 436985"/>
                  <a:gd name="connsiteX673" fmla="*/ 143945 w 262585"/>
                  <a:gd name="connsiteY673" fmla="*/ 96216 h 436985"/>
                  <a:gd name="connsiteX674" fmla="*/ 142278 w 262585"/>
                  <a:gd name="connsiteY674" fmla="*/ 92276 h 436985"/>
                  <a:gd name="connsiteX675" fmla="*/ 141672 w 262585"/>
                  <a:gd name="connsiteY675" fmla="*/ 89852 h 436985"/>
                  <a:gd name="connsiteX676" fmla="*/ 141672 w 262585"/>
                  <a:gd name="connsiteY676" fmla="*/ 87276 h 436985"/>
                  <a:gd name="connsiteX677" fmla="*/ 142430 w 262585"/>
                  <a:gd name="connsiteY677" fmla="*/ 78639 h 436985"/>
                  <a:gd name="connsiteX678" fmla="*/ 143641 w 262585"/>
                  <a:gd name="connsiteY678" fmla="*/ 76063 h 436985"/>
                  <a:gd name="connsiteX679" fmla="*/ 145611 w 262585"/>
                  <a:gd name="connsiteY679" fmla="*/ 73942 h 436985"/>
                  <a:gd name="connsiteX680" fmla="*/ 146218 w 262585"/>
                  <a:gd name="connsiteY680" fmla="*/ 71518 h 436985"/>
                  <a:gd name="connsiteX681" fmla="*/ 145763 w 262585"/>
                  <a:gd name="connsiteY681" fmla="*/ 69245 h 436985"/>
                  <a:gd name="connsiteX682" fmla="*/ 144854 w 262585"/>
                  <a:gd name="connsiteY682" fmla="*/ 67730 h 436985"/>
                  <a:gd name="connsiteX683" fmla="*/ 143641 w 262585"/>
                  <a:gd name="connsiteY683" fmla="*/ 66518 h 436985"/>
                  <a:gd name="connsiteX684" fmla="*/ 141672 w 262585"/>
                  <a:gd name="connsiteY684" fmla="*/ 66972 h 436985"/>
                  <a:gd name="connsiteX685" fmla="*/ 139703 w 262585"/>
                  <a:gd name="connsiteY685" fmla="*/ 70154 h 436985"/>
                  <a:gd name="connsiteX686" fmla="*/ 138642 w 262585"/>
                  <a:gd name="connsiteY686" fmla="*/ 71366 h 436985"/>
                  <a:gd name="connsiteX687" fmla="*/ 136217 w 262585"/>
                  <a:gd name="connsiteY687" fmla="*/ 72579 h 436985"/>
                  <a:gd name="connsiteX688" fmla="*/ 133490 w 262585"/>
                  <a:gd name="connsiteY688" fmla="*/ 72275 h 436985"/>
                  <a:gd name="connsiteX689" fmla="*/ 130005 w 262585"/>
                  <a:gd name="connsiteY689" fmla="*/ 71366 h 436985"/>
                  <a:gd name="connsiteX690" fmla="*/ 126671 w 262585"/>
                  <a:gd name="connsiteY690" fmla="*/ 70003 h 436985"/>
                  <a:gd name="connsiteX691" fmla="*/ 117429 w 262585"/>
                  <a:gd name="connsiteY691" fmla="*/ 64699 h 436985"/>
                  <a:gd name="connsiteX692" fmla="*/ 113186 w 262585"/>
                  <a:gd name="connsiteY692" fmla="*/ 63184 h 436985"/>
                  <a:gd name="connsiteX693" fmla="*/ 111822 w 262585"/>
                  <a:gd name="connsiteY693" fmla="*/ 63184 h 436985"/>
                  <a:gd name="connsiteX694" fmla="*/ 108338 w 262585"/>
                  <a:gd name="connsiteY694" fmla="*/ 63942 h 436985"/>
                  <a:gd name="connsiteX695" fmla="*/ 106822 w 262585"/>
                  <a:gd name="connsiteY695" fmla="*/ 63487 h 436985"/>
                  <a:gd name="connsiteX696" fmla="*/ 105307 w 262585"/>
                  <a:gd name="connsiteY696" fmla="*/ 63336 h 436985"/>
                  <a:gd name="connsiteX697" fmla="*/ 102428 w 262585"/>
                  <a:gd name="connsiteY697" fmla="*/ 65003 h 436985"/>
                  <a:gd name="connsiteX698" fmla="*/ 99398 w 262585"/>
                  <a:gd name="connsiteY698" fmla="*/ 66063 h 436985"/>
                  <a:gd name="connsiteX699" fmla="*/ 98944 w 262585"/>
                  <a:gd name="connsiteY699" fmla="*/ 70003 h 436985"/>
                  <a:gd name="connsiteX700" fmla="*/ 98034 w 262585"/>
                  <a:gd name="connsiteY700" fmla="*/ 72882 h 436985"/>
                  <a:gd name="connsiteX701" fmla="*/ 96822 w 262585"/>
                  <a:gd name="connsiteY701" fmla="*/ 75760 h 436985"/>
                  <a:gd name="connsiteX702" fmla="*/ 92882 w 262585"/>
                  <a:gd name="connsiteY702" fmla="*/ 90458 h 436985"/>
                  <a:gd name="connsiteX703" fmla="*/ 93186 w 262585"/>
                  <a:gd name="connsiteY703" fmla="*/ 93337 h 436985"/>
                  <a:gd name="connsiteX704" fmla="*/ 94549 w 262585"/>
                  <a:gd name="connsiteY704" fmla="*/ 96064 h 436985"/>
                  <a:gd name="connsiteX705" fmla="*/ 94549 w 262585"/>
                  <a:gd name="connsiteY705" fmla="*/ 97731 h 436985"/>
                  <a:gd name="connsiteX706" fmla="*/ 94095 w 262585"/>
                  <a:gd name="connsiteY706" fmla="*/ 100761 h 436985"/>
                  <a:gd name="connsiteX707" fmla="*/ 94397 w 262585"/>
                  <a:gd name="connsiteY707" fmla="*/ 105762 h 436985"/>
                  <a:gd name="connsiteX708" fmla="*/ 94095 w 262585"/>
                  <a:gd name="connsiteY708" fmla="*/ 109550 h 436985"/>
                  <a:gd name="connsiteX709" fmla="*/ 91670 w 262585"/>
                  <a:gd name="connsiteY709" fmla="*/ 115004 h 436985"/>
                  <a:gd name="connsiteX710" fmla="*/ 91216 w 262585"/>
                  <a:gd name="connsiteY710" fmla="*/ 118186 h 436985"/>
                  <a:gd name="connsiteX711" fmla="*/ 91216 w 262585"/>
                  <a:gd name="connsiteY711" fmla="*/ 121368 h 436985"/>
                  <a:gd name="connsiteX712" fmla="*/ 91822 w 262585"/>
                  <a:gd name="connsiteY712" fmla="*/ 125005 h 436985"/>
                  <a:gd name="connsiteX713" fmla="*/ 93640 w 262585"/>
                  <a:gd name="connsiteY713" fmla="*/ 130005 h 436985"/>
                  <a:gd name="connsiteX714" fmla="*/ 93640 w 262585"/>
                  <a:gd name="connsiteY714" fmla="*/ 131672 h 436985"/>
                  <a:gd name="connsiteX715" fmla="*/ 93034 w 262585"/>
                  <a:gd name="connsiteY715" fmla="*/ 133035 h 436985"/>
                  <a:gd name="connsiteX716" fmla="*/ 92125 w 262585"/>
                  <a:gd name="connsiteY716" fmla="*/ 134247 h 436985"/>
                  <a:gd name="connsiteX717" fmla="*/ 90307 w 262585"/>
                  <a:gd name="connsiteY717" fmla="*/ 134702 h 436985"/>
                  <a:gd name="connsiteX718" fmla="*/ 87276 w 262585"/>
                  <a:gd name="connsiteY718" fmla="*/ 134854 h 436985"/>
                  <a:gd name="connsiteX719" fmla="*/ 86367 w 262585"/>
                  <a:gd name="connsiteY719" fmla="*/ 134399 h 436985"/>
                  <a:gd name="connsiteX720" fmla="*/ 83942 w 262585"/>
                  <a:gd name="connsiteY720" fmla="*/ 131066 h 436985"/>
                  <a:gd name="connsiteX721" fmla="*/ 82579 w 262585"/>
                  <a:gd name="connsiteY721" fmla="*/ 130156 h 436985"/>
                  <a:gd name="connsiteX722" fmla="*/ 81064 w 262585"/>
                  <a:gd name="connsiteY722" fmla="*/ 129550 h 436985"/>
                  <a:gd name="connsiteX723" fmla="*/ 79852 w 262585"/>
                  <a:gd name="connsiteY723" fmla="*/ 128187 h 436985"/>
                  <a:gd name="connsiteX724" fmla="*/ 78336 w 262585"/>
                  <a:gd name="connsiteY724" fmla="*/ 127126 h 436985"/>
                  <a:gd name="connsiteX725" fmla="*/ 77276 w 262585"/>
                  <a:gd name="connsiteY725" fmla="*/ 127732 h 436985"/>
                  <a:gd name="connsiteX726" fmla="*/ 76821 w 262585"/>
                  <a:gd name="connsiteY726" fmla="*/ 129096 h 436985"/>
                  <a:gd name="connsiteX727" fmla="*/ 76518 w 262585"/>
                  <a:gd name="connsiteY727" fmla="*/ 134702 h 436985"/>
                  <a:gd name="connsiteX728" fmla="*/ 76669 w 262585"/>
                  <a:gd name="connsiteY728" fmla="*/ 136066 h 436985"/>
                  <a:gd name="connsiteX729" fmla="*/ 77730 w 262585"/>
                  <a:gd name="connsiteY729" fmla="*/ 137581 h 436985"/>
                  <a:gd name="connsiteX730" fmla="*/ 79094 w 262585"/>
                  <a:gd name="connsiteY730" fmla="*/ 138793 h 436985"/>
                  <a:gd name="connsiteX731" fmla="*/ 79700 w 262585"/>
                  <a:gd name="connsiteY731" fmla="*/ 139702 h 436985"/>
                  <a:gd name="connsiteX732" fmla="*/ 80003 w 262585"/>
                  <a:gd name="connsiteY732" fmla="*/ 140763 h 436985"/>
                  <a:gd name="connsiteX733" fmla="*/ 81064 w 262585"/>
                  <a:gd name="connsiteY733" fmla="*/ 152127 h 436985"/>
                  <a:gd name="connsiteX734" fmla="*/ 81822 w 262585"/>
                  <a:gd name="connsiteY734" fmla="*/ 154703 h 436985"/>
                  <a:gd name="connsiteX735" fmla="*/ 83033 w 262585"/>
                  <a:gd name="connsiteY735" fmla="*/ 157733 h 436985"/>
                  <a:gd name="connsiteX736" fmla="*/ 83942 w 262585"/>
                  <a:gd name="connsiteY736" fmla="*/ 160915 h 436985"/>
                  <a:gd name="connsiteX737" fmla="*/ 84094 w 262585"/>
                  <a:gd name="connsiteY737" fmla="*/ 164703 h 436985"/>
                  <a:gd name="connsiteX738" fmla="*/ 85155 w 262585"/>
                  <a:gd name="connsiteY738" fmla="*/ 168188 h 436985"/>
                  <a:gd name="connsiteX739" fmla="*/ 86670 w 262585"/>
                  <a:gd name="connsiteY739" fmla="*/ 169552 h 436985"/>
                  <a:gd name="connsiteX740" fmla="*/ 88791 w 262585"/>
                  <a:gd name="connsiteY740" fmla="*/ 169249 h 436985"/>
                  <a:gd name="connsiteX741" fmla="*/ 89852 w 262585"/>
                  <a:gd name="connsiteY741" fmla="*/ 169703 h 436985"/>
                  <a:gd name="connsiteX742" fmla="*/ 90761 w 262585"/>
                  <a:gd name="connsiteY742" fmla="*/ 172734 h 436985"/>
                  <a:gd name="connsiteX743" fmla="*/ 93034 w 262585"/>
                  <a:gd name="connsiteY743" fmla="*/ 174855 h 436985"/>
                  <a:gd name="connsiteX744" fmla="*/ 93943 w 262585"/>
                  <a:gd name="connsiteY744" fmla="*/ 178037 h 436985"/>
                  <a:gd name="connsiteX745" fmla="*/ 95155 w 262585"/>
                  <a:gd name="connsiteY745" fmla="*/ 179098 h 436985"/>
                  <a:gd name="connsiteX746" fmla="*/ 96670 w 262585"/>
                  <a:gd name="connsiteY746" fmla="*/ 179401 h 436985"/>
                  <a:gd name="connsiteX747" fmla="*/ 98337 w 262585"/>
                  <a:gd name="connsiteY747" fmla="*/ 179401 h 436985"/>
                  <a:gd name="connsiteX748" fmla="*/ 99246 w 262585"/>
                  <a:gd name="connsiteY748" fmla="*/ 178188 h 436985"/>
                  <a:gd name="connsiteX749" fmla="*/ 99094 w 262585"/>
                  <a:gd name="connsiteY749" fmla="*/ 175158 h 436985"/>
                  <a:gd name="connsiteX750" fmla="*/ 98185 w 262585"/>
                  <a:gd name="connsiteY750" fmla="*/ 170461 h 436985"/>
                  <a:gd name="connsiteX751" fmla="*/ 99246 w 262585"/>
                  <a:gd name="connsiteY751" fmla="*/ 167279 h 436985"/>
                  <a:gd name="connsiteX752" fmla="*/ 100762 w 262585"/>
                  <a:gd name="connsiteY752" fmla="*/ 169097 h 436985"/>
                  <a:gd name="connsiteX753" fmla="*/ 102732 w 262585"/>
                  <a:gd name="connsiteY753" fmla="*/ 170158 h 436985"/>
                  <a:gd name="connsiteX754" fmla="*/ 105307 w 262585"/>
                  <a:gd name="connsiteY754" fmla="*/ 170612 h 436985"/>
                  <a:gd name="connsiteX755" fmla="*/ 107580 w 262585"/>
                  <a:gd name="connsiteY755" fmla="*/ 171825 h 436985"/>
                  <a:gd name="connsiteX756" fmla="*/ 109095 w 262585"/>
                  <a:gd name="connsiteY756" fmla="*/ 173794 h 436985"/>
                  <a:gd name="connsiteX757" fmla="*/ 109398 w 262585"/>
                  <a:gd name="connsiteY757" fmla="*/ 176219 h 436985"/>
                  <a:gd name="connsiteX758" fmla="*/ 108640 w 262585"/>
                  <a:gd name="connsiteY758" fmla="*/ 178037 h 436985"/>
                  <a:gd name="connsiteX759" fmla="*/ 102277 w 262585"/>
                  <a:gd name="connsiteY759" fmla="*/ 183643 h 436985"/>
                  <a:gd name="connsiteX760" fmla="*/ 101064 w 262585"/>
                  <a:gd name="connsiteY760" fmla="*/ 185007 h 436985"/>
                  <a:gd name="connsiteX761" fmla="*/ 100307 w 262585"/>
                  <a:gd name="connsiteY761" fmla="*/ 186522 h 436985"/>
                  <a:gd name="connsiteX762" fmla="*/ 100307 w 262585"/>
                  <a:gd name="connsiteY762" fmla="*/ 191825 h 436985"/>
                  <a:gd name="connsiteX763" fmla="*/ 100913 w 262585"/>
                  <a:gd name="connsiteY763" fmla="*/ 197129 h 436985"/>
                  <a:gd name="connsiteX764" fmla="*/ 103489 w 262585"/>
                  <a:gd name="connsiteY764" fmla="*/ 194401 h 436985"/>
                  <a:gd name="connsiteX765" fmla="*/ 106520 w 262585"/>
                  <a:gd name="connsiteY765" fmla="*/ 194856 h 436985"/>
                  <a:gd name="connsiteX766" fmla="*/ 109095 w 262585"/>
                  <a:gd name="connsiteY766" fmla="*/ 198189 h 436985"/>
                  <a:gd name="connsiteX767" fmla="*/ 111065 w 262585"/>
                  <a:gd name="connsiteY767" fmla="*/ 198341 h 436985"/>
                  <a:gd name="connsiteX768" fmla="*/ 113489 w 262585"/>
                  <a:gd name="connsiteY768" fmla="*/ 200462 h 436985"/>
                  <a:gd name="connsiteX769" fmla="*/ 116520 w 262585"/>
                  <a:gd name="connsiteY769" fmla="*/ 201523 h 436985"/>
                  <a:gd name="connsiteX770" fmla="*/ 120308 w 262585"/>
                  <a:gd name="connsiteY770" fmla="*/ 201220 h 436985"/>
                  <a:gd name="connsiteX771" fmla="*/ 123035 w 262585"/>
                  <a:gd name="connsiteY771" fmla="*/ 199553 h 436985"/>
                  <a:gd name="connsiteX772" fmla="*/ 123186 w 262585"/>
                  <a:gd name="connsiteY772" fmla="*/ 197432 h 436985"/>
                  <a:gd name="connsiteX773" fmla="*/ 124551 w 262585"/>
                  <a:gd name="connsiteY773" fmla="*/ 196068 h 436985"/>
                  <a:gd name="connsiteX774" fmla="*/ 128489 w 262585"/>
                  <a:gd name="connsiteY774" fmla="*/ 194098 h 436985"/>
                  <a:gd name="connsiteX775" fmla="*/ 129853 w 262585"/>
                  <a:gd name="connsiteY775" fmla="*/ 193644 h 436985"/>
                  <a:gd name="connsiteX776" fmla="*/ 131218 w 262585"/>
                  <a:gd name="connsiteY776" fmla="*/ 193341 h 436985"/>
                  <a:gd name="connsiteX777" fmla="*/ 132127 w 262585"/>
                  <a:gd name="connsiteY777" fmla="*/ 193644 h 436985"/>
                  <a:gd name="connsiteX778" fmla="*/ 140157 w 262585"/>
                  <a:gd name="connsiteY778" fmla="*/ 197735 h 436985"/>
                  <a:gd name="connsiteX779" fmla="*/ 143187 w 262585"/>
                  <a:gd name="connsiteY779" fmla="*/ 201523 h 436985"/>
                  <a:gd name="connsiteX780" fmla="*/ 89094 w 262585"/>
                  <a:gd name="connsiteY780" fmla="*/ 241069 h 436985"/>
                  <a:gd name="connsiteX781" fmla="*/ 88185 w 262585"/>
                  <a:gd name="connsiteY781" fmla="*/ 242585 h 436985"/>
                  <a:gd name="connsiteX782" fmla="*/ 87124 w 262585"/>
                  <a:gd name="connsiteY782" fmla="*/ 243039 h 436985"/>
                  <a:gd name="connsiteX783" fmla="*/ 85610 w 262585"/>
                  <a:gd name="connsiteY783" fmla="*/ 242585 h 436985"/>
                  <a:gd name="connsiteX784" fmla="*/ 85003 w 262585"/>
                  <a:gd name="connsiteY784" fmla="*/ 241827 h 436985"/>
                  <a:gd name="connsiteX785" fmla="*/ 81822 w 262585"/>
                  <a:gd name="connsiteY785" fmla="*/ 239857 h 436985"/>
                  <a:gd name="connsiteX786" fmla="*/ 80457 w 262585"/>
                  <a:gd name="connsiteY786" fmla="*/ 238494 h 436985"/>
                  <a:gd name="connsiteX787" fmla="*/ 79852 w 262585"/>
                  <a:gd name="connsiteY787" fmla="*/ 238645 h 436985"/>
                  <a:gd name="connsiteX788" fmla="*/ 79548 w 262585"/>
                  <a:gd name="connsiteY788" fmla="*/ 238948 h 436985"/>
                  <a:gd name="connsiteX789" fmla="*/ 79397 w 262585"/>
                  <a:gd name="connsiteY789" fmla="*/ 239554 h 436985"/>
                  <a:gd name="connsiteX790" fmla="*/ 79700 w 262585"/>
                  <a:gd name="connsiteY790" fmla="*/ 239706 h 436985"/>
                  <a:gd name="connsiteX791" fmla="*/ 79094 w 262585"/>
                  <a:gd name="connsiteY791" fmla="*/ 240463 h 436985"/>
                  <a:gd name="connsiteX792" fmla="*/ 78943 w 262585"/>
                  <a:gd name="connsiteY792" fmla="*/ 241676 h 436985"/>
                  <a:gd name="connsiteX793" fmla="*/ 79700 w 262585"/>
                  <a:gd name="connsiteY793" fmla="*/ 242282 h 436985"/>
                  <a:gd name="connsiteX794" fmla="*/ 81367 w 262585"/>
                  <a:gd name="connsiteY794" fmla="*/ 245312 h 436985"/>
                  <a:gd name="connsiteX795" fmla="*/ 82882 w 262585"/>
                  <a:gd name="connsiteY795" fmla="*/ 246979 h 436985"/>
                  <a:gd name="connsiteX796" fmla="*/ 85306 w 262585"/>
                  <a:gd name="connsiteY796" fmla="*/ 247433 h 436985"/>
                  <a:gd name="connsiteX797" fmla="*/ 87276 w 262585"/>
                  <a:gd name="connsiteY797" fmla="*/ 246676 h 436985"/>
                  <a:gd name="connsiteX798" fmla="*/ 89246 w 262585"/>
                  <a:gd name="connsiteY798" fmla="*/ 247130 h 436985"/>
                  <a:gd name="connsiteX799" fmla="*/ 91216 w 262585"/>
                  <a:gd name="connsiteY799" fmla="*/ 246979 h 436985"/>
                  <a:gd name="connsiteX800" fmla="*/ 91973 w 262585"/>
                  <a:gd name="connsiteY800" fmla="*/ 245161 h 436985"/>
                  <a:gd name="connsiteX801" fmla="*/ 89700 w 262585"/>
                  <a:gd name="connsiteY801" fmla="*/ 243342 h 436985"/>
                  <a:gd name="connsiteX802" fmla="*/ 89094 w 262585"/>
                  <a:gd name="connsiteY802" fmla="*/ 241069 h 436985"/>
                  <a:gd name="connsiteX803" fmla="*/ 90307 w 262585"/>
                  <a:gd name="connsiteY803" fmla="*/ 200613 h 436985"/>
                  <a:gd name="connsiteX804" fmla="*/ 90307 w 262585"/>
                  <a:gd name="connsiteY804" fmla="*/ 198795 h 436985"/>
                  <a:gd name="connsiteX805" fmla="*/ 88640 w 262585"/>
                  <a:gd name="connsiteY805" fmla="*/ 196825 h 436985"/>
                  <a:gd name="connsiteX806" fmla="*/ 86215 w 262585"/>
                  <a:gd name="connsiteY806" fmla="*/ 195765 h 436985"/>
                  <a:gd name="connsiteX807" fmla="*/ 85761 w 262585"/>
                  <a:gd name="connsiteY807" fmla="*/ 196219 h 436985"/>
                  <a:gd name="connsiteX808" fmla="*/ 85610 w 262585"/>
                  <a:gd name="connsiteY808" fmla="*/ 196977 h 436985"/>
                  <a:gd name="connsiteX809" fmla="*/ 85761 w 262585"/>
                  <a:gd name="connsiteY809" fmla="*/ 197886 h 436985"/>
                  <a:gd name="connsiteX810" fmla="*/ 90307 w 262585"/>
                  <a:gd name="connsiteY810" fmla="*/ 200613 h 436985"/>
                  <a:gd name="connsiteX811" fmla="*/ 117884 w 262585"/>
                  <a:gd name="connsiteY811" fmla="*/ 410924 h 436985"/>
                  <a:gd name="connsiteX812" fmla="*/ 116065 w 262585"/>
                  <a:gd name="connsiteY812" fmla="*/ 411379 h 436985"/>
                  <a:gd name="connsiteX813" fmla="*/ 114550 w 262585"/>
                  <a:gd name="connsiteY813" fmla="*/ 409409 h 436985"/>
                  <a:gd name="connsiteX814" fmla="*/ 111217 w 262585"/>
                  <a:gd name="connsiteY814" fmla="*/ 408803 h 436985"/>
                  <a:gd name="connsiteX815" fmla="*/ 107429 w 262585"/>
                  <a:gd name="connsiteY815" fmla="*/ 411227 h 436985"/>
                  <a:gd name="connsiteX816" fmla="*/ 106822 w 262585"/>
                  <a:gd name="connsiteY816" fmla="*/ 412742 h 436985"/>
                  <a:gd name="connsiteX817" fmla="*/ 108338 w 262585"/>
                  <a:gd name="connsiteY817" fmla="*/ 414258 h 436985"/>
                  <a:gd name="connsiteX818" fmla="*/ 110762 w 262585"/>
                  <a:gd name="connsiteY818" fmla="*/ 413500 h 436985"/>
                  <a:gd name="connsiteX819" fmla="*/ 112580 w 262585"/>
                  <a:gd name="connsiteY819" fmla="*/ 414258 h 436985"/>
                  <a:gd name="connsiteX820" fmla="*/ 116216 w 262585"/>
                  <a:gd name="connsiteY820" fmla="*/ 412894 h 436985"/>
                  <a:gd name="connsiteX821" fmla="*/ 118338 w 262585"/>
                  <a:gd name="connsiteY821" fmla="*/ 414864 h 436985"/>
                  <a:gd name="connsiteX822" fmla="*/ 121520 w 262585"/>
                  <a:gd name="connsiteY822" fmla="*/ 412894 h 436985"/>
                  <a:gd name="connsiteX823" fmla="*/ 121672 w 262585"/>
                  <a:gd name="connsiteY823" fmla="*/ 412288 h 436985"/>
                  <a:gd name="connsiteX824" fmla="*/ 121065 w 262585"/>
                  <a:gd name="connsiteY824" fmla="*/ 411227 h 436985"/>
                  <a:gd name="connsiteX825" fmla="*/ 117884 w 262585"/>
                  <a:gd name="connsiteY825" fmla="*/ 410924 h 436985"/>
                  <a:gd name="connsiteX826" fmla="*/ 239251 w 262585"/>
                  <a:gd name="connsiteY826" fmla="*/ 379105 h 436985"/>
                  <a:gd name="connsiteX827" fmla="*/ 238342 w 262585"/>
                  <a:gd name="connsiteY827" fmla="*/ 382135 h 436985"/>
                  <a:gd name="connsiteX828" fmla="*/ 238949 w 262585"/>
                  <a:gd name="connsiteY828" fmla="*/ 383044 h 436985"/>
                  <a:gd name="connsiteX829" fmla="*/ 240615 w 262585"/>
                  <a:gd name="connsiteY829" fmla="*/ 386681 h 436985"/>
                  <a:gd name="connsiteX830" fmla="*/ 241070 w 262585"/>
                  <a:gd name="connsiteY830" fmla="*/ 385166 h 436985"/>
                  <a:gd name="connsiteX831" fmla="*/ 241070 w 262585"/>
                  <a:gd name="connsiteY831" fmla="*/ 380620 h 436985"/>
                  <a:gd name="connsiteX832" fmla="*/ 239251 w 262585"/>
                  <a:gd name="connsiteY832" fmla="*/ 379105 h 436985"/>
                  <a:gd name="connsiteX833" fmla="*/ 262586 w 262585"/>
                  <a:gd name="connsiteY833" fmla="*/ 365771 h 436985"/>
                  <a:gd name="connsiteX834" fmla="*/ 261828 w 262585"/>
                  <a:gd name="connsiteY834" fmla="*/ 364407 h 436985"/>
                  <a:gd name="connsiteX835" fmla="*/ 260464 w 262585"/>
                  <a:gd name="connsiteY835" fmla="*/ 363498 h 436985"/>
                  <a:gd name="connsiteX836" fmla="*/ 258798 w 262585"/>
                  <a:gd name="connsiteY836" fmla="*/ 361377 h 436985"/>
                  <a:gd name="connsiteX837" fmla="*/ 258494 w 262585"/>
                  <a:gd name="connsiteY837" fmla="*/ 358801 h 436985"/>
                  <a:gd name="connsiteX838" fmla="*/ 259403 w 262585"/>
                  <a:gd name="connsiteY838" fmla="*/ 352740 h 436985"/>
                  <a:gd name="connsiteX839" fmla="*/ 259403 w 262585"/>
                  <a:gd name="connsiteY839" fmla="*/ 351225 h 436985"/>
                  <a:gd name="connsiteX840" fmla="*/ 257282 w 262585"/>
                  <a:gd name="connsiteY840" fmla="*/ 347892 h 436985"/>
                  <a:gd name="connsiteX841" fmla="*/ 256828 w 262585"/>
                  <a:gd name="connsiteY841" fmla="*/ 343649 h 436985"/>
                  <a:gd name="connsiteX842" fmla="*/ 254555 w 262585"/>
                  <a:gd name="connsiteY842" fmla="*/ 342134 h 436985"/>
                  <a:gd name="connsiteX843" fmla="*/ 251525 w 262585"/>
                  <a:gd name="connsiteY843" fmla="*/ 341528 h 436985"/>
                  <a:gd name="connsiteX844" fmla="*/ 250615 w 262585"/>
                  <a:gd name="connsiteY844" fmla="*/ 340619 h 436985"/>
                  <a:gd name="connsiteX845" fmla="*/ 250615 w 262585"/>
                  <a:gd name="connsiteY845" fmla="*/ 339710 h 436985"/>
                  <a:gd name="connsiteX846" fmla="*/ 252737 w 262585"/>
                  <a:gd name="connsiteY846" fmla="*/ 337891 h 436985"/>
                  <a:gd name="connsiteX847" fmla="*/ 253949 w 262585"/>
                  <a:gd name="connsiteY847" fmla="*/ 336528 h 436985"/>
                  <a:gd name="connsiteX848" fmla="*/ 255464 w 262585"/>
                  <a:gd name="connsiteY848" fmla="*/ 333800 h 436985"/>
                  <a:gd name="connsiteX849" fmla="*/ 255010 w 262585"/>
                  <a:gd name="connsiteY849" fmla="*/ 330921 h 436985"/>
                  <a:gd name="connsiteX850" fmla="*/ 252434 w 262585"/>
                  <a:gd name="connsiteY850" fmla="*/ 327436 h 436985"/>
                  <a:gd name="connsiteX851" fmla="*/ 251979 w 262585"/>
                  <a:gd name="connsiteY851" fmla="*/ 326224 h 436985"/>
                  <a:gd name="connsiteX852" fmla="*/ 251979 w 262585"/>
                  <a:gd name="connsiteY852" fmla="*/ 322133 h 436985"/>
                  <a:gd name="connsiteX853" fmla="*/ 249100 w 262585"/>
                  <a:gd name="connsiteY853" fmla="*/ 322588 h 436985"/>
                  <a:gd name="connsiteX854" fmla="*/ 246827 w 262585"/>
                  <a:gd name="connsiteY854" fmla="*/ 320921 h 436985"/>
                  <a:gd name="connsiteX855" fmla="*/ 245464 w 262585"/>
                  <a:gd name="connsiteY855" fmla="*/ 318042 h 436985"/>
                  <a:gd name="connsiteX856" fmla="*/ 243342 w 262585"/>
                  <a:gd name="connsiteY856" fmla="*/ 315618 h 436985"/>
                  <a:gd name="connsiteX857" fmla="*/ 236979 w 262585"/>
                  <a:gd name="connsiteY857" fmla="*/ 311678 h 436985"/>
                  <a:gd name="connsiteX858" fmla="*/ 233645 w 262585"/>
                  <a:gd name="connsiteY858" fmla="*/ 308799 h 436985"/>
                  <a:gd name="connsiteX859" fmla="*/ 232282 w 262585"/>
                  <a:gd name="connsiteY859" fmla="*/ 308799 h 436985"/>
                  <a:gd name="connsiteX860" fmla="*/ 230766 w 262585"/>
                  <a:gd name="connsiteY860" fmla="*/ 311224 h 436985"/>
                  <a:gd name="connsiteX861" fmla="*/ 233342 w 262585"/>
                  <a:gd name="connsiteY861" fmla="*/ 321981 h 436985"/>
                  <a:gd name="connsiteX862" fmla="*/ 233948 w 262585"/>
                  <a:gd name="connsiteY862" fmla="*/ 325618 h 436985"/>
                  <a:gd name="connsiteX863" fmla="*/ 233039 w 262585"/>
                  <a:gd name="connsiteY863" fmla="*/ 329103 h 436985"/>
                  <a:gd name="connsiteX864" fmla="*/ 229706 w 262585"/>
                  <a:gd name="connsiteY864" fmla="*/ 329709 h 436985"/>
                  <a:gd name="connsiteX865" fmla="*/ 226220 w 262585"/>
                  <a:gd name="connsiteY865" fmla="*/ 328800 h 436985"/>
                  <a:gd name="connsiteX866" fmla="*/ 225160 w 262585"/>
                  <a:gd name="connsiteY866" fmla="*/ 328800 h 436985"/>
                  <a:gd name="connsiteX867" fmla="*/ 224251 w 262585"/>
                  <a:gd name="connsiteY867" fmla="*/ 331679 h 436985"/>
                  <a:gd name="connsiteX868" fmla="*/ 223341 w 262585"/>
                  <a:gd name="connsiteY868" fmla="*/ 333194 h 436985"/>
                  <a:gd name="connsiteX869" fmla="*/ 220766 w 262585"/>
                  <a:gd name="connsiteY869" fmla="*/ 332588 h 436985"/>
                  <a:gd name="connsiteX870" fmla="*/ 217887 w 262585"/>
                  <a:gd name="connsiteY870" fmla="*/ 330770 h 436985"/>
                  <a:gd name="connsiteX871" fmla="*/ 215765 w 262585"/>
                  <a:gd name="connsiteY871" fmla="*/ 330315 h 436985"/>
                  <a:gd name="connsiteX872" fmla="*/ 214099 w 262585"/>
                  <a:gd name="connsiteY872" fmla="*/ 331679 h 436985"/>
                  <a:gd name="connsiteX873" fmla="*/ 213645 w 262585"/>
                  <a:gd name="connsiteY873" fmla="*/ 333043 h 436985"/>
                  <a:gd name="connsiteX874" fmla="*/ 212887 w 262585"/>
                  <a:gd name="connsiteY874" fmla="*/ 338043 h 436985"/>
                  <a:gd name="connsiteX875" fmla="*/ 211977 w 262585"/>
                  <a:gd name="connsiteY875" fmla="*/ 341528 h 436985"/>
                  <a:gd name="connsiteX876" fmla="*/ 208947 w 262585"/>
                  <a:gd name="connsiteY876" fmla="*/ 342588 h 436985"/>
                  <a:gd name="connsiteX877" fmla="*/ 204250 w 262585"/>
                  <a:gd name="connsiteY877" fmla="*/ 340316 h 436985"/>
                  <a:gd name="connsiteX878" fmla="*/ 203038 w 262585"/>
                  <a:gd name="connsiteY878" fmla="*/ 340467 h 436985"/>
                  <a:gd name="connsiteX879" fmla="*/ 201826 w 262585"/>
                  <a:gd name="connsiteY879" fmla="*/ 341528 h 436985"/>
                  <a:gd name="connsiteX880" fmla="*/ 200917 w 262585"/>
                  <a:gd name="connsiteY880" fmla="*/ 342891 h 436985"/>
                  <a:gd name="connsiteX881" fmla="*/ 199704 w 262585"/>
                  <a:gd name="connsiteY881" fmla="*/ 346225 h 436985"/>
                  <a:gd name="connsiteX882" fmla="*/ 198189 w 262585"/>
                  <a:gd name="connsiteY882" fmla="*/ 349407 h 436985"/>
                  <a:gd name="connsiteX883" fmla="*/ 197432 w 262585"/>
                  <a:gd name="connsiteY883" fmla="*/ 350619 h 436985"/>
                  <a:gd name="connsiteX884" fmla="*/ 196371 w 262585"/>
                  <a:gd name="connsiteY884" fmla="*/ 351377 h 436985"/>
                  <a:gd name="connsiteX885" fmla="*/ 191977 w 262585"/>
                  <a:gd name="connsiteY885" fmla="*/ 352589 h 436985"/>
                  <a:gd name="connsiteX886" fmla="*/ 190158 w 262585"/>
                  <a:gd name="connsiteY886" fmla="*/ 353498 h 436985"/>
                  <a:gd name="connsiteX887" fmla="*/ 186522 w 262585"/>
                  <a:gd name="connsiteY887" fmla="*/ 355619 h 436985"/>
                  <a:gd name="connsiteX888" fmla="*/ 185310 w 262585"/>
                  <a:gd name="connsiteY888" fmla="*/ 355316 h 436985"/>
                  <a:gd name="connsiteX889" fmla="*/ 188038 w 262585"/>
                  <a:gd name="connsiteY889" fmla="*/ 352892 h 436985"/>
                  <a:gd name="connsiteX890" fmla="*/ 188644 w 262585"/>
                  <a:gd name="connsiteY890" fmla="*/ 351680 h 436985"/>
                  <a:gd name="connsiteX891" fmla="*/ 188189 w 262585"/>
                  <a:gd name="connsiteY891" fmla="*/ 346528 h 436985"/>
                  <a:gd name="connsiteX892" fmla="*/ 187886 w 262585"/>
                  <a:gd name="connsiteY892" fmla="*/ 345013 h 436985"/>
                  <a:gd name="connsiteX893" fmla="*/ 186068 w 262585"/>
                  <a:gd name="connsiteY893" fmla="*/ 341831 h 436985"/>
                  <a:gd name="connsiteX894" fmla="*/ 183189 w 262585"/>
                  <a:gd name="connsiteY894" fmla="*/ 339861 h 436985"/>
                  <a:gd name="connsiteX895" fmla="*/ 180007 w 262585"/>
                  <a:gd name="connsiteY895" fmla="*/ 339103 h 436985"/>
                  <a:gd name="connsiteX896" fmla="*/ 178189 w 262585"/>
                  <a:gd name="connsiteY896" fmla="*/ 338194 h 436985"/>
                  <a:gd name="connsiteX897" fmla="*/ 176370 w 262585"/>
                  <a:gd name="connsiteY897" fmla="*/ 337588 h 436985"/>
                  <a:gd name="connsiteX898" fmla="*/ 174855 w 262585"/>
                  <a:gd name="connsiteY898" fmla="*/ 340012 h 436985"/>
                  <a:gd name="connsiteX899" fmla="*/ 173795 w 262585"/>
                  <a:gd name="connsiteY899" fmla="*/ 341225 h 436985"/>
                  <a:gd name="connsiteX900" fmla="*/ 172431 w 262585"/>
                  <a:gd name="connsiteY900" fmla="*/ 341982 h 436985"/>
                  <a:gd name="connsiteX901" fmla="*/ 168491 w 262585"/>
                  <a:gd name="connsiteY901" fmla="*/ 342740 h 436985"/>
                  <a:gd name="connsiteX902" fmla="*/ 167128 w 262585"/>
                  <a:gd name="connsiteY902" fmla="*/ 343649 h 436985"/>
                  <a:gd name="connsiteX903" fmla="*/ 165915 w 262585"/>
                  <a:gd name="connsiteY903" fmla="*/ 344861 h 436985"/>
                  <a:gd name="connsiteX904" fmla="*/ 165006 w 262585"/>
                  <a:gd name="connsiteY904" fmla="*/ 345770 h 436985"/>
                  <a:gd name="connsiteX905" fmla="*/ 164551 w 262585"/>
                  <a:gd name="connsiteY905" fmla="*/ 346983 h 436985"/>
                  <a:gd name="connsiteX906" fmla="*/ 164703 w 262585"/>
                  <a:gd name="connsiteY906" fmla="*/ 348801 h 436985"/>
                  <a:gd name="connsiteX907" fmla="*/ 164551 w 262585"/>
                  <a:gd name="connsiteY907" fmla="*/ 350619 h 436985"/>
                  <a:gd name="connsiteX908" fmla="*/ 162279 w 262585"/>
                  <a:gd name="connsiteY908" fmla="*/ 352437 h 436985"/>
                  <a:gd name="connsiteX909" fmla="*/ 159400 w 262585"/>
                  <a:gd name="connsiteY909" fmla="*/ 353043 h 436985"/>
                  <a:gd name="connsiteX910" fmla="*/ 155764 w 262585"/>
                  <a:gd name="connsiteY910" fmla="*/ 353043 h 436985"/>
                  <a:gd name="connsiteX911" fmla="*/ 153491 w 262585"/>
                  <a:gd name="connsiteY911" fmla="*/ 354104 h 436985"/>
                  <a:gd name="connsiteX912" fmla="*/ 147884 w 262585"/>
                  <a:gd name="connsiteY912" fmla="*/ 355468 h 436985"/>
                  <a:gd name="connsiteX913" fmla="*/ 146520 w 262585"/>
                  <a:gd name="connsiteY913" fmla="*/ 355922 h 436985"/>
                  <a:gd name="connsiteX914" fmla="*/ 143945 w 262585"/>
                  <a:gd name="connsiteY914" fmla="*/ 358195 h 436985"/>
                  <a:gd name="connsiteX915" fmla="*/ 140914 w 262585"/>
                  <a:gd name="connsiteY915" fmla="*/ 361831 h 436985"/>
                  <a:gd name="connsiteX916" fmla="*/ 140612 w 262585"/>
                  <a:gd name="connsiteY916" fmla="*/ 363044 h 436985"/>
                  <a:gd name="connsiteX917" fmla="*/ 140460 w 262585"/>
                  <a:gd name="connsiteY917" fmla="*/ 365923 h 436985"/>
                  <a:gd name="connsiteX918" fmla="*/ 138642 w 262585"/>
                  <a:gd name="connsiteY918" fmla="*/ 373953 h 436985"/>
                  <a:gd name="connsiteX919" fmla="*/ 137126 w 262585"/>
                  <a:gd name="connsiteY919" fmla="*/ 376226 h 436985"/>
                  <a:gd name="connsiteX920" fmla="*/ 135308 w 262585"/>
                  <a:gd name="connsiteY920" fmla="*/ 378347 h 436985"/>
                  <a:gd name="connsiteX921" fmla="*/ 134702 w 262585"/>
                  <a:gd name="connsiteY921" fmla="*/ 381681 h 436985"/>
                  <a:gd name="connsiteX922" fmla="*/ 136369 w 262585"/>
                  <a:gd name="connsiteY922" fmla="*/ 384560 h 436985"/>
                  <a:gd name="connsiteX923" fmla="*/ 138035 w 262585"/>
                  <a:gd name="connsiteY923" fmla="*/ 385620 h 436985"/>
                  <a:gd name="connsiteX924" fmla="*/ 140005 w 262585"/>
                  <a:gd name="connsiteY924" fmla="*/ 386075 h 436985"/>
                  <a:gd name="connsiteX925" fmla="*/ 141217 w 262585"/>
                  <a:gd name="connsiteY925" fmla="*/ 385166 h 436985"/>
                  <a:gd name="connsiteX926" fmla="*/ 142127 w 262585"/>
                  <a:gd name="connsiteY926" fmla="*/ 383650 h 436985"/>
                  <a:gd name="connsiteX927" fmla="*/ 144248 w 262585"/>
                  <a:gd name="connsiteY927" fmla="*/ 379105 h 436985"/>
                  <a:gd name="connsiteX928" fmla="*/ 146066 w 262585"/>
                  <a:gd name="connsiteY928" fmla="*/ 374408 h 436985"/>
                  <a:gd name="connsiteX929" fmla="*/ 149551 w 262585"/>
                  <a:gd name="connsiteY929" fmla="*/ 368347 h 436985"/>
                  <a:gd name="connsiteX930" fmla="*/ 150308 w 262585"/>
                  <a:gd name="connsiteY930" fmla="*/ 366226 h 436985"/>
                  <a:gd name="connsiteX931" fmla="*/ 150915 w 262585"/>
                  <a:gd name="connsiteY931" fmla="*/ 365316 h 436985"/>
                  <a:gd name="connsiteX932" fmla="*/ 154096 w 262585"/>
                  <a:gd name="connsiteY932" fmla="*/ 362892 h 436985"/>
                  <a:gd name="connsiteX933" fmla="*/ 156825 w 262585"/>
                  <a:gd name="connsiteY933" fmla="*/ 362589 h 436985"/>
                  <a:gd name="connsiteX934" fmla="*/ 158945 w 262585"/>
                  <a:gd name="connsiteY934" fmla="*/ 363953 h 436985"/>
                  <a:gd name="connsiteX935" fmla="*/ 159703 w 262585"/>
                  <a:gd name="connsiteY935" fmla="*/ 368498 h 436985"/>
                  <a:gd name="connsiteX936" fmla="*/ 160309 w 262585"/>
                  <a:gd name="connsiteY936" fmla="*/ 369256 h 436985"/>
                  <a:gd name="connsiteX937" fmla="*/ 162279 w 262585"/>
                  <a:gd name="connsiteY937" fmla="*/ 369256 h 436985"/>
                  <a:gd name="connsiteX938" fmla="*/ 164249 w 262585"/>
                  <a:gd name="connsiteY938" fmla="*/ 368802 h 436985"/>
                  <a:gd name="connsiteX939" fmla="*/ 165915 w 262585"/>
                  <a:gd name="connsiteY939" fmla="*/ 366983 h 436985"/>
                  <a:gd name="connsiteX940" fmla="*/ 167279 w 262585"/>
                  <a:gd name="connsiteY940" fmla="*/ 364559 h 436985"/>
                  <a:gd name="connsiteX941" fmla="*/ 167885 w 262585"/>
                  <a:gd name="connsiteY941" fmla="*/ 365468 h 436985"/>
                  <a:gd name="connsiteX942" fmla="*/ 168339 w 262585"/>
                  <a:gd name="connsiteY942" fmla="*/ 366529 h 436985"/>
                  <a:gd name="connsiteX943" fmla="*/ 168643 w 262585"/>
                  <a:gd name="connsiteY943" fmla="*/ 368044 h 436985"/>
                  <a:gd name="connsiteX944" fmla="*/ 169400 w 262585"/>
                  <a:gd name="connsiteY944" fmla="*/ 369256 h 436985"/>
                  <a:gd name="connsiteX945" fmla="*/ 172279 w 262585"/>
                  <a:gd name="connsiteY945" fmla="*/ 371074 h 436985"/>
                  <a:gd name="connsiteX946" fmla="*/ 175310 w 262585"/>
                  <a:gd name="connsiteY946" fmla="*/ 372590 h 436985"/>
                  <a:gd name="connsiteX947" fmla="*/ 177583 w 262585"/>
                  <a:gd name="connsiteY947" fmla="*/ 365468 h 436985"/>
                  <a:gd name="connsiteX948" fmla="*/ 177734 w 262585"/>
                  <a:gd name="connsiteY948" fmla="*/ 364256 h 436985"/>
                  <a:gd name="connsiteX949" fmla="*/ 177583 w 262585"/>
                  <a:gd name="connsiteY949" fmla="*/ 363044 h 436985"/>
                  <a:gd name="connsiteX950" fmla="*/ 178037 w 262585"/>
                  <a:gd name="connsiteY950" fmla="*/ 361680 h 436985"/>
                  <a:gd name="connsiteX951" fmla="*/ 179703 w 262585"/>
                  <a:gd name="connsiteY951" fmla="*/ 361074 h 436985"/>
                  <a:gd name="connsiteX952" fmla="*/ 181219 w 262585"/>
                  <a:gd name="connsiteY952" fmla="*/ 361074 h 436985"/>
                  <a:gd name="connsiteX953" fmla="*/ 182734 w 262585"/>
                  <a:gd name="connsiteY953" fmla="*/ 361377 h 436985"/>
                  <a:gd name="connsiteX954" fmla="*/ 184098 w 262585"/>
                  <a:gd name="connsiteY954" fmla="*/ 362286 h 436985"/>
                  <a:gd name="connsiteX955" fmla="*/ 185461 w 262585"/>
                  <a:gd name="connsiteY955" fmla="*/ 363498 h 436985"/>
                  <a:gd name="connsiteX956" fmla="*/ 191067 w 262585"/>
                  <a:gd name="connsiteY956" fmla="*/ 365619 h 436985"/>
                  <a:gd name="connsiteX957" fmla="*/ 193795 w 262585"/>
                  <a:gd name="connsiteY957" fmla="*/ 368044 h 436985"/>
                  <a:gd name="connsiteX958" fmla="*/ 196977 w 262585"/>
                  <a:gd name="connsiteY958" fmla="*/ 371832 h 436985"/>
                  <a:gd name="connsiteX959" fmla="*/ 197583 w 262585"/>
                  <a:gd name="connsiteY959" fmla="*/ 372892 h 436985"/>
                  <a:gd name="connsiteX960" fmla="*/ 197734 w 262585"/>
                  <a:gd name="connsiteY960" fmla="*/ 374711 h 436985"/>
                  <a:gd name="connsiteX961" fmla="*/ 197129 w 262585"/>
                  <a:gd name="connsiteY961" fmla="*/ 376529 h 436985"/>
                  <a:gd name="connsiteX962" fmla="*/ 196220 w 262585"/>
                  <a:gd name="connsiteY962" fmla="*/ 377893 h 436985"/>
                  <a:gd name="connsiteX963" fmla="*/ 195159 w 262585"/>
                  <a:gd name="connsiteY963" fmla="*/ 379105 h 436985"/>
                  <a:gd name="connsiteX964" fmla="*/ 193189 w 262585"/>
                  <a:gd name="connsiteY964" fmla="*/ 380772 h 436985"/>
                  <a:gd name="connsiteX965" fmla="*/ 191522 w 262585"/>
                  <a:gd name="connsiteY965" fmla="*/ 384105 h 436985"/>
                  <a:gd name="connsiteX966" fmla="*/ 191371 w 262585"/>
                  <a:gd name="connsiteY966" fmla="*/ 385923 h 436985"/>
                  <a:gd name="connsiteX967" fmla="*/ 191522 w 262585"/>
                  <a:gd name="connsiteY967" fmla="*/ 387742 h 436985"/>
                  <a:gd name="connsiteX968" fmla="*/ 193189 w 262585"/>
                  <a:gd name="connsiteY968" fmla="*/ 393045 h 436985"/>
                  <a:gd name="connsiteX969" fmla="*/ 193189 w 262585"/>
                  <a:gd name="connsiteY969" fmla="*/ 396681 h 436985"/>
                  <a:gd name="connsiteX970" fmla="*/ 193946 w 262585"/>
                  <a:gd name="connsiteY970" fmla="*/ 400166 h 436985"/>
                  <a:gd name="connsiteX971" fmla="*/ 197583 w 262585"/>
                  <a:gd name="connsiteY971" fmla="*/ 404863 h 436985"/>
                  <a:gd name="connsiteX972" fmla="*/ 202735 w 262585"/>
                  <a:gd name="connsiteY972" fmla="*/ 407894 h 436985"/>
                  <a:gd name="connsiteX973" fmla="*/ 209250 w 262585"/>
                  <a:gd name="connsiteY973" fmla="*/ 411227 h 436985"/>
                  <a:gd name="connsiteX974" fmla="*/ 217281 w 262585"/>
                  <a:gd name="connsiteY974" fmla="*/ 414561 h 436985"/>
                  <a:gd name="connsiteX975" fmla="*/ 218644 w 262585"/>
                  <a:gd name="connsiteY975" fmla="*/ 414864 h 436985"/>
                  <a:gd name="connsiteX976" fmla="*/ 220311 w 262585"/>
                  <a:gd name="connsiteY976" fmla="*/ 414712 h 436985"/>
                  <a:gd name="connsiteX977" fmla="*/ 221372 w 262585"/>
                  <a:gd name="connsiteY977" fmla="*/ 413803 h 436985"/>
                  <a:gd name="connsiteX978" fmla="*/ 224099 w 262585"/>
                  <a:gd name="connsiteY978" fmla="*/ 410015 h 436985"/>
                  <a:gd name="connsiteX979" fmla="*/ 224554 w 262585"/>
                  <a:gd name="connsiteY979" fmla="*/ 409561 h 436985"/>
                  <a:gd name="connsiteX980" fmla="*/ 225615 w 262585"/>
                  <a:gd name="connsiteY980" fmla="*/ 409409 h 436985"/>
                  <a:gd name="connsiteX981" fmla="*/ 226675 w 262585"/>
                  <a:gd name="connsiteY981" fmla="*/ 410470 h 436985"/>
                  <a:gd name="connsiteX982" fmla="*/ 226524 w 262585"/>
                  <a:gd name="connsiteY982" fmla="*/ 413349 h 436985"/>
                  <a:gd name="connsiteX983" fmla="*/ 225615 w 262585"/>
                  <a:gd name="connsiteY983" fmla="*/ 416530 h 436985"/>
                  <a:gd name="connsiteX984" fmla="*/ 225766 w 262585"/>
                  <a:gd name="connsiteY984" fmla="*/ 417894 h 436985"/>
                  <a:gd name="connsiteX985" fmla="*/ 226978 w 262585"/>
                  <a:gd name="connsiteY985" fmla="*/ 421228 h 436985"/>
                  <a:gd name="connsiteX986" fmla="*/ 228645 w 262585"/>
                  <a:gd name="connsiteY986" fmla="*/ 422137 h 436985"/>
                  <a:gd name="connsiteX987" fmla="*/ 231675 w 262585"/>
                  <a:gd name="connsiteY987" fmla="*/ 420318 h 436985"/>
                  <a:gd name="connsiteX988" fmla="*/ 235766 w 262585"/>
                  <a:gd name="connsiteY988" fmla="*/ 414712 h 436985"/>
                  <a:gd name="connsiteX989" fmla="*/ 237433 w 262585"/>
                  <a:gd name="connsiteY989" fmla="*/ 411682 h 436985"/>
                  <a:gd name="connsiteX990" fmla="*/ 237433 w 262585"/>
                  <a:gd name="connsiteY990" fmla="*/ 405015 h 436985"/>
                  <a:gd name="connsiteX991" fmla="*/ 235161 w 262585"/>
                  <a:gd name="connsiteY991" fmla="*/ 398499 h 436985"/>
                  <a:gd name="connsiteX992" fmla="*/ 234554 w 262585"/>
                  <a:gd name="connsiteY992" fmla="*/ 397590 h 436985"/>
                  <a:gd name="connsiteX993" fmla="*/ 232433 w 262585"/>
                  <a:gd name="connsiteY993" fmla="*/ 395621 h 436985"/>
                  <a:gd name="connsiteX994" fmla="*/ 230918 w 262585"/>
                  <a:gd name="connsiteY994" fmla="*/ 394711 h 436985"/>
                  <a:gd name="connsiteX995" fmla="*/ 229554 w 262585"/>
                  <a:gd name="connsiteY995" fmla="*/ 392439 h 436985"/>
                  <a:gd name="connsiteX996" fmla="*/ 230160 w 262585"/>
                  <a:gd name="connsiteY996" fmla="*/ 389560 h 436985"/>
                  <a:gd name="connsiteX997" fmla="*/ 231978 w 262585"/>
                  <a:gd name="connsiteY997" fmla="*/ 386378 h 436985"/>
                  <a:gd name="connsiteX998" fmla="*/ 234100 w 262585"/>
                  <a:gd name="connsiteY998" fmla="*/ 383499 h 436985"/>
                  <a:gd name="connsiteX999" fmla="*/ 236827 w 262585"/>
                  <a:gd name="connsiteY999" fmla="*/ 381075 h 436985"/>
                  <a:gd name="connsiteX1000" fmla="*/ 237433 w 262585"/>
                  <a:gd name="connsiteY1000" fmla="*/ 379559 h 436985"/>
                  <a:gd name="connsiteX1001" fmla="*/ 237736 w 262585"/>
                  <a:gd name="connsiteY1001" fmla="*/ 377893 h 436985"/>
                  <a:gd name="connsiteX1002" fmla="*/ 238191 w 262585"/>
                  <a:gd name="connsiteY1002" fmla="*/ 376832 h 436985"/>
                  <a:gd name="connsiteX1003" fmla="*/ 240463 w 262585"/>
                  <a:gd name="connsiteY1003" fmla="*/ 375165 h 436985"/>
                  <a:gd name="connsiteX1004" fmla="*/ 241827 w 262585"/>
                  <a:gd name="connsiteY1004" fmla="*/ 374862 h 436985"/>
                  <a:gd name="connsiteX1005" fmla="*/ 243949 w 262585"/>
                  <a:gd name="connsiteY1005" fmla="*/ 380772 h 436985"/>
                  <a:gd name="connsiteX1006" fmla="*/ 245616 w 262585"/>
                  <a:gd name="connsiteY1006" fmla="*/ 383044 h 436985"/>
                  <a:gd name="connsiteX1007" fmla="*/ 246221 w 262585"/>
                  <a:gd name="connsiteY1007" fmla="*/ 385469 h 436985"/>
                  <a:gd name="connsiteX1008" fmla="*/ 247737 w 262585"/>
                  <a:gd name="connsiteY1008" fmla="*/ 388196 h 436985"/>
                  <a:gd name="connsiteX1009" fmla="*/ 248797 w 262585"/>
                  <a:gd name="connsiteY1009" fmla="*/ 391227 h 436985"/>
                  <a:gd name="connsiteX1010" fmla="*/ 249555 w 262585"/>
                  <a:gd name="connsiteY1010" fmla="*/ 397893 h 436985"/>
                  <a:gd name="connsiteX1011" fmla="*/ 250464 w 262585"/>
                  <a:gd name="connsiteY1011" fmla="*/ 400469 h 436985"/>
                  <a:gd name="connsiteX1012" fmla="*/ 251676 w 262585"/>
                  <a:gd name="connsiteY1012" fmla="*/ 402894 h 436985"/>
                  <a:gd name="connsiteX1013" fmla="*/ 252585 w 262585"/>
                  <a:gd name="connsiteY1013" fmla="*/ 398197 h 436985"/>
                  <a:gd name="connsiteX1014" fmla="*/ 253040 w 262585"/>
                  <a:gd name="connsiteY1014" fmla="*/ 391378 h 436985"/>
                  <a:gd name="connsiteX1015" fmla="*/ 251676 w 262585"/>
                  <a:gd name="connsiteY1015" fmla="*/ 388196 h 436985"/>
                  <a:gd name="connsiteX1016" fmla="*/ 252282 w 262585"/>
                  <a:gd name="connsiteY1016" fmla="*/ 387135 h 436985"/>
                  <a:gd name="connsiteX1017" fmla="*/ 254403 w 262585"/>
                  <a:gd name="connsiteY1017" fmla="*/ 387438 h 436985"/>
                  <a:gd name="connsiteX1018" fmla="*/ 258343 w 262585"/>
                  <a:gd name="connsiteY1018" fmla="*/ 383954 h 436985"/>
                  <a:gd name="connsiteX1019" fmla="*/ 261222 w 262585"/>
                  <a:gd name="connsiteY1019" fmla="*/ 379559 h 436985"/>
                  <a:gd name="connsiteX1020" fmla="*/ 262131 w 262585"/>
                  <a:gd name="connsiteY1020" fmla="*/ 377590 h 436985"/>
                  <a:gd name="connsiteX1021" fmla="*/ 262282 w 262585"/>
                  <a:gd name="connsiteY1021" fmla="*/ 375468 h 436985"/>
                  <a:gd name="connsiteX1022" fmla="*/ 262434 w 262585"/>
                  <a:gd name="connsiteY1022" fmla="*/ 369407 h 436985"/>
                  <a:gd name="connsiteX1023" fmla="*/ 262586 w 262585"/>
                  <a:gd name="connsiteY1023" fmla="*/ 365771 h 436985"/>
                  <a:gd name="connsiteX1024" fmla="*/ 136369 w 262585"/>
                  <a:gd name="connsiteY1024" fmla="*/ 187431 h 436985"/>
                  <a:gd name="connsiteX1025" fmla="*/ 142278 w 262585"/>
                  <a:gd name="connsiteY1025" fmla="*/ 191522 h 436985"/>
                  <a:gd name="connsiteX1026" fmla="*/ 142430 w 262585"/>
                  <a:gd name="connsiteY1026" fmla="*/ 190462 h 436985"/>
                  <a:gd name="connsiteX1027" fmla="*/ 136520 w 262585"/>
                  <a:gd name="connsiteY1027" fmla="*/ 185461 h 436985"/>
                  <a:gd name="connsiteX1028" fmla="*/ 136217 w 262585"/>
                  <a:gd name="connsiteY1028" fmla="*/ 186068 h 436985"/>
                  <a:gd name="connsiteX1029" fmla="*/ 136217 w 262585"/>
                  <a:gd name="connsiteY1029" fmla="*/ 186674 h 436985"/>
                  <a:gd name="connsiteX1030" fmla="*/ 136369 w 262585"/>
                  <a:gd name="connsiteY1030" fmla="*/ 187431 h 436985"/>
                  <a:gd name="connsiteX1031" fmla="*/ 162581 w 262585"/>
                  <a:gd name="connsiteY1031" fmla="*/ 372438 h 436985"/>
                  <a:gd name="connsiteX1032" fmla="*/ 161370 w 262585"/>
                  <a:gd name="connsiteY1032" fmla="*/ 373499 h 436985"/>
                  <a:gd name="connsiteX1033" fmla="*/ 160006 w 262585"/>
                  <a:gd name="connsiteY1033" fmla="*/ 372590 h 436985"/>
                  <a:gd name="connsiteX1034" fmla="*/ 159248 w 262585"/>
                  <a:gd name="connsiteY1034" fmla="*/ 373499 h 436985"/>
                  <a:gd name="connsiteX1035" fmla="*/ 159400 w 262585"/>
                  <a:gd name="connsiteY1035" fmla="*/ 375620 h 436985"/>
                  <a:gd name="connsiteX1036" fmla="*/ 160309 w 262585"/>
                  <a:gd name="connsiteY1036" fmla="*/ 375620 h 436985"/>
                  <a:gd name="connsiteX1037" fmla="*/ 163188 w 262585"/>
                  <a:gd name="connsiteY1037" fmla="*/ 374408 h 436985"/>
                  <a:gd name="connsiteX1038" fmla="*/ 163340 w 262585"/>
                  <a:gd name="connsiteY1038" fmla="*/ 373802 h 436985"/>
                  <a:gd name="connsiteX1039" fmla="*/ 163037 w 262585"/>
                  <a:gd name="connsiteY1039" fmla="*/ 373196 h 436985"/>
                  <a:gd name="connsiteX1040" fmla="*/ 162581 w 262585"/>
                  <a:gd name="connsiteY1040" fmla="*/ 372438 h 436985"/>
                  <a:gd name="connsiteX1041" fmla="*/ 193795 w 262585"/>
                  <a:gd name="connsiteY1041" fmla="*/ 202735 h 436985"/>
                  <a:gd name="connsiteX1042" fmla="*/ 196977 w 262585"/>
                  <a:gd name="connsiteY1042" fmla="*/ 204856 h 436985"/>
                  <a:gd name="connsiteX1043" fmla="*/ 198947 w 262585"/>
                  <a:gd name="connsiteY1043" fmla="*/ 203341 h 436985"/>
                  <a:gd name="connsiteX1044" fmla="*/ 200159 w 262585"/>
                  <a:gd name="connsiteY1044" fmla="*/ 203189 h 436985"/>
                  <a:gd name="connsiteX1045" fmla="*/ 201068 w 262585"/>
                  <a:gd name="connsiteY1045" fmla="*/ 203796 h 436985"/>
                  <a:gd name="connsiteX1046" fmla="*/ 201826 w 262585"/>
                  <a:gd name="connsiteY1046" fmla="*/ 201977 h 436985"/>
                  <a:gd name="connsiteX1047" fmla="*/ 203190 w 262585"/>
                  <a:gd name="connsiteY1047" fmla="*/ 200613 h 436985"/>
                  <a:gd name="connsiteX1048" fmla="*/ 203038 w 262585"/>
                  <a:gd name="connsiteY1048" fmla="*/ 198644 h 436985"/>
                  <a:gd name="connsiteX1049" fmla="*/ 203644 w 262585"/>
                  <a:gd name="connsiteY1049" fmla="*/ 195310 h 436985"/>
                  <a:gd name="connsiteX1050" fmla="*/ 201371 w 262585"/>
                  <a:gd name="connsiteY1050" fmla="*/ 193644 h 436985"/>
                  <a:gd name="connsiteX1051" fmla="*/ 200613 w 262585"/>
                  <a:gd name="connsiteY1051" fmla="*/ 193189 h 436985"/>
                  <a:gd name="connsiteX1052" fmla="*/ 198341 w 262585"/>
                  <a:gd name="connsiteY1052" fmla="*/ 189553 h 436985"/>
                  <a:gd name="connsiteX1053" fmla="*/ 197280 w 262585"/>
                  <a:gd name="connsiteY1053" fmla="*/ 190007 h 436985"/>
                  <a:gd name="connsiteX1054" fmla="*/ 196371 w 262585"/>
                  <a:gd name="connsiteY1054" fmla="*/ 190916 h 436985"/>
                  <a:gd name="connsiteX1055" fmla="*/ 195462 w 262585"/>
                  <a:gd name="connsiteY1055" fmla="*/ 192280 h 436985"/>
                  <a:gd name="connsiteX1056" fmla="*/ 195462 w 262585"/>
                  <a:gd name="connsiteY1056" fmla="*/ 197583 h 436985"/>
                  <a:gd name="connsiteX1057" fmla="*/ 193189 w 262585"/>
                  <a:gd name="connsiteY1057" fmla="*/ 201068 h 436985"/>
                  <a:gd name="connsiteX1058" fmla="*/ 193795 w 262585"/>
                  <a:gd name="connsiteY1058" fmla="*/ 202735 h 436985"/>
                  <a:gd name="connsiteX1059" fmla="*/ 139248 w 262585"/>
                  <a:gd name="connsiteY1059" fmla="*/ 391378 h 436985"/>
                  <a:gd name="connsiteX1060" fmla="*/ 135308 w 262585"/>
                  <a:gd name="connsiteY1060" fmla="*/ 393196 h 436985"/>
                  <a:gd name="connsiteX1061" fmla="*/ 133036 w 262585"/>
                  <a:gd name="connsiteY1061" fmla="*/ 393499 h 436985"/>
                  <a:gd name="connsiteX1062" fmla="*/ 132429 w 262585"/>
                  <a:gd name="connsiteY1062" fmla="*/ 394863 h 436985"/>
                  <a:gd name="connsiteX1063" fmla="*/ 134247 w 262585"/>
                  <a:gd name="connsiteY1063" fmla="*/ 396227 h 436985"/>
                  <a:gd name="connsiteX1064" fmla="*/ 134399 w 262585"/>
                  <a:gd name="connsiteY1064" fmla="*/ 397439 h 436985"/>
                  <a:gd name="connsiteX1065" fmla="*/ 136520 w 262585"/>
                  <a:gd name="connsiteY1065" fmla="*/ 400166 h 436985"/>
                  <a:gd name="connsiteX1066" fmla="*/ 137429 w 262585"/>
                  <a:gd name="connsiteY1066" fmla="*/ 400166 h 436985"/>
                  <a:gd name="connsiteX1067" fmla="*/ 140157 w 262585"/>
                  <a:gd name="connsiteY1067" fmla="*/ 399863 h 436985"/>
                  <a:gd name="connsiteX1068" fmla="*/ 143187 w 262585"/>
                  <a:gd name="connsiteY1068" fmla="*/ 398348 h 436985"/>
                  <a:gd name="connsiteX1069" fmla="*/ 144550 w 262585"/>
                  <a:gd name="connsiteY1069" fmla="*/ 395772 h 436985"/>
                  <a:gd name="connsiteX1070" fmla="*/ 146520 w 262585"/>
                  <a:gd name="connsiteY1070" fmla="*/ 395166 h 436985"/>
                  <a:gd name="connsiteX1071" fmla="*/ 145611 w 262585"/>
                  <a:gd name="connsiteY1071" fmla="*/ 394105 h 436985"/>
                  <a:gd name="connsiteX1072" fmla="*/ 139248 w 262585"/>
                  <a:gd name="connsiteY1072" fmla="*/ 391378 h 436985"/>
                  <a:gd name="connsiteX1073" fmla="*/ 123186 w 262585"/>
                  <a:gd name="connsiteY1073" fmla="*/ 44396 h 436985"/>
                  <a:gd name="connsiteX1074" fmla="*/ 124853 w 262585"/>
                  <a:gd name="connsiteY1074" fmla="*/ 44396 h 436985"/>
                  <a:gd name="connsiteX1075" fmla="*/ 124551 w 262585"/>
                  <a:gd name="connsiteY1075" fmla="*/ 41820 h 436985"/>
                  <a:gd name="connsiteX1076" fmla="*/ 121065 w 262585"/>
                  <a:gd name="connsiteY1076" fmla="*/ 40759 h 436985"/>
                  <a:gd name="connsiteX1077" fmla="*/ 120611 w 262585"/>
                  <a:gd name="connsiteY1077" fmla="*/ 41365 h 436985"/>
                  <a:gd name="connsiteX1078" fmla="*/ 120611 w 262585"/>
                  <a:gd name="connsiteY1078" fmla="*/ 41971 h 436985"/>
                  <a:gd name="connsiteX1079" fmla="*/ 120763 w 262585"/>
                  <a:gd name="connsiteY1079" fmla="*/ 42729 h 436985"/>
                  <a:gd name="connsiteX1080" fmla="*/ 123186 w 262585"/>
                  <a:gd name="connsiteY1080" fmla="*/ 44396 h 436985"/>
                  <a:gd name="connsiteX1081" fmla="*/ 134247 w 262585"/>
                  <a:gd name="connsiteY1081" fmla="*/ 1667 h 436985"/>
                  <a:gd name="connsiteX1082" fmla="*/ 133945 w 262585"/>
                  <a:gd name="connsiteY1082" fmla="*/ 0 h 436985"/>
                  <a:gd name="connsiteX1083" fmla="*/ 133490 w 262585"/>
                  <a:gd name="connsiteY1083" fmla="*/ 0 h 436985"/>
                  <a:gd name="connsiteX1084" fmla="*/ 132127 w 262585"/>
                  <a:gd name="connsiteY1084" fmla="*/ 2727 h 436985"/>
                  <a:gd name="connsiteX1085" fmla="*/ 131975 w 262585"/>
                  <a:gd name="connsiteY1085" fmla="*/ 4091 h 436985"/>
                  <a:gd name="connsiteX1086" fmla="*/ 133036 w 262585"/>
                  <a:gd name="connsiteY1086" fmla="*/ 4091 h 436985"/>
                  <a:gd name="connsiteX1087" fmla="*/ 134247 w 262585"/>
                  <a:gd name="connsiteY1087" fmla="*/ 1667 h 436985"/>
                  <a:gd name="connsiteX1088" fmla="*/ 133793 w 262585"/>
                  <a:gd name="connsiteY1088" fmla="*/ 54548 h 436985"/>
                  <a:gd name="connsiteX1089" fmla="*/ 132884 w 262585"/>
                  <a:gd name="connsiteY1089" fmla="*/ 56517 h 436985"/>
                  <a:gd name="connsiteX1090" fmla="*/ 133793 w 262585"/>
                  <a:gd name="connsiteY1090" fmla="*/ 57123 h 436985"/>
                  <a:gd name="connsiteX1091" fmla="*/ 135460 w 262585"/>
                  <a:gd name="connsiteY1091" fmla="*/ 55154 h 436985"/>
                  <a:gd name="connsiteX1092" fmla="*/ 137278 w 262585"/>
                  <a:gd name="connsiteY1092" fmla="*/ 53335 h 436985"/>
                  <a:gd name="connsiteX1093" fmla="*/ 136065 w 262585"/>
                  <a:gd name="connsiteY1093" fmla="*/ 51820 h 436985"/>
                  <a:gd name="connsiteX1094" fmla="*/ 134551 w 262585"/>
                  <a:gd name="connsiteY1094" fmla="*/ 52426 h 436985"/>
                  <a:gd name="connsiteX1095" fmla="*/ 133793 w 262585"/>
                  <a:gd name="connsiteY1095" fmla="*/ 53942 h 436985"/>
                  <a:gd name="connsiteX1096" fmla="*/ 133793 w 262585"/>
                  <a:gd name="connsiteY1096" fmla="*/ 54548 h 436985"/>
                  <a:gd name="connsiteX1097" fmla="*/ 136520 w 262585"/>
                  <a:gd name="connsiteY1097" fmla="*/ 13486 h 436985"/>
                  <a:gd name="connsiteX1098" fmla="*/ 138490 w 262585"/>
                  <a:gd name="connsiteY1098" fmla="*/ 10607 h 436985"/>
                  <a:gd name="connsiteX1099" fmla="*/ 137429 w 262585"/>
                  <a:gd name="connsiteY1099" fmla="*/ 10304 h 436985"/>
                  <a:gd name="connsiteX1100" fmla="*/ 136065 w 262585"/>
                  <a:gd name="connsiteY1100" fmla="*/ 11061 h 436985"/>
                  <a:gd name="connsiteX1101" fmla="*/ 135308 w 262585"/>
                  <a:gd name="connsiteY1101" fmla="*/ 13788 h 436985"/>
                  <a:gd name="connsiteX1102" fmla="*/ 136065 w 262585"/>
                  <a:gd name="connsiteY1102" fmla="*/ 13940 h 436985"/>
                  <a:gd name="connsiteX1103" fmla="*/ 136520 w 262585"/>
                  <a:gd name="connsiteY1103" fmla="*/ 13486 h 436985"/>
                  <a:gd name="connsiteX1104" fmla="*/ 88489 w 262585"/>
                  <a:gd name="connsiteY1104" fmla="*/ 429561 h 436985"/>
                  <a:gd name="connsiteX1105" fmla="*/ 87276 w 262585"/>
                  <a:gd name="connsiteY1105" fmla="*/ 429713 h 436985"/>
                  <a:gd name="connsiteX1106" fmla="*/ 85003 w 262585"/>
                  <a:gd name="connsiteY1106" fmla="*/ 431531 h 436985"/>
                  <a:gd name="connsiteX1107" fmla="*/ 82276 w 262585"/>
                  <a:gd name="connsiteY1107" fmla="*/ 432440 h 436985"/>
                  <a:gd name="connsiteX1108" fmla="*/ 78034 w 262585"/>
                  <a:gd name="connsiteY1108" fmla="*/ 435016 h 436985"/>
                  <a:gd name="connsiteX1109" fmla="*/ 77882 w 262585"/>
                  <a:gd name="connsiteY1109" fmla="*/ 436683 h 436985"/>
                  <a:gd name="connsiteX1110" fmla="*/ 79397 w 262585"/>
                  <a:gd name="connsiteY1110" fmla="*/ 436986 h 436985"/>
                  <a:gd name="connsiteX1111" fmla="*/ 81670 w 262585"/>
                  <a:gd name="connsiteY1111" fmla="*/ 436531 h 436985"/>
                  <a:gd name="connsiteX1112" fmla="*/ 83185 w 262585"/>
                  <a:gd name="connsiteY1112" fmla="*/ 434561 h 436985"/>
                  <a:gd name="connsiteX1113" fmla="*/ 85610 w 262585"/>
                  <a:gd name="connsiteY1113" fmla="*/ 434107 h 436985"/>
                  <a:gd name="connsiteX1114" fmla="*/ 86064 w 262585"/>
                  <a:gd name="connsiteY1114" fmla="*/ 432895 h 436985"/>
                  <a:gd name="connsiteX1115" fmla="*/ 86973 w 262585"/>
                  <a:gd name="connsiteY1115" fmla="*/ 433804 h 436985"/>
                  <a:gd name="connsiteX1116" fmla="*/ 88185 w 262585"/>
                  <a:gd name="connsiteY1116" fmla="*/ 434258 h 436985"/>
                  <a:gd name="connsiteX1117" fmla="*/ 89094 w 262585"/>
                  <a:gd name="connsiteY1117" fmla="*/ 433501 h 436985"/>
                  <a:gd name="connsiteX1118" fmla="*/ 89852 w 262585"/>
                  <a:gd name="connsiteY1118" fmla="*/ 431834 h 436985"/>
                  <a:gd name="connsiteX1119" fmla="*/ 89246 w 262585"/>
                  <a:gd name="connsiteY1119" fmla="*/ 431077 h 436985"/>
                  <a:gd name="connsiteX1120" fmla="*/ 88489 w 262585"/>
                  <a:gd name="connsiteY1120" fmla="*/ 429561 h 436985"/>
                  <a:gd name="connsiteX1121" fmla="*/ 116975 w 262585"/>
                  <a:gd name="connsiteY1121" fmla="*/ 51669 h 436985"/>
                  <a:gd name="connsiteX1122" fmla="*/ 117125 w 262585"/>
                  <a:gd name="connsiteY1122" fmla="*/ 49699 h 436985"/>
                  <a:gd name="connsiteX1123" fmla="*/ 116975 w 262585"/>
                  <a:gd name="connsiteY1123" fmla="*/ 48032 h 436985"/>
                  <a:gd name="connsiteX1124" fmla="*/ 116065 w 262585"/>
                  <a:gd name="connsiteY1124" fmla="*/ 46820 h 436985"/>
                  <a:gd name="connsiteX1125" fmla="*/ 115459 w 262585"/>
                  <a:gd name="connsiteY1125" fmla="*/ 48032 h 436985"/>
                  <a:gd name="connsiteX1126" fmla="*/ 115307 w 262585"/>
                  <a:gd name="connsiteY1126" fmla="*/ 49093 h 436985"/>
                  <a:gd name="connsiteX1127" fmla="*/ 115610 w 262585"/>
                  <a:gd name="connsiteY1127" fmla="*/ 50456 h 436985"/>
                  <a:gd name="connsiteX1128" fmla="*/ 116975 w 262585"/>
                  <a:gd name="connsiteY1128" fmla="*/ 51669 h 436985"/>
                  <a:gd name="connsiteX1129" fmla="*/ 83791 w 262585"/>
                  <a:gd name="connsiteY1129" fmla="*/ 249403 h 436985"/>
                  <a:gd name="connsiteX1130" fmla="*/ 82731 w 262585"/>
                  <a:gd name="connsiteY1130" fmla="*/ 248949 h 436985"/>
                  <a:gd name="connsiteX1131" fmla="*/ 81670 w 262585"/>
                  <a:gd name="connsiteY1131" fmla="*/ 248191 h 436985"/>
                  <a:gd name="connsiteX1132" fmla="*/ 80609 w 262585"/>
                  <a:gd name="connsiteY1132" fmla="*/ 247585 h 436985"/>
                  <a:gd name="connsiteX1133" fmla="*/ 79094 w 262585"/>
                  <a:gd name="connsiteY1133" fmla="*/ 248343 h 436985"/>
                  <a:gd name="connsiteX1134" fmla="*/ 81064 w 262585"/>
                  <a:gd name="connsiteY1134" fmla="*/ 253343 h 436985"/>
                  <a:gd name="connsiteX1135" fmla="*/ 81064 w 262585"/>
                  <a:gd name="connsiteY1135" fmla="*/ 254252 h 436985"/>
                  <a:gd name="connsiteX1136" fmla="*/ 81367 w 262585"/>
                  <a:gd name="connsiteY1136" fmla="*/ 255616 h 436985"/>
                  <a:gd name="connsiteX1137" fmla="*/ 81822 w 262585"/>
                  <a:gd name="connsiteY1137" fmla="*/ 256222 h 436985"/>
                  <a:gd name="connsiteX1138" fmla="*/ 83942 w 262585"/>
                  <a:gd name="connsiteY1138" fmla="*/ 255312 h 436985"/>
                  <a:gd name="connsiteX1139" fmla="*/ 84852 w 262585"/>
                  <a:gd name="connsiteY1139" fmla="*/ 253040 h 436985"/>
                  <a:gd name="connsiteX1140" fmla="*/ 84549 w 262585"/>
                  <a:gd name="connsiteY1140" fmla="*/ 251979 h 436985"/>
                  <a:gd name="connsiteX1141" fmla="*/ 84852 w 262585"/>
                  <a:gd name="connsiteY1141" fmla="*/ 250918 h 436985"/>
                  <a:gd name="connsiteX1142" fmla="*/ 83791 w 262585"/>
                  <a:gd name="connsiteY1142" fmla="*/ 249403 h 436985"/>
                  <a:gd name="connsiteX1143" fmla="*/ 606 w 262585"/>
                  <a:gd name="connsiteY1143" fmla="*/ 355468 h 436985"/>
                  <a:gd name="connsiteX1144" fmla="*/ 152 w 262585"/>
                  <a:gd name="connsiteY1144" fmla="*/ 356377 h 436985"/>
                  <a:gd name="connsiteX1145" fmla="*/ 0 w 262585"/>
                  <a:gd name="connsiteY1145" fmla="*/ 359710 h 436985"/>
                  <a:gd name="connsiteX1146" fmla="*/ 1667 w 262585"/>
                  <a:gd name="connsiteY1146" fmla="*/ 362135 h 436985"/>
                  <a:gd name="connsiteX1147" fmla="*/ 3031 w 262585"/>
                  <a:gd name="connsiteY1147" fmla="*/ 360013 h 436985"/>
                  <a:gd name="connsiteX1148" fmla="*/ 2879 w 262585"/>
                  <a:gd name="connsiteY1148" fmla="*/ 354862 h 436985"/>
                  <a:gd name="connsiteX1149" fmla="*/ 606 w 262585"/>
                  <a:gd name="connsiteY1149" fmla="*/ 355468 h 436985"/>
                  <a:gd name="connsiteX1150" fmla="*/ 78185 w 262585"/>
                  <a:gd name="connsiteY1150" fmla="*/ 264252 h 436985"/>
                  <a:gd name="connsiteX1151" fmla="*/ 78791 w 262585"/>
                  <a:gd name="connsiteY1151" fmla="*/ 263798 h 436985"/>
                  <a:gd name="connsiteX1152" fmla="*/ 79548 w 262585"/>
                  <a:gd name="connsiteY1152" fmla="*/ 261676 h 436985"/>
                  <a:gd name="connsiteX1153" fmla="*/ 78943 w 262585"/>
                  <a:gd name="connsiteY1153" fmla="*/ 260161 h 436985"/>
                  <a:gd name="connsiteX1154" fmla="*/ 78034 w 262585"/>
                  <a:gd name="connsiteY1154" fmla="*/ 260464 h 436985"/>
                  <a:gd name="connsiteX1155" fmla="*/ 76215 w 262585"/>
                  <a:gd name="connsiteY1155" fmla="*/ 261676 h 436985"/>
                  <a:gd name="connsiteX1156" fmla="*/ 75306 w 262585"/>
                  <a:gd name="connsiteY1156" fmla="*/ 261676 h 436985"/>
                  <a:gd name="connsiteX1157" fmla="*/ 75457 w 262585"/>
                  <a:gd name="connsiteY1157" fmla="*/ 262888 h 436985"/>
                  <a:gd name="connsiteX1158" fmla="*/ 77276 w 262585"/>
                  <a:gd name="connsiteY1158" fmla="*/ 263495 h 436985"/>
                  <a:gd name="connsiteX1159" fmla="*/ 78185 w 262585"/>
                  <a:gd name="connsiteY1159" fmla="*/ 264252 h 436985"/>
                  <a:gd name="connsiteX1160" fmla="*/ 9849 w 262585"/>
                  <a:gd name="connsiteY1160" fmla="*/ 348498 h 436985"/>
                  <a:gd name="connsiteX1161" fmla="*/ 8485 w 262585"/>
                  <a:gd name="connsiteY1161" fmla="*/ 348346 h 436985"/>
                  <a:gd name="connsiteX1162" fmla="*/ 8182 w 262585"/>
                  <a:gd name="connsiteY1162" fmla="*/ 350013 h 436985"/>
                  <a:gd name="connsiteX1163" fmla="*/ 8637 w 262585"/>
                  <a:gd name="connsiteY1163" fmla="*/ 351680 h 436985"/>
                  <a:gd name="connsiteX1164" fmla="*/ 10455 w 262585"/>
                  <a:gd name="connsiteY1164" fmla="*/ 351074 h 436985"/>
                  <a:gd name="connsiteX1165" fmla="*/ 10455 w 262585"/>
                  <a:gd name="connsiteY1165" fmla="*/ 349104 h 436985"/>
                  <a:gd name="connsiteX1166" fmla="*/ 9849 w 262585"/>
                  <a:gd name="connsiteY1166" fmla="*/ 348498 h 436985"/>
                  <a:gd name="connsiteX1167" fmla="*/ 72427 w 262585"/>
                  <a:gd name="connsiteY1167" fmla="*/ 282738 h 436985"/>
                  <a:gd name="connsiteX1168" fmla="*/ 70003 w 262585"/>
                  <a:gd name="connsiteY1168" fmla="*/ 275919 h 436985"/>
                  <a:gd name="connsiteX1169" fmla="*/ 70912 w 262585"/>
                  <a:gd name="connsiteY1169" fmla="*/ 273343 h 436985"/>
                  <a:gd name="connsiteX1170" fmla="*/ 70154 w 262585"/>
                  <a:gd name="connsiteY1170" fmla="*/ 271828 h 436985"/>
                  <a:gd name="connsiteX1171" fmla="*/ 70154 w 262585"/>
                  <a:gd name="connsiteY1171" fmla="*/ 270313 h 436985"/>
                  <a:gd name="connsiteX1172" fmla="*/ 70912 w 262585"/>
                  <a:gd name="connsiteY1172" fmla="*/ 267283 h 436985"/>
                  <a:gd name="connsiteX1173" fmla="*/ 70760 w 262585"/>
                  <a:gd name="connsiteY1173" fmla="*/ 266071 h 436985"/>
                  <a:gd name="connsiteX1174" fmla="*/ 69397 w 262585"/>
                  <a:gd name="connsiteY1174" fmla="*/ 265161 h 436985"/>
                  <a:gd name="connsiteX1175" fmla="*/ 68488 w 262585"/>
                  <a:gd name="connsiteY1175" fmla="*/ 266676 h 436985"/>
                  <a:gd name="connsiteX1176" fmla="*/ 65002 w 262585"/>
                  <a:gd name="connsiteY1176" fmla="*/ 273798 h 436985"/>
                  <a:gd name="connsiteX1177" fmla="*/ 64093 w 262585"/>
                  <a:gd name="connsiteY1177" fmla="*/ 275465 h 436985"/>
                  <a:gd name="connsiteX1178" fmla="*/ 62881 w 262585"/>
                  <a:gd name="connsiteY1178" fmla="*/ 278950 h 436985"/>
                  <a:gd name="connsiteX1179" fmla="*/ 63791 w 262585"/>
                  <a:gd name="connsiteY1179" fmla="*/ 281525 h 436985"/>
                  <a:gd name="connsiteX1180" fmla="*/ 64245 w 262585"/>
                  <a:gd name="connsiteY1180" fmla="*/ 283344 h 436985"/>
                  <a:gd name="connsiteX1181" fmla="*/ 63487 w 262585"/>
                  <a:gd name="connsiteY1181" fmla="*/ 286526 h 436985"/>
                  <a:gd name="connsiteX1182" fmla="*/ 61821 w 262585"/>
                  <a:gd name="connsiteY1182" fmla="*/ 289253 h 436985"/>
                  <a:gd name="connsiteX1183" fmla="*/ 60760 w 262585"/>
                  <a:gd name="connsiteY1183" fmla="*/ 290314 h 436985"/>
                  <a:gd name="connsiteX1184" fmla="*/ 59548 w 262585"/>
                  <a:gd name="connsiteY1184" fmla="*/ 291071 h 436985"/>
                  <a:gd name="connsiteX1185" fmla="*/ 57881 w 262585"/>
                  <a:gd name="connsiteY1185" fmla="*/ 291677 h 436985"/>
                  <a:gd name="connsiteX1186" fmla="*/ 56366 w 262585"/>
                  <a:gd name="connsiteY1186" fmla="*/ 292587 h 436985"/>
                  <a:gd name="connsiteX1187" fmla="*/ 51517 w 262585"/>
                  <a:gd name="connsiteY1187" fmla="*/ 298647 h 436985"/>
                  <a:gd name="connsiteX1188" fmla="*/ 50760 w 262585"/>
                  <a:gd name="connsiteY1188" fmla="*/ 299405 h 436985"/>
                  <a:gd name="connsiteX1189" fmla="*/ 48183 w 262585"/>
                  <a:gd name="connsiteY1189" fmla="*/ 301375 h 436985"/>
                  <a:gd name="connsiteX1190" fmla="*/ 42881 w 262585"/>
                  <a:gd name="connsiteY1190" fmla="*/ 308042 h 436985"/>
                  <a:gd name="connsiteX1191" fmla="*/ 37729 w 262585"/>
                  <a:gd name="connsiteY1191" fmla="*/ 313345 h 436985"/>
                  <a:gd name="connsiteX1192" fmla="*/ 31517 w 262585"/>
                  <a:gd name="connsiteY1192" fmla="*/ 320315 h 436985"/>
                  <a:gd name="connsiteX1193" fmla="*/ 29092 w 262585"/>
                  <a:gd name="connsiteY1193" fmla="*/ 322436 h 436985"/>
                  <a:gd name="connsiteX1194" fmla="*/ 28032 w 262585"/>
                  <a:gd name="connsiteY1194" fmla="*/ 322891 h 436985"/>
                  <a:gd name="connsiteX1195" fmla="*/ 26668 w 262585"/>
                  <a:gd name="connsiteY1195" fmla="*/ 322891 h 436985"/>
                  <a:gd name="connsiteX1196" fmla="*/ 25455 w 262585"/>
                  <a:gd name="connsiteY1196" fmla="*/ 323194 h 436985"/>
                  <a:gd name="connsiteX1197" fmla="*/ 21667 w 262585"/>
                  <a:gd name="connsiteY1197" fmla="*/ 327133 h 436985"/>
                  <a:gd name="connsiteX1198" fmla="*/ 17577 w 262585"/>
                  <a:gd name="connsiteY1198" fmla="*/ 330618 h 436985"/>
                  <a:gd name="connsiteX1199" fmla="*/ 15909 w 262585"/>
                  <a:gd name="connsiteY1199" fmla="*/ 332436 h 436985"/>
                  <a:gd name="connsiteX1200" fmla="*/ 12880 w 262585"/>
                  <a:gd name="connsiteY1200" fmla="*/ 336224 h 436985"/>
                  <a:gd name="connsiteX1201" fmla="*/ 11061 w 262585"/>
                  <a:gd name="connsiteY1201" fmla="*/ 337740 h 436985"/>
                  <a:gd name="connsiteX1202" fmla="*/ 8485 w 262585"/>
                  <a:gd name="connsiteY1202" fmla="*/ 342437 h 436985"/>
                  <a:gd name="connsiteX1203" fmla="*/ 7728 w 262585"/>
                  <a:gd name="connsiteY1203" fmla="*/ 344710 h 436985"/>
                  <a:gd name="connsiteX1204" fmla="*/ 7424 w 262585"/>
                  <a:gd name="connsiteY1204" fmla="*/ 347134 h 436985"/>
                  <a:gd name="connsiteX1205" fmla="*/ 10001 w 262585"/>
                  <a:gd name="connsiteY1205" fmla="*/ 345164 h 436985"/>
                  <a:gd name="connsiteX1206" fmla="*/ 12728 w 262585"/>
                  <a:gd name="connsiteY1206" fmla="*/ 343649 h 436985"/>
                  <a:gd name="connsiteX1207" fmla="*/ 14243 w 262585"/>
                  <a:gd name="connsiteY1207" fmla="*/ 343194 h 436985"/>
                  <a:gd name="connsiteX1208" fmla="*/ 15607 w 262585"/>
                  <a:gd name="connsiteY1208" fmla="*/ 342437 h 436985"/>
                  <a:gd name="connsiteX1209" fmla="*/ 16213 w 262585"/>
                  <a:gd name="connsiteY1209" fmla="*/ 340922 h 436985"/>
                  <a:gd name="connsiteX1210" fmla="*/ 17122 w 262585"/>
                  <a:gd name="connsiteY1210" fmla="*/ 339710 h 436985"/>
                  <a:gd name="connsiteX1211" fmla="*/ 20001 w 262585"/>
                  <a:gd name="connsiteY1211" fmla="*/ 338800 h 436985"/>
                  <a:gd name="connsiteX1212" fmla="*/ 22728 w 262585"/>
                  <a:gd name="connsiteY1212" fmla="*/ 337437 h 436985"/>
                  <a:gd name="connsiteX1213" fmla="*/ 25759 w 262585"/>
                  <a:gd name="connsiteY1213" fmla="*/ 335467 h 436985"/>
                  <a:gd name="connsiteX1214" fmla="*/ 28486 w 262585"/>
                  <a:gd name="connsiteY1214" fmla="*/ 333346 h 436985"/>
                  <a:gd name="connsiteX1215" fmla="*/ 30607 w 262585"/>
                  <a:gd name="connsiteY1215" fmla="*/ 330467 h 436985"/>
                  <a:gd name="connsiteX1216" fmla="*/ 32426 w 262585"/>
                  <a:gd name="connsiteY1216" fmla="*/ 327285 h 436985"/>
                  <a:gd name="connsiteX1217" fmla="*/ 35001 w 262585"/>
                  <a:gd name="connsiteY1217" fmla="*/ 325467 h 436985"/>
                  <a:gd name="connsiteX1218" fmla="*/ 38335 w 262585"/>
                  <a:gd name="connsiteY1218" fmla="*/ 324558 h 436985"/>
                  <a:gd name="connsiteX1219" fmla="*/ 40607 w 262585"/>
                  <a:gd name="connsiteY1219" fmla="*/ 323042 h 436985"/>
                  <a:gd name="connsiteX1220" fmla="*/ 42577 w 262585"/>
                  <a:gd name="connsiteY1220" fmla="*/ 320921 h 436985"/>
                  <a:gd name="connsiteX1221" fmla="*/ 44395 w 262585"/>
                  <a:gd name="connsiteY1221" fmla="*/ 318497 h 436985"/>
                  <a:gd name="connsiteX1222" fmla="*/ 50002 w 262585"/>
                  <a:gd name="connsiteY1222" fmla="*/ 309102 h 436985"/>
                  <a:gd name="connsiteX1223" fmla="*/ 49548 w 262585"/>
                  <a:gd name="connsiteY1223" fmla="*/ 306527 h 436985"/>
                  <a:gd name="connsiteX1224" fmla="*/ 50305 w 262585"/>
                  <a:gd name="connsiteY1224" fmla="*/ 305011 h 436985"/>
                  <a:gd name="connsiteX1225" fmla="*/ 51669 w 262585"/>
                  <a:gd name="connsiteY1225" fmla="*/ 304102 h 436985"/>
                  <a:gd name="connsiteX1226" fmla="*/ 54850 w 262585"/>
                  <a:gd name="connsiteY1226" fmla="*/ 302890 h 436985"/>
                  <a:gd name="connsiteX1227" fmla="*/ 61517 w 262585"/>
                  <a:gd name="connsiteY1227" fmla="*/ 301072 h 436985"/>
                  <a:gd name="connsiteX1228" fmla="*/ 62275 w 262585"/>
                  <a:gd name="connsiteY1228" fmla="*/ 300011 h 436985"/>
                  <a:gd name="connsiteX1229" fmla="*/ 62578 w 262585"/>
                  <a:gd name="connsiteY1229" fmla="*/ 298647 h 436985"/>
                  <a:gd name="connsiteX1230" fmla="*/ 64093 w 262585"/>
                  <a:gd name="connsiteY1230" fmla="*/ 295920 h 436985"/>
                  <a:gd name="connsiteX1231" fmla="*/ 66366 w 262585"/>
                  <a:gd name="connsiteY1231" fmla="*/ 293799 h 436985"/>
                  <a:gd name="connsiteX1232" fmla="*/ 67881 w 262585"/>
                  <a:gd name="connsiteY1232" fmla="*/ 293041 h 436985"/>
                  <a:gd name="connsiteX1233" fmla="*/ 71063 w 262585"/>
                  <a:gd name="connsiteY1233" fmla="*/ 292284 h 436985"/>
                  <a:gd name="connsiteX1234" fmla="*/ 72578 w 262585"/>
                  <a:gd name="connsiteY1234" fmla="*/ 291526 h 436985"/>
                  <a:gd name="connsiteX1235" fmla="*/ 75155 w 262585"/>
                  <a:gd name="connsiteY1235" fmla="*/ 288950 h 436985"/>
                  <a:gd name="connsiteX1236" fmla="*/ 75155 w 262585"/>
                  <a:gd name="connsiteY1236" fmla="*/ 287586 h 436985"/>
                  <a:gd name="connsiteX1237" fmla="*/ 72427 w 262585"/>
                  <a:gd name="connsiteY1237" fmla="*/ 282738 h 43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Lst>
                <a:rect l="l" t="t" r="r" b="b"/>
                <a:pathLst>
                  <a:path w="262585" h="436985">
                    <a:moveTo>
                      <a:pt x="186219" y="236979"/>
                    </a:moveTo>
                    <a:lnTo>
                      <a:pt x="186068" y="234554"/>
                    </a:lnTo>
                    <a:lnTo>
                      <a:pt x="184250" y="230160"/>
                    </a:lnTo>
                    <a:lnTo>
                      <a:pt x="181825" y="228342"/>
                    </a:lnTo>
                    <a:lnTo>
                      <a:pt x="180916" y="229554"/>
                    </a:lnTo>
                    <a:lnTo>
                      <a:pt x="181825" y="231221"/>
                    </a:lnTo>
                    <a:lnTo>
                      <a:pt x="185159" y="235918"/>
                    </a:lnTo>
                    <a:lnTo>
                      <a:pt x="186219" y="236979"/>
                    </a:lnTo>
                    <a:close/>
                    <a:moveTo>
                      <a:pt x="184250" y="267737"/>
                    </a:moveTo>
                    <a:lnTo>
                      <a:pt x="185007" y="270465"/>
                    </a:lnTo>
                    <a:lnTo>
                      <a:pt x="187129" y="270465"/>
                    </a:lnTo>
                    <a:lnTo>
                      <a:pt x="185461" y="266828"/>
                    </a:lnTo>
                    <a:lnTo>
                      <a:pt x="185007" y="266980"/>
                    </a:lnTo>
                    <a:lnTo>
                      <a:pt x="184250" y="267737"/>
                    </a:lnTo>
                    <a:close/>
                    <a:moveTo>
                      <a:pt x="170613" y="222129"/>
                    </a:moveTo>
                    <a:lnTo>
                      <a:pt x="166219" y="216372"/>
                    </a:lnTo>
                    <a:lnTo>
                      <a:pt x="165460" y="216220"/>
                    </a:lnTo>
                    <a:lnTo>
                      <a:pt x="163794" y="216523"/>
                    </a:lnTo>
                    <a:lnTo>
                      <a:pt x="163491" y="217887"/>
                    </a:lnTo>
                    <a:lnTo>
                      <a:pt x="164097" y="218493"/>
                    </a:lnTo>
                    <a:lnTo>
                      <a:pt x="166370" y="219705"/>
                    </a:lnTo>
                    <a:lnTo>
                      <a:pt x="169400" y="222887"/>
                    </a:lnTo>
                    <a:lnTo>
                      <a:pt x="172279" y="224857"/>
                    </a:lnTo>
                    <a:lnTo>
                      <a:pt x="174855" y="227736"/>
                    </a:lnTo>
                    <a:lnTo>
                      <a:pt x="172582" y="223493"/>
                    </a:lnTo>
                    <a:lnTo>
                      <a:pt x="170613" y="222129"/>
                    </a:lnTo>
                    <a:close/>
                    <a:moveTo>
                      <a:pt x="180158" y="234857"/>
                    </a:moveTo>
                    <a:lnTo>
                      <a:pt x="177583" y="233342"/>
                    </a:lnTo>
                    <a:lnTo>
                      <a:pt x="174097" y="232130"/>
                    </a:lnTo>
                    <a:lnTo>
                      <a:pt x="171370" y="231069"/>
                    </a:lnTo>
                    <a:lnTo>
                      <a:pt x="171522" y="233493"/>
                    </a:lnTo>
                    <a:lnTo>
                      <a:pt x="172279" y="236221"/>
                    </a:lnTo>
                    <a:lnTo>
                      <a:pt x="171673" y="238039"/>
                    </a:lnTo>
                    <a:lnTo>
                      <a:pt x="170764" y="244100"/>
                    </a:lnTo>
                    <a:lnTo>
                      <a:pt x="169248" y="247888"/>
                    </a:lnTo>
                    <a:lnTo>
                      <a:pt x="169248" y="249100"/>
                    </a:lnTo>
                    <a:lnTo>
                      <a:pt x="172886" y="246070"/>
                    </a:lnTo>
                    <a:lnTo>
                      <a:pt x="176370" y="241676"/>
                    </a:lnTo>
                    <a:lnTo>
                      <a:pt x="177885" y="241069"/>
                    </a:lnTo>
                    <a:lnTo>
                      <a:pt x="179401" y="241676"/>
                    </a:lnTo>
                    <a:lnTo>
                      <a:pt x="181673" y="244555"/>
                    </a:lnTo>
                    <a:lnTo>
                      <a:pt x="183189" y="245161"/>
                    </a:lnTo>
                    <a:lnTo>
                      <a:pt x="183341" y="245767"/>
                    </a:lnTo>
                    <a:lnTo>
                      <a:pt x="185007" y="247130"/>
                    </a:lnTo>
                    <a:lnTo>
                      <a:pt x="184704" y="248494"/>
                    </a:lnTo>
                    <a:lnTo>
                      <a:pt x="185461" y="248949"/>
                    </a:lnTo>
                    <a:lnTo>
                      <a:pt x="188038" y="249555"/>
                    </a:lnTo>
                    <a:lnTo>
                      <a:pt x="191674" y="252131"/>
                    </a:lnTo>
                    <a:lnTo>
                      <a:pt x="193341" y="253949"/>
                    </a:lnTo>
                    <a:lnTo>
                      <a:pt x="193644" y="252282"/>
                    </a:lnTo>
                    <a:lnTo>
                      <a:pt x="193189" y="248040"/>
                    </a:lnTo>
                    <a:lnTo>
                      <a:pt x="189553" y="242433"/>
                    </a:lnTo>
                    <a:lnTo>
                      <a:pt x="184250" y="239100"/>
                    </a:lnTo>
                    <a:lnTo>
                      <a:pt x="180310" y="235766"/>
                    </a:lnTo>
                    <a:lnTo>
                      <a:pt x="180158" y="234857"/>
                    </a:lnTo>
                    <a:close/>
                    <a:moveTo>
                      <a:pt x="154096" y="239251"/>
                    </a:moveTo>
                    <a:lnTo>
                      <a:pt x="155460" y="238645"/>
                    </a:lnTo>
                    <a:lnTo>
                      <a:pt x="156218" y="236675"/>
                    </a:lnTo>
                    <a:lnTo>
                      <a:pt x="155915" y="235463"/>
                    </a:lnTo>
                    <a:lnTo>
                      <a:pt x="153946" y="233645"/>
                    </a:lnTo>
                    <a:lnTo>
                      <a:pt x="150308" y="233645"/>
                    </a:lnTo>
                    <a:lnTo>
                      <a:pt x="148945" y="234706"/>
                    </a:lnTo>
                    <a:lnTo>
                      <a:pt x="149399" y="235463"/>
                    </a:lnTo>
                    <a:lnTo>
                      <a:pt x="151067" y="236675"/>
                    </a:lnTo>
                    <a:lnTo>
                      <a:pt x="154096" y="239251"/>
                    </a:lnTo>
                    <a:close/>
                    <a:moveTo>
                      <a:pt x="188795" y="311072"/>
                    </a:moveTo>
                    <a:lnTo>
                      <a:pt x="190613" y="312436"/>
                    </a:lnTo>
                    <a:lnTo>
                      <a:pt x="195765" y="313042"/>
                    </a:lnTo>
                    <a:lnTo>
                      <a:pt x="202281" y="312133"/>
                    </a:lnTo>
                    <a:lnTo>
                      <a:pt x="203492" y="311527"/>
                    </a:lnTo>
                    <a:lnTo>
                      <a:pt x="205462" y="308951"/>
                    </a:lnTo>
                    <a:lnTo>
                      <a:pt x="206220" y="308799"/>
                    </a:lnTo>
                    <a:lnTo>
                      <a:pt x="208341" y="308951"/>
                    </a:lnTo>
                    <a:lnTo>
                      <a:pt x="208644" y="307890"/>
                    </a:lnTo>
                    <a:lnTo>
                      <a:pt x="208341" y="306678"/>
                    </a:lnTo>
                    <a:lnTo>
                      <a:pt x="207584" y="305314"/>
                    </a:lnTo>
                    <a:lnTo>
                      <a:pt x="208189" y="301223"/>
                    </a:lnTo>
                    <a:lnTo>
                      <a:pt x="205765" y="300163"/>
                    </a:lnTo>
                    <a:lnTo>
                      <a:pt x="203492" y="298496"/>
                    </a:lnTo>
                    <a:lnTo>
                      <a:pt x="202583" y="298344"/>
                    </a:lnTo>
                    <a:lnTo>
                      <a:pt x="201977" y="298041"/>
                    </a:lnTo>
                    <a:lnTo>
                      <a:pt x="201522" y="297587"/>
                    </a:lnTo>
                    <a:lnTo>
                      <a:pt x="197129" y="298193"/>
                    </a:lnTo>
                    <a:lnTo>
                      <a:pt x="195007" y="300163"/>
                    </a:lnTo>
                    <a:lnTo>
                      <a:pt x="194098" y="301829"/>
                    </a:lnTo>
                    <a:lnTo>
                      <a:pt x="190007" y="304102"/>
                    </a:lnTo>
                    <a:lnTo>
                      <a:pt x="188795" y="305163"/>
                    </a:lnTo>
                    <a:lnTo>
                      <a:pt x="187583" y="306829"/>
                    </a:lnTo>
                    <a:lnTo>
                      <a:pt x="187886" y="308345"/>
                    </a:lnTo>
                    <a:lnTo>
                      <a:pt x="188795" y="311072"/>
                    </a:lnTo>
                    <a:close/>
                    <a:moveTo>
                      <a:pt x="155915" y="281829"/>
                    </a:moveTo>
                    <a:lnTo>
                      <a:pt x="155309" y="282283"/>
                    </a:lnTo>
                    <a:lnTo>
                      <a:pt x="154703" y="283041"/>
                    </a:lnTo>
                    <a:lnTo>
                      <a:pt x="152278" y="285465"/>
                    </a:lnTo>
                    <a:lnTo>
                      <a:pt x="151672" y="288647"/>
                    </a:lnTo>
                    <a:lnTo>
                      <a:pt x="152278" y="290465"/>
                    </a:lnTo>
                    <a:lnTo>
                      <a:pt x="153946" y="289405"/>
                    </a:lnTo>
                    <a:lnTo>
                      <a:pt x="154551" y="289405"/>
                    </a:lnTo>
                    <a:lnTo>
                      <a:pt x="155309" y="289101"/>
                    </a:lnTo>
                    <a:lnTo>
                      <a:pt x="156218" y="288344"/>
                    </a:lnTo>
                    <a:lnTo>
                      <a:pt x="157734" y="284101"/>
                    </a:lnTo>
                    <a:lnTo>
                      <a:pt x="157582" y="282738"/>
                    </a:lnTo>
                    <a:lnTo>
                      <a:pt x="156825" y="281829"/>
                    </a:lnTo>
                    <a:lnTo>
                      <a:pt x="155915" y="281829"/>
                    </a:lnTo>
                    <a:close/>
                    <a:moveTo>
                      <a:pt x="202735" y="283495"/>
                    </a:moveTo>
                    <a:lnTo>
                      <a:pt x="202432" y="283192"/>
                    </a:lnTo>
                    <a:lnTo>
                      <a:pt x="201371" y="282738"/>
                    </a:lnTo>
                    <a:lnTo>
                      <a:pt x="200159" y="285617"/>
                    </a:lnTo>
                    <a:lnTo>
                      <a:pt x="200917" y="285465"/>
                    </a:lnTo>
                    <a:lnTo>
                      <a:pt x="202735" y="284707"/>
                    </a:lnTo>
                    <a:lnTo>
                      <a:pt x="202735" y="283495"/>
                    </a:lnTo>
                    <a:close/>
                    <a:moveTo>
                      <a:pt x="205462" y="261222"/>
                    </a:moveTo>
                    <a:lnTo>
                      <a:pt x="208947" y="261070"/>
                    </a:lnTo>
                    <a:lnTo>
                      <a:pt x="209402" y="259555"/>
                    </a:lnTo>
                    <a:lnTo>
                      <a:pt x="207887" y="257131"/>
                    </a:lnTo>
                    <a:lnTo>
                      <a:pt x="206371" y="255767"/>
                    </a:lnTo>
                    <a:lnTo>
                      <a:pt x="204401" y="255616"/>
                    </a:lnTo>
                    <a:lnTo>
                      <a:pt x="202281" y="256373"/>
                    </a:lnTo>
                    <a:lnTo>
                      <a:pt x="204099" y="260010"/>
                    </a:lnTo>
                    <a:lnTo>
                      <a:pt x="205462" y="261222"/>
                    </a:lnTo>
                    <a:close/>
                    <a:moveTo>
                      <a:pt x="153037" y="316375"/>
                    </a:moveTo>
                    <a:lnTo>
                      <a:pt x="154400" y="317436"/>
                    </a:lnTo>
                    <a:lnTo>
                      <a:pt x="155915" y="318345"/>
                    </a:lnTo>
                    <a:lnTo>
                      <a:pt x="158793" y="319406"/>
                    </a:lnTo>
                    <a:lnTo>
                      <a:pt x="161370" y="320769"/>
                    </a:lnTo>
                    <a:lnTo>
                      <a:pt x="163642" y="326527"/>
                    </a:lnTo>
                    <a:lnTo>
                      <a:pt x="164855" y="327891"/>
                    </a:lnTo>
                    <a:lnTo>
                      <a:pt x="166825" y="328042"/>
                    </a:lnTo>
                    <a:lnTo>
                      <a:pt x="168643" y="327739"/>
                    </a:lnTo>
                    <a:lnTo>
                      <a:pt x="170309" y="327133"/>
                    </a:lnTo>
                    <a:lnTo>
                      <a:pt x="171370" y="326224"/>
                    </a:lnTo>
                    <a:lnTo>
                      <a:pt x="173188" y="323648"/>
                    </a:lnTo>
                    <a:lnTo>
                      <a:pt x="173946" y="322133"/>
                    </a:lnTo>
                    <a:lnTo>
                      <a:pt x="173946" y="320921"/>
                    </a:lnTo>
                    <a:lnTo>
                      <a:pt x="173643" y="319860"/>
                    </a:lnTo>
                    <a:lnTo>
                      <a:pt x="169248" y="313042"/>
                    </a:lnTo>
                    <a:lnTo>
                      <a:pt x="169248" y="311527"/>
                    </a:lnTo>
                    <a:lnTo>
                      <a:pt x="169552" y="310011"/>
                    </a:lnTo>
                    <a:lnTo>
                      <a:pt x="169552" y="305920"/>
                    </a:lnTo>
                    <a:lnTo>
                      <a:pt x="170158" y="304102"/>
                    </a:lnTo>
                    <a:lnTo>
                      <a:pt x="172279" y="300617"/>
                    </a:lnTo>
                    <a:lnTo>
                      <a:pt x="173036" y="298799"/>
                    </a:lnTo>
                    <a:lnTo>
                      <a:pt x="174401" y="293344"/>
                    </a:lnTo>
                    <a:lnTo>
                      <a:pt x="176067" y="289708"/>
                    </a:lnTo>
                    <a:lnTo>
                      <a:pt x="178492" y="286374"/>
                    </a:lnTo>
                    <a:lnTo>
                      <a:pt x="179401" y="284253"/>
                    </a:lnTo>
                    <a:lnTo>
                      <a:pt x="180462" y="280919"/>
                    </a:lnTo>
                    <a:lnTo>
                      <a:pt x="180310" y="280010"/>
                    </a:lnTo>
                    <a:lnTo>
                      <a:pt x="178946" y="277131"/>
                    </a:lnTo>
                    <a:lnTo>
                      <a:pt x="171977" y="275162"/>
                    </a:lnTo>
                    <a:lnTo>
                      <a:pt x="171067" y="275313"/>
                    </a:lnTo>
                    <a:lnTo>
                      <a:pt x="165612" y="277435"/>
                    </a:lnTo>
                    <a:lnTo>
                      <a:pt x="164551" y="278192"/>
                    </a:lnTo>
                    <a:lnTo>
                      <a:pt x="164249" y="279556"/>
                    </a:lnTo>
                    <a:lnTo>
                      <a:pt x="164249" y="281525"/>
                    </a:lnTo>
                    <a:lnTo>
                      <a:pt x="163946" y="283344"/>
                    </a:lnTo>
                    <a:lnTo>
                      <a:pt x="162581" y="285920"/>
                    </a:lnTo>
                    <a:lnTo>
                      <a:pt x="161218" y="287283"/>
                    </a:lnTo>
                    <a:lnTo>
                      <a:pt x="160158" y="288647"/>
                    </a:lnTo>
                    <a:lnTo>
                      <a:pt x="161067" y="291677"/>
                    </a:lnTo>
                    <a:lnTo>
                      <a:pt x="161522" y="294708"/>
                    </a:lnTo>
                    <a:lnTo>
                      <a:pt x="161522" y="299102"/>
                    </a:lnTo>
                    <a:lnTo>
                      <a:pt x="161218" y="300163"/>
                    </a:lnTo>
                    <a:lnTo>
                      <a:pt x="157279" y="302890"/>
                    </a:lnTo>
                    <a:lnTo>
                      <a:pt x="155460" y="303193"/>
                    </a:lnTo>
                    <a:lnTo>
                      <a:pt x="151976" y="303193"/>
                    </a:lnTo>
                    <a:lnTo>
                      <a:pt x="150612" y="303648"/>
                    </a:lnTo>
                    <a:lnTo>
                      <a:pt x="149399" y="305466"/>
                    </a:lnTo>
                    <a:lnTo>
                      <a:pt x="148642" y="307436"/>
                    </a:lnTo>
                    <a:lnTo>
                      <a:pt x="148945" y="310921"/>
                    </a:lnTo>
                    <a:lnTo>
                      <a:pt x="153037" y="316375"/>
                    </a:lnTo>
                    <a:close/>
                    <a:moveTo>
                      <a:pt x="214402" y="259252"/>
                    </a:moveTo>
                    <a:lnTo>
                      <a:pt x="215160" y="259707"/>
                    </a:lnTo>
                    <a:lnTo>
                      <a:pt x="215614" y="258343"/>
                    </a:lnTo>
                    <a:lnTo>
                      <a:pt x="214705" y="257434"/>
                    </a:lnTo>
                    <a:lnTo>
                      <a:pt x="213796" y="255919"/>
                    </a:lnTo>
                    <a:lnTo>
                      <a:pt x="212281" y="255009"/>
                    </a:lnTo>
                    <a:lnTo>
                      <a:pt x="212584" y="256525"/>
                    </a:lnTo>
                    <a:lnTo>
                      <a:pt x="213645" y="258646"/>
                    </a:lnTo>
                    <a:lnTo>
                      <a:pt x="214402" y="259252"/>
                    </a:lnTo>
                    <a:close/>
                    <a:moveTo>
                      <a:pt x="140460" y="229099"/>
                    </a:moveTo>
                    <a:lnTo>
                      <a:pt x="137733" y="230463"/>
                    </a:lnTo>
                    <a:lnTo>
                      <a:pt x="137429" y="235009"/>
                    </a:lnTo>
                    <a:lnTo>
                      <a:pt x="136065" y="236372"/>
                    </a:lnTo>
                    <a:lnTo>
                      <a:pt x="135611" y="237888"/>
                    </a:lnTo>
                    <a:lnTo>
                      <a:pt x="135915" y="238948"/>
                    </a:lnTo>
                    <a:lnTo>
                      <a:pt x="137126" y="240160"/>
                    </a:lnTo>
                    <a:lnTo>
                      <a:pt x="136520" y="241676"/>
                    </a:lnTo>
                    <a:lnTo>
                      <a:pt x="138035" y="244100"/>
                    </a:lnTo>
                    <a:lnTo>
                      <a:pt x="140157" y="237281"/>
                    </a:lnTo>
                    <a:lnTo>
                      <a:pt x="141217" y="232281"/>
                    </a:lnTo>
                    <a:lnTo>
                      <a:pt x="141217" y="230160"/>
                    </a:lnTo>
                    <a:lnTo>
                      <a:pt x="141672" y="229099"/>
                    </a:lnTo>
                    <a:lnTo>
                      <a:pt x="140460" y="229099"/>
                    </a:lnTo>
                    <a:close/>
                    <a:moveTo>
                      <a:pt x="201220" y="235918"/>
                    </a:moveTo>
                    <a:lnTo>
                      <a:pt x="202887" y="240312"/>
                    </a:lnTo>
                    <a:lnTo>
                      <a:pt x="204553" y="242888"/>
                    </a:lnTo>
                    <a:lnTo>
                      <a:pt x="206826" y="244857"/>
                    </a:lnTo>
                    <a:lnTo>
                      <a:pt x="208038" y="245464"/>
                    </a:lnTo>
                    <a:lnTo>
                      <a:pt x="210917" y="246373"/>
                    </a:lnTo>
                    <a:lnTo>
                      <a:pt x="212887" y="248797"/>
                    </a:lnTo>
                    <a:lnTo>
                      <a:pt x="214099" y="249858"/>
                    </a:lnTo>
                    <a:lnTo>
                      <a:pt x="214856" y="251070"/>
                    </a:lnTo>
                    <a:lnTo>
                      <a:pt x="216523" y="253191"/>
                    </a:lnTo>
                    <a:lnTo>
                      <a:pt x="217887" y="253797"/>
                    </a:lnTo>
                    <a:lnTo>
                      <a:pt x="219553" y="253494"/>
                    </a:lnTo>
                    <a:lnTo>
                      <a:pt x="219705" y="255161"/>
                    </a:lnTo>
                    <a:lnTo>
                      <a:pt x="219251" y="256979"/>
                    </a:lnTo>
                    <a:lnTo>
                      <a:pt x="217584" y="259252"/>
                    </a:lnTo>
                    <a:lnTo>
                      <a:pt x="218342" y="261373"/>
                    </a:lnTo>
                    <a:lnTo>
                      <a:pt x="220766" y="265161"/>
                    </a:lnTo>
                    <a:lnTo>
                      <a:pt x="222281" y="266676"/>
                    </a:lnTo>
                    <a:lnTo>
                      <a:pt x="224099" y="267283"/>
                    </a:lnTo>
                    <a:lnTo>
                      <a:pt x="226220" y="270616"/>
                    </a:lnTo>
                    <a:lnTo>
                      <a:pt x="228342" y="270768"/>
                    </a:lnTo>
                    <a:lnTo>
                      <a:pt x="231675" y="271525"/>
                    </a:lnTo>
                    <a:lnTo>
                      <a:pt x="236979" y="270919"/>
                    </a:lnTo>
                    <a:lnTo>
                      <a:pt x="238191" y="271222"/>
                    </a:lnTo>
                    <a:lnTo>
                      <a:pt x="239858" y="273192"/>
                    </a:lnTo>
                    <a:lnTo>
                      <a:pt x="240161" y="272586"/>
                    </a:lnTo>
                    <a:lnTo>
                      <a:pt x="238949" y="270010"/>
                    </a:lnTo>
                    <a:lnTo>
                      <a:pt x="236827" y="268040"/>
                    </a:lnTo>
                    <a:lnTo>
                      <a:pt x="235312" y="267889"/>
                    </a:lnTo>
                    <a:lnTo>
                      <a:pt x="235615" y="266828"/>
                    </a:lnTo>
                    <a:lnTo>
                      <a:pt x="236373" y="265616"/>
                    </a:lnTo>
                    <a:lnTo>
                      <a:pt x="235918" y="264101"/>
                    </a:lnTo>
                    <a:lnTo>
                      <a:pt x="233494" y="259555"/>
                    </a:lnTo>
                    <a:lnTo>
                      <a:pt x="233039" y="258191"/>
                    </a:lnTo>
                    <a:lnTo>
                      <a:pt x="233191" y="256525"/>
                    </a:lnTo>
                    <a:lnTo>
                      <a:pt x="233039" y="254858"/>
                    </a:lnTo>
                    <a:lnTo>
                      <a:pt x="232130" y="253191"/>
                    </a:lnTo>
                    <a:lnTo>
                      <a:pt x="231978" y="248191"/>
                    </a:lnTo>
                    <a:lnTo>
                      <a:pt x="233494" y="245312"/>
                    </a:lnTo>
                    <a:lnTo>
                      <a:pt x="233191" y="243039"/>
                    </a:lnTo>
                    <a:lnTo>
                      <a:pt x="234100" y="241524"/>
                    </a:lnTo>
                    <a:lnTo>
                      <a:pt x="232585" y="239857"/>
                    </a:lnTo>
                    <a:lnTo>
                      <a:pt x="230615" y="238948"/>
                    </a:lnTo>
                    <a:lnTo>
                      <a:pt x="229099" y="238797"/>
                    </a:lnTo>
                    <a:lnTo>
                      <a:pt x="228190" y="238039"/>
                    </a:lnTo>
                    <a:lnTo>
                      <a:pt x="228342" y="236221"/>
                    </a:lnTo>
                    <a:lnTo>
                      <a:pt x="227887" y="234554"/>
                    </a:lnTo>
                    <a:lnTo>
                      <a:pt x="225918" y="232281"/>
                    </a:lnTo>
                    <a:lnTo>
                      <a:pt x="223493" y="231069"/>
                    </a:lnTo>
                    <a:lnTo>
                      <a:pt x="215008" y="232130"/>
                    </a:lnTo>
                    <a:lnTo>
                      <a:pt x="207432" y="232433"/>
                    </a:lnTo>
                    <a:lnTo>
                      <a:pt x="200008" y="231221"/>
                    </a:lnTo>
                    <a:lnTo>
                      <a:pt x="201220" y="235918"/>
                    </a:lnTo>
                    <a:close/>
                    <a:moveTo>
                      <a:pt x="237282" y="295314"/>
                    </a:moveTo>
                    <a:lnTo>
                      <a:pt x="238342" y="291223"/>
                    </a:lnTo>
                    <a:lnTo>
                      <a:pt x="237888" y="289859"/>
                    </a:lnTo>
                    <a:lnTo>
                      <a:pt x="237433" y="290011"/>
                    </a:lnTo>
                    <a:lnTo>
                      <a:pt x="236221" y="291526"/>
                    </a:lnTo>
                    <a:lnTo>
                      <a:pt x="235463" y="291980"/>
                    </a:lnTo>
                    <a:lnTo>
                      <a:pt x="233948" y="293496"/>
                    </a:lnTo>
                    <a:lnTo>
                      <a:pt x="233948" y="296678"/>
                    </a:lnTo>
                    <a:lnTo>
                      <a:pt x="233191" y="298647"/>
                    </a:lnTo>
                    <a:lnTo>
                      <a:pt x="234251" y="299405"/>
                    </a:lnTo>
                    <a:lnTo>
                      <a:pt x="235766" y="301981"/>
                    </a:lnTo>
                    <a:lnTo>
                      <a:pt x="237282" y="303496"/>
                    </a:lnTo>
                    <a:lnTo>
                      <a:pt x="237888" y="305011"/>
                    </a:lnTo>
                    <a:lnTo>
                      <a:pt x="238342" y="304254"/>
                    </a:lnTo>
                    <a:lnTo>
                      <a:pt x="238342" y="303648"/>
                    </a:lnTo>
                    <a:lnTo>
                      <a:pt x="238191" y="303041"/>
                    </a:lnTo>
                    <a:lnTo>
                      <a:pt x="238645" y="300011"/>
                    </a:lnTo>
                    <a:lnTo>
                      <a:pt x="237282" y="295314"/>
                    </a:lnTo>
                    <a:close/>
                    <a:moveTo>
                      <a:pt x="222584" y="296072"/>
                    </a:moveTo>
                    <a:lnTo>
                      <a:pt x="223645" y="296829"/>
                    </a:lnTo>
                    <a:lnTo>
                      <a:pt x="223645" y="295617"/>
                    </a:lnTo>
                    <a:lnTo>
                      <a:pt x="223948" y="294556"/>
                    </a:lnTo>
                    <a:lnTo>
                      <a:pt x="226827" y="294859"/>
                    </a:lnTo>
                    <a:lnTo>
                      <a:pt x="227281" y="293647"/>
                    </a:lnTo>
                    <a:lnTo>
                      <a:pt x="226978" y="292435"/>
                    </a:lnTo>
                    <a:lnTo>
                      <a:pt x="225311" y="289405"/>
                    </a:lnTo>
                    <a:lnTo>
                      <a:pt x="225009" y="285920"/>
                    </a:lnTo>
                    <a:lnTo>
                      <a:pt x="224402" y="284404"/>
                    </a:lnTo>
                    <a:lnTo>
                      <a:pt x="223341" y="283041"/>
                    </a:lnTo>
                    <a:lnTo>
                      <a:pt x="222130" y="281980"/>
                    </a:lnTo>
                    <a:lnTo>
                      <a:pt x="220766" y="281223"/>
                    </a:lnTo>
                    <a:lnTo>
                      <a:pt x="220160" y="280313"/>
                    </a:lnTo>
                    <a:lnTo>
                      <a:pt x="220918" y="275768"/>
                    </a:lnTo>
                    <a:lnTo>
                      <a:pt x="221069" y="270768"/>
                    </a:lnTo>
                    <a:lnTo>
                      <a:pt x="220614" y="268646"/>
                    </a:lnTo>
                    <a:lnTo>
                      <a:pt x="219705" y="267434"/>
                    </a:lnTo>
                    <a:lnTo>
                      <a:pt x="217887" y="264252"/>
                    </a:lnTo>
                    <a:lnTo>
                      <a:pt x="214856" y="263495"/>
                    </a:lnTo>
                    <a:lnTo>
                      <a:pt x="212281" y="265616"/>
                    </a:lnTo>
                    <a:lnTo>
                      <a:pt x="210159" y="266071"/>
                    </a:lnTo>
                    <a:lnTo>
                      <a:pt x="208189" y="265161"/>
                    </a:lnTo>
                    <a:lnTo>
                      <a:pt x="207432" y="263798"/>
                    </a:lnTo>
                    <a:lnTo>
                      <a:pt x="206371" y="263040"/>
                    </a:lnTo>
                    <a:lnTo>
                      <a:pt x="204250" y="262131"/>
                    </a:lnTo>
                    <a:lnTo>
                      <a:pt x="202583" y="260464"/>
                    </a:lnTo>
                    <a:lnTo>
                      <a:pt x="201371" y="259858"/>
                    </a:lnTo>
                    <a:lnTo>
                      <a:pt x="200765" y="261222"/>
                    </a:lnTo>
                    <a:lnTo>
                      <a:pt x="201371" y="262888"/>
                    </a:lnTo>
                    <a:lnTo>
                      <a:pt x="202281" y="264404"/>
                    </a:lnTo>
                    <a:lnTo>
                      <a:pt x="203492" y="270465"/>
                    </a:lnTo>
                    <a:lnTo>
                      <a:pt x="204401" y="276677"/>
                    </a:lnTo>
                    <a:lnTo>
                      <a:pt x="205917" y="277131"/>
                    </a:lnTo>
                    <a:lnTo>
                      <a:pt x="208947" y="275616"/>
                    </a:lnTo>
                    <a:lnTo>
                      <a:pt x="210159" y="275616"/>
                    </a:lnTo>
                    <a:lnTo>
                      <a:pt x="212281" y="277889"/>
                    </a:lnTo>
                    <a:lnTo>
                      <a:pt x="213645" y="280616"/>
                    </a:lnTo>
                    <a:lnTo>
                      <a:pt x="213947" y="281980"/>
                    </a:lnTo>
                    <a:lnTo>
                      <a:pt x="213947" y="283344"/>
                    </a:lnTo>
                    <a:lnTo>
                      <a:pt x="212281" y="290011"/>
                    </a:lnTo>
                    <a:lnTo>
                      <a:pt x="213645" y="293041"/>
                    </a:lnTo>
                    <a:lnTo>
                      <a:pt x="213645" y="294556"/>
                    </a:lnTo>
                    <a:lnTo>
                      <a:pt x="213342" y="297435"/>
                    </a:lnTo>
                    <a:lnTo>
                      <a:pt x="214251" y="298344"/>
                    </a:lnTo>
                    <a:lnTo>
                      <a:pt x="217433" y="299405"/>
                    </a:lnTo>
                    <a:lnTo>
                      <a:pt x="220160" y="301072"/>
                    </a:lnTo>
                    <a:lnTo>
                      <a:pt x="220008" y="298799"/>
                    </a:lnTo>
                    <a:lnTo>
                      <a:pt x="219553" y="296526"/>
                    </a:lnTo>
                    <a:lnTo>
                      <a:pt x="219099" y="291829"/>
                    </a:lnTo>
                    <a:lnTo>
                      <a:pt x="220614" y="293041"/>
                    </a:lnTo>
                    <a:lnTo>
                      <a:pt x="222584" y="296072"/>
                    </a:lnTo>
                    <a:close/>
                    <a:moveTo>
                      <a:pt x="246221" y="313193"/>
                    </a:moveTo>
                    <a:lnTo>
                      <a:pt x="246827" y="310769"/>
                    </a:lnTo>
                    <a:lnTo>
                      <a:pt x="246070" y="308799"/>
                    </a:lnTo>
                    <a:lnTo>
                      <a:pt x="245616" y="309405"/>
                    </a:lnTo>
                    <a:lnTo>
                      <a:pt x="244858" y="312587"/>
                    </a:lnTo>
                    <a:lnTo>
                      <a:pt x="245616" y="314103"/>
                    </a:lnTo>
                    <a:lnTo>
                      <a:pt x="246221" y="313193"/>
                    </a:lnTo>
                    <a:close/>
                    <a:moveTo>
                      <a:pt x="211675" y="322891"/>
                    </a:moveTo>
                    <a:lnTo>
                      <a:pt x="210159" y="323345"/>
                    </a:lnTo>
                    <a:lnTo>
                      <a:pt x="209705" y="324709"/>
                    </a:lnTo>
                    <a:lnTo>
                      <a:pt x="210463" y="325921"/>
                    </a:lnTo>
                    <a:lnTo>
                      <a:pt x="213493" y="327285"/>
                    </a:lnTo>
                    <a:lnTo>
                      <a:pt x="214251" y="325618"/>
                    </a:lnTo>
                    <a:lnTo>
                      <a:pt x="213796" y="324254"/>
                    </a:lnTo>
                    <a:lnTo>
                      <a:pt x="212281" y="322739"/>
                    </a:lnTo>
                    <a:lnTo>
                      <a:pt x="211675" y="322891"/>
                    </a:lnTo>
                    <a:close/>
                    <a:moveTo>
                      <a:pt x="146066" y="232433"/>
                    </a:moveTo>
                    <a:lnTo>
                      <a:pt x="145461" y="230766"/>
                    </a:lnTo>
                    <a:lnTo>
                      <a:pt x="145157" y="230614"/>
                    </a:lnTo>
                    <a:lnTo>
                      <a:pt x="144400" y="231675"/>
                    </a:lnTo>
                    <a:lnTo>
                      <a:pt x="144702" y="233191"/>
                    </a:lnTo>
                    <a:lnTo>
                      <a:pt x="145157" y="233342"/>
                    </a:lnTo>
                    <a:lnTo>
                      <a:pt x="146066" y="232433"/>
                    </a:lnTo>
                    <a:close/>
                    <a:moveTo>
                      <a:pt x="248646" y="308496"/>
                    </a:moveTo>
                    <a:lnTo>
                      <a:pt x="250767" y="308496"/>
                    </a:lnTo>
                    <a:lnTo>
                      <a:pt x="251676" y="307587"/>
                    </a:lnTo>
                    <a:lnTo>
                      <a:pt x="250313" y="305769"/>
                    </a:lnTo>
                    <a:lnTo>
                      <a:pt x="250464" y="305011"/>
                    </a:lnTo>
                    <a:lnTo>
                      <a:pt x="250464" y="303496"/>
                    </a:lnTo>
                    <a:lnTo>
                      <a:pt x="248949" y="300314"/>
                    </a:lnTo>
                    <a:lnTo>
                      <a:pt x="246827" y="303951"/>
                    </a:lnTo>
                    <a:lnTo>
                      <a:pt x="246676" y="306375"/>
                    </a:lnTo>
                    <a:lnTo>
                      <a:pt x="248191" y="308496"/>
                    </a:lnTo>
                    <a:lnTo>
                      <a:pt x="248646" y="308496"/>
                    </a:lnTo>
                    <a:close/>
                    <a:moveTo>
                      <a:pt x="137429" y="204401"/>
                    </a:moveTo>
                    <a:lnTo>
                      <a:pt x="136974" y="204705"/>
                    </a:lnTo>
                    <a:lnTo>
                      <a:pt x="135308" y="204553"/>
                    </a:lnTo>
                    <a:lnTo>
                      <a:pt x="133945" y="203796"/>
                    </a:lnTo>
                    <a:lnTo>
                      <a:pt x="132581" y="207735"/>
                    </a:lnTo>
                    <a:lnTo>
                      <a:pt x="133036" y="210462"/>
                    </a:lnTo>
                    <a:lnTo>
                      <a:pt x="134247" y="211826"/>
                    </a:lnTo>
                    <a:lnTo>
                      <a:pt x="137733" y="213947"/>
                    </a:lnTo>
                    <a:lnTo>
                      <a:pt x="138794" y="213038"/>
                    </a:lnTo>
                    <a:lnTo>
                      <a:pt x="139096" y="212129"/>
                    </a:lnTo>
                    <a:lnTo>
                      <a:pt x="140914" y="209402"/>
                    </a:lnTo>
                    <a:lnTo>
                      <a:pt x="140460" y="207886"/>
                    </a:lnTo>
                    <a:lnTo>
                      <a:pt x="140612" y="206674"/>
                    </a:lnTo>
                    <a:lnTo>
                      <a:pt x="137429" y="204401"/>
                    </a:lnTo>
                    <a:close/>
                    <a:moveTo>
                      <a:pt x="227584" y="303951"/>
                    </a:moveTo>
                    <a:lnTo>
                      <a:pt x="227433" y="302587"/>
                    </a:lnTo>
                    <a:lnTo>
                      <a:pt x="226069" y="298950"/>
                    </a:lnTo>
                    <a:lnTo>
                      <a:pt x="224554" y="298041"/>
                    </a:lnTo>
                    <a:lnTo>
                      <a:pt x="223341" y="297890"/>
                    </a:lnTo>
                    <a:lnTo>
                      <a:pt x="224099" y="300466"/>
                    </a:lnTo>
                    <a:lnTo>
                      <a:pt x="227584" y="303951"/>
                    </a:lnTo>
                    <a:close/>
                    <a:moveTo>
                      <a:pt x="135915" y="289101"/>
                    </a:moveTo>
                    <a:lnTo>
                      <a:pt x="136369" y="289859"/>
                    </a:lnTo>
                    <a:lnTo>
                      <a:pt x="137278" y="289405"/>
                    </a:lnTo>
                    <a:lnTo>
                      <a:pt x="138944" y="287889"/>
                    </a:lnTo>
                    <a:lnTo>
                      <a:pt x="140460" y="286223"/>
                    </a:lnTo>
                    <a:lnTo>
                      <a:pt x="142884" y="284859"/>
                    </a:lnTo>
                    <a:lnTo>
                      <a:pt x="151824" y="282889"/>
                    </a:lnTo>
                    <a:lnTo>
                      <a:pt x="155915" y="279859"/>
                    </a:lnTo>
                    <a:lnTo>
                      <a:pt x="158491" y="279253"/>
                    </a:lnTo>
                    <a:lnTo>
                      <a:pt x="159097" y="277737"/>
                    </a:lnTo>
                    <a:lnTo>
                      <a:pt x="159097" y="276071"/>
                    </a:lnTo>
                    <a:lnTo>
                      <a:pt x="159400" y="274707"/>
                    </a:lnTo>
                    <a:lnTo>
                      <a:pt x="160613" y="273798"/>
                    </a:lnTo>
                    <a:lnTo>
                      <a:pt x="163188" y="272889"/>
                    </a:lnTo>
                    <a:lnTo>
                      <a:pt x="165310" y="271222"/>
                    </a:lnTo>
                    <a:lnTo>
                      <a:pt x="166976" y="268949"/>
                    </a:lnTo>
                    <a:lnTo>
                      <a:pt x="168189" y="266525"/>
                    </a:lnTo>
                    <a:lnTo>
                      <a:pt x="168794" y="264404"/>
                    </a:lnTo>
                    <a:lnTo>
                      <a:pt x="169098" y="262283"/>
                    </a:lnTo>
                    <a:lnTo>
                      <a:pt x="169098" y="259707"/>
                    </a:lnTo>
                    <a:lnTo>
                      <a:pt x="167582" y="259555"/>
                    </a:lnTo>
                    <a:lnTo>
                      <a:pt x="161824" y="262283"/>
                    </a:lnTo>
                    <a:lnTo>
                      <a:pt x="161976" y="261070"/>
                    </a:lnTo>
                    <a:lnTo>
                      <a:pt x="162885" y="259858"/>
                    </a:lnTo>
                    <a:lnTo>
                      <a:pt x="160309" y="258040"/>
                    </a:lnTo>
                    <a:lnTo>
                      <a:pt x="157279" y="257737"/>
                    </a:lnTo>
                    <a:lnTo>
                      <a:pt x="154096" y="258949"/>
                    </a:lnTo>
                    <a:lnTo>
                      <a:pt x="150915" y="257585"/>
                    </a:lnTo>
                    <a:lnTo>
                      <a:pt x="148188" y="255161"/>
                    </a:lnTo>
                    <a:lnTo>
                      <a:pt x="145157" y="253191"/>
                    </a:lnTo>
                    <a:lnTo>
                      <a:pt x="139551" y="250918"/>
                    </a:lnTo>
                    <a:lnTo>
                      <a:pt x="138035" y="249858"/>
                    </a:lnTo>
                    <a:lnTo>
                      <a:pt x="136217" y="249858"/>
                    </a:lnTo>
                    <a:lnTo>
                      <a:pt x="134854" y="251070"/>
                    </a:lnTo>
                    <a:lnTo>
                      <a:pt x="134247" y="252888"/>
                    </a:lnTo>
                    <a:lnTo>
                      <a:pt x="135611" y="253797"/>
                    </a:lnTo>
                    <a:lnTo>
                      <a:pt x="139096" y="254706"/>
                    </a:lnTo>
                    <a:lnTo>
                      <a:pt x="140005" y="255919"/>
                    </a:lnTo>
                    <a:lnTo>
                      <a:pt x="140005" y="256979"/>
                    </a:lnTo>
                    <a:lnTo>
                      <a:pt x="138794" y="265767"/>
                    </a:lnTo>
                    <a:lnTo>
                      <a:pt x="138490" y="271980"/>
                    </a:lnTo>
                    <a:lnTo>
                      <a:pt x="137733" y="275162"/>
                    </a:lnTo>
                    <a:lnTo>
                      <a:pt x="136217" y="278041"/>
                    </a:lnTo>
                    <a:lnTo>
                      <a:pt x="135763" y="281223"/>
                    </a:lnTo>
                    <a:lnTo>
                      <a:pt x="136369" y="282889"/>
                    </a:lnTo>
                    <a:lnTo>
                      <a:pt x="136520" y="284556"/>
                    </a:lnTo>
                    <a:lnTo>
                      <a:pt x="135308" y="288496"/>
                    </a:lnTo>
                    <a:lnTo>
                      <a:pt x="135915" y="289101"/>
                    </a:lnTo>
                    <a:close/>
                    <a:moveTo>
                      <a:pt x="182886" y="321830"/>
                    </a:moveTo>
                    <a:lnTo>
                      <a:pt x="182128" y="322133"/>
                    </a:lnTo>
                    <a:lnTo>
                      <a:pt x="179703" y="323648"/>
                    </a:lnTo>
                    <a:lnTo>
                      <a:pt x="178492" y="323648"/>
                    </a:lnTo>
                    <a:lnTo>
                      <a:pt x="178492" y="324254"/>
                    </a:lnTo>
                    <a:lnTo>
                      <a:pt x="179855" y="325921"/>
                    </a:lnTo>
                    <a:lnTo>
                      <a:pt x="181825" y="326679"/>
                    </a:lnTo>
                    <a:lnTo>
                      <a:pt x="184401" y="325921"/>
                    </a:lnTo>
                    <a:lnTo>
                      <a:pt x="184098" y="323042"/>
                    </a:lnTo>
                    <a:lnTo>
                      <a:pt x="182886" y="321830"/>
                    </a:lnTo>
                    <a:close/>
                    <a:moveTo>
                      <a:pt x="188795" y="295011"/>
                    </a:moveTo>
                    <a:lnTo>
                      <a:pt x="190917" y="293344"/>
                    </a:lnTo>
                    <a:lnTo>
                      <a:pt x="192432" y="291071"/>
                    </a:lnTo>
                    <a:lnTo>
                      <a:pt x="193644" y="285920"/>
                    </a:lnTo>
                    <a:lnTo>
                      <a:pt x="193037" y="280919"/>
                    </a:lnTo>
                    <a:lnTo>
                      <a:pt x="193795" y="276525"/>
                    </a:lnTo>
                    <a:lnTo>
                      <a:pt x="193795" y="273647"/>
                    </a:lnTo>
                    <a:lnTo>
                      <a:pt x="193492" y="272889"/>
                    </a:lnTo>
                    <a:lnTo>
                      <a:pt x="193341" y="271374"/>
                    </a:lnTo>
                    <a:lnTo>
                      <a:pt x="193946" y="268343"/>
                    </a:lnTo>
                    <a:lnTo>
                      <a:pt x="193492" y="266828"/>
                    </a:lnTo>
                    <a:lnTo>
                      <a:pt x="191522" y="269252"/>
                    </a:lnTo>
                    <a:lnTo>
                      <a:pt x="191371" y="270616"/>
                    </a:lnTo>
                    <a:lnTo>
                      <a:pt x="190917" y="272283"/>
                    </a:lnTo>
                    <a:lnTo>
                      <a:pt x="190158" y="273343"/>
                    </a:lnTo>
                    <a:lnTo>
                      <a:pt x="190310" y="275465"/>
                    </a:lnTo>
                    <a:lnTo>
                      <a:pt x="187583" y="281829"/>
                    </a:lnTo>
                    <a:lnTo>
                      <a:pt x="184704" y="286526"/>
                    </a:lnTo>
                    <a:lnTo>
                      <a:pt x="184250" y="288950"/>
                    </a:lnTo>
                    <a:lnTo>
                      <a:pt x="181068" y="293647"/>
                    </a:lnTo>
                    <a:lnTo>
                      <a:pt x="178946" y="298041"/>
                    </a:lnTo>
                    <a:lnTo>
                      <a:pt x="175461" y="302738"/>
                    </a:lnTo>
                    <a:lnTo>
                      <a:pt x="175915" y="304860"/>
                    </a:lnTo>
                    <a:lnTo>
                      <a:pt x="173795" y="313345"/>
                    </a:lnTo>
                    <a:lnTo>
                      <a:pt x="173491" y="315769"/>
                    </a:lnTo>
                    <a:lnTo>
                      <a:pt x="173946" y="317587"/>
                    </a:lnTo>
                    <a:lnTo>
                      <a:pt x="175006" y="316830"/>
                    </a:lnTo>
                    <a:lnTo>
                      <a:pt x="178340" y="313042"/>
                    </a:lnTo>
                    <a:lnTo>
                      <a:pt x="182128" y="303951"/>
                    </a:lnTo>
                    <a:lnTo>
                      <a:pt x="182431" y="301223"/>
                    </a:lnTo>
                    <a:lnTo>
                      <a:pt x="183946" y="298193"/>
                    </a:lnTo>
                    <a:lnTo>
                      <a:pt x="186370" y="295617"/>
                    </a:lnTo>
                    <a:lnTo>
                      <a:pt x="188795" y="295011"/>
                    </a:lnTo>
                    <a:close/>
                    <a:moveTo>
                      <a:pt x="82276" y="287283"/>
                    </a:moveTo>
                    <a:lnTo>
                      <a:pt x="83033" y="286374"/>
                    </a:lnTo>
                    <a:lnTo>
                      <a:pt x="81367" y="285465"/>
                    </a:lnTo>
                    <a:lnTo>
                      <a:pt x="78639" y="284556"/>
                    </a:lnTo>
                    <a:lnTo>
                      <a:pt x="76215" y="286980"/>
                    </a:lnTo>
                    <a:lnTo>
                      <a:pt x="76973" y="289556"/>
                    </a:lnTo>
                    <a:lnTo>
                      <a:pt x="80306" y="288647"/>
                    </a:lnTo>
                    <a:lnTo>
                      <a:pt x="82276" y="287283"/>
                    </a:lnTo>
                    <a:close/>
                    <a:moveTo>
                      <a:pt x="135156" y="173340"/>
                    </a:moveTo>
                    <a:lnTo>
                      <a:pt x="135763" y="173643"/>
                    </a:lnTo>
                    <a:lnTo>
                      <a:pt x="137278" y="173491"/>
                    </a:lnTo>
                    <a:lnTo>
                      <a:pt x="138187" y="170764"/>
                    </a:lnTo>
                    <a:lnTo>
                      <a:pt x="136824" y="167128"/>
                    </a:lnTo>
                    <a:lnTo>
                      <a:pt x="138035" y="165158"/>
                    </a:lnTo>
                    <a:lnTo>
                      <a:pt x="138490" y="165006"/>
                    </a:lnTo>
                    <a:lnTo>
                      <a:pt x="139096" y="165006"/>
                    </a:lnTo>
                    <a:lnTo>
                      <a:pt x="138642" y="164097"/>
                    </a:lnTo>
                    <a:lnTo>
                      <a:pt x="136974" y="162885"/>
                    </a:lnTo>
                    <a:lnTo>
                      <a:pt x="133338" y="163188"/>
                    </a:lnTo>
                    <a:lnTo>
                      <a:pt x="132732" y="165309"/>
                    </a:lnTo>
                    <a:lnTo>
                      <a:pt x="133945" y="166673"/>
                    </a:lnTo>
                    <a:lnTo>
                      <a:pt x="134702" y="168794"/>
                    </a:lnTo>
                    <a:lnTo>
                      <a:pt x="135611" y="169855"/>
                    </a:lnTo>
                    <a:lnTo>
                      <a:pt x="135915" y="171673"/>
                    </a:lnTo>
                    <a:lnTo>
                      <a:pt x="135611" y="172279"/>
                    </a:lnTo>
                    <a:lnTo>
                      <a:pt x="135156" y="173340"/>
                    </a:lnTo>
                    <a:close/>
                    <a:moveTo>
                      <a:pt x="123186" y="221372"/>
                    </a:moveTo>
                    <a:lnTo>
                      <a:pt x="123641" y="218948"/>
                    </a:lnTo>
                    <a:lnTo>
                      <a:pt x="125005" y="216978"/>
                    </a:lnTo>
                    <a:lnTo>
                      <a:pt x="124551" y="215766"/>
                    </a:lnTo>
                    <a:lnTo>
                      <a:pt x="122277" y="214250"/>
                    </a:lnTo>
                    <a:lnTo>
                      <a:pt x="120004" y="212129"/>
                    </a:lnTo>
                    <a:lnTo>
                      <a:pt x="118034" y="209099"/>
                    </a:lnTo>
                    <a:lnTo>
                      <a:pt x="115762" y="207432"/>
                    </a:lnTo>
                    <a:lnTo>
                      <a:pt x="113641" y="208796"/>
                    </a:lnTo>
                    <a:lnTo>
                      <a:pt x="112428" y="208038"/>
                    </a:lnTo>
                    <a:lnTo>
                      <a:pt x="110913" y="207584"/>
                    </a:lnTo>
                    <a:lnTo>
                      <a:pt x="109701" y="206068"/>
                    </a:lnTo>
                    <a:lnTo>
                      <a:pt x="107883" y="205614"/>
                    </a:lnTo>
                    <a:lnTo>
                      <a:pt x="103489" y="206371"/>
                    </a:lnTo>
                    <a:lnTo>
                      <a:pt x="102125" y="206068"/>
                    </a:lnTo>
                    <a:lnTo>
                      <a:pt x="100762" y="205614"/>
                    </a:lnTo>
                    <a:lnTo>
                      <a:pt x="95761" y="204856"/>
                    </a:lnTo>
                    <a:lnTo>
                      <a:pt x="93943" y="205008"/>
                    </a:lnTo>
                    <a:lnTo>
                      <a:pt x="92579" y="206220"/>
                    </a:lnTo>
                    <a:lnTo>
                      <a:pt x="92125" y="207886"/>
                    </a:lnTo>
                    <a:lnTo>
                      <a:pt x="93488" y="208190"/>
                    </a:lnTo>
                    <a:lnTo>
                      <a:pt x="94852" y="208038"/>
                    </a:lnTo>
                    <a:lnTo>
                      <a:pt x="95306" y="208341"/>
                    </a:lnTo>
                    <a:lnTo>
                      <a:pt x="96065" y="210614"/>
                    </a:lnTo>
                    <a:lnTo>
                      <a:pt x="96822" y="211978"/>
                    </a:lnTo>
                    <a:lnTo>
                      <a:pt x="98640" y="213341"/>
                    </a:lnTo>
                    <a:lnTo>
                      <a:pt x="100762" y="214402"/>
                    </a:lnTo>
                    <a:lnTo>
                      <a:pt x="101519" y="215462"/>
                    </a:lnTo>
                    <a:lnTo>
                      <a:pt x="103792" y="219857"/>
                    </a:lnTo>
                    <a:lnTo>
                      <a:pt x="103943" y="223493"/>
                    </a:lnTo>
                    <a:lnTo>
                      <a:pt x="104095" y="224857"/>
                    </a:lnTo>
                    <a:lnTo>
                      <a:pt x="104701" y="226069"/>
                    </a:lnTo>
                    <a:lnTo>
                      <a:pt x="106368" y="227281"/>
                    </a:lnTo>
                    <a:lnTo>
                      <a:pt x="107580" y="228948"/>
                    </a:lnTo>
                    <a:lnTo>
                      <a:pt x="108186" y="230766"/>
                    </a:lnTo>
                    <a:lnTo>
                      <a:pt x="108186" y="232736"/>
                    </a:lnTo>
                    <a:lnTo>
                      <a:pt x="109247" y="234554"/>
                    </a:lnTo>
                    <a:lnTo>
                      <a:pt x="111671" y="236979"/>
                    </a:lnTo>
                    <a:lnTo>
                      <a:pt x="112580" y="237585"/>
                    </a:lnTo>
                    <a:lnTo>
                      <a:pt x="113186" y="238494"/>
                    </a:lnTo>
                    <a:lnTo>
                      <a:pt x="113489" y="239857"/>
                    </a:lnTo>
                    <a:lnTo>
                      <a:pt x="114550" y="240312"/>
                    </a:lnTo>
                    <a:lnTo>
                      <a:pt x="116823" y="240767"/>
                    </a:lnTo>
                    <a:lnTo>
                      <a:pt x="118186" y="239100"/>
                    </a:lnTo>
                    <a:lnTo>
                      <a:pt x="119095" y="238342"/>
                    </a:lnTo>
                    <a:lnTo>
                      <a:pt x="120004" y="238039"/>
                    </a:lnTo>
                    <a:lnTo>
                      <a:pt x="121065" y="238342"/>
                    </a:lnTo>
                    <a:lnTo>
                      <a:pt x="121217" y="236675"/>
                    </a:lnTo>
                    <a:lnTo>
                      <a:pt x="121672" y="235918"/>
                    </a:lnTo>
                    <a:lnTo>
                      <a:pt x="121520" y="235009"/>
                    </a:lnTo>
                    <a:lnTo>
                      <a:pt x="122732" y="232736"/>
                    </a:lnTo>
                    <a:lnTo>
                      <a:pt x="124399" y="230614"/>
                    </a:lnTo>
                    <a:lnTo>
                      <a:pt x="125005" y="229099"/>
                    </a:lnTo>
                    <a:lnTo>
                      <a:pt x="123338" y="223645"/>
                    </a:lnTo>
                    <a:lnTo>
                      <a:pt x="123186" y="221372"/>
                    </a:lnTo>
                    <a:close/>
                    <a:moveTo>
                      <a:pt x="143187" y="201523"/>
                    </a:moveTo>
                    <a:lnTo>
                      <a:pt x="147884" y="205008"/>
                    </a:lnTo>
                    <a:lnTo>
                      <a:pt x="148642" y="205765"/>
                    </a:lnTo>
                    <a:lnTo>
                      <a:pt x="151067" y="209402"/>
                    </a:lnTo>
                    <a:lnTo>
                      <a:pt x="151521" y="210765"/>
                    </a:lnTo>
                    <a:lnTo>
                      <a:pt x="151521" y="212281"/>
                    </a:lnTo>
                    <a:lnTo>
                      <a:pt x="153794" y="214099"/>
                    </a:lnTo>
                    <a:lnTo>
                      <a:pt x="155915" y="212432"/>
                    </a:lnTo>
                    <a:lnTo>
                      <a:pt x="155764" y="208493"/>
                    </a:lnTo>
                    <a:lnTo>
                      <a:pt x="154096" y="205159"/>
                    </a:lnTo>
                    <a:lnTo>
                      <a:pt x="153794" y="203947"/>
                    </a:lnTo>
                    <a:lnTo>
                      <a:pt x="151369" y="201371"/>
                    </a:lnTo>
                    <a:lnTo>
                      <a:pt x="151217" y="200159"/>
                    </a:lnTo>
                    <a:lnTo>
                      <a:pt x="151369" y="198492"/>
                    </a:lnTo>
                    <a:lnTo>
                      <a:pt x="151067" y="196977"/>
                    </a:lnTo>
                    <a:lnTo>
                      <a:pt x="150308" y="195159"/>
                    </a:lnTo>
                    <a:lnTo>
                      <a:pt x="150763" y="193947"/>
                    </a:lnTo>
                    <a:lnTo>
                      <a:pt x="152278" y="194098"/>
                    </a:lnTo>
                    <a:lnTo>
                      <a:pt x="153642" y="194553"/>
                    </a:lnTo>
                    <a:lnTo>
                      <a:pt x="158793" y="199250"/>
                    </a:lnTo>
                    <a:lnTo>
                      <a:pt x="161067" y="202583"/>
                    </a:lnTo>
                    <a:lnTo>
                      <a:pt x="161976" y="203341"/>
                    </a:lnTo>
                    <a:lnTo>
                      <a:pt x="169248" y="207432"/>
                    </a:lnTo>
                    <a:lnTo>
                      <a:pt x="170007" y="208493"/>
                    </a:lnTo>
                    <a:lnTo>
                      <a:pt x="170461" y="209856"/>
                    </a:lnTo>
                    <a:lnTo>
                      <a:pt x="172886" y="213644"/>
                    </a:lnTo>
                    <a:lnTo>
                      <a:pt x="172734" y="216826"/>
                    </a:lnTo>
                    <a:lnTo>
                      <a:pt x="173340" y="218341"/>
                    </a:lnTo>
                    <a:lnTo>
                      <a:pt x="175915" y="218644"/>
                    </a:lnTo>
                    <a:lnTo>
                      <a:pt x="182128" y="221978"/>
                    </a:lnTo>
                    <a:lnTo>
                      <a:pt x="185159" y="222432"/>
                    </a:lnTo>
                    <a:lnTo>
                      <a:pt x="186977" y="222129"/>
                    </a:lnTo>
                    <a:lnTo>
                      <a:pt x="188644" y="221372"/>
                    </a:lnTo>
                    <a:lnTo>
                      <a:pt x="190158" y="221069"/>
                    </a:lnTo>
                    <a:lnTo>
                      <a:pt x="191067" y="221675"/>
                    </a:lnTo>
                    <a:lnTo>
                      <a:pt x="189553" y="224705"/>
                    </a:lnTo>
                    <a:lnTo>
                      <a:pt x="189098" y="227887"/>
                    </a:lnTo>
                    <a:lnTo>
                      <a:pt x="191371" y="230463"/>
                    </a:lnTo>
                    <a:lnTo>
                      <a:pt x="194098" y="231221"/>
                    </a:lnTo>
                    <a:lnTo>
                      <a:pt x="196220" y="225008"/>
                    </a:lnTo>
                    <a:lnTo>
                      <a:pt x="196371" y="218190"/>
                    </a:lnTo>
                    <a:lnTo>
                      <a:pt x="195311" y="218493"/>
                    </a:lnTo>
                    <a:lnTo>
                      <a:pt x="194401" y="218341"/>
                    </a:lnTo>
                    <a:lnTo>
                      <a:pt x="191219" y="216523"/>
                    </a:lnTo>
                    <a:lnTo>
                      <a:pt x="188947" y="216069"/>
                    </a:lnTo>
                    <a:lnTo>
                      <a:pt x="186522" y="216220"/>
                    </a:lnTo>
                    <a:lnTo>
                      <a:pt x="187431" y="213947"/>
                    </a:lnTo>
                    <a:lnTo>
                      <a:pt x="187431" y="211826"/>
                    </a:lnTo>
                    <a:lnTo>
                      <a:pt x="185916" y="209553"/>
                    </a:lnTo>
                    <a:lnTo>
                      <a:pt x="184250" y="207432"/>
                    </a:lnTo>
                    <a:lnTo>
                      <a:pt x="181673" y="204705"/>
                    </a:lnTo>
                    <a:lnTo>
                      <a:pt x="180007" y="201371"/>
                    </a:lnTo>
                    <a:lnTo>
                      <a:pt x="181522" y="199704"/>
                    </a:lnTo>
                    <a:lnTo>
                      <a:pt x="186977" y="199250"/>
                    </a:lnTo>
                    <a:lnTo>
                      <a:pt x="188340" y="197129"/>
                    </a:lnTo>
                    <a:lnTo>
                      <a:pt x="187129" y="196068"/>
                    </a:lnTo>
                    <a:lnTo>
                      <a:pt x="184704" y="194704"/>
                    </a:lnTo>
                    <a:lnTo>
                      <a:pt x="183491" y="194401"/>
                    </a:lnTo>
                    <a:lnTo>
                      <a:pt x="182128" y="194401"/>
                    </a:lnTo>
                    <a:lnTo>
                      <a:pt x="176674" y="192583"/>
                    </a:lnTo>
                    <a:lnTo>
                      <a:pt x="175158" y="190916"/>
                    </a:lnTo>
                    <a:lnTo>
                      <a:pt x="173643" y="190007"/>
                    </a:lnTo>
                    <a:lnTo>
                      <a:pt x="172582" y="191068"/>
                    </a:lnTo>
                    <a:lnTo>
                      <a:pt x="171977" y="192431"/>
                    </a:lnTo>
                    <a:lnTo>
                      <a:pt x="173188" y="193492"/>
                    </a:lnTo>
                    <a:lnTo>
                      <a:pt x="172886" y="196219"/>
                    </a:lnTo>
                    <a:lnTo>
                      <a:pt x="171067" y="198644"/>
                    </a:lnTo>
                    <a:lnTo>
                      <a:pt x="167582" y="198492"/>
                    </a:lnTo>
                    <a:lnTo>
                      <a:pt x="166370" y="197432"/>
                    </a:lnTo>
                    <a:lnTo>
                      <a:pt x="166219" y="195916"/>
                    </a:lnTo>
                    <a:lnTo>
                      <a:pt x="166521" y="194401"/>
                    </a:lnTo>
                    <a:lnTo>
                      <a:pt x="166521" y="192886"/>
                    </a:lnTo>
                    <a:lnTo>
                      <a:pt x="165006" y="189553"/>
                    </a:lnTo>
                    <a:lnTo>
                      <a:pt x="162733" y="186522"/>
                    </a:lnTo>
                    <a:lnTo>
                      <a:pt x="160613" y="184855"/>
                    </a:lnTo>
                    <a:lnTo>
                      <a:pt x="158036" y="183946"/>
                    </a:lnTo>
                    <a:lnTo>
                      <a:pt x="154400" y="183037"/>
                    </a:lnTo>
                    <a:lnTo>
                      <a:pt x="150612" y="182886"/>
                    </a:lnTo>
                    <a:lnTo>
                      <a:pt x="147733" y="184552"/>
                    </a:lnTo>
                    <a:lnTo>
                      <a:pt x="145005" y="186522"/>
                    </a:lnTo>
                    <a:lnTo>
                      <a:pt x="143793" y="186977"/>
                    </a:lnTo>
                    <a:lnTo>
                      <a:pt x="142732" y="187734"/>
                    </a:lnTo>
                    <a:lnTo>
                      <a:pt x="142884" y="188795"/>
                    </a:lnTo>
                    <a:lnTo>
                      <a:pt x="144854" y="190613"/>
                    </a:lnTo>
                    <a:lnTo>
                      <a:pt x="145157" y="191977"/>
                    </a:lnTo>
                    <a:lnTo>
                      <a:pt x="143491" y="192431"/>
                    </a:lnTo>
                    <a:lnTo>
                      <a:pt x="143036" y="193795"/>
                    </a:lnTo>
                    <a:lnTo>
                      <a:pt x="141217" y="193795"/>
                    </a:lnTo>
                    <a:lnTo>
                      <a:pt x="139399" y="193341"/>
                    </a:lnTo>
                    <a:lnTo>
                      <a:pt x="134854" y="191371"/>
                    </a:lnTo>
                    <a:lnTo>
                      <a:pt x="133186" y="190159"/>
                    </a:lnTo>
                    <a:lnTo>
                      <a:pt x="131672" y="188795"/>
                    </a:lnTo>
                    <a:lnTo>
                      <a:pt x="130763" y="187280"/>
                    </a:lnTo>
                    <a:lnTo>
                      <a:pt x="130308" y="185461"/>
                    </a:lnTo>
                    <a:lnTo>
                      <a:pt x="127429" y="178643"/>
                    </a:lnTo>
                    <a:lnTo>
                      <a:pt x="126823" y="175916"/>
                    </a:lnTo>
                    <a:lnTo>
                      <a:pt x="126823" y="173188"/>
                    </a:lnTo>
                    <a:lnTo>
                      <a:pt x="128641" y="171673"/>
                    </a:lnTo>
                    <a:lnTo>
                      <a:pt x="128339" y="170916"/>
                    </a:lnTo>
                    <a:lnTo>
                      <a:pt x="127580" y="170309"/>
                    </a:lnTo>
                    <a:lnTo>
                      <a:pt x="124399" y="164551"/>
                    </a:lnTo>
                    <a:lnTo>
                      <a:pt x="121368" y="158491"/>
                    </a:lnTo>
                    <a:lnTo>
                      <a:pt x="120308" y="157127"/>
                    </a:lnTo>
                    <a:lnTo>
                      <a:pt x="120156" y="155460"/>
                    </a:lnTo>
                    <a:lnTo>
                      <a:pt x="120763" y="154097"/>
                    </a:lnTo>
                    <a:lnTo>
                      <a:pt x="121822" y="152885"/>
                    </a:lnTo>
                    <a:lnTo>
                      <a:pt x="122883" y="150309"/>
                    </a:lnTo>
                    <a:lnTo>
                      <a:pt x="125308" y="147127"/>
                    </a:lnTo>
                    <a:lnTo>
                      <a:pt x="126065" y="145763"/>
                    </a:lnTo>
                    <a:lnTo>
                      <a:pt x="126065" y="144248"/>
                    </a:lnTo>
                    <a:lnTo>
                      <a:pt x="125610" y="142733"/>
                    </a:lnTo>
                    <a:lnTo>
                      <a:pt x="124853" y="141369"/>
                    </a:lnTo>
                    <a:lnTo>
                      <a:pt x="125762" y="138338"/>
                    </a:lnTo>
                    <a:lnTo>
                      <a:pt x="128187" y="136066"/>
                    </a:lnTo>
                    <a:lnTo>
                      <a:pt x="131066" y="134247"/>
                    </a:lnTo>
                    <a:lnTo>
                      <a:pt x="136217" y="131975"/>
                    </a:lnTo>
                    <a:lnTo>
                      <a:pt x="140612" y="131217"/>
                    </a:lnTo>
                    <a:lnTo>
                      <a:pt x="142732" y="126520"/>
                    </a:lnTo>
                    <a:lnTo>
                      <a:pt x="143036" y="124247"/>
                    </a:lnTo>
                    <a:lnTo>
                      <a:pt x="148490" y="113489"/>
                    </a:lnTo>
                    <a:lnTo>
                      <a:pt x="149703" y="108792"/>
                    </a:lnTo>
                    <a:lnTo>
                      <a:pt x="150612" y="106822"/>
                    </a:lnTo>
                    <a:lnTo>
                      <a:pt x="151067" y="105004"/>
                    </a:lnTo>
                    <a:lnTo>
                      <a:pt x="149703" y="104095"/>
                    </a:lnTo>
                    <a:lnTo>
                      <a:pt x="148794" y="103337"/>
                    </a:lnTo>
                    <a:lnTo>
                      <a:pt x="148339" y="101670"/>
                    </a:lnTo>
                    <a:lnTo>
                      <a:pt x="148188" y="99701"/>
                    </a:lnTo>
                    <a:lnTo>
                      <a:pt x="147429" y="98640"/>
                    </a:lnTo>
                    <a:lnTo>
                      <a:pt x="144854" y="97276"/>
                    </a:lnTo>
                    <a:lnTo>
                      <a:pt x="143945" y="96216"/>
                    </a:lnTo>
                    <a:lnTo>
                      <a:pt x="142278" y="92276"/>
                    </a:lnTo>
                    <a:lnTo>
                      <a:pt x="141672" y="89852"/>
                    </a:lnTo>
                    <a:lnTo>
                      <a:pt x="141672" y="87276"/>
                    </a:lnTo>
                    <a:lnTo>
                      <a:pt x="142430" y="78639"/>
                    </a:lnTo>
                    <a:lnTo>
                      <a:pt x="143641" y="76063"/>
                    </a:lnTo>
                    <a:lnTo>
                      <a:pt x="145611" y="73942"/>
                    </a:lnTo>
                    <a:lnTo>
                      <a:pt x="146218" y="71518"/>
                    </a:lnTo>
                    <a:lnTo>
                      <a:pt x="145763" y="69245"/>
                    </a:lnTo>
                    <a:lnTo>
                      <a:pt x="144854" y="67730"/>
                    </a:lnTo>
                    <a:lnTo>
                      <a:pt x="143641" y="66518"/>
                    </a:lnTo>
                    <a:lnTo>
                      <a:pt x="141672" y="66972"/>
                    </a:lnTo>
                    <a:lnTo>
                      <a:pt x="139703" y="70154"/>
                    </a:lnTo>
                    <a:lnTo>
                      <a:pt x="138642" y="71366"/>
                    </a:lnTo>
                    <a:lnTo>
                      <a:pt x="136217" y="72579"/>
                    </a:lnTo>
                    <a:lnTo>
                      <a:pt x="133490" y="72275"/>
                    </a:lnTo>
                    <a:lnTo>
                      <a:pt x="130005" y="71366"/>
                    </a:lnTo>
                    <a:lnTo>
                      <a:pt x="126671" y="70003"/>
                    </a:lnTo>
                    <a:lnTo>
                      <a:pt x="117429" y="64699"/>
                    </a:lnTo>
                    <a:lnTo>
                      <a:pt x="113186" y="63184"/>
                    </a:lnTo>
                    <a:lnTo>
                      <a:pt x="111822" y="63184"/>
                    </a:lnTo>
                    <a:lnTo>
                      <a:pt x="108338" y="63942"/>
                    </a:lnTo>
                    <a:lnTo>
                      <a:pt x="106822" y="63487"/>
                    </a:lnTo>
                    <a:lnTo>
                      <a:pt x="105307" y="63336"/>
                    </a:lnTo>
                    <a:lnTo>
                      <a:pt x="102428" y="65003"/>
                    </a:lnTo>
                    <a:lnTo>
                      <a:pt x="99398" y="66063"/>
                    </a:lnTo>
                    <a:lnTo>
                      <a:pt x="98944" y="70003"/>
                    </a:lnTo>
                    <a:lnTo>
                      <a:pt x="98034" y="72882"/>
                    </a:lnTo>
                    <a:lnTo>
                      <a:pt x="96822" y="75760"/>
                    </a:lnTo>
                    <a:lnTo>
                      <a:pt x="92882" y="90458"/>
                    </a:lnTo>
                    <a:lnTo>
                      <a:pt x="93186" y="93337"/>
                    </a:lnTo>
                    <a:lnTo>
                      <a:pt x="94549" y="96064"/>
                    </a:lnTo>
                    <a:lnTo>
                      <a:pt x="94549" y="97731"/>
                    </a:lnTo>
                    <a:lnTo>
                      <a:pt x="94095" y="100761"/>
                    </a:lnTo>
                    <a:lnTo>
                      <a:pt x="94397" y="105762"/>
                    </a:lnTo>
                    <a:lnTo>
                      <a:pt x="94095" y="109550"/>
                    </a:lnTo>
                    <a:lnTo>
                      <a:pt x="91670" y="115004"/>
                    </a:lnTo>
                    <a:lnTo>
                      <a:pt x="91216" y="118186"/>
                    </a:lnTo>
                    <a:lnTo>
                      <a:pt x="91216" y="121368"/>
                    </a:lnTo>
                    <a:lnTo>
                      <a:pt x="91822" y="125005"/>
                    </a:lnTo>
                    <a:lnTo>
                      <a:pt x="93640" y="130005"/>
                    </a:lnTo>
                    <a:lnTo>
                      <a:pt x="93640" y="131672"/>
                    </a:lnTo>
                    <a:lnTo>
                      <a:pt x="93034" y="133035"/>
                    </a:lnTo>
                    <a:lnTo>
                      <a:pt x="92125" y="134247"/>
                    </a:lnTo>
                    <a:lnTo>
                      <a:pt x="90307" y="134702"/>
                    </a:lnTo>
                    <a:lnTo>
                      <a:pt x="87276" y="134854"/>
                    </a:lnTo>
                    <a:lnTo>
                      <a:pt x="86367" y="134399"/>
                    </a:lnTo>
                    <a:lnTo>
                      <a:pt x="83942" y="131066"/>
                    </a:lnTo>
                    <a:lnTo>
                      <a:pt x="82579" y="130156"/>
                    </a:lnTo>
                    <a:lnTo>
                      <a:pt x="81064" y="129550"/>
                    </a:lnTo>
                    <a:lnTo>
                      <a:pt x="79852" y="128187"/>
                    </a:lnTo>
                    <a:lnTo>
                      <a:pt x="78336" y="127126"/>
                    </a:lnTo>
                    <a:lnTo>
                      <a:pt x="77276" y="127732"/>
                    </a:lnTo>
                    <a:lnTo>
                      <a:pt x="76821" y="129096"/>
                    </a:lnTo>
                    <a:lnTo>
                      <a:pt x="76518" y="134702"/>
                    </a:lnTo>
                    <a:lnTo>
                      <a:pt x="76669" y="136066"/>
                    </a:lnTo>
                    <a:lnTo>
                      <a:pt x="77730" y="137581"/>
                    </a:lnTo>
                    <a:lnTo>
                      <a:pt x="79094" y="138793"/>
                    </a:lnTo>
                    <a:lnTo>
                      <a:pt x="79700" y="139702"/>
                    </a:lnTo>
                    <a:lnTo>
                      <a:pt x="80003" y="140763"/>
                    </a:lnTo>
                    <a:lnTo>
                      <a:pt x="81064" y="152127"/>
                    </a:lnTo>
                    <a:lnTo>
                      <a:pt x="81822" y="154703"/>
                    </a:lnTo>
                    <a:lnTo>
                      <a:pt x="83033" y="157733"/>
                    </a:lnTo>
                    <a:lnTo>
                      <a:pt x="83942" y="160915"/>
                    </a:lnTo>
                    <a:lnTo>
                      <a:pt x="84094" y="164703"/>
                    </a:lnTo>
                    <a:lnTo>
                      <a:pt x="85155" y="168188"/>
                    </a:lnTo>
                    <a:lnTo>
                      <a:pt x="86670" y="169552"/>
                    </a:lnTo>
                    <a:lnTo>
                      <a:pt x="88791" y="169249"/>
                    </a:lnTo>
                    <a:lnTo>
                      <a:pt x="89852" y="169703"/>
                    </a:lnTo>
                    <a:lnTo>
                      <a:pt x="90761" y="172734"/>
                    </a:lnTo>
                    <a:lnTo>
                      <a:pt x="93034" y="174855"/>
                    </a:lnTo>
                    <a:lnTo>
                      <a:pt x="93943" y="178037"/>
                    </a:lnTo>
                    <a:lnTo>
                      <a:pt x="95155" y="179098"/>
                    </a:lnTo>
                    <a:lnTo>
                      <a:pt x="96670" y="179401"/>
                    </a:lnTo>
                    <a:lnTo>
                      <a:pt x="98337" y="179401"/>
                    </a:lnTo>
                    <a:lnTo>
                      <a:pt x="99246" y="178188"/>
                    </a:lnTo>
                    <a:lnTo>
                      <a:pt x="99094" y="175158"/>
                    </a:lnTo>
                    <a:lnTo>
                      <a:pt x="98185" y="170461"/>
                    </a:lnTo>
                    <a:lnTo>
                      <a:pt x="99246" y="167279"/>
                    </a:lnTo>
                    <a:lnTo>
                      <a:pt x="100762" y="169097"/>
                    </a:lnTo>
                    <a:lnTo>
                      <a:pt x="102732" y="170158"/>
                    </a:lnTo>
                    <a:lnTo>
                      <a:pt x="105307" y="170612"/>
                    </a:lnTo>
                    <a:lnTo>
                      <a:pt x="107580" y="171825"/>
                    </a:lnTo>
                    <a:lnTo>
                      <a:pt x="109095" y="173794"/>
                    </a:lnTo>
                    <a:lnTo>
                      <a:pt x="109398" y="176219"/>
                    </a:lnTo>
                    <a:lnTo>
                      <a:pt x="108640" y="178037"/>
                    </a:lnTo>
                    <a:lnTo>
                      <a:pt x="102277" y="183643"/>
                    </a:lnTo>
                    <a:lnTo>
                      <a:pt x="101064" y="185007"/>
                    </a:lnTo>
                    <a:lnTo>
                      <a:pt x="100307" y="186522"/>
                    </a:lnTo>
                    <a:lnTo>
                      <a:pt x="100307" y="191825"/>
                    </a:lnTo>
                    <a:lnTo>
                      <a:pt x="100913" y="197129"/>
                    </a:lnTo>
                    <a:lnTo>
                      <a:pt x="103489" y="194401"/>
                    </a:lnTo>
                    <a:lnTo>
                      <a:pt x="106520" y="194856"/>
                    </a:lnTo>
                    <a:lnTo>
                      <a:pt x="109095" y="198189"/>
                    </a:lnTo>
                    <a:lnTo>
                      <a:pt x="111065" y="198341"/>
                    </a:lnTo>
                    <a:lnTo>
                      <a:pt x="113489" y="200462"/>
                    </a:lnTo>
                    <a:lnTo>
                      <a:pt x="116520" y="201523"/>
                    </a:lnTo>
                    <a:lnTo>
                      <a:pt x="120308" y="201220"/>
                    </a:lnTo>
                    <a:lnTo>
                      <a:pt x="123035" y="199553"/>
                    </a:lnTo>
                    <a:lnTo>
                      <a:pt x="123186" y="197432"/>
                    </a:lnTo>
                    <a:lnTo>
                      <a:pt x="124551" y="196068"/>
                    </a:lnTo>
                    <a:lnTo>
                      <a:pt x="128489" y="194098"/>
                    </a:lnTo>
                    <a:lnTo>
                      <a:pt x="129853" y="193644"/>
                    </a:lnTo>
                    <a:lnTo>
                      <a:pt x="131218" y="193341"/>
                    </a:lnTo>
                    <a:lnTo>
                      <a:pt x="132127" y="193644"/>
                    </a:lnTo>
                    <a:lnTo>
                      <a:pt x="140157" y="197735"/>
                    </a:lnTo>
                    <a:lnTo>
                      <a:pt x="143187" y="201523"/>
                    </a:lnTo>
                    <a:close/>
                    <a:moveTo>
                      <a:pt x="89094" y="241069"/>
                    </a:moveTo>
                    <a:lnTo>
                      <a:pt x="88185" y="242585"/>
                    </a:lnTo>
                    <a:lnTo>
                      <a:pt x="87124" y="243039"/>
                    </a:lnTo>
                    <a:lnTo>
                      <a:pt x="85610" y="242585"/>
                    </a:lnTo>
                    <a:lnTo>
                      <a:pt x="85003" y="241827"/>
                    </a:lnTo>
                    <a:lnTo>
                      <a:pt x="81822" y="239857"/>
                    </a:lnTo>
                    <a:lnTo>
                      <a:pt x="80457" y="238494"/>
                    </a:lnTo>
                    <a:lnTo>
                      <a:pt x="79852" y="238645"/>
                    </a:lnTo>
                    <a:lnTo>
                      <a:pt x="79548" y="238948"/>
                    </a:lnTo>
                    <a:lnTo>
                      <a:pt x="79397" y="239554"/>
                    </a:lnTo>
                    <a:lnTo>
                      <a:pt x="79700" y="239706"/>
                    </a:lnTo>
                    <a:lnTo>
                      <a:pt x="79094" y="240463"/>
                    </a:lnTo>
                    <a:lnTo>
                      <a:pt x="78943" y="241676"/>
                    </a:lnTo>
                    <a:lnTo>
                      <a:pt x="79700" y="242282"/>
                    </a:lnTo>
                    <a:lnTo>
                      <a:pt x="81367" y="245312"/>
                    </a:lnTo>
                    <a:lnTo>
                      <a:pt x="82882" y="246979"/>
                    </a:lnTo>
                    <a:lnTo>
                      <a:pt x="85306" y="247433"/>
                    </a:lnTo>
                    <a:lnTo>
                      <a:pt x="87276" y="246676"/>
                    </a:lnTo>
                    <a:lnTo>
                      <a:pt x="89246" y="247130"/>
                    </a:lnTo>
                    <a:lnTo>
                      <a:pt x="91216" y="246979"/>
                    </a:lnTo>
                    <a:lnTo>
                      <a:pt x="91973" y="245161"/>
                    </a:lnTo>
                    <a:lnTo>
                      <a:pt x="89700" y="243342"/>
                    </a:lnTo>
                    <a:lnTo>
                      <a:pt x="89094" y="241069"/>
                    </a:lnTo>
                    <a:close/>
                    <a:moveTo>
                      <a:pt x="90307" y="200613"/>
                    </a:moveTo>
                    <a:lnTo>
                      <a:pt x="90307" y="198795"/>
                    </a:lnTo>
                    <a:lnTo>
                      <a:pt x="88640" y="196825"/>
                    </a:lnTo>
                    <a:lnTo>
                      <a:pt x="86215" y="195765"/>
                    </a:lnTo>
                    <a:lnTo>
                      <a:pt x="85761" y="196219"/>
                    </a:lnTo>
                    <a:lnTo>
                      <a:pt x="85610" y="196977"/>
                    </a:lnTo>
                    <a:lnTo>
                      <a:pt x="85761" y="197886"/>
                    </a:lnTo>
                    <a:lnTo>
                      <a:pt x="90307" y="200613"/>
                    </a:lnTo>
                    <a:close/>
                    <a:moveTo>
                      <a:pt x="117884" y="410924"/>
                    </a:moveTo>
                    <a:lnTo>
                      <a:pt x="116065" y="411379"/>
                    </a:lnTo>
                    <a:lnTo>
                      <a:pt x="114550" y="409409"/>
                    </a:lnTo>
                    <a:lnTo>
                      <a:pt x="111217" y="408803"/>
                    </a:lnTo>
                    <a:lnTo>
                      <a:pt x="107429" y="411227"/>
                    </a:lnTo>
                    <a:lnTo>
                      <a:pt x="106822" y="412742"/>
                    </a:lnTo>
                    <a:lnTo>
                      <a:pt x="108338" y="414258"/>
                    </a:lnTo>
                    <a:lnTo>
                      <a:pt x="110762" y="413500"/>
                    </a:lnTo>
                    <a:lnTo>
                      <a:pt x="112580" y="414258"/>
                    </a:lnTo>
                    <a:lnTo>
                      <a:pt x="116216" y="412894"/>
                    </a:lnTo>
                    <a:lnTo>
                      <a:pt x="118338" y="414864"/>
                    </a:lnTo>
                    <a:lnTo>
                      <a:pt x="121520" y="412894"/>
                    </a:lnTo>
                    <a:lnTo>
                      <a:pt x="121672" y="412288"/>
                    </a:lnTo>
                    <a:lnTo>
                      <a:pt x="121065" y="411227"/>
                    </a:lnTo>
                    <a:lnTo>
                      <a:pt x="117884" y="410924"/>
                    </a:lnTo>
                    <a:close/>
                    <a:moveTo>
                      <a:pt x="239251" y="379105"/>
                    </a:moveTo>
                    <a:lnTo>
                      <a:pt x="238342" y="382135"/>
                    </a:lnTo>
                    <a:lnTo>
                      <a:pt x="238949" y="383044"/>
                    </a:lnTo>
                    <a:lnTo>
                      <a:pt x="240615" y="386681"/>
                    </a:lnTo>
                    <a:lnTo>
                      <a:pt x="241070" y="385166"/>
                    </a:lnTo>
                    <a:lnTo>
                      <a:pt x="241070" y="380620"/>
                    </a:lnTo>
                    <a:lnTo>
                      <a:pt x="239251" y="379105"/>
                    </a:lnTo>
                    <a:close/>
                    <a:moveTo>
                      <a:pt x="262586" y="365771"/>
                    </a:moveTo>
                    <a:lnTo>
                      <a:pt x="261828" y="364407"/>
                    </a:lnTo>
                    <a:lnTo>
                      <a:pt x="260464" y="363498"/>
                    </a:lnTo>
                    <a:lnTo>
                      <a:pt x="258798" y="361377"/>
                    </a:lnTo>
                    <a:lnTo>
                      <a:pt x="258494" y="358801"/>
                    </a:lnTo>
                    <a:lnTo>
                      <a:pt x="259403" y="352740"/>
                    </a:lnTo>
                    <a:lnTo>
                      <a:pt x="259403" y="351225"/>
                    </a:lnTo>
                    <a:lnTo>
                      <a:pt x="257282" y="347892"/>
                    </a:lnTo>
                    <a:lnTo>
                      <a:pt x="256828" y="343649"/>
                    </a:lnTo>
                    <a:lnTo>
                      <a:pt x="254555" y="342134"/>
                    </a:lnTo>
                    <a:lnTo>
                      <a:pt x="251525" y="341528"/>
                    </a:lnTo>
                    <a:lnTo>
                      <a:pt x="250615" y="340619"/>
                    </a:lnTo>
                    <a:lnTo>
                      <a:pt x="250615" y="339710"/>
                    </a:lnTo>
                    <a:lnTo>
                      <a:pt x="252737" y="337891"/>
                    </a:lnTo>
                    <a:lnTo>
                      <a:pt x="253949" y="336528"/>
                    </a:lnTo>
                    <a:lnTo>
                      <a:pt x="255464" y="333800"/>
                    </a:lnTo>
                    <a:lnTo>
                      <a:pt x="255010" y="330921"/>
                    </a:lnTo>
                    <a:lnTo>
                      <a:pt x="252434" y="327436"/>
                    </a:lnTo>
                    <a:lnTo>
                      <a:pt x="251979" y="326224"/>
                    </a:lnTo>
                    <a:lnTo>
                      <a:pt x="251979" y="322133"/>
                    </a:lnTo>
                    <a:lnTo>
                      <a:pt x="249100" y="322588"/>
                    </a:lnTo>
                    <a:lnTo>
                      <a:pt x="246827" y="320921"/>
                    </a:lnTo>
                    <a:lnTo>
                      <a:pt x="245464" y="318042"/>
                    </a:lnTo>
                    <a:lnTo>
                      <a:pt x="243342" y="315618"/>
                    </a:lnTo>
                    <a:lnTo>
                      <a:pt x="236979" y="311678"/>
                    </a:lnTo>
                    <a:lnTo>
                      <a:pt x="233645" y="308799"/>
                    </a:lnTo>
                    <a:lnTo>
                      <a:pt x="232282" y="308799"/>
                    </a:lnTo>
                    <a:lnTo>
                      <a:pt x="230766" y="311224"/>
                    </a:lnTo>
                    <a:lnTo>
                      <a:pt x="233342" y="321981"/>
                    </a:lnTo>
                    <a:lnTo>
                      <a:pt x="233948" y="325618"/>
                    </a:lnTo>
                    <a:lnTo>
                      <a:pt x="233039" y="329103"/>
                    </a:lnTo>
                    <a:lnTo>
                      <a:pt x="229706" y="329709"/>
                    </a:lnTo>
                    <a:lnTo>
                      <a:pt x="226220" y="328800"/>
                    </a:lnTo>
                    <a:lnTo>
                      <a:pt x="225160" y="328800"/>
                    </a:lnTo>
                    <a:lnTo>
                      <a:pt x="224251" y="331679"/>
                    </a:lnTo>
                    <a:lnTo>
                      <a:pt x="223341" y="333194"/>
                    </a:lnTo>
                    <a:lnTo>
                      <a:pt x="220766" y="332588"/>
                    </a:lnTo>
                    <a:lnTo>
                      <a:pt x="217887" y="330770"/>
                    </a:lnTo>
                    <a:lnTo>
                      <a:pt x="215765" y="330315"/>
                    </a:lnTo>
                    <a:lnTo>
                      <a:pt x="214099" y="331679"/>
                    </a:lnTo>
                    <a:lnTo>
                      <a:pt x="213645" y="333043"/>
                    </a:lnTo>
                    <a:lnTo>
                      <a:pt x="212887" y="338043"/>
                    </a:lnTo>
                    <a:lnTo>
                      <a:pt x="211977" y="341528"/>
                    </a:lnTo>
                    <a:lnTo>
                      <a:pt x="208947" y="342588"/>
                    </a:lnTo>
                    <a:lnTo>
                      <a:pt x="204250" y="340316"/>
                    </a:lnTo>
                    <a:lnTo>
                      <a:pt x="203038" y="340467"/>
                    </a:lnTo>
                    <a:lnTo>
                      <a:pt x="201826" y="341528"/>
                    </a:lnTo>
                    <a:lnTo>
                      <a:pt x="200917" y="342891"/>
                    </a:lnTo>
                    <a:lnTo>
                      <a:pt x="199704" y="346225"/>
                    </a:lnTo>
                    <a:lnTo>
                      <a:pt x="198189" y="349407"/>
                    </a:lnTo>
                    <a:lnTo>
                      <a:pt x="197432" y="350619"/>
                    </a:lnTo>
                    <a:lnTo>
                      <a:pt x="196371" y="351377"/>
                    </a:lnTo>
                    <a:lnTo>
                      <a:pt x="191977" y="352589"/>
                    </a:lnTo>
                    <a:lnTo>
                      <a:pt x="190158" y="353498"/>
                    </a:lnTo>
                    <a:lnTo>
                      <a:pt x="186522" y="355619"/>
                    </a:lnTo>
                    <a:lnTo>
                      <a:pt x="185310" y="355316"/>
                    </a:lnTo>
                    <a:lnTo>
                      <a:pt x="188038" y="352892"/>
                    </a:lnTo>
                    <a:lnTo>
                      <a:pt x="188644" y="351680"/>
                    </a:lnTo>
                    <a:lnTo>
                      <a:pt x="188189" y="346528"/>
                    </a:lnTo>
                    <a:lnTo>
                      <a:pt x="187886" y="345013"/>
                    </a:lnTo>
                    <a:lnTo>
                      <a:pt x="186068" y="341831"/>
                    </a:lnTo>
                    <a:lnTo>
                      <a:pt x="183189" y="339861"/>
                    </a:lnTo>
                    <a:lnTo>
                      <a:pt x="180007" y="339103"/>
                    </a:lnTo>
                    <a:lnTo>
                      <a:pt x="178189" y="338194"/>
                    </a:lnTo>
                    <a:lnTo>
                      <a:pt x="176370" y="337588"/>
                    </a:lnTo>
                    <a:lnTo>
                      <a:pt x="174855" y="340012"/>
                    </a:lnTo>
                    <a:lnTo>
                      <a:pt x="173795" y="341225"/>
                    </a:lnTo>
                    <a:lnTo>
                      <a:pt x="172431" y="341982"/>
                    </a:lnTo>
                    <a:lnTo>
                      <a:pt x="168491" y="342740"/>
                    </a:lnTo>
                    <a:lnTo>
                      <a:pt x="167128" y="343649"/>
                    </a:lnTo>
                    <a:lnTo>
                      <a:pt x="165915" y="344861"/>
                    </a:lnTo>
                    <a:lnTo>
                      <a:pt x="165006" y="345770"/>
                    </a:lnTo>
                    <a:lnTo>
                      <a:pt x="164551" y="346983"/>
                    </a:lnTo>
                    <a:lnTo>
                      <a:pt x="164703" y="348801"/>
                    </a:lnTo>
                    <a:lnTo>
                      <a:pt x="164551" y="350619"/>
                    </a:lnTo>
                    <a:lnTo>
                      <a:pt x="162279" y="352437"/>
                    </a:lnTo>
                    <a:lnTo>
                      <a:pt x="159400" y="353043"/>
                    </a:lnTo>
                    <a:lnTo>
                      <a:pt x="155764" y="353043"/>
                    </a:lnTo>
                    <a:lnTo>
                      <a:pt x="153491" y="354104"/>
                    </a:lnTo>
                    <a:lnTo>
                      <a:pt x="147884" y="355468"/>
                    </a:lnTo>
                    <a:lnTo>
                      <a:pt x="146520" y="355922"/>
                    </a:lnTo>
                    <a:lnTo>
                      <a:pt x="143945" y="358195"/>
                    </a:lnTo>
                    <a:lnTo>
                      <a:pt x="140914" y="361831"/>
                    </a:lnTo>
                    <a:lnTo>
                      <a:pt x="140612" y="363044"/>
                    </a:lnTo>
                    <a:lnTo>
                      <a:pt x="140460" y="365923"/>
                    </a:lnTo>
                    <a:lnTo>
                      <a:pt x="138642" y="373953"/>
                    </a:lnTo>
                    <a:lnTo>
                      <a:pt x="137126" y="376226"/>
                    </a:lnTo>
                    <a:lnTo>
                      <a:pt x="135308" y="378347"/>
                    </a:lnTo>
                    <a:lnTo>
                      <a:pt x="134702" y="381681"/>
                    </a:lnTo>
                    <a:lnTo>
                      <a:pt x="136369" y="384560"/>
                    </a:lnTo>
                    <a:lnTo>
                      <a:pt x="138035" y="385620"/>
                    </a:lnTo>
                    <a:lnTo>
                      <a:pt x="140005" y="386075"/>
                    </a:lnTo>
                    <a:lnTo>
                      <a:pt x="141217" y="385166"/>
                    </a:lnTo>
                    <a:lnTo>
                      <a:pt x="142127" y="383650"/>
                    </a:lnTo>
                    <a:lnTo>
                      <a:pt x="144248" y="379105"/>
                    </a:lnTo>
                    <a:lnTo>
                      <a:pt x="146066" y="374408"/>
                    </a:lnTo>
                    <a:lnTo>
                      <a:pt x="149551" y="368347"/>
                    </a:lnTo>
                    <a:lnTo>
                      <a:pt x="150308" y="366226"/>
                    </a:lnTo>
                    <a:lnTo>
                      <a:pt x="150915" y="365316"/>
                    </a:lnTo>
                    <a:lnTo>
                      <a:pt x="154096" y="362892"/>
                    </a:lnTo>
                    <a:lnTo>
                      <a:pt x="156825" y="362589"/>
                    </a:lnTo>
                    <a:lnTo>
                      <a:pt x="158945" y="363953"/>
                    </a:lnTo>
                    <a:lnTo>
                      <a:pt x="159703" y="368498"/>
                    </a:lnTo>
                    <a:lnTo>
                      <a:pt x="160309" y="369256"/>
                    </a:lnTo>
                    <a:lnTo>
                      <a:pt x="162279" y="369256"/>
                    </a:lnTo>
                    <a:lnTo>
                      <a:pt x="164249" y="368802"/>
                    </a:lnTo>
                    <a:lnTo>
                      <a:pt x="165915" y="366983"/>
                    </a:lnTo>
                    <a:lnTo>
                      <a:pt x="167279" y="364559"/>
                    </a:lnTo>
                    <a:lnTo>
                      <a:pt x="167885" y="365468"/>
                    </a:lnTo>
                    <a:lnTo>
                      <a:pt x="168339" y="366529"/>
                    </a:lnTo>
                    <a:lnTo>
                      <a:pt x="168643" y="368044"/>
                    </a:lnTo>
                    <a:lnTo>
                      <a:pt x="169400" y="369256"/>
                    </a:lnTo>
                    <a:lnTo>
                      <a:pt x="172279" y="371074"/>
                    </a:lnTo>
                    <a:lnTo>
                      <a:pt x="175310" y="372590"/>
                    </a:lnTo>
                    <a:lnTo>
                      <a:pt x="177583" y="365468"/>
                    </a:lnTo>
                    <a:lnTo>
                      <a:pt x="177734" y="364256"/>
                    </a:lnTo>
                    <a:lnTo>
                      <a:pt x="177583" y="363044"/>
                    </a:lnTo>
                    <a:lnTo>
                      <a:pt x="178037" y="361680"/>
                    </a:lnTo>
                    <a:lnTo>
                      <a:pt x="179703" y="361074"/>
                    </a:lnTo>
                    <a:lnTo>
                      <a:pt x="181219" y="361074"/>
                    </a:lnTo>
                    <a:lnTo>
                      <a:pt x="182734" y="361377"/>
                    </a:lnTo>
                    <a:lnTo>
                      <a:pt x="184098" y="362286"/>
                    </a:lnTo>
                    <a:lnTo>
                      <a:pt x="185461" y="363498"/>
                    </a:lnTo>
                    <a:lnTo>
                      <a:pt x="191067" y="365619"/>
                    </a:lnTo>
                    <a:lnTo>
                      <a:pt x="193795" y="368044"/>
                    </a:lnTo>
                    <a:lnTo>
                      <a:pt x="196977" y="371832"/>
                    </a:lnTo>
                    <a:lnTo>
                      <a:pt x="197583" y="372892"/>
                    </a:lnTo>
                    <a:lnTo>
                      <a:pt x="197734" y="374711"/>
                    </a:lnTo>
                    <a:lnTo>
                      <a:pt x="197129" y="376529"/>
                    </a:lnTo>
                    <a:lnTo>
                      <a:pt x="196220" y="377893"/>
                    </a:lnTo>
                    <a:lnTo>
                      <a:pt x="195159" y="379105"/>
                    </a:lnTo>
                    <a:lnTo>
                      <a:pt x="193189" y="380772"/>
                    </a:lnTo>
                    <a:lnTo>
                      <a:pt x="191522" y="384105"/>
                    </a:lnTo>
                    <a:lnTo>
                      <a:pt x="191371" y="385923"/>
                    </a:lnTo>
                    <a:lnTo>
                      <a:pt x="191522" y="387742"/>
                    </a:lnTo>
                    <a:lnTo>
                      <a:pt x="193189" y="393045"/>
                    </a:lnTo>
                    <a:lnTo>
                      <a:pt x="193189" y="396681"/>
                    </a:lnTo>
                    <a:lnTo>
                      <a:pt x="193946" y="400166"/>
                    </a:lnTo>
                    <a:lnTo>
                      <a:pt x="197583" y="404863"/>
                    </a:lnTo>
                    <a:lnTo>
                      <a:pt x="202735" y="407894"/>
                    </a:lnTo>
                    <a:lnTo>
                      <a:pt x="209250" y="411227"/>
                    </a:lnTo>
                    <a:lnTo>
                      <a:pt x="217281" y="414561"/>
                    </a:lnTo>
                    <a:lnTo>
                      <a:pt x="218644" y="414864"/>
                    </a:lnTo>
                    <a:lnTo>
                      <a:pt x="220311" y="414712"/>
                    </a:lnTo>
                    <a:lnTo>
                      <a:pt x="221372" y="413803"/>
                    </a:lnTo>
                    <a:lnTo>
                      <a:pt x="224099" y="410015"/>
                    </a:lnTo>
                    <a:lnTo>
                      <a:pt x="224554" y="409561"/>
                    </a:lnTo>
                    <a:lnTo>
                      <a:pt x="225615" y="409409"/>
                    </a:lnTo>
                    <a:lnTo>
                      <a:pt x="226675" y="410470"/>
                    </a:lnTo>
                    <a:lnTo>
                      <a:pt x="226524" y="413349"/>
                    </a:lnTo>
                    <a:lnTo>
                      <a:pt x="225615" y="416530"/>
                    </a:lnTo>
                    <a:lnTo>
                      <a:pt x="225766" y="417894"/>
                    </a:lnTo>
                    <a:lnTo>
                      <a:pt x="226978" y="421228"/>
                    </a:lnTo>
                    <a:lnTo>
                      <a:pt x="228645" y="422137"/>
                    </a:lnTo>
                    <a:lnTo>
                      <a:pt x="231675" y="420318"/>
                    </a:lnTo>
                    <a:lnTo>
                      <a:pt x="235766" y="414712"/>
                    </a:lnTo>
                    <a:lnTo>
                      <a:pt x="237433" y="411682"/>
                    </a:lnTo>
                    <a:lnTo>
                      <a:pt x="237433" y="405015"/>
                    </a:lnTo>
                    <a:lnTo>
                      <a:pt x="235161" y="398499"/>
                    </a:lnTo>
                    <a:lnTo>
                      <a:pt x="234554" y="397590"/>
                    </a:lnTo>
                    <a:lnTo>
                      <a:pt x="232433" y="395621"/>
                    </a:lnTo>
                    <a:lnTo>
                      <a:pt x="230918" y="394711"/>
                    </a:lnTo>
                    <a:lnTo>
                      <a:pt x="229554" y="392439"/>
                    </a:lnTo>
                    <a:lnTo>
                      <a:pt x="230160" y="389560"/>
                    </a:lnTo>
                    <a:lnTo>
                      <a:pt x="231978" y="386378"/>
                    </a:lnTo>
                    <a:lnTo>
                      <a:pt x="234100" y="383499"/>
                    </a:lnTo>
                    <a:lnTo>
                      <a:pt x="236827" y="381075"/>
                    </a:lnTo>
                    <a:lnTo>
                      <a:pt x="237433" y="379559"/>
                    </a:lnTo>
                    <a:lnTo>
                      <a:pt x="237736" y="377893"/>
                    </a:lnTo>
                    <a:lnTo>
                      <a:pt x="238191" y="376832"/>
                    </a:lnTo>
                    <a:lnTo>
                      <a:pt x="240463" y="375165"/>
                    </a:lnTo>
                    <a:lnTo>
                      <a:pt x="241827" y="374862"/>
                    </a:lnTo>
                    <a:lnTo>
                      <a:pt x="243949" y="380772"/>
                    </a:lnTo>
                    <a:lnTo>
                      <a:pt x="245616" y="383044"/>
                    </a:lnTo>
                    <a:lnTo>
                      <a:pt x="246221" y="385469"/>
                    </a:lnTo>
                    <a:lnTo>
                      <a:pt x="247737" y="388196"/>
                    </a:lnTo>
                    <a:lnTo>
                      <a:pt x="248797" y="391227"/>
                    </a:lnTo>
                    <a:lnTo>
                      <a:pt x="249555" y="397893"/>
                    </a:lnTo>
                    <a:lnTo>
                      <a:pt x="250464" y="400469"/>
                    </a:lnTo>
                    <a:lnTo>
                      <a:pt x="251676" y="402894"/>
                    </a:lnTo>
                    <a:lnTo>
                      <a:pt x="252585" y="398197"/>
                    </a:lnTo>
                    <a:lnTo>
                      <a:pt x="253040" y="391378"/>
                    </a:lnTo>
                    <a:lnTo>
                      <a:pt x="251676" y="388196"/>
                    </a:lnTo>
                    <a:lnTo>
                      <a:pt x="252282" y="387135"/>
                    </a:lnTo>
                    <a:lnTo>
                      <a:pt x="254403" y="387438"/>
                    </a:lnTo>
                    <a:lnTo>
                      <a:pt x="258343" y="383954"/>
                    </a:lnTo>
                    <a:lnTo>
                      <a:pt x="261222" y="379559"/>
                    </a:lnTo>
                    <a:lnTo>
                      <a:pt x="262131" y="377590"/>
                    </a:lnTo>
                    <a:lnTo>
                      <a:pt x="262282" y="375468"/>
                    </a:lnTo>
                    <a:lnTo>
                      <a:pt x="262434" y="369407"/>
                    </a:lnTo>
                    <a:lnTo>
                      <a:pt x="262586" y="365771"/>
                    </a:lnTo>
                    <a:close/>
                    <a:moveTo>
                      <a:pt x="136369" y="187431"/>
                    </a:moveTo>
                    <a:lnTo>
                      <a:pt x="142278" y="191522"/>
                    </a:lnTo>
                    <a:lnTo>
                      <a:pt x="142430" y="190462"/>
                    </a:lnTo>
                    <a:lnTo>
                      <a:pt x="136520" y="185461"/>
                    </a:lnTo>
                    <a:lnTo>
                      <a:pt x="136217" y="186068"/>
                    </a:lnTo>
                    <a:lnTo>
                      <a:pt x="136217" y="186674"/>
                    </a:lnTo>
                    <a:lnTo>
                      <a:pt x="136369" y="187431"/>
                    </a:lnTo>
                    <a:close/>
                    <a:moveTo>
                      <a:pt x="162581" y="372438"/>
                    </a:moveTo>
                    <a:lnTo>
                      <a:pt x="161370" y="373499"/>
                    </a:lnTo>
                    <a:lnTo>
                      <a:pt x="160006" y="372590"/>
                    </a:lnTo>
                    <a:lnTo>
                      <a:pt x="159248" y="373499"/>
                    </a:lnTo>
                    <a:lnTo>
                      <a:pt x="159400" y="375620"/>
                    </a:lnTo>
                    <a:lnTo>
                      <a:pt x="160309" y="375620"/>
                    </a:lnTo>
                    <a:lnTo>
                      <a:pt x="163188" y="374408"/>
                    </a:lnTo>
                    <a:lnTo>
                      <a:pt x="163340" y="373802"/>
                    </a:lnTo>
                    <a:lnTo>
                      <a:pt x="163037" y="373196"/>
                    </a:lnTo>
                    <a:lnTo>
                      <a:pt x="162581" y="372438"/>
                    </a:lnTo>
                    <a:close/>
                    <a:moveTo>
                      <a:pt x="193795" y="202735"/>
                    </a:moveTo>
                    <a:lnTo>
                      <a:pt x="196977" y="204856"/>
                    </a:lnTo>
                    <a:lnTo>
                      <a:pt x="198947" y="203341"/>
                    </a:lnTo>
                    <a:lnTo>
                      <a:pt x="200159" y="203189"/>
                    </a:lnTo>
                    <a:lnTo>
                      <a:pt x="201068" y="203796"/>
                    </a:lnTo>
                    <a:lnTo>
                      <a:pt x="201826" y="201977"/>
                    </a:lnTo>
                    <a:lnTo>
                      <a:pt x="203190" y="200613"/>
                    </a:lnTo>
                    <a:lnTo>
                      <a:pt x="203038" y="198644"/>
                    </a:lnTo>
                    <a:lnTo>
                      <a:pt x="203644" y="195310"/>
                    </a:lnTo>
                    <a:lnTo>
                      <a:pt x="201371" y="193644"/>
                    </a:lnTo>
                    <a:lnTo>
                      <a:pt x="200613" y="193189"/>
                    </a:lnTo>
                    <a:lnTo>
                      <a:pt x="198341" y="189553"/>
                    </a:lnTo>
                    <a:lnTo>
                      <a:pt x="197280" y="190007"/>
                    </a:lnTo>
                    <a:lnTo>
                      <a:pt x="196371" y="190916"/>
                    </a:lnTo>
                    <a:lnTo>
                      <a:pt x="195462" y="192280"/>
                    </a:lnTo>
                    <a:lnTo>
                      <a:pt x="195462" y="197583"/>
                    </a:lnTo>
                    <a:lnTo>
                      <a:pt x="193189" y="201068"/>
                    </a:lnTo>
                    <a:lnTo>
                      <a:pt x="193795" y="202735"/>
                    </a:lnTo>
                    <a:close/>
                    <a:moveTo>
                      <a:pt x="139248" y="391378"/>
                    </a:moveTo>
                    <a:lnTo>
                      <a:pt x="135308" y="393196"/>
                    </a:lnTo>
                    <a:lnTo>
                      <a:pt x="133036" y="393499"/>
                    </a:lnTo>
                    <a:lnTo>
                      <a:pt x="132429" y="394863"/>
                    </a:lnTo>
                    <a:lnTo>
                      <a:pt x="134247" y="396227"/>
                    </a:lnTo>
                    <a:lnTo>
                      <a:pt x="134399" y="397439"/>
                    </a:lnTo>
                    <a:lnTo>
                      <a:pt x="136520" y="400166"/>
                    </a:lnTo>
                    <a:lnTo>
                      <a:pt x="137429" y="400166"/>
                    </a:lnTo>
                    <a:lnTo>
                      <a:pt x="140157" y="399863"/>
                    </a:lnTo>
                    <a:lnTo>
                      <a:pt x="143187" y="398348"/>
                    </a:lnTo>
                    <a:lnTo>
                      <a:pt x="144550" y="395772"/>
                    </a:lnTo>
                    <a:lnTo>
                      <a:pt x="146520" y="395166"/>
                    </a:lnTo>
                    <a:lnTo>
                      <a:pt x="145611" y="394105"/>
                    </a:lnTo>
                    <a:lnTo>
                      <a:pt x="139248" y="391378"/>
                    </a:lnTo>
                    <a:close/>
                    <a:moveTo>
                      <a:pt x="123186" y="44396"/>
                    </a:moveTo>
                    <a:lnTo>
                      <a:pt x="124853" y="44396"/>
                    </a:lnTo>
                    <a:lnTo>
                      <a:pt x="124551" y="41820"/>
                    </a:lnTo>
                    <a:lnTo>
                      <a:pt x="121065" y="40759"/>
                    </a:lnTo>
                    <a:lnTo>
                      <a:pt x="120611" y="41365"/>
                    </a:lnTo>
                    <a:lnTo>
                      <a:pt x="120611" y="41971"/>
                    </a:lnTo>
                    <a:lnTo>
                      <a:pt x="120763" y="42729"/>
                    </a:lnTo>
                    <a:lnTo>
                      <a:pt x="123186" y="44396"/>
                    </a:lnTo>
                    <a:close/>
                    <a:moveTo>
                      <a:pt x="134247" y="1667"/>
                    </a:moveTo>
                    <a:lnTo>
                      <a:pt x="133945" y="0"/>
                    </a:lnTo>
                    <a:lnTo>
                      <a:pt x="133490" y="0"/>
                    </a:lnTo>
                    <a:lnTo>
                      <a:pt x="132127" y="2727"/>
                    </a:lnTo>
                    <a:lnTo>
                      <a:pt x="131975" y="4091"/>
                    </a:lnTo>
                    <a:lnTo>
                      <a:pt x="133036" y="4091"/>
                    </a:lnTo>
                    <a:lnTo>
                      <a:pt x="134247" y="1667"/>
                    </a:lnTo>
                    <a:close/>
                    <a:moveTo>
                      <a:pt x="133793" y="54548"/>
                    </a:moveTo>
                    <a:lnTo>
                      <a:pt x="132884" y="56517"/>
                    </a:lnTo>
                    <a:lnTo>
                      <a:pt x="133793" y="57123"/>
                    </a:lnTo>
                    <a:lnTo>
                      <a:pt x="135460" y="55154"/>
                    </a:lnTo>
                    <a:lnTo>
                      <a:pt x="137278" y="53335"/>
                    </a:lnTo>
                    <a:lnTo>
                      <a:pt x="136065" y="51820"/>
                    </a:lnTo>
                    <a:lnTo>
                      <a:pt x="134551" y="52426"/>
                    </a:lnTo>
                    <a:lnTo>
                      <a:pt x="133793" y="53942"/>
                    </a:lnTo>
                    <a:lnTo>
                      <a:pt x="133793" y="54548"/>
                    </a:lnTo>
                    <a:close/>
                    <a:moveTo>
                      <a:pt x="136520" y="13486"/>
                    </a:moveTo>
                    <a:lnTo>
                      <a:pt x="138490" y="10607"/>
                    </a:lnTo>
                    <a:lnTo>
                      <a:pt x="137429" y="10304"/>
                    </a:lnTo>
                    <a:lnTo>
                      <a:pt x="136065" y="11061"/>
                    </a:lnTo>
                    <a:lnTo>
                      <a:pt x="135308" y="13788"/>
                    </a:lnTo>
                    <a:lnTo>
                      <a:pt x="136065" y="13940"/>
                    </a:lnTo>
                    <a:lnTo>
                      <a:pt x="136520" y="13486"/>
                    </a:lnTo>
                    <a:close/>
                    <a:moveTo>
                      <a:pt x="88489" y="429561"/>
                    </a:moveTo>
                    <a:lnTo>
                      <a:pt x="87276" y="429713"/>
                    </a:lnTo>
                    <a:lnTo>
                      <a:pt x="85003" y="431531"/>
                    </a:lnTo>
                    <a:lnTo>
                      <a:pt x="82276" y="432440"/>
                    </a:lnTo>
                    <a:lnTo>
                      <a:pt x="78034" y="435016"/>
                    </a:lnTo>
                    <a:lnTo>
                      <a:pt x="77882" y="436683"/>
                    </a:lnTo>
                    <a:lnTo>
                      <a:pt x="79397" y="436986"/>
                    </a:lnTo>
                    <a:lnTo>
                      <a:pt x="81670" y="436531"/>
                    </a:lnTo>
                    <a:lnTo>
                      <a:pt x="83185" y="434561"/>
                    </a:lnTo>
                    <a:lnTo>
                      <a:pt x="85610" y="434107"/>
                    </a:lnTo>
                    <a:lnTo>
                      <a:pt x="86064" y="432895"/>
                    </a:lnTo>
                    <a:lnTo>
                      <a:pt x="86973" y="433804"/>
                    </a:lnTo>
                    <a:lnTo>
                      <a:pt x="88185" y="434258"/>
                    </a:lnTo>
                    <a:lnTo>
                      <a:pt x="89094" y="433501"/>
                    </a:lnTo>
                    <a:lnTo>
                      <a:pt x="89852" y="431834"/>
                    </a:lnTo>
                    <a:lnTo>
                      <a:pt x="89246" y="431077"/>
                    </a:lnTo>
                    <a:lnTo>
                      <a:pt x="88489" y="429561"/>
                    </a:lnTo>
                    <a:close/>
                    <a:moveTo>
                      <a:pt x="116975" y="51669"/>
                    </a:moveTo>
                    <a:lnTo>
                      <a:pt x="117125" y="49699"/>
                    </a:lnTo>
                    <a:lnTo>
                      <a:pt x="116975" y="48032"/>
                    </a:lnTo>
                    <a:lnTo>
                      <a:pt x="116065" y="46820"/>
                    </a:lnTo>
                    <a:lnTo>
                      <a:pt x="115459" y="48032"/>
                    </a:lnTo>
                    <a:lnTo>
                      <a:pt x="115307" y="49093"/>
                    </a:lnTo>
                    <a:lnTo>
                      <a:pt x="115610" y="50456"/>
                    </a:lnTo>
                    <a:lnTo>
                      <a:pt x="116975" y="51669"/>
                    </a:lnTo>
                    <a:close/>
                    <a:moveTo>
                      <a:pt x="83791" y="249403"/>
                    </a:moveTo>
                    <a:lnTo>
                      <a:pt x="82731" y="248949"/>
                    </a:lnTo>
                    <a:lnTo>
                      <a:pt x="81670" y="248191"/>
                    </a:lnTo>
                    <a:lnTo>
                      <a:pt x="80609" y="247585"/>
                    </a:lnTo>
                    <a:lnTo>
                      <a:pt x="79094" y="248343"/>
                    </a:lnTo>
                    <a:lnTo>
                      <a:pt x="81064" y="253343"/>
                    </a:lnTo>
                    <a:lnTo>
                      <a:pt x="81064" y="254252"/>
                    </a:lnTo>
                    <a:lnTo>
                      <a:pt x="81367" y="255616"/>
                    </a:lnTo>
                    <a:lnTo>
                      <a:pt x="81822" y="256222"/>
                    </a:lnTo>
                    <a:lnTo>
                      <a:pt x="83942" y="255312"/>
                    </a:lnTo>
                    <a:lnTo>
                      <a:pt x="84852" y="253040"/>
                    </a:lnTo>
                    <a:lnTo>
                      <a:pt x="84549" y="251979"/>
                    </a:lnTo>
                    <a:lnTo>
                      <a:pt x="84852" y="250918"/>
                    </a:lnTo>
                    <a:lnTo>
                      <a:pt x="83791" y="249403"/>
                    </a:lnTo>
                    <a:close/>
                    <a:moveTo>
                      <a:pt x="606" y="355468"/>
                    </a:moveTo>
                    <a:lnTo>
                      <a:pt x="152" y="356377"/>
                    </a:lnTo>
                    <a:lnTo>
                      <a:pt x="0" y="359710"/>
                    </a:lnTo>
                    <a:lnTo>
                      <a:pt x="1667" y="362135"/>
                    </a:lnTo>
                    <a:lnTo>
                      <a:pt x="3031" y="360013"/>
                    </a:lnTo>
                    <a:lnTo>
                      <a:pt x="2879" y="354862"/>
                    </a:lnTo>
                    <a:lnTo>
                      <a:pt x="606" y="355468"/>
                    </a:lnTo>
                    <a:close/>
                    <a:moveTo>
                      <a:pt x="78185" y="264252"/>
                    </a:moveTo>
                    <a:lnTo>
                      <a:pt x="78791" y="263798"/>
                    </a:lnTo>
                    <a:lnTo>
                      <a:pt x="79548" y="261676"/>
                    </a:lnTo>
                    <a:lnTo>
                      <a:pt x="78943" y="260161"/>
                    </a:lnTo>
                    <a:lnTo>
                      <a:pt x="78034" y="260464"/>
                    </a:lnTo>
                    <a:lnTo>
                      <a:pt x="76215" y="261676"/>
                    </a:lnTo>
                    <a:lnTo>
                      <a:pt x="75306" y="261676"/>
                    </a:lnTo>
                    <a:lnTo>
                      <a:pt x="75457" y="262888"/>
                    </a:lnTo>
                    <a:lnTo>
                      <a:pt x="77276" y="263495"/>
                    </a:lnTo>
                    <a:lnTo>
                      <a:pt x="78185" y="264252"/>
                    </a:lnTo>
                    <a:close/>
                    <a:moveTo>
                      <a:pt x="9849" y="348498"/>
                    </a:moveTo>
                    <a:lnTo>
                      <a:pt x="8485" y="348346"/>
                    </a:lnTo>
                    <a:lnTo>
                      <a:pt x="8182" y="350013"/>
                    </a:lnTo>
                    <a:lnTo>
                      <a:pt x="8637" y="351680"/>
                    </a:lnTo>
                    <a:lnTo>
                      <a:pt x="10455" y="351074"/>
                    </a:lnTo>
                    <a:lnTo>
                      <a:pt x="10455" y="349104"/>
                    </a:lnTo>
                    <a:lnTo>
                      <a:pt x="9849" y="348498"/>
                    </a:lnTo>
                    <a:close/>
                    <a:moveTo>
                      <a:pt x="72427" y="282738"/>
                    </a:moveTo>
                    <a:lnTo>
                      <a:pt x="70003" y="275919"/>
                    </a:lnTo>
                    <a:lnTo>
                      <a:pt x="70912" y="273343"/>
                    </a:lnTo>
                    <a:lnTo>
                      <a:pt x="70154" y="271828"/>
                    </a:lnTo>
                    <a:lnTo>
                      <a:pt x="70154" y="270313"/>
                    </a:lnTo>
                    <a:lnTo>
                      <a:pt x="70912" y="267283"/>
                    </a:lnTo>
                    <a:lnTo>
                      <a:pt x="70760" y="266071"/>
                    </a:lnTo>
                    <a:lnTo>
                      <a:pt x="69397" y="265161"/>
                    </a:lnTo>
                    <a:lnTo>
                      <a:pt x="68488" y="266676"/>
                    </a:lnTo>
                    <a:lnTo>
                      <a:pt x="65002" y="273798"/>
                    </a:lnTo>
                    <a:lnTo>
                      <a:pt x="64093" y="275465"/>
                    </a:lnTo>
                    <a:lnTo>
                      <a:pt x="62881" y="278950"/>
                    </a:lnTo>
                    <a:lnTo>
                      <a:pt x="63791" y="281525"/>
                    </a:lnTo>
                    <a:lnTo>
                      <a:pt x="64245" y="283344"/>
                    </a:lnTo>
                    <a:lnTo>
                      <a:pt x="63487" y="286526"/>
                    </a:lnTo>
                    <a:lnTo>
                      <a:pt x="61821" y="289253"/>
                    </a:lnTo>
                    <a:lnTo>
                      <a:pt x="60760" y="290314"/>
                    </a:lnTo>
                    <a:lnTo>
                      <a:pt x="59548" y="291071"/>
                    </a:lnTo>
                    <a:lnTo>
                      <a:pt x="57881" y="291677"/>
                    </a:lnTo>
                    <a:lnTo>
                      <a:pt x="56366" y="292587"/>
                    </a:lnTo>
                    <a:lnTo>
                      <a:pt x="51517" y="298647"/>
                    </a:lnTo>
                    <a:lnTo>
                      <a:pt x="50760" y="299405"/>
                    </a:lnTo>
                    <a:lnTo>
                      <a:pt x="48183" y="301375"/>
                    </a:lnTo>
                    <a:lnTo>
                      <a:pt x="42881" y="308042"/>
                    </a:lnTo>
                    <a:lnTo>
                      <a:pt x="37729" y="313345"/>
                    </a:lnTo>
                    <a:lnTo>
                      <a:pt x="31517" y="320315"/>
                    </a:lnTo>
                    <a:lnTo>
                      <a:pt x="29092" y="322436"/>
                    </a:lnTo>
                    <a:lnTo>
                      <a:pt x="28032" y="322891"/>
                    </a:lnTo>
                    <a:lnTo>
                      <a:pt x="26668" y="322891"/>
                    </a:lnTo>
                    <a:lnTo>
                      <a:pt x="25455" y="323194"/>
                    </a:lnTo>
                    <a:lnTo>
                      <a:pt x="21667" y="327133"/>
                    </a:lnTo>
                    <a:lnTo>
                      <a:pt x="17577" y="330618"/>
                    </a:lnTo>
                    <a:lnTo>
                      <a:pt x="15909" y="332436"/>
                    </a:lnTo>
                    <a:lnTo>
                      <a:pt x="12880" y="336224"/>
                    </a:lnTo>
                    <a:lnTo>
                      <a:pt x="11061" y="337740"/>
                    </a:lnTo>
                    <a:lnTo>
                      <a:pt x="8485" y="342437"/>
                    </a:lnTo>
                    <a:lnTo>
                      <a:pt x="7728" y="344710"/>
                    </a:lnTo>
                    <a:lnTo>
                      <a:pt x="7424" y="347134"/>
                    </a:lnTo>
                    <a:lnTo>
                      <a:pt x="10001" y="345164"/>
                    </a:lnTo>
                    <a:lnTo>
                      <a:pt x="12728" y="343649"/>
                    </a:lnTo>
                    <a:lnTo>
                      <a:pt x="14243" y="343194"/>
                    </a:lnTo>
                    <a:lnTo>
                      <a:pt x="15607" y="342437"/>
                    </a:lnTo>
                    <a:lnTo>
                      <a:pt x="16213" y="340922"/>
                    </a:lnTo>
                    <a:lnTo>
                      <a:pt x="17122" y="339710"/>
                    </a:lnTo>
                    <a:lnTo>
                      <a:pt x="20001" y="338800"/>
                    </a:lnTo>
                    <a:lnTo>
                      <a:pt x="22728" y="337437"/>
                    </a:lnTo>
                    <a:lnTo>
                      <a:pt x="25759" y="335467"/>
                    </a:lnTo>
                    <a:lnTo>
                      <a:pt x="28486" y="333346"/>
                    </a:lnTo>
                    <a:lnTo>
                      <a:pt x="30607" y="330467"/>
                    </a:lnTo>
                    <a:lnTo>
                      <a:pt x="32426" y="327285"/>
                    </a:lnTo>
                    <a:lnTo>
                      <a:pt x="35001" y="325467"/>
                    </a:lnTo>
                    <a:lnTo>
                      <a:pt x="38335" y="324558"/>
                    </a:lnTo>
                    <a:lnTo>
                      <a:pt x="40607" y="323042"/>
                    </a:lnTo>
                    <a:lnTo>
                      <a:pt x="42577" y="320921"/>
                    </a:lnTo>
                    <a:lnTo>
                      <a:pt x="44395" y="318497"/>
                    </a:lnTo>
                    <a:lnTo>
                      <a:pt x="50002" y="309102"/>
                    </a:lnTo>
                    <a:lnTo>
                      <a:pt x="49548" y="306527"/>
                    </a:lnTo>
                    <a:lnTo>
                      <a:pt x="50305" y="305011"/>
                    </a:lnTo>
                    <a:lnTo>
                      <a:pt x="51669" y="304102"/>
                    </a:lnTo>
                    <a:lnTo>
                      <a:pt x="54850" y="302890"/>
                    </a:lnTo>
                    <a:lnTo>
                      <a:pt x="61517" y="301072"/>
                    </a:lnTo>
                    <a:lnTo>
                      <a:pt x="62275" y="300011"/>
                    </a:lnTo>
                    <a:lnTo>
                      <a:pt x="62578" y="298647"/>
                    </a:lnTo>
                    <a:lnTo>
                      <a:pt x="64093" y="295920"/>
                    </a:lnTo>
                    <a:lnTo>
                      <a:pt x="66366" y="293799"/>
                    </a:lnTo>
                    <a:lnTo>
                      <a:pt x="67881" y="293041"/>
                    </a:lnTo>
                    <a:lnTo>
                      <a:pt x="71063" y="292284"/>
                    </a:lnTo>
                    <a:lnTo>
                      <a:pt x="72578" y="291526"/>
                    </a:lnTo>
                    <a:lnTo>
                      <a:pt x="75155" y="288950"/>
                    </a:lnTo>
                    <a:lnTo>
                      <a:pt x="75155" y="287586"/>
                    </a:lnTo>
                    <a:lnTo>
                      <a:pt x="72427" y="2827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8" name="Freeform: Shape 3187">
                <a:extLst>
                  <a:ext uri="{FF2B5EF4-FFF2-40B4-BE49-F238E27FC236}">
                    <a16:creationId xmlns:a16="http://schemas.microsoft.com/office/drawing/2014/main" id="{4D56B39D-EEDC-450E-880B-5534A16983D2}"/>
                  </a:ext>
                </a:extLst>
              </p:cNvPr>
              <p:cNvSpPr/>
              <p:nvPr/>
            </p:nvSpPr>
            <p:spPr>
              <a:xfrm>
                <a:off x="9631736" y="4598813"/>
                <a:ext cx="412440" cy="280464"/>
              </a:xfrm>
              <a:custGeom>
                <a:avLst/>
                <a:gdLst>
                  <a:gd name="connsiteX0" fmla="*/ 155764 w 412440"/>
                  <a:gd name="connsiteY0" fmla="*/ 23334 h 280464"/>
                  <a:gd name="connsiteX1" fmla="*/ 157430 w 412440"/>
                  <a:gd name="connsiteY1" fmla="*/ 22274 h 280464"/>
                  <a:gd name="connsiteX2" fmla="*/ 159248 w 412440"/>
                  <a:gd name="connsiteY2" fmla="*/ 22577 h 280464"/>
                  <a:gd name="connsiteX3" fmla="*/ 160613 w 412440"/>
                  <a:gd name="connsiteY3" fmla="*/ 21668 h 280464"/>
                  <a:gd name="connsiteX4" fmla="*/ 165461 w 412440"/>
                  <a:gd name="connsiteY4" fmla="*/ 22728 h 280464"/>
                  <a:gd name="connsiteX5" fmla="*/ 169249 w 412440"/>
                  <a:gd name="connsiteY5" fmla="*/ 22728 h 280464"/>
                  <a:gd name="connsiteX6" fmla="*/ 171370 w 412440"/>
                  <a:gd name="connsiteY6" fmla="*/ 22122 h 280464"/>
                  <a:gd name="connsiteX7" fmla="*/ 173189 w 412440"/>
                  <a:gd name="connsiteY7" fmla="*/ 22577 h 280464"/>
                  <a:gd name="connsiteX8" fmla="*/ 175765 w 412440"/>
                  <a:gd name="connsiteY8" fmla="*/ 20152 h 280464"/>
                  <a:gd name="connsiteX9" fmla="*/ 176674 w 412440"/>
                  <a:gd name="connsiteY9" fmla="*/ 19546 h 280464"/>
                  <a:gd name="connsiteX10" fmla="*/ 178037 w 412440"/>
                  <a:gd name="connsiteY10" fmla="*/ 19698 h 280464"/>
                  <a:gd name="connsiteX11" fmla="*/ 179553 w 412440"/>
                  <a:gd name="connsiteY11" fmla="*/ 19395 h 280464"/>
                  <a:gd name="connsiteX12" fmla="*/ 179704 w 412440"/>
                  <a:gd name="connsiteY12" fmla="*/ 18031 h 280464"/>
                  <a:gd name="connsiteX13" fmla="*/ 179098 w 412440"/>
                  <a:gd name="connsiteY13" fmla="*/ 17576 h 280464"/>
                  <a:gd name="connsiteX14" fmla="*/ 178946 w 412440"/>
                  <a:gd name="connsiteY14" fmla="*/ 17728 h 280464"/>
                  <a:gd name="connsiteX15" fmla="*/ 179098 w 412440"/>
                  <a:gd name="connsiteY15" fmla="*/ 18334 h 280464"/>
                  <a:gd name="connsiteX16" fmla="*/ 178492 w 412440"/>
                  <a:gd name="connsiteY16" fmla="*/ 18334 h 280464"/>
                  <a:gd name="connsiteX17" fmla="*/ 169401 w 412440"/>
                  <a:gd name="connsiteY17" fmla="*/ 16516 h 280464"/>
                  <a:gd name="connsiteX18" fmla="*/ 163643 w 412440"/>
                  <a:gd name="connsiteY18" fmla="*/ 16213 h 280464"/>
                  <a:gd name="connsiteX19" fmla="*/ 160915 w 412440"/>
                  <a:gd name="connsiteY19" fmla="*/ 16970 h 280464"/>
                  <a:gd name="connsiteX20" fmla="*/ 158037 w 412440"/>
                  <a:gd name="connsiteY20" fmla="*/ 16819 h 280464"/>
                  <a:gd name="connsiteX21" fmla="*/ 156370 w 412440"/>
                  <a:gd name="connsiteY21" fmla="*/ 18031 h 280464"/>
                  <a:gd name="connsiteX22" fmla="*/ 156673 w 412440"/>
                  <a:gd name="connsiteY22" fmla="*/ 20304 h 280464"/>
                  <a:gd name="connsiteX23" fmla="*/ 154703 w 412440"/>
                  <a:gd name="connsiteY23" fmla="*/ 20910 h 280464"/>
                  <a:gd name="connsiteX24" fmla="*/ 154703 w 412440"/>
                  <a:gd name="connsiteY24" fmla="*/ 21668 h 280464"/>
                  <a:gd name="connsiteX25" fmla="*/ 155158 w 412440"/>
                  <a:gd name="connsiteY25" fmla="*/ 23183 h 280464"/>
                  <a:gd name="connsiteX26" fmla="*/ 155764 w 412440"/>
                  <a:gd name="connsiteY26" fmla="*/ 23334 h 280464"/>
                  <a:gd name="connsiteX27" fmla="*/ 190613 w 412440"/>
                  <a:gd name="connsiteY27" fmla="*/ 26819 h 280464"/>
                  <a:gd name="connsiteX28" fmla="*/ 191522 w 412440"/>
                  <a:gd name="connsiteY28" fmla="*/ 25456 h 280464"/>
                  <a:gd name="connsiteX29" fmla="*/ 190462 w 412440"/>
                  <a:gd name="connsiteY29" fmla="*/ 24395 h 280464"/>
                  <a:gd name="connsiteX30" fmla="*/ 189856 w 412440"/>
                  <a:gd name="connsiteY30" fmla="*/ 24849 h 280464"/>
                  <a:gd name="connsiteX31" fmla="*/ 189250 w 412440"/>
                  <a:gd name="connsiteY31" fmla="*/ 26062 h 280464"/>
                  <a:gd name="connsiteX32" fmla="*/ 187734 w 412440"/>
                  <a:gd name="connsiteY32" fmla="*/ 26365 h 280464"/>
                  <a:gd name="connsiteX33" fmla="*/ 188644 w 412440"/>
                  <a:gd name="connsiteY33" fmla="*/ 26819 h 280464"/>
                  <a:gd name="connsiteX34" fmla="*/ 190613 w 412440"/>
                  <a:gd name="connsiteY34" fmla="*/ 26819 h 280464"/>
                  <a:gd name="connsiteX35" fmla="*/ 138794 w 412440"/>
                  <a:gd name="connsiteY35" fmla="*/ 92579 h 280464"/>
                  <a:gd name="connsiteX36" fmla="*/ 140612 w 412440"/>
                  <a:gd name="connsiteY36" fmla="*/ 91822 h 280464"/>
                  <a:gd name="connsiteX37" fmla="*/ 141521 w 412440"/>
                  <a:gd name="connsiteY37" fmla="*/ 89549 h 280464"/>
                  <a:gd name="connsiteX38" fmla="*/ 141066 w 412440"/>
                  <a:gd name="connsiteY38" fmla="*/ 87731 h 280464"/>
                  <a:gd name="connsiteX39" fmla="*/ 139854 w 412440"/>
                  <a:gd name="connsiteY39" fmla="*/ 86822 h 280464"/>
                  <a:gd name="connsiteX40" fmla="*/ 138794 w 412440"/>
                  <a:gd name="connsiteY40" fmla="*/ 87276 h 280464"/>
                  <a:gd name="connsiteX41" fmla="*/ 137127 w 412440"/>
                  <a:gd name="connsiteY41" fmla="*/ 88640 h 280464"/>
                  <a:gd name="connsiteX42" fmla="*/ 136672 w 412440"/>
                  <a:gd name="connsiteY42" fmla="*/ 90306 h 280464"/>
                  <a:gd name="connsiteX43" fmla="*/ 137278 w 412440"/>
                  <a:gd name="connsiteY43" fmla="*/ 92125 h 280464"/>
                  <a:gd name="connsiteX44" fmla="*/ 138794 w 412440"/>
                  <a:gd name="connsiteY44" fmla="*/ 92579 h 280464"/>
                  <a:gd name="connsiteX45" fmla="*/ 171068 w 412440"/>
                  <a:gd name="connsiteY45" fmla="*/ 104398 h 280464"/>
                  <a:gd name="connsiteX46" fmla="*/ 167885 w 412440"/>
                  <a:gd name="connsiteY46" fmla="*/ 106216 h 280464"/>
                  <a:gd name="connsiteX47" fmla="*/ 167582 w 412440"/>
                  <a:gd name="connsiteY47" fmla="*/ 107580 h 280464"/>
                  <a:gd name="connsiteX48" fmla="*/ 168189 w 412440"/>
                  <a:gd name="connsiteY48" fmla="*/ 108489 h 280464"/>
                  <a:gd name="connsiteX49" fmla="*/ 170613 w 412440"/>
                  <a:gd name="connsiteY49" fmla="*/ 111065 h 280464"/>
                  <a:gd name="connsiteX50" fmla="*/ 172128 w 412440"/>
                  <a:gd name="connsiteY50" fmla="*/ 110913 h 280464"/>
                  <a:gd name="connsiteX51" fmla="*/ 173340 w 412440"/>
                  <a:gd name="connsiteY51" fmla="*/ 109550 h 280464"/>
                  <a:gd name="connsiteX52" fmla="*/ 172886 w 412440"/>
                  <a:gd name="connsiteY52" fmla="*/ 106064 h 280464"/>
                  <a:gd name="connsiteX53" fmla="*/ 171068 w 412440"/>
                  <a:gd name="connsiteY53" fmla="*/ 104398 h 280464"/>
                  <a:gd name="connsiteX54" fmla="*/ 70154 w 412440"/>
                  <a:gd name="connsiteY54" fmla="*/ 195310 h 280464"/>
                  <a:gd name="connsiteX55" fmla="*/ 66064 w 412440"/>
                  <a:gd name="connsiteY55" fmla="*/ 194098 h 280464"/>
                  <a:gd name="connsiteX56" fmla="*/ 63639 w 412440"/>
                  <a:gd name="connsiteY56" fmla="*/ 192734 h 280464"/>
                  <a:gd name="connsiteX57" fmla="*/ 64851 w 412440"/>
                  <a:gd name="connsiteY57" fmla="*/ 194553 h 280464"/>
                  <a:gd name="connsiteX58" fmla="*/ 66821 w 412440"/>
                  <a:gd name="connsiteY58" fmla="*/ 195310 h 280464"/>
                  <a:gd name="connsiteX59" fmla="*/ 70609 w 412440"/>
                  <a:gd name="connsiteY59" fmla="*/ 198038 h 280464"/>
                  <a:gd name="connsiteX60" fmla="*/ 74549 w 412440"/>
                  <a:gd name="connsiteY60" fmla="*/ 199704 h 280464"/>
                  <a:gd name="connsiteX61" fmla="*/ 74094 w 412440"/>
                  <a:gd name="connsiteY61" fmla="*/ 198492 h 280464"/>
                  <a:gd name="connsiteX62" fmla="*/ 70154 w 412440"/>
                  <a:gd name="connsiteY62" fmla="*/ 195310 h 280464"/>
                  <a:gd name="connsiteX63" fmla="*/ 189250 w 412440"/>
                  <a:gd name="connsiteY63" fmla="*/ 112731 h 280464"/>
                  <a:gd name="connsiteX64" fmla="*/ 188947 w 412440"/>
                  <a:gd name="connsiteY64" fmla="*/ 113489 h 280464"/>
                  <a:gd name="connsiteX65" fmla="*/ 188947 w 412440"/>
                  <a:gd name="connsiteY65" fmla="*/ 116368 h 280464"/>
                  <a:gd name="connsiteX66" fmla="*/ 191522 w 412440"/>
                  <a:gd name="connsiteY66" fmla="*/ 119701 h 280464"/>
                  <a:gd name="connsiteX67" fmla="*/ 194098 w 412440"/>
                  <a:gd name="connsiteY67" fmla="*/ 120762 h 280464"/>
                  <a:gd name="connsiteX68" fmla="*/ 194553 w 412440"/>
                  <a:gd name="connsiteY68" fmla="*/ 121974 h 280464"/>
                  <a:gd name="connsiteX69" fmla="*/ 195614 w 412440"/>
                  <a:gd name="connsiteY69" fmla="*/ 121823 h 280464"/>
                  <a:gd name="connsiteX70" fmla="*/ 196523 w 412440"/>
                  <a:gd name="connsiteY70" fmla="*/ 120156 h 280464"/>
                  <a:gd name="connsiteX71" fmla="*/ 196977 w 412440"/>
                  <a:gd name="connsiteY71" fmla="*/ 116974 h 280464"/>
                  <a:gd name="connsiteX72" fmla="*/ 196371 w 412440"/>
                  <a:gd name="connsiteY72" fmla="*/ 115913 h 280464"/>
                  <a:gd name="connsiteX73" fmla="*/ 190613 w 412440"/>
                  <a:gd name="connsiteY73" fmla="*/ 112580 h 280464"/>
                  <a:gd name="connsiteX74" fmla="*/ 189250 w 412440"/>
                  <a:gd name="connsiteY74" fmla="*/ 112731 h 280464"/>
                  <a:gd name="connsiteX75" fmla="*/ 303042 w 412440"/>
                  <a:gd name="connsiteY75" fmla="*/ 40153 h 280464"/>
                  <a:gd name="connsiteX76" fmla="*/ 304557 w 412440"/>
                  <a:gd name="connsiteY76" fmla="*/ 39547 h 280464"/>
                  <a:gd name="connsiteX77" fmla="*/ 304254 w 412440"/>
                  <a:gd name="connsiteY77" fmla="*/ 37577 h 280464"/>
                  <a:gd name="connsiteX78" fmla="*/ 302739 w 412440"/>
                  <a:gd name="connsiteY78" fmla="*/ 36820 h 280464"/>
                  <a:gd name="connsiteX79" fmla="*/ 302284 w 412440"/>
                  <a:gd name="connsiteY79" fmla="*/ 38032 h 280464"/>
                  <a:gd name="connsiteX80" fmla="*/ 302436 w 412440"/>
                  <a:gd name="connsiteY80" fmla="*/ 40153 h 280464"/>
                  <a:gd name="connsiteX81" fmla="*/ 303042 w 412440"/>
                  <a:gd name="connsiteY81" fmla="*/ 40153 h 280464"/>
                  <a:gd name="connsiteX82" fmla="*/ 303042 w 412440"/>
                  <a:gd name="connsiteY82" fmla="*/ 41365 h 280464"/>
                  <a:gd name="connsiteX83" fmla="*/ 303497 w 412440"/>
                  <a:gd name="connsiteY83" fmla="*/ 42123 h 280464"/>
                  <a:gd name="connsiteX84" fmla="*/ 305920 w 412440"/>
                  <a:gd name="connsiteY84" fmla="*/ 44850 h 280464"/>
                  <a:gd name="connsiteX85" fmla="*/ 306830 w 412440"/>
                  <a:gd name="connsiteY85" fmla="*/ 45002 h 280464"/>
                  <a:gd name="connsiteX86" fmla="*/ 307133 w 412440"/>
                  <a:gd name="connsiteY86" fmla="*/ 43638 h 280464"/>
                  <a:gd name="connsiteX87" fmla="*/ 306527 w 412440"/>
                  <a:gd name="connsiteY87" fmla="*/ 42880 h 280464"/>
                  <a:gd name="connsiteX88" fmla="*/ 303800 w 412440"/>
                  <a:gd name="connsiteY88" fmla="*/ 40911 h 280464"/>
                  <a:gd name="connsiteX89" fmla="*/ 303042 w 412440"/>
                  <a:gd name="connsiteY89" fmla="*/ 41365 h 280464"/>
                  <a:gd name="connsiteX90" fmla="*/ 321982 w 412440"/>
                  <a:gd name="connsiteY90" fmla="*/ 50760 h 280464"/>
                  <a:gd name="connsiteX91" fmla="*/ 322588 w 412440"/>
                  <a:gd name="connsiteY91" fmla="*/ 48335 h 280464"/>
                  <a:gd name="connsiteX92" fmla="*/ 321679 w 412440"/>
                  <a:gd name="connsiteY92" fmla="*/ 45911 h 280464"/>
                  <a:gd name="connsiteX93" fmla="*/ 319861 w 412440"/>
                  <a:gd name="connsiteY93" fmla="*/ 46517 h 280464"/>
                  <a:gd name="connsiteX94" fmla="*/ 319103 w 412440"/>
                  <a:gd name="connsiteY94" fmla="*/ 47426 h 280464"/>
                  <a:gd name="connsiteX95" fmla="*/ 320315 w 412440"/>
                  <a:gd name="connsiteY95" fmla="*/ 49396 h 280464"/>
                  <a:gd name="connsiteX96" fmla="*/ 321982 w 412440"/>
                  <a:gd name="connsiteY96" fmla="*/ 50760 h 280464"/>
                  <a:gd name="connsiteX97" fmla="*/ 349710 w 412440"/>
                  <a:gd name="connsiteY97" fmla="*/ 74700 h 280464"/>
                  <a:gd name="connsiteX98" fmla="*/ 349862 w 412440"/>
                  <a:gd name="connsiteY98" fmla="*/ 73185 h 280464"/>
                  <a:gd name="connsiteX99" fmla="*/ 349256 w 412440"/>
                  <a:gd name="connsiteY99" fmla="*/ 73336 h 280464"/>
                  <a:gd name="connsiteX100" fmla="*/ 347892 w 412440"/>
                  <a:gd name="connsiteY100" fmla="*/ 74700 h 280464"/>
                  <a:gd name="connsiteX101" fmla="*/ 349559 w 412440"/>
                  <a:gd name="connsiteY101" fmla="*/ 75457 h 280464"/>
                  <a:gd name="connsiteX102" fmla="*/ 349710 w 412440"/>
                  <a:gd name="connsiteY102" fmla="*/ 74700 h 280464"/>
                  <a:gd name="connsiteX103" fmla="*/ 250768 w 412440"/>
                  <a:gd name="connsiteY103" fmla="*/ 31516 h 280464"/>
                  <a:gd name="connsiteX104" fmla="*/ 252282 w 412440"/>
                  <a:gd name="connsiteY104" fmla="*/ 33941 h 280464"/>
                  <a:gd name="connsiteX105" fmla="*/ 254101 w 412440"/>
                  <a:gd name="connsiteY105" fmla="*/ 35456 h 280464"/>
                  <a:gd name="connsiteX106" fmla="*/ 256070 w 412440"/>
                  <a:gd name="connsiteY106" fmla="*/ 35911 h 280464"/>
                  <a:gd name="connsiteX107" fmla="*/ 261525 w 412440"/>
                  <a:gd name="connsiteY107" fmla="*/ 35607 h 280464"/>
                  <a:gd name="connsiteX108" fmla="*/ 261828 w 412440"/>
                  <a:gd name="connsiteY108" fmla="*/ 34850 h 280464"/>
                  <a:gd name="connsiteX109" fmla="*/ 261980 w 412440"/>
                  <a:gd name="connsiteY109" fmla="*/ 32425 h 280464"/>
                  <a:gd name="connsiteX110" fmla="*/ 261980 w 412440"/>
                  <a:gd name="connsiteY110" fmla="*/ 31668 h 280464"/>
                  <a:gd name="connsiteX111" fmla="*/ 261373 w 412440"/>
                  <a:gd name="connsiteY111" fmla="*/ 30456 h 280464"/>
                  <a:gd name="connsiteX112" fmla="*/ 255767 w 412440"/>
                  <a:gd name="connsiteY112" fmla="*/ 28183 h 280464"/>
                  <a:gd name="connsiteX113" fmla="*/ 252282 w 412440"/>
                  <a:gd name="connsiteY113" fmla="*/ 28789 h 280464"/>
                  <a:gd name="connsiteX114" fmla="*/ 248494 w 412440"/>
                  <a:gd name="connsiteY114" fmla="*/ 30607 h 280464"/>
                  <a:gd name="connsiteX115" fmla="*/ 249100 w 412440"/>
                  <a:gd name="connsiteY115" fmla="*/ 31062 h 280464"/>
                  <a:gd name="connsiteX116" fmla="*/ 250768 w 412440"/>
                  <a:gd name="connsiteY116" fmla="*/ 31516 h 280464"/>
                  <a:gd name="connsiteX117" fmla="*/ 74094 w 412440"/>
                  <a:gd name="connsiteY117" fmla="*/ 194401 h 280464"/>
                  <a:gd name="connsiteX118" fmla="*/ 74246 w 412440"/>
                  <a:gd name="connsiteY118" fmla="*/ 193795 h 280464"/>
                  <a:gd name="connsiteX119" fmla="*/ 73942 w 412440"/>
                  <a:gd name="connsiteY119" fmla="*/ 191977 h 280464"/>
                  <a:gd name="connsiteX120" fmla="*/ 72427 w 412440"/>
                  <a:gd name="connsiteY120" fmla="*/ 191674 h 280464"/>
                  <a:gd name="connsiteX121" fmla="*/ 66821 w 412440"/>
                  <a:gd name="connsiteY121" fmla="*/ 191371 h 280464"/>
                  <a:gd name="connsiteX122" fmla="*/ 68034 w 412440"/>
                  <a:gd name="connsiteY122" fmla="*/ 192734 h 280464"/>
                  <a:gd name="connsiteX123" fmla="*/ 72881 w 412440"/>
                  <a:gd name="connsiteY123" fmla="*/ 194553 h 280464"/>
                  <a:gd name="connsiteX124" fmla="*/ 74094 w 412440"/>
                  <a:gd name="connsiteY124" fmla="*/ 194401 h 280464"/>
                  <a:gd name="connsiteX125" fmla="*/ 241070 w 412440"/>
                  <a:gd name="connsiteY125" fmla="*/ 5909 h 280464"/>
                  <a:gd name="connsiteX126" fmla="*/ 243040 w 412440"/>
                  <a:gd name="connsiteY126" fmla="*/ 6364 h 280464"/>
                  <a:gd name="connsiteX127" fmla="*/ 243040 w 412440"/>
                  <a:gd name="connsiteY127" fmla="*/ 5455 h 280464"/>
                  <a:gd name="connsiteX128" fmla="*/ 241979 w 412440"/>
                  <a:gd name="connsiteY128" fmla="*/ 2121 h 280464"/>
                  <a:gd name="connsiteX129" fmla="*/ 239404 w 412440"/>
                  <a:gd name="connsiteY129" fmla="*/ 303 h 280464"/>
                  <a:gd name="connsiteX130" fmla="*/ 238039 w 412440"/>
                  <a:gd name="connsiteY130" fmla="*/ 0 h 280464"/>
                  <a:gd name="connsiteX131" fmla="*/ 237130 w 412440"/>
                  <a:gd name="connsiteY131" fmla="*/ 1515 h 280464"/>
                  <a:gd name="connsiteX132" fmla="*/ 237130 w 412440"/>
                  <a:gd name="connsiteY132" fmla="*/ 3182 h 280464"/>
                  <a:gd name="connsiteX133" fmla="*/ 240615 w 412440"/>
                  <a:gd name="connsiteY133" fmla="*/ 6061 h 280464"/>
                  <a:gd name="connsiteX134" fmla="*/ 241070 w 412440"/>
                  <a:gd name="connsiteY134" fmla="*/ 5909 h 280464"/>
                  <a:gd name="connsiteX135" fmla="*/ 346377 w 412440"/>
                  <a:gd name="connsiteY135" fmla="*/ 276525 h 280464"/>
                  <a:gd name="connsiteX136" fmla="*/ 340164 w 412440"/>
                  <a:gd name="connsiteY136" fmla="*/ 273192 h 280464"/>
                  <a:gd name="connsiteX137" fmla="*/ 337285 w 412440"/>
                  <a:gd name="connsiteY137" fmla="*/ 272283 h 280464"/>
                  <a:gd name="connsiteX138" fmla="*/ 337437 w 412440"/>
                  <a:gd name="connsiteY138" fmla="*/ 273040 h 280464"/>
                  <a:gd name="connsiteX139" fmla="*/ 338194 w 412440"/>
                  <a:gd name="connsiteY139" fmla="*/ 274859 h 280464"/>
                  <a:gd name="connsiteX140" fmla="*/ 340619 w 412440"/>
                  <a:gd name="connsiteY140" fmla="*/ 276222 h 280464"/>
                  <a:gd name="connsiteX141" fmla="*/ 339710 w 412440"/>
                  <a:gd name="connsiteY141" fmla="*/ 277435 h 280464"/>
                  <a:gd name="connsiteX142" fmla="*/ 341680 w 412440"/>
                  <a:gd name="connsiteY142" fmla="*/ 276828 h 280464"/>
                  <a:gd name="connsiteX143" fmla="*/ 342286 w 412440"/>
                  <a:gd name="connsiteY143" fmla="*/ 278647 h 280464"/>
                  <a:gd name="connsiteX144" fmla="*/ 346074 w 412440"/>
                  <a:gd name="connsiteY144" fmla="*/ 279556 h 280464"/>
                  <a:gd name="connsiteX145" fmla="*/ 346983 w 412440"/>
                  <a:gd name="connsiteY145" fmla="*/ 280465 h 280464"/>
                  <a:gd name="connsiteX146" fmla="*/ 350923 w 412440"/>
                  <a:gd name="connsiteY146" fmla="*/ 280010 h 280464"/>
                  <a:gd name="connsiteX147" fmla="*/ 352589 w 412440"/>
                  <a:gd name="connsiteY147" fmla="*/ 279253 h 280464"/>
                  <a:gd name="connsiteX148" fmla="*/ 351074 w 412440"/>
                  <a:gd name="connsiteY148" fmla="*/ 277586 h 280464"/>
                  <a:gd name="connsiteX149" fmla="*/ 346377 w 412440"/>
                  <a:gd name="connsiteY149" fmla="*/ 276525 h 280464"/>
                  <a:gd name="connsiteX150" fmla="*/ 332134 w 412440"/>
                  <a:gd name="connsiteY150" fmla="*/ 74851 h 280464"/>
                  <a:gd name="connsiteX151" fmla="*/ 314709 w 412440"/>
                  <a:gd name="connsiteY151" fmla="*/ 60608 h 280464"/>
                  <a:gd name="connsiteX152" fmla="*/ 313346 w 412440"/>
                  <a:gd name="connsiteY152" fmla="*/ 58942 h 280464"/>
                  <a:gd name="connsiteX153" fmla="*/ 309254 w 412440"/>
                  <a:gd name="connsiteY153" fmla="*/ 55911 h 280464"/>
                  <a:gd name="connsiteX154" fmla="*/ 306072 w 412440"/>
                  <a:gd name="connsiteY154" fmla="*/ 52426 h 280464"/>
                  <a:gd name="connsiteX155" fmla="*/ 305163 w 412440"/>
                  <a:gd name="connsiteY155" fmla="*/ 51669 h 280464"/>
                  <a:gd name="connsiteX156" fmla="*/ 298951 w 412440"/>
                  <a:gd name="connsiteY156" fmla="*/ 49547 h 280464"/>
                  <a:gd name="connsiteX157" fmla="*/ 295769 w 412440"/>
                  <a:gd name="connsiteY157" fmla="*/ 46820 h 280464"/>
                  <a:gd name="connsiteX158" fmla="*/ 292890 w 412440"/>
                  <a:gd name="connsiteY158" fmla="*/ 44850 h 280464"/>
                  <a:gd name="connsiteX159" fmla="*/ 289859 w 412440"/>
                  <a:gd name="connsiteY159" fmla="*/ 43183 h 280464"/>
                  <a:gd name="connsiteX160" fmla="*/ 285466 w 412440"/>
                  <a:gd name="connsiteY160" fmla="*/ 41365 h 280464"/>
                  <a:gd name="connsiteX161" fmla="*/ 283042 w 412440"/>
                  <a:gd name="connsiteY161" fmla="*/ 41214 h 280464"/>
                  <a:gd name="connsiteX162" fmla="*/ 281678 w 412440"/>
                  <a:gd name="connsiteY162" fmla="*/ 38941 h 280464"/>
                  <a:gd name="connsiteX163" fmla="*/ 276829 w 412440"/>
                  <a:gd name="connsiteY163" fmla="*/ 36213 h 280464"/>
                  <a:gd name="connsiteX164" fmla="*/ 272132 w 412440"/>
                  <a:gd name="connsiteY164" fmla="*/ 33032 h 280464"/>
                  <a:gd name="connsiteX165" fmla="*/ 272587 w 412440"/>
                  <a:gd name="connsiteY165" fmla="*/ 35001 h 280464"/>
                  <a:gd name="connsiteX166" fmla="*/ 272132 w 412440"/>
                  <a:gd name="connsiteY166" fmla="*/ 36820 h 280464"/>
                  <a:gd name="connsiteX167" fmla="*/ 269858 w 412440"/>
                  <a:gd name="connsiteY167" fmla="*/ 37577 h 280464"/>
                  <a:gd name="connsiteX168" fmla="*/ 272587 w 412440"/>
                  <a:gd name="connsiteY168" fmla="*/ 38638 h 280464"/>
                  <a:gd name="connsiteX169" fmla="*/ 275920 w 412440"/>
                  <a:gd name="connsiteY169" fmla="*/ 38638 h 280464"/>
                  <a:gd name="connsiteX170" fmla="*/ 278647 w 412440"/>
                  <a:gd name="connsiteY170" fmla="*/ 40001 h 280464"/>
                  <a:gd name="connsiteX171" fmla="*/ 287889 w 412440"/>
                  <a:gd name="connsiteY171" fmla="*/ 45608 h 280464"/>
                  <a:gd name="connsiteX172" fmla="*/ 289557 w 412440"/>
                  <a:gd name="connsiteY172" fmla="*/ 47426 h 280464"/>
                  <a:gd name="connsiteX173" fmla="*/ 292587 w 412440"/>
                  <a:gd name="connsiteY173" fmla="*/ 48790 h 280464"/>
                  <a:gd name="connsiteX174" fmla="*/ 298496 w 412440"/>
                  <a:gd name="connsiteY174" fmla="*/ 53790 h 280464"/>
                  <a:gd name="connsiteX175" fmla="*/ 300921 w 412440"/>
                  <a:gd name="connsiteY175" fmla="*/ 55457 h 280464"/>
                  <a:gd name="connsiteX176" fmla="*/ 303497 w 412440"/>
                  <a:gd name="connsiteY176" fmla="*/ 56972 h 280464"/>
                  <a:gd name="connsiteX177" fmla="*/ 304860 w 412440"/>
                  <a:gd name="connsiteY177" fmla="*/ 57426 h 280464"/>
                  <a:gd name="connsiteX178" fmla="*/ 307890 w 412440"/>
                  <a:gd name="connsiteY178" fmla="*/ 57881 h 280464"/>
                  <a:gd name="connsiteX179" fmla="*/ 309406 w 412440"/>
                  <a:gd name="connsiteY179" fmla="*/ 58336 h 280464"/>
                  <a:gd name="connsiteX180" fmla="*/ 311830 w 412440"/>
                  <a:gd name="connsiteY180" fmla="*/ 60457 h 280464"/>
                  <a:gd name="connsiteX181" fmla="*/ 313952 w 412440"/>
                  <a:gd name="connsiteY181" fmla="*/ 62730 h 280464"/>
                  <a:gd name="connsiteX182" fmla="*/ 320618 w 412440"/>
                  <a:gd name="connsiteY182" fmla="*/ 71669 h 280464"/>
                  <a:gd name="connsiteX183" fmla="*/ 322588 w 412440"/>
                  <a:gd name="connsiteY183" fmla="*/ 75457 h 280464"/>
                  <a:gd name="connsiteX184" fmla="*/ 323346 w 412440"/>
                  <a:gd name="connsiteY184" fmla="*/ 79548 h 280464"/>
                  <a:gd name="connsiteX185" fmla="*/ 323194 w 412440"/>
                  <a:gd name="connsiteY185" fmla="*/ 81518 h 280464"/>
                  <a:gd name="connsiteX186" fmla="*/ 322740 w 412440"/>
                  <a:gd name="connsiteY186" fmla="*/ 83488 h 280464"/>
                  <a:gd name="connsiteX187" fmla="*/ 322891 w 412440"/>
                  <a:gd name="connsiteY187" fmla="*/ 85306 h 280464"/>
                  <a:gd name="connsiteX188" fmla="*/ 324558 w 412440"/>
                  <a:gd name="connsiteY188" fmla="*/ 89094 h 280464"/>
                  <a:gd name="connsiteX189" fmla="*/ 325770 w 412440"/>
                  <a:gd name="connsiteY189" fmla="*/ 90761 h 280464"/>
                  <a:gd name="connsiteX190" fmla="*/ 327437 w 412440"/>
                  <a:gd name="connsiteY190" fmla="*/ 92428 h 280464"/>
                  <a:gd name="connsiteX191" fmla="*/ 328649 w 412440"/>
                  <a:gd name="connsiteY191" fmla="*/ 94398 h 280464"/>
                  <a:gd name="connsiteX192" fmla="*/ 330618 w 412440"/>
                  <a:gd name="connsiteY192" fmla="*/ 92276 h 280464"/>
                  <a:gd name="connsiteX193" fmla="*/ 332134 w 412440"/>
                  <a:gd name="connsiteY193" fmla="*/ 89852 h 280464"/>
                  <a:gd name="connsiteX194" fmla="*/ 332740 w 412440"/>
                  <a:gd name="connsiteY194" fmla="*/ 87427 h 280464"/>
                  <a:gd name="connsiteX195" fmla="*/ 332740 w 412440"/>
                  <a:gd name="connsiteY195" fmla="*/ 84700 h 280464"/>
                  <a:gd name="connsiteX196" fmla="*/ 334558 w 412440"/>
                  <a:gd name="connsiteY196" fmla="*/ 82427 h 280464"/>
                  <a:gd name="connsiteX197" fmla="*/ 335164 w 412440"/>
                  <a:gd name="connsiteY197" fmla="*/ 81367 h 280464"/>
                  <a:gd name="connsiteX198" fmla="*/ 334861 w 412440"/>
                  <a:gd name="connsiteY198" fmla="*/ 78639 h 280464"/>
                  <a:gd name="connsiteX199" fmla="*/ 332134 w 412440"/>
                  <a:gd name="connsiteY199" fmla="*/ 74851 h 280464"/>
                  <a:gd name="connsiteX200" fmla="*/ 329104 w 412440"/>
                  <a:gd name="connsiteY200" fmla="*/ 209705 h 280464"/>
                  <a:gd name="connsiteX201" fmla="*/ 327588 w 412440"/>
                  <a:gd name="connsiteY201" fmla="*/ 209099 h 280464"/>
                  <a:gd name="connsiteX202" fmla="*/ 326528 w 412440"/>
                  <a:gd name="connsiteY202" fmla="*/ 207584 h 280464"/>
                  <a:gd name="connsiteX203" fmla="*/ 323194 w 412440"/>
                  <a:gd name="connsiteY203" fmla="*/ 207735 h 280464"/>
                  <a:gd name="connsiteX204" fmla="*/ 321528 w 412440"/>
                  <a:gd name="connsiteY204" fmla="*/ 207280 h 280464"/>
                  <a:gd name="connsiteX205" fmla="*/ 320012 w 412440"/>
                  <a:gd name="connsiteY205" fmla="*/ 207584 h 280464"/>
                  <a:gd name="connsiteX206" fmla="*/ 318345 w 412440"/>
                  <a:gd name="connsiteY206" fmla="*/ 208644 h 280464"/>
                  <a:gd name="connsiteX207" fmla="*/ 321679 w 412440"/>
                  <a:gd name="connsiteY207" fmla="*/ 210008 h 280464"/>
                  <a:gd name="connsiteX208" fmla="*/ 323649 w 412440"/>
                  <a:gd name="connsiteY208" fmla="*/ 211826 h 280464"/>
                  <a:gd name="connsiteX209" fmla="*/ 323951 w 412440"/>
                  <a:gd name="connsiteY209" fmla="*/ 212887 h 280464"/>
                  <a:gd name="connsiteX210" fmla="*/ 325012 w 412440"/>
                  <a:gd name="connsiteY210" fmla="*/ 213190 h 280464"/>
                  <a:gd name="connsiteX211" fmla="*/ 328043 w 412440"/>
                  <a:gd name="connsiteY211" fmla="*/ 214553 h 280464"/>
                  <a:gd name="connsiteX212" fmla="*/ 329558 w 412440"/>
                  <a:gd name="connsiteY212" fmla="*/ 213947 h 280464"/>
                  <a:gd name="connsiteX213" fmla="*/ 330770 w 412440"/>
                  <a:gd name="connsiteY213" fmla="*/ 214099 h 280464"/>
                  <a:gd name="connsiteX214" fmla="*/ 330618 w 412440"/>
                  <a:gd name="connsiteY214" fmla="*/ 213038 h 280464"/>
                  <a:gd name="connsiteX215" fmla="*/ 331376 w 412440"/>
                  <a:gd name="connsiteY215" fmla="*/ 212584 h 280464"/>
                  <a:gd name="connsiteX216" fmla="*/ 331679 w 412440"/>
                  <a:gd name="connsiteY216" fmla="*/ 211978 h 280464"/>
                  <a:gd name="connsiteX217" fmla="*/ 331679 w 412440"/>
                  <a:gd name="connsiteY217" fmla="*/ 211372 h 280464"/>
                  <a:gd name="connsiteX218" fmla="*/ 330467 w 412440"/>
                  <a:gd name="connsiteY218" fmla="*/ 210311 h 280464"/>
                  <a:gd name="connsiteX219" fmla="*/ 329104 w 412440"/>
                  <a:gd name="connsiteY219" fmla="*/ 209705 h 280464"/>
                  <a:gd name="connsiteX220" fmla="*/ 361832 w 412440"/>
                  <a:gd name="connsiteY220" fmla="*/ 271980 h 280464"/>
                  <a:gd name="connsiteX221" fmla="*/ 362287 w 412440"/>
                  <a:gd name="connsiteY221" fmla="*/ 273495 h 280464"/>
                  <a:gd name="connsiteX222" fmla="*/ 359711 w 412440"/>
                  <a:gd name="connsiteY222" fmla="*/ 273040 h 280464"/>
                  <a:gd name="connsiteX223" fmla="*/ 359862 w 412440"/>
                  <a:gd name="connsiteY223" fmla="*/ 273647 h 280464"/>
                  <a:gd name="connsiteX224" fmla="*/ 360771 w 412440"/>
                  <a:gd name="connsiteY224" fmla="*/ 275010 h 280464"/>
                  <a:gd name="connsiteX225" fmla="*/ 362287 w 412440"/>
                  <a:gd name="connsiteY225" fmla="*/ 275162 h 280464"/>
                  <a:gd name="connsiteX226" fmla="*/ 365317 w 412440"/>
                  <a:gd name="connsiteY226" fmla="*/ 274404 h 280464"/>
                  <a:gd name="connsiteX227" fmla="*/ 366378 w 412440"/>
                  <a:gd name="connsiteY227" fmla="*/ 274859 h 280464"/>
                  <a:gd name="connsiteX228" fmla="*/ 366832 w 412440"/>
                  <a:gd name="connsiteY228" fmla="*/ 273343 h 280464"/>
                  <a:gd name="connsiteX229" fmla="*/ 365620 w 412440"/>
                  <a:gd name="connsiteY229" fmla="*/ 272737 h 280464"/>
                  <a:gd name="connsiteX230" fmla="*/ 361832 w 412440"/>
                  <a:gd name="connsiteY230" fmla="*/ 271980 h 280464"/>
                  <a:gd name="connsiteX231" fmla="*/ 266980 w 412440"/>
                  <a:gd name="connsiteY231" fmla="*/ 245161 h 280464"/>
                  <a:gd name="connsiteX232" fmla="*/ 268495 w 412440"/>
                  <a:gd name="connsiteY232" fmla="*/ 244554 h 280464"/>
                  <a:gd name="connsiteX233" fmla="*/ 272889 w 412440"/>
                  <a:gd name="connsiteY233" fmla="*/ 242282 h 280464"/>
                  <a:gd name="connsiteX234" fmla="*/ 267890 w 412440"/>
                  <a:gd name="connsiteY234" fmla="*/ 242888 h 280464"/>
                  <a:gd name="connsiteX235" fmla="*/ 264404 w 412440"/>
                  <a:gd name="connsiteY235" fmla="*/ 241524 h 280464"/>
                  <a:gd name="connsiteX236" fmla="*/ 259555 w 412440"/>
                  <a:gd name="connsiteY236" fmla="*/ 241069 h 280464"/>
                  <a:gd name="connsiteX237" fmla="*/ 257435 w 412440"/>
                  <a:gd name="connsiteY237" fmla="*/ 240312 h 280464"/>
                  <a:gd name="connsiteX238" fmla="*/ 255313 w 412440"/>
                  <a:gd name="connsiteY238" fmla="*/ 239251 h 280464"/>
                  <a:gd name="connsiteX239" fmla="*/ 252131 w 412440"/>
                  <a:gd name="connsiteY239" fmla="*/ 238191 h 280464"/>
                  <a:gd name="connsiteX240" fmla="*/ 248798 w 412440"/>
                  <a:gd name="connsiteY240" fmla="*/ 237433 h 280464"/>
                  <a:gd name="connsiteX241" fmla="*/ 247434 w 412440"/>
                  <a:gd name="connsiteY241" fmla="*/ 236978 h 280464"/>
                  <a:gd name="connsiteX242" fmla="*/ 246221 w 412440"/>
                  <a:gd name="connsiteY242" fmla="*/ 236221 h 280464"/>
                  <a:gd name="connsiteX243" fmla="*/ 244706 w 412440"/>
                  <a:gd name="connsiteY243" fmla="*/ 234100 h 280464"/>
                  <a:gd name="connsiteX244" fmla="*/ 243040 w 412440"/>
                  <a:gd name="connsiteY244" fmla="*/ 232281 h 280464"/>
                  <a:gd name="connsiteX245" fmla="*/ 243040 w 412440"/>
                  <a:gd name="connsiteY245" fmla="*/ 230614 h 280464"/>
                  <a:gd name="connsiteX246" fmla="*/ 245919 w 412440"/>
                  <a:gd name="connsiteY246" fmla="*/ 229705 h 280464"/>
                  <a:gd name="connsiteX247" fmla="*/ 247737 w 412440"/>
                  <a:gd name="connsiteY247" fmla="*/ 229402 h 280464"/>
                  <a:gd name="connsiteX248" fmla="*/ 249252 w 412440"/>
                  <a:gd name="connsiteY248" fmla="*/ 228796 h 280464"/>
                  <a:gd name="connsiteX249" fmla="*/ 250009 w 412440"/>
                  <a:gd name="connsiteY249" fmla="*/ 227433 h 280464"/>
                  <a:gd name="connsiteX250" fmla="*/ 248949 w 412440"/>
                  <a:gd name="connsiteY250" fmla="*/ 226675 h 280464"/>
                  <a:gd name="connsiteX251" fmla="*/ 246071 w 412440"/>
                  <a:gd name="connsiteY251" fmla="*/ 225766 h 280464"/>
                  <a:gd name="connsiteX252" fmla="*/ 243040 w 412440"/>
                  <a:gd name="connsiteY252" fmla="*/ 225311 h 280464"/>
                  <a:gd name="connsiteX253" fmla="*/ 235312 w 412440"/>
                  <a:gd name="connsiteY253" fmla="*/ 224705 h 280464"/>
                  <a:gd name="connsiteX254" fmla="*/ 233797 w 412440"/>
                  <a:gd name="connsiteY254" fmla="*/ 224099 h 280464"/>
                  <a:gd name="connsiteX255" fmla="*/ 229554 w 412440"/>
                  <a:gd name="connsiteY255" fmla="*/ 222129 h 280464"/>
                  <a:gd name="connsiteX256" fmla="*/ 227888 w 412440"/>
                  <a:gd name="connsiteY256" fmla="*/ 219705 h 280464"/>
                  <a:gd name="connsiteX257" fmla="*/ 228190 w 412440"/>
                  <a:gd name="connsiteY257" fmla="*/ 216675 h 280464"/>
                  <a:gd name="connsiteX258" fmla="*/ 229554 w 412440"/>
                  <a:gd name="connsiteY258" fmla="*/ 213493 h 280464"/>
                  <a:gd name="connsiteX259" fmla="*/ 229099 w 412440"/>
                  <a:gd name="connsiteY259" fmla="*/ 210462 h 280464"/>
                  <a:gd name="connsiteX260" fmla="*/ 227736 w 412440"/>
                  <a:gd name="connsiteY260" fmla="*/ 209402 h 280464"/>
                  <a:gd name="connsiteX261" fmla="*/ 226221 w 412440"/>
                  <a:gd name="connsiteY261" fmla="*/ 208947 h 280464"/>
                  <a:gd name="connsiteX262" fmla="*/ 225009 w 412440"/>
                  <a:gd name="connsiteY262" fmla="*/ 208947 h 280464"/>
                  <a:gd name="connsiteX263" fmla="*/ 216675 w 412440"/>
                  <a:gd name="connsiteY263" fmla="*/ 210917 h 280464"/>
                  <a:gd name="connsiteX264" fmla="*/ 213645 w 412440"/>
                  <a:gd name="connsiteY264" fmla="*/ 210917 h 280464"/>
                  <a:gd name="connsiteX265" fmla="*/ 211069 w 412440"/>
                  <a:gd name="connsiteY265" fmla="*/ 209856 h 280464"/>
                  <a:gd name="connsiteX266" fmla="*/ 209553 w 412440"/>
                  <a:gd name="connsiteY266" fmla="*/ 206826 h 280464"/>
                  <a:gd name="connsiteX267" fmla="*/ 207584 w 412440"/>
                  <a:gd name="connsiteY267" fmla="*/ 200159 h 280464"/>
                  <a:gd name="connsiteX268" fmla="*/ 206523 w 412440"/>
                  <a:gd name="connsiteY268" fmla="*/ 199250 h 280464"/>
                  <a:gd name="connsiteX269" fmla="*/ 201977 w 412440"/>
                  <a:gd name="connsiteY269" fmla="*/ 196219 h 280464"/>
                  <a:gd name="connsiteX270" fmla="*/ 201674 w 412440"/>
                  <a:gd name="connsiteY270" fmla="*/ 195007 h 280464"/>
                  <a:gd name="connsiteX271" fmla="*/ 201523 w 412440"/>
                  <a:gd name="connsiteY271" fmla="*/ 193644 h 280464"/>
                  <a:gd name="connsiteX272" fmla="*/ 200917 w 412440"/>
                  <a:gd name="connsiteY272" fmla="*/ 190310 h 280464"/>
                  <a:gd name="connsiteX273" fmla="*/ 199402 w 412440"/>
                  <a:gd name="connsiteY273" fmla="*/ 185461 h 280464"/>
                  <a:gd name="connsiteX274" fmla="*/ 198644 w 412440"/>
                  <a:gd name="connsiteY274" fmla="*/ 183946 h 280464"/>
                  <a:gd name="connsiteX275" fmla="*/ 193492 w 412440"/>
                  <a:gd name="connsiteY275" fmla="*/ 180461 h 280464"/>
                  <a:gd name="connsiteX276" fmla="*/ 190310 w 412440"/>
                  <a:gd name="connsiteY276" fmla="*/ 179401 h 280464"/>
                  <a:gd name="connsiteX277" fmla="*/ 187583 w 412440"/>
                  <a:gd name="connsiteY277" fmla="*/ 177734 h 280464"/>
                  <a:gd name="connsiteX278" fmla="*/ 182734 w 412440"/>
                  <a:gd name="connsiteY278" fmla="*/ 173188 h 280464"/>
                  <a:gd name="connsiteX279" fmla="*/ 180310 w 412440"/>
                  <a:gd name="connsiteY279" fmla="*/ 170612 h 280464"/>
                  <a:gd name="connsiteX280" fmla="*/ 177734 w 412440"/>
                  <a:gd name="connsiteY280" fmla="*/ 168339 h 280464"/>
                  <a:gd name="connsiteX281" fmla="*/ 174856 w 412440"/>
                  <a:gd name="connsiteY281" fmla="*/ 166370 h 280464"/>
                  <a:gd name="connsiteX282" fmla="*/ 172886 w 412440"/>
                  <a:gd name="connsiteY282" fmla="*/ 164097 h 280464"/>
                  <a:gd name="connsiteX283" fmla="*/ 170613 w 412440"/>
                  <a:gd name="connsiteY283" fmla="*/ 158339 h 280464"/>
                  <a:gd name="connsiteX284" fmla="*/ 166673 w 412440"/>
                  <a:gd name="connsiteY284" fmla="*/ 151824 h 280464"/>
                  <a:gd name="connsiteX285" fmla="*/ 166370 w 412440"/>
                  <a:gd name="connsiteY285" fmla="*/ 150612 h 280464"/>
                  <a:gd name="connsiteX286" fmla="*/ 166522 w 412440"/>
                  <a:gd name="connsiteY286" fmla="*/ 149248 h 280464"/>
                  <a:gd name="connsiteX287" fmla="*/ 171068 w 412440"/>
                  <a:gd name="connsiteY287" fmla="*/ 146218 h 280464"/>
                  <a:gd name="connsiteX288" fmla="*/ 177583 w 412440"/>
                  <a:gd name="connsiteY288" fmla="*/ 146824 h 280464"/>
                  <a:gd name="connsiteX289" fmla="*/ 187280 w 412440"/>
                  <a:gd name="connsiteY289" fmla="*/ 146369 h 280464"/>
                  <a:gd name="connsiteX290" fmla="*/ 190008 w 412440"/>
                  <a:gd name="connsiteY290" fmla="*/ 145763 h 280464"/>
                  <a:gd name="connsiteX291" fmla="*/ 190917 w 412440"/>
                  <a:gd name="connsiteY291" fmla="*/ 144702 h 280464"/>
                  <a:gd name="connsiteX292" fmla="*/ 191219 w 412440"/>
                  <a:gd name="connsiteY292" fmla="*/ 141672 h 280464"/>
                  <a:gd name="connsiteX293" fmla="*/ 190462 w 412440"/>
                  <a:gd name="connsiteY293" fmla="*/ 136823 h 280464"/>
                  <a:gd name="connsiteX294" fmla="*/ 189856 w 412440"/>
                  <a:gd name="connsiteY294" fmla="*/ 135308 h 280464"/>
                  <a:gd name="connsiteX295" fmla="*/ 188795 w 412440"/>
                  <a:gd name="connsiteY295" fmla="*/ 134702 h 280464"/>
                  <a:gd name="connsiteX296" fmla="*/ 187886 w 412440"/>
                  <a:gd name="connsiteY296" fmla="*/ 133944 h 280464"/>
                  <a:gd name="connsiteX297" fmla="*/ 185765 w 412440"/>
                  <a:gd name="connsiteY297" fmla="*/ 131066 h 280464"/>
                  <a:gd name="connsiteX298" fmla="*/ 183341 w 412440"/>
                  <a:gd name="connsiteY298" fmla="*/ 128338 h 280464"/>
                  <a:gd name="connsiteX299" fmla="*/ 181977 w 412440"/>
                  <a:gd name="connsiteY299" fmla="*/ 127429 h 280464"/>
                  <a:gd name="connsiteX300" fmla="*/ 179401 w 412440"/>
                  <a:gd name="connsiteY300" fmla="*/ 125914 h 280464"/>
                  <a:gd name="connsiteX301" fmla="*/ 178189 w 412440"/>
                  <a:gd name="connsiteY301" fmla="*/ 125459 h 280464"/>
                  <a:gd name="connsiteX302" fmla="*/ 174704 w 412440"/>
                  <a:gd name="connsiteY302" fmla="*/ 125611 h 280464"/>
                  <a:gd name="connsiteX303" fmla="*/ 171219 w 412440"/>
                  <a:gd name="connsiteY303" fmla="*/ 125308 h 280464"/>
                  <a:gd name="connsiteX304" fmla="*/ 168794 w 412440"/>
                  <a:gd name="connsiteY304" fmla="*/ 124550 h 280464"/>
                  <a:gd name="connsiteX305" fmla="*/ 151521 w 412440"/>
                  <a:gd name="connsiteY305" fmla="*/ 116368 h 280464"/>
                  <a:gd name="connsiteX306" fmla="*/ 146066 w 412440"/>
                  <a:gd name="connsiteY306" fmla="*/ 114398 h 280464"/>
                  <a:gd name="connsiteX307" fmla="*/ 140460 w 412440"/>
                  <a:gd name="connsiteY307" fmla="*/ 113035 h 280464"/>
                  <a:gd name="connsiteX308" fmla="*/ 136520 w 412440"/>
                  <a:gd name="connsiteY308" fmla="*/ 112277 h 280464"/>
                  <a:gd name="connsiteX309" fmla="*/ 133641 w 412440"/>
                  <a:gd name="connsiteY309" fmla="*/ 110459 h 280464"/>
                  <a:gd name="connsiteX310" fmla="*/ 135006 w 412440"/>
                  <a:gd name="connsiteY310" fmla="*/ 104398 h 280464"/>
                  <a:gd name="connsiteX311" fmla="*/ 134854 w 412440"/>
                  <a:gd name="connsiteY311" fmla="*/ 96519 h 280464"/>
                  <a:gd name="connsiteX312" fmla="*/ 134248 w 412440"/>
                  <a:gd name="connsiteY312" fmla="*/ 94700 h 280464"/>
                  <a:gd name="connsiteX313" fmla="*/ 122429 w 412440"/>
                  <a:gd name="connsiteY313" fmla="*/ 82730 h 280464"/>
                  <a:gd name="connsiteX314" fmla="*/ 118944 w 412440"/>
                  <a:gd name="connsiteY314" fmla="*/ 82579 h 280464"/>
                  <a:gd name="connsiteX315" fmla="*/ 115610 w 412440"/>
                  <a:gd name="connsiteY315" fmla="*/ 81670 h 280464"/>
                  <a:gd name="connsiteX316" fmla="*/ 113490 w 412440"/>
                  <a:gd name="connsiteY316" fmla="*/ 79700 h 280464"/>
                  <a:gd name="connsiteX317" fmla="*/ 111520 w 412440"/>
                  <a:gd name="connsiteY317" fmla="*/ 77276 h 280464"/>
                  <a:gd name="connsiteX318" fmla="*/ 108943 w 412440"/>
                  <a:gd name="connsiteY318" fmla="*/ 74851 h 280464"/>
                  <a:gd name="connsiteX319" fmla="*/ 106065 w 412440"/>
                  <a:gd name="connsiteY319" fmla="*/ 72882 h 280464"/>
                  <a:gd name="connsiteX320" fmla="*/ 103035 w 412440"/>
                  <a:gd name="connsiteY320" fmla="*/ 71972 h 280464"/>
                  <a:gd name="connsiteX321" fmla="*/ 100913 w 412440"/>
                  <a:gd name="connsiteY321" fmla="*/ 69851 h 280464"/>
                  <a:gd name="connsiteX322" fmla="*/ 100307 w 412440"/>
                  <a:gd name="connsiteY322" fmla="*/ 68336 h 280464"/>
                  <a:gd name="connsiteX323" fmla="*/ 99095 w 412440"/>
                  <a:gd name="connsiteY323" fmla="*/ 67578 h 280464"/>
                  <a:gd name="connsiteX324" fmla="*/ 97731 w 412440"/>
                  <a:gd name="connsiteY324" fmla="*/ 67124 h 280464"/>
                  <a:gd name="connsiteX325" fmla="*/ 96368 w 412440"/>
                  <a:gd name="connsiteY325" fmla="*/ 66972 h 280464"/>
                  <a:gd name="connsiteX326" fmla="*/ 92882 w 412440"/>
                  <a:gd name="connsiteY326" fmla="*/ 67427 h 280464"/>
                  <a:gd name="connsiteX327" fmla="*/ 89398 w 412440"/>
                  <a:gd name="connsiteY327" fmla="*/ 67275 h 280464"/>
                  <a:gd name="connsiteX328" fmla="*/ 87883 w 412440"/>
                  <a:gd name="connsiteY328" fmla="*/ 66972 h 280464"/>
                  <a:gd name="connsiteX329" fmla="*/ 86519 w 412440"/>
                  <a:gd name="connsiteY329" fmla="*/ 66366 h 280464"/>
                  <a:gd name="connsiteX330" fmla="*/ 83034 w 412440"/>
                  <a:gd name="connsiteY330" fmla="*/ 64093 h 280464"/>
                  <a:gd name="connsiteX331" fmla="*/ 80609 w 412440"/>
                  <a:gd name="connsiteY331" fmla="*/ 61972 h 280464"/>
                  <a:gd name="connsiteX332" fmla="*/ 78034 w 412440"/>
                  <a:gd name="connsiteY332" fmla="*/ 60760 h 280464"/>
                  <a:gd name="connsiteX333" fmla="*/ 72731 w 412440"/>
                  <a:gd name="connsiteY333" fmla="*/ 56820 h 280464"/>
                  <a:gd name="connsiteX334" fmla="*/ 69093 w 412440"/>
                  <a:gd name="connsiteY334" fmla="*/ 55911 h 280464"/>
                  <a:gd name="connsiteX335" fmla="*/ 62276 w 412440"/>
                  <a:gd name="connsiteY335" fmla="*/ 54851 h 280464"/>
                  <a:gd name="connsiteX336" fmla="*/ 59093 w 412440"/>
                  <a:gd name="connsiteY336" fmla="*/ 54548 h 280464"/>
                  <a:gd name="connsiteX337" fmla="*/ 56063 w 412440"/>
                  <a:gd name="connsiteY337" fmla="*/ 53942 h 280464"/>
                  <a:gd name="connsiteX338" fmla="*/ 46365 w 412440"/>
                  <a:gd name="connsiteY338" fmla="*/ 50760 h 280464"/>
                  <a:gd name="connsiteX339" fmla="*/ 37123 w 412440"/>
                  <a:gd name="connsiteY339" fmla="*/ 47426 h 280464"/>
                  <a:gd name="connsiteX340" fmla="*/ 30911 w 412440"/>
                  <a:gd name="connsiteY340" fmla="*/ 44093 h 280464"/>
                  <a:gd name="connsiteX341" fmla="*/ 29547 w 412440"/>
                  <a:gd name="connsiteY341" fmla="*/ 43789 h 280464"/>
                  <a:gd name="connsiteX342" fmla="*/ 28184 w 412440"/>
                  <a:gd name="connsiteY342" fmla="*/ 43789 h 280464"/>
                  <a:gd name="connsiteX343" fmla="*/ 26819 w 412440"/>
                  <a:gd name="connsiteY343" fmla="*/ 43183 h 280464"/>
                  <a:gd name="connsiteX344" fmla="*/ 22728 w 412440"/>
                  <a:gd name="connsiteY344" fmla="*/ 40759 h 280464"/>
                  <a:gd name="connsiteX345" fmla="*/ 8940 w 412440"/>
                  <a:gd name="connsiteY345" fmla="*/ 34850 h 280464"/>
                  <a:gd name="connsiteX346" fmla="*/ 6667 w 412440"/>
                  <a:gd name="connsiteY346" fmla="*/ 34395 h 280464"/>
                  <a:gd name="connsiteX347" fmla="*/ 3940 w 412440"/>
                  <a:gd name="connsiteY347" fmla="*/ 34395 h 280464"/>
                  <a:gd name="connsiteX348" fmla="*/ 3182 w 412440"/>
                  <a:gd name="connsiteY348" fmla="*/ 34395 h 280464"/>
                  <a:gd name="connsiteX349" fmla="*/ 3182 w 412440"/>
                  <a:gd name="connsiteY349" fmla="*/ 34547 h 280464"/>
                  <a:gd name="connsiteX350" fmla="*/ 3182 w 412440"/>
                  <a:gd name="connsiteY350" fmla="*/ 36365 h 280464"/>
                  <a:gd name="connsiteX351" fmla="*/ 3182 w 412440"/>
                  <a:gd name="connsiteY351" fmla="*/ 39699 h 280464"/>
                  <a:gd name="connsiteX352" fmla="*/ 3182 w 412440"/>
                  <a:gd name="connsiteY352" fmla="*/ 45153 h 280464"/>
                  <a:gd name="connsiteX353" fmla="*/ 3182 w 412440"/>
                  <a:gd name="connsiteY353" fmla="*/ 50760 h 280464"/>
                  <a:gd name="connsiteX354" fmla="*/ 3182 w 412440"/>
                  <a:gd name="connsiteY354" fmla="*/ 56366 h 280464"/>
                  <a:gd name="connsiteX355" fmla="*/ 3182 w 412440"/>
                  <a:gd name="connsiteY355" fmla="*/ 61972 h 280464"/>
                  <a:gd name="connsiteX356" fmla="*/ 3182 w 412440"/>
                  <a:gd name="connsiteY356" fmla="*/ 67578 h 280464"/>
                  <a:gd name="connsiteX357" fmla="*/ 3182 w 412440"/>
                  <a:gd name="connsiteY357" fmla="*/ 73185 h 280464"/>
                  <a:gd name="connsiteX358" fmla="*/ 3182 w 412440"/>
                  <a:gd name="connsiteY358" fmla="*/ 78791 h 280464"/>
                  <a:gd name="connsiteX359" fmla="*/ 3182 w 412440"/>
                  <a:gd name="connsiteY359" fmla="*/ 84397 h 280464"/>
                  <a:gd name="connsiteX360" fmla="*/ 3182 w 412440"/>
                  <a:gd name="connsiteY360" fmla="*/ 90003 h 280464"/>
                  <a:gd name="connsiteX361" fmla="*/ 3182 w 412440"/>
                  <a:gd name="connsiteY361" fmla="*/ 95610 h 280464"/>
                  <a:gd name="connsiteX362" fmla="*/ 3182 w 412440"/>
                  <a:gd name="connsiteY362" fmla="*/ 101216 h 280464"/>
                  <a:gd name="connsiteX363" fmla="*/ 3182 w 412440"/>
                  <a:gd name="connsiteY363" fmla="*/ 106822 h 280464"/>
                  <a:gd name="connsiteX364" fmla="*/ 3182 w 412440"/>
                  <a:gd name="connsiteY364" fmla="*/ 112429 h 280464"/>
                  <a:gd name="connsiteX365" fmla="*/ 3182 w 412440"/>
                  <a:gd name="connsiteY365" fmla="*/ 118035 h 280464"/>
                  <a:gd name="connsiteX366" fmla="*/ 3182 w 412440"/>
                  <a:gd name="connsiteY366" fmla="*/ 123641 h 280464"/>
                  <a:gd name="connsiteX367" fmla="*/ 3182 w 412440"/>
                  <a:gd name="connsiteY367" fmla="*/ 129247 h 280464"/>
                  <a:gd name="connsiteX368" fmla="*/ 3182 w 412440"/>
                  <a:gd name="connsiteY368" fmla="*/ 134854 h 280464"/>
                  <a:gd name="connsiteX369" fmla="*/ 3182 w 412440"/>
                  <a:gd name="connsiteY369" fmla="*/ 137278 h 280464"/>
                  <a:gd name="connsiteX370" fmla="*/ 2273 w 412440"/>
                  <a:gd name="connsiteY370" fmla="*/ 140157 h 280464"/>
                  <a:gd name="connsiteX371" fmla="*/ 303 w 412440"/>
                  <a:gd name="connsiteY371" fmla="*/ 144551 h 280464"/>
                  <a:gd name="connsiteX372" fmla="*/ 0 w 412440"/>
                  <a:gd name="connsiteY372" fmla="*/ 148036 h 280464"/>
                  <a:gd name="connsiteX373" fmla="*/ 1516 w 412440"/>
                  <a:gd name="connsiteY373" fmla="*/ 150763 h 280464"/>
                  <a:gd name="connsiteX374" fmla="*/ 3031 w 412440"/>
                  <a:gd name="connsiteY374" fmla="*/ 152581 h 280464"/>
                  <a:gd name="connsiteX375" fmla="*/ 3031 w 412440"/>
                  <a:gd name="connsiteY375" fmla="*/ 157127 h 280464"/>
                  <a:gd name="connsiteX376" fmla="*/ 3031 w 412440"/>
                  <a:gd name="connsiteY376" fmla="*/ 162733 h 280464"/>
                  <a:gd name="connsiteX377" fmla="*/ 3031 w 412440"/>
                  <a:gd name="connsiteY377" fmla="*/ 168339 h 280464"/>
                  <a:gd name="connsiteX378" fmla="*/ 3031 w 412440"/>
                  <a:gd name="connsiteY378" fmla="*/ 173946 h 280464"/>
                  <a:gd name="connsiteX379" fmla="*/ 3031 w 412440"/>
                  <a:gd name="connsiteY379" fmla="*/ 179552 h 280464"/>
                  <a:gd name="connsiteX380" fmla="*/ 3031 w 412440"/>
                  <a:gd name="connsiteY380" fmla="*/ 185158 h 280464"/>
                  <a:gd name="connsiteX381" fmla="*/ 3031 w 412440"/>
                  <a:gd name="connsiteY381" fmla="*/ 190765 h 280464"/>
                  <a:gd name="connsiteX382" fmla="*/ 3031 w 412440"/>
                  <a:gd name="connsiteY382" fmla="*/ 196371 h 280464"/>
                  <a:gd name="connsiteX383" fmla="*/ 3031 w 412440"/>
                  <a:gd name="connsiteY383" fmla="*/ 201977 h 280464"/>
                  <a:gd name="connsiteX384" fmla="*/ 3031 w 412440"/>
                  <a:gd name="connsiteY384" fmla="*/ 207584 h 280464"/>
                  <a:gd name="connsiteX385" fmla="*/ 3031 w 412440"/>
                  <a:gd name="connsiteY385" fmla="*/ 213190 h 280464"/>
                  <a:gd name="connsiteX386" fmla="*/ 3031 w 412440"/>
                  <a:gd name="connsiteY386" fmla="*/ 213493 h 280464"/>
                  <a:gd name="connsiteX387" fmla="*/ 7274 w 412440"/>
                  <a:gd name="connsiteY387" fmla="*/ 216372 h 280464"/>
                  <a:gd name="connsiteX388" fmla="*/ 9546 w 412440"/>
                  <a:gd name="connsiteY388" fmla="*/ 216220 h 280464"/>
                  <a:gd name="connsiteX389" fmla="*/ 11667 w 412440"/>
                  <a:gd name="connsiteY389" fmla="*/ 215008 h 280464"/>
                  <a:gd name="connsiteX390" fmla="*/ 14698 w 412440"/>
                  <a:gd name="connsiteY390" fmla="*/ 214553 h 280464"/>
                  <a:gd name="connsiteX391" fmla="*/ 17729 w 412440"/>
                  <a:gd name="connsiteY391" fmla="*/ 215614 h 280464"/>
                  <a:gd name="connsiteX392" fmla="*/ 20608 w 412440"/>
                  <a:gd name="connsiteY392" fmla="*/ 216220 h 280464"/>
                  <a:gd name="connsiteX393" fmla="*/ 23486 w 412440"/>
                  <a:gd name="connsiteY393" fmla="*/ 216220 h 280464"/>
                  <a:gd name="connsiteX394" fmla="*/ 30304 w 412440"/>
                  <a:gd name="connsiteY394" fmla="*/ 215766 h 280464"/>
                  <a:gd name="connsiteX395" fmla="*/ 37123 w 412440"/>
                  <a:gd name="connsiteY395" fmla="*/ 215008 h 280464"/>
                  <a:gd name="connsiteX396" fmla="*/ 38789 w 412440"/>
                  <a:gd name="connsiteY396" fmla="*/ 215311 h 280464"/>
                  <a:gd name="connsiteX397" fmla="*/ 41668 w 412440"/>
                  <a:gd name="connsiteY397" fmla="*/ 216372 h 280464"/>
                  <a:gd name="connsiteX398" fmla="*/ 42729 w 412440"/>
                  <a:gd name="connsiteY398" fmla="*/ 216826 h 280464"/>
                  <a:gd name="connsiteX399" fmla="*/ 45456 w 412440"/>
                  <a:gd name="connsiteY399" fmla="*/ 218644 h 280464"/>
                  <a:gd name="connsiteX400" fmla="*/ 48487 w 412440"/>
                  <a:gd name="connsiteY400" fmla="*/ 219250 h 280464"/>
                  <a:gd name="connsiteX401" fmla="*/ 54245 w 412440"/>
                  <a:gd name="connsiteY401" fmla="*/ 215766 h 280464"/>
                  <a:gd name="connsiteX402" fmla="*/ 60306 w 412440"/>
                  <a:gd name="connsiteY402" fmla="*/ 212735 h 280464"/>
                  <a:gd name="connsiteX403" fmla="*/ 64396 w 412440"/>
                  <a:gd name="connsiteY403" fmla="*/ 211220 h 280464"/>
                  <a:gd name="connsiteX404" fmla="*/ 68184 w 412440"/>
                  <a:gd name="connsiteY404" fmla="*/ 209099 h 280464"/>
                  <a:gd name="connsiteX405" fmla="*/ 68791 w 412440"/>
                  <a:gd name="connsiteY405" fmla="*/ 207584 h 280464"/>
                  <a:gd name="connsiteX406" fmla="*/ 68943 w 412440"/>
                  <a:gd name="connsiteY406" fmla="*/ 204705 h 280464"/>
                  <a:gd name="connsiteX407" fmla="*/ 68488 w 412440"/>
                  <a:gd name="connsiteY407" fmla="*/ 203644 h 280464"/>
                  <a:gd name="connsiteX408" fmla="*/ 66518 w 412440"/>
                  <a:gd name="connsiteY408" fmla="*/ 200917 h 280464"/>
                  <a:gd name="connsiteX409" fmla="*/ 64246 w 412440"/>
                  <a:gd name="connsiteY409" fmla="*/ 198492 h 280464"/>
                  <a:gd name="connsiteX410" fmla="*/ 61215 w 412440"/>
                  <a:gd name="connsiteY410" fmla="*/ 195765 h 280464"/>
                  <a:gd name="connsiteX411" fmla="*/ 60003 w 412440"/>
                  <a:gd name="connsiteY411" fmla="*/ 195310 h 280464"/>
                  <a:gd name="connsiteX412" fmla="*/ 58638 w 412440"/>
                  <a:gd name="connsiteY412" fmla="*/ 195007 h 280464"/>
                  <a:gd name="connsiteX413" fmla="*/ 52730 w 412440"/>
                  <a:gd name="connsiteY413" fmla="*/ 192280 h 280464"/>
                  <a:gd name="connsiteX414" fmla="*/ 46669 w 412440"/>
                  <a:gd name="connsiteY414" fmla="*/ 191977 h 280464"/>
                  <a:gd name="connsiteX415" fmla="*/ 43941 w 412440"/>
                  <a:gd name="connsiteY415" fmla="*/ 192886 h 280464"/>
                  <a:gd name="connsiteX416" fmla="*/ 41668 w 412440"/>
                  <a:gd name="connsiteY416" fmla="*/ 191371 h 280464"/>
                  <a:gd name="connsiteX417" fmla="*/ 40911 w 412440"/>
                  <a:gd name="connsiteY417" fmla="*/ 189704 h 280464"/>
                  <a:gd name="connsiteX418" fmla="*/ 40002 w 412440"/>
                  <a:gd name="connsiteY418" fmla="*/ 188340 h 280464"/>
                  <a:gd name="connsiteX419" fmla="*/ 36820 w 412440"/>
                  <a:gd name="connsiteY419" fmla="*/ 188340 h 280464"/>
                  <a:gd name="connsiteX420" fmla="*/ 38639 w 412440"/>
                  <a:gd name="connsiteY420" fmla="*/ 187734 h 280464"/>
                  <a:gd name="connsiteX421" fmla="*/ 40608 w 412440"/>
                  <a:gd name="connsiteY421" fmla="*/ 187583 h 280464"/>
                  <a:gd name="connsiteX422" fmla="*/ 41366 w 412440"/>
                  <a:gd name="connsiteY422" fmla="*/ 188643 h 280464"/>
                  <a:gd name="connsiteX423" fmla="*/ 41972 w 412440"/>
                  <a:gd name="connsiteY423" fmla="*/ 189856 h 280464"/>
                  <a:gd name="connsiteX424" fmla="*/ 43336 w 412440"/>
                  <a:gd name="connsiteY424" fmla="*/ 191522 h 280464"/>
                  <a:gd name="connsiteX425" fmla="*/ 45456 w 412440"/>
                  <a:gd name="connsiteY425" fmla="*/ 191674 h 280464"/>
                  <a:gd name="connsiteX426" fmla="*/ 47881 w 412440"/>
                  <a:gd name="connsiteY426" fmla="*/ 190765 h 280464"/>
                  <a:gd name="connsiteX427" fmla="*/ 50457 w 412440"/>
                  <a:gd name="connsiteY427" fmla="*/ 190310 h 280464"/>
                  <a:gd name="connsiteX428" fmla="*/ 53184 w 412440"/>
                  <a:gd name="connsiteY428" fmla="*/ 190765 h 280464"/>
                  <a:gd name="connsiteX429" fmla="*/ 55911 w 412440"/>
                  <a:gd name="connsiteY429" fmla="*/ 191522 h 280464"/>
                  <a:gd name="connsiteX430" fmla="*/ 61063 w 412440"/>
                  <a:gd name="connsiteY430" fmla="*/ 191371 h 280464"/>
                  <a:gd name="connsiteX431" fmla="*/ 66215 w 412440"/>
                  <a:gd name="connsiteY431" fmla="*/ 190007 h 280464"/>
                  <a:gd name="connsiteX432" fmla="*/ 70761 w 412440"/>
                  <a:gd name="connsiteY432" fmla="*/ 189401 h 280464"/>
                  <a:gd name="connsiteX433" fmla="*/ 75306 w 412440"/>
                  <a:gd name="connsiteY433" fmla="*/ 188340 h 280464"/>
                  <a:gd name="connsiteX434" fmla="*/ 74397 w 412440"/>
                  <a:gd name="connsiteY434" fmla="*/ 185916 h 280464"/>
                  <a:gd name="connsiteX435" fmla="*/ 73336 w 412440"/>
                  <a:gd name="connsiteY435" fmla="*/ 183643 h 280464"/>
                  <a:gd name="connsiteX436" fmla="*/ 72731 w 412440"/>
                  <a:gd name="connsiteY436" fmla="*/ 182886 h 280464"/>
                  <a:gd name="connsiteX437" fmla="*/ 73640 w 412440"/>
                  <a:gd name="connsiteY437" fmla="*/ 182431 h 280464"/>
                  <a:gd name="connsiteX438" fmla="*/ 76669 w 412440"/>
                  <a:gd name="connsiteY438" fmla="*/ 182734 h 280464"/>
                  <a:gd name="connsiteX439" fmla="*/ 79852 w 412440"/>
                  <a:gd name="connsiteY439" fmla="*/ 183643 h 280464"/>
                  <a:gd name="connsiteX440" fmla="*/ 81367 w 412440"/>
                  <a:gd name="connsiteY440" fmla="*/ 183643 h 280464"/>
                  <a:gd name="connsiteX441" fmla="*/ 82882 w 412440"/>
                  <a:gd name="connsiteY441" fmla="*/ 183340 h 280464"/>
                  <a:gd name="connsiteX442" fmla="*/ 81518 w 412440"/>
                  <a:gd name="connsiteY442" fmla="*/ 181219 h 280464"/>
                  <a:gd name="connsiteX443" fmla="*/ 82882 w 412440"/>
                  <a:gd name="connsiteY443" fmla="*/ 181522 h 280464"/>
                  <a:gd name="connsiteX444" fmla="*/ 84246 w 412440"/>
                  <a:gd name="connsiteY444" fmla="*/ 181370 h 280464"/>
                  <a:gd name="connsiteX445" fmla="*/ 78791 w 412440"/>
                  <a:gd name="connsiteY445" fmla="*/ 170612 h 280464"/>
                  <a:gd name="connsiteX446" fmla="*/ 76367 w 412440"/>
                  <a:gd name="connsiteY446" fmla="*/ 168188 h 280464"/>
                  <a:gd name="connsiteX447" fmla="*/ 78185 w 412440"/>
                  <a:gd name="connsiteY447" fmla="*/ 169249 h 280464"/>
                  <a:gd name="connsiteX448" fmla="*/ 79700 w 412440"/>
                  <a:gd name="connsiteY448" fmla="*/ 170612 h 280464"/>
                  <a:gd name="connsiteX449" fmla="*/ 81216 w 412440"/>
                  <a:gd name="connsiteY449" fmla="*/ 172431 h 280464"/>
                  <a:gd name="connsiteX450" fmla="*/ 83034 w 412440"/>
                  <a:gd name="connsiteY450" fmla="*/ 173946 h 280464"/>
                  <a:gd name="connsiteX451" fmla="*/ 85155 w 412440"/>
                  <a:gd name="connsiteY451" fmla="*/ 174855 h 280464"/>
                  <a:gd name="connsiteX452" fmla="*/ 89853 w 412440"/>
                  <a:gd name="connsiteY452" fmla="*/ 176219 h 280464"/>
                  <a:gd name="connsiteX453" fmla="*/ 92125 w 412440"/>
                  <a:gd name="connsiteY453" fmla="*/ 176370 h 280464"/>
                  <a:gd name="connsiteX454" fmla="*/ 93337 w 412440"/>
                  <a:gd name="connsiteY454" fmla="*/ 175006 h 280464"/>
                  <a:gd name="connsiteX455" fmla="*/ 94852 w 412440"/>
                  <a:gd name="connsiteY455" fmla="*/ 173946 h 280464"/>
                  <a:gd name="connsiteX456" fmla="*/ 95610 w 412440"/>
                  <a:gd name="connsiteY456" fmla="*/ 173643 h 280464"/>
                  <a:gd name="connsiteX457" fmla="*/ 96974 w 412440"/>
                  <a:gd name="connsiteY457" fmla="*/ 174097 h 280464"/>
                  <a:gd name="connsiteX458" fmla="*/ 97731 w 412440"/>
                  <a:gd name="connsiteY458" fmla="*/ 173946 h 280464"/>
                  <a:gd name="connsiteX459" fmla="*/ 98186 w 412440"/>
                  <a:gd name="connsiteY459" fmla="*/ 171673 h 280464"/>
                  <a:gd name="connsiteX460" fmla="*/ 99853 w 412440"/>
                  <a:gd name="connsiteY460" fmla="*/ 170764 h 280464"/>
                  <a:gd name="connsiteX461" fmla="*/ 102277 w 412440"/>
                  <a:gd name="connsiteY461" fmla="*/ 171370 h 280464"/>
                  <a:gd name="connsiteX462" fmla="*/ 104701 w 412440"/>
                  <a:gd name="connsiteY462" fmla="*/ 172279 h 280464"/>
                  <a:gd name="connsiteX463" fmla="*/ 107125 w 412440"/>
                  <a:gd name="connsiteY463" fmla="*/ 172734 h 280464"/>
                  <a:gd name="connsiteX464" fmla="*/ 109550 w 412440"/>
                  <a:gd name="connsiteY464" fmla="*/ 172431 h 280464"/>
                  <a:gd name="connsiteX465" fmla="*/ 110156 w 412440"/>
                  <a:gd name="connsiteY465" fmla="*/ 175158 h 280464"/>
                  <a:gd name="connsiteX466" fmla="*/ 111065 w 412440"/>
                  <a:gd name="connsiteY466" fmla="*/ 176370 h 280464"/>
                  <a:gd name="connsiteX467" fmla="*/ 112581 w 412440"/>
                  <a:gd name="connsiteY467" fmla="*/ 177128 h 280464"/>
                  <a:gd name="connsiteX468" fmla="*/ 115610 w 412440"/>
                  <a:gd name="connsiteY468" fmla="*/ 177885 h 280464"/>
                  <a:gd name="connsiteX469" fmla="*/ 118641 w 412440"/>
                  <a:gd name="connsiteY469" fmla="*/ 178188 h 280464"/>
                  <a:gd name="connsiteX470" fmla="*/ 121217 w 412440"/>
                  <a:gd name="connsiteY470" fmla="*/ 178794 h 280464"/>
                  <a:gd name="connsiteX471" fmla="*/ 126217 w 412440"/>
                  <a:gd name="connsiteY471" fmla="*/ 180613 h 280464"/>
                  <a:gd name="connsiteX472" fmla="*/ 128793 w 412440"/>
                  <a:gd name="connsiteY472" fmla="*/ 180916 h 280464"/>
                  <a:gd name="connsiteX473" fmla="*/ 133339 w 412440"/>
                  <a:gd name="connsiteY473" fmla="*/ 181219 h 280464"/>
                  <a:gd name="connsiteX474" fmla="*/ 134551 w 412440"/>
                  <a:gd name="connsiteY474" fmla="*/ 181673 h 280464"/>
                  <a:gd name="connsiteX475" fmla="*/ 135611 w 412440"/>
                  <a:gd name="connsiteY475" fmla="*/ 182431 h 280464"/>
                  <a:gd name="connsiteX476" fmla="*/ 141672 w 412440"/>
                  <a:gd name="connsiteY476" fmla="*/ 184704 h 280464"/>
                  <a:gd name="connsiteX477" fmla="*/ 142885 w 412440"/>
                  <a:gd name="connsiteY477" fmla="*/ 185765 h 280464"/>
                  <a:gd name="connsiteX478" fmla="*/ 143642 w 412440"/>
                  <a:gd name="connsiteY478" fmla="*/ 187280 h 280464"/>
                  <a:gd name="connsiteX479" fmla="*/ 144551 w 412440"/>
                  <a:gd name="connsiteY479" fmla="*/ 188492 h 280464"/>
                  <a:gd name="connsiteX480" fmla="*/ 145612 w 412440"/>
                  <a:gd name="connsiteY480" fmla="*/ 189553 h 280464"/>
                  <a:gd name="connsiteX481" fmla="*/ 147430 w 412440"/>
                  <a:gd name="connsiteY481" fmla="*/ 192280 h 280464"/>
                  <a:gd name="connsiteX482" fmla="*/ 148642 w 412440"/>
                  <a:gd name="connsiteY482" fmla="*/ 195310 h 280464"/>
                  <a:gd name="connsiteX483" fmla="*/ 153037 w 412440"/>
                  <a:gd name="connsiteY483" fmla="*/ 200462 h 280464"/>
                  <a:gd name="connsiteX484" fmla="*/ 154855 w 412440"/>
                  <a:gd name="connsiteY484" fmla="*/ 203341 h 280464"/>
                  <a:gd name="connsiteX485" fmla="*/ 157734 w 412440"/>
                  <a:gd name="connsiteY485" fmla="*/ 208796 h 280464"/>
                  <a:gd name="connsiteX486" fmla="*/ 159552 w 412440"/>
                  <a:gd name="connsiteY486" fmla="*/ 210765 h 280464"/>
                  <a:gd name="connsiteX487" fmla="*/ 163946 w 412440"/>
                  <a:gd name="connsiteY487" fmla="*/ 212432 h 280464"/>
                  <a:gd name="connsiteX488" fmla="*/ 165461 w 412440"/>
                  <a:gd name="connsiteY488" fmla="*/ 212584 h 280464"/>
                  <a:gd name="connsiteX489" fmla="*/ 166825 w 412440"/>
                  <a:gd name="connsiteY489" fmla="*/ 211674 h 280464"/>
                  <a:gd name="connsiteX490" fmla="*/ 165915 w 412440"/>
                  <a:gd name="connsiteY490" fmla="*/ 214250 h 280464"/>
                  <a:gd name="connsiteX491" fmla="*/ 165764 w 412440"/>
                  <a:gd name="connsiteY491" fmla="*/ 216826 h 280464"/>
                  <a:gd name="connsiteX492" fmla="*/ 168340 w 412440"/>
                  <a:gd name="connsiteY492" fmla="*/ 220614 h 280464"/>
                  <a:gd name="connsiteX493" fmla="*/ 169703 w 412440"/>
                  <a:gd name="connsiteY493" fmla="*/ 221675 h 280464"/>
                  <a:gd name="connsiteX494" fmla="*/ 176067 w 412440"/>
                  <a:gd name="connsiteY494" fmla="*/ 225917 h 280464"/>
                  <a:gd name="connsiteX495" fmla="*/ 179098 w 412440"/>
                  <a:gd name="connsiteY495" fmla="*/ 228493 h 280464"/>
                  <a:gd name="connsiteX496" fmla="*/ 181523 w 412440"/>
                  <a:gd name="connsiteY496" fmla="*/ 231675 h 280464"/>
                  <a:gd name="connsiteX497" fmla="*/ 183037 w 412440"/>
                  <a:gd name="connsiteY497" fmla="*/ 235009 h 280464"/>
                  <a:gd name="connsiteX498" fmla="*/ 184704 w 412440"/>
                  <a:gd name="connsiteY498" fmla="*/ 236372 h 280464"/>
                  <a:gd name="connsiteX499" fmla="*/ 186220 w 412440"/>
                  <a:gd name="connsiteY499" fmla="*/ 237888 h 280464"/>
                  <a:gd name="connsiteX500" fmla="*/ 188947 w 412440"/>
                  <a:gd name="connsiteY500" fmla="*/ 239403 h 280464"/>
                  <a:gd name="connsiteX501" fmla="*/ 192280 w 412440"/>
                  <a:gd name="connsiteY501" fmla="*/ 239857 h 280464"/>
                  <a:gd name="connsiteX502" fmla="*/ 196675 w 412440"/>
                  <a:gd name="connsiteY502" fmla="*/ 240918 h 280464"/>
                  <a:gd name="connsiteX503" fmla="*/ 198038 w 412440"/>
                  <a:gd name="connsiteY503" fmla="*/ 240766 h 280464"/>
                  <a:gd name="connsiteX504" fmla="*/ 199402 w 412440"/>
                  <a:gd name="connsiteY504" fmla="*/ 240312 h 280464"/>
                  <a:gd name="connsiteX505" fmla="*/ 202583 w 412440"/>
                  <a:gd name="connsiteY505" fmla="*/ 240918 h 280464"/>
                  <a:gd name="connsiteX506" fmla="*/ 205765 w 412440"/>
                  <a:gd name="connsiteY506" fmla="*/ 242433 h 280464"/>
                  <a:gd name="connsiteX507" fmla="*/ 207130 w 412440"/>
                  <a:gd name="connsiteY507" fmla="*/ 242585 h 280464"/>
                  <a:gd name="connsiteX508" fmla="*/ 211523 w 412440"/>
                  <a:gd name="connsiteY508" fmla="*/ 242282 h 280464"/>
                  <a:gd name="connsiteX509" fmla="*/ 213190 w 412440"/>
                  <a:gd name="connsiteY509" fmla="*/ 241676 h 280464"/>
                  <a:gd name="connsiteX510" fmla="*/ 214857 w 412440"/>
                  <a:gd name="connsiteY510" fmla="*/ 241979 h 280464"/>
                  <a:gd name="connsiteX511" fmla="*/ 218342 w 412440"/>
                  <a:gd name="connsiteY511" fmla="*/ 243797 h 280464"/>
                  <a:gd name="connsiteX512" fmla="*/ 221069 w 412440"/>
                  <a:gd name="connsiteY512" fmla="*/ 244403 h 280464"/>
                  <a:gd name="connsiteX513" fmla="*/ 232433 w 412440"/>
                  <a:gd name="connsiteY513" fmla="*/ 245312 h 280464"/>
                  <a:gd name="connsiteX514" fmla="*/ 237736 w 412440"/>
                  <a:gd name="connsiteY514" fmla="*/ 246676 h 280464"/>
                  <a:gd name="connsiteX515" fmla="*/ 240615 w 412440"/>
                  <a:gd name="connsiteY515" fmla="*/ 246676 h 280464"/>
                  <a:gd name="connsiteX516" fmla="*/ 243494 w 412440"/>
                  <a:gd name="connsiteY516" fmla="*/ 247130 h 280464"/>
                  <a:gd name="connsiteX517" fmla="*/ 245767 w 412440"/>
                  <a:gd name="connsiteY517" fmla="*/ 248342 h 280464"/>
                  <a:gd name="connsiteX518" fmla="*/ 248798 w 412440"/>
                  <a:gd name="connsiteY518" fmla="*/ 250615 h 280464"/>
                  <a:gd name="connsiteX519" fmla="*/ 249707 w 412440"/>
                  <a:gd name="connsiteY519" fmla="*/ 251524 h 280464"/>
                  <a:gd name="connsiteX520" fmla="*/ 250616 w 412440"/>
                  <a:gd name="connsiteY520" fmla="*/ 253191 h 280464"/>
                  <a:gd name="connsiteX521" fmla="*/ 254101 w 412440"/>
                  <a:gd name="connsiteY521" fmla="*/ 254403 h 280464"/>
                  <a:gd name="connsiteX522" fmla="*/ 258949 w 412440"/>
                  <a:gd name="connsiteY522" fmla="*/ 255312 h 280464"/>
                  <a:gd name="connsiteX523" fmla="*/ 261828 w 412440"/>
                  <a:gd name="connsiteY523" fmla="*/ 255161 h 280464"/>
                  <a:gd name="connsiteX524" fmla="*/ 263343 w 412440"/>
                  <a:gd name="connsiteY524" fmla="*/ 254858 h 280464"/>
                  <a:gd name="connsiteX525" fmla="*/ 266980 w 412440"/>
                  <a:gd name="connsiteY525" fmla="*/ 252737 h 280464"/>
                  <a:gd name="connsiteX526" fmla="*/ 267738 w 412440"/>
                  <a:gd name="connsiteY526" fmla="*/ 251676 h 280464"/>
                  <a:gd name="connsiteX527" fmla="*/ 266525 w 412440"/>
                  <a:gd name="connsiteY527" fmla="*/ 250767 h 280464"/>
                  <a:gd name="connsiteX528" fmla="*/ 263343 w 412440"/>
                  <a:gd name="connsiteY528" fmla="*/ 249100 h 280464"/>
                  <a:gd name="connsiteX529" fmla="*/ 261223 w 412440"/>
                  <a:gd name="connsiteY529" fmla="*/ 246676 h 280464"/>
                  <a:gd name="connsiteX530" fmla="*/ 262132 w 412440"/>
                  <a:gd name="connsiteY530" fmla="*/ 245767 h 280464"/>
                  <a:gd name="connsiteX531" fmla="*/ 266980 w 412440"/>
                  <a:gd name="connsiteY531" fmla="*/ 245161 h 280464"/>
                  <a:gd name="connsiteX532" fmla="*/ 377893 w 412440"/>
                  <a:gd name="connsiteY532" fmla="*/ 103186 h 280464"/>
                  <a:gd name="connsiteX533" fmla="*/ 377742 w 412440"/>
                  <a:gd name="connsiteY533" fmla="*/ 100761 h 280464"/>
                  <a:gd name="connsiteX534" fmla="*/ 376378 w 412440"/>
                  <a:gd name="connsiteY534" fmla="*/ 99701 h 280464"/>
                  <a:gd name="connsiteX535" fmla="*/ 375621 w 412440"/>
                  <a:gd name="connsiteY535" fmla="*/ 100307 h 280464"/>
                  <a:gd name="connsiteX536" fmla="*/ 373802 w 412440"/>
                  <a:gd name="connsiteY536" fmla="*/ 102428 h 280464"/>
                  <a:gd name="connsiteX537" fmla="*/ 374408 w 412440"/>
                  <a:gd name="connsiteY537" fmla="*/ 103489 h 280464"/>
                  <a:gd name="connsiteX538" fmla="*/ 374712 w 412440"/>
                  <a:gd name="connsiteY538" fmla="*/ 105307 h 280464"/>
                  <a:gd name="connsiteX539" fmla="*/ 374863 w 412440"/>
                  <a:gd name="connsiteY539" fmla="*/ 107883 h 280464"/>
                  <a:gd name="connsiteX540" fmla="*/ 376075 w 412440"/>
                  <a:gd name="connsiteY540" fmla="*/ 111368 h 280464"/>
                  <a:gd name="connsiteX541" fmla="*/ 376681 w 412440"/>
                  <a:gd name="connsiteY541" fmla="*/ 111216 h 280464"/>
                  <a:gd name="connsiteX542" fmla="*/ 378045 w 412440"/>
                  <a:gd name="connsiteY542" fmla="*/ 109852 h 280464"/>
                  <a:gd name="connsiteX543" fmla="*/ 378802 w 412440"/>
                  <a:gd name="connsiteY543" fmla="*/ 105307 h 280464"/>
                  <a:gd name="connsiteX544" fmla="*/ 377893 w 412440"/>
                  <a:gd name="connsiteY544" fmla="*/ 103186 h 280464"/>
                  <a:gd name="connsiteX545" fmla="*/ 411683 w 412440"/>
                  <a:gd name="connsiteY545" fmla="*/ 141975 h 280464"/>
                  <a:gd name="connsiteX546" fmla="*/ 410470 w 412440"/>
                  <a:gd name="connsiteY546" fmla="*/ 139399 h 280464"/>
                  <a:gd name="connsiteX547" fmla="*/ 408804 w 412440"/>
                  <a:gd name="connsiteY547" fmla="*/ 136975 h 280464"/>
                  <a:gd name="connsiteX548" fmla="*/ 406379 w 412440"/>
                  <a:gd name="connsiteY548" fmla="*/ 134702 h 280464"/>
                  <a:gd name="connsiteX549" fmla="*/ 403803 w 412440"/>
                  <a:gd name="connsiteY549" fmla="*/ 132732 h 280464"/>
                  <a:gd name="connsiteX550" fmla="*/ 402288 w 412440"/>
                  <a:gd name="connsiteY550" fmla="*/ 132126 h 280464"/>
                  <a:gd name="connsiteX551" fmla="*/ 400621 w 412440"/>
                  <a:gd name="connsiteY551" fmla="*/ 131672 h 280464"/>
                  <a:gd name="connsiteX552" fmla="*/ 399258 w 412440"/>
                  <a:gd name="connsiteY552" fmla="*/ 130611 h 280464"/>
                  <a:gd name="connsiteX553" fmla="*/ 396682 w 412440"/>
                  <a:gd name="connsiteY553" fmla="*/ 125914 h 280464"/>
                  <a:gd name="connsiteX554" fmla="*/ 395318 w 412440"/>
                  <a:gd name="connsiteY554" fmla="*/ 124702 h 280464"/>
                  <a:gd name="connsiteX555" fmla="*/ 392743 w 412440"/>
                  <a:gd name="connsiteY555" fmla="*/ 122883 h 280464"/>
                  <a:gd name="connsiteX556" fmla="*/ 391984 w 412440"/>
                  <a:gd name="connsiteY556" fmla="*/ 121823 h 280464"/>
                  <a:gd name="connsiteX557" fmla="*/ 391682 w 412440"/>
                  <a:gd name="connsiteY557" fmla="*/ 120459 h 280464"/>
                  <a:gd name="connsiteX558" fmla="*/ 389106 w 412440"/>
                  <a:gd name="connsiteY558" fmla="*/ 116217 h 280464"/>
                  <a:gd name="connsiteX559" fmla="*/ 386530 w 412440"/>
                  <a:gd name="connsiteY559" fmla="*/ 114095 h 280464"/>
                  <a:gd name="connsiteX560" fmla="*/ 383045 w 412440"/>
                  <a:gd name="connsiteY560" fmla="*/ 113641 h 280464"/>
                  <a:gd name="connsiteX561" fmla="*/ 381681 w 412440"/>
                  <a:gd name="connsiteY561" fmla="*/ 112883 h 280464"/>
                  <a:gd name="connsiteX562" fmla="*/ 380469 w 412440"/>
                  <a:gd name="connsiteY562" fmla="*/ 111822 h 280464"/>
                  <a:gd name="connsiteX563" fmla="*/ 379257 w 412440"/>
                  <a:gd name="connsiteY563" fmla="*/ 111519 h 280464"/>
                  <a:gd name="connsiteX564" fmla="*/ 379560 w 412440"/>
                  <a:gd name="connsiteY564" fmla="*/ 114247 h 280464"/>
                  <a:gd name="connsiteX565" fmla="*/ 378651 w 412440"/>
                  <a:gd name="connsiteY565" fmla="*/ 119701 h 280464"/>
                  <a:gd name="connsiteX566" fmla="*/ 378954 w 412440"/>
                  <a:gd name="connsiteY566" fmla="*/ 121520 h 280464"/>
                  <a:gd name="connsiteX567" fmla="*/ 380014 w 412440"/>
                  <a:gd name="connsiteY567" fmla="*/ 124702 h 280464"/>
                  <a:gd name="connsiteX568" fmla="*/ 380620 w 412440"/>
                  <a:gd name="connsiteY568" fmla="*/ 125762 h 280464"/>
                  <a:gd name="connsiteX569" fmla="*/ 383045 w 412440"/>
                  <a:gd name="connsiteY569" fmla="*/ 128187 h 280464"/>
                  <a:gd name="connsiteX570" fmla="*/ 385015 w 412440"/>
                  <a:gd name="connsiteY570" fmla="*/ 129399 h 280464"/>
                  <a:gd name="connsiteX571" fmla="*/ 386985 w 412440"/>
                  <a:gd name="connsiteY571" fmla="*/ 132278 h 280464"/>
                  <a:gd name="connsiteX572" fmla="*/ 387894 w 412440"/>
                  <a:gd name="connsiteY572" fmla="*/ 132884 h 280464"/>
                  <a:gd name="connsiteX573" fmla="*/ 392136 w 412440"/>
                  <a:gd name="connsiteY573" fmla="*/ 134854 h 280464"/>
                  <a:gd name="connsiteX574" fmla="*/ 393045 w 412440"/>
                  <a:gd name="connsiteY574" fmla="*/ 137732 h 280464"/>
                  <a:gd name="connsiteX575" fmla="*/ 392288 w 412440"/>
                  <a:gd name="connsiteY575" fmla="*/ 140914 h 280464"/>
                  <a:gd name="connsiteX576" fmla="*/ 393652 w 412440"/>
                  <a:gd name="connsiteY576" fmla="*/ 143642 h 280464"/>
                  <a:gd name="connsiteX577" fmla="*/ 395924 w 412440"/>
                  <a:gd name="connsiteY577" fmla="*/ 146218 h 280464"/>
                  <a:gd name="connsiteX578" fmla="*/ 398197 w 412440"/>
                  <a:gd name="connsiteY578" fmla="*/ 147884 h 280464"/>
                  <a:gd name="connsiteX579" fmla="*/ 400773 w 412440"/>
                  <a:gd name="connsiteY579" fmla="*/ 149248 h 280464"/>
                  <a:gd name="connsiteX580" fmla="*/ 403348 w 412440"/>
                  <a:gd name="connsiteY580" fmla="*/ 150006 h 280464"/>
                  <a:gd name="connsiteX581" fmla="*/ 406076 w 412440"/>
                  <a:gd name="connsiteY581" fmla="*/ 150157 h 280464"/>
                  <a:gd name="connsiteX582" fmla="*/ 407288 w 412440"/>
                  <a:gd name="connsiteY582" fmla="*/ 149399 h 280464"/>
                  <a:gd name="connsiteX583" fmla="*/ 408349 w 412440"/>
                  <a:gd name="connsiteY583" fmla="*/ 148339 h 280464"/>
                  <a:gd name="connsiteX584" fmla="*/ 410774 w 412440"/>
                  <a:gd name="connsiteY584" fmla="*/ 147430 h 280464"/>
                  <a:gd name="connsiteX585" fmla="*/ 411379 w 412440"/>
                  <a:gd name="connsiteY585" fmla="*/ 148339 h 280464"/>
                  <a:gd name="connsiteX586" fmla="*/ 411834 w 412440"/>
                  <a:gd name="connsiteY586" fmla="*/ 147884 h 280464"/>
                  <a:gd name="connsiteX587" fmla="*/ 412440 w 412440"/>
                  <a:gd name="connsiteY587" fmla="*/ 145309 h 280464"/>
                  <a:gd name="connsiteX588" fmla="*/ 411683 w 412440"/>
                  <a:gd name="connsiteY588" fmla="*/ 141975 h 280464"/>
                  <a:gd name="connsiteX589" fmla="*/ 312436 w 412440"/>
                  <a:gd name="connsiteY589" fmla="*/ 80761 h 280464"/>
                  <a:gd name="connsiteX590" fmla="*/ 309709 w 412440"/>
                  <a:gd name="connsiteY590" fmla="*/ 79851 h 280464"/>
                  <a:gd name="connsiteX591" fmla="*/ 307588 w 412440"/>
                  <a:gd name="connsiteY591" fmla="*/ 77882 h 280464"/>
                  <a:gd name="connsiteX592" fmla="*/ 303497 w 412440"/>
                  <a:gd name="connsiteY592" fmla="*/ 80761 h 280464"/>
                  <a:gd name="connsiteX593" fmla="*/ 302132 w 412440"/>
                  <a:gd name="connsiteY593" fmla="*/ 80155 h 280464"/>
                  <a:gd name="connsiteX594" fmla="*/ 300769 w 412440"/>
                  <a:gd name="connsiteY594" fmla="*/ 79245 h 280464"/>
                  <a:gd name="connsiteX595" fmla="*/ 299557 w 412440"/>
                  <a:gd name="connsiteY595" fmla="*/ 78033 h 280464"/>
                  <a:gd name="connsiteX596" fmla="*/ 296375 w 412440"/>
                  <a:gd name="connsiteY596" fmla="*/ 77579 h 280464"/>
                  <a:gd name="connsiteX597" fmla="*/ 293345 w 412440"/>
                  <a:gd name="connsiteY597" fmla="*/ 77579 h 280464"/>
                  <a:gd name="connsiteX598" fmla="*/ 292436 w 412440"/>
                  <a:gd name="connsiteY598" fmla="*/ 78791 h 280464"/>
                  <a:gd name="connsiteX599" fmla="*/ 291981 w 412440"/>
                  <a:gd name="connsiteY599" fmla="*/ 80155 h 280464"/>
                  <a:gd name="connsiteX600" fmla="*/ 292133 w 412440"/>
                  <a:gd name="connsiteY600" fmla="*/ 81367 h 280464"/>
                  <a:gd name="connsiteX601" fmla="*/ 295163 w 412440"/>
                  <a:gd name="connsiteY601" fmla="*/ 89246 h 280464"/>
                  <a:gd name="connsiteX602" fmla="*/ 295617 w 412440"/>
                  <a:gd name="connsiteY602" fmla="*/ 92579 h 280464"/>
                  <a:gd name="connsiteX603" fmla="*/ 295466 w 412440"/>
                  <a:gd name="connsiteY603" fmla="*/ 95913 h 280464"/>
                  <a:gd name="connsiteX604" fmla="*/ 292738 w 412440"/>
                  <a:gd name="connsiteY604" fmla="*/ 97428 h 280464"/>
                  <a:gd name="connsiteX605" fmla="*/ 289102 w 412440"/>
                  <a:gd name="connsiteY605" fmla="*/ 97276 h 280464"/>
                  <a:gd name="connsiteX606" fmla="*/ 287435 w 412440"/>
                  <a:gd name="connsiteY606" fmla="*/ 97579 h 280464"/>
                  <a:gd name="connsiteX607" fmla="*/ 285920 w 412440"/>
                  <a:gd name="connsiteY607" fmla="*/ 98034 h 280464"/>
                  <a:gd name="connsiteX608" fmla="*/ 280768 w 412440"/>
                  <a:gd name="connsiteY608" fmla="*/ 102125 h 280464"/>
                  <a:gd name="connsiteX609" fmla="*/ 278950 w 412440"/>
                  <a:gd name="connsiteY609" fmla="*/ 104549 h 280464"/>
                  <a:gd name="connsiteX610" fmla="*/ 277738 w 412440"/>
                  <a:gd name="connsiteY610" fmla="*/ 107731 h 280464"/>
                  <a:gd name="connsiteX611" fmla="*/ 275768 w 412440"/>
                  <a:gd name="connsiteY611" fmla="*/ 110610 h 280464"/>
                  <a:gd name="connsiteX612" fmla="*/ 274253 w 412440"/>
                  <a:gd name="connsiteY612" fmla="*/ 111216 h 280464"/>
                  <a:gd name="connsiteX613" fmla="*/ 272737 w 412440"/>
                  <a:gd name="connsiteY613" fmla="*/ 111368 h 280464"/>
                  <a:gd name="connsiteX614" fmla="*/ 271071 w 412440"/>
                  <a:gd name="connsiteY614" fmla="*/ 111822 h 280464"/>
                  <a:gd name="connsiteX615" fmla="*/ 269708 w 412440"/>
                  <a:gd name="connsiteY615" fmla="*/ 112883 h 280464"/>
                  <a:gd name="connsiteX616" fmla="*/ 266677 w 412440"/>
                  <a:gd name="connsiteY616" fmla="*/ 113186 h 280464"/>
                  <a:gd name="connsiteX617" fmla="*/ 263798 w 412440"/>
                  <a:gd name="connsiteY617" fmla="*/ 111519 h 280464"/>
                  <a:gd name="connsiteX618" fmla="*/ 260616 w 412440"/>
                  <a:gd name="connsiteY618" fmla="*/ 111822 h 280464"/>
                  <a:gd name="connsiteX619" fmla="*/ 257737 w 412440"/>
                  <a:gd name="connsiteY619" fmla="*/ 113489 h 280464"/>
                  <a:gd name="connsiteX620" fmla="*/ 254556 w 412440"/>
                  <a:gd name="connsiteY620" fmla="*/ 113186 h 280464"/>
                  <a:gd name="connsiteX621" fmla="*/ 252434 w 412440"/>
                  <a:gd name="connsiteY621" fmla="*/ 110610 h 280464"/>
                  <a:gd name="connsiteX622" fmla="*/ 251525 w 412440"/>
                  <a:gd name="connsiteY622" fmla="*/ 107428 h 280464"/>
                  <a:gd name="connsiteX623" fmla="*/ 251827 w 412440"/>
                  <a:gd name="connsiteY623" fmla="*/ 104095 h 280464"/>
                  <a:gd name="connsiteX624" fmla="*/ 252586 w 412440"/>
                  <a:gd name="connsiteY624" fmla="*/ 102731 h 280464"/>
                  <a:gd name="connsiteX625" fmla="*/ 254252 w 412440"/>
                  <a:gd name="connsiteY625" fmla="*/ 100913 h 280464"/>
                  <a:gd name="connsiteX626" fmla="*/ 252888 w 412440"/>
                  <a:gd name="connsiteY626" fmla="*/ 99549 h 280464"/>
                  <a:gd name="connsiteX627" fmla="*/ 251979 w 412440"/>
                  <a:gd name="connsiteY627" fmla="*/ 99398 h 280464"/>
                  <a:gd name="connsiteX628" fmla="*/ 250768 w 412440"/>
                  <a:gd name="connsiteY628" fmla="*/ 100004 h 280464"/>
                  <a:gd name="connsiteX629" fmla="*/ 249859 w 412440"/>
                  <a:gd name="connsiteY629" fmla="*/ 102883 h 280464"/>
                  <a:gd name="connsiteX630" fmla="*/ 248494 w 412440"/>
                  <a:gd name="connsiteY630" fmla="*/ 111216 h 280464"/>
                  <a:gd name="connsiteX631" fmla="*/ 244858 w 412440"/>
                  <a:gd name="connsiteY631" fmla="*/ 113338 h 280464"/>
                  <a:gd name="connsiteX632" fmla="*/ 240767 w 412440"/>
                  <a:gd name="connsiteY632" fmla="*/ 113338 h 280464"/>
                  <a:gd name="connsiteX633" fmla="*/ 239404 w 412440"/>
                  <a:gd name="connsiteY633" fmla="*/ 113186 h 280464"/>
                  <a:gd name="connsiteX634" fmla="*/ 235161 w 412440"/>
                  <a:gd name="connsiteY634" fmla="*/ 114701 h 280464"/>
                  <a:gd name="connsiteX635" fmla="*/ 231978 w 412440"/>
                  <a:gd name="connsiteY635" fmla="*/ 115004 h 280464"/>
                  <a:gd name="connsiteX636" fmla="*/ 228797 w 412440"/>
                  <a:gd name="connsiteY636" fmla="*/ 114701 h 280464"/>
                  <a:gd name="connsiteX637" fmla="*/ 225463 w 412440"/>
                  <a:gd name="connsiteY637" fmla="*/ 113338 h 280464"/>
                  <a:gd name="connsiteX638" fmla="*/ 221978 w 412440"/>
                  <a:gd name="connsiteY638" fmla="*/ 112277 h 280464"/>
                  <a:gd name="connsiteX639" fmla="*/ 216069 w 412440"/>
                  <a:gd name="connsiteY639" fmla="*/ 113035 h 280464"/>
                  <a:gd name="connsiteX640" fmla="*/ 214402 w 412440"/>
                  <a:gd name="connsiteY640" fmla="*/ 112580 h 280464"/>
                  <a:gd name="connsiteX641" fmla="*/ 212736 w 412440"/>
                  <a:gd name="connsiteY641" fmla="*/ 112429 h 280464"/>
                  <a:gd name="connsiteX642" fmla="*/ 211372 w 412440"/>
                  <a:gd name="connsiteY642" fmla="*/ 113035 h 280464"/>
                  <a:gd name="connsiteX643" fmla="*/ 210008 w 412440"/>
                  <a:gd name="connsiteY643" fmla="*/ 113035 h 280464"/>
                  <a:gd name="connsiteX644" fmla="*/ 206371 w 412440"/>
                  <a:gd name="connsiteY644" fmla="*/ 111974 h 280464"/>
                  <a:gd name="connsiteX645" fmla="*/ 203947 w 412440"/>
                  <a:gd name="connsiteY645" fmla="*/ 113944 h 280464"/>
                  <a:gd name="connsiteX646" fmla="*/ 203796 w 412440"/>
                  <a:gd name="connsiteY646" fmla="*/ 117277 h 280464"/>
                  <a:gd name="connsiteX647" fmla="*/ 205614 w 412440"/>
                  <a:gd name="connsiteY647" fmla="*/ 119853 h 280464"/>
                  <a:gd name="connsiteX648" fmla="*/ 208644 w 412440"/>
                  <a:gd name="connsiteY648" fmla="*/ 120914 h 280464"/>
                  <a:gd name="connsiteX649" fmla="*/ 211827 w 412440"/>
                  <a:gd name="connsiteY649" fmla="*/ 121671 h 280464"/>
                  <a:gd name="connsiteX650" fmla="*/ 214402 w 412440"/>
                  <a:gd name="connsiteY650" fmla="*/ 122732 h 280464"/>
                  <a:gd name="connsiteX651" fmla="*/ 216826 w 412440"/>
                  <a:gd name="connsiteY651" fmla="*/ 124095 h 280464"/>
                  <a:gd name="connsiteX652" fmla="*/ 224857 w 412440"/>
                  <a:gd name="connsiteY652" fmla="*/ 129550 h 280464"/>
                  <a:gd name="connsiteX653" fmla="*/ 225615 w 412440"/>
                  <a:gd name="connsiteY653" fmla="*/ 129853 h 280464"/>
                  <a:gd name="connsiteX654" fmla="*/ 229554 w 412440"/>
                  <a:gd name="connsiteY654" fmla="*/ 128490 h 280464"/>
                  <a:gd name="connsiteX655" fmla="*/ 232585 w 412440"/>
                  <a:gd name="connsiteY655" fmla="*/ 128490 h 280464"/>
                  <a:gd name="connsiteX656" fmla="*/ 235312 w 412440"/>
                  <a:gd name="connsiteY656" fmla="*/ 129702 h 280464"/>
                  <a:gd name="connsiteX657" fmla="*/ 238494 w 412440"/>
                  <a:gd name="connsiteY657" fmla="*/ 133490 h 280464"/>
                  <a:gd name="connsiteX658" fmla="*/ 240009 w 412440"/>
                  <a:gd name="connsiteY658" fmla="*/ 134247 h 280464"/>
                  <a:gd name="connsiteX659" fmla="*/ 242737 w 412440"/>
                  <a:gd name="connsiteY659" fmla="*/ 134550 h 280464"/>
                  <a:gd name="connsiteX660" fmla="*/ 245464 w 412440"/>
                  <a:gd name="connsiteY660" fmla="*/ 134399 h 280464"/>
                  <a:gd name="connsiteX661" fmla="*/ 254706 w 412440"/>
                  <a:gd name="connsiteY661" fmla="*/ 134247 h 280464"/>
                  <a:gd name="connsiteX662" fmla="*/ 261223 w 412440"/>
                  <a:gd name="connsiteY662" fmla="*/ 133944 h 280464"/>
                  <a:gd name="connsiteX663" fmla="*/ 262434 w 412440"/>
                  <a:gd name="connsiteY663" fmla="*/ 133641 h 280464"/>
                  <a:gd name="connsiteX664" fmla="*/ 265616 w 412440"/>
                  <a:gd name="connsiteY664" fmla="*/ 131520 h 280464"/>
                  <a:gd name="connsiteX665" fmla="*/ 268799 w 412440"/>
                  <a:gd name="connsiteY665" fmla="*/ 130459 h 280464"/>
                  <a:gd name="connsiteX666" fmla="*/ 270313 w 412440"/>
                  <a:gd name="connsiteY666" fmla="*/ 129550 h 280464"/>
                  <a:gd name="connsiteX667" fmla="*/ 271678 w 412440"/>
                  <a:gd name="connsiteY667" fmla="*/ 128338 h 280464"/>
                  <a:gd name="connsiteX668" fmla="*/ 274707 w 412440"/>
                  <a:gd name="connsiteY668" fmla="*/ 127126 h 280464"/>
                  <a:gd name="connsiteX669" fmla="*/ 278041 w 412440"/>
                  <a:gd name="connsiteY669" fmla="*/ 126823 h 280464"/>
                  <a:gd name="connsiteX670" fmla="*/ 279254 w 412440"/>
                  <a:gd name="connsiteY670" fmla="*/ 126368 h 280464"/>
                  <a:gd name="connsiteX671" fmla="*/ 283042 w 412440"/>
                  <a:gd name="connsiteY671" fmla="*/ 124247 h 280464"/>
                  <a:gd name="connsiteX672" fmla="*/ 285769 w 412440"/>
                  <a:gd name="connsiteY672" fmla="*/ 121974 h 280464"/>
                  <a:gd name="connsiteX673" fmla="*/ 288193 w 412440"/>
                  <a:gd name="connsiteY673" fmla="*/ 119398 h 280464"/>
                  <a:gd name="connsiteX674" fmla="*/ 289102 w 412440"/>
                  <a:gd name="connsiteY674" fmla="*/ 118186 h 280464"/>
                  <a:gd name="connsiteX675" fmla="*/ 289859 w 412440"/>
                  <a:gd name="connsiteY675" fmla="*/ 116823 h 280464"/>
                  <a:gd name="connsiteX676" fmla="*/ 289859 w 412440"/>
                  <a:gd name="connsiteY676" fmla="*/ 115156 h 280464"/>
                  <a:gd name="connsiteX677" fmla="*/ 290768 w 412440"/>
                  <a:gd name="connsiteY677" fmla="*/ 114095 h 280464"/>
                  <a:gd name="connsiteX678" fmla="*/ 295617 w 412440"/>
                  <a:gd name="connsiteY678" fmla="*/ 113792 h 280464"/>
                  <a:gd name="connsiteX679" fmla="*/ 300314 w 412440"/>
                  <a:gd name="connsiteY679" fmla="*/ 114398 h 280464"/>
                  <a:gd name="connsiteX680" fmla="*/ 303193 w 412440"/>
                  <a:gd name="connsiteY680" fmla="*/ 113489 h 280464"/>
                  <a:gd name="connsiteX681" fmla="*/ 306224 w 412440"/>
                  <a:gd name="connsiteY681" fmla="*/ 111519 h 280464"/>
                  <a:gd name="connsiteX682" fmla="*/ 308042 w 412440"/>
                  <a:gd name="connsiteY682" fmla="*/ 108792 h 280464"/>
                  <a:gd name="connsiteX683" fmla="*/ 306224 w 412440"/>
                  <a:gd name="connsiteY683" fmla="*/ 105762 h 280464"/>
                  <a:gd name="connsiteX684" fmla="*/ 303951 w 412440"/>
                  <a:gd name="connsiteY684" fmla="*/ 103034 h 280464"/>
                  <a:gd name="connsiteX685" fmla="*/ 303648 w 412440"/>
                  <a:gd name="connsiteY685" fmla="*/ 101064 h 280464"/>
                  <a:gd name="connsiteX686" fmla="*/ 304406 w 412440"/>
                  <a:gd name="connsiteY686" fmla="*/ 99095 h 280464"/>
                  <a:gd name="connsiteX687" fmla="*/ 308648 w 412440"/>
                  <a:gd name="connsiteY687" fmla="*/ 98792 h 280464"/>
                  <a:gd name="connsiteX688" fmla="*/ 310012 w 412440"/>
                  <a:gd name="connsiteY688" fmla="*/ 98337 h 280464"/>
                  <a:gd name="connsiteX689" fmla="*/ 311224 w 412440"/>
                  <a:gd name="connsiteY689" fmla="*/ 97731 h 280464"/>
                  <a:gd name="connsiteX690" fmla="*/ 313800 w 412440"/>
                  <a:gd name="connsiteY690" fmla="*/ 94094 h 280464"/>
                  <a:gd name="connsiteX691" fmla="*/ 315164 w 412440"/>
                  <a:gd name="connsiteY691" fmla="*/ 91670 h 280464"/>
                  <a:gd name="connsiteX692" fmla="*/ 315315 w 412440"/>
                  <a:gd name="connsiteY692" fmla="*/ 88943 h 280464"/>
                  <a:gd name="connsiteX693" fmla="*/ 314557 w 412440"/>
                  <a:gd name="connsiteY693" fmla="*/ 87124 h 280464"/>
                  <a:gd name="connsiteX694" fmla="*/ 314255 w 412440"/>
                  <a:gd name="connsiteY694" fmla="*/ 85306 h 280464"/>
                  <a:gd name="connsiteX695" fmla="*/ 315466 w 412440"/>
                  <a:gd name="connsiteY695" fmla="*/ 81215 h 280464"/>
                  <a:gd name="connsiteX696" fmla="*/ 312436 w 412440"/>
                  <a:gd name="connsiteY696" fmla="*/ 80761 h 280464"/>
                  <a:gd name="connsiteX697" fmla="*/ 258646 w 412440"/>
                  <a:gd name="connsiteY697" fmla="*/ 222736 h 280464"/>
                  <a:gd name="connsiteX698" fmla="*/ 259101 w 412440"/>
                  <a:gd name="connsiteY698" fmla="*/ 222129 h 280464"/>
                  <a:gd name="connsiteX699" fmla="*/ 259707 w 412440"/>
                  <a:gd name="connsiteY699" fmla="*/ 219402 h 280464"/>
                  <a:gd name="connsiteX700" fmla="*/ 259403 w 412440"/>
                  <a:gd name="connsiteY700" fmla="*/ 218038 h 280464"/>
                  <a:gd name="connsiteX701" fmla="*/ 258344 w 412440"/>
                  <a:gd name="connsiteY701" fmla="*/ 215766 h 280464"/>
                  <a:gd name="connsiteX702" fmla="*/ 255313 w 412440"/>
                  <a:gd name="connsiteY702" fmla="*/ 214250 h 280464"/>
                  <a:gd name="connsiteX703" fmla="*/ 253343 w 412440"/>
                  <a:gd name="connsiteY703" fmla="*/ 215766 h 280464"/>
                  <a:gd name="connsiteX704" fmla="*/ 252586 w 412440"/>
                  <a:gd name="connsiteY704" fmla="*/ 218644 h 280464"/>
                  <a:gd name="connsiteX705" fmla="*/ 256980 w 412440"/>
                  <a:gd name="connsiteY705" fmla="*/ 222432 h 280464"/>
                  <a:gd name="connsiteX706" fmla="*/ 258646 w 412440"/>
                  <a:gd name="connsiteY706" fmla="*/ 222736 h 280464"/>
                  <a:gd name="connsiteX707" fmla="*/ 274101 w 412440"/>
                  <a:gd name="connsiteY707" fmla="*/ 226826 h 280464"/>
                  <a:gd name="connsiteX708" fmla="*/ 274253 w 412440"/>
                  <a:gd name="connsiteY708" fmla="*/ 226069 h 280464"/>
                  <a:gd name="connsiteX709" fmla="*/ 273798 w 412440"/>
                  <a:gd name="connsiteY709" fmla="*/ 224402 h 280464"/>
                  <a:gd name="connsiteX710" fmla="*/ 273646 w 412440"/>
                  <a:gd name="connsiteY710" fmla="*/ 222432 h 280464"/>
                  <a:gd name="connsiteX711" fmla="*/ 271223 w 412440"/>
                  <a:gd name="connsiteY711" fmla="*/ 219857 h 280464"/>
                  <a:gd name="connsiteX712" fmla="*/ 270010 w 412440"/>
                  <a:gd name="connsiteY712" fmla="*/ 219554 h 280464"/>
                  <a:gd name="connsiteX713" fmla="*/ 267890 w 412440"/>
                  <a:gd name="connsiteY713" fmla="*/ 220160 h 280464"/>
                  <a:gd name="connsiteX714" fmla="*/ 264102 w 412440"/>
                  <a:gd name="connsiteY714" fmla="*/ 217887 h 280464"/>
                  <a:gd name="connsiteX715" fmla="*/ 263343 w 412440"/>
                  <a:gd name="connsiteY715" fmla="*/ 217887 h 280464"/>
                  <a:gd name="connsiteX716" fmla="*/ 261677 w 412440"/>
                  <a:gd name="connsiteY716" fmla="*/ 218341 h 280464"/>
                  <a:gd name="connsiteX717" fmla="*/ 261373 w 412440"/>
                  <a:gd name="connsiteY717" fmla="*/ 219099 h 280464"/>
                  <a:gd name="connsiteX718" fmla="*/ 261525 w 412440"/>
                  <a:gd name="connsiteY718" fmla="*/ 220463 h 280464"/>
                  <a:gd name="connsiteX719" fmla="*/ 263495 w 412440"/>
                  <a:gd name="connsiteY719" fmla="*/ 223190 h 280464"/>
                  <a:gd name="connsiteX720" fmla="*/ 263192 w 412440"/>
                  <a:gd name="connsiteY720" fmla="*/ 223948 h 280464"/>
                  <a:gd name="connsiteX721" fmla="*/ 261525 w 412440"/>
                  <a:gd name="connsiteY721" fmla="*/ 225614 h 280464"/>
                  <a:gd name="connsiteX722" fmla="*/ 265313 w 412440"/>
                  <a:gd name="connsiteY722" fmla="*/ 225766 h 280464"/>
                  <a:gd name="connsiteX723" fmla="*/ 268040 w 412440"/>
                  <a:gd name="connsiteY723" fmla="*/ 226524 h 280464"/>
                  <a:gd name="connsiteX724" fmla="*/ 271678 w 412440"/>
                  <a:gd name="connsiteY724" fmla="*/ 226524 h 280464"/>
                  <a:gd name="connsiteX725" fmla="*/ 272737 w 412440"/>
                  <a:gd name="connsiteY725" fmla="*/ 226675 h 280464"/>
                  <a:gd name="connsiteX726" fmla="*/ 272587 w 412440"/>
                  <a:gd name="connsiteY726" fmla="*/ 227736 h 280464"/>
                  <a:gd name="connsiteX727" fmla="*/ 274101 w 412440"/>
                  <a:gd name="connsiteY727" fmla="*/ 226826 h 280464"/>
                  <a:gd name="connsiteX728" fmla="*/ 279404 w 412440"/>
                  <a:gd name="connsiteY728" fmla="*/ 192734 h 280464"/>
                  <a:gd name="connsiteX729" fmla="*/ 278193 w 412440"/>
                  <a:gd name="connsiteY729" fmla="*/ 193341 h 280464"/>
                  <a:gd name="connsiteX730" fmla="*/ 277132 w 412440"/>
                  <a:gd name="connsiteY730" fmla="*/ 195310 h 280464"/>
                  <a:gd name="connsiteX731" fmla="*/ 279254 w 412440"/>
                  <a:gd name="connsiteY731" fmla="*/ 196522 h 280464"/>
                  <a:gd name="connsiteX732" fmla="*/ 279404 w 412440"/>
                  <a:gd name="connsiteY732" fmla="*/ 197280 h 280464"/>
                  <a:gd name="connsiteX733" fmla="*/ 279254 w 412440"/>
                  <a:gd name="connsiteY733" fmla="*/ 198492 h 280464"/>
                  <a:gd name="connsiteX734" fmla="*/ 278344 w 412440"/>
                  <a:gd name="connsiteY734" fmla="*/ 200917 h 280464"/>
                  <a:gd name="connsiteX735" fmla="*/ 280465 w 412440"/>
                  <a:gd name="connsiteY735" fmla="*/ 203038 h 280464"/>
                  <a:gd name="connsiteX736" fmla="*/ 280011 w 412440"/>
                  <a:gd name="connsiteY736" fmla="*/ 201068 h 280464"/>
                  <a:gd name="connsiteX737" fmla="*/ 280920 w 412440"/>
                  <a:gd name="connsiteY737" fmla="*/ 196522 h 280464"/>
                  <a:gd name="connsiteX738" fmla="*/ 280313 w 412440"/>
                  <a:gd name="connsiteY738" fmla="*/ 195310 h 280464"/>
                  <a:gd name="connsiteX739" fmla="*/ 280313 w 412440"/>
                  <a:gd name="connsiteY739" fmla="*/ 192431 h 280464"/>
                  <a:gd name="connsiteX740" fmla="*/ 279404 w 412440"/>
                  <a:gd name="connsiteY740" fmla="*/ 192734 h 280464"/>
                  <a:gd name="connsiteX741" fmla="*/ 271374 w 412440"/>
                  <a:gd name="connsiteY741" fmla="*/ 251221 h 280464"/>
                  <a:gd name="connsiteX742" fmla="*/ 271071 w 412440"/>
                  <a:gd name="connsiteY742" fmla="*/ 252585 h 280464"/>
                  <a:gd name="connsiteX743" fmla="*/ 271526 w 412440"/>
                  <a:gd name="connsiteY743" fmla="*/ 253040 h 280464"/>
                  <a:gd name="connsiteX744" fmla="*/ 273798 w 412440"/>
                  <a:gd name="connsiteY744" fmla="*/ 253646 h 280464"/>
                  <a:gd name="connsiteX745" fmla="*/ 274253 w 412440"/>
                  <a:gd name="connsiteY745" fmla="*/ 251524 h 280464"/>
                  <a:gd name="connsiteX746" fmla="*/ 273496 w 412440"/>
                  <a:gd name="connsiteY746" fmla="*/ 251221 h 280464"/>
                  <a:gd name="connsiteX747" fmla="*/ 271374 w 412440"/>
                  <a:gd name="connsiteY747" fmla="*/ 251221 h 280464"/>
                  <a:gd name="connsiteX748" fmla="*/ 282283 w 412440"/>
                  <a:gd name="connsiteY748" fmla="*/ 234403 h 280464"/>
                  <a:gd name="connsiteX749" fmla="*/ 280313 w 412440"/>
                  <a:gd name="connsiteY749" fmla="*/ 236524 h 280464"/>
                  <a:gd name="connsiteX750" fmla="*/ 279102 w 412440"/>
                  <a:gd name="connsiteY750" fmla="*/ 236524 h 280464"/>
                  <a:gd name="connsiteX751" fmla="*/ 278041 w 412440"/>
                  <a:gd name="connsiteY751" fmla="*/ 235463 h 280464"/>
                  <a:gd name="connsiteX752" fmla="*/ 278193 w 412440"/>
                  <a:gd name="connsiteY752" fmla="*/ 234251 h 280464"/>
                  <a:gd name="connsiteX753" fmla="*/ 273041 w 412440"/>
                  <a:gd name="connsiteY753" fmla="*/ 230463 h 280464"/>
                  <a:gd name="connsiteX754" fmla="*/ 271828 w 412440"/>
                  <a:gd name="connsiteY754" fmla="*/ 228645 h 280464"/>
                  <a:gd name="connsiteX755" fmla="*/ 270768 w 412440"/>
                  <a:gd name="connsiteY755" fmla="*/ 227887 h 280464"/>
                  <a:gd name="connsiteX756" fmla="*/ 271071 w 412440"/>
                  <a:gd name="connsiteY756" fmla="*/ 229705 h 280464"/>
                  <a:gd name="connsiteX757" fmla="*/ 273041 w 412440"/>
                  <a:gd name="connsiteY757" fmla="*/ 232433 h 280464"/>
                  <a:gd name="connsiteX758" fmla="*/ 273950 w 412440"/>
                  <a:gd name="connsiteY758" fmla="*/ 235009 h 280464"/>
                  <a:gd name="connsiteX759" fmla="*/ 275466 w 412440"/>
                  <a:gd name="connsiteY759" fmla="*/ 235918 h 280464"/>
                  <a:gd name="connsiteX760" fmla="*/ 275616 w 412440"/>
                  <a:gd name="connsiteY760" fmla="*/ 238494 h 280464"/>
                  <a:gd name="connsiteX761" fmla="*/ 281526 w 412440"/>
                  <a:gd name="connsiteY761" fmla="*/ 240312 h 280464"/>
                  <a:gd name="connsiteX762" fmla="*/ 283042 w 412440"/>
                  <a:gd name="connsiteY762" fmla="*/ 241221 h 280464"/>
                  <a:gd name="connsiteX763" fmla="*/ 284860 w 412440"/>
                  <a:gd name="connsiteY763" fmla="*/ 234706 h 280464"/>
                  <a:gd name="connsiteX764" fmla="*/ 283799 w 412440"/>
                  <a:gd name="connsiteY764" fmla="*/ 233797 h 280464"/>
                  <a:gd name="connsiteX765" fmla="*/ 282283 w 412440"/>
                  <a:gd name="connsiteY765" fmla="*/ 234403 h 28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Lst>
                <a:rect l="l" t="t" r="r" b="b"/>
                <a:pathLst>
                  <a:path w="412440" h="280464">
                    <a:moveTo>
                      <a:pt x="155764" y="23334"/>
                    </a:moveTo>
                    <a:lnTo>
                      <a:pt x="157430" y="22274"/>
                    </a:lnTo>
                    <a:lnTo>
                      <a:pt x="159248" y="22577"/>
                    </a:lnTo>
                    <a:lnTo>
                      <a:pt x="160613" y="21668"/>
                    </a:lnTo>
                    <a:lnTo>
                      <a:pt x="165461" y="22728"/>
                    </a:lnTo>
                    <a:lnTo>
                      <a:pt x="169249" y="22728"/>
                    </a:lnTo>
                    <a:lnTo>
                      <a:pt x="171370" y="22122"/>
                    </a:lnTo>
                    <a:lnTo>
                      <a:pt x="173189" y="22577"/>
                    </a:lnTo>
                    <a:lnTo>
                      <a:pt x="175765" y="20152"/>
                    </a:lnTo>
                    <a:lnTo>
                      <a:pt x="176674" y="19546"/>
                    </a:lnTo>
                    <a:lnTo>
                      <a:pt x="178037" y="19698"/>
                    </a:lnTo>
                    <a:lnTo>
                      <a:pt x="179553" y="19395"/>
                    </a:lnTo>
                    <a:lnTo>
                      <a:pt x="179704" y="18031"/>
                    </a:lnTo>
                    <a:lnTo>
                      <a:pt x="179098" y="17576"/>
                    </a:lnTo>
                    <a:lnTo>
                      <a:pt x="178946" y="17728"/>
                    </a:lnTo>
                    <a:lnTo>
                      <a:pt x="179098" y="18334"/>
                    </a:lnTo>
                    <a:lnTo>
                      <a:pt x="178492" y="18334"/>
                    </a:lnTo>
                    <a:lnTo>
                      <a:pt x="169401" y="16516"/>
                    </a:lnTo>
                    <a:lnTo>
                      <a:pt x="163643" y="16213"/>
                    </a:lnTo>
                    <a:lnTo>
                      <a:pt x="160915" y="16970"/>
                    </a:lnTo>
                    <a:lnTo>
                      <a:pt x="158037" y="16819"/>
                    </a:lnTo>
                    <a:lnTo>
                      <a:pt x="156370" y="18031"/>
                    </a:lnTo>
                    <a:lnTo>
                      <a:pt x="156673" y="20304"/>
                    </a:lnTo>
                    <a:lnTo>
                      <a:pt x="154703" y="20910"/>
                    </a:lnTo>
                    <a:lnTo>
                      <a:pt x="154703" y="21668"/>
                    </a:lnTo>
                    <a:lnTo>
                      <a:pt x="155158" y="23183"/>
                    </a:lnTo>
                    <a:lnTo>
                      <a:pt x="155764" y="23334"/>
                    </a:lnTo>
                    <a:close/>
                    <a:moveTo>
                      <a:pt x="190613" y="26819"/>
                    </a:moveTo>
                    <a:lnTo>
                      <a:pt x="191522" y="25456"/>
                    </a:lnTo>
                    <a:lnTo>
                      <a:pt x="190462" y="24395"/>
                    </a:lnTo>
                    <a:lnTo>
                      <a:pt x="189856" y="24849"/>
                    </a:lnTo>
                    <a:lnTo>
                      <a:pt x="189250" y="26062"/>
                    </a:lnTo>
                    <a:lnTo>
                      <a:pt x="187734" y="26365"/>
                    </a:lnTo>
                    <a:lnTo>
                      <a:pt x="188644" y="26819"/>
                    </a:lnTo>
                    <a:lnTo>
                      <a:pt x="190613" y="26819"/>
                    </a:lnTo>
                    <a:close/>
                    <a:moveTo>
                      <a:pt x="138794" y="92579"/>
                    </a:moveTo>
                    <a:lnTo>
                      <a:pt x="140612" y="91822"/>
                    </a:lnTo>
                    <a:lnTo>
                      <a:pt x="141521" y="89549"/>
                    </a:lnTo>
                    <a:lnTo>
                      <a:pt x="141066" y="87731"/>
                    </a:lnTo>
                    <a:lnTo>
                      <a:pt x="139854" y="86822"/>
                    </a:lnTo>
                    <a:lnTo>
                      <a:pt x="138794" y="87276"/>
                    </a:lnTo>
                    <a:lnTo>
                      <a:pt x="137127" y="88640"/>
                    </a:lnTo>
                    <a:lnTo>
                      <a:pt x="136672" y="90306"/>
                    </a:lnTo>
                    <a:lnTo>
                      <a:pt x="137278" y="92125"/>
                    </a:lnTo>
                    <a:lnTo>
                      <a:pt x="138794" y="92579"/>
                    </a:lnTo>
                    <a:close/>
                    <a:moveTo>
                      <a:pt x="171068" y="104398"/>
                    </a:moveTo>
                    <a:lnTo>
                      <a:pt x="167885" y="106216"/>
                    </a:lnTo>
                    <a:lnTo>
                      <a:pt x="167582" y="107580"/>
                    </a:lnTo>
                    <a:lnTo>
                      <a:pt x="168189" y="108489"/>
                    </a:lnTo>
                    <a:lnTo>
                      <a:pt x="170613" y="111065"/>
                    </a:lnTo>
                    <a:lnTo>
                      <a:pt x="172128" y="110913"/>
                    </a:lnTo>
                    <a:lnTo>
                      <a:pt x="173340" y="109550"/>
                    </a:lnTo>
                    <a:lnTo>
                      <a:pt x="172886" y="106064"/>
                    </a:lnTo>
                    <a:lnTo>
                      <a:pt x="171068" y="104398"/>
                    </a:lnTo>
                    <a:close/>
                    <a:moveTo>
                      <a:pt x="70154" y="195310"/>
                    </a:moveTo>
                    <a:lnTo>
                      <a:pt x="66064" y="194098"/>
                    </a:lnTo>
                    <a:lnTo>
                      <a:pt x="63639" y="192734"/>
                    </a:lnTo>
                    <a:lnTo>
                      <a:pt x="64851" y="194553"/>
                    </a:lnTo>
                    <a:lnTo>
                      <a:pt x="66821" y="195310"/>
                    </a:lnTo>
                    <a:lnTo>
                      <a:pt x="70609" y="198038"/>
                    </a:lnTo>
                    <a:lnTo>
                      <a:pt x="74549" y="199704"/>
                    </a:lnTo>
                    <a:lnTo>
                      <a:pt x="74094" y="198492"/>
                    </a:lnTo>
                    <a:lnTo>
                      <a:pt x="70154" y="195310"/>
                    </a:lnTo>
                    <a:close/>
                    <a:moveTo>
                      <a:pt x="189250" y="112731"/>
                    </a:moveTo>
                    <a:lnTo>
                      <a:pt x="188947" y="113489"/>
                    </a:lnTo>
                    <a:lnTo>
                      <a:pt x="188947" y="116368"/>
                    </a:lnTo>
                    <a:lnTo>
                      <a:pt x="191522" y="119701"/>
                    </a:lnTo>
                    <a:lnTo>
                      <a:pt x="194098" y="120762"/>
                    </a:lnTo>
                    <a:lnTo>
                      <a:pt x="194553" y="121974"/>
                    </a:lnTo>
                    <a:lnTo>
                      <a:pt x="195614" y="121823"/>
                    </a:lnTo>
                    <a:lnTo>
                      <a:pt x="196523" y="120156"/>
                    </a:lnTo>
                    <a:lnTo>
                      <a:pt x="196977" y="116974"/>
                    </a:lnTo>
                    <a:lnTo>
                      <a:pt x="196371" y="115913"/>
                    </a:lnTo>
                    <a:lnTo>
                      <a:pt x="190613" y="112580"/>
                    </a:lnTo>
                    <a:lnTo>
                      <a:pt x="189250" y="112731"/>
                    </a:lnTo>
                    <a:close/>
                    <a:moveTo>
                      <a:pt x="303042" y="40153"/>
                    </a:moveTo>
                    <a:lnTo>
                      <a:pt x="304557" y="39547"/>
                    </a:lnTo>
                    <a:lnTo>
                      <a:pt x="304254" y="37577"/>
                    </a:lnTo>
                    <a:lnTo>
                      <a:pt x="302739" y="36820"/>
                    </a:lnTo>
                    <a:lnTo>
                      <a:pt x="302284" y="38032"/>
                    </a:lnTo>
                    <a:lnTo>
                      <a:pt x="302436" y="40153"/>
                    </a:lnTo>
                    <a:lnTo>
                      <a:pt x="303042" y="40153"/>
                    </a:lnTo>
                    <a:close/>
                    <a:moveTo>
                      <a:pt x="303042" y="41365"/>
                    </a:moveTo>
                    <a:lnTo>
                      <a:pt x="303497" y="42123"/>
                    </a:lnTo>
                    <a:lnTo>
                      <a:pt x="305920" y="44850"/>
                    </a:lnTo>
                    <a:lnTo>
                      <a:pt x="306830" y="45002"/>
                    </a:lnTo>
                    <a:lnTo>
                      <a:pt x="307133" y="43638"/>
                    </a:lnTo>
                    <a:lnTo>
                      <a:pt x="306527" y="42880"/>
                    </a:lnTo>
                    <a:lnTo>
                      <a:pt x="303800" y="40911"/>
                    </a:lnTo>
                    <a:lnTo>
                      <a:pt x="303042" y="41365"/>
                    </a:lnTo>
                    <a:close/>
                    <a:moveTo>
                      <a:pt x="321982" y="50760"/>
                    </a:moveTo>
                    <a:lnTo>
                      <a:pt x="322588" y="48335"/>
                    </a:lnTo>
                    <a:lnTo>
                      <a:pt x="321679" y="45911"/>
                    </a:lnTo>
                    <a:lnTo>
                      <a:pt x="319861" y="46517"/>
                    </a:lnTo>
                    <a:lnTo>
                      <a:pt x="319103" y="47426"/>
                    </a:lnTo>
                    <a:lnTo>
                      <a:pt x="320315" y="49396"/>
                    </a:lnTo>
                    <a:lnTo>
                      <a:pt x="321982" y="50760"/>
                    </a:lnTo>
                    <a:close/>
                    <a:moveTo>
                      <a:pt x="349710" y="74700"/>
                    </a:moveTo>
                    <a:lnTo>
                      <a:pt x="349862" y="73185"/>
                    </a:lnTo>
                    <a:lnTo>
                      <a:pt x="349256" y="73336"/>
                    </a:lnTo>
                    <a:lnTo>
                      <a:pt x="347892" y="74700"/>
                    </a:lnTo>
                    <a:lnTo>
                      <a:pt x="349559" y="75457"/>
                    </a:lnTo>
                    <a:lnTo>
                      <a:pt x="349710" y="74700"/>
                    </a:lnTo>
                    <a:close/>
                    <a:moveTo>
                      <a:pt x="250768" y="31516"/>
                    </a:moveTo>
                    <a:lnTo>
                      <a:pt x="252282" y="33941"/>
                    </a:lnTo>
                    <a:lnTo>
                      <a:pt x="254101" y="35456"/>
                    </a:lnTo>
                    <a:lnTo>
                      <a:pt x="256070" y="35911"/>
                    </a:lnTo>
                    <a:lnTo>
                      <a:pt x="261525" y="35607"/>
                    </a:lnTo>
                    <a:lnTo>
                      <a:pt x="261828" y="34850"/>
                    </a:lnTo>
                    <a:lnTo>
                      <a:pt x="261980" y="32425"/>
                    </a:lnTo>
                    <a:lnTo>
                      <a:pt x="261980" y="31668"/>
                    </a:lnTo>
                    <a:lnTo>
                      <a:pt x="261373" y="30456"/>
                    </a:lnTo>
                    <a:lnTo>
                      <a:pt x="255767" y="28183"/>
                    </a:lnTo>
                    <a:lnTo>
                      <a:pt x="252282" y="28789"/>
                    </a:lnTo>
                    <a:lnTo>
                      <a:pt x="248494" y="30607"/>
                    </a:lnTo>
                    <a:lnTo>
                      <a:pt x="249100" y="31062"/>
                    </a:lnTo>
                    <a:lnTo>
                      <a:pt x="250768" y="31516"/>
                    </a:lnTo>
                    <a:close/>
                    <a:moveTo>
                      <a:pt x="74094" y="194401"/>
                    </a:moveTo>
                    <a:lnTo>
                      <a:pt x="74246" y="193795"/>
                    </a:lnTo>
                    <a:lnTo>
                      <a:pt x="73942" y="191977"/>
                    </a:lnTo>
                    <a:lnTo>
                      <a:pt x="72427" y="191674"/>
                    </a:lnTo>
                    <a:lnTo>
                      <a:pt x="66821" y="191371"/>
                    </a:lnTo>
                    <a:lnTo>
                      <a:pt x="68034" y="192734"/>
                    </a:lnTo>
                    <a:lnTo>
                      <a:pt x="72881" y="194553"/>
                    </a:lnTo>
                    <a:lnTo>
                      <a:pt x="74094" y="194401"/>
                    </a:lnTo>
                    <a:close/>
                    <a:moveTo>
                      <a:pt x="241070" y="5909"/>
                    </a:moveTo>
                    <a:lnTo>
                      <a:pt x="243040" y="6364"/>
                    </a:lnTo>
                    <a:lnTo>
                      <a:pt x="243040" y="5455"/>
                    </a:lnTo>
                    <a:lnTo>
                      <a:pt x="241979" y="2121"/>
                    </a:lnTo>
                    <a:lnTo>
                      <a:pt x="239404" y="303"/>
                    </a:lnTo>
                    <a:lnTo>
                      <a:pt x="238039" y="0"/>
                    </a:lnTo>
                    <a:lnTo>
                      <a:pt x="237130" y="1515"/>
                    </a:lnTo>
                    <a:lnTo>
                      <a:pt x="237130" y="3182"/>
                    </a:lnTo>
                    <a:lnTo>
                      <a:pt x="240615" y="6061"/>
                    </a:lnTo>
                    <a:lnTo>
                      <a:pt x="241070" y="5909"/>
                    </a:lnTo>
                    <a:close/>
                    <a:moveTo>
                      <a:pt x="346377" y="276525"/>
                    </a:moveTo>
                    <a:lnTo>
                      <a:pt x="340164" y="273192"/>
                    </a:lnTo>
                    <a:lnTo>
                      <a:pt x="337285" y="272283"/>
                    </a:lnTo>
                    <a:lnTo>
                      <a:pt x="337437" y="273040"/>
                    </a:lnTo>
                    <a:lnTo>
                      <a:pt x="338194" y="274859"/>
                    </a:lnTo>
                    <a:lnTo>
                      <a:pt x="340619" y="276222"/>
                    </a:lnTo>
                    <a:lnTo>
                      <a:pt x="339710" y="277435"/>
                    </a:lnTo>
                    <a:lnTo>
                      <a:pt x="341680" y="276828"/>
                    </a:lnTo>
                    <a:lnTo>
                      <a:pt x="342286" y="278647"/>
                    </a:lnTo>
                    <a:lnTo>
                      <a:pt x="346074" y="279556"/>
                    </a:lnTo>
                    <a:lnTo>
                      <a:pt x="346983" y="280465"/>
                    </a:lnTo>
                    <a:lnTo>
                      <a:pt x="350923" y="280010"/>
                    </a:lnTo>
                    <a:lnTo>
                      <a:pt x="352589" y="279253"/>
                    </a:lnTo>
                    <a:lnTo>
                      <a:pt x="351074" y="277586"/>
                    </a:lnTo>
                    <a:lnTo>
                      <a:pt x="346377" y="276525"/>
                    </a:lnTo>
                    <a:close/>
                    <a:moveTo>
                      <a:pt x="332134" y="74851"/>
                    </a:moveTo>
                    <a:lnTo>
                      <a:pt x="314709" y="60608"/>
                    </a:lnTo>
                    <a:lnTo>
                      <a:pt x="313346" y="58942"/>
                    </a:lnTo>
                    <a:lnTo>
                      <a:pt x="309254" y="55911"/>
                    </a:lnTo>
                    <a:lnTo>
                      <a:pt x="306072" y="52426"/>
                    </a:lnTo>
                    <a:lnTo>
                      <a:pt x="305163" y="51669"/>
                    </a:lnTo>
                    <a:lnTo>
                      <a:pt x="298951" y="49547"/>
                    </a:lnTo>
                    <a:lnTo>
                      <a:pt x="295769" y="46820"/>
                    </a:lnTo>
                    <a:lnTo>
                      <a:pt x="292890" y="44850"/>
                    </a:lnTo>
                    <a:lnTo>
                      <a:pt x="289859" y="43183"/>
                    </a:lnTo>
                    <a:lnTo>
                      <a:pt x="285466" y="41365"/>
                    </a:lnTo>
                    <a:lnTo>
                      <a:pt x="283042" y="41214"/>
                    </a:lnTo>
                    <a:lnTo>
                      <a:pt x="281678" y="38941"/>
                    </a:lnTo>
                    <a:lnTo>
                      <a:pt x="276829" y="36213"/>
                    </a:lnTo>
                    <a:lnTo>
                      <a:pt x="272132" y="33032"/>
                    </a:lnTo>
                    <a:lnTo>
                      <a:pt x="272587" y="35001"/>
                    </a:lnTo>
                    <a:lnTo>
                      <a:pt x="272132" y="36820"/>
                    </a:lnTo>
                    <a:lnTo>
                      <a:pt x="269858" y="37577"/>
                    </a:lnTo>
                    <a:lnTo>
                      <a:pt x="272587" y="38638"/>
                    </a:lnTo>
                    <a:lnTo>
                      <a:pt x="275920" y="38638"/>
                    </a:lnTo>
                    <a:lnTo>
                      <a:pt x="278647" y="40001"/>
                    </a:lnTo>
                    <a:lnTo>
                      <a:pt x="287889" y="45608"/>
                    </a:lnTo>
                    <a:lnTo>
                      <a:pt x="289557" y="47426"/>
                    </a:lnTo>
                    <a:lnTo>
                      <a:pt x="292587" y="48790"/>
                    </a:lnTo>
                    <a:lnTo>
                      <a:pt x="298496" y="53790"/>
                    </a:lnTo>
                    <a:lnTo>
                      <a:pt x="300921" y="55457"/>
                    </a:lnTo>
                    <a:lnTo>
                      <a:pt x="303497" y="56972"/>
                    </a:lnTo>
                    <a:lnTo>
                      <a:pt x="304860" y="57426"/>
                    </a:lnTo>
                    <a:lnTo>
                      <a:pt x="307890" y="57881"/>
                    </a:lnTo>
                    <a:lnTo>
                      <a:pt x="309406" y="58336"/>
                    </a:lnTo>
                    <a:lnTo>
                      <a:pt x="311830" y="60457"/>
                    </a:lnTo>
                    <a:lnTo>
                      <a:pt x="313952" y="62730"/>
                    </a:lnTo>
                    <a:lnTo>
                      <a:pt x="320618" y="71669"/>
                    </a:lnTo>
                    <a:lnTo>
                      <a:pt x="322588" y="75457"/>
                    </a:lnTo>
                    <a:lnTo>
                      <a:pt x="323346" y="79548"/>
                    </a:lnTo>
                    <a:lnTo>
                      <a:pt x="323194" y="81518"/>
                    </a:lnTo>
                    <a:lnTo>
                      <a:pt x="322740" y="83488"/>
                    </a:lnTo>
                    <a:lnTo>
                      <a:pt x="322891" y="85306"/>
                    </a:lnTo>
                    <a:lnTo>
                      <a:pt x="324558" y="89094"/>
                    </a:lnTo>
                    <a:lnTo>
                      <a:pt x="325770" y="90761"/>
                    </a:lnTo>
                    <a:lnTo>
                      <a:pt x="327437" y="92428"/>
                    </a:lnTo>
                    <a:lnTo>
                      <a:pt x="328649" y="94398"/>
                    </a:lnTo>
                    <a:lnTo>
                      <a:pt x="330618" y="92276"/>
                    </a:lnTo>
                    <a:lnTo>
                      <a:pt x="332134" y="89852"/>
                    </a:lnTo>
                    <a:lnTo>
                      <a:pt x="332740" y="87427"/>
                    </a:lnTo>
                    <a:lnTo>
                      <a:pt x="332740" y="84700"/>
                    </a:lnTo>
                    <a:lnTo>
                      <a:pt x="334558" y="82427"/>
                    </a:lnTo>
                    <a:lnTo>
                      <a:pt x="335164" y="81367"/>
                    </a:lnTo>
                    <a:lnTo>
                      <a:pt x="334861" y="78639"/>
                    </a:lnTo>
                    <a:lnTo>
                      <a:pt x="332134" y="74851"/>
                    </a:lnTo>
                    <a:close/>
                    <a:moveTo>
                      <a:pt x="329104" y="209705"/>
                    </a:moveTo>
                    <a:lnTo>
                      <a:pt x="327588" y="209099"/>
                    </a:lnTo>
                    <a:lnTo>
                      <a:pt x="326528" y="207584"/>
                    </a:lnTo>
                    <a:lnTo>
                      <a:pt x="323194" y="207735"/>
                    </a:lnTo>
                    <a:lnTo>
                      <a:pt x="321528" y="207280"/>
                    </a:lnTo>
                    <a:lnTo>
                      <a:pt x="320012" y="207584"/>
                    </a:lnTo>
                    <a:lnTo>
                      <a:pt x="318345" y="208644"/>
                    </a:lnTo>
                    <a:lnTo>
                      <a:pt x="321679" y="210008"/>
                    </a:lnTo>
                    <a:lnTo>
                      <a:pt x="323649" y="211826"/>
                    </a:lnTo>
                    <a:lnTo>
                      <a:pt x="323951" y="212887"/>
                    </a:lnTo>
                    <a:lnTo>
                      <a:pt x="325012" y="213190"/>
                    </a:lnTo>
                    <a:lnTo>
                      <a:pt x="328043" y="214553"/>
                    </a:lnTo>
                    <a:lnTo>
                      <a:pt x="329558" y="213947"/>
                    </a:lnTo>
                    <a:lnTo>
                      <a:pt x="330770" y="214099"/>
                    </a:lnTo>
                    <a:lnTo>
                      <a:pt x="330618" y="213038"/>
                    </a:lnTo>
                    <a:lnTo>
                      <a:pt x="331376" y="212584"/>
                    </a:lnTo>
                    <a:lnTo>
                      <a:pt x="331679" y="211978"/>
                    </a:lnTo>
                    <a:lnTo>
                      <a:pt x="331679" y="211372"/>
                    </a:lnTo>
                    <a:lnTo>
                      <a:pt x="330467" y="210311"/>
                    </a:lnTo>
                    <a:lnTo>
                      <a:pt x="329104" y="209705"/>
                    </a:lnTo>
                    <a:close/>
                    <a:moveTo>
                      <a:pt x="361832" y="271980"/>
                    </a:moveTo>
                    <a:lnTo>
                      <a:pt x="362287" y="273495"/>
                    </a:lnTo>
                    <a:lnTo>
                      <a:pt x="359711" y="273040"/>
                    </a:lnTo>
                    <a:lnTo>
                      <a:pt x="359862" y="273647"/>
                    </a:lnTo>
                    <a:lnTo>
                      <a:pt x="360771" y="275010"/>
                    </a:lnTo>
                    <a:lnTo>
                      <a:pt x="362287" y="275162"/>
                    </a:lnTo>
                    <a:lnTo>
                      <a:pt x="365317" y="274404"/>
                    </a:lnTo>
                    <a:lnTo>
                      <a:pt x="366378" y="274859"/>
                    </a:lnTo>
                    <a:lnTo>
                      <a:pt x="366832" y="273343"/>
                    </a:lnTo>
                    <a:lnTo>
                      <a:pt x="365620" y="272737"/>
                    </a:lnTo>
                    <a:lnTo>
                      <a:pt x="361832" y="271980"/>
                    </a:lnTo>
                    <a:close/>
                    <a:moveTo>
                      <a:pt x="266980" y="245161"/>
                    </a:moveTo>
                    <a:lnTo>
                      <a:pt x="268495" y="244554"/>
                    </a:lnTo>
                    <a:lnTo>
                      <a:pt x="272889" y="242282"/>
                    </a:lnTo>
                    <a:lnTo>
                      <a:pt x="267890" y="242888"/>
                    </a:lnTo>
                    <a:lnTo>
                      <a:pt x="264404" y="241524"/>
                    </a:lnTo>
                    <a:lnTo>
                      <a:pt x="259555" y="241069"/>
                    </a:lnTo>
                    <a:lnTo>
                      <a:pt x="257435" y="240312"/>
                    </a:lnTo>
                    <a:lnTo>
                      <a:pt x="255313" y="239251"/>
                    </a:lnTo>
                    <a:lnTo>
                      <a:pt x="252131" y="238191"/>
                    </a:lnTo>
                    <a:lnTo>
                      <a:pt x="248798" y="237433"/>
                    </a:lnTo>
                    <a:lnTo>
                      <a:pt x="247434" y="236978"/>
                    </a:lnTo>
                    <a:lnTo>
                      <a:pt x="246221" y="236221"/>
                    </a:lnTo>
                    <a:lnTo>
                      <a:pt x="244706" y="234100"/>
                    </a:lnTo>
                    <a:lnTo>
                      <a:pt x="243040" y="232281"/>
                    </a:lnTo>
                    <a:lnTo>
                      <a:pt x="243040" y="230614"/>
                    </a:lnTo>
                    <a:lnTo>
                      <a:pt x="245919" y="229705"/>
                    </a:lnTo>
                    <a:lnTo>
                      <a:pt x="247737" y="229402"/>
                    </a:lnTo>
                    <a:lnTo>
                      <a:pt x="249252" y="228796"/>
                    </a:lnTo>
                    <a:lnTo>
                      <a:pt x="250009" y="227433"/>
                    </a:lnTo>
                    <a:lnTo>
                      <a:pt x="248949" y="226675"/>
                    </a:lnTo>
                    <a:lnTo>
                      <a:pt x="246071" y="225766"/>
                    </a:lnTo>
                    <a:lnTo>
                      <a:pt x="243040" y="225311"/>
                    </a:lnTo>
                    <a:lnTo>
                      <a:pt x="235312" y="224705"/>
                    </a:lnTo>
                    <a:lnTo>
                      <a:pt x="233797" y="224099"/>
                    </a:lnTo>
                    <a:lnTo>
                      <a:pt x="229554" y="222129"/>
                    </a:lnTo>
                    <a:lnTo>
                      <a:pt x="227888" y="219705"/>
                    </a:lnTo>
                    <a:lnTo>
                      <a:pt x="228190" y="216675"/>
                    </a:lnTo>
                    <a:lnTo>
                      <a:pt x="229554" y="213493"/>
                    </a:lnTo>
                    <a:lnTo>
                      <a:pt x="229099" y="210462"/>
                    </a:lnTo>
                    <a:lnTo>
                      <a:pt x="227736" y="209402"/>
                    </a:lnTo>
                    <a:lnTo>
                      <a:pt x="226221" y="208947"/>
                    </a:lnTo>
                    <a:lnTo>
                      <a:pt x="225009" y="208947"/>
                    </a:lnTo>
                    <a:lnTo>
                      <a:pt x="216675" y="210917"/>
                    </a:lnTo>
                    <a:lnTo>
                      <a:pt x="213645" y="210917"/>
                    </a:lnTo>
                    <a:lnTo>
                      <a:pt x="211069" y="209856"/>
                    </a:lnTo>
                    <a:lnTo>
                      <a:pt x="209553" y="206826"/>
                    </a:lnTo>
                    <a:lnTo>
                      <a:pt x="207584" y="200159"/>
                    </a:lnTo>
                    <a:lnTo>
                      <a:pt x="206523" y="199250"/>
                    </a:lnTo>
                    <a:lnTo>
                      <a:pt x="201977" y="196219"/>
                    </a:lnTo>
                    <a:lnTo>
                      <a:pt x="201674" y="195007"/>
                    </a:lnTo>
                    <a:lnTo>
                      <a:pt x="201523" y="193644"/>
                    </a:lnTo>
                    <a:lnTo>
                      <a:pt x="200917" y="190310"/>
                    </a:lnTo>
                    <a:lnTo>
                      <a:pt x="199402" y="185461"/>
                    </a:lnTo>
                    <a:lnTo>
                      <a:pt x="198644" y="183946"/>
                    </a:lnTo>
                    <a:lnTo>
                      <a:pt x="193492" y="180461"/>
                    </a:lnTo>
                    <a:lnTo>
                      <a:pt x="190310" y="179401"/>
                    </a:lnTo>
                    <a:lnTo>
                      <a:pt x="187583" y="177734"/>
                    </a:lnTo>
                    <a:lnTo>
                      <a:pt x="182734" y="173188"/>
                    </a:lnTo>
                    <a:lnTo>
                      <a:pt x="180310" y="170612"/>
                    </a:lnTo>
                    <a:lnTo>
                      <a:pt x="177734" y="168339"/>
                    </a:lnTo>
                    <a:lnTo>
                      <a:pt x="174856" y="166370"/>
                    </a:lnTo>
                    <a:lnTo>
                      <a:pt x="172886" y="164097"/>
                    </a:lnTo>
                    <a:lnTo>
                      <a:pt x="170613" y="158339"/>
                    </a:lnTo>
                    <a:lnTo>
                      <a:pt x="166673" y="151824"/>
                    </a:lnTo>
                    <a:lnTo>
                      <a:pt x="166370" y="150612"/>
                    </a:lnTo>
                    <a:lnTo>
                      <a:pt x="166522" y="149248"/>
                    </a:lnTo>
                    <a:lnTo>
                      <a:pt x="171068" y="146218"/>
                    </a:lnTo>
                    <a:lnTo>
                      <a:pt x="177583" y="146824"/>
                    </a:lnTo>
                    <a:lnTo>
                      <a:pt x="187280" y="146369"/>
                    </a:lnTo>
                    <a:lnTo>
                      <a:pt x="190008" y="145763"/>
                    </a:lnTo>
                    <a:lnTo>
                      <a:pt x="190917" y="144702"/>
                    </a:lnTo>
                    <a:lnTo>
                      <a:pt x="191219" y="141672"/>
                    </a:lnTo>
                    <a:lnTo>
                      <a:pt x="190462" y="136823"/>
                    </a:lnTo>
                    <a:lnTo>
                      <a:pt x="189856" y="135308"/>
                    </a:lnTo>
                    <a:lnTo>
                      <a:pt x="188795" y="134702"/>
                    </a:lnTo>
                    <a:lnTo>
                      <a:pt x="187886" y="133944"/>
                    </a:lnTo>
                    <a:lnTo>
                      <a:pt x="185765" y="131066"/>
                    </a:lnTo>
                    <a:lnTo>
                      <a:pt x="183341" y="128338"/>
                    </a:lnTo>
                    <a:lnTo>
                      <a:pt x="181977" y="127429"/>
                    </a:lnTo>
                    <a:lnTo>
                      <a:pt x="179401" y="125914"/>
                    </a:lnTo>
                    <a:lnTo>
                      <a:pt x="178189" y="125459"/>
                    </a:lnTo>
                    <a:lnTo>
                      <a:pt x="174704" y="125611"/>
                    </a:lnTo>
                    <a:lnTo>
                      <a:pt x="171219" y="125308"/>
                    </a:lnTo>
                    <a:lnTo>
                      <a:pt x="168794" y="124550"/>
                    </a:lnTo>
                    <a:lnTo>
                      <a:pt x="151521" y="116368"/>
                    </a:lnTo>
                    <a:lnTo>
                      <a:pt x="146066" y="114398"/>
                    </a:lnTo>
                    <a:lnTo>
                      <a:pt x="140460" y="113035"/>
                    </a:lnTo>
                    <a:lnTo>
                      <a:pt x="136520" y="112277"/>
                    </a:lnTo>
                    <a:lnTo>
                      <a:pt x="133641" y="110459"/>
                    </a:lnTo>
                    <a:lnTo>
                      <a:pt x="135006" y="104398"/>
                    </a:lnTo>
                    <a:lnTo>
                      <a:pt x="134854" y="96519"/>
                    </a:lnTo>
                    <a:lnTo>
                      <a:pt x="134248" y="94700"/>
                    </a:lnTo>
                    <a:lnTo>
                      <a:pt x="122429" y="82730"/>
                    </a:lnTo>
                    <a:lnTo>
                      <a:pt x="118944" y="82579"/>
                    </a:lnTo>
                    <a:lnTo>
                      <a:pt x="115610" y="81670"/>
                    </a:lnTo>
                    <a:lnTo>
                      <a:pt x="113490" y="79700"/>
                    </a:lnTo>
                    <a:lnTo>
                      <a:pt x="111520" y="77276"/>
                    </a:lnTo>
                    <a:lnTo>
                      <a:pt x="108943" y="74851"/>
                    </a:lnTo>
                    <a:lnTo>
                      <a:pt x="106065" y="72882"/>
                    </a:lnTo>
                    <a:lnTo>
                      <a:pt x="103035" y="71972"/>
                    </a:lnTo>
                    <a:lnTo>
                      <a:pt x="100913" y="69851"/>
                    </a:lnTo>
                    <a:lnTo>
                      <a:pt x="100307" y="68336"/>
                    </a:lnTo>
                    <a:lnTo>
                      <a:pt x="99095" y="67578"/>
                    </a:lnTo>
                    <a:lnTo>
                      <a:pt x="97731" y="67124"/>
                    </a:lnTo>
                    <a:lnTo>
                      <a:pt x="96368" y="66972"/>
                    </a:lnTo>
                    <a:lnTo>
                      <a:pt x="92882" y="67427"/>
                    </a:lnTo>
                    <a:lnTo>
                      <a:pt x="89398" y="67275"/>
                    </a:lnTo>
                    <a:lnTo>
                      <a:pt x="87883" y="66972"/>
                    </a:lnTo>
                    <a:lnTo>
                      <a:pt x="86519" y="66366"/>
                    </a:lnTo>
                    <a:lnTo>
                      <a:pt x="83034" y="64093"/>
                    </a:lnTo>
                    <a:lnTo>
                      <a:pt x="80609" y="61972"/>
                    </a:lnTo>
                    <a:lnTo>
                      <a:pt x="78034" y="60760"/>
                    </a:lnTo>
                    <a:lnTo>
                      <a:pt x="72731" y="56820"/>
                    </a:lnTo>
                    <a:lnTo>
                      <a:pt x="69093" y="55911"/>
                    </a:lnTo>
                    <a:lnTo>
                      <a:pt x="62276" y="54851"/>
                    </a:lnTo>
                    <a:lnTo>
                      <a:pt x="59093" y="54548"/>
                    </a:lnTo>
                    <a:lnTo>
                      <a:pt x="56063" y="53942"/>
                    </a:lnTo>
                    <a:lnTo>
                      <a:pt x="46365" y="50760"/>
                    </a:lnTo>
                    <a:lnTo>
                      <a:pt x="37123" y="47426"/>
                    </a:lnTo>
                    <a:lnTo>
                      <a:pt x="30911" y="44093"/>
                    </a:lnTo>
                    <a:lnTo>
                      <a:pt x="29547" y="43789"/>
                    </a:lnTo>
                    <a:lnTo>
                      <a:pt x="28184" y="43789"/>
                    </a:lnTo>
                    <a:lnTo>
                      <a:pt x="26819" y="43183"/>
                    </a:lnTo>
                    <a:lnTo>
                      <a:pt x="22728" y="40759"/>
                    </a:lnTo>
                    <a:lnTo>
                      <a:pt x="8940" y="34850"/>
                    </a:lnTo>
                    <a:lnTo>
                      <a:pt x="6667" y="34395"/>
                    </a:lnTo>
                    <a:lnTo>
                      <a:pt x="3940" y="34395"/>
                    </a:lnTo>
                    <a:lnTo>
                      <a:pt x="3182" y="34395"/>
                    </a:lnTo>
                    <a:lnTo>
                      <a:pt x="3182" y="34547"/>
                    </a:lnTo>
                    <a:lnTo>
                      <a:pt x="3182" y="36365"/>
                    </a:lnTo>
                    <a:lnTo>
                      <a:pt x="3182" y="39699"/>
                    </a:lnTo>
                    <a:lnTo>
                      <a:pt x="3182" y="45153"/>
                    </a:lnTo>
                    <a:lnTo>
                      <a:pt x="3182" y="50760"/>
                    </a:lnTo>
                    <a:lnTo>
                      <a:pt x="3182" y="56366"/>
                    </a:lnTo>
                    <a:lnTo>
                      <a:pt x="3182" y="61972"/>
                    </a:lnTo>
                    <a:lnTo>
                      <a:pt x="3182" y="67578"/>
                    </a:lnTo>
                    <a:lnTo>
                      <a:pt x="3182" y="73185"/>
                    </a:lnTo>
                    <a:lnTo>
                      <a:pt x="3182" y="78791"/>
                    </a:lnTo>
                    <a:lnTo>
                      <a:pt x="3182" y="84397"/>
                    </a:lnTo>
                    <a:lnTo>
                      <a:pt x="3182" y="90003"/>
                    </a:lnTo>
                    <a:lnTo>
                      <a:pt x="3182" y="95610"/>
                    </a:lnTo>
                    <a:lnTo>
                      <a:pt x="3182" y="101216"/>
                    </a:lnTo>
                    <a:lnTo>
                      <a:pt x="3182" y="106822"/>
                    </a:lnTo>
                    <a:lnTo>
                      <a:pt x="3182" y="112429"/>
                    </a:lnTo>
                    <a:lnTo>
                      <a:pt x="3182" y="118035"/>
                    </a:lnTo>
                    <a:lnTo>
                      <a:pt x="3182" y="123641"/>
                    </a:lnTo>
                    <a:lnTo>
                      <a:pt x="3182" y="129247"/>
                    </a:lnTo>
                    <a:lnTo>
                      <a:pt x="3182" y="134854"/>
                    </a:lnTo>
                    <a:lnTo>
                      <a:pt x="3182" y="137278"/>
                    </a:lnTo>
                    <a:lnTo>
                      <a:pt x="2273" y="140157"/>
                    </a:lnTo>
                    <a:lnTo>
                      <a:pt x="303" y="144551"/>
                    </a:lnTo>
                    <a:lnTo>
                      <a:pt x="0" y="148036"/>
                    </a:lnTo>
                    <a:lnTo>
                      <a:pt x="1516" y="150763"/>
                    </a:lnTo>
                    <a:lnTo>
                      <a:pt x="3031" y="152581"/>
                    </a:lnTo>
                    <a:lnTo>
                      <a:pt x="3031" y="157127"/>
                    </a:lnTo>
                    <a:lnTo>
                      <a:pt x="3031" y="162733"/>
                    </a:lnTo>
                    <a:lnTo>
                      <a:pt x="3031" y="168339"/>
                    </a:lnTo>
                    <a:lnTo>
                      <a:pt x="3031" y="173946"/>
                    </a:lnTo>
                    <a:lnTo>
                      <a:pt x="3031" y="179552"/>
                    </a:lnTo>
                    <a:lnTo>
                      <a:pt x="3031" y="185158"/>
                    </a:lnTo>
                    <a:lnTo>
                      <a:pt x="3031" y="190765"/>
                    </a:lnTo>
                    <a:lnTo>
                      <a:pt x="3031" y="196371"/>
                    </a:lnTo>
                    <a:lnTo>
                      <a:pt x="3031" y="201977"/>
                    </a:lnTo>
                    <a:lnTo>
                      <a:pt x="3031" y="207584"/>
                    </a:lnTo>
                    <a:lnTo>
                      <a:pt x="3031" y="213190"/>
                    </a:lnTo>
                    <a:lnTo>
                      <a:pt x="3031" y="213493"/>
                    </a:lnTo>
                    <a:lnTo>
                      <a:pt x="7274" y="216372"/>
                    </a:lnTo>
                    <a:lnTo>
                      <a:pt x="9546" y="216220"/>
                    </a:lnTo>
                    <a:lnTo>
                      <a:pt x="11667" y="215008"/>
                    </a:lnTo>
                    <a:lnTo>
                      <a:pt x="14698" y="214553"/>
                    </a:lnTo>
                    <a:lnTo>
                      <a:pt x="17729" y="215614"/>
                    </a:lnTo>
                    <a:lnTo>
                      <a:pt x="20608" y="216220"/>
                    </a:lnTo>
                    <a:lnTo>
                      <a:pt x="23486" y="216220"/>
                    </a:lnTo>
                    <a:lnTo>
                      <a:pt x="30304" y="215766"/>
                    </a:lnTo>
                    <a:lnTo>
                      <a:pt x="37123" y="215008"/>
                    </a:lnTo>
                    <a:lnTo>
                      <a:pt x="38789" y="215311"/>
                    </a:lnTo>
                    <a:lnTo>
                      <a:pt x="41668" y="216372"/>
                    </a:lnTo>
                    <a:lnTo>
                      <a:pt x="42729" y="216826"/>
                    </a:lnTo>
                    <a:lnTo>
                      <a:pt x="45456" y="218644"/>
                    </a:lnTo>
                    <a:lnTo>
                      <a:pt x="48487" y="219250"/>
                    </a:lnTo>
                    <a:lnTo>
                      <a:pt x="54245" y="215766"/>
                    </a:lnTo>
                    <a:lnTo>
                      <a:pt x="60306" y="212735"/>
                    </a:lnTo>
                    <a:lnTo>
                      <a:pt x="64396" y="211220"/>
                    </a:lnTo>
                    <a:lnTo>
                      <a:pt x="68184" y="209099"/>
                    </a:lnTo>
                    <a:lnTo>
                      <a:pt x="68791" y="207584"/>
                    </a:lnTo>
                    <a:lnTo>
                      <a:pt x="68943" y="204705"/>
                    </a:lnTo>
                    <a:lnTo>
                      <a:pt x="68488" y="203644"/>
                    </a:lnTo>
                    <a:lnTo>
                      <a:pt x="66518" y="200917"/>
                    </a:lnTo>
                    <a:lnTo>
                      <a:pt x="64246" y="198492"/>
                    </a:lnTo>
                    <a:lnTo>
                      <a:pt x="61215" y="195765"/>
                    </a:lnTo>
                    <a:lnTo>
                      <a:pt x="60003" y="195310"/>
                    </a:lnTo>
                    <a:lnTo>
                      <a:pt x="58638" y="195007"/>
                    </a:lnTo>
                    <a:lnTo>
                      <a:pt x="52730" y="192280"/>
                    </a:lnTo>
                    <a:lnTo>
                      <a:pt x="46669" y="191977"/>
                    </a:lnTo>
                    <a:lnTo>
                      <a:pt x="43941" y="192886"/>
                    </a:lnTo>
                    <a:lnTo>
                      <a:pt x="41668" y="191371"/>
                    </a:lnTo>
                    <a:lnTo>
                      <a:pt x="40911" y="189704"/>
                    </a:lnTo>
                    <a:lnTo>
                      <a:pt x="40002" y="188340"/>
                    </a:lnTo>
                    <a:lnTo>
                      <a:pt x="36820" y="188340"/>
                    </a:lnTo>
                    <a:lnTo>
                      <a:pt x="38639" y="187734"/>
                    </a:lnTo>
                    <a:lnTo>
                      <a:pt x="40608" y="187583"/>
                    </a:lnTo>
                    <a:lnTo>
                      <a:pt x="41366" y="188643"/>
                    </a:lnTo>
                    <a:lnTo>
                      <a:pt x="41972" y="189856"/>
                    </a:lnTo>
                    <a:lnTo>
                      <a:pt x="43336" y="191522"/>
                    </a:lnTo>
                    <a:lnTo>
                      <a:pt x="45456" y="191674"/>
                    </a:lnTo>
                    <a:lnTo>
                      <a:pt x="47881" y="190765"/>
                    </a:lnTo>
                    <a:lnTo>
                      <a:pt x="50457" y="190310"/>
                    </a:lnTo>
                    <a:lnTo>
                      <a:pt x="53184" y="190765"/>
                    </a:lnTo>
                    <a:lnTo>
                      <a:pt x="55911" y="191522"/>
                    </a:lnTo>
                    <a:lnTo>
                      <a:pt x="61063" y="191371"/>
                    </a:lnTo>
                    <a:lnTo>
                      <a:pt x="66215" y="190007"/>
                    </a:lnTo>
                    <a:lnTo>
                      <a:pt x="70761" y="189401"/>
                    </a:lnTo>
                    <a:lnTo>
                      <a:pt x="75306" y="188340"/>
                    </a:lnTo>
                    <a:lnTo>
                      <a:pt x="74397" y="185916"/>
                    </a:lnTo>
                    <a:lnTo>
                      <a:pt x="73336" y="183643"/>
                    </a:lnTo>
                    <a:lnTo>
                      <a:pt x="72731" y="182886"/>
                    </a:lnTo>
                    <a:lnTo>
                      <a:pt x="73640" y="182431"/>
                    </a:lnTo>
                    <a:lnTo>
                      <a:pt x="76669" y="182734"/>
                    </a:lnTo>
                    <a:lnTo>
                      <a:pt x="79852" y="183643"/>
                    </a:lnTo>
                    <a:lnTo>
                      <a:pt x="81367" y="183643"/>
                    </a:lnTo>
                    <a:lnTo>
                      <a:pt x="82882" y="183340"/>
                    </a:lnTo>
                    <a:lnTo>
                      <a:pt x="81518" y="181219"/>
                    </a:lnTo>
                    <a:lnTo>
                      <a:pt x="82882" y="181522"/>
                    </a:lnTo>
                    <a:lnTo>
                      <a:pt x="84246" y="181370"/>
                    </a:lnTo>
                    <a:lnTo>
                      <a:pt x="78791" y="170612"/>
                    </a:lnTo>
                    <a:lnTo>
                      <a:pt x="76367" y="168188"/>
                    </a:lnTo>
                    <a:lnTo>
                      <a:pt x="78185" y="169249"/>
                    </a:lnTo>
                    <a:lnTo>
                      <a:pt x="79700" y="170612"/>
                    </a:lnTo>
                    <a:lnTo>
                      <a:pt x="81216" y="172431"/>
                    </a:lnTo>
                    <a:lnTo>
                      <a:pt x="83034" y="173946"/>
                    </a:lnTo>
                    <a:lnTo>
                      <a:pt x="85155" y="174855"/>
                    </a:lnTo>
                    <a:lnTo>
                      <a:pt x="89853" y="176219"/>
                    </a:lnTo>
                    <a:lnTo>
                      <a:pt x="92125" y="176370"/>
                    </a:lnTo>
                    <a:lnTo>
                      <a:pt x="93337" y="175006"/>
                    </a:lnTo>
                    <a:lnTo>
                      <a:pt x="94852" y="173946"/>
                    </a:lnTo>
                    <a:lnTo>
                      <a:pt x="95610" y="173643"/>
                    </a:lnTo>
                    <a:lnTo>
                      <a:pt x="96974" y="174097"/>
                    </a:lnTo>
                    <a:lnTo>
                      <a:pt x="97731" y="173946"/>
                    </a:lnTo>
                    <a:lnTo>
                      <a:pt x="98186" y="171673"/>
                    </a:lnTo>
                    <a:lnTo>
                      <a:pt x="99853" y="170764"/>
                    </a:lnTo>
                    <a:lnTo>
                      <a:pt x="102277" y="171370"/>
                    </a:lnTo>
                    <a:lnTo>
                      <a:pt x="104701" y="172279"/>
                    </a:lnTo>
                    <a:lnTo>
                      <a:pt x="107125" y="172734"/>
                    </a:lnTo>
                    <a:lnTo>
                      <a:pt x="109550" y="172431"/>
                    </a:lnTo>
                    <a:lnTo>
                      <a:pt x="110156" y="175158"/>
                    </a:lnTo>
                    <a:lnTo>
                      <a:pt x="111065" y="176370"/>
                    </a:lnTo>
                    <a:lnTo>
                      <a:pt x="112581" y="177128"/>
                    </a:lnTo>
                    <a:lnTo>
                      <a:pt x="115610" y="177885"/>
                    </a:lnTo>
                    <a:lnTo>
                      <a:pt x="118641" y="178188"/>
                    </a:lnTo>
                    <a:lnTo>
                      <a:pt x="121217" y="178794"/>
                    </a:lnTo>
                    <a:lnTo>
                      <a:pt x="126217" y="180613"/>
                    </a:lnTo>
                    <a:lnTo>
                      <a:pt x="128793" y="180916"/>
                    </a:lnTo>
                    <a:lnTo>
                      <a:pt x="133339" y="181219"/>
                    </a:lnTo>
                    <a:lnTo>
                      <a:pt x="134551" y="181673"/>
                    </a:lnTo>
                    <a:lnTo>
                      <a:pt x="135611" y="182431"/>
                    </a:lnTo>
                    <a:lnTo>
                      <a:pt x="141672" y="184704"/>
                    </a:lnTo>
                    <a:lnTo>
                      <a:pt x="142885" y="185765"/>
                    </a:lnTo>
                    <a:lnTo>
                      <a:pt x="143642" y="187280"/>
                    </a:lnTo>
                    <a:lnTo>
                      <a:pt x="144551" y="188492"/>
                    </a:lnTo>
                    <a:lnTo>
                      <a:pt x="145612" y="189553"/>
                    </a:lnTo>
                    <a:lnTo>
                      <a:pt x="147430" y="192280"/>
                    </a:lnTo>
                    <a:lnTo>
                      <a:pt x="148642" y="195310"/>
                    </a:lnTo>
                    <a:lnTo>
                      <a:pt x="153037" y="200462"/>
                    </a:lnTo>
                    <a:lnTo>
                      <a:pt x="154855" y="203341"/>
                    </a:lnTo>
                    <a:lnTo>
                      <a:pt x="157734" y="208796"/>
                    </a:lnTo>
                    <a:lnTo>
                      <a:pt x="159552" y="210765"/>
                    </a:lnTo>
                    <a:lnTo>
                      <a:pt x="163946" y="212432"/>
                    </a:lnTo>
                    <a:lnTo>
                      <a:pt x="165461" y="212584"/>
                    </a:lnTo>
                    <a:lnTo>
                      <a:pt x="166825" y="211674"/>
                    </a:lnTo>
                    <a:lnTo>
                      <a:pt x="165915" y="214250"/>
                    </a:lnTo>
                    <a:lnTo>
                      <a:pt x="165764" y="216826"/>
                    </a:lnTo>
                    <a:lnTo>
                      <a:pt x="168340" y="220614"/>
                    </a:lnTo>
                    <a:lnTo>
                      <a:pt x="169703" y="221675"/>
                    </a:lnTo>
                    <a:lnTo>
                      <a:pt x="176067" y="225917"/>
                    </a:lnTo>
                    <a:lnTo>
                      <a:pt x="179098" y="228493"/>
                    </a:lnTo>
                    <a:lnTo>
                      <a:pt x="181523" y="231675"/>
                    </a:lnTo>
                    <a:lnTo>
                      <a:pt x="183037" y="235009"/>
                    </a:lnTo>
                    <a:lnTo>
                      <a:pt x="184704" y="236372"/>
                    </a:lnTo>
                    <a:lnTo>
                      <a:pt x="186220" y="237888"/>
                    </a:lnTo>
                    <a:lnTo>
                      <a:pt x="188947" y="239403"/>
                    </a:lnTo>
                    <a:lnTo>
                      <a:pt x="192280" y="239857"/>
                    </a:lnTo>
                    <a:lnTo>
                      <a:pt x="196675" y="240918"/>
                    </a:lnTo>
                    <a:lnTo>
                      <a:pt x="198038" y="240766"/>
                    </a:lnTo>
                    <a:lnTo>
                      <a:pt x="199402" y="240312"/>
                    </a:lnTo>
                    <a:lnTo>
                      <a:pt x="202583" y="240918"/>
                    </a:lnTo>
                    <a:lnTo>
                      <a:pt x="205765" y="242433"/>
                    </a:lnTo>
                    <a:lnTo>
                      <a:pt x="207130" y="242585"/>
                    </a:lnTo>
                    <a:lnTo>
                      <a:pt x="211523" y="242282"/>
                    </a:lnTo>
                    <a:lnTo>
                      <a:pt x="213190" y="241676"/>
                    </a:lnTo>
                    <a:lnTo>
                      <a:pt x="214857" y="241979"/>
                    </a:lnTo>
                    <a:lnTo>
                      <a:pt x="218342" y="243797"/>
                    </a:lnTo>
                    <a:lnTo>
                      <a:pt x="221069" y="244403"/>
                    </a:lnTo>
                    <a:lnTo>
                      <a:pt x="232433" y="245312"/>
                    </a:lnTo>
                    <a:lnTo>
                      <a:pt x="237736" y="246676"/>
                    </a:lnTo>
                    <a:lnTo>
                      <a:pt x="240615" y="246676"/>
                    </a:lnTo>
                    <a:lnTo>
                      <a:pt x="243494" y="247130"/>
                    </a:lnTo>
                    <a:lnTo>
                      <a:pt x="245767" y="248342"/>
                    </a:lnTo>
                    <a:lnTo>
                      <a:pt x="248798" y="250615"/>
                    </a:lnTo>
                    <a:lnTo>
                      <a:pt x="249707" y="251524"/>
                    </a:lnTo>
                    <a:lnTo>
                      <a:pt x="250616" y="253191"/>
                    </a:lnTo>
                    <a:lnTo>
                      <a:pt x="254101" y="254403"/>
                    </a:lnTo>
                    <a:lnTo>
                      <a:pt x="258949" y="255312"/>
                    </a:lnTo>
                    <a:lnTo>
                      <a:pt x="261828" y="255161"/>
                    </a:lnTo>
                    <a:lnTo>
                      <a:pt x="263343" y="254858"/>
                    </a:lnTo>
                    <a:lnTo>
                      <a:pt x="266980" y="252737"/>
                    </a:lnTo>
                    <a:lnTo>
                      <a:pt x="267738" y="251676"/>
                    </a:lnTo>
                    <a:lnTo>
                      <a:pt x="266525" y="250767"/>
                    </a:lnTo>
                    <a:lnTo>
                      <a:pt x="263343" y="249100"/>
                    </a:lnTo>
                    <a:lnTo>
                      <a:pt x="261223" y="246676"/>
                    </a:lnTo>
                    <a:lnTo>
                      <a:pt x="262132" y="245767"/>
                    </a:lnTo>
                    <a:lnTo>
                      <a:pt x="266980" y="245161"/>
                    </a:lnTo>
                    <a:close/>
                    <a:moveTo>
                      <a:pt x="377893" y="103186"/>
                    </a:moveTo>
                    <a:lnTo>
                      <a:pt x="377742" y="100761"/>
                    </a:lnTo>
                    <a:lnTo>
                      <a:pt x="376378" y="99701"/>
                    </a:lnTo>
                    <a:lnTo>
                      <a:pt x="375621" y="100307"/>
                    </a:lnTo>
                    <a:lnTo>
                      <a:pt x="373802" y="102428"/>
                    </a:lnTo>
                    <a:lnTo>
                      <a:pt x="374408" y="103489"/>
                    </a:lnTo>
                    <a:lnTo>
                      <a:pt x="374712" y="105307"/>
                    </a:lnTo>
                    <a:lnTo>
                      <a:pt x="374863" y="107883"/>
                    </a:lnTo>
                    <a:lnTo>
                      <a:pt x="376075" y="111368"/>
                    </a:lnTo>
                    <a:lnTo>
                      <a:pt x="376681" y="111216"/>
                    </a:lnTo>
                    <a:lnTo>
                      <a:pt x="378045" y="109852"/>
                    </a:lnTo>
                    <a:lnTo>
                      <a:pt x="378802" y="105307"/>
                    </a:lnTo>
                    <a:lnTo>
                      <a:pt x="377893" y="103186"/>
                    </a:lnTo>
                    <a:close/>
                    <a:moveTo>
                      <a:pt x="411683" y="141975"/>
                    </a:moveTo>
                    <a:lnTo>
                      <a:pt x="410470" y="139399"/>
                    </a:lnTo>
                    <a:lnTo>
                      <a:pt x="408804" y="136975"/>
                    </a:lnTo>
                    <a:lnTo>
                      <a:pt x="406379" y="134702"/>
                    </a:lnTo>
                    <a:lnTo>
                      <a:pt x="403803" y="132732"/>
                    </a:lnTo>
                    <a:lnTo>
                      <a:pt x="402288" y="132126"/>
                    </a:lnTo>
                    <a:lnTo>
                      <a:pt x="400621" y="131672"/>
                    </a:lnTo>
                    <a:lnTo>
                      <a:pt x="399258" y="130611"/>
                    </a:lnTo>
                    <a:lnTo>
                      <a:pt x="396682" y="125914"/>
                    </a:lnTo>
                    <a:lnTo>
                      <a:pt x="395318" y="124702"/>
                    </a:lnTo>
                    <a:lnTo>
                      <a:pt x="392743" y="122883"/>
                    </a:lnTo>
                    <a:lnTo>
                      <a:pt x="391984" y="121823"/>
                    </a:lnTo>
                    <a:lnTo>
                      <a:pt x="391682" y="120459"/>
                    </a:lnTo>
                    <a:lnTo>
                      <a:pt x="389106" y="116217"/>
                    </a:lnTo>
                    <a:lnTo>
                      <a:pt x="386530" y="114095"/>
                    </a:lnTo>
                    <a:lnTo>
                      <a:pt x="383045" y="113641"/>
                    </a:lnTo>
                    <a:lnTo>
                      <a:pt x="381681" y="112883"/>
                    </a:lnTo>
                    <a:lnTo>
                      <a:pt x="380469" y="111822"/>
                    </a:lnTo>
                    <a:lnTo>
                      <a:pt x="379257" y="111519"/>
                    </a:lnTo>
                    <a:lnTo>
                      <a:pt x="379560" y="114247"/>
                    </a:lnTo>
                    <a:lnTo>
                      <a:pt x="378651" y="119701"/>
                    </a:lnTo>
                    <a:lnTo>
                      <a:pt x="378954" y="121520"/>
                    </a:lnTo>
                    <a:lnTo>
                      <a:pt x="380014" y="124702"/>
                    </a:lnTo>
                    <a:lnTo>
                      <a:pt x="380620" y="125762"/>
                    </a:lnTo>
                    <a:lnTo>
                      <a:pt x="383045" y="128187"/>
                    </a:lnTo>
                    <a:lnTo>
                      <a:pt x="385015" y="129399"/>
                    </a:lnTo>
                    <a:lnTo>
                      <a:pt x="386985" y="132278"/>
                    </a:lnTo>
                    <a:lnTo>
                      <a:pt x="387894" y="132884"/>
                    </a:lnTo>
                    <a:lnTo>
                      <a:pt x="392136" y="134854"/>
                    </a:lnTo>
                    <a:lnTo>
                      <a:pt x="393045" y="137732"/>
                    </a:lnTo>
                    <a:lnTo>
                      <a:pt x="392288" y="140914"/>
                    </a:lnTo>
                    <a:lnTo>
                      <a:pt x="393652" y="143642"/>
                    </a:lnTo>
                    <a:lnTo>
                      <a:pt x="395924" y="146218"/>
                    </a:lnTo>
                    <a:lnTo>
                      <a:pt x="398197" y="147884"/>
                    </a:lnTo>
                    <a:lnTo>
                      <a:pt x="400773" y="149248"/>
                    </a:lnTo>
                    <a:lnTo>
                      <a:pt x="403348" y="150006"/>
                    </a:lnTo>
                    <a:lnTo>
                      <a:pt x="406076" y="150157"/>
                    </a:lnTo>
                    <a:lnTo>
                      <a:pt x="407288" y="149399"/>
                    </a:lnTo>
                    <a:lnTo>
                      <a:pt x="408349" y="148339"/>
                    </a:lnTo>
                    <a:lnTo>
                      <a:pt x="410774" y="147430"/>
                    </a:lnTo>
                    <a:lnTo>
                      <a:pt x="411379" y="148339"/>
                    </a:lnTo>
                    <a:lnTo>
                      <a:pt x="411834" y="147884"/>
                    </a:lnTo>
                    <a:lnTo>
                      <a:pt x="412440" y="145309"/>
                    </a:lnTo>
                    <a:lnTo>
                      <a:pt x="411683" y="141975"/>
                    </a:lnTo>
                    <a:close/>
                    <a:moveTo>
                      <a:pt x="312436" y="80761"/>
                    </a:moveTo>
                    <a:lnTo>
                      <a:pt x="309709" y="79851"/>
                    </a:lnTo>
                    <a:lnTo>
                      <a:pt x="307588" y="77882"/>
                    </a:lnTo>
                    <a:lnTo>
                      <a:pt x="303497" y="80761"/>
                    </a:lnTo>
                    <a:lnTo>
                      <a:pt x="302132" y="80155"/>
                    </a:lnTo>
                    <a:lnTo>
                      <a:pt x="300769" y="79245"/>
                    </a:lnTo>
                    <a:lnTo>
                      <a:pt x="299557" y="78033"/>
                    </a:lnTo>
                    <a:lnTo>
                      <a:pt x="296375" y="77579"/>
                    </a:lnTo>
                    <a:lnTo>
                      <a:pt x="293345" y="77579"/>
                    </a:lnTo>
                    <a:lnTo>
                      <a:pt x="292436" y="78791"/>
                    </a:lnTo>
                    <a:lnTo>
                      <a:pt x="291981" y="80155"/>
                    </a:lnTo>
                    <a:lnTo>
                      <a:pt x="292133" y="81367"/>
                    </a:lnTo>
                    <a:lnTo>
                      <a:pt x="295163" y="89246"/>
                    </a:lnTo>
                    <a:lnTo>
                      <a:pt x="295617" y="92579"/>
                    </a:lnTo>
                    <a:lnTo>
                      <a:pt x="295466" y="95913"/>
                    </a:lnTo>
                    <a:lnTo>
                      <a:pt x="292738" y="97428"/>
                    </a:lnTo>
                    <a:lnTo>
                      <a:pt x="289102" y="97276"/>
                    </a:lnTo>
                    <a:lnTo>
                      <a:pt x="287435" y="97579"/>
                    </a:lnTo>
                    <a:lnTo>
                      <a:pt x="285920" y="98034"/>
                    </a:lnTo>
                    <a:lnTo>
                      <a:pt x="280768" y="102125"/>
                    </a:lnTo>
                    <a:lnTo>
                      <a:pt x="278950" y="104549"/>
                    </a:lnTo>
                    <a:lnTo>
                      <a:pt x="277738" y="107731"/>
                    </a:lnTo>
                    <a:lnTo>
                      <a:pt x="275768" y="110610"/>
                    </a:lnTo>
                    <a:lnTo>
                      <a:pt x="274253" y="111216"/>
                    </a:lnTo>
                    <a:lnTo>
                      <a:pt x="272737" y="111368"/>
                    </a:lnTo>
                    <a:lnTo>
                      <a:pt x="271071" y="111822"/>
                    </a:lnTo>
                    <a:lnTo>
                      <a:pt x="269708" y="112883"/>
                    </a:lnTo>
                    <a:lnTo>
                      <a:pt x="266677" y="113186"/>
                    </a:lnTo>
                    <a:lnTo>
                      <a:pt x="263798" y="111519"/>
                    </a:lnTo>
                    <a:lnTo>
                      <a:pt x="260616" y="111822"/>
                    </a:lnTo>
                    <a:lnTo>
                      <a:pt x="257737" y="113489"/>
                    </a:lnTo>
                    <a:lnTo>
                      <a:pt x="254556" y="113186"/>
                    </a:lnTo>
                    <a:lnTo>
                      <a:pt x="252434" y="110610"/>
                    </a:lnTo>
                    <a:lnTo>
                      <a:pt x="251525" y="107428"/>
                    </a:lnTo>
                    <a:lnTo>
                      <a:pt x="251827" y="104095"/>
                    </a:lnTo>
                    <a:lnTo>
                      <a:pt x="252586" y="102731"/>
                    </a:lnTo>
                    <a:lnTo>
                      <a:pt x="254252" y="100913"/>
                    </a:lnTo>
                    <a:lnTo>
                      <a:pt x="252888" y="99549"/>
                    </a:lnTo>
                    <a:lnTo>
                      <a:pt x="251979" y="99398"/>
                    </a:lnTo>
                    <a:lnTo>
                      <a:pt x="250768" y="100004"/>
                    </a:lnTo>
                    <a:lnTo>
                      <a:pt x="249859" y="102883"/>
                    </a:lnTo>
                    <a:lnTo>
                      <a:pt x="248494" y="111216"/>
                    </a:lnTo>
                    <a:lnTo>
                      <a:pt x="244858" y="113338"/>
                    </a:lnTo>
                    <a:lnTo>
                      <a:pt x="240767" y="113338"/>
                    </a:lnTo>
                    <a:lnTo>
                      <a:pt x="239404" y="113186"/>
                    </a:lnTo>
                    <a:lnTo>
                      <a:pt x="235161" y="114701"/>
                    </a:lnTo>
                    <a:lnTo>
                      <a:pt x="231978" y="115004"/>
                    </a:lnTo>
                    <a:lnTo>
                      <a:pt x="228797" y="114701"/>
                    </a:lnTo>
                    <a:lnTo>
                      <a:pt x="225463" y="113338"/>
                    </a:lnTo>
                    <a:lnTo>
                      <a:pt x="221978" y="112277"/>
                    </a:lnTo>
                    <a:lnTo>
                      <a:pt x="216069" y="113035"/>
                    </a:lnTo>
                    <a:lnTo>
                      <a:pt x="214402" y="112580"/>
                    </a:lnTo>
                    <a:lnTo>
                      <a:pt x="212736" y="112429"/>
                    </a:lnTo>
                    <a:lnTo>
                      <a:pt x="211372" y="113035"/>
                    </a:lnTo>
                    <a:lnTo>
                      <a:pt x="210008" y="113035"/>
                    </a:lnTo>
                    <a:lnTo>
                      <a:pt x="206371" y="111974"/>
                    </a:lnTo>
                    <a:lnTo>
                      <a:pt x="203947" y="113944"/>
                    </a:lnTo>
                    <a:lnTo>
                      <a:pt x="203796" y="117277"/>
                    </a:lnTo>
                    <a:lnTo>
                      <a:pt x="205614" y="119853"/>
                    </a:lnTo>
                    <a:lnTo>
                      <a:pt x="208644" y="120914"/>
                    </a:lnTo>
                    <a:lnTo>
                      <a:pt x="211827" y="121671"/>
                    </a:lnTo>
                    <a:lnTo>
                      <a:pt x="214402" y="122732"/>
                    </a:lnTo>
                    <a:lnTo>
                      <a:pt x="216826" y="124095"/>
                    </a:lnTo>
                    <a:lnTo>
                      <a:pt x="224857" y="129550"/>
                    </a:lnTo>
                    <a:lnTo>
                      <a:pt x="225615" y="129853"/>
                    </a:lnTo>
                    <a:lnTo>
                      <a:pt x="229554" y="128490"/>
                    </a:lnTo>
                    <a:lnTo>
                      <a:pt x="232585" y="128490"/>
                    </a:lnTo>
                    <a:lnTo>
                      <a:pt x="235312" y="129702"/>
                    </a:lnTo>
                    <a:lnTo>
                      <a:pt x="238494" y="133490"/>
                    </a:lnTo>
                    <a:lnTo>
                      <a:pt x="240009" y="134247"/>
                    </a:lnTo>
                    <a:lnTo>
                      <a:pt x="242737" y="134550"/>
                    </a:lnTo>
                    <a:lnTo>
                      <a:pt x="245464" y="134399"/>
                    </a:lnTo>
                    <a:lnTo>
                      <a:pt x="254706" y="134247"/>
                    </a:lnTo>
                    <a:lnTo>
                      <a:pt x="261223" y="133944"/>
                    </a:lnTo>
                    <a:lnTo>
                      <a:pt x="262434" y="133641"/>
                    </a:lnTo>
                    <a:lnTo>
                      <a:pt x="265616" y="131520"/>
                    </a:lnTo>
                    <a:lnTo>
                      <a:pt x="268799" y="130459"/>
                    </a:lnTo>
                    <a:lnTo>
                      <a:pt x="270313" y="129550"/>
                    </a:lnTo>
                    <a:lnTo>
                      <a:pt x="271678" y="128338"/>
                    </a:lnTo>
                    <a:lnTo>
                      <a:pt x="274707" y="127126"/>
                    </a:lnTo>
                    <a:lnTo>
                      <a:pt x="278041" y="126823"/>
                    </a:lnTo>
                    <a:lnTo>
                      <a:pt x="279254" y="126368"/>
                    </a:lnTo>
                    <a:lnTo>
                      <a:pt x="283042" y="124247"/>
                    </a:lnTo>
                    <a:lnTo>
                      <a:pt x="285769" y="121974"/>
                    </a:lnTo>
                    <a:lnTo>
                      <a:pt x="288193" y="119398"/>
                    </a:lnTo>
                    <a:lnTo>
                      <a:pt x="289102" y="118186"/>
                    </a:lnTo>
                    <a:lnTo>
                      <a:pt x="289859" y="116823"/>
                    </a:lnTo>
                    <a:lnTo>
                      <a:pt x="289859" y="115156"/>
                    </a:lnTo>
                    <a:lnTo>
                      <a:pt x="290768" y="114095"/>
                    </a:lnTo>
                    <a:lnTo>
                      <a:pt x="295617" y="113792"/>
                    </a:lnTo>
                    <a:lnTo>
                      <a:pt x="300314" y="114398"/>
                    </a:lnTo>
                    <a:lnTo>
                      <a:pt x="303193" y="113489"/>
                    </a:lnTo>
                    <a:lnTo>
                      <a:pt x="306224" y="111519"/>
                    </a:lnTo>
                    <a:lnTo>
                      <a:pt x="308042" y="108792"/>
                    </a:lnTo>
                    <a:lnTo>
                      <a:pt x="306224" y="105762"/>
                    </a:lnTo>
                    <a:lnTo>
                      <a:pt x="303951" y="103034"/>
                    </a:lnTo>
                    <a:lnTo>
                      <a:pt x="303648" y="101064"/>
                    </a:lnTo>
                    <a:lnTo>
                      <a:pt x="304406" y="99095"/>
                    </a:lnTo>
                    <a:lnTo>
                      <a:pt x="308648" y="98792"/>
                    </a:lnTo>
                    <a:lnTo>
                      <a:pt x="310012" y="98337"/>
                    </a:lnTo>
                    <a:lnTo>
                      <a:pt x="311224" y="97731"/>
                    </a:lnTo>
                    <a:lnTo>
                      <a:pt x="313800" y="94094"/>
                    </a:lnTo>
                    <a:lnTo>
                      <a:pt x="315164" y="91670"/>
                    </a:lnTo>
                    <a:lnTo>
                      <a:pt x="315315" y="88943"/>
                    </a:lnTo>
                    <a:lnTo>
                      <a:pt x="314557" y="87124"/>
                    </a:lnTo>
                    <a:lnTo>
                      <a:pt x="314255" y="85306"/>
                    </a:lnTo>
                    <a:lnTo>
                      <a:pt x="315466" y="81215"/>
                    </a:lnTo>
                    <a:lnTo>
                      <a:pt x="312436" y="80761"/>
                    </a:lnTo>
                    <a:close/>
                    <a:moveTo>
                      <a:pt x="258646" y="222736"/>
                    </a:moveTo>
                    <a:lnTo>
                      <a:pt x="259101" y="222129"/>
                    </a:lnTo>
                    <a:lnTo>
                      <a:pt x="259707" y="219402"/>
                    </a:lnTo>
                    <a:lnTo>
                      <a:pt x="259403" y="218038"/>
                    </a:lnTo>
                    <a:lnTo>
                      <a:pt x="258344" y="215766"/>
                    </a:lnTo>
                    <a:lnTo>
                      <a:pt x="255313" y="214250"/>
                    </a:lnTo>
                    <a:lnTo>
                      <a:pt x="253343" y="215766"/>
                    </a:lnTo>
                    <a:lnTo>
                      <a:pt x="252586" y="218644"/>
                    </a:lnTo>
                    <a:lnTo>
                      <a:pt x="256980" y="222432"/>
                    </a:lnTo>
                    <a:lnTo>
                      <a:pt x="258646" y="222736"/>
                    </a:lnTo>
                    <a:close/>
                    <a:moveTo>
                      <a:pt x="274101" y="226826"/>
                    </a:moveTo>
                    <a:lnTo>
                      <a:pt x="274253" y="226069"/>
                    </a:lnTo>
                    <a:lnTo>
                      <a:pt x="273798" y="224402"/>
                    </a:lnTo>
                    <a:lnTo>
                      <a:pt x="273646" y="222432"/>
                    </a:lnTo>
                    <a:lnTo>
                      <a:pt x="271223" y="219857"/>
                    </a:lnTo>
                    <a:lnTo>
                      <a:pt x="270010" y="219554"/>
                    </a:lnTo>
                    <a:lnTo>
                      <a:pt x="267890" y="220160"/>
                    </a:lnTo>
                    <a:lnTo>
                      <a:pt x="264102" y="217887"/>
                    </a:lnTo>
                    <a:lnTo>
                      <a:pt x="263343" y="217887"/>
                    </a:lnTo>
                    <a:lnTo>
                      <a:pt x="261677" y="218341"/>
                    </a:lnTo>
                    <a:lnTo>
                      <a:pt x="261373" y="219099"/>
                    </a:lnTo>
                    <a:lnTo>
                      <a:pt x="261525" y="220463"/>
                    </a:lnTo>
                    <a:lnTo>
                      <a:pt x="263495" y="223190"/>
                    </a:lnTo>
                    <a:lnTo>
                      <a:pt x="263192" y="223948"/>
                    </a:lnTo>
                    <a:lnTo>
                      <a:pt x="261525" y="225614"/>
                    </a:lnTo>
                    <a:lnTo>
                      <a:pt x="265313" y="225766"/>
                    </a:lnTo>
                    <a:lnTo>
                      <a:pt x="268040" y="226524"/>
                    </a:lnTo>
                    <a:lnTo>
                      <a:pt x="271678" y="226524"/>
                    </a:lnTo>
                    <a:lnTo>
                      <a:pt x="272737" y="226675"/>
                    </a:lnTo>
                    <a:lnTo>
                      <a:pt x="272587" y="227736"/>
                    </a:lnTo>
                    <a:lnTo>
                      <a:pt x="274101" y="226826"/>
                    </a:lnTo>
                    <a:close/>
                    <a:moveTo>
                      <a:pt x="279404" y="192734"/>
                    </a:moveTo>
                    <a:lnTo>
                      <a:pt x="278193" y="193341"/>
                    </a:lnTo>
                    <a:lnTo>
                      <a:pt x="277132" y="195310"/>
                    </a:lnTo>
                    <a:lnTo>
                      <a:pt x="279254" y="196522"/>
                    </a:lnTo>
                    <a:lnTo>
                      <a:pt x="279404" y="197280"/>
                    </a:lnTo>
                    <a:lnTo>
                      <a:pt x="279254" y="198492"/>
                    </a:lnTo>
                    <a:lnTo>
                      <a:pt x="278344" y="200917"/>
                    </a:lnTo>
                    <a:lnTo>
                      <a:pt x="280465" y="203038"/>
                    </a:lnTo>
                    <a:lnTo>
                      <a:pt x="280011" y="201068"/>
                    </a:lnTo>
                    <a:lnTo>
                      <a:pt x="280920" y="196522"/>
                    </a:lnTo>
                    <a:lnTo>
                      <a:pt x="280313" y="195310"/>
                    </a:lnTo>
                    <a:lnTo>
                      <a:pt x="280313" y="192431"/>
                    </a:lnTo>
                    <a:lnTo>
                      <a:pt x="279404" y="192734"/>
                    </a:lnTo>
                    <a:close/>
                    <a:moveTo>
                      <a:pt x="271374" y="251221"/>
                    </a:moveTo>
                    <a:lnTo>
                      <a:pt x="271071" y="252585"/>
                    </a:lnTo>
                    <a:lnTo>
                      <a:pt x="271526" y="253040"/>
                    </a:lnTo>
                    <a:lnTo>
                      <a:pt x="273798" y="253646"/>
                    </a:lnTo>
                    <a:lnTo>
                      <a:pt x="274253" y="251524"/>
                    </a:lnTo>
                    <a:lnTo>
                      <a:pt x="273496" y="251221"/>
                    </a:lnTo>
                    <a:lnTo>
                      <a:pt x="271374" y="251221"/>
                    </a:lnTo>
                    <a:close/>
                    <a:moveTo>
                      <a:pt x="282283" y="234403"/>
                    </a:moveTo>
                    <a:lnTo>
                      <a:pt x="280313" y="236524"/>
                    </a:lnTo>
                    <a:lnTo>
                      <a:pt x="279102" y="236524"/>
                    </a:lnTo>
                    <a:lnTo>
                      <a:pt x="278041" y="235463"/>
                    </a:lnTo>
                    <a:lnTo>
                      <a:pt x="278193" y="234251"/>
                    </a:lnTo>
                    <a:lnTo>
                      <a:pt x="273041" y="230463"/>
                    </a:lnTo>
                    <a:lnTo>
                      <a:pt x="271828" y="228645"/>
                    </a:lnTo>
                    <a:lnTo>
                      <a:pt x="270768" y="227887"/>
                    </a:lnTo>
                    <a:lnTo>
                      <a:pt x="271071" y="229705"/>
                    </a:lnTo>
                    <a:lnTo>
                      <a:pt x="273041" y="232433"/>
                    </a:lnTo>
                    <a:lnTo>
                      <a:pt x="273950" y="235009"/>
                    </a:lnTo>
                    <a:lnTo>
                      <a:pt x="275466" y="235918"/>
                    </a:lnTo>
                    <a:lnTo>
                      <a:pt x="275616" y="238494"/>
                    </a:lnTo>
                    <a:lnTo>
                      <a:pt x="281526" y="240312"/>
                    </a:lnTo>
                    <a:lnTo>
                      <a:pt x="283042" y="241221"/>
                    </a:lnTo>
                    <a:lnTo>
                      <a:pt x="284860" y="234706"/>
                    </a:lnTo>
                    <a:lnTo>
                      <a:pt x="283799" y="233797"/>
                    </a:lnTo>
                    <a:lnTo>
                      <a:pt x="282283" y="2344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9" name="Freeform: Shape 3188">
                <a:extLst>
                  <a:ext uri="{FF2B5EF4-FFF2-40B4-BE49-F238E27FC236}">
                    <a16:creationId xmlns:a16="http://schemas.microsoft.com/office/drawing/2014/main" id="{28C56DF4-AD30-43D3-8A00-7568A9564C6F}"/>
                  </a:ext>
                </a:extLst>
              </p:cNvPr>
              <p:cNvSpPr/>
              <p:nvPr/>
            </p:nvSpPr>
            <p:spPr>
              <a:xfrm>
                <a:off x="1631743" y="4801244"/>
                <a:ext cx="416379" cy="336678"/>
              </a:xfrm>
              <a:custGeom>
                <a:avLst/>
                <a:gdLst>
                  <a:gd name="connsiteX0" fmla="*/ 214553 w 416379"/>
                  <a:gd name="connsiteY0" fmla="*/ 215614 h 336678"/>
                  <a:gd name="connsiteX1" fmla="*/ 213493 w 416379"/>
                  <a:gd name="connsiteY1" fmla="*/ 215614 h 336678"/>
                  <a:gd name="connsiteX2" fmla="*/ 216069 w 416379"/>
                  <a:gd name="connsiteY2" fmla="*/ 217281 h 336678"/>
                  <a:gd name="connsiteX3" fmla="*/ 217129 w 416379"/>
                  <a:gd name="connsiteY3" fmla="*/ 217129 h 336678"/>
                  <a:gd name="connsiteX4" fmla="*/ 215917 w 416379"/>
                  <a:gd name="connsiteY4" fmla="*/ 216675 h 336678"/>
                  <a:gd name="connsiteX5" fmla="*/ 214553 w 416379"/>
                  <a:gd name="connsiteY5" fmla="*/ 215614 h 336678"/>
                  <a:gd name="connsiteX6" fmla="*/ 220160 w 416379"/>
                  <a:gd name="connsiteY6" fmla="*/ 216523 h 336678"/>
                  <a:gd name="connsiteX7" fmla="*/ 218796 w 416379"/>
                  <a:gd name="connsiteY7" fmla="*/ 216523 h 336678"/>
                  <a:gd name="connsiteX8" fmla="*/ 217887 w 416379"/>
                  <a:gd name="connsiteY8" fmla="*/ 216826 h 336678"/>
                  <a:gd name="connsiteX9" fmla="*/ 220463 w 416379"/>
                  <a:gd name="connsiteY9" fmla="*/ 217281 h 336678"/>
                  <a:gd name="connsiteX10" fmla="*/ 222432 w 416379"/>
                  <a:gd name="connsiteY10" fmla="*/ 218190 h 336678"/>
                  <a:gd name="connsiteX11" fmla="*/ 220917 w 416379"/>
                  <a:gd name="connsiteY11" fmla="*/ 216826 h 336678"/>
                  <a:gd name="connsiteX12" fmla="*/ 220160 w 416379"/>
                  <a:gd name="connsiteY12" fmla="*/ 216523 h 336678"/>
                  <a:gd name="connsiteX13" fmla="*/ 290465 w 416379"/>
                  <a:gd name="connsiteY13" fmla="*/ 258797 h 336678"/>
                  <a:gd name="connsiteX14" fmla="*/ 289556 w 416379"/>
                  <a:gd name="connsiteY14" fmla="*/ 257737 h 336678"/>
                  <a:gd name="connsiteX15" fmla="*/ 288192 w 416379"/>
                  <a:gd name="connsiteY15" fmla="*/ 256979 h 336678"/>
                  <a:gd name="connsiteX16" fmla="*/ 288647 w 416379"/>
                  <a:gd name="connsiteY16" fmla="*/ 257737 h 336678"/>
                  <a:gd name="connsiteX17" fmla="*/ 290314 w 416379"/>
                  <a:gd name="connsiteY17" fmla="*/ 259555 h 336678"/>
                  <a:gd name="connsiteX18" fmla="*/ 291223 w 416379"/>
                  <a:gd name="connsiteY18" fmla="*/ 260919 h 336678"/>
                  <a:gd name="connsiteX19" fmla="*/ 292284 w 416379"/>
                  <a:gd name="connsiteY19" fmla="*/ 261373 h 336678"/>
                  <a:gd name="connsiteX20" fmla="*/ 292132 w 416379"/>
                  <a:gd name="connsiteY20" fmla="*/ 260616 h 336678"/>
                  <a:gd name="connsiteX21" fmla="*/ 290465 w 416379"/>
                  <a:gd name="connsiteY21" fmla="*/ 258797 h 336678"/>
                  <a:gd name="connsiteX22" fmla="*/ 173794 w 416379"/>
                  <a:gd name="connsiteY22" fmla="*/ 192734 h 336678"/>
                  <a:gd name="connsiteX23" fmla="*/ 174400 w 416379"/>
                  <a:gd name="connsiteY23" fmla="*/ 193643 h 336678"/>
                  <a:gd name="connsiteX24" fmla="*/ 176067 w 416379"/>
                  <a:gd name="connsiteY24" fmla="*/ 195613 h 336678"/>
                  <a:gd name="connsiteX25" fmla="*/ 176522 w 416379"/>
                  <a:gd name="connsiteY25" fmla="*/ 196825 h 336678"/>
                  <a:gd name="connsiteX26" fmla="*/ 176673 w 416379"/>
                  <a:gd name="connsiteY26" fmla="*/ 195613 h 336678"/>
                  <a:gd name="connsiteX27" fmla="*/ 174400 w 416379"/>
                  <a:gd name="connsiteY27" fmla="*/ 193037 h 336678"/>
                  <a:gd name="connsiteX28" fmla="*/ 173794 w 416379"/>
                  <a:gd name="connsiteY28" fmla="*/ 192734 h 336678"/>
                  <a:gd name="connsiteX29" fmla="*/ 245767 w 416379"/>
                  <a:gd name="connsiteY29" fmla="*/ 202432 h 336678"/>
                  <a:gd name="connsiteX30" fmla="*/ 246221 w 416379"/>
                  <a:gd name="connsiteY30" fmla="*/ 202129 h 336678"/>
                  <a:gd name="connsiteX31" fmla="*/ 247130 w 416379"/>
                  <a:gd name="connsiteY31" fmla="*/ 200007 h 336678"/>
                  <a:gd name="connsiteX32" fmla="*/ 246373 w 416379"/>
                  <a:gd name="connsiteY32" fmla="*/ 200310 h 336678"/>
                  <a:gd name="connsiteX33" fmla="*/ 245767 w 416379"/>
                  <a:gd name="connsiteY33" fmla="*/ 202432 h 336678"/>
                  <a:gd name="connsiteX34" fmla="*/ 293496 w 416379"/>
                  <a:gd name="connsiteY34" fmla="*/ 264858 h 336678"/>
                  <a:gd name="connsiteX35" fmla="*/ 293799 w 416379"/>
                  <a:gd name="connsiteY35" fmla="*/ 265616 h 336678"/>
                  <a:gd name="connsiteX36" fmla="*/ 295920 w 416379"/>
                  <a:gd name="connsiteY36" fmla="*/ 266676 h 336678"/>
                  <a:gd name="connsiteX37" fmla="*/ 296526 w 416379"/>
                  <a:gd name="connsiteY37" fmla="*/ 267131 h 336678"/>
                  <a:gd name="connsiteX38" fmla="*/ 296223 w 416379"/>
                  <a:gd name="connsiteY38" fmla="*/ 266071 h 336678"/>
                  <a:gd name="connsiteX39" fmla="*/ 293496 w 416379"/>
                  <a:gd name="connsiteY39" fmla="*/ 264858 h 336678"/>
                  <a:gd name="connsiteX40" fmla="*/ 1212 w 416379"/>
                  <a:gd name="connsiteY40" fmla="*/ 220160 h 336678"/>
                  <a:gd name="connsiteX41" fmla="*/ 909 w 416379"/>
                  <a:gd name="connsiteY41" fmla="*/ 220766 h 336678"/>
                  <a:gd name="connsiteX42" fmla="*/ 606 w 416379"/>
                  <a:gd name="connsiteY42" fmla="*/ 223645 h 336678"/>
                  <a:gd name="connsiteX43" fmla="*/ 1667 w 416379"/>
                  <a:gd name="connsiteY43" fmla="*/ 224099 h 336678"/>
                  <a:gd name="connsiteX44" fmla="*/ 2727 w 416379"/>
                  <a:gd name="connsiteY44" fmla="*/ 224099 h 336678"/>
                  <a:gd name="connsiteX45" fmla="*/ 3940 w 416379"/>
                  <a:gd name="connsiteY45" fmla="*/ 223796 h 336678"/>
                  <a:gd name="connsiteX46" fmla="*/ 2727 w 416379"/>
                  <a:gd name="connsiteY46" fmla="*/ 221220 h 336678"/>
                  <a:gd name="connsiteX47" fmla="*/ 1212 w 416379"/>
                  <a:gd name="connsiteY47" fmla="*/ 220160 h 336678"/>
                  <a:gd name="connsiteX48" fmla="*/ 1212 w 416379"/>
                  <a:gd name="connsiteY48" fmla="*/ 217735 h 336678"/>
                  <a:gd name="connsiteX49" fmla="*/ 1970 w 416379"/>
                  <a:gd name="connsiteY49" fmla="*/ 216826 h 336678"/>
                  <a:gd name="connsiteX50" fmla="*/ 1515 w 416379"/>
                  <a:gd name="connsiteY50" fmla="*/ 216220 h 336678"/>
                  <a:gd name="connsiteX51" fmla="*/ 151 w 416379"/>
                  <a:gd name="connsiteY51" fmla="*/ 215462 h 336678"/>
                  <a:gd name="connsiteX52" fmla="*/ 0 w 416379"/>
                  <a:gd name="connsiteY52" fmla="*/ 216675 h 336678"/>
                  <a:gd name="connsiteX53" fmla="*/ 151 w 416379"/>
                  <a:gd name="connsiteY53" fmla="*/ 217432 h 336678"/>
                  <a:gd name="connsiteX54" fmla="*/ 606 w 416379"/>
                  <a:gd name="connsiteY54" fmla="*/ 217887 h 336678"/>
                  <a:gd name="connsiteX55" fmla="*/ 1212 w 416379"/>
                  <a:gd name="connsiteY55" fmla="*/ 217735 h 336678"/>
                  <a:gd name="connsiteX56" fmla="*/ 163945 w 416379"/>
                  <a:gd name="connsiteY56" fmla="*/ 207129 h 336678"/>
                  <a:gd name="connsiteX57" fmla="*/ 163188 w 416379"/>
                  <a:gd name="connsiteY57" fmla="*/ 205614 h 336678"/>
                  <a:gd name="connsiteX58" fmla="*/ 162279 w 416379"/>
                  <a:gd name="connsiteY58" fmla="*/ 203796 h 336678"/>
                  <a:gd name="connsiteX59" fmla="*/ 161218 w 416379"/>
                  <a:gd name="connsiteY59" fmla="*/ 201523 h 336678"/>
                  <a:gd name="connsiteX60" fmla="*/ 161218 w 416379"/>
                  <a:gd name="connsiteY60" fmla="*/ 203038 h 336678"/>
                  <a:gd name="connsiteX61" fmla="*/ 161370 w 416379"/>
                  <a:gd name="connsiteY61" fmla="*/ 203947 h 336678"/>
                  <a:gd name="connsiteX62" fmla="*/ 162279 w 416379"/>
                  <a:gd name="connsiteY62" fmla="*/ 205007 h 336678"/>
                  <a:gd name="connsiteX63" fmla="*/ 162885 w 416379"/>
                  <a:gd name="connsiteY63" fmla="*/ 206371 h 336678"/>
                  <a:gd name="connsiteX64" fmla="*/ 163188 w 416379"/>
                  <a:gd name="connsiteY64" fmla="*/ 207584 h 336678"/>
                  <a:gd name="connsiteX65" fmla="*/ 164248 w 416379"/>
                  <a:gd name="connsiteY65" fmla="*/ 208947 h 336678"/>
                  <a:gd name="connsiteX66" fmla="*/ 164855 w 416379"/>
                  <a:gd name="connsiteY66" fmla="*/ 208947 h 336678"/>
                  <a:gd name="connsiteX67" fmla="*/ 164703 w 416379"/>
                  <a:gd name="connsiteY67" fmla="*/ 208493 h 336678"/>
                  <a:gd name="connsiteX68" fmla="*/ 163945 w 416379"/>
                  <a:gd name="connsiteY68" fmla="*/ 207129 h 336678"/>
                  <a:gd name="connsiteX69" fmla="*/ 59851 w 416379"/>
                  <a:gd name="connsiteY69" fmla="*/ 246676 h 336678"/>
                  <a:gd name="connsiteX70" fmla="*/ 59548 w 416379"/>
                  <a:gd name="connsiteY70" fmla="*/ 243797 h 336678"/>
                  <a:gd name="connsiteX71" fmla="*/ 58184 w 416379"/>
                  <a:gd name="connsiteY71" fmla="*/ 241979 h 336678"/>
                  <a:gd name="connsiteX72" fmla="*/ 54699 w 416379"/>
                  <a:gd name="connsiteY72" fmla="*/ 241221 h 336678"/>
                  <a:gd name="connsiteX73" fmla="*/ 51820 w 416379"/>
                  <a:gd name="connsiteY73" fmla="*/ 242282 h 336678"/>
                  <a:gd name="connsiteX74" fmla="*/ 51214 w 416379"/>
                  <a:gd name="connsiteY74" fmla="*/ 243191 h 336678"/>
                  <a:gd name="connsiteX75" fmla="*/ 51214 w 416379"/>
                  <a:gd name="connsiteY75" fmla="*/ 244706 h 336678"/>
                  <a:gd name="connsiteX76" fmla="*/ 52729 w 416379"/>
                  <a:gd name="connsiteY76" fmla="*/ 248040 h 336678"/>
                  <a:gd name="connsiteX77" fmla="*/ 55457 w 416379"/>
                  <a:gd name="connsiteY77" fmla="*/ 248494 h 336678"/>
                  <a:gd name="connsiteX78" fmla="*/ 59245 w 416379"/>
                  <a:gd name="connsiteY78" fmla="*/ 247888 h 336678"/>
                  <a:gd name="connsiteX79" fmla="*/ 60608 w 416379"/>
                  <a:gd name="connsiteY79" fmla="*/ 250464 h 336678"/>
                  <a:gd name="connsiteX80" fmla="*/ 61517 w 416379"/>
                  <a:gd name="connsiteY80" fmla="*/ 251221 h 336678"/>
                  <a:gd name="connsiteX81" fmla="*/ 63487 w 416379"/>
                  <a:gd name="connsiteY81" fmla="*/ 251524 h 336678"/>
                  <a:gd name="connsiteX82" fmla="*/ 64396 w 416379"/>
                  <a:gd name="connsiteY82" fmla="*/ 250161 h 336678"/>
                  <a:gd name="connsiteX83" fmla="*/ 63639 w 416379"/>
                  <a:gd name="connsiteY83" fmla="*/ 248040 h 336678"/>
                  <a:gd name="connsiteX84" fmla="*/ 59851 w 416379"/>
                  <a:gd name="connsiteY84" fmla="*/ 246676 h 336678"/>
                  <a:gd name="connsiteX85" fmla="*/ 43941 w 416379"/>
                  <a:gd name="connsiteY85" fmla="*/ 240463 h 336678"/>
                  <a:gd name="connsiteX86" fmla="*/ 43638 w 416379"/>
                  <a:gd name="connsiteY86" fmla="*/ 241373 h 336678"/>
                  <a:gd name="connsiteX87" fmla="*/ 43789 w 416379"/>
                  <a:gd name="connsiteY87" fmla="*/ 242130 h 336678"/>
                  <a:gd name="connsiteX88" fmla="*/ 44244 w 416379"/>
                  <a:gd name="connsiteY88" fmla="*/ 242888 h 336678"/>
                  <a:gd name="connsiteX89" fmla="*/ 45456 w 416379"/>
                  <a:gd name="connsiteY89" fmla="*/ 243342 h 336678"/>
                  <a:gd name="connsiteX90" fmla="*/ 46365 w 416379"/>
                  <a:gd name="connsiteY90" fmla="*/ 242585 h 336678"/>
                  <a:gd name="connsiteX91" fmla="*/ 47274 w 416379"/>
                  <a:gd name="connsiteY91" fmla="*/ 240918 h 336678"/>
                  <a:gd name="connsiteX92" fmla="*/ 46517 w 416379"/>
                  <a:gd name="connsiteY92" fmla="*/ 240463 h 336678"/>
                  <a:gd name="connsiteX93" fmla="*/ 43941 w 416379"/>
                  <a:gd name="connsiteY93" fmla="*/ 240463 h 336678"/>
                  <a:gd name="connsiteX94" fmla="*/ 350771 w 416379"/>
                  <a:gd name="connsiteY94" fmla="*/ 45153 h 336678"/>
                  <a:gd name="connsiteX95" fmla="*/ 350771 w 416379"/>
                  <a:gd name="connsiteY95" fmla="*/ 48032 h 336678"/>
                  <a:gd name="connsiteX96" fmla="*/ 351831 w 416379"/>
                  <a:gd name="connsiteY96" fmla="*/ 47577 h 336678"/>
                  <a:gd name="connsiteX97" fmla="*/ 352286 w 416379"/>
                  <a:gd name="connsiteY97" fmla="*/ 46972 h 336678"/>
                  <a:gd name="connsiteX98" fmla="*/ 352437 w 416379"/>
                  <a:gd name="connsiteY98" fmla="*/ 46214 h 336678"/>
                  <a:gd name="connsiteX99" fmla="*/ 351983 w 416379"/>
                  <a:gd name="connsiteY99" fmla="*/ 45759 h 336678"/>
                  <a:gd name="connsiteX100" fmla="*/ 350771 w 416379"/>
                  <a:gd name="connsiteY100" fmla="*/ 45153 h 336678"/>
                  <a:gd name="connsiteX101" fmla="*/ 354710 w 416379"/>
                  <a:gd name="connsiteY101" fmla="*/ 333649 h 336678"/>
                  <a:gd name="connsiteX102" fmla="*/ 354104 w 416379"/>
                  <a:gd name="connsiteY102" fmla="*/ 334103 h 336678"/>
                  <a:gd name="connsiteX103" fmla="*/ 354710 w 416379"/>
                  <a:gd name="connsiteY103" fmla="*/ 334406 h 336678"/>
                  <a:gd name="connsiteX104" fmla="*/ 355316 w 416379"/>
                  <a:gd name="connsiteY104" fmla="*/ 335922 h 336678"/>
                  <a:gd name="connsiteX105" fmla="*/ 355013 w 416379"/>
                  <a:gd name="connsiteY105" fmla="*/ 336679 h 336678"/>
                  <a:gd name="connsiteX106" fmla="*/ 355771 w 416379"/>
                  <a:gd name="connsiteY106" fmla="*/ 336224 h 336678"/>
                  <a:gd name="connsiteX107" fmla="*/ 355619 w 416379"/>
                  <a:gd name="connsiteY107" fmla="*/ 334861 h 336678"/>
                  <a:gd name="connsiteX108" fmla="*/ 354710 w 416379"/>
                  <a:gd name="connsiteY108" fmla="*/ 333649 h 336678"/>
                  <a:gd name="connsiteX109" fmla="*/ 341679 w 416379"/>
                  <a:gd name="connsiteY109" fmla="*/ 25152 h 336678"/>
                  <a:gd name="connsiteX110" fmla="*/ 337740 w 416379"/>
                  <a:gd name="connsiteY110" fmla="*/ 27274 h 336678"/>
                  <a:gd name="connsiteX111" fmla="*/ 338649 w 416379"/>
                  <a:gd name="connsiteY111" fmla="*/ 28941 h 336678"/>
                  <a:gd name="connsiteX112" fmla="*/ 340316 w 416379"/>
                  <a:gd name="connsiteY112" fmla="*/ 29395 h 336678"/>
                  <a:gd name="connsiteX113" fmla="*/ 341679 w 416379"/>
                  <a:gd name="connsiteY113" fmla="*/ 28637 h 336678"/>
                  <a:gd name="connsiteX114" fmla="*/ 345770 w 416379"/>
                  <a:gd name="connsiteY114" fmla="*/ 27880 h 336678"/>
                  <a:gd name="connsiteX115" fmla="*/ 347134 w 416379"/>
                  <a:gd name="connsiteY115" fmla="*/ 26516 h 336678"/>
                  <a:gd name="connsiteX116" fmla="*/ 345770 w 416379"/>
                  <a:gd name="connsiteY116" fmla="*/ 26668 h 336678"/>
                  <a:gd name="connsiteX117" fmla="*/ 341679 w 416379"/>
                  <a:gd name="connsiteY117" fmla="*/ 25152 h 336678"/>
                  <a:gd name="connsiteX118" fmla="*/ 396227 w 416379"/>
                  <a:gd name="connsiteY118" fmla="*/ 263040 h 336678"/>
                  <a:gd name="connsiteX119" fmla="*/ 395166 w 416379"/>
                  <a:gd name="connsiteY119" fmla="*/ 262888 h 336678"/>
                  <a:gd name="connsiteX120" fmla="*/ 397742 w 416379"/>
                  <a:gd name="connsiteY120" fmla="*/ 265616 h 336678"/>
                  <a:gd name="connsiteX121" fmla="*/ 397742 w 416379"/>
                  <a:gd name="connsiteY121" fmla="*/ 265010 h 336678"/>
                  <a:gd name="connsiteX122" fmla="*/ 396227 w 416379"/>
                  <a:gd name="connsiteY122" fmla="*/ 263040 h 336678"/>
                  <a:gd name="connsiteX123" fmla="*/ 415470 w 416379"/>
                  <a:gd name="connsiteY123" fmla="*/ 270010 h 336678"/>
                  <a:gd name="connsiteX124" fmla="*/ 413955 w 416379"/>
                  <a:gd name="connsiteY124" fmla="*/ 269404 h 336678"/>
                  <a:gd name="connsiteX125" fmla="*/ 412743 w 416379"/>
                  <a:gd name="connsiteY125" fmla="*/ 268798 h 336678"/>
                  <a:gd name="connsiteX126" fmla="*/ 411833 w 416379"/>
                  <a:gd name="connsiteY126" fmla="*/ 268495 h 336678"/>
                  <a:gd name="connsiteX127" fmla="*/ 411227 w 416379"/>
                  <a:gd name="connsiteY127" fmla="*/ 268646 h 336678"/>
                  <a:gd name="connsiteX128" fmla="*/ 411682 w 416379"/>
                  <a:gd name="connsiteY128" fmla="*/ 269101 h 336678"/>
                  <a:gd name="connsiteX129" fmla="*/ 412440 w 416379"/>
                  <a:gd name="connsiteY129" fmla="*/ 269252 h 336678"/>
                  <a:gd name="connsiteX130" fmla="*/ 413955 w 416379"/>
                  <a:gd name="connsiteY130" fmla="*/ 270010 h 336678"/>
                  <a:gd name="connsiteX131" fmla="*/ 415015 w 416379"/>
                  <a:gd name="connsiteY131" fmla="*/ 270616 h 336678"/>
                  <a:gd name="connsiteX132" fmla="*/ 415773 w 416379"/>
                  <a:gd name="connsiteY132" fmla="*/ 270919 h 336678"/>
                  <a:gd name="connsiteX133" fmla="*/ 415773 w 416379"/>
                  <a:gd name="connsiteY133" fmla="*/ 271525 h 336678"/>
                  <a:gd name="connsiteX134" fmla="*/ 416379 w 416379"/>
                  <a:gd name="connsiteY134" fmla="*/ 270919 h 336678"/>
                  <a:gd name="connsiteX135" fmla="*/ 415470 w 416379"/>
                  <a:gd name="connsiteY135" fmla="*/ 270010 h 336678"/>
                  <a:gd name="connsiteX136" fmla="*/ 310921 w 416379"/>
                  <a:gd name="connsiteY136" fmla="*/ 15910 h 336678"/>
                  <a:gd name="connsiteX137" fmla="*/ 311072 w 416379"/>
                  <a:gd name="connsiteY137" fmla="*/ 16667 h 336678"/>
                  <a:gd name="connsiteX138" fmla="*/ 312133 w 416379"/>
                  <a:gd name="connsiteY138" fmla="*/ 18334 h 336678"/>
                  <a:gd name="connsiteX139" fmla="*/ 312739 w 416379"/>
                  <a:gd name="connsiteY139" fmla="*/ 17880 h 336678"/>
                  <a:gd name="connsiteX140" fmla="*/ 313951 w 416379"/>
                  <a:gd name="connsiteY140" fmla="*/ 15607 h 336678"/>
                  <a:gd name="connsiteX141" fmla="*/ 312890 w 416379"/>
                  <a:gd name="connsiteY141" fmla="*/ 15152 h 336678"/>
                  <a:gd name="connsiteX142" fmla="*/ 310921 w 416379"/>
                  <a:gd name="connsiteY142" fmla="*/ 15910 h 336678"/>
                  <a:gd name="connsiteX143" fmla="*/ 339407 w 416379"/>
                  <a:gd name="connsiteY143" fmla="*/ 31213 h 336678"/>
                  <a:gd name="connsiteX144" fmla="*/ 338649 w 416379"/>
                  <a:gd name="connsiteY144" fmla="*/ 31516 h 336678"/>
                  <a:gd name="connsiteX145" fmla="*/ 338649 w 416379"/>
                  <a:gd name="connsiteY145" fmla="*/ 33789 h 336678"/>
                  <a:gd name="connsiteX146" fmla="*/ 340619 w 416379"/>
                  <a:gd name="connsiteY146" fmla="*/ 31668 h 336678"/>
                  <a:gd name="connsiteX147" fmla="*/ 340013 w 416379"/>
                  <a:gd name="connsiteY147" fmla="*/ 31213 h 336678"/>
                  <a:gd name="connsiteX148" fmla="*/ 339407 w 416379"/>
                  <a:gd name="connsiteY148" fmla="*/ 31213 h 336678"/>
                  <a:gd name="connsiteX149" fmla="*/ 313648 w 416379"/>
                  <a:gd name="connsiteY149" fmla="*/ 2576 h 336678"/>
                  <a:gd name="connsiteX150" fmla="*/ 313648 w 416379"/>
                  <a:gd name="connsiteY150" fmla="*/ 1667 h 336678"/>
                  <a:gd name="connsiteX151" fmla="*/ 313193 w 416379"/>
                  <a:gd name="connsiteY151" fmla="*/ 606 h 336678"/>
                  <a:gd name="connsiteX152" fmla="*/ 308648 w 416379"/>
                  <a:gd name="connsiteY152" fmla="*/ 0 h 336678"/>
                  <a:gd name="connsiteX153" fmla="*/ 308193 w 416379"/>
                  <a:gd name="connsiteY153" fmla="*/ 455 h 336678"/>
                  <a:gd name="connsiteX154" fmla="*/ 307890 w 416379"/>
                  <a:gd name="connsiteY154" fmla="*/ 1818 h 336678"/>
                  <a:gd name="connsiteX155" fmla="*/ 308799 w 416379"/>
                  <a:gd name="connsiteY155" fmla="*/ 4091 h 336678"/>
                  <a:gd name="connsiteX156" fmla="*/ 310012 w 416379"/>
                  <a:gd name="connsiteY156" fmla="*/ 4243 h 336678"/>
                  <a:gd name="connsiteX157" fmla="*/ 312739 w 416379"/>
                  <a:gd name="connsiteY157" fmla="*/ 3637 h 336678"/>
                  <a:gd name="connsiteX158" fmla="*/ 313648 w 416379"/>
                  <a:gd name="connsiteY158" fmla="*/ 2576 h 336678"/>
                  <a:gd name="connsiteX159" fmla="*/ 296223 w 416379"/>
                  <a:gd name="connsiteY159" fmla="*/ 246524 h 336678"/>
                  <a:gd name="connsiteX160" fmla="*/ 294102 w 416379"/>
                  <a:gd name="connsiteY160" fmla="*/ 247433 h 336678"/>
                  <a:gd name="connsiteX161" fmla="*/ 292890 w 416379"/>
                  <a:gd name="connsiteY161" fmla="*/ 248342 h 336678"/>
                  <a:gd name="connsiteX162" fmla="*/ 292284 w 416379"/>
                  <a:gd name="connsiteY162" fmla="*/ 249403 h 336678"/>
                  <a:gd name="connsiteX163" fmla="*/ 291526 w 416379"/>
                  <a:gd name="connsiteY163" fmla="*/ 250615 h 336678"/>
                  <a:gd name="connsiteX164" fmla="*/ 291526 w 416379"/>
                  <a:gd name="connsiteY164" fmla="*/ 251676 h 336678"/>
                  <a:gd name="connsiteX165" fmla="*/ 291829 w 416379"/>
                  <a:gd name="connsiteY165" fmla="*/ 251828 h 336678"/>
                  <a:gd name="connsiteX166" fmla="*/ 292890 w 416379"/>
                  <a:gd name="connsiteY166" fmla="*/ 251828 h 336678"/>
                  <a:gd name="connsiteX167" fmla="*/ 292738 w 416379"/>
                  <a:gd name="connsiteY167" fmla="*/ 251221 h 336678"/>
                  <a:gd name="connsiteX168" fmla="*/ 292132 w 416379"/>
                  <a:gd name="connsiteY168" fmla="*/ 251070 h 336678"/>
                  <a:gd name="connsiteX169" fmla="*/ 291981 w 416379"/>
                  <a:gd name="connsiteY169" fmla="*/ 250767 h 336678"/>
                  <a:gd name="connsiteX170" fmla="*/ 292435 w 416379"/>
                  <a:gd name="connsiteY170" fmla="*/ 249858 h 336678"/>
                  <a:gd name="connsiteX171" fmla="*/ 293496 w 416379"/>
                  <a:gd name="connsiteY171" fmla="*/ 248494 h 336678"/>
                  <a:gd name="connsiteX172" fmla="*/ 296829 w 416379"/>
                  <a:gd name="connsiteY172" fmla="*/ 246524 h 336678"/>
                  <a:gd name="connsiteX173" fmla="*/ 297132 w 416379"/>
                  <a:gd name="connsiteY173" fmla="*/ 246373 h 336678"/>
                  <a:gd name="connsiteX174" fmla="*/ 296829 w 416379"/>
                  <a:gd name="connsiteY174" fmla="*/ 246070 h 336678"/>
                  <a:gd name="connsiteX175" fmla="*/ 296223 w 416379"/>
                  <a:gd name="connsiteY175" fmla="*/ 246524 h 336678"/>
                  <a:gd name="connsiteX176" fmla="*/ 326376 w 416379"/>
                  <a:gd name="connsiteY176" fmla="*/ 2273 h 336678"/>
                  <a:gd name="connsiteX177" fmla="*/ 325618 w 416379"/>
                  <a:gd name="connsiteY177" fmla="*/ 2576 h 336678"/>
                  <a:gd name="connsiteX178" fmla="*/ 325012 w 416379"/>
                  <a:gd name="connsiteY178" fmla="*/ 3333 h 336678"/>
                  <a:gd name="connsiteX179" fmla="*/ 325315 w 416379"/>
                  <a:gd name="connsiteY179" fmla="*/ 4697 h 336678"/>
                  <a:gd name="connsiteX180" fmla="*/ 327133 w 416379"/>
                  <a:gd name="connsiteY180" fmla="*/ 4546 h 336678"/>
                  <a:gd name="connsiteX181" fmla="*/ 328346 w 416379"/>
                  <a:gd name="connsiteY181" fmla="*/ 3940 h 336678"/>
                  <a:gd name="connsiteX182" fmla="*/ 328346 w 416379"/>
                  <a:gd name="connsiteY182" fmla="*/ 3485 h 336678"/>
                  <a:gd name="connsiteX183" fmla="*/ 327739 w 416379"/>
                  <a:gd name="connsiteY183" fmla="*/ 2727 h 336678"/>
                  <a:gd name="connsiteX184" fmla="*/ 326376 w 416379"/>
                  <a:gd name="connsiteY184" fmla="*/ 2273 h 33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416379" h="336678">
                    <a:moveTo>
                      <a:pt x="214553" y="215614"/>
                    </a:moveTo>
                    <a:lnTo>
                      <a:pt x="213493" y="215614"/>
                    </a:lnTo>
                    <a:lnTo>
                      <a:pt x="216069" y="217281"/>
                    </a:lnTo>
                    <a:lnTo>
                      <a:pt x="217129" y="217129"/>
                    </a:lnTo>
                    <a:lnTo>
                      <a:pt x="215917" y="216675"/>
                    </a:lnTo>
                    <a:lnTo>
                      <a:pt x="214553" y="215614"/>
                    </a:lnTo>
                    <a:close/>
                    <a:moveTo>
                      <a:pt x="220160" y="216523"/>
                    </a:moveTo>
                    <a:lnTo>
                      <a:pt x="218796" y="216523"/>
                    </a:lnTo>
                    <a:lnTo>
                      <a:pt x="217887" y="216826"/>
                    </a:lnTo>
                    <a:lnTo>
                      <a:pt x="220463" y="217281"/>
                    </a:lnTo>
                    <a:lnTo>
                      <a:pt x="222432" y="218190"/>
                    </a:lnTo>
                    <a:lnTo>
                      <a:pt x="220917" y="216826"/>
                    </a:lnTo>
                    <a:lnTo>
                      <a:pt x="220160" y="216523"/>
                    </a:lnTo>
                    <a:close/>
                    <a:moveTo>
                      <a:pt x="290465" y="258797"/>
                    </a:moveTo>
                    <a:lnTo>
                      <a:pt x="289556" y="257737"/>
                    </a:lnTo>
                    <a:lnTo>
                      <a:pt x="288192" y="256979"/>
                    </a:lnTo>
                    <a:lnTo>
                      <a:pt x="288647" y="257737"/>
                    </a:lnTo>
                    <a:lnTo>
                      <a:pt x="290314" y="259555"/>
                    </a:lnTo>
                    <a:lnTo>
                      <a:pt x="291223" y="260919"/>
                    </a:lnTo>
                    <a:lnTo>
                      <a:pt x="292284" y="261373"/>
                    </a:lnTo>
                    <a:lnTo>
                      <a:pt x="292132" y="260616"/>
                    </a:lnTo>
                    <a:lnTo>
                      <a:pt x="290465" y="258797"/>
                    </a:lnTo>
                    <a:close/>
                    <a:moveTo>
                      <a:pt x="173794" y="192734"/>
                    </a:moveTo>
                    <a:lnTo>
                      <a:pt x="174400" y="193643"/>
                    </a:lnTo>
                    <a:lnTo>
                      <a:pt x="176067" y="195613"/>
                    </a:lnTo>
                    <a:lnTo>
                      <a:pt x="176522" y="196825"/>
                    </a:lnTo>
                    <a:lnTo>
                      <a:pt x="176673" y="195613"/>
                    </a:lnTo>
                    <a:lnTo>
                      <a:pt x="174400" y="193037"/>
                    </a:lnTo>
                    <a:lnTo>
                      <a:pt x="173794" y="192734"/>
                    </a:lnTo>
                    <a:close/>
                    <a:moveTo>
                      <a:pt x="245767" y="202432"/>
                    </a:moveTo>
                    <a:lnTo>
                      <a:pt x="246221" y="202129"/>
                    </a:lnTo>
                    <a:lnTo>
                      <a:pt x="247130" y="200007"/>
                    </a:lnTo>
                    <a:lnTo>
                      <a:pt x="246373" y="200310"/>
                    </a:lnTo>
                    <a:lnTo>
                      <a:pt x="245767" y="202432"/>
                    </a:lnTo>
                    <a:close/>
                    <a:moveTo>
                      <a:pt x="293496" y="264858"/>
                    </a:moveTo>
                    <a:lnTo>
                      <a:pt x="293799" y="265616"/>
                    </a:lnTo>
                    <a:lnTo>
                      <a:pt x="295920" y="266676"/>
                    </a:lnTo>
                    <a:lnTo>
                      <a:pt x="296526" y="267131"/>
                    </a:lnTo>
                    <a:lnTo>
                      <a:pt x="296223" y="266071"/>
                    </a:lnTo>
                    <a:lnTo>
                      <a:pt x="293496" y="264858"/>
                    </a:lnTo>
                    <a:close/>
                    <a:moveTo>
                      <a:pt x="1212" y="220160"/>
                    </a:moveTo>
                    <a:lnTo>
                      <a:pt x="909" y="220766"/>
                    </a:lnTo>
                    <a:lnTo>
                      <a:pt x="606" y="223645"/>
                    </a:lnTo>
                    <a:lnTo>
                      <a:pt x="1667" y="224099"/>
                    </a:lnTo>
                    <a:lnTo>
                      <a:pt x="2727" y="224099"/>
                    </a:lnTo>
                    <a:lnTo>
                      <a:pt x="3940" y="223796"/>
                    </a:lnTo>
                    <a:lnTo>
                      <a:pt x="2727" y="221220"/>
                    </a:lnTo>
                    <a:lnTo>
                      <a:pt x="1212" y="220160"/>
                    </a:lnTo>
                    <a:close/>
                    <a:moveTo>
                      <a:pt x="1212" y="217735"/>
                    </a:moveTo>
                    <a:lnTo>
                      <a:pt x="1970" y="216826"/>
                    </a:lnTo>
                    <a:lnTo>
                      <a:pt x="1515" y="216220"/>
                    </a:lnTo>
                    <a:lnTo>
                      <a:pt x="151" y="215462"/>
                    </a:lnTo>
                    <a:lnTo>
                      <a:pt x="0" y="216675"/>
                    </a:lnTo>
                    <a:lnTo>
                      <a:pt x="151" y="217432"/>
                    </a:lnTo>
                    <a:lnTo>
                      <a:pt x="606" y="217887"/>
                    </a:lnTo>
                    <a:lnTo>
                      <a:pt x="1212" y="217735"/>
                    </a:lnTo>
                    <a:close/>
                    <a:moveTo>
                      <a:pt x="163945" y="207129"/>
                    </a:moveTo>
                    <a:lnTo>
                      <a:pt x="163188" y="205614"/>
                    </a:lnTo>
                    <a:lnTo>
                      <a:pt x="162279" y="203796"/>
                    </a:lnTo>
                    <a:lnTo>
                      <a:pt x="161218" y="201523"/>
                    </a:lnTo>
                    <a:lnTo>
                      <a:pt x="161218" y="203038"/>
                    </a:lnTo>
                    <a:lnTo>
                      <a:pt x="161370" y="203947"/>
                    </a:lnTo>
                    <a:lnTo>
                      <a:pt x="162279" y="205007"/>
                    </a:lnTo>
                    <a:lnTo>
                      <a:pt x="162885" y="206371"/>
                    </a:lnTo>
                    <a:lnTo>
                      <a:pt x="163188" y="207584"/>
                    </a:lnTo>
                    <a:lnTo>
                      <a:pt x="164248" y="208947"/>
                    </a:lnTo>
                    <a:lnTo>
                      <a:pt x="164855" y="208947"/>
                    </a:lnTo>
                    <a:lnTo>
                      <a:pt x="164703" y="208493"/>
                    </a:lnTo>
                    <a:lnTo>
                      <a:pt x="163945" y="207129"/>
                    </a:lnTo>
                    <a:close/>
                    <a:moveTo>
                      <a:pt x="59851" y="246676"/>
                    </a:moveTo>
                    <a:lnTo>
                      <a:pt x="59548" y="243797"/>
                    </a:lnTo>
                    <a:lnTo>
                      <a:pt x="58184" y="241979"/>
                    </a:lnTo>
                    <a:lnTo>
                      <a:pt x="54699" y="241221"/>
                    </a:lnTo>
                    <a:lnTo>
                      <a:pt x="51820" y="242282"/>
                    </a:lnTo>
                    <a:lnTo>
                      <a:pt x="51214" y="243191"/>
                    </a:lnTo>
                    <a:lnTo>
                      <a:pt x="51214" y="244706"/>
                    </a:lnTo>
                    <a:lnTo>
                      <a:pt x="52729" y="248040"/>
                    </a:lnTo>
                    <a:lnTo>
                      <a:pt x="55457" y="248494"/>
                    </a:lnTo>
                    <a:lnTo>
                      <a:pt x="59245" y="247888"/>
                    </a:lnTo>
                    <a:lnTo>
                      <a:pt x="60608" y="250464"/>
                    </a:lnTo>
                    <a:lnTo>
                      <a:pt x="61517" y="251221"/>
                    </a:lnTo>
                    <a:lnTo>
                      <a:pt x="63487" y="251524"/>
                    </a:lnTo>
                    <a:lnTo>
                      <a:pt x="64396" y="250161"/>
                    </a:lnTo>
                    <a:lnTo>
                      <a:pt x="63639" y="248040"/>
                    </a:lnTo>
                    <a:lnTo>
                      <a:pt x="59851" y="246676"/>
                    </a:lnTo>
                    <a:close/>
                    <a:moveTo>
                      <a:pt x="43941" y="240463"/>
                    </a:moveTo>
                    <a:lnTo>
                      <a:pt x="43638" y="241373"/>
                    </a:lnTo>
                    <a:lnTo>
                      <a:pt x="43789" y="242130"/>
                    </a:lnTo>
                    <a:lnTo>
                      <a:pt x="44244" y="242888"/>
                    </a:lnTo>
                    <a:lnTo>
                      <a:pt x="45456" y="243342"/>
                    </a:lnTo>
                    <a:lnTo>
                      <a:pt x="46365" y="242585"/>
                    </a:lnTo>
                    <a:lnTo>
                      <a:pt x="47274" y="240918"/>
                    </a:lnTo>
                    <a:lnTo>
                      <a:pt x="46517" y="240463"/>
                    </a:lnTo>
                    <a:lnTo>
                      <a:pt x="43941" y="240463"/>
                    </a:lnTo>
                    <a:close/>
                    <a:moveTo>
                      <a:pt x="350771" y="45153"/>
                    </a:moveTo>
                    <a:lnTo>
                      <a:pt x="350771" y="48032"/>
                    </a:lnTo>
                    <a:lnTo>
                      <a:pt x="351831" y="47577"/>
                    </a:lnTo>
                    <a:lnTo>
                      <a:pt x="352286" y="46972"/>
                    </a:lnTo>
                    <a:lnTo>
                      <a:pt x="352437" y="46214"/>
                    </a:lnTo>
                    <a:lnTo>
                      <a:pt x="351983" y="45759"/>
                    </a:lnTo>
                    <a:lnTo>
                      <a:pt x="350771" y="45153"/>
                    </a:lnTo>
                    <a:close/>
                    <a:moveTo>
                      <a:pt x="354710" y="333649"/>
                    </a:moveTo>
                    <a:lnTo>
                      <a:pt x="354104" y="334103"/>
                    </a:lnTo>
                    <a:lnTo>
                      <a:pt x="354710" y="334406"/>
                    </a:lnTo>
                    <a:lnTo>
                      <a:pt x="355316" y="335922"/>
                    </a:lnTo>
                    <a:lnTo>
                      <a:pt x="355013" y="336679"/>
                    </a:lnTo>
                    <a:lnTo>
                      <a:pt x="355771" y="336224"/>
                    </a:lnTo>
                    <a:lnTo>
                      <a:pt x="355619" y="334861"/>
                    </a:lnTo>
                    <a:lnTo>
                      <a:pt x="354710" y="333649"/>
                    </a:lnTo>
                    <a:close/>
                    <a:moveTo>
                      <a:pt x="341679" y="25152"/>
                    </a:moveTo>
                    <a:lnTo>
                      <a:pt x="337740" y="27274"/>
                    </a:lnTo>
                    <a:lnTo>
                      <a:pt x="338649" y="28941"/>
                    </a:lnTo>
                    <a:lnTo>
                      <a:pt x="340316" y="29395"/>
                    </a:lnTo>
                    <a:lnTo>
                      <a:pt x="341679" y="28637"/>
                    </a:lnTo>
                    <a:lnTo>
                      <a:pt x="345770" y="27880"/>
                    </a:lnTo>
                    <a:lnTo>
                      <a:pt x="347134" y="26516"/>
                    </a:lnTo>
                    <a:lnTo>
                      <a:pt x="345770" y="26668"/>
                    </a:lnTo>
                    <a:lnTo>
                      <a:pt x="341679" y="25152"/>
                    </a:lnTo>
                    <a:close/>
                    <a:moveTo>
                      <a:pt x="396227" y="263040"/>
                    </a:moveTo>
                    <a:lnTo>
                      <a:pt x="395166" y="262888"/>
                    </a:lnTo>
                    <a:lnTo>
                      <a:pt x="397742" y="265616"/>
                    </a:lnTo>
                    <a:lnTo>
                      <a:pt x="397742" y="265010"/>
                    </a:lnTo>
                    <a:lnTo>
                      <a:pt x="396227" y="263040"/>
                    </a:lnTo>
                    <a:close/>
                    <a:moveTo>
                      <a:pt x="415470" y="270010"/>
                    </a:moveTo>
                    <a:lnTo>
                      <a:pt x="413955" y="269404"/>
                    </a:lnTo>
                    <a:lnTo>
                      <a:pt x="412743" y="268798"/>
                    </a:lnTo>
                    <a:lnTo>
                      <a:pt x="411833" y="268495"/>
                    </a:lnTo>
                    <a:lnTo>
                      <a:pt x="411227" y="268646"/>
                    </a:lnTo>
                    <a:lnTo>
                      <a:pt x="411682" y="269101"/>
                    </a:lnTo>
                    <a:lnTo>
                      <a:pt x="412440" y="269252"/>
                    </a:lnTo>
                    <a:lnTo>
                      <a:pt x="413955" y="270010"/>
                    </a:lnTo>
                    <a:lnTo>
                      <a:pt x="415015" y="270616"/>
                    </a:lnTo>
                    <a:lnTo>
                      <a:pt x="415773" y="270919"/>
                    </a:lnTo>
                    <a:lnTo>
                      <a:pt x="415773" y="271525"/>
                    </a:lnTo>
                    <a:lnTo>
                      <a:pt x="416379" y="270919"/>
                    </a:lnTo>
                    <a:lnTo>
                      <a:pt x="415470" y="270010"/>
                    </a:lnTo>
                    <a:close/>
                    <a:moveTo>
                      <a:pt x="310921" y="15910"/>
                    </a:moveTo>
                    <a:lnTo>
                      <a:pt x="311072" y="16667"/>
                    </a:lnTo>
                    <a:lnTo>
                      <a:pt x="312133" y="18334"/>
                    </a:lnTo>
                    <a:lnTo>
                      <a:pt x="312739" y="17880"/>
                    </a:lnTo>
                    <a:lnTo>
                      <a:pt x="313951" y="15607"/>
                    </a:lnTo>
                    <a:lnTo>
                      <a:pt x="312890" y="15152"/>
                    </a:lnTo>
                    <a:lnTo>
                      <a:pt x="310921" y="15910"/>
                    </a:lnTo>
                    <a:close/>
                    <a:moveTo>
                      <a:pt x="339407" y="31213"/>
                    </a:moveTo>
                    <a:lnTo>
                      <a:pt x="338649" y="31516"/>
                    </a:lnTo>
                    <a:lnTo>
                      <a:pt x="338649" y="33789"/>
                    </a:lnTo>
                    <a:lnTo>
                      <a:pt x="340619" y="31668"/>
                    </a:lnTo>
                    <a:lnTo>
                      <a:pt x="340013" y="31213"/>
                    </a:lnTo>
                    <a:lnTo>
                      <a:pt x="339407" y="31213"/>
                    </a:lnTo>
                    <a:close/>
                    <a:moveTo>
                      <a:pt x="313648" y="2576"/>
                    </a:moveTo>
                    <a:lnTo>
                      <a:pt x="313648" y="1667"/>
                    </a:lnTo>
                    <a:lnTo>
                      <a:pt x="313193" y="606"/>
                    </a:lnTo>
                    <a:lnTo>
                      <a:pt x="308648" y="0"/>
                    </a:lnTo>
                    <a:lnTo>
                      <a:pt x="308193" y="455"/>
                    </a:lnTo>
                    <a:lnTo>
                      <a:pt x="307890" y="1818"/>
                    </a:lnTo>
                    <a:lnTo>
                      <a:pt x="308799" y="4091"/>
                    </a:lnTo>
                    <a:lnTo>
                      <a:pt x="310012" y="4243"/>
                    </a:lnTo>
                    <a:lnTo>
                      <a:pt x="312739" y="3637"/>
                    </a:lnTo>
                    <a:lnTo>
                      <a:pt x="313648" y="2576"/>
                    </a:lnTo>
                    <a:close/>
                    <a:moveTo>
                      <a:pt x="296223" y="246524"/>
                    </a:moveTo>
                    <a:lnTo>
                      <a:pt x="294102" y="247433"/>
                    </a:lnTo>
                    <a:lnTo>
                      <a:pt x="292890" y="248342"/>
                    </a:lnTo>
                    <a:lnTo>
                      <a:pt x="292284" y="249403"/>
                    </a:lnTo>
                    <a:lnTo>
                      <a:pt x="291526" y="250615"/>
                    </a:lnTo>
                    <a:lnTo>
                      <a:pt x="291526" y="251676"/>
                    </a:lnTo>
                    <a:lnTo>
                      <a:pt x="291829" y="251828"/>
                    </a:lnTo>
                    <a:lnTo>
                      <a:pt x="292890" y="251828"/>
                    </a:lnTo>
                    <a:lnTo>
                      <a:pt x="292738" y="251221"/>
                    </a:lnTo>
                    <a:lnTo>
                      <a:pt x="292132" y="251070"/>
                    </a:lnTo>
                    <a:lnTo>
                      <a:pt x="291981" y="250767"/>
                    </a:lnTo>
                    <a:lnTo>
                      <a:pt x="292435" y="249858"/>
                    </a:lnTo>
                    <a:lnTo>
                      <a:pt x="293496" y="248494"/>
                    </a:lnTo>
                    <a:lnTo>
                      <a:pt x="296829" y="246524"/>
                    </a:lnTo>
                    <a:lnTo>
                      <a:pt x="297132" y="246373"/>
                    </a:lnTo>
                    <a:lnTo>
                      <a:pt x="296829" y="246070"/>
                    </a:lnTo>
                    <a:lnTo>
                      <a:pt x="296223" y="246524"/>
                    </a:lnTo>
                    <a:close/>
                    <a:moveTo>
                      <a:pt x="326376" y="2273"/>
                    </a:moveTo>
                    <a:lnTo>
                      <a:pt x="325618" y="2576"/>
                    </a:lnTo>
                    <a:lnTo>
                      <a:pt x="325012" y="3333"/>
                    </a:lnTo>
                    <a:lnTo>
                      <a:pt x="325315" y="4697"/>
                    </a:lnTo>
                    <a:lnTo>
                      <a:pt x="327133" y="4546"/>
                    </a:lnTo>
                    <a:lnTo>
                      <a:pt x="328346" y="3940"/>
                    </a:lnTo>
                    <a:lnTo>
                      <a:pt x="328346" y="3485"/>
                    </a:lnTo>
                    <a:lnTo>
                      <a:pt x="327739" y="2727"/>
                    </a:lnTo>
                    <a:lnTo>
                      <a:pt x="326376"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0" name="Freeform: Shape 3189">
                <a:extLst>
                  <a:ext uri="{FF2B5EF4-FFF2-40B4-BE49-F238E27FC236}">
                    <a16:creationId xmlns:a16="http://schemas.microsoft.com/office/drawing/2014/main" id="{8B09E549-A2AE-467C-BBC8-A11813B42DD5}"/>
                  </a:ext>
                </a:extLst>
              </p:cNvPr>
              <p:cNvSpPr/>
              <p:nvPr/>
            </p:nvSpPr>
            <p:spPr>
              <a:xfrm>
                <a:off x="3551814" y="4563205"/>
                <a:ext cx="346073" cy="503200"/>
              </a:xfrm>
              <a:custGeom>
                <a:avLst/>
                <a:gdLst>
                  <a:gd name="connsiteX0" fmla="*/ 346073 w 346073"/>
                  <a:gd name="connsiteY0" fmla="*/ 340467 h 503200"/>
                  <a:gd name="connsiteX1" fmla="*/ 342437 w 346073"/>
                  <a:gd name="connsiteY1" fmla="*/ 334103 h 503200"/>
                  <a:gd name="connsiteX2" fmla="*/ 339255 w 346073"/>
                  <a:gd name="connsiteY2" fmla="*/ 328345 h 503200"/>
                  <a:gd name="connsiteX3" fmla="*/ 336225 w 346073"/>
                  <a:gd name="connsiteY3" fmla="*/ 323194 h 503200"/>
                  <a:gd name="connsiteX4" fmla="*/ 332740 w 346073"/>
                  <a:gd name="connsiteY4" fmla="*/ 316981 h 503200"/>
                  <a:gd name="connsiteX5" fmla="*/ 330467 w 346073"/>
                  <a:gd name="connsiteY5" fmla="*/ 313042 h 503200"/>
                  <a:gd name="connsiteX6" fmla="*/ 327588 w 346073"/>
                  <a:gd name="connsiteY6" fmla="*/ 308042 h 503200"/>
                  <a:gd name="connsiteX7" fmla="*/ 325012 w 346073"/>
                  <a:gd name="connsiteY7" fmla="*/ 303647 h 503200"/>
                  <a:gd name="connsiteX8" fmla="*/ 321679 w 346073"/>
                  <a:gd name="connsiteY8" fmla="*/ 297738 h 503200"/>
                  <a:gd name="connsiteX9" fmla="*/ 319103 w 346073"/>
                  <a:gd name="connsiteY9" fmla="*/ 297738 h 503200"/>
                  <a:gd name="connsiteX10" fmla="*/ 314557 w 346073"/>
                  <a:gd name="connsiteY10" fmla="*/ 297132 h 503200"/>
                  <a:gd name="connsiteX11" fmla="*/ 311224 w 346073"/>
                  <a:gd name="connsiteY11" fmla="*/ 297132 h 503200"/>
                  <a:gd name="connsiteX12" fmla="*/ 308345 w 346073"/>
                  <a:gd name="connsiteY12" fmla="*/ 298496 h 503200"/>
                  <a:gd name="connsiteX13" fmla="*/ 304102 w 346073"/>
                  <a:gd name="connsiteY13" fmla="*/ 300314 h 503200"/>
                  <a:gd name="connsiteX14" fmla="*/ 302132 w 346073"/>
                  <a:gd name="connsiteY14" fmla="*/ 300768 h 503200"/>
                  <a:gd name="connsiteX15" fmla="*/ 300769 w 346073"/>
                  <a:gd name="connsiteY15" fmla="*/ 300920 h 503200"/>
                  <a:gd name="connsiteX16" fmla="*/ 299405 w 346073"/>
                  <a:gd name="connsiteY16" fmla="*/ 300617 h 503200"/>
                  <a:gd name="connsiteX17" fmla="*/ 297738 w 346073"/>
                  <a:gd name="connsiteY17" fmla="*/ 299708 h 503200"/>
                  <a:gd name="connsiteX18" fmla="*/ 295466 w 346073"/>
                  <a:gd name="connsiteY18" fmla="*/ 297587 h 503200"/>
                  <a:gd name="connsiteX19" fmla="*/ 293799 w 346073"/>
                  <a:gd name="connsiteY19" fmla="*/ 298344 h 503200"/>
                  <a:gd name="connsiteX20" fmla="*/ 292587 w 346073"/>
                  <a:gd name="connsiteY20" fmla="*/ 299253 h 503200"/>
                  <a:gd name="connsiteX21" fmla="*/ 292587 w 346073"/>
                  <a:gd name="connsiteY21" fmla="*/ 294708 h 503200"/>
                  <a:gd name="connsiteX22" fmla="*/ 292587 w 346073"/>
                  <a:gd name="connsiteY22" fmla="*/ 287586 h 503200"/>
                  <a:gd name="connsiteX23" fmla="*/ 292587 w 346073"/>
                  <a:gd name="connsiteY23" fmla="*/ 281525 h 503200"/>
                  <a:gd name="connsiteX24" fmla="*/ 292587 w 346073"/>
                  <a:gd name="connsiteY24" fmla="*/ 276525 h 503200"/>
                  <a:gd name="connsiteX25" fmla="*/ 292738 w 346073"/>
                  <a:gd name="connsiteY25" fmla="*/ 270767 h 503200"/>
                  <a:gd name="connsiteX26" fmla="*/ 292738 w 346073"/>
                  <a:gd name="connsiteY26" fmla="*/ 266676 h 503200"/>
                  <a:gd name="connsiteX27" fmla="*/ 293950 w 346073"/>
                  <a:gd name="connsiteY27" fmla="*/ 265161 h 503200"/>
                  <a:gd name="connsiteX28" fmla="*/ 294556 w 346073"/>
                  <a:gd name="connsiteY28" fmla="*/ 263494 h 503200"/>
                  <a:gd name="connsiteX29" fmla="*/ 293799 w 346073"/>
                  <a:gd name="connsiteY29" fmla="*/ 261070 h 503200"/>
                  <a:gd name="connsiteX30" fmla="*/ 293950 w 346073"/>
                  <a:gd name="connsiteY30" fmla="*/ 259100 h 503200"/>
                  <a:gd name="connsiteX31" fmla="*/ 294556 w 346073"/>
                  <a:gd name="connsiteY31" fmla="*/ 257585 h 503200"/>
                  <a:gd name="connsiteX32" fmla="*/ 295314 w 346073"/>
                  <a:gd name="connsiteY32" fmla="*/ 256070 h 503200"/>
                  <a:gd name="connsiteX33" fmla="*/ 293496 w 346073"/>
                  <a:gd name="connsiteY33" fmla="*/ 256828 h 503200"/>
                  <a:gd name="connsiteX34" fmla="*/ 292738 w 346073"/>
                  <a:gd name="connsiteY34" fmla="*/ 257282 h 503200"/>
                  <a:gd name="connsiteX35" fmla="*/ 291677 w 346073"/>
                  <a:gd name="connsiteY35" fmla="*/ 258343 h 503200"/>
                  <a:gd name="connsiteX36" fmla="*/ 289405 w 346073"/>
                  <a:gd name="connsiteY36" fmla="*/ 259858 h 503200"/>
                  <a:gd name="connsiteX37" fmla="*/ 287738 w 346073"/>
                  <a:gd name="connsiteY37" fmla="*/ 261222 h 503200"/>
                  <a:gd name="connsiteX38" fmla="*/ 285920 w 346073"/>
                  <a:gd name="connsiteY38" fmla="*/ 262434 h 503200"/>
                  <a:gd name="connsiteX39" fmla="*/ 283495 w 346073"/>
                  <a:gd name="connsiteY39" fmla="*/ 265161 h 503200"/>
                  <a:gd name="connsiteX40" fmla="*/ 281677 w 346073"/>
                  <a:gd name="connsiteY40" fmla="*/ 266525 h 503200"/>
                  <a:gd name="connsiteX41" fmla="*/ 279556 w 346073"/>
                  <a:gd name="connsiteY41" fmla="*/ 267434 h 503200"/>
                  <a:gd name="connsiteX42" fmla="*/ 276223 w 346073"/>
                  <a:gd name="connsiteY42" fmla="*/ 270616 h 503200"/>
                  <a:gd name="connsiteX43" fmla="*/ 273495 w 346073"/>
                  <a:gd name="connsiteY43" fmla="*/ 271222 h 503200"/>
                  <a:gd name="connsiteX44" fmla="*/ 266070 w 346073"/>
                  <a:gd name="connsiteY44" fmla="*/ 271676 h 503200"/>
                  <a:gd name="connsiteX45" fmla="*/ 258494 w 346073"/>
                  <a:gd name="connsiteY45" fmla="*/ 271676 h 503200"/>
                  <a:gd name="connsiteX46" fmla="*/ 251525 w 346073"/>
                  <a:gd name="connsiteY46" fmla="*/ 271676 h 503200"/>
                  <a:gd name="connsiteX47" fmla="*/ 250464 w 346073"/>
                  <a:gd name="connsiteY47" fmla="*/ 271676 h 503200"/>
                  <a:gd name="connsiteX48" fmla="*/ 250464 w 346073"/>
                  <a:gd name="connsiteY48" fmla="*/ 269101 h 503200"/>
                  <a:gd name="connsiteX49" fmla="*/ 250615 w 346073"/>
                  <a:gd name="connsiteY49" fmla="*/ 267282 h 503200"/>
                  <a:gd name="connsiteX50" fmla="*/ 248343 w 346073"/>
                  <a:gd name="connsiteY50" fmla="*/ 265313 h 503200"/>
                  <a:gd name="connsiteX51" fmla="*/ 248191 w 346073"/>
                  <a:gd name="connsiteY51" fmla="*/ 263040 h 503200"/>
                  <a:gd name="connsiteX52" fmla="*/ 247433 w 346073"/>
                  <a:gd name="connsiteY52" fmla="*/ 261373 h 503200"/>
                  <a:gd name="connsiteX53" fmla="*/ 246676 w 346073"/>
                  <a:gd name="connsiteY53" fmla="*/ 259403 h 503200"/>
                  <a:gd name="connsiteX54" fmla="*/ 245009 w 346073"/>
                  <a:gd name="connsiteY54" fmla="*/ 258040 h 503200"/>
                  <a:gd name="connsiteX55" fmla="*/ 242736 w 346073"/>
                  <a:gd name="connsiteY55" fmla="*/ 257585 h 503200"/>
                  <a:gd name="connsiteX56" fmla="*/ 238797 w 346073"/>
                  <a:gd name="connsiteY56" fmla="*/ 256524 h 503200"/>
                  <a:gd name="connsiteX57" fmla="*/ 233190 w 346073"/>
                  <a:gd name="connsiteY57" fmla="*/ 255312 h 503200"/>
                  <a:gd name="connsiteX58" fmla="*/ 227736 w 346073"/>
                  <a:gd name="connsiteY58" fmla="*/ 255312 h 503200"/>
                  <a:gd name="connsiteX59" fmla="*/ 222281 w 346073"/>
                  <a:gd name="connsiteY59" fmla="*/ 255464 h 503200"/>
                  <a:gd name="connsiteX60" fmla="*/ 225614 w 346073"/>
                  <a:gd name="connsiteY60" fmla="*/ 251373 h 503200"/>
                  <a:gd name="connsiteX61" fmla="*/ 228796 w 346073"/>
                  <a:gd name="connsiteY61" fmla="*/ 247433 h 503200"/>
                  <a:gd name="connsiteX62" fmla="*/ 228796 w 346073"/>
                  <a:gd name="connsiteY62" fmla="*/ 243948 h 503200"/>
                  <a:gd name="connsiteX63" fmla="*/ 226069 w 346073"/>
                  <a:gd name="connsiteY63" fmla="*/ 240918 h 503200"/>
                  <a:gd name="connsiteX64" fmla="*/ 224705 w 346073"/>
                  <a:gd name="connsiteY64" fmla="*/ 239100 h 503200"/>
                  <a:gd name="connsiteX65" fmla="*/ 222433 w 346073"/>
                  <a:gd name="connsiteY65" fmla="*/ 236372 h 503200"/>
                  <a:gd name="connsiteX66" fmla="*/ 219705 w 346073"/>
                  <a:gd name="connsiteY66" fmla="*/ 234705 h 503200"/>
                  <a:gd name="connsiteX67" fmla="*/ 218341 w 346073"/>
                  <a:gd name="connsiteY67" fmla="*/ 232281 h 503200"/>
                  <a:gd name="connsiteX68" fmla="*/ 218341 w 346073"/>
                  <a:gd name="connsiteY68" fmla="*/ 230766 h 503200"/>
                  <a:gd name="connsiteX69" fmla="*/ 218190 w 346073"/>
                  <a:gd name="connsiteY69" fmla="*/ 229857 h 503200"/>
                  <a:gd name="connsiteX70" fmla="*/ 217129 w 346073"/>
                  <a:gd name="connsiteY70" fmla="*/ 229251 h 503200"/>
                  <a:gd name="connsiteX71" fmla="*/ 216069 w 346073"/>
                  <a:gd name="connsiteY71" fmla="*/ 228493 h 503200"/>
                  <a:gd name="connsiteX72" fmla="*/ 214705 w 346073"/>
                  <a:gd name="connsiteY72" fmla="*/ 227432 h 503200"/>
                  <a:gd name="connsiteX73" fmla="*/ 213038 w 346073"/>
                  <a:gd name="connsiteY73" fmla="*/ 226220 h 503200"/>
                  <a:gd name="connsiteX74" fmla="*/ 213038 w 346073"/>
                  <a:gd name="connsiteY74" fmla="*/ 225008 h 503200"/>
                  <a:gd name="connsiteX75" fmla="*/ 212432 w 346073"/>
                  <a:gd name="connsiteY75" fmla="*/ 223644 h 503200"/>
                  <a:gd name="connsiteX76" fmla="*/ 211371 w 346073"/>
                  <a:gd name="connsiteY76" fmla="*/ 221978 h 503200"/>
                  <a:gd name="connsiteX77" fmla="*/ 211371 w 346073"/>
                  <a:gd name="connsiteY77" fmla="*/ 220766 h 503200"/>
                  <a:gd name="connsiteX78" fmla="*/ 210462 w 346073"/>
                  <a:gd name="connsiteY78" fmla="*/ 218796 h 503200"/>
                  <a:gd name="connsiteX79" fmla="*/ 209402 w 346073"/>
                  <a:gd name="connsiteY79" fmla="*/ 217281 h 503200"/>
                  <a:gd name="connsiteX80" fmla="*/ 208341 w 346073"/>
                  <a:gd name="connsiteY80" fmla="*/ 216372 h 503200"/>
                  <a:gd name="connsiteX81" fmla="*/ 206826 w 346073"/>
                  <a:gd name="connsiteY81" fmla="*/ 215008 h 503200"/>
                  <a:gd name="connsiteX82" fmla="*/ 206826 w 346073"/>
                  <a:gd name="connsiteY82" fmla="*/ 213947 h 503200"/>
                  <a:gd name="connsiteX83" fmla="*/ 208038 w 346073"/>
                  <a:gd name="connsiteY83" fmla="*/ 213341 h 503200"/>
                  <a:gd name="connsiteX84" fmla="*/ 208493 w 346073"/>
                  <a:gd name="connsiteY84" fmla="*/ 212129 h 503200"/>
                  <a:gd name="connsiteX85" fmla="*/ 208341 w 346073"/>
                  <a:gd name="connsiteY85" fmla="*/ 210765 h 503200"/>
                  <a:gd name="connsiteX86" fmla="*/ 207129 w 346073"/>
                  <a:gd name="connsiteY86" fmla="*/ 210008 h 503200"/>
                  <a:gd name="connsiteX87" fmla="*/ 205614 w 346073"/>
                  <a:gd name="connsiteY87" fmla="*/ 209553 h 503200"/>
                  <a:gd name="connsiteX88" fmla="*/ 203493 w 346073"/>
                  <a:gd name="connsiteY88" fmla="*/ 207280 h 503200"/>
                  <a:gd name="connsiteX89" fmla="*/ 202129 w 346073"/>
                  <a:gd name="connsiteY89" fmla="*/ 206068 h 503200"/>
                  <a:gd name="connsiteX90" fmla="*/ 201220 w 346073"/>
                  <a:gd name="connsiteY90" fmla="*/ 205462 h 503200"/>
                  <a:gd name="connsiteX91" fmla="*/ 200614 w 346073"/>
                  <a:gd name="connsiteY91" fmla="*/ 204553 h 503200"/>
                  <a:gd name="connsiteX92" fmla="*/ 201220 w 346073"/>
                  <a:gd name="connsiteY92" fmla="*/ 204098 h 503200"/>
                  <a:gd name="connsiteX93" fmla="*/ 201826 w 346073"/>
                  <a:gd name="connsiteY93" fmla="*/ 203341 h 503200"/>
                  <a:gd name="connsiteX94" fmla="*/ 201977 w 346073"/>
                  <a:gd name="connsiteY94" fmla="*/ 201977 h 503200"/>
                  <a:gd name="connsiteX95" fmla="*/ 201674 w 346073"/>
                  <a:gd name="connsiteY95" fmla="*/ 200765 h 503200"/>
                  <a:gd name="connsiteX96" fmla="*/ 201674 w 346073"/>
                  <a:gd name="connsiteY96" fmla="*/ 199704 h 503200"/>
                  <a:gd name="connsiteX97" fmla="*/ 202583 w 346073"/>
                  <a:gd name="connsiteY97" fmla="*/ 199401 h 503200"/>
                  <a:gd name="connsiteX98" fmla="*/ 203644 w 346073"/>
                  <a:gd name="connsiteY98" fmla="*/ 199553 h 503200"/>
                  <a:gd name="connsiteX99" fmla="*/ 204705 w 346073"/>
                  <a:gd name="connsiteY99" fmla="*/ 198947 h 503200"/>
                  <a:gd name="connsiteX100" fmla="*/ 206068 w 346073"/>
                  <a:gd name="connsiteY100" fmla="*/ 198795 h 503200"/>
                  <a:gd name="connsiteX101" fmla="*/ 207583 w 346073"/>
                  <a:gd name="connsiteY101" fmla="*/ 198644 h 503200"/>
                  <a:gd name="connsiteX102" fmla="*/ 208341 w 346073"/>
                  <a:gd name="connsiteY102" fmla="*/ 197886 h 503200"/>
                  <a:gd name="connsiteX103" fmla="*/ 208190 w 346073"/>
                  <a:gd name="connsiteY103" fmla="*/ 196674 h 503200"/>
                  <a:gd name="connsiteX104" fmla="*/ 207281 w 346073"/>
                  <a:gd name="connsiteY104" fmla="*/ 194098 h 503200"/>
                  <a:gd name="connsiteX105" fmla="*/ 206371 w 346073"/>
                  <a:gd name="connsiteY105" fmla="*/ 193037 h 503200"/>
                  <a:gd name="connsiteX106" fmla="*/ 206068 w 346073"/>
                  <a:gd name="connsiteY106" fmla="*/ 191674 h 503200"/>
                  <a:gd name="connsiteX107" fmla="*/ 206826 w 346073"/>
                  <a:gd name="connsiteY107" fmla="*/ 188643 h 503200"/>
                  <a:gd name="connsiteX108" fmla="*/ 207281 w 346073"/>
                  <a:gd name="connsiteY108" fmla="*/ 186825 h 503200"/>
                  <a:gd name="connsiteX109" fmla="*/ 209099 w 346073"/>
                  <a:gd name="connsiteY109" fmla="*/ 184855 h 503200"/>
                  <a:gd name="connsiteX110" fmla="*/ 214402 w 346073"/>
                  <a:gd name="connsiteY110" fmla="*/ 180613 h 503200"/>
                  <a:gd name="connsiteX111" fmla="*/ 219099 w 346073"/>
                  <a:gd name="connsiteY111" fmla="*/ 177885 h 503200"/>
                  <a:gd name="connsiteX112" fmla="*/ 221524 w 346073"/>
                  <a:gd name="connsiteY112" fmla="*/ 177582 h 503200"/>
                  <a:gd name="connsiteX113" fmla="*/ 223190 w 346073"/>
                  <a:gd name="connsiteY113" fmla="*/ 176522 h 503200"/>
                  <a:gd name="connsiteX114" fmla="*/ 224251 w 346073"/>
                  <a:gd name="connsiteY114" fmla="*/ 174855 h 503200"/>
                  <a:gd name="connsiteX115" fmla="*/ 224554 w 346073"/>
                  <a:gd name="connsiteY115" fmla="*/ 173037 h 503200"/>
                  <a:gd name="connsiteX116" fmla="*/ 224402 w 346073"/>
                  <a:gd name="connsiteY116" fmla="*/ 171521 h 503200"/>
                  <a:gd name="connsiteX117" fmla="*/ 223493 w 346073"/>
                  <a:gd name="connsiteY117" fmla="*/ 169249 h 503200"/>
                  <a:gd name="connsiteX118" fmla="*/ 222433 w 346073"/>
                  <a:gd name="connsiteY118" fmla="*/ 166370 h 503200"/>
                  <a:gd name="connsiteX119" fmla="*/ 221524 w 346073"/>
                  <a:gd name="connsiteY119" fmla="*/ 164855 h 503200"/>
                  <a:gd name="connsiteX120" fmla="*/ 222281 w 346073"/>
                  <a:gd name="connsiteY120" fmla="*/ 162885 h 503200"/>
                  <a:gd name="connsiteX121" fmla="*/ 223645 w 346073"/>
                  <a:gd name="connsiteY121" fmla="*/ 160309 h 503200"/>
                  <a:gd name="connsiteX122" fmla="*/ 226221 w 346073"/>
                  <a:gd name="connsiteY122" fmla="*/ 156369 h 503200"/>
                  <a:gd name="connsiteX123" fmla="*/ 228645 w 346073"/>
                  <a:gd name="connsiteY123" fmla="*/ 152127 h 503200"/>
                  <a:gd name="connsiteX124" fmla="*/ 228796 w 346073"/>
                  <a:gd name="connsiteY124" fmla="*/ 150914 h 503200"/>
                  <a:gd name="connsiteX125" fmla="*/ 229100 w 346073"/>
                  <a:gd name="connsiteY125" fmla="*/ 148339 h 503200"/>
                  <a:gd name="connsiteX126" fmla="*/ 230312 w 346073"/>
                  <a:gd name="connsiteY126" fmla="*/ 143187 h 503200"/>
                  <a:gd name="connsiteX127" fmla="*/ 230918 w 346073"/>
                  <a:gd name="connsiteY127" fmla="*/ 140308 h 503200"/>
                  <a:gd name="connsiteX128" fmla="*/ 230615 w 346073"/>
                  <a:gd name="connsiteY128" fmla="*/ 139096 h 503200"/>
                  <a:gd name="connsiteX129" fmla="*/ 231069 w 346073"/>
                  <a:gd name="connsiteY129" fmla="*/ 138187 h 503200"/>
                  <a:gd name="connsiteX130" fmla="*/ 232584 w 346073"/>
                  <a:gd name="connsiteY130" fmla="*/ 137429 h 503200"/>
                  <a:gd name="connsiteX131" fmla="*/ 236221 w 346073"/>
                  <a:gd name="connsiteY131" fmla="*/ 136672 h 503200"/>
                  <a:gd name="connsiteX132" fmla="*/ 238797 w 346073"/>
                  <a:gd name="connsiteY132" fmla="*/ 135156 h 503200"/>
                  <a:gd name="connsiteX133" fmla="*/ 242585 w 346073"/>
                  <a:gd name="connsiteY133" fmla="*/ 132126 h 503200"/>
                  <a:gd name="connsiteX134" fmla="*/ 245767 w 346073"/>
                  <a:gd name="connsiteY134" fmla="*/ 129096 h 503200"/>
                  <a:gd name="connsiteX135" fmla="*/ 248343 w 346073"/>
                  <a:gd name="connsiteY135" fmla="*/ 128035 h 503200"/>
                  <a:gd name="connsiteX136" fmla="*/ 253191 w 346073"/>
                  <a:gd name="connsiteY136" fmla="*/ 125156 h 503200"/>
                  <a:gd name="connsiteX137" fmla="*/ 255919 w 346073"/>
                  <a:gd name="connsiteY137" fmla="*/ 123338 h 503200"/>
                  <a:gd name="connsiteX138" fmla="*/ 256979 w 346073"/>
                  <a:gd name="connsiteY138" fmla="*/ 122732 h 503200"/>
                  <a:gd name="connsiteX139" fmla="*/ 259707 w 346073"/>
                  <a:gd name="connsiteY139" fmla="*/ 121368 h 503200"/>
                  <a:gd name="connsiteX140" fmla="*/ 264404 w 346073"/>
                  <a:gd name="connsiteY140" fmla="*/ 120913 h 503200"/>
                  <a:gd name="connsiteX141" fmla="*/ 268495 w 346073"/>
                  <a:gd name="connsiteY141" fmla="*/ 120459 h 503200"/>
                  <a:gd name="connsiteX142" fmla="*/ 270768 w 346073"/>
                  <a:gd name="connsiteY142" fmla="*/ 119550 h 503200"/>
                  <a:gd name="connsiteX143" fmla="*/ 274101 w 346073"/>
                  <a:gd name="connsiteY143" fmla="*/ 119247 h 503200"/>
                  <a:gd name="connsiteX144" fmla="*/ 276374 w 346073"/>
                  <a:gd name="connsiteY144" fmla="*/ 118186 h 503200"/>
                  <a:gd name="connsiteX145" fmla="*/ 278798 w 346073"/>
                  <a:gd name="connsiteY145" fmla="*/ 118186 h 503200"/>
                  <a:gd name="connsiteX146" fmla="*/ 283495 w 346073"/>
                  <a:gd name="connsiteY146" fmla="*/ 117125 h 503200"/>
                  <a:gd name="connsiteX147" fmla="*/ 285011 w 346073"/>
                  <a:gd name="connsiteY147" fmla="*/ 115610 h 503200"/>
                  <a:gd name="connsiteX148" fmla="*/ 286374 w 346073"/>
                  <a:gd name="connsiteY148" fmla="*/ 113944 h 503200"/>
                  <a:gd name="connsiteX149" fmla="*/ 288193 w 346073"/>
                  <a:gd name="connsiteY149" fmla="*/ 112428 h 503200"/>
                  <a:gd name="connsiteX150" fmla="*/ 290314 w 346073"/>
                  <a:gd name="connsiteY150" fmla="*/ 111974 h 503200"/>
                  <a:gd name="connsiteX151" fmla="*/ 292738 w 346073"/>
                  <a:gd name="connsiteY151" fmla="*/ 112277 h 503200"/>
                  <a:gd name="connsiteX152" fmla="*/ 295617 w 346073"/>
                  <a:gd name="connsiteY152" fmla="*/ 112125 h 503200"/>
                  <a:gd name="connsiteX153" fmla="*/ 299102 w 346073"/>
                  <a:gd name="connsiteY153" fmla="*/ 111671 h 503200"/>
                  <a:gd name="connsiteX154" fmla="*/ 300769 w 346073"/>
                  <a:gd name="connsiteY154" fmla="*/ 112883 h 503200"/>
                  <a:gd name="connsiteX155" fmla="*/ 301526 w 346073"/>
                  <a:gd name="connsiteY155" fmla="*/ 114398 h 503200"/>
                  <a:gd name="connsiteX156" fmla="*/ 303648 w 346073"/>
                  <a:gd name="connsiteY156" fmla="*/ 115762 h 503200"/>
                  <a:gd name="connsiteX157" fmla="*/ 305163 w 346073"/>
                  <a:gd name="connsiteY157" fmla="*/ 115762 h 503200"/>
                  <a:gd name="connsiteX158" fmla="*/ 306527 w 346073"/>
                  <a:gd name="connsiteY158" fmla="*/ 115459 h 503200"/>
                  <a:gd name="connsiteX159" fmla="*/ 308648 w 346073"/>
                  <a:gd name="connsiteY159" fmla="*/ 116671 h 503200"/>
                  <a:gd name="connsiteX160" fmla="*/ 310012 w 346073"/>
                  <a:gd name="connsiteY160" fmla="*/ 116519 h 503200"/>
                  <a:gd name="connsiteX161" fmla="*/ 310921 w 346073"/>
                  <a:gd name="connsiteY161" fmla="*/ 115762 h 503200"/>
                  <a:gd name="connsiteX162" fmla="*/ 311072 w 346073"/>
                  <a:gd name="connsiteY162" fmla="*/ 114095 h 503200"/>
                  <a:gd name="connsiteX163" fmla="*/ 309709 w 346073"/>
                  <a:gd name="connsiteY163" fmla="*/ 111974 h 503200"/>
                  <a:gd name="connsiteX164" fmla="*/ 307587 w 346073"/>
                  <a:gd name="connsiteY164" fmla="*/ 110156 h 503200"/>
                  <a:gd name="connsiteX165" fmla="*/ 305466 w 346073"/>
                  <a:gd name="connsiteY165" fmla="*/ 108943 h 503200"/>
                  <a:gd name="connsiteX166" fmla="*/ 304708 w 346073"/>
                  <a:gd name="connsiteY166" fmla="*/ 107428 h 503200"/>
                  <a:gd name="connsiteX167" fmla="*/ 303496 w 346073"/>
                  <a:gd name="connsiteY167" fmla="*/ 104398 h 503200"/>
                  <a:gd name="connsiteX168" fmla="*/ 301981 w 346073"/>
                  <a:gd name="connsiteY168" fmla="*/ 103337 h 503200"/>
                  <a:gd name="connsiteX169" fmla="*/ 300769 w 346073"/>
                  <a:gd name="connsiteY169" fmla="*/ 102580 h 503200"/>
                  <a:gd name="connsiteX170" fmla="*/ 299708 w 346073"/>
                  <a:gd name="connsiteY170" fmla="*/ 102731 h 503200"/>
                  <a:gd name="connsiteX171" fmla="*/ 298648 w 346073"/>
                  <a:gd name="connsiteY171" fmla="*/ 103489 h 503200"/>
                  <a:gd name="connsiteX172" fmla="*/ 296829 w 346073"/>
                  <a:gd name="connsiteY172" fmla="*/ 104095 h 503200"/>
                  <a:gd name="connsiteX173" fmla="*/ 295617 w 346073"/>
                  <a:gd name="connsiteY173" fmla="*/ 103943 h 503200"/>
                  <a:gd name="connsiteX174" fmla="*/ 290768 w 346073"/>
                  <a:gd name="connsiteY174" fmla="*/ 101822 h 503200"/>
                  <a:gd name="connsiteX175" fmla="*/ 290011 w 346073"/>
                  <a:gd name="connsiteY175" fmla="*/ 101670 h 503200"/>
                  <a:gd name="connsiteX176" fmla="*/ 293041 w 346073"/>
                  <a:gd name="connsiteY176" fmla="*/ 96822 h 503200"/>
                  <a:gd name="connsiteX177" fmla="*/ 298648 w 346073"/>
                  <a:gd name="connsiteY177" fmla="*/ 88337 h 503200"/>
                  <a:gd name="connsiteX178" fmla="*/ 302132 w 346073"/>
                  <a:gd name="connsiteY178" fmla="*/ 82730 h 503200"/>
                  <a:gd name="connsiteX179" fmla="*/ 306072 w 346073"/>
                  <a:gd name="connsiteY179" fmla="*/ 76669 h 503200"/>
                  <a:gd name="connsiteX180" fmla="*/ 308042 w 346073"/>
                  <a:gd name="connsiteY180" fmla="*/ 73639 h 503200"/>
                  <a:gd name="connsiteX181" fmla="*/ 308345 w 346073"/>
                  <a:gd name="connsiteY181" fmla="*/ 73033 h 503200"/>
                  <a:gd name="connsiteX182" fmla="*/ 308345 w 346073"/>
                  <a:gd name="connsiteY182" fmla="*/ 72275 h 503200"/>
                  <a:gd name="connsiteX183" fmla="*/ 307436 w 346073"/>
                  <a:gd name="connsiteY183" fmla="*/ 71063 h 503200"/>
                  <a:gd name="connsiteX184" fmla="*/ 305617 w 346073"/>
                  <a:gd name="connsiteY184" fmla="*/ 70609 h 503200"/>
                  <a:gd name="connsiteX185" fmla="*/ 303496 w 346073"/>
                  <a:gd name="connsiteY185" fmla="*/ 69699 h 503200"/>
                  <a:gd name="connsiteX186" fmla="*/ 302132 w 346073"/>
                  <a:gd name="connsiteY186" fmla="*/ 68184 h 503200"/>
                  <a:gd name="connsiteX187" fmla="*/ 300163 w 346073"/>
                  <a:gd name="connsiteY187" fmla="*/ 67578 h 503200"/>
                  <a:gd name="connsiteX188" fmla="*/ 298648 w 346073"/>
                  <a:gd name="connsiteY188" fmla="*/ 66518 h 503200"/>
                  <a:gd name="connsiteX189" fmla="*/ 295920 w 346073"/>
                  <a:gd name="connsiteY189" fmla="*/ 65608 h 503200"/>
                  <a:gd name="connsiteX190" fmla="*/ 294405 w 346073"/>
                  <a:gd name="connsiteY190" fmla="*/ 64548 h 503200"/>
                  <a:gd name="connsiteX191" fmla="*/ 292435 w 346073"/>
                  <a:gd name="connsiteY191" fmla="*/ 64245 h 503200"/>
                  <a:gd name="connsiteX192" fmla="*/ 290768 w 346073"/>
                  <a:gd name="connsiteY192" fmla="*/ 62578 h 503200"/>
                  <a:gd name="connsiteX193" fmla="*/ 285162 w 346073"/>
                  <a:gd name="connsiteY193" fmla="*/ 59245 h 503200"/>
                  <a:gd name="connsiteX194" fmla="*/ 283647 w 346073"/>
                  <a:gd name="connsiteY194" fmla="*/ 58790 h 503200"/>
                  <a:gd name="connsiteX195" fmla="*/ 281980 w 346073"/>
                  <a:gd name="connsiteY195" fmla="*/ 59396 h 503200"/>
                  <a:gd name="connsiteX196" fmla="*/ 279707 w 346073"/>
                  <a:gd name="connsiteY196" fmla="*/ 59851 h 503200"/>
                  <a:gd name="connsiteX197" fmla="*/ 277435 w 346073"/>
                  <a:gd name="connsiteY197" fmla="*/ 61669 h 503200"/>
                  <a:gd name="connsiteX198" fmla="*/ 274556 w 346073"/>
                  <a:gd name="connsiteY198" fmla="*/ 62275 h 503200"/>
                  <a:gd name="connsiteX199" fmla="*/ 271828 w 346073"/>
                  <a:gd name="connsiteY199" fmla="*/ 62275 h 503200"/>
                  <a:gd name="connsiteX200" fmla="*/ 270465 w 346073"/>
                  <a:gd name="connsiteY200" fmla="*/ 61214 h 503200"/>
                  <a:gd name="connsiteX201" fmla="*/ 269252 w 346073"/>
                  <a:gd name="connsiteY201" fmla="*/ 60760 h 503200"/>
                  <a:gd name="connsiteX202" fmla="*/ 267434 w 346073"/>
                  <a:gd name="connsiteY202" fmla="*/ 59396 h 503200"/>
                  <a:gd name="connsiteX203" fmla="*/ 264404 w 346073"/>
                  <a:gd name="connsiteY203" fmla="*/ 58184 h 503200"/>
                  <a:gd name="connsiteX204" fmla="*/ 262131 w 346073"/>
                  <a:gd name="connsiteY204" fmla="*/ 57426 h 503200"/>
                  <a:gd name="connsiteX205" fmla="*/ 260767 w 346073"/>
                  <a:gd name="connsiteY205" fmla="*/ 57729 h 503200"/>
                  <a:gd name="connsiteX206" fmla="*/ 259101 w 346073"/>
                  <a:gd name="connsiteY206" fmla="*/ 59396 h 503200"/>
                  <a:gd name="connsiteX207" fmla="*/ 257282 w 346073"/>
                  <a:gd name="connsiteY207" fmla="*/ 61063 h 503200"/>
                  <a:gd name="connsiteX208" fmla="*/ 255767 w 346073"/>
                  <a:gd name="connsiteY208" fmla="*/ 62123 h 503200"/>
                  <a:gd name="connsiteX209" fmla="*/ 253949 w 346073"/>
                  <a:gd name="connsiteY209" fmla="*/ 62123 h 503200"/>
                  <a:gd name="connsiteX210" fmla="*/ 251676 w 346073"/>
                  <a:gd name="connsiteY210" fmla="*/ 63639 h 503200"/>
                  <a:gd name="connsiteX211" fmla="*/ 249403 w 346073"/>
                  <a:gd name="connsiteY211" fmla="*/ 64093 h 503200"/>
                  <a:gd name="connsiteX212" fmla="*/ 247130 w 346073"/>
                  <a:gd name="connsiteY212" fmla="*/ 64396 h 503200"/>
                  <a:gd name="connsiteX213" fmla="*/ 244555 w 346073"/>
                  <a:gd name="connsiteY213" fmla="*/ 64851 h 503200"/>
                  <a:gd name="connsiteX214" fmla="*/ 241676 w 346073"/>
                  <a:gd name="connsiteY214" fmla="*/ 63942 h 503200"/>
                  <a:gd name="connsiteX215" fmla="*/ 239403 w 346073"/>
                  <a:gd name="connsiteY215" fmla="*/ 63184 h 503200"/>
                  <a:gd name="connsiteX216" fmla="*/ 238342 w 346073"/>
                  <a:gd name="connsiteY216" fmla="*/ 62730 h 503200"/>
                  <a:gd name="connsiteX217" fmla="*/ 237282 w 346073"/>
                  <a:gd name="connsiteY217" fmla="*/ 63033 h 503200"/>
                  <a:gd name="connsiteX218" fmla="*/ 235918 w 346073"/>
                  <a:gd name="connsiteY218" fmla="*/ 63942 h 503200"/>
                  <a:gd name="connsiteX219" fmla="*/ 233190 w 346073"/>
                  <a:gd name="connsiteY219" fmla="*/ 64245 h 503200"/>
                  <a:gd name="connsiteX220" fmla="*/ 231069 w 346073"/>
                  <a:gd name="connsiteY220" fmla="*/ 64396 h 503200"/>
                  <a:gd name="connsiteX221" fmla="*/ 229706 w 346073"/>
                  <a:gd name="connsiteY221" fmla="*/ 63942 h 503200"/>
                  <a:gd name="connsiteX222" fmla="*/ 228342 w 346073"/>
                  <a:gd name="connsiteY222" fmla="*/ 62426 h 503200"/>
                  <a:gd name="connsiteX223" fmla="*/ 226221 w 346073"/>
                  <a:gd name="connsiteY223" fmla="*/ 61669 h 503200"/>
                  <a:gd name="connsiteX224" fmla="*/ 223796 w 346073"/>
                  <a:gd name="connsiteY224" fmla="*/ 60760 h 503200"/>
                  <a:gd name="connsiteX225" fmla="*/ 223342 w 346073"/>
                  <a:gd name="connsiteY225" fmla="*/ 58942 h 503200"/>
                  <a:gd name="connsiteX226" fmla="*/ 223645 w 346073"/>
                  <a:gd name="connsiteY226" fmla="*/ 57426 h 503200"/>
                  <a:gd name="connsiteX227" fmla="*/ 224554 w 346073"/>
                  <a:gd name="connsiteY227" fmla="*/ 55457 h 503200"/>
                  <a:gd name="connsiteX228" fmla="*/ 224099 w 346073"/>
                  <a:gd name="connsiteY228" fmla="*/ 53335 h 503200"/>
                  <a:gd name="connsiteX229" fmla="*/ 223039 w 346073"/>
                  <a:gd name="connsiteY229" fmla="*/ 50002 h 503200"/>
                  <a:gd name="connsiteX230" fmla="*/ 222584 w 346073"/>
                  <a:gd name="connsiteY230" fmla="*/ 48638 h 503200"/>
                  <a:gd name="connsiteX231" fmla="*/ 221978 w 346073"/>
                  <a:gd name="connsiteY231" fmla="*/ 47426 h 503200"/>
                  <a:gd name="connsiteX232" fmla="*/ 220766 w 346073"/>
                  <a:gd name="connsiteY232" fmla="*/ 46971 h 503200"/>
                  <a:gd name="connsiteX233" fmla="*/ 218493 w 346073"/>
                  <a:gd name="connsiteY233" fmla="*/ 47426 h 503200"/>
                  <a:gd name="connsiteX234" fmla="*/ 215917 w 346073"/>
                  <a:gd name="connsiteY234" fmla="*/ 46062 h 503200"/>
                  <a:gd name="connsiteX235" fmla="*/ 214402 w 346073"/>
                  <a:gd name="connsiteY235" fmla="*/ 44850 h 503200"/>
                  <a:gd name="connsiteX236" fmla="*/ 213644 w 346073"/>
                  <a:gd name="connsiteY236" fmla="*/ 43486 h 503200"/>
                  <a:gd name="connsiteX237" fmla="*/ 214553 w 346073"/>
                  <a:gd name="connsiteY237" fmla="*/ 40607 h 503200"/>
                  <a:gd name="connsiteX238" fmla="*/ 213796 w 346073"/>
                  <a:gd name="connsiteY238" fmla="*/ 38335 h 503200"/>
                  <a:gd name="connsiteX239" fmla="*/ 212281 w 346073"/>
                  <a:gd name="connsiteY239" fmla="*/ 36971 h 503200"/>
                  <a:gd name="connsiteX240" fmla="*/ 211371 w 346073"/>
                  <a:gd name="connsiteY240" fmla="*/ 34698 h 503200"/>
                  <a:gd name="connsiteX241" fmla="*/ 209856 w 346073"/>
                  <a:gd name="connsiteY241" fmla="*/ 32880 h 503200"/>
                  <a:gd name="connsiteX242" fmla="*/ 207887 w 346073"/>
                  <a:gd name="connsiteY242" fmla="*/ 31819 h 503200"/>
                  <a:gd name="connsiteX243" fmla="*/ 205917 w 346073"/>
                  <a:gd name="connsiteY243" fmla="*/ 31971 h 503200"/>
                  <a:gd name="connsiteX244" fmla="*/ 204402 w 346073"/>
                  <a:gd name="connsiteY244" fmla="*/ 31365 h 503200"/>
                  <a:gd name="connsiteX245" fmla="*/ 202735 w 346073"/>
                  <a:gd name="connsiteY245" fmla="*/ 29395 h 503200"/>
                  <a:gd name="connsiteX246" fmla="*/ 201068 w 346073"/>
                  <a:gd name="connsiteY246" fmla="*/ 28789 h 503200"/>
                  <a:gd name="connsiteX247" fmla="*/ 199250 w 346073"/>
                  <a:gd name="connsiteY247" fmla="*/ 26819 h 503200"/>
                  <a:gd name="connsiteX248" fmla="*/ 195765 w 346073"/>
                  <a:gd name="connsiteY248" fmla="*/ 25910 h 503200"/>
                  <a:gd name="connsiteX249" fmla="*/ 193947 w 346073"/>
                  <a:gd name="connsiteY249" fmla="*/ 25304 h 503200"/>
                  <a:gd name="connsiteX250" fmla="*/ 192886 w 346073"/>
                  <a:gd name="connsiteY250" fmla="*/ 24092 h 503200"/>
                  <a:gd name="connsiteX251" fmla="*/ 191522 w 346073"/>
                  <a:gd name="connsiteY251" fmla="*/ 21970 h 503200"/>
                  <a:gd name="connsiteX252" fmla="*/ 191674 w 346073"/>
                  <a:gd name="connsiteY252" fmla="*/ 20910 h 503200"/>
                  <a:gd name="connsiteX253" fmla="*/ 191068 w 346073"/>
                  <a:gd name="connsiteY253" fmla="*/ 19698 h 503200"/>
                  <a:gd name="connsiteX254" fmla="*/ 190462 w 346073"/>
                  <a:gd name="connsiteY254" fmla="*/ 17728 h 503200"/>
                  <a:gd name="connsiteX255" fmla="*/ 189250 w 346073"/>
                  <a:gd name="connsiteY255" fmla="*/ 14698 h 503200"/>
                  <a:gd name="connsiteX256" fmla="*/ 187886 w 346073"/>
                  <a:gd name="connsiteY256" fmla="*/ 12879 h 503200"/>
                  <a:gd name="connsiteX257" fmla="*/ 186674 w 346073"/>
                  <a:gd name="connsiteY257" fmla="*/ 11667 h 503200"/>
                  <a:gd name="connsiteX258" fmla="*/ 185462 w 346073"/>
                  <a:gd name="connsiteY258" fmla="*/ 10606 h 503200"/>
                  <a:gd name="connsiteX259" fmla="*/ 183795 w 346073"/>
                  <a:gd name="connsiteY259" fmla="*/ 8940 h 503200"/>
                  <a:gd name="connsiteX260" fmla="*/ 181825 w 346073"/>
                  <a:gd name="connsiteY260" fmla="*/ 8031 h 503200"/>
                  <a:gd name="connsiteX261" fmla="*/ 180007 w 346073"/>
                  <a:gd name="connsiteY261" fmla="*/ 6970 h 503200"/>
                  <a:gd name="connsiteX262" fmla="*/ 179249 w 346073"/>
                  <a:gd name="connsiteY262" fmla="*/ 5455 h 503200"/>
                  <a:gd name="connsiteX263" fmla="*/ 178795 w 346073"/>
                  <a:gd name="connsiteY263" fmla="*/ 4243 h 503200"/>
                  <a:gd name="connsiteX264" fmla="*/ 177734 w 346073"/>
                  <a:gd name="connsiteY264" fmla="*/ 4394 h 503200"/>
                  <a:gd name="connsiteX265" fmla="*/ 176370 w 346073"/>
                  <a:gd name="connsiteY265" fmla="*/ 4243 h 503200"/>
                  <a:gd name="connsiteX266" fmla="*/ 174855 w 346073"/>
                  <a:gd name="connsiteY266" fmla="*/ 3939 h 503200"/>
                  <a:gd name="connsiteX267" fmla="*/ 173188 w 346073"/>
                  <a:gd name="connsiteY267" fmla="*/ 3030 h 503200"/>
                  <a:gd name="connsiteX268" fmla="*/ 171825 w 346073"/>
                  <a:gd name="connsiteY268" fmla="*/ 1970 h 503200"/>
                  <a:gd name="connsiteX269" fmla="*/ 169552 w 346073"/>
                  <a:gd name="connsiteY269" fmla="*/ 303 h 503200"/>
                  <a:gd name="connsiteX270" fmla="*/ 168340 w 346073"/>
                  <a:gd name="connsiteY270" fmla="*/ 0 h 503200"/>
                  <a:gd name="connsiteX271" fmla="*/ 167127 w 346073"/>
                  <a:gd name="connsiteY271" fmla="*/ 0 h 503200"/>
                  <a:gd name="connsiteX272" fmla="*/ 165461 w 346073"/>
                  <a:gd name="connsiteY272" fmla="*/ 1818 h 503200"/>
                  <a:gd name="connsiteX273" fmla="*/ 163946 w 346073"/>
                  <a:gd name="connsiteY273" fmla="*/ 2727 h 503200"/>
                  <a:gd name="connsiteX274" fmla="*/ 162430 w 346073"/>
                  <a:gd name="connsiteY274" fmla="*/ 2879 h 503200"/>
                  <a:gd name="connsiteX275" fmla="*/ 160309 w 346073"/>
                  <a:gd name="connsiteY275" fmla="*/ 3182 h 503200"/>
                  <a:gd name="connsiteX276" fmla="*/ 157279 w 346073"/>
                  <a:gd name="connsiteY276" fmla="*/ 2273 h 503200"/>
                  <a:gd name="connsiteX277" fmla="*/ 156218 w 346073"/>
                  <a:gd name="connsiteY277" fmla="*/ 2273 h 503200"/>
                  <a:gd name="connsiteX278" fmla="*/ 156066 w 346073"/>
                  <a:gd name="connsiteY278" fmla="*/ 3182 h 503200"/>
                  <a:gd name="connsiteX279" fmla="*/ 158036 w 346073"/>
                  <a:gd name="connsiteY279" fmla="*/ 4243 h 503200"/>
                  <a:gd name="connsiteX280" fmla="*/ 159854 w 346073"/>
                  <a:gd name="connsiteY280" fmla="*/ 5606 h 503200"/>
                  <a:gd name="connsiteX281" fmla="*/ 160612 w 346073"/>
                  <a:gd name="connsiteY281" fmla="*/ 7576 h 503200"/>
                  <a:gd name="connsiteX282" fmla="*/ 161673 w 346073"/>
                  <a:gd name="connsiteY282" fmla="*/ 10000 h 503200"/>
                  <a:gd name="connsiteX283" fmla="*/ 164400 w 346073"/>
                  <a:gd name="connsiteY283" fmla="*/ 12576 h 503200"/>
                  <a:gd name="connsiteX284" fmla="*/ 166067 w 346073"/>
                  <a:gd name="connsiteY284" fmla="*/ 13940 h 503200"/>
                  <a:gd name="connsiteX285" fmla="*/ 166218 w 346073"/>
                  <a:gd name="connsiteY285" fmla="*/ 14849 h 503200"/>
                  <a:gd name="connsiteX286" fmla="*/ 165764 w 346073"/>
                  <a:gd name="connsiteY286" fmla="*/ 16667 h 503200"/>
                  <a:gd name="connsiteX287" fmla="*/ 165612 w 346073"/>
                  <a:gd name="connsiteY287" fmla="*/ 18031 h 503200"/>
                  <a:gd name="connsiteX288" fmla="*/ 166521 w 346073"/>
                  <a:gd name="connsiteY288" fmla="*/ 24698 h 503200"/>
                  <a:gd name="connsiteX289" fmla="*/ 165915 w 346073"/>
                  <a:gd name="connsiteY289" fmla="*/ 25152 h 503200"/>
                  <a:gd name="connsiteX290" fmla="*/ 164855 w 346073"/>
                  <a:gd name="connsiteY290" fmla="*/ 25152 h 503200"/>
                  <a:gd name="connsiteX291" fmla="*/ 163794 w 346073"/>
                  <a:gd name="connsiteY291" fmla="*/ 25152 h 503200"/>
                  <a:gd name="connsiteX292" fmla="*/ 162885 w 346073"/>
                  <a:gd name="connsiteY292" fmla="*/ 24395 h 503200"/>
                  <a:gd name="connsiteX293" fmla="*/ 162127 w 346073"/>
                  <a:gd name="connsiteY293" fmla="*/ 23940 h 503200"/>
                  <a:gd name="connsiteX294" fmla="*/ 161824 w 346073"/>
                  <a:gd name="connsiteY294" fmla="*/ 25001 h 503200"/>
                  <a:gd name="connsiteX295" fmla="*/ 161067 w 346073"/>
                  <a:gd name="connsiteY295" fmla="*/ 28031 h 503200"/>
                  <a:gd name="connsiteX296" fmla="*/ 159248 w 346073"/>
                  <a:gd name="connsiteY296" fmla="*/ 34698 h 503200"/>
                  <a:gd name="connsiteX297" fmla="*/ 157733 w 346073"/>
                  <a:gd name="connsiteY297" fmla="*/ 40456 h 503200"/>
                  <a:gd name="connsiteX298" fmla="*/ 155763 w 346073"/>
                  <a:gd name="connsiteY298" fmla="*/ 42577 h 503200"/>
                  <a:gd name="connsiteX299" fmla="*/ 152884 w 346073"/>
                  <a:gd name="connsiteY299" fmla="*/ 45911 h 503200"/>
                  <a:gd name="connsiteX300" fmla="*/ 149096 w 346073"/>
                  <a:gd name="connsiteY300" fmla="*/ 50305 h 503200"/>
                  <a:gd name="connsiteX301" fmla="*/ 143490 w 346073"/>
                  <a:gd name="connsiteY301" fmla="*/ 56820 h 503200"/>
                  <a:gd name="connsiteX302" fmla="*/ 139399 w 346073"/>
                  <a:gd name="connsiteY302" fmla="*/ 59851 h 503200"/>
                  <a:gd name="connsiteX303" fmla="*/ 136066 w 346073"/>
                  <a:gd name="connsiteY303" fmla="*/ 62275 h 503200"/>
                  <a:gd name="connsiteX304" fmla="*/ 132278 w 346073"/>
                  <a:gd name="connsiteY304" fmla="*/ 65002 h 503200"/>
                  <a:gd name="connsiteX305" fmla="*/ 127429 w 346073"/>
                  <a:gd name="connsiteY305" fmla="*/ 68487 h 503200"/>
                  <a:gd name="connsiteX306" fmla="*/ 121823 w 346073"/>
                  <a:gd name="connsiteY306" fmla="*/ 70457 h 503200"/>
                  <a:gd name="connsiteX307" fmla="*/ 114247 w 346073"/>
                  <a:gd name="connsiteY307" fmla="*/ 73336 h 503200"/>
                  <a:gd name="connsiteX308" fmla="*/ 108792 w 346073"/>
                  <a:gd name="connsiteY308" fmla="*/ 75306 h 503200"/>
                  <a:gd name="connsiteX309" fmla="*/ 104701 w 346073"/>
                  <a:gd name="connsiteY309" fmla="*/ 76669 h 503200"/>
                  <a:gd name="connsiteX310" fmla="*/ 100610 w 346073"/>
                  <a:gd name="connsiteY310" fmla="*/ 78033 h 503200"/>
                  <a:gd name="connsiteX311" fmla="*/ 95004 w 346073"/>
                  <a:gd name="connsiteY311" fmla="*/ 79851 h 503200"/>
                  <a:gd name="connsiteX312" fmla="*/ 92882 w 346073"/>
                  <a:gd name="connsiteY312" fmla="*/ 81670 h 503200"/>
                  <a:gd name="connsiteX313" fmla="*/ 89397 w 346073"/>
                  <a:gd name="connsiteY313" fmla="*/ 86064 h 503200"/>
                  <a:gd name="connsiteX314" fmla="*/ 87731 w 346073"/>
                  <a:gd name="connsiteY314" fmla="*/ 88185 h 503200"/>
                  <a:gd name="connsiteX315" fmla="*/ 86215 w 346073"/>
                  <a:gd name="connsiteY315" fmla="*/ 90003 h 503200"/>
                  <a:gd name="connsiteX316" fmla="*/ 85912 w 346073"/>
                  <a:gd name="connsiteY316" fmla="*/ 90761 h 503200"/>
                  <a:gd name="connsiteX317" fmla="*/ 86064 w 346073"/>
                  <a:gd name="connsiteY317" fmla="*/ 91367 h 503200"/>
                  <a:gd name="connsiteX318" fmla="*/ 86822 w 346073"/>
                  <a:gd name="connsiteY318" fmla="*/ 92125 h 503200"/>
                  <a:gd name="connsiteX319" fmla="*/ 86973 w 346073"/>
                  <a:gd name="connsiteY319" fmla="*/ 93034 h 503200"/>
                  <a:gd name="connsiteX320" fmla="*/ 85912 w 346073"/>
                  <a:gd name="connsiteY320" fmla="*/ 93640 h 503200"/>
                  <a:gd name="connsiteX321" fmla="*/ 85003 w 346073"/>
                  <a:gd name="connsiteY321" fmla="*/ 93791 h 503200"/>
                  <a:gd name="connsiteX322" fmla="*/ 84700 w 346073"/>
                  <a:gd name="connsiteY322" fmla="*/ 93337 h 503200"/>
                  <a:gd name="connsiteX323" fmla="*/ 84397 w 346073"/>
                  <a:gd name="connsiteY323" fmla="*/ 92276 h 503200"/>
                  <a:gd name="connsiteX324" fmla="*/ 83488 w 346073"/>
                  <a:gd name="connsiteY324" fmla="*/ 91216 h 503200"/>
                  <a:gd name="connsiteX325" fmla="*/ 82427 w 346073"/>
                  <a:gd name="connsiteY325" fmla="*/ 90912 h 503200"/>
                  <a:gd name="connsiteX326" fmla="*/ 81821 w 346073"/>
                  <a:gd name="connsiteY326" fmla="*/ 91216 h 503200"/>
                  <a:gd name="connsiteX327" fmla="*/ 81670 w 346073"/>
                  <a:gd name="connsiteY327" fmla="*/ 92125 h 503200"/>
                  <a:gd name="connsiteX328" fmla="*/ 80306 w 346073"/>
                  <a:gd name="connsiteY328" fmla="*/ 96670 h 503200"/>
                  <a:gd name="connsiteX329" fmla="*/ 80306 w 346073"/>
                  <a:gd name="connsiteY329" fmla="*/ 98792 h 503200"/>
                  <a:gd name="connsiteX330" fmla="*/ 79700 w 346073"/>
                  <a:gd name="connsiteY330" fmla="*/ 99701 h 503200"/>
                  <a:gd name="connsiteX331" fmla="*/ 79700 w 346073"/>
                  <a:gd name="connsiteY331" fmla="*/ 101519 h 503200"/>
                  <a:gd name="connsiteX332" fmla="*/ 78336 w 346073"/>
                  <a:gd name="connsiteY332" fmla="*/ 103337 h 503200"/>
                  <a:gd name="connsiteX333" fmla="*/ 77730 w 346073"/>
                  <a:gd name="connsiteY333" fmla="*/ 105004 h 503200"/>
                  <a:gd name="connsiteX334" fmla="*/ 77276 w 346073"/>
                  <a:gd name="connsiteY334" fmla="*/ 106368 h 503200"/>
                  <a:gd name="connsiteX335" fmla="*/ 76215 w 346073"/>
                  <a:gd name="connsiteY335" fmla="*/ 107277 h 503200"/>
                  <a:gd name="connsiteX336" fmla="*/ 75760 w 346073"/>
                  <a:gd name="connsiteY336" fmla="*/ 108792 h 503200"/>
                  <a:gd name="connsiteX337" fmla="*/ 74700 w 346073"/>
                  <a:gd name="connsiteY337" fmla="*/ 111974 h 503200"/>
                  <a:gd name="connsiteX338" fmla="*/ 73488 w 346073"/>
                  <a:gd name="connsiteY338" fmla="*/ 114398 h 503200"/>
                  <a:gd name="connsiteX339" fmla="*/ 72579 w 346073"/>
                  <a:gd name="connsiteY339" fmla="*/ 116519 h 503200"/>
                  <a:gd name="connsiteX340" fmla="*/ 72427 w 346073"/>
                  <a:gd name="connsiteY340" fmla="*/ 118035 h 503200"/>
                  <a:gd name="connsiteX341" fmla="*/ 73185 w 346073"/>
                  <a:gd name="connsiteY341" fmla="*/ 119247 h 503200"/>
                  <a:gd name="connsiteX342" fmla="*/ 73336 w 346073"/>
                  <a:gd name="connsiteY342" fmla="*/ 120156 h 503200"/>
                  <a:gd name="connsiteX343" fmla="*/ 72730 w 346073"/>
                  <a:gd name="connsiteY343" fmla="*/ 121671 h 503200"/>
                  <a:gd name="connsiteX344" fmla="*/ 72427 w 346073"/>
                  <a:gd name="connsiteY344" fmla="*/ 122883 h 503200"/>
                  <a:gd name="connsiteX345" fmla="*/ 70912 w 346073"/>
                  <a:gd name="connsiteY345" fmla="*/ 123792 h 503200"/>
                  <a:gd name="connsiteX346" fmla="*/ 67730 w 346073"/>
                  <a:gd name="connsiteY346" fmla="*/ 125762 h 503200"/>
                  <a:gd name="connsiteX347" fmla="*/ 66366 w 346073"/>
                  <a:gd name="connsiteY347" fmla="*/ 127126 h 503200"/>
                  <a:gd name="connsiteX348" fmla="*/ 65912 w 346073"/>
                  <a:gd name="connsiteY348" fmla="*/ 128641 h 503200"/>
                  <a:gd name="connsiteX349" fmla="*/ 66215 w 346073"/>
                  <a:gd name="connsiteY349" fmla="*/ 129853 h 503200"/>
                  <a:gd name="connsiteX350" fmla="*/ 66063 w 346073"/>
                  <a:gd name="connsiteY350" fmla="*/ 131065 h 503200"/>
                  <a:gd name="connsiteX351" fmla="*/ 64548 w 346073"/>
                  <a:gd name="connsiteY351" fmla="*/ 131368 h 503200"/>
                  <a:gd name="connsiteX352" fmla="*/ 63942 w 346073"/>
                  <a:gd name="connsiteY352" fmla="*/ 132429 h 503200"/>
                  <a:gd name="connsiteX353" fmla="*/ 63033 w 346073"/>
                  <a:gd name="connsiteY353" fmla="*/ 134096 h 503200"/>
                  <a:gd name="connsiteX354" fmla="*/ 61821 w 346073"/>
                  <a:gd name="connsiteY354" fmla="*/ 134550 h 503200"/>
                  <a:gd name="connsiteX355" fmla="*/ 58790 w 346073"/>
                  <a:gd name="connsiteY355" fmla="*/ 133793 h 503200"/>
                  <a:gd name="connsiteX356" fmla="*/ 56517 w 346073"/>
                  <a:gd name="connsiteY356" fmla="*/ 133641 h 503200"/>
                  <a:gd name="connsiteX357" fmla="*/ 54851 w 346073"/>
                  <a:gd name="connsiteY357" fmla="*/ 132884 h 503200"/>
                  <a:gd name="connsiteX358" fmla="*/ 52881 w 346073"/>
                  <a:gd name="connsiteY358" fmla="*/ 130459 h 503200"/>
                  <a:gd name="connsiteX359" fmla="*/ 51366 w 346073"/>
                  <a:gd name="connsiteY359" fmla="*/ 128489 h 503200"/>
                  <a:gd name="connsiteX360" fmla="*/ 50153 w 346073"/>
                  <a:gd name="connsiteY360" fmla="*/ 125914 h 503200"/>
                  <a:gd name="connsiteX361" fmla="*/ 49699 w 346073"/>
                  <a:gd name="connsiteY361" fmla="*/ 122277 h 503200"/>
                  <a:gd name="connsiteX362" fmla="*/ 48032 w 346073"/>
                  <a:gd name="connsiteY362" fmla="*/ 121217 h 503200"/>
                  <a:gd name="connsiteX363" fmla="*/ 46365 w 346073"/>
                  <a:gd name="connsiteY363" fmla="*/ 120004 h 503200"/>
                  <a:gd name="connsiteX364" fmla="*/ 44396 w 346073"/>
                  <a:gd name="connsiteY364" fmla="*/ 120307 h 503200"/>
                  <a:gd name="connsiteX365" fmla="*/ 42123 w 346073"/>
                  <a:gd name="connsiteY365" fmla="*/ 120610 h 503200"/>
                  <a:gd name="connsiteX366" fmla="*/ 40759 w 346073"/>
                  <a:gd name="connsiteY366" fmla="*/ 119701 h 503200"/>
                  <a:gd name="connsiteX367" fmla="*/ 37577 w 346073"/>
                  <a:gd name="connsiteY367" fmla="*/ 118338 h 503200"/>
                  <a:gd name="connsiteX368" fmla="*/ 34850 w 346073"/>
                  <a:gd name="connsiteY368" fmla="*/ 116519 h 503200"/>
                  <a:gd name="connsiteX369" fmla="*/ 32729 w 346073"/>
                  <a:gd name="connsiteY369" fmla="*/ 115762 h 503200"/>
                  <a:gd name="connsiteX370" fmla="*/ 31062 w 346073"/>
                  <a:gd name="connsiteY370" fmla="*/ 116065 h 503200"/>
                  <a:gd name="connsiteX371" fmla="*/ 30153 w 346073"/>
                  <a:gd name="connsiteY371" fmla="*/ 117125 h 503200"/>
                  <a:gd name="connsiteX372" fmla="*/ 28486 w 346073"/>
                  <a:gd name="connsiteY372" fmla="*/ 118944 h 503200"/>
                  <a:gd name="connsiteX373" fmla="*/ 26062 w 346073"/>
                  <a:gd name="connsiteY373" fmla="*/ 120307 h 503200"/>
                  <a:gd name="connsiteX374" fmla="*/ 24849 w 346073"/>
                  <a:gd name="connsiteY374" fmla="*/ 120156 h 503200"/>
                  <a:gd name="connsiteX375" fmla="*/ 23486 w 346073"/>
                  <a:gd name="connsiteY375" fmla="*/ 119398 h 503200"/>
                  <a:gd name="connsiteX376" fmla="*/ 23183 w 346073"/>
                  <a:gd name="connsiteY376" fmla="*/ 118338 h 503200"/>
                  <a:gd name="connsiteX377" fmla="*/ 24395 w 346073"/>
                  <a:gd name="connsiteY377" fmla="*/ 116822 h 503200"/>
                  <a:gd name="connsiteX378" fmla="*/ 26819 w 346073"/>
                  <a:gd name="connsiteY378" fmla="*/ 113337 h 503200"/>
                  <a:gd name="connsiteX379" fmla="*/ 24092 w 346073"/>
                  <a:gd name="connsiteY379" fmla="*/ 113186 h 503200"/>
                  <a:gd name="connsiteX380" fmla="*/ 23183 w 346073"/>
                  <a:gd name="connsiteY380" fmla="*/ 112125 h 503200"/>
                  <a:gd name="connsiteX381" fmla="*/ 23031 w 346073"/>
                  <a:gd name="connsiteY381" fmla="*/ 110913 h 503200"/>
                  <a:gd name="connsiteX382" fmla="*/ 22577 w 346073"/>
                  <a:gd name="connsiteY382" fmla="*/ 109549 h 503200"/>
                  <a:gd name="connsiteX383" fmla="*/ 23031 w 346073"/>
                  <a:gd name="connsiteY383" fmla="*/ 107883 h 503200"/>
                  <a:gd name="connsiteX384" fmla="*/ 24547 w 346073"/>
                  <a:gd name="connsiteY384" fmla="*/ 107125 h 503200"/>
                  <a:gd name="connsiteX385" fmla="*/ 26668 w 346073"/>
                  <a:gd name="connsiteY385" fmla="*/ 107731 h 503200"/>
                  <a:gd name="connsiteX386" fmla="*/ 28183 w 346073"/>
                  <a:gd name="connsiteY386" fmla="*/ 107731 h 503200"/>
                  <a:gd name="connsiteX387" fmla="*/ 29244 w 346073"/>
                  <a:gd name="connsiteY387" fmla="*/ 106216 h 503200"/>
                  <a:gd name="connsiteX388" fmla="*/ 30153 w 346073"/>
                  <a:gd name="connsiteY388" fmla="*/ 105610 h 503200"/>
                  <a:gd name="connsiteX389" fmla="*/ 31213 w 346073"/>
                  <a:gd name="connsiteY389" fmla="*/ 105004 h 503200"/>
                  <a:gd name="connsiteX390" fmla="*/ 31668 w 346073"/>
                  <a:gd name="connsiteY390" fmla="*/ 104246 h 503200"/>
                  <a:gd name="connsiteX391" fmla="*/ 30607 w 346073"/>
                  <a:gd name="connsiteY391" fmla="*/ 101822 h 503200"/>
                  <a:gd name="connsiteX392" fmla="*/ 30304 w 346073"/>
                  <a:gd name="connsiteY392" fmla="*/ 100458 h 503200"/>
                  <a:gd name="connsiteX393" fmla="*/ 30607 w 346073"/>
                  <a:gd name="connsiteY393" fmla="*/ 99701 h 503200"/>
                  <a:gd name="connsiteX394" fmla="*/ 30456 w 346073"/>
                  <a:gd name="connsiteY394" fmla="*/ 98185 h 503200"/>
                  <a:gd name="connsiteX395" fmla="*/ 30456 w 346073"/>
                  <a:gd name="connsiteY395" fmla="*/ 97125 h 503200"/>
                  <a:gd name="connsiteX396" fmla="*/ 29850 w 346073"/>
                  <a:gd name="connsiteY396" fmla="*/ 96064 h 503200"/>
                  <a:gd name="connsiteX397" fmla="*/ 29850 w 346073"/>
                  <a:gd name="connsiteY397" fmla="*/ 94700 h 503200"/>
                  <a:gd name="connsiteX398" fmla="*/ 29244 w 346073"/>
                  <a:gd name="connsiteY398" fmla="*/ 93791 h 503200"/>
                  <a:gd name="connsiteX399" fmla="*/ 29092 w 346073"/>
                  <a:gd name="connsiteY399" fmla="*/ 93034 h 503200"/>
                  <a:gd name="connsiteX400" fmla="*/ 29092 w 346073"/>
                  <a:gd name="connsiteY400" fmla="*/ 91973 h 503200"/>
                  <a:gd name="connsiteX401" fmla="*/ 28335 w 346073"/>
                  <a:gd name="connsiteY401" fmla="*/ 91518 h 503200"/>
                  <a:gd name="connsiteX402" fmla="*/ 27577 w 346073"/>
                  <a:gd name="connsiteY402" fmla="*/ 90912 h 503200"/>
                  <a:gd name="connsiteX403" fmla="*/ 22728 w 346073"/>
                  <a:gd name="connsiteY403" fmla="*/ 93943 h 503200"/>
                  <a:gd name="connsiteX404" fmla="*/ 18637 w 346073"/>
                  <a:gd name="connsiteY404" fmla="*/ 97731 h 503200"/>
                  <a:gd name="connsiteX405" fmla="*/ 14698 w 346073"/>
                  <a:gd name="connsiteY405" fmla="*/ 100307 h 503200"/>
                  <a:gd name="connsiteX406" fmla="*/ 12122 w 346073"/>
                  <a:gd name="connsiteY406" fmla="*/ 104398 h 503200"/>
                  <a:gd name="connsiteX407" fmla="*/ 2879 w 346073"/>
                  <a:gd name="connsiteY407" fmla="*/ 113944 h 503200"/>
                  <a:gd name="connsiteX408" fmla="*/ 1364 w 346073"/>
                  <a:gd name="connsiteY408" fmla="*/ 116368 h 503200"/>
                  <a:gd name="connsiteX409" fmla="*/ 0 w 346073"/>
                  <a:gd name="connsiteY409" fmla="*/ 125914 h 503200"/>
                  <a:gd name="connsiteX410" fmla="*/ 1212 w 346073"/>
                  <a:gd name="connsiteY410" fmla="*/ 128338 h 503200"/>
                  <a:gd name="connsiteX411" fmla="*/ 3788 w 346073"/>
                  <a:gd name="connsiteY411" fmla="*/ 131520 h 503200"/>
                  <a:gd name="connsiteX412" fmla="*/ 6212 w 346073"/>
                  <a:gd name="connsiteY412" fmla="*/ 135611 h 503200"/>
                  <a:gd name="connsiteX413" fmla="*/ 5000 w 346073"/>
                  <a:gd name="connsiteY413" fmla="*/ 137581 h 503200"/>
                  <a:gd name="connsiteX414" fmla="*/ 4546 w 346073"/>
                  <a:gd name="connsiteY414" fmla="*/ 139399 h 503200"/>
                  <a:gd name="connsiteX415" fmla="*/ 10758 w 346073"/>
                  <a:gd name="connsiteY415" fmla="*/ 147884 h 503200"/>
                  <a:gd name="connsiteX416" fmla="*/ 12425 w 346073"/>
                  <a:gd name="connsiteY416" fmla="*/ 152127 h 503200"/>
                  <a:gd name="connsiteX417" fmla="*/ 12425 w 346073"/>
                  <a:gd name="connsiteY417" fmla="*/ 155612 h 503200"/>
                  <a:gd name="connsiteX418" fmla="*/ 11061 w 346073"/>
                  <a:gd name="connsiteY418" fmla="*/ 157733 h 503200"/>
                  <a:gd name="connsiteX419" fmla="*/ 9394 w 346073"/>
                  <a:gd name="connsiteY419" fmla="*/ 158339 h 503200"/>
                  <a:gd name="connsiteX420" fmla="*/ 6667 w 346073"/>
                  <a:gd name="connsiteY420" fmla="*/ 156975 h 503200"/>
                  <a:gd name="connsiteX421" fmla="*/ 4697 w 346073"/>
                  <a:gd name="connsiteY421" fmla="*/ 158794 h 503200"/>
                  <a:gd name="connsiteX422" fmla="*/ 4243 w 346073"/>
                  <a:gd name="connsiteY422" fmla="*/ 160612 h 503200"/>
                  <a:gd name="connsiteX423" fmla="*/ 5303 w 346073"/>
                  <a:gd name="connsiteY423" fmla="*/ 163642 h 503200"/>
                  <a:gd name="connsiteX424" fmla="*/ 7576 w 346073"/>
                  <a:gd name="connsiteY424" fmla="*/ 165612 h 503200"/>
                  <a:gd name="connsiteX425" fmla="*/ 14243 w 346073"/>
                  <a:gd name="connsiteY425" fmla="*/ 169855 h 503200"/>
                  <a:gd name="connsiteX426" fmla="*/ 33486 w 346073"/>
                  <a:gd name="connsiteY426" fmla="*/ 179855 h 503200"/>
                  <a:gd name="connsiteX427" fmla="*/ 36668 w 346073"/>
                  <a:gd name="connsiteY427" fmla="*/ 183188 h 503200"/>
                  <a:gd name="connsiteX428" fmla="*/ 39092 w 346073"/>
                  <a:gd name="connsiteY428" fmla="*/ 186673 h 503200"/>
                  <a:gd name="connsiteX429" fmla="*/ 43032 w 346073"/>
                  <a:gd name="connsiteY429" fmla="*/ 191219 h 503200"/>
                  <a:gd name="connsiteX430" fmla="*/ 46972 w 346073"/>
                  <a:gd name="connsiteY430" fmla="*/ 197431 h 503200"/>
                  <a:gd name="connsiteX431" fmla="*/ 47729 w 346073"/>
                  <a:gd name="connsiteY431" fmla="*/ 200916 h 503200"/>
                  <a:gd name="connsiteX432" fmla="*/ 53487 w 346073"/>
                  <a:gd name="connsiteY432" fmla="*/ 212280 h 503200"/>
                  <a:gd name="connsiteX433" fmla="*/ 55305 w 346073"/>
                  <a:gd name="connsiteY433" fmla="*/ 214705 h 503200"/>
                  <a:gd name="connsiteX434" fmla="*/ 59396 w 346073"/>
                  <a:gd name="connsiteY434" fmla="*/ 218038 h 503200"/>
                  <a:gd name="connsiteX435" fmla="*/ 63487 w 346073"/>
                  <a:gd name="connsiteY435" fmla="*/ 222432 h 503200"/>
                  <a:gd name="connsiteX436" fmla="*/ 65912 w 346073"/>
                  <a:gd name="connsiteY436" fmla="*/ 227887 h 503200"/>
                  <a:gd name="connsiteX437" fmla="*/ 70306 w 346073"/>
                  <a:gd name="connsiteY437" fmla="*/ 233645 h 503200"/>
                  <a:gd name="connsiteX438" fmla="*/ 70609 w 346073"/>
                  <a:gd name="connsiteY438" fmla="*/ 236978 h 503200"/>
                  <a:gd name="connsiteX439" fmla="*/ 73033 w 346073"/>
                  <a:gd name="connsiteY439" fmla="*/ 243342 h 503200"/>
                  <a:gd name="connsiteX440" fmla="*/ 75306 w 346073"/>
                  <a:gd name="connsiteY440" fmla="*/ 248494 h 503200"/>
                  <a:gd name="connsiteX441" fmla="*/ 79094 w 346073"/>
                  <a:gd name="connsiteY441" fmla="*/ 254252 h 503200"/>
                  <a:gd name="connsiteX442" fmla="*/ 81518 w 346073"/>
                  <a:gd name="connsiteY442" fmla="*/ 261979 h 503200"/>
                  <a:gd name="connsiteX443" fmla="*/ 83640 w 346073"/>
                  <a:gd name="connsiteY443" fmla="*/ 266373 h 503200"/>
                  <a:gd name="connsiteX444" fmla="*/ 86215 w 346073"/>
                  <a:gd name="connsiteY444" fmla="*/ 273949 h 503200"/>
                  <a:gd name="connsiteX445" fmla="*/ 88640 w 346073"/>
                  <a:gd name="connsiteY445" fmla="*/ 278647 h 503200"/>
                  <a:gd name="connsiteX446" fmla="*/ 98489 w 346073"/>
                  <a:gd name="connsiteY446" fmla="*/ 294556 h 503200"/>
                  <a:gd name="connsiteX447" fmla="*/ 100458 w 346073"/>
                  <a:gd name="connsiteY447" fmla="*/ 299708 h 503200"/>
                  <a:gd name="connsiteX448" fmla="*/ 101064 w 346073"/>
                  <a:gd name="connsiteY448" fmla="*/ 304405 h 503200"/>
                  <a:gd name="connsiteX449" fmla="*/ 101216 w 346073"/>
                  <a:gd name="connsiteY449" fmla="*/ 306981 h 503200"/>
                  <a:gd name="connsiteX450" fmla="*/ 110156 w 346073"/>
                  <a:gd name="connsiteY450" fmla="*/ 313648 h 503200"/>
                  <a:gd name="connsiteX451" fmla="*/ 112580 w 346073"/>
                  <a:gd name="connsiteY451" fmla="*/ 317284 h 503200"/>
                  <a:gd name="connsiteX452" fmla="*/ 114247 w 346073"/>
                  <a:gd name="connsiteY452" fmla="*/ 324406 h 503200"/>
                  <a:gd name="connsiteX453" fmla="*/ 114398 w 346073"/>
                  <a:gd name="connsiteY453" fmla="*/ 328194 h 503200"/>
                  <a:gd name="connsiteX454" fmla="*/ 116823 w 346073"/>
                  <a:gd name="connsiteY454" fmla="*/ 329557 h 503200"/>
                  <a:gd name="connsiteX455" fmla="*/ 117580 w 346073"/>
                  <a:gd name="connsiteY455" fmla="*/ 331376 h 503200"/>
                  <a:gd name="connsiteX456" fmla="*/ 118792 w 346073"/>
                  <a:gd name="connsiteY456" fmla="*/ 332588 h 503200"/>
                  <a:gd name="connsiteX457" fmla="*/ 123186 w 346073"/>
                  <a:gd name="connsiteY457" fmla="*/ 336224 h 503200"/>
                  <a:gd name="connsiteX458" fmla="*/ 125156 w 346073"/>
                  <a:gd name="connsiteY458" fmla="*/ 341073 h 503200"/>
                  <a:gd name="connsiteX459" fmla="*/ 128490 w 346073"/>
                  <a:gd name="connsiteY459" fmla="*/ 346679 h 503200"/>
                  <a:gd name="connsiteX460" fmla="*/ 130763 w 346073"/>
                  <a:gd name="connsiteY460" fmla="*/ 349255 h 503200"/>
                  <a:gd name="connsiteX461" fmla="*/ 132278 w 346073"/>
                  <a:gd name="connsiteY461" fmla="*/ 353801 h 503200"/>
                  <a:gd name="connsiteX462" fmla="*/ 134247 w 346073"/>
                  <a:gd name="connsiteY462" fmla="*/ 357286 h 503200"/>
                  <a:gd name="connsiteX463" fmla="*/ 139854 w 346073"/>
                  <a:gd name="connsiteY463" fmla="*/ 364407 h 503200"/>
                  <a:gd name="connsiteX464" fmla="*/ 140914 w 346073"/>
                  <a:gd name="connsiteY464" fmla="*/ 368498 h 503200"/>
                  <a:gd name="connsiteX465" fmla="*/ 138793 w 346073"/>
                  <a:gd name="connsiteY465" fmla="*/ 376377 h 503200"/>
                  <a:gd name="connsiteX466" fmla="*/ 137278 w 346073"/>
                  <a:gd name="connsiteY466" fmla="*/ 376984 h 503200"/>
                  <a:gd name="connsiteX467" fmla="*/ 135611 w 346073"/>
                  <a:gd name="connsiteY467" fmla="*/ 378044 h 503200"/>
                  <a:gd name="connsiteX468" fmla="*/ 137884 w 346073"/>
                  <a:gd name="connsiteY468" fmla="*/ 380468 h 503200"/>
                  <a:gd name="connsiteX469" fmla="*/ 138035 w 346073"/>
                  <a:gd name="connsiteY469" fmla="*/ 385620 h 503200"/>
                  <a:gd name="connsiteX470" fmla="*/ 141217 w 346073"/>
                  <a:gd name="connsiteY470" fmla="*/ 388196 h 503200"/>
                  <a:gd name="connsiteX471" fmla="*/ 142278 w 346073"/>
                  <a:gd name="connsiteY471" fmla="*/ 390772 h 503200"/>
                  <a:gd name="connsiteX472" fmla="*/ 145763 w 346073"/>
                  <a:gd name="connsiteY472" fmla="*/ 395621 h 503200"/>
                  <a:gd name="connsiteX473" fmla="*/ 147733 w 346073"/>
                  <a:gd name="connsiteY473" fmla="*/ 399409 h 503200"/>
                  <a:gd name="connsiteX474" fmla="*/ 153188 w 346073"/>
                  <a:gd name="connsiteY474" fmla="*/ 403651 h 503200"/>
                  <a:gd name="connsiteX475" fmla="*/ 158642 w 346073"/>
                  <a:gd name="connsiteY475" fmla="*/ 406833 h 503200"/>
                  <a:gd name="connsiteX476" fmla="*/ 162430 w 346073"/>
                  <a:gd name="connsiteY476" fmla="*/ 412288 h 503200"/>
                  <a:gd name="connsiteX477" fmla="*/ 165764 w 346073"/>
                  <a:gd name="connsiteY477" fmla="*/ 414561 h 503200"/>
                  <a:gd name="connsiteX478" fmla="*/ 168036 w 346073"/>
                  <a:gd name="connsiteY478" fmla="*/ 418500 h 503200"/>
                  <a:gd name="connsiteX479" fmla="*/ 170461 w 346073"/>
                  <a:gd name="connsiteY479" fmla="*/ 421076 h 503200"/>
                  <a:gd name="connsiteX480" fmla="*/ 185462 w 346073"/>
                  <a:gd name="connsiteY480" fmla="*/ 429106 h 503200"/>
                  <a:gd name="connsiteX481" fmla="*/ 190462 w 346073"/>
                  <a:gd name="connsiteY481" fmla="*/ 432894 h 503200"/>
                  <a:gd name="connsiteX482" fmla="*/ 196674 w 346073"/>
                  <a:gd name="connsiteY482" fmla="*/ 435016 h 503200"/>
                  <a:gd name="connsiteX483" fmla="*/ 205462 w 346073"/>
                  <a:gd name="connsiteY483" fmla="*/ 441683 h 503200"/>
                  <a:gd name="connsiteX484" fmla="*/ 208190 w 346073"/>
                  <a:gd name="connsiteY484" fmla="*/ 443046 h 503200"/>
                  <a:gd name="connsiteX485" fmla="*/ 217129 w 346073"/>
                  <a:gd name="connsiteY485" fmla="*/ 445925 h 503200"/>
                  <a:gd name="connsiteX486" fmla="*/ 220766 w 346073"/>
                  <a:gd name="connsiteY486" fmla="*/ 448350 h 503200"/>
                  <a:gd name="connsiteX487" fmla="*/ 229251 w 346073"/>
                  <a:gd name="connsiteY487" fmla="*/ 451986 h 503200"/>
                  <a:gd name="connsiteX488" fmla="*/ 233645 w 346073"/>
                  <a:gd name="connsiteY488" fmla="*/ 454562 h 503200"/>
                  <a:gd name="connsiteX489" fmla="*/ 242585 w 346073"/>
                  <a:gd name="connsiteY489" fmla="*/ 457289 h 503200"/>
                  <a:gd name="connsiteX490" fmla="*/ 245464 w 346073"/>
                  <a:gd name="connsiteY490" fmla="*/ 459108 h 503200"/>
                  <a:gd name="connsiteX491" fmla="*/ 248040 w 346073"/>
                  <a:gd name="connsiteY491" fmla="*/ 461986 h 503200"/>
                  <a:gd name="connsiteX492" fmla="*/ 252282 w 346073"/>
                  <a:gd name="connsiteY492" fmla="*/ 465472 h 503200"/>
                  <a:gd name="connsiteX493" fmla="*/ 256373 w 346073"/>
                  <a:gd name="connsiteY493" fmla="*/ 467138 h 503200"/>
                  <a:gd name="connsiteX494" fmla="*/ 258949 w 346073"/>
                  <a:gd name="connsiteY494" fmla="*/ 469714 h 503200"/>
                  <a:gd name="connsiteX495" fmla="*/ 261525 w 346073"/>
                  <a:gd name="connsiteY495" fmla="*/ 470926 h 503200"/>
                  <a:gd name="connsiteX496" fmla="*/ 268192 w 346073"/>
                  <a:gd name="connsiteY496" fmla="*/ 473654 h 503200"/>
                  <a:gd name="connsiteX497" fmla="*/ 270768 w 346073"/>
                  <a:gd name="connsiteY497" fmla="*/ 475623 h 503200"/>
                  <a:gd name="connsiteX498" fmla="*/ 271828 w 346073"/>
                  <a:gd name="connsiteY498" fmla="*/ 477290 h 503200"/>
                  <a:gd name="connsiteX499" fmla="*/ 272737 w 346073"/>
                  <a:gd name="connsiteY499" fmla="*/ 482745 h 503200"/>
                  <a:gd name="connsiteX500" fmla="*/ 273495 w 346073"/>
                  <a:gd name="connsiteY500" fmla="*/ 484563 h 503200"/>
                  <a:gd name="connsiteX501" fmla="*/ 281223 w 346073"/>
                  <a:gd name="connsiteY501" fmla="*/ 490018 h 503200"/>
                  <a:gd name="connsiteX502" fmla="*/ 284405 w 346073"/>
                  <a:gd name="connsiteY502" fmla="*/ 491533 h 503200"/>
                  <a:gd name="connsiteX503" fmla="*/ 287738 w 346073"/>
                  <a:gd name="connsiteY503" fmla="*/ 494867 h 503200"/>
                  <a:gd name="connsiteX504" fmla="*/ 296678 w 346073"/>
                  <a:gd name="connsiteY504" fmla="*/ 501230 h 503200"/>
                  <a:gd name="connsiteX505" fmla="*/ 298648 w 346073"/>
                  <a:gd name="connsiteY505" fmla="*/ 503200 h 503200"/>
                  <a:gd name="connsiteX506" fmla="*/ 299860 w 346073"/>
                  <a:gd name="connsiteY506" fmla="*/ 502746 h 503200"/>
                  <a:gd name="connsiteX507" fmla="*/ 302436 w 346073"/>
                  <a:gd name="connsiteY507" fmla="*/ 502594 h 503200"/>
                  <a:gd name="connsiteX508" fmla="*/ 305163 w 346073"/>
                  <a:gd name="connsiteY508" fmla="*/ 502594 h 503200"/>
                  <a:gd name="connsiteX509" fmla="*/ 308496 w 346073"/>
                  <a:gd name="connsiteY509" fmla="*/ 501382 h 503200"/>
                  <a:gd name="connsiteX510" fmla="*/ 312133 w 346073"/>
                  <a:gd name="connsiteY510" fmla="*/ 499261 h 503200"/>
                  <a:gd name="connsiteX511" fmla="*/ 314557 w 346073"/>
                  <a:gd name="connsiteY511" fmla="*/ 496079 h 503200"/>
                  <a:gd name="connsiteX512" fmla="*/ 315466 w 346073"/>
                  <a:gd name="connsiteY512" fmla="*/ 493200 h 503200"/>
                  <a:gd name="connsiteX513" fmla="*/ 315466 w 346073"/>
                  <a:gd name="connsiteY513" fmla="*/ 490624 h 503200"/>
                  <a:gd name="connsiteX514" fmla="*/ 314406 w 346073"/>
                  <a:gd name="connsiteY514" fmla="*/ 487442 h 503200"/>
                  <a:gd name="connsiteX515" fmla="*/ 314103 w 346073"/>
                  <a:gd name="connsiteY515" fmla="*/ 485169 h 503200"/>
                  <a:gd name="connsiteX516" fmla="*/ 315466 w 346073"/>
                  <a:gd name="connsiteY516" fmla="*/ 484109 h 503200"/>
                  <a:gd name="connsiteX517" fmla="*/ 318800 w 346073"/>
                  <a:gd name="connsiteY517" fmla="*/ 483654 h 503200"/>
                  <a:gd name="connsiteX518" fmla="*/ 321376 w 346073"/>
                  <a:gd name="connsiteY518" fmla="*/ 481533 h 503200"/>
                  <a:gd name="connsiteX519" fmla="*/ 323497 w 346073"/>
                  <a:gd name="connsiteY519" fmla="*/ 479563 h 503200"/>
                  <a:gd name="connsiteX520" fmla="*/ 323497 w 346073"/>
                  <a:gd name="connsiteY520" fmla="*/ 479563 h 503200"/>
                  <a:gd name="connsiteX521" fmla="*/ 323497 w 346073"/>
                  <a:gd name="connsiteY521" fmla="*/ 478351 h 503200"/>
                  <a:gd name="connsiteX522" fmla="*/ 323194 w 346073"/>
                  <a:gd name="connsiteY522" fmla="*/ 476229 h 503200"/>
                  <a:gd name="connsiteX523" fmla="*/ 321982 w 346073"/>
                  <a:gd name="connsiteY523" fmla="*/ 474714 h 503200"/>
                  <a:gd name="connsiteX524" fmla="*/ 320315 w 346073"/>
                  <a:gd name="connsiteY524" fmla="*/ 473654 h 503200"/>
                  <a:gd name="connsiteX525" fmla="*/ 319860 w 346073"/>
                  <a:gd name="connsiteY525" fmla="*/ 472441 h 503200"/>
                  <a:gd name="connsiteX526" fmla="*/ 320315 w 346073"/>
                  <a:gd name="connsiteY526" fmla="*/ 471078 h 503200"/>
                  <a:gd name="connsiteX527" fmla="*/ 323648 w 346073"/>
                  <a:gd name="connsiteY527" fmla="*/ 468350 h 503200"/>
                  <a:gd name="connsiteX528" fmla="*/ 325467 w 346073"/>
                  <a:gd name="connsiteY528" fmla="*/ 467896 h 503200"/>
                  <a:gd name="connsiteX529" fmla="*/ 325921 w 346073"/>
                  <a:gd name="connsiteY529" fmla="*/ 466532 h 503200"/>
                  <a:gd name="connsiteX530" fmla="*/ 326982 w 346073"/>
                  <a:gd name="connsiteY530" fmla="*/ 465472 h 503200"/>
                  <a:gd name="connsiteX531" fmla="*/ 330164 w 346073"/>
                  <a:gd name="connsiteY531" fmla="*/ 461532 h 503200"/>
                  <a:gd name="connsiteX532" fmla="*/ 331982 w 346073"/>
                  <a:gd name="connsiteY532" fmla="*/ 458956 h 503200"/>
                  <a:gd name="connsiteX533" fmla="*/ 333800 w 346073"/>
                  <a:gd name="connsiteY533" fmla="*/ 457441 h 503200"/>
                  <a:gd name="connsiteX534" fmla="*/ 335922 w 346073"/>
                  <a:gd name="connsiteY534" fmla="*/ 456229 h 503200"/>
                  <a:gd name="connsiteX535" fmla="*/ 336982 w 346073"/>
                  <a:gd name="connsiteY535" fmla="*/ 455471 h 503200"/>
                  <a:gd name="connsiteX536" fmla="*/ 336376 w 346073"/>
                  <a:gd name="connsiteY536" fmla="*/ 452592 h 503200"/>
                  <a:gd name="connsiteX537" fmla="*/ 336528 w 346073"/>
                  <a:gd name="connsiteY537" fmla="*/ 452289 h 503200"/>
                  <a:gd name="connsiteX538" fmla="*/ 336073 w 346073"/>
                  <a:gd name="connsiteY538" fmla="*/ 452138 h 503200"/>
                  <a:gd name="connsiteX539" fmla="*/ 335467 w 346073"/>
                  <a:gd name="connsiteY539" fmla="*/ 451986 h 503200"/>
                  <a:gd name="connsiteX540" fmla="*/ 334861 w 346073"/>
                  <a:gd name="connsiteY540" fmla="*/ 450925 h 503200"/>
                  <a:gd name="connsiteX541" fmla="*/ 336073 w 346073"/>
                  <a:gd name="connsiteY541" fmla="*/ 449107 h 503200"/>
                  <a:gd name="connsiteX542" fmla="*/ 336376 w 346073"/>
                  <a:gd name="connsiteY542" fmla="*/ 447592 h 503200"/>
                  <a:gd name="connsiteX543" fmla="*/ 336376 w 346073"/>
                  <a:gd name="connsiteY543" fmla="*/ 446380 h 503200"/>
                  <a:gd name="connsiteX544" fmla="*/ 336225 w 346073"/>
                  <a:gd name="connsiteY544" fmla="*/ 445319 h 503200"/>
                  <a:gd name="connsiteX545" fmla="*/ 337285 w 346073"/>
                  <a:gd name="connsiteY545" fmla="*/ 444562 h 503200"/>
                  <a:gd name="connsiteX546" fmla="*/ 338043 w 346073"/>
                  <a:gd name="connsiteY546" fmla="*/ 444107 h 503200"/>
                  <a:gd name="connsiteX547" fmla="*/ 336225 w 346073"/>
                  <a:gd name="connsiteY547" fmla="*/ 443501 h 503200"/>
                  <a:gd name="connsiteX548" fmla="*/ 333800 w 346073"/>
                  <a:gd name="connsiteY548" fmla="*/ 443653 h 503200"/>
                  <a:gd name="connsiteX549" fmla="*/ 333800 w 346073"/>
                  <a:gd name="connsiteY549" fmla="*/ 443956 h 503200"/>
                  <a:gd name="connsiteX550" fmla="*/ 332588 w 346073"/>
                  <a:gd name="connsiteY550" fmla="*/ 444410 h 503200"/>
                  <a:gd name="connsiteX551" fmla="*/ 331376 w 346073"/>
                  <a:gd name="connsiteY551" fmla="*/ 444562 h 503200"/>
                  <a:gd name="connsiteX552" fmla="*/ 330164 w 346073"/>
                  <a:gd name="connsiteY552" fmla="*/ 444410 h 503200"/>
                  <a:gd name="connsiteX553" fmla="*/ 328649 w 346073"/>
                  <a:gd name="connsiteY553" fmla="*/ 444259 h 503200"/>
                  <a:gd name="connsiteX554" fmla="*/ 327436 w 346073"/>
                  <a:gd name="connsiteY554" fmla="*/ 443653 h 503200"/>
                  <a:gd name="connsiteX555" fmla="*/ 326527 w 346073"/>
                  <a:gd name="connsiteY555" fmla="*/ 443046 h 503200"/>
                  <a:gd name="connsiteX556" fmla="*/ 325618 w 346073"/>
                  <a:gd name="connsiteY556" fmla="*/ 442743 h 503200"/>
                  <a:gd name="connsiteX557" fmla="*/ 324255 w 346073"/>
                  <a:gd name="connsiteY557" fmla="*/ 442592 h 503200"/>
                  <a:gd name="connsiteX558" fmla="*/ 324103 w 346073"/>
                  <a:gd name="connsiteY558" fmla="*/ 441986 h 503200"/>
                  <a:gd name="connsiteX559" fmla="*/ 325164 w 346073"/>
                  <a:gd name="connsiteY559" fmla="*/ 440622 h 503200"/>
                  <a:gd name="connsiteX560" fmla="*/ 325467 w 346073"/>
                  <a:gd name="connsiteY560" fmla="*/ 439107 h 503200"/>
                  <a:gd name="connsiteX561" fmla="*/ 325315 w 346073"/>
                  <a:gd name="connsiteY561" fmla="*/ 438349 h 503200"/>
                  <a:gd name="connsiteX562" fmla="*/ 324103 w 346073"/>
                  <a:gd name="connsiteY562" fmla="*/ 437743 h 503200"/>
                  <a:gd name="connsiteX563" fmla="*/ 322285 w 346073"/>
                  <a:gd name="connsiteY563" fmla="*/ 437289 h 503200"/>
                  <a:gd name="connsiteX564" fmla="*/ 320315 w 346073"/>
                  <a:gd name="connsiteY564" fmla="*/ 436531 h 503200"/>
                  <a:gd name="connsiteX565" fmla="*/ 319254 w 346073"/>
                  <a:gd name="connsiteY565" fmla="*/ 435925 h 503200"/>
                  <a:gd name="connsiteX566" fmla="*/ 318497 w 346073"/>
                  <a:gd name="connsiteY566" fmla="*/ 435319 h 503200"/>
                  <a:gd name="connsiteX567" fmla="*/ 317891 w 346073"/>
                  <a:gd name="connsiteY567" fmla="*/ 434864 h 503200"/>
                  <a:gd name="connsiteX568" fmla="*/ 316981 w 346073"/>
                  <a:gd name="connsiteY568" fmla="*/ 434258 h 503200"/>
                  <a:gd name="connsiteX569" fmla="*/ 316072 w 346073"/>
                  <a:gd name="connsiteY569" fmla="*/ 433501 h 503200"/>
                  <a:gd name="connsiteX570" fmla="*/ 315315 w 346073"/>
                  <a:gd name="connsiteY570" fmla="*/ 432743 h 503200"/>
                  <a:gd name="connsiteX571" fmla="*/ 314709 w 346073"/>
                  <a:gd name="connsiteY571" fmla="*/ 432440 h 503200"/>
                  <a:gd name="connsiteX572" fmla="*/ 314254 w 346073"/>
                  <a:gd name="connsiteY572" fmla="*/ 432592 h 503200"/>
                  <a:gd name="connsiteX573" fmla="*/ 314103 w 346073"/>
                  <a:gd name="connsiteY573" fmla="*/ 433046 h 503200"/>
                  <a:gd name="connsiteX574" fmla="*/ 314103 w 346073"/>
                  <a:gd name="connsiteY574" fmla="*/ 433652 h 503200"/>
                  <a:gd name="connsiteX575" fmla="*/ 314406 w 346073"/>
                  <a:gd name="connsiteY575" fmla="*/ 434258 h 503200"/>
                  <a:gd name="connsiteX576" fmla="*/ 314709 w 346073"/>
                  <a:gd name="connsiteY576" fmla="*/ 434864 h 503200"/>
                  <a:gd name="connsiteX577" fmla="*/ 314709 w 346073"/>
                  <a:gd name="connsiteY577" fmla="*/ 435167 h 503200"/>
                  <a:gd name="connsiteX578" fmla="*/ 314406 w 346073"/>
                  <a:gd name="connsiteY578" fmla="*/ 435319 h 503200"/>
                  <a:gd name="connsiteX579" fmla="*/ 313951 w 346073"/>
                  <a:gd name="connsiteY579" fmla="*/ 435319 h 503200"/>
                  <a:gd name="connsiteX580" fmla="*/ 313497 w 346073"/>
                  <a:gd name="connsiteY580" fmla="*/ 435016 h 503200"/>
                  <a:gd name="connsiteX581" fmla="*/ 313042 w 346073"/>
                  <a:gd name="connsiteY581" fmla="*/ 434713 h 503200"/>
                  <a:gd name="connsiteX582" fmla="*/ 312284 w 346073"/>
                  <a:gd name="connsiteY582" fmla="*/ 434107 h 503200"/>
                  <a:gd name="connsiteX583" fmla="*/ 311224 w 346073"/>
                  <a:gd name="connsiteY583" fmla="*/ 433501 h 503200"/>
                  <a:gd name="connsiteX584" fmla="*/ 310315 w 346073"/>
                  <a:gd name="connsiteY584" fmla="*/ 433046 h 503200"/>
                  <a:gd name="connsiteX585" fmla="*/ 309860 w 346073"/>
                  <a:gd name="connsiteY585" fmla="*/ 432743 h 503200"/>
                  <a:gd name="connsiteX586" fmla="*/ 309709 w 346073"/>
                  <a:gd name="connsiteY586" fmla="*/ 432137 h 503200"/>
                  <a:gd name="connsiteX587" fmla="*/ 309557 w 346073"/>
                  <a:gd name="connsiteY587" fmla="*/ 431076 h 503200"/>
                  <a:gd name="connsiteX588" fmla="*/ 309709 w 346073"/>
                  <a:gd name="connsiteY588" fmla="*/ 430016 h 503200"/>
                  <a:gd name="connsiteX589" fmla="*/ 310012 w 346073"/>
                  <a:gd name="connsiteY589" fmla="*/ 429258 h 503200"/>
                  <a:gd name="connsiteX590" fmla="*/ 310769 w 346073"/>
                  <a:gd name="connsiteY590" fmla="*/ 428500 h 503200"/>
                  <a:gd name="connsiteX591" fmla="*/ 311375 w 346073"/>
                  <a:gd name="connsiteY591" fmla="*/ 427591 h 503200"/>
                  <a:gd name="connsiteX592" fmla="*/ 312284 w 346073"/>
                  <a:gd name="connsiteY592" fmla="*/ 427288 h 503200"/>
                  <a:gd name="connsiteX593" fmla="*/ 313800 w 346073"/>
                  <a:gd name="connsiteY593" fmla="*/ 428046 h 503200"/>
                  <a:gd name="connsiteX594" fmla="*/ 315163 w 346073"/>
                  <a:gd name="connsiteY594" fmla="*/ 428804 h 503200"/>
                  <a:gd name="connsiteX595" fmla="*/ 315618 w 346073"/>
                  <a:gd name="connsiteY595" fmla="*/ 428955 h 503200"/>
                  <a:gd name="connsiteX596" fmla="*/ 315163 w 346073"/>
                  <a:gd name="connsiteY596" fmla="*/ 427440 h 503200"/>
                  <a:gd name="connsiteX597" fmla="*/ 313648 w 346073"/>
                  <a:gd name="connsiteY597" fmla="*/ 424409 h 503200"/>
                  <a:gd name="connsiteX598" fmla="*/ 311981 w 346073"/>
                  <a:gd name="connsiteY598" fmla="*/ 421530 h 503200"/>
                  <a:gd name="connsiteX599" fmla="*/ 311830 w 346073"/>
                  <a:gd name="connsiteY599" fmla="*/ 420773 h 503200"/>
                  <a:gd name="connsiteX600" fmla="*/ 312436 w 346073"/>
                  <a:gd name="connsiteY600" fmla="*/ 420015 h 503200"/>
                  <a:gd name="connsiteX601" fmla="*/ 314103 w 346073"/>
                  <a:gd name="connsiteY601" fmla="*/ 419258 h 503200"/>
                  <a:gd name="connsiteX602" fmla="*/ 314406 w 346073"/>
                  <a:gd name="connsiteY602" fmla="*/ 418652 h 503200"/>
                  <a:gd name="connsiteX603" fmla="*/ 314709 w 346073"/>
                  <a:gd name="connsiteY603" fmla="*/ 418197 h 503200"/>
                  <a:gd name="connsiteX604" fmla="*/ 315618 w 346073"/>
                  <a:gd name="connsiteY604" fmla="*/ 417894 h 503200"/>
                  <a:gd name="connsiteX605" fmla="*/ 316679 w 346073"/>
                  <a:gd name="connsiteY605" fmla="*/ 417591 h 503200"/>
                  <a:gd name="connsiteX606" fmla="*/ 317133 w 346073"/>
                  <a:gd name="connsiteY606" fmla="*/ 417136 h 503200"/>
                  <a:gd name="connsiteX607" fmla="*/ 318648 w 346073"/>
                  <a:gd name="connsiteY607" fmla="*/ 416985 h 503200"/>
                  <a:gd name="connsiteX608" fmla="*/ 320315 w 346073"/>
                  <a:gd name="connsiteY608" fmla="*/ 419258 h 503200"/>
                  <a:gd name="connsiteX609" fmla="*/ 322739 w 346073"/>
                  <a:gd name="connsiteY609" fmla="*/ 420015 h 503200"/>
                  <a:gd name="connsiteX610" fmla="*/ 325164 w 346073"/>
                  <a:gd name="connsiteY610" fmla="*/ 422743 h 503200"/>
                  <a:gd name="connsiteX611" fmla="*/ 326376 w 346073"/>
                  <a:gd name="connsiteY611" fmla="*/ 423349 h 503200"/>
                  <a:gd name="connsiteX612" fmla="*/ 327436 w 346073"/>
                  <a:gd name="connsiteY612" fmla="*/ 423803 h 503200"/>
                  <a:gd name="connsiteX613" fmla="*/ 329255 w 346073"/>
                  <a:gd name="connsiteY613" fmla="*/ 420773 h 503200"/>
                  <a:gd name="connsiteX614" fmla="*/ 330467 w 346073"/>
                  <a:gd name="connsiteY614" fmla="*/ 418955 h 503200"/>
                  <a:gd name="connsiteX615" fmla="*/ 332740 w 346073"/>
                  <a:gd name="connsiteY615" fmla="*/ 416227 h 503200"/>
                  <a:gd name="connsiteX616" fmla="*/ 332437 w 346073"/>
                  <a:gd name="connsiteY616" fmla="*/ 415167 h 503200"/>
                  <a:gd name="connsiteX617" fmla="*/ 328497 w 346073"/>
                  <a:gd name="connsiteY617" fmla="*/ 410773 h 503200"/>
                  <a:gd name="connsiteX618" fmla="*/ 327285 w 346073"/>
                  <a:gd name="connsiteY618" fmla="*/ 408651 h 503200"/>
                  <a:gd name="connsiteX619" fmla="*/ 327285 w 346073"/>
                  <a:gd name="connsiteY619" fmla="*/ 406530 h 503200"/>
                  <a:gd name="connsiteX620" fmla="*/ 327588 w 346073"/>
                  <a:gd name="connsiteY620" fmla="*/ 403954 h 503200"/>
                  <a:gd name="connsiteX621" fmla="*/ 329861 w 346073"/>
                  <a:gd name="connsiteY621" fmla="*/ 402590 h 503200"/>
                  <a:gd name="connsiteX622" fmla="*/ 330618 w 346073"/>
                  <a:gd name="connsiteY622" fmla="*/ 400469 h 503200"/>
                  <a:gd name="connsiteX623" fmla="*/ 331073 w 346073"/>
                  <a:gd name="connsiteY623" fmla="*/ 398499 h 503200"/>
                  <a:gd name="connsiteX624" fmla="*/ 331982 w 346073"/>
                  <a:gd name="connsiteY624" fmla="*/ 397742 h 503200"/>
                  <a:gd name="connsiteX625" fmla="*/ 333043 w 346073"/>
                  <a:gd name="connsiteY625" fmla="*/ 396530 h 503200"/>
                  <a:gd name="connsiteX626" fmla="*/ 334255 w 346073"/>
                  <a:gd name="connsiteY626" fmla="*/ 394863 h 503200"/>
                  <a:gd name="connsiteX627" fmla="*/ 336073 w 346073"/>
                  <a:gd name="connsiteY627" fmla="*/ 393499 h 503200"/>
                  <a:gd name="connsiteX628" fmla="*/ 337134 w 346073"/>
                  <a:gd name="connsiteY628" fmla="*/ 392287 h 503200"/>
                  <a:gd name="connsiteX629" fmla="*/ 337285 w 346073"/>
                  <a:gd name="connsiteY629" fmla="*/ 389257 h 503200"/>
                  <a:gd name="connsiteX630" fmla="*/ 338194 w 346073"/>
                  <a:gd name="connsiteY630" fmla="*/ 388348 h 503200"/>
                  <a:gd name="connsiteX631" fmla="*/ 340770 w 346073"/>
                  <a:gd name="connsiteY631" fmla="*/ 387438 h 503200"/>
                  <a:gd name="connsiteX632" fmla="*/ 341073 w 346073"/>
                  <a:gd name="connsiteY632" fmla="*/ 386529 h 503200"/>
                  <a:gd name="connsiteX633" fmla="*/ 340467 w 346073"/>
                  <a:gd name="connsiteY633" fmla="*/ 384560 h 503200"/>
                  <a:gd name="connsiteX634" fmla="*/ 339255 w 346073"/>
                  <a:gd name="connsiteY634" fmla="*/ 382287 h 503200"/>
                  <a:gd name="connsiteX635" fmla="*/ 338194 w 346073"/>
                  <a:gd name="connsiteY635" fmla="*/ 381226 h 503200"/>
                  <a:gd name="connsiteX636" fmla="*/ 336831 w 346073"/>
                  <a:gd name="connsiteY636" fmla="*/ 375771 h 503200"/>
                  <a:gd name="connsiteX637" fmla="*/ 335467 w 346073"/>
                  <a:gd name="connsiteY637" fmla="*/ 373044 h 503200"/>
                  <a:gd name="connsiteX638" fmla="*/ 336073 w 346073"/>
                  <a:gd name="connsiteY638" fmla="*/ 371983 h 503200"/>
                  <a:gd name="connsiteX639" fmla="*/ 336982 w 346073"/>
                  <a:gd name="connsiteY639" fmla="*/ 370619 h 503200"/>
                  <a:gd name="connsiteX640" fmla="*/ 337891 w 346073"/>
                  <a:gd name="connsiteY640" fmla="*/ 367892 h 503200"/>
                  <a:gd name="connsiteX641" fmla="*/ 338194 w 346073"/>
                  <a:gd name="connsiteY641" fmla="*/ 364710 h 503200"/>
                  <a:gd name="connsiteX642" fmla="*/ 338043 w 346073"/>
                  <a:gd name="connsiteY642" fmla="*/ 353195 h 503200"/>
                  <a:gd name="connsiteX643" fmla="*/ 338043 w 346073"/>
                  <a:gd name="connsiteY643" fmla="*/ 350922 h 503200"/>
                  <a:gd name="connsiteX644" fmla="*/ 339255 w 346073"/>
                  <a:gd name="connsiteY644" fmla="*/ 349255 h 503200"/>
                  <a:gd name="connsiteX645" fmla="*/ 341073 w 346073"/>
                  <a:gd name="connsiteY645" fmla="*/ 347437 h 503200"/>
                  <a:gd name="connsiteX646" fmla="*/ 342588 w 346073"/>
                  <a:gd name="connsiteY646" fmla="*/ 346679 h 503200"/>
                  <a:gd name="connsiteX647" fmla="*/ 344104 w 346073"/>
                  <a:gd name="connsiteY647" fmla="*/ 345619 h 503200"/>
                  <a:gd name="connsiteX648" fmla="*/ 343952 w 346073"/>
                  <a:gd name="connsiteY648" fmla="*/ 343346 h 503200"/>
                  <a:gd name="connsiteX649" fmla="*/ 344861 w 346073"/>
                  <a:gd name="connsiteY649" fmla="*/ 341982 h 5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Lst>
                <a:rect l="l" t="t" r="r" b="b"/>
                <a:pathLst>
                  <a:path w="346073" h="503200">
                    <a:moveTo>
                      <a:pt x="346073" y="340467"/>
                    </a:moveTo>
                    <a:lnTo>
                      <a:pt x="342437" y="334103"/>
                    </a:lnTo>
                    <a:lnTo>
                      <a:pt x="339255" y="328345"/>
                    </a:lnTo>
                    <a:lnTo>
                      <a:pt x="336225" y="323194"/>
                    </a:lnTo>
                    <a:lnTo>
                      <a:pt x="332740" y="316981"/>
                    </a:lnTo>
                    <a:lnTo>
                      <a:pt x="330467" y="313042"/>
                    </a:lnTo>
                    <a:lnTo>
                      <a:pt x="327588" y="308042"/>
                    </a:lnTo>
                    <a:lnTo>
                      <a:pt x="325012" y="303647"/>
                    </a:lnTo>
                    <a:lnTo>
                      <a:pt x="321679" y="297738"/>
                    </a:lnTo>
                    <a:lnTo>
                      <a:pt x="319103" y="297738"/>
                    </a:lnTo>
                    <a:lnTo>
                      <a:pt x="314557" y="297132"/>
                    </a:lnTo>
                    <a:lnTo>
                      <a:pt x="311224" y="297132"/>
                    </a:lnTo>
                    <a:lnTo>
                      <a:pt x="308345" y="298496"/>
                    </a:lnTo>
                    <a:lnTo>
                      <a:pt x="304102" y="300314"/>
                    </a:lnTo>
                    <a:lnTo>
                      <a:pt x="302132" y="300768"/>
                    </a:lnTo>
                    <a:lnTo>
                      <a:pt x="300769" y="300920"/>
                    </a:lnTo>
                    <a:lnTo>
                      <a:pt x="299405" y="300617"/>
                    </a:lnTo>
                    <a:lnTo>
                      <a:pt x="297738" y="299708"/>
                    </a:lnTo>
                    <a:lnTo>
                      <a:pt x="295466" y="297587"/>
                    </a:lnTo>
                    <a:lnTo>
                      <a:pt x="293799" y="298344"/>
                    </a:lnTo>
                    <a:lnTo>
                      <a:pt x="292587" y="299253"/>
                    </a:lnTo>
                    <a:lnTo>
                      <a:pt x="292587" y="294708"/>
                    </a:lnTo>
                    <a:lnTo>
                      <a:pt x="292587" y="287586"/>
                    </a:lnTo>
                    <a:lnTo>
                      <a:pt x="292587" y="281525"/>
                    </a:lnTo>
                    <a:lnTo>
                      <a:pt x="292587" y="276525"/>
                    </a:lnTo>
                    <a:lnTo>
                      <a:pt x="292738" y="270767"/>
                    </a:lnTo>
                    <a:lnTo>
                      <a:pt x="292738" y="266676"/>
                    </a:lnTo>
                    <a:lnTo>
                      <a:pt x="293950" y="265161"/>
                    </a:lnTo>
                    <a:lnTo>
                      <a:pt x="294556" y="263494"/>
                    </a:lnTo>
                    <a:lnTo>
                      <a:pt x="293799" y="261070"/>
                    </a:lnTo>
                    <a:lnTo>
                      <a:pt x="293950" y="259100"/>
                    </a:lnTo>
                    <a:lnTo>
                      <a:pt x="294556" y="257585"/>
                    </a:lnTo>
                    <a:lnTo>
                      <a:pt x="295314" y="256070"/>
                    </a:lnTo>
                    <a:lnTo>
                      <a:pt x="293496" y="256828"/>
                    </a:lnTo>
                    <a:lnTo>
                      <a:pt x="292738" y="257282"/>
                    </a:lnTo>
                    <a:lnTo>
                      <a:pt x="291677" y="258343"/>
                    </a:lnTo>
                    <a:lnTo>
                      <a:pt x="289405" y="259858"/>
                    </a:lnTo>
                    <a:lnTo>
                      <a:pt x="287738" y="261222"/>
                    </a:lnTo>
                    <a:lnTo>
                      <a:pt x="285920" y="262434"/>
                    </a:lnTo>
                    <a:lnTo>
                      <a:pt x="283495" y="265161"/>
                    </a:lnTo>
                    <a:lnTo>
                      <a:pt x="281677" y="266525"/>
                    </a:lnTo>
                    <a:lnTo>
                      <a:pt x="279556" y="267434"/>
                    </a:lnTo>
                    <a:lnTo>
                      <a:pt x="276223" y="270616"/>
                    </a:lnTo>
                    <a:lnTo>
                      <a:pt x="273495" y="271222"/>
                    </a:lnTo>
                    <a:lnTo>
                      <a:pt x="266070" y="271676"/>
                    </a:lnTo>
                    <a:lnTo>
                      <a:pt x="258494" y="271676"/>
                    </a:lnTo>
                    <a:lnTo>
                      <a:pt x="251525" y="271676"/>
                    </a:lnTo>
                    <a:lnTo>
                      <a:pt x="250464" y="271676"/>
                    </a:lnTo>
                    <a:lnTo>
                      <a:pt x="250464" y="269101"/>
                    </a:lnTo>
                    <a:lnTo>
                      <a:pt x="250615" y="267282"/>
                    </a:lnTo>
                    <a:lnTo>
                      <a:pt x="248343" y="265313"/>
                    </a:lnTo>
                    <a:lnTo>
                      <a:pt x="248191" y="263040"/>
                    </a:lnTo>
                    <a:lnTo>
                      <a:pt x="247433" y="261373"/>
                    </a:lnTo>
                    <a:lnTo>
                      <a:pt x="246676" y="259403"/>
                    </a:lnTo>
                    <a:lnTo>
                      <a:pt x="245009" y="258040"/>
                    </a:lnTo>
                    <a:lnTo>
                      <a:pt x="242736" y="257585"/>
                    </a:lnTo>
                    <a:lnTo>
                      <a:pt x="238797" y="256524"/>
                    </a:lnTo>
                    <a:lnTo>
                      <a:pt x="233190" y="255312"/>
                    </a:lnTo>
                    <a:lnTo>
                      <a:pt x="227736" y="255312"/>
                    </a:lnTo>
                    <a:lnTo>
                      <a:pt x="222281" y="255464"/>
                    </a:lnTo>
                    <a:lnTo>
                      <a:pt x="225614" y="251373"/>
                    </a:lnTo>
                    <a:lnTo>
                      <a:pt x="228796" y="247433"/>
                    </a:lnTo>
                    <a:lnTo>
                      <a:pt x="228796" y="243948"/>
                    </a:lnTo>
                    <a:lnTo>
                      <a:pt x="226069" y="240918"/>
                    </a:lnTo>
                    <a:lnTo>
                      <a:pt x="224705" y="239100"/>
                    </a:lnTo>
                    <a:lnTo>
                      <a:pt x="222433" y="236372"/>
                    </a:lnTo>
                    <a:lnTo>
                      <a:pt x="219705" y="234705"/>
                    </a:lnTo>
                    <a:lnTo>
                      <a:pt x="218341" y="232281"/>
                    </a:lnTo>
                    <a:lnTo>
                      <a:pt x="218341" y="230766"/>
                    </a:lnTo>
                    <a:lnTo>
                      <a:pt x="218190" y="229857"/>
                    </a:lnTo>
                    <a:lnTo>
                      <a:pt x="217129" y="229251"/>
                    </a:lnTo>
                    <a:lnTo>
                      <a:pt x="216069" y="228493"/>
                    </a:lnTo>
                    <a:lnTo>
                      <a:pt x="214705" y="227432"/>
                    </a:lnTo>
                    <a:lnTo>
                      <a:pt x="213038" y="226220"/>
                    </a:lnTo>
                    <a:lnTo>
                      <a:pt x="213038" y="225008"/>
                    </a:lnTo>
                    <a:lnTo>
                      <a:pt x="212432" y="223644"/>
                    </a:lnTo>
                    <a:lnTo>
                      <a:pt x="211371" y="221978"/>
                    </a:lnTo>
                    <a:lnTo>
                      <a:pt x="211371" y="220766"/>
                    </a:lnTo>
                    <a:lnTo>
                      <a:pt x="210462" y="218796"/>
                    </a:lnTo>
                    <a:lnTo>
                      <a:pt x="209402" y="217281"/>
                    </a:lnTo>
                    <a:lnTo>
                      <a:pt x="208341" y="216372"/>
                    </a:lnTo>
                    <a:lnTo>
                      <a:pt x="206826" y="215008"/>
                    </a:lnTo>
                    <a:lnTo>
                      <a:pt x="206826" y="213947"/>
                    </a:lnTo>
                    <a:lnTo>
                      <a:pt x="208038" y="213341"/>
                    </a:lnTo>
                    <a:lnTo>
                      <a:pt x="208493" y="212129"/>
                    </a:lnTo>
                    <a:lnTo>
                      <a:pt x="208341" y="210765"/>
                    </a:lnTo>
                    <a:lnTo>
                      <a:pt x="207129" y="210008"/>
                    </a:lnTo>
                    <a:lnTo>
                      <a:pt x="205614" y="209553"/>
                    </a:lnTo>
                    <a:lnTo>
                      <a:pt x="203493" y="207280"/>
                    </a:lnTo>
                    <a:lnTo>
                      <a:pt x="202129" y="206068"/>
                    </a:lnTo>
                    <a:lnTo>
                      <a:pt x="201220" y="205462"/>
                    </a:lnTo>
                    <a:lnTo>
                      <a:pt x="200614" y="204553"/>
                    </a:lnTo>
                    <a:lnTo>
                      <a:pt x="201220" y="204098"/>
                    </a:lnTo>
                    <a:lnTo>
                      <a:pt x="201826" y="203341"/>
                    </a:lnTo>
                    <a:lnTo>
                      <a:pt x="201977" y="201977"/>
                    </a:lnTo>
                    <a:lnTo>
                      <a:pt x="201674" y="200765"/>
                    </a:lnTo>
                    <a:lnTo>
                      <a:pt x="201674" y="199704"/>
                    </a:lnTo>
                    <a:lnTo>
                      <a:pt x="202583" y="199401"/>
                    </a:lnTo>
                    <a:lnTo>
                      <a:pt x="203644" y="199553"/>
                    </a:lnTo>
                    <a:lnTo>
                      <a:pt x="204705" y="198947"/>
                    </a:lnTo>
                    <a:lnTo>
                      <a:pt x="206068" y="198795"/>
                    </a:lnTo>
                    <a:lnTo>
                      <a:pt x="207583" y="198644"/>
                    </a:lnTo>
                    <a:lnTo>
                      <a:pt x="208341" y="197886"/>
                    </a:lnTo>
                    <a:lnTo>
                      <a:pt x="208190" y="196674"/>
                    </a:lnTo>
                    <a:lnTo>
                      <a:pt x="207281" y="194098"/>
                    </a:lnTo>
                    <a:lnTo>
                      <a:pt x="206371" y="193037"/>
                    </a:lnTo>
                    <a:lnTo>
                      <a:pt x="206068" y="191674"/>
                    </a:lnTo>
                    <a:lnTo>
                      <a:pt x="206826" y="188643"/>
                    </a:lnTo>
                    <a:lnTo>
                      <a:pt x="207281" y="186825"/>
                    </a:lnTo>
                    <a:lnTo>
                      <a:pt x="209099" y="184855"/>
                    </a:lnTo>
                    <a:lnTo>
                      <a:pt x="214402" y="180613"/>
                    </a:lnTo>
                    <a:lnTo>
                      <a:pt x="219099" y="177885"/>
                    </a:lnTo>
                    <a:lnTo>
                      <a:pt x="221524" y="177582"/>
                    </a:lnTo>
                    <a:lnTo>
                      <a:pt x="223190" y="176522"/>
                    </a:lnTo>
                    <a:lnTo>
                      <a:pt x="224251" y="174855"/>
                    </a:lnTo>
                    <a:lnTo>
                      <a:pt x="224554" y="173037"/>
                    </a:lnTo>
                    <a:lnTo>
                      <a:pt x="224402" y="171521"/>
                    </a:lnTo>
                    <a:lnTo>
                      <a:pt x="223493" y="169249"/>
                    </a:lnTo>
                    <a:lnTo>
                      <a:pt x="222433" y="166370"/>
                    </a:lnTo>
                    <a:lnTo>
                      <a:pt x="221524" y="164855"/>
                    </a:lnTo>
                    <a:lnTo>
                      <a:pt x="222281" y="162885"/>
                    </a:lnTo>
                    <a:lnTo>
                      <a:pt x="223645" y="160309"/>
                    </a:lnTo>
                    <a:lnTo>
                      <a:pt x="226221" y="156369"/>
                    </a:lnTo>
                    <a:lnTo>
                      <a:pt x="228645" y="152127"/>
                    </a:lnTo>
                    <a:lnTo>
                      <a:pt x="228796" y="150914"/>
                    </a:lnTo>
                    <a:lnTo>
                      <a:pt x="229100" y="148339"/>
                    </a:lnTo>
                    <a:lnTo>
                      <a:pt x="230312" y="143187"/>
                    </a:lnTo>
                    <a:lnTo>
                      <a:pt x="230918" y="140308"/>
                    </a:lnTo>
                    <a:lnTo>
                      <a:pt x="230615" y="139096"/>
                    </a:lnTo>
                    <a:lnTo>
                      <a:pt x="231069" y="138187"/>
                    </a:lnTo>
                    <a:lnTo>
                      <a:pt x="232584" y="137429"/>
                    </a:lnTo>
                    <a:lnTo>
                      <a:pt x="236221" y="136672"/>
                    </a:lnTo>
                    <a:lnTo>
                      <a:pt x="238797" y="135156"/>
                    </a:lnTo>
                    <a:lnTo>
                      <a:pt x="242585" y="132126"/>
                    </a:lnTo>
                    <a:lnTo>
                      <a:pt x="245767" y="129096"/>
                    </a:lnTo>
                    <a:lnTo>
                      <a:pt x="248343" y="128035"/>
                    </a:lnTo>
                    <a:lnTo>
                      <a:pt x="253191" y="125156"/>
                    </a:lnTo>
                    <a:lnTo>
                      <a:pt x="255919" y="123338"/>
                    </a:lnTo>
                    <a:lnTo>
                      <a:pt x="256979" y="122732"/>
                    </a:lnTo>
                    <a:lnTo>
                      <a:pt x="259707" y="121368"/>
                    </a:lnTo>
                    <a:lnTo>
                      <a:pt x="264404" y="120913"/>
                    </a:lnTo>
                    <a:lnTo>
                      <a:pt x="268495" y="120459"/>
                    </a:lnTo>
                    <a:lnTo>
                      <a:pt x="270768" y="119550"/>
                    </a:lnTo>
                    <a:lnTo>
                      <a:pt x="274101" y="119247"/>
                    </a:lnTo>
                    <a:lnTo>
                      <a:pt x="276374" y="118186"/>
                    </a:lnTo>
                    <a:lnTo>
                      <a:pt x="278798" y="118186"/>
                    </a:lnTo>
                    <a:lnTo>
                      <a:pt x="283495" y="117125"/>
                    </a:lnTo>
                    <a:lnTo>
                      <a:pt x="285011" y="115610"/>
                    </a:lnTo>
                    <a:lnTo>
                      <a:pt x="286374" y="113944"/>
                    </a:lnTo>
                    <a:lnTo>
                      <a:pt x="288193" y="112428"/>
                    </a:lnTo>
                    <a:lnTo>
                      <a:pt x="290314" y="111974"/>
                    </a:lnTo>
                    <a:lnTo>
                      <a:pt x="292738" y="112277"/>
                    </a:lnTo>
                    <a:lnTo>
                      <a:pt x="295617" y="112125"/>
                    </a:lnTo>
                    <a:lnTo>
                      <a:pt x="299102" y="111671"/>
                    </a:lnTo>
                    <a:lnTo>
                      <a:pt x="300769" y="112883"/>
                    </a:lnTo>
                    <a:lnTo>
                      <a:pt x="301526" y="114398"/>
                    </a:lnTo>
                    <a:lnTo>
                      <a:pt x="303648" y="115762"/>
                    </a:lnTo>
                    <a:lnTo>
                      <a:pt x="305163" y="115762"/>
                    </a:lnTo>
                    <a:lnTo>
                      <a:pt x="306527" y="115459"/>
                    </a:lnTo>
                    <a:lnTo>
                      <a:pt x="308648" y="116671"/>
                    </a:lnTo>
                    <a:lnTo>
                      <a:pt x="310012" y="116519"/>
                    </a:lnTo>
                    <a:lnTo>
                      <a:pt x="310921" y="115762"/>
                    </a:lnTo>
                    <a:lnTo>
                      <a:pt x="311072" y="114095"/>
                    </a:lnTo>
                    <a:lnTo>
                      <a:pt x="309709" y="111974"/>
                    </a:lnTo>
                    <a:lnTo>
                      <a:pt x="307587" y="110156"/>
                    </a:lnTo>
                    <a:lnTo>
                      <a:pt x="305466" y="108943"/>
                    </a:lnTo>
                    <a:lnTo>
                      <a:pt x="304708" y="107428"/>
                    </a:lnTo>
                    <a:lnTo>
                      <a:pt x="303496" y="104398"/>
                    </a:lnTo>
                    <a:lnTo>
                      <a:pt x="301981" y="103337"/>
                    </a:lnTo>
                    <a:lnTo>
                      <a:pt x="300769" y="102580"/>
                    </a:lnTo>
                    <a:lnTo>
                      <a:pt x="299708" y="102731"/>
                    </a:lnTo>
                    <a:lnTo>
                      <a:pt x="298648" y="103489"/>
                    </a:lnTo>
                    <a:lnTo>
                      <a:pt x="296829" y="104095"/>
                    </a:lnTo>
                    <a:lnTo>
                      <a:pt x="295617" y="103943"/>
                    </a:lnTo>
                    <a:lnTo>
                      <a:pt x="290768" y="101822"/>
                    </a:lnTo>
                    <a:lnTo>
                      <a:pt x="290011" y="101670"/>
                    </a:lnTo>
                    <a:lnTo>
                      <a:pt x="293041" y="96822"/>
                    </a:lnTo>
                    <a:lnTo>
                      <a:pt x="298648" y="88337"/>
                    </a:lnTo>
                    <a:lnTo>
                      <a:pt x="302132" y="82730"/>
                    </a:lnTo>
                    <a:lnTo>
                      <a:pt x="306072" y="76669"/>
                    </a:lnTo>
                    <a:lnTo>
                      <a:pt x="308042" y="73639"/>
                    </a:lnTo>
                    <a:lnTo>
                      <a:pt x="308345" y="73033"/>
                    </a:lnTo>
                    <a:lnTo>
                      <a:pt x="308345" y="72275"/>
                    </a:lnTo>
                    <a:lnTo>
                      <a:pt x="307436" y="71063"/>
                    </a:lnTo>
                    <a:lnTo>
                      <a:pt x="305617" y="70609"/>
                    </a:lnTo>
                    <a:lnTo>
                      <a:pt x="303496" y="69699"/>
                    </a:lnTo>
                    <a:lnTo>
                      <a:pt x="302132" y="68184"/>
                    </a:lnTo>
                    <a:lnTo>
                      <a:pt x="300163" y="67578"/>
                    </a:lnTo>
                    <a:lnTo>
                      <a:pt x="298648" y="66518"/>
                    </a:lnTo>
                    <a:lnTo>
                      <a:pt x="295920" y="65608"/>
                    </a:lnTo>
                    <a:lnTo>
                      <a:pt x="294405" y="64548"/>
                    </a:lnTo>
                    <a:lnTo>
                      <a:pt x="292435" y="64245"/>
                    </a:lnTo>
                    <a:lnTo>
                      <a:pt x="290768" y="62578"/>
                    </a:lnTo>
                    <a:lnTo>
                      <a:pt x="285162" y="59245"/>
                    </a:lnTo>
                    <a:lnTo>
                      <a:pt x="283647" y="58790"/>
                    </a:lnTo>
                    <a:lnTo>
                      <a:pt x="281980" y="59396"/>
                    </a:lnTo>
                    <a:lnTo>
                      <a:pt x="279707" y="59851"/>
                    </a:lnTo>
                    <a:lnTo>
                      <a:pt x="277435" y="61669"/>
                    </a:lnTo>
                    <a:lnTo>
                      <a:pt x="274556" y="62275"/>
                    </a:lnTo>
                    <a:lnTo>
                      <a:pt x="271828" y="62275"/>
                    </a:lnTo>
                    <a:lnTo>
                      <a:pt x="270465" y="61214"/>
                    </a:lnTo>
                    <a:lnTo>
                      <a:pt x="269252" y="60760"/>
                    </a:lnTo>
                    <a:lnTo>
                      <a:pt x="267434" y="59396"/>
                    </a:lnTo>
                    <a:lnTo>
                      <a:pt x="264404" y="58184"/>
                    </a:lnTo>
                    <a:lnTo>
                      <a:pt x="262131" y="57426"/>
                    </a:lnTo>
                    <a:lnTo>
                      <a:pt x="260767" y="57729"/>
                    </a:lnTo>
                    <a:lnTo>
                      <a:pt x="259101" y="59396"/>
                    </a:lnTo>
                    <a:lnTo>
                      <a:pt x="257282" y="61063"/>
                    </a:lnTo>
                    <a:lnTo>
                      <a:pt x="255767" y="62123"/>
                    </a:lnTo>
                    <a:lnTo>
                      <a:pt x="253949" y="62123"/>
                    </a:lnTo>
                    <a:lnTo>
                      <a:pt x="251676" y="63639"/>
                    </a:lnTo>
                    <a:lnTo>
                      <a:pt x="249403" y="64093"/>
                    </a:lnTo>
                    <a:lnTo>
                      <a:pt x="247130" y="64396"/>
                    </a:lnTo>
                    <a:lnTo>
                      <a:pt x="244555" y="64851"/>
                    </a:lnTo>
                    <a:lnTo>
                      <a:pt x="241676" y="63942"/>
                    </a:lnTo>
                    <a:lnTo>
                      <a:pt x="239403" y="63184"/>
                    </a:lnTo>
                    <a:lnTo>
                      <a:pt x="238342" y="62730"/>
                    </a:lnTo>
                    <a:lnTo>
                      <a:pt x="237282" y="63033"/>
                    </a:lnTo>
                    <a:lnTo>
                      <a:pt x="235918" y="63942"/>
                    </a:lnTo>
                    <a:lnTo>
                      <a:pt x="233190" y="64245"/>
                    </a:lnTo>
                    <a:lnTo>
                      <a:pt x="231069" y="64396"/>
                    </a:lnTo>
                    <a:lnTo>
                      <a:pt x="229706" y="63942"/>
                    </a:lnTo>
                    <a:lnTo>
                      <a:pt x="228342" y="62426"/>
                    </a:lnTo>
                    <a:lnTo>
                      <a:pt x="226221" y="61669"/>
                    </a:lnTo>
                    <a:lnTo>
                      <a:pt x="223796" y="60760"/>
                    </a:lnTo>
                    <a:lnTo>
                      <a:pt x="223342" y="58942"/>
                    </a:lnTo>
                    <a:lnTo>
                      <a:pt x="223645" y="57426"/>
                    </a:lnTo>
                    <a:lnTo>
                      <a:pt x="224554" y="55457"/>
                    </a:lnTo>
                    <a:lnTo>
                      <a:pt x="224099" y="53335"/>
                    </a:lnTo>
                    <a:lnTo>
                      <a:pt x="223039" y="50002"/>
                    </a:lnTo>
                    <a:lnTo>
                      <a:pt x="222584" y="48638"/>
                    </a:lnTo>
                    <a:lnTo>
                      <a:pt x="221978" y="47426"/>
                    </a:lnTo>
                    <a:lnTo>
                      <a:pt x="220766" y="46971"/>
                    </a:lnTo>
                    <a:lnTo>
                      <a:pt x="218493" y="47426"/>
                    </a:lnTo>
                    <a:lnTo>
                      <a:pt x="215917" y="46062"/>
                    </a:lnTo>
                    <a:lnTo>
                      <a:pt x="214402" y="44850"/>
                    </a:lnTo>
                    <a:lnTo>
                      <a:pt x="213644" y="43486"/>
                    </a:lnTo>
                    <a:lnTo>
                      <a:pt x="214553" y="40607"/>
                    </a:lnTo>
                    <a:lnTo>
                      <a:pt x="213796" y="38335"/>
                    </a:lnTo>
                    <a:lnTo>
                      <a:pt x="212281" y="36971"/>
                    </a:lnTo>
                    <a:lnTo>
                      <a:pt x="211371" y="34698"/>
                    </a:lnTo>
                    <a:lnTo>
                      <a:pt x="209856" y="32880"/>
                    </a:lnTo>
                    <a:lnTo>
                      <a:pt x="207887" y="31819"/>
                    </a:lnTo>
                    <a:lnTo>
                      <a:pt x="205917" y="31971"/>
                    </a:lnTo>
                    <a:lnTo>
                      <a:pt x="204402" y="31365"/>
                    </a:lnTo>
                    <a:lnTo>
                      <a:pt x="202735" y="29395"/>
                    </a:lnTo>
                    <a:lnTo>
                      <a:pt x="201068" y="28789"/>
                    </a:lnTo>
                    <a:lnTo>
                      <a:pt x="199250" y="26819"/>
                    </a:lnTo>
                    <a:lnTo>
                      <a:pt x="195765" y="25910"/>
                    </a:lnTo>
                    <a:lnTo>
                      <a:pt x="193947" y="25304"/>
                    </a:lnTo>
                    <a:lnTo>
                      <a:pt x="192886" y="24092"/>
                    </a:lnTo>
                    <a:lnTo>
                      <a:pt x="191522" y="21970"/>
                    </a:lnTo>
                    <a:lnTo>
                      <a:pt x="191674" y="20910"/>
                    </a:lnTo>
                    <a:lnTo>
                      <a:pt x="191068" y="19698"/>
                    </a:lnTo>
                    <a:lnTo>
                      <a:pt x="190462" y="17728"/>
                    </a:lnTo>
                    <a:lnTo>
                      <a:pt x="189250" y="14698"/>
                    </a:lnTo>
                    <a:lnTo>
                      <a:pt x="187886" y="12879"/>
                    </a:lnTo>
                    <a:lnTo>
                      <a:pt x="186674" y="11667"/>
                    </a:lnTo>
                    <a:lnTo>
                      <a:pt x="185462" y="10606"/>
                    </a:lnTo>
                    <a:lnTo>
                      <a:pt x="183795" y="8940"/>
                    </a:lnTo>
                    <a:lnTo>
                      <a:pt x="181825" y="8031"/>
                    </a:lnTo>
                    <a:lnTo>
                      <a:pt x="180007" y="6970"/>
                    </a:lnTo>
                    <a:lnTo>
                      <a:pt x="179249" y="5455"/>
                    </a:lnTo>
                    <a:lnTo>
                      <a:pt x="178795" y="4243"/>
                    </a:lnTo>
                    <a:lnTo>
                      <a:pt x="177734" y="4394"/>
                    </a:lnTo>
                    <a:lnTo>
                      <a:pt x="176370" y="4243"/>
                    </a:lnTo>
                    <a:lnTo>
                      <a:pt x="174855" y="3939"/>
                    </a:lnTo>
                    <a:lnTo>
                      <a:pt x="173188" y="3030"/>
                    </a:lnTo>
                    <a:lnTo>
                      <a:pt x="171825" y="1970"/>
                    </a:lnTo>
                    <a:lnTo>
                      <a:pt x="169552" y="303"/>
                    </a:lnTo>
                    <a:lnTo>
                      <a:pt x="168340" y="0"/>
                    </a:lnTo>
                    <a:lnTo>
                      <a:pt x="167127" y="0"/>
                    </a:lnTo>
                    <a:lnTo>
                      <a:pt x="165461" y="1818"/>
                    </a:lnTo>
                    <a:lnTo>
                      <a:pt x="163946" y="2727"/>
                    </a:lnTo>
                    <a:lnTo>
                      <a:pt x="162430" y="2879"/>
                    </a:lnTo>
                    <a:lnTo>
                      <a:pt x="160309" y="3182"/>
                    </a:lnTo>
                    <a:lnTo>
                      <a:pt x="157279" y="2273"/>
                    </a:lnTo>
                    <a:lnTo>
                      <a:pt x="156218" y="2273"/>
                    </a:lnTo>
                    <a:lnTo>
                      <a:pt x="156066" y="3182"/>
                    </a:lnTo>
                    <a:lnTo>
                      <a:pt x="158036" y="4243"/>
                    </a:lnTo>
                    <a:lnTo>
                      <a:pt x="159854" y="5606"/>
                    </a:lnTo>
                    <a:lnTo>
                      <a:pt x="160612" y="7576"/>
                    </a:lnTo>
                    <a:lnTo>
                      <a:pt x="161673" y="10000"/>
                    </a:lnTo>
                    <a:lnTo>
                      <a:pt x="164400" y="12576"/>
                    </a:lnTo>
                    <a:lnTo>
                      <a:pt x="166067" y="13940"/>
                    </a:lnTo>
                    <a:lnTo>
                      <a:pt x="166218" y="14849"/>
                    </a:lnTo>
                    <a:lnTo>
                      <a:pt x="165764" y="16667"/>
                    </a:lnTo>
                    <a:lnTo>
                      <a:pt x="165612" y="18031"/>
                    </a:lnTo>
                    <a:lnTo>
                      <a:pt x="166521" y="24698"/>
                    </a:lnTo>
                    <a:lnTo>
                      <a:pt x="165915" y="25152"/>
                    </a:lnTo>
                    <a:lnTo>
                      <a:pt x="164855" y="25152"/>
                    </a:lnTo>
                    <a:lnTo>
                      <a:pt x="163794" y="25152"/>
                    </a:lnTo>
                    <a:lnTo>
                      <a:pt x="162885" y="24395"/>
                    </a:lnTo>
                    <a:lnTo>
                      <a:pt x="162127" y="23940"/>
                    </a:lnTo>
                    <a:lnTo>
                      <a:pt x="161824" y="25001"/>
                    </a:lnTo>
                    <a:lnTo>
                      <a:pt x="161067" y="28031"/>
                    </a:lnTo>
                    <a:lnTo>
                      <a:pt x="159248" y="34698"/>
                    </a:lnTo>
                    <a:lnTo>
                      <a:pt x="157733" y="40456"/>
                    </a:lnTo>
                    <a:lnTo>
                      <a:pt x="155763" y="42577"/>
                    </a:lnTo>
                    <a:lnTo>
                      <a:pt x="152884" y="45911"/>
                    </a:lnTo>
                    <a:lnTo>
                      <a:pt x="149096" y="50305"/>
                    </a:lnTo>
                    <a:lnTo>
                      <a:pt x="143490" y="56820"/>
                    </a:lnTo>
                    <a:lnTo>
                      <a:pt x="139399" y="59851"/>
                    </a:lnTo>
                    <a:lnTo>
                      <a:pt x="136066" y="62275"/>
                    </a:lnTo>
                    <a:lnTo>
                      <a:pt x="132278" y="65002"/>
                    </a:lnTo>
                    <a:lnTo>
                      <a:pt x="127429" y="68487"/>
                    </a:lnTo>
                    <a:lnTo>
                      <a:pt x="121823" y="70457"/>
                    </a:lnTo>
                    <a:lnTo>
                      <a:pt x="114247" y="73336"/>
                    </a:lnTo>
                    <a:lnTo>
                      <a:pt x="108792" y="75306"/>
                    </a:lnTo>
                    <a:lnTo>
                      <a:pt x="104701" y="76669"/>
                    </a:lnTo>
                    <a:lnTo>
                      <a:pt x="100610" y="78033"/>
                    </a:lnTo>
                    <a:lnTo>
                      <a:pt x="95004" y="79851"/>
                    </a:lnTo>
                    <a:lnTo>
                      <a:pt x="92882" y="81670"/>
                    </a:lnTo>
                    <a:lnTo>
                      <a:pt x="89397" y="86064"/>
                    </a:lnTo>
                    <a:lnTo>
                      <a:pt x="87731" y="88185"/>
                    </a:lnTo>
                    <a:lnTo>
                      <a:pt x="86215" y="90003"/>
                    </a:lnTo>
                    <a:lnTo>
                      <a:pt x="85912" y="90761"/>
                    </a:lnTo>
                    <a:lnTo>
                      <a:pt x="86064" y="91367"/>
                    </a:lnTo>
                    <a:lnTo>
                      <a:pt x="86822" y="92125"/>
                    </a:lnTo>
                    <a:lnTo>
                      <a:pt x="86973" y="93034"/>
                    </a:lnTo>
                    <a:lnTo>
                      <a:pt x="85912" y="93640"/>
                    </a:lnTo>
                    <a:lnTo>
                      <a:pt x="85003" y="93791"/>
                    </a:lnTo>
                    <a:lnTo>
                      <a:pt x="84700" y="93337"/>
                    </a:lnTo>
                    <a:lnTo>
                      <a:pt x="84397" y="92276"/>
                    </a:lnTo>
                    <a:lnTo>
                      <a:pt x="83488" y="91216"/>
                    </a:lnTo>
                    <a:lnTo>
                      <a:pt x="82427" y="90912"/>
                    </a:lnTo>
                    <a:lnTo>
                      <a:pt x="81821" y="91216"/>
                    </a:lnTo>
                    <a:lnTo>
                      <a:pt x="81670" y="92125"/>
                    </a:lnTo>
                    <a:lnTo>
                      <a:pt x="80306" y="96670"/>
                    </a:lnTo>
                    <a:lnTo>
                      <a:pt x="80306" y="98792"/>
                    </a:lnTo>
                    <a:lnTo>
                      <a:pt x="79700" y="99701"/>
                    </a:lnTo>
                    <a:lnTo>
                      <a:pt x="79700" y="101519"/>
                    </a:lnTo>
                    <a:lnTo>
                      <a:pt x="78336" y="103337"/>
                    </a:lnTo>
                    <a:lnTo>
                      <a:pt x="77730" y="105004"/>
                    </a:lnTo>
                    <a:lnTo>
                      <a:pt x="77276" y="106368"/>
                    </a:lnTo>
                    <a:lnTo>
                      <a:pt x="76215" y="107277"/>
                    </a:lnTo>
                    <a:lnTo>
                      <a:pt x="75760" y="108792"/>
                    </a:lnTo>
                    <a:lnTo>
                      <a:pt x="74700" y="111974"/>
                    </a:lnTo>
                    <a:lnTo>
                      <a:pt x="73488" y="114398"/>
                    </a:lnTo>
                    <a:lnTo>
                      <a:pt x="72579" y="116519"/>
                    </a:lnTo>
                    <a:lnTo>
                      <a:pt x="72427" y="118035"/>
                    </a:lnTo>
                    <a:lnTo>
                      <a:pt x="73185" y="119247"/>
                    </a:lnTo>
                    <a:lnTo>
                      <a:pt x="73336" y="120156"/>
                    </a:lnTo>
                    <a:lnTo>
                      <a:pt x="72730" y="121671"/>
                    </a:lnTo>
                    <a:lnTo>
                      <a:pt x="72427" y="122883"/>
                    </a:lnTo>
                    <a:lnTo>
                      <a:pt x="70912" y="123792"/>
                    </a:lnTo>
                    <a:lnTo>
                      <a:pt x="67730" y="125762"/>
                    </a:lnTo>
                    <a:lnTo>
                      <a:pt x="66366" y="127126"/>
                    </a:lnTo>
                    <a:lnTo>
                      <a:pt x="65912" y="128641"/>
                    </a:lnTo>
                    <a:lnTo>
                      <a:pt x="66215" y="129853"/>
                    </a:lnTo>
                    <a:lnTo>
                      <a:pt x="66063" y="131065"/>
                    </a:lnTo>
                    <a:lnTo>
                      <a:pt x="64548" y="131368"/>
                    </a:lnTo>
                    <a:lnTo>
                      <a:pt x="63942" y="132429"/>
                    </a:lnTo>
                    <a:lnTo>
                      <a:pt x="63033" y="134096"/>
                    </a:lnTo>
                    <a:lnTo>
                      <a:pt x="61821" y="134550"/>
                    </a:lnTo>
                    <a:lnTo>
                      <a:pt x="58790" y="133793"/>
                    </a:lnTo>
                    <a:lnTo>
                      <a:pt x="56517" y="133641"/>
                    </a:lnTo>
                    <a:lnTo>
                      <a:pt x="54851" y="132884"/>
                    </a:lnTo>
                    <a:lnTo>
                      <a:pt x="52881" y="130459"/>
                    </a:lnTo>
                    <a:lnTo>
                      <a:pt x="51366" y="128489"/>
                    </a:lnTo>
                    <a:lnTo>
                      <a:pt x="50153" y="125914"/>
                    </a:lnTo>
                    <a:lnTo>
                      <a:pt x="49699" y="122277"/>
                    </a:lnTo>
                    <a:lnTo>
                      <a:pt x="48032" y="121217"/>
                    </a:lnTo>
                    <a:lnTo>
                      <a:pt x="46365" y="120004"/>
                    </a:lnTo>
                    <a:lnTo>
                      <a:pt x="44396" y="120307"/>
                    </a:lnTo>
                    <a:lnTo>
                      <a:pt x="42123" y="120610"/>
                    </a:lnTo>
                    <a:lnTo>
                      <a:pt x="40759" y="119701"/>
                    </a:lnTo>
                    <a:lnTo>
                      <a:pt x="37577" y="118338"/>
                    </a:lnTo>
                    <a:lnTo>
                      <a:pt x="34850" y="116519"/>
                    </a:lnTo>
                    <a:lnTo>
                      <a:pt x="32729" y="115762"/>
                    </a:lnTo>
                    <a:lnTo>
                      <a:pt x="31062" y="116065"/>
                    </a:lnTo>
                    <a:lnTo>
                      <a:pt x="30153" y="117125"/>
                    </a:lnTo>
                    <a:lnTo>
                      <a:pt x="28486" y="118944"/>
                    </a:lnTo>
                    <a:lnTo>
                      <a:pt x="26062" y="120307"/>
                    </a:lnTo>
                    <a:lnTo>
                      <a:pt x="24849" y="120156"/>
                    </a:lnTo>
                    <a:lnTo>
                      <a:pt x="23486" y="119398"/>
                    </a:lnTo>
                    <a:lnTo>
                      <a:pt x="23183" y="118338"/>
                    </a:lnTo>
                    <a:lnTo>
                      <a:pt x="24395" y="116822"/>
                    </a:lnTo>
                    <a:lnTo>
                      <a:pt x="26819" y="113337"/>
                    </a:lnTo>
                    <a:lnTo>
                      <a:pt x="24092" y="113186"/>
                    </a:lnTo>
                    <a:lnTo>
                      <a:pt x="23183" y="112125"/>
                    </a:lnTo>
                    <a:lnTo>
                      <a:pt x="23031" y="110913"/>
                    </a:lnTo>
                    <a:lnTo>
                      <a:pt x="22577" y="109549"/>
                    </a:lnTo>
                    <a:lnTo>
                      <a:pt x="23031" y="107883"/>
                    </a:lnTo>
                    <a:lnTo>
                      <a:pt x="24547" y="107125"/>
                    </a:lnTo>
                    <a:lnTo>
                      <a:pt x="26668" y="107731"/>
                    </a:lnTo>
                    <a:lnTo>
                      <a:pt x="28183" y="107731"/>
                    </a:lnTo>
                    <a:lnTo>
                      <a:pt x="29244" y="106216"/>
                    </a:lnTo>
                    <a:lnTo>
                      <a:pt x="30153" y="105610"/>
                    </a:lnTo>
                    <a:lnTo>
                      <a:pt x="31213" y="105004"/>
                    </a:lnTo>
                    <a:lnTo>
                      <a:pt x="31668" y="104246"/>
                    </a:lnTo>
                    <a:lnTo>
                      <a:pt x="30607" y="101822"/>
                    </a:lnTo>
                    <a:lnTo>
                      <a:pt x="30304" y="100458"/>
                    </a:lnTo>
                    <a:lnTo>
                      <a:pt x="30607" y="99701"/>
                    </a:lnTo>
                    <a:lnTo>
                      <a:pt x="30456" y="98185"/>
                    </a:lnTo>
                    <a:lnTo>
                      <a:pt x="30456" y="97125"/>
                    </a:lnTo>
                    <a:lnTo>
                      <a:pt x="29850" y="96064"/>
                    </a:lnTo>
                    <a:lnTo>
                      <a:pt x="29850" y="94700"/>
                    </a:lnTo>
                    <a:lnTo>
                      <a:pt x="29244" y="93791"/>
                    </a:lnTo>
                    <a:lnTo>
                      <a:pt x="29092" y="93034"/>
                    </a:lnTo>
                    <a:lnTo>
                      <a:pt x="29092" y="91973"/>
                    </a:lnTo>
                    <a:lnTo>
                      <a:pt x="28335" y="91518"/>
                    </a:lnTo>
                    <a:lnTo>
                      <a:pt x="27577" y="90912"/>
                    </a:lnTo>
                    <a:lnTo>
                      <a:pt x="22728" y="93943"/>
                    </a:lnTo>
                    <a:lnTo>
                      <a:pt x="18637" y="97731"/>
                    </a:lnTo>
                    <a:lnTo>
                      <a:pt x="14698" y="100307"/>
                    </a:lnTo>
                    <a:lnTo>
                      <a:pt x="12122" y="104398"/>
                    </a:lnTo>
                    <a:lnTo>
                      <a:pt x="2879" y="113944"/>
                    </a:lnTo>
                    <a:lnTo>
                      <a:pt x="1364" y="116368"/>
                    </a:lnTo>
                    <a:lnTo>
                      <a:pt x="0" y="125914"/>
                    </a:lnTo>
                    <a:lnTo>
                      <a:pt x="1212" y="128338"/>
                    </a:lnTo>
                    <a:lnTo>
                      <a:pt x="3788" y="131520"/>
                    </a:lnTo>
                    <a:lnTo>
                      <a:pt x="6212" y="135611"/>
                    </a:lnTo>
                    <a:lnTo>
                      <a:pt x="5000" y="137581"/>
                    </a:lnTo>
                    <a:lnTo>
                      <a:pt x="4546" y="139399"/>
                    </a:lnTo>
                    <a:lnTo>
                      <a:pt x="10758" y="147884"/>
                    </a:lnTo>
                    <a:lnTo>
                      <a:pt x="12425" y="152127"/>
                    </a:lnTo>
                    <a:lnTo>
                      <a:pt x="12425" y="155612"/>
                    </a:lnTo>
                    <a:lnTo>
                      <a:pt x="11061" y="157733"/>
                    </a:lnTo>
                    <a:lnTo>
                      <a:pt x="9394" y="158339"/>
                    </a:lnTo>
                    <a:lnTo>
                      <a:pt x="6667" y="156975"/>
                    </a:lnTo>
                    <a:lnTo>
                      <a:pt x="4697" y="158794"/>
                    </a:lnTo>
                    <a:lnTo>
                      <a:pt x="4243" y="160612"/>
                    </a:lnTo>
                    <a:lnTo>
                      <a:pt x="5303" y="163642"/>
                    </a:lnTo>
                    <a:lnTo>
                      <a:pt x="7576" y="165612"/>
                    </a:lnTo>
                    <a:lnTo>
                      <a:pt x="14243" y="169855"/>
                    </a:lnTo>
                    <a:lnTo>
                      <a:pt x="33486" y="179855"/>
                    </a:lnTo>
                    <a:lnTo>
                      <a:pt x="36668" y="183188"/>
                    </a:lnTo>
                    <a:lnTo>
                      <a:pt x="39092" y="186673"/>
                    </a:lnTo>
                    <a:lnTo>
                      <a:pt x="43032" y="191219"/>
                    </a:lnTo>
                    <a:lnTo>
                      <a:pt x="46972" y="197431"/>
                    </a:lnTo>
                    <a:lnTo>
                      <a:pt x="47729" y="200916"/>
                    </a:lnTo>
                    <a:lnTo>
                      <a:pt x="53487" y="212280"/>
                    </a:lnTo>
                    <a:lnTo>
                      <a:pt x="55305" y="214705"/>
                    </a:lnTo>
                    <a:lnTo>
                      <a:pt x="59396" y="218038"/>
                    </a:lnTo>
                    <a:lnTo>
                      <a:pt x="63487" y="222432"/>
                    </a:lnTo>
                    <a:lnTo>
                      <a:pt x="65912" y="227887"/>
                    </a:lnTo>
                    <a:lnTo>
                      <a:pt x="70306" y="233645"/>
                    </a:lnTo>
                    <a:lnTo>
                      <a:pt x="70609" y="236978"/>
                    </a:lnTo>
                    <a:lnTo>
                      <a:pt x="73033" y="243342"/>
                    </a:lnTo>
                    <a:lnTo>
                      <a:pt x="75306" y="248494"/>
                    </a:lnTo>
                    <a:lnTo>
                      <a:pt x="79094" y="254252"/>
                    </a:lnTo>
                    <a:lnTo>
                      <a:pt x="81518" y="261979"/>
                    </a:lnTo>
                    <a:lnTo>
                      <a:pt x="83640" y="266373"/>
                    </a:lnTo>
                    <a:lnTo>
                      <a:pt x="86215" y="273949"/>
                    </a:lnTo>
                    <a:lnTo>
                      <a:pt x="88640" y="278647"/>
                    </a:lnTo>
                    <a:lnTo>
                      <a:pt x="98489" y="294556"/>
                    </a:lnTo>
                    <a:lnTo>
                      <a:pt x="100458" y="299708"/>
                    </a:lnTo>
                    <a:lnTo>
                      <a:pt x="101064" y="304405"/>
                    </a:lnTo>
                    <a:lnTo>
                      <a:pt x="101216" y="306981"/>
                    </a:lnTo>
                    <a:lnTo>
                      <a:pt x="110156" y="313648"/>
                    </a:lnTo>
                    <a:lnTo>
                      <a:pt x="112580" y="317284"/>
                    </a:lnTo>
                    <a:lnTo>
                      <a:pt x="114247" y="324406"/>
                    </a:lnTo>
                    <a:lnTo>
                      <a:pt x="114398" y="328194"/>
                    </a:lnTo>
                    <a:lnTo>
                      <a:pt x="116823" y="329557"/>
                    </a:lnTo>
                    <a:lnTo>
                      <a:pt x="117580" y="331376"/>
                    </a:lnTo>
                    <a:lnTo>
                      <a:pt x="118792" y="332588"/>
                    </a:lnTo>
                    <a:lnTo>
                      <a:pt x="123186" y="336224"/>
                    </a:lnTo>
                    <a:lnTo>
                      <a:pt x="125156" y="341073"/>
                    </a:lnTo>
                    <a:lnTo>
                      <a:pt x="128490" y="346679"/>
                    </a:lnTo>
                    <a:lnTo>
                      <a:pt x="130763" y="349255"/>
                    </a:lnTo>
                    <a:lnTo>
                      <a:pt x="132278" y="353801"/>
                    </a:lnTo>
                    <a:lnTo>
                      <a:pt x="134247" y="357286"/>
                    </a:lnTo>
                    <a:lnTo>
                      <a:pt x="139854" y="364407"/>
                    </a:lnTo>
                    <a:lnTo>
                      <a:pt x="140914" y="368498"/>
                    </a:lnTo>
                    <a:lnTo>
                      <a:pt x="138793" y="376377"/>
                    </a:lnTo>
                    <a:lnTo>
                      <a:pt x="137278" y="376984"/>
                    </a:lnTo>
                    <a:lnTo>
                      <a:pt x="135611" y="378044"/>
                    </a:lnTo>
                    <a:lnTo>
                      <a:pt x="137884" y="380468"/>
                    </a:lnTo>
                    <a:lnTo>
                      <a:pt x="138035" y="385620"/>
                    </a:lnTo>
                    <a:lnTo>
                      <a:pt x="141217" y="388196"/>
                    </a:lnTo>
                    <a:lnTo>
                      <a:pt x="142278" y="390772"/>
                    </a:lnTo>
                    <a:lnTo>
                      <a:pt x="145763" y="395621"/>
                    </a:lnTo>
                    <a:lnTo>
                      <a:pt x="147733" y="399409"/>
                    </a:lnTo>
                    <a:lnTo>
                      <a:pt x="153188" y="403651"/>
                    </a:lnTo>
                    <a:lnTo>
                      <a:pt x="158642" y="406833"/>
                    </a:lnTo>
                    <a:lnTo>
                      <a:pt x="162430" y="412288"/>
                    </a:lnTo>
                    <a:lnTo>
                      <a:pt x="165764" y="414561"/>
                    </a:lnTo>
                    <a:lnTo>
                      <a:pt x="168036" y="418500"/>
                    </a:lnTo>
                    <a:lnTo>
                      <a:pt x="170461" y="421076"/>
                    </a:lnTo>
                    <a:lnTo>
                      <a:pt x="185462" y="429106"/>
                    </a:lnTo>
                    <a:lnTo>
                      <a:pt x="190462" y="432894"/>
                    </a:lnTo>
                    <a:lnTo>
                      <a:pt x="196674" y="435016"/>
                    </a:lnTo>
                    <a:lnTo>
                      <a:pt x="205462" y="441683"/>
                    </a:lnTo>
                    <a:lnTo>
                      <a:pt x="208190" y="443046"/>
                    </a:lnTo>
                    <a:lnTo>
                      <a:pt x="217129" y="445925"/>
                    </a:lnTo>
                    <a:lnTo>
                      <a:pt x="220766" y="448350"/>
                    </a:lnTo>
                    <a:lnTo>
                      <a:pt x="229251" y="451986"/>
                    </a:lnTo>
                    <a:lnTo>
                      <a:pt x="233645" y="454562"/>
                    </a:lnTo>
                    <a:lnTo>
                      <a:pt x="242585" y="457289"/>
                    </a:lnTo>
                    <a:lnTo>
                      <a:pt x="245464" y="459108"/>
                    </a:lnTo>
                    <a:lnTo>
                      <a:pt x="248040" y="461986"/>
                    </a:lnTo>
                    <a:lnTo>
                      <a:pt x="252282" y="465472"/>
                    </a:lnTo>
                    <a:lnTo>
                      <a:pt x="256373" y="467138"/>
                    </a:lnTo>
                    <a:lnTo>
                      <a:pt x="258949" y="469714"/>
                    </a:lnTo>
                    <a:lnTo>
                      <a:pt x="261525" y="470926"/>
                    </a:lnTo>
                    <a:lnTo>
                      <a:pt x="268192" y="473654"/>
                    </a:lnTo>
                    <a:lnTo>
                      <a:pt x="270768" y="475623"/>
                    </a:lnTo>
                    <a:lnTo>
                      <a:pt x="271828" y="477290"/>
                    </a:lnTo>
                    <a:lnTo>
                      <a:pt x="272737" y="482745"/>
                    </a:lnTo>
                    <a:lnTo>
                      <a:pt x="273495" y="484563"/>
                    </a:lnTo>
                    <a:lnTo>
                      <a:pt x="281223" y="490018"/>
                    </a:lnTo>
                    <a:lnTo>
                      <a:pt x="284405" y="491533"/>
                    </a:lnTo>
                    <a:lnTo>
                      <a:pt x="287738" y="494867"/>
                    </a:lnTo>
                    <a:lnTo>
                      <a:pt x="296678" y="501230"/>
                    </a:lnTo>
                    <a:lnTo>
                      <a:pt x="298648" y="503200"/>
                    </a:lnTo>
                    <a:lnTo>
                      <a:pt x="299860" y="502746"/>
                    </a:lnTo>
                    <a:lnTo>
                      <a:pt x="302436" y="502594"/>
                    </a:lnTo>
                    <a:lnTo>
                      <a:pt x="305163" y="502594"/>
                    </a:lnTo>
                    <a:lnTo>
                      <a:pt x="308496" y="501382"/>
                    </a:lnTo>
                    <a:lnTo>
                      <a:pt x="312133" y="499261"/>
                    </a:lnTo>
                    <a:lnTo>
                      <a:pt x="314557" y="496079"/>
                    </a:lnTo>
                    <a:lnTo>
                      <a:pt x="315466" y="493200"/>
                    </a:lnTo>
                    <a:lnTo>
                      <a:pt x="315466" y="490624"/>
                    </a:lnTo>
                    <a:lnTo>
                      <a:pt x="314406" y="487442"/>
                    </a:lnTo>
                    <a:lnTo>
                      <a:pt x="314103" y="485169"/>
                    </a:lnTo>
                    <a:lnTo>
                      <a:pt x="315466" y="484109"/>
                    </a:lnTo>
                    <a:lnTo>
                      <a:pt x="318800" y="483654"/>
                    </a:lnTo>
                    <a:lnTo>
                      <a:pt x="321376" y="481533"/>
                    </a:lnTo>
                    <a:lnTo>
                      <a:pt x="323497" y="479563"/>
                    </a:lnTo>
                    <a:lnTo>
                      <a:pt x="323497" y="479563"/>
                    </a:lnTo>
                    <a:lnTo>
                      <a:pt x="323497" y="478351"/>
                    </a:lnTo>
                    <a:lnTo>
                      <a:pt x="323194" y="476229"/>
                    </a:lnTo>
                    <a:lnTo>
                      <a:pt x="321982" y="474714"/>
                    </a:lnTo>
                    <a:lnTo>
                      <a:pt x="320315" y="473654"/>
                    </a:lnTo>
                    <a:lnTo>
                      <a:pt x="319860" y="472441"/>
                    </a:lnTo>
                    <a:lnTo>
                      <a:pt x="320315" y="471078"/>
                    </a:lnTo>
                    <a:lnTo>
                      <a:pt x="323648" y="468350"/>
                    </a:lnTo>
                    <a:lnTo>
                      <a:pt x="325467" y="467896"/>
                    </a:lnTo>
                    <a:lnTo>
                      <a:pt x="325921" y="466532"/>
                    </a:lnTo>
                    <a:lnTo>
                      <a:pt x="326982" y="465472"/>
                    </a:lnTo>
                    <a:lnTo>
                      <a:pt x="330164" y="461532"/>
                    </a:lnTo>
                    <a:lnTo>
                      <a:pt x="331982" y="458956"/>
                    </a:lnTo>
                    <a:lnTo>
                      <a:pt x="333800" y="457441"/>
                    </a:lnTo>
                    <a:lnTo>
                      <a:pt x="335922" y="456229"/>
                    </a:lnTo>
                    <a:lnTo>
                      <a:pt x="336982" y="455471"/>
                    </a:lnTo>
                    <a:lnTo>
                      <a:pt x="336376" y="452592"/>
                    </a:lnTo>
                    <a:lnTo>
                      <a:pt x="336528" y="452289"/>
                    </a:lnTo>
                    <a:lnTo>
                      <a:pt x="336073" y="452138"/>
                    </a:lnTo>
                    <a:lnTo>
                      <a:pt x="335467" y="451986"/>
                    </a:lnTo>
                    <a:lnTo>
                      <a:pt x="334861" y="450925"/>
                    </a:lnTo>
                    <a:lnTo>
                      <a:pt x="336073" y="449107"/>
                    </a:lnTo>
                    <a:lnTo>
                      <a:pt x="336376" y="447592"/>
                    </a:lnTo>
                    <a:lnTo>
                      <a:pt x="336376" y="446380"/>
                    </a:lnTo>
                    <a:lnTo>
                      <a:pt x="336225" y="445319"/>
                    </a:lnTo>
                    <a:lnTo>
                      <a:pt x="337285" y="444562"/>
                    </a:lnTo>
                    <a:lnTo>
                      <a:pt x="338043" y="444107"/>
                    </a:lnTo>
                    <a:lnTo>
                      <a:pt x="336225" y="443501"/>
                    </a:lnTo>
                    <a:lnTo>
                      <a:pt x="333800" y="443653"/>
                    </a:lnTo>
                    <a:lnTo>
                      <a:pt x="333800" y="443956"/>
                    </a:lnTo>
                    <a:lnTo>
                      <a:pt x="332588" y="444410"/>
                    </a:lnTo>
                    <a:lnTo>
                      <a:pt x="331376" y="444562"/>
                    </a:lnTo>
                    <a:lnTo>
                      <a:pt x="330164" y="444410"/>
                    </a:lnTo>
                    <a:lnTo>
                      <a:pt x="328649" y="444259"/>
                    </a:lnTo>
                    <a:lnTo>
                      <a:pt x="327436" y="443653"/>
                    </a:lnTo>
                    <a:lnTo>
                      <a:pt x="326527" y="443046"/>
                    </a:lnTo>
                    <a:lnTo>
                      <a:pt x="325618" y="442743"/>
                    </a:lnTo>
                    <a:lnTo>
                      <a:pt x="324255" y="442592"/>
                    </a:lnTo>
                    <a:lnTo>
                      <a:pt x="324103" y="441986"/>
                    </a:lnTo>
                    <a:lnTo>
                      <a:pt x="325164" y="440622"/>
                    </a:lnTo>
                    <a:lnTo>
                      <a:pt x="325467" y="439107"/>
                    </a:lnTo>
                    <a:lnTo>
                      <a:pt x="325315" y="438349"/>
                    </a:lnTo>
                    <a:lnTo>
                      <a:pt x="324103" y="437743"/>
                    </a:lnTo>
                    <a:lnTo>
                      <a:pt x="322285" y="437289"/>
                    </a:lnTo>
                    <a:lnTo>
                      <a:pt x="320315" y="436531"/>
                    </a:lnTo>
                    <a:lnTo>
                      <a:pt x="319254" y="435925"/>
                    </a:lnTo>
                    <a:lnTo>
                      <a:pt x="318497" y="435319"/>
                    </a:lnTo>
                    <a:lnTo>
                      <a:pt x="317891" y="434864"/>
                    </a:lnTo>
                    <a:lnTo>
                      <a:pt x="316981" y="434258"/>
                    </a:lnTo>
                    <a:lnTo>
                      <a:pt x="316072" y="433501"/>
                    </a:lnTo>
                    <a:lnTo>
                      <a:pt x="315315" y="432743"/>
                    </a:lnTo>
                    <a:lnTo>
                      <a:pt x="314709" y="432440"/>
                    </a:lnTo>
                    <a:lnTo>
                      <a:pt x="314254" y="432592"/>
                    </a:lnTo>
                    <a:lnTo>
                      <a:pt x="314103" y="433046"/>
                    </a:lnTo>
                    <a:lnTo>
                      <a:pt x="314103" y="433652"/>
                    </a:lnTo>
                    <a:lnTo>
                      <a:pt x="314406" y="434258"/>
                    </a:lnTo>
                    <a:lnTo>
                      <a:pt x="314709" y="434864"/>
                    </a:lnTo>
                    <a:lnTo>
                      <a:pt x="314709" y="435167"/>
                    </a:lnTo>
                    <a:lnTo>
                      <a:pt x="314406" y="435319"/>
                    </a:lnTo>
                    <a:lnTo>
                      <a:pt x="313951" y="435319"/>
                    </a:lnTo>
                    <a:lnTo>
                      <a:pt x="313497" y="435016"/>
                    </a:lnTo>
                    <a:lnTo>
                      <a:pt x="313042" y="434713"/>
                    </a:lnTo>
                    <a:lnTo>
                      <a:pt x="312284" y="434107"/>
                    </a:lnTo>
                    <a:lnTo>
                      <a:pt x="311224" y="433501"/>
                    </a:lnTo>
                    <a:lnTo>
                      <a:pt x="310315" y="433046"/>
                    </a:lnTo>
                    <a:lnTo>
                      <a:pt x="309860" y="432743"/>
                    </a:lnTo>
                    <a:lnTo>
                      <a:pt x="309709" y="432137"/>
                    </a:lnTo>
                    <a:lnTo>
                      <a:pt x="309557" y="431076"/>
                    </a:lnTo>
                    <a:lnTo>
                      <a:pt x="309709" y="430016"/>
                    </a:lnTo>
                    <a:lnTo>
                      <a:pt x="310012" y="429258"/>
                    </a:lnTo>
                    <a:lnTo>
                      <a:pt x="310769" y="428500"/>
                    </a:lnTo>
                    <a:lnTo>
                      <a:pt x="311375" y="427591"/>
                    </a:lnTo>
                    <a:lnTo>
                      <a:pt x="312284" y="427288"/>
                    </a:lnTo>
                    <a:lnTo>
                      <a:pt x="313800" y="428046"/>
                    </a:lnTo>
                    <a:lnTo>
                      <a:pt x="315163" y="428804"/>
                    </a:lnTo>
                    <a:lnTo>
                      <a:pt x="315618" y="428955"/>
                    </a:lnTo>
                    <a:lnTo>
                      <a:pt x="315163" y="427440"/>
                    </a:lnTo>
                    <a:lnTo>
                      <a:pt x="313648" y="424409"/>
                    </a:lnTo>
                    <a:lnTo>
                      <a:pt x="311981" y="421530"/>
                    </a:lnTo>
                    <a:lnTo>
                      <a:pt x="311830" y="420773"/>
                    </a:lnTo>
                    <a:lnTo>
                      <a:pt x="312436" y="420015"/>
                    </a:lnTo>
                    <a:lnTo>
                      <a:pt x="314103" y="419258"/>
                    </a:lnTo>
                    <a:lnTo>
                      <a:pt x="314406" y="418652"/>
                    </a:lnTo>
                    <a:lnTo>
                      <a:pt x="314709" y="418197"/>
                    </a:lnTo>
                    <a:lnTo>
                      <a:pt x="315618" y="417894"/>
                    </a:lnTo>
                    <a:lnTo>
                      <a:pt x="316679" y="417591"/>
                    </a:lnTo>
                    <a:lnTo>
                      <a:pt x="317133" y="417136"/>
                    </a:lnTo>
                    <a:lnTo>
                      <a:pt x="318648" y="416985"/>
                    </a:lnTo>
                    <a:lnTo>
                      <a:pt x="320315" y="419258"/>
                    </a:lnTo>
                    <a:lnTo>
                      <a:pt x="322739" y="420015"/>
                    </a:lnTo>
                    <a:lnTo>
                      <a:pt x="325164" y="422743"/>
                    </a:lnTo>
                    <a:lnTo>
                      <a:pt x="326376" y="423349"/>
                    </a:lnTo>
                    <a:lnTo>
                      <a:pt x="327436" y="423803"/>
                    </a:lnTo>
                    <a:lnTo>
                      <a:pt x="329255" y="420773"/>
                    </a:lnTo>
                    <a:lnTo>
                      <a:pt x="330467" y="418955"/>
                    </a:lnTo>
                    <a:lnTo>
                      <a:pt x="332740" y="416227"/>
                    </a:lnTo>
                    <a:lnTo>
                      <a:pt x="332437" y="415167"/>
                    </a:lnTo>
                    <a:lnTo>
                      <a:pt x="328497" y="410773"/>
                    </a:lnTo>
                    <a:lnTo>
                      <a:pt x="327285" y="408651"/>
                    </a:lnTo>
                    <a:lnTo>
                      <a:pt x="327285" y="406530"/>
                    </a:lnTo>
                    <a:lnTo>
                      <a:pt x="327588" y="403954"/>
                    </a:lnTo>
                    <a:lnTo>
                      <a:pt x="329861" y="402590"/>
                    </a:lnTo>
                    <a:lnTo>
                      <a:pt x="330618" y="400469"/>
                    </a:lnTo>
                    <a:lnTo>
                      <a:pt x="331073" y="398499"/>
                    </a:lnTo>
                    <a:lnTo>
                      <a:pt x="331982" y="397742"/>
                    </a:lnTo>
                    <a:lnTo>
                      <a:pt x="333043" y="396530"/>
                    </a:lnTo>
                    <a:lnTo>
                      <a:pt x="334255" y="394863"/>
                    </a:lnTo>
                    <a:lnTo>
                      <a:pt x="336073" y="393499"/>
                    </a:lnTo>
                    <a:lnTo>
                      <a:pt x="337134" y="392287"/>
                    </a:lnTo>
                    <a:lnTo>
                      <a:pt x="337285" y="389257"/>
                    </a:lnTo>
                    <a:lnTo>
                      <a:pt x="338194" y="388348"/>
                    </a:lnTo>
                    <a:lnTo>
                      <a:pt x="340770" y="387438"/>
                    </a:lnTo>
                    <a:lnTo>
                      <a:pt x="341073" y="386529"/>
                    </a:lnTo>
                    <a:lnTo>
                      <a:pt x="340467" y="384560"/>
                    </a:lnTo>
                    <a:lnTo>
                      <a:pt x="339255" y="382287"/>
                    </a:lnTo>
                    <a:lnTo>
                      <a:pt x="338194" y="381226"/>
                    </a:lnTo>
                    <a:lnTo>
                      <a:pt x="336831" y="375771"/>
                    </a:lnTo>
                    <a:lnTo>
                      <a:pt x="335467" y="373044"/>
                    </a:lnTo>
                    <a:lnTo>
                      <a:pt x="336073" y="371983"/>
                    </a:lnTo>
                    <a:lnTo>
                      <a:pt x="336982" y="370619"/>
                    </a:lnTo>
                    <a:lnTo>
                      <a:pt x="337891" y="367892"/>
                    </a:lnTo>
                    <a:lnTo>
                      <a:pt x="338194" y="364710"/>
                    </a:lnTo>
                    <a:lnTo>
                      <a:pt x="338043" y="353195"/>
                    </a:lnTo>
                    <a:lnTo>
                      <a:pt x="338043" y="350922"/>
                    </a:lnTo>
                    <a:lnTo>
                      <a:pt x="339255" y="349255"/>
                    </a:lnTo>
                    <a:lnTo>
                      <a:pt x="341073" y="347437"/>
                    </a:lnTo>
                    <a:lnTo>
                      <a:pt x="342588" y="346679"/>
                    </a:lnTo>
                    <a:lnTo>
                      <a:pt x="344104" y="345619"/>
                    </a:lnTo>
                    <a:lnTo>
                      <a:pt x="343952" y="343346"/>
                    </a:lnTo>
                    <a:lnTo>
                      <a:pt x="344861" y="3419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1" name="Freeform: Shape 3190">
                <a:extLst>
                  <a:ext uri="{FF2B5EF4-FFF2-40B4-BE49-F238E27FC236}">
                    <a16:creationId xmlns:a16="http://schemas.microsoft.com/office/drawing/2014/main" id="{BEFB4373-7609-490B-A192-B26E721B7330}"/>
                  </a:ext>
                </a:extLst>
              </p:cNvPr>
              <p:cNvSpPr/>
              <p:nvPr/>
            </p:nvSpPr>
            <p:spPr>
              <a:xfrm>
                <a:off x="3505903" y="4300469"/>
                <a:ext cx="159551" cy="64547"/>
              </a:xfrm>
              <a:custGeom>
                <a:avLst/>
                <a:gdLst>
                  <a:gd name="connsiteX0" fmla="*/ 21364 w 159551"/>
                  <a:gd name="connsiteY0" fmla="*/ 5909 h 64547"/>
                  <a:gd name="connsiteX1" fmla="*/ 20607 w 159551"/>
                  <a:gd name="connsiteY1" fmla="*/ 4545 h 64547"/>
                  <a:gd name="connsiteX2" fmla="*/ 20152 w 159551"/>
                  <a:gd name="connsiteY2" fmla="*/ 4545 h 64547"/>
                  <a:gd name="connsiteX3" fmla="*/ 18940 w 159551"/>
                  <a:gd name="connsiteY3" fmla="*/ 4849 h 64547"/>
                  <a:gd name="connsiteX4" fmla="*/ 21061 w 159551"/>
                  <a:gd name="connsiteY4" fmla="*/ 7121 h 64547"/>
                  <a:gd name="connsiteX5" fmla="*/ 21364 w 159551"/>
                  <a:gd name="connsiteY5" fmla="*/ 5909 h 64547"/>
                  <a:gd name="connsiteX6" fmla="*/ 36062 w 159551"/>
                  <a:gd name="connsiteY6" fmla="*/ 59396 h 64547"/>
                  <a:gd name="connsiteX7" fmla="*/ 35607 w 159551"/>
                  <a:gd name="connsiteY7" fmla="*/ 57729 h 64547"/>
                  <a:gd name="connsiteX8" fmla="*/ 36668 w 159551"/>
                  <a:gd name="connsiteY8" fmla="*/ 56669 h 64547"/>
                  <a:gd name="connsiteX9" fmla="*/ 35153 w 159551"/>
                  <a:gd name="connsiteY9" fmla="*/ 53941 h 64547"/>
                  <a:gd name="connsiteX10" fmla="*/ 34547 w 159551"/>
                  <a:gd name="connsiteY10" fmla="*/ 53941 h 64547"/>
                  <a:gd name="connsiteX11" fmla="*/ 32880 w 159551"/>
                  <a:gd name="connsiteY11" fmla="*/ 54699 h 64547"/>
                  <a:gd name="connsiteX12" fmla="*/ 31668 w 159551"/>
                  <a:gd name="connsiteY12" fmla="*/ 56972 h 64547"/>
                  <a:gd name="connsiteX13" fmla="*/ 31668 w 159551"/>
                  <a:gd name="connsiteY13" fmla="*/ 57729 h 64547"/>
                  <a:gd name="connsiteX14" fmla="*/ 31819 w 159551"/>
                  <a:gd name="connsiteY14" fmla="*/ 58487 h 64547"/>
                  <a:gd name="connsiteX15" fmla="*/ 34092 w 159551"/>
                  <a:gd name="connsiteY15" fmla="*/ 60760 h 64547"/>
                  <a:gd name="connsiteX16" fmla="*/ 37123 w 159551"/>
                  <a:gd name="connsiteY16" fmla="*/ 61972 h 64547"/>
                  <a:gd name="connsiteX17" fmla="*/ 38638 w 159551"/>
                  <a:gd name="connsiteY17" fmla="*/ 61820 h 64547"/>
                  <a:gd name="connsiteX18" fmla="*/ 38335 w 159551"/>
                  <a:gd name="connsiteY18" fmla="*/ 60457 h 64547"/>
                  <a:gd name="connsiteX19" fmla="*/ 36062 w 159551"/>
                  <a:gd name="connsiteY19" fmla="*/ 59396 h 64547"/>
                  <a:gd name="connsiteX20" fmla="*/ 107125 w 159551"/>
                  <a:gd name="connsiteY20" fmla="*/ 35607 h 64547"/>
                  <a:gd name="connsiteX21" fmla="*/ 106216 w 159551"/>
                  <a:gd name="connsiteY21" fmla="*/ 36819 h 64547"/>
                  <a:gd name="connsiteX22" fmla="*/ 106671 w 159551"/>
                  <a:gd name="connsiteY22" fmla="*/ 38032 h 64547"/>
                  <a:gd name="connsiteX23" fmla="*/ 107883 w 159551"/>
                  <a:gd name="connsiteY23" fmla="*/ 36819 h 64547"/>
                  <a:gd name="connsiteX24" fmla="*/ 107277 w 159551"/>
                  <a:gd name="connsiteY24" fmla="*/ 35607 h 64547"/>
                  <a:gd name="connsiteX25" fmla="*/ 107125 w 159551"/>
                  <a:gd name="connsiteY25" fmla="*/ 35607 h 64547"/>
                  <a:gd name="connsiteX26" fmla="*/ 158642 w 159551"/>
                  <a:gd name="connsiteY26" fmla="*/ 42729 h 64547"/>
                  <a:gd name="connsiteX27" fmla="*/ 156672 w 159551"/>
                  <a:gd name="connsiteY27" fmla="*/ 38486 h 64547"/>
                  <a:gd name="connsiteX28" fmla="*/ 155006 w 159551"/>
                  <a:gd name="connsiteY28" fmla="*/ 36213 h 64547"/>
                  <a:gd name="connsiteX29" fmla="*/ 153945 w 159551"/>
                  <a:gd name="connsiteY29" fmla="*/ 33940 h 64547"/>
                  <a:gd name="connsiteX30" fmla="*/ 153339 w 159551"/>
                  <a:gd name="connsiteY30" fmla="*/ 31819 h 64547"/>
                  <a:gd name="connsiteX31" fmla="*/ 151369 w 159551"/>
                  <a:gd name="connsiteY31" fmla="*/ 29850 h 64547"/>
                  <a:gd name="connsiteX32" fmla="*/ 152127 w 159551"/>
                  <a:gd name="connsiteY32" fmla="*/ 28031 h 64547"/>
                  <a:gd name="connsiteX33" fmla="*/ 153642 w 159551"/>
                  <a:gd name="connsiteY33" fmla="*/ 25910 h 64547"/>
                  <a:gd name="connsiteX34" fmla="*/ 154097 w 159551"/>
                  <a:gd name="connsiteY34" fmla="*/ 25607 h 64547"/>
                  <a:gd name="connsiteX35" fmla="*/ 145308 w 159551"/>
                  <a:gd name="connsiteY35" fmla="*/ 19243 h 64547"/>
                  <a:gd name="connsiteX36" fmla="*/ 141672 w 159551"/>
                  <a:gd name="connsiteY36" fmla="*/ 14394 h 64547"/>
                  <a:gd name="connsiteX37" fmla="*/ 134854 w 159551"/>
                  <a:gd name="connsiteY37" fmla="*/ 9849 h 64547"/>
                  <a:gd name="connsiteX38" fmla="*/ 123338 w 159551"/>
                  <a:gd name="connsiteY38" fmla="*/ 5152 h 64547"/>
                  <a:gd name="connsiteX39" fmla="*/ 118035 w 159551"/>
                  <a:gd name="connsiteY39" fmla="*/ 4394 h 64547"/>
                  <a:gd name="connsiteX40" fmla="*/ 111671 w 159551"/>
                  <a:gd name="connsiteY40" fmla="*/ 4545 h 64547"/>
                  <a:gd name="connsiteX41" fmla="*/ 110459 w 159551"/>
                  <a:gd name="connsiteY41" fmla="*/ 3939 h 64547"/>
                  <a:gd name="connsiteX42" fmla="*/ 109247 w 159551"/>
                  <a:gd name="connsiteY42" fmla="*/ 2424 h 64547"/>
                  <a:gd name="connsiteX43" fmla="*/ 106671 w 159551"/>
                  <a:gd name="connsiteY43" fmla="*/ 1667 h 64547"/>
                  <a:gd name="connsiteX44" fmla="*/ 103943 w 159551"/>
                  <a:gd name="connsiteY44" fmla="*/ 1818 h 64547"/>
                  <a:gd name="connsiteX45" fmla="*/ 100004 w 159551"/>
                  <a:gd name="connsiteY45" fmla="*/ 757 h 64547"/>
                  <a:gd name="connsiteX46" fmla="*/ 93943 w 159551"/>
                  <a:gd name="connsiteY46" fmla="*/ 0 h 64547"/>
                  <a:gd name="connsiteX47" fmla="*/ 91822 w 159551"/>
                  <a:gd name="connsiteY47" fmla="*/ 1061 h 64547"/>
                  <a:gd name="connsiteX48" fmla="*/ 89852 w 159551"/>
                  <a:gd name="connsiteY48" fmla="*/ 3182 h 64547"/>
                  <a:gd name="connsiteX49" fmla="*/ 86215 w 159551"/>
                  <a:gd name="connsiteY49" fmla="*/ 5909 h 64547"/>
                  <a:gd name="connsiteX50" fmla="*/ 84549 w 159551"/>
                  <a:gd name="connsiteY50" fmla="*/ 6364 h 64547"/>
                  <a:gd name="connsiteX51" fmla="*/ 82882 w 159551"/>
                  <a:gd name="connsiteY51" fmla="*/ 6818 h 64547"/>
                  <a:gd name="connsiteX52" fmla="*/ 78791 w 159551"/>
                  <a:gd name="connsiteY52" fmla="*/ 10455 h 64547"/>
                  <a:gd name="connsiteX53" fmla="*/ 67275 w 159551"/>
                  <a:gd name="connsiteY53" fmla="*/ 13940 h 64547"/>
                  <a:gd name="connsiteX54" fmla="*/ 63790 w 159551"/>
                  <a:gd name="connsiteY54" fmla="*/ 15607 h 64547"/>
                  <a:gd name="connsiteX55" fmla="*/ 59396 w 159551"/>
                  <a:gd name="connsiteY55" fmla="*/ 19243 h 64547"/>
                  <a:gd name="connsiteX56" fmla="*/ 53184 w 159551"/>
                  <a:gd name="connsiteY56" fmla="*/ 21213 h 64547"/>
                  <a:gd name="connsiteX57" fmla="*/ 49396 w 159551"/>
                  <a:gd name="connsiteY57" fmla="*/ 21970 h 64547"/>
                  <a:gd name="connsiteX58" fmla="*/ 45305 w 159551"/>
                  <a:gd name="connsiteY58" fmla="*/ 22122 h 64547"/>
                  <a:gd name="connsiteX59" fmla="*/ 40153 w 159551"/>
                  <a:gd name="connsiteY59" fmla="*/ 20910 h 64547"/>
                  <a:gd name="connsiteX60" fmla="*/ 35607 w 159551"/>
                  <a:gd name="connsiteY60" fmla="*/ 15607 h 64547"/>
                  <a:gd name="connsiteX61" fmla="*/ 33183 w 159551"/>
                  <a:gd name="connsiteY61" fmla="*/ 14091 h 64547"/>
                  <a:gd name="connsiteX62" fmla="*/ 32122 w 159551"/>
                  <a:gd name="connsiteY62" fmla="*/ 12879 h 64547"/>
                  <a:gd name="connsiteX63" fmla="*/ 30759 w 159551"/>
                  <a:gd name="connsiteY63" fmla="*/ 12273 h 64547"/>
                  <a:gd name="connsiteX64" fmla="*/ 30607 w 159551"/>
                  <a:gd name="connsiteY64" fmla="*/ 13031 h 64547"/>
                  <a:gd name="connsiteX65" fmla="*/ 32425 w 159551"/>
                  <a:gd name="connsiteY65" fmla="*/ 14849 h 64547"/>
                  <a:gd name="connsiteX66" fmla="*/ 33789 w 159551"/>
                  <a:gd name="connsiteY66" fmla="*/ 17273 h 64547"/>
                  <a:gd name="connsiteX67" fmla="*/ 32577 w 159551"/>
                  <a:gd name="connsiteY67" fmla="*/ 17576 h 64547"/>
                  <a:gd name="connsiteX68" fmla="*/ 30759 w 159551"/>
                  <a:gd name="connsiteY68" fmla="*/ 17273 h 64547"/>
                  <a:gd name="connsiteX69" fmla="*/ 25758 w 159551"/>
                  <a:gd name="connsiteY69" fmla="*/ 17879 h 64547"/>
                  <a:gd name="connsiteX70" fmla="*/ 24243 w 159551"/>
                  <a:gd name="connsiteY70" fmla="*/ 16667 h 64547"/>
                  <a:gd name="connsiteX71" fmla="*/ 21213 w 159551"/>
                  <a:gd name="connsiteY71" fmla="*/ 15304 h 64547"/>
                  <a:gd name="connsiteX72" fmla="*/ 21516 w 159551"/>
                  <a:gd name="connsiteY72" fmla="*/ 12273 h 64547"/>
                  <a:gd name="connsiteX73" fmla="*/ 22425 w 159551"/>
                  <a:gd name="connsiteY73" fmla="*/ 11515 h 64547"/>
                  <a:gd name="connsiteX74" fmla="*/ 22728 w 159551"/>
                  <a:gd name="connsiteY74" fmla="*/ 10910 h 64547"/>
                  <a:gd name="connsiteX75" fmla="*/ 22274 w 159551"/>
                  <a:gd name="connsiteY75" fmla="*/ 10303 h 64547"/>
                  <a:gd name="connsiteX76" fmla="*/ 20455 w 159551"/>
                  <a:gd name="connsiteY76" fmla="*/ 10910 h 64547"/>
                  <a:gd name="connsiteX77" fmla="*/ 18637 w 159551"/>
                  <a:gd name="connsiteY77" fmla="*/ 10455 h 64547"/>
                  <a:gd name="connsiteX78" fmla="*/ 17728 w 159551"/>
                  <a:gd name="connsiteY78" fmla="*/ 6970 h 64547"/>
                  <a:gd name="connsiteX79" fmla="*/ 18031 w 159551"/>
                  <a:gd name="connsiteY79" fmla="*/ 5758 h 64547"/>
                  <a:gd name="connsiteX80" fmla="*/ 17880 w 159551"/>
                  <a:gd name="connsiteY80" fmla="*/ 4545 h 64547"/>
                  <a:gd name="connsiteX81" fmla="*/ 14394 w 159551"/>
                  <a:gd name="connsiteY81" fmla="*/ 1970 h 64547"/>
                  <a:gd name="connsiteX82" fmla="*/ 12728 w 159551"/>
                  <a:gd name="connsiteY82" fmla="*/ 455 h 64547"/>
                  <a:gd name="connsiteX83" fmla="*/ 12576 w 159551"/>
                  <a:gd name="connsiteY83" fmla="*/ 909 h 64547"/>
                  <a:gd name="connsiteX84" fmla="*/ 12122 w 159551"/>
                  <a:gd name="connsiteY84" fmla="*/ 1515 h 64547"/>
                  <a:gd name="connsiteX85" fmla="*/ 11516 w 159551"/>
                  <a:gd name="connsiteY85" fmla="*/ 2121 h 64547"/>
                  <a:gd name="connsiteX86" fmla="*/ 10606 w 159551"/>
                  <a:gd name="connsiteY86" fmla="*/ 2424 h 64547"/>
                  <a:gd name="connsiteX87" fmla="*/ 8485 w 159551"/>
                  <a:gd name="connsiteY87" fmla="*/ 1364 h 64547"/>
                  <a:gd name="connsiteX88" fmla="*/ 6364 w 159551"/>
                  <a:gd name="connsiteY88" fmla="*/ 151 h 64547"/>
                  <a:gd name="connsiteX89" fmla="*/ 5152 w 159551"/>
                  <a:gd name="connsiteY89" fmla="*/ 757 h 64547"/>
                  <a:gd name="connsiteX90" fmla="*/ 4697 w 159551"/>
                  <a:gd name="connsiteY90" fmla="*/ 2424 h 64547"/>
                  <a:gd name="connsiteX91" fmla="*/ 3940 w 159551"/>
                  <a:gd name="connsiteY91" fmla="*/ 3333 h 64547"/>
                  <a:gd name="connsiteX92" fmla="*/ 2879 w 159551"/>
                  <a:gd name="connsiteY92" fmla="*/ 3636 h 64547"/>
                  <a:gd name="connsiteX93" fmla="*/ 2424 w 159551"/>
                  <a:gd name="connsiteY93" fmla="*/ 4243 h 64547"/>
                  <a:gd name="connsiteX94" fmla="*/ 2273 w 159551"/>
                  <a:gd name="connsiteY94" fmla="*/ 9697 h 64547"/>
                  <a:gd name="connsiteX95" fmla="*/ 2273 w 159551"/>
                  <a:gd name="connsiteY95" fmla="*/ 14849 h 64547"/>
                  <a:gd name="connsiteX96" fmla="*/ 3940 w 159551"/>
                  <a:gd name="connsiteY96" fmla="*/ 15000 h 64547"/>
                  <a:gd name="connsiteX97" fmla="*/ 6667 w 159551"/>
                  <a:gd name="connsiteY97" fmla="*/ 16819 h 64547"/>
                  <a:gd name="connsiteX98" fmla="*/ 7879 w 159551"/>
                  <a:gd name="connsiteY98" fmla="*/ 17879 h 64547"/>
                  <a:gd name="connsiteX99" fmla="*/ 8182 w 159551"/>
                  <a:gd name="connsiteY99" fmla="*/ 18788 h 64547"/>
                  <a:gd name="connsiteX100" fmla="*/ 7879 w 159551"/>
                  <a:gd name="connsiteY100" fmla="*/ 19243 h 64547"/>
                  <a:gd name="connsiteX101" fmla="*/ 5909 w 159551"/>
                  <a:gd name="connsiteY101" fmla="*/ 20304 h 64547"/>
                  <a:gd name="connsiteX102" fmla="*/ 3940 w 159551"/>
                  <a:gd name="connsiteY102" fmla="*/ 21667 h 64547"/>
                  <a:gd name="connsiteX103" fmla="*/ 3030 w 159551"/>
                  <a:gd name="connsiteY103" fmla="*/ 23486 h 64547"/>
                  <a:gd name="connsiteX104" fmla="*/ 4697 w 159551"/>
                  <a:gd name="connsiteY104" fmla="*/ 26364 h 64547"/>
                  <a:gd name="connsiteX105" fmla="*/ 5000 w 159551"/>
                  <a:gd name="connsiteY105" fmla="*/ 28334 h 64547"/>
                  <a:gd name="connsiteX106" fmla="*/ 5000 w 159551"/>
                  <a:gd name="connsiteY106" fmla="*/ 30304 h 64547"/>
                  <a:gd name="connsiteX107" fmla="*/ 4546 w 159551"/>
                  <a:gd name="connsiteY107" fmla="*/ 31213 h 64547"/>
                  <a:gd name="connsiteX108" fmla="*/ 758 w 159551"/>
                  <a:gd name="connsiteY108" fmla="*/ 33486 h 64547"/>
                  <a:gd name="connsiteX109" fmla="*/ 0 w 159551"/>
                  <a:gd name="connsiteY109" fmla="*/ 34244 h 64547"/>
                  <a:gd name="connsiteX110" fmla="*/ 152 w 159551"/>
                  <a:gd name="connsiteY110" fmla="*/ 34850 h 64547"/>
                  <a:gd name="connsiteX111" fmla="*/ 2273 w 159551"/>
                  <a:gd name="connsiteY111" fmla="*/ 36516 h 64547"/>
                  <a:gd name="connsiteX112" fmla="*/ 3182 w 159551"/>
                  <a:gd name="connsiteY112" fmla="*/ 38032 h 64547"/>
                  <a:gd name="connsiteX113" fmla="*/ 3940 w 159551"/>
                  <a:gd name="connsiteY113" fmla="*/ 39850 h 64547"/>
                  <a:gd name="connsiteX114" fmla="*/ 4091 w 159551"/>
                  <a:gd name="connsiteY114" fmla="*/ 41517 h 64547"/>
                  <a:gd name="connsiteX115" fmla="*/ 4849 w 159551"/>
                  <a:gd name="connsiteY115" fmla="*/ 40759 h 64547"/>
                  <a:gd name="connsiteX116" fmla="*/ 4546 w 159551"/>
                  <a:gd name="connsiteY116" fmla="*/ 36668 h 64547"/>
                  <a:gd name="connsiteX117" fmla="*/ 6818 w 159551"/>
                  <a:gd name="connsiteY117" fmla="*/ 35153 h 64547"/>
                  <a:gd name="connsiteX118" fmla="*/ 9546 w 159551"/>
                  <a:gd name="connsiteY118" fmla="*/ 34698 h 64547"/>
                  <a:gd name="connsiteX119" fmla="*/ 13637 w 159551"/>
                  <a:gd name="connsiteY119" fmla="*/ 35607 h 64547"/>
                  <a:gd name="connsiteX120" fmla="*/ 18182 w 159551"/>
                  <a:gd name="connsiteY120" fmla="*/ 35910 h 64547"/>
                  <a:gd name="connsiteX121" fmla="*/ 21668 w 159551"/>
                  <a:gd name="connsiteY121" fmla="*/ 34850 h 64547"/>
                  <a:gd name="connsiteX122" fmla="*/ 21970 w 159551"/>
                  <a:gd name="connsiteY122" fmla="*/ 37123 h 64547"/>
                  <a:gd name="connsiteX123" fmla="*/ 23789 w 159551"/>
                  <a:gd name="connsiteY123" fmla="*/ 38032 h 64547"/>
                  <a:gd name="connsiteX124" fmla="*/ 25456 w 159551"/>
                  <a:gd name="connsiteY124" fmla="*/ 37274 h 64547"/>
                  <a:gd name="connsiteX125" fmla="*/ 28789 w 159551"/>
                  <a:gd name="connsiteY125" fmla="*/ 37426 h 64547"/>
                  <a:gd name="connsiteX126" fmla="*/ 31819 w 159551"/>
                  <a:gd name="connsiteY126" fmla="*/ 38789 h 64547"/>
                  <a:gd name="connsiteX127" fmla="*/ 35456 w 159551"/>
                  <a:gd name="connsiteY127" fmla="*/ 39547 h 64547"/>
                  <a:gd name="connsiteX128" fmla="*/ 36365 w 159551"/>
                  <a:gd name="connsiteY128" fmla="*/ 41365 h 64547"/>
                  <a:gd name="connsiteX129" fmla="*/ 36820 w 159551"/>
                  <a:gd name="connsiteY129" fmla="*/ 42880 h 64547"/>
                  <a:gd name="connsiteX130" fmla="*/ 41517 w 159551"/>
                  <a:gd name="connsiteY130" fmla="*/ 50911 h 64547"/>
                  <a:gd name="connsiteX131" fmla="*/ 45153 w 159551"/>
                  <a:gd name="connsiteY131" fmla="*/ 52123 h 64547"/>
                  <a:gd name="connsiteX132" fmla="*/ 47881 w 159551"/>
                  <a:gd name="connsiteY132" fmla="*/ 53487 h 64547"/>
                  <a:gd name="connsiteX133" fmla="*/ 49244 w 159551"/>
                  <a:gd name="connsiteY133" fmla="*/ 53638 h 64547"/>
                  <a:gd name="connsiteX134" fmla="*/ 49850 w 159551"/>
                  <a:gd name="connsiteY134" fmla="*/ 52275 h 64547"/>
                  <a:gd name="connsiteX135" fmla="*/ 50305 w 159551"/>
                  <a:gd name="connsiteY135" fmla="*/ 48487 h 64547"/>
                  <a:gd name="connsiteX136" fmla="*/ 50911 w 159551"/>
                  <a:gd name="connsiteY136" fmla="*/ 47274 h 64547"/>
                  <a:gd name="connsiteX137" fmla="*/ 52729 w 159551"/>
                  <a:gd name="connsiteY137" fmla="*/ 46668 h 64547"/>
                  <a:gd name="connsiteX138" fmla="*/ 53487 w 159551"/>
                  <a:gd name="connsiteY138" fmla="*/ 46062 h 64547"/>
                  <a:gd name="connsiteX139" fmla="*/ 54244 w 159551"/>
                  <a:gd name="connsiteY139" fmla="*/ 51214 h 64547"/>
                  <a:gd name="connsiteX140" fmla="*/ 57578 w 159551"/>
                  <a:gd name="connsiteY140" fmla="*/ 58638 h 64547"/>
                  <a:gd name="connsiteX141" fmla="*/ 57881 w 159551"/>
                  <a:gd name="connsiteY141" fmla="*/ 63032 h 64547"/>
                  <a:gd name="connsiteX142" fmla="*/ 59396 w 159551"/>
                  <a:gd name="connsiteY142" fmla="*/ 64548 h 64547"/>
                  <a:gd name="connsiteX143" fmla="*/ 64245 w 159551"/>
                  <a:gd name="connsiteY143" fmla="*/ 64396 h 64547"/>
                  <a:gd name="connsiteX144" fmla="*/ 70457 w 159551"/>
                  <a:gd name="connsiteY144" fmla="*/ 63032 h 64547"/>
                  <a:gd name="connsiteX145" fmla="*/ 72275 w 159551"/>
                  <a:gd name="connsiteY145" fmla="*/ 61669 h 64547"/>
                  <a:gd name="connsiteX146" fmla="*/ 72881 w 159551"/>
                  <a:gd name="connsiteY146" fmla="*/ 60002 h 64547"/>
                  <a:gd name="connsiteX147" fmla="*/ 74548 w 159551"/>
                  <a:gd name="connsiteY147" fmla="*/ 58942 h 64547"/>
                  <a:gd name="connsiteX148" fmla="*/ 79397 w 159551"/>
                  <a:gd name="connsiteY148" fmla="*/ 58790 h 64547"/>
                  <a:gd name="connsiteX149" fmla="*/ 80609 w 159551"/>
                  <a:gd name="connsiteY149" fmla="*/ 58184 h 64547"/>
                  <a:gd name="connsiteX150" fmla="*/ 82124 w 159551"/>
                  <a:gd name="connsiteY150" fmla="*/ 56972 h 64547"/>
                  <a:gd name="connsiteX151" fmla="*/ 81367 w 159551"/>
                  <a:gd name="connsiteY151" fmla="*/ 54244 h 64547"/>
                  <a:gd name="connsiteX152" fmla="*/ 80457 w 159551"/>
                  <a:gd name="connsiteY152" fmla="*/ 52426 h 64547"/>
                  <a:gd name="connsiteX153" fmla="*/ 75306 w 159551"/>
                  <a:gd name="connsiteY153" fmla="*/ 47426 h 64547"/>
                  <a:gd name="connsiteX154" fmla="*/ 72427 w 159551"/>
                  <a:gd name="connsiteY154" fmla="*/ 43486 h 64547"/>
                  <a:gd name="connsiteX155" fmla="*/ 71215 w 159551"/>
                  <a:gd name="connsiteY155" fmla="*/ 42577 h 64547"/>
                  <a:gd name="connsiteX156" fmla="*/ 69851 w 159551"/>
                  <a:gd name="connsiteY156" fmla="*/ 41214 h 64547"/>
                  <a:gd name="connsiteX157" fmla="*/ 69700 w 159551"/>
                  <a:gd name="connsiteY157" fmla="*/ 39547 h 64547"/>
                  <a:gd name="connsiteX158" fmla="*/ 69851 w 159551"/>
                  <a:gd name="connsiteY158" fmla="*/ 37577 h 64547"/>
                  <a:gd name="connsiteX159" fmla="*/ 71215 w 159551"/>
                  <a:gd name="connsiteY159" fmla="*/ 36213 h 64547"/>
                  <a:gd name="connsiteX160" fmla="*/ 72275 w 159551"/>
                  <a:gd name="connsiteY160" fmla="*/ 35456 h 64547"/>
                  <a:gd name="connsiteX161" fmla="*/ 76821 w 159551"/>
                  <a:gd name="connsiteY161" fmla="*/ 34698 h 64547"/>
                  <a:gd name="connsiteX162" fmla="*/ 78791 w 159551"/>
                  <a:gd name="connsiteY162" fmla="*/ 33789 h 64547"/>
                  <a:gd name="connsiteX163" fmla="*/ 89094 w 159551"/>
                  <a:gd name="connsiteY163" fmla="*/ 27122 h 64547"/>
                  <a:gd name="connsiteX164" fmla="*/ 87276 w 159551"/>
                  <a:gd name="connsiteY164" fmla="*/ 25910 h 64547"/>
                  <a:gd name="connsiteX165" fmla="*/ 88791 w 159551"/>
                  <a:gd name="connsiteY165" fmla="*/ 23940 h 64547"/>
                  <a:gd name="connsiteX166" fmla="*/ 89549 w 159551"/>
                  <a:gd name="connsiteY166" fmla="*/ 22122 h 64547"/>
                  <a:gd name="connsiteX167" fmla="*/ 90761 w 159551"/>
                  <a:gd name="connsiteY167" fmla="*/ 20001 h 64547"/>
                  <a:gd name="connsiteX168" fmla="*/ 93943 w 159551"/>
                  <a:gd name="connsiteY168" fmla="*/ 18637 h 64547"/>
                  <a:gd name="connsiteX169" fmla="*/ 94549 w 159551"/>
                  <a:gd name="connsiteY169" fmla="*/ 18031 h 64547"/>
                  <a:gd name="connsiteX170" fmla="*/ 95761 w 159551"/>
                  <a:gd name="connsiteY170" fmla="*/ 16819 h 64547"/>
                  <a:gd name="connsiteX171" fmla="*/ 97579 w 159551"/>
                  <a:gd name="connsiteY171" fmla="*/ 15758 h 64547"/>
                  <a:gd name="connsiteX172" fmla="*/ 102883 w 159551"/>
                  <a:gd name="connsiteY172" fmla="*/ 15304 h 64547"/>
                  <a:gd name="connsiteX173" fmla="*/ 107277 w 159551"/>
                  <a:gd name="connsiteY173" fmla="*/ 15909 h 64547"/>
                  <a:gd name="connsiteX174" fmla="*/ 110913 w 159551"/>
                  <a:gd name="connsiteY174" fmla="*/ 17728 h 64547"/>
                  <a:gd name="connsiteX175" fmla="*/ 113792 w 159551"/>
                  <a:gd name="connsiteY175" fmla="*/ 20152 h 64547"/>
                  <a:gd name="connsiteX176" fmla="*/ 115914 w 159551"/>
                  <a:gd name="connsiteY176" fmla="*/ 21061 h 64547"/>
                  <a:gd name="connsiteX177" fmla="*/ 117580 w 159551"/>
                  <a:gd name="connsiteY177" fmla="*/ 22728 h 64547"/>
                  <a:gd name="connsiteX178" fmla="*/ 118641 w 159551"/>
                  <a:gd name="connsiteY178" fmla="*/ 23031 h 64547"/>
                  <a:gd name="connsiteX179" fmla="*/ 120004 w 159551"/>
                  <a:gd name="connsiteY179" fmla="*/ 23789 h 64547"/>
                  <a:gd name="connsiteX180" fmla="*/ 122883 w 159551"/>
                  <a:gd name="connsiteY180" fmla="*/ 26062 h 64547"/>
                  <a:gd name="connsiteX181" fmla="*/ 124096 w 159551"/>
                  <a:gd name="connsiteY181" fmla="*/ 31062 h 64547"/>
                  <a:gd name="connsiteX182" fmla="*/ 125005 w 159551"/>
                  <a:gd name="connsiteY182" fmla="*/ 32274 h 64547"/>
                  <a:gd name="connsiteX183" fmla="*/ 125762 w 159551"/>
                  <a:gd name="connsiteY183" fmla="*/ 33638 h 64547"/>
                  <a:gd name="connsiteX184" fmla="*/ 126671 w 159551"/>
                  <a:gd name="connsiteY184" fmla="*/ 33486 h 64547"/>
                  <a:gd name="connsiteX185" fmla="*/ 126974 w 159551"/>
                  <a:gd name="connsiteY185" fmla="*/ 32274 h 64547"/>
                  <a:gd name="connsiteX186" fmla="*/ 126520 w 159551"/>
                  <a:gd name="connsiteY186" fmla="*/ 31213 h 64547"/>
                  <a:gd name="connsiteX187" fmla="*/ 126217 w 159551"/>
                  <a:gd name="connsiteY187" fmla="*/ 29546 h 64547"/>
                  <a:gd name="connsiteX188" fmla="*/ 126823 w 159551"/>
                  <a:gd name="connsiteY188" fmla="*/ 30001 h 64547"/>
                  <a:gd name="connsiteX189" fmla="*/ 127429 w 159551"/>
                  <a:gd name="connsiteY189" fmla="*/ 30759 h 64547"/>
                  <a:gd name="connsiteX190" fmla="*/ 130005 w 159551"/>
                  <a:gd name="connsiteY190" fmla="*/ 30910 h 64547"/>
                  <a:gd name="connsiteX191" fmla="*/ 130156 w 159551"/>
                  <a:gd name="connsiteY191" fmla="*/ 31819 h 64547"/>
                  <a:gd name="connsiteX192" fmla="*/ 130914 w 159551"/>
                  <a:gd name="connsiteY192" fmla="*/ 32425 h 64547"/>
                  <a:gd name="connsiteX193" fmla="*/ 131823 w 159551"/>
                  <a:gd name="connsiteY193" fmla="*/ 31819 h 64547"/>
                  <a:gd name="connsiteX194" fmla="*/ 132581 w 159551"/>
                  <a:gd name="connsiteY194" fmla="*/ 30759 h 64547"/>
                  <a:gd name="connsiteX195" fmla="*/ 134247 w 159551"/>
                  <a:gd name="connsiteY195" fmla="*/ 29546 h 64547"/>
                  <a:gd name="connsiteX196" fmla="*/ 135460 w 159551"/>
                  <a:gd name="connsiteY196" fmla="*/ 32274 h 64547"/>
                  <a:gd name="connsiteX197" fmla="*/ 136672 w 159551"/>
                  <a:gd name="connsiteY197" fmla="*/ 34244 h 64547"/>
                  <a:gd name="connsiteX198" fmla="*/ 141066 w 159551"/>
                  <a:gd name="connsiteY198" fmla="*/ 37274 h 64547"/>
                  <a:gd name="connsiteX199" fmla="*/ 143642 w 159551"/>
                  <a:gd name="connsiteY199" fmla="*/ 39547 h 64547"/>
                  <a:gd name="connsiteX200" fmla="*/ 141672 w 159551"/>
                  <a:gd name="connsiteY200" fmla="*/ 39092 h 64547"/>
                  <a:gd name="connsiteX201" fmla="*/ 138490 w 159551"/>
                  <a:gd name="connsiteY201" fmla="*/ 36971 h 64547"/>
                  <a:gd name="connsiteX202" fmla="*/ 135914 w 159551"/>
                  <a:gd name="connsiteY202" fmla="*/ 35456 h 64547"/>
                  <a:gd name="connsiteX203" fmla="*/ 134096 w 159551"/>
                  <a:gd name="connsiteY203" fmla="*/ 32880 h 64547"/>
                  <a:gd name="connsiteX204" fmla="*/ 133338 w 159551"/>
                  <a:gd name="connsiteY204" fmla="*/ 32728 h 64547"/>
                  <a:gd name="connsiteX205" fmla="*/ 132278 w 159551"/>
                  <a:gd name="connsiteY205" fmla="*/ 34244 h 64547"/>
                  <a:gd name="connsiteX206" fmla="*/ 129550 w 159551"/>
                  <a:gd name="connsiteY206" fmla="*/ 36516 h 64547"/>
                  <a:gd name="connsiteX207" fmla="*/ 130308 w 159551"/>
                  <a:gd name="connsiteY207" fmla="*/ 39547 h 64547"/>
                  <a:gd name="connsiteX208" fmla="*/ 129399 w 159551"/>
                  <a:gd name="connsiteY208" fmla="*/ 40759 h 64547"/>
                  <a:gd name="connsiteX209" fmla="*/ 128641 w 159551"/>
                  <a:gd name="connsiteY209" fmla="*/ 41365 h 64547"/>
                  <a:gd name="connsiteX210" fmla="*/ 127278 w 159551"/>
                  <a:gd name="connsiteY210" fmla="*/ 41214 h 64547"/>
                  <a:gd name="connsiteX211" fmla="*/ 125762 w 159551"/>
                  <a:gd name="connsiteY211" fmla="*/ 41517 h 64547"/>
                  <a:gd name="connsiteX212" fmla="*/ 126974 w 159551"/>
                  <a:gd name="connsiteY212" fmla="*/ 45911 h 64547"/>
                  <a:gd name="connsiteX213" fmla="*/ 132732 w 159551"/>
                  <a:gd name="connsiteY213" fmla="*/ 55608 h 64547"/>
                  <a:gd name="connsiteX214" fmla="*/ 139248 w 159551"/>
                  <a:gd name="connsiteY214" fmla="*/ 63487 h 64547"/>
                  <a:gd name="connsiteX215" fmla="*/ 140005 w 159551"/>
                  <a:gd name="connsiteY215" fmla="*/ 64245 h 64547"/>
                  <a:gd name="connsiteX216" fmla="*/ 141975 w 159551"/>
                  <a:gd name="connsiteY216" fmla="*/ 58335 h 64547"/>
                  <a:gd name="connsiteX217" fmla="*/ 143642 w 159551"/>
                  <a:gd name="connsiteY217" fmla="*/ 57275 h 64547"/>
                  <a:gd name="connsiteX218" fmla="*/ 144248 w 159551"/>
                  <a:gd name="connsiteY218" fmla="*/ 55760 h 64547"/>
                  <a:gd name="connsiteX219" fmla="*/ 143642 w 159551"/>
                  <a:gd name="connsiteY219" fmla="*/ 52123 h 64547"/>
                  <a:gd name="connsiteX220" fmla="*/ 143793 w 159551"/>
                  <a:gd name="connsiteY220" fmla="*/ 51214 h 64547"/>
                  <a:gd name="connsiteX221" fmla="*/ 144248 w 159551"/>
                  <a:gd name="connsiteY221" fmla="*/ 50911 h 64547"/>
                  <a:gd name="connsiteX222" fmla="*/ 144702 w 159551"/>
                  <a:gd name="connsiteY222" fmla="*/ 50911 h 64547"/>
                  <a:gd name="connsiteX223" fmla="*/ 145460 w 159551"/>
                  <a:gd name="connsiteY223" fmla="*/ 51517 h 64547"/>
                  <a:gd name="connsiteX224" fmla="*/ 146824 w 159551"/>
                  <a:gd name="connsiteY224" fmla="*/ 53032 h 64547"/>
                  <a:gd name="connsiteX225" fmla="*/ 147884 w 159551"/>
                  <a:gd name="connsiteY225" fmla="*/ 55002 h 64547"/>
                  <a:gd name="connsiteX226" fmla="*/ 148794 w 159551"/>
                  <a:gd name="connsiteY226" fmla="*/ 55608 h 64547"/>
                  <a:gd name="connsiteX227" fmla="*/ 150157 w 159551"/>
                  <a:gd name="connsiteY227" fmla="*/ 55002 h 64547"/>
                  <a:gd name="connsiteX228" fmla="*/ 155309 w 159551"/>
                  <a:gd name="connsiteY228" fmla="*/ 51214 h 64547"/>
                  <a:gd name="connsiteX229" fmla="*/ 155006 w 159551"/>
                  <a:gd name="connsiteY229" fmla="*/ 50002 h 64547"/>
                  <a:gd name="connsiteX230" fmla="*/ 155460 w 159551"/>
                  <a:gd name="connsiteY230" fmla="*/ 47577 h 64547"/>
                  <a:gd name="connsiteX231" fmla="*/ 157127 w 159551"/>
                  <a:gd name="connsiteY231" fmla="*/ 45608 h 64547"/>
                  <a:gd name="connsiteX232" fmla="*/ 158945 w 159551"/>
                  <a:gd name="connsiteY232" fmla="*/ 45002 h 64547"/>
                  <a:gd name="connsiteX233" fmla="*/ 159551 w 159551"/>
                  <a:gd name="connsiteY233" fmla="*/ 43941 h 64547"/>
                  <a:gd name="connsiteX234" fmla="*/ 158642 w 159551"/>
                  <a:gd name="connsiteY234" fmla="*/ 42729 h 64547"/>
                  <a:gd name="connsiteX235" fmla="*/ 113035 w 159551"/>
                  <a:gd name="connsiteY235" fmla="*/ 31062 h 64547"/>
                  <a:gd name="connsiteX236" fmla="*/ 112126 w 159551"/>
                  <a:gd name="connsiteY236" fmla="*/ 31062 h 64547"/>
                  <a:gd name="connsiteX237" fmla="*/ 110913 w 159551"/>
                  <a:gd name="connsiteY237" fmla="*/ 31668 h 64547"/>
                  <a:gd name="connsiteX238" fmla="*/ 111065 w 159551"/>
                  <a:gd name="connsiteY238" fmla="*/ 33940 h 64547"/>
                  <a:gd name="connsiteX239" fmla="*/ 110913 w 159551"/>
                  <a:gd name="connsiteY239" fmla="*/ 34547 h 64547"/>
                  <a:gd name="connsiteX240" fmla="*/ 112126 w 159551"/>
                  <a:gd name="connsiteY240" fmla="*/ 37123 h 64547"/>
                  <a:gd name="connsiteX241" fmla="*/ 112731 w 159551"/>
                  <a:gd name="connsiteY241" fmla="*/ 35910 h 64547"/>
                  <a:gd name="connsiteX242" fmla="*/ 113944 w 159551"/>
                  <a:gd name="connsiteY242" fmla="*/ 35153 h 64547"/>
                  <a:gd name="connsiteX243" fmla="*/ 114398 w 159551"/>
                  <a:gd name="connsiteY243" fmla="*/ 33940 h 64547"/>
                  <a:gd name="connsiteX244" fmla="*/ 113944 w 159551"/>
                  <a:gd name="connsiteY244" fmla="*/ 31213 h 64547"/>
                  <a:gd name="connsiteX245" fmla="*/ 113035 w 159551"/>
                  <a:gd name="connsiteY245" fmla="*/ 31062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59551" h="64547">
                    <a:moveTo>
                      <a:pt x="21364" y="5909"/>
                    </a:moveTo>
                    <a:lnTo>
                      <a:pt x="20607" y="4545"/>
                    </a:lnTo>
                    <a:lnTo>
                      <a:pt x="20152" y="4545"/>
                    </a:lnTo>
                    <a:lnTo>
                      <a:pt x="18940" y="4849"/>
                    </a:lnTo>
                    <a:lnTo>
                      <a:pt x="21061" y="7121"/>
                    </a:lnTo>
                    <a:lnTo>
                      <a:pt x="21364" y="5909"/>
                    </a:lnTo>
                    <a:close/>
                    <a:moveTo>
                      <a:pt x="36062" y="59396"/>
                    </a:moveTo>
                    <a:lnTo>
                      <a:pt x="35607" y="57729"/>
                    </a:lnTo>
                    <a:lnTo>
                      <a:pt x="36668" y="56669"/>
                    </a:lnTo>
                    <a:lnTo>
                      <a:pt x="35153" y="53941"/>
                    </a:lnTo>
                    <a:lnTo>
                      <a:pt x="34547" y="53941"/>
                    </a:lnTo>
                    <a:lnTo>
                      <a:pt x="32880" y="54699"/>
                    </a:lnTo>
                    <a:lnTo>
                      <a:pt x="31668" y="56972"/>
                    </a:lnTo>
                    <a:lnTo>
                      <a:pt x="31668" y="57729"/>
                    </a:lnTo>
                    <a:lnTo>
                      <a:pt x="31819" y="58487"/>
                    </a:lnTo>
                    <a:lnTo>
                      <a:pt x="34092" y="60760"/>
                    </a:lnTo>
                    <a:lnTo>
                      <a:pt x="37123" y="61972"/>
                    </a:lnTo>
                    <a:lnTo>
                      <a:pt x="38638" y="61820"/>
                    </a:lnTo>
                    <a:lnTo>
                      <a:pt x="38335" y="60457"/>
                    </a:lnTo>
                    <a:lnTo>
                      <a:pt x="36062" y="59396"/>
                    </a:lnTo>
                    <a:close/>
                    <a:moveTo>
                      <a:pt x="107125" y="35607"/>
                    </a:moveTo>
                    <a:lnTo>
                      <a:pt x="106216" y="36819"/>
                    </a:lnTo>
                    <a:lnTo>
                      <a:pt x="106671" y="38032"/>
                    </a:lnTo>
                    <a:lnTo>
                      <a:pt x="107883" y="36819"/>
                    </a:lnTo>
                    <a:lnTo>
                      <a:pt x="107277" y="35607"/>
                    </a:lnTo>
                    <a:lnTo>
                      <a:pt x="107125" y="35607"/>
                    </a:lnTo>
                    <a:close/>
                    <a:moveTo>
                      <a:pt x="158642" y="42729"/>
                    </a:moveTo>
                    <a:lnTo>
                      <a:pt x="156672" y="38486"/>
                    </a:lnTo>
                    <a:lnTo>
                      <a:pt x="155006" y="36213"/>
                    </a:lnTo>
                    <a:lnTo>
                      <a:pt x="153945" y="33940"/>
                    </a:lnTo>
                    <a:lnTo>
                      <a:pt x="153339" y="31819"/>
                    </a:lnTo>
                    <a:lnTo>
                      <a:pt x="151369" y="29850"/>
                    </a:lnTo>
                    <a:lnTo>
                      <a:pt x="152127" y="28031"/>
                    </a:lnTo>
                    <a:lnTo>
                      <a:pt x="153642" y="25910"/>
                    </a:lnTo>
                    <a:lnTo>
                      <a:pt x="154097" y="25607"/>
                    </a:lnTo>
                    <a:lnTo>
                      <a:pt x="145308" y="19243"/>
                    </a:lnTo>
                    <a:lnTo>
                      <a:pt x="141672" y="14394"/>
                    </a:lnTo>
                    <a:lnTo>
                      <a:pt x="134854" y="9849"/>
                    </a:lnTo>
                    <a:lnTo>
                      <a:pt x="123338" y="5152"/>
                    </a:lnTo>
                    <a:lnTo>
                      <a:pt x="118035" y="4394"/>
                    </a:lnTo>
                    <a:lnTo>
                      <a:pt x="111671" y="4545"/>
                    </a:lnTo>
                    <a:lnTo>
                      <a:pt x="110459" y="3939"/>
                    </a:lnTo>
                    <a:lnTo>
                      <a:pt x="109247" y="2424"/>
                    </a:lnTo>
                    <a:lnTo>
                      <a:pt x="106671" y="1667"/>
                    </a:lnTo>
                    <a:lnTo>
                      <a:pt x="103943" y="1818"/>
                    </a:lnTo>
                    <a:lnTo>
                      <a:pt x="100004" y="757"/>
                    </a:lnTo>
                    <a:lnTo>
                      <a:pt x="93943" y="0"/>
                    </a:lnTo>
                    <a:lnTo>
                      <a:pt x="91822" y="1061"/>
                    </a:lnTo>
                    <a:lnTo>
                      <a:pt x="89852" y="3182"/>
                    </a:lnTo>
                    <a:lnTo>
                      <a:pt x="86215" y="5909"/>
                    </a:lnTo>
                    <a:lnTo>
                      <a:pt x="84549" y="6364"/>
                    </a:lnTo>
                    <a:lnTo>
                      <a:pt x="82882" y="6818"/>
                    </a:lnTo>
                    <a:lnTo>
                      <a:pt x="78791" y="10455"/>
                    </a:lnTo>
                    <a:lnTo>
                      <a:pt x="67275" y="13940"/>
                    </a:lnTo>
                    <a:lnTo>
                      <a:pt x="63790" y="15607"/>
                    </a:lnTo>
                    <a:lnTo>
                      <a:pt x="59396" y="19243"/>
                    </a:lnTo>
                    <a:lnTo>
                      <a:pt x="53184" y="21213"/>
                    </a:lnTo>
                    <a:lnTo>
                      <a:pt x="49396" y="21970"/>
                    </a:lnTo>
                    <a:lnTo>
                      <a:pt x="45305" y="22122"/>
                    </a:lnTo>
                    <a:lnTo>
                      <a:pt x="40153" y="20910"/>
                    </a:lnTo>
                    <a:lnTo>
                      <a:pt x="35607" y="15607"/>
                    </a:lnTo>
                    <a:lnTo>
                      <a:pt x="33183" y="14091"/>
                    </a:lnTo>
                    <a:lnTo>
                      <a:pt x="32122" y="12879"/>
                    </a:lnTo>
                    <a:lnTo>
                      <a:pt x="30759" y="12273"/>
                    </a:lnTo>
                    <a:lnTo>
                      <a:pt x="30607" y="13031"/>
                    </a:lnTo>
                    <a:lnTo>
                      <a:pt x="32425" y="14849"/>
                    </a:lnTo>
                    <a:lnTo>
                      <a:pt x="33789" y="17273"/>
                    </a:lnTo>
                    <a:lnTo>
                      <a:pt x="32577" y="17576"/>
                    </a:lnTo>
                    <a:lnTo>
                      <a:pt x="30759" y="17273"/>
                    </a:lnTo>
                    <a:lnTo>
                      <a:pt x="25758" y="17879"/>
                    </a:lnTo>
                    <a:lnTo>
                      <a:pt x="24243" y="16667"/>
                    </a:lnTo>
                    <a:lnTo>
                      <a:pt x="21213" y="15304"/>
                    </a:lnTo>
                    <a:lnTo>
                      <a:pt x="21516" y="12273"/>
                    </a:lnTo>
                    <a:lnTo>
                      <a:pt x="22425" y="11515"/>
                    </a:lnTo>
                    <a:lnTo>
                      <a:pt x="22728" y="10910"/>
                    </a:lnTo>
                    <a:lnTo>
                      <a:pt x="22274" y="10303"/>
                    </a:lnTo>
                    <a:lnTo>
                      <a:pt x="20455" y="10910"/>
                    </a:lnTo>
                    <a:lnTo>
                      <a:pt x="18637" y="10455"/>
                    </a:lnTo>
                    <a:lnTo>
                      <a:pt x="17728" y="6970"/>
                    </a:lnTo>
                    <a:lnTo>
                      <a:pt x="18031" y="5758"/>
                    </a:lnTo>
                    <a:lnTo>
                      <a:pt x="17880" y="4545"/>
                    </a:lnTo>
                    <a:lnTo>
                      <a:pt x="14394" y="1970"/>
                    </a:lnTo>
                    <a:lnTo>
                      <a:pt x="12728" y="455"/>
                    </a:lnTo>
                    <a:lnTo>
                      <a:pt x="12576" y="909"/>
                    </a:lnTo>
                    <a:lnTo>
                      <a:pt x="12122" y="1515"/>
                    </a:lnTo>
                    <a:lnTo>
                      <a:pt x="11516" y="2121"/>
                    </a:lnTo>
                    <a:lnTo>
                      <a:pt x="10606" y="2424"/>
                    </a:lnTo>
                    <a:lnTo>
                      <a:pt x="8485" y="1364"/>
                    </a:lnTo>
                    <a:lnTo>
                      <a:pt x="6364" y="151"/>
                    </a:lnTo>
                    <a:lnTo>
                      <a:pt x="5152" y="757"/>
                    </a:lnTo>
                    <a:lnTo>
                      <a:pt x="4697" y="2424"/>
                    </a:lnTo>
                    <a:lnTo>
                      <a:pt x="3940" y="3333"/>
                    </a:lnTo>
                    <a:lnTo>
                      <a:pt x="2879" y="3636"/>
                    </a:lnTo>
                    <a:lnTo>
                      <a:pt x="2424" y="4243"/>
                    </a:lnTo>
                    <a:lnTo>
                      <a:pt x="2273" y="9697"/>
                    </a:lnTo>
                    <a:lnTo>
                      <a:pt x="2273" y="14849"/>
                    </a:lnTo>
                    <a:lnTo>
                      <a:pt x="3940" y="15000"/>
                    </a:lnTo>
                    <a:lnTo>
                      <a:pt x="6667" y="16819"/>
                    </a:lnTo>
                    <a:lnTo>
                      <a:pt x="7879" y="17879"/>
                    </a:lnTo>
                    <a:lnTo>
                      <a:pt x="8182" y="18788"/>
                    </a:lnTo>
                    <a:lnTo>
                      <a:pt x="7879" y="19243"/>
                    </a:lnTo>
                    <a:lnTo>
                      <a:pt x="5909" y="20304"/>
                    </a:lnTo>
                    <a:lnTo>
                      <a:pt x="3940" y="21667"/>
                    </a:lnTo>
                    <a:lnTo>
                      <a:pt x="3030" y="23486"/>
                    </a:lnTo>
                    <a:lnTo>
                      <a:pt x="4697" y="26364"/>
                    </a:lnTo>
                    <a:lnTo>
                      <a:pt x="5000" y="28334"/>
                    </a:lnTo>
                    <a:lnTo>
                      <a:pt x="5000" y="30304"/>
                    </a:lnTo>
                    <a:lnTo>
                      <a:pt x="4546" y="31213"/>
                    </a:lnTo>
                    <a:lnTo>
                      <a:pt x="758" y="33486"/>
                    </a:lnTo>
                    <a:lnTo>
                      <a:pt x="0" y="34244"/>
                    </a:lnTo>
                    <a:lnTo>
                      <a:pt x="152" y="34850"/>
                    </a:lnTo>
                    <a:lnTo>
                      <a:pt x="2273" y="36516"/>
                    </a:lnTo>
                    <a:lnTo>
                      <a:pt x="3182" y="38032"/>
                    </a:lnTo>
                    <a:lnTo>
                      <a:pt x="3940" y="39850"/>
                    </a:lnTo>
                    <a:lnTo>
                      <a:pt x="4091" y="41517"/>
                    </a:lnTo>
                    <a:lnTo>
                      <a:pt x="4849" y="40759"/>
                    </a:lnTo>
                    <a:lnTo>
                      <a:pt x="4546" y="36668"/>
                    </a:lnTo>
                    <a:lnTo>
                      <a:pt x="6818" y="35153"/>
                    </a:lnTo>
                    <a:lnTo>
                      <a:pt x="9546" y="34698"/>
                    </a:lnTo>
                    <a:lnTo>
                      <a:pt x="13637" y="35607"/>
                    </a:lnTo>
                    <a:lnTo>
                      <a:pt x="18182" y="35910"/>
                    </a:lnTo>
                    <a:lnTo>
                      <a:pt x="21668" y="34850"/>
                    </a:lnTo>
                    <a:lnTo>
                      <a:pt x="21970" y="37123"/>
                    </a:lnTo>
                    <a:lnTo>
                      <a:pt x="23789" y="38032"/>
                    </a:lnTo>
                    <a:lnTo>
                      <a:pt x="25456" y="37274"/>
                    </a:lnTo>
                    <a:lnTo>
                      <a:pt x="28789" y="37426"/>
                    </a:lnTo>
                    <a:lnTo>
                      <a:pt x="31819" y="38789"/>
                    </a:lnTo>
                    <a:lnTo>
                      <a:pt x="35456" y="39547"/>
                    </a:lnTo>
                    <a:lnTo>
                      <a:pt x="36365" y="41365"/>
                    </a:lnTo>
                    <a:lnTo>
                      <a:pt x="36820" y="42880"/>
                    </a:lnTo>
                    <a:lnTo>
                      <a:pt x="41517" y="50911"/>
                    </a:lnTo>
                    <a:lnTo>
                      <a:pt x="45153" y="52123"/>
                    </a:lnTo>
                    <a:lnTo>
                      <a:pt x="47881" y="53487"/>
                    </a:lnTo>
                    <a:lnTo>
                      <a:pt x="49244" y="53638"/>
                    </a:lnTo>
                    <a:lnTo>
                      <a:pt x="49850" y="52275"/>
                    </a:lnTo>
                    <a:lnTo>
                      <a:pt x="50305" y="48487"/>
                    </a:lnTo>
                    <a:lnTo>
                      <a:pt x="50911" y="47274"/>
                    </a:lnTo>
                    <a:lnTo>
                      <a:pt x="52729" y="46668"/>
                    </a:lnTo>
                    <a:lnTo>
                      <a:pt x="53487" y="46062"/>
                    </a:lnTo>
                    <a:lnTo>
                      <a:pt x="54244" y="51214"/>
                    </a:lnTo>
                    <a:lnTo>
                      <a:pt x="57578" y="58638"/>
                    </a:lnTo>
                    <a:lnTo>
                      <a:pt x="57881" y="63032"/>
                    </a:lnTo>
                    <a:lnTo>
                      <a:pt x="59396" y="64548"/>
                    </a:lnTo>
                    <a:lnTo>
                      <a:pt x="64245" y="64396"/>
                    </a:lnTo>
                    <a:lnTo>
                      <a:pt x="70457" y="63032"/>
                    </a:lnTo>
                    <a:lnTo>
                      <a:pt x="72275" y="61669"/>
                    </a:lnTo>
                    <a:lnTo>
                      <a:pt x="72881" y="60002"/>
                    </a:lnTo>
                    <a:lnTo>
                      <a:pt x="74548" y="58942"/>
                    </a:lnTo>
                    <a:lnTo>
                      <a:pt x="79397" y="58790"/>
                    </a:lnTo>
                    <a:lnTo>
                      <a:pt x="80609" y="58184"/>
                    </a:lnTo>
                    <a:lnTo>
                      <a:pt x="82124" y="56972"/>
                    </a:lnTo>
                    <a:lnTo>
                      <a:pt x="81367" y="54244"/>
                    </a:lnTo>
                    <a:lnTo>
                      <a:pt x="80457" y="52426"/>
                    </a:lnTo>
                    <a:lnTo>
                      <a:pt x="75306" y="47426"/>
                    </a:lnTo>
                    <a:lnTo>
                      <a:pt x="72427" y="43486"/>
                    </a:lnTo>
                    <a:lnTo>
                      <a:pt x="71215" y="42577"/>
                    </a:lnTo>
                    <a:lnTo>
                      <a:pt x="69851" y="41214"/>
                    </a:lnTo>
                    <a:lnTo>
                      <a:pt x="69700" y="39547"/>
                    </a:lnTo>
                    <a:lnTo>
                      <a:pt x="69851" y="37577"/>
                    </a:lnTo>
                    <a:lnTo>
                      <a:pt x="71215" y="36213"/>
                    </a:lnTo>
                    <a:lnTo>
                      <a:pt x="72275" y="35456"/>
                    </a:lnTo>
                    <a:lnTo>
                      <a:pt x="76821" y="34698"/>
                    </a:lnTo>
                    <a:lnTo>
                      <a:pt x="78791" y="33789"/>
                    </a:lnTo>
                    <a:lnTo>
                      <a:pt x="89094" y="27122"/>
                    </a:lnTo>
                    <a:lnTo>
                      <a:pt x="87276" y="25910"/>
                    </a:lnTo>
                    <a:lnTo>
                      <a:pt x="88791" y="23940"/>
                    </a:lnTo>
                    <a:lnTo>
                      <a:pt x="89549" y="22122"/>
                    </a:lnTo>
                    <a:lnTo>
                      <a:pt x="90761" y="20001"/>
                    </a:lnTo>
                    <a:lnTo>
                      <a:pt x="93943" y="18637"/>
                    </a:lnTo>
                    <a:lnTo>
                      <a:pt x="94549" y="18031"/>
                    </a:lnTo>
                    <a:lnTo>
                      <a:pt x="95761" y="16819"/>
                    </a:lnTo>
                    <a:lnTo>
                      <a:pt x="97579" y="15758"/>
                    </a:lnTo>
                    <a:lnTo>
                      <a:pt x="102883" y="15304"/>
                    </a:lnTo>
                    <a:lnTo>
                      <a:pt x="107277" y="15909"/>
                    </a:lnTo>
                    <a:lnTo>
                      <a:pt x="110913" y="17728"/>
                    </a:lnTo>
                    <a:lnTo>
                      <a:pt x="113792" y="20152"/>
                    </a:lnTo>
                    <a:lnTo>
                      <a:pt x="115914" y="21061"/>
                    </a:lnTo>
                    <a:lnTo>
                      <a:pt x="117580" y="22728"/>
                    </a:lnTo>
                    <a:lnTo>
                      <a:pt x="118641" y="23031"/>
                    </a:lnTo>
                    <a:lnTo>
                      <a:pt x="120004" y="23789"/>
                    </a:lnTo>
                    <a:lnTo>
                      <a:pt x="122883" y="26062"/>
                    </a:lnTo>
                    <a:lnTo>
                      <a:pt x="124096" y="31062"/>
                    </a:lnTo>
                    <a:lnTo>
                      <a:pt x="125005" y="32274"/>
                    </a:lnTo>
                    <a:lnTo>
                      <a:pt x="125762" y="33638"/>
                    </a:lnTo>
                    <a:lnTo>
                      <a:pt x="126671" y="33486"/>
                    </a:lnTo>
                    <a:lnTo>
                      <a:pt x="126974" y="32274"/>
                    </a:lnTo>
                    <a:lnTo>
                      <a:pt x="126520" y="31213"/>
                    </a:lnTo>
                    <a:lnTo>
                      <a:pt x="126217" y="29546"/>
                    </a:lnTo>
                    <a:lnTo>
                      <a:pt x="126823" y="30001"/>
                    </a:lnTo>
                    <a:lnTo>
                      <a:pt x="127429" y="30759"/>
                    </a:lnTo>
                    <a:lnTo>
                      <a:pt x="130005" y="30910"/>
                    </a:lnTo>
                    <a:lnTo>
                      <a:pt x="130156" y="31819"/>
                    </a:lnTo>
                    <a:lnTo>
                      <a:pt x="130914" y="32425"/>
                    </a:lnTo>
                    <a:lnTo>
                      <a:pt x="131823" y="31819"/>
                    </a:lnTo>
                    <a:lnTo>
                      <a:pt x="132581" y="30759"/>
                    </a:lnTo>
                    <a:lnTo>
                      <a:pt x="134247" y="29546"/>
                    </a:lnTo>
                    <a:lnTo>
                      <a:pt x="135460" y="32274"/>
                    </a:lnTo>
                    <a:lnTo>
                      <a:pt x="136672" y="34244"/>
                    </a:lnTo>
                    <a:lnTo>
                      <a:pt x="141066" y="37274"/>
                    </a:lnTo>
                    <a:lnTo>
                      <a:pt x="143642" y="39547"/>
                    </a:lnTo>
                    <a:lnTo>
                      <a:pt x="141672" y="39092"/>
                    </a:lnTo>
                    <a:lnTo>
                      <a:pt x="138490" y="36971"/>
                    </a:lnTo>
                    <a:lnTo>
                      <a:pt x="135914" y="35456"/>
                    </a:lnTo>
                    <a:lnTo>
                      <a:pt x="134096" y="32880"/>
                    </a:lnTo>
                    <a:lnTo>
                      <a:pt x="133338" y="32728"/>
                    </a:lnTo>
                    <a:lnTo>
                      <a:pt x="132278" y="34244"/>
                    </a:lnTo>
                    <a:lnTo>
                      <a:pt x="129550" y="36516"/>
                    </a:lnTo>
                    <a:lnTo>
                      <a:pt x="130308" y="39547"/>
                    </a:lnTo>
                    <a:lnTo>
                      <a:pt x="129399" y="40759"/>
                    </a:lnTo>
                    <a:lnTo>
                      <a:pt x="128641" y="41365"/>
                    </a:lnTo>
                    <a:lnTo>
                      <a:pt x="127278" y="41214"/>
                    </a:lnTo>
                    <a:lnTo>
                      <a:pt x="125762" y="41517"/>
                    </a:lnTo>
                    <a:lnTo>
                      <a:pt x="126974" y="45911"/>
                    </a:lnTo>
                    <a:lnTo>
                      <a:pt x="132732" y="55608"/>
                    </a:lnTo>
                    <a:lnTo>
                      <a:pt x="139248" y="63487"/>
                    </a:lnTo>
                    <a:lnTo>
                      <a:pt x="140005" y="64245"/>
                    </a:lnTo>
                    <a:lnTo>
                      <a:pt x="141975" y="58335"/>
                    </a:lnTo>
                    <a:lnTo>
                      <a:pt x="143642" y="57275"/>
                    </a:lnTo>
                    <a:lnTo>
                      <a:pt x="144248" y="55760"/>
                    </a:lnTo>
                    <a:lnTo>
                      <a:pt x="143642" y="52123"/>
                    </a:lnTo>
                    <a:lnTo>
                      <a:pt x="143793" y="51214"/>
                    </a:lnTo>
                    <a:lnTo>
                      <a:pt x="144248" y="50911"/>
                    </a:lnTo>
                    <a:lnTo>
                      <a:pt x="144702" y="50911"/>
                    </a:lnTo>
                    <a:lnTo>
                      <a:pt x="145460" y="51517"/>
                    </a:lnTo>
                    <a:lnTo>
                      <a:pt x="146824" y="53032"/>
                    </a:lnTo>
                    <a:lnTo>
                      <a:pt x="147884" y="55002"/>
                    </a:lnTo>
                    <a:lnTo>
                      <a:pt x="148794" y="55608"/>
                    </a:lnTo>
                    <a:lnTo>
                      <a:pt x="150157" y="55002"/>
                    </a:lnTo>
                    <a:lnTo>
                      <a:pt x="155309" y="51214"/>
                    </a:lnTo>
                    <a:lnTo>
                      <a:pt x="155006" y="50002"/>
                    </a:lnTo>
                    <a:lnTo>
                      <a:pt x="155460" y="47577"/>
                    </a:lnTo>
                    <a:lnTo>
                      <a:pt x="157127" y="45608"/>
                    </a:lnTo>
                    <a:lnTo>
                      <a:pt x="158945" y="45002"/>
                    </a:lnTo>
                    <a:lnTo>
                      <a:pt x="159551" y="43941"/>
                    </a:lnTo>
                    <a:lnTo>
                      <a:pt x="158642" y="42729"/>
                    </a:lnTo>
                    <a:close/>
                    <a:moveTo>
                      <a:pt x="113035" y="31062"/>
                    </a:moveTo>
                    <a:lnTo>
                      <a:pt x="112126" y="31062"/>
                    </a:lnTo>
                    <a:lnTo>
                      <a:pt x="110913" y="31668"/>
                    </a:lnTo>
                    <a:lnTo>
                      <a:pt x="111065" y="33940"/>
                    </a:lnTo>
                    <a:lnTo>
                      <a:pt x="110913" y="34547"/>
                    </a:lnTo>
                    <a:lnTo>
                      <a:pt x="112126" y="37123"/>
                    </a:lnTo>
                    <a:lnTo>
                      <a:pt x="112731" y="35910"/>
                    </a:lnTo>
                    <a:lnTo>
                      <a:pt x="113944" y="35153"/>
                    </a:lnTo>
                    <a:lnTo>
                      <a:pt x="114398" y="33940"/>
                    </a:lnTo>
                    <a:lnTo>
                      <a:pt x="113944" y="31213"/>
                    </a:lnTo>
                    <a:lnTo>
                      <a:pt x="113035" y="31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2" name="Freeform: Shape 3191">
                <a:extLst>
                  <a:ext uri="{FF2B5EF4-FFF2-40B4-BE49-F238E27FC236}">
                    <a16:creationId xmlns:a16="http://schemas.microsoft.com/office/drawing/2014/main" id="{3CBB1231-CCDA-4A2E-A57C-814E8718230A}"/>
                  </a:ext>
                </a:extLst>
              </p:cNvPr>
              <p:cNvSpPr/>
              <p:nvPr/>
            </p:nvSpPr>
            <p:spPr>
              <a:xfrm>
                <a:off x="7198616" y="3829088"/>
                <a:ext cx="215311" cy="277888"/>
              </a:xfrm>
              <a:custGeom>
                <a:avLst/>
                <a:gdLst>
                  <a:gd name="connsiteX0" fmla="*/ 117126 w 215311"/>
                  <a:gd name="connsiteY0" fmla="*/ 30152 h 277888"/>
                  <a:gd name="connsiteX1" fmla="*/ 116671 w 215311"/>
                  <a:gd name="connsiteY1" fmla="*/ 31213 h 277888"/>
                  <a:gd name="connsiteX2" fmla="*/ 116520 w 215311"/>
                  <a:gd name="connsiteY2" fmla="*/ 32728 h 277888"/>
                  <a:gd name="connsiteX3" fmla="*/ 117277 w 215311"/>
                  <a:gd name="connsiteY3" fmla="*/ 32880 h 277888"/>
                  <a:gd name="connsiteX4" fmla="*/ 118489 w 215311"/>
                  <a:gd name="connsiteY4" fmla="*/ 32122 h 277888"/>
                  <a:gd name="connsiteX5" fmla="*/ 118641 w 215311"/>
                  <a:gd name="connsiteY5" fmla="*/ 30910 h 277888"/>
                  <a:gd name="connsiteX6" fmla="*/ 118338 w 215311"/>
                  <a:gd name="connsiteY6" fmla="*/ 30304 h 277888"/>
                  <a:gd name="connsiteX7" fmla="*/ 117126 w 215311"/>
                  <a:gd name="connsiteY7" fmla="*/ 30152 h 277888"/>
                  <a:gd name="connsiteX8" fmla="*/ 115308 w 215311"/>
                  <a:gd name="connsiteY8" fmla="*/ 8485 h 277888"/>
                  <a:gd name="connsiteX9" fmla="*/ 115459 w 215311"/>
                  <a:gd name="connsiteY9" fmla="*/ 11515 h 277888"/>
                  <a:gd name="connsiteX10" fmla="*/ 115004 w 215311"/>
                  <a:gd name="connsiteY10" fmla="*/ 14394 h 277888"/>
                  <a:gd name="connsiteX11" fmla="*/ 115004 w 215311"/>
                  <a:gd name="connsiteY11" fmla="*/ 17425 h 277888"/>
                  <a:gd name="connsiteX12" fmla="*/ 114853 w 215311"/>
                  <a:gd name="connsiteY12" fmla="*/ 19092 h 277888"/>
                  <a:gd name="connsiteX13" fmla="*/ 115914 w 215311"/>
                  <a:gd name="connsiteY13" fmla="*/ 20455 h 277888"/>
                  <a:gd name="connsiteX14" fmla="*/ 117732 w 215311"/>
                  <a:gd name="connsiteY14" fmla="*/ 21061 h 277888"/>
                  <a:gd name="connsiteX15" fmla="*/ 118489 w 215311"/>
                  <a:gd name="connsiteY15" fmla="*/ 21061 h 277888"/>
                  <a:gd name="connsiteX16" fmla="*/ 118944 w 215311"/>
                  <a:gd name="connsiteY16" fmla="*/ 20455 h 277888"/>
                  <a:gd name="connsiteX17" fmla="*/ 119247 w 215311"/>
                  <a:gd name="connsiteY17" fmla="*/ 18788 h 277888"/>
                  <a:gd name="connsiteX18" fmla="*/ 119853 w 215311"/>
                  <a:gd name="connsiteY18" fmla="*/ 17576 h 277888"/>
                  <a:gd name="connsiteX19" fmla="*/ 121065 w 215311"/>
                  <a:gd name="connsiteY19" fmla="*/ 16061 h 277888"/>
                  <a:gd name="connsiteX20" fmla="*/ 122277 w 215311"/>
                  <a:gd name="connsiteY20" fmla="*/ 7273 h 277888"/>
                  <a:gd name="connsiteX21" fmla="*/ 122277 w 215311"/>
                  <a:gd name="connsiteY21" fmla="*/ 4394 h 277888"/>
                  <a:gd name="connsiteX22" fmla="*/ 122580 w 215311"/>
                  <a:gd name="connsiteY22" fmla="*/ 909 h 277888"/>
                  <a:gd name="connsiteX23" fmla="*/ 122126 w 215311"/>
                  <a:gd name="connsiteY23" fmla="*/ 151 h 277888"/>
                  <a:gd name="connsiteX24" fmla="*/ 121217 w 215311"/>
                  <a:gd name="connsiteY24" fmla="*/ 0 h 277888"/>
                  <a:gd name="connsiteX25" fmla="*/ 120308 w 215311"/>
                  <a:gd name="connsiteY25" fmla="*/ 1212 h 277888"/>
                  <a:gd name="connsiteX26" fmla="*/ 119247 w 215311"/>
                  <a:gd name="connsiteY26" fmla="*/ 3485 h 277888"/>
                  <a:gd name="connsiteX27" fmla="*/ 117126 w 215311"/>
                  <a:gd name="connsiteY27" fmla="*/ 3939 h 277888"/>
                  <a:gd name="connsiteX28" fmla="*/ 116217 w 215311"/>
                  <a:gd name="connsiteY28" fmla="*/ 3636 h 277888"/>
                  <a:gd name="connsiteX29" fmla="*/ 115308 w 215311"/>
                  <a:gd name="connsiteY29" fmla="*/ 4243 h 277888"/>
                  <a:gd name="connsiteX30" fmla="*/ 113035 w 215311"/>
                  <a:gd name="connsiteY30" fmla="*/ 8485 h 277888"/>
                  <a:gd name="connsiteX31" fmla="*/ 114095 w 215311"/>
                  <a:gd name="connsiteY31" fmla="*/ 8333 h 277888"/>
                  <a:gd name="connsiteX32" fmla="*/ 115308 w 215311"/>
                  <a:gd name="connsiteY32" fmla="*/ 8485 h 277888"/>
                  <a:gd name="connsiteX33" fmla="*/ 215311 w 215311"/>
                  <a:gd name="connsiteY33" fmla="*/ 110610 h 277888"/>
                  <a:gd name="connsiteX34" fmla="*/ 211826 w 215311"/>
                  <a:gd name="connsiteY34" fmla="*/ 109549 h 277888"/>
                  <a:gd name="connsiteX35" fmla="*/ 207432 w 215311"/>
                  <a:gd name="connsiteY35" fmla="*/ 108640 h 277888"/>
                  <a:gd name="connsiteX36" fmla="*/ 204553 w 215311"/>
                  <a:gd name="connsiteY36" fmla="*/ 106216 h 277888"/>
                  <a:gd name="connsiteX37" fmla="*/ 201371 w 215311"/>
                  <a:gd name="connsiteY37" fmla="*/ 102428 h 277888"/>
                  <a:gd name="connsiteX38" fmla="*/ 198189 w 215311"/>
                  <a:gd name="connsiteY38" fmla="*/ 97276 h 277888"/>
                  <a:gd name="connsiteX39" fmla="*/ 193644 w 215311"/>
                  <a:gd name="connsiteY39" fmla="*/ 92731 h 277888"/>
                  <a:gd name="connsiteX40" fmla="*/ 192432 w 215311"/>
                  <a:gd name="connsiteY40" fmla="*/ 89700 h 277888"/>
                  <a:gd name="connsiteX41" fmla="*/ 190462 w 215311"/>
                  <a:gd name="connsiteY41" fmla="*/ 86821 h 277888"/>
                  <a:gd name="connsiteX42" fmla="*/ 188189 w 215311"/>
                  <a:gd name="connsiteY42" fmla="*/ 85003 h 277888"/>
                  <a:gd name="connsiteX43" fmla="*/ 186674 w 215311"/>
                  <a:gd name="connsiteY43" fmla="*/ 81518 h 277888"/>
                  <a:gd name="connsiteX44" fmla="*/ 181370 w 215311"/>
                  <a:gd name="connsiteY44" fmla="*/ 77882 h 277888"/>
                  <a:gd name="connsiteX45" fmla="*/ 179249 w 215311"/>
                  <a:gd name="connsiteY45" fmla="*/ 77882 h 277888"/>
                  <a:gd name="connsiteX46" fmla="*/ 176370 w 215311"/>
                  <a:gd name="connsiteY46" fmla="*/ 78639 h 277888"/>
                  <a:gd name="connsiteX47" fmla="*/ 174552 w 215311"/>
                  <a:gd name="connsiteY47" fmla="*/ 78488 h 277888"/>
                  <a:gd name="connsiteX48" fmla="*/ 168946 w 215311"/>
                  <a:gd name="connsiteY48" fmla="*/ 75760 h 277888"/>
                  <a:gd name="connsiteX49" fmla="*/ 160915 w 215311"/>
                  <a:gd name="connsiteY49" fmla="*/ 74548 h 277888"/>
                  <a:gd name="connsiteX50" fmla="*/ 155006 w 215311"/>
                  <a:gd name="connsiteY50" fmla="*/ 73336 h 277888"/>
                  <a:gd name="connsiteX51" fmla="*/ 144248 w 215311"/>
                  <a:gd name="connsiteY51" fmla="*/ 69851 h 277888"/>
                  <a:gd name="connsiteX52" fmla="*/ 141672 w 215311"/>
                  <a:gd name="connsiteY52" fmla="*/ 68184 h 277888"/>
                  <a:gd name="connsiteX53" fmla="*/ 135914 w 215311"/>
                  <a:gd name="connsiteY53" fmla="*/ 63336 h 277888"/>
                  <a:gd name="connsiteX54" fmla="*/ 132126 w 215311"/>
                  <a:gd name="connsiteY54" fmla="*/ 58032 h 277888"/>
                  <a:gd name="connsiteX55" fmla="*/ 128490 w 215311"/>
                  <a:gd name="connsiteY55" fmla="*/ 54093 h 277888"/>
                  <a:gd name="connsiteX56" fmla="*/ 124399 w 215311"/>
                  <a:gd name="connsiteY56" fmla="*/ 46971 h 277888"/>
                  <a:gd name="connsiteX57" fmla="*/ 121671 w 215311"/>
                  <a:gd name="connsiteY57" fmla="*/ 39395 h 277888"/>
                  <a:gd name="connsiteX58" fmla="*/ 120762 w 215311"/>
                  <a:gd name="connsiteY58" fmla="*/ 39547 h 277888"/>
                  <a:gd name="connsiteX59" fmla="*/ 119702 w 215311"/>
                  <a:gd name="connsiteY59" fmla="*/ 40759 h 277888"/>
                  <a:gd name="connsiteX60" fmla="*/ 118489 w 215311"/>
                  <a:gd name="connsiteY60" fmla="*/ 42577 h 277888"/>
                  <a:gd name="connsiteX61" fmla="*/ 116823 w 215311"/>
                  <a:gd name="connsiteY61" fmla="*/ 43486 h 277888"/>
                  <a:gd name="connsiteX62" fmla="*/ 115459 w 215311"/>
                  <a:gd name="connsiteY62" fmla="*/ 44547 h 277888"/>
                  <a:gd name="connsiteX63" fmla="*/ 114095 w 215311"/>
                  <a:gd name="connsiteY63" fmla="*/ 45911 h 277888"/>
                  <a:gd name="connsiteX64" fmla="*/ 112883 w 215311"/>
                  <a:gd name="connsiteY64" fmla="*/ 46214 h 277888"/>
                  <a:gd name="connsiteX65" fmla="*/ 111368 w 215311"/>
                  <a:gd name="connsiteY65" fmla="*/ 44547 h 277888"/>
                  <a:gd name="connsiteX66" fmla="*/ 110307 w 215311"/>
                  <a:gd name="connsiteY66" fmla="*/ 42729 h 277888"/>
                  <a:gd name="connsiteX67" fmla="*/ 110610 w 215311"/>
                  <a:gd name="connsiteY67" fmla="*/ 42274 h 277888"/>
                  <a:gd name="connsiteX68" fmla="*/ 111368 w 215311"/>
                  <a:gd name="connsiteY68" fmla="*/ 42123 h 277888"/>
                  <a:gd name="connsiteX69" fmla="*/ 111671 w 215311"/>
                  <a:gd name="connsiteY69" fmla="*/ 41214 h 277888"/>
                  <a:gd name="connsiteX70" fmla="*/ 111216 w 215311"/>
                  <a:gd name="connsiteY70" fmla="*/ 39850 h 277888"/>
                  <a:gd name="connsiteX71" fmla="*/ 110156 w 215311"/>
                  <a:gd name="connsiteY71" fmla="*/ 39395 h 277888"/>
                  <a:gd name="connsiteX72" fmla="*/ 108792 w 215311"/>
                  <a:gd name="connsiteY72" fmla="*/ 39395 h 277888"/>
                  <a:gd name="connsiteX73" fmla="*/ 107580 w 215311"/>
                  <a:gd name="connsiteY73" fmla="*/ 40001 h 277888"/>
                  <a:gd name="connsiteX74" fmla="*/ 106216 w 215311"/>
                  <a:gd name="connsiteY74" fmla="*/ 41214 h 277888"/>
                  <a:gd name="connsiteX75" fmla="*/ 105459 w 215311"/>
                  <a:gd name="connsiteY75" fmla="*/ 42426 h 277888"/>
                  <a:gd name="connsiteX76" fmla="*/ 105307 w 215311"/>
                  <a:gd name="connsiteY76" fmla="*/ 45002 h 277888"/>
                  <a:gd name="connsiteX77" fmla="*/ 105610 w 215311"/>
                  <a:gd name="connsiteY77" fmla="*/ 47880 h 277888"/>
                  <a:gd name="connsiteX78" fmla="*/ 105610 w 215311"/>
                  <a:gd name="connsiteY78" fmla="*/ 49244 h 277888"/>
                  <a:gd name="connsiteX79" fmla="*/ 104853 w 215311"/>
                  <a:gd name="connsiteY79" fmla="*/ 50911 h 277888"/>
                  <a:gd name="connsiteX80" fmla="*/ 104550 w 215311"/>
                  <a:gd name="connsiteY80" fmla="*/ 53487 h 277888"/>
                  <a:gd name="connsiteX81" fmla="*/ 105004 w 215311"/>
                  <a:gd name="connsiteY81" fmla="*/ 55456 h 277888"/>
                  <a:gd name="connsiteX82" fmla="*/ 105459 w 215311"/>
                  <a:gd name="connsiteY82" fmla="*/ 56669 h 277888"/>
                  <a:gd name="connsiteX83" fmla="*/ 105459 w 215311"/>
                  <a:gd name="connsiteY83" fmla="*/ 57578 h 277888"/>
                  <a:gd name="connsiteX84" fmla="*/ 104246 w 215311"/>
                  <a:gd name="connsiteY84" fmla="*/ 60608 h 277888"/>
                  <a:gd name="connsiteX85" fmla="*/ 105307 w 215311"/>
                  <a:gd name="connsiteY85" fmla="*/ 61214 h 277888"/>
                  <a:gd name="connsiteX86" fmla="*/ 108792 w 215311"/>
                  <a:gd name="connsiteY86" fmla="*/ 61366 h 277888"/>
                  <a:gd name="connsiteX87" fmla="*/ 109853 w 215311"/>
                  <a:gd name="connsiteY87" fmla="*/ 63487 h 277888"/>
                  <a:gd name="connsiteX88" fmla="*/ 110610 w 215311"/>
                  <a:gd name="connsiteY88" fmla="*/ 64851 h 277888"/>
                  <a:gd name="connsiteX89" fmla="*/ 110459 w 215311"/>
                  <a:gd name="connsiteY89" fmla="*/ 65760 h 277888"/>
                  <a:gd name="connsiteX90" fmla="*/ 108034 w 215311"/>
                  <a:gd name="connsiteY90" fmla="*/ 66366 h 277888"/>
                  <a:gd name="connsiteX91" fmla="*/ 104853 w 215311"/>
                  <a:gd name="connsiteY91" fmla="*/ 67124 h 277888"/>
                  <a:gd name="connsiteX92" fmla="*/ 102580 w 215311"/>
                  <a:gd name="connsiteY92" fmla="*/ 66972 h 277888"/>
                  <a:gd name="connsiteX93" fmla="*/ 98489 w 215311"/>
                  <a:gd name="connsiteY93" fmla="*/ 67881 h 277888"/>
                  <a:gd name="connsiteX94" fmla="*/ 96367 w 215311"/>
                  <a:gd name="connsiteY94" fmla="*/ 69397 h 277888"/>
                  <a:gd name="connsiteX95" fmla="*/ 96974 w 215311"/>
                  <a:gd name="connsiteY95" fmla="*/ 70306 h 277888"/>
                  <a:gd name="connsiteX96" fmla="*/ 97731 w 215311"/>
                  <a:gd name="connsiteY96" fmla="*/ 71063 h 277888"/>
                  <a:gd name="connsiteX97" fmla="*/ 98034 w 215311"/>
                  <a:gd name="connsiteY97" fmla="*/ 73033 h 277888"/>
                  <a:gd name="connsiteX98" fmla="*/ 97428 w 215311"/>
                  <a:gd name="connsiteY98" fmla="*/ 75760 h 277888"/>
                  <a:gd name="connsiteX99" fmla="*/ 96216 w 215311"/>
                  <a:gd name="connsiteY99" fmla="*/ 78336 h 277888"/>
                  <a:gd name="connsiteX100" fmla="*/ 94852 w 215311"/>
                  <a:gd name="connsiteY100" fmla="*/ 81670 h 277888"/>
                  <a:gd name="connsiteX101" fmla="*/ 93186 w 215311"/>
                  <a:gd name="connsiteY101" fmla="*/ 85458 h 277888"/>
                  <a:gd name="connsiteX102" fmla="*/ 90912 w 215311"/>
                  <a:gd name="connsiteY102" fmla="*/ 91064 h 277888"/>
                  <a:gd name="connsiteX103" fmla="*/ 88943 w 215311"/>
                  <a:gd name="connsiteY103" fmla="*/ 95458 h 277888"/>
                  <a:gd name="connsiteX104" fmla="*/ 88791 w 215311"/>
                  <a:gd name="connsiteY104" fmla="*/ 98640 h 277888"/>
                  <a:gd name="connsiteX105" fmla="*/ 88791 w 215311"/>
                  <a:gd name="connsiteY105" fmla="*/ 100761 h 277888"/>
                  <a:gd name="connsiteX106" fmla="*/ 88640 w 215311"/>
                  <a:gd name="connsiteY106" fmla="*/ 105004 h 277888"/>
                  <a:gd name="connsiteX107" fmla="*/ 90610 w 215311"/>
                  <a:gd name="connsiteY107" fmla="*/ 108186 h 277888"/>
                  <a:gd name="connsiteX108" fmla="*/ 92276 w 215311"/>
                  <a:gd name="connsiteY108" fmla="*/ 110913 h 277888"/>
                  <a:gd name="connsiteX109" fmla="*/ 94549 w 215311"/>
                  <a:gd name="connsiteY109" fmla="*/ 114550 h 277888"/>
                  <a:gd name="connsiteX110" fmla="*/ 96974 w 215311"/>
                  <a:gd name="connsiteY110" fmla="*/ 118489 h 277888"/>
                  <a:gd name="connsiteX111" fmla="*/ 99246 w 215311"/>
                  <a:gd name="connsiteY111" fmla="*/ 122277 h 277888"/>
                  <a:gd name="connsiteX112" fmla="*/ 100913 w 215311"/>
                  <a:gd name="connsiteY112" fmla="*/ 125005 h 277888"/>
                  <a:gd name="connsiteX113" fmla="*/ 100004 w 215311"/>
                  <a:gd name="connsiteY113" fmla="*/ 127883 h 277888"/>
                  <a:gd name="connsiteX114" fmla="*/ 98943 w 215311"/>
                  <a:gd name="connsiteY114" fmla="*/ 131065 h 277888"/>
                  <a:gd name="connsiteX115" fmla="*/ 97883 w 215311"/>
                  <a:gd name="connsiteY115" fmla="*/ 134247 h 277888"/>
                  <a:gd name="connsiteX116" fmla="*/ 96822 w 215311"/>
                  <a:gd name="connsiteY116" fmla="*/ 137429 h 277888"/>
                  <a:gd name="connsiteX117" fmla="*/ 95761 w 215311"/>
                  <a:gd name="connsiteY117" fmla="*/ 140611 h 277888"/>
                  <a:gd name="connsiteX118" fmla="*/ 94700 w 215311"/>
                  <a:gd name="connsiteY118" fmla="*/ 143793 h 277888"/>
                  <a:gd name="connsiteX119" fmla="*/ 93640 w 215311"/>
                  <a:gd name="connsiteY119" fmla="*/ 146975 h 277888"/>
                  <a:gd name="connsiteX120" fmla="*/ 92579 w 215311"/>
                  <a:gd name="connsiteY120" fmla="*/ 150157 h 277888"/>
                  <a:gd name="connsiteX121" fmla="*/ 91519 w 215311"/>
                  <a:gd name="connsiteY121" fmla="*/ 153339 h 277888"/>
                  <a:gd name="connsiteX122" fmla="*/ 90458 w 215311"/>
                  <a:gd name="connsiteY122" fmla="*/ 156521 h 277888"/>
                  <a:gd name="connsiteX123" fmla="*/ 89398 w 215311"/>
                  <a:gd name="connsiteY123" fmla="*/ 159703 h 277888"/>
                  <a:gd name="connsiteX124" fmla="*/ 88337 w 215311"/>
                  <a:gd name="connsiteY124" fmla="*/ 162885 h 277888"/>
                  <a:gd name="connsiteX125" fmla="*/ 87276 w 215311"/>
                  <a:gd name="connsiteY125" fmla="*/ 166067 h 277888"/>
                  <a:gd name="connsiteX126" fmla="*/ 86215 w 215311"/>
                  <a:gd name="connsiteY126" fmla="*/ 169249 h 277888"/>
                  <a:gd name="connsiteX127" fmla="*/ 85155 w 215311"/>
                  <a:gd name="connsiteY127" fmla="*/ 172430 h 277888"/>
                  <a:gd name="connsiteX128" fmla="*/ 84094 w 215311"/>
                  <a:gd name="connsiteY128" fmla="*/ 175612 h 277888"/>
                  <a:gd name="connsiteX129" fmla="*/ 83034 w 215311"/>
                  <a:gd name="connsiteY129" fmla="*/ 178794 h 277888"/>
                  <a:gd name="connsiteX130" fmla="*/ 81822 w 215311"/>
                  <a:gd name="connsiteY130" fmla="*/ 182582 h 277888"/>
                  <a:gd name="connsiteX131" fmla="*/ 78943 w 215311"/>
                  <a:gd name="connsiteY131" fmla="*/ 183643 h 277888"/>
                  <a:gd name="connsiteX132" fmla="*/ 74246 w 215311"/>
                  <a:gd name="connsiteY132" fmla="*/ 185310 h 277888"/>
                  <a:gd name="connsiteX133" fmla="*/ 69548 w 215311"/>
                  <a:gd name="connsiteY133" fmla="*/ 186976 h 277888"/>
                  <a:gd name="connsiteX134" fmla="*/ 64851 w 215311"/>
                  <a:gd name="connsiteY134" fmla="*/ 188643 h 277888"/>
                  <a:gd name="connsiteX135" fmla="*/ 60154 w 215311"/>
                  <a:gd name="connsiteY135" fmla="*/ 190310 h 277888"/>
                  <a:gd name="connsiteX136" fmla="*/ 55457 w 215311"/>
                  <a:gd name="connsiteY136" fmla="*/ 191977 h 277888"/>
                  <a:gd name="connsiteX137" fmla="*/ 50760 w 215311"/>
                  <a:gd name="connsiteY137" fmla="*/ 193643 h 277888"/>
                  <a:gd name="connsiteX138" fmla="*/ 46062 w 215311"/>
                  <a:gd name="connsiteY138" fmla="*/ 195310 h 277888"/>
                  <a:gd name="connsiteX139" fmla="*/ 41365 w 215311"/>
                  <a:gd name="connsiteY139" fmla="*/ 196977 h 277888"/>
                  <a:gd name="connsiteX140" fmla="*/ 36668 w 215311"/>
                  <a:gd name="connsiteY140" fmla="*/ 198644 h 277888"/>
                  <a:gd name="connsiteX141" fmla="*/ 31971 w 215311"/>
                  <a:gd name="connsiteY141" fmla="*/ 200310 h 277888"/>
                  <a:gd name="connsiteX142" fmla="*/ 27274 w 215311"/>
                  <a:gd name="connsiteY142" fmla="*/ 201977 h 277888"/>
                  <a:gd name="connsiteX143" fmla="*/ 22577 w 215311"/>
                  <a:gd name="connsiteY143" fmla="*/ 203644 h 277888"/>
                  <a:gd name="connsiteX144" fmla="*/ 17880 w 215311"/>
                  <a:gd name="connsiteY144" fmla="*/ 205310 h 277888"/>
                  <a:gd name="connsiteX145" fmla="*/ 13183 w 215311"/>
                  <a:gd name="connsiteY145" fmla="*/ 206977 h 277888"/>
                  <a:gd name="connsiteX146" fmla="*/ 8485 w 215311"/>
                  <a:gd name="connsiteY146" fmla="*/ 208644 h 277888"/>
                  <a:gd name="connsiteX147" fmla="*/ 3788 w 215311"/>
                  <a:gd name="connsiteY147" fmla="*/ 210311 h 277888"/>
                  <a:gd name="connsiteX148" fmla="*/ 0 w 215311"/>
                  <a:gd name="connsiteY148" fmla="*/ 211674 h 277888"/>
                  <a:gd name="connsiteX149" fmla="*/ 1212 w 215311"/>
                  <a:gd name="connsiteY149" fmla="*/ 214553 h 277888"/>
                  <a:gd name="connsiteX150" fmla="*/ 2424 w 215311"/>
                  <a:gd name="connsiteY150" fmla="*/ 217432 h 277888"/>
                  <a:gd name="connsiteX151" fmla="*/ 3637 w 215311"/>
                  <a:gd name="connsiteY151" fmla="*/ 220311 h 277888"/>
                  <a:gd name="connsiteX152" fmla="*/ 4849 w 215311"/>
                  <a:gd name="connsiteY152" fmla="*/ 223190 h 277888"/>
                  <a:gd name="connsiteX153" fmla="*/ 6061 w 215311"/>
                  <a:gd name="connsiteY153" fmla="*/ 226069 h 277888"/>
                  <a:gd name="connsiteX154" fmla="*/ 7273 w 215311"/>
                  <a:gd name="connsiteY154" fmla="*/ 228948 h 277888"/>
                  <a:gd name="connsiteX155" fmla="*/ 8485 w 215311"/>
                  <a:gd name="connsiteY155" fmla="*/ 231826 h 277888"/>
                  <a:gd name="connsiteX156" fmla="*/ 9698 w 215311"/>
                  <a:gd name="connsiteY156" fmla="*/ 234705 h 277888"/>
                  <a:gd name="connsiteX157" fmla="*/ 10910 w 215311"/>
                  <a:gd name="connsiteY157" fmla="*/ 237584 h 277888"/>
                  <a:gd name="connsiteX158" fmla="*/ 12122 w 215311"/>
                  <a:gd name="connsiteY158" fmla="*/ 240463 h 277888"/>
                  <a:gd name="connsiteX159" fmla="*/ 13334 w 215311"/>
                  <a:gd name="connsiteY159" fmla="*/ 243342 h 277888"/>
                  <a:gd name="connsiteX160" fmla="*/ 14546 w 215311"/>
                  <a:gd name="connsiteY160" fmla="*/ 246221 h 277888"/>
                  <a:gd name="connsiteX161" fmla="*/ 15758 w 215311"/>
                  <a:gd name="connsiteY161" fmla="*/ 248948 h 277888"/>
                  <a:gd name="connsiteX162" fmla="*/ 16971 w 215311"/>
                  <a:gd name="connsiteY162" fmla="*/ 251676 h 277888"/>
                  <a:gd name="connsiteX163" fmla="*/ 18183 w 215311"/>
                  <a:gd name="connsiteY163" fmla="*/ 254403 h 277888"/>
                  <a:gd name="connsiteX164" fmla="*/ 19395 w 215311"/>
                  <a:gd name="connsiteY164" fmla="*/ 257131 h 277888"/>
                  <a:gd name="connsiteX165" fmla="*/ 20607 w 215311"/>
                  <a:gd name="connsiteY165" fmla="*/ 259858 h 277888"/>
                  <a:gd name="connsiteX166" fmla="*/ 22577 w 215311"/>
                  <a:gd name="connsiteY166" fmla="*/ 260767 h 277888"/>
                  <a:gd name="connsiteX167" fmla="*/ 23789 w 215311"/>
                  <a:gd name="connsiteY167" fmla="*/ 263343 h 277888"/>
                  <a:gd name="connsiteX168" fmla="*/ 25456 w 215311"/>
                  <a:gd name="connsiteY168" fmla="*/ 266979 h 277888"/>
                  <a:gd name="connsiteX169" fmla="*/ 27122 w 215311"/>
                  <a:gd name="connsiteY169" fmla="*/ 270616 h 277888"/>
                  <a:gd name="connsiteX170" fmla="*/ 28789 w 215311"/>
                  <a:gd name="connsiteY170" fmla="*/ 274252 h 277888"/>
                  <a:gd name="connsiteX171" fmla="*/ 30456 w 215311"/>
                  <a:gd name="connsiteY171" fmla="*/ 277889 h 277888"/>
                  <a:gd name="connsiteX172" fmla="*/ 36214 w 215311"/>
                  <a:gd name="connsiteY172" fmla="*/ 275768 h 277888"/>
                  <a:gd name="connsiteX173" fmla="*/ 44699 w 215311"/>
                  <a:gd name="connsiteY173" fmla="*/ 274707 h 277888"/>
                  <a:gd name="connsiteX174" fmla="*/ 49244 w 215311"/>
                  <a:gd name="connsiteY174" fmla="*/ 271980 h 277888"/>
                  <a:gd name="connsiteX175" fmla="*/ 54093 w 215311"/>
                  <a:gd name="connsiteY175" fmla="*/ 270313 h 277888"/>
                  <a:gd name="connsiteX176" fmla="*/ 57275 w 215311"/>
                  <a:gd name="connsiteY176" fmla="*/ 267888 h 277888"/>
                  <a:gd name="connsiteX177" fmla="*/ 65760 w 215311"/>
                  <a:gd name="connsiteY177" fmla="*/ 267131 h 277888"/>
                  <a:gd name="connsiteX178" fmla="*/ 70912 w 215311"/>
                  <a:gd name="connsiteY178" fmla="*/ 267131 h 277888"/>
                  <a:gd name="connsiteX179" fmla="*/ 73639 w 215311"/>
                  <a:gd name="connsiteY179" fmla="*/ 267737 h 277888"/>
                  <a:gd name="connsiteX180" fmla="*/ 76518 w 215311"/>
                  <a:gd name="connsiteY180" fmla="*/ 268949 h 277888"/>
                  <a:gd name="connsiteX181" fmla="*/ 84549 w 215311"/>
                  <a:gd name="connsiteY181" fmla="*/ 266828 h 277888"/>
                  <a:gd name="connsiteX182" fmla="*/ 87579 w 215311"/>
                  <a:gd name="connsiteY182" fmla="*/ 263494 h 277888"/>
                  <a:gd name="connsiteX183" fmla="*/ 90307 w 215311"/>
                  <a:gd name="connsiteY183" fmla="*/ 258949 h 277888"/>
                  <a:gd name="connsiteX184" fmla="*/ 90912 w 215311"/>
                  <a:gd name="connsiteY184" fmla="*/ 257282 h 277888"/>
                  <a:gd name="connsiteX185" fmla="*/ 90458 w 215311"/>
                  <a:gd name="connsiteY185" fmla="*/ 255464 h 277888"/>
                  <a:gd name="connsiteX186" fmla="*/ 89246 w 215311"/>
                  <a:gd name="connsiteY186" fmla="*/ 253797 h 277888"/>
                  <a:gd name="connsiteX187" fmla="*/ 89701 w 215311"/>
                  <a:gd name="connsiteY187" fmla="*/ 251524 h 277888"/>
                  <a:gd name="connsiteX188" fmla="*/ 95761 w 215311"/>
                  <a:gd name="connsiteY188" fmla="*/ 244251 h 277888"/>
                  <a:gd name="connsiteX189" fmla="*/ 99398 w 215311"/>
                  <a:gd name="connsiteY189" fmla="*/ 243039 h 277888"/>
                  <a:gd name="connsiteX190" fmla="*/ 109853 w 215311"/>
                  <a:gd name="connsiteY190" fmla="*/ 241675 h 277888"/>
                  <a:gd name="connsiteX191" fmla="*/ 117277 w 215311"/>
                  <a:gd name="connsiteY191" fmla="*/ 241221 h 277888"/>
                  <a:gd name="connsiteX192" fmla="*/ 120308 w 215311"/>
                  <a:gd name="connsiteY192" fmla="*/ 240160 h 277888"/>
                  <a:gd name="connsiteX193" fmla="*/ 124853 w 215311"/>
                  <a:gd name="connsiteY193" fmla="*/ 235160 h 277888"/>
                  <a:gd name="connsiteX194" fmla="*/ 127732 w 215311"/>
                  <a:gd name="connsiteY194" fmla="*/ 223341 h 277888"/>
                  <a:gd name="connsiteX195" fmla="*/ 132429 w 215311"/>
                  <a:gd name="connsiteY195" fmla="*/ 218644 h 277888"/>
                  <a:gd name="connsiteX196" fmla="*/ 136066 w 215311"/>
                  <a:gd name="connsiteY196" fmla="*/ 216523 h 277888"/>
                  <a:gd name="connsiteX197" fmla="*/ 142127 w 215311"/>
                  <a:gd name="connsiteY197" fmla="*/ 214402 h 277888"/>
                  <a:gd name="connsiteX198" fmla="*/ 148945 w 215311"/>
                  <a:gd name="connsiteY198" fmla="*/ 213189 h 277888"/>
                  <a:gd name="connsiteX199" fmla="*/ 155763 w 215311"/>
                  <a:gd name="connsiteY199" fmla="*/ 212735 h 277888"/>
                  <a:gd name="connsiteX200" fmla="*/ 157430 w 215311"/>
                  <a:gd name="connsiteY200" fmla="*/ 212129 h 277888"/>
                  <a:gd name="connsiteX201" fmla="*/ 159400 w 215311"/>
                  <a:gd name="connsiteY201" fmla="*/ 211068 h 277888"/>
                  <a:gd name="connsiteX202" fmla="*/ 158794 w 215311"/>
                  <a:gd name="connsiteY202" fmla="*/ 207432 h 277888"/>
                  <a:gd name="connsiteX203" fmla="*/ 158037 w 215311"/>
                  <a:gd name="connsiteY203" fmla="*/ 204401 h 277888"/>
                  <a:gd name="connsiteX204" fmla="*/ 157885 w 215311"/>
                  <a:gd name="connsiteY204" fmla="*/ 199401 h 277888"/>
                  <a:gd name="connsiteX205" fmla="*/ 156672 w 215311"/>
                  <a:gd name="connsiteY205" fmla="*/ 194401 h 277888"/>
                  <a:gd name="connsiteX206" fmla="*/ 156672 w 215311"/>
                  <a:gd name="connsiteY206" fmla="*/ 192431 h 277888"/>
                  <a:gd name="connsiteX207" fmla="*/ 157430 w 215311"/>
                  <a:gd name="connsiteY207" fmla="*/ 188795 h 277888"/>
                  <a:gd name="connsiteX208" fmla="*/ 159097 w 215311"/>
                  <a:gd name="connsiteY208" fmla="*/ 184552 h 277888"/>
                  <a:gd name="connsiteX209" fmla="*/ 160158 w 215311"/>
                  <a:gd name="connsiteY209" fmla="*/ 180006 h 277888"/>
                  <a:gd name="connsiteX210" fmla="*/ 160612 w 215311"/>
                  <a:gd name="connsiteY210" fmla="*/ 176370 h 277888"/>
                  <a:gd name="connsiteX211" fmla="*/ 162885 w 215311"/>
                  <a:gd name="connsiteY211" fmla="*/ 173491 h 277888"/>
                  <a:gd name="connsiteX212" fmla="*/ 167127 w 215311"/>
                  <a:gd name="connsiteY212" fmla="*/ 167127 h 277888"/>
                  <a:gd name="connsiteX213" fmla="*/ 168946 w 215311"/>
                  <a:gd name="connsiteY213" fmla="*/ 166521 h 277888"/>
                  <a:gd name="connsiteX214" fmla="*/ 171067 w 215311"/>
                  <a:gd name="connsiteY214" fmla="*/ 166218 h 277888"/>
                  <a:gd name="connsiteX215" fmla="*/ 170764 w 215311"/>
                  <a:gd name="connsiteY215" fmla="*/ 168794 h 277888"/>
                  <a:gd name="connsiteX216" fmla="*/ 170158 w 215311"/>
                  <a:gd name="connsiteY216" fmla="*/ 171218 h 277888"/>
                  <a:gd name="connsiteX217" fmla="*/ 171673 w 215311"/>
                  <a:gd name="connsiteY217" fmla="*/ 171976 h 277888"/>
                  <a:gd name="connsiteX218" fmla="*/ 173946 w 215311"/>
                  <a:gd name="connsiteY218" fmla="*/ 172279 h 277888"/>
                  <a:gd name="connsiteX219" fmla="*/ 177431 w 215311"/>
                  <a:gd name="connsiteY219" fmla="*/ 171673 h 277888"/>
                  <a:gd name="connsiteX220" fmla="*/ 179098 w 215311"/>
                  <a:gd name="connsiteY220" fmla="*/ 168945 h 277888"/>
                  <a:gd name="connsiteX221" fmla="*/ 183340 w 215311"/>
                  <a:gd name="connsiteY221" fmla="*/ 160309 h 277888"/>
                  <a:gd name="connsiteX222" fmla="*/ 188946 w 215311"/>
                  <a:gd name="connsiteY222" fmla="*/ 151672 h 277888"/>
                  <a:gd name="connsiteX223" fmla="*/ 193644 w 215311"/>
                  <a:gd name="connsiteY223" fmla="*/ 146672 h 277888"/>
                  <a:gd name="connsiteX224" fmla="*/ 200159 w 215311"/>
                  <a:gd name="connsiteY224" fmla="*/ 142581 h 277888"/>
                  <a:gd name="connsiteX225" fmla="*/ 201977 w 215311"/>
                  <a:gd name="connsiteY225" fmla="*/ 140763 h 277888"/>
                  <a:gd name="connsiteX226" fmla="*/ 205917 w 215311"/>
                  <a:gd name="connsiteY226" fmla="*/ 132732 h 277888"/>
                  <a:gd name="connsiteX227" fmla="*/ 209553 w 215311"/>
                  <a:gd name="connsiteY227" fmla="*/ 127883 h 277888"/>
                  <a:gd name="connsiteX228" fmla="*/ 210311 w 215311"/>
                  <a:gd name="connsiteY228" fmla="*/ 125005 h 277888"/>
                  <a:gd name="connsiteX229" fmla="*/ 213644 w 215311"/>
                  <a:gd name="connsiteY229" fmla="*/ 120307 h 277888"/>
                  <a:gd name="connsiteX230" fmla="*/ 214251 w 215311"/>
                  <a:gd name="connsiteY230" fmla="*/ 117883 h 277888"/>
                  <a:gd name="connsiteX231" fmla="*/ 214553 w 215311"/>
                  <a:gd name="connsiteY231" fmla="*/ 114550 h 277888"/>
                  <a:gd name="connsiteX232" fmla="*/ 215311 w 215311"/>
                  <a:gd name="connsiteY232" fmla="*/ 110610 h 277888"/>
                  <a:gd name="connsiteX233" fmla="*/ 187128 w 215311"/>
                  <a:gd name="connsiteY233" fmla="*/ 167885 h 277888"/>
                  <a:gd name="connsiteX234" fmla="*/ 183037 w 215311"/>
                  <a:gd name="connsiteY234" fmla="*/ 172430 h 277888"/>
                  <a:gd name="connsiteX235" fmla="*/ 183037 w 215311"/>
                  <a:gd name="connsiteY235" fmla="*/ 176067 h 277888"/>
                  <a:gd name="connsiteX236" fmla="*/ 183492 w 215311"/>
                  <a:gd name="connsiteY236" fmla="*/ 176218 h 277888"/>
                  <a:gd name="connsiteX237" fmla="*/ 185158 w 215311"/>
                  <a:gd name="connsiteY237" fmla="*/ 175764 h 277888"/>
                  <a:gd name="connsiteX238" fmla="*/ 186522 w 215311"/>
                  <a:gd name="connsiteY238" fmla="*/ 174400 h 277888"/>
                  <a:gd name="connsiteX239" fmla="*/ 188189 w 215311"/>
                  <a:gd name="connsiteY239" fmla="*/ 170006 h 277888"/>
                  <a:gd name="connsiteX240" fmla="*/ 191371 w 215311"/>
                  <a:gd name="connsiteY240" fmla="*/ 167430 h 277888"/>
                  <a:gd name="connsiteX241" fmla="*/ 189553 w 215311"/>
                  <a:gd name="connsiteY241" fmla="*/ 162733 h 277888"/>
                  <a:gd name="connsiteX242" fmla="*/ 187128 w 215311"/>
                  <a:gd name="connsiteY242" fmla="*/ 167885 h 2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215311" h="277888">
                    <a:moveTo>
                      <a:pt x="117126" y="30152"/>
                    </a:moveTo>
                    <a:lnTo>
                      <a:pt x="116671" y="31213"/>
                    </a:lnTo>
                    <a:lnTo>
                      <a:pt x="116520" y="32728"/>
                    </a:lnTo>
                    <a:lnTo>
                      <a:pt x="117277" y="32880"/>
                    </a:lnTo>
                    <a:lnTo>
                      <a:pt x="118489" y="32122"/>
                    </a:lnTo>
                    <a:lnTo>
                      <a:pt x="118641" y="30910"/>
                    </a:lnTo>
                    <a:lnTo>
                      <a:pt x="118338" y="30304"/>
                    </a:lnTo>
                    <a:lnTo>
                      <a:pt x="117126" y="30152"/>
                    </a:lnTo>
                    <a:close/>
                    <a:moveTo>
                      <a:pt x="115308" y="8485"/>
                    </a:moveTo>
                    <a:lnTo>
                      <a:pt x="115459" y="11515"/>
                    </a:lnTo>
                    <a:lnTo>
                      <a:pt x="115004" y="14394"/>
                    </a:lnTo>
                    <a:lnTo>
                      <a:pt x="115004" y="17425"/>
                    </a:lnTo>
                    <a:lnTo>
                      <a:pt x="114853" y="19092"/>
                    </a:lnTo>
                    <a:lnTo>
                      <a:pt x="115914" y="20455"/>
                    </a:lnTo>
                    <a:lnTo>
                      <a:pt x="117732" y="21061"/>
                    </a:lnTo>
                    <a:lnTo>
                      <a:pt x="118489" y="21061"/>
                    </a:lnTo>
                    <a:lnTo>
                      <a:pt x="118944" y="20455"/>
                    </a:lnTo>
                    <a:lnTo>
                      <a:pt x="119247" y="18788"/>
                    </a:lnTo>
                    <a:lnTo>
                      <a:pt x="119853" y="17576"/>
                    </a:lnTo>
                    <a:lnTo>
                      <a:pt x="121065" y="16061"/>
                    </a:lnTo>
                    <a:lnTo>
                      <a:pt x="122277" y="7273"/>
                    </a:lnTo>
                    <a:lnTo>
                      <a:pt x="122277" y="4394"/>
                    </a:lnTo>
                    <a:lnTo>
                      <a:pt x="122580" y="909"/>
                    </a:lnTo>
                    <a:lnTo>
                      <a:pt x="122126" y="151"/>
                    </a:lnTo>
                    <a:lnTo>
                      <a:pt x="121217" y="0"/>
                    </a:lnTo>
                    <a:lnTo>
                      <a:pt x="120308" y="1212"/>
                    </a:lnTo>
                    <a:lnTo>
                      <a:pt x="119247" y="3485"/>
                    </a:lnTo>
                    <a:lnTo>
                      <a:pt x="117126" y="3939"/>
                    </a:lnTo>
                    <a:lnTo>
                      <a:pt x="116217" y="3636"/>
                    </a:lnTo>
                    <a:lnTo>
                      <a:pt x="115308" y="4243"/>
                    </a:lnTo>
                    <a:lnTo>
                      <a:pt x="113035" y="8485"/>
                    </a:lnTo>
                    <a:lnTo>
                      <a:pt x="114095" y="8333"/>
                    </a:lnTo>
                    <a:lnTo>
                      <a:pt x="115308" y="8485"/>
                    </a:lnTo>
                    <a:close/>
                    <a:moveTo>
                      <a:pt x="215311" y="110610"/>
                    </a:moveTo>
                    <a:lnTo>
                      <a:pt x="211826" y="109549"/>
                    </a:lnTo>
                    <a:lnTo>
                      <a:pt x="207432" y="108640"/>
                    </a:lnTo>
                    <a:lnTo>
                      <a:pt x="204553" y="106216"/>
                    </a:lnTo>
                    <a:lnTo>
                      <a:pt x="201371" y="102428"/>
                    </a:lnTo>
                    <a:lnTo>
                      <a:pt x="198189" y="97276"/>
                    </a:lnTo>
                    <a:lnTo>
                      <a:pt x="193644" y="92731"/>
                    </a:lnTo>
                    <a:lnTo>
                      <a:pt x="192432" y="89700"/>
                    </a:lnTo>
                    <a:lnTo>
                      <a:pt x="190462" y="86821"/>
                    </a:lnTo>
                    <a:lnTo>
                      <a:pt x="188189" y="85003"/>
                    </a:lnTo>
                    <a:lnTo>
                      <a:pt x="186674" y="81518"/>
                    </a:lnTo>
                    <a:lnTo>
                      <a:pt x="181370" y="77882"/>
                    </a:lnTo>
                    <a:lnTo>
                      <a:pt x="179249" y="77882"/>
                    </a:lnTo>
                    <a:lnTo>
                      <a:pt x="176370" y="78639"/>
                    </a:lnTo>
                    <a:lnTo>
                      <a:pt x="174552" y="78488"/>
                    </a:lnTo>
                    <a:lnTo>
                      <a:pt x="168946" y="75760"/>
                    </a:lnTo>
                    <a:lnTo>
                      <a:pt x="160915" y="74548"/>
                    </a:lnTo>
                    <a:lnTo>
                      <a:pt x="155006" y="73336"/>
                    </a:lnTo>
                    <a:lnTo>
                      <a:pt x="144248" y="69851"/>
                    </a:lnTo>
                    <a:lnTo>
                      <a:pt x="141672" y="68184"/>
                    </a:lnTo>
                    <a:lnTo>
                      <a:pt x="135914" y="63336"/>
                    </a:lnTo>
                    <a:lnTo>
                      <a:pt x="132126" y="58032"/>
                    </a:lnTo>
                    <a:lnTo>
                      <a:pt x="128490" y="54093"/>
                    </a:lnTo>
                    <a:lnTo>
                      <a:pt x="124399" y="46971"/>
                    </a:lnTo>
                    <a:lnTo>
                      <a:pt x="121671" y="39395"/>
                    </a:lnTo>
                    <a:lnTo>
                      <a:pt x="120762" y="39547"/>
                    </a:lnTo>
                    <a:lnTo>
                      <a:pt x="119702" y="40759"/>
                    </a:lnTo>
                    <a:lnTo>
                      <a:pt x="118489" y="42577"/>
                    </a:lnTo>
                    <a:lnTo>
                      <a:pt x="116823" y="43486"/>
                    </a:lnTo>
                    <a:lnTo>
                      <a:pt x="115459" y="44547"/>
                    </a:lnTo>
                    <a:lnTo>
                      <a:pt x="114095" y="45911"/>
                    </a:lnTo>
                    <a:lnTo>
                      <a:pt x="112883" y="46214"/>
                    </a:lnTo>
                    <a:lnTo>
                      <a:pt x="111368" y="44547"/>
                    </a:lnTo>
                    <a:lnTo>
                      <a:pt x="110307" y="42729"/>
                    </a:lnTo>
                    <a:lnTo>
                      <a:pt x="110610" y="42274"/>
                    </a:lnTo>
                    <a:lnTo>
                      <a:pt x="111368" y="42123"/>
                    </a:lnTo>
                    <a:lnTo>
                      <a:pt x="111671" y="41214"/>
                    </a:lnTo>
                    <a:lnTo>
                      <a:pt x="111216" y="39850"/>
                    </a:lnTo>
                    <a:lnTo>
                      <a:pt x="110156" y="39395"/>
                    </a:lnTo>
                    <a:lnTo>
                      <a:pt x="108792" y="39395"/>
                    </a:lnTo>
                    <a:lnTo>
                      <a:pt x="107580" y="40001"/>
                    </a:lnTo>
                    <a:lnTo>
                      <a:pt x="106216" y="41214"/>
                    </a:lnTo>
                    <a:lnTo>
                      <a:pt x="105459" y="42426"/>
                    </a:lnTo>
                    <a:lnTo>
                      <a:pt x="105307" y="45002"/>
                    </a:lnTo>
                    <a:lnTo>
                      <a:pt x="105610" y="47880"/>
                    </a:lnTo>
                    <a:lnTo>
                      <a:pt x="105610" y="49244"/>
                    </a:lnTo>
                    <a:lnTo>
                      <a:pt x="104853" y="50911"/>
                    </a:lnTo>
                    <a:lnTo>
                      <a:pt x="104550" y="53487"/>
                    </a:lnTo>
                    <a:lnTo>
                      <a:pt x="105004" y="55456"/>
                    </a:lnTo>
                    <a:lnTo>
                      <a:pt x="105459" y="56669"/>
                    </a:lnTo>
                    <a:lnTo>
                      <a:pt x="105459" y="57578"/>
                    </a:lnTo>
                    <a:lnTo>
                      <a:pt x="104246" y="60608"/>
                    </a:lnTo>
                    <a:lnTo>
                      <a:pt x="105307" y="61214"/>
                    </a:lnTo>
                    <a:lnTo>
                      <a:pt x="108792" y="61366"/>
                    </a:lnTo>
                    <a:lnTo>
                      <a:pt x="109853" y="63487"/>
                    </a:lnTo>
                    <a:lnTo>
                      <a:pt x="110610" y="64851"/>
                    </a:lnTo>
                    <a:lnTo>
                      <a:pt x="110459" y="65760"/>
                    </a:lnTo>
                    <a:lnTo>
                      <a:pt x="108034" y="66366"/>
                    </a:lnTo>
                    <a:lnTo>
                      <a:pt x="104853" y="67124"/>
                    </a:lnTo>
                    <a:lnTo>
                      <a:pt x="102580" y="66972"/>
                    </a:lnTo>
                    <a:lnTo>
                      <a:pt x="98489" y="67881"/>
                    </a:lnTo>
                    <a:lnTo>
                      <a:pt x="96367" y="69397"/>
                    </a:lnTo>
                    <a:lnTo>
                      <a:pt x="96974" y="70306"/>
                    </a:lnTo>
                    <a:lnTo>
                      <a:pt x="97731" y="71063"/>
                    </a:lnTo>
                    <a:lnTo>
                      <a:pt x="98034" y="73033"/>
                    </a:lnTo>
                    <a:lnTo>
                      <a:pt x="97428" y="75760"/>
                    </a:lnTo>
                    <a:lnTo>
                      <a:pt x="96216" y="78336"/>
                    </a:lnTo>
                    <a:lnTo>
                      <a:pt x="94852" y="81670"/>
                    </a:lnTo>
                    <a:lnTo>
                      <a:pt x="93186" y="85458"/>
                    </a:lnTo>
                    <a:lnTo>
                      <a:pt x="90912" y="91064"/>
                    </a:lnTo>
                    <a:lnTo>
                      <a:pt x="88943" y="95458"/>
                    </a:lnTo>
                    <a:lnTo>
                      <a:pt x="88791" y="98640"/>
                    </a:lnTo>
                    <a:lnTo>
                      <a:pt x="88791" y="100761"/>
                    </a:lnTo>
                    <a:lnTo>
                      <a:pt x="88640" y="105004"/>
                    </a:lnTo>
                    <a:lnTo>
                      <a:pt x="90610" y="108186"/>
                    </a:lnTo>
                    <a:lnTo>
                      <a:pt x="92276" y="110913"/>
                    </a:lnTo>
                    <a:lnTo>
                      <a:pt x="94549" y="114550"/>
                    </a:lnTo>
                    <a:lnTo>
                      <a:pt x="96974" y="118489"/>
                    </a:lnTo>
                    <a:lnTo>
                      <a:pt x="99246" y="122277"/>
                    </a:lnTo>
                    <a:lnTo>
                      <a:pt x="100913" y="125005"/>
                    </a:lnTo>
                    <a:lnTo>
                      <a:pt x="100004" y="127883"/>
                    </a:lnTo>
                    <a:lnTo>
                      <a:pt x="98943" y="131065"/>
                    </a:lnTo>
                    <a:lnTo>
                      <a:pt x="97883" y="134247"/>
                    </a:lnTo>
                    <a:lnTo>
                      <a:pt x="96822" y="137429"/>
                    </a:lnTo>
                    <a:lnTo>
                      <a:pt x="95761" y="140611"/>
                    </a:lnTo>
                    <a:lnTo>
                      <a:pt x="94700" y="143793"/>
                    </a:lnTo>
                    <a:lnTo>
                      <a:pt x="93640" y="146975"/>
                    </a:lnTo>
                    <a:lnTo>
                      <a:pt x="92579" y="150157"/>
                    </a:lnTo>
                    <a:lnTo>
                      <a:pt x="91519" y="153339"/>
                    </a:lnTo>
                    <a:lnTo>
                      <a:pt x="90458" y="156521"/>
                    </a:lnTo>
                    <a:lnTo>
                      <a:pt x="89398" y="159703"/>
                    </a:lnTo>
                    <a:lnTo>
                      <a:pt x="88337" y="162885"/>
                    </a:lnTo>
                    <a:lnTo>
                      <a:pt x="87276" y="166067"/>
                    </a:lnTo>
                    <a:lnTo>
                      <a:pt x="86215" y="169249"/>
                    </a:lnTo>
                    <a:lnTo>
                      <a:pt x="85155" y="172430"/>
                    </a:lnTo>
                    <a:lnTo>
                      <a:pt x="84094" y="175612"/>
                    </a:lnTo>
                    <a:lnTo>
                      <a:pt x="83034" y="178794"/>
                    </a:lnTo>
                    <a:lnTo>
                      <a:pt x="81822" y="182582"/>
                    </a:lnTo>
                    <a:lnTo>
                      <a:pt x="78943" y="183643"/>
                    </a:lnTo>
                    <a:lnTo>
                      <a:pt x="74246" y="185310"/>
                    </a:lnTo>
                    <a:lnTo>
                      <a:pt x="69548" y="186976"/>
                    </a:lnTo>
                    <a:lnTo>
                      <a:pt x="64851" y="188643"/>
                    </a:lnTo>
                    <a:lnTo>
                      <a:pt x="60154" y="190310"/>
                    </a:lnTo>
                    <a:lnTo>
                      <a:pt x="55457" y="191977"/>
                    </a:lnTo>
                    <a:lnTo>
                      <a:pt x="50760" y="193643"/>
                    </a:lnTo>
                    <a:lnTo>
                      <a:pt x="46062" y="195310"/>
                    </a:lnTo>
                    <a:lnTo>
                      <a:pt x="41365" y="196977"/>
                    </a:lnTo>
                    <a:lnTo>
                      <a:pt x="36668" y="198644"/>
                    </a:lnTo>
                    <a:lnTo>
                      <a:pt x="31971" y="200310"/>
                    </a:lnTo>
                    <a:lnTo>
                      <a:pt x="27274" y="201977"/>
                    </a:lnTo>
                    <a:lnTo>
                      <a:pt x="22577" y="203644"/>
                    </a:lnTo>
                    <a:lnTo>
                      <a:pt x="17880" y="205310"/>
                    </a:lnTo>
                    <a:lnTo>
                      <a:pt x="13183" y="206977"/>
                    </a:lnTo>
                    <a:lnTo>
                      <a:pt x="8485" y="208644"/>
                    </a:lnTo>
                    <a:lnTo>
                      <a:pt x="3788" y="210311"/>
                    </a:lnTo>
                    <a:lnTo>
                      <a:pt x="0" y="211674"/>
                    </a:lnTo>
                    <a:lnTo>
                      <a:pt x="1212" y="214553"/>
                    </a:lnTo>
                    <a:lnTo>
                      <a:pt x="2424" y="217432"/>
                    </a:lnTo>
                    <a:lnTo>
                      <a:pt x="3637" y="220311"/>
                    </a:lnTo>
                    <a:lnTo>
                      <a:pt x="4849" y="223190"/>
                    </a:lnTo>
                    <a:lnTo>
                      <a:pt x="6061" y="226069"/>
                    </a:lnTo>
                    <a:lnTo>
                      <a:pt x="7273" y="228948"/>
                    </a:lnTo>
                    <a:lnTo>
                      <a:pt x="8485" y="231826"/>
                    </a:lnTo>
                    <a:lnTo>
                      <a:pt x="9698" y="234705"/>
                    </a:lnTo>
                    <a:lnTo>
                      <a:pt x="10910" y="237584"/>
                    </a:lnTo>
                    <a:lnTo>
                      <a:pt x="12122" y="240463"/>
                    </a:lnTo>
                    <a:lnTo>
                      <a:pt x="13334" y="243342"/>
                    </a:lnTo>
                    <a:lnTo>
                      <a:pt x="14546" y="246221"/>
                    </a:lnTo>
                    <a:lnTo>
                      <a:pt x="15758" y="248948"/>
                    </a:lnTo>
                    <a:lnTo>
                      <a:pt x="16971" y="251676"/>
                    </a:lnTo>
                    <a:lnTo>
                      <a:pt x="18183" y="254403"/>
                    </a:lnTo>
                    <a:lnTo>
                      <a:pt x="19395" y="257131"/>
                    </a:lnTo>
                    <a:lnTo>
                      <a:pt x="20607" y="259858"/>
                    </a:lnTo>
                    <a:lnTo>
                      <a:pt x="22577" y="260767"/>
                    </a:lnTo>
                    <a:lnTo>
                      <a:pt x="23789" y="263343"/>
                    </a:lnTo>
                    <a:lnTo>
                      <a:pt x="25456" y="266979"/>
                    </a:lnTo>
                    <a:lnTo>
                      <a:pt x="27122" y="270616"/>
                    </a:lnTo>
                    <a:lnTo>
                      <a:pt x="28789" y="274252"/>
                    </a:lnTo>
                    <a:lnTo>
                      <a:pt x="30456" y="277889"/>
                    </a:lnTo>
                    <a:lnTo>
                      <a:pt x="36214" y="275768"/>
                    </a:lnTo>
                    <a:lnTo>
                      <a:pt x="44699" y="274707"/>
                    </a:lnTo>
                    <a:lnTo>
                      <a:pt x="49244" y="271980"/>
                    </a:lnTo>
                    <a:lnTo>
                      <a:pt x="54093" y="270313"/>
                    </a:lnTo>
                    <a:lnTo>
                      <a:pt x="57275" y="267888"/>
                    </a:lnTo>
                    <a:lnTo>
                      <a:pt x="65760" y="267131"/>
                    </a:lnTo>
                    <a:lnTo>
                      <a:pt x="70912" y="267131"/>
                    </a:lnTo>
                    <a:lnTo>
                      <a:pt x="73639" y="267737"/>
                    </a:lnTo>
                    <a:lnTo>
                      <a:pt x="76518" y="268949"/>
                    </a:lnTo>
                    <a:lnTo>
                      <a:pt x="84549" y="266828"/>
                    </a:lnTo>
                    <a:lnTo>
                      <a:pt x="87579" y="263494"/>
                    </a:lnTo>
                    <a:lnTo>
                      <a:pt x="90307" y="258949"/>
                    </a:lnTo>
                    <a:lnTo>
                      <a:pt x="90912" y="257282"/>
                    </a:lnTo>
                    <a:lnTo>
                      <a:pt x="90458" y="255464"/>
                    </a:lnTo>
                    <a:lnTo>
                      <a:pt x="89246" y="253797"/>
                    </a:lnTo>
                    <a:lnTo>
                      <a:pt x="89701" y="251524"/>
                    </a:lnTo>
                    <a:lnTo>
                      <a:pt x="95761" y="244251"/>
                    </a:lnTo>
                    <a:lnTo>
                      <a:pt x="99398" y="243039"/>
                    </a:lnTo>
                    <a:lnTo>
                      <a:pt x="109853" y="241675"/>
                    </a:lnTo>
                    <a:lnTo>
                      <a:pt x="117277" y="241221"/>
                    </a:lnTo>
                    <a:lnTo>
                      <a:pt x="120308" y="240160"/>
                    </a:lnTo>
                    <a:lnTo>
                      <a:pt x="124853" y="235160"/>
                    </a:lnTo>
                    <a:lnTo>
                      <a:pt x="127732" y="223341"/>
                    </a:lnTo>
                    <a:lnTo>
                      <a:pt x="132429" y="218644"/>
                    </a:lnTo>
                    <a:lnTo>
                      <a:pt x="136066" y="216523"/>
                    </a:lnTo>
                    <a:lnTo>
                      <a:pt x="142127" y="214402"/>
                    </a:lnTo>
                    <a:lnTo>
                      <a:pt x="148945" y="213189"/>
                    </a:lnTo>
                    <a:lnTo>
                      <a:pt x="155763" y="212735"/>
                    </a:lnTo>
                    <a:lnTo>
                      <a:pt x="157430" y="212129"/>
                    </a:lnTo>
                    <a:lnTo>
                      <a:pt x="159400" y="211068"/>
                    </a:lnTo>
                    <a:lnTo>
                      <a:pt x="158794" y="207432"/>
                    </a:lnTo>
                    <a:lnTo>
                      <a:pt x="158037" y="204401"/>
                    </a:lnTo>
                    <a:lnTo>
                      <a:pt x="157885" y="199401"/>
                    </a:lnTo>
                    <a:lnTo>
                      <a:pt x="156672" y="194401"/>
                    </a:lnTo>
                    <a:lnTo>
                      <a:pt x="156672" y="192431"/>
                    </a:lnTo>
                    <a:lnTo>
                      <a:pt x="157430" y="188795"/>
                    </a:lnTo>
                    <a:lnTo>
                      <a:pt x="159097" y="184552"/>
                    </a:lnTo>
                    <a:lnTo>
                      <a:pt x="160158" y="180006"/>
                    </a:lnTo>
                    <a:lnTo>
                      <a:pt x="160612" y="176370"/>
                    </a:lnTo>
                    <a:lnTo>
                      <a:pt x="162885" y="173491"/>
                    </a:lnTo>
                    <a:lnTo>
                      <a:pt x="167127" y="167127"/>
                    </a:lnTo>
                    <a:lnTo>
                      <a:pt x="168946" y="166521"/>
                    </a:lnTo>
                    <a:lnTo>
                      <a:pt x="171067" y="166218"/>
                    </a:lnTo>
                    <a:lnTo>
                      <a:pt x="170764" y="168794"/>
                    </a:lnTo>
                    <a:lnTo>
                      <a:pt x="170158" y="171218"/>
                    </a:lnTo>
                    <a:lnTo>
                      <a:pt x="171673" y="171976"/>
                    </a:lnTo>
                    <a:lnTo>
                      <a:pt x="173946" y="172279"/>
                    </a:lnTo>
                    <a:lnTo>
                      <a:pt x="177431" y="171673"/>
                    </a:lnTo>
                    <a:lnTo>
                      <a:pt x="179098" y="168945"/>
                    </a:lnTo>
                    <a:lnTo>
                      <a:pt x="183340" y="160309"/>
                    </a:lnTo>
                    <a:lnTo>
                      <a:pt x="188946" y="151672"/>
                    </a:lnTo>
                    <a:lnTo>
                      <a:pt x="193644" y="146672"/>
                    </a:lnTo>
                    <a:lnTo>
                      <a:pt x="200159" y="142581"/>
                    </a:lnTo>
                    <a:lnTo>
                      <a:pt x="201977" y="140763"/>
                    </a:lnTo>
                    <a:lnTo>
                      <a:pt x="205917" y="132732"/>
                    </a:lnTo>
                    <a:lnTo>
                      <a:pt x="209553" y="127883"/>
                    </a:lnTo>
                    <a:lnTo>
                      <a:pt x="210311" y="125005"/>
                    </a:lnTo>
                    <a:lnTo>
                      <a:pt x="213644" y="120307"/>
                    </a:lnTo>
                    <a:lnTo>
                      <a:pt x="214251" y="117883"/>
                    </a:lnTo>
                    <a:lnTo>
                      <a:pt x="214553" y="114550"/>
                    </a:lnTo>
                    <a:lnTo>
                      <a:pt x="215311" y="110610"/>
                    </a:lnTo>
                    <a:close/>
                    <a:moveTo>
                      <a:pt x="187128" y="167885"/>
                    </a:moveTo>
                    <a:lnTo>
                      <a:pt x="183037" y="172430"/>
                    </a:lnTo>
                    <a:lnTo>
                      <a:pt x="183037" y="176067"/>
                    </a:lnTo>
                    <a:lnTo>
                      <a:pt x="183492" y="176218"/>
                    </a:lnTo>
                    <a:lnTo>
                      <a:pt x="185158" y="175764"/>
                    </a:lnTo>
                    <a:lnTo>
                      <a:pt x="186522" y="174400"/>
                    </a:lnTo>
                    <a:lnTo>
                      <a:pt x="188189" y="170006"/>
                    </a:lnTo>
                    <a:lnTo>
                      <a:pt x="191371" y="167430"/>
                    </a:lnTo>
                    <a:lnTo>
                      <a:pt x="189553" y="162733"/>
                    </a:lnTo>
                    <a:lnTo>
                      <a:pt x="187128" y="16788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3" name="Freeform: Shape 3192">
                <a:extLst>
                  <a:ext uri="{FF2B5EF4-FFF2-40B4-BE49-F238E27FC236}">
                    <a16:creationId xmlns:a16="http://schemas.microsoft.com/office/drawing/2014/main" id="{3D2467B6-1324-4232-938F-A829C6FEACC6}"/>
                  </a:ext>
                </a:extLst>
              </p:cNvPr>
              <p:cNvSpPr/>
              <p:nvPr/>
            </p:nvSpPr>
            <p:spPr>
              <a:xfrm>
                <a:off x="10316005" y="4794880"/>
                <a:ext cx="627144" cy="1348382"/>
              </a:xfrm>
              <a:custGeom>
                <a:avLst/>
                <a:gdLst>
                  <a:gd name="connsiteX0" fmla="*/ 9243 w 627144"/>
                  <a:gd name="connsiteY0" fmla="*/ 1274440 h 1348382"/>
                  <a:gd name="connsiteX1" fmla="*/ 5910 w 627144"/>
                  <a:gd name="connsiteY1" fmla="*/ 1274743 h 1348382"/>
                  <a:gd name="connsiteX2" fmla="*/ 5910 w 627144"/>
                  <a:gd name="connsiteY2" fmla="*/ 1275956 h 1348382"/>
                  <a:gd name="connsiteX3" fmla="*/ 5151 w 627144"/>
                  <a:gd name="connsiteY3" fmla="*/ 1279744 h 1348382"/>
                  <a:gd name="connsiteX4" fmla="*/ 757 w 627144"/>
                  <a:gd name="connsiteY4" fmla="*/ 1282774 h 1348382"/>
                  <a:gd name="connsiteX5" fmla="*/ 0 w 627144"/>
                  <a:gd name="connsiteY5" fmla="*/ 1284441 h 1348382"/>
                  <a:gd name="connsiteX6" fmla="*/ 454 w 627144"/>
                  <a:gd name="connsiteY6" fmla="*/ 1284895 h 1348382"/>
                  <a:gd name="connsiteX7" fmla="*/ 2272 w 627144"/>
                  <a:gd name="connsiteY7" fmla="*/ 1284895 h 1348382"/>
                  <a:gd name="connsiteX8" fmla="*/ 3485 w 627144"/>
                  <a:gd name="connsiteY8" fmla="*/ 1283380 h 1348382"/>
                  <a:gd name="connsiteX9" fmla="*/ 4091 w 627144"/>
                  <a:gd name="connsiteY9" fmla="*/ 1283683 h 1348382"/>
                  <a:gd name="connsiteX10" fmla="*/ 5000 w 627144"/>
                  <a:gd name="connsiteY10" fmla="*/ 1285047 h 1348382"/>
                  <a:gd name="connsiteX11" fmla="*/ 8182 w 627144"/>
                  <a:gd name="connsiteY11" fmla="*/ 1285956 h 1348382"/>
                  <a:gd name="connsiteX12" fmla="*/ 9698 w 627144"/>
                  <a:gd name="connsiteY12" fmla="*/ 1285956 h 1348382"/>
                  <a:gd name="connsiteX13" fmla="*/ 9091 w 627144"/>
                  <a:gd name="connsiteY13" fmla="*/ 1282926 h 1348382"/>
                  <a:gd name="connsiteX14" fmla="*/ 8485 w 627144"/>
                  <a:gd name="connsiteY14" fmla="*/ 1282471 h 1348382"/>
                  <a:gd name="connsiteX15" fmla="*/ 7879 w 627144"/>
                  <a:gd name="connsiteY15" fmla="*/ 1281107 h 1348382"/>
                  <a:gd name="connsiteX16" fmla="*/ 8939 w 627144"/>
                  <a:gd name="connsiteY16" fmla="*/ 1280350 h 1348382"/>
                  <a:gd name="connsiteX17" fmla="*/ 8637 w 627144"/>
                  <a:gd name="connsiteY17" fmla="*/ 1278835 h 1348382"/>
                  <a:gd name="connsiteX18" fmla="*/ 8637 w 627144"/>
                  <a:gd name="connsiteY18" fmla="*/ 1277319 h 1348382"/>
                  <a:gd name="connsiteX19" fmla="*/ 10000 w 627144"/>
                  <a:gd name="connsiteY19" fmla="*/ 1276107 h 1348382"/>
                  <a:gd name="connsiteX20" fmla="*/ 10152 w 627144"/>
                  <a:gd name="connsiteY20" fmla="*/ 1275501 h 1348382"/>
                  <a:gd name="connsiteX21" fmla="*/ 9848 w 627144"/>
                  <a:gd name="connsiteY21" fmla="*/ 1275047 h 1348382"/>
                  <a:gd name="connsiteX22" fmla="*/ 9243 w 627144"/>
                  <a:gd name="connsiteY22" fmla="*/ 1274440 h 1348382"/>
                  <a:gd name="connsiteX23" fmla="*/ 19243 w 627144"/>
                  <a:gd name="connsiteY23" fmla="*/ 1105798 h 1348382"/>
                  <a:gd name="connsiteX24" fmla="*/ 20607 w 627144"/>
                  <a:gd name="connsiteY24" fmla="*/ 1106556 h 1348382"/>
                  <a:gd name="connsiteX25" fmla="*/ 21971 w 627144"/>
                  <a:gd name="connsiteY25" fmla="*/ 1106707 h 1348382"/>
                  <a:gd name="connsiteX26" fmla="*/ 22880 w 627144"/>
                  <a:gd name="connsiteY26" fmla="*/ 1106707 h 1348382"/>
                  <a:gd name="connsiteX27" fmla="*/ 23182 w 627144"/>
                  <a:gd name="connsiteY27" fmla="*/ 1105798 h 1348382"/>
                  <a:gd name="connsiteX28" fmla="*/ 23334 w 627144"/>
                  <a:gd name="connsiteY28" fmla="*/ 1104131 h 1348382"/>
                  <a:gd name="connsiteX29" fmla="*/ 22880 w 627144"/>
                  <a:gd name="connsiteY29" fmla="*/ 1103525 h 1348382"/>
                  <a:gd name="connsiteX30" fmla="*/ 21667 w 627144"/>
                  <a:gd name="connsiteY30" fmla="*/ 1102768 h 1348382"/>
                  <a:gd name="connsiteX31" fmla="*/ 18485 w 627144"/>
                  <a:gd name="connsiteY31" fmla="*/ 1103828 h 1348382"/>
                  <a:gd name="connsiteX32" fmla="*/ 17576 w 627144"/>
                  <a:gd name="connsiteY32" fmla="*/ 1105647 h 1348382"/>
                  <a:gd name="connsiteX33" fmla="*/ 18333 w 627144"/>
                  <a:gd name="connsiteY33" fmla="*/ 1105950 h 1348382"/>
                  <a:gd name="connsiteX34" fmla="*/ 19243 w 627144"/>
                  <a:gd name="connsiteY34" fmla="*/ 1105798 h 1348382"/>
                  <a:gd name="connsiteX35" fmla="*/ 62123 w 627144"/>
                  <a:gd name="connsiteY35" fmla="*/ 1149739 h 1348382"/>
                  <a:gd name="connsiteX36" fmla="*/ 61214 w 627144"/>
                  <a:gd name="connsiteY36" fmla="*/ 1148679 h 1348382"/>
                  <a:gd name="connsiteX37" fmla="*/ 58942 w 627144"/>
                  <a:gd name="connsiteY37" fmla="*/ 1147921 h 1348382"/>
                  <a:gd name="connsiteX38" fmla="*/ 58942 w 627144"/>
                  <a:gd name="connsiteY38" fmla="*/ 1146406 h 1348382"/>
                  <a:gd name="connsiteX39" fmla="*/ 61821 w 627144"/>
                  <a:gd name="connsiteY39" fmla="*/ 1146860 h 1348382"/>
                  <a:gd name="connsiteX40" fmla="*/ 61821 w 627144"/>
                  <a:gd name="connsiteY40" fmla="*/ 1145496 h 1348382"/>
                  <a:gd name="connsiteX41" fmla="*/ 56669 w 627144"/>
                  <a:gd name="connsiteY41" fmla="*/ 1139739 h 1348382"/>
                  <a:gd name="connsiteX42" fmla="*/ 51972 w 627144"/>
                  <a:gd name="connsiteY42" fmla="*/ 1139890 h 1348382"/>
                  <a:gd name="connsiteX43" fmla="*/ 51517 w 627144"/>
                  <a:gd name="connsiteY43" fmla="*/ 1143224 h 1348382"/>
                  <a:gd name="connsiteX44" fmla="*/ 52426 w 627144"/>
                  <a:gd name="connsiteY44" fmla="*/ 1147012 h 1348382"/>
                  <a:gd name="connsiteX45" fmla="*/ 50759 w 627144"/>
                  <a:gd name="connsiteY45" fmla="*/ 1148679 h 1348382"/>
                  <a:gd name="connsiteX46" fmla="*/ 50759 w 627144"/>
                  <a:gd name="connsiteY46" fmla="*/ 1150648 h 1348382"/>
                  <a:gd name="connsiteX47" fmla="*/ 48335 w 627144"/>
                  <a:gd name="connsiteY47" fmla="*/ 1151709 h 1348382"/>
                  <a:gd name="connsiteX48" fmla="*/ 47728 w 627144"/>
                  <a:gd name="connsiteY48" fmla="*/ 1153224 h 1348382"/>
                  <a:gd name="connsiteX49" fmla="*/ 47728 w 627144"/>
                  <a:gd name="connsiteY49" fmla="*/ 1155042 h 1348382"/>
                  <a:gd name="connsiteX50" fmla="*/ 45305 w 627144"/>
                  <a:gd name="connsiteY50" fmla="*/ 1157012 h 1348382"/>
                  <a:gd name="connsiteX51" fmla="*/ 44850 w 627144"/>
                  <a:gd name="connsiteY51" fmla="*/ 1159133 h 1348382"/>
                  <a:gd name="connsiteX52" fmla="*/ 45760 w 627144"/>
                  <a:gd name="connsiteY52" fmla="*/ 1159285 h 1348382"/>
                  <a:gd name="connsiteX53" fmla="*/ 49093 w 627144"/>
                  <a:gd name="connsiteY53" fmla="*/ 1158527 h 1348382"/>
                  <a:gd name="connsiteX54" fmla="*/ 52123 w 627144"/>
                  <a:gd name="connsiteY54" fmla="*/ 1156255 h 1348382"/>
                  <a:gd name="connsiteX55" fmla="*/ 52881 w 627144"/>
                  <a:gd name="connsiteY55" fmla="*/ 1156103 h 1348382"/>
                  <a:gd name="connsiteX56" fmla="*/ 55456 w 627144"/>
                  <a:gd name="connsiteY56" fmla="*/ 1156406 h 1348382"/>
                  <a:gd name="connsiteX57" fmla="*/ 58487 w 627144"/>
                  <a:gd name="connsiteY57" fmla="*/ 1154285 h 1348382"/>
                  <a:gd name="connsiteX58" fmla="*/ 63032 w 627144"/>
                  <a:gd name="connsiteY58" fmla="*/ 1153678 h 1348382"/>
                  <a:gd name="connsiteX59" fmla="*/ 64548 w 627144"/>
                  <a:gd name="connsiteY59" fmla="*/ 1152618 h 1348382"/>
                  <a:gd name="connsiteX60" fmla="*/ 65154 w 627144"/>
                  <a:gd name="connsiteY60" fmla="*/ 1151103 h 1348382"/>
                  <a:gd name="connsiteX61" fmla="*/ 64700 w 627144"/>
                  <a:gd name="connsiteY61" fmla="*/ 1149436 h 1348382"/>
                  <a:gd name="connsiteX62" fmla="*/ 62123 w 627144"/>
                  <a:gd name="connsiteY62" fmla="*/ 1149739 h 1348382"/>
                  <a:gd name="connsiteX63" fmla="*/ 31062 w 627144"/>
                  <a:gd name="connsiteY63" fmla="*/ 1092161 h 1348382"/>
                  <a:gd name="connsiteX64" fmla="*/ 29849 w 627144"/>
                  <a:gd name="connsiteY64" fmla="*/ 1088070 h 1348382"/>
                  <a:gd name="connsiteX65" fmla="*/ 29395 w 627144"/>
                  <a:gd name="connsiteY65" fmla="*/ 1088070 h 1348382"/>
                  <a:gd name="connsiteX66" fmla="*/ 27425 w 627144"/>
                  <a:gd name="connsiteY66" fmla="*/ 1090040 h 1348382"/>
                  <a:gd name="connsiteX67" fmla="*/ 28486 w 627144"/>
                  <a:gd name="connsiteY67" fmla="*/ 1091252 h 1348382"/>
                  <a:gd name="connsiteX68" fmla="*/ 31062 w 627144"/>
                  <a:gd name="connsiteY68" fmla="*/ 1092161 h 1348382"/>
                  <a:gd name="connsiteX69" fmla="*/ 88639 w 627144"/>
                  <a:gd name="connsiteY69" fmla="*/ 1345352 h 1348382"/>
                  <a:gd name="connsiteX70" fmla="*/ 87276 w 627144"/>
                  <a:gd name="connsiteY70" fmla="*/ 1345807 h 1348382"/>
                  <a:gd name="connsiteX71" fmla="*/ 85760 w 627144"/>
                  <a:gd name="connsiteY71" fmla="*/ 1345655 h 1348382"/>
                  <a:gd name="connsiteX72" fmla="*/ 86215 w 627144"/>
                  <a:gd name="connsiteY72" fmla="*/ 1346867 h 1348382"/>
                  <a:gd name="connsiteX73" fmla="*/ 87276 w 627144"/>
                  <a:gd name="connsiteY73" fmla="*/ 1347776 h 1348382"/>
                  <a:gd name="connsiteX74" fmla="*/ 88639 w 627144"/>
                  <a:gd name="connsiteY74" fmla="*/ 1348383 h 1348382"/>
                  <a:gd name="connsiteX75" fmla="*/ 91518 w 627144"/>
                  <a:gd name="connsiteY75" fmla="*/ 1347625 h 1348382"/>
                  <a:gd name="connsiteX76" fmla="*/ 90003 w 627144"/>
                  <a:gd name="connsiteY76" fmla="*/ 1345807 h 1348382"/>
                  <a:gd name="connsiteX77" fmla="*/ 88639 w 627144"/>
                  <a:gd name="connsiteY77" fmla="*/ 1345352 h 1348382"/>
                  <a:gd name="connsiteX78" fmla="*/ 259100 w 627144"/>
                  <a:gd name="connsiteY78" fmla="*/ 797908 h 1348382"/>
                  <a:gd name="connsiteX79" fmla="*/ 261525 w 627144"/>
                  <a:gd name="connsiteY79" fmla="*/ 799272 h 1348382"/>
                  <a:gd name="connsiteX80" fmla="*/ 262282 w 627144"/>
                  <a:gd name="connsiteY80" fmla="*/ 800484 h 1348382"/>
                  <a:gd name="connsiteX81" fmla="*/ 264404 w 627144"/>
                  <a:gd name="connsiteY81" fmla="*/ 801090 h 1348382"/>
                  <a:gd name="connsiteX82" fmla="*/ 264252 w 627144"/>
                  <a:gd name="connsiteY82" fmla="*/ 799423 h 1348382"/>
                  <a:gd name="connsiteX83" fmla="*/ 263343 w 627144"/>
                  <a:gd name="connsiteY83" fmla="*/ 796241 h 1348382"/>
                  <a:gd name="connsiteX84" fmla="*/ 261525 w 627144"/>
                  <a:gd name="connsiteY84" fmla="*/ 794271 h 1348382"/>
                  <a:gd name="connsiteX85" fmla="*/ 260616 w 627144"/>
                  <a:gd name="connsiteY85" fmla="*/ 792908 h 1348382"/>
                  <a:gd name="connsiteX86" fmla="*/ 260009 w 627144"/>
                  <a:gd name="connsiteY86" fmla="*/ 793059 h 1348382"/>
                  <a:gd name="connsiteX87" fmla="*/ 259858 w 627144"/>
                  <a:gd name="connsiteY87" fmla="*/ 793665 h 1348382"/>
                  <a:gd name="connsiteX88" fmla="*/ 258646 w 627144"/>
                  <a:gd name="connsiteY88" fmla="*/ 794878 h 1348382"/>
                  <a:gd name="connsiteX89" fmla="*/ 258948 w 627144"/>
                  <a:gd name="connsiteY89" fmla="*/ 797453 h 1348382"/>
                  <a:gd name="connsiteX90" fmla="*/ 259100 w 627144"/>
                  <a:gd name="connsiteY90" fmla="*/ 797908 h 1348382"/>
                  <a:gd name="connsiteX91" fmla="*/ 488048 w 627144"/>
                  <a:gd name="connsiteY91" fmla="*/ 1040492 h 1348382"/>
                  <a:gd name="connsiteX92" fmla="*/ 489715 w 627144"/>
                  <a:gd name="connsiteY92" fmla="*/ 1040492 h 1348382"/>
                  <a:gd name="connsiteX93" fmla="*/ 490624 w 627144"/>
                  <a:gd name="connsiteY93" fmla="*/ 1039583 h 1348382"/>
                  <a:gd name="connsiteX94" fmla="*/ 480018 w 627144"/>
                  <a:gd name="connsiteY94" fmla="*/ 1038826 h 1348382"/>
                  <a:gd name="connsiteX95" fmla="*/ 477290 w 627144"/>
                  <a:gd name="connsiteY95" fmla="*/ 1040341 h 1348382"/>
                  <a:gd name="connsiteX96" fmla="*/ 474715 w 627144"/>
                  <a:gd name="connsiteY96" fmla="*/ 1040038 h 1348382"/>
                  <a:gd name="connsiteX97" fmla="*/ 472290 w 627144"/>
                  <a:gd name="connsiteY97" fmla="*/ 1042311 h 1348382"/>
                  <a:gd name="connsiteX98" fmla="*/ 473351 w 627144"/>
                  <a:gd name="connsiteY98" fmla="*/ 1042614 h 1348382"/>
                  <a:gd name="connsiteX99" fmla="*/ 478048 w 627144"/>
                  <a:gd name="connsiteY99" fmla="*/ 1042159 h 1348382"/>
                  <a:gd name="connsiteX100" fmla="*/ 480169 w 627144"/>
                  <a:gd name="connsiteY100" fmla="*/ 1043220 h 1348382"/>
                  <a:gd name="connsiteX101" fmla="*/ 481078 w 627144"/>
                  <a:gd name="connsiteY101" fmla="*/ 1044887 h 1348382"/>
                  <a:gd name="connsiteX102" fmla="*/ 480018 w 627144"/>
                  <a:gd name="connsiteY102" fmla="*/ 1046705 h 1348382"/>
                  <a:gd name="connsiteX103" fmla="*/ 478200 w 627144"/>
                  <a:gd name="connsiteY103" fmla="*/ 1048372 h 1348382"/>
                  <a:gd name="connsiteX104" fmla="*/ 478200 w 627144"/>
                  <a:gd name="connsiteY104" fmla="*/ 1049432 h 1348382"/>
                  <a:gd name="connsiteX105" fmla="*/ 479109 w 627144"/>
                  <a:gd name="connsiteY105" fmla="*/ 1051857 h 1348382"/>
                  <a:gd name="connsiteX106" fmla="*/ 479866 w 627144"/>
                  <a:gd name="connsiteY106" fmla="*/ 1052160 h 1348382"/>
                  <a:gd name="connsiteX107" fmla="*/ 481382 w 627144"/>
                  <a:gd name="connsiteY107" fmla="*/ 1052160 h 1348382"/>
                  <a:gd name="connsiteX108" fmla="*/ 483048 w 627144"/>
                  <a:gd name="connsiteY108" fmla="*/ 1050796 h 1348382"/>
                  <a:gd name="connsiteX109" fmla="*/ 486230 w 627144"/>
                  <a:gd name="connsiteY109" fmla="*/ 1049887 h 1348382"/>
                  <a:gd name="connsiteX110" fmla="*/ 486230 w 627144"/>
                  <a:gd name="connsiteY110" fmla="*/ 1049129 h 1348382"/>
                  <a:gd name="connsiteX111" fmla="*/ 484866 w 627144"/>
                  <a:gd name="connsiteY111" fmla="*/ 1046705 h 1348382"/>
                  <a:gd name="connsiteX112" fmla="*/ 483351 w 627144"/>
                  <a:gd name="connsiteY112" fmla="*/ 1046857 h 1348382"/>
                  <a:gd name="connsiteX113" fmla="*/ 481684 w 627144"/>
                  <a:gd name="connsiteY113" fmla="*/ 1043674 h 1348382"/>
                  <a:gd name="connsiteX114" fmla="*/ 483351 w 627144"/>
                  <a:gd name="connsiteY114" fmla="*/ 1042159 h 1348382"/>
                  <a:gd name="connsiteX115" fmla="*/ 483048 w 627144"/>
                  <a:gd name="connsiteY115" fmla="*/ 1041856 h 1348382"/>
                  <a:gd name="connsiteX116" fmla="*/ 481382 w 627144"/>
                  <a:gd name="connsiteY116" fmla="*/ 1041250 h 1348382"/>
                  <a:gd name="connsiteX117" fmla="*/ 481836 w 627144"/>
                  <a:gd name="connsiteY117" fmla="*/ 1040644 h 1348382"/>
                  <a:gd name="connsiteX118" fmla="*/ 484411 w 627144"/>
                  <a:gd name="connsiteY118" fmla="*/ 1040341 h 1348382"/>
                  <a:gd name="connsiteX119" fmla="*/ 485321 w 627144"/>
                  <a:gd name="connsiteY119" fmla="*/ 1041402 h 1348382"/>
                  <a:gd name="connsiteX120" fmla="*/ 485170 w 627144"/>
                  <a:gd name="connsiteY120" fmla="*/ 1043978 h 1348382"/>
                  <a:gd name="connsiteX121" fmla="*/ 488048 w 627144"/>
                  <a:gd name="connsiteY121" fmla="*/ 1040492 h 1348382"/>
                  <a:gd name="connsiteX122" fmla="*/ 489260 w 627144"/>
                  <a:gd name="connsiteY122" fmla="*/ 1056251 h 1348382"/>
                  <a:gd name="connsiteX123" fmla="*/ 489715 w 627144"/>
                  <a:gd name="connsiteY123" fmla="*/ 1057463 h 1348382"/>
                  <a:gd name="connsiteX124" fmla="*/ 489564 w 627144"/>
                  <a:gd name="connsiteY124" fmla="*/ 1059433 h 1348382"/>
                  <a:gd name="connsiteX125" fmla="*/ 490776 w 627144"/>
                  <a:gd name="connsiteY125" fmla="*/ 1059130 h 1348382"/>
                  <a:gd name="connsiteX126" fmla="*/ 492291 w 627144"/>
                  <a:gd name="connsiteY126" fmla="*/ 1057312 h 1348382"/>
                  <a:gd name="connsiteX127" fmla="*/ 491382 w 627144"/>
                  <a:gd name="connsiteY127" fmla="*/ 1055796 h 1348382"/>
                  <a:gd name="connsiteX128" fmla="*/ 489260 w 627144"/>
                  <a:gd name="connsiteY128" fmla="*/ 1056251 h 1348382"/>
                  <a:gd name="connsiteX129" fmla="*/ 225765 w 627144"/>
                  <a:gd name="connsiteY129" fmla="*/ 957611 h 1348382"/>
                  <a:gd name="connsiteX130" fmla="*/ 223038 w 627144"/>
                  <a:gd name="connsiteY130" fmla="*/ 957459 h 1348382"/>
                  <a:gd name="connsiteX131" fmla="*/ 224856 w 627144"/>
                  <a:gd name="connsiteY131" fmla="*/ 956702 h 1348382"/>
                  <a:gd name="connsiteX132" fmla="*/ 227433 w 627144"/>
                  <a:gd name="connsiteY132" fmla="*/ 954883 h 1348382"/>
                  <a:gd name="connsiteX133" fmla="*/ 227887 w 627144"/>
                  <a:gd name="connsiteY133" fmla="*/ 953823 h 1348382"/>
                  <a:gd name="connsiteX134" fmla="*/ 229553 w 627144"/>
                  <a:gd name="connsiteY134" fmla="*/ 952004 h 1348382"/>
                  <a:gd name="connsiteX135" fmla="*/ 230312 w 627144"/>
                  <a:gd name="connsiteY135" fmla="*/ 950338 h 1348382"/>
                  <a:gd name="connsiteX136" fmla="*/ 228190 w 627144"/>
                  <a:gd name="connsiteY136" fmla="*/ 950489 h 1348382"/>
                  <a:gd name="connsiteX137" fmla="*/ 227887 w 627144"/>
                  <a:gd name="connsiteY137" fmla="*/ 949277 h 1348382"/>
                  <a:gd name="connsiteX138" fmla="*/ 226220 w 627144"/>
                  <a:gd name="connsiteY138" fmla="*/ 949429 h 1348382"/>
                  <a:gd name="connsiteX139" fmla="*/ 225311 w 627144"/>
                  <a:gd name="connsiteY139" fmla="*/ 949883 h 1348382"/>
                  <a:gd name="connsiteX140" fmla="*/ 224251 w 627144"/>
                  <a:gd name="connsiteY140" fmla="*/ 949883 h 1348382"/>
                  <a:gd name="connsiteX141" fmla="*/ 221977 w 627144"/>
                  <a:gd name="connsiteY141" fmla="*/ 949429 h 1348382"/>
                  <a:gd name="connsiteX142" fmla="*/ 221977 w 627144"/>
                  <a:gd name="connsiteY142" fmla="*/ 950489 h 1348382"/>
                  <a:gd name="connsiteX143" fmla="*/ 222736 w 627144"/>
                  <a:gd name="connsiteY143" fmla="*/ 951853 h 1348382"/>
                  <a:gd name="connsiteX144" fmla="*/ 220918 w 627144"/>
                  <a:gd name="connsiteY144" fmla="*/ 952762 h 1348382"/>
                  <a:gd name="connsiteX145" fmla="*/ 219705 w 627144"/>
                  <a:gd name="connsiteY145" fmla="*/ 954581 h 1348382"/>
                  <a:gd name="connsiteX146" fmla="*/ 220159 w 627144"/>
                  <a:gd name="connsiteY146" fmla="*/ 955490 h 1348382"/>
                  <a:gd name="connsiteX147" fmla="*/ 219098 w 627144"/>
                  <a:gd name="connsiteY147" fmla="*/ 957156 h 1348382"/>
                  <a:gd name="connsiteX148" fmla="*/ 216371 w 627144"/>
                  <a:gd name="connsiteY148" fmla="*/ 958217 h 1348382"/>
                  <a:gd name="connsiteX149" fmla="*/ 218189 w 627144"/>
                  <a:gd name="connsiteY149" fmla="*/ 955641 h 1348382"/>
                  <a:gd name="connsiteX150" fmla="*/ 218189 w 627144"/>
                  <a:gd name="connsiteY150" fmla="*/ 953368 h 1348382"/>
                  <a:gd name="connsiteX151" fmla="*/ 219705 w 627144"/>
                  <a:gd name="connsiteY151" fmla="*/ 951550 h 1348382"/>
                  <a:gd name="connsiteX152" fmla="*/ 218796 w 627144"/>
                  <a:gd name="connsiteY152" fmla="*/ 950338 h 1348382"/>
                  <a:gd name="connsiteX153" fmla="*/ 219098 w 627144"/>
                  <a:gd name="connsiteY153" fmla="*/ 949580 h 1348382"/>
                  <a:gd name="connsiteX154" fmla="*/ 220766 w 627144"/>
                  <a:gd name="connsiteY154" fmla="*/ 948823 h 1348382"/>
                  <a:gd name="connsiteX155" fmla="*/ 222129 w 627144"/>
                  <a:gd name="connsiteY155" fmla="*/ 946701 h 1348382"/>
                  <a:gd name="connsiteX156" fmla="*/ 220614 w 627144"/>
                  <a:gd name="connsiteY156" fmla="*/ 946853 h 1348382"/>
                  <a:gd name="connsiteX157" fmla="*/ 219250 w 627144"/>
                  <a:gd name="connsiteY157" fmla="*/ 947762 h 1348382"/>
                  <a:gd name="connsiteX158" fmla="*/ 216069 w 627144"/>
                  <a:gd name="connsiteY158" fmla="*/ 948519 h 1348382"/>
                  <a:gd name="connsiteX159" fmla="*/ 214856 w 627144"/>
                  <a:gd name="connsiteY159" fmla="*/ 949126 h 1348382"/>
                  <a:gd name="connsiteX160" fmla="*/ 210008 w 627144"/>
                  <a:gd name="connsiteY160" fmla="*/ 952762 h 1348382"/>
                  <a:gd name="connsiteX161" fmla="*/ 206825 w 627144"/>
                  <a:gd name="connsiteY161" fmla="*/ 954429 h 1348382"/>
                  <a:gd name="connsiteX162" fmla="*/ 203796 w 627144"/>
                  <a:gd name="connsiteY162" fmla="*/ 956399 h 1348382"/>
                  <a:gd name="connsiteX163" fmla="*/ 200917 w 627144"/>
                  <a:gd name="connsiteY163" fmla="*/ 958823 h 1348382"/>
                  <a:gd name="connsiteX164" fmla="*/ 197734 w 627144"/>
                  <a:gd name="connsiteY164" fmla="*/ 958671 h 1348382"/>
                  <a:gd name="connsiteX165" fmla="*/ 196522 w 627144"/>
                  <a:gd name="connsiteY165" fmla="*/ 955641 h 1348382"/>
                  <a:gd name="connsiteX166" fmla="*/ 196068 w 627144"/>
                  <a:gd name="connsiteY166" fmla="*/ 952156 h 1348382"/>
                  <a:gd name="connsiteX167" fmla="*/ 195765 w 627144"/>
                  <a:gd name="connsiteY167" fmla="*/ 948065 h 1348382"/>
                  <a:gd name="connsiteX168" fmla="*/ 194250 w 627144"/>
                  <a:gd name="connsiteY168" fmla="*/ 944580 h 1348382"/>
                  <a:gd name="connsiteX169" fmla="*/ 190916 w 627144"/>
                  <a:gd name="connsiteY169" fmla="*/ 943671 h 1348382"/>
                  <a:gd name="connsiteX170" fmla="*/ 188189 w 627144"/>
                  <a:gd name="connsiteY170" fmla="*/ 942156 h 1348382"/>
                  <a:gd name="connsiteX171" fmla="*/ 187128 w 627144"/>
                  <a:gd name="connsiteY171" fmla="*/ 940489 h 1348382"/>
                  <a:gd name="connsiteX172" fmla="*/ 186522 w 627144"/>
                  <a:gd name="connsiteY172" fmla="*/ 938671 h 1348382"/>
                  <a:gd name="connsiteX173" fmla="*/ 186674 w 627144"/>
                  <a:gd name="connsiteY173" fmla="*/ 936701 h 1348382"/>
                  <a:gd name="connsiteX174" fmla="*/ 187279 w 627144"/>
                  <a:gd name="connsiteY174" fmla="*/ 934731 h 1348382"/>
                  <a:gd name="connsiteX175" fmla="*/ 193037 w 627144"/>
                  <a:gd name="connsiteY175" fmla="*/ 933973 h 1348382"/>
                  <a:gd name="connsiteX176" fmla="*/ 190007 w 627144"/>
                  <a:gd name="connsiteY176" fmla="*/ 933064 h 1348382"/>
                  <a:gd name="connsiteX177" fmla="*/ 186825 w 627144"/>
                  <a:gd name="connsiteY177" fmla="*/ 933216 h 1348382"/>
                  <a:gd name="connsiteX178" fmla="*/ 184856 w 627144"/>
                  <a:gd name="connsiteY178" fmla="*/ 933973 h 1348382"/>
                  <a:gd name="connsiteX179" fmla="*/ 180158 w 627144"/>
                  <a:gd name="connsiteY179" fmla="*/ 937307 h 1348382"/>
                  <a:gd name="connsiteX180" fmla="*/ 174855 w 627144"/>
                  <a:gd name="connsiteY180" fmla="*/ 941701 h 1348382"/>
                  <a:gd name="connsiteX181" fmla="*/ 171218 w 627144"/>
                  <a:gd name="connsiteY181" fmla="*/ 947762 h 1348382"/>
                  <a:gd name="connsiteX182" fmla="*/ 170006 w 627144"/>
                  <a:gd name="connsiteY182" fmla="*/ 956095 h 1348382"/>
                  <a:gd name="connsiteX183" fmla="*/ 167734 w 627144"/>
                  <a:gd name="connsiteY183" fmla="*/ 963975 h 1348382"/>
                  <a:gd name="connsiteX184" fmla="*/ 166066 w 627144"/>
                  <a:gd name="connsiteY184" fmla="*/ 967005 h 1348382"/>
                  <a:gd name="connsiteX185" fmla="*/ 162885 w 627144"/>
                  <a:gd name="connsiteY185" fmla="*/ 970793 h 1348382"/>
                  <a:gd name="connsiteX186" fmla="*/ 160158 w 627144"/>
                  <a:gd name="connsiteY186" fmla="*/ 972914 h 1348382"/>
                  <a:gd name="connsiteX187" fmla="*/ 158490 w 627144"/>
                  <a:gd name="connsiteY187" fmla="*/ 973672 h 1348382"/>
                  <a:gd name="connsiteX188" fmla="*/ 154702 w 627144"/>
                  <a:gd name="connsiteY188" fmla="*/ 974126 h 1348382"/>
                  <a:gd name="connsiteX189" fmla="*/ 153339 w 627144"/>
                  <a:gd name="connsiteY189" fmla="*/ 975339 h 1348382"/>
                  <a:gd name="connsiteX190" fmla="*/ 151521 w 627144"/>
                  <a:gd name="connsiteY190" fmla="*/ 981248 h 1348382"/>
                  <a:gd name="connsiteX191" fmla="*/ 149854 w 627144"/>
                  <a:gd name="connsiteY191" fmla="*/ 984733 h 1348382"/>
                  <a:gd name="connsiteX192" fmla="*/ 148794 w 627144"/>
                  <a:gd name="connsiteY192" fmla="*/ 988369 h 1348382"/>
                  <a:gd name="connsiteX193" fmla="*/ 148036 w 627144"/>
                  <a:gd name="connsiteY193" fmla="*/ 992157 h 1348382"/>
                  <a:gd name="connsiteX194" fmla="*/ 146824 w 627144"/>
                  <a:gd name="connsiteY194" fmla="*/ 995491 h 1348382"/>
                  <a:gd name="connsiteX195" fmla="*/ 148036 w 627144"/>
                  <a:gd name="connsiteY195" fmla="*/ 996400 h 1348382"/>
                  <a:gd name="connsiteX196" fmla="*/ 148490 w 627144"/>
                  <a:gd name="connsiteY196" fmla="*/ 997309 h 1348382"/>
                  <a:gd name="connsiteX197" fmla="*/ 146975 w 627144"/>
                  <a:gd name="connsiteY197" fmla="*/ 997461 h 1348382"/>
                  <a:gd name="connsiteX198" fmla="*/ 146066 w 627144"/>
                  <a:gd name="connsiteY198" fmla="*/ 997915 h 1348382"/>
                  <a:gd name="connsiteX199" fmla="*/ 145157 w 627144"/>
                  <a:gd name="connsiteY199" fmla="*/ 998673 h 1348382"/>
                  <a:gd name="connsiteX200" fmla="*/ 140762 w 627144"/>
                  <a:gd name="connsiteY200" fmla="*/ 1005188 h 1348382"/>
                  <a:gd name="connsiteX201" fmla="*/ 141369 w 627144"/>
                  <a:gd name="connsiteY201" fmla="*/ 1008673 h 1348382"/>
                  <a:gd name="connsiteX202" fmla="*/ 141066 w 627144"/>
                  <a:gd name="connsiteY202" fmla="*/ 1010643 h 1348382"/>
                  <a:gd name="connsiteX203" fmla="*/ 140308 w 627144"/>
                  <a:gd name="connsiteY203" fmla="*/ 1011401 h 1348382"/>
                  <a:gd name="connsiteX204" fmla="*/ 140460 w 627144"/>
                  <a:gd name="connsiteY204" fmla="*/ 1009279 h 1348382"/>
                  <a:gd name="connsiteX205" fmla="*/ 140308 w 627144"/>
                  <a:gd name="connsiteY205" fmla="*/ 1007461 h 1348382"/>
                  <a:gd name="connsiteX206" fmla="*/ 139248 w 627144"/>
                  <a:gd name="connsiteY206" fmla="*/ 1005946 h 1348382"/>
                  <a:gd name="connsiteX207" fmla="*/ 135762 w 627144"/>
                  <a:gd name="connsiteY207" fmla="*/ 1010188 h 1348382"/>
                  <a:gd name="connsiteX208" fmla="*/ 133035 w 627144"/>
                  <a:gd name="connsiteY208" fmla="*/ 1012764 h 1348382"/>
                  <a:gd name="connsiteX209" fmla="*/ 132581 w 627144"/>
                  <a:gd name="connsiteY209" fmla="*/ 1014431 h 1348382"/>
                  <a:gd name="connsiteX210" fmla="*/ 132884 w 627144"/>
                  <a:gd name="connsiteY210" fmla="*/ 1016249 h 1348382"/>
                  <a:gd name="connsiteX211" fmla="*/ 130914 w 627144"/>
                  <a:gd name="connsiteY211" fmla="*/ 1013976 h 1348382"/>
                  <a:gd name="connsiteX212" fmla="*/ 129550 w 627144"/>
                  <a:gd name="connsiteY212" fmla="*/ 1014280 h 1348382"/>
                  <a:gd name="connsiteX213" fmla="*/ 126974 w 627144"/>
                  <a:gd name="connsiteY213" fmla="*/ 1015492 h 1348382"/>
                  <a:gd name="connsiteX214" fmla="*/ 127277 w 627144"/>
                  <a:gd name="connsiteY214" fmla="*/ 1016552 h 1348382"/>
                  <a:gd name="connsiteX215" fmla="*/ 129398 w 627144"/>
                  <a:gd name="connsiteY215" fmla="*/ 1018219 h 1348382"/>
                  <a:gd name="connsiteX216" fmla="*/ 127277 w 627144"/>
                  <a:gd name="connsiteY216" fmla="*/ 1017158 h 1348382"/>
                  <a:gd name="connsiteX217" fmla="*/ 125156 w 627144"/>
                  <a:gd name="connsiteY217" fmla="*/ 1016401 h 1348382"/>
                  <a:gd name="connsiteX218" fmla="*/ 123035 w 627144"/>
                  <a:gd name="connsiteY218" fmla="*/ 1017310 h 1348382"/>
                  <a:gd name="connsiteX219" fmla="*/ 120913 w 627144"/>
                  <a:gd name="connsiteY219" fmla="*/ 1018673 h 1348382"/>
                  <a:gd name="connsiteX220" fmla="*/ 122883 w 627144"/>
                  <a:gd name="connsiteY220" fmla="*/ 1019583 h 1348382"/>
                  <a:gd name="connsiteX221" fmla="*/ 123489 w 627144"/>
                  <a:gd name="connsiteY221" fmla="*/ 1021098 h 1348382"/>
                  <a:gd name="connsiteX222" fmla="*/ 122429 w 627144"/>
                  <a:gd name="connsiteY222" fmla="*/ 1020189 h 1348382"/>
                  <a:gd name="connsiteX223" fmla="*/ 120913 w 627144"/>
                  <a:gd name="connsiteY223" fmla="*/ 1019886 h 1348382"/>
                  <a:gd name="connsiteX224" fmla="*/ 119247 w 627144"/>
                  <a:gd name="connsiteY224" fmla="*/ 1020492 h 1348382"/>
                  <a:gd name="connsiteX225" fmla="*/ 117883 w 627144"/>
                  <a:gd name="connsiteY225" fmla="*/ 1022461 h 1348382"/>
                  <a:gd name="connsiteX226" fmla="*/ 116822 w 627144"/>
                  <a:gd name="connsiteY226" fmla="*/ 1023371 h 1348382"/>
                  <a:gd name="connsiteX227" fmla="*/ 115610 w 627144"/>
                  <a:gd name="connsiteY227" fmla="*/ 1023977 h 1348382"/>
                  <a:gd name="connsiteX228" fmla="*/ 113186 w 627144"/>
                  <a:gd name="connsiteY228" fmla="*/ 1026704 h 1348382"/>
                  <a:gd name="connsiteX229" fmla="*/ 108792 w 627144"/>
                  <a:gd name="connsiteY229" fmla="*/ 1029280 h 1348382"/>
                  <a:gd name="connsiteX230" fmla="*/ 110156 w 627144"/>
                  <a:gd name="connsiteY230" fmla="*/ 1030038 h 1348382"/>
                  <a:gd name="connsiteX231" fmla="*/ 109701 w 627144"/>
                  <a:gd name="connsiteY231" fmla="*/ 1030492 h 1348382"/>
                  <a:gd name="connsiteX232" fmla="*/ 108186 w 627144"/>
                  <a:gd name="connsiteY232" fmla="*/ 1030341 h 1348382"/>
                  <a:gd name="connsiteX233" fmla="*/ 107883 w 627144"/>
                  <a:gd name="connsiteY233" fmla="*/ 1031553 h 1348382"/>
                  <a:gd name="connsiteX234" fmla="*/ 108186 w 627144"/>
                  <a:gd name="connsiteY234" fmla="*/ 1032916 h 1348382"/>
                  <a:gd name="connsiteX235" fmla="*/ 106368 w 627144"/>
                  <a:gd name="connsiteY235" fmla="*/ 1032916 h 1348382"/>
                  <a:gd name="connsiteX236" fmla="*/ 103489 w 627144"/>
                  <a:gd name="connsiteY236" fmla="*/ 1034735 h 1348382"/>
                  <a:gd name="connsiteX237" fmla="*/ 99549 w 627144"/>
                  <a:gd name="connsiteY237" fmla="*/ 1035795 h 1348382"/>
                  <a:gd name="connsiteX238" fmla="*/ 94245 w 627144"/>
                  <a:gd name="connsiteY238" fmla="*/ 1038371 h 1348382"/>
                  <a:gd name="connsiteX239" fmla="*/ 90003 w 627144"/>
                  <a:gd name="connsiteY239" fmla="*/ 1040947 h 1348382"/>
                  <a:gd name="connsiteX240" fmla="*/ 89094 w 627144"/>
                  <a:gd name="connsiteY240" fmla="*/ 1042311 h 1348382"/>
                  <a:gd name="connsiteX241" fmla="*/ 90306 w 627144"/>
                  <a:gd name="connsiteY241" fmla="*/ 1045493 h 1348382"/>
                  <a:gd name="connsiteX242" fmla="*/ 89094 w 627144"/>
                  <a:gd name="connsiteY242" fmla="*/ 1045038 h 1348382"/>
                  <a:gd name="connsiteX243" fmla="*/ 87124 w 627144"/>
                  <a:gd name="connsiteY243" fmla="*/ 1043826 h 1348382"/>
                  <a:gd name="connsiteX244" fmla="*/ 85003 w 627144"/>
                  <a:gd name="connsiteY244" fmla="*/ 1044735 h 1348382"/>
                  <a:gd name="connsiteX245" fmla="*/ 80002 w 627144"/>
                  <a:gd name="connsiteY245" fmla="*/ 1048069 h 1348382"/>
                  <a:gd name="connsiteX246" fmla="*/ 79093 w 627144"/>
                  <a:gd name="connsiteY246" fmla="*/ 1048220 h 1348382"/>
                  <a:gd name="connsiteX247" fmla="*/ 75760 w 627144"/>
                  <a:gd name="connsiteY247" fmla="*/ 1047462 h 1348382"/>
                  <a:gd name="connsiteX248" fmla="*/ 70457 w 627144"/>
                  <a:gd name="connsiteY248" fmla="*/ 1049432 h 1348382"/>
                  <a:gd name="connsiteX249" fmla="*/ 68033 w 627144"/>
                  <a:gd name="connsiteY249" fmla="*/ 1051099 h 1348382"/>
                  <a:gd name="connsiteX250" fmla="*/ 63336 w 627144"/>
                  <a:gd name="connsiteY250" fmla="*/ 1055796 h 1348382"/>
                  <a:gd name="connsiteX251" fmla="*/ 58487 w 627144"/>
                  <a:gd name="connsiteY251" fmla="*/ 1060342 h 1348382"/>
                  <a:gd name="connsiteX252" fmla="*/ 54093 w 627144"/>
                  <a:gd name="connsiteY252" fmla="*/ 1065039 h 1348382"/>
                  <a:gd name="connsiteX253" fmla="*/ 54395 w 627144"/>
                  <a:gd name="connsiteY253" fmla="*/ 1068069 h 1348382"/>
                  <a:gd name="connsiteX254" fmla="*/ 55305 w 627144"/>
                  <a:gd name="connsiteY254" fmla="*/ 1069130 h 1348382"/>
                  <a:gd name="connsiteX255" fmla="*/ 55456 w 627144"/>
                  <a:gd name="connsiteY255" fmla="*/ 1070494 h 1348382"/>
                  <a:gd name="connsiteX256" fmla="*/ 54093 w 627144"/>
                  <a:gd name="connsiteY256" fmla="*/ 1069130 h 1348382"/>
                  <a:gd name="connsiteX257" fmla="*/ 52123 w 627144"/>
                  <a:gd name="connsiteY257" fmla="*/ 1068069 h 1348382"/>
                  <a:gd name="connsiteX258" fmla="*/ 49698 w 627144"/>
                  <a:gd name="connsiteY258" fmla="*/ 1069585 h 1348382"/>
                  <a:gd name="connsiteX259" fmla="*/ 46365 w 627144"/>
                  <a:gd name="connsiteY259" fmla="*/ 1072918 h 1348382"/>
                  <a:gd name="connsiteX260" fmla="*/ 43790 w 627144"/>
                  <a:gd name="connsiteY260" fmla="*/ 1073978 h 1348382"/>
                  <a:gd name="connsiteX261" fmla="*/ 43031 w 627144"/>
                  <a:gd name="connsiteY261" fmla="*/ 1075039 h 1348382"/>
                  <a:gd name="connsiteX262" fmla="*/ 42881 w 627144"/>
                  <a:gd name="connsiteY262" fmla="*/ 1076252 h 1348382"/>
                  <a:gd name="connsiteX263" fmla="*/ 43638 w 627144"/>
                  <a:gd name="connsiteY263" fmla="*/ 1077464 h 1348382"/>
                  <a:gd name="connsiteX264" fmla="*/ 43486 w 627144"/>
                  <a:gd name="connsiteY264" fmla="*/ 1078827 h 1348382"/>
                  <a:gd name="connsiteX265" fmla="*/ 43183 w 627144"/>
                  <a:gd name="connsiteY265" fmla="*/ 1080343 h 1348382"/>
                  <a:gd name="connsiteX266" fmla="*/ 41668 w 627144"/>
                  <a:gd name="connsiteY266" fmla="*/ 1075948 h 1348382"/>
                  <a:gd name="connsiteX267" fmla="*/ 35759 w 627144"/>
                  <a:gd name="connsiteY267" fmla="*/ 1080494 h 1348382"/>
                  <a:gd name="connsiteX268" fmla="*/ 35153 w 627144"/>
                  <a:gd name="connsiteY268" fmla="*/ 1081554 h 1348382"/>
                  <a:gd name="connsiteX269" fmla="*/ 36062 w 627144"/>
                  <a:gd name="connsiteY269" fmla="*/ 1083221 h 1348382"/>
                  <a:gd name="connsiteX270" fmla="*/ 37577 w 627144"/>
                  <a:gd name="connsiteY270" fmla="*/ 1084433 h 1348382"/>
                  <a:gd name="connsiteX271" fmla="*/ 35607 w 627144"/>
                  <a:gd name="connsiteY271" fmla="*/ 1084888 h 1348382"/>
                  <a:gd name="connsiteX272" fmla="*/ 33941 w 627144"/>
                  <a:gd name="connsiteY272" fmla="*/ 1083373 h 1348382"/>
                  <a:gd name="connsiteX273" fmla="*/ 31213 w 627144"/>
                  <a:gd name="connsiteY273" fmla="*/ 1085798 h 1348382"/>
                  <a:gd name="connsiteX274" fmla="*/ 31062 w 627144"/>
                  <a:gd name="connsiteY274" fmla="*/ 1087616 h 1348382"/>
                  <a:gd name="connsiteX275" fmla="*/ 31365 w 627144"/>
                  <a:gd name="connsiteY275" fmla="*/ 1089131 h 1348382"/>
                  <a:gd name="connsiteX276" fmla="*/ 33941 w 627144"/>
                  <a:gd name="connsiteY276" fmla="*/ 1090646 h 1348382"/>
                  <a:gd name="connsiteX277" fmla="*/ 36062 w 627144"/>
                  <a:gd name="connsiteY277" fmla="*/ 1091100 h 1348382"/>
                  <a:gd name="connsiteX278" fmla="*/ 36668 w 627144"/>
                  <a:gd name="connsiteY278" fmla="*/ 1091404 h 1348382"/>
                  <a:gd name="connsiteX279" fmla="*/ 34396 w 627144"/>
                  <a:gd name="connsiteY279" fmla="*/ 1091858 h 1348382"/>
                  <a:gd name="connsiteX280" fmla="*/ 33637 w 627144"/>
                  <a:gd name="connsiteY280" fmla="*/ 1092464 h 1348382"/>
                  <a:gd name="connsiteX281" fmla="*/ 33486 w 627144"/>
                  <a:gd name="connsiteY281" fmla="*/ 1093676 h 1348382"/>
                  <a:gd name="connsiteX282" fmla="*/ 34698 w 627144"/>
                  <a:gd name="connsiteY282" fmla="*/ 1095646 h 1348382"/>
                  <a:gd name="connsiteX283" fmla="*/ 31819 w 627144"/>
                  <a:gd name="connsiteY283" fmla="*/ 1094737 h 1348382"/>
                  <a:gd name="connsiteX284" fmla="*/ 27879 w 627144"/>
                  <a:gd name="connsiteY284" fmla="*/ 1092161 h 1348382"/>
                  <a:gd name="connsiteX285" fmla="*/ 26819 w 627144"/>
                  <a:gd name="connsiteY285" fmla="*/ 1092313 h 1348382"/>
                  <a:gd name="connsiteX286" fmla="*/ 26970 w 627144"/>
                  <a:gd name="connsiteY286" fmla="*/ 1094283 h 1348382"/>
                  <a:gd name="connsiteX287" fmla="*/ 28183 w 627144"/>
                  <a:gd name="connsiteY287" fmla="*/ 1095646 h 1348382"/>
                  <a:gd name="connsiteX288" fmla="*/ 24243 w 627144"/>
                  <a:gd name="connsiteY288" fmla="*/ 1095646 h 1348382"/>
                  <a:gd name="connsiteX289" fmla="*/ 23334 w 627144"/>
                  <a:gd name="connsiteY289" fmla="*/ 1097616 h 1348382"/>
                  <a:gd name="connsiteX290" fmla="*/ 23031 w 627144"/>
                  <a:gd name="connsiteY290" fmla="*/ 1100192 h 1348382"/>
                  <a:gd name="connsiteX291" fmla="*/ 26668 w 627144"/>
                  <a:gd name="connsiteY291" fmla="*/ 1100343 h 1348382"/>
                  <a:gd name="connsiteX292" fmla="*/ 30001 w 627144"/>
                  <a:gd name="connsiteY292" fmla="*/ 1099737 h 1348382"/>
                  <a:gd name="connsiteX293" fmla="*/ 25455 w 627144"/>
                  <a:gd name="connsiteY293" fmla="*/ 1102162 h 1348382"/>
                  <a:gd name="connsiteX294" fmla="*/ 24698 w 627144"/>
                  <a:gd name="connsiteY294" fmla="*/ 1103677 h 1348382"/>
                  <a:gd name="connsiteX295" fmla="*/ 25000 w 627144"/>
                  <a:gd name="connsiteY295" fmla="*/ 1105495 h 1348382"/>
                  <a:gd name="connsiteX296" fmla="*/ 30304 w 627144"/>
                  <a:gd name="connsiteY296" fmla="*/ 1105950 h 1348382"/>
                  <a:gd name="connsiteX297" fmla="*/ 28940 w 627144"/>
                  <a:gd name="connsiteY297" fmla="*/ 1107313 h 1348382"/>
                  <a:gd name="connsiteX298" fmla="*/ 25759 w 627144"/>
                  <a:gd name="connsiteY298" fmla="*/ 1108071 h 1348382"/>
                  <a:gd name="connsiteX299" fmla="*/ 16970 w 627144"/>
                  <a:gd name="connsiteY299" fmla="*/ 1109283 h 1348382"/>
                  <a:gd name="connsiteX300" fmla="*/ 16365 w 627144"/>
                  <a:gd name="connsiteY300" fmla="*/ 1110040 h 1348382"/>
                  <a:gd name="connsiteX301" fmla="*/ 16061 w 627144"/>
                  <a:gd name="connsiteY301" fmla="*/ 1112465 h 1348382"/>
                  <a:gd name="connsiteX302" fmla="*/ 16515 w 627144"/>
                  <a:gd name="connsiteY302" fmla="*/ 1114586 h 1348382"/>
                  <a:gd name="connsiteX303" fmla="*/ 19849 w 627144"/>
                  <a:gd name="connsiteY303" fmla="*/ 1114283 h 1348382"/>
                  <a:gd name="connsiteX304" fmla="*/ 22728 w 627144"/>
                  <a:gd name="connsiteY304" fmla="*/ 1112010 h 1348382"/>
                  <a:gd name="connsiteX305" fmla="*/ 23182 w 627144"/>
                  <a:gd name="connsiteY305" fmla="*/ 1113374 h 1348382"/>
                  <a:gd name="connsiteX306" fmla="*/ 23031 w 627144"/>
                  <a:gd name="connsiteY306" fmla="*/ 1114586 h 1348382"/>
                  <a:gd name="connsiteX307" fmla="*/ 20910 w 627144"/>
                  <a:gd name="connsiteY307" fmla="*/ 1117314 h 1348382"/>
                  <a:gd name="connsiteX308" fmla="*/ 23182 w 627144"/>
                  <a:gd name="connsiteY308" fmla="*/ 1117616 h 1348382"/>
                  <a:gd name="connsiteX309" fmla="*/ 26668 w 627144"/>
                  <a:gd name="connsiteY309" fmla="*/ 1115192 h 1348382"/>
                  <a:gd name="connsiteX310" fmla="*/ 28334 w 627144"/>
                  <a:gd name="connsiteY310" fmla="*/ 1114435 h 1348382"/>
                  <a:gd name="connsiteX311" fmla="*/ 22728 w 627144"/>
                  <a:gd name="connsiteY311" fmla="*/ 1120495 h 1348382"/>
                  <a:gd name="connsiteX312" fmla="*/ 23334 w 627144"/>
                  <a:gd name="connsiteY312" fmla="*/ 1122617 h 1348382"/>
                  <a:gd name="connsiteX313" fmla="*/ 26061 w 627144"/>
                  <a:gd name="connsiteY313" fmla="*/ 1123526 h 1348382"/>
                  <a:gd name="connsiteX314" fmla="*/ 33486 w 627144"/>
                  <a:gd name="connsiteY314" fmla="*/ 1124283 h 1348382"/>
                  <a:gd name="connsiteX315" fmla="*/ 40911 w 627144"/>
                  <a:gd name="connsiteY315" fmla="*/ 1123981 h 1348382"/>
                  <a:gd name="connsiteX316" fmla="*/ 42122 w 627144"/>
                  <a:gd name="connsiteY316" fmla="*/ 1123526 h 1348382"/>
                  <a:gd name="connsiteX317" fmla="*/ 44244 w 627144"/>
                  <a:gd name="connsiteY317" fmla="*/ 1120950 h 1348382"/>
                  <a:gd name="connsiteX318" fmla="*/ 45608 w 627144"/>
                  <a:gd name="connsiteY318" fmla="*/ 1120799 h 1348382"/>
                  <a:gd name="connsiteX319" fmla="*/ 49548 w 627144"/>
                  <a:gd name="connsiteY319" fmla="*/ 1122314 h 1348382"/>
                  <a:gd name="connsiteX320" fmla="*/ 50607 w 627144"/>
                  <a:gd name="connsiteY320" fmla="*/ 1123526 h 1348382"/>
                  <a:gd name="connsiteX321" fmla="*/ 53941 w 627144"/>
                  <a:gd name="connsiteY321" fmla="*/ 1128223 h 1348382"/>
                  <a:gd name="connsiteX322" fmla="*/ 55608 w 627144"/>
                  <a:gd name="connsiteY322" fmla="*/ 1128223 h 1348382"/>
                  <a:gd name="connsiteX323" fmla="*/ 60457 w 627144"/>
                  <a:gd name="connsiteY323" fmla="*/ 1127769 h 1348382"/>
                  <a:gd name="connsiteX324" fmla="*/ 63487 w 627144"/>
                  <a:gd name="connsiteY324" fmla="*/ 1128071 h 1348382"/>
                  <a:gd name="connsiteX325" fmla="*/ 64548 w 627144"/>
                  <a:gd name="connsiteY325" fmla="*/ 1128829 h 1348382"/>
                  <a:gd name="connsiteX326" fmla="*/ 65457 w 627144"/>
                  <a:gd name="connsiteY326" fmla="*/ 1129890 h 1348382"/>
                  <a:gd name="connsiteX327" fmla="*/ 66972 w 627144"/>
                  <a:gd name="connsiteY327" fmla="*/ 1130799 h 1348382"/>
                  <a:gd name="connsiteX328" fmla="*/ 67578 w 627144"/>
                  <a:gd name="connsiteY328" fmla="*/ 1132163 h 1348382"/>
                  <a:gd name="connsiteX329" fmla="*/ 67124 w 627144"/>
                  <a:gd name="connsiteY329" fmla="*/ 1134132 h 1348382"/>
                  <a:gd name="connsiteX330" fmla="*/ 68033 w 627144"/>
                  <a:gd name="connsiteY330" fmla="*/ 1135647 h 1348382"/>
                  <a:gd name="connsiteX331" fmla="*/ 68638 w 627144"/>
                  <a:gd name="connsiteY331" fmla="*/ 1136254 h 1348382"/>
                  <a:gd name="connsiteX332" fmla="*/ 70912 w 627144"/>
                  <a:gd name="connsiteY332" fmla="*/ 1135647 h 1348382"/>
                  <a:gd name="connsiteX333" fmla="*/ 73791 w 627144"/>
                  <a:gd name="connsiteY333" fmla="*/ 1136405 h 1348382"/>
                  <a:gd name="connsiteX334" fmla="*/ 75457 w 627144"/>
                  <a:gd name="connsiteY334" fmla="*/ 1135647 h 1348382"/>
                  <a:gd name="connsiteX335" fmla="*/ 79093 w 627144"/>
                  <a:gd name="connsiteY335" fmla="*/ 1134890 h 1348382"/>
                  <a:gd name="connsiteX336" fmla="*/ 81063 w 627144"/>
                  <a:gd name="connsiteY336" fmla="*/ 1135345 h 1348382"/>
                  <a:gd name="connsiteX337" fmla="*/ 84549 w 627144"/>
                  <a:gd name="connsiteY337" fmla="*/ 1136557 h 1348382"/>
                  <a:gd name="connsiteX338" fmla="*/ 88185 w 627144"/>
                  <a:gd name="connsiteY338" fmla="*/ 1137163 h 1348382"/>
                  <a:gd name="connsiteX339" fmla="*/ 94852 w 627144"/>
                  <a:gd name="connsiteY339" fmla="*/ 1136860 h 1348382"/>
                  <a:gd name="connsiteX340" fmla="*/ 104246 w 627144"/>
                  <a:gd name="connsiteY340" fmla="*/ 1134436 h 1348382"/>
                  <a:gd name="connsiteX341" fmla="*/ 105458 w 627144"/>
                  <a:gd name="connsiteY341" fmla="*/ 1133375 h 1348382"/>
                  <a:gd name="connsiteX342" fmla="*/ 106368 w 627144"/>
                  <a:gd name="connsiteY342" fmla="*/ 1132011 h 1348382"/>
                  <a:gd name="connsiteX343" fmla="*/ 110610 w 627144"/>
                  <a:gd name="connsiteY343" fmla="*/ 1127011 h 1348382"/>
                  <a:gd name="connsiteX344" fmla="*/ 117883 w 627144"/>
                  <a:gd name="connsiteY344" fmla="*/ 1121102 h 1348382"/>
                  <a:gd name="connsiteX345" fmla="*/ 120156 w 627144"/>
                  <a:gd name="connsiteY345" fmla="*/ 1118374 h 1348382"/>
                  <a:gd name="connsiteX346" fmla="*/ 121974 w 627144"/>
                  <a:gd name="connsiteY346" fmla="*/ 1115344 h 1348382"/>
                  <a:gd name="connsiteX347" fmla="*/ 124247 w 627144"/>
                  <a:gd name="connsiteY347" fmla="*/ 1113677 h 1348382"/>
                  <a:gd name="connsiteX348" fmla="*/ 131217 w 627144"/>
                  <a:gd name="connsiteY348" fmla="*/ 1112162 h 1348382"/>
                  <a:gd name="connsiteX349" fmla="*/ 132581 w 627144"/>
                  <a:gd name="connsiteY349" fmla="*/ 1111556 h 1348382"/>
                  <a:gd name="connsiteX350" fmla="*/ 134096 w 627144"/>
                  <a:gd name="connsiteY350" fmla="*/ 1111253 h 1348382"/>
                  <a:gd name="connsiteX351" fmla="*/ 134551 w 627144"/>
                  <a:gd name="connsiteY351" fmla="*/ 1110344 h 1348382"/>
                  <a:gd name="connsiteX352" fmla="*/ 134551 w 627144"/>
                  <a:gd name="connsiteY352" fmla="*/ 1108526 h 1348382"/>
                  <a:gd name="connsiteX353" fmla="*/ 133186 w 627144"/>
                  <a:gd name="connsiteY353" fmla="*/ 1107313 h 1348382"/>
                  <a:gd name="connsiteX354" fmla="*/ 132126 w 627144"/>
                  <a:gd name="connsiteY354" fmla="*/ 1105950 h 1348382"/>
                  <a:gd name="connsiteX355" fmla="*/ 132126 w 627144"/>
                  <a:gd name="connsiteY355" fmla="*/ 1104889 h 1348382"/>
                  <a:gd name="connsiteX356" fmla="*/ 135308 w 627144"/>
                  <a:gd name="connsiteY356" fmla="*/ 1099283 h 1348382"/>
                  <a:gd name="connsiteX357" fmla="*/ 137278 w 627144"/>
                  <a:gd name="connsiteY357" fmla="*/ 1094434 h 1348382"/>
                  <a:gd name="connsiteX358" fmla="*/ 138641 w 627144"/>
                  <a:gd name="connsiteY358" fmla="*/ 1089131 h 1348382"/>
                  <a:gd name="connsiteX359" fmla="*/ 140005 w 627144"/>
                  <a:gd name="connsiteY359" fmla="*/ 1087009 h 1348382"/>
                  <a:gd name="connsiteX360" fmla="*/ 143338 w 627144"/>
                  <a:gd name="connsiteY360" fmla="*/ 1083221 h 1348382"/>
                  <a:gd name="connsiteX361" fmla="*/ 143945 w 627144"/>
                  <a:gd name="connsiteY361" fmla="*/ 1081100 h 1348382"/>
                  <a:gd name="connsiteX362" fmla="*/ 140914 w 627144"/>
                  <a:gd name="connsiteY362" fmla="*/ 1079736 h 1348382"/>
                  <a:gd name="connsiteX363" fmla="*/ 140308 w 627144"/>
                  <a:gd name="connsiteY363" fmla="*/ 1078827 h 1348382"/>
                  <a:gd name="connsiteX364" fmla="*/ 144399 w 627144"/>
                  <a:gd name="connsiteY364" fmla="*/ 1078827 h 1348382"/>
                  <a:gd name="connsiteX365" fmla="*/ 145763 w 627144"/>
                  <a:gd name="connsiteY365" fmla="*/ 1073978 h 1348382"/>
                  <a:gd name="connsiteX366" fmla="*/ 146217 w 627144"/>
                  <a:gd name="connsiteY366" fmla="*/ 1068676 h 1348382"/>
                  <a:gd name="connsiteX367" fmla="*/ 146672 w 627144"/>
                  <a:gd name="connsiteY367" fmla="*/ 1065645 h 1348382"/>
                  <a:gd name="connsiteX368" fmla="*/ 148945 w 627144"/>
                  <a:gd name="connsiteY368" fmla="*/ 1058221 h 1348382"/>
                  <a:gd name="connsiteX369" fmla="*/ 148187 w 627144"/>
                  <a:gd name="connsiteY369" fmla="*/ 1057463 h 1348382"/>
                  <a:gd name="connsiteX370" fmla="*/ 146975 w 627144"/>
                  <a:gd name="connsiteY370" fmla="*/ 1057008 h 1348382"/>
                  <a:gd name="connsiteX371" fmla="*/ 150308 w 627144"/>
                  <a:gd name="connsiteY371" fmla="*/ 1056705 h 1348382"/>
                  <a:gd name="connsiteX372" fmla="*/ 151824 w 627144"/>
                  <a:gd name="connsiteY372" fmla="*/ 1055190 h 1348382"/>
                  <a:gd name="connsiteX373" fmla="*/ 152582 w 627144"/>
                  <a:gd name="connsiteY373" fmla="*/ 1052766 h 1348382"/>
                  <a:gd name="connsiteX374" fmla="*/ 154702 w 627144"/>
                  <a:gd name="connsiteY374" fmla="*/ 1052160 h 1348382"/>
                  <a:gd name="connsiteX375" fmla="*/ 158642 w 627144"/>
                  <a:gd name="connsiteY375" fmla="*/ 1052160 h 1348382"/>
                  <a:gd name="connsiteX376" fmla="*/ 160158 w 627144"/>
                  <a:gd name="connsiteY376" fmla="*/ 1051554 h 1348382"/>
                  <a:gd name="connsiteX377" fmla="*/ 162733 w 627144"/>
                  <a:gd name="connsiteY377" fmla="*/ 1049736 h 1348382"/>
                  <a:gd name="connsiteX378" fmla="*/ 165006 w 627144"/>
                  <a:gd name="connsiteY378" fmla="*/ 1048523 h 1348382"/>
                  <a:gd name="connsiteX379" fmla="*/ 167430 w 627144"/>
                  <a:gd name="connsiteY379" fmla="*/ 1047766 h 1348382"/>
                  <a:gd name="connsiteX380" fmla="*/ 170309 w 627144"/>
                  <a:gd name="connsiteY380" fmla="*/ 1046402 h 1348382"/>
                  <a:gd name="connsiteX381" fmla="*/ 173036 w 627144"/>
                  <a:gd name="connsiteY381" fmla="*/ 1044735 h 1348382"/>
                  <a:gd name="connsiteX382" fmla="*/ 171824 w 627144"/>
                  <a:gd name="connsiteY382" fmla="*/ 1042614 h 1348382"/>
                  <a:gd name="connsiteX383" fmla="*/ 169552 w 627144"/>
                  <a:gd name="connsiteY383" fmla="*/ 1039432 h 1348382"/>
                  <a:gd name="connsiteX384" fmla="*/ 169097 w 627144"/>
                  <a:gd name="connsiteY384" fmla="*/ 1038220 h 1348382"/>
                  <a:gd name="connsiteX385" fmla="*/ 172127 w 627144"/>
                  <a:gd name="connsiteY385" fmla="*/ 1040341 h 1348382"/>
                  <a:gd name="connsiteX386" fmla="*/ 174249 w 627144"/>
                  <a:gd name="connsiteY386" fmla="*/ 1042462 h 1348382"/>
                  <a:gd name="connsiteX387" fmla="*/ 176370 w 627144"/>
                  <a:gd name="connsiteY387" fmla="*/ 1043826 h 1348382"/>
                  <a:gd name="connsiteX388" fmla="*/ 177885 w 627144"/>
                  <a:gd name="connsiteY388" fmla="*/ 1043523 h 1348382"/>
                  <a:gd name="connsiteX389" fmla="*/ 178794 w 627144"/>
                  <a:gd name="connsiteY389" fmla="*/ 1042462 h 1348382"/>
                  <a:gd name="connsiteX390" fmla="*/ 179098 w 627144"/>
                  <a:gd name="connsiteY390" fmla="*/ 1040796 h 1348382"/>
                  <a:gd name="connsiteX391" fmla="*/ 180007 w 627144"/>
                  <a:gd name="connsiteY391" fmla="*/ 1039735 h 1348382"/>
                  <a:gd name="connsiteX392" fmla="*/ 181370 w 627144"/>
                  <a:gd name="connsiteY392" fmla="*/ 1039129 h 1348382"/>
                  <a:gd name="connsiteX393" fmla="*/ 182582 w 627144"/>
                  <a:gd name="connsiteY393" fmla="*/ 1039583 h 1348382"/>
                  <a:gd name="connsiteX394" fmla="*/ 184097 w 627144"/>
                  <a:gd name="connsiteY394" fmla="*/ 1040644 h 1348382"/>
                  <a:gd name="connsiteX395" fmla="*/ 181218 w 627144"/>
                  <a:gd name="connsiteY395" fmla="*/ 1042614 h 1348382"/>
                  <a:gd name="connsiteX396" fmla="*/ 181977 w 627144"/>
                  <a:gd name="connsiteY396" fmla="*/ 1042917 h 1348382"/>
                  <a:gd name="connsiteX397" fmla="*/ 183340 w 627144"/>
                  <a:gd name="connsiteY397" fmla="*/ 1042462 h 1348382"/>
                  <a:gd name="connsiteX398" fmla="*/ 188644 w 627144"/>
                  <a:gd name="connsiteY398" fmla="*/ 1041856 h 1348382"/>
                  <a:gd name="connsiteX399" fmla="*/ 190462 w 627144"/>
                  <a:gd name="connsiteY399" fmla="*/ 1043826 h 1348382"/>
                  <a:gd name="connsiteX400" fmla="*/ 193341 w 627144"/>
                  <a:gd name="connsiteY400" fmla="*/ 1044584 h 1348382"/>
                  <a:gd name="connsiteX401" fmla="*/ 196220 w 627144"/>
                  <a:gd name="connsiteY401" fmla="*/ 1044432 h 1348382"/>
                  <a:gd name="connsiteX402" fmla="*/ 197431 w 627144"/>
                  <a:gd name="connsiteY402" fmla="*/ 1044129 h 1348382"/>
                  <a:gd name="connsiteX403" fmla="*/ 198189 w 627144"/>
                  <a:gd name="connsiteY403" fmla="*/ 1043069 h 1348382"/>
                  <a:gd name="connsiteX404" fmla="*/ 198795 w 627144"/>
                  <a:gd name="connsiteY404" fmla="*/ 1041553 h 1348382"/>
                  <a:gd name="connsiteX405" fmla="*/ 198340 w 627144"/>
                  <a:gd name="connsiteY405" fmla="*/ 1038371 h 1348382"/>
                  <a:gd name="connsiteX406" fmla="*/ 197734 w 627144"/>
                  <a:gd name="connsiteY406" fmla="*/ 1037462 h 1348382"/>
                  <a:gd name="connsiteX407" fmla="*/ 194250 w 627144"/>
                  <a:gd name="connsiteY407" fmla="*/ 1036856 h 1348382"/>
                  <a:gd name="connsiteX408" fmla="*/ 190462 w 627144"/>
                  <a:gd name="connsiteY408" fmla="*/ 1035644 h 1348382"/>
                  <a:gd name="connsiteX409" fmla="*/ 189401 w 627144"/>
                  <a:gd name="connsiteY409" fmla="*/ 1033674 h 1348382"/>
                  <a:gd name="connsiteX410" fmla="*/ 188946 w 627144"/>
                  <a:gd name="connsiteY410" fmla="*/ 1032159 h 1348382"/>
                  <a:gd name="connsiteX411" fmla="*/ 188644 w 627144"/>
                  <a:gd name="connsiteY411" fmla="*/ 1030492 h 1348382"/>
                  <a:gd name="connsiteX412" fmla="*/ 187431 w 627144"/>
                  <a:gd name="connsiteY412" fmla="*/ 1029735 h 1348382"/>
                  <a:gd name="connsiteX413" fmla="*/ 182886 w 627144"/>
                  <a:gd name="connsiteY413" fmla="*/ 1030341 h 1348382"/>
                  <a:gd name="connsiteX414" fmla="*/ 183795 w 627144"/>
                  <a:gd name="connsiteY414" fmla="*/ 1029432 h 1348382"/>
                  <a:gd name="connsiteX415" fmla="*/ 185765 w 627144"/>
                  <a:gd name="connsiteY415" fmla="*/ 1029128 h 1348382"/>
                  <a:gd name="connsiteX416" fmla="*/ 187583 w 627144"/>
                  <a:gd name="connsiteY416" fmla="*/ 1028219 h 1348382"/>
                  <a:gd name="connsiteX417" fmla="*/ 188492 w 627144"/>
                  <a:gd name="connsiteY417" fmla="*/ 1026704 h 1348382"/>
                  <a:gd name="connsiteX418" fmla="*/ 187128 w 627144"/>
                  <a:gd name="connsiteY418" fmla="*/ 1025340 h 1348382"/>
                  <a:gd name="connsiteX419" fmla="*/ 185461 w 627144"/>
                  <a:gd name="connsiteY419" fmla="*/ 1024886 h 1348382"/>
                  <a:gd name="connsiteX420" fmla="*/ 185310 w 627144"/>
                  <a:gd name="connsiteY420" fmla="*/ 1023977 h 1348382"/>
                  <a:gd name="connsiteX421" fmla="*/ 187885 w 627144"/>
                  <a:gd name="connsiteY421" fmla="*/ 1023522 h 1348382"/>
                  <a:gd name="connsiteX422" fmla="*/ 190310 w 627144"/>
                  <a:gd name="connsiteY422" fmla="*/ 1021552 h 1348382"/>
                  <a:gd name="connsiteX423" fmla="*/ 192582 w 627144"/>
                  <a:gd name="connsiteY423" fmla="*/ 1019128 h 1348382"/>
                  <a:gd name="connsiteX424" fmla="*/ 197583 w 627144"/>
                  <a:gd name="connsiteY424" fmla="*/ 1017007 h 1348382"/>
                  <a:gd name="connsiteX425" fmla="*/ 199704 w 627144"/>
                  <a:gd name="connsiteY425" fmla="*/ 1015795 h 1348382"/>
                  <a:gd name="connsiteX426" fmla="*/ 201674 w 627144"/>
                  <a:gd name="connsiteY426" fmla="*/ 1014280 h 1348382"/>
                  <a:gd name="connsiteX427" fmla="*/ 205159 w 627144"/>
                  <a:gd name="connsiteY427" fmla="*/ 1009734 h 1348382"/>
                  <a:gd name="connsiteX428" fmla="*/ 210613 w 627144"/>
                  <a:gd name="connsiteY428" fmla="*/ 999128 h 1348382"/>
                  <a:gd name="connsiteX429" fmla="*/ 211826 w 627144"/>
                  <a:gd name="connsiteY429" fmla="*/ 997612 h 1348382"/>
                  <a:gd name="connsiteX430" fmla="*/ 218644 w 627144"/>
                  <a:gd name="connsiteY430" fmla="*/ 990945 h 1348382"/>
                  <a:gd name="connsiteX431" fmla="*/ 220008 w 627144"/>
                  <a:gd name="connsiteY431" fmla="*/ 988976 h 1348382"/>
                  <a:gd name="connsiteX432" fmla="*/ 220008 w 627144"/>
                  <a:gd name="connsiteY432" fmla="*/ 986248 h 1348382"/>
                  <a:gd name="connsiteX433" fmla="*/ 222432 w 627144"/>
                  <a:gd name="connsiteY433" fmla="*/ 984581 h 1348382"/>
                  <a:gd name="connsiteX434" fmla="*/ 224402 w 627144"/>
                  <a:gd name="connsiteY434" fmla="*/ 982006 h 1348382"/>
                  <a:gd name="connsiteX435" fmla="*/ 228948 w 627144"/>
                  <a:gd name="connsiteY435" fmla="*/ 977005 h 1348382"/>
                  <a:gd name="connsiteX436" fmla="*/ 229705 w 627144"/>
                  <a:gd name="connsiteY436" fmla="*/ 975793 h 1348382"/>
                  <a:gd name="connsiteX437" fmla="*/ 230766 w 627144"/>
                  <a:gd name="connsiteY437" fmla="*/ 973369 h 1348382"/>
                  <a:gd name="connsiteX438" fmla="*/ 228948 w 627144"/>
                  <a:gd name="connsiteY438" fmla="*/ 971247 h 1348382"/>
                  <a:gd name="connsiteX439" fmla="*/ 227584 w 627144"/>
                  <a:gd name="connsiteY439" fmla="*/ 970642 h 1348382"/>
                  <a:gd name="connsiteX440" fmla="*/ 225160 w 627144"/>
                  <a:gd name="connsiteY440" fmla="*/ 971096 h 1348382"/>
                  <a:gd name="connsiteX441" fmla="*/ 227281 w 627144"/>
                  <a:gd name="connsiteY441" fmla="*/ 967611 h 1348382"/>
                  <a:gd name="connsiteX442" fmla="*/ 225463 w 627144"/>
                  <a:gd name="connsiteY442" fmla="*/ 965793 h 1348382"/>
                  <a:gd name="connsiteX443" fmla="*/ 224856 w 627144"/>
                  <a:gd name="connsiteY443" fmla="*/ 964732 h 1348382"/>
                  <a:gd name="connsiteX444" fmla="*/ 224706 w 627144"/>
                  <a:gd name="connsiteY444" fmla="*/ 963369 h 1348382"/>
                  <a:gd name="connsiteX445" fmla="*/ 225615 w 627144"/>
                  <a:gd name="connsiteY445" fmla="*/ 961247 h 1348382"/>
                  <a:gd name="connsiteX446" fmla="*/ 227433 w 627144"/>
                  <a:gd name="connsiteY446" fmla="*/ 960035 h 1348382"/>
                  <a:gd name="connsiteX447" fmla="*/ 229251 w 627144"/>
                  <a:gd name="connsiteY447" fmla="*/ 959581 h 1348382"/>
                  <a:gd name="connsiteX448" fmla="*/ 230918 w 627144"/>
                  <a:gd name="connsiteY448" fmla="*/ 958065 h 1348382"/>
                  <a:gd name="connsiteX449" fmla="*/ 232887 w 627144"/>
                  <a:gd name="connsiteY449" fmla="*/ 955641 h 1348382"/>
                  <a:gd name="connsiteX450" fmla="*/ 232887 w 627144"/>
                  <a:gd name="connsiteY450" fmla="*/ 952914 h 1348382"/>
                  <a:gd name="connsiteX451" fmla="*/ 230463 w 627144"/>
                  <a:gd name="connsiteY451" fmla="*/ 955186 h 1348382"/>
                  <a:gd name="connsiteX452" fmla="*/ 225765 w 627144"/>
                  <a:gd name="connsiteY452" fmla="*/ 957611 h 1348382"/>
                  <a:gd name="connsiteX453" fmla="*/ 627145 w 627144"/>
                  <a:gd name="connsiteY453" fmla="*/ 21970 h 1348382"/>
                  <a:gd name="connsiteX454" fmla="*/ 626993 w 627144"/>
                  <a:gd name="connsiteY454" fmla="*/ 21819 h 1348382"/>
                  <a:gd name="connsiteX455" fmla="*/ 626841 w 627144"/>
                  <a:gd name="connsiteY455" fmla="*/ 21668 h 1348382"/>
                  <a:gd name="connsiteX456" fmla="*/ 626690 w 627144"/>
                  <a:gd name="connsiteY456" fmla="*/ 21668 h 1348382"/>
                  <a:gd name="connsiteX457" fmla="*/ 626841 w 627144"/>
                  <a:gd name="connsiteY457" fmla="*/ 21970 h 1348382"/>
                  <a:gd name="connsiteX458" fmla="*/ 626993 w 627144"/>
                  <a:gd name="connsiteY458" fmla="*/ 22122 h 1348382"/>
                  <a:gd name="connsiteX459" fmla="*/ 627145 w 627144"/>
                  <a:gd name="connsiteY459" fmla="*/ 22274 h 1348382"/>
                  <a:gd name="connsiteX460" fmla="*/ 627145 w 627144"/>
                  <a:gd name="connsiteY460" fmla="*/ 22122 h 1348382"/>
                  <a:gd name="connsiteX461" fmla="*/ 627145 w 627144"/>
                  <a:gd name="connsiteY461" fmla="*/ 21970 h 1348382"/>
                  <a:gd name="connsiteX462" fmla="*/ 591688 w 627144"/>
                  <a:gd name="connsiteY462" fmla="*/ 303 h 1348382"/>
                  <a:gd name="connsiteX463" fmla="*/ 591385 w 627144"/>
                  <a:gd name="connsiteY463" fmla="*/ 0 h 1348382"/>
                  <a:gd name="connsiteX464" fmla="*/ 591385 w 627144"/>
                  <a:gd name="connsiteY464" fmla="*/ 0 h 1348382"/>
                  <a:gd name="connsiteX465" fmla="*/ 591537 w 627144"/>
                  <a:gd name="connsiteY465" fmla="*/ 303 h 1348382"/>
                  <a:gd name="connsiteX466" fmla="*/ 591688 w 627144"/>
                  <a:gd name="connsiteY466" fmla="*/ 606 h 1348382"/>
                  <a:gd name="connsiteX467" fmla="*/ 591840 w 627144"/>
                  <a:gd name="connsiteY467" fmla="*/ 909 h 1348382"/>
                  <a:gd name="connsiteX468" fmla="*/ 591992 w 627144"/>
                  <a:gd name="connsiteY468" fmla="*/ 909 h 1348382"/>
                  <a:gd name="connsiteX469" fmla="*/ 591992 w 627144"/>
                  <a:gd name="connsiteY469" fmla="*/ 606 h 1348382"/>
                  <a:gd name="connsiteX470" fmla="*/ 591688 w 627144"/>
                  <a:gd name="connsiteY470" fmla="*/ 303 h 1348382"/>
                  <a:gd name="connsiteX471" fmla="*/ 341225 w 627144"/>
                  <a:gd name="connsiteY471" fmla="*/ 841395 h 1348382"/>
                  <a:gd name="connsiteX472" fmla="*/ 338800 w 627144"/>
                  <a:gd name="connsiteY472" fmla="*/ 839728 h 1348382"/>
                  <a:gd name="connsiteX473" fmla="*/ 331679 w 627144"/>
                  <a:gd name="connsiteY473" fmla="*/ 839273 h 1348382"/>
                  <a:gd name="connsiteX474" fmla="*/ 330315 w 627144"/>
                  <a:gd name="connsiteY474" fmla="*/ 840031 h 1348382"/>
                  <a:gd name="connsiteX475" fmla="*/ 328951 w 627144"/>
                  <a:gd name="connsiteY475" fmla="*/ 841243 h 1348382"/>
                  <a:gd name="connsiteX476" fmla="*/ 326375 w 627144"/>
                  <a:gd name="connsiteY476" fmla="*/ 842455 h 1348382"/>
                  <a:gd name="connsiteX477" fmla="*/ 324103 w 627144"/>
                  <a:gd name="connsiteY477" fmla="*/ 843970 h 1348382"/>
                  <a:gd name="connsiteX478" fmla="*/ 321982 w 627144"/>
                  <a:gd name="connsiteY478" fmla="*/ 847152 h 1348382"/>
                  <a:gd name="connsiteX479" fmla="*/ 319557 w 627144"/>
                  <a:gd name="connsiteY479" fmla="*/ 850031 h 1348382"/>
                  <a:gd name="connsiteX480" fmla="*/ 316678 w 627144"/>
                  <a:gd name="connsiteY480" fmla="*/ 852001 h 1348382"/>
                  <a:gd name="connsiteX481" fmla="*/ 313497 w 627144"/>
                  <a:gd name="connsiteY481" fmla="*/ 853061 h 1348382"/>
                  <a:gd name="connsiteX482" fmla="*/ 311830 w 627144"/>
                  <a:gd name="connsiteY482" fmla="*/ 853213 h 1348382"/>
                  <a:gd name="connsiteX483" fmla="*/ 308799 w 627144"/>
                  <a:gd name="connsiteY483" fmla="*/ 852910 h 1348382"/>
                  <a:gd name="connsiteX484" fmla="*/ 298041 w 627144"/>
                  <a:gd name="connsiteY484" fmla="*/ 849880 h 1348382"/>
                  <a:gd name="connsiteX485" fmla="*/ 293799 w 627144"/>
                  <a:gd name="connsiteY485" fmla="*/ 848062 h 1348382"/>
                  <a:gd name="connsiteX486" fmla="*/ 285011 w 627144"/>
                  <a:gd name="connsiteY486" fmla="*/ 843364 h 1348382"/>
                  <a:gd name="connsiteX487" fmla="*/ 283646 w 627144"/>
                  <a:gd name="connsiteY487" fmla="*/ 842909 h 1348382"/>
                  <a:gd name="connsiteX488" fmla="*/ 282283 w 627144"/>
                  <a:gd name="connsiteY488" fmla="*/ 843061 h 1348382"/>
                  <a:gd name="connsiteX489" fmla="*/ 280010 w 627144"/>
                  <a:gd name="connsiteY489" fmla="*/ 842304 h 1348382"/>
                  <a:gd name="connsiteX490" fmla="*/ 278040 w 627144"/>
                  <a:gd name="connsiteY490" fmla="*/ 840940 h 1348382"/>
                  <a:gd name="connsiteX491" fmla="*/ 277889 w 627144"/>
                  <a:gd name="connsiteY491" fmla="*/ 840182 h 1348382"/>
                  <a:gd name="connsiteX492" fmla="*/ 278495 w 627144"/>
                  <a:gd name="connsiteY492" fmla="*/ 839728 h 1348382"/>
                  <a:gd name="connsiteX493" fmla="*/ 280617 w 627144"/>
                  <a:gd name="connsiteY493" fmla="*/ 840485 h 1348382"/>
                  <a:gd name="connsiteX494" fmla="*/ 280162 w 627144"/>
                  <a:gd name="connsiteY494" fmla="*/ 838970 h 1348382"/>
                  <a:gd name="connsiteX495" fmla="*/ 276829 w 627144"/>
                  <a:gd name="connsiteY495" fmla="*/ 835788 h 1348382"/>
                  <a:gd name="connsiteX496" fmla="*/ 275010 w 627144"/>
                  <a:gd name="connsiteY496" fmla="*/ 828515 h 1348382"/>
                  <a:gd name="connsiteX497" fmla="*/ 273798 w 627144"/>
                  <a:gd name="connsiteY497" fmla="*/ 820788 h 1348382"/>
                  <a:gd name="connsiteX498" fmla="*/ 272889 w 627144"/>
                  <a:gd name="connsiteY498" fmla="*/ 818212 h 1348382"/>
                  <a:gd name="connsiteX499" fmla="*/ 271222 w 627144"/>
                  <a:gd name="connsiteY499" fmla="*/ 815939 h 1348382"/>
                  <a:gd name="connsiteX500" fmla="*/ 270919 w 627144"/>
                  <a:gd name="connsiteY500" fmla="*/ 813818 h 1348382"/>
                  <a:gd name="connsiteX501" fmla="*/ 268494 w 627144"/>
                  <a:gd name="connsiteY501" fmla="*/ 814121 h 1348382"/>
                  <a:gd name="connsiteX502" fmla="*/ 264252 w 627144"/>
                  <a:gd name="connsiteY502" fmla="*/ 808817 h 1348382"/>
                  <a:gd name="connsiteX503" fmla="*/ 263495 w 627144"/>
                  <a:gd name="connsiteY503" fmla="*/ 806999 h 1348382"/>
                  <a:gd name="connsiteX504" fmla="*/ 262434 w 627144"/>
                  <a:gd name="connsiteY504" fmla="*/ 805484 h 1348382"/>
                  <a:gd name="connsiteX505" fmla="*/ 260767 w 627144"/>
                  <a:gd name="connsiteY505" fmla="*/ 806242 h 1348382"/>
                  <a:gd name="connsiteX506" fmla="*/ 260313 w 627144"/>
                  <a:gd name="connsiteY506" fmla="*/ 807908 h 1348382"/>
                  <a:gd name="connsiteX507" fmla="*/ 261373 w 627144"/>
                  <a:gd name="connsiteY507" fmla="*/ 808969 h 1348382"/>
                  <a:gd name="connsiteX508" fmla="*/ 262282 w 627144"/>
                  <a:gd name="connsiteY508" fmla="*/ 810333 h 1348382"/>
                  <a:gd name="connsiteX509" fmla="*/ 263040 w 627144"/>
                  <a:gd name="connsiteY509" fmla="*/ 812000 h 1348382"/>
                  <a:gd name="connsiteX510" fmla="*/ 263495 w 627144"/>
                  <a:gd name="connsiteY510" fmla="*/ 813818 h 1348382"/>
                  <a:gd name="connsiteX511" fmla="*/ 263192 w 627144"/>
                  <a:gd name="connsiteY511" fmla="*/ 815636 h 1348382"/>
                  <a:gd name="connsiteX512" fmla="*/ 263192 w 627144"/>
                  <a:gd name="connsiteY512" fmla="*/ 817454 h 1348382"/>
                  <a:gd name="connsiteX513" fmla="*/ 264858 w 627144"/>
                  <a:gd name="connsiteY513" fmla="*/ 823060 h 1348382"/>
                  <a:gd name="connsiteX514" fmla="*/ 265313 w 627144"/>
                  <a:gd name="connsiteY514" fmla="*/ 826545 h 1348382"/>
                  <a:gd name="connsiteX515" fmla="*/ 264555 w 627144"/>
                  <a:gd name="connsiteY515" fmla="*/ 827909 h 1348382"/>
                  <a:gd name="connsiteX516" fmla="*/ 262282 w 627144"/>
                  <a:gd name="connsiteY516" fmla="*/ 828364 h 1348382"/>
                  <a:gd name="connsiteX517" fmla="*/ 260161 w 627144"/>
                  <a:gd name="connsiteY517" fmla="*/ 828061 h 1348382"/>
                  <a:gd name="connsiteX518" fmla="*/ 259100 w 627144"/>
                  <a:gd name="connsiteY518" fmla="*/ 826394 h 1348382"/>
                  <a:gd name="connsiteX519" fmla="*/ 258494 w 627144"/>
                  <a:gd name="connsiteY519" fmla="*/ 822757 h 1348382"/>
                  <a:gd name="connsiteX520" fmla="*/ 257737 w 627144"/>
                  <a:gd name="connsiteY520" fmla="*/ 821242 h 1348382"/>
                  <a:gd name="connsiteX521" fmla="*/ 256221 w 627144"/>
                  <a:gd name="connsiteY521" fmla="*/ 820485 h 1348382"/>
                  <a:gd name="connsiteX522" fmla="*/ 250767 w 627144"/>
                  <a:gd name="connsiteY522" fmla="*/ 818666 h 1348382"/>
                  <a:gd name="connsiteX523" fmla="*/ 248191 w 627144"/>
                  <a:gd name="connsiteY523" fmla="*/ 816848 h 1348382"/>
                  <a:gd name="connsiteX524" fmla="*/ 247282 w 627144"/>
                  <a:gd name="connsiteY524" fmla="*/ 817303 h 1348382"/>
                  <a:gd name="connsiteX525" fmla="*/ 246525 w 627144"/>
                  <a:gd name="connsiteY525" fmla="*/ 818666 h 1348382"/>
                  <a:gd name="connsiteX526" fmla="*/ 245464 w 627144"/>
                  <a:gd name="connsiteY526" fmla="*/ 817454 h 1348382"/>
                  <a:gd name="connsiteX527" fmla="*/ 244100 w 627144"/>
                  <a:gd name="connsiteY527" fmla="*/ 816848 h 1348382"/>
                  <a:gd name="connsiteX528" fmla="*/ 241978 w 627144"/>
                  <a:gd name="connsiteY528" fmla="*/ 816545 h 1348382"/>
                  <a:gd name="connsiteX529" fmla="*/ 241827 w 627144"/>
                  <a:gd name="connsiteY529" fmla="*/ 815181 h 1348382"/>
                  <a:gd name="connsiteX530" fmla="*/ 242737 w 627144"/>
                  <a:gd name="connsiteY530" fmla="*/ 814424 h 1348382"/>
                  <a:gd name="connsiteX531" fmla="*/ 243494 w 627144"/>
                  <a:gd name="connsiteY531" fmla="*/ 810484 h 1348382"/>
                  <a:gd name="connsiteX532" fmla="*/ 244705 w 627144"/>
                  <a:gd name="connsiteY532" fmla="*/ 809272 h 1348382"/>
                  <a:gd name="connsiteX533" fmla="*/ 242887 w 627144"/>
                  <a:gd name="connsiteY533" fmla="*/ 805484 h 1348382"/>
                  <a:gd name="connsiteX534" fmla="*/ 243646 w 627144"/>
                  <a:gd name="connsiteY534" fmla="*/ 803969 h 1348382"/>
                  <a:gd name="connsiteX535" fmla="*/ 243494 w 627144"/>
                  <a:gd name="connsiteY535" fmla="*/ 802302 h 1348382"/>
                  <a:gd name="connsiteX536" fmla="*/ 244251 w 627144"/>
                  <a:gd name="connsiteY536" fmla="*/ 799726 h 1348382"/>
                  <a:gd name="connsiteX537" fmla="*/ 238797 w 627144"/>
                  <a:gd name="connsiteY537" fmla="*/ 792605 h 1348382"/>
                  <a:gd name="connsiteX538" fmla="*/ 237281 w 627144"/>
                  <a:gd name="connsiteY538" fmla="*/ 790332 h 1348382"/>
                  <a:gd name="connsiteX539" fmla="*/ 235311 w 627144"/>
                  <a:gd name="connsiteY539" fmla="*/ 786544 h 1348382"/>
                  <a:gd name="connsiteX540" fmla="*/ 233039 w 627144"/>
                  <a:gd name="connsiteY540" fmla="*/ 783816 h 1348382"/>
                  <a:gd name="connsiteX541" fmla="*/ 232887 w 627144"/>
                  <a:gd name="connsiteY541" fmla="*/ 783059 h 1348382"/>
                  <a:gd name="connsiteX542" fmla="*/ 236827 w 627144"/>
                  <a:gd name="connsiteY542" fmla="*/ 783665 h 1348382"/>
                  <a:gd name="connsiteX543" fmla="*/ 238190 w 627144"/>
                  <a:gd name="connsiteY543" fmla="*/ 783362 h 1348382"/>
                  <a:gd name="connsiteX544" fmla="*/ 236220 w 627144"/>
                  <a:gd name="connsiteY544" fmla="*/ 779726 h 1348382"/>
                  <a:gd name="connsiteX545" fmla="*/ 236827 w 627144"/>
                  <a:gd name="connsiteY545" fmla="*/ 778513 h 1348382"/>
                  <a:gd name="connsiteX546" fmla="*/ 237129 w 627144"/>
                  <a:gd name="connsiteY546" fmla="*/ 777149 h 1348382"/>
                  <a:gd name="connsiteX547" fmla="*/ 235009 w 627144"/>
                  <a:gd name="connsiteY547" fmla="*/ 773210 h 1348382"/>
                  <a:gd name="connsiteX548" fmla="*/ 233796 w 627144"/>
                  <a:gd name="connsiteY548" fmla="*/ 771847 h 1348382"/>
                  <a:gd name="connsiteX549" fmla="*/ 232887 w 627144"/>
                  <a:gd name="connsiteY549" fmla="*/ 770483 h 1348382"/>
                  <a:gd name="connsiteX550" fmla="*/ 233039 w 627144"/>
                  <a:gd name="connsiteY550" fmla="*/ 770483 h 1348382"/>
                  <a:gd name="connsiteX551" fmla="*/ 232432 w 627144"/>
                  <a:gd name="connsiteY551" fmla="*/ 769119 h 1348382"/>
                  <a:gd name="connsiteX552" fmla="*/ 230918 w 627144"/>
                  <a:gd name="connsiteY552" fmla="*/ 766695 h 1348382"/>
                  <a:gd name="connsiteX553" fmla="*/ 229857 w 627144"/>
                  <a:gd name="connsiteY553" fmla="*/ 766846 h 1348382"/>
                  <a:gd name="connsiteX554" fmla="*/ 227735 w 627144"/>
                  <a:gd name="connsiteY554" fmla="*/ 768513 h 1348382"/>
                  <a:gd name="connsiteX555" fmla="*/ 226069 w 627144"/>
                  <a:gd name="connsiteY555" fmla="*/ 768210 h 1348382"/>
                  <a:gd name="connsiteX556" fmla="*/ 225463 w 627144"/>
                  <a:gd name="connsiteY556" fmla="*/ 766998 h 1348382"/>
                  <a:gd name="connsiteX557" fmla="*/ 225160 w 627144"/>
                  <a:gd name="connsiteY557" fmla="*/ 765634 h 1348382"/>
                  <a:gd name="connsiteX558" fmla="*/ 225463 w 627144"/>
                  <a:gd name="connsiteY558" fmla="*/ 764271 h 1348382"/>
                  <a:gd name="connsiteX559" fmla="*/ 225008 w 627144"/>
                  <a:gd name="connsiteY559" fmla="*/ 763361 h 1348382"/>
                  <a:gd name="connsiteX560" fmla="*/ 220008 w 627144"/>
                  <a:gd name="connsiteY560" fmla="*/ 760785 h 1348382"/>
                  <a:gd name="connsiteX561" fmla="*/ 217887 w 627144"/>
                  <a:gd name="connsiteY561" fmla="*/ 759876 h 1348382"/>
                  <a:gd name="connsiteX562" fmla="*/ 216978 w 627144"/>
                  <a:gd name="connsiteY562" fmla="*/ 760331 h 1348382"/>
                  <a:gd name="connsiteX563" fmla="*/ 216220 w 627144"/>
                  <a:gd name="connsiteY563" fmla="*/ 761240 h 1348382"/>
                  <a:gd name="connsiteX564" fmla="*/ 215008 w 627144"/>
                  <a:gd name="connsiteY564" fmla="*/ 760785 h 1348382"/>
                  <a:gd name="connsiteX565" fmla="*/ 213796 w 627144"/>
                  <a:gd name="connsiteY565" fmla="*/ 759270 h 1348382"/>
                  <a:gd name="connsiteX566" fmla="*/ 207734 w 627144"/>
                  <a:gd name="connsiteY566" fmla="*/ 757452 h 1348382"/>
                  <a:gd name="connsiteX567" fmla="*/ 206825 w 627144"/>
                  <a:gd name="connsiteY567" fmla="*/ 756846 h 1348382"/>
                  <a:gd name="connsiteX568" fmla="*/ 207129 w 627144"/>
                  <a:gd name="connsiteY568" fmla="*/ 754270 h 1348382"/>
                  <a:gd name="connsiteX569" fmla="*/ 205310 w 627144"/>
                  <a:gd name="connsiteY569" fmla="*/ 755937 h 1348382"/>
                  <a:gd name="connsiteX570" fmla="*/ 204250 w 627144"/>
                  <a:gd name="connsiteY570" fmla="*/ 757452 h 1348382"/>
                  <a:gd name="connsiteX571" fmla="*/ 202735 w 627144"/>
                  <a:gd name="connsiteY571" fmla="*/ 758513 h 1348382"/>
                  <a:gd name="connsiteX572" fmla="*/ 202280 w 627144"/>
                  <a:gd name="connsiteY572" fmla="*/ 757149 h 1348382"/>
                  <a:gd name="connsiteX573" fmla="*/ 201522 w 627144"/>
                  <a:gd name="connsiteY573" fmla="*/ 756088 h 1348382"/>
                  <a:gd name="connsiteX574" fmla="*/ 199856 w 627144"/>
                  <a:gd name="connsiteY574" fmla="*/ 754725 h 1348382"/>
                  <a:gd name="connsiteX575" fmla="*/ 199553 w 627144"/>
                  <a:gd name="connsiteY575" fmla="*/ 753361 h 1348382"/>
                  <a:gd name="connsiteX576" fmla="*/ 196370 w 627144"/>
                  <a:gd name="connsiteY576" fmla="*/ 748512 h 1348382"/>
                  <a:gd name="connsiteX577" fmla="*/ 194855 w 627144"/>
                  <a:gd name="connsiteY577" fmla="*/ 746845 h 1348382"/>
                  <a:gd name="connsiteX578" fmla="*/ 193795 w 627144"/>
                  <a:gd name="connsiteY578" fmla="*/ 745027 h 1348382"/>
                  <a:gd name="connsiteX579" fmla="*/ 195916 w 627144"/>
                  <a:gd name="connsiteY579" fmla="*/ 741694 h 1348382"/>
                  <a:gd name="connsiteX580" fmla="*/ 191219 w 627144"/>
                  <a:gd name="connsiteY580" fmla="*/ 741845 h 1348382"/>
                  <a:gd name="connsiteX581" fmla="*/ 186674 w 627144"/>
                  <a:gd name="connsiteY581" fmla="*/ 742603 h 1348382"/>
                  <a:gd name="connsiteX582" fmla="*/ 190916 w 627144"/>
                  <a:gd name="connsiteY582" fmla="*/ 748058 h 1348382"/>
                  <a:gd name="connsiteX583" fmla="*/ 195461 w 627144"/>
                  <a:gd name="connsiteY583" fmla="*/ 753209 h 1348382"/>
                  <a:gd name="connsiteX584" fmla="*/ 197886 w 627144"/>
                  <a:gd name="connsiteY584" fmla="*/ 756391 h 1348382"/>
                  <a:gd name="connsiteX585" fmla="*/ 199856 w 627144"/>
                  <a:gd name="connsiteY585" fmla="*/ 759876 h 1348382"/>
                  <a:gd name="connsiteX586" fmla="*/ 199856 w 627144"/>
                  <a:gd name="connsiteY586" fmla="*/ 763210 h 1348382"/>
                  <a:gd name="connsiteX587" fmla="*/ 197886 w 627144"/>
                  <a:gd name="connsiteY587" fmla="*/ 765785 h 1348382"/>
                  <a:gd name="connsiteX588" fmla="*/ 199099 w 627144"/>
                  <a:gd name="connsiteY588" fmla="*/ 767149 h 1348382"/>
                  <a:gd name="connsiteX589" fmla="*/ 200917 w 627144"/>
                  <a:gd name="connsiteY589" fmla="*/ 769725 h 1348382"/>
                  <a:gd name="connsiteX590" fmla="*/ 202128 w 627144"/>
                  <a:gd name="connsiteY590" fmla="*/ 770028 h 1348382"/>
                  <a:gd name="connsiteX591" fmla="*/ 202583 w 627144"/>
                  <a:gd name="connsiteY591" fmla="*/ 770786 h 1348382"/>
                  <a:gd name="connsiteX592" fmla="*/ 202583 w 627144"/>
                  <a:gd name="connsiteY592" fmla="*/ 772150 h 1348382"/>
                  <a:gd name="connsiteX593" fmla="*/ 203189 w 627144"/>
                  <a:gd name="connsiteY593" fmla="*/ 773210 h 1348382"/>
                  <a:gd name="connsiteX594" fmla="*/ 204856 w 627144"/>
                  <a:gd name="connsiteY594" fmla="*/ 775028 h 1348382"/>
                  <a:gd name="connsiteX595" fmla="*/ 205614 w 627144"/>
                  <a:gd name="connsiteY595" fmla="*/ 774422 h 1348382"/>
                  <a:gd name="connsiteX596" fmla="*/ 207129 w 627144"/>
                  <a:gd name="connsiteY596" fmla="*/ 771847 h 1348382"/>
                  <a:gd name="connsiteX597" fmla="*/ 208341 w 627144"/>
                  <a:gd name="connsiteY597" fmla="*/ 770634 h 1348382"/>
                  <a:gd name="connsiteX598" fmla="*/ 209553 w 627144"/>
                  <a:gd name="connsiteY598" fmla="*/ 769573 h 1348382"/>
                  <a:gd name="connsiteX599" fmla="*/ 210613 w 627144"/>
                  <a:gd name="connsiteY599" fmla="*/ 768968 h 1348382"/>
                  <a:gd name="connsiteX600" fmla="*/ 211826 w 627144"/>
                  <a:gd name="connsiteY600" fmla="*/ 769119 h 1348382"/>
                  <a:gd name="connsiteX601" fmla="*/ 211372 w 627144"/>
                  <a:gd name="connsiteY601" fmla="*/ 770331 h 1348382"/>
                  <a:gd name="connsiteX602" fmla="*/ 210765 w 627144"/>
                  <a:gd name="connsiteY602" fmla="*/ 771240 h 1348382"/>
                  <a:gd name="connsiteX603" fmla="*/ 207886 w 627144"/>
                  <a:gd name="connsiteY603" fmla="*/ 773361 h 1348382"/>
                  <a:gd name="connsiteX604" fmla="*/ 206068 w 627144"/>
                  <a:gd name="connsiteY604" fmla="*/ 775938 h 1348382"/>
                  <a:gd name="connsiteX605" fmla="*/ 220614 w 627144"/>
                  <a:gd name="connsiteY605" fmla="*/ 795635 h 1348382"/>
                  <a:gd name="connsiteX606" fmla="*/ 221827 w 627144"/>
                  <a:gd name="connsiteY606" fmla="*/ 797605 h 1348382"/>
                  <a:gd name="connsiteX607" fmla="*/ 223493 w 627144"/>
                  <a:gd name="connsiteY607" fmla="*/ 801393 h 1348382"/>
                  <a:gd name="connsiteX608" fmla="*/ 224706 w 627144"/>
                  <a:gd name="connsiteY608" fmla="*/ 802302 h 1348382"/>
                  <a:gd name="connsiteX609" fmla="*/ 226069 w 627144"/>
                  <a:gd name="connsiteY609" fmla="*/ 801847 h 1348382"/>
                  <a:gd name="connsiteX610" fmla="*/ 226674 w 627144"/>
                  <a:gd name="connsiteY610" fmla="*/ 800332 h 1348382"/>
                  <a:gd name="connsiteX611" fmla="*/ 226069 w 627144"/>
                  <a:gd name="connsiteY611" fmla="*/ 799120 h 1348382"/>
                  <a:gd name="connsiteX612" fmla="*/ 222281 w 627144"/>
                  <a:gd name="connsiteY612" fmla="*/ 794726 h 1348382"/>
                  <a:gd name="connsiteX613" fmla="*/ 219857 w 627144"/>
                  <a:gd name="connsiteY613" fmla="*/ 790787 h 1348382"/>
                  <a:gd name="connsiteX614" fmla="*/ 219553 w 627144"/>
                  <a:gd name="connsiteY614" fmla="*/ 788817 h 1348382"/>
                  <a:gd name="connsiteX615" fmla="*/ 219705 w 627144"/>
                  <a:gd name="connsiteY615" fmla="*/ 787453 h 1348382"/>
                  <a:gd name="connsiteX616" fmla="*/ 221220 w 627144"/>
                  <a:gd name="connsiteY616" fmla="*/ 790938 h 1348382"/>
                  <a:gd name="connsiteX617" fmla="*/ 223038 w 627144"/>
                  <a:gd name="connsiteY617" fmla="*/ 794120 h 1348382"/>
                  <a:gd name="connsiteX618" fmla="*/ 228948 w 627144"/>
                  <a:gd name="connsiteY618" fmla="*/ 798059 h 1348382"/>
                  <a:gd name="connsiteX619" fmla="*/ 229553 w 627144"/>
                  <a:gd name="connsiteY619" fmla="*/ 797908 h 1348382"/>
                  <a:gd name="connsiteX620" fmla="*/ 228796 w 627144"/>
                  <a:gd name="connsiteY620" fmla="*/ 796393 h 1348382"/>
                  <a:gd name="connsiteX621" fmla="*/ 229251 w 627144"/>
                  <a:gd name="connsiteY621" fmla="*/ 795332 h 1348382"/>
                  <a:gd name="connsiteX622" fmla="*/ 230160 w 627144"/>
                  <a:gd name="connsiteY622" fmla="*/ 795635 h 1348382"/>
                  <a:gd name="connsiteX623" fmla="*/ 232584 w 627144"/>
                  <a:gd name="connsiteY623" fmla="*/ 797757 h 1348382"/>
                  <a:gd name="connsiteX624" fmla="*/ 232584 w 627144"/>
                  <a:gd name="connsiteY624" fmla="*/ 798817 h 1348382"/>
                  <a:gd name="connsiteX625" fmla="*/ 231373 w 627144"/>
                  <a:gd name="connsiteY625" fmla="*/ 800332 h 1348382"/>
                  <a:gd name="connsiteX626" fmla="*/ 231373 w 627144"/>
                  <a:gd name="connsiteY626" fmla="*/ 801999 h 1348382"/>
                  <a:gd name="connsiteX627" fmla="*/ 232887 w 627144"/>
                  <a:gd name="connsiteY627" fmla="*/ 802908 h 1348382"/>
                  <a:gd name="connsiteX628" fmla="*/ 233948 w 627144"/>
                  <a:gd name="connsiteY628" fmla="*/ 804272 h 1348382"/>
                  <a:gd name="connsiteX629" fmla="*/ 234100 w 627144"/>
                  <a:gd name="connsiteY629" fmla="*/ 806090 h 1348382"/>
                  <a:gd name="connsiteX630" fmla="*/ 233493 w 627144"/>
                  <a:gd name="connsiteY630" fmla="*/ 807757 h 1348382"/>
                  <a:gd name="connsiteX631" fmla="*/ 232736 w 627144"/>
                  <a:gd name="connsiteY631" fmla="*/ 808969 h 1348382"/>
                  <a:gd name="connsiteX632" fmla="*/ 228494 w 627144"/>
                  <a:gd name="connsiteY632" fmla="*/ 805333 h 1348382"/>
                  <a:gd name="connsiteX633" fmla="*/ 226978 w 627144"/>
                  <a:gd name="connsiteY633" fmla="*/ 805635 h 1348382"/>
                  <a:gd name="connsiteX634" fmla="*/ 232282 w 627144"/>
                  <a:gd name="connsiteY634" fmla="*/ 812909 h 1348382"/>
                  <a:gd name="connsiteX635" fmla="*/ 232887 w 627144"/>
                  <a:gd name="connsiteY635" fmla="*/ 814272 h 1348382"/>
                  <a:gd name="connsiteX636" fmla="*/ 233948 w 627144"/>
                  <a:gd name="connsiteY636" fmla="*/ 817909 h 1348382"/>
                  <a:gd name="connsiteX637" fmla="*/ 234857 w 627144"/>
                  <a:gd name="connsiteY637" fmla="*/ 819727 h 1348382"/>
                  <a:gd name="connsiteX638" fmla="*/ 236524 w 627144"/>
                  <a:gd name="connsiteY638" fmla="*/ 820788 h 1348382"/>
                  <a:gd name="connsiteX639" fmla="*/ 238342 w 627144"/>
                  <a:gd name="connsiteY639" fmla="*/ 821242 h 1348382"/>
                  <a:gd name="connsiteX640" fmla="*/ 240160 w 627144"/>
                  <a:gd name="connsiteY640" fmla="*/ 820788 h 1348382"/>
                  <a:gd name="connsiteX641" fmla="*/ 241978 w 627144"/>
                  <a:gd name="connsiteY641" fmla="*/ 820030 h 1348382"/>
                  <a:gd name="connsiteX642" fmla="*/ 243342 w 627144"/>
                  <a:gd name="connsiteY642" fmla="*/ 819878 h 1348382"/>
                  <a:gd name="connsiteX643" fmla="*/ 247434 w 627144"/>
                  <a:gd name="connsiteY643" fmla="*/ 824273 h 1348382"/>
                  <a:gd name="connsiteX644" fmla="*/ 245615 w 627144"/>
                  <a:gd name="connsiteY644" fmla="*/ 824424 h 1348382"/>
                  <a:gd name="connsiteX645" fmla="*/ 243948 w 627144"/>
                  <a:gd name="connsiteY645" fmla="*/ 825030 h 1348382"/>
                  <a:gd name="connsiteX646" fmla="*/ 242433 w 627144"/>
                  <a:gd name="connsiteY646" fmla="*/ 826242 h 1348382"/>
                  <a:gd name="connsiteX647" fmla="*/ 242130 w 627144"/>
                  <a:gd name="connsiteY647" fmla="*/ 828364 h 1348382"/>
                  <a:gd name="connsiteX648" fmla="*/ 240160 w 627144"/>
                  <a:gd name="connsiteY648" fmla="*/ 824424 h 1348382"/>
                  <a:gd name="connsiteX649" fmla="*/ 238797 w 627144"/>
                  <a:gd name="connsiteY649" fmla="*/ 823818 h 1348382"/>
                  <a:gd name="connsiteX650" fmla="*/ 238190 w 627144"/>
                  <a:gd name="connsiteY650" fmla="*/ 824727 h 1348382"/>
                  <a:gd name="connsiteX651" fmla="*/ 240615 w 627144"/>
                  <a:gd name="connsiteY651" fmla="*/ 830182 h 1348382"/>
                  <a:gd name="connsiteX652" fmla="*/ 241524 w 627144"/>
                  <a:gd name="connsiteY652" fmla="*/ 831849 h 1348382"/>
                  <a:gd name="connsiteX653" fmla="*/ 243191 w 627144"/>
                  <a:gd name="connsiteY653" fmla="*/ 832303 h 1348382"/>
                  <a:gd name="connsiteX654" fmla="*/ 242585 w 627144"/>
                  <a:gd name="connsiteY654" fmla="*/ 833970 h 1348382"/>
                  <a:gd name="connsiteX655" fmla="*/ 242130 w 627144"/>
                  <a:gd name="connsiteY655" fmla="*/ 835637 h 1348382"/>
                  <a:gd name="connsiteX656" fmla="*/ 242737 w 627144"/>
                  <a:gd name="connsiteY656" fmla="*/ 837455 h 1348382"/>
                  <a:gd name="connsiteX657" fmla="*/ 245312 w 627144"/>
                  <a:gd name="connsiteY657" fmla="*/ 843213 h 1348382"/>
                  <a:gd name="connsiteX658" fmla="*/ 247584 w 627144"/>
                  <a:gd name="connsiteY658" fmla="*/ 847001 h 1348382"/>
                  <a:gd name="connsiteX659" fmla="*/ 246221 w 627144"/>
                  <a:gd name="connsiteY659" fmla="*/ 847455 h 1348382"/>
                  <a:gd name="connsiteX660" fmla="*/ 245009 w 627144"/>
                  <a:gd name="connsiteY660" fmla="*/ 848364 h 1348382"/>
                  <a:gd name="connsiteX661" fmla="*/ 244100 w 627144"/>
                  <a:gd name="connsiteY661" fmla="*/ 849880 h 1348382"/>
                  <a:gd name="connsiteX662" fmla="*/ 245161 w 627144"/>
                  <a:gd name="connsiteY662" fmla="*/ 853971 h 1348382"/>
                  <a:gd name="connsiteX663" fmla="*/ 244251 w 627144"/>
                  <a:gd name="connsiteY663" fmla="*/ 856395 h 1348382"/>
                  <a:gd name="connsiteX664" fmla="*/ 241676 w 627144"/>
                  <a:gd name="connsiteY664" fmla="*/ 860335 h 1348382"/>
                  <a:gd name="connsiteX665" fmla="*/ 240008 w 627144"/>
                  <a:gd name="connsiteY665" fmla="*/ 866698 h 1348382"/>
                  <a:gd name="connsiteX666" fmla="*/ 239099 w 627144"/>
                  <a:gd name="connsiteY666" fmla="*/ 872304 h 1348382"/>
                  <a:gd name="connsiteX667" fmla="*/ 238494 w 627144"/>
                  <a:gd name="connsiteY667" fmla="*/ 878062 h 1348382"/>
                  <a:gd name="connsiteX668" fmla="*/ 237584 w 627144"/>
                  <a:gd name="connsiteY668" fmla="*/ 879880 h 1348382"/>
                  <a:gd name="connsiteX669" fmla="*/ 234706 w 627144"/>
                  <a:gd name="connsiteY669" fmla="*/ 882608 h 1348382"/>
                  <a:gd name="connsiteX670" fmla="*/ 233039 w 627144"/>
                  <a:gd name="connsiteY670" fmla="*/ 883820 h 1348382"/>
                  <a:gd name="connsiteX671" fmla="*/ 231827 w 627144"/>
                  <a:gd name="connsiteY671" fmla="*/ 884123 h 1348382"/>
                  <a:gd name="connsiteX672" fmla="*/ 230614 w 627144"/>
                  <a:gd name="connsiteY672" fmla="*/ 884123 h 1348382"/>
                  <a:gd name="connsiteX673" fmla="*/ 224099 w 627144"/>
                  <a:gd name="connsiteY673" fmla="*/ 886093 h 1348382"/>
                  <a:gd name="connsiteX674" fmla="*/ 217887 w 627144"/>
                  <a:gd name="connsiteY674" fmla="*/ 889578 h 1348382"/>
                  <a:gd name="connsiteX675" fmla="*/ 216826 w 627144"/>
                  <a:gd name="connsiteY675" fmla="*/ 890487 h 1348382"/>
                  <a:gd name="connsiteX676" fmla="*/ 216220 w 627144"/>
                  <a:gd name="connsiteY676" fmla="*/ 891851 h 1348382"/>
                  <a:gd name="connsiteX677" fmla="*/ 215765 w 627144"/>
                  <a:gd name="connsiteY677" fmla="*/ 893518 h 1348382"/>
                  <a:gd name="connsiteX678" fmla="*/ 215765 w 627144"/>
                  <a:gd name="connsiteY678" fmla="*/ 895184 h 1348382"/>
                  <a:gd name="connsiteX679" fmla="*/ 216220 w 627144"/>
                  <a:gd name="connsiteY679" fmla="*/ 897002 h 1348382"/>
                  <a:gd name="connsiteX680" fmla="*/ 216978 w 627144"/>
                  <a:gd name="connsiteY680" fmla="*/ 898518 h 1348382"/>
                  <a:gd name="connsiteX681" fmla="*/ 220311 w 627144"/>
                  <a:gd name="connsiteY681" fmla="*/ 901245 h 1348382"/>
                  <a:gd name="connsiteX682" fmla="*/ 226220 w 627144"/>
                  <a:gd name="connsiteY682" fmla="*/ 903063 h 1348382"/>
                  <a:gd name="connsiteX683" fmla="*/ 231827 w 627144"/>
                  <a:gd name="connsiteY683" fmla="*/ 905488 h 1348382"/>
                  <a:gd name="connsiteX684" fmla="*/ 234706 w 627144"/>
                  <a:gd name="connsiteY684" fmla="*/ 908366 h 1348382"/>
                  <a:gd name="connsiteX685" fmla="*/ 237736 w 627144"/>
                  <a:gd name="connsiteY685" fmla="*/ 910791 h 1348382"/>
                  <a:gd name="connsiteX686" fmla="*/ 241069 w 627144"/>
                  <a:gd name="connsiteY686" fmla="*/ 911852 h 1348382"/>
                  <a:gd name="connsiteX687" fmla="*/ 244555 w 627144"/>
                  <a:gd name="connsiteY687" fmla="*/ 912306 h 1348382"/>
                  <a:gd name="connsiteX688" fmla="*/ 249858 w 627144"/>
                  <a:gd name="connsiteY688" fmla="*/ 915337 h 1348382"/>
                  <a:gd name="connsiteX689" fmla="*/ 253797 w 627144"/>
                  <a:gd name="connsiteY689" fmla="*/ 920640 h 1348382"/>
                  <a:gd name="connsiteX690" fmla="*/ 255312 w 627144"/>
                  <a:gd name="connsiteY690" fmla="*/ 923367 h 1348382"/>
                  <a:gd name="connsiteX691" fmla="*/ 256525 w 627144"/>
                  <a:gd name="connsiteY691" fmla="*/ 926246 h 1348382"/>
                  <a:gd name="connsiteX692" fmla="*/ 255010 w 627144"/>
                  <a:gd name="connsiteY692" fmla="*/ 933216 h 1348382"/>
                  <a:gd name="connsiteX693" fmla="*/ 253949 w 627144"/>
                  <a:gd name="connsiteY693" fmla="*/ 937004 h 1348382"/>
                  <a:gd name="connsiteX694" fmla="*/ 250009 w 627144"/>
                  <a:gd name="connsiteY694" fmla="*/ 944277 h 1348382"/>
                  <a:gd name="connsiteX695" fmla="*/ 245312 w 627144"/>
                  <a:gd name="connsiteY695" fmla="*/ 951095 h 1348382"/>
                  <a:gd name="connsiteX696" fmla="*/ 240917 w 627144"/>
                  <a:gd name="connsiteY696" fmla="*/ 956247 h 1348382"/>
                  <a:gd name="connsiteX697" fmla="*/ 240160 w 627144"/>
                  <a:gd name="connsiteY697" fmla="*/ 957308 h 1348382"/>
                  <a:gd name="connsiteX698" fmla="*/ 239554 w 627144"/>
                  <a:gd name="connsiteY698" fmla="*/ 958520 h 1348382"/>
                  <a:gd name="connsiteX699" fmla="*/ 239706 w 627144"/>
                  <a:gd name="connsiteY699" fmla="*/ 959278 h 1348382"/>
                  <a:gd name="connsiteX700" fmla="*/ 240463 w 627144"/>
                  <a:gd name="connsiteY700" fmla="*/ 959732 h 1348382"/>
                  <a:gd name="connsiteX701" fmla="*/ 242887 w 627144"/>
                  <a:gd name="connsiteY701" fmla="*/ 959732 h 1348382"/>
                  <a:gd name="connsiteX702" fmla="*/ 245161 w 627144"/>
                  <a:gd name="connsiteY702" fmla="*/ 958671 h 1348382"/>
                  <a:gd name="connsiteX703" fmla="*/ 244555 w 627144"/>
                  <a:gd name="connsiteY703" fmla="*/ 957762 h 1348382"/>
                  <a:gd name="connsiteX704" fmla="*/ 244857 w 627144"/>
                  <a:gd name="connsiteY704" fmla="*/ 956702 h 1348382"/>
                  <a:gd name="connsiteX705" fmla="*/ 245766 w 627144"/>
                  <a:gd name="connsiteY705" fmla="*/ 956399 h 1348382"/>
                  <a:gd name="connsiteX706" fmla="*/ 246675 w 627144"/>
                  <a:gd name="connsiteY706" fmla="*/ 957005 h 1348382"/>
                  <a:gd name="connsiteX707" fmla="*/ 245918 w 627144"/>
                  <a:gd name="connsiteY707" fmla="*/ 958217 h 1348382"/>
                  <a:gd name="connsiteX708" fmla="*/ 245918 w 627144"/>
                  <a:gd name="connsiteY708" fmla="*/ 962308 h 1348382"/>
                  <a:gd name="connsiteX709" fmla="*/ 246070 w 627144"/>
                  <a:gd name="connsiteY709" fmla="*/ 962914 h 1348382"/>
                  <a:gd name="connsiteX710" fmla="*/ 246675 w 627144"/>
                  <a:gd name="connsiteY710" fmla="*/ 963217 h 1348382"/>
                  <a:gd name="connsiteX711" fmla="*/ 250767 w 627144"/>
                  <a:gd name="connsiteY711" fmla="*/ 961853 h 1348382"/>
                  <a:gd name="connsiteX712" fmla="*/ 253797 w 627144"/>
                  <a:gd name="connsiteY712" fmla="*/ 962762 h 1348382"/>
                  <a:gd name="connsiteX713" fmla="*/ 254251 w 627144"/>
                  <a:gd name="connsiteY713" fmla="*/ 963823 h 1348382"/>
                  <a:gd name="connsiteX714" fmla="*/ 254858 w 627144"/>
                  <a:gd name="connsiteY714" fmla="*/ 966550 h 1348382"/>
                  <a:gd name="connsiteX715" fmla="*/ 255312 w 627144"/>
                  <a:gd name="connsiteY715" fmla="*/ 967763 h 1348382"/>
                  <a:gd name="connsiteX716" fmla="*/ 257737 w 627144"/>
                  <a:gd name="connsiteY716" fmla="*/ 968975 h 1348382"/>
                  <a:gd name="connsiteX717" fmla="*/ 259707 w 627144"/>
                  <a:gd name="connsiteY717" fmla="*/ 967914 h 1348382"/>
                  <a:gd name="connsiteX718" fmla="*/ 261525 w 627144"/>
                  <a:gd name="connsiteY718" fmla="*/ 966550 h 1348382"/>
                  <a:gd name="connsiteX719" fmla="*/ 268040 w 627144"/>
                  <a:gd name="connsiteY719" fmla="*/ 962459 h 1348382"/>
                  <a:gd name="connsiteX720" fmla="*/ 272282 w 627144"/>
                  <a:gd name="connsiteY720" fmla="*/ 959429 h 1348382"/>
                  <a:gd name="connsiteX721" fmla="*/ 276222 w 627144"/>
                  <a:gd name="connsiteY721" fmla="*/ 955944 h 1348382"/>
                  <a:gd name="connsiteX722" fmla="*/ 278344 w 627144"/>
                  <a:gd name="connsiteY722" fmla="*/ 953217 h 1348382"/>
                  <a:gd name="connsiteX723" fmla="*/ 280010 w 627144"/>
                  <a:gd name="connsiteY723" fmla="*/ 949883 h 1348382"/>
                  <a:gd name="connsiteX724" fmla="*/ 283646 w 627144"/>
                  <a:gd name="connsiteY724" fmla="*/ 944883 h 1348382"/>
                  <a:gd name="connsiteX725" fmla="*/ 285314 w 627144"/>
                  <a:gd name="connsiteY725" fmla="*/ 941398 h 1348382"/>
                  <a:gd name="connsiteX726" fmla="*/ 287283 w 627144"/>
                  <a:gd name="connsiteY726" fmla="*/ 938065 h 1348382"/>
                  <a:gd name="connsiteX727" fmla="*/ 289708 w 627144"/>
                  <a:gd name="connsiteY727" fmla="*/ 934883 h 1348382"/>
                  <a:gd name="connsiteX728" fmla="*/ 293344 w 627144"/>
                  <a:gd name="connsiteY728" fmla="*/ 930792 h 1348382"/>
                  <a:gd name="connsiteX729" fmla="*/ 295466 w 627144"/>
                  <a:gd name="connsiteY729" fmla="*/ 925943 h 1348382"/>
                  <a:gd name="connsiteX730" fmla="*/ 297738 w 627144"/>
                  <a:gd name="connsiteY730" fmla="*/ 923822 h 1348382"/>
                  <a:gd name="connsiteX731" fmla="*/ 299708 w 627144"/>
                  <a:gd name="connsiteY731" fmla="*/ 921549 h 1348382"/>
                  <a:gd name="connsiteX732" fmla="*/ 303193 w 627144"/>
                  <a:gd name="connsiteY732" fmla="*/ 913670 h 1348382"/>
                  <a:gd name="connsiteX733" fmla="*/ 307133 w 627144"/>
                  <a:gd name="connsiteY733" fmla="*/ 906094 h 1348382"/>
                  <a:gd name="connsiteX734" fmla="*/ 303193 w 627144"/>
                  <a:gd name="connsiteY734" fmla="*/ 903973 h 1348382"/>
                  <a:gd name="connsiteX735" fmla="*/ 302435 w 627144"/>
                  <a:gd name="connsiteY735" fmla="*/ 902306 h 1348382"/>
                  <a:gd name="connsiteX736" fmla="*/ 302284 w 627144"/>
                  <a:gd name="connsiteY736" fmla="*/ 900185 h 1348382"/>
                  <a:gd name="connsiteX737" fmla="*/ 302738 w 627144"/>
                  <a:gd name="connsiteY737" fmla="*/ 896245 h 1348382"/>
                  <a:gd name="connsiteX738" fmla="*/ 304860 w 627144"/>
                  <a:gd name="connsiteY738" fmla="*/ 893063 h 1348382"/>
                  <a:gd name="connsiteX739" fmla="*/ 306072 w 627144"/>
                  <a:gd name="connsiteY739" fmla="*/ 891548 h 1348382"/>
                  <a:gd name="connsiteX740" fmla="*/ 307435 w 627144"/>
                  <a:gd name="connsiteY740" fmla="*/ 890335 h 1348382"/>
                  <a:gd name="connsiteX741" fmla="*/ 311981 w 627144"/>
                  <a:gd name="connsiteY741" fmla="*/ 888063 h 1348382"/>
                  <a:gd name="connsiteX742" fmla="*/ 315011 w 627144"/>
                  <a:gd name="connsiteY742" fmla="*/ 887002 h 1348382"/>
                  <a:gd name="connsiteX743" fmla="*/ 318194 w 627144"/>
                  <a:gd name="connsiteY743" fmla="*/ 886699 h 1348382"/>
                  <a:gd name="connsiteX744" fmla="*/ 321830 w 627144"/>
                  <a:gd name="connsiteY744" fmla="*/ 887154 h 1348382"/>
                  <a:gd name="connsiteX745" fmla="*/ 325466 w 627144"/>
                  <a:gd name="connsiteY745" fmla="*/ 887911 h 1348382"/>
                  <a:gd name="connsiteX746" fmla="*/ 326679 w 627144"/>
                  <a:gd name="connsiteY746" fmla="*/ 888972 h 1348382"/>
                  <a:gd name="connsiteX747" fmla="*/ 327891 w 627144"/>
                  <a:gd name="connsiteY747" fmla="*/ 891548 h 1348382"/>
                  <a:gd name="connsiteX748" fmla="*/ 328800 w 627144"/>
                  <a:gd name="connsiteY748" fmla="*/ 892002 h 1348382"/>
                  <a:gd name="connsiteX749" fmla="*/ 330315 w 627144"/>
                  <a:gd name="connsiteY749" fmla="*/ 888972 h 1348382"/>
                  <a:gd name="connsiteX750" fmla="*/ 329861 w 627144"/>
                  <a:gd name="connsiteY750" fmla="*/ 887457 h 1348382"/>
                  <a:gd name="connsiteX751" fmla="*/ 328951 w 627144"/>
                  <a:gd name="connsiteY751" fmla="*/ 886396 h 1348382"/>
                  <a:gd name="connsiteX752" fmla="*/ 328800 w 627144"/>
                  <a:gd name="connsiteY752" fmla="*/ 885033 h 1348382"/>
                  <a:gd name="connsiteX753" fmla="*/ 329406 w 627144"/>
                  <a:gd name="connsiteY753" fmla="*/ 879880 h 1348382"/>
                  <a:gd name="connsiteX754" fmla="*/ 330618 w 627144"/>
                  <a:gd name="connsiteY754" fmla="*/ 875487 h 1348382"/>
                  <a:gd name="connsiteX755" fmla="*/ 333649 w 627144"/>
                  <a:gd name="connsiteY755" fmla="*/ 874578 h 1348382"/>
                  <a:gd name="connsiteX756" fmla="*/ 336225 w 627144"/>
                  <a:gd name="connsiteY756" fmla="*/ 872608 h 1348382"/>
                  <a:gd name="connsiteX757" fmla="*/ 338649 w 627144"/>
                  <a:gd name="connsiteY757" fmla="*/ 870032 h 1348382"/>
                  <a:gd name="connsiteX758" fmla="*/ 340013 w 627144"/>
                  <a:gd name="connsiteY758" fmla="*/ 866698 h 1348382"/>
                  <a:gd name="connsiteX759" fmla="*/ 340922 w 627144"/>
                  <a:gd name="connsiteY759" fmla="*/ 858971 h 1348382"/>
                  <a:gd name="connsiteX760" fmla="*/ 342134 w 627144"/>
                  <a:gd name="connsiteY760" fmla="*/ 851395 h 1348382"/>
                  <a:gd name="connsiteX761" fmla="*/ 343649 w 627144"/>
                  <a:gd name="connsiteY761" fmla="*/ 848062 h 1348382"/>
                  <a:gd name="connsiteX762" fmla="*/ 345467 w 627144"/>
                  <a:gd name="connsiteY762" fmla="*/ 845031 h 1348382"/>
                  <a:gd name="connsiteX763" fmla="*/ 346073 w 627144"/>
                  <a:gd name="connsiteY763" fmla="*/ 842909 h 1348382"/>
                  <a:gd name="connsiteX764" fmla="*/ 344406 w 627144"/>
                  <a:gd name="connsiteY764" fmla="*/ 841849 h 1348382"/>
                  <a:gd name="connsiteX765" fmla="*/ 341225 w 627144"/>
                  <a:gd name="connsiteY765" fmla="*/ 841395 h 1348382"/>
                  <a:gd name="connsiteX766" fmla="*/ 220766 w 627144"/>
                  <a:gd name="connsiteY766" fmla="*/ 942762 h 1348382"/>
                  <a:gd name="connsiteX767" fmla="*/ 220918 w 627144"/>
                  <a:gd name="connsiteY767" fmla="*/ 940338 h 1348382"/>
                  <a:gd name="connsiteX768" fmla="*/ 219250 w 627144"/>
                  <a:gd name="connsiteY768" fmla="*/ 941398 h 1348382"/>
                  <a:gd name="connsiteX769" fmla="*/ 218493 w 627144"/>
                  <a:gd name="connsiteY769" fmla="*/ 941550 h 1348382"/>
                  <a:gd name="connsiteX770" fmla="*/ 216826 w 627144"/>
                  <a:gd name="connsiteY770" fmla="*/ 942913 h 1348382"/>
                  <a:gd name="connsiteX771" fmla="*/ 216069 w 627144"/>
                  <a:gd name="connsiteY771" fmla="*/ 945792 h 1348382"/>
                  <a:gd name="connsiteX772" fmla="*/ 215917 w 627144"/>
                  <a:gd name="connsiteY772" fmla="*/ 947156 h 1348382"/>
                  <a:gd name="connsiteX773" fmla="*/ 219553 w 627144"/>
                  <a:gd name="connsiteY773" fmla="*/ 945338 h 1348382"/>
                  <a:gd name="connsiteX774" fmla="*/ 220766 w 627144"/>
                  <a:gd name="connsiteY774" fmla="*/ 942762 h 134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627144" h="1348382">
                    <a:moveTo>
                      <a:pt x="9243" y="1274440"/>
                    </a:moveTo>
                    <a:lnTo>
                      <a:pt x="5910" y="1274743"/>
                    </a:lnTo>
                    <a:lnTo>
                      <a:pt x="5910" y="1275956"/>
                    </a:lnTo>
                    <a:lnTo>
                      <a:pt x="5151" y="1279744"/>
                    </a:lnTo>
                    <a:lnTo>
                      <a:pt x="757" y="1282774"/>
                    </a:lnTo>
                    <a:lnTo>
                      <a:pt x="0" y="1284441"/>
                    </a:lnTo>
                    <a:lnTo>
                      <a:pt x="454" y="1284895"/>
                    </a:lnTo>
                    <a:lnTo>
                      <a:pt x="2272" y="1284895"/>
                    </a:lnTo>
                    <a:lnTo>
                      <a:pt x="3485" y="1283380"/>
                    </a:lnTo>
                    <a:lnTo>
                      <a:pt x="4091" y="1283683"/>
                    </a:lnTo>
                    <a:lnTo>
                      <a:pt x="5000" y="1285047"/>
                    </a:lnTo>
                    <a:lnTo>
                      <a:pt x="8182" y="1285956"/>
                    </a:lnTo>
                    <a:lnTo>
                      <a:pt x="9698" y="1285956"/>
                    </a:lnTo>
                    <a:lnTo>
                      <a:pt x="9091" y="1282926"/>
                    </a:lnTo>
                    <a:lnTo>
                      <a:pt x="8485" y="1282471"/>
                    </a:lnTo>
                    <a:lnTo>
                      <a:pt x="7879" y="1281107"/>
                    </a:lnTo>
                    <a:lnTo>
                      <a:pt x="8939" y="1280350"/>
                    </a:lnTo>
                    <a:lnTo>
                      <a:pt x="8637" y="1278835"/>
                    </a:lnTo>
                    <a:lnTo>
                      <a:pt x="8637" y="1277319"/>
                    </a:lnTo>
                    <a:lnTo>
                      <a:pt x="10000" y="1276107"/>
                    </a:lnTo>
                    <a:lnTo>
                      <a:pt x="10152" y="1275501"/>
                    </a:lnTo>
                    <a:lnTo>
                      <a:pt x="9848" y="1275047"/>
                    </a:lnTo>
                    <a:lnTo>
                      <a:pt x="9243" y="1274440"/>
                    </a:lnTo>
                    <a:close/>
                    <a:moveTo>
                      <a:pt x="19243" y="1105798"/>
                    </a:moveTo>
                    <a:lnTo>
                      <a:pt x="20607" y="1106556"/>
                    </a:lnTo>
                    <a:lnTo>
                      <a:pt x="21971" y="1106707"/>
                    </a:lnTo>
                    <a:lnTo>
                      <a:pt x="22880" y="1106707"/>
                    </a:lnTo>
                    <a:lnTo>
                      <a:pt x="23182" y="1105798"/>
                    </a:lnTo>
                    <a:lnTo>
                      <a:pt x="23334" y="1104131"/>
                    </a:lnTo>
                    <a:lnTo>
                      <a:pt x="22880" y="1103525"/>
                    </a:lnTo>
                    <a:lnTo>
                      <a:pt x="21667" y="1102768"/>
                    </a:lnTo>
                    <a:lnTo>
                      <a:pt x="18485" y="1103828"/>
                    </a:lnTo>
                    <a:lnTo>
                      <a:pt x="17576" y="1105647"/>
                    </a:lnTo>
                    <a:lnTo>
                      <a:pt x="18333" y="1105950"/>
                    </a:lnTo>
                    <a:lnTo>
                      <a:pt x="19243" y="1105798"/>
                    </a:lnTo>
                    <a:close/>
                    <a:moveTo>
                      <a:pt x="62123" y="1149739"/>
                    </a:moveTo>
                    <a:lnTo>
                      <a:pt x="61214" y="1148679"/>
                    </a:lnTo>
                    <a:lnTo>
                      <a:pt x="58942" y="1147921"/>
                    </a:lnTo>
                    <a:lnTo>
                      <a:pt x="58942" y="1146406"/>
                    </a:lnTo>
                    <a:lnTo>
                      <a:pt x="61821" y="1146860"/>
                    </a:lnTo>
                    <a:lnTo>
                      <a:pt x="61821" y="1145496"/>
                    </a:lnTo>
                    <a:lnTo>
                      <a:pt x="56669" y="1139739"/>
                    </a:lnTo>
                    <a:lnTo>
                      <a:pt x="51972" y="1139890"/>
                    </a:lnTo>
                    <a:lnTo>
                      <a:pt x="51517" y="1143224"/>
                    </a:lnTo>
                    <a:lnTo>
                      <a:pt x="52426" y="1147012"/>
                    </a:lnTo>
                    <a:lnTo>
                      <a:pt x="50759" y="1148679"/>
                    </a:lnTo>
                    <a:lnTo>
                      <a:pt x="50759" y="1150648"/>
                    </a:lnTo>
                    <a:lnTo>
                      <a:pt x="48335" y="1151709"/>
                    </a:lnTo>
                    <a:lnTo>
                      <a:pt x="47728" y="1153224"/>
                    </a:lnTo>
                    <a:lnTo>
                      <a:pt x="47728" y="1155042"/>
                    </a:lnTo>
                    <a:lnTo>
                      <a:pt x="45305" y="1157012"/>
                    </a:lnTo>
                    <a:lnTo>
                      <a:pt x="44850" y="1159133"/>
                    </a:lnTo>
                    <a:lnTo>
                      <a:pt x="45760" y="1159285"/>
                    </a:lnTo>
                    <a:lnTo>
                      <a:pt x="49093" y="1158527"/>
                    </a:lnTo>
                    <a:lnTo>
                      <a:pt x="52123" y="1156255"/>
                    </a:lnTo>
                    <a:lnTo>
                      <a:pt x="52881" y="1156103"/>
                    </a:lnTo>
                    <a:lnTo>
                      <a:pt x="55456" y="1156406"/>
                    </a:lnTo>
                    <a:lnTo>
                      <a:pt x="58487" y="1154285"/>
                    </a:lnTo>
                    <a:lnTo>
                      <a:pt x="63032" y="1153678"/>
                    </a:lnTo>
                    <a:lnTo>
                      <a:pt x="64548" y="1152618"/>
                    </a:lnTo>
                    <a:lnTo>
                      <a:pt x="65154" y="1151103"/>
                    </a:lnTo>
                    <a:lnTo>
                      <a:pt x="64700" y="1149436"/>
                    </a:lnTo>
                    <a:lnTo>
                      <a:pt x="62123" y="1149739"/>
                    </a:lnTo>
                    <a:close/>
                    <a:moveTo>
                      <a:pt x="31062" y="1092161"/>
                    </a:moveTo>
                    <a:lnTo>
                      <a:pt x="29849" y="1088070"/>
                    </a:lnTo>
                    <a:lnTo>
                      <a:pt x="29395" y="1088070"/>
                    </a:lnTo>
                    <a:lnTo>
                      <a:pt x="27425" y="1090040"/>
                    </a:lnTo>
                    <a:lnTo>
                      <a:pt x="28486" y="1091252"/>
                    </a:lnTo>
                    <a:lnTo>
                      <a:pt x="31062" y="1092161"/>
                    </a:lnTo>
                    <a:close/>
                    <a:moveTo>
                      <a:pt x="88639" y="1345352"/>
                    </a:moveTo>
                    <a:lnTo>
                      <a:pt x="87276" y="1345807"/>
                    </a:lnTo>
                    <a:lnTo>
                      <a:pt x="85760" y="1345655"/>
                    </a:lnTo>
                    <a:lnTo>
                      <a:pt x="86215" y="1346867"/>
                    </a:lnTo>
                    <a:lnTo>
                      <a:pt x="87276" y="1347776"/>
                    </a:lnTo>
                    <a:lnTo>
                      <a:pt x="88639" y="1348383"/>
                    </a:lnTo>
                    <a:lnTo>
                      <a:pt x="91518" y="1347625"/>
                    </a:lnTo>
                    <a:lnTo>
                      <a:pt x="90003" y="1345807"/>
                    </a:lnTo>
                    <a:lnTo>
                      <a:pt x="88639" y="1345352"/>
                    </a:lnTo>
                    <a:close/>
                    <a:moveTo>
                      <a:pt x="259100" y="797908"/>
                    </a:moveTo>
                    <a:lnTo>
                      <a:pt x="261525" y="799272"/>
                    </a:lnTo>
                    <a:lnTo>
                      <a:pt x="262282" y="800484"/>
                    </a:lnTo>
                    <a:lnTo>
                      <a:pt x="264404" y="801090"/>
                    </a:lnTo>
                    <a:lnTo>
                      <a:pt x="264252" y="799423"/>
                    </a:lnTo>
                    <a:lnTo>
                      <a:pt x="263343" y="796241"/>
                    </a:lnTo>
                    <a:lnTo>
                      <a:pt x="261525" y="794271"/>
                    </a:lnTo>
                    <a:lnTo>
                      <a:pt x="260616" y="792908"/>
                    </a:lnTo>
                    <a:lnTo>
                      <a:pt x="260009" y="793059"/>
                    </a:lnTo>
                    <a:lnTo>
                      <a:pt x="259858" y="793665"/>
                    </a:lnTo>
                    <a:lnTo>
                      <a:pt x="258646" y="794878"/>
                    </a:lnTo>
                    <a:lnTo>
                      <a:pt x="258948" y="797453"/>
                    </a:lnTo>
                    <a:lnTo>
                      <a:pt x="259100" y="797908"/>
                    </a:lnTo>
                    <a:close/>
                    <a:moveTo>
                      <a:pt x="488048" y="1040492"/>
                    </a:moveTo>
                    <a:lnTo>
                      <a:pt x="489715" y="1040492"/>
                    </a:lnTo>
                    <a:lnTo>
                      <a:pt x="490624" y="1039583"/>
                    </a:lnTo>
                    <a:lnTo>
                      <a:pt x="480018" y="1038826"/>
                    </a:lnTo>
                    <a:lnTo>
                      <a:pt x="477290" y="1040341"/>
                    </a:lnTo>
                    <a:lnTo>
                      <a:pt x="474715" y="1040038"/>
                    </a:lnTo>
                    <a:lnTo>
                      <a:pt x="472290" y="1042311"/>
                    </a:lnTo>
                    <a:lnTo>
                      <a:pt x="473351" y="1042614"/>
                    </a:lnTo>
                    <a:lnTo>
                      <a:pt x="478048" y="1042159"/>
                    </a:lnTo>
                    <a:lnTo>
                      <a:pt x="480169" y="1043220"/>
                    </a:lnTo>
                    <a:lnTo>
                      <a:pt x="481078" y="1044887"/>
                    </a:lnTo>
                    <a:lnTo>
                      <a:pt x="480018" y="1046705"/>
                    </a:lnTo>
                    <a:lnTo>
                      <a:pt x="478200" y="1048372"/>
                    </a:lnTo>
                    <a:lnTo>
                      <a:pt x="478200" y="1049432"/>
                    </a:lnTo>
                    <a:lnTo>
                      <a:pt x="479109" y="1051857"/>
                    </a:lnTo>
                    <a:lnTo>
                      <a:pt x="479866" y="1052160"/>
                    </a:lnTo>
                    <a:lnTo>
                      <a:pt x="481382" y="1052160"/>
                    </a:lnTo>
                    <a:lnTo>
                      <a:pt x="483048" y="1050796"/>
                    </a:lnTo>
                    <a:lnTo>
                      <a:pt x="486230" y="1049887"/>
                    </a:lnTo>
                    <a:lnTo>
                      <a:pt x="486230" y="1049129"/>
                    </a:lnTo>
                    <a:lnTo>
                      <a:pt x="484866" y="1046705"/>
                    </a:lnTo>
                    <a:lnTo>
                      <a:pt x="483351" y="1046857"/>
                    </a:lnTo>
                    <a:lnTo>
                      <a:pt x="481684" y="1043674"/>
                    </a:lnTo>
                    <a:lnTo>
                      <a:pt x="483351" y="1042159"/>
                    </a:lnTo>
                    <a:lnTo>
                      <a:pt x="483048" y="1041856"/>
                    </a:lnTo>
                    <a:lnTo>
                      <a:pt x="481382" y="1041250"/>
                    </a:lnTo>
                    <a:lnTo>
                      <a:pt x="481836" y="1040644"/>
                    </a:lnTo>
                    <a:lnTo>
                      <a:pt x="484411" y="1040341"/>
                    </a:lnTo>
                    <a:lnTo>
                      <a:pt x="485321" y="1041402"/>
                    </a:lnTo>
                    <a:lnTo>
                      <a:pt x="485170" y="1043978"/>
                    </a:lnTo>
                    <a:lnTo>
                      <a:pt x="488048" y="1040492"/>
                    </a:lnTo>
                    <a:close/>
                    <a:moveTo>
                      <a:pt x="489260" y="1056251"/>
                    </a:moveTo>
                    <a:lnTo>
                      <a:pt x="489715" y="1057463"/>
                    </a:lnTo>
                    <a:lnTo>
                      <a:pt x="489564" y="1059433"/>
                    </a:lnTo>
                    <a:lnTo>
                      <a:pt x="490776" y="1059130"/>
                    </a:lnTo>
                    <a:lnTo>
                      <a:pt x="492291" y="1057312"/>
                    </a:lnTo>
                    <a:lnTo>
                      <a:pt x="491382" y="1055796"/>
                    </a:lnTo>
                    <a:lnTo>
                      <a:pt x="489260" y="1056251"/>
                    </a:lnTo>
                    <a:close/>
                    <a:moveTo>
                      <a:pt x="225765" y="957611"/>
                    </a:moveTo>
                    <a:lnTo>
                      <a:pt x="223038" y="957459"/>
                    </a:lnTo>
                    <a:lnTo>
                      <a:pt x="224856" y="956702"/>
                    </a:lnTo>
                    <a:lnTo>
                      <a:pt x="227433" y="954883"/>
                    </a:lnTo>
                    <a:lnTo>
                      <a:pt x="227887" y="953823"/>
                    </a:lnTo>
                    <a:lnTo>
                      <a:pt x="229553" y="952004"/>
                    </a:lnTo>
                    <a:lnTo>
                      <a:pt x="230312" y="950338"/>
                    </a:lnTo>
                    <a:lnTo>
                      <a:pt x="228190" y="950489"/>
                    </a:lnTo>
                    <a:lnTo>
                      <a:pt x="227887" y="949277"/>
                    </a:lnTo>
                    <a:lnTo>
                      <a:pt x="226220" y="949429"/>
                    </a:lnTo>
                    <a:lnTo>
                      <a:pt x="225311" y="949883"/>
                    </a:lnTo>
                    <a:lnTo>
                      <a:pt x="224251" y="949883"/>
                    </a:lnTo>
                    <a:lnTo>
                      <a:pt x="221977" y="949429"/>
                    </a:lnTo>
                    <a:lnTo>
                      <a:pt x="221977" y="950489"/>
                    </a:lnTo>
                    <a:lnTo>
                      <a:pt x="222736" y="951853"/>
                    </a:lnTo>
                    <a:lnTo>
                      <a:pt x="220918" y="952762"/>
                    </a:lnTo>
                    <a:lnTo>
                      <a:pt x="219705" y="954581"/>
                    </a:lnTo>
                    <a:lnTo>
                      <a:pt x="220159" y="955490"/>
                    </a:lnTo>
                    <a:lnTo>
                      <a:pt x="219098" y="957156"/>
                    </a:lnTo>
                    <a:lnTo>
                      <a:pt x="216371" y="958217"/>
                    </a:lnTo>
                    <a:lnTo>
                      <a:pt x="218189" y="955641"/>
                    </a:lnTo>
                    <a:lnTo>
                      <a:pt x="218189" y="953368"/>
                    </a:lnTo>
                    <a:lnTo>
                      <a:pt x="219705" y="951550"/>
                    </a:lnTo>
                    <a:lnTo>
                      <a:pt x="218796" y="950338"/>
                    </a:lnTo>
                    <a:lnTo>
                      <a:pt x="219098" y="949580"/>
                    </a:lnTo>
                    <a:lnTo>
                      <a:pt x="220766" y="948823"/>
                    </a:lnTo>
                    <a:lnTo>
                      <a:pt x="222129" y="946701"/>
                    </a:lnTo>
                    <a:lnTo>
                      <a:pt x="220614" y="946853"/>
                    </a:lnTo>
                    <a:lnTo>
                      <a:pt x="219250" y="947762"/>
                    </a:lnTo>
                    <a:lnTo>
                      <a:pt x="216069" y="948519"/>
                    </a:lnTo>
                    <a:lnTo>
                      <a:pt x="214856" y="949126"/>
                    </a:lnTo>
                    <a:lnTo>
                      <a:pt x="210008" y="952762"/>
                    </a:lnTo>
                    <a:lnTo>
                      <a:pt x="206825" y="954429"/>
                    </a:lnTo>
                    <a:lnTo>
                      <a:pt x="203796" y="956399"/>
                    </a:lnTo>
                    <a:lnTo>
                      <a:pt x="200917" y="958823"/>
                    </a:lnTo>
                    <a:lnTo>
                      <a:pt x="197734" y="958671"/>
                    </a:lnTo>
                    <a:lnTo>
                      <a:pt x="196522" y="955641"/>
                    </a:lnTo>
                    <a:lnTo>
                      <a:pt x="196068" y="952156"/>
                    </a:lnTo>
                    <a:lnTo>
                      <a:pt x="195765" y="948065"/>
                    </a:lnTo>
                    <a:lnTo>
                      <a:pt x="194250" y="944580"/>
                    </a:lnTo>
                    <a:lnTo>
                      <a:pt x="190916" y="943671"/>
                    </a:lnTo>
                    <a:lnTo>
                      <a:pt x="188189" y="942156"/>
                    </a:lnTo>
                    <a:lnTo>
                      <a:pt x="187128" y="940489"/>
                    </a:lnTo>
                    <a:lnTo>
                      <a:pt x="186522" y="938671"/>
                    </a:lnTo>
                    <a:lnTo>
                      <a:pt x="186674" y="936701"/>
                    </a:lnTo>
                    <a:lnTo>
                      <a:pt x="187279" y="934731"/>
                    </a:lnTo>
                    <a:lnTo>
                      <a:pt x="193037" y="933973"/>
                    </a:lnTo>
                    <a:lnTo>
                      <a:pt x="190007" y="933064"/>
                    </a:lnTo>
                    <a:lnTo>
                      <a:pt x="186825" y="933216"/>
                    </a:lnTo>
                    <a:lnTo>
                      <a:pt x="184856" y="933973"/>
                    </a:lnTo>
                    <a:lnTo>
                      <a:pt x="180158" y="937307"/>
                    </a:lnTo>
                    <a:lnTo>
                      <a:pt x="174855" y="941701"/>
                    </a:lnTo>
                    <a:lnTo>
                      <a:pt x="171218" y="947762"/>
                    </a:lnTo>
                    <a:lnTo>
                      <a:pt x="170006" y="956095"/>
                    </a:lnTo>
                    <a:lnTo>
                      <a:pt x="167734" y="963975"/>
                    </a:lnTo>
                    <a:lnTo>
                      <a:pt x="166066" y="967005"/>
                    </a:lnTo>
                    <a:lnTo>
                      <a:pt x="162885" y="970793"/>
                    </a:lnTo>
                    <a:lnTo>
                      <a:pt x="160158" y="972914"/>
                    </a:lnTo>
                    <a:lnTo>
                      <a:pt x="158490" y="973672"/>
                    </a:lnTo>
                    <a:lnTo>
                      <a:pt x="154702" y="974126"/>
                    </a:lnTo>
                    <a:lnTo>
                      <a:pt x="153339" y="975339"/>
                    </a:lnTo>
                    <a:lnTo>
                      <a:pt x="151521" y="981248"/>
                    </a:lnTo>
                    <a:lnTo>
                      <a:pt x="149854" y="984733"/>
                    </a:lnTo>
                    <a:lnTo>
                      <a:pt x="148794" y="988369"/>
                    </a:lnTo>
                    <a:lnTo>
                      <a:pt x="148036" y="992157"/>
                    </a:lnTo>
                    <a:lnTo>
                      <a:pt x="146824" y="995491"/>
                    </a:lnTo>
                    <a:lnTo>
                      <a:pt x="148036" y="996400"/>
                    </a:lnTo>
                    <a:lnTo>
                      <a:pt x="148490" y="997309"/>
                    </a:lnTo>
                    <a:lnTo>
                      <a:pt x="146975" y="997461"/>
                    </a:lnTo>
                    <a:lnTo>
                      <a:pt x="146066" y="997915"/>
                    </a:lnTo>
                    <a:lnTo>
                      <a:pt x="145157" y="998673"/>
                    </a:lnTo>
                    <a:lnTo>
                      <a:pt x="140762" y="1005188"/>
                    </a:lnTo>
                    <a:lnTo>
                      <a:pt x="141369" y="1008673"/>
                    </a:lnTo>
                    <a:lnTo>
                      <a:pt x="141066" y="1010643"/>
                    </a:lnTo>
                    <a:lnTo>
                      <a:pt x="140308" y="1011401"/>
                    </a:lnTo>
                    <a:lnTo>
                      <a:pt x="140460" y="1009279"/>
                    </a:lnTo>
                    <a:lnTo>
                      <a:pt x="140308" y="1007461"/>
                    </a:lnTo>
                    <a:lnTo>
                      <a:pt x="139248" y="1005946"/>
                    </a:lnTo>
                    <a:lnTo>
                      <a:pt x="135762" y="1010188"/>
                    </a:lnTo>
                    <a:lnTo>
                      <a:pt x="133035" y="1012764"/>
                    </a:lnTo>
                    <a:lnTo>
                      <a:pt x="132581" y="1014431"/>
                    </a:lnTo>
                    <a:lnTo>
                      <a:pt x="132884" y="1016249"/>
                    </a:lnTo>
                    <a:lnTo>
                      <a:pt x="130914" y="1013976"/>
                    </a:lnTo>
                    <a:lnTo>
                      <a:pt x="129550" y="1014280"/>
                    </a:lnTo>
                    <a:lnTo>
                      <a:pt x="126974" y="1015492"/>
                    </a:lnTo>
                    <a:lnTo>
                      <a:pt x="127277" y="1016552"/>
                    </a:lnTo>
                    <a:lnTo>
                      <a:pt x="129398" y="1018219"/>
                    </a:lnTo>
                    <a:lnTo>
                      <a:pt x="127277" y="1017158"/>
                    </a:lnTo>
                    <a:lnTo>
                      <a:pt x="125156" y="1016401"/>
                    </a:lnTo>
                    <a:lnTo>
                      <a:pt x="123035" y="1017310"/>
                    </a:lnTo>
                    <a:lnTo>
                      <a:pt x="120913" y="1018673"/>
                    </a:lnTo>
                    <a:lnTo>
                      <a:pt x="122883" y="1019583"/>
                    </a:lnTo>
                    <a:lnTo>
                      <a:pt x="123489" y="1021098"/>
                    </a:lnTo>
                    <a:lnTo>
                      <a:pt x="122429" y="1020189"/>
                    </a:lnTo>
                    <a:lnTo>
                      <a:pt x="120913" y="1019886"/>
                    </a:lnTo>
                    <a:lnTo>
                      <a:pt x="119247" y="1020492"/>
                    </a:lnTo>
                    <a:lnTo>
                      <a:pt x="117883" y="1022461"/>
                    </a:lnTo>
                    <a:lnTo>
                      <a:pt x="116822" y="1023371"/>
                    </a:lnTo>
                    <a:lnTo>
                      <a:pt x="115610" y="1023977"/>
                    </a:lnTo>
                    <a:lnTo>
                      <a:pt x="113186" y="1026704"/>
                    </a:lnTo>
                    <a:lnTo>
                      <a:pt x="108792" y="1029280"/>
                    </a:lnTo>
                    <a:lnTo>
                      <a:pt x="110156" y="1030038"/>
                    </a:lnTo>
                    <a:lnTo>
                      <a:pt x="109701" y="1030492"/>
                    </a:lnTo>
                    <a:lnTo>
                      <a:pt x="108186" y="1030341"/>
                    </a:lnTo>
                    <a:lnTo>
                      <a:pt x="107883" y="1031553"/>
                    </a:lnTo>
                    <a:lnTo>
                      <a:pt x="108186" y="1032916"/>
                    </a:lnTo>
                    <a:lnTo>
                      <a:pt x="106368" y="1032916"/>
                    </a:lnTo>
                    <a:lnTo>
                      <a:pt x="103489" y="1034735"/>
                    </a:lnTo>
                    <a:lnTo>
                      <a:pt x="99549" y="1035795"/>
                    </a:lnTo>
                    <a:lnTo>
                      <a:pt x="94245" y="1038371"/>
                    </a:lnTo>
                    <a:lnTo>
                      <a:pt x="90003" y="1040947"/>
                    </a:lnTo>
                    <a:lnTo>
                      <a:pt x="89094" y="1042311"/>
                    </a:lnTo>
                    <a:lnTo>
                      <a:pt x="90306" y="1045493"/>
                    </a:lnTo>
                    <a:lnTo>
                      <a:pt x="89094" y="1045038"/>
                    </a:lnTo>
                    <a:lnTo>
                      <a:pt x="87124" y="1043826"/>
                    </a:lnTo>
                    <a:lnTo>
                      <a:pt x="85003" y="1044735"/>
                    </a:lnTo>
                    <a:lnTo>
                      <a:pt x="80002" y="1048069"/>
                    </a:lnTo>
                    <a:lnTo>
                      <a:pt x="79093" y="1048220"/>
                    </a:lnTo>
                    <a:lnTo>
                      <a:pt x="75760" y="1047462"/>
                    </a:lnTo>
                    <a:lnTo>
                      <a:pt x="70457" y="1049432"/>
                    </a:lnTo>
                    <a:lnTo>
                      <a:pt x="68033" y="1051099"/>
                    </a:lnTo>
                    <a:lnTo>
                      <a:pt x="63336" y="1055796"/>
                    </a:lnTo>
                    <a:lnTo>
                      <a:pt x="58487" y="1060342"/>
                    </a:lnTo>
                    <a:lnTo>
                      <a:pt x="54093" y="1065039"/>
                    </a:lnTo>
                    <a:lnTo>
                      <a:pt x="54395" y="1068069"/>
                    </a:lnTo>
                    <a:lnTo>
                      <a:pt x="55305" y="1069130"/>
                    </a:lnTo>
                    <a:lnTo>
                      <a:pt x="55456" y="1070494"/>
                    </a:lnTo>
                    <a:lnTo>
                      <a:pt x="54093" y="1069130"/>
                    </a:lnTo>
                    <a:lnTo>
                      <a:pt x="52123" y="1068069"/>
                    </a:lnTo>
                    <a:lnTo>
                      <a:pt x="49698" y="1069585"/>
                    </a:lnTo>
                    <a:lnTo>
                      <a:pt x="46365" y="1072918"/>
                    </a:lnTo>
                    <a:lnTo>
                      <a:pt x="43790" y="1073978"/>
                    </a:lnTo>
                    <a:lnTo>
                      <a:pt x="43031" y="1075039"/>
                    </a:lnTo>
                    <a:lnTo>
                      <a:pt x="42881" y="1076252"/>
                    </a:lnTo>
                    <a:lnTo>
                      <a:pt x="43638" y="1077464"/>
                    </a:lnTo>
                    <a:lnTo>
                      <a:pt x="43486" y="1078827"/>
                    </a:lnTo>
                    <a:lnTo>
                      <a:pt x="43183" y="1080343"/>
                    </a:lnTo>
                    <a:lnTo>
                      <a:pt x="41668" y="1075948"/>
                    </a:lnTo>
                    <a:lnTo>
                      <a:pt x="35759" y="1080494"/>
                    </a:lnTo>
                    <a:lnTo>
                      <a:pt x="35153" y="1081554"/>
                    </a:lnTo>
                    <a:lnTo>
                      <a:pt x="36062" y="1083221"/>
                    </a:lnTo>
                    <a:lnTo>
                      <a:pt x="37577" y="1084433"/>
                    </a:lnTo>
                    <a:lnTo>
                      <a:pt x="35607" y="1084888"/>
                    </a:lnTo>
                    <a:lnTo>
                      <a:pt x="33941" y="1083373"/>
                    </a:lnTo>
                    <a:lnTo>
                      <a:pt x="31213" y="1085798"/>
                    </a:lnTo>
                    <a:lnTo>
                      <a:pt x="31062" y="1087616"/>
                    </a:lnTo>
                    <a:lnTo>
                      <a:pt x="31365" y="1089131"/>
                    </a:lnTo>
                    <a:lnTo>
                      <a:pt x="33941" y="1090646"/>
                    </a:lnTo>
                    <a:lnTo>
                      <a:pt x="36062" y="1091100"/>
                    </a:lnTo>
                    <a:lnTo>
                      <a:pt x="36668" y="1091404"/>
                    </a:lnTo>
                    <a:lnTo>
                      <a:pt x="34396" y="1091858"/>
                    </a:lnTo>
                    <a:lnTo>
                      <a:pt x="33637" y="1092464"/>
                    </a:lnTo>
                    <a:lnTo>
                      <a:pt x="33486" y="1093676"/>
                    </a:lnTo>
                    <a:lnTo>
                      <a:pt x="34698" y="1095646"/>
                    </a:lnTo>
                    <a:lnTo>
                      <a:pt x="31819" y="1094737"/>
                    </a:lnTo>
                    <a:lnTo>
                      <a:pt x="27879" y="1092161"/>
                    </a:lnTo>
                    <a:lnTo>
                      <a:pt x="26819" y="1092313"/>
                    </a:lnTo>
                    <a:lnTo>
                      <a:pt x="26970" y="1094283"/>
                    </a:lnTo>
                    <a:lnTo>
                      <a:pt x="28183" y="1095646"/>
                    </a:lnTo>
                    <a:lnTo>
                      <a:pt x="24243" y="1095646"/>
                    </a:lnTo>
                    <a:lnTo>
                      <a:pt x="23334" y="1097616"/>
                    </a:lnTo>
                    <a:lnTo>
                      <a:pt x="23031" y="1100192"/>
                    </a:lnTo>
                    <a:lnTo>
                      <a:pt x="26668" y="1100343"/>
                    </a:lnTo>
                    <a:lnTo>
                      <a:pt x="30001" y="1099737"/>
                    </a:lnTo>
                    <a:lnTo>
                      <a:pt x="25455" y="1102162"/>
                    </a:lnTo>
                    <a:lnTo>
                      <a:pt x="24698" y="1103677"/>
                    </a:lnTo>
                    <a:lnTo>
                      <a:pt x="25000" y="1105495"/>
                    </a:lnTo>
                    <a:lnTo>
                      <a:pt x="30304" y="1105950"/>
                    </a:lnTo>
                    <a:lnTo>
                      <a:pt x="28940" y="1107313"/>
                    </a:lnTo>
                    <a:lnTo>
                      <a:pt x="25759" y="1108071"/>
                    </a:lnTo>
                    <a:lnTo>
                      <a:pt x="16970" y="1109283"/>
                    </a:lnTo>
                    <a:lnTo>
                      <a:pt x="16365" y="1110040"/>
                    </a:lnTo>
                    <a:lnTo>
                      <a:pt x="16061" y="1112465"/>
                    </a:lnTo>
                    <a:lnTo>
                      <a:pt x="16515" y="1114586"/>
                    </a:lnTo>
                    <a:lnTo>
                      <a:pt x="19849" y="1114283"/>
                    </a:lnTo>
                    <a:lnTo>
                      <a:pt x="22728" y="1112010"/>
                    </a:lnTo>
                    <a:lnTo>
                      <a:pt x="23182" y="1113374"/>
                    </a:lnTo>
                    <a:lnTo>
                      <a:pt x="23031" y="1114586"/>
                    </a:lnTo>
                    <a:lnTo>
                      <a:pt x="20910" y="1117314"/>
                    </a:lnTo>
                    <a:lnTo>
                      <a:pt x="23182" y="1117616"/>
                    </a:lnTo>
                    <a:lnTo>
                      <a:pt x="26668" y="1115192"/>
                    </a:lnTo>
                    <a:lnTo>
                      <a:pt x="28334" y="1114435"/>
                    </a:lnTo>
                    <a:lnTo>
                      <a:pt x="22728" y="1120495"/>
                    </a:lnTo>
                    <a:lnTo>
                      <a:pt x="23334" y="1122617"/>
                    </a:lnTo>
                    <a:lnTo>
                      <a:pt x="26061" y="1123526"/>
                    </a:lnTo>
                    <a:lnTo>
                      <a:pt x="33486" y="1124283"/>
                    </a:lnTo>
                    <a:lnTo>
                      <a:pt x="40911" y="1123981"/>
                    </a:lnTo>
                    <a:lnTo>
                      <a:pt x="42122" y="1123526"/>
                    </a:lnTo>
                    <a:lnTo>
                      <a:pt x="44244" y="1120950"/>
                    </a:lnTo>
                    <a:lnTo>
                      <a:pt x="45608" y="1120799"/>
                    </a:lnTo>
                    <a:lnTo>
                      <a:pt x="49548" y="1122314"/>
                    </a:lnTo>
                    <a:lnTo>
                      <a:pt x="50607" y="1123526"/>
                    </a:lnTo>
                    <a:lnTo>
                      <a:pt x="53941" y="1128223"/>
                    </a:lnTo>
                    <a:lnTo>
                      <a:pt x="55608" y="1128223"/>
                    </a:lnTo>
                    <a:lnTo>
                      <a:pt x="60457" y="1127769"/>
                    </a:lnTo>
                    <a:lnTo>
                      <a:pt x="63487" y="1128071"/>
                    </a:lnTo>
                    <a:lnTo>
                      <a:pt x="64548" y="1128829"/>
                    </a:lnTo>
                    <a:lnTo>
                      <a:pt x="65457" y="1129890"/>
                    </a:lnTo>
                    <a:lnTo>
                      <a:pt x="66972" y="1130799"/>
                    </a:lnTo>
                    <a:lnTo>
                      <a:pt x="67578" y="1132163"/>
                    </a:lnTo>
                    <a:lnTo>
                      <a:pt x="67124" y="1134132"/>
                    </a:lnTo>
                    <a:lnTo>
                      <a:pt x="68033" y="1135647"/>
                    </a:lnTo>
                    <a:lnTo>
                      <a:pt x="68638" y="1136254"/>
                    </a:lnTo>
                    <a:lnTo>
                      <a:pt x="70912" y="1135647"/>
                    </a:lnTo>
                    <a:lnTo>
                      <a:pt x="73791" y="1136405"/>
                    </a:lnTo>
                    <a:lnTo>
                      <a:pt x="75457" y="1135647"/>
                    </a:lnTo>
                    <a:lnTo>
                      <a:pt x="79093" y="1134890"/>
                    </a:lnTo>
                    <a:lnTo>
                      <a:pt x="81063" y="1135345"/>
                    </a:lnTo>
                    <a:lnTo>
                      <a:pt x="84549" y="1136557"/>
                    </a:lnTo>
                    <a:lnTo>
                      <a:pt x="88185" y="1137163"/>
                    </a:lnTo>
                    <a:lnTo>
                      <a:pt x="94852" y="1136860"/>
                    </a:lnTo>
                    <a:lnTo>
                      <a:pt x="104246" y="1134436"/>
                    </a:lnTo>
                    <a:lnTo>
                      <a:pt x="105458" y="1133375"/>
                    </a:lnTo>
                    <a:lnTo>
                      <a:pt x="106368" y="1132011"/>
                    </a:lnTo>
                    <a:lnTo>
                      <a:pt x="110610" y="1127011"/>
                    </a:lnTo>
                    <a:lnTo>
                      <a:pt x="117883" y="1121102"/>
                    </a:lnTo>
                    <a:lnTo>
                      <a:pt x="120156" y="1118374"/>
                    </a:lnTo>
                    <a:lnTo>
                      <a:pt x="121974" y="1115344"/>
                    </a:lnTo>
                    <a:lnTo>
                      <a:pt x="124247" y="1113677"/>
                    </a:lnTo>
                    <a:lnTo>
                      <a:pt x="131217" y="1112162"/>
                    </a:lnTo>
                    <a:lnTo>
                      <a:pt x="132581" y="1111556"/>
                    </a:lnTo>
                    <a:lnTo>
                      <a:pt x="134096" y="1111253"/>
                    </a:lnTo>
                    <a:lnTo>
                      <a:pt x="134551" y="1110344"/>
                    </a:lnTo>
                    <a:lnTo>
                      <a:pt x="134551" y="1108526"/>
                    </a:lnTo>
                    <a:lnTo>
                      <a:pt x="133186" y="1107313"/>
                    </a:lnTo>
                    <a:lnTo>
                      <a:pt x="132126" y="1105950"/>
                    </a:lnTo>
                    <a:lnTo>
                      <a:pt x="132126" y="1104889"/>
                    </a:lnTo>
                    <a:lnTo>
                      <a:pt x="135308" y="1099283"/>
                    </a:lnTo>
                    <a:lnTo>
                      <a:pt x="137278" y="1094434"/>
                    </a:lnTo>
                    <a:lnTo>
                      <a:pt x="138641" y="1089131"/>
                    </a:lnTo>
                    <a:lnTo>
                      <a:pt x="140005" y="1087009"/>
                    </a:lnTo>
                    <a:lnTo>
                      <a:pt x="143338" y="1083221"/>
                    </a:lnTo>
                    <a:lnTo>
                      <a:pt x="143945" y="1081100"/>
                    </a:lnTo>
                    <a:lnTo>
                      <a:pt x="140914" y="1079736"/>
                    </a:lnTo>
                    <a:lnTo>
                      <a:pt x="140308" y="1078827"/>
                    </a:lnTo>
                    <a:lnTo>
                      <a:pt x="144399" y="1078827"/>
                    </a:lnTo>
                    <a:lnTo>
                      <a:pt x="145763" y="1073978"/>
                    </a:lnTo>
                    <a:lnTo>
                      <a:pt x="146217" y="1068676"/>
                    </a:lnTo>
                    <a:lnTo>
                      <a:pt x="146672" y="1065645"/>
                    </a:lnTo>
                    <a:lnTo>
                      <a:pt x="148945" y="1058221"/>
                    </a:lnTo>
                    <a:lnTo>
                      <a:pt x="148187" y="1057463"/>
                    </a:lnTo>
                    <a:lnTo>
                      <a:pt x="146975" y="1057008"/>
                    </a:lnTo>
                    <a:lnTo>
                      <a:pt x="150308" y="1056705"/>
                    </a:lnTo>
                    <a:lnTo>
                      <a:pt x="151824" y="1055190"/>
                    </a:lnTo>
                    <a:lnTo>
                      <a:pt x="152582" y="1052766"/>
                    </a:lnTo>
                    <a:lnTo>
                      <a:pt x="154702" y="1052160"/>
                    </a:lnTo>
                    <a:lnTo>
                      <a:pt x="158642" y="1052160"/>
                    </a:lnTo>
                    <a:lnTo>
                      <a:pt x="160158" y="1051554"/>
                    </a:lnTo>
                    <a:lnTo>
                      <a:pt x="162733" y="1049736"/>
                    </a:lnTo>
                    <a:lnTo>
                      <a:pt x="165006" y="1048523"/>
                    </a:lnTo>
                    <a:lnTo>
                      <a:pt x="167430" y="1047766"/>
                    </a:lnTo>
                    <a:lnTo>
                      <a:pt x="170309" y="1046402"/>
                    </a:lnTo>
                    <a:lnTo>
                      <a:pt x="173036" y="1044735"/>
                    </a:lnTo>
                    <a:lnTo>
                      <a:pt x="171824" y="1042614"/>
                    </a:lnTo>
                    <a:lnTo>
                      <a:pt x="169552" y="1039432"/>
                    </a:lnTo>
                    <a:lnTo>
                      <a:pt x="169097" y="1038220"/>
                    </a:lnTo>
                    <a:lnTo>
                      <a:pt x="172127" y="1040341"/>
                    </a:lnTo>
                    <a:lnTo>
                      <a:pt x="174249" y="1042462"/>
                    </a:lnTo>
                    <a:lnTo>
                      <a:pt x="176370" y="1043826"/>
                    </a:lnTo>
                    <a:lnTo>
                      <a:pt x="177885" y="1043523"/>
                    </a:lnTo>
                    <a:lnTo>
                      <a:pt x="178794" y="1042462"/>
                    </a:lnTo>
                    <a:lnTo>
                      <a:pt x="179098" y="1040796"/>
                    </a:lnTo>
                    <a:lnTo>
                      <a:pt x="180007" y="1039735"/>
                    </a:lnTo>
                    <a:lnTo>
                      <a:pt x="181370" y="1039129"/>
                    </a:lnTo>
                    <a:lnTo>
                      <a:pt x="182582" y="1039583"/>
                    </a:lnTo>
                    <a:lnTo>
                      <a:pt x="184097" y="1040644"/>
                    </a:lnTo>
                    <a:lnTo>
                      <a:pt x="181218" y="1042614"/>
                    </a:lnTo>
                    <a:lnTo>
                      <a:pt x="181977" y="1042917"/>
                    </a:lnTo>
                    <a:lnTo>
                      <a:pt x="183340" y="1042462"/>
                    </a:lnTo>
                    <a:lnTo>
                      <a:pt x="188644" y="1041856"/>
                    </a:lnTo>
                    <a:lnTo>
                      <a:pt x="190462" y="1043826"/>
                    </a:lnTo>
                    <a:lnTo>
                      <a:pt x="193341" y="1044584"/>
                    </a:lnTo>
                    <a:lnTo>
                      <a:pt x="196220" y="1044432"/>
                    </a:lnTo>
                    <a:lnTo>
                      <a:pt x="197431" y="1044129"/>
                    </a:lnTo>
                    <a:lnTo>
                      <a:pt x="198189" y="1043069"/>
                    </a:lnTo>
                    <a:lnTo>
                      <a:pt x="198795" y="1041553"/>
                    </a:lnTo>
                    <a:lnTo>
                      <a:pt x="198340" y="1038371"/>
                    </a:lnTo>
                    <a:lnTo>
                      <a:pt x="197734" y="1037462"/>
                    </a:lnTo>
                    <a:lnTo>
                      <a:pt x="194250" y="1036856"/>
                    </a:lnTo>
                    <a:lnTo>
                      <a:pt x="190462" y="1035644"/>
                    </a:lnTo>
                    <a:lnTo>
                      <a:pt x="189401" y="1033674"/>
                    </a:lnTo>
                    <a:lnTo>
                      <a:pt x="188946" y="1032159"/>
                    </a:lnTo>
                    <a:lnTo>
                      <a:pt x="188644" y="1030492"/>
                    </a:lnTo>
                    <a:lnTo>
                      <a:pt x="187431" y="1029735"/>
                    </a:lnTo>
                    <a:lnTo>
                      <a:pt x="182886" y="1030341"/>
                    </a:lnTo>
                    <a:lnTo>
                      <a:pt x="183795" y="1029432"/>
                    </a:lnTo>
                    <a:lnTo>
                      <a:pt x="185765" y="1029128"/>
                    </a:lnTo>
                    <a:lnTo>
                      <a:pt x="187583" y="1028219"/>
                    </a:lnTo>
                    <a:lnTo>
                      <a:pt x="188492" y="1026704"/>
                    </a:lnTo>
                    <a:lnTo>
                      <a:pt x="187128" y="1025340"/>
                    </a:lnTo>
                    <a:lnTo>
                      <a:pt x="185461" y="1024886"/>
                    </a:lnTo>
                    <a:lnTo>
                      <a:pt x="185310" y="1023977"/>
                    </a:lnTo>
                    <a:lnTo>
                      <a:pt x="187885" y="1023522"/>
                    </a:lnTo>
                    <a:lnTo>
                      <a:pt x="190310" y="1021552"/>
                    </a:lnTo>
                    <a:lnTo>
                      <a:pt x="192582" y="1019128"/>
                    </a:lnTo>
                    <a:lnTo>
                      <a:pt x="197583" y="1017007"/>
                    </a:lnTo>
                    <a:lnTo>
                      <a:pt x="199704" y="1015795"/>
                    </a:lnTo>
                    <a:lnTo>
                      <a:pt x="201674" y="1014280"/>
                    </a:lnTo>
                    <a:lnTo>
                      <a:pt x="205159" y="1009734"/>
                    </a:lnTo>
                    <a:lnTo>
                      <a:pt x="210613" y="999128"/>
                    </a:lnTo>
                    <a:lnTo>
                      <a:pt x="211826" y="997612"/>
                    </a:lnTo>
                    <a:lnTo>
                      <a:pt x="218644" y="990945"/>
                    </a:lnTo>
                    <a:lnTo>
                      <a:pt x="220008" y="988976"/>
                    </a:lnTo>
                    <a:lnTo>
                      <a:pt x="220008" y="986248"/>
                    </a:lnTo>
                    <a:lnTo>
                      <a:pt x="222432" y="984581"/>
                    </a:lnTo>
                    <a:lnTo>
                      <a:pt x="224402" y="982006"/>
                    </a:lnTo>
                    <a:lnTo>
                      <a:pt x="228948" y="977005"/>
                    </a:lnTo>
                    <a:lnTo>
                      <a:pt x="229705" y="975793"/>
                    </a:lnTo>
                    <a:lnTo>
                      <a:pt x="230766" y="973369"/>
                    </a:lnTo>
                    <a:lnTo>
                      <a:pt x="228948" y="971247"/>
                    </a:lnTo>
                    <a:lnTo>
                      <a:pt x="227584" y="970642"/>
                    </a:lnTo>
                    <a:lnTo>
                      <a:pt x="225160" y="971096"/>
                    </a:lnTo>
                    <a:lnTo>
                      <a:pt x="227281" y="967611"/>
                    </a:lnTo>
                    <a:lnTo>
                      <a:pt x="225463" y="965793"/>
                    </a:lnTo>
                    <a:lnTo>
                      <a:pt x="224856" y="964732"/>
                    </a:lnTo>
                    <a:lnTo>
                      <a:pt x="224706" y="963369"/>
                    </a:lnTo>
                    <a:lnTo>
                      <a:pt x="225615" y="961247"/>
                    </a:lnTo>
                    <a:lnTo>
                      <a:pt x="227433" y="960035"/>
                    </a:lnTo>
                    <a:lnTo>
                      <a:pt x="229251" y="959581"/>
                    </a:lnTo>
                    <a:lnTo>
                      <a:pt x="230918" y="958065"/>
                    </a:lnTo>
                    <a:lnTo>
                      <a:pt x="232887" y="955641"/>
                    </a:lnTo>
                    <a:lnTo>
                      <a:pt x="232887" y="952914"/>
                    </a:lnTo>
                    <a:lnTo>
                      <a:pt x="230463" y="955186"/>
                    </a:lnTo>
                    <a:lnTo>
                      <a:pt x="225765" y="957611"/>
                    </a:lnTo>
                    <a:close/>
                    <a:moveTo>
                      <a:pt x="627145" y="21970"/>
                    </a:moveTo>
                    <a:lnTo>
                      <a:pt x="626993" y="21819"/>
                    </a:lnTo>
                    <a:lnTo>
                      <a:pt x="626841" y="21668"/>
                    </a:lnTo>
                    <a:lnTo>
                      <a:pt x="626690" y="21668"/>
                    </a:lnTo>
                    <a:lnTo>
                      <a:pt x="626841" y="21970"/>
                    </a:lnTo>
                    <a:lnTo>
                      <a:pt x="626993" y="22122"/>
                    </a:lnTo>
                    <a:lnTo>
                      <a:pt x="627145" y="22274"/>
                    </a:lnTo>
                    <a:lnTo>
                      <a:pt x="627145" y="22122"/>
                    </a:lnTo>
                    <a:lnTo>
                      <a:pt x="627145" y="21970"/>
                    </a:lnTo>
                    <a:close/>
                    <a:moveTo>
                      <a:pt x="591688" y="303"/>
                    </a:moveTo>
                    <a:lnTo>
                      <a:pt x="591385" y="0"/>
                    </a:lnTo>
                    <a:lnTo>
                      <a:pt x="591385" y="0"/>
                    </a:lnTo>
                    <a:lnTo>
                      <a:pt x="591537" y="303"/>
                    </a:lnTo>
                    <a:lnTo>
                      <a:pt x="591688" y="606"/>
                    </a:lnTo>
                    <a:lnTo>
                      <a:pt x="591840" y="909"/>
                    </a:lnTo>
                    <a:lnTo>
                      <a:pt x="591992" y="909"/>
                    </a:lnTo>
                    <a:lnTo>
                      <a:pt x="591992" y="606"/>
                    </a:lnTo>
                    <a:lnTo>
                      <a:pt x="591688" y="303"/>
                    </a:lnTo>
                    <a:close/>
                    <a:moveTo>
                      <a:pt x="341225" y="841395"/>
                    </a:moveTo>
                    <a:lnTo>
                      <a:pt x="338800" y="839728"/>
                    </a:lnTo>
                    <a:lnTo>
                      <a:pt x="331679" y="839273"/>
                    </a:lnTo>
                    <a:lnTo>
                      <a:pt x="330315" y="840031"/>
                    </a:lnTo>
                    <a:lnTo>
                      <a:pt x="328951" y="841243"/>
                    </a:lnTo>
                    <a:lnTo>
                      <a:pt x="326375" y="842455"/>
                    </a:lnTo>
                    <a:lnTo>
                      <a:pt x="324103" y="843970"/>
                    </a:lnTo>
                    <a:lnTo>
                      <a:pt x="321982" y="847152"/>
                    </a:lnTo>
                    <a:lnTo>
                      <a:pt x="319557" y="850031"/>
                    </a:lnTo>
                    <a:lnTo>
                      <a:pt x="316678" y="852001"/>
                    </a:lnTo>
                    <a:lnTo>
                      <a:pt x="313497" y="853061"/>
                    </a:lnTo>
                    <a:lnTo>
                      <a:pt x="311830" y="853213"/>
                    </a:lnTo>
                    <a:lnTo>
                      <a:pt x="308799" y="852910"/>
                    </a:lnTo>
                    <a:lnTo>
                      <a:pt x="298041" y="849880"/>
                    </a:lnTo>
                    <a:lnTo>
                      <a:pt x="293799" y="848062"/>
                    </a:lnTo>
                    <a:lnTo>
                      <a:pt x="285011" y="843364"/>
                    </a:lnTo>
                    <a:lnTo>
                      <a:pt x="283646" y="842909"/>
                    </a:lnTo>
                    <a:lnTo>
                      <a:pt x="282283" y="843061"/>
                    </a:lnTo>
                    <a:lnTo>
                      <a:pt x="280010" y="842304"/>
                    </a:lnTo>
                    <a:lnTo>
                      <a:pt x="278040" y="840940"/>
                    </a:lnTo>
                    <a:lnTo>
                      <a:pt x="277889" y="840182"/>
                    </a:lnTo>
                    <a:lnTo>
                      <a:pt x="278495" y="839728"/>
                    </a:lnTo>
                    <a:lnTo>
                      <a:pt x="280617" y="840485"/>
                    </a:lnTo>
                    <a:lnTo>
                      <a:pt x="280162" y="838970"/>
                    </a:lnTo>
                    <a:lnTo>
                      <a:pt x="276829" y="835788"/>
                    </a:lnTo>
                    <a:lnTo>
                      <a:pt x="275010" y="828515"/>
                    </a:lnTo>
                    <a:lnTo>
                      <a:pt x="273798" y="820788"/>
                    </a:lnTo>
                    <a:lnTo>
                      <a:pt x="272889" y="818212"/>
                    </a:lnTo>
                    <a:lnTo>
                      <a:pt x="271222" y="815939"/>
                    </a:lnTo>
                    <a:lnTo>
                      <a:pt x="270919" y="813818"/>
                    </a:lnTo>
                    <a:lnTo>
                      <a:pt x="268494" y="814121"/>
                    </a:lnTo>
                    <a:lnTo>
                      <a:pt x="264252" y="808817"/>
                    </a:lnTo>
                    <a:lnTo>
                      <a:pt x="263495" y="806999"/>
                    </a:lnTo>
                    <a:lnTo>
                      <a:pt x="262434" y="805484"/>
                    </a:lnTo>
                    <a:lnTo>
                      <a:pt x="260767" y="806242"/>
                    </a:lnTo>
                    <a:lnTo>
                      <a:pt x="260313" y="807908"/>
                    </a:lnTo>
                    <a:lnTo>
                      <a:pt x="261373" y="808969"/>
                    </a:lnTo>
                    <a:lnTo>
                      <a:pt x="262282" y="810333"/>
                    </a:lnTo>
                    <a:lnTo>
                      <a:pt x="263040" y="812000"/>
                    </a:lnTo>
                    <a:lnTo>
                      <a:pt x="263495" y="813818"/>
                    </a:lnTo>
                    <a:lnTo>
                      <a:pt x="263192" y="815636"/>
                    </a:lnTo>
                    <a:lnTo>
                      <a:pt x="263192" y="817454"/>
                    </a:lnTo>
                    <a:lnTo>
                      <a:pt x="264858" y="823060"/>
                    </a:lnTo>
                    <a:lnTo>
                      <a:pt x="265313" y="826545"/>
                    </a:lnTo>
                    <a:lnTo>
                      <a:pt x="264555" y="827909"/>
                    </a:lnTo>
                    <a:lnTo>
                      <a:pt x="262282" y="828364"/>
                    </a:lnTo>
                    <a:lnTo>
                      <a:pt x="260161" y="828061"/>
                    </a:lnTo>
                    <a:lnTo>
                      <a:pt x="259100" y="826394"/>
                    </a:lnTo>
                    <a:lnTo>
                      <a:pt x="258494" y="822757"/>
                    </a:lnTo>
                    <a:lnTo>
                      <a:pt x="257737" y="821242"/>
                    </a:lnTo>
                    <a:lnTo>
                      <a:pt x="256221" y="820485"/>
                    </a:lnTo>
                    <a:lnTo>
                      <a:pt x="250767" y="818666"/>
                    </a:lnTo>
                    <a:lnTo>
                      <a:pt x="248191" y="816848"/>
                    </a:lnTo>
                    <a:lnTo>
                      <a:pt x="247282" y="817303"/>
                    </a:lnTo>
                    <a:lnTo>
                      <a:pt x="246525" y="818666"/>
                    </a:lnTo>
                    <a:lnTo>
                      <a:pt x="245464" y="817454"/>
                    </a:lnTo>
                    <a:lnTo>
                      <a:pt x="244100" y="816848"/>
                    </a:lnTo>
                    <a:lnTo>
                      <a:pt x="241978" y="816545"/>
                    </a:lnTo>
                    <a:lnTo>
                      <a:pt x="241827" y="815181"/>
                    </a:lnTo>
                    <a:lnTo>
                      <a:pt x="242737" y="814424"/>
                    </a:lnTo>
                    <a:lnTo>
                      <a:pt x="243494" y="810484"/>
                    </a:lnTo>
                    <a:lnTo>
                      <a:pt x="244705" y="809272"/>
                    </a:lnTo>
                    <a:lnTo>
                      <a:pt x="242887" y="805484"/>
                    </a:lnTo>
                    <a:lnTo>
                      <a:pt x="243646" y="803969"/>
                    </a:lnTo>
                    <a:lnTo>
                      <a:pt x="243494" y="802302"/>
                    </a:lnTo>
                    <a:lnTo>
                      <a:pt x="244251" y="799726"/>
                    </a:lnTo>
                    <a:lnTo>
                      <a:pt x="238797" y="792605"/>
                    </a:lnTo>
                    <a:lnTo>
                      <a:pt x="237281" y="790332"/>
                    </a:lnTo>
                    <a:lnTo>
                      <a:pt x="235311" y="786544"/>
                    </a:lnTo>
                    <a:lnTo>
                      <a:pt x="233039" y="783816"/>
                    </a:lnTo>
                    <a:lnTo>
                      <a:pt x="232887" y="783059"/>
                    </a:lnTo>
                    <a:lnTo>
                      <a:pt x="236827" y="783665"/>
                    </a:lnTo>
                    <a:lnTo>
                      <a:pt x="238190" y="783362"/>
                    </a:lnTo>
                    <a:lnTo>
                      <a:pt x="236220" y="779726"/>
                    </a:lnTo>
                    <a:lnTo>
                      <a:pt x="236827" y="778513"/>
                    </a:lnTo>
                    <a:lnTo>
                      <a:pt x="237129" y="777149"/>
                    </a:lnTo>
                    <a:lnTo>
                      <a:pt x="235009" y="773210"/>
                    </a:lnTo>
                    <a:lnTo>
                      <a:pt x="233796" y="771847"/>
                    </a:lnTo>
                    <a:lnTo>
                      <a:pt x="232887" y="770483"/>
                    </a:lnTo>
                    <a:lnTo>
                      <a:pt x="233039" y="770483"/>
                    </a:lnTo>
                    <a:lnTo>
                      <a:pt x="232432" y="769119"/>
                    </a:lnTo>
                    <a:lnTo>
                      <a:pt x="230918" y="766695"/>
                    </a:lnTo>
                    <a:lnTo>
                      <a:pt x="229857" y="766846"/>
                    </a:lnTo>
                    <a:lnTo>
                      <a:pt x="227735" y="768513"/>
                    </a:lnTo>
                    <a:lnTo>
                      <a:pt x="226069" y="768210"/>
                    </a:lnTo>
                    <a:lnTo>
                      <a:pt x="225463" y="766998"/>
                    </a:lnTo>
                    <a:lnTo>
                      <a:pt x="225160" y="765634"/>
                    </a:lnTo>
                    <a:lnTo>
                      <a:pt x="225463" y="764271"/>
                    </a:lnTo>
                    <a:lnTo>
                      <a:pt x="225008" y="763361"/>
                    </a:lnTo>
                    <a:lnTo>
                      <a:pt x="220008" y="760785"/>
                    </a:lnTo>
                    <a:lnTo>
                      <a:pt x="217887" y="759876"/>
                    </a:lnTo>
                    <a:lnTo>
                      <a:pt x="216978" y="760331"/>
                    </a:lnTo>
                    <a:lnTo>
                      <a:pt x="216220" y="761240"/>
                    </a:lnTo>
                    <a:lnTo>
                      <a:pt x="215008" y="760785"/>
                    </a:lnTo>
                    <a:lnTo>
                      <a:pt x="213796" y="759270"/>
                    </a:lnTo>
                    <a:lnTo>
                      <a:pt x="207734" y="757452"/>
                    </a:lnTo>
                    <a:lnTo>
                      <a:pt x="206825" y="756846"/>
                    </a:lnTo>
                    <a:lnTo>
                      <a:pt x="207129" y="754270"/>
                    </a:lnTo>
                    <a:lnTo>
                      <a:pt x="205310" y="755937"/>
                    </a:lnTo>
                    <a:lnTo>
                      <a:pt x="204250" y="757452"/>
                    </a:lnTo>
                    <a:lnTo>
                      <a:pt x="202735" y="758513"/>
                    </a:lnTo>
                    <a:lnTo>
                      <a:pt x="202280" y="757149"/>
                    </a:lnTo>
                    <a:lnTo>
                      <a:pt x="201522" y="756088"/>
                    </a:lnTo>
                    <a:lnTo>
                      <a:pt x="199856" y="754725"/>
                    </a:lnTo>
                    <a:lnTo>
                      <a:pt x="199553" y="753361"/>
                    </a:lnTo>
                    <a:lnTo>
                      <a:pt x="196370" y="748512"/>
                    </a:lnTo>
                    <a:lnTo>
                      <a:pt x="194855" y="746845"/>
                    </a:lnTo>
                    <a:lnTo>
                      <a:pt x="193795" y="745027"/>
                    </a:lnTo>
                    <a:lnTo>
                      <a:pt x="195916" y="741694"/>
                    </a:lnTo>
                    <a:lnTo>
                      <a:pt x="191219" y="741845"/>
                    </a:lnTo>
                    <a:lnTo>
                      <a:pt x="186674" y="742603"/>
                    </a:lnTo>
                    <a:lnTo>
                      <a:pt x="190916" y="748058"/>
                    </a:lnTo>
                    <a:lnTo>
                      <a:pt x="195461" y="753209"/>
                    </a:lnTo>
                    <a:lnTo>
                      <a:pt x="197886" y="756391"/>
                    </a:lnTo>
                    <a:lnTo>
                      <a:pt x="199856" y="759876"/>
                    </a:lnTo>
                    <a:lnTo>
                      <a:pt x="199856" y="763210"/>
                    </a:lnTo>
                    <a:lnTo>
                      <a:pt x="197886" y="765785"/>
                    </a:lnTo>
                    <a:lnTo>
                      <a:pt x="199099" y="767149"/>
                    </a:lnTo>
                    <a:lnTo>
                      <a:pt x="200917" y="769725"/>
                    </a:lnTo>
                    <a:lnTo>
                      <a:pt x="202128" y="770028"/>
                    </a:lnTo>
                    <a:lnTo>
                      <a:pt x="202583" y="770786"/>
                    </a:lnTo>
                    <a:lnTo>
                      <a:pt x="202583" y="772150"/>
                    </a:lnTo>
                    <a:lnTo>
                      <a:pt x="203189" y="773210"/>
                    </a:lnTo>
                    <a:lnTo>
                      <a:pt x="204856" y="775028"/>
                    </a:lnTo>
                    <a:lnTo>
                      <a:pt x="205614" y="774422"/>
                    </a:lnTo>
                    <a:lnTo>
                      <a:pt x="207129" y="771847"/>
                    </a:lnTo>
                    <a:lnTo>
                      <a:pt x="208341" y="770634"/>
                    </a:lnTo>
                    <a:lnTo>
                      <a:pt x="209553" y="769573"/>
                    </a:lnTo>
                    <a:lnTo>
                      <a:pt x="210613" y="768968"/>
                    </a:lnTo>
                    <a:lnTo>
                      <a:pt x="211826" y="769119"/>
                    </a:lnTo>
                    <a:lnTo>
                      <a:pt x="211372" y="770331"/>
                    </a:lnTo>
                    <a:lnTo>
                      <a:pt x="210765" y="771240"/>
                    </a:lnTo>
                    <a:lnTo>
                      <a:pt x="207886" y="773361"/>
                    </a:lnTo>
                    <a:lnTo>
                      <a:pt x="206068" y="775938"/>
                    </a:lnTo>
                    <a:lnTo>
                      <a:pt x="220614" y="795635"/>
                    </a:lnTo>
                    <a:lnTo>
                      <a:pt x="221827" y="797605"/>
                    </a:lnTo>
                    <a:lnTo>
                      <a:pt x="223493" y="801393"/>
                    </a:lnTo>
                    <a:lnTo>
                      <a:pt x="224706" y="802302"/>
                    </a:lnTo>
                    <a:lnTo>
                      <a:pt x="226069" y="801847"/>
                    </a:lnTo>
                    <a:lnTo>
                      <a:pt x="226674" y="800332"/>
                    </a:lnTo>
                    <a:lnTo>
                      <a:pt x="226069" y="799120"/>
                    </a:lnTo>
                    <a:lnTo>
                      <a:pt x="222281" y="794726"/>
                    </a:lnTo>
                    <a:lnTo>
                      <a:pt x="219857" y="790787"/>
                    </a:lnTo>
                    <a:lnTo>
                      <a:pt x="219553" y="788817"/>
                    </a:lnTo>
                    <a:lnTo>
                      <a:pt x="219705" y="787453"/>
                    </a:lnTo>
                    <a:lnTo>
                      <a:pt x="221220" y="790938"/>
                    </a:lnTo>
                    <a:lnTo>
                      <a:pt x="223038" y="794120"/>
                    </a:lnTo>
                    <a:lnTo>
                      <a:pt x="228948" y="798059"/>
                    </a:lnTo>
                    <a:lnTo>
                      <a:pt x="229553" y="797908"/>
                    </a:lnTo>
                    <a:lnTo>
                      <a:pt x="228796" y="796393"/>
                    </a:lnTo>
                    <a:lnTo>
                      <a:pt x="229251" y="795332"/>
                    </a:lnTo>
                    <a:lnTo>
                      <a:pt x="230160" y="795635"/>
                    </a:lnTo>
                    <a:lnTo>
                      <a:pt x="232584" y="797757"/>
                    </a:lnTo>
                    <a:lnTo>
                      <a:pt x="232584" y="798817"/>
                    </a:lnTo>
                    <a:lnTo>
                      <a:pt x="231373" y="800332"/>
                    </a:lnTo>
                    <a:lnTo>
                      <a:pt x="231373" y="801999"/>
                    </a:lnTo>
                    <a:lnTo>
                      <a:pt x="232887" y="802908"/>
                    </a:lnTo>
                    <a:lnTo>
                      <a:pt x="233948" y="804272"/>
                    </a:lnTo>
                    <a:lnTo>
                      <a:pt x="234100" y="806090"/>
                    </a:lnTo>
                    <a:lnTo>
                      <a:pt x="233493" y="807757"/>
                    </a:lnTo>
                    <a:lnTo>
                      <a:pt x="232736" y="808969"/>
                    </a:lnTo>
                    <a:lnTo>
                      <a:pt x="228494" y="805333"/>
                    </a:lnTo>
                    <a:lnTo>
                      <a:pt x="226978" y="805635"/>
                    </a:lnTo>
                    <a:lnTo>
                      <a:pt x="232282" y="812909"/>
                    </a:lnTo>
                    <a:lnTo>
                      <a:pt x="232887" y="814272"/>
                    </a:lnTo>
                    <a:lnTo>
                      <a:pt x="233948" y="817909"/>
                    </a:lnTo>
                    <a:lnTo>
                      <a:pt x="234857" y="819727"/>
                    </a:lnTo>
                    <a:lnTo>
                      <a:pt x="236524" y="820788"/>
                    </a:lnTo>
                    <a:lnTo>
                      <a:pt x="238342" y="821242"/>
                    </a:lnTo>
                    <a:lnTo>
                      <a:pt x="240160" y="820788"/>
                    </a:lnTo>
                    <a:lnTo>
                      <a:pt x="241978" y="820030"/>
                    </a:lnTo>
                    <a:lnTo>
                      <a:pt x="243342" y="819878"/>
                    </a:lnTo>
                    <a:lnTo>
                      <a:pt x="247434" y="824273"/>
                    </a:lnTo>
                    <a:lnTo>
                      <a:pt x="245615" y="824424"/>
                    </a:lnTo>
                    <a:lnTo>
                      <a:pt x="243948" y="825030"/>
                    </a:lnTo>
                    <a:lnTo>
                      <a:pt x="242433" y="826242"/>
                    </a:lnTo>
                    <a:lnTo>
                      <a:pt x="242130" y="828364"/>
                    </a:lnTo>
                    <a:lnTo>
                      <a:pt x="240160" y="824424"/>
                    </a:lnTo>
                    <a:lnTo>
                      <a:pt x="238797" y="823818"/>
                    </a:lnTo>
                    <a:lnTo>
                      <a:pt x="238190" y="824727"/>
                    </a:lnTo>
                    <a:lnTo>
                      <a:pt x="240615" y="830182"/>
                    </a:lnTo>
                    <a:lnTo>
                      <a:pt x="241524" y="831849"/>
                    </a:lnTo>
                    <a:lnTo>
                      <a:pt x="243191" y="832303"/>
                    </a:lnTo>
                    <a:lnTo>
                      <a:pt x="242585" y="833970"/>
                    </a:lnTo>
                    <a:lnTo>
                      <a:pt x="242130" y="835637"/>
                    </a:lnTo>
                    <a:lnTo>
                      <a:pt x="242737" y="837455"/>
                    </a:lnTo>
                    <a:lnTo>
                      <a:pt x="245312" y="843213"/>
                    </a:lnTo>
                    <a:lnTo>
                      <a:pt x="247584" y="847001"/>
                    </a:lnTo>
                    <a:lnTo>
                      <a:pt x="246221" y="847455"/>
                    </a:lnTo>
                    <a:lnTo>
                      <a:pt x="245009" y="848364"/>
                    </a:lnTo>
                    <a:lnTo>
                      <a:pt x="244100" y="849880"/>
                    </a:lnTo>
                    <a:lnTo>
                      <a:pt x="245161" y="853971"/>
                    </a:lnTo>
                    <a:lnTo>
                      <a:pt x="244251" y="856395"/>
                    </a:lnTo>
                    <a:lnTo>
                      <a:pt x="241676" y="860335"/>
                    </a:lnTo>
                    <a:lnTo>
                      <a:pt x="240008" y="866698"/>
                    </a:lnTo>
                    <a:lnTo>
                      <a:pt x="239099" y="872304"/>
                    </a:lnTo>
                    <a:lnTo>
                      <a:pt x="238494" y="878062"/>
                    </a:lnTo>
                    <a:lnTo>
                      <a:pt x="237584" y="879880"/>
                    </a:lnTo>
                    <a:lnTo>
                      <a:pt x="234706" y="882608"/>
                    </a:lnTo>
                    <a:lnTo>
                      <a:pt x="233039" y="883820"/>
                    </a:lnTo>
                    <a:lnTo>
                      <a:pt x="231827" y="884123"/>
                    </a:lnTo>
                    <a:lnTo>
                      <a:pt x="230614" y="884123"/>
                    </a:lnTo>
                    <a:lnTo>
                      <a:pt x="224099" y="886093"/>
                    </a:lnTo>
                    <a:lnTo>
                      <a:pt x="217887" y="889578"/>
                    </a:lnTo>
                    <a:lnTo>
                      <a:pt x="216826" y="890487"/>
                    </a:lnTo>
                    <a:lnTo>
                      <a:pt x="216220" y="891851"/>
                    </a:lnTo>
                    <a:lnTo>
                      <a:pt x="215765" y="893518"/>
                    </a:lnTo>
                    <a:lnTo>
                      <a:pt x="215765" y="895184"/>
                    </a:lnTo>
                    <a:lnTo>
                      <a:pt x="216220" y="897002"/>
                    </a:lnTo>
                    <a:lnTo>
                      <a:pt x="216978" y="898518"/>
                    </a:lnTo>
                    <a:lnTo>
                      <a:pt x="220311" y="901245"/>
                    </a:lnTo>
                    <a:lnTo>
                      <a:pt x="226220" y="903063"/>
                    </a:lnTo>
                    <a:lnTo>
                      <a:pt x="231827" y="905488"/>
                    </a:lnTo>
                    <a:lnTo>
                      <a:pt x="234706" y="908366"/>
                    </a:lnTo>
                    <a:lnTo>
                      <a:pt x="237736" y="910791"/>
                    </a:lnTo>
                    <a:lnTo>
                      <a:pt x="241069" y="911852"/>
                    </a:lnTo>
                    <a:lnTo>
                      <a:pt x="244555" y="912306"/>
                    </a:lnTo>
                    <a:lnTo>
                      <a:pt x="249858" y="915337"/>
                    </a:lnTo>
                    <a:lnTo>
                      <a:pt x="253797" y="920640"/>
                    </a:lnTo>
                    <a:lnTo>
                      <a:pt x="255312" y="923367"/>
                    </a:lnTo>
                    <a:lnTo>
                      <a:pt x="256525" y="926246"/>
                    </a:lnTo>
                    <a:lnTo>
                      <a:pt x="255010" y="933216"/>
                    </a:lnTo>
                    <a:lnTo>
                      <a:pt x="253949" y="937004"/>
                    </a:lnTo>
                    <a:lnTo>
                      <a:pt x="250009" y="944277"/>
                    </a:lnTo>
                    <a:lnTo>
                      <a:pt x="245312" y="951095"/>
                    </a:lnTo>
                    <a:lnTo>
                      <a:pt x="240917" y="956247"/>
                    </a:lnTo>
                    <a:lnTo>
                      <a:pt x="240160" y="957308"/>
                    </a:lnTo>
                    <a:lnTo>
                      <a:pt x="239554" y="958520"/>
                    </a:lnTo>
                    <a:lnTo>
                      <a:pt x="239706" y="959278"/>
                    </a:lnTo>
                    <a:lnTo>
                      <a:pt x="240463" y="959732"/>
                    </a:lnTo>
                    <a:lnTo>
                      <a:pt x="242887" y="959732"/>
                    </a:lnTo>
                    <a:lnTo>
                      <a:pt x="245161" y="958671"/>
                    </a:lnTo>
                    <a:lnTo>
                      <a:pt x="244555" y="957762"/>
                    </a:lnTo>
                    <a:lnTo>
                      <a:pt x="244857" y="956702"/>
                    </a:lnTo>
                    <a:lnTo>
                      <a:pt x="245766" y="956399"/>
                    </a:lnTo>
                    <a:lnTo>
                      <a:pt x="246675" y="957005"/>
                    </a:lnTo>
                    <a:lnTo>
                      <a:pt x="245918" y="958217"/>
                    </a:lnTo>
                    <a:lnTo>
                      <a:pt x="245918" y="962308"/>
                    </a:lnTo>
                    <a:lnTo>
                      <a:pt x="246070" y="962914"/>
                    </a:lnTo>
                    <a:lnTo>
                      <a:pt x="246675" y="963217"/>
                    </a:lnTo>
                    <a:lnTo>
                      <a:pt x="250767" y="961853"/>
                    </a:lnTo>
                    <a:lnTo>
                      <a:pt x="253797" y="962762"/>
                    </a:lnTo>
                    <a:lnTo>
                      <a:pt x="254251" y="963823"/>
                    </a:lnTo>
                    <a:lnTo>
                      <a:pt x="254858" y="966550"/>
                    </a:lnTo>
                    <a:lnTo>
                      <a:pt x="255312" y="967763"/>
                    </a:lnTo>
                    <a:lnTo>
                      <a:pt x="257737" y="968975"/>
                    </a:lnTo>
                    <a:lnTo>
                      <a:pt x="259707" y="967914"/>
                    </a:lnTo>
                    <a:lnTo>
                      <a:pt x="261525" y="966550"/>
                    </a:lnTo>
                    <a:lnTo>
                      <a:pt x="268040" y="962459"/>
                    </a:lnTo>
                    <a:lnTo>
                      <a:pt x="272282" y="959429"/>
                    </a:lnTo>
                    <a:lnTo>
                      <a:pt x="276222" y="955944"/>
                    </a:lnTo>
                    <a:lnTo>
                      <a:pt x="278344" y="953217"/>
                    </a:lnTo>
                    <a:lnTo>
                      <a:pt x="280010" y="949883"/>
                    </a:lnTo>
                    <a:lnTo>
                      <a:pt x="283646" y="944883"/>
                    </a:lnTo>
                    <a:lnTo>
                      <a:pt x="285314" y="941398"/>
                    </a:lnTo>
                    <a:lnTo>
                      <a:pt x="287283" y="938065"/>
                    </a:lnTo>
                    <a:lnTo>
                      <a:pt x="289708" y="934883"/>
                    </a:lnTo>
                    <a:lnTo>
                      <a:pt x="293344" y="930792"/>
                    </a:lnTo>
                    <a:lnTo>
                      <a:pt x="295466" y="925943"/>
                    </a:lnTo>
                    <a:lnTo>
                      <a:pt x="297738" y="923822"/>
                    </a:lnTo>
                    <a:lnTo>
                      <a:pt x="299708" y="921549"/>
                    </a:lnTo>
                    <a:lnTo>
                      <a:pt x="303193" y="913670"/>
                    </a:lnTo>
                    <a:lnTo>
                      <a:pt x="307133" y="906094"/>
                    </a:lnTo>
                    <a:lnTo>
                      <a:pt x="303193" y="903973"/>
                    </a:lnTo>
                    <a:lnTo>
                      <a:pt x="302435" y="902306"/>
                    </a:lnTo>
                    <a:lnTo>
                      <a:pt x="302284" y="900185"/>
                    </a:lnTo>
                    <a:lnTo>
                      <a:pt x="302738" y="896245"/>
                    </a:lnTo>
                    <a:lnTo>
                      <a:pt x="304860" y="893063"/>
                    </a:lnTo>
                    <a:lnTo>
                      <a:pt x="306072" y="891548"/>
                    </a:lnTo>
                    <a:lnTo>
                      <a:pt x="307435" y="890335"/>
                    </a:lnTo>
                    <a:lnTo>
                      <a:pt x="311981" y="888063"/>
                    </a:lnTo>
                    <a:lnTo>
                      <a:pt x="315011" y="887002"/>
                    </a:lnTo>
                    <a:lnTo>
                      <a:pt x="318194" y="886699"/>
                    </a:lnTo>
                    <a:lnTo>
                      <a:pt x="321830" y="887154"/>
                    </a:lnTo>
                    <a:lnTo>
                      <a:pt x="325466" y="887911"/>
                    </a:lnTo>
                    <a:lnTo>
                      <a:pt x="326679" y="888972"/>
                    </a:lnTo>
                    <a:lnTo>
                      <a:pt x="327891" y="891548"/>
                    </a:lnTo>
                    <a:lnTo>
                      <a:pt x="328800" y="892002"/>
                    </a:lnTo>
                    <a:lnTo>
                      <a:pt x="330315" y="888972"/>
                    </a:lnTo>
                    <a:lnTo>
                      <a:pt x="329861" y="887457"/>
                    </a:lnTo>
                    <a:lnTo>
                      <a:pt x="328951" y="886396"/>
                    </a:lnTo>
                    <a:lnTo>
                      <a:pt x="328800" y="885033"/>
                    </a:lnTo>
                    <a:lnTo>
                      <a:pt x="329406" y="879880"/>
                    </a:lnTo>
                    <a:lnTo>
                      <a:pt x="330618" y="875487"/>
                    </a:lnTo>
                    <a:lnTo>
                      <a:pt x="333649" y="874578"/>
                    </a:lnTo>
                    <a:lnTo>
                      <a:pt x="336225" y="872608"/>
                    </a:lnTo>
                    <a:lnTo>
                      <a:pt x="338649" y="870032"/>
                    </a:lnTo>
                    <a:lnTo>
                      <a:pt x="340013" y="866698"/>
                    </a:lnTo>
                    <a:lnTo>
                      <a:pt x="340922" y="858971"/>
                    </a:lnTo>
                    <a:lnTo>
                      <a:pt x="342134" y="851395"/>
                    </a:lnTo>
                    <a:lnTo>
                      <a:pt x="343649" y="848062"/>
                    </a:lnTo>
                    <a:lnTo>
                      <a:pt x="345467" y="845031"/>
                    </a:lnTo>
                    <a:lnTo>
                      <a:pt x="346073" y="842909"/>
                    </a:lnTo>
                    <a:lnTo>
                      <a:pt x="344406" y="841849"/>
                    </a:lnTo>
                    <a:lnTo>
                      <a:pt x="341225" y="841395"/>
                    </a:lnTo>
                    <a:close/>
                    <a:moveTo>
                      <a:pt x="220766" y="942762"/>
                    </a:moveTo>
                    <a:lnTo>
                      <a:pt x="220918" y="940338"/>
                    </a:lnTo>
                    <a:lnTo>
                      <a:pt x="219250" y="941398"/>
                    </a:lnTo>
                    <a:lnTo>
                      <a:pt x="218493" y="941550"/>
                    </a:lnTo>
                    <a:lnTo>
                      <a:pt x="216826" y="942913"/>
                    </a:lnTo>
                    <a:lnTo>
                      <a:pt x="216069" y="945792"/>
                    </a:lnTo>
                    <a:lnTo>
                      <a:pt x="215917" y="947156"/>
                    </a:lnTo>
                    <a:lnTo>
                      <a:pt x="219553" y="945338"/>
                    </a:lnTo>
                    <a:lnTo>
                      <a:pt x="220766" y="9427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4" name="Freeform: Shape 3193">
                <a:extLst>
                  <a:ext uri="{FF2B5EF4-FFF2-40B4-BE49-F238E27FC236}">
                    <a16:creationId xmlns:a16="http://schemas.microsoft.com/office/drawing/2014/main" id="{2D1187DF-46E4-4FDE-94B6-0E7816487CBF}"/>
                  </a:ext>
                </a:extLst>
              </p:cNvPr>
              <p:cNvSpPr/>
              <p:nvPr/>
            </p:nvSpPr>
            <p:spPr>
              <a:xfrm>
                <a:off x="6097969" y="5027768"/>
                <a:ext cx="370316" cy="343648"/>
              </a:xfrm>
              <a:custGeom>
                <a:avLst/>
                <a:gdLst>
                  <a:gd name="connsiteX0" fmla="*/ 365771 w 370316"/>
                  <a:gd name="connsiteY0" fmla="*/ 18637 h 343648"/>
                  <a:gd name="connsiteX1" fmla="*/ 363347 w 370316"/>
                  <a:gd name="connsiteY1" fmla="*/ 16819 h 343648"/>
                  <a:gd name="connsiteX2" fmla="*/ 361377 w 370316"/>
                  <a:gd name="connsiteY2" fmla="*/ 16061 h 343648"/>
                  <a:gd name="connsiteX3" fmla="*/ 355922 w 370316"/>
                  <a:gd name="connsiteY3" fmla="*/ 15304 h 343648"/>
                  <a:gd name="connsiteX4" fmla="*/ 343346 w 370316"/>
                  <a:gd name="connsiteY4" fmla="*/ 14394 h 343648"/>
                  <a:gd name="connsiteX5" fmla="*/ 342134 w 370316"/>
                  <a:gd name="connsiteY5" fmla="*/ 14546 h 343648"/>
                  <a:gd name="connsiteX6" fmla="*/ 336830 w 370316"/>
                  <a:gd name="connsiteY6" fmla="*/ 15455 h 343648"/>
                  <a:gd name="connsiteX7" fmla="*/ 330315 w 370316"/>
                  <a:gd name="connsiteY7" fmla="*/ 16516 h 343648"/>
                  <a:gd name="connsiteX8" fmla="*/ 324861 w 370316"/>
                  <a:gd name="connsiteY8" fmla="*/ 17576 h 343648"/>
                  <a:gd name="connsiteX9" fmla="*/ 318951 w 370316"/>
                  <a:gd name="connsiteY9" fmla="*/ 18788 h 343648"/>
                  <a:gd name="connsiteX10" fmla="*/ 310314 w 370316"/>
                  <a:gd name="connsiteY10" fmla="*/ 20455 h 343648"/>
                  <a:gd name="connsiteX11" fmla="*/ 298193 w 370316"/>
                  <a:gd name="connsiteY11" fmla="*/ 22728 h 343648"/>
                  <a:gd name="connsiteX12" fmla="*/ 290011 w 370316"/>
                  <a:gd name="connsiteY12" fmla="*/ 24395 h 343648"/>
                  <a:gd name="connsiteX13" fmla="*/ 280010 w 370316"/>
                  <a:gd name="connsiteY13" fmla="*/ 26213 h 343648"/>
                  <a:gd name="connsiteX14" fmla="*/ 273495 w 370316"/>
                  <a:gd name="connsiteY14" fmla="*/ 27425 h 343648"/>
                  <a:gd name="connsiteX15" fmla="*/ 265161 w 370316"/>
                  <a:gd name="connsiteY15" fmla="*/ 28940 h 343648"/>
                  <a:gd name="connsiteX16" fmla="*/ 263949 w 370316"/>
                  <a:gd name="connsiteY16" fmla="*/ 28940 h 343648"/>
                  <a:gd name="connsiteX17" fmla="*/ 261676 w 370316"/>
                  <a:gd name="connsiteY17" fmla="*/ 27880 h 343648"/>
                  <a:gd name="connsiteX18" fmla="*/ 256827 w 370316"/>
                  <a:gd name="connsiteY18" fmla="*/ 27577 h 343648"/>
                  <a:gd name="connsiteX19" fmla="*/ 251221 w 370316"/>
                  <a:gd name="connsiteY19" fmla="*/ 29092 h 343648"/>
                  <a:gd name="connsiteX20" fmla="*/ 246827 w 370316"/>
                  <a:gd name="connsiteY20" fmla="*/ 29395 h 343648"/>
                  <a:gd name="connsiteX21" fmla="*/ 243494 w 370316"/>
                  <a:gd name="connsiteY21" fmla="*/ 28789 h 343648"/>
                  <a:gd name="connsiteX22" fmla="*/ 240312 w 370316"/>
                  <a:gd name="connsiteY22" fmla="*/ 27577 h 343648"/>
                  <a:gd name="connsiteX23" fmla="*/ 237130 w 370316"/>
                  <a:gd name="connsiteY23" fmla="*/ 25758 h 343648"/>
                  <a:gd name="connsiteX24" fmla="*/ 231827 w 370316"/>
                  <a:gd name="connsiteY24" fmla="*/ 25001 h 343648"/>
                  <a:gd name="connsiteX25" fmla="*/ 223948 w 370316"/>
                  <a:gd name="connsiteY25" fmla="*/ 25607 h 343648"/>
                  <a:gd name="connsiteX26" fmla="*/ 216523 w 370316"/>
                  <a:gd name="connsiteY26" fmla="*/ 25152 h 343648"/>
                  <a:gd name="connsiteX27" fmla="*/ 209402 w 370316"/>
                  <a:gd name="connsiteY27" fmla="*/ 23940 h 343648"/>
                  <a:gd name="connsiteX28" fmla="*/ 204250 w 370316"/>
                  <a:gd name="connsiteY28" fmla="*/ 23486 h 343648"/>
                  <a:gd name="connsiteX29" fmla="*/ 201220 w 370316"/>
                  <a:gd name="connsiteY29" fmla="*/ 23789 h 343648"/>
                  <a:gd name="connsiteX30" fmla="*/ 197886 w 370316"/>
                  <a:gd name="connsiteY30" fmla="*/ 23334 h 343648"/>
                  <a:gd name="connsiteX31" fmla="*/ 194250 w 370316"/>
                  <a:gd name="connsiteY31" fmla="*/ 22274 h 343648"/>
                  <a:gd name="connsiteX32" fmla="*/ 191371 w 370316"/>
                  <a:gd name="connsiteY32" fmla="*/ 20607 h 343648"/>
                  <a:gd name="connsiteX33" fmla="*/ 187734 w 370316"/>
                  <a:gd name="connsiteY33" fmla="*/ 16819 h 343648"/>
                  <a:gd name="connsiteX34" fmla="*/ 185007 w 370316"/>
                  <a:gd name="connsiteY34" fmla="*/ 13182 h 343648"/>
                  <a:gd name="connsiteX35" fmla="*/ 184249 w 370316"/>
                  <a:gd name="connsiteY35" fmla="*/ 12728 h 343648"/>
                  <a:gd name="connsiteX36" fmla="*/ 183491 w 370316"/>
                  <a:gd name="connsiteY36" fmla="*/ 12121 h 343648"/>
                  <a:gd name="connsiteX37" fmla="*/ 182582 w 370316"/>
                  <a:gd name="connsiteY37" fmla="*/ 11970 h 343648"/>
                  <a:gd name="connsiteX38" fmla="*/ 174703 w 370316"/>
                  <a:gd name="connsiteY38" fmla="*/ 11970 h 343648"/>
                  <a:gd name="connsiteX39" fmla="*/ 167279 w 370316"/>
                  <a:gd name="connsiteY39" fmla="*/ 11819 h 343648"/>
                  <a:gd name="connsiteX40" fmla="*/ 162885 w 370316"/>
                  <a:gd name="connsiteY40" fmla="*/ 11819 h 343648"/>
                  <a:gd name="connsiteX41" fmla="*/ 152430 w 370316"/>
                  <a:gd name="connsiteY41" fmla="*/ 11819 h 343648"/>
                  <a:gd name="connsiteX42" fmla="*/ 141975 w 370316"/>
                  <a:gd name="connsiteY42" fmla="*/ 11819 h 343648"/>
                  <a:gd name="connsiteX43" fmla="*/ 131520 w 370316"/>
                  <a:gd name="connsiteY43" fmla="*/ 11819 h 343648"/>
                  <a:gd name="connsiteX44" fmla="*/ 121065 w 370316"/>
                  <a:gd name="connsiteY44" fmla="*/ 11819 h 343648"/>
                  <a:gd name="connsiteX45" fmla="*/ 110610 w 370316"/>
                  <a:gd name="connsiteY45" fmla="*/ 11819 h 343648"/>
                  <a:gd name="connsiteX46" fmla="*/ 100155 w 370316"/>
                  <a:gd name="connsiteY46" fmla="*/ 11819 h 343648"/>
                  <a:gd name="connsiteX47" fmla="*/ 89700 w 370316"/>
                  <a:gd name="connsiteY47" fmla="*/ 11667 h 343648"/>
                  <a:gd name="connsiteX48" fmla="*/ 79245 w 370316"/>
                  <a:gd name="connsiteY48" fmla="*/ 11667 h 343648"/>
                  <a:gd name="connsiteX49" fmla="*/ 73639 w 370316"/>
                  <a:gd name="connsiteY49" fmla="*/ 11667 h 343648"/>
                  <a:gd name="connsiteX50" fmla="*/ 68487 w 370316"/>
                  <a:gd name="connsiteY50" fmla="*/ 11970 h 343648"/>
                  <a:gd name="connsiteX51" fmla="*/ 62729 w 370316"/>
                  <a:gd name="connsiteY51" fmla="*/ 12273 h 343648"/>
                  <a:gd name="connsiteX52" fmla="*/ 61972 w 370316"/>
                  <a:gd name="connsiteY52" fmla="*/ 12121 h 343648"/>
                  <a:gd name="connsiteX53" fmla="*/ 60608 w 370316"/>
                  <a:gd name="connsiteY53" fmla="*/ 11667 h 343648"/>
                  <a:gd name="connsiteX54" fmla="*/ 59699 w 370316"/>
                  <a:gd name="connsiteY54" fmla="*/ 10910 h 343648"/>
                  <a:gd name="connsiteX55" fmla="*/ 56517 w 370316"/>
                  <a:gd name="connsiteY55" fmla="*/ 8940 h 343648"/>
                  <a:gd name="connsiteX56" fmla="*/ 53941 w 370316"/>
                  <a:gd name="connsiteY56" fmla="*/ 7424 h 343648"/>
                  <a:gd name="connsiteX57" fmla="*/ 50305 w 370316"/>
                  <a:gd name="connsiteY57" fmla="*/ 4849 h 343648"/>
                  <a:gd name="connsiteX58" fmla="*/ 47881 w 370316"/>
                  <a:gd name="connsiteY58" fmla="*/ 1970 h 343648"/>
                  <a:gd name="connsiteX59" fmla="*/ 45911 w 370316"/>
                  <a:gd name="connsiteY59" fmla="*/ 1061 h 343648"/>
                  <a:gd name="connsiteX60" fmla="*/ 42426 w 370316"/>
                  <a:gd name="connsiteY60" fmla="*/ 606 h 343648"/>
                  <a:gd name="connsiteX61" fmla="*/ 39850 w 370316"/>
                  <a:gd name="connsiteY61" fmla="*/ 0 h 343648"/>
                  <a:gd name="connsiteX62" fmla="*/ 37729 w 370316"/>
                  <a:gd name="connsiteY62" fmla="*/ 0 h 343648"/>
                  <a:gd name="connsiteX63" fmla="*/ 33941 w 370316"/>
                  <a:gd name="connsiteY63" fmla="*/ 1212 h 343648"/>
                  <a:gd name="connsiteX64" fmla="*/ 31062 w 370316"/>
                  <a:gd name="connsiteY64" fmla="*/ 2576 h 343648"/>
                  <a:gd name="connsiteX65" fmla="*/ 29092 w 370316"/>
                  <a:gd name="connsiteY65" fmla="*/ 3939 h 343648"/>
                  <a:gd name="connsiteX66" fmla="*/ 25455 w 370316"/>
                  <a:gd name="connsiteY66" fmla="*/ 5303 h 343648"/>
                  <a:gd name="connsiteX67" fmla="*/ 22576 w 370316"/>
                  <a:gd name="connsiteY67" fmla="*/ 6818 h 343648"/>
                  <a:gd name="connsiteX68" fmla="*/ 17425 w 370316"/>
                  <a:gd name="connsiteY68" fmla="*/ 6667 h 343648"/>
                  <a:gd name="connsiteX69" fmla="*/ 16213 w 370316"/>
                  <a:gd name="connsiteY69" fmla="*/ 6818 h 343648"/>
                  <a:gd name="connsiteX70" fmla="*/ 13334 w 370316"/>
                  <a:gd name="connsiteY70" fmla="*/ 6667 h 343648"/>
                  <a:gd name="connsiteX71" fmla="*/ 10606 w 370316"/>
                  <a:gd name="connsiteY71" fmla="*/ 5455 h 343648"/>
                  <a:gd name="connsiteX72" fmla="*/ 7879 w 370316"/>
                  <a:gd name="connsiteY72" fmla="*/ 5606 h 343648"/>
                  <a:gd name="connsiteX73" fmla="*/ 4849 w 370316"/>
                  <a:gd name="connsiteY73" fmla="*/ 7121 h 343648"/>
                  <a:gd name="connsiteX74" fmla="*/ 455 w 370316"/>
                  <a:gd name="connsiteY74" fmla="*/ 7879 h 343648"/>
                  <a:gd name="connsiteX75" fmla="*/ 0 w 370316"/>
                  <a:gd name="connsiteY75" fmla="*/ 13940 h 343648"/>
                  <a:gd name="connsiteX76" fmla="*/ 303 w 370316"/>
                  <a:gd name="connsiteY76" fmla="*/ 21819 h 343648"/>
                  <a:gd name="connsiteX77" fmla="*/ 1364 w 370316"/>
                  <a:gd name="connsiteY77" fmla="*/ 28940 h 343648"/>
                  <a:gd name="connsiteX78" fmla="*/ 6212 w 370316"/>
                  <a:gd name="connsiteY78" fmla="*/ 36516 h 343648"/>
                  <a:gd name="connsiteX79" fmla="*/ 8637 w 370316"/>
                  <a:gd name="connsiteY79" fmla="*/ 42123 h 343648"/>
                  <a:gd name="connsiteX80" fmla="*/ 10152 w 370316"/>
                  <a:gd name="connsiteY80" fmla="*/ 44092 h 343648"/>
                  <a:gd name="connsiteX81" fmla="*/ 16516 w 370316"/>
                  <a:gd name="connsiteY81" fmla="*/ 50002 h 343648"/>
                  <a:gd name="connsiteX82" fmla="*/ 20152 w 370316"/>
                  <a:gd name="connsiteY82" fmla="*/ 55002 h 343648"/>
                  <a:gd name="connsiteX83" fmla="*/ 36062 w 370316"/>
                  <a:gd name="connsiteY83" fmla="*/ 86064 h 343648"/>
                  <a:gd name="connsiteX84" fmla="*/ 39547 w 370316"/>
                  <a:gd name="connsiteY84" fmla="*/ 90458 h 343648"/>
                  <a:gd name="connsiteX85" fmla="*/ 42729 w 370316"/>
                  <a:gd name="connsiteY85" fmla="*/ 100155 h 343648"/>
                  <a:gd name="connsiteX86" fmla="*/ 47274 w 370316"/>
                  <a:gd name="connsiteY86" fmla="*/ 111216 h 343648"/>
                  <a:gd name="connsiteX87" fmla="*/ 57881 w 370316"/>
                  <a:gd name="connsiteY87" fmla="*/ 127126 h 343648"/>
                  <a:gd name="connsiteX88" fmla="*/ 59245 w 370316"/>
                  <a:gd name="connsiteY88" fmla="*/ 130914 h 343648"/>
                  <a:gd name="connsiteX89" fmla="*/ 61517 w 370316"/>
                  <a:gd name="connsiteY89" fmla="*/ 135459 h 343648"/>
                  <a:gd name="connsiteX90" fmla="*/ 71063 w 370316"/>
                  <a:gd name="connsiteY90" fmla="*/ 147581 h 343648"/>
                  <a:gd name="connsiteX91" fmla="*/ 75003 w 370316"/>
                  <a:gd name="connsiteY91" fmla="*/ 155006 h 343648"/>
                  <a:gd name="connsiteX92" fmla="*/ 76669 w 370316"/>
                  <a:gd name="connsiteY92" fmla="*/ 162127 h 343648"/>
                  <a:gd name="connsiteX93" fmla="*/ 76518 w 370316"/>
                  <a:gd name="connsiteY93" fmla="*/ 165157 h 343648"/>
                  <a:gd name="connsiteX94" fmla="*/ 75760 w 370316"/>
                  <a:gd name="connsiteY94" fmla="*/ 168491 h 343648"/>
                  <a:gd name="connsiteX95" fmla="*/ 74851 w 370316"/>
                  <a:gd name="connsiteY95" fmla="*/ 168036 h 343648"/>
                  <a:gd name="connsiteX96" fmla="*/ 74245 w 370316"/>
                  <a:gd name="connsiteY96" fmla="*/ 167279 h 343648"/>
                  <a:gd name="connsiteX97" fmla="*/ 73336 w 370316"/>
                  <a:gd name="connsiteY97" fmla="*/ 169855 h 343648"/>
                  <a:gd name="connsiteX98" fmla="*/ 73942 w 370316"/>
                  <a:gd name="connsiteY98" fmla="*/ 173037 h 343648"/>
                  <a:gd name="connsiteX99" fmla="*/ 75306 w 370316"/>
                  <a:gd name="connsiteY99" fmla="*/ 178794 h 343648"/>
                  <a:gd name="connsiteX100" fmla="*/ 75154 w 370316"/>
                  <a:gd name="connsiteY100" fmla="*/ 184401 h 343648"/>
                  <a:gd name="connsiteX101" fmla="*/ 75912 w 370316"/>
                  <a:gd name="connsiteY101" fmla="*/ 189249 h 343648"/>
                  <a:gd name="connsiteX102" fmla="*/ 75457 w 370316"/>
                  <a:gd name="connsiteY102" fmla="*/ 200916 h 343648"/>
                  <a:gd name="connsiteX103" fmla="*/ 76063 w 370316"/>
                  <a:gd name="connsiteY103" fmla="*/ 205310 h 343648"/>
                  <a:gd name="connsiteX104" fmla="*/ 79397 w 370316"/>
                  <a:gd name="connsiteY104" fmla="*/ 215311 h 343648"/>
                  <a:gd name="connsiteX105" fmla="*/ 83336 w 370316"/>
                  <a:gd name="connsiteY105" fmla="*/ 222281 h 343648"/>
                  <a:gd name="connsiteX106" fmla="*/ 85155 w 370316"/>
                  <a:gd name="connsiteY106" fmla="*/ 229402 h 343648"/>
                  <a:gd name="connsiteX107" fmla="*/ 84700 w 370316"/>
                  <a:gd name="connsiteY107" fmla="*/ 235463 h 343648"/>
                  <a:gd name="connsiteX108" fmla="*/ 84852 w 370316"/>
                  <a:gd name="connsiteY108" fmla="*/ 238797 h 343648"/>
                  <a:gd name="connsiteX109" fmla="*/ 85912 w 370316"/>
                  <a:gd name="connsiteY109" fmla="*/ 243797 h 343648"/>
                  <a:gd name="connsiteX110" fmla="*/ 85457 w 370316"/>
                  <a:gd name="connsiteY110" fmla="*/ 249403 h 343648"/>
                  <a:gd name="connsiteX111" fmla="*/ 87731 w 370316"/>
                  <a:gd name="connsiteY111" fmla="*/ 256221 h 343648"/>
                  <a:gd name="connsiteX112" fmla="*/ 88791 w 370316"/>
                  <a:gd name="connsiteY112" fmla="*/ 266676 h 343648"/>
                  <a:gd name="connsiteX113" fmla="*/ 92276 w 370316"/>
                  <a:gd name="connsiteY113" fmla="*/ 269858 h 343648"/>
                  <a:gd name="connsiteX114" fmla="*/ 93488 w 370316"/>
                  <a:gd name="connsiteY114" fmla="*/ 272283 h 343648"/>
                  <a:gd name="connsiteX115" fmla="*/ 94094 w 370316"/>
                  <a:gd name="connsiteY115" fmla="*/ 274859 h 343648"/>
                  <a:gd name="connsiteX116" fmla="*/ 93034 w 370316"/>
                  <a:gd name="connsiteY116" fmla="*/ 276980 h 343648"/>
                  <a:gd name="connsiteX117" fmla="*/ 93337 w 370316"/>
                  <a:gd name="connsiteY117" fmla="*/ 280465 h 343648"/>
                  <a:gd name="connsiteX118" fmla="*/ 95458 w 370316"/>
                  <a:gd name="connsiteY118" fmla="*/ 286525 h 343648"/>
                  <a:gd name="connsiteX119" fmla="*/ 97428 w 370316"/>
                  <a:gd name="connsiteY119" fmla="*/ 294708 h 343648"/>
                  <a:gd name="connsiteX120" fmla="*/ 98943 w 370316"/>
                  <a:gd name="connsiteY120" fmla="*/ 297889 h 343648"/>
                  <a:gd name="connsiteX121" fmla="*/ 109246 w 370316"/>
                  <a:gd name="connsiteY121" fmla="*/ 315012 h 343648"/>
                  <a:gd name="connsiteX122" fmla="*/ 113943 w 370316"/>
                  <a:gd name="connsiteY122" fmla="*/ 320466 h 343648"/>
                  <a:gd name="connsiteX123" fmla="*/ 117125 w 370316"/>
                  <a:gd name="connsiteY123" fmla="*/ 322891 h 343648"/>
                  <a:gd name="connsiteX124" fmla="*/ 126217 w 370316"/>
                  <a:gd name="connsiteY124" fmla="*/ 331830 h 343648"/>
                  <a:gd name="connsiteX125" fmla="*/ 129247 w 370316"/>
                  <a:gd name="connsiteY125" fmla="*/ 334255 h 343648"/>
                  <a:gd name="connsiteX126" fmla="*/ 130308 w 370316"/>
                  <a:gd name="connsiteY126" fmla="*/ 332891 h 343648"/>
                  <a:gd name="connsiteX127" fmla="*/ 134096 w 370316"/>
                  <a:gd name="connsiteY127" fmla="*/ 330315 h 343648"/>
                  <a:gd name="connsiteX128" fmla="*/ 135914 w 370316"/>
                  <a:gd name="connsiteY128" fmla="*/ 329709 h 343648"/>
                  <a:gd name="connsiteX129" fmla="*/ 136823 w 370316"/>
                  <a:gd name="connsiteY129" fmla="*/ 330012 h 343648"/>
                  <a:gd name="connsiteX130" fmla="*/ 137732 w 370316"/>
                  <a:gd name="connsiteY130" fmla="*/ 329254 h 343648"/>
                  <a:gd name="connsiteX131" fmla="*/ 138490 w 370316"/>
                  <a:gd name="connsiteY131" fmla="*/ 327588 h 343648"/>
                  <a:gd name="connsiteX132" fmla="*/ 138793 w 370316"/>
                  <a:gd name="connsiteY132" fmla="*/ 326072 h 343648"/>
                  <a:gd name="connsiteX133" fmla="*/ 139096 w 370316"/>
                  <a:gd name="connsiteY133" fmla="*/ 323800 h 343648"/>
                  <a:gd name="connsiteX134" fmla="*/ 140005 w 370316"/>
                  <a:gd name="connsiteY134" fmla="*/ 322436 h 343648"/>
                  <a:gd name="connsiteX135" fmla="*/ 140914 w 370316"/>
                  <a:gd name="connsiteY135" fmla="*/ 319709 h 343648"/>
                  <a:gd name="connsiteX136" fmla="*/ 142581 w 370316"/>
                  <a:gd name="connsiteY136" fmla="*/ 318042 h 343648"/>
                  <a:gd name="connsiteX137" fmla="*/ 145915 w 370316"/>
                  <a:gd name="connsiteY137" fmla="*/ 316981 h 343648"/>
                  <a:gd name="connsiteX138" fmla="*/ 148490 w 370316"/>
                  <a:gd name="connsiteY138" fmla="*/ 318345 h 343648"/>
                  <a:gd name="connsiteX139" fmla="*/ 149551 w 370316"/>
                  <a:gd name="connsiteY139" fmla="*/ 319860 h 343648"/>
                  <a:gd name="connsiteX140" fmla="*/ 150005 w 370316"/>
                  <a:gd name="connsiteY140" fmla="*/ 321830 h 343648"/>
                  <a:gd name="connsiteX141" fmla="*/ 151066 w 370316"/>
                  <a:gd name="connsiteY141" fmla="*/ 322739 h 343648"/>
                  <a:gd name="connsiteX142" fmla="*/ 152884 w 370316"/>
                  <a:gd name="connsiteY142" fmla="*/ 322739 h 343648"/>
                  <a:gd name="connsiteX143" fmla="*/ 154096 w 370316"/>
                  <a:gd name="connsiteY143" fmla="*/ 323951 h 343648"/>
                  <a:gd name="connsiteX144" fmla="*/ 154854 w 370316"/>
                  <a:gd name="connsiteY144" fmla="*/ 326376 h 343648"/>
                  <a:gd name="connsiteX145" fmla="*/ 154703 w 370316"/>
                  <a:gd name="connsiteY145" fmla="*/ 328194 h 343648"/>
                  <a:gd name="connsiteX146" fmla="*/ 153793 w 370316"/>
                  <a:gd name="connsiteY146" fmla="*/ 329254 h 343648"/>
                  <a:gd name="connsiteX147" fmla="*/ 153945 w 370316"/>
                  <a:gd name="connsiteY147" fmla="*/ 330769 h 343648"/>
                  <a:gd name="connsiteX148" fmla="*/ 155157 w 370316"/>
                  <a:gd name="connsiteY148" fmla="*/ 332588 h 343648"/>
                  <a:gd name="connsiteX149" fmla="*/ 155763 w 370316"/>
                  <a:gd name="connsiteY149" fmla="*/ 334255 h 343648"/>
                  <a:gd name="connsiteX150" fmla="*/ 156672 w 370316"/>
                  <a:gd name="connsiteY150" fmla="*/ 336527 h 343648"/>
                  <a:gd name="connsiteX151" fmla="*/ 161218 w 370316"/>
                  <a:gd name="connsiteY151" fmla="*/ 337891 h 343648"/>
                  <a:gd name="connsiteX152" fmla="*/ 163491 w 370316"/>
                  <a:gd name="connsiteY152" fmla="*/ 338649 h 343648"/>
                  <a:gd name="connsiteX153" fmla="*/ 167430 w 370316"/>
                  <a:gd name="connsiteY153" fmla="*/ 338952 h 343648"/>
                  <a:gd name="connsiteX154" fmla="*/ 171067 w 370316"/>
                  <a:gd name="connsiteY154" fmla="*/ 340012 h 343648"/>
                  <a:gd name="connsiteX155" fmla="*/ 174552 w 370316"/>
                  <a:gd name="connsiteY155" fmla="*/ 341679 h 343648"/>
                  <a:gd name="connsiteX156" fmla="*/ 180158 w 370316"/>
                  <a:gd name="connsiteY156" fmla="*/ 342134 h 343648"/>
                  <a:gd name="connsiteX157" fmla="*/ 188189 w 370316"/>
                  <a:gd name="connsiteY157" fmla="*/ 341224 h 343648"/>
                  <a:gd name="connsiteX158" fmla="*/ 194704 w 370316"/>
                  <a:gd name="connsiteY158" fmla="*/ 341679 h 343648"/>
                  <a:gd name="connsiteX159" fmla="*/ 199856 w 370316"/>
                  <a:gd name="connsiteY159" fmla="*/ 343346 h 343648"/>
                  <a:gd name="connsiteX160" fmla="*/ 203492 w 370316"/>
                  <a:gd name="connsiteY160" fmla="*/ 343649 h 343648"/>
                  <a:gd name="connsiteX161" fmla="*/ 205765 w 370316"/>
                  <a:gd name="connsiteY161" fmla="*/ 342588 h 343648"/>
                  <a:gd name="connsiteX162" fmla="*/ 206826 w 370316"/>
                  <a:gd name="connsiteY162" fmla="*/ 341073 h 343648"/>
                  <a:gd name="connsiteX163" fmla="*/ 206523 w 370316"/>
                  <a:gd name="connsiteY163" fmla="*/ 338952 h 343648"/>
                  <a:gd name="connsiteX164" fmla="*/ 207583 w 370316"/>
                  <a:gd name="connsiteY164" fmla="*/ 337588 h 343648"/>
                  <a:gd name="connsiteX165" fmla="*/ 210159 w 370316"/>
                  <a:gd name="connsiteY165" fmla="*/ 337134 h 343648"/>
                  <a:gd name="connsiteX166" fmla="*/ 212281 w 370316"/>
                  <a:gd name="connsiteY166" fmla="*/ 335467 h 343648"/>
                  <a:gd name="connsiteX167" fmla="*/ 213796 w 370316"/>
                  <a:gd name="connsiteY167" fmla="*/ 332891 h 343648"/>
                  <a:gd name="connsiteX168" fmla="*/ 217432 w 370316"/>
                  <a:gd name="connsiteY168" fmla="*/ 330921 h 343648"/>
                  <a:gd name="connsiteX169" fmla="*/ 223039 w 370316"/>
                  <a:gd name="connsiteY169" fmla="*/ 329254 h 343648"/>
                  <a:gd name="connsiteX170" fmla="*/ 225918 w 370316"/>
                  <a:gd name="connsiteY170" fmla="*/ 329254 h 343648"/>
                  <a:gd name="connsiteX171" fmla="*/ 225918 w 370316"/>
                  <a:gd name="connsiteY171" fmla="*/ 325163 h 343648"/>
                  <a:gd name="connsiteX172" fmla="*/ 225918 w 370316"/>
                  <a:gd name="connsiteY172" fmla="*/ 311981 h 343648"/>
                  <a:gd name="connsiteX173" fmla="*/ 225918 w 370316"/>
                  <a:gd name="connsiteY173" fmla="*/ 298950 h 343648"/>
                  <a:gd name="connsiteX174" fmla="*/ 225918 w 370316"/>
                  <a:gd name="connsiteY174" fmla="*/ 285919 h 343648"/>
                  <a:gd name="connsiteX175" fmla="*/ 225918 w 370316"/>
                  <a:gd name="connsiteY175" fmla="*/ 272889 h 343648"/>
                  <a:gd name="connsiteX176" fmla="*/ 225918 w 370316"/>
                  <a:gd name="connsiteY176" fmla="*/ 259858 h 343648"/>
                  <a:gd name="connsiteX177" fmla="*/ 225918 w 370316"/>
                  <a:gd name="connsiteY177" fmla="*/ 246979 h 343648"/>
                  <a:gd name="connsiteX178" fmla="*/ 225918 w 370316"/>
                  <a:gd name="connsiteY178" fmla="*/ 234099 h 343648"/>
                  <a:gd name="connsiteX179" fmla="*/ 225918 w 370316"/>
                  <a:gd name="connsiteY179" fmla="*/ 221978 h 343648"/>
                  <a:gd name="connsiteX180" fmla="*/ 225918 w 370316"/>
                  <a:gd name="connsiteY180" fmla="*/ 221220 h 343648"/>
                  <a:gd name="connsiteX181" fmla="*/ 225918 w 370316"/>
                  <a:gd name="connsiteY181" fmla="*/ 215008 h 343648"/>
                  <a:gd name="connsiteX182" fmla="*/ 225918 w 370316"/>
                  <a:gd name="connsiteY182" fmla="*/ 206674 h 343648"/>
                  <a:gd name="connsiteX183" fmla="*/ 225918 w 370316"/>
                  <a:gd name="connsiteY183" fmla="*/ 198341 h 343648"/>
                  <a:gd name="connsiteX184" fmla="*/ 225918 w 370316"/>
                  <a:gd name="connsiteY184" fmla="*/ 190158 h 343648"/>
                  <a:gd name="connsiteX185" fmla="*/ 225918 w 370316"/>
                  <a:gd name="connsiteY185" fmla="*/ 181825 h 343648"/>
                  <a:gd name="connsiteX186" fmla="*/ 225918 w 370316"/>
                  <a:gd name="connsiteY186" fmla="*/ 173643 h 343648"/>
                  <a:gd name="connsiteX187" fmla="*/ 225766 w 370316"/>
                  <a:gd name="connsiteY187" fmla="*/ 165461 h 343648"/>
                  <a:gd name="connsiteX188" fmla="*/ 225766 w 370316"/>
                  <a:gd name="connsiteY188" fmla="*/ 157278 h 343648"/>
                  <a:gd name="connsiteX189" fmla="*/ 225766 w 370316"/>
                  <a:gd name="connsiteY189" fmla="*/ 149096 h 343648"/>
                  <a:gd name="connsiteX190" fmla="*/ 225766 w 370316"/>
                  <a:gd name="connsiteY190" fmla="*/ 142126 h 343648"/>
                  <a:gd name="connsiteX191" fmla="*/ 231978 w 370316"/>
                  <a:gd name="connsiteY191" fmla="*/ 142126 h 343648"/>
                  <a:gd name="connsiteX192" fmla="*/ 239706 w 370316"/>
                  <a:gd name="connsiteY192" fmla="*/ 142126 h 343648"/>
                  <a:gd name="connsiteX193" fmla="*/ 248949 w 370316"/>
                  <a:gd name="connsiteY193" fmla="*/ 142126 h 343648"/>
                  <a:gd name="connsiteX194" fmla="*/ 253039 w 370316"/>
                  <a:gd name="connsiteY194" fmla="*/ 142126 h 343648"/>
                  <a:gd name="connsiteX195" fmla="*/ 253191 w 370316"/>
                  <a:gd name="connsiteY195" fmla="*/ 141066 h 343648"/>
                  <a:gd name="connsiteX196" fmla="*/ 253191 w 370316"/>
                  <a:gd name="connsiteY196" fmla="*/ 135914 h 343648"/>
                  <a:gd name="connsiteX197" fmla="*/ 253191 w 370316"/>
                  <a:gd name="connsiteY197" fmla="*/ 124398 h 343648"/>
                  <a:gd name="connsiteX198" fmla="*/ 253191 w 370316"/>
                  <a:gd name="connsiteY198" fmla="*/ 112731 h 343648"/>
                  <a:gd name="connsiteX199" fmla="*/ 253191 w 370316"/>
                  <a:gd name="connsiteY199" fmla="*/ 101064 h 343648"/>
                  <a:gd name="connsiteX200" fmla="*/ 253191 w 370316"/>
                  <a:gd name="connsiteY200" fmla="*/ 89549 h 343648"/>
                  <a:gd name="connsiteX201" fmla="*/ 253191 w 370316"/>
                  <a:gd name="connsiteY201" fmla="*/ 78033 h 343648"/>
                  <a:gd name="connsiteX202" fmla="*/ 253191 w 370316"/>
                  <a:gd name="connsiteY202" fmla="*/ 66518 h 343648"/>
                  <a:gd name="connsiteX203" fmla="*/ 253039 w 370316"/>
                  <a:gd name="connsiteY203" fmla="*/ 55002 h 343648"/>
                  <a:gd name="connsiteX204" fmla="*/ 253039 w 370316"/>
                  <a:gd name="connsiteY204" fmla="*/ 43486 h 343648"/>
                  <a:gd name="connsiteX205" fmla="*/ 253039 w 370316"/>
                  <a:gd name="connsiteY205" fmla="*/ 37880 h 343648"/>
                  <a:gd name="connsiteX206" fmla="*/ 260161 w 370316"/>
                  <a:gd name="connsiteY206" fmla="*/ 37577 h 343648"/>
                  <a:gd name="connsiteX207" fmla="*/ 268343 w 370316"/>
                  <a:gd name="connsiteY207" fmla="*/ 36365 h 343648"/>
                  <a:gd name="connsiteX208" fmla="*/ 281525 w 370316"/>
                  <a:gd name="connsiteY208" fmla="*/ 34395 h 343648"/>
                  <a:gd name="connsiteX209" fmla="*/ 293799 w 370316"/>
                  <a:gd name="connsiteY209" fmla="*/ 32122 h 343648"/>
                  <a:gd name="connsiteX210" fmla="*/ 301678 w 370316"/>
                  <a:gd name="connsiteY210" fmla="*/ 30759 h 343648"/>
                  <a:gd name="connsiteX211" fmla="*/ 311224 w 370316"/>
                  <a:gd name="connsiteY211" fmla="*/ 29092 h 343648"/>
                  <a:gd name="connsiteX212" fmla="*/ 314557 w 370316"/>
                  <a:gd name="connsiteY212" fmla="*/ 28940 h 343648"/>
                  <a:gd name="connsiteX213" fmla="*/ 315466 w 370316"/>
                  <a:gd name="connsiteY213" fmla="*/ 29092 h 343648"/>
                  <a:gd name="connsiteX214" fmla="*/ 316678 w 370316"/>
                  <a:gd name="connsiteY214" fmla="*/ 29698 h 343648"/>
                  <a:gd name="connsiteX215" fmla="*/ 321073 w 370316"/>
                  <a:gd name="connsiteY215" fmla="*/ 35304 h 343648"/>
                  <a:gd name="connsiteX216" fmla="*/ 323800 w 370316"/>
                  <a:gd name="connsiteY216" fmla="*/ 39698 h 343648"/>
                  <a:gd name="connsiteX217" fmla="*/ 324406 w 370316"/>
                  <a:gd name="connsiteY217" fmla="*/ 41668 h 343648"/>
                  <a:gd name="connsiteX218" fmla="*/ 324861 w 370316"/>
                  <a:gd name="connsiteY218" fmla="*/ 41820 h 343648"/>
                  <a:gd name="connsiteX219" fmla="*/ 326224 w 370316"/>
                  <a:gd name="connsiteY219" fmla="*/ 41517 h 343648"/>
                  <a:gd name="connsiteX220" fmla="*/ 327740 w 370316"/>
                  <a:gd name="connsiteY220" fmla="*/ 40759 h 343648"/>
                  <a:gd name="connsiteX221" fmla="*/ 332133 w 370316"/>
                  <a:gd name="connsiteY221" fmla="*/ 36516 h 343648"/>
                  <a:gd name="connsiteX222" fmla="*/ 333042 w 370316"/>
                  <a:gd name="connsiteY222" fmla="*/ 35304 h 343648"/>
                  <a:gd name="connsiteX223" fmla="*/ 335921 w 370316"/>
                  <a:gd name="connsiteY223" fmla="*/ 33183 h 343648"/>
                  <a:gd name="connsiteX224" fmla="*/ 339406 w 370316"/>
                  <a:gd name="connsiteY224" fmla="*/ 31062 h 343648"/>
                  <a:gd name="connsiteX225" fmla="*/ 342588 w 370316"/>
                  <a:gd name="connsiteY225" fmla="*/ 29546 h 343648"/>
                  <a:gd name="connsiteX226" fmla="*/ 345771 w 370316"/>
                  <a:gd name="connsiteY226" fmla="*/ 28334 h 343648"/>
                  <a:gd name="connsiteX227" fmla="*/ 347134 w 370316"/>
                  <a:gd name="connsiteY227" fmla="*/ 28637 h 343648"/>
                  <a:gd name="connsiteX228" fmla="*/ 348801 w 370316"/>
                  <a:gd name="connsiteY228" fmla="*/ 29698 h 343648"/>
                  <a:gd name="connsiteX229" fmla="*/ 350468 w 370316"/>
                  <a:gd name="connsiteY229" fmla="*/ 30304 h 343648"/>
                  <a:gd name="connsiteX230" fmla="*/ 357589 w 370316"/>
                  <a:gd name="connsiteY230" fmla="*/ 25152 h 343648"/>
                  <a:gd name="connsiteX231" fmla="*/ 360771 w 370316"/>
                  <a:gd name="connsiteY231" fmla="*/ 23940 h 343648"/>
                  <a:gd name="connsiteX232" fmla="*/ 369104 w 370316"/>
                  <a:gd name="connsiteY232" fmla="*/ 22880 h 343648"/>
                  <a:gd name="connsiteX233" fmla="*/ 370317 w 370316"/>
                  <a:gd name="connsiteY233" fmla="*/ 23031 h 34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370316" h="343648">
                    <a:moveTo>
                      <a:pt x="365771" y="18637"/>
                    </a:moveTo>
                    <a:lnTo>
                      <a:pt x="363347" y="16819"/>
                    </a:lnTo>
                    <a:lnTo>
                      <a:pt x="361377" y="16061"/>
                    </a:lnTo>
                    <a:lnTo>
                      <a:pt x="355922" y="15304"/>
                    </a:lnTo>
                    <a:lnTo>
                      <a:pt x="343346" y="14394"/>
                    </a:lnTo>
                    <a:lnTo>
                      <a:pt x="342134" y="14546"/>
                    </a:lnTo>
                    <a:lnTo>
                      <a:pt x="336830" y="15455"/>
                    </a:lnTo>
                    <a:lnTo>
                      <a:pt x="330315" y="16516"/>
                    </a:lnTo>
                    <a:lnTo>
                      <a:pt x="324861" y="17576"/>
                    </a:lnTo>
                    <a:lnTo>
                      <a:pt x="318951" y="18788"/>
                    </a:lnTo>
                    <a:lnTo>
                      <a:pt x="310314" y="20455"/>
                    </a:lnTo>
                    <a:lnTo>
                      <a:pt x="298193" y="22728"/>
                    </a:lnTo>
                    <a:lnTo>
                      <a:pt x="290011" y="24395"/>
                    </a:lnTo>
                    <a:lnTo>
                      <a:pt x="280010" y="26213"/>
                    </a:lnTo>
                    <a:lnTo>
                      <a:pt x="273495" y="27425"/>
                    </a:lnTo>
                    <a:lnTo>
                      <a:pt x="265161" y="28940"/>
                    </a:lnTo>
                    <a:lnTo>
                      <a:pt x="263949" y="28940"/>
                    </a:lnTo>
                    <a:lnTo>
                      <a:pt x="261676" y="27880"/>
                    </a:lnTo>
                    <a:lnTo>
                      <a:pt x="256827" y="27577"/>
                    </a:lnTo>
                    <a:lnTo>
                      <a:pt x="251221" y="29092"/>
                    </a:lnTo>
                    <a:lnTo>
                      <a:pt x="246827" y="29395"/>
                    </a:lnTo>
                    <a:lnTo>
                      <a:pt x="243494" y="28789"/>
                    </a:lnTo>
                    <a:lnTo>
                      <a:pt x="240312" y="27577"/>
                    </a:lnTo>
                    <a:lnTo>
                      <a:pt x="237130" y="25758"/>
                    </a:lnTo>
                    <a:lnTo>
                      <a:pt x="231827" y="25001"/>
                    </a:lnTo>
                    <a:lnTo>
                      <a:pt x="223948" y="25607"/>
                    </a:lnTo>
                    <a:lnTo>
                      <a:pt x="216523" y="25152"/>
                    </a:lnTo>
                    <a:lnTo>
                      <a:pt x="209402" y="23940"/>
                    </a:lnTo>
                    <a:lnTo>
                      <a:pt x="204250" y="23486"/>
                    </a:lnTo>
                    <a:lnTo>
                      <a:pt x="201220" y="23789"/>
                    </a:lnTo>
                    <a:lnTo>
                      <a:pt x="197886" y="23334"/>
                    </a:lnTo>
                    <a:lnTo>
                      <a:pt x="194250" y="22274"/>
                    </a:lnTo>
                    <a:lnTo>
                      <a:pt x="191371" y="20607"/>
                    </a:lnTo>
                    <a:lnTo>
                      <a:pt x="187734" y="16819"/>
                    </a:lnTo>
                    <a:lnTo>
                      <a:pt x="185007" y="13182"/>
                    </a:lnTo>
                    <a:lnTo>
                      <a:pt x="184249" y="12728"/>
                    </a:lnTo>
                    <a:lnTo>
                      <a:pt x="183491" y="12121"/>
                    </a:lnTo>
                    <a:lnTo>
                      <a:pt x="182582" y="11970"/>
                    </a:lnTo>
                    <a:lnTo>
                      <a:pt x="174703" y="11970"/>
                    </a:lnTo>
                    <a:lnTo>
                      <a:pt x="167279" y="11819"/>
                    </a:lnTo>
                    <a:lnTo>
                      <a:pt x="162885" y="11819"/>
                    </a:lnTo>
                    <a:lnTo>
                      <a:pt x="152430" y="11819"/>
                    </a:lnTo>
                    <a:lnTo>
                      <a:pt x="141975" y="11819"/>
                    </a:lnTo>
                    <a:lnTo>
                      <a:pt x="131520" y="11819"/>
                    </a:lnTo>
                    <a:lnTo>
                      <a:pt x="121065" y="11819"/>
                    </a:lnTo>
                    <a:lnTo>
                      <a:pt x="110610" y="11819"/>
                    </a:lnTo>
                    <a:lnTo>
                      <a:pt x="100155" y="11819"/>
                    </a:lnTo>
                    <a:lnTo>
                      <a:pt x="89700" y="11667"/>
                    </a:lnTo>
                    <a:lnTo>
                      <a:pt x="79245" y="11667"/>
                    </a:lnTo>
                    <a:lnTo>
                      <a:pt x="73639" y="11667"/>
                    </a:lnTo>
                    <a:lnTo>
                      <a:pt x="68487" y="11970"/>
                    </a:lnTo>
                    <a:lnTo>
                      <a:pt x="62729" y="12273"/>
                    </a:lnTo>
                    <a:lnTo>
                      <a:pt x="61972" y="12121"/>
                    </a:lnTo>
                    <a:lnTo>
                      <a:pt x="60608" y="11667"/>
                    </a:lnTo>
                    <a:lnTo>
                      <a:pt x="59699" y="10910"/>
                    </a:lnTo>
                    <a:lnTo>
                      <a:pt x="56517" y="8940"/>
                    </a:lnTo>
                    <a:lnTo>
                      <a:pt x="53941" y="7424"/>
                    </a:lnTo>
                    <a:lnTo>
                      <a:pt x="50305" y="4849"/>
                    </a:lnTo>
                    <a:lnTo>
                      <a:pt x="47881" y="1970"/>
                    </a:lnTo>
                    <a:lnTo>
                      <a:pt x="45911" y="1061"/>
                    </a:lnTo>
                    <a:lnTo>
                      <a:pt x="42426" y="606"/>
                    </a:lnTo>
                    <a:lnTo>
                      <a:pt x="39850" y="0"/>
                    </a:lnTo>
                    <a:lnTo>
                      <a:pt x="37729" y="0"/>
                    </a:lnTo>
                    <a:lnTo>
                      <a:pt x="33941" y="1212"/>
                    </a:lnTo>
                    <a:lnTo>
                      <a:pt x="31062" y="2576"/>
                    </a:lnTo>
                    <a:lnTo>
                      <a:pt x="29092" y="3939"/>
                    </a:lnTo>
                    <a:lnTo>
                      <a:pt x="25455" y="5303"/>
                    </a:lnTo>
                    <a:lnTo>
                      <a:pt x="22576" y="6818"/>
                    </a:lnTo>
                    <a:lnTo>
                      <a:pt x="17425" y="6667"/>
                    </a:lnTo>
                    <a:lnTo>
                      <a:pt x="16213" y="6818"/>
                    </a:lnTo>
                    <a:lnTo>
                      <a:pt x="13334" y="6667"/>
                    </a:lnTo>
                    <a:lnTo>
                      <a:pt x="10606" y="5455"/>
                    </a:lnTo>
                    <a:lnTo>
                      <a:pt x="7879" y="5606"/>
                    </a:lnTo>
                    <a:lnTo>
                      <a:pt x="4849" y="7121"/>
                    </a:lnTo>
                    <a:lnTo>
                      <a:pt x="455" y="7879"/>
                    </a:lnTo>
                    <a:lnTo>
                      <a:pt x="0" y="13940"/>
                    </a:lnTo>
                    <a:lnTo>
                      <a:pt x="303" y="21819"/>
                    </a:lnTo>
                    <a:lnTo>
                      <a:pt x="1364" y="28940"/>
                    </a:lnTo>
                    <a:lnTo>
                      <a:pt x="6212" y="36516"/>
                    </a:lnTo>
                    <a:lnTo>
                      <a:pt x="8637" y="42123"/>
                    </a:lnTo>
                    <a:lnTo>
                      <a:pt x="10152" y="44092"/>
                    </a:lnTo>
                    <a:lnTo>
                      <a:pt x="16516" y="50002"/>
                    </a:lnTo>
                    <a:lnTo>
                      <a:pt x="20152" y="55002"/>
                    </a:lnTo>
                    <a:lnTo>
                      <a:pt x="36062" y="86064"/>
                    </a:lnTo>
                    <a:lnTo>
                      <a:pt x="39547" y="90458"/>
                    </a:lnTo>
                    <a:lnTo>
                      <a:pt x="42729" y="100155"/>
                    </a:lnTo>
                    <a:lnTo>
                      <a:pt x="47274" y="111216"/>
                    </a:lnTo>
                    <a:lnTo>
                      <a:pt x="57881" y="127126"/>
                    </a:lnTo>
                    <a:lnTo>
                      <a:pt x="59245" y="130914"/>
                    </a:lnTo>
                    <a:lnTo>
                      <a:pt x="61517" y="135459"/>
                    </a:lnTo>
                    <a:lnTo>
                      <a:pt x="71063" y="147581"/>
                    </a:lnTo>
                    <a:lnTo>
                      <a:pt x="75003" y="155006"/>
                    </a:lnTo>
                    <a:lnTo>
                      <a:pt x="76669" y="162127"/>
                    </a:lnTo>
                    <a:lnTo>
                      <a:pt x="76518" y="165157"/>
                    </a:lnTo>
                    <a:lnTo>
                      <a:pt x="75760" y="168491"/>
                    </a:lnTo>
                    <a:lnTo>
                      <a:pt x="74851" y="168036"/>
                    </a:lnTo>
                    <a:lnTo>
                      <a:pt x="74245" y="167279"/>
                    </a:lnTo>
                    <a:lnTo>
                      <a:pt x="73336" y="169855"/>
                    </a:lnTo>
                    <a:lnTo>
                      <a:pt x="73942" y="173037"/>
                    </a:lnTo>
                    <a:lnTo>
                      <a:pt x="75306" y="178794"/>
                    </a:lnTo>
                    <a:lnTo>
                      <a:pt x="75154" y="184401"/>
                    </a:lnTo>
                    <a:lnTo>
                      <a:pt x="75912" y="189249"/>
                    </a:lnTo>
                    <a:lnTo>
                      <a:pt x="75457" y="200916"/>
                    </a:lnTo>
                    <a:lnTo>
                      <a:pt x="76063" y="205310"/>
                    </a:lnTo>
                    <a:lnTo>
                      <a:pt x="79397" y="215311"/>
                    </a:lnTo>
                    <a:lnTo>
                      <a:pt x="83336" y="222281"/>
                    </a:lnTo>
                    <a:lnTo>
                      <a:pt x="85155" y="229402"/>
                    </a:lnTo>
                    <a:lnTo>
                      <a:pt x="84700" y="235463"/>
                    </a:lnTo>
                    <a:lnTo>
                      <a:pt x="84852" y="238797"/>
                    </a:lnTo>
                    <a:lnTo>
                      <a:pt x="85912" y="243797"/>
                    </a:lnTo>
                    <a:lnTo>
                      <a:pt x="85457" y="249403"/>
                    </a:lnTo>
                    <a:lnTo>
                      <a:pt x="87731" y="256221"/>
                    </a:lnTo>
                    <a:lnTo>
                      <a:pt x="88791" y="266676"/>
                    </a:lnTo>
                    <a:lnTo>
                      <a:pt x="92276" y="269858"/>
                    </a:lnTo>
                    <a:lnTo>
                      <a:pt x="93488" y="272283"/>
                    </a:lnTo>
                    <a:lnTo>
                      <a:pt x="94094" y="274859"/>
                    </a:lnTo>
                    <a:lnTo>
                      <a:pt x="93034" y="276980"/>
                    </a:lnTo>
                    <a:lnTo>
                      <a:pt x="93337" y="280465"/>
                    </a:lnTo>
                    <a:lnTo>
                      <a:pt x="95458" y="286525"/>
                    </a:lnTo>
                    <a:lnTo>
                      <a:pt x="97428" y="294708"/>
                    </a:lnTo>
                    <a:lnTo>
                      <a:pt x="98943" y="297889"/>
                    </a:lnTo>
                    <a:lnTo>
                      <a:pt x="109246" y="315012"/>
                    </a:lnTo>
                    <a:lnTo>
                      <a:pt x="113943" y="320466"/>
                    </a:lnTo>
                    <a:lnTo>
                      <a:pt x="117125" y="322891"/>
                    </a:lnTo>
                    <a:lnTo>
                      <a:pt x="126217" y="331830"/>
                    </a:lnTo>
                    <a:lnTo>
                      <a:pt x="129247" y="334255"/>
                    </a:lnTo>
                    <a:lnTo>
                      <a:pt x="130308" y="332891"/>
                    </a:lnTo>
                    <a:lnTo>
                      <a:pt x="134096" y="330315"/>
                    </a:lnTo>
                    <a:lnTo>
                      <a:pt x="135914" y="329709"/>
                    </a:lnTo>
                    <a:lnTo>
                      <a:pt x="136823" y="330012"/>
                    </a:lnTo>
                    <a:lnTo>
                      <a:pt x="137732" y="329254"/>
                    </a:lnTo>
                    <a:lnTo>
                      <a:pt x="138490" y="327588"/>
                    </a:lnTo>
                    <a:lnTo>
                      <a:pt x="138793" y="326072"/>
                    </a:lnTo>
                    <a:lnTo>
                      <a:pt x="139096" y="323800"/>
                    </a:lnTo>
                    <a:lnTo>
                      <a:pt x="140005" y="322436"/>
                    </a:lnTo>
                    <a:lnTo>
                      <a:pt x="140914" y="319709"/>
                    </a:lnTo>
                    <a:lnTo>
                      <a:pt x="142581" y="318042"/>
                    </a:lnTo>
                    <a:lnTo>
                      <a:pt x="145915" y="316981"/>
                    </a:lnTo>
                    <a:lnTo>
                      <a:pt x="148490" y="318345"/>
                    </a:lnTo>
                    <a:lnTo>
                      <a:pt x="149551" y="319860"/>
                    </a:lnTo>
                    <a:lnTo>
                      <a:pt x="150005" y="321830"/>
                    </a:lnTo>
                    <a:lnTo>
                      <a:pt x="151066" y="322739"/>
                    </a:lnTo>
                    <a:lnTo>
                      <a:pt x="152884" y="322739"/>
                    </a:lnTo>
                    <a:lnTo>
                      <a:pt x="154096" y="323951"/>
                    </a:lnTo>
                    <a:lnTo>
                      <a:pt x="154854" y="326376"/>
                    </a:lnTo>
                    <a:lnTo>
                      <a:pt x="154703" y="328194"/>
                    </a:lnTo>
                    <a:lnTo>
                      <a:pt x="153793" y="329254"/>
                    </a:lnTo>
                    <a:lnTo>
                      <a:pt x="153945" y="330769"/>
                    </a:lnTo>
                    <a:lnTo>
                      <a:pt x="155157" y="332588"/>
                    </a:lnTo>
                    <a:lnTo>
                      <a:pt x="155763" y="334255"/>
                    </a:lnTo>
                    <a:lnTo>
                      <a:pt x="156672" y="336527"/>
                    </a:lnTo>
                    <a:lnTo>
                      <a:pt x="161218" y="337891"/>
                    </a:lnTo>
                    <a:lnTo>
                      <a:pt x="163491" y="338649"/>
                    </a:lnTo>
                    <a:lnTo>
                      <a:pt x="167430" y="338952"/>
                    </a:lnTo>
                    <a:lnTo>
                      <a:pt x="171067" y="340012"/>
                    </a:lnTo>
                    <a:lnTo>
                      <a:pt x="174552" y="341679"/>
                    </a:lnTo>
                    <a:lnTo>
                      <a:pt x="180158" y="342134"/>
                    </a:lnTo>
                    <a:lnTo>
                      <a:pt x="188189" y="341224"/>
                    </a:lnTo>
                    <a:lnTo>
                      <a:pt x="194704" y="341679"/>
                    </a:lnTo>
                    <a:lnTo>
                      <a:pt x="199856" y="343346"/>
                    </a:lnTo>
                    <a:lnTo>
                      <a:pt x="203492" y="343649"/>
                    </a:lnTo>
                    <a:lnTo>
                      <a:pt x="205765" y="342588"/>
                    </a:lnTo>
                    <a:lnTo>
                      <a:pt x="206826" y="341073"/>
                    </a:lnTo>
                    <a:lnTo>
                      <a:pt x="206523" y="338952"/>
                    </a:lnTo>
                    <a:lnTo>
                      <a:pt x="207583" y="337588"/>
                    </a:lnTo>
                    <a:lnTo>
                      <a:pt x="210159" y="337134"/>
                    </a:lnTo>
                    <a:lnTo>
                      <a:pt x="212281" y="335467"/>
                    </a:lnTo>
                    <a:lnTo>
                      <a:pt x="213796" y="332891"/>
                    </a:lnTo>
                    <a:lnTo>
                      <a:pt x="217432" y="330921"/>
                    </a:lnTo>
                    <a:lnTo>
                      <a:pt x="223039" y="329254"/>
                    </a:lnTo>
                    <a:lnTo>
                      <a:pt x="225918" y="329254"/>
                    </a:lnTo>
                    <a:lnTo>
                      <a:pt x="225918" y="325163"/>
                    </a:lnTo>
                    <a:lnTo>
                      <a:pt x="225918" y="311981"/>
                    </a:lnTo>
                    <a:lnTo>
                      <a:pt x="225918" y="298950"/>
                    </a:lnTo>
                    <a:lnTo>
                      <a:pt x="225918" y="285919"/>
                    </a:lnTo>
                    <a:lnTo>
                      <a:pt x="225918" y="272889"/>
                    </a:lnTo>
                    <a:lnTo>
                      <a:pt x="225918" y="259858"/>
                    </a:lnTo>
                    <a:lnTo>
                      <a:pt x="225918" y="246979"/>
                    </a:lnTo>
                    <a:lnTo>
                      <a:pt x="225918" y="234099"/>
                    </a:lnTo>
                    <a:lnTo>
                      <a:pt x="225918" y="221978"/>
                    </a:lnTo>
                    <a:lnTo>
                      <a:pt x="225918" y="221220"/>
                    </a:lnTo>
                    <a:lnTo>
                      <a:pt x="225918" y="215008"/>
                    </a:lnTo>
                    <a:lnTo>
                      <a:pt x="225918" y="206674"/>
                    </a:lnTo>
                    <a:lnTo>
                      <a:pt x="225918" y="198341"/>
                    </a:lnTo>
                    <a:lnTo>
                      <a:pt x="225918" y="190158"/>
                    </a:lnTo>
                    <a:lnTo>
                      <a:pt x="225918" y="181825"/>
                    </a:lnTo>
                    <a:lnTo>
                      <a:pt x="225918" y="173643"/>
                    </a:lnTo>
                    <a:lnTo>
                      <a:pt x="225766" y="165461"/>
                    </a:lnTo>
                    <a:lnTo>
                      <a:pt x="225766" y="157278"/>
                    </a:lnTo>
                    <a:lnTo>
                      <a:pt x="225766" y="149096"/>
                    </a:lnTo>
                    <a:lnTo>
                      <a:pt x="225766" y="142126"/>
                    </a:lnTo>
                    <a:lnTo>
                      <a:pt x="231978" y="142126"/>
                    </a:lnTo>
                    <a:lnTo>
                      <a:pt x="239706" y="142126"/>
                    </a:lnTo>
                    <a:lnTo>
                      <a:pt x="248949" y="142126"/>
                    </a:lnTo>
                    <a:lnTo>
                      <a:pt x="253039" y="142126"/>
                    </a:lnTo>
                    <a:lnTo>
                      <a:pt x="253191" y="141066"/>
                    </a:lnTo>
                    <a:lnTo>
                      <a:pt x="253191" y="135914"/>
                    </a:lnTo>
                    <a:lnTo>
                      <a:pt x="253191" y="124398"/>
                    </a:lnTo>
                    <a:lnTo>
                      <a:pt x="253191" y="112731"/>
                    </a:lnTo>
                    <a:lnTo>
                      <a:pt x="253191" y="101064"/>
                    </a:lnTo>
                    <a:lnTo>
                      <a:pt x="253191" y="89549"/>
                    </a:lnTo>
                    <a:lnTo>
                      <a:pt x="253191" y="78033"/>
                    </a:lnTo>
                    <a:lnTo>
                      <a:pt x="253191" y="66518"/>
                    </a:lnTo>
                    <a:lnTo>
                      <a:pt x="253039" y="55002"/>
                    </a:lnTo>
                    <a:lnTo>
                      <a:pt x="253039" y="43486"/>
                    </a:lnTo>
                    <a:lnTo>
                      <a:pt x="253039" y="37880"/>
                    </a:lnTo>
                    <a:lnTo>
                      <a:pt x="260161" y="37577"/>
                    </a:lnTo>
                    <a:lnTo>
                      <a:pt x="268343" y="36365"/>
                    </a:lnTo>
                    <a:lnTo>
                      <a:pt x="281525" y="34395"/>
                    </a:lnTo>
                    <a:lnTo>
                      <a:pt x="293799" y="32122"/>
                    </a:lnTo>
                    <a:lnTo>
                      <a:pt x="301678" y="30759"/>
                    </a:lnTo>
                    <a:lnTo>
                      <a:pt x="311224" y="29092"/>
                    </a:lnTo>
                    <a:lnTo>
                      <a:pt x="314557" y="28940"/>
                    </a:lnTo>
                    <a:lnTo>
                      <a:pt x="315466" y="29092"/>
                    </a:lnTo>
                    <a:lnTo>
                      <a:pt x="316678" y="29698"/>
                    </a:lnTo>
                    <a:lnTo>
                      <a:pt x="321073" y="35304"/>
                    </a:lnTo>
                    <a:lnTo>
                      <a:pt x="323800" y="39698"/>
                    </a:lnTo>
                    <a:lnTo>
                      <a:pt x="324406" y="41668"/>
                    </a:lnTo>
                    <a:lnTo>
                      <a:pt x="324861" y="41820"/>
                    </a:lnTo>
                    <a:lnTo>
                      <a:pt x="326224" y="41517"/>
                    </a:lnTo>
                    <a:lnTo>
                      <a:pt x="327740" y="40759"/>
                    </a:lnTo>
                    <a:lnTo>
                      <a:pt x="332133" y="36516"/>
                    </a:lnTo>
                    <a:lnTo>
                      <a:pt x="333042" y="35304"/>
                    </a:lnTo>
                    <a:lnTo>
                      <a:pt x="335921" y="33183"/>
                    </a:lnTo>
                    <a:lnTo>
                      <a:pt x="339406" y="31062"/>
                    </a:lnTo>
                    <a:lnTo>
                      <a:pt x="342588" y="29546"/>
                    </a:lnTo>
                    <a:lnTo>
                      <a:pt x="345771" y="28334"/>
                    </a:lnTo>
                    <a:lnTo>
                      <a:pt x="347134" y="28637"/>
                    </a:lnTo>
                    <a:lnTo>
                      <a:pt x="348801" y="29698"/>
                    </a:lnTo>
                    <a:lnTo>
                      <a:pt x="350468" y="30304"/>
                    </a:lnTo>
                    <a:lnTo>
                      <a:pt x="357589" y="25152"/>
                    </a:lnTo>
                    <a:lnTo>
                      <a:pt x="360771" y="23940"/>
                    </a:lnTo>
                    <a:lnTo>
                      <a:pt x="369104" y="22880"/>
                    </a:lnTo>
                    <a:lnTo>
                      <a:pt x="370317" y="230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5" name="Freeform: Shape 3194">
                <a:extLst>
                  <a:ext uri="{FF2B5EF4-FFF2-40B4-BE49-F238E27FC236}">
                    <a16:creationId xmlns:a16="http://schemas.microsoft.com/office/drawing/2014/main" id="{A260E895-E4C9-4D35-8776-664C23C8E0CF}"/>
                  </a:ext>
                </a:extLst>
              </p:cNvPr>
              <p:cNvSpPr/>
              <p:nvPr/>
            </p:nvSpPr>
            <p:spPr>
              <a:xfrm>
                <a:off x="10977090" y="5083830"/>
                <a:ext cx="4242" cy="4848"/>
              </a:xfrm>
              <a:custGeom>
                <a:avLst/>
                <a:gdLst>
                  <a:gd name="connsiteX0" fmla="*/ 3181 w 4242"/>
                  <a:gd name="connsiteY0" fmla="*/ 0 h 4848"/>
                  <a:gd name="connsiteX1" fmla="*/ 2424 w 4242"/>
                  <a:gd name="connsiteY1" fmla="*/ 0 h 4848"/>
                  <a:gd name="connsiteX2" fmla="*/ 1212 w 4242"/>
                  <a:gd name="connsiteY2" fmla="*/ 606 h 4848"/>
                  <a:gd name="connsiteX3" fmla="*/ 0 w 4242"/>
                  <a:gd name="connsiteY3" fmla="*/ 3030 h 4848"/>
                  <a:gd name="connsiteX4" fmla="*/ 1212 w 4242"/>
                  <a:gd name="connsiteY4" fmla="*/ 4849 h 4848"/>
                  <a:gd name="connsiteX5" fmla="*/ 4090 w 4242"/>
                  <a:gd name="connsiteY5" fmla="*/ 3333 h 4848"/>
                  <a:gd name="connsiteX6" fmla="*/ 4242 w 4242"/>
                  <a:gd name="connsiteY6" fmla="*/ 2121 h 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2" h="4848">
                    <a:moveTo>
                      <a:pt x="3181" y="0"/>
                    </a:moveTo>
                    <a:lnTo>
                      <a:pt x="2424" y="0"/>
                    </a:lnTo>
                    <a:lnTo>
                      <a:pt x="1212" y="606"/>
                    </a:lnTo>
                    <a:lnTo>
                      <a:pt x="0" y="3030"/>
                    </a:lnTo>
                    <a:lnTo>
                      <a:pt x="1212" y="4849"/>
                    </a:lnTo>
                    <a:lnTo>
                      <a:pt x="4090" y="3333"/>
                    </a:lnTo>
                    <a:lnTo>
                      <a:pt x="4242" y="2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6" name="Freeform: Shape 3195">
                <a:extLst>
                  <a:ext uri="{FF2B5EF4-FFF2-40B4-BE49-F238E27FC236}">
                    <a16:creationId xmlns:a16="http://schemas.microsoft.com/office/drawing/2014/main" id="{3012C619-158F-4B16-A56D-5A2141F9A26D}"/>
                  </a:ext>
                </a:extLst>
              </p:cNvPr>
              <p:cNvSpPr/>
              <p:nvPr/>
            </p:nvSpPr>
            <p:spPr>
              <a:xfrm>
                <a:off x="10343884" y="4575327"/>
                <a:ext cx="1364" cy="1666"/>
              </a:xfrm>
              <a:custGeom>
                <a:avLst/>
                <a:gdLst>
                  <a:gd name="connsiteX0" fmla="*/ 1364 w 1364"/>
                  <a:gd name="connsiteY0" fmla="*/ 303 h 1666"/>
                  <a:gd name="connsiteX1" fmla="*/ 909 w 1364"/>
                  <a:gd name="connsiteY1" fmla="*/ 0 h 1666"/>
                  <a:gd name="connsiteX2" fmla="*/ 152 w 1364"/>
                  <a:gd name="connsiteY2" fmla="*/ 303 h 1666"/>
                  <a:gd name="connsiteX3" fmla="*/ 0 w 1364"/>
                  <a:gd name="connsiteY3" fmla="*/ 909 h 1666"/>
                  <a:gd name="connsiteX4" fmla="*/ 303 w 1364"/>
                  <a:gd name="connsiteY4" fmla="*/ 1667 h 1666"/>
                  <a:gd name="connsiteX5" fmla="*/ 909 w 1364"/>
                  <a:gd name="connsiteY5" fmla="*/ 1667 h 1666"/>
                  <a:gd name="connsiteX6" fmla="*/ 1364 w 1364"/>
                  <a:gd name="connsiteY6" fmla="*/ 757 h 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4" h="1666">
                    <a:moveTo>
                      <a:pt x="1364" y="303"/>
                    </a:moveTo>
                    <a:lnTo>
                      <a:pt x="909" y="0"/>
                    </a:lnTo>
                    <a:lnTo>
                      <a:pt x="152" y="303"/>
                    </a:lnTo>
                    <a:lnTo>
                      <a:pt x="0" y="909"/>
                    </a:lnTo>
                    <a:lnTo>
                      <a:pt x="303" y="1667"/>
                    </a:lnTo>
                    <a:lnTo>
                      <a:pt x="909" y="1667"/>
                    </a:lnTo>
                    <a:lnTo>
                      <a:pt x="1364" y="75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7" name="Freeform: Shape 3196">
                <a:extLst>
                  <a:ext uri="{FF2B5EF4-FFF2-40B4-BE49-F238E27FC236}">
                    <a16:creationId xmlns:a16="http://schemas.microsoft.com/office/drawing/2014/main" id="{EDF4208D-0031-4E43-A931-037E7A20663B}"/>
                  </a:ext>
                </a:extLst>
              </p:cNvPr>
              <p:cNvSpPr/>
              <p:nvPr/>
            </p:nvSpPr>
            <p:spPr>
              <a:xfrm>
                <a:off x="7967433" y="3709538"/>
                <a:ext cx="221977" cy="118943"/>
              </a:xfrm>
              <a:custGeom>
                <a:avLst/>
                <a:gdLst>
                  <a:gd name="connsiteX0" fmla="*/ 221826 w 221977"/>
                  <a:gd name="connsiteY0" fmla="*/ 105913 h 118943"/>
                  <a:gd name="connsiteX1" fmla="*/ 220614 w 221977"/>
                  <a:gd name="connsiteY1" fmla="*/ 102276 h 118943"/>
                  <a:gd name="connsiteX2" fmla="*/ 217281 w 221977"/>
                  <a:gd name="connsiteY2" fmla="*/ 97731 h 118943"/>
                  <a:gd name="connsiteX3" fmla="*/ 217129 w 221977"/>
                  <a:gd name="connsiteY3" fmla="*/ 96367 h 118943"/>
                  <a:gd name="connsiteX4" fmla="*/ 218190 w 221977"/>
                  <a:gd name="connsiteY4" fmla="*/ 88185 h 118943"/>
                  <a:gd name="connsiteX5" fmla="*/ 219402 w 221977"/>
                  <a:gd name="connsiteY5" fmla="*/ 83639 h 118943"/>
                  <a:gd name="connsiteX6" fmla="*/ 220463 w 221977"/>
                  <a:gd name="connsiteY6" fmla="*/ 81367 h 118943"/>
                  <a:gd name="connsiteX7" fmla="*/ 221523 w 221977"/>
                  <a:gd name="connsiteY7" fmla="*/ 78184 h 118943"/>
                  <a:gd name="connsiteX8" fmla="*/ 221675 w 221977"/>
                  <a:gd name="connsiteY8" fmla="*/ 76821 h 118943"/>
                  <a:gd name="connsiteX9" fmla="*/ 221675 w 221977"/>
                  <a:gd name="connsiteY9" fmla="*/ 75457 h 118943"/>
                  <a:gd name="connsiteX10" fmla="*/ 220463 w 221977"/>
                  <a:gd name="connsiteY10" fmla="*/ 74700 h 118943"/>
                  <a:gd name="connsiteX11" fmla="*/ 218190 w 221977"/>
                  <a:gd name="connsiteY11" fmla="*/ 74245 h 118943"/>
                  <a:gd name="connsiteX12" fmla="*/ 215614 w 221977"/>
                  <a:gd name="connsiteY12" fmla="*/ 74094 h 118943"/>
                  <a:gd name="connsiteX13" fmla="*/ 213644 w 221977"/>
                  <a:gd name="connsiteY13" fmla="*/ 74245 h 118943"/>
                  <a:gd name="connsiteX14" fmla="*/ 208796 w 221977"/>
                  <a:gd name="connsiteY14" fmla="*/ 76063 h 118943"/>
                  <a:gd name="connsiteX15" fmla="*/ 207129 w 221977"/>
                  <a:gd name="connsiteY15" fmla="*/ 76215 h 118943"/>
                  <a:gd name="connsiteX16" fmla="*/ 205310 w 221977"/>
                  <a:gd name="connsiteY16" fmla="*/ 76063 h 118943"/>
                  <a:gd name="connsiteX17" fmla="*/ 202886 w 221977"/>
                  <a:gd name="connsiteY17" fmla="*/ 76063 h 118943"/>
                  <a:gd name="connsiteX18" fmla="*/ 198037 w 221977"/>
                  <a:gd name="connsiteY18" fmla="*/ 76063 h 118943"/>
                  <a:gd name="connsiteX19" fmla="*/ 193946 w 221977"/>
                  <a:gd name="connsiteY19" fmla="*/ 75609 h 118943"/>
                  <a:gd name="connsiteX20" fmla="*/ 190765 w 221977"/>
                  <a:gd name="connsiteY20" fmla="*/ 72881 h 118943"/>
                  <a:gd name="connsiteX21" fmla="*/ 188340 w 221977"/>
                  <a:gd name="connsiteY21" fmla="*/ 71821 h 118943"/>
                  <a:gd name="connsiteX22" fmla="*/ 185764 w 221977"/>
                  <a:gd name="connsiteY22" fmla="*/ 70912 h 118943"/>
                  <a:gd name="connsiteX23" fmla="*/ 183340 w 221977"/>
                  <a:gd name="connsiteY23" fmla="*/ 70154 h 118943"/>
                  <a:gd name="connsiteX24" fmla="*/ 182431 w 221977"/>
                  <a:gd name="connsiteY24" fmla="*/ 68790 h 118943"/>
                  <a:gd name="connsiteX25" fmla="*/ 181673 w 221977"/>
                  <a:gd name="connsiteY25" fmla="*/ 68033 h 118943"/>
                  <a:gd name="connsiteX26" fmla="*/ 179552 w 221977"/>
                  <a:gd name="connsiteY26" fmla="*/ 67881 h 118943"/>
                  <a:gd name="connsiteX27" fmla="*/ 177885 w 221977"/>
                  <a:gd name="connsiteY27" fmla="*/ 68336 h 118943"/>
                  <a:gd name="connsiteX28" fmla="*/ 176976 w 221977"/>
                  <a:gd name="connsiteY28" fmla="*/ 71972 h 118943"/>
                  <a:gd name="connsiteX29" fmla="*/ 176067 w 221977"/>
                  <a:gd name="connsiteY29" fmla="*/ 72578 h 118943"/>
                  <a:gd name="connsiteX30" fmla="*/ 173946 w 221977"/>
                  <a:gd name="connsiteY30" fmla="*/ 72881 h 118943"/>
                  <a:gd name="connsiteX31" fmla="*/ 171825 w 221977"/>
                  <a:gd name="connsiteY31" fmla="*/ 71972 h 118943"/>
                  <a:gd name="connsiteX32" fmla="*/ 168794 w 221977"/>
                  <a:gd name="connsiteY32" fmla="*/ 70154 h 118943"/>
                  <a:gd name="connsiteX33" fmla="*/ 167582 w 221977"/>
                  <a:gd name="connsiteY33" fmla="*/ 68184 h 118943"/>
                  <a:gd name="connsiteX34" fmla="*/ 166521 w 221977"/>
                  <a:gd name="connsiteY34" fmla="*/ 67427 h 118943"/>
                  <a:gd name="connsiteX35" fmla="*/ 165006 w 221977"/>
                  <a:gd name="connsiteY35" fmla="*/ 68336 h 118943"/>
                  <a:gd name="connsiteX36" fmla="*/ 164855 w 221977"/>
                  <a:gd name="connsiteY36" fmla="*/ 71063 h 118943"/>
                  <a:gd name="connsiteX37" fmla="*/ 164551 w 221977"/>
                  <a:gd name="connsiteY37" fmla="*/ 72730 h 118943"/>
                  <a:gd name="connsiteX38" fmla="*/ 162581 w 221977"/>
                  <a:gd name="connsiteY38" fmla="*/ 73487 h 118943"/>
                  <a:gd name="connsiteX39" fmla="*/ 161521 w 221977"/>
                  <a:gd name="connsiteY39" fmla="*/ 73033 h 118943"/>
                  <a:gd name="connsiteX40" fmla="*/ 160612 w 221977"/>
                  <a:gd name="connsiteY40" fmla="*/ 71215 h 118943"/>
                  <a:gd name="connsiteX41" fmla="*/ 158339 w 221977"/>
                  <a:gd name="connsiteY41" fmla="*/ 66820 h 118943"/>
                  <a:gd name="connsiteX42" fmla="*/ 156218 w 221977"/>
                  <a:gd name="connsiteY42" fmla="*/ 64396 h 118943"/>
                  <a:gd name="connsiteX43" fmla="*/ 153945 w 221977"/>
                  <a:gd name="connsiteY43" fmla="*/ 62730 h 118943"/>
                  <a:gd name="connsiteX44" fmla="*/ 146672 w 221977"/>
                  <a:gd name="connsiteY44" fmla="*/ 62730 h 118943"/>
                  <a:gd name="connsiteX45" fmla="*/ 141217 w 221977"/>
                  <a:gd name="connsiteY45" fmla="*/ 62275 h 118943"/>
                  <a:gd name="connsiteX46" fmla="*/ 138793 w 221977"/>
                  <a:gd name="connsiteY46" fmla="*/ 61517 h 118943"/>
                  <a:gd name="connsiteX47" fmla="*/ 137884 w 221977"/>
                  <a:gd name="connsiteY47" fmla="*/ 59851 h 118943"/>
                  <a:gd name="connsiteX48" fmla="*/ 138793 w 221977"/>
                  <a:gd name="connsiteY48" fmla="*/ 56517 h 118943"/>
                  <a:gd name="connsiteX49" fmla="*/ 139853 w 221977"/>
                  <a:gd name="connsiteY49" fmla="*/ 53941 h 118943"/>
                  <a:gd name="connsiteX50" fmla="*/ 139702 w 221977"/>
                  <a:gd name="connsiteY50" fmla="*/ 53335 h 118943"/>
                  <a:gd name="connsiteX51" fmla="*/ 138944 w 221977"/>
                  <a:gd name="connsiteY51" fmla="*/ 53032 h 118943"/>
                  <a:gd name="connsiteX52" fmla="*/ 137278 w 221977"/>
                  <a:gd name="connsiteY52" fmla="*/ 52881 h 118943"/>
                  <a:gd name="connsiteX53" fmla="*/ 131520 w 221977"/>
                  <a:gd name="connsiteY53" fmla="*/ 54547 h 118943"/>
                  <a:gd name="connsiteX54" fmla="*/ 129853 w 221977"/>
                  <a:gd name="connsiteY54" fmla="*/ 54244 h 118943"/>
                  <a:gd name="connsiteX55" fmla="*/ 128793 w 221977"/>
                  <a:gd name="connsiteY55" fmla="*/ 53790 h 118943"/>
                  <a:gd name="connsiteX56" fmla="*/ 127580 w 221977"/>
                  <a:gd name="connsiteY56" fmla="*/ 53335 h 118943"/>
                  <a:gd name="connsiteX57" fmla="*/ 126519 w 221977"/>
                  <a:gd name="connsiteY57" fmla="*/ 52578 h 118943"/>
                  <a:gd name="connsiteX58" fmla="*/ 125914 w 221977"/>
                  <a:gd name="connsiteY58" fmla="*/ 51366 h 118943"/>
                  <a:gd name="connsiteX59" fmla="*/ 120762 w 221977"/>
                  <a:gd name="connsiteY59" fmla="*/ 48638 h 118943"/>
                  <a:gd name="connsiteX60" fmla="*/ 119247 w 221977"/>
                  <a:gd name="connsiteY60" fmla="*/ 47123 h 118943"/>
                  <a:gd name="connsiteX61" fmla="*/ 116671 w 221977"/>
                  <a:gd name="connsiteY61" fmla="*/ 45153 h 118943"/>
                  <a:gd name="connsiteX62" fmla="*/ 114246 w 221977"/>
                  <a:gd name="connsiteY62" fmla="*/ 43941 h 118943"/>
                  <a:gd name="connsiteX63" fmla="*/ 112883 w 221977"/>
                  <a:gd name="connsiteY63" fmla="*/ 40153 h 118943"/>
                  <a:gd name="connsiteX64" fmla="*/ 111519 w 221977"/>
                  <a:gd name="connsiteY64" fmla="*/ 36668 h 118943"/>
                  <a:gd name="connsiteX65" fmla="*/ 110762 w 221977"/>
                  <a:gd name="connsiteY65" fmla="*/ 34850 h 118943"/>
                  <a:gd name="connsiteX66" fmla="*/ 108640 w 221977"/>
                  <a:gd name="connsiteY66" fmla="*/ 33789 h 118943"/>
                  <a:gd name="connsiteX67" fmla="*/ 106367 w 221977"/>
                  <a:gd name="connsiteY67" fmla="*/ 33031 h 118943"/>
                  <a:gd name="connsiteX68" fmla="*/ 102277 w 221977"/>
                  <a:gd name="connsiteY68" fmla="*/ 34547 h 118943"/>
                  <a:gd name="connsiteX69" fmla="*/ 99094 w 221977"/>
                  <a:gd name="connsiteY69" fmla="*/ 35759 h 118943"/>
                  <a:gd name="connsiteX70" fmla="*/ 96670 w 221977"/>
                  <a:gd name="connsiteY70" fmla="*/ 35910 h 118943"/>
                  <a:gd name="connsiteX71" fmla="*/ 93185 w 221977"/>
                  <a:gd name="connsiteY71" fmla="*/ 32274 h 118943"/>
                  <a:gd name="connsiteX72" fmla="*/ 90458 w 221977"/>
                  <a:gd name="connsiteY72" fmla="*/ 28334 h 118943"/>
                  <a:gd name="connsiteX73" fmla="*/ 87124 w 221977"/>
                  <a:gd name="connsiteY73" fmla="*/ 24849 h 118943"/>
                  <a:gd name="connsiteX74" fmla="*/ 85003 w 221977"/>
                  <a:gd name="connsiteY74" fmla="*/ 23183 h 118943"/>
                  <a:gd name="connsiteX75" fmla="*/ 81063 w 221977"/>
                  <a:gd name="connsiteY75" fmla="*/ 22880 h 118943"/>
                  <a:gd name="connsiteX76" fmla="*/ 76669 w 221977"/>
                  <a:gd name="connsiteY76" fmla="*/ 21061 h 118943"/>
                  <a:gd name="connsiteX77" fmla="*/ 70912 w 221977"/>
                  <a:gd name="connsiteY77" fmla="*/ 16667 h 118943"/>
                  <a:gd name="connsiteX78" fmla="*/ 66669 w 221977"/>
                  <a:gd name="connsiteY78" fmla="*/ 13334 h 118943"/>
                  <a:gd name="connsiteX79" fmla="*/ 59396 w 221977"/>
                  <a:gd name="connsiteY79" fmla="*/ 9697 h 118943"/>
                  <a:gd name="connsiteX80" fmla="*/ 57729 w 221977"/>
                  <a:gd name="connsiteY80" fmla="*/ 8182 h 118943"/>
                  <a:gd name="connsiteX81" fmla="*/ 56971 w 221977"/>
                  <a:gd name="connsiteY81" fmla="*/ 6818 h 118943"/>
                  <a:gd name="connsiteX82" fmla="*/ 56062 w 221977"/>
                  <a:gd name="connsiteY82" fmla="*/ 4243 h 118943"/>
                  <a:gd name="connsiteX83" fmla="*/ 54547 w 221977"/>
                  <a:gd name="connsiteY83" fmla="*/ 1818 h 118943"/>
                  <a:gd name="connsiteX84" fmla="*/ 49395 w 221977"/>
                  <a:gd name="connsiteY84" fmla="*/ 757 h 118943"/>
                  <a:gd name="connsiteX85" fmla="*/ 43486 w 221977"/>
                  <a:gd name="connsiteY85" fmla="*/ 0 h 118943"/>
                  <a:gd name="connsiteX86" fmla="*/ 37426 w 221977"/>
                  <a:gd name="connsiteY86" fmla="*/ 1515 h 118943"/>
                  <a:gd name="connsiteX87" fmla="*/ 33031 w 221977"/>
                  <a:gd name="connsiteY87" fmla="*/ 8788 h 118943"/>
                  <a:gd name="connsiteX88" fmla="*/ 30759 w 221977"/>
                  <a:gd name="connsiteY88" fmla="*/ 10455 h 118943"/>
                  <a:gd name="connsiteX89" fmla="*/ 28941 w 221977"/>
                  <a:gd name="connsiteY89" fmla="*/ 10455 h 118943"/>
                  <a:gd name="connsiteX90" fmla="*/ 27425 w 221977"/>
                  <a:gd name="connsiteY90" fmla="*/ 8637 h 118943"/>
                  <a:gd name="connsiteX91" fmla="*/ 26213 w 221977"/>
                  <a:gd name="connsiteY91" fmla="*/ 6667 h 118943"/>
                  <a:gd name="connsiteX92" fmla="*/ 25001 w 221977"/>
                  <a:gd name="connsiteY92" fmla="*/ 6212 h 118943"/>
                  <a:gd name="connsiteX93" fmla="*/ 23486 w 221977"/>
                  <a:gd name="connsiteY93" fmla="*/ 6515 h 118943"/>
                  <a:gd name="connsiteX94" fmla="*/ 21819 w 221977"/>
                  <a:gd name="connsiteY94" fmla="*/ 7424 h 118943"/>
                  <a:gd name="connsiteX95" fmla="*/ 21061 w 221977"/>
                  <a:gd name="connsiteY95" fmla="*/ 8031 h 118943"/>
                  <a:gd name="connsiteX96" fmla="*/ 17273 w 221977"/>
                  <a:gd name="connsiteY96" fmla="*/ 11819 h 118943"/>
                  <a:gd name="connsiteX97" fmla="*/ 15455 w 221977"/>
                  <a:gd name="connsiteY97" fmla="*/ 12879 h 118943"/>
                  <a:gd name="connsiteX98" fmla="*/ 13637 w 221977"/>
                  <a:gd name="connsiteY98" fmla="*/ 14546 h 118943"/>
                  <a:gd name="connsiteX99" fmla="*/ 9546 w 221977"/>
                  <a:gd name="connsiteY99" fmla="*/ 19546 h 118943"/>
                  <a:gd name="connsiteX100" fmla="*/ 7273 w 221977"/>
                  <a:gd name="connsiteY100" fmla="*/ 24395 h 118943"/>
                  <a:gd name="connsiteX101" fmla="*/ 5606 w 221977"/>
                  <a:gd name="connsiteY101" fmla="*/ 28789 h 118943"/>
                  <a:gd name="connsiteX102" fmla="*/ 5606 w 221977"/>
                  <a:gd name="connsiteY102" fmla="*/ 31819 h 118943"/>
                  <a:gd name="connsiteX103" fmla="*/ 5000 w 221977"/>
                  <a:gd name="connsiteY103" fmla="*/ 35607 h 118943"/>
                  <a:gd name="connsiteX104" fmla="*/ 3182 w 221977"/>
                  <a:gd name="connsiteY104" fmla="*/ 37577 h 118943"/>
                  <a:gd name="connsiteX105" fmla="*/ 2121 w 221977"/>
                  <a:gd name="connsiteY105" fmla="*/ 38335 h 118943"/>
                  <a:gd name="connsiteX106" fmla="*/ 909 w 221977"/>
                  <a:gd name="connsiteY106" fmla="*/ 41517 h 118943"/>
                  <a:gd name="connsiteX107" fmla="*/ 0 w 221977"/>
                  <a:gd name="connsiteY107" fmla="*/ 45153 h 118943"/>
                  <a:gd name="connsiteX108" fmla="*/ 606 w 221977"/>
                  <a:gd name="connsiteY108" fmla="*/ 46365 h 118943"/>
                  <a:gd name="connsiteX109" fmla="*/ 2727 w 221977"/>
                  <a:gd name="connsiteY109" fmla="*/ 47880 h 118943"/>
                  <a:gd name="connsiteX110" fmla="*/ 4848 w 221977"/>
                  <a:gd name="connsiteY110" fmla="*/ 49547 h 118943"/>
                  <a:gd name="connsiteX111" fmla="*/ 7576 w 221977"/>
                  <a:gd name="connsiteY111" fmla="*/ 51214 h 118943"/>
                  <a:gd name="connsiteX112" fmla="*/ 10000 w 221977"/>
                  <a:gd name="connsiteY112" fmla="*/ 52729 h 118943"/>
                  <a:gd name="connsiteX113" fmla="*/ 11667 w 221977"/>
                  <a:gd name="connsiteY113" fmla="*/ 53032 h 118943"/>
                  <a:gd name="connsiteX114" fmla="*/ 12121 w 221977"/>
                  <a:gd name="connsiteY114" fmla="*/ 52123 h 118943"/>
                  <a:gd name="connsiteX115" fmla="*/ 12728 w 221977"/>
                  <a:gd name="connsiteY115" fmla="*/ 51214 h 118943"/>
                  <a:gd name="connsiteX116" fmla="*/ 14698 w 221977"/>
                  <a:gd name="connsiteY116" fmla="*/ 51668 h 118943"/>
                  <a:gd name="connsiteX117" fmla="*/ 16970 w 221977"/>
                  <a:gd name="connsiteY117" fmla="*/ 53184 h 118943"/>
                  <a:gd name="connsiteX118" fmla="*/ 18486 w 221977"/>
                  <a:gd name="connsiteY118" fmla="*/ 54547 h 118943"/>
                  <a:gd name="connsiteX119" fmla="*/ 19091 w 221977"/>
                  <a:gd name="connsiteY119" fmla="*/ 54850 h 118943"/>
                  <a:gd name="connsiteX120" fmla="*/ 23183 w 221977"/>
                  <a:gd name="connsiteY120" fmla="*/ 56972 h 118943"/>
                  <a:gd name="connsiteX121" fmla="*/ 26364 w 221977"/>
                  <a:gd name="connsiteY121" fmla="*/ 58790 h 118943"/>
                  <a:gd name="connsiteX122" fmla="*/ 30607 w 221977"/>
                  <a:gd name="connsiteY122" fmla="*/ 60911 h 118943"/>
                  <a:gd name="connsiteX123" fmla="*/ 31668 w 221977"/>
                  <a:gd name="connsiteY123" fmla="*/ 62275 h 118943"/>
                  <a:gd name="connsiteX124" fmla="*/ 32577 w 221977"/>
                  <a:gd name="connsiteY124" fmla="*/ 63790 h 118943"/>
                  <a:gd name="connsiteX125" fmla="*/ 34547 w 221977"/>
                  <a:gd name="connsiteY125" fmla="*/ 65608 h 118943"/>
                  <a:gd name="connsiteX126" fmla="*/ 39244 w 221977"/>
                  <a:gd name="connsiteY126" fmla="*/ 68942 h 118943"/>
                  <a:gd name="connsiteX127" fmla="*/ 43335 w 221977"/>
                  <a:gd name="connsiteY127" fmla="*/ 71366 h 118943"/>
                  <a:gd name="connsiteX128" fmla="*/ 46668 w 221977"/>
                  <a:gd name="connsiteY128" fmla="*/ 73336 h 118943"/>
                  <a:gd name="connsiteX129" fmla="*/ 49244 w 221977"/>
                  <a:gd name="connsiteY129" fmla="*/ 74700 h 118943"/>
                  <a:gd name="connsiteX130" fmla="*/ 50456 w 221977"/>
                  <a:gd name="connsiteY130" fmla="*/ 74548 h 118943"/>
                  <a:gd name="connsiteX131" fmla="*/ 51820 w 221977"/>
                  <a:gd name="connsiteY131" fmla="*/ 73790 h 118943"/>
                  <a:gd name="connsiteX132" fmla="*/ 53032 w 221977"/>
                  <a:gd name="connsiteY132" fmla="*/ 73336 h 118943"/>
                  <a:gd name="connsiteX133" fmla="*/ 54396 w 221977"/>
                  <a:gd name="connsiteY133" fmla="*/ 73790 h 118943"/>
                  <a:gd name="connsiteX134" fmla="*/ 56366 w 221977"/>
                  <a:gd name="connsiteY134" fmla="*/ 74851 h 118943"/>
                  <a:gd name="connsiteX135" fmla="*/ 61214 w 221977"/>
                  <a:gd name="connsiteY135" fmla="*/ 78033 h 118943"/>
                  <a:gd name="connsiteX136" fmla="*/ 65760 w 221977"/>
                  <a:gd name="connsiteY136" fmla="*/ 80457 h 118943"/>
                  <a:gd name="connsiteX137" fmla="*/ 70609 w 221977"/>
                  <a:gd name="connsiteY137" fmla="*/ 80003 h 118943"/>
                  <a:gd name="connsiteX138" fmla="*/ 71821 w 221977"/>
                  <a:gd name="connsiteY138" fmla="*/ 80457 h 118943"/>
                  <a:gd name="connsiteX139" fmla="*/ 72730 w 221977"/>
                  <a:gd name="connsiteY139" fmla="*/ 82730 h 118943"/>
                  <a:gd name="connsiteX140" fmla="*/ 73336 w 221977"/>
                  <a:gd name="connsiteY140" fmla="*/ 85003 h 118943"/>
                  <a:gd name="connsiteX141" fmla="*/ 78791 w 221977"/>
                  <a:gd name="connsiteY141" fmla="*/ 86518 h 118943"/>
                  <a:gd name="connsiteX142" fmla="*/ 82427 w 221977"/>
                  <a:gd name="connsiteY142" fmla="*/ 87124 h 118943"/>
                  <a:gd name="connsiteX143" fmla="*/ 86518 w 221977"/>
                  <a:gd name="connsiteY143" fmla="*/ 88488 h 118943"/>
                  <a:gd name="connsiteX144" fmla="*/ 88639 w 221977"/>
                  <a:gd name="connsiteY144" fmla="*/ 89397 h 118943"/>
                  <a:gd name="connsiteX145" fmla="*/ 90761 w 221977"/>
                  <a:gd name="connsiteY145" fmla="*/ 88185 h 118943"/>
                  <a:gd name="connsiteX146" fmla="*/ 91215 w 221977"/>
                  <a:gd name="connsiteY146" fmla="*/ 87124 h 118943"/>
                  <a:gd name="connsiteX147" fmla="*/ 92882 w 221977"/>
                  <a:gd name="connsiteY147" fmla="*/ 86518 h 118943"/>
                  <a:gd name="connsiteX148" fmla="*/ 95761 w 221977"/>
                  <a:gd name="connsiteY148" fmla="*/ 86821 h 118943"/>
                  <a:gd name="connsiteX149" fmla="*/ 101064 w 221977"/>
                  <a:gd name="connsiteY149" fmla="*/ 88639 h 118943"/>
                  <a:gd name="connsiteX150" fmla="*/ 103337 w 221977"/>
                  <a:gd name="connsiteY150" fmla="*/ 89094 h 118943"/>
                  <a:gd name="connsiteX151" fmla="*/ 105307 w 221977"/>
                  <a:gd name="connsiteY151" fmla="*/ 87427 h 118943"/>
                  <a:gd name="connsiteX152" fmla="*/ 108792 w 221977"/>
                  <a:gd name="connsiteY152" fmla="*/ 86670 h 118943"/>
                  <a:gd name="connsiteX153" fmla="*/ 110610 w 221977"/>
                  <a:gd name="connsiteY153" fmla="*/ 85761 h 118943"/>
                  <a:gd name="connsiteX154" fmla="*/ 114398 w 221977"/>
                  <a:gd name="connsiteY154" fmla="*/ 87730 h 118943"/>
                  <a:gd name="connsiteX155" fmla="*/ 121217 w 221977"/>
                  <a:gd name="connsiteY155" fmla="*/ 90003 h 118943"/>
                  <a:gd name="connsiteX156" fmla="*/ 124701 w 221977"/>
                  <a:gd name="connsiteY156" fmla="*/ 91518 h 118943"/>
                  <a:gd name="connsiteX157" fmla="*/ 125610 w 221977"/>
                  <a:gd name="connsiteY157" fmla="*/ 92882 h 118943"/>
                  <a:gd name="connsiteX158" fmla="*/ 125914 w 221977"/>
                  <a:gd name="connsiteY158" fmla="*/ 94246 h 118943"/>
                  <a:gd name="connsiteX159" fmla="*/ 125914 w 221977"/>
                  <a:gd name="connsiteY159" fmla="*/ 97579 h 118943"/>
                  <a:gd name="connsiteX160" fmla="*/ 126823 w 221977"/>
                  <a:gd name="connsiteY160" fmla="*/ 98943 h 118943"/>
                  <a:gd name="connsiteX161" fmla="*/ 133641 w 221977"/>
                  <a:gd name="connsiteY161" fmla="*/ 102428 h 118943"/>
                  <a:gd name="connsiteX162" fmla="*/ 135914 w 221977"/>
                  <a:gd name="connsiteY162" fmla="*/ 103792 h 118943"/>
                  <a:gd name="connsiteX163" fmla="*/ 137884 w 221977"/>
                  <a:gd name="connsiteY163" fmla="*/ 104246 h 118943"/>
                  <a:gd name="connsiteX164" fmla="*/ 138793 w 221977"/>
                  <a:gd name="connsiteY164" fmla="*/ 104246 h 118943"/>
                  <a:gd name="connsiteX165" fmla="*/ 139551 w 221977"/>
                  <a:gd name="connsiteY165" fmla="*/ 104701 h 118943"/>
                  <a:gd name="connsiteX166" fmla="*/ 140157 w 221977"/>
                  <a:gd name="connsiteY166" fmla="*/ 106670 h 118943"/>
                  <a:gd name="connsiteX167" fmla="*/ 140611 w 221977"/>
                  <a:gd name="connsiteY167" fmla="*/ 107125 h 118943"/>
                  <a:gd name="connsiteX168" fmla="*/ 141975 w 221977"/>
                  <a:gd name="connsiteY168" fmla="*/ 107580 h 118943"/>
                  <a:gd name="connsiteX169" fmla="*/ 143490 w 221977"/>
                  <a:gd name="connsiteY169" fmla="*/ 107731 h 118943"/>
                  <a:gd name="connsiteX170" fmla="*/ 147884 w 221977"/>
                  <a:gd name="connsiteY170" fmla="*/ 106216 h 118943"/>
                  <a:gd name="connsiteX171" fmla="*/ 150915 w 221977"/>
                  <a:gd name="connsiteY171" fmla="*/ 104852 h 118943"/>
                  <a:gd name="connsiteX172" fmla="*/ 153187 w 221977"/>
                  <a:gd name="connsiteY172" fmla="*/ 105155 h 118943"/>
                  <a:gd name="connsiteX173" fmla="*/ 154551 w 221977"/>
                  <a:gd name="connsiteY173" fmla="*/ 106670 h 118943"/>
                  <a:gd name="connsiteX174" fmla="*/ 154703 w 221977"/>
                  <a:gd name="connsiteY174" fmla="*/ 108640 h 118943"/>
                  <a:gd name="connsiteX175" fmla="*/ 155612 w 221977"/>
                  <a:gd name="connsiteY175" fmla="*/ 110762 h 118943"/>
                  <a:gd name="connsiteX176" fmla="*/ 157127 w 221977"/>
                  <a:gd name="connsiteY176" fmla="*/ 111822 h 118943"/>
                  <a:gd name="connsiteX177" fmla="*/ 158793 w 221977"/>
                  <a:gd name="connsiteY177" fmla="*/ 111974 h 118943"/>
                  <a:gd name="connsiteX178" fmla="*/ 163036 w 221977"/>
                  <a:gd name="connsiteY178" fmla="*/ 110458 h 118943"/>
                  <a:gd name="connsiteX179" fmla="*/ 166370 w 221977"/>
                  <a:gd name="connsiteY179" fmla="*/ 111519 h 118943"/>
                  <a:gd name="connsiteX180" fmla="*/ 169400 w 221977"/>
                  <a:gd name="connsiteY180" fmla="*/ 111974 h 118943"/>
                  <a:gd name="connsiteX181" fmla="*/ 172734 w 221977"/>
                  <a:gd name="connsiteY181" fmla="*/ 112731 h 118943"/>
                  <a:gd name="connsiteX182" fmla="*/ 174097 w 221977"/>
                  <a:gd name="connsiteY182" fmla="*/ 113186 h 118943"/>
                  <a:gd name="connsiteX183" fmla="*/ 177582 w 221977"/>
                  <a:gd name="connsiteY183" fmla="*/ 115004 h 118943"/>
                  <a:gd name="connsiteX184" fmla="*/ 181976 w 221977"/>
                  <a:gd name="connsiteY184" fmla="*/ 116671 h 118943"/>
                  <a:gd name="connsiteX185" fmla="*/ 183643 w 221977"/>
                  <a:gd name="connsiteY185" fmla="*/ 116519 h 118943"/>
                  <a:gd name="connsiteX186" fmla="*/ 190613 w 221977"/>
                  <a:gd name="connsiteY186" fmla="*/ 113186 h 118943"/>
                  <a:gd name="connsiteX187" fmla="*/ 191219 w 221977"/>
                  <a:gd name="connsiteY187" fmla="*/ 113641 h 118943"/>
                  <a:gd name="connsiteX188" fmla="*/ 192583 w 221977"/>
                  <a:gd name="connsiteY188" fmla="*/ 116822 h 118943"/>
                  <a:gd name="connsiteX189" fmla="*/ 194704 w 221977"/>
                  <a:gd name="connsiteY189" fmla="*/ 117883 h 118943"/>
                  <a:gd name="connsiteX190" fmla="*/ 198037 w 221977"/>
                  <a:gd name="connsiteY190" fmla="*/ 118944 h 118943"/>
                  <a:gd name="connsiteX191" fmla="*/ 201522 w 221977"/>
                  <a:gd name="connsiteY191" fmla="*/ 117125 h 118943"/>
                  <a:gd name="connsiteX192" fmla="*/ 204250 w 221977"/>
                  <a:gd name="connsiteY192" fmla="*/ 117580 h 118943"/>
                  <a:gd name="connsiteX193" fmla="*/ 207432 w 221977"/>
                  <a:gd name="connsiteY193" fmla="*/ 117731 h 118943"/>
                  <a:gd name="connsiteX194" fmla="*/ 210614 w 221977"/>
                  <a:gd name="connsiteY194" fmla="*/ 116974 h 118943"/>
                  <a:gd name="connsiteX195" fmla="*/ 213341 w 221977"/>
                  <a:gd name="connsiteY195" fmla="*/ 116671 h 118943"/>
                  <a:gd name="connsiteX196" fmla="*/ 217432 w 221977"/>
                  <a:gd name="connsiteY196" fmla="*/ 118338 h 118943"/>
                  <a:gd name="connsiteX197" fmla="*/ 218190 w 221977"/>
                  <a:gd name="connsiteY197" fmla="*/ 117883 h 118943"/>
                  <a:gd name="connsiteX198" fmla="*/ 218947 w 221977"/>
                  <a:gd name="connsiteY198" fmla="*/ 116822 h 118943"/>
                  <a:gd name="connsiteX199" fmla="*/ 220614 w 221977"/>
                  <a:gd name="connsiteY199" fmla="*/ 112277 h 118943"/>
                  <a:gd name="connsiteX200" fmla="*/ 221978 w 221977"/>
                  <a:gd name="connsiteY200" fmla="*/ 108337 h 118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21977" h="118943">
                    <a:moveTo>
                      <a:pt x="221826" y="105913"/>
                    </a:moveTo>
                    <a:lnTo>
                      <a:pt x="220614" y="102276"/>
                    </a:lnTo>
                    <a:lnTo>
                      <a:pt x="217281" y="97731"/>
                    </a:lnTo>
                    <a:lnTo>
                      <a:pt x="217129" y="96367"/>
                    </a:lnTo>
                    <a:lnTo>
                      <a:pt x="218190" y="88185"/>
                    </a:lnTo>
                    <a:lnTo>
                      <a:pt x="219402" y="83639"/>
                    </a:lnTo>
                    <a:lnTo>
                      <a:pt x="220463" y="81367"/>
                    </a:lnTo>
                    <a:lnTo>
                      <a:pt x="221523" y="78184"/>
                    </a:lnTo>
                    <a:lnTo>
                      <a:pt x="221675" y="76821"/>
                    </a:lnTo>
                    <a:lnTo>
                      <a:pt x="221675" y="75457"/>
                    </a:lnTo>
                    <a:lnTo>
                      <a:pt x="220463" y="74700"/>
                    </a:lnTo>
                    <a:lnTo>
                      <a:pt x="218190" y="74245"/>
                    </a:lnTo>
                    <a:lnTo>
                      <a:pt x="215614" y="74094"/>
                    </a:lnTo>
                    <a:lnTo>
                      <a:pt x="213644" y="74245"/>
                    </a:lnTo>
                    <a:lnTo>
                      <a:pt x="208796" y="76063"/>
                    </a:lnTo>
                    <a:lnTo>
                      <a:pt x="207129" y="76215"/>
                    </a:lnTo>
                    <a:lnTo>
                      <a:pt x="205310" y="76063"/>
                    </a:lnTo>
                    <a:lnTo>
                      <a:pt x="202886" y="76063"/>
                    </a:lnTo>
                    <a:lnTo>
                      <a:pt x="198037" y="76063"/>
                    </a:lnTo>
                    <a:lnTo>
                      <a:pt x="193946" y="75609"/>
                    </a:lnTo>
                    <a:lnTo>
                      <a:pt x="190765" y="72881"/>
                    </a:lnTo>
                    <a:lnTo>
                      <a:pt x="188340" y="71821"/>
                    </a:lnTo>
                    <a:lnTo>
                      <a:pt x="185764" y="70912"/>
                    </a:lnTo>
                    <a:lnTo>
                      <a:pt x="183340" y="70154"/>
                    </a:lnTo>
                    <a:lnTo>
                      <a:pt x="182431" y="68790"/>
                    </a:lnTo>
                    <a:lnTo>
                      <a:pt x="181673" y="68033"/>
                    </a:lnTo>
                    <a:lnTo>
                      <a:pt x="179552" y="67881"/>
                    </a:lnTo>
                    <a:lnTo>
                      <a:pt x="177885" y="68336"/>
                    </a:lnTo>
                    <a:lnTo>
                      <a:pt x="176976" y="71972"/>
                    </a:lnTo>
                    <a:lnTo>
                      <a:pt x="176067" y="72578"/>
                    </a:lnTo>
                    <a:lnTo>
                      <a:pt x="173946" y="72881"/>
                    </a:lnTo>
                    <a:lnTo>
                      <a:pt x="171825" y="71972"/>
                    </a:lnTo>
                    <a:lnTo>
                      <a:pt x="168794" y="70154"/>
                    </a:lnTo>
                    <a:lnTo>
                      <a:pt x="167582" y="68184"/>
                    </a:lnTo>
                    <a:lnTo>
                      <a:pt x="166521" y="67427"/>
                    </a:lnTo>
                    <a:lnTo>
                      <a:pt x="165006" y="68336"/>
                    </a:lnTo>
                    <a:lnTo>
                      <a:pt x="164855" y="71063"/>
                    </a:lnTo>
                    <a:lnTo>
                      <a:pt x="164551" y="72730"/>
                    </a:lnTo>
                    <a:lnTo>
                      <a:pt x="162581" y="73487"/>
                    </a:lnTo>
                    <a:lnTo>
                      <a:pt x="161521" y="73033"/>
                    </a:lnTo>
                    <a:lnTo>
                      <a:pt x="160612" y="71215"/>
                    </a:lnTo>
                    <a:lnTo>
                      <a:pt x="158339" y="66820"/>
                    </a:lnTo>
                    <a:lnTo>
                      <a:pt x="156218" y="64396"/>
                    </a:lnTo>
                    <a:lnTo>
                      <a:pt x="153945" y="62730"/>
                    </a:lnTo>
                    <a:lnTo>
                      <a:pt x="146672" y="62730"/>
                    </a:lnTo>
                    <a:lnTo>
                      <a:pt x="141217" y="62275"/>
                    </a:lnTo>
                    <a:lnTo>
                      <a:pt x="138793" y="61517"/>
                    </a:lnTo>
                    <a:lnTo>
                      <a:pt x="137884" y="59851"/>
                    </a:lnTo>
                    <a:lnTo>
                      <a:pt x="138793" y="56517"/>
                    </a:lnTo>
                    <a:lnTo>
                      <a:pt x="139853" y="53941"/>
                    </a:lnTo>
                    <a:lnTo>
                      <a:pt x="139702" y="53335"/>
                    </a:lnTo>
                    <a:lnTo>
                      <a:pt x="138944" y="53032"/>
                    </a:lnTo>
                    <a:lnTo>
                      <a:pt x="137278" y="52881"/>
                    </a:lnTo>
                    <a:lnTo>
                      <a:pt x="131520" y="54547"/>
                    </a:lnTo>
                    <a:lnTo>
                      <a:pt x="129853" y="54244"/>
                    </a:lnTo>
                    <a:lnTo>
                      <a:pt x="128793" y="53790"/>
                    </a:lnTo>
                    <a:lnTo>
                      <a:pt x="127580" y="53335"/>
                    </a:lnTo>
                    <a:lnTo>
                      <a:pt x="126519" y="52578"/>
                    </a:lnTo>
                    <a:lnTo>
                      <a:pt x="125914" y="51366"/>
                    </a:lnTo>
                    <a:lnTo>
                      <a:pt x="120762" y="48638"/>
                    </a:lnTo>
                    <a:lnTo>
                      <a:pt x="119247" y="47123"/>
                    </a:lnTo>
                    <a:lnTo>
                      <a:pt x="116671" y="45153"/>
                    </a:lnTo>
                    <a:lnTo>
                      <a:pt x="114246" y="43941"/>
                    </a:lnTo>
                    <a:lnTo>
                      <a:pt x="112883" y="40153"/>
                    </a:lnTo>
                    <a:lnTo>
                      <a:pt x="111519" y="36668"/>
                    </a:lnTo>
                    <a:lnTo>
                      <a:pt x="110762" y="34850"/>
                    </a:lnTo>
                    <a:lnTo>
                      <a:pt x="108640" y="33789"/>
                    </a:lnTo>
                    <a:lnTo>
                      <a:pt x="106367" y="33031"/>
                    </a:lnTo>
                    <a:lnTo>
                      <a:pt x="102277" y="34547"/>
                    </a:lnTo>
                    <a:lnTo>
                      <a:pt x="99094" y="35759"/>
                    </a:lnTo>
                    <a:lnTo>
                      <a:pt x="96670" y="35910"/>
                    </a:lnTo>
                    <a:lnTo>
                      <a:pt x="93185" y="32274"/>
                    </a:lnTo>
                    <a:lnTo>
                      <a:pt x="90458" y="28334"/>
                    </a:lnTo>
                    <a:lnTo>
                      <a:pt x="87124" y="24849"/>
                    </a:lnTo>
                    <a:lnTo>
                      <a:pt x="85003" y="23183"/>
                    </a:lnTo>
                    <a:lnTo>
                      <a:pt x="81063" y="22880"/>
                    </a:lnTo>
                    <a:lnTo>
                      <a:pt x="76669" y="21061"/>
                    </a:lnTo>
                    <a:lnTo>
                      <a:pt x="70912" y="16667"/>
                    </a:lnTo>
                    <a:lnTo>
                      <a:pt x="66669" y="13334"/>
                    </a:lnTo>
                    <a:lnTo>
                      <a:pt x="59396" y="9697"/>
                    </a:lnTo>
                    <a:lnTo>
                      <a:pt x="57729" y="8182"/>
                    </a:lnTo>
                    <a:lnTo>
                      <a:pt x="56971" y="6818"/>
                    </a:lnTo>
                    <a:lnTo>
                      <a:pt x="56062" y="4243"/>
                    </a:lnTo>
                    <a:lnTo>
                      <a:pt x="54547" y="1818"/>
                    </a:lnTo>
                    <a:lnTo>
                      <a:pt x="49395" y="757"/>
                    </a:lnTo>
                    <a:lnTo>
                      <a:pt x="43486" y="0"/>
                    </a:lnTo>
                    <a:lnTo>
                      <a:pt x="37426" y="1515"/>
                    </a:lnTo>
                    <a:lnTo>
                      <a:pt x="33031" y="8788"/>
                    </a:lnTo>
                    <a:lnTo>
                      <a:pt x="30759" y="10455"/>
                    </a:lnTo>
                    <a:lnTo>
                      <a:pt x="28941" y="10455"/>
                    </a:lnTo>
                    <a:lnTo>
                      <a:pt x="27425" y="8637"/>
                    </a:lnTo>
                    <a:lnTo>
                      <a:pt x="26213" y="6667"/>
                    </a:lnTo>
                    <a:lnTo>
                      <a:pt x="25001" y="6212"/>
                    </a:lnTo>
                    <a:lnTo>
                      <a:pt x="23486" y="6515"/>
                    </a:lnTo>
                    <a:lnTo>
                      <a:pt x="21819" y="7424"/>
                    </a:lnTo>
                    <a:lnTo>
                      <a:pt x="21061" y="8031"/>
                    </a:lnTo>
                    <a:lnTo>
                      <a:pt x="17273" y="11819"/>
                    </a:lnTo>
                    <a:lnTo>
                      <a:pt x="15455" y="12879"/>
                    </a:lnTo>
                    <a:lnTo>
                      <a:pt x="13637" y="14546"/>
                    </a:lnTo>
                    <a:lnTo>
                      <a:pt x="9546" y="19546"/>
                    </a:lnTo>
                    <a:lnTo>
                      <a:pt x="7273" y="24395"/>
                    </a:lnTo>
                    <a:lnTo>
                      <a:pt x="5606" y="28789"/>
                    </a:lnTo>
                    <a:lnTo>
                      <a:pt x="5606" y="31819"/>
                    </a:lnTo>
                    <a:lnTo>
                      <a:pt x="5000" y="35607"/>
                    </a:lnTo>
                    <a:lnTo>
                      <a:pt x="3182" y="37577"/>
                    </a:lnTo>
                    <a:lnTo>
                      <a:pt x="2121" y="38335"/>
                    </a:lnTo>
                    <a:lnTo>
                      <a:pt x="909" y="41517"/>
                    </a:lnTo>
                    <a:lnTo>
                      <a:pt x="0" y="45153"/>
                    </a:lnTo>
                    <a:lnTo>
                      <a:pt x="606" y="46365"/>
                    </a:lnTo>
                    <a:lnTo>
                      <a:pt x="2727" y="47880"/>
                    </a:lnTo>
                    <a:lnTo>
                      <a:pt x="4848" y="49547"/>
                    </a:lnTo>
                    <a:lnTo>
                      <a:pt x="7576" y="51214"/>
                    </a:lnTo>
                    <a:lnTo>
                      <a:pt x="10000" y="52729"/>
                    </a:lnTo>
                    <a:lnTo>
                      <a:pt x="11667" y="53032"/>
                    </a:lnTo>
                    <a:lnTo>
                      <a:pt x="12121" y="52123"/>
                    </a:lnTo>
                    <a:lnTo>
                      <a:pt x="12728" y="51214"/>
                    </a:lnTo>
                    <a:lnTo>
                      <a:pt x="14698" y="51668"/>
                    </a:lnTo>
                    <a:lnTo>
                      <a:pt x="16970" y="53184"/>
                    </a:lnTo>
                    <a:lnTo>
                      <a:pt x="18486" y="54547"/>
                    </a:lnTo>
                    <a:lnTo>
                      <a:pt x="19091" y="54850"/>
                    </a:lnTo>
                    <a:lnTo>
                      <a:pt x="23183" y="56972"/>
                    </a:lnTo>
                    <a:lnTo>
                      <a:pt x="26364" y="58790"/>
                    </a:lnTo>
                    <a:lnTo>
                      <a:pt x="30607" y="60911"/>
                    </a:lnTo>
                    <a:lnTo>
                      <a:pt x="31668" y="62275"/>
                    </a:lnTo>
                    <a:lnTo>
                      <a:pt x="32577" y="63790"/>
                    </a:lnTo>
                    <a:lnTo>
                      <a:pt x="34547" y="65608"/>
                    </a:lnTo>
                    <a:lnTo>
                      <a:pt x="39244" y="68942"/>
                    </a:lnTo>
                    <a:lnTo>
                      <a:pt x="43335" y="71366"/>
                    </a:lnTo>
                    <a:lnTo>
                      <a:pt x="46668" y="73336"/>
                    </a:lnTo>
                    <a:lnTo>
                      <a:pt x="49244" y="74700"/>
                    </a:lnTo>
                    <a:lnTo>
                      <a:pt x="50456" y="74548"/>
                    </a:lnTo>
                    <a:lnTo>
                      <a:pt x="51820" y="73790"/>
                    </a:lnTo>
                    <a:lnTo>
                      <a:pt x="53032" y="73336"/>
                    </a:lnTo>
                    <a:lnTo>
                      <a:pt x="54396" y="73790"/>
                    </a:lnTo>
                    <a:lnTo>
                      <a:pt x="56366" y="74851"/>
                    </a:lnTo>
                    <a:lnTo>
                      <a:pt x="61214" y="78033"/>
                    </a:lnTo>
                    <a:lnTo>
                      <a:pt x="65760" y="80457"/>
                    </a:lnTo>
                    <a:lnTo>
                      <a:pt x="70609" y="80003"/>
                    </a:lnTo>
                    <a:lnTo>
                      <a:pt x="71821" y="80457"/>
                    </a:lnTo>
                    <a:lnTo>
                      <a:pt x="72730" y="82730"/>
                    </a:lnTo>
                    <a:lnTo>
                      <a:pt x="73336" y="85003"/>
                    </a:lnTo>
                    <a:lnTo>
                      <a:pt x="78791" y="86518"/>
                    </a:lnTo>
                    <a:lnTo>
                      <a:pt x="82427" y="87124"/>
                    </a:lnTo>
                    <a:lnTo>
                      <a:pt x="86518" y="88488"/>
                    </a:lnTo>
                    <a:lnTo>
                      <a:pt x="88639" y="89397"/>
                    </a:lnTo>
                    <a:lnTo>
                      <a:pt x="90761" y="88185"/>
                    </a:lnTo>
                    <a:lnTo>
                      <a:pt x="91215" y="87124"/>
                    </a:lnTo>
                    <a:lnTo>
                      <a:pt x="92882" y="86518"/>
                    </a:lnTo>
                    <a:lnTo>
                      <a:pt x="95761" y="86821"/>
                    </a:lnTo>
                    <a:lnTo>
                      <a:pt x="101064" y="88639"/>
                    </a:lnTo>
                    <a:lnTo>
                      <a:pt x="103337" y="89094"/>
                    </a:lnTo>
                    <a:lnTo>
                      <a:pt x="105307" y="87427"/>
                    </a:lnTo>
                    <a:lnTo>
                      <a:pt x="108792" y="86670"/>
                    </a:lnTo>
                    <a:lnTo>
                      <a:pt x="110610" y="85761"/>
                    </a:lnTo>
                    <a:lnTo>
                      <a:pt x="114398" y="87730"/>
                    </a:lnTo>
                    <a:lnTo>
                      <a:pt x="121217" y="90003"/>
                    </a:lnTo>
                    <a:lnTo>
                      <a:pt x="124701" y="91518"/>
                    </a:lnTo>
                    <a:lnTo>
                      <a:pt x="125610" y="92882"/>
                    </a:lnTo>
                    <a:lnTo>
                      <a:pt x="125914" y="94246"/>
                    </a:lnTo>
                    <a:lnTo>
                      <a:pt x="125914" y="97579"/>
                    </a:lnTo>
                    <a:lnTo>
                      <a:pt x="126823" y="98943"/>
                    </a:lnTo>
                    <a:lnTo>
                      <a:pt x="133641" y="102428"/>
                    </a:lnTo>
                    <a:lnTo>
                      <a:pt x="135914" y="103792"/>
                    </a:lnTo>
                    <a:lnTo>
                      <a:pt x="137884" y="104246"/>
                    </a:lnTo>
                    <a:lnTo>
                      <a:pt x="138793" y="104246"/>
                    </a:lnTo>
                    <a:lnTo>
                      <a:pt x="139551" y="104701"/>
                    </a:lnTo>
                    <a:lnTo>
                      <a:pt x="140157" y="106670"/>
                    </a:lnTo>
                    <a:lnTo>
                      <a:pt x="140611" y="107125"/>
                    </a:lnTo>
                    <a:lnTo>
                      <a:pt x="141975" y="107580"/>
                    </a:lnTo>
                    <a:lnTo>
                      <a:pt x="143490" y="107731"/>
                    </a:lnTo>
                    <a:lnTo>
                      <a:pt x="147884" y="106216"/>
                    </a:lnTo>
                    <a:lnTo>
                      <a:pt x="150915" y="104852"/>
                    </a:lnTo>
                    <a:lnTo>
                      <a:pt x="153187" y="105155"/>
                    </a:lnTo>
                    <a:lnTo>
                      <a:pt x="154551" y="106670"/>
                    </a:lnTo>
                    <a:lnTo>
                      <a:pt x="154703" y="108640"/>
                    </a:lnTo>
                    <a:lnTo>
                      <a:pt x="155612" y="110762"/>
                    </a:lnTo>
                    <a:lnTo>
                      <a:pt x="157127" y="111822"/>
                    </a:lnTo>
                    <a:lnTo>
                      <a:pt x="158793" y="111974"/>
                    </a:lnTo>
                    <a:lnTo>
                      <a:pt x="163036" y="110458"/>
                    </a:lnTo>
                    <a:lnTo>
                      <a:pt x="166370" y="111519"/>
                    </a:lnTo>
                    <a:lnTo>
                      <a:pt x="169400" y="111974"/>
                    </a:lnTo>
                    <a:lnTo>
                      <a:pt x="172734" y="112731"/>
                    </a:lnTo>
                    <a:lnTo>
                      <a:pt x="174097" y="113186"/>
                    </a:lnTo>
                    <a:lnTo>
                      <a:pt x="177582" y="115004"/>
                    </a:lnTo>
                    <a:lnTo>
                      <a:pt x="181976" y="116671"/>
                    </a:lnTo>
                    <a:lnTo>
                      <a:pt x="183643" y="116519"/>
                    </a:lnTo>
                    <a:lnTo>
                      <a:pt x="190613" y="113186"/>
                    </a:lnTo>
                    <a:lnTo>
                      <a:pt x="191219" y="113641"/>
                    </a:lnTo>
                    <a:lnTo>
                      <a:pt x="192583" y="116822"/>
                    </a:lnTo>
                    <a:lnTo>
                      <a:pt x="194704" y="117883"/>
                    </a:lnTo>
                    <a:lnTo>
                      <a:pt x="198037" y="118944"/>
                    </a:lnTo>
                    <a:lnTo>
                      <a:pt x="201522" y="117125"/>
                    </a:lnTo>
                    <a:lnTo>
                      <a:pt x="204250" y="117580"/>
                    </a:lnTo>
                    <a:lnTo>
                      <a:pt x="207432" y="117731"/>
                    </a:lnTo>
                    <a:lnTo>
                      <a:pt x="210614" y="116974"/>
                    </a:lnTo>
                    <a:lnTo>
                      <a:pt x="213341" y="116671"/>
                    </a:lnTo>
                    <a:lnTo>
                      <a:pt x="217432" y="118338"/>
                    </a:lnTo>
                    <a:lnTo>
                      <a:pt x="218190" y="117883"/>
                    </a:lnTo>
                    <a:lnTo>
                      <a:pt x="218947" y="116822"/>
                    </a:lnTo>
                    <a:lnTo>
                      <a:pt x="220614" y="112277"/>
                    </a:lnTo>
                    <a:lnTo>
                      <a:pt x="221978" y="1083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8" name="Freeform: Shape 3197">
                <a:extLst>
                  <a:ext uri="{FF2B5EF4-FFF2-40B4-BE49-F238E27FC236}">
                    <a16:creationId xmlns:a16="http://schemas.microsoft.com/office/drawing/2014/main" id="{937FE304-22B7-4CA2-9BE4-1260D28B906B}"/>
                  </a:ext>
                </a:extLst>
              </p:cNvPr>
              <p:cNvSpPr/>
              <p:nvPr/>
            </p:nvSpPr>
            <p:spPr>
              <a:xfrm>
                <a:off x="5528251" y="1663706"/>
                <a:ext cx="1168831" cy="1109282"/>
              </a:xfrm>
              <a:custGeom>
                <a:avLst/>
                <a:gdLst>
                  <a:gd name="connsiteX0" fmla="*/ 543202 w 1168831"/>
                  <a:gd name="connsiteY0" fmla="*/ 49244 h 1109282"/>
                  <a:gd name="connsiteX1" fmla="*/ 544717 w 1168831"/>
                  <a:gd name="connsiteY1" fmla="*/ 52275 h 1109282"/>
                  <a:gd name="connsiteX2" fmla="*/ 542748 w 1168831"/>
                  <a:gd name="connsiteY2" fmla="*/ 55911 h 1109282"/>
                  <a:gd name="connsiteX3" fmla="*/ 542444 w 1168831"/>
                  <a:gd name="connsiteY3" fmla="*/ 57578 h 1109282"/>
                  <a:gd name="connsiteX4" fmla="*/ 542748 w 1168831"/>
                  <a:gd name="connsiteY4" fmla="*/ 59699 h 1109282"/>
                  <a:gd name="connsiteX5" fmla="*/ 545323 w 1168831"/>
                  <a:gd name="connsiteY5" fmla="*/ 63184 h 1109282"/>
                  <a:gd name="connsiteX6" fmla="*/ 546838 w 1168831"/>
                  <a:gd name="connsiteY6" fmla="*/ 66063 h 1109282"/>
                  <a:gd name="connsiteX7" fmla="*/ 547899 w 1168831"/>
                  <a:gd name="connsiteY7" fmla="*/ 70154 h 1109282"/>
                  <a:gd name="connsiteX8" fmla="*/ 549263 w 1168831"/>
                  <a:gd name="connsiteY8" fmla="*/ 72881 h 1109282"/>
                  <a:gd name="connsiteX9" fmla="*/ 552899 w 1168831"/>
                  <a:gd name="connsiteY9" fmla="*/ 77276 h 1109282"/>
                  <a:gd name="connsiteX10" fmla="*/ 555627 w 1168831"/>
                  <a:gd name="connsiteY10" fmla="*/ 83639 h 1109282"/>
                  <a:gd name="connsiteX11" fmla="*/ 559263 w 1168831"/>
                  <a:gd name="connsiteY11" fmla="*/ 84852 h 1109282"/>
                  <a:gd name="connsiteX12" fmla="*/ 564263 w 1168831"/>
                  <a:gd name="connsiteY12" fmla="*/ 82276 h 1109282"/>
                  <a:gd name="connsiteX13" fmla="*/ 566839 w 1168831"/>
                  <a:gd name="connsiteY13" fmla="*/ 78942 h 1109282"/>
                  <a:gd name="connsiteX14" fmla="*/ 565779 w 1168831"/>
                  <a:gd name="connsiteY14" fmla="*/ 74094 h 1109282"/>
                  <a:gd name="connsiteX15" fmla="*/ 568506 w 1168831"/>
                  <a:gd name="connsiteY15" fmla="*/ 73639 h 1109282"/>
                  <a:gd name="connsiteX16" fmla="*/ 576688 w 1168831"/>
                  <a:gd name="connsiteY16" fmla="*/ 73488 h 1109282"/>
                  <a:gd name="connsiteX17" fmla="*/ 579567 w 1168831"/>
                  <a:gd name="connsiteY17" fmla="*/ 75003 h 1109282"/>
                  <a:gd name="connsiteX18" fmla="*/ 577749 w 1168831"/>
                  <a:gd name="connsiteY18" fmla="*/ 78336 h 1109282"/>
                  <a:gd name="connsiteX19" fmla="*/ 574415 w 1168831"/>
                  <a:gd name="connsiteY19" fmla="*/ 82124 h 1109282"/>
                  <a:gd name="connsiteX20" fmla="*/ 574718 w 1168831"/>
                  <a:gd name="connsiteY20" fmla="*/ 84549 h 1109282"/>
                  <a:gd name="connsiteX21" fmla="*/ 575324 w 1168831"/>
                  <a:gd name="connsiteY21" fmla="*/ 86670 h 1109282"/>
                  <a:gd name="connsiteX22" fmla="*/ 576840 w 1168831"/>
                  <a:gd name="connsiteY22" fmla="*/ 89852 h 1109282"/>
                  <a:gd name="connsiteX23" fmla="*/ 578658 w 1168831"/>
                  <a:gd name="connsiteY23" fmla="*/ 92428 h 1109282"/>
                  <a:gd name="connsiteX24" fmla="*/ 579719 w 1168831"/>
                  <a:gd name="connsiteY24" fmla="*/ 92882 h 1109282"/>
                  <a:gd name="connsiteX25" fmla="*/ 584264 w 1168831"/>
                  <a:gd name="connsiteY25" fmla="*/ 92882 h 1109282"/>
                  <a:gd name="connsiteX26" fmla="*/ 587598 w 1168831"/>
                  <a:gd name="connsiteY26" fmla="*/ 93488 h 1109282"/>
                  <a:gd name="connsiteX27" fmla="*/ 588355 w 1168831"/>
                  <a:gd name="connsiteY27" fmla="*/ 94246 h 1109282"/>
                  <a:gd name="connsiteX28" fmla="*/ 586234 w 1168831"/>
                  <a:gd name="connsiteY28" fmla="*/ 96670 h 1109282"/>
                  <a:gd name="connsiteX29" fmla="*/ 584870 w 1168831"/>
                  <a:gd name="connsiteY29" fmla="*/ 97276 h 1109282"/>
                  <a:gd name="connsiteX30" fmla="*/ 565021 w 1168831"/>
                  <a:gd name="connsiteY30" fmla="*/ 92428 h 1109282"/>
                  <a:gd name="connsiteX31" fmla="*/ 562445 w 1168831"/>
                  <a:gd name="connsiteY31" fmla="*/ 93034 h 1109282"/>
                  <a:gd name="connsiteX32" fmla="*/ 560021 w 1168831"/>
                  <a:gd name="connsiteY32" fmla="*/ 94397 h 1109282"/>
                  <a:gd name="connsiteX33" fmla="*/ 566688 w 1168831"/>
                  <a:gd name="connsiteY33" fmla="*/ 98488 h 1109282"/>
                  <a:gd name="connsiteX34" fmla="*/ 573506 w 1168831"/>
                  <a:gd name="connsiteY34" fmla="*/ 101519 h 1109282"/>
                  <a:gd name="connsiteX35" fmla="*/ 570627 w 1168831"/>
                  <a:gd name="connsiteY35" fmla="*/ 102731 h 1109282"/>
                  <a:gd name="connsiteX36" fmla="*/ 570324 w 1168831"/>
                  <a:gd name="connsiteY36" fmla="*/ 105458 h 1109282"/>
                  <a:gd name="connsiteX37" fmla="*/ 571082 w 1168831"/>
                  <a:gd name="connsiteY37" fmla="*/ 108489 h 1109282"/>
                  <a:gd name="connsiteX38" fmla="*/ 573658 w 1168831"/>
                  <a:gd name="connsiteY38" fmla="*/ 111065 h 1109282"/>
                  <a:gd name="connsiteX39" fmla="*/ 576233 w 1168831"/>
                  <a:gd name="connsiteY39" fmla="*/ 113034 h 1109282"/>
                  <a:gd name="connsiteX40" fmla="*/ 581082 w 1168831"/>
                  <a:gd name="connsiteY40" fmla="*/ 115307 h 1109282"/>
                  <a:gd name="connsiteX41" fmla="*/ 584416 w 1168831"/>
                  <a:gd name="connsiteY41" fmla="*/ 115913 h 1109282"/>
                  <a:gd name="connsiteX42" fmla="*/ 589265 w 1168831"/>
                  <a:gd name="connsiteY42" fmla="*/ 122580 h 1109282"/>
                  <a:gd name="connsiteX43" fmla="*/ 595628 w 1168831"/>
                  <a:gd name="connsiteY43" fmla="*/ 128490 h 1109282"/>
                  <a:gd name="connsiteX44" fmla="*/ 599871 w 1168831"/>
                  <a:gd name="connsiteY44" fmla="*/ 130459 h 1109282"/>
                  <a:gd name="connsiteX45" fmla="*/ 601234 w 1168831"/>
                  <a:gd name="connsiteY45" fmla="*/ 131671 h 1109282"/>
                  <a:gd name="connsiteX46" fmla="*/ 602447 w 1168831"/>
                  <a:gd name="connsiteY46" fmla="*/ 133490 h 1109282"/>
                  <a:gd name="connsiteX47" fmla="*/ 608962 w 1168831"/>
                  <a:gd name="connsiteY47" fmla="*/ 137278 h 1109282"/>
                  <a:gd name="connsiteX48" fmla="*/ 622750 w 1168831"/>
                  <a:gd name="connsiteY48" fmla="*/ 136823 h 1109282"/>
                  <a:gd name="connsiteX49" fmla="*/ 629720 w 1168831"/>
                  <a:gd name="connsiteY49" fmla="*/ 135460 h 1109282"/>
                  <a:gd name="connsiteX50" fmla="*/ 635327 w 1168831"/>
                  <a:gd name="connsiteY50" fmla="*/ 135156 h 1109282"/>
                  <a:gd name="connsiteX51" fmla="*/ 638812 w 1168831"/>
                  <a:gd name="connsiteY51" fmla="*/ 132884 h 1109282"/>
                  <a:gd name="connsiteX52" fmla="*/ 642297 w 1168831"/>
                  <a:gd name="connsiteY52" fmla="*/ 129853 h 1109282"/>
                  <a:gd name="connsiteX53" fmla="*/ 646085 w 1168831"/>
                  <a:gd name="connsiteY53" fmla="*/ 127883 h 1109282"/>
                  <a:gd name="connsiteX54" fmla="*/ 649873 w 1168831"/>
                  <a:gd name="connsiteY54" fmla="*/ 126520 h 1109282"/>
                  <a:gd name="connsiteX55" fmla="*/ 647297 w 1168831"/>
                  <a:gd name="connsiteY55" fmla="*/ 123641 h 1109282"/>
                  <a:gd name="connsiteX56" fmla="*/ 644115 w 1168831"/>
                  <a:gd name="connsiteY56" fmla="*/ 121823 h 1109282"/>
                  <a:gd name="connsiteX57" fmla="*/ 645024 w 1168831"/>
                  <a:gd name="connsiteY57" fmla="*/ 118944 h 1109282"/>
                  <a:gd name="connsiteX58" fmla="*/ 646388 w 1168831"/>
                  <a:gd name="connsiteY58" fmla="*/ 116519 h 1109282"/>
                  <a:gd name="connsiteX59" fmla="*/ 646085 w 1168831"/>
                  <a:gd name="connsiteY59" fmla="*/ 113489 h 1109282"/>
                  <a:gd name="connsiteX60" fmla="*/ 645024 w 1168831"/>
                  <a:gd name="connsiteY60" fmla="*/ 110762 h 1109282"/>
                  <a:gd name="connsiteX61" fmla="*/ 648054 w 1168831"/>
                  <a:gd name="connsiteY61" fmla="*/ 108943 h 1109282"/>
                  <a:gd name="connsiteX62" fmla="*/ 651085 w 1168831"/>
                  <a:gd name="connsiteY62" fmla="*/ 108034 h 1109282"/>
                  <a:gd name="connsiteX63" fmla="*/ 652600 w 1168831"/>
                  <a:gd name="connsiteY63" fmla="*/ 108034 h 1109282"/>
                  <a:gd name="connsiteX64" fmla="*/ 653964 w 1168831"/>
                  <a:gd name="connsiteY64" fmla="*/ 108943 h 1109282"/>
                  <a:gd name="connsiteX65" fmla="*/ 655176 w 1168831"/>
                  <a:gd name="connsiteY65" fmla="*/ 111368 h 1109282"/>
                  <a:gd name="connsiteX66" fmla="*/ 656691 w 1168831"/>
                  <a:gd name="connsiteY66" fmla="*/ 112883 h 1109282"/>
                  <a:gd name="connsiteX67" fmla="*/ 660024 w 1168831"/>
                  <a:gd name="connsiteY67" fmla="*/ 113489 h 1109282"/>
                  <a:gd name="connsiteX68" fmla="*/ 663358 w 1168831"/>
                  <a:gd name="connsiteY68" fmla="*/ 111368 h 1109282"/>
                  <a:gd name="connsiteX69" fmla="*/ 665782 w 1168831"/>
                  <a:gd name="connsiteY69" fmla="*/ 107277 h 1109282"/>
                  <a:gd name="connsiteX70" fmla="*/ 668510 w 1168831"/>
                  <a:gd name="connsiteY70" fmla="*/ 104246 h 1109282"/>
                  <a:gd name="connsiteX71" fmla="*/ 670177 w 1168831"/>
                  <a:gd name="connsiteY71" fmla="*/ 104852 h 1109282"/>
                  <a:gd name="connsiteX72" fmla="*/ 670328 w 1168831"/>
                  <a:gd name="connsiteY72" fmla="*/ 107883 h 1109282"/>
                  <a:gd name="connsiteX73" fmla="*/ 669116 w 1168831"/>
                  <a:gd name="connsiteY73" fmla="*/ 111368 h 1109282"/>
                  <a:gd name="connsiteX74" fmla="*/ 666843 w 1168831"/>
                  <a:gd name="connsiteY74" fmla="*/ 114701 h 1109282"/>
                  <a:gd name="connsiteX75" fmla="*/ 666540 w 1168831"/>
                  <a:gd name="connsiteY75" fmla="*/ 115913 h 1109282"/>
                  <a:gd name="connsiteX76" fmla="*/ 667298 w 1168831"/>
                  <a:gd name="connsiteY76" fmla="*/ 118035 h 1109282"/>
                  <a:gd name="connsiteX77" fmla="*/ 669570 w 1168831"/>
                  <a:gd name="connsiteY77" fmla="*/ 121974 h 1109282"/>
                  <a:gd name="connsiteX78" fmla="*/ 671086 w 1168831"/>
                  <a:gd name="connsiteY78" fmla="*/ 122883 h 1109282"/>
                  <a:gd name="connsiteX79" fmla="*/ 678358 w 1168831"/>
                  <a:gd name="connsiteY79" fmla="*/ 123035 h 1109282"/>
                  <a:gd name="connsiteX80" fmla="*/ 685632 w 1168831"/>
                  <a:gd name="connsiteY80" fmla="*/ 121671 h 1109282"/>
                  <a:gd name="connsiteX81" fmla="*/ 691541 w 1168831"/>
                  <a:gd name="connsiteY81" fmla="*/ 118944 h 1109282"/>
                  <a:gd name="connsiteX82" fmla="*/ 699420 w 1168831"/>
                  <a:gd name="connsiteY82" fmla="*/ 112883 h 1109282"/>
                  <a:gd name="connsiteX83" fmla="*/ 701693 w 1168831"/>
                  <a:gd name="connsiteY83" fmla="*/ 111822 h 1109282"/>
                  <a:gd name="connsiteX84" fmla="*/ 708663 w 1168831"/>
                  <a:gd name="connsiteY84" fmla="*/ 111368 h 1109282"/>
                  <a:gd name="connsiteX85" fmla="*/ 706239 w 1168831"/>
                  <a:gd name="connsiteY85" fmla="*/ 114398 h 1109282"/>
                  <a:gd name="connsiteX86" fmla="*/ 699420 w 1168831"/>
                  <a:gd name="connsiteY86" fmla="*/ 120913 h 1109282"/>
                  <a:gd name="connsiteX87" fmla="*/ 701844 w 1168831"/>
                  <a:gd name="connsiteY87" fmla="*/ 124247 h 1109282"/>
                  <a:gd name="connsiteX88" fmla="*/ 707148 w 1168831"/>
                  <a:gd name="connsiteY88" fmla="*/ 126823 h 1109282"/>
                  <a:gd name="connsiteX89" fmla="*/ 709420 w 1168831"/>
                  <a:gd name="connsiteY89" fmla="*/ 127429 h 1109282"/>
                  <a:gd name="connsiteX90" fmla="*/ 714420 w 1168831"/>
                  <a:gd name="connsiteY90" fmla="*/ 127277 h 1109282"/>
                  <a:gd name="connsiteX91" fmla="*/ 719421 w 1168831"/>
                  <a:gd name="connsiteY91" fmla="*/ 126217 h 1109282"/>
                  <a:gd name="connsiteX92" fmla="*/ 714724 w 1168831"/>
                  <a:gd name="connsiteY92" fmla="*/ 129096 h 1109282"/>
                  <a:gd name="connsiteX93" fmla="*/ 708511 w 1168831"/>
                  <a:gd name="connsiteY93" fmla="*/ 130156 h 1109282"/>
                  <a:gd name="connsiteX94" fmla="*/ 691389 w 1168831"/>
                  <a:gd name="connsiteY94" fmla="*/ 130005 h 1109282"/>
                  <a:gd name="connsiteX95" fmla="*/ 683813 w 1168831"/>
                  <a:gd name="connsiteY95" fmla="*/ 130762 h 1109282"/>
                  <a:gd name="connsiteX96" fmla="*/ 681237 w 1168831"/>
                  <a:gd name="connsiteY96" fmla="*/ 131520 h 1109282"/>
                  <a:gd name="connsiteX97" fmla="*/ 677753 w 1168831"/>
                  <a:gd name="connsiteY97" fmla="*/ 133187 h 1109282"/>
                  <a:gd name="connsiteX98" fmla="*/ 677753 w 1168831"/>
                  <a:gd name="connsiteY98" fmla="*/ 135308 h 1109282"/>
                  <a:gd name="connsiteX99" fmla="*/ 678813 w 1168831"/>
                  <a:gd name="connsiteY99" fmla="*/ 137581 h 1109282"/>
                  <a:gd name="connsiteX100" fmla="*/ 673965 w 1168831"/>
                  <a:gd name="connsiteY100" fmla="*/ 137278 h 1109282"/>
                  <a:gd name="connsiteX101" fmla="*/ 669116 w 1168831"/>
                  <a:gd name="connsiteY101" fmla="*/ 138035 h 1109282"/>
                  <a:gd name="connsiteX102" fmla="*/ 659570 w 1168831"/>
                  <a:gd name="connsiteY102" fmla="*/ 142126 h 1109282"/>
                  <a:gd name="connsiteX103" fmla="*/ 639115 w 1168831"/>
                  <a:gd name="connsiteY103" fmla="*/ 146824 h 1109282"/>
                  <a:gd name="connsiteX104" fmla="*/ 640781 w 1168831"/>
                  <a:gd name="connsiteY104" fmla="*/ 150763 h 1109282"/>
                  <a:gd name="connsiteX105" fmla="*/ 633660 w 1168831"/>
                  <a:gd name="connsiteY105" fmla="*/ 147127 h 1109282"/>
                  <a:gd name="connsiteX106" fmla="*/ 630629 w 1168831"/>
                  <a:gd name="connsiteY106" fmla="*/ 146066 h 1109282"/>
                  <a:gd name="connsiteX107" fmla="*/ 627599 w 1168831"/>
                  <a:gd name="connsiteY107" fmla="*/ 146066 h 1109282"/>
                  <a:gd name="connsiteX108" fmla="*/ 626084 w 1168831"/>
                  <a:gd name="connsiteY108" fmla="*/ 146672 h 1109282"/>
                  <a:gd name="connsiteX109" fmla="*/ 624720 w 1168831"/>
                  <a:gd name="connsiteY109" fmla="*/ 147733 h 1109282"/>
                  <a:gd name="connsiteX110" fmla="*/ 623660 w 1168831"/>
                  <a:gd name="connsiteY110" fmla="*/ 149551 h 1109282"/>
                  <a:gd name="connsiteX111" fmla="*/ 624569 w 1168831"/>
                  <a:gd name="connsiteY111" fmla="*/ 156066 h 1109282"/>
                  <a:gd name="connsiteX112" fmla="*/ 625478 w 1168831"/>
                  <a:gd name="connsiteY112" fmla="*/ 158188 h 1109282"/>
                  <a:gd name="connsiteX113" fmla="*/ 626539 w 1168831"/>
                  <a:gd name="connsiteY113" fmla="*/ 159854 h 1109282"/>
                  <a:gd name="connsiteX114" fmla="*/ 631236 w 1168831"/>
                  <a:gd name="connsiteY114" fmla="*/ 163188 h 1109282"/>
                  <a:gd name="connsiteX115" fmla="*/ 634721 w 1168831"/>
                  <a:gd name="connsiteY115" fmla="*/ 164703 h 1109282"/>
                  <a:gd name="connsiteX116" fmla="*/ 648812 w 1168831"/>
                  <a:gd name="connsiteY116" fmla="*/ 165006 h 1109282"/>
                  <a:gd name="connsiteX117" fmla="*/ 655479 w 1168831"/>
                  <a:gd name="connsiteY117" fmla="*/ 164248 h 1109282"/>
                  <a:gd name="connsiteX118" fmla="*/ 662297 w 1168831"/>
                  <a:gd name="connsiteY118" fmla="*/ 162430 h 1109282"/>
                  <a:gd name="connsiteX119" fmla="*/ 669116 w 1168831"/>
                  <a:gd name="connsiteY119" fmla="*/ 159551 h 1109282"/>
                  <a:gd name="connsiteX120" fmla="*/ 675631 w 1168831"/>
                  <a:gd name="connsiteY120" fmla="*/ 158794 h 1109282"/>
                  <a:gd name="connsiteX121" fmla="*/ 682298 w 1168831"/>
                  <a:gd name="connsiteY121" fmla="*/ 160157 h 1109282"/>
                  <a:gd name="connsiteX122" fmla="*/ 688662 w 1168831"/>
                  <a:gd name="connsiteY122" fmla="*/ 160157 h 1109282"/>
                  <a:gd name="connsiteX123" fmla="*/ 701844 w 1168831"/>
                  <a:gd name="connsiteY123" fmla="*/ 158188 h 1109282"/>
                  <a:gd name="connsiteX124" fmla="*/ 710481 w 1168831"/>
                  <a:gd name="connsiteY124" fmla="*/ 156369 h 1109282"/>
                  <a:gd name="connsiteX125" fmla="*/ 712148 w 1168831"/>
                  <a:gd name="connsiteY125" fmla="*/ 157127 h 1109282"/>
                  <a:gd name="connsiteX126" fmla="*/ 713663 w 1168831"/>
                  <a:gd name="connsiteY126" fmla="*/ 160460 h 1109282"/>
                  <a:gd name="connsiteX127" fmla="*/ 715481 w 1168831"/>
                  <a:gd name="connsiteY127" fmla="*/ 163036 h 1109282"/>
                  <a:gd name="connsiteX128" fmla="*/ 704117 w 1168831"/>
                  <a:gd name="connsiteY128" fmla="*/ 163036 h 1109282"/>
                  <a:gd name="connsiteX129" fmla="*/ 692753 w 1168831"/>
                  <a:gd name="connsiteY129" fmla="*/ 163945 h 1109282"/>
                  <a:gd name="connsiteX130" fmla="*/ 657600 w 1168831"/>
                  <a:gd name="connsiteY130" fmla="*/ 169400 h 1109282"/>
                  <a:gd name="connsiteX131" fmla="*/ 651388 w 1168831"/>
                  <a:gd name="connsiteY131" fmla="*/ 178946 h 1109282"/>
                  <a:gd name="connsiteX132" fmla="*/ 648660 w 1168831"/>
                  <a:gd name="connsiteY132" fmla="*/ 178188 h 1109282"/>
                  <a:gd name="connsiteX133" fmla="*/ 645630 w 1168831"/>
                  <a:gd name="connsiteY133" fmla="*/ 176219 h 1109282"/>
                  <a:gd name="connsiteX134" fmla="*/ 642600 w 1168831"/>
                  <a:gd name="connsiteY134" fmla="*/ 175764 h 1109282"/>
                  <a:gd name="connsiteX135" fmla="*/ 634266 w 1168831"/>
                  <a:gd name="connsiteY135" fmla="*/ 176673 h 1109282"/>
                  <a:gd name="connsiteX136" fmla="*/ 633054 w 1168831"/>
                  <a:gd name="connsiteY136" fmla="*/ 177734 h 1109282"/>
                  <a:gd name="connsiteX137" fmla="*/ 632296 w 1168831"/>
                  <a:gd name="connsiteY137" fmla="*/ 179855 h 1109282"/>
                  <a:gd name="connsiteX138" fmla="*/ 632599 w 1168831"/>
                  <a:gd name="connsiteY138" fmla="*/ 183492 h 1109282"/>
                  <a:gd name="connsiteX139" fmla="*/ 633811 w 1168831"/>
                  <a:gd name="connsiteY139" fmla="*/ 185916 h 1109282"/>
                  <a:gd name="connsiteX140" fmla="*/ 636387 w 1168831"/>
                  <a:gd name="connsiteY140" fmla="*/ 189855 h 1109282"/>
                  <a:gd name="connsiteX141" fmla="*/ 639115 w 1168831"/>
                  <a:gd name="connsiteY141" fmla="*/ 193037 h 1109282"/>
                  <a:gd name="connsiteX142" fmla="*/ 642297 w 1168831"/>
                  <a:gd name="connsiteY142" fmla="*/ 195765 h 1109282"/>
                  <a:gd name="connsiteX143" fmla="*/ 645630 w 1168831"/>
                  <a:gd name="connsiteY143" fmla="*/ 197886 h 1109282"/>
                  <a:gd name="connsiteX144" fmla="*/ 652448 w 1168831"/>
                  <a:gd name="connsiteY144" fmla="*/ 200007 h 1109282"/>
                  <a:gd name="connsiteX145" fmla="*/ 663055 w 1168831"/>
                  <a:gd name="connsiteY145" fmla="*/ 204553 h 1109282"/>
                  <a:gd name="connsiteX146" fmla="*/ 674570 w 1168831"/>
                  <a:gd name="connsiteY146" fmla="*/ 216068 h 1109282"/>
                  <a:gd name="connsiteX147" fmla="*/ 687147 w 1168831"/>
                  <a:gd name="connsiteY147" fmla="*/ 223341 h 1109282"/>
                  <a:gd name="connsiteX148" fmla="*/ 690480 w 1168831"/>
                  <a:gd name="connsiteY148" fmla="*/ 224554 h 1109282"/>
                  <a:gd name="connsiteX149" fmla="*/ 693662 w 1168831"/>
                  <a:gd name="connsiteY149" fmla="*/ 226675 h 1109282"/>
                  <a:gd name="connsiteX150" fmla="*/ 696541 w 1168831"/>
                  <a:gd name="connsiteY150" fmla="*/ 229857 h 1109282"/>
                  <a:gd name="connsiteX151" fmla="*/ 699723 w 1168831"/>
                  <a:gd name="connsiteY151" fmla="*/ 231827 h 1109282"/>
                  <a:gd name="connsiteX152" fmla="*/ 706239 w 1168831"/>
                  <a:gd name="connsiteY152" fmla="*/ 233493 h 1109282"/>
                  <a:gd name="connsiteX153" fmla="*/ 712602 w 1168831"/>
                  <a:gd name="connsiteY153" fmla="*/ 231978 h 1109282"/>
                  <a:gd name="connsiteX154" fmla="*/ 716087 w 1168831"/>
                  <a:gd name="connsiteY154" fmla="*/ 228948 h 1109282"/>
                  <a:gd name="connsiteX155" fmla="*/ 715329 w 1168831"/>
                  <a:gd name="connsiteY155" fmla="*/ 225463 h 1109282"/>
                  <a:gd name="connsiteX156" fmla="*/ 713815 w 1168831"/>
                  <a:gd name="connsiteY156" fmla="*/ 222129 h 1109282"/>
                  <a:gd name="connsiteX157" fmla="*/ 713663 w 1168831"/>
                  <a:gd name="connsiteY157" fmla="*/ 220311 h 1109282"/>
                  <a:gd name="connsiteX158" fmla="*/ 718208 w 1168831"/>
                  <a:gd name="connsiteY158" fmla="*/ 215462 h 1109282"/>
                  <a:gd name="connsiteX159" fmla="*/ 721087 w 1168831"/>
                  <a:gd name="connsiteY159" fmla="*/ 211220 h 1109282"/>
                  <a:gd name="connsiteX160" fmla="*/ 719269 w 1168831"/>
                  <a:gd name="connsiteY160" fmla="*/ 209705 h 1109282"/>
                  <a:gd name="connsiteX161" fmla="*/ 718360 w 1168831"/>
                  <a:gd name="connsiteY161" fmla="*/ 207432 h 1109282"/>
                  <a:gd name="connsiteX162" fmla="*/ 723663 w 1168831"/>
                  <a:gd name="connsiteY162" fmla="*/ 201219 h 1109282"/>
                  <a:gd name="connsiteX163" fmla="*/ 726239 w 1168831"/>
                  <a:gd name="connsiteY163" fmla="*/ 197280 h 1109282"/>
                  <a:gd name="connsiteX164" fmla="*/ 731239 w 1168831"/>
                  <a:gd name="connsiteY164" fmla="*/ 187128 h 1109282"/>
                  <a:gd name="connsiteX165" fmla="*/ 737300 w 1168831"/>
                  <a:gd name="connsiteY165" fmla="*/ 181370 h 1109282"/>
                  <a:gd name="connsiteX166" fmla="*/ 745179 w 1168831"/>
                  <a:gd name="connsiteY166" fmla="*/ 180764 h 1109282"/>
                  <a:gd name="connsiteX167" fmla="*/ 747603 w 1168831"/>
                  <a:gd name="connsiteY167" fmla="*/ 179855 h 1109282"/>
                  <a:gd name="connsiteX168" fmla="*/ 749573 w 1168831"/>
                  <a:gd name="connsiteY168" fmla="*/ 176522 h 1109282"/>
                  <a:gd name="connsiteX169" fmla="*/ 751240 w 1168831"/>
                  <a:gd name="connsiteY169" fmla="*/ 170461 h 1109282"/>
                  <a:gd name="connsiteX170" fmla="*/ 752452 w 1168831"/>
                  <a:gd name="connsiteY170" fmla="*/ 163945 h 1109282"/>
                  <a:gd name="connsiteX171" fmla="*/ 753361 w 1168831"/>
                  <a:gd name="connsiteY171" fmla="*/ 155157 h 1109282"/>
                  <a:gd name="connsiteX172" fmla="*/ 753210 w 1168831"/>
                  <a:gd name="connsiteY172" fmla="*/ 152278 h 1109282"/>
                  <a:gd name="connsiteX173" fmla="*/ 753513 w 1168831"/>
                  <a:gd name="connsiteY173" fmla="*/ 150309 h 1109282"/>
                  <a:gd name="connsiteX174" fmla="*/ 757149 w 1168831"/>
                  <a:gd name="connsiteY174" fmla="*/ 148945 h 1109282"/>
                  <a:gd name="connsiteX175" fmla="*/ 760937 w 1168831"/>
                  <a:gd name="connsiteY175" fmla="*/ 149399 h 1109282"/>
                  <a:gd name="connsiteX176" fmla="*/ 763968 w 1168831"/>
                  <a:gd name="connsiteY176" fmla="*/ 149248 h 1109282"/>
                  <a:gd name="connsiteX177" fmla="*/ 768665 w 1168831"/>
                  <a:gd name="connsiteY177" fmla="*/ 146824 h 1109282"/>
                  <a:gd name="connsiteX178" fmla="*/ 768968 w 1168831"/>
                  <a:gd name="connsiteY178" fmla="*/ 143793 h 1109282"/>
                  <a:gd name="connsiteX179" fmla="*/ 767604 w 1168831"/>
                  <a:gd name="connsiteY179" fmla="*/ 140763 h 1109282"/>
                  <a:gd name="connsiteX180" fmla="*/ 768362 w 1168831"/>
                  <a:gd name="connsiteY180" fmla="*/ 137732 h 1109282"/>
                  <a:gd name="connsiteX181" fmla="*/ 770332 w 1168831"/>
                  <a:gd name="connsiteY181" fmla="*/ 132732 h 1109282"/>
                  <a:gd name="connsiteX182" fmla="*/ 772908 w 1168831"/>
                  <a:gd name="connsiteY182" fmla="*/ 129096 h 1109282"/>
                  <a:gd name="connsiteX183" fmla="*/ 779271 w 1168831"/>
                  <a:gd name="connsiteY183" fmla="*/ 123035 h 1109282"/>
                  <a:gd name="connsiteX184" fmla="*/ 785787 w 1168831"/>
                  <a:gd name="connsiteY184" fmla="*/ 118035 h 1109282"/>
                  <a:gd name="connsiteX185" fmla="*/ 786847 w 1168831"/>
                  <a:gd name="connsiteY185" fmla="*/ 115913 h 1109282"/>
                  <a:gd name="connsiteX186" fmla="*/ 787453 w 1168831"/>
                  <a:gd name="connsiteY186" fmla="*/ 115156 h 1109282"/>
                  <a:gd name="connsiteX187" fmla="*/ 790030 w 1168831"/>
                  <a:gd name="connsiteY187" fmla="*/ 114398 h 1109282"/>
                  <a:gd name="connsiteX188" fmla="*/ 807000 w 1168831"/>
                  <a:gd name="connsiteY188" fmla="*/ 113186 h 1109282"/>
                  <a:gd name="connsiteX189" fmla="*/ 816242 w 1168831"/>
                  <a:gd name="connsiteY189" fmla="*/ 111368 h 1109282"/>
                  <a:gd name="connsiteX190" fmla="*/ 826394 w 1168831"/>
                  <a:gd name="connsiteY190" fmla="*/ 111065 h 1109282"/>
                  <a:gd name="connsiteX191" fmla="*/ 830485 w 1168831"/>
                  <a:gd name="connsiteY191" fmla="*/ 109701 h 1109282"/>
                  <a:gd name="connsiteX192" fmla="*/ 834425 w 1168831"/>
                  <a:gd name="connsiteY192" fmla="*/ 107277 h 1109282"/>
                  <a:gd name="connsiteX193" fmla="*/ 833364 w 1168831"/>
                  <a:gd name="connsiteY193" fmla="*/ 105307 h 1109282"/>
                  <a:gd name="connsiteX194" fmla="*/ 832304 w 1168831"/>
                  <a:gd name="connsiteY194" fmla="*/ 103792 h 1109282"/>
                  <a:gd name="connsiteX195" fmla="*/ 826243 w 1168831"/>
                  <a:gd name="connsiteY195" fmla="*/ 100307 h 1109282"/>
                  <a:gd name="connsiteX196" fmla="*/ 816091 w 1168831"/>
                  <a:gd name="connsiteY196" fmla="*/ 96973 h 1109282"/>
                  <a:gd name="connsiteX197" fmla="*/ 810030 w 1168831"/>
                  <a:gd name="connsiteY197" fmla="*/ 92428 h 1109282"/>
                  <a:gd name="connsiteX198" fmla="*/ 817303 w 1168831"/>
                  <a:gd name="connsiteY198" fmla="*/ 87730 h 1109282"/>
                  <a:gd name="connsiteX199" fmla="*/ 813061 w 1168831"/>
                  <a:gd name="connsiteY199" fmla="*/ 84852 h 1109282"/>
                  <a:gd name="connsiteX200" fmla="*/ 808818 w 1168831"/>
                  <a:gd name="connsiteY200" fmla="*/ 83488 h 1109282"/>
                  <a:gd name="connsiteX201" fmla="*/ 800787 w 1168831"/>
                  <a:gd name="connsiteY201" fmla="*/ 82427 h 1109282"/>
                  <a:gd name="connsiteX202" fmla="*/ 799424 w 1168831"/>
                  <a:gd name="connsiteY202" fmla="*/ 83639 h 1109282"/>
                  <a:gd name="connsiteX203" fmla="*/ 799424 w 1168831"/>
                  <a:gd name="connsiteY203" fmla="*/ 86518 h 1109282"/>
                  <a:gd name="connsiteX204" fmla="*/ 793363 w 1168831"/>
                  <a:gd name="connsiteY204" fmla="*/ 87730 h 1109282"/>
                  <a:gd name="connsiteX205" fmla="*/ 789423 w 1168831"/>
                  <a:gd name="connsiteY205" fmla="*/ 82124 h 1109282"/>
                  <a:gd name="connsiteX206" fmla="*/ 782302 w 1168831"/>
                  <a:gd name="connsiteY206" fmla="*/ 80306 h 1109282"/>
                  <a:gd name="connsiteX207" fmla="*/ 771392 w 1168831"/>
                  <a:gd name="connsiteY207" fmla="*/ 81518 h 1109282"/>
                  <a:gd name="connsiteX208" fmla="*/ 768362 w 1168831"/>
                  <a:gd name="connsiteY208" fmla="*/ 80154 h 1109282"/>
                  <a:gd name="connsiteX209" fmla="*/ 765634 w 1168831"/>
                  <a:gd name="connsiteY209" fmla="*/ 76821 h 1109282"/>
                  <a:gd name="connsiteX210" fmla="*/ 762756 w 1168831"/>
                  <a:gd name="connsiteY210" fmla="*/ 75154 h 1109282"/>
                  <a:gd name="connsiteX211" fmla="*/ 760180 w 1168831"/>
                  <a:gd name="connsiteY211" fmla="*/ 75003 h 1109282"/>
                  <a:gd name="connsiteX212" fmla="*/ 761392 w 1168831"/>
                  <a:gd name="connsiteY212" fmla="*/ 73791 h 1109282"/>
                  <a:gd name="connsiteX213" fmla="*/ 763816 w 1168831"/>
                  <a:gd name="connsiteY213" fmla="*/ 72427 h 1109282"/>
                  <a:gd name="connsiteX214" fmla="*/ 764271 w 1168831"/>
                  <a:gd name="connsiteY214" fmla="*/ 70306 h 1109282"/>
                  <a:gd name="connsiteX215" fmla="*/ 764574 w 1168831"/>
                  <a:gd name="connsiteY215" fmla="*/ 67275 h 1109282"/>
                  <a:gd name="connsiteX216" fmla="*/ 764119 w 1168831"/>
                  <a:gd name="connsiteY216" fmla="*/ 64699 h 1109282"/>
                  <a:gd name="connsiteX217" fmla="*/ 763362 w 1168831"/>
                  <a:gd name="connsiteY217" fmla="*/ 62578 h 1109282"/>
                  <a:gd name="connsiteX218" fmla="*/ 762301 w 1168831"/>
                  <a:gd name="connsiteY218" fmla="*/ 60911 h 1109282"/>
                  <a:gd name="connsiteX219" fmla="*/ 757756 w 1168831"/>
                  <a:gd name="connsiteY219" fmla="*/ 55760 h 1109282"/>
                  <a:gd name="connsiteX220" fmla="*/ 752755 w 1168831"/>
                  <a:gd name="connsiteY220" fmla="*/ 53638 h 1109282"/>
                  <a:gd name="connsiteX221" fmla="*/ 750937 w 1168831"/>
                  <a:gd name="connsiteY221" fmla="*/ 53335 h 1109282"/>
                  <a:gd name="connsiteX222" fmla="*/ 749270 w 1168831"/>
                  <a:gd name="connsiteY222" fmla="*/ 53941 h 1109282"/>
                  <a:gd name="connsiteX223" fmla="*/ 738058 w 1168831"/>
                  <a:gd name="connsiteY223" fmla="*/ 64093 h 1109282"/>
                  <a:gd name="connsiteX224" fmla="*/ 732755 w 1168831"/>
                  <a:gd name="connsiteY224" fmla="*/ 67275 h 1109282"/>
                  <a:gd name="connsiteX225" fmla="*/ 733967 w 1168831"/>
                  <a:gd name="connsiteY225" fmla="*/ 64548 h 1109282"/>
                  <a:gd name="connsiteX226" fmla="*/ 734421 w 1168831"/>
                  <a:gd name="connsiteY226" fmla="*/ 61366 h 1109282"/>
                  <a:gd name="connsiteX227" fmla="*/ 733209 w 1168831"/>
                  <a:gd name="connsiteY227" fmla="*/ 58184 h 1109282"/>
                  <a:gd name="connsiteX228" fmla="*/ 734421 w 1168831"/>
                  <a:gd name="connsiteY228" fmla="*/ 55911 h 1109282"/>
                  <a:gd name="connsiteX229" fmla="*/ 737906 w 1168831"/>
                  <a:gd name="connsiteY229" fmla="*/ 51820 h 1109282"/>
                  <a:gd name="connsiteX230" fmla="*/ 740482 w 1168831"/>
                  <a:gd name="connsiteY230" fmla="*/ 47577 h 1109282"/>
                  <a:gd name="connsiteX231" fmla="*/ 737148 w 1168831"/>
                  <a:gd name="connsiteY231" fmla="*/ 41668 h 1109282"/>
                  <a:gd name="connsiteX232" fmla="*/ 733058 w 1168831"/>
                  <a:gd name="connsiteY232" fmla="*/ 38183 h 1109282"/>
                  <a:gd name="connsiteX233" fmla="*/ 730179 w 1168831"/>
                  <a:gd name="connsiteY233" fmla="*/ 36516 h 1109282"/>
                  <a:gd name="connsiteX234" fmla="*/ 720330 w 1168831"/>
                  <a:gd name="connsiteY234" fmla="*/ 33032 h 1109282"/>
                  <a:gd name="connsiteX235" fmla="*/ 713360 w 1168831"/>
                  <a:gd name="connsiteY235" fmla="*/ 31819 h 1109282"/>
                  <a:gd name="connsiteX236" fmla="*/ 712299 w 1168831"/>
                  <a:gd name="connsiteY236" fmla="*/ 32728 h 1109282"/>
                  <a:gd name="connsiteX237" fmla="*/ 711239 w 1168831"/>
                  <a:gd name="connsiteY237" fmla="*/ 34547 h 1109282"/>
                  <a:gd name="connsiteX238" fmla="*/ 709875 w 1168831"/>
                  <a:gd name="connsiteY238" fmla="*/ 35153 h 1109282"/>
                  <a:gd name="connsiteX239" fmla="*/ 708511 w 1168831"/>
                  <a:gd name="connsiteY239" fmla="*/ 35001 h 1109282"/>
                  <a:gd name="connsiteX240" fmla="*/ 701390 w 1168831"/>
                  <a:gd name="connsiteY240" fmla="*/ 27880 h 1109282"/>
                  <a:gd name="connsiteX241" fmla="*/ 697602 w 1168831"/>
                  <a:gd name="connsiteY241" fmla="*/ 25910 h 1109282"/>
                  <a:gd name="connsiteX242" fmla="*/ 693814 w 1168831"/>
                  <a:gd name="connsiteY242" fmla="*/ 26062 h 1109282"/>
                  <a:gd name="connsiteX243" fmla="*/ 689722 w 1168831"/>
                  <a:gd name="connsiteY243" fmla="*/ 28637 h 1109282"/>
                  <a:gd name="connsiteX244" fmla="*/ 688208 w 1168831"/>
                  <a:gd name="connsiteY244" fmla="*/ 32880 h 1109282"/>
                  <a:gd name="connsiteX245" fmla="*/ 689420 w 1168831"/>
                  <a:gd name="connsiteY245" fmla="*/ 37274 h 1109282"/>
                  <a:gd name="connsiteX246" fmla="*/ 685480 w 1168831"/>
                  <a:gd name="connsiteY246" fmla="*/ 40304 h 1109282"/>
                  <a:gd name="connsiteX247" fmla="*/ 682450 w 1168831"/>
                  <a:gd name="connsiteY247" fmla="*/ 46668 h 1109282"/>
                  <a:gd name="connsiteX248" fmla="*/ 681995 w 1168831"/>
                  <a:gd name="connsiteY248" fmla="*/ 48184 h 1109282"/>
                  <a:gd name="connsiteX249" fmla="*/ 681692 w 1168831"/>
                  <a:gd name="connsiteY249" fmla="*/ 49850 h 1109282"/>
                  <a:gd name="connsiteX250" fmla="*/ 682298 w 1168831"/>
                  <a:gd name="connsiteY250" fmla="*/ 55760 h 1109282"/>
                  <a:gd name="connsiteX251" fmla="*/ 683207 w 1168831"/>
                  <a:gd name="connsiteY251" fmla="*/ 60002 h 1109282"/>
                  <a:gd name="connsiteX252" fmla="*/ 687450 w 1168831"/>
                  <a:gd name="connsiteY252" fmla="*/ 70912 h 1109282"/>
                  <a:gd name="connsiteX253" fmla="*/ 693662 w 1168831"/>
                  <a:gd name="connsiteY253" fmla="*/ 85003 h 1109282"/>
                  <a:gd name="connsiteX254" fmla="*/ 696086 w 1168831"/>
                  <a:gd name="connsiteY254" fmla="*/ 93337 h 1109282"/>
                  <a:gd name="connsiteX255" fmla="*/ 694723 w 1168831"/>
                  <a:gd name="connsiteY255" fmla="*/ 93034 h 1109282"/>
                  <a:gd name="connsiteX256" fmla="*/ 682753 w 1168831"/>
                  <a:gd name="connsiteY256" fmla="*/ 82124 h 1109282"/>
                  <a:gd name="connsiteX257" fmla="*/ 680177 w 1168831"/>
                  <a:gd name="connsiteY257" fmla="*/ 81215 h 1109282"/>
                  <a:gd name="connsiteX258" fmla="*/ 677298 w 1168831"/>
                  <a:gd name="connsiteY258" fmla="*/ 77427 h 1109282"/>
                  <a:gd name="connsiteX259" fmla="*/ 671389 w 1168831"/>
                  <a:gd name="connsiteY259" fmla="*/ 66821 h 1109282"/>
                  <a:gd name="connsiteX260" fmla="*/ 666085 w 1168831"/>
                  <a:gd name="connsiteY260" fmla="*/ 58184 h 1109282"/>
                  <a:gd name="connsiteX261" fmla="*/ 660631 w 1168831"/>
                  <a:gd name="connsiteY261" fmla="*/ 50153 h 1109282"/>
                  <a:gd name="connsiteX262" fmla="*/ 654570 w 1168831"/>
                  <a:gd name="connsiteY262" fmla="*/ 44547 h 1109282"/>
                  <a:gd name="connsiteX263" fmla="*/ 648054 w 1168831"/>
                  <a:gd name="connsiteY263" fmla="*/ 42577 h 1109282"/>
                  <a:gd name="connsiteX264" fmla="*/ 642145 w 1168831"/>
                  <a:gd name="connsiteY264" fmla="*/ 47123 h 1109282"/>
                  <a:gd name="connsiteX265" fmla="*/ 636690 w 1168831"/>
                  <a:gd name="connsiteY265" fmla="*/ 53790 h 1109282"/>
                  <a:gd name="connsiteX266" fmla="*/ 632902 w 1168831"/>
                  <a:gd name="connsiteY266" fmla="*/ 55911 h 1109282"/>
                  <a:gd name="connsiteX267" fmla="*/ 632296 w 1168831"/>
                  <a:gd name="connsiteY267" fmla="*/ 58790 h 1109282"/>
                  <a:gd name="connsiteX268" fmla="*/ 631993 w 1168831"/>
                  <a:gd name="connsiteY268" fmla="*/ 62275 h 1109282"/>
                  <a:gd name="connsiteX269" fmla="*/ 632448 w 1168831"/>
                  <a:gd name="connsiteY269" fmla="*/ 65457 h 1109282"/>
                  <a:gd name="connsiteX270" fmla="*/ 633205 w 1168831"/>
                  <a:gd name="connsiteY270" fmla="*/ 68336 h 1109282"/>
                  <a:gd name="connsiteX271" fmla="*/ 632448 w 1168831"/>
                  <a:gd name="connsiteY271" fmla="*/ 70760 h 1109282"/>
                  <a:gd name="connsiteX272" fmla="*/ 630478 w 1168831"/>
                  <a:gd name="connsiteY272" fmla="*/ 71063 h 1109282"/>
                  <a:gd name="connsiteX273" fmla="*/ 627145 w 1168831"/>
                  <a:gd name="connsiteY273" fmla="*/ 68790 h 1109282"/>
                  <a:gd name="connsiteX274" fmla="*/ 623962 w 1168831"/>
                  <a:gd name="connsiteY274" fmla="*/ 65457 h 1109282"/>
                  <a:gd name="connsiteX275" fmla="*/ 620781 w 1168831"/>
                  <a:gd name="connsiteY275" fmla="*/ 63790 h 1109282"/>
                  <a:gd name="connsiteX276" fmla="*/ 616084 w 1168831"/>
                  <a:gd name="connsiteY276" fmla="*/ 62881 h 1109282"/>
                  <a:gd name="connsiteX277" fmla="*/ 614720 w 1168831"/>
                  <a:gd name="connsiteY277" fmla="*/ 62275 h 1109282"/>
                  <a:gd name="connsiteX278" fmla="*/ 613356 w 1168831"/>
                  <a:gd name="connsiteY278" fmla="*/ 56517 h 1109282"/>
                  <a:gd name="connsiteX279" fmla="*/ 610174 w 1168831"/>
                  <a:gd name="connsiteY279" fmla="*/ 55760 h 1109282"/>
                  <a:gd name="connsiteX280" fmla="*/ 592143 w 1168831"/>
                  <a:gd name="connsiteY280" fmla="*/ 56972 h 1109282"/>
                  <a:gd name="connsiteX281" fmla="*/ 605326 w 1168831"/>
                  <a:gd name="connsiteY281" fmla="*/ 49850 h 1109282"/>
                  <a:gd name="connsiteX282" fmla="*/ 625478 w 1168831"/>
                  <a:gd name="connsiteY282" fmla="*/ 48032 h 1109282"/>
                  <a:gd name="connsiteX283" fmla="*/ 628963 w 1168831"/>
                  <a:gd name="connsiteY283" fmla="*/ 45759 h 1109282"/>
                  <a:gd name="connsiteX284" fmla="*/ 629417 w 1168831"/>
                  <a:gd name="connsiteY284" fmla="*/ 45153 h 1109282"/>
                  <a:gd name="connsiteX285" fmla="*/ 629569 w 1168831"/>
                  <a:gd name="connsiteY285" fmla="*/ 43183 h 1109282"/>
                  <a:gd name="connsiteX286" fmla="*/ 629266 w 1168831"/>
                  <a:gd name="connsiteY286" fmla="*/ 41668 h 1109282"/>
                  <a:gd name="connsiteX287" fmla="*/ 623205 w 1168831"/>
                  <a:gd name="connsiteY287" fmla="*/ 38941 h 1109282"/>
                  <a:gd name="connsiteX288" fmla="*/ 607144 w 1168831"/>
                  <a:gd name="connsiteY288" fmla="*/ 40759 h 1109282"/>
                  <a:gd name="connsiteX289" fmla="*/ 597446 w 1168831"/>
                  <a:gd name="connsiteY289" fmla="*/ 44244 h 1109282"/>
                  <a:gd name="connsiteX290" fmla="*/ 593355 w 1168831"/>
                  <a:gd name="connsiteY290" fmla="*/ 44396 h 1109282"/>
                  <a:gd name="connsiteX291" fmla="*/ 584567 w 1168831"/>
                  <a:gd name="connsiteY291" fmla="*/ 41668 h 1109282"/>
                  <a:gd name="connsiteX292" fmla="*/ 582900 w 1168831"/>
                  <a:gd name="connsiteY292" fmla="*/ 42729 h 1109282"/>
                  <a:gd name="connsiteX293" fmla="*/ 583658 w 1168831"/>
                  <a:gd name="connsiteY293" fmla="*/ 45759 h 1109282"/>
                  <a:gd name="connsiteX294" fmla="*/ 584870 w 1168831"/>
                  <a:gd name="connsiteY294" fmla="*/ 48032 h 1109282"/>
                  <a:gd name="connsiteX295" fmla="*/ 582900 w 1168831"/>
                  <a:gd name="connsiteY295" fmla="*/ 47426 h 1109282"/>
                  <a:gd name="connsiteX296" fmla="*/ 580022 w 1168831"/>
                  <a:gd name="connsiteY296" fmla="*/ 46214 h 1109282"/>
                  <a:gd name="connsiteX297" fmla="*/ 569112 w 1168831"/>
                  <a:gd name="connsiteY297" fmla="*/ 41062 h 1109282"/>
                  <a:gd name="connsiteX298" fmla="*/ 559263 w 1168831"/>
                  <a:gd name="connsiteY298" fmla="*/ 42426 h 1109282"/>
                  <a:gd name="connsiteX299" fmla="*/ 556687 w 1168831"/>
                  <a:gd name="connsiteY299" fmla="*/ 43335 h 1109282"/>
                  <a:gd name="connsiteX300" fmla="*/ 554869 w 1168831"/>
                  <a:gd name="connsiteY300" fmla="*/ 47274 h 1109282"/>
                  <a:gd name="connsiteX301" fmla="*/ 553960 w 1168831"/>
                  <a:gd name="connsiteY301" fmla="*/ 47426 h 1109282"/>
                  <a:gd name="connsiteX302" fmla="*/ 551233 w 1168831"/>
                  <a:gd name="connsiteY302" fmla="*/ 44699 h 1109282"/>
                  <a:gd name="connsiteX303" fmla="*/ 546232 w 1168831"/>
                  <a:gd name="connsiteY303" fmla="*/ 42426 h 1109282"/>
                  <a:gd name="connsiteX304" fmla="*/ 544566 w 1168831"/>
                  <a:gd name="connsiteY304" fmla="*/ 42274 h 1109282"/>
                  <a:gd name="connsiteX305" fmla="*/ 543050 w 1168831"/>
                  <a:gd name="connsiteY305" fmla="*/ 42880 h 1109282"/>
                  <a:gd name="connsiteX306" fmla="*/ 541232 w 1168831"/>
                  <a:gd name="connsiteY306" fmla="*/ 44850 h 1109282"/>
                  <a:gd name="connsiteX307" fmla="*/ 541384 w 1168831"/>
                  <a:gd name="connsiteY307" fmla="*/ 46365 h 1109282"/>
                  <a:gd name="connsiteX308" fmla="*/ 543202 w 1168831"/>
                  <a:gd name="connsiteY308" fmla="*/ 49244 h 1109282"/>
                  <a:gd name="connsiteX309" fmla="*/ 814121 w 1168831"/>
                  <a:gd name="connsiteY309" fmla="*/ 570930 h 1109282"/>
                  <a:gd name="connsiteX310" fmla="*/ 809727 w 1168831"/>
                  <a:gd name="connsiteY310" fmla="*/ 572294 h 1109282"/>
                  <a:gd name="connsiteX311" fmla="*/ 807454 w 1168831"/>
                  <a:gd name="connsiteY311" fmla="*/ 574718 h 1109282"/>
                  <a:gd name="connsiteX312" fmla="*/ 807303 w 1168831"/>
                  <a:gd name="connsiteY312" fmla="*/ 576536 h 1109282"/>
                  <a:gd name="connsiteX313" fmla="*/ 808970 w 1168831"/>
                  <a:gd name="connsiteY313" fmla="*/ 578658 h 1109282"/>
                  <a:gd name="connsiteX314" fmla="*/ 810939 w 1168831"/>
                  <a:gd name="connsiteY314" fmla="*/ 578506 h 1109282"/>
                  <a:gd name="connsiteX315" fmla="*/ 812606 w 1168831"/>
                  <a:gd name="connsiteY315" fmla="*/ 578961 h 1109282"/>
                  <a:gd name="connsiteX316" fmla="*/ 813818 w 1168831"/>
                  <a:gd name="connsiteY316" fmla="*/ 579718 h 1109282"/>
                  <a:gd name="connsiteX317" fmla="*/ 816091 w 1168831"/>
                  <a:gd name="connsiteY317" fmla="*/ 579264 h 1109282"/>
                  <a:gd name="connsiteX318" fmla="*/ 817606 w 1168831"/>
                  <a:gd name="connsiteY318" fmla="*/ 578051 h 1109282"/>
                  <a:gd name="connsiteX319" fmla="*/ 818667 w 1168831"/>
                  <a:gd name="connsiteY319" fmla="*/ 572294 h 1109282"/>
                  <a:gd name="connsiteX320" fmla="*/ 817758 w 1168831"/>
                  <a:gd name="connsiteY320" fmla="*/ 571536 h 1109282"/>
                  <a:gd name="connsiteX321" fmla="*/ 814121 w 1168831"/>
                  <a:gd name="connsiteY321" fmla="*/ 570930 h 1109282"/>
                  <a:gd name="connsiteX322" fmla="*/ 886548 w 1168831"/>
                  <a:gd name="connsiteY322" fmla="*/ 546535 h 1109282"/>
                  <a:gd name="connsiteX323" fmla="*/ 888821 w 1168831"/>
                  <a:gd name="connsiteY323" fmla="*/ 544868 h 1109282"/>
                  <a:gd name="connsiteX324" fmla="*/ 889730 w 1168831"/>
                  <a:gd name="connsiteY324" fmla="*/ 543353 h 1109282"/>
                  <a:gd name="connsiteX325" fmla="*/ 890336 w 1168831"/>
                  <a:gd name="connsiteY325" fmla="*/ 541838 h 1109282"/>
                  <a:gd name="connsiteX326" fmla="*/ 889124 w 1168831"/>
                  <a:gd name="connsiteY326" fmla="*/ 540474 h 1109282"/>
                  <a:gd name="connsiteX327" fmla="*/ 885942 w 1168831"/>
                  <a:gd name="connsiteY327" fmla="*/ 541989 h 1109282"/>
                  <a:gd name="connsiteX328" fmla="*/ 883820 w 1168831"/>
                  <a:gd name="connsiteY328" fmla="*/ 541838 h 1109282"/>
                  <a:gd name="connsiteX329" fmla="*/ 877154 w 1168831"/>
                  <a:gd name="connsiteY329" fmla="*/ 546990 h 1109282"/>
                  <a:gd name="connsiteX330" fmla="*/ 874275 w 1168831"/>
                  <a:gd name="connsiteY330" fmla="*/ 546081 h 1109282"/>
                  <a:gd name="connsiteX331" fmla="*/ 866396 w 1168831"/>
                  <a:gd name="connsiteY331" fmla="*/ 547596 h 1109282"/>
                  <a:gd name="connsiteX332" fmla="*/ 862305 w 1168831"/>
                  <a:gd name="connsiteY332" fmla="*/ 547293 h 1109282"/>
                  <a:gd name="connsiteX333" fmla="*/ 860335 w 1168831"/>
                  <a:gd name="connsiteY333" fmla="*/ 549566 h 1109282"/>
                  <a:gd name="connsiteX334" fmla="*/ 857153 w 1168831"/>
                  <a:gd name="connsiteY334" fmla="*/ 549111 h 1109282"/>
                  <a:gd name="connsiteX335" fmla="*/ 855486 w 1168831"/>
                  <a:gd name="connsiteY335" fmla="*/ 549566 h 1109282"/>
                  <a:gd name="connsiteX336" fmla="*/ 850638 w 1168831"/>
                  <a:gd name="connsiteY336" fmla="*/ 549566 h 1109282"/>
                  <a:gd name="connsiteX337" fmla="*/ 852304 w 1168831"/>
                  <a:gd name="connsiteY337" fmla="*/ 551687 h 1109282"/>
                  <a:gd name="connsiteX338" fmla="*/ 855335 w 1168831"/>
                  <a:gd name="connsiteY338" fmla="*/ 554263 h 1109282"/>
                  <a:gd name="connsiteX339" fmla="*/ 860487 w 1168831"/>
                  <a:gd name="connsiteY339" fmla="*/ 556535 h 1109282"/>
                  <a:gd name="connsiteX340" fmla="*/ 862456 w 1168831"/>
                  <a:gd name="connsiteY340" fmla="*/ 556839 h 1109282"/>
                  <a:gd name="connsiteX341" fmla="*/ 865941 w 1168831"/>
                  <a:gd name="connsiteY341" fmla="*/ 556535 h 1109282"/>
                  <a:gd name="connsiteX342" fmla="*/ 867305 w 1168831"/>
                  <a:gd name="connsiteY342" fmla="*/ 555626 h 1109282"/>
                  <a:gd name="connsiteX343" fmla="*/ 868668 w 1168831"/>
                  <a:gd name="connsiteY343" fmla="*/ 554414 h 1109282"/>
                  <a:gd name="connsiteX344" fmla="*/ 873366 w 1168831"/>
                  <a:gd name="connsiteY344" fmla="*/ 555323 h 1109282"/>
                  <a:gd name="connsiteX345" fmla="*/ 874881 w 1168831"/>
                  <a:gd name="connsiteY345" fmla="*/ 554717 h 1109282"/>
                  <a:gd name="connsiteX346" fmla="*/ 876093 w 1168831"/>
                  <a:gd name="connsiteY346" fmla="*/ 553657 h 1109282"/>
                  <a:gd name="connsiteX347" fmla="*/ 879881 w 1168831"/>
                  <a:gd name="connsiteY347" fmla="*/ 552596 h 1109282"/>
                  <a:gd name="connsiteX348" fmla="*/ 886548 w 1168831"/>
                  <a:gd name="connsiteY348" fmla="*/ 546535 h 1109282"/>
                  <a:gd name="connsiteX349" fmla="*/ 771544 w 1168831"/>
                  <a:gd name="connsiteY349" fmla="*/ 358195 h 1109282"/>
                  <a:gd name="connsiteX350" fmla="*/ 774877 w 1168831"/>
                  <a:gd name="connsiteY350" fmla="*/ 356074 h 1109282"/>
                  <a:gd name="connsiteX351" fmla="*/ 776392 w 1168831"/>
                  <a:gd name="connsiteY351" fmla="*/ 352589 h 1109282"/>
                  <a:gd name="connsiteX352" fmla="*/ 776089 w 1168831"/>
                  <a:gd name="connsiteY352" fmla="*/ 351376 h 1109282"/>
                  <a:gd name="connsiteX353" fmla="*/ 773968 w 1168831"/>
                  <a:gd name="connsiteY353" fmla="*/ 349255 h 1109282"/>
                  <a:gd name="connsiteX354" fmla="*/ 765180 w 1168831"/>
                  <a:gd name="connsiteY354" fmla="*/ 349407 h 1109282"/>
                  <a:gd name="connsiteX355" fmla="*/ 763210 w 1168831"/>
                  <a:gd name="connsiteY355" fmla="*/ 351073 h 1109282"/>
                  <a:gd name="connsiteX356" fmla="*/ 766544 w 1168831"/>
                  <a:gd name="connsiteY356" fmla="*/ 355164 h 1109282"/>
                  <a:gd name="connsiteX357" fmla="*/ 771544 w 1168831"/>
                  <a:gd name="connsiteY357" fmla="*/ 358195 h 1109282"/>
                  <a:gd name="connsiteX358" fmla="*/ 895791 w 1168831"/>
                  <a:gd name="connsiteY358" fmla="*/ 559414 h 1109282"/>
                  <a:gd name="connsiteX359" fmla="*/ 895640 w 1168831"/>
                  <a:gd name="connsiteY359" fmla="*/ 557445 h 1109282"/>
                  <a:gd name="connsiteX360" fmla="*/ 895185 w 1168831"/>
                  <a:gd name="connsiteY360" fmla="*/ 555172 h 1109282"/>
                  <a:gd name="connsiteX361" fmla="*/ 894124 w 1168831"/>
                  <a:gd name="connsiteY361" fmla="*/ 552899 h 1109282"/>
                  <a:gd name="connsiteX362" fmla="*/ 893215 w 1168831"/>
                  <a:gd name="connsiteY362" fmla="*/ 551687 h 1109282"/>
                  <a:gd name="connsiteX363" fmla="*/ 885033 w 1168831"/>
                  <a:gd name="connsiteY363" fmla="*/ 557293 h 1109282"/>
                  <a:gd name="connsiteX364" fmla="*/ 882609 w 1168831"/>
                  <a:gd name="connsiteY364" fmla="*/ 556687 h 1109282"/>
                  <a:gd name="connsiteX365" fmla="*/ 878820 w 1168831"/>
                  <a:gd name="connsiteY365" fmla="*/ 558202 h 1109282"/>
                  <a:gd name="connsiteX366" fmla="*/ 876548 w 1168831"/>
                  <a:gd name="connsiteY366" fmla="*/ 560324 h 1109282"/>
                  <a:gd name="connsiteX367" fmla="*/ 875942 w 1168831"/>
                  <a:gd name="connsiteY367" fmla="*/ 561687 h 1109282"/>
                  <a:gd name="connsiteX368" fmla="*/ 875942 w 1168831"/>
                  <a:gd name="connsiteY368" fmla="*/ 563202 h 1109282"/>
                  <a:gd name="connsiteX369" fmla="*/ 878366 w 1168831"/>
                  <a:gd name="connsiteY369" fmla="*/ 564718 h 1109282"/>
                  <a:gd name="connsiteX370" fmla="*/ 880639 w 1168831"/>
                  <a:gd name="connsiteY370" fmla="*/ 563505 h 1109282"/>
                  <a:gd name="connsiteX371" fmla="*/ 881093 w 1168831"/>
                  <a:gd name="connsiteY371" fmla="*/ 564415 h 1109282"/>
                  <a:gd name="connsiteX372" fmla="*/ 880942 w 1168831"/>
                  <a:gd name="connsiteY372" fmla="*/ 567445 h 1109282"/>
                  <a:gd name="connsiteX373" fmla="*/ 882609 w 1168831"/>
                  <a:gd name="connsiteY373" fmla="*/ 568051 h 1109282"/>
                  <a:gd name="connsiteX374" fmla="*/ 885639 w 1168831"/>
                  <a:gd name="connsiteY374" fmla="*/ 567293 h 1109282"/>
                  <a:gd name="connsiteX375" fmla="*/ 887608 w 1168831"/>
                  <a:gd name="connsiteY375" fmla="*/ 566384 h 1109282"/>
                  <a:gd name="connsiteX376" fmla="*/ 887306 w 1168831"/>
                  <a:gd name="connsiteY376" fmla="*/ 565475 h 1109282"/>
                  <a:gd name="connsiteX377" fmla="*/ 893215 w 1168831"/>
                  <a:gd name="connsiteY377" fmla="*/ 561839 h 1109282"/>
                  <a:gd name="connsiteX378" fmla="*/ 895791 w 1168831"/>
                  <a:gd name="connsiteY378" fmla="*/ 559414 h 1109282"/>
                  <a:gd name="connsiteX379" fmla="*/ 748967 w 1168831"/>
                  <a:gd name="connsiteY379" fmla="*/ 604871 h 1109282"/>
                  <a:gd name="connsiteX380" fmla="*/ 752755 w 1168831"/>
                  <a:gd name="connsiteY380" fmla="*/ 603961 h 1109282"/>
                  <a:gd name="connsiteX381" fmla="*/ 763059 w 1168831"/>
                  <a:gd name="connsiteY381" fmla="*/ 602749 h 1109282"/>
                  <a:gd name="connsiteX382" fmla="*/ 763513 w 1168831"/>
                  <a:gd name="connsiteY382" fmla="*/ 601537 h 1109282"/>
                  <a:gd name="connsiteX383" fmla="*/ 763665 w 1168831"/>
                  <a:gd name="connsiteY383" fmla="*/ 599870 h 1109282"/>
                  <a:gd name="connsiteX384" fmla="*/ 766392 w 1168831"/>
                  <a:gd name="connsiteY384" fmla="*/ 596688 h 1109282"/>
                  <a:gd name="connsiteX385" fmla="*/ 769120 w 1168831"/>
                  <a:gd name="connsiteY385" fmla="*/ 594113 h 1109282"/>
                  <a:gd name="connsiteX386" fmla="*/ 772453 w 1168831"/>
                  <a:gd name="connsiteY386" fmla="*/ 591688 h 1109282"/>
                  <a:gd name="connsiteX387" fmla="*/ 774271 w 1168831"/>
                  <a:gd name="connsiteY387" fmla="*/ 592143 h 1109282"/>
                  <a:gd name="connsiteX388" fmla="*/ 778059 w 1168831"/>
                  <a:gd name="connsiteY388" fmla="*/ 591082 h 1109282"/>
                  <a:gd name="connsiteX389" fmla="*/ 780938 w 1168831"/>
                  <a:gd name="connsiteY389" fmla="*/ 586840 h 1109282"/>
                  <a:gd name="connsiteX390" fmla="*/ 785029 w 1168831"/>
                  <a:gd name="connsiteY390" fmla="*/ 583809 h 1109282"/>
                  <a:gd name="connsiteX391" fmla="*/ 785484 w 1168831"/>
                  <a:gd name="connsiteY391" fmla="*/ 581385 h 1109282"/>
                  <a:gd name="connsiteX392" fmla="*/ 782454 w 1168831"/>
                  <a:gd name="connsiteY392" fmla="*/ 580021 h 1109282"/>
                  <a:gd name="connsiteX393" fmla="*/ 780938 w 1168831"/>
                  <a:gd name="connsiteY393" fmla="*/ 580476 h 1109282"/>
                  <a:gd name="connsiteX394" fmla="*/ 780332 w 1168831"/>
                  <a:gd name="connsiteY394" fmla="*/ 581536 h 1109282"/>
                  <a:gd name="connsiteX395" fmla="*/ 778211 w 1168831"/>
                  <a:gd name="connsiteY395" fmla="*/ 581839 h 1109282"/>
                  <a:gd name="connsiteX396" fmla="*/ 775787 w 1168831"/>
                  <a:gd name="connsiteY396" fmla="*/ 579112 h 1109282"/>
                  <a:gd name="connsiteX397" fmla="*/ 775635 w 1168831"/>
                  <a:gd name="connsiteY397" fmla="*/ 573657 h 1109282"/>
                  <a:gd name="connsiteX398" fmla="*/ 774574 w 1168831"/>
                  <a:gd name="connsiteY398" fmla="*/ 570324 h 1109282"/>
                  <a:gd name="connsiteX399" fmla="*/ 772453 w 1168831"/>
                  <a:gd name="connsiteY399" fmla="*/ 570475 h 1109282"/>
                  <a:gd name="connsiteX400" fmla="*/ 770483 w 1168831"/>
                  <a:gd name="connsiteY400" fmla="*/ 574263 h 1109282"/>
                  <a:gd name="connsiteX401" fmla="*/ 770180 w 1168831"/>
                  <a:gd name="connsiteY401" fmla="*/ 575779 h 1109282"/>
                  <a:gd name="connsiteX402" fmla="*/ 770786 w 1168831"/>
                  <a:gd name="connsiteY402" fmla="*/ 578203 h 1109282"/>
                  <a:gd name="connsiteX403" fmla="*/ 770180 w 1168831"/>
                  <a:gd name="connsiteY403" fmla="*/ 580627 h 1109282"/>
                  <a:gd name="connsiteX404" fmla="*/ 767907 w 1168831"/>
                  <a:gd name="connsiteY404" fmla="*/ 580324 h 1109282"/>
                  <a:gd name="connsiteX405" fmla="*/ 765634 w 1168831"/>
                  <a:gd name="connsiteY405" fmla="*/ 581991 h 1109282"/>
                  <a:gd name="connsiteX406" fmla="*/ 763968 w 1168831"/>
                  <a:gd name="connsiteY406" fmla="*/ 584415 h 1109282"/>
                  <a:gd name="connsiteX407" fmla="*/ 760180 w 1168831"/>
                  <a:gd name="connsiteY407" fmla="*/ 587749 h 1109282"/>
                  <a:gd name="connsiteX408" fmla="*/ 759877 w 1168831"/>
                  <a:gd name="connsiteY408" fmla="*/ 589112 h 1109282"/>
                  <a:gd name="connsiteX409" fmla="*/ 760483 w 1168831"/>
                  <a:gd name="connsiteY409" fmla="*/ 591082 h 1109282"/>
                  <a:gd name="connsiteX410" fmla="*/ 759877 w 1168831"/>
                  <a:gd name="connsiteY410" fmla="*/ 593203 h 1109282"/>
                  <a:gd name="connsiteX411" fmla="*/ 758513 w 1168831"/>
                  <a:gd name="connsiteY411" fmla="*/ 591688 h 1109282"/>
                  <a:gd name="connsiteX412" fmla="*/ 757452 w 1168831"/>
                  <a:gd name="connsiteY412" fmla="*/ 591991 h 1109282"/>
                  <a:gd name="connsiteX413" fmla="*/ 755483 w 1168831"/>
                  <a:gd name="connsiteY413" fmla="*/ 593507 h 1109282"/>
                  <a:gd name="connsiteX414" fmla="*/ 752604 w 1168831"/>
                  <a:gd name="connsiteY414" fmla="*/ 592900 h 1109282"/>
                  <a:gd name="connsiteX415" fmla="*/ 751089 w 1168831"/>
                  <a:gd name="connsiteY415" fmla="*/ 593507 h 1109282"/>
                  <a:gd name="connsiteX416" fmla="*/ 750180 w 1168831"/>
                  <a:gd name="connsiteY416" fmla="*/ 596082 h 1109282"/>
                  <a:gd name="connsiteX417" fmla="*/ 748967 w 1168831"/>
                  <a:gd name="connsiteY417" fmla="*/ 596688 h 1109282"/>
                  <a:gd name="connsiteX418" fmla="*/ 747907 w 1168831"/>
                  <a:gd name="connsiteY418" fmla="*/ 597901 h 1109282"/>
                  <a:gd name="connsiteX419" fmla="*/ 747755 w 1168831"/>
                  <a:gd name="connsiteY419" fmla="*/ 599870 h 1109282"/>
                  <a:gd name="connsiteX420" fmla="*/ 743815 w 1168831"/>
                  <a:gd name="connsiteY420" fmla="*/ 600325 h 1109282"/>
                  <a:gd name="connsiteX421" fmla="*/ 743209 w 1168831"/>
                  <a:gd name="connsiteY421" fmla="*/ 601537 h 1109282"/>
                  <a:gd name="connsiteX422" fmla="*/ 745028 w 1168831"/>
                  <a:gd name="connsiteY422" fmla="*/ 603658 h 1109282"/>
                  <a:gd name="connsiteX423" fmla="*/ 748967 w 1168831"/>
                  <a:gd name="connsiteY423" fmla="*/ 604871 h 1109282"/>
                  <a:gd name="connsiteX424" fmla="*/ 741997 w 1168831"/>
                  <a:gd name="connsiteY424" fmla="*/ 613962 h 1109282"/>
                  <a:gd name="connsiteX425" fmla="*/ 743513 w 1168831"/>
                  <a:gd name="connsiteY425" fmla="*/ 611689 h 1109282"/>
                  <a:gd name="connsiteX426" fmla="*/ 742906 w 1168831"/>
                  <a:gd name="connsiteY426" fmla="*/ 608659 h 1109282"/>
                  <a:gd name="connsiteX427" fmla="*/ 741543 w 1168831"/>
                  <a:gd name="connsiteY427" fmla="*/ 606386 h 1109282"/>
                  <a:gd name="connsiteX428" fmla="*/ 739421 w 1168831"/>
                  <a:gd name="connsiteY428" fmla="*/ 606234 h 1109282"/>
                  <a:gd name="connsiteX429" fmla="*/ 737603 w 1168831"/>
                  <a:gd name="connsiteY429" fmla="*/ 604416 h 1109282"/>
                  <a:gd name="connsiteX430" fmla="*/ 735482 w 1168831"/>
                  <a:gd name="connsiteY430" fmla="*/ 603507 h 1109282"/>
                  <a:gd name="connsiteX431" fmla="*/ 732603 w 1168831"/>
                  <a:gd name="connsiteY431" fmla="*/ 603810 h 1109282"/>
                  <a:gd name="connsiteX432" fmla="*/ 731088 w 1168831"/>
                  <a:gd name="connsiteY432" fmla="*/ 604719 h 1109282"/>
                  <a:gd name="connsiteX433" fmla="*/ 727754 w 1168831"/>
                  <a:gd name="connsiteY433" fmla="*/ 601992 h 1109282"/>
                  <a:gd name="connsiteX434" fmla="*/ 727300 w 1168831"/>
                  <a:gd name="connsiteY434" fmla="*/ 602446 h 1109282"/>
                  <a:gd name="connsiteX435" fmla="*/ 727148 w 1168831"/>
                  <a:gd name="connsiteY435" fmla="*/ 603355 h 1109282"/>
                  <a:gd name="connsiteX436" fmla="*/ 726391 w 1168831"/>
                  <a:gd name="connsiteY436" fmla="*/ 605325 h 1109282"/>
                  <a:gd name="connsiteX437" fmla="*/ 723663 w 1168831"/>
                  <a:gd name="connsiteY437" fmla="*/ 605477 h 1109282"/>
                  <a:gd name="connsiteX438" fmla="*/ 720784 w 1168831"/>
                  <a:gd name="connsiteY438" fmla="*/ 606537 h 1109282"/>
                  <a:gd name="connsiteX439" fmla="*/ 720178 w 1168831"/>
                  <a:gd name="connsiteY439" fmla="*/ 607749 h 1109282"/>
                  <a:gd name="connsiteX440" fmla="*/ 724118 w 1168831"/>
                  <a:gd name="connsiteY440" fmla="*/ 609568 h 1109282"/>
                  <a:gd name="connsiteX441" fmla="*/ 724724 w 1168831"/>
                  <a:gd name="connsiteY441" fmla="*/ 610628 h 1109282"/>
                  <a:gd name="connsiteX442" fmla="*/ 723815 w 1168831"/>
                  <a:gd name="connsiteY442" fmla="*/ 612295 h 1109282"/>
                  <a:gd name="connsiteX443" fmla="*/ 716239 w 1168831"/>
                  <a:gd name="connsiteY443" fmla="*/ 611386 h 1109282"/>
                  <a:gd name="connsiteX444" fmla="*/ 713966 w 1168831"/>
                  <a:gd name="connsiteY444" fmla="*/ 613204 h 1109282"/>
                  <a:gd name="connsiteX445" fmla="*/ 713815 w 1168831"/>
                  <a:gd name="connsiteY445" fmla="*/ 614719 h 1109282"/>
                  <a:gd name="connsiteX446" fmla="*/ 713208 w 1168831"/>
                  <a:gd name="connsiteY446" fmla="*/ 616992 h 1109282"/>
                  <a:gd name="connsiteX447" fmla="*/ 713815 w 1168831"/>
                  <a:gd name="connsiteY447" fmla="*/ 621538 h 1109282"/>
                  <a:gd name="connsiteX448" fmla="*/ 713057 w 1168831"/>
                  <a:gd name="connsiteY448" fmla="*/ 624114 h 1109282"/>
                  <a:gd name="connsiteX449" fmla="*/ 709572 w 1168831"/>
                  <a:gd name="connsiteY449" fmla="*/ 625326 h 1109282"/>
                  <a:gd name="connsiteX450" fmla="*/ 708814 w 1168831"/>
                  <a:gd name="connsiteY450" fmla="*/ 626083 h 1109282"/>
                  <a:gd name="connsiteX451" fmla="*/ 708663 w 1168831"/>
                  <a:gd name="connsiteY451" fmla="*/ 627296 h 1109282"/>
                  <a:gd name="connsiteX452" fmla="*/ 712754 w 1168831"/>
                  <a:gd name="connsiteY452" fmla="*/ 627296 h 1109282"/>
                  <a:gd name="connsiteX453" fmla="*/ 715936 w 1168831"/>
                  <a:gd name="connsiteY453" fmla="*/ 628356 h 1109282"/>
                  <a:gd name="connsiteX454" fmla="*/ 716087 w 1168831"/>
                  <a:gd name="connsiteY454" fmla="*/ 629872 h 1109282"/>
                  <a:gd name="connsiteX455" fmla="*/ 718208 w 1168831"/>
                  <a:gd name="connsiteY455" fmla="*/ 629265 h 1109282"/>
                  <a:gd name="connsiteX456" fmla="*/ 722603 w 1168831"/>
                  <a:gd name="connsiteY456" fmla="*/ 624265 h 1109282"/>
                  <a:gd name="connsiteX457" fmla="*/ 727148 w 1168831"/>
                  <a:gd name="connsiteY457" fmla="*/ 621083 h 1109282"/>
                  <a:gd name="connsiteX458" fmla="*/ 729270 w 1168831"/>
                  <a:gd name="connsiteY458" fmla="*/ 622902 h 1109282"/>
                  <a:gd name="connsiteX459" fmla="*/ 734876 w 1168831"/>
                  <a:gd name="connsiteY459" fmla="*/ 622295 h 1109282"/>
                  <a:gd name="connsiteX460" fmla="*/ 739725 w 1168831"/>
                  <a:gd name="connsiteY460" fmla="*/ 621083 h 1109282"/>
                  <a:gd name="connsiteX461" fmla="*/ 738967 w 1168831"/>
                  <a:gd name="connsiteY461" fmla="*/ 617447 h 1109282"/>
                  <a:gd name="connsiteX462" fmla="*/ 739573 w 1168831"/>
                  <a:gd name="connsiteY462" fmla="*/ 614871 h 1109282"/>
                  <a:gd name="connsiteX463" fmla="*/ 741997 w 1168831"/>
                  <a:gd name="connsiteY463" fmla="*/ 613962 h 1109282"/>
                  <a:gd name="connsiteX464" fmla="*/ 750785 w 1168831"/>
                  <a:gd name="connsiteY464" fmla="*/ 26213 h 1109282"/>
                  <a:gd name="connsiteX465" fmla="*/ 764725 w 1168831"/>
                  <a:gd name="connsiteY465" fmla="*/ 27728 h 1109282"/>
                  <a:gd name="connsiteX466" fmla="*/ 761240 w 1168831"/>
                  <a:gd name="connsiteY466" fmla="*/ 30304 h 1109282"/>
                  <a:gd name="connsiteX467" fmla="*/ 757604 w 1168831"/>
                  <a:gd name="connsiteY467" fmla="*/ 32122 h 1109282"/>
                  <a:gd name="connsiteX468" fmla="*/ 748361 w 1168831"/>
                  <a:gd name="connsiteY468" fmla="*/ 34395 h 1109282"/>
                  <a:gd name="connsiteX469" fmla="*/ 749119 w 1168831"/>
                  <a:gd name="connsiteY469" fmla="*/ 36971 h 1109282"/>
                  <a:gd name="connsiteX470" fmla="*/ 750180 w 1168831"/>
                  <a:gd name="connsiteY470" fmla="*/ 38638 h 1109282"/>
                  <a:gd name="connsiteX471" fmla="*/ 753058 w 1168831"/>
                  <a:gd name="connsiteY471" fmla="*/ 40911 h 1109282"/>
                  <a:gd name="connsiteX472" fmla="*/ 761240 w 1168831"/>
                  <a:gd name="connsiteY472" fmla="*/ 44850 h 1109282"/>
                  <a:gd name="connsiteX473" fmla="*/ 767150 w 1168831"/>
                  <a:gd name="connsiteY473" fmla="*/ 46365 h 1109282"/>
                  <a:gd name="connsiteX474" fmla="*/ 779726 w 1168831"/>
                  <a:gd name="connsiteY474" fmla="*/ 46971 h 1109282"/>
                  <a:gd name="connsiteX475" fmla="*/ 786242 w 1168831"/>
                  <a:gd name="connsiteY475" fmla="*/ 46820 h 1109282"/>
                  <a:gd name="connsiteX476" fmla="*/ 793363 w 1168831"/>
                  <a:gd name="connsiteY476" fmla="*/ 45911 h 1109282"/>
                  <a:gd name="connsiteX477" fmla="*/ 799575 w 1168831"/>
                  <a:gd name="connsiteY477" fmla="*/ 43789 h 1109282"/>
                  <a:gd name="connsiteX478" fmla="*/ 808818 w 1168831"/>
                  <a:gd name="connsiteY478" fmla="*/ 44093 h 1109282"/>
                  <a:gd name="connsiteX479" fmla="*/ 817606 w 1168831"/>
                  <a:gd name="connsiteY479" fmla="*/ 45759 h 1109282"/>
                  <a:gd name="connsiteX480" fmla="*/ 814879 w 1168831"/>
                  <a:gd name="connsiteY480" fmla="*/ 48335 h 1109282"/>
                  <a:gd name="connsiteX481" fmla="*/ 811545 w 1168831"/>
                  <a:gd name="connsiteY481" fmla="*/ 49396 h 1109282"/>
                  <a:gd name="connsiteX482" fmla="*/ 809575 w 1168831"/>
                  <a:gd name="connsiteY482" fmla="*/ 53032 h 1109282"/>
                  <a:gd name="connsiteX483" fmla="*/ 801242 w 1168831"/>
                  <a:gd name="connsiteY483" fmla="*/ 53032 h 1109282"/>
                  <a:gd name="connsiteX484" fmla="*/ 796545 w 1168831"/>
                  <a:gd name="connsiteY484" fmla="*/ 52578 h 1109282"/>
                  <a:gd name="connsiteX485" fmla="*/ 791242 w 1168831"/>
                  <a:gd name="connsiteY485" fmla="*/ 53032 h 1109282"/>
                  <a:gd name="connsiteX486" fmla="*/ 789272 w 1168831"/>
                  <a:gd name="connsiteY486" fmla="*/ 53941 h 1109282"/>
                  <a:gd name="connsiteX487" fmla="*/ 787302 w 1168831"/>
                  <a:gd name="connsiteY487" fmla="*/ 55608 h 1109282"/>
                  <a:gd name="connsiteX488" fmla="*/ 793514 w 1168831"/>
                  <a:gd name="connsiteY488" fmla="*/ 59093 h 1109282"/>
                  <a:gd name="connsiteX489" fmla="*/ 799727 w 1168831"/>
                  <a:gd name="connsiteY489" fmla="*/ 61820 h 1109282"/>
                  <a:gd name="connsiteX490" fmla="*/ 807151 w 1168831"/>
                  <a:gd name="connsiteY490" fmla="*/ 63487 h 1109282"/>
                  <a:gd name="connsiteX491" fmla="*/ 817000 w 1168831"/>
                  <a:gd name="connsiteY491" fmla="*/ 64851 h 1109282"/>
                  <a:gd name="connsiteX492" fmla="*/ 818212 w 1168831"/>
                  <a:gd name="connsiteY492" fmla="*/ 66821 h 1109282"/>
                  <a:gd name="connsiteX493" fmla="*/ 819727 w 1168831"/>
                  <a:gd name="connsiteY493" fmla="*/ 67578 h 1109282"/>
                  <a:gd name="connsiteX494" fmla="*/ 848516 w 1168831"/>
                  <a:gd name="connsiteY494" fmla="*/ 68639 h 1109282"/>
                  <a:gd name="connsiteX495" fmla="*/ 874578 w 1168831"/>
                  <a:gd name="connsiteY495" fmla="*/ 66669 h 1109282"/>
                  <a:gd name="connsiteX496" fmla="*/ 869881 w 1168831"/>
                  <a:gd name="connsiteY496" fmla="*/ 71821 h 1109282"/>
                  <a:gd name="connsiteX497" fmla="*/ 872456 w 1168831"/>
                  <a:gd name="connsiteY497" fmla="*/ 75760 h 1109282"/>
                  <a:gd name="connsiteX498" fmla="*/ 875639 w 1168831"/>
                  <a:gd name="connsiteY498" fmla="*/ 77882 h 1109282"/>
                  <a:gd name="connsiteX499" fmla="*/ 898973 w 1168831"/>
                  <a:gd name="connsiteY499" fmla="*/ 79397 h 1109282"/>
                  <a:gd name="connsiteX500" fmla="*/ 904125 w 1168831"/>
                  <a:gd name="connsiteY500" fmla="*/ 80154 h 1109282"/>
                  <a:gd name="connsiteX501" fmla="*/ 909125 w 1168831"/>
                  <a:gd name="connsiteY501" fmla="*/ 78791 h 1109282"/>
                  <a:gd name="connsiteX502" fmla="*/ 912458 w 1168831"/>
                  <a:gd name="connsiteY502" fmla="*/ 75912 h 1109282"/>
                  <a:gd name="connsiteX503" fmla="*/ 915943 w 1168831"/>
                  <a:gd name="connsiteY503" fmla="*/ 73639 h 1109282"/>
                  <a:gd name="connsiteX504" fmla="*/ 925944 w 1168831"/>
                  <a:gd name="connsiteY504" fmla="*/ 69700 h 1109282"/>
                  <a:gd name="connsiteX505" fmla="*/ 928519 w 1168831"/>
                  <a:gd name="connsiteY505" fmla="*/ 69548 h 1109282"/>
                  <a:gd name="connsiteX506" fmla="*/ 936853 w 1168831"/>
                  <a:gd name="connsiteY506" fmla="*/ 71366 h 1109282"/>
                  <a:gd name="connsiteX507" fmla="*/ 939429 w 1168831"/>
                  <a:gd name="connsiteY507" fmla="*/ 70912 h 1109282"/>
                  <a:gd name="connsiteX508" fmla="*/ 950490 w 1168831"/>
                  <a:gd name="connsiteY508" fmla="*/ 67275 h 1109282"/>
                  <a:gd name="connsiteX509" fmla="*/ 952763 w 1168831"/>
                  <a:gd name="connsiteY509" fmla="*/ 65002 h 1109282"/>
                  <a:gd name="connsiteX510" fmla="*/ 957611 w 1168831"/>
                  <a:gd name="connsiteY510" fmla="*/ 57426 h 1109282"/>
                  <a:gd name="connsiteX511" fmla="*/ 960490 w 1168831"/>
                  <a:gd name="connsiteY511" fmla="*/ 53941 h 1109282"/>
                  <a:gd name="connsiteX512" fmla="*/ 966399 w 1168831"/>
                  <a:gd name="connsiteY512" fmla="*/ 50153 h 1109282"/>
                  <a:gd name="connsiteX513" fmla="*/ 989885 w 1168831"/>
                  <a:gd name="connsiteY513" fmla="*/ 38486 h 1109282"/>
                  <a:gd name="connsiteX514" fmla="*/ 993067 w 1168831"/>
                  <a:gd name="connsiteY514" fmla="*/ 35910 h 1109282"/>
                  <a:gd name="connsiteX515" fmla="*/ 991704 w 1168831"/>
                  <a:gd name="connsiteY515" fmla="*/ 26365 h 1109282"/>
                  <a:gd name="connsiteX516" fmla="*/ 988067 w 1168831"/>
                  <a:gd name="connsiteY516" fmla="*/ 22274 h 1109282"/>
                  <a:gd name="connsiteX517" fmla="*/ 983824 w 1168831"/>
                  <a:gd name="connsiteY517" fmla="*/ 20152 h 1109282"/>
                  <a:gd name="connsiteX518" fmla="*/ 972157 w 1168831"/>
                  <a:gd name="connsiteY518" fmla="*/ 19243 h 1109282"/>
                  <a:gd name="connsiteX519" fmla="*/ 955793 w 1168831"/>
                  <a:gd name="connsiteY519" fmla="*/ 19243 h 1109282"/>
                  <a:gd name="connsiteX520" fmla="*/ 953520 w 1168831"/>
                  <a:gd name="connsiteY520" fmla="*/ 18486 h 1109282"/>
                  <a:gd name="connsiteX521" fmla="*/ 951247 w 1168831"/>
                  <a:gd name="connsiteY521" fmla="*/ 17122 h 1109282"/>
                  <a:gd name="connsiteX522" fmla="*/ 945944 w 1168831"/>
                  <a:gd name="connsiteY522" fmla="*/ 15607 h 1109282"/>
                  <a:gd name="connsiteX523" fmla="*/ 930489 w 1168831"/>
                  <a:gd name="connsiteY523" fmla="*/ 12879 h 1109282"/>
                  <a:gd name="connsiteX524" fmla="*/ 927156 w 1168831"/>
                  <a:gd name="connsiteY524" fmla="*/ 11364 h 1109282"/>
                  <a:gd name="connsiteX525" fmla="*/ 925792 w 1168831"/>
                  <a:gd name="connsiteY525" fmla="*/ 11364 h 1109282"/>
                  <a:gd name="connsiteX526" fmla="*/ 922459 w 1168831"/>
                  <a:gd name="connsiteY526" fmla="*/ 12273 h 1109282"/>
                  <a:gd name="connsiteX527" fmla="*/ 920640 w 1168831"/>
                  <a:gd name="connsiteY527" fmla="*/ 11667 h 1109282"/>
                  <a:gd name="connsiteX528" fmla="*/ 916701 w 1168831"/>
                  <a:gd name="connsiteY528" fmla="*/ 7879 h 1109282"/>
                  <a:gd name="connsiteX529" fmla="*/ 913822 w 1168831"/>
                  <a:gd name="connsiteY529" fmla="*/ 7576 h 1109282"/>
                  <a:gd name="connsiteX530" fmla="*/ 913367 w 1168831"/>
                  <a:gd name="connsiteY530" fmla="*/ 9546 h 1109282"/>
                  <a:gd name="connsiteX531" fmla="*/ 912155 w 1168831"/>
                  <a:gd name="connsiteY531" fmla="*/ 11213 h 1109282"/>
                  <a:gd name="connsiteX532" fmla="*/ 909731 w 1168831"/>
                  <a:gd name="connsiteY532" fmla="*/ 11667 h 1109282"/>
                  <a:gd name="connsiteX533" fmla="*/ 904579 w 1168831"/>
                  <a:gd name="connsiteY533" fmla="*/ 11061 h 1109282"/>
                  <a:gd name="connsiteX534" fmla="*/ 899579 w 1168831"/>
                  <a:gd name="connsiteY534" fmla="*/ 14849 h 1109282"/>
                  <a:gd name="connsiteX535" fmla="*/ 897306 w 1168831"/>
                  <a:gd name="connsiteY535" fmla="*/ 17273 h 1109282"/>
                  <a:gd name="connsiteX536" fmla="*/ 888215 w 1168831"/>
                  <a:gd name="connsiteY536" fmla="*/ 19092 h 1109282"/>
                  <a:gd name="connsiteX537" fmla="*/ 881699 w 1168831"/>
                  <a:gd name="connsiteY537" fmla="*/ 18637 h 1109282"/>
                  <a:gd name="connsiteX538" fmla="*/ 884730 w 1168831"/>
                  <a:gd name="connsiteY538" fmla="*/ 10455 h 1109282"/>
                  <a:gd name="connsiteX539" fmla="*/ 885487 w 1168831"/>
                  <a:gd name="connsiteY539" fmla="*/ 6515 h 1109282"/>
                  <a:gd name="connsiteX540" fmla="*/ 887306 w 1168831"/>
                  <a:gd name="connsiteY540" fmla="*/ 3636 h 1109282"/>
                  <a:gd name="connsiteX541" fmla="*/ 885487 w 1168831"/>
                  <a:gd name="connsiteY541" fmla="*/ 2273 h 1109282"/>
                  <a:gd name="connsiteX542" fmla="*/ 878820 w 1168831"/>
                  <a:gd name="connsiteY542" fmla="*/ 606 h 1109282"/>
                  <a:gd name="connsiteX543" fmla="*/ 875790 w 1168831"/>
                  <a:gd name="connsiteY543" fmla="*/ 909 h 1109282"/>
                  <a:gd name="connsiteX544" fmla="*/ 872608 w 1168831"/>
                  <a:gd name="connsiteY544" fmla="*/ 2576 h 1109282"/>
                  <a:gd name="connsiteX545" fmla="*/ 869275 w 1168831"/>
                  <a:gd name="connsiteY545" fmla="*/ 3940 h 1109282"/>
                  <a:gd name="connsiteX546" fmla="*/ 865941 w 1168831"/>
                  <a:gd name="connsiteY546" fmla="*/ 3636 h 1109282"/>
                  <a:gd name="connsiteX547" fmla="*/ 863214 w 1168831"/>
                  <a:gd name="connsiteY547" fmla="*/ 4546 h 1109282"/>
                  <a:gd name="connsiteX548" fmla="*/ 862305 w 1168831"/>
                  <a:gd name="connsiteY548" fmla="*/ 6818 h 1109282"/>
                  <a:gd name="connsiteX549" fmla="*/ 863062 w 1168831"/>
                  <a:gd name="connsiteY549" fmla="*/ 10455 h 1109282"/>
                  <a:gd name="connsiteX550" fmla="*/ 862911 w 1168831"/>
                  <a:gd name="connsiteY550" fmla="*/ 17879 h 1109282"/>
                  <a:gd name="connsiteX551" fmla="*/ 861092 w 1168831"/>
                  <a:gd name="connsiteY551" fmla="*/ 24243 h 1109282"/>
                  <a:gd name="connsiteX552" fmla="*/ 858668 w 1168831"/>
                  <a:gd name="connsiteY552" fmla="*/ 26819 h 1109282"/>
                  <a:gd name="connsiteX553" fmla="*/ 855941 w 1168831"/>
                  <a:gd name="connsiteY553" fmla="*/ 26213 h 1109282"/>
                  <a:gd name="connsiteX554" fmla="*/ 847910 w 1168831"/>
                  <a:gd name="connsiteY554" fmla="*/ 21667 h 1109282"/>
                  <a:gd name="connsiteX555" fmla="*/ 844728 w 1168831"/>
                  <a:gd name="connsiteY555" fmla="*/ 21213 h 1109282"/>
                  <a:gd name="connsiteX556" fmla="*/ 842456 w 1168831"/>
                  <a:gd name="connsiteY556" fmla="*/ 20001 h 1109282"/>
                  <a:gd name="connsiteX557" fmla="*/ 841243 w 1168831"/>
                  <a:gd name="connsiteY557" fmla="*/ 16213 h 1109282"/>
                  <a:gd name="connsiteX558" fmla="*/ 838364 w 1168831"/>
                  <a:gd name="connsiteY558" fmla="*/ 14698 h 1109282"/>
                  <a:gd name="connsiteX559" fmla="*/ 823364 w 1168831"/>
                  <a:gd name="connsiteY559" fmla="*/ 15001 h 1109282"/>
                  <a:gd name="connsiteX560" fmla="*/ 820637 w 1168831"/>
                  <a:gd name="connsiteY560" fmla="*/ 14243 h 1109282"/>
                  <a:gd name="connsiteX561" fmla="*/ 815030 w 1168831"/>
                  <a:gd name="connsiteY561" fmla="*/ 11213 h 1109282"/>
                  <a:gd name="connsiteX562" fmla="*/ 809121 w 1168831"/>
                  <a:gd name="connsiteY562" fmla="*/ 6667 h 1109282"/>
                  <a:gd name="connsiteX563" fmla="*/ 805939 w 1168831"/>
                  <a:gd name="connsiteY563" fmla="*/ 4849 h 1109282"/>
                  <a:gd name="connsiteX564" fmla="*/ 798969 w 1168831"/>
                  <a:gd name="connsiteY564" fmla="*/ 3030 h 1109282"/>
                  <a:gd name="connsiteX565" fmla="*/ 791999 w 1168831"/>
                  <a:gd name="connsiteY565" fmla="*/ 455 h 1109282"/>
                  <a:gd name="connsiteX566" fmla="*/ 788817 w 1168831"/>
                  <a:gd name="connsiteY566" fmla="*/ 0 h 1109282"/>
                  <a:gd name="connsiteX567" fmla="*/ 785635 w 1168831"/>
                  <a:gd name="connsiteY567" fmla="*/ 909 h 1109282"/>
                  <a:gd name="connsiteX568" fmla="*/ 787756 w 1168831"/>
                  <a:gd name="connsiteY568" fmla="*/ 4697 h 1109282"/>
                  <a:gd name="connsiteX569" fmla="*/ 790030 w 1168831"/>
                  <a:gd name="connsiteY569" fmla="*/ 7728 h 1109282"/>
                  <a:gd name="connsiteX570" fmla="*/ 790939 w 1168831"/>
                  <a:gd name="connsiteY570" fmla="*/ 9394 h 1109282"/>
                  <a:gd name="connsiteX571" fmla="*/ 790787 w 1168831"/>
                  <a:gd name="connsiteY571" fmla="*/ 11364 h 1109282"/>
                  <a:gd name="connsiteX572" fmla="*/ 789423 w 1168831"/>
                  <a:gd name="connsiteY572" fmla="*/ 15607 h 1109282"/>
                  <a:gd name="connsiteX573" fmla="*/ 784423 w 1168831"/>
                  <a:gd name="connsiteY573" fmla="*/ 14243 h 1109282"/>
                  <a:gd name="connsiteX574" fmla="*/ 777756 w 1168831"/>
                  <a:gd name="connsiteY574" fmla="*/ 9697 h 1109282"/>
                  <a:gd name="connsiteX575" fmla="*/ 776089 w 1168831"/>
                  <a:gd name="connsiteY575" fmla="*/ 8940 h 1109282"/>
                  <a:gd name="connsiteX576" fmla="*/ 773817 w 1168831"/>
                  <a:gd name="connsiteY576" fmla="*/ 9243 h 1109282"/>
                  <a:gd name="connsiteX577" fmla="*/ 773210 w 1168831"/>
                  <a:gd name="connsiteY577" fmla="*/ 11061 h 1109282"/>
                  <a:gd name="connsiteX578" fmla="*/ 774120 w 1168831"/>
                  <a:gd name="connsiteY578" fmla="*/ 13485 h 1109282"/>
                  <a:gd name="connsiteX579" fmla="*/ 778514 w 1168831"/>
                  <a:gd name="connsiteY579" fmla="*/ 18334 h 1109282"/>
                  <a:gd name="connsiteX580" fmla="*/ 783514 w 1168831"/>
                  <a:gd name="connsiteY580" fmla="*/ 19698 h 1109282"/>
                  <a:gd name="connsiteX581" fmla="*/ 778211 w 1168831"/>
                  <a:gd name="connsiteY581" fmla="*/ 22577 h 1109282"/>
                  <a:gd name="connsiteX582" fmla="*/ 772756 w 1168831"/>
                  <a:gd name="connsiteY582" fmla="*/ 21213 h 1109282"/>
                  <a:gd name="connsiteX583" fmla="*/ 767756 w 1168831"/>
                  <a:gd name="connsiteY583" fmla="*/ 18940 h 1109282"/>
                  <a:gd name="connsiteX584" fmla="*/ 762756 w 1168831"/>
                  <a:gd name="connsiteY584" fmla="*/ 17728 h 1109282"/>
                  <a:gd name="connsiteX585" fmla="*/ 743815 w 1168831"/>
                  <a:gd name="connsiteY585" fmla="*/ 19092 h 1109282"/>
                  <a:gd name="connsiteX586" fmla="*/ 739118 w 1168831"/>
                  <a:gd name="connsiteY586" fmla="*/ 20910 h 1109282"/>
                  <a:gd name="connsiteX587" fmla="*/ 744876 w 1168831"/>
                  <a:gd name="connsiteY587" fmla="*/ 24092 h 1109282"/>
                  <a:gd name="connsiteX588" fmla="*/ 750785 w 1168831"/>
                  <a:gd name="connsiteY588" fmla="*/ 26213 h 1109282"/>
                  <a:gd name="connsiteX589" fmla="*/ 651842 w 1168831"/>
                  <a:gd name="connsiteY589" fmla="*/ 640326 h 1109282"/>
                  <a:gd name="connsiteX590" fmla="*/ 650933 w 1168831"/>
                  <a:gd name="connsiteY590" fmla="*/ 639569 h 1109282"/>
                  <a:gd name="connsiteX591" fmla="*/ 647145 w 1168831"/>
                  <a:gd name="connsiteY591" fmla="*/ 639417 h 1109282"/>
                  <a:gd name="connsiteX592" fmla="*/ 645630 w 1168831"/>
                  <a:gd name="connsiteY592" fmla="*/ 641690 h 1109282"/>
                  <a:gd name="connsiteX593" fmla="*/ 642297 w 1168831"/>
                  <a:gd name="connsiteY593" fmla="*/ 644569 h 1109282"/>
                  <a:gd name="connsiteX594" fmla="*/ 643206 w 1168831"/>
                  <a:gd name="connsiteY594" fmla="*/ 646842 h 1109282"/>
                  <a:gd name="connsiteX595" fmla="*/ 646388 w 1168831"/>
                  <a:gd name="connsiteY595" fmla="*/ 648357 h 1109282"/>
                  <a:gd name="connsiteX596" fmla="*/ 648812 w 1168831"/>
                  <a:gd name="connsiteY596" fmla="*/ 648054 h 1109282"/>
                  <a:gd name="connsiteX597" fmla="*/ 652448 w 1168831"/>
                  <a:gd name="connsiteY597" fmla="*/ 646236 h 1109282"/>
                  <a:gd name="connsiteX598" fmla="*/ 653812 w 1168831"/>
                  <a:gd name="connsiteY598" fmla="*/ 646690 h 1109282"/>
                  <a:gd name="connsiteX599" fmla="*/ 654115 w 1168831"/>
                  <a:gd name="connsiteY599" fmla="*/ 648205 h 1109282"/>
                  <a:gd name="connsiteX600" fmla="*/ 656539 w 1168831"/>
                  <a:gd name="connsiteY600" fmla="*/ 649569 h 1109282"/>
                  <a:gd name="connsiteX601" fmla="*/ 660327 w 1168831"/>
                  <a:gd name="connsiteY601" fmla="*/ 649721 h 1109282"/>
                  <a:gd name="connsiteX602" fmla="*/ 665631 w 1168831"/>
                  <a:gd name="connsiteY602" fmla="*/ 649266 h 1109282"/>
                  <a:gd name="connsiteX603" fmla="*/ 669116 w 1168831"/>
                  <a:gd name="connsiteY603" fmla="*/ 646539 h 1109282"/>
                  <a:gd name="connsiteX604" fmla="*/ 670479 w 1168831"/>
                  <a:gd name="connsiteY604" fmla="*/ 641236 h 1109282"/>
                  <a:gd name="connsiteX605" fmla="*/ 668813 w 1168831"/>
                  <a:gd name="connsiteY605" fmla="*/ 638357 h 1109282"/>
                  <a:gd name="connsiteX606" fmla="*/ 665328 w 1168831"/>
                  <a:gd name="connsiteY606" fmla="*/ 633508 h 1109282"/>
                  <a:gd name="connsiteX607" fmla="*/ 664419 w 1168831"/>
                  <a:gd name="connsiteY607" fmla="*/ 631690 h 1109282"/>
                  <a:gd name="connsiteX608" fmla="*/ 663055 w 1168831"/>
                  <a:gd name="connsiteY608" fmla="*/ 630629 h 1109282"/>
                  <a:gd name="connsiteX609" fmla="*/ 662297 w 1168831"/>
                  <a:gd name="connsiteY609" fmla="*/ 630478 h 1109282"/>
                  <a:gd name="connsiteX610" fmla="*/ 660479 w 1168831"/>
                  <a:gd name="connsiteY610" fmla="*/ 630781 h 1109282"/>
                  <a:gd name="connsiteX611" fmla="*/ 660479 w 1168831"/>
                  <a:gd name="connsiteY611" fmla="*/ 635932 h 1109282"/>
                  <a:gd name="connsiteX612" fmla="*/ 655934 w 1168831"/>
                  <a:gd name="connsiteY612" fmla="*/ 635023 h 1109282"/>
                  <a:gd name="connsiteX613" fmla="*/ 655024 w 1168831"/>
                  <a:gd name="connsiteY613" fmla="*/ 636387 h 1109282"/>
                  <a:gd name="connsiteX614" fmla="*/ 655327 w 1168831"/>
                  <a:gd name="connsiteY614" fmla="*/ 638205 h 1109282"/>
                  <a:gd name="connsiteX615" fmla="*/ 654115 w 1168831"/>
                  <a:gd name="connsiteY615" fmla="*/ 640933 h 1109282"/>
                  <a:gd name="connsiteX616" fmla="*/ 651842 w 1168831"/>
                  <a:gd name="connsiteY616" fmla="*/ 640326 h 1109282"/>
                  <a:gd name="connsiteX617" fmla="*/ 761695 w 1168831"/>
                  <a:gd name="connsiteY617" fmla="*/ 11061 h 1109282"/>
                  <a:gd name="connsiteX618" fmla="*/ 755634 w 1168831"/>
                  <a:gd name="connsiteY618" fmla="*/ 8031 h 1109282"/>
                  <a:gd name="connsiteX619" fmla="*/ 749422 w 1168831"/>
                  <a:gd name="connsiteY619" fmla="*/ 7425 h 1109282"/>
                  <a:gd name="connsiteX620" fmla="*/ 746997 w 1168831"/>
                  <a:gd name="connsiteY620" fmla="*/ 9091 h 1109282"/>
                  <a:gd name="connsiteX621" fmla="*/ 745785 w 1168831"/>
                  <a:gd name="connsiteY621" fmla="*/ 11819 h 1109282"/>
                  <a:gd name="connsiteX622" fmla="*/ 755786 w 1168831"/>
                  <a:gd name="connsiteY622" fmla="*/ 14546 h 1109282"/>
                  <a:gd name="connsiteX623" fmla="*/ 761695 w 1168831"/>
                  <a:gd name="connsiteY623" fmla="*/ 11061 h 1109282"/>
                  <a:gd name="connsiteX624" fmla="*/ 1028523 w 1168831"/>
                  <a:gd name="connsiteY624" fmla="*/ 98640 h 1109282"/>
                  <a:gd name="connsiteX625" fmla="*/ 1039129 w 1168831"/>
                  <a:gd name="connsiteY625" fmla="*/ 99095 h 1109282"/>
                  <a:gd name="connsiteX626" fmla="*/ 1050948 w 1168831"/>
                  <a:gd name="connsiteY626" fmla="*/ 100761 h 1109282"/>
                  <a:gd name="connsiteX627" fmla="*/ 1061555 w 1168831"/>
                  <a:gd name="connsiteY627" fmla="*/ 97579 h 1109282"/>
                  <a:gd name="connsiteX628" fmla="*/ 1060191 w 1168831"/>
                  <a:gd name="connsiteY628" fmla="*/ 96519 h 1109282"/>
                  <a:gd name="connsiteX629" fmla="*/ 1052009 w 1168831"/>
                  <a:gd name="connsiteY629" fmla="*/ 97428 h 1109282"/>
                  <a:gd name="connsiteX630" fmla="*/ 1043827 w 1168831"/>
                  <a:gd name="connsiteY630" fmla="*/ 96973 h 1109282"/>
                  <a:gd name="connsiteX631" fmla="*/ 1038220 w 1168831"/>
                  <a:gd name="connsiteY631" fmla="*/ 93488 h 1109282"/>
                  <a:gd name="connsiteX632" fmla="*/ 1029129 w 1168831"/>
                  <a:gd name="connsiteY632" fmla="*/ 93640 h 1109282"/>
                  <a:gd name="connsiteX633" fmla="*/ 1026553 w 1168831"/>
                  <a:gd name="connsiteY633" fmla="*/ 93943 h 1109282"/>
                  <a:gd name="connsiteX634" fmla="*/ 1025492 w 1168831"/>
                  <a:gd name="connsiteY634" fmla="*/ 96064 h 1109282"/>
                  <a:gd name="connsiteX635" fmla="*/ 1018523 w 1168831"/>
                  <a:gd name="connsiteY635" fmla="*/ 97125 h 1109282"/>
                  <a:gd name="connsiteX636" fmla="*/ 1012159 w 1168831"/>
                  <a:gd name="connsiteY636" fmla="*/ 100610 h 1109282"/>
                  <a:gd name="connsiteX637" fmla="*/ 1016250 w 1168831"/>
                  <a:gd name="connsiteY637" fmla="*/ 101973 h 1109282"/>
                  <a:gd name="connsiteX638" fmla="*/ 1028523 w 1168831"/>
                  <a:gd name="connsiteY638" fmla="*/ 98640 h 1109282"/>
                  <a:gd name="connsiteX639" fmla="*/ 901549 w 1168831"/>
                  <a:gd name="connsiteY639" fmla="*/ 546990 h 1109282"/>
                  <a:gd name="connsiteX640" fmla="*/ 901094 w 1168831"/>
                  <a:gd name="connsiteY640" fmla="*/ 546232 h 1109282"/>
                  <a:gd name="connsiteX641" fmla="*/ 899579 w 1168831"/>
                  <a:gd name="connsiteY641" fmla="*/ 545323 h 1109282"/>
                  <a:gd name="connsiteX642" fmla="*/ 897154 w 1168831"/>
                  <a:gd name="connsiteY642" fmla="*/ 546535 h 1109282"/>
                  <a:gd name="connsiteX643" fmla="*/ 896397 w 1168831"/>
                  <a:gd name="connsiteY643" fmla="*/ 548959 h 1109282"/>
                  <a:gd name="connsiteX644" fmla="*/ 896549 w 1168831"/>
                  <a:gd name="connsiteY644" fmla="*/ 552899 h 1109282"/>
                  <a:gd name="connsiteX645" fmla="*/ 897761 w 1168831"/>
                  <a:gd name="connsiteY645" fmla="*/ 554717 h 1109282"/>
                  <a:gd name="connsiteX646" fmla="*/ 900791 w 1168831"/>
                  <a:gd name="connsiteY646" fmla="*/ 556384 h 1109282"/>
                  <a:gd name="connsiteX647" fmla="*/ 905943 w 1168831"/>
                  <a:gd name="connsiteY647" fmla="*/ 554414 h 1109282"/>
                  <a:gd name="connsiteX648" fmla="*/ 907609 w 1168831"/>
                  <a:gd name="connsiteY648" fmla="*/ 550323 h 1109282"/>
                  <a:gd name="connsiteX649" fmla="*/ 904276 w 1168831"/>
                  <a:gd name="connsiteY649" fmla="*/ 547899 h 1109282"/>
                  <a:gd name="connsiteX650" fmla="*/ 901549 w 1168831"/>
                  <a:gd name="connsiteY650" fmla="*/ 546990 h 1109282"/>
                  <a:gd name="connsiteX651" fmla="*/ 930337 w 1168831"/>
                  <a:gd name="connsiteY651" fmla="*/ 166218 h 1109282"/>
                  <a:gd name="connsiteX652" fmla="*/ 921246 w 1168831"/>
                  <a:gd name="connsiteY652" fmla="*/ 161673 h 1109282"/>
                  <a:gd name="connsiteX653" fmla="*/ 912155 w 1168831"/>
                  <a:gd name="connsiteY653" fmla="*/ 157885 h 1109282"/>
                  <a:gd name="connsiteX654" fmla="*/ 902458 w 1168831"/>
                  <a:gd name="connsiteY654" fmla="*/ 159854 h 1109282"/>
                  <a:gd name="connsiteX655" fmla="*/ 897003 w 1168831"/>
                  <a:gd name="connsiteY655" fmla="*/ 159248 h 1109282"/>
                  <a:gd name="connsiteX656" fmla="*/ 887306 w 1168831"/>
                  <a:gd name="connsiteY656" fmla="*/ 154400 h 1109282"/>
                  <a:gd name="connsiteX657" fmla="*/ 881397 w 1168831"/>
                  <a:gd name="connsiteY657" fmla="*/ 152430 h 1109282"/>
                  <a:gd name="connsiteX658" fmla="*/ 882306 w 1168831"/>
                  <a:gd name="connsiteY658" fmla="*/ 146672 h 1109282"/>
                  <a:gd name="connsiteX659" fmla="*/ 888064 w 1168831"/>
                  <a:gd name="connsiteY659" fmla="*/ 144702 h 1109282"/>
                  <a:gd name="connsiteX660" fmla="*/ 890487 w 1168831"/>
                  <a:gd name="connsiteY660" fmla="*/ 143036 h 1109282"/>
                  <a:gd name="connsiteX661" fmla="*/ 887760 w 1168831"/>
                  <a:gd name="connsiteY661" fmla="*/ 140914 h 1109282"/>
                  <a:gd name="connsiteX662" fmla="*/ 881397 w 1168831"/>
                  <a:gd name="connsiteY662" fmla="*/ 137732 h 1109282"/>
                  <a:gd name="connsiteX663" fmla="*/ 877760 w 1168831"/>
                  <a:gd name="connsiteY663" fmla="*/ 136975 h 1109282"/>
                  <a:gd name="connsiteX664" fmla="*/ 870790 w 1168831"/>
                  <a:gd name="connsiteY664" fmla="*/ 137732 h 1109282"/>
                  <a:gd name="connsiteX665" fmla="*/ 862911 w 1168831"/>
                  <a:gd name="connsiteY665" fmla="*/ 139248 h 1109282"/>
                  <a:gd name="connsiteX666" fmla="*/ 858820 w 1168831"/>
                  <a:gd name="connsiteY666" fmla="*/ 138490 h 1109282"/>
                  <a:gd name="connsiteX667" fmla="*/ 856244 w 1168831"/>
                  <a:gd name="connsiteY667" fmla="*/ 127732 h 1109282"/>
                  <a:gd name="connsiteX668" fmla="*/ 851698 w 1168831"/>
                  <a:gd name="connsiteY668" fmla="*/ 117580 h 1109282"/>
                  <a:gd name="connsiteX669" fmla="*/ 843516 w 1168831"/>
                  <a:gd name="connsiteY669" fmla="*/ 117883 h 1109282"/>
                  <a:gd name="connsiteX670" fmla="*/ 839728 w 1168831"/>
                  <a:gd name="connsiteY670" fmla="*/ 116519 h 1109282"/>
                  <a:gd name="connsiteX671" fmla="*/ 835486 w 1168831"/>
                  <a:gd name="connsiteY671" fmla="*/ 116368 h 1109282"/>
                  <a:gd name="connsiteX672" fmla="*/ 824273 w 1168831"/>
                  <a:gd name="connsiteY672" fmla="*/ 118792 h 1109282"/>
                  <a:gd name="connsiteX673" fmla="*/ 805484 w 1168831"/>
                  <a:gd name="connsiteY673" fmla="*/ 121368 h 1109282"/>
                  <a:gd name="connsiteX674" fmla="*/ 801848 w 1168831"/>
                  <a:gd name="connsiteY674" fmla="*/ 123641 h 1109282"/>
                  <a:gd name="connsiteX675" fmla="*/ 805787 w 1168831"/>
                  <a:gd name="connsiteY675" fmla="*/ 127580 h 1109282"/>
                  <a:gd name="connsiteX676" fmla="*/ 810939 w 1168831"/>
                  <a:gd name="connsiteY676" fmla="*/ 127126 h 1109282"/>
                  <a:gd name="connsiteX677" fmla="*/ 810030 w 1168831"/>
                  <a:gd name="connsiteY677" fmla="*/ 132732 h 1109282"/>
                  <a:gd name="connsiteX678" fmla="*/ 817151 w 1168831"/>
                  <a:gd name="connsiteY678" fmla="*/ 137126 h 1109282"/>
                  <a:gd name="connsiteX679" fmla="*/ 818818 w 1168831"/>
                  <a:gd name="connsiteY679" fmla="*/ 142278 h 1109282"/>
                  <a:gd name="connsiteX680" fmla="*/ 823970 w 1168831"/>
                  <a:gd name="connsiteY680" fmla="*/ 148642 h 1109282"/>
                  <a:gd name="connsiteX681" fmla="*/ 828819 w 1168831"/>
                  <a:gd name="connsiteY681" fmla="*/ 151824 h 1109282"/>
                  <a:gd name="connsiteX682" fmla="*/ 840940 w 1168831"/>
                  <a:gd name="connsiteY682" fmla="*/ 156672 h 1109282"/>
                  <a:gd name="connsiteX683" fmla="*/ 839728 w 1168831"/>
                  <a:gd name="connsiteY683" fmla="*/ 157127 h 1109282"/>
                  <a:gd name="connsiteX684" fmla="*/ 834880 w 1168831"/>
                  <a:gd name="connsiteY684" fmla="*/ 163339 h 1109282"/>
                  <a:gd name="connsiteX685" fmla="*/ 832304 w 1168831"/>
                  <a:gd name="connsiteY685" fmla="*/ 165764 h 1109282"/>
                  <a:gd name="connsiteX686" fmla="*/ 830031 w 1168831"/>
                  <a:gd name="connsiteY686" fmla="*/ 169400 h 1109282"/>
                  <a:gd name="connsiteX687" fmla="*/ 828667 w 1168831"/>
                  <a:gd name="connsiteY687" fmla="*/ 174703 h 1109282"/>
                  <a:gd name="connsiteX688" fmla="*/ 819727 w 1168831"/>
                  <a:gd name="connsiteY688" fmla="*/ 177885 h 1109282"/>
                  <a:gd name="connsiteX689" fmla="*/ 821243 w 1168831"/>
                  <a:gd name="connsiteY689" fmla="*/ 184098 h 1109282"/>
                  <a:gd name="connsiteX690" fmla="*/ 824576 w 1168831"/>
                  <a:gd name="connsiteY690" fmla="*/ 185158 h 1109282"/>
                  <a:gd name="connsiteX691" fmla="*/ 846698 w 1168831"/>
                  <a:gd name="connsiteY691" fmla="*/ 181976 h 1109282"/>
                  <a:gd name="connsiteX692" fmla="*/ 852153 w 1168831"/>
                  <a:gd name="connsiteY692" fmla="*/ 181522 h 1109282"/>
                  <a:gd name="connsiteX693" fmla="*/ 857608 w 1168831"/>
                  <a:gd name="connsiteY693" fmla="*/ 179855 h 1109282"/>
                  <a:gd name="connsiteX694" fmla="*/ 861547 w 1168831"/>
                  <a:gd name="connsiteY694" fmla="*/ 177431 h 1109282"/>
                  <a:gd name="connsiteX695" fmla="*/ 862911 w 1168831"/>
                  <a:gd name="connsiteY695" fmla="*/ 177431 h 1109282"/>
                  <a:gd name="connsiteX696" fmla="*/ 867608 w 1168831"/>
                  <a:gd name="connsiteY696" fmla="*/ 178643 h 1109282"/>
                  <a:gd name="connsiteX697" fmla="*/ 869426 w 1168831"/>
                  <a:gd name="connsiteY697" fmla="*/ 178340 h 1109282"/>
                  <a:gd name="connsiteX698" fmla="*/ 870790 w 1168831"/>
                  <a:gd name="connsiteY698" fmla="*/ 179097 h 1109282"/>
                  <a:gd name="connsiteX699" fmla="*/ 869275 w 1168831"/>
                  <a:gd name="connsiteY699" fmla="*/ 181370 h 1109282"/>
                  <a:gd name="connsiteX700" fmla="*/ 862759 w 1168831"/>
                  <a:gd name="connsiteY700" fmla="*/ 185461 h 1109282"/>
                  <a:gd name="connsiteX701" fmla="*/ 863971 w 1168831"/>
                  <a:gd name="connsiteY701" fmla="*/ 189552 h 1109282"/>
                  <a:gd name="connsiteX702" fmla="*/ 863517 w 1168831"/>
                  <a:gd name="connsiteY702" fmla="*/ 191219 h 1109282"/>
                  <a:gd name="connsiteX703" fmla="*/ 862305 w 1168831"/>
                  <a:gd name="connsiteY703" fmla="*/ 192128 h 1109282"/>
                  <a:gd name="connsiteX704" fmla="*/ 865790 w 1168831"/>
                  <a:gd name="connsiteY704" fmla="*/ 195007 h 1109282"/>
                  <a:gd name="connsiteX705" fmla="*/ 872608 w 1168831"/>
                  <a:gd name="connsiteY705" fmla="*/ 194401 h 1109282"/>
                  <a:gd name="connsiteX706" fmla="*/ 875335 w 1168831"/>
                  <a:gd name="connsiteY706" fmla="*/ 192280 h 1109282"/>
                  <a:gd name="connsiteX707" fmla="*/ 878063 w 1168831"/>
                  <a:gd name="connsiteY707" fmla="*/ 189401 h 1109282"/>
                  <a:gd name="connsiteX708" fmla="*/ 880942 w 1168831"/>
                  <a:gd name="connsiteY708" fmla="*/ 188037 h 1109282"/>
                  <a:gd name="connsiteX709" fmla="*/ 888518 w 1168831"/>
                  <a:gd name="connsiteY709" fmla="*/ 188340 h 1109282"/>
                  <a:gd name="connsiteX710" fmla="*/ 891852 w 1168831"/>
                  <a:gd name="connsiteY710" fmla="*/ 187128 h 1109282"/>
                  <a:gd name="connsiteX711" fmla="*/ 898215 w 1168831"/>
                  <a:gd name="connsiteY711" fmla="*/ 183643 h 1109282"/>
                  <a:gd name="connsiteX712" fmla="*/ 901094 w 1168831"/>
                  <a:gd name="connsiteY712" fmla="*/ 181522 h 1109282"/>
                  <a:gd name="connsiteX713" fmla="*/ 904276 w 1168831"/>
                  <a:gd name="connsiteY713" fmla="*/ 178037 h 1109282"/>
                  <a:gd name="connsiteX714" fmla="*/ 907155 w 1168831"/>
                  <a:gd name="connsiteY714" fmla="*/ 173794 h 1109282"/>
                  <a:gd name="connsiteX715" fmla="*/ 908973 w 1168831"/>
                  <a:gd name="connsiteY715" fmla="*/ 172128 h 1109282"/>
                  <a:gd name="connsiteX716" fmla="*/ 930337 w 1168831"/>
                  <a:gd name="connsiteY716" fmla="*/ 166218 h 1109282"/>
                  <a:gd name="connsiteX717" fmla="*/ 956248 w 1168831"/>
                  <a:gd name="connsiteY717" fmla="*/ 527443 h 1109282"/>
                  <a:gd name="connsiteX718" fmla="*/ 948975 w 1168831"/>
                  <a:gd name="connsiteY718" fmla="*/ 525474 h 1109282"/>
                  <a:gd name="connsiteX719" fmla="*/ 944580 w 1168831"/>
                  <a:gd name="connsiteY719" fmla="*/ 527747 h 1109282"/>
                  <a:gd name="connsiteX720" fmla="*/ 941550 w 1168831"/>
                  <a:gd name="connsiteY720" fmla="*/ 530019 h 1109282"/>
                  <a:gd name="connsiteX721" fmla="*/ 941550 w 1168831"/>
                  <a:gd name="connsiteY721" fmla="*/ 530928 h 1109282"/>
                  <a:gd name="connsiteX722" fmla="*/ 946096 w 1168831"/>
                  <a:gd name="connsiteY722" fmla="*/ 531686 h 1109282"/>
                  <a:gd name="connsiteX723" fmla="*/ 948823 w 1168831"/>
                  <a:gd name="connsiteY723" fmla="*/ 534565 h 1109282"/>
                  <a:gd name="connsiteX724" fmla="*/ 953672 w 1168831"/>
                  <a:gd name="connsiteY724" fmla="*/ 534868 h 1109282"/>
                  <a:gd name="connsiteX725" fmla="*/ 954581 w 1168831"/>
                  <a:gd name="connsiteY725" fmla="*/ 534413 h 1109282"/>
                  <a:gd name="connsiteX726" fmla="*/ 960339 w 1168831"/>
                  <a:gd name="connsiteY726" fmla="*/ 533807 h 1109282"/>
                  <a:gd name="connsiteX727" fmla="*/ 963975 w 1168831"/>
                  <a:gd name="connsiteY727" fmla="*/ 532747 h 1109282"/>
                  <a:gd name="connsiteX728" fmla="*/ 964278 w 1168831"/>
                  <a:gd name="connsiteY728" fmla="*/ 530625 h 1109282"/>
                  <a:gd name="connsiteX729" fmla="*/ 962309 w 1168831"/>
                  <a:gd name="connsiteY729" fmla="*/ 530928 h 1109282"/>
                  <a:gd name="connsiteX730" fmla="*/ 958672 w 1168831"/>
                  <a:gd name="connsiteY730" fmla="*/ 527292 h 1109282"/>
                  <a:gd name="connsiteX731" fmla="*/ 956248 w 1168831"/>
                  <a:gd name="connsiteY731" fmla="*/ 527443 h 1109282"/>
                  <a:gd name="connsiteX732" fmla="*/ 972764 w 1168831"/>
                  <a:gd name="connsiteY732" fmla="*/ 103186 h 1109282"/>
                  <a:gd name="connsiteX733" fmla="*/ 971400 w 1168831"/>
                  <a:gd name="connsiteY733" fmla="*/ 104701 h 1109282"/>
                  <a:gd name="connsiteX734" fmla="*/ 972764 w 1168831"/>
                  <a:gd name="connsiteY734" fmla="*/ 108640 h 1109282"/>
                  <a:gd name="connsiteX735" fmla="*/ 980188 w 1168831"/>
                  <a:gd name="connsiteY735" fmla="*/ 113034 h 1109282"/>
                  <a:gd name="connsiteX736" fmla="*/ 984128 w 1168831"/>
                  <a:gd name="connsiteY736" fmla="*/ 112883 h 1109282"/>
                  <a:gd name="connsiteX737" fmla="*/ 987764 w 1168831"/>
                  <a:gd name="connsiteY737" fmla="*/ 110004 h 1109282"/>
                  <a:gd name="connsiteX738" fmla="*/ 981703 w 1168831"/>
                  <a:gd name="connsiteY738" fmla="*/ 108337 h 1109282"/>
                  <a:gd name="connsiteX739" fmla="*/ 976097 w 1168831"/>
                  <a:gd name="connsiteY739" fmla="*/ 103034 h 1109282"/>
                  <a:gd name="connsiteX740" fmla="*/ 972764 w 1168831"/>
                  <a:gd name="connsiteY740" fmla="*/ 103186 h 1109282"/>
                  <a:gd name="connsiteX741" fmla="*/ 788211 w 1168831"/>
                  <a:gd name="connsiteY741" fmla="*/ 574112 h 1109282"/>
                  <a:gd name="connsiteX742" fmla="*/ 789120 w 1168831"/>
                  <a:gd name="connsiteY742" fmla="*/ 576839 h 1109282"/>
                  <a:gd name="connsiteX743" fmla="*/ 790030 w 1168831"/>
                  <a:gd name="connsiteY743" fmla="*/ 578506 h 1109282"/>
                  <a:gd name="connsiteX744" fmla="*/ 793211 w 1168831"/>
                  <a:gd name="connsiteY744" fmla="*/ 578961 h 1109282"/>
                  <a:gd name="connsiteX745" fmla="*/ 796241 w 1168831"/>
                  <a:gd name="connsiteY745" fmla="*/ 578506 h 1109282"/>
                  <a:gd name="connsiteX746" fmla="*/ 798515 w 1168831"/>
                  <a:gd name="connsiteY746" fmla="*/ 577294 h 1109282"/>
                  <a:gd name="connsiteX747" fmla="*/ 798363 w 1168831"/>
                  <a:gd name="connsiteY747" fmla="*/ 575930 h 1109282"/>
                  <a:gd name="connsiteX748" fmla="*/ 795939 w 1168831"/>
                  <a:gd name="connsiteY748" fmla="*/ 574869 h 1109282"/>
                  <a:gd name="connsiteX749" fmla="*/ 793666 w 1168831"/>
                  <a:gd name="connsiteY749" fmla="*/ 572294 h 1109282"/>
                  <a:gd name="connsiteX750" fmla="*/ 792453 w 1168831"/>
                  <a:gd name="connsiteY750" fmla="*/ 571839 h 1109282"/>
                  <a:gd name="connsiteX751" fmla="*/ 791090 w 1168831"/>
                  <a:gd name="connsiteY751" fmla="*/ 572142 h 1109282"/>
                  <a:gd name="connsiteX752" fmla="*/ 789726 w 1168831"/>
                  <a:gd name="connsiteY752" fmla="*/ 571536 h 1109282"/>
                  <a:gd name="connsiteX753" fmla="*/ 787453 w 1168831"/>
                  <a:gd name="connsiteY753" fmla="*/ 568657 h 1109282"/>
                  <a:gd name="connsiteX754" fmla="*/ 785181 w 1168831"/>
                  <a:gd name="connsiteY754" fmla="*/ 568960 h 1109282"/>
                  <a:gd name="connsiteX755" fmla="*/ 785635 w 1168831"/>
                  <a:gd name="connsiteY755" fmla="*/ 571233 h 1109282"/>
                  <a:gd name="connsiteX756" fmla="*/ 788211 w 1168831"/>
                  <a:gd name="connsiteY756" fmla="*/ 574112 h 1109282"/>
                  <a:gd name="connsiteX757" fmla="*/ 385014 w 1168831"/>
                  <a:gd name="connsiteY757" fmla="*/ 981551 h 1109282"/>
                  <a:gd name="connsiteX758" fmla="*/ 383499 w 1168831"/>
                  <a:gd name="connsiteY758" fmla="*/ 979430 h 1109282"/>
                  <a:gd name="connsiteX759" fmla="*/ 381984 w 1168831"/>
                  <a:gd name="connsiteY759" fmla="*/ 979733 h 1109282"/>
                  <a:gd name="connsiteX760" fmla="*/ 380923 w 1168831"/>
                  <a:gd name="connsiteY760" fmla="*/ 980339 h 1109282"/>
                  <a:gd name="connsiteX761" fmla="*/ 380166 w 1168831"/>
                  <a:gd name="connsiteY761" fmla="*/ 984278 h 1109282"/>
                  <a:gd name="connsiteX762" fmla="*/ 382135 w 1168831"/>
                  <a:gd name="connsiteY762" fmla="*/ 984733 h 1109282"/>
                  <a:gd name="connsiteX763" fmla="*/ 384560 w 1168831"/>
                  <a:gd name="connsiteY763" fmla="*/ 984278 h 1109282"/>
                  <a:gd name="connsiteX764" fmla="*/ 385014 w 1168831"/>
                  <a:gd name="connsiteY764" fmla="*/ 981551 h 1109282"/>
                  <a:gd name="connsiteX765" fmla="*/ 20607 w 1168831"/>
                  <a:gd name="connsiteY765" fmla="*/ 525625 h 1109282"/>
                  <a:gd name="connsiteX766" fmla="*/ 15758 w 1168831"/>
                  <a:gd name="connsiteY766" fmla="*/ 531080 h 1109282"/>
                  <a:gd name="connsiteX767" fmla="*/ 3636 w 1168831"/>
                  <a:gd name="connsiteY767" fmla="*/ 536838 h 1109282"/>
                  <a:gd name="connsiteX768" fmla="*/ 0 w 1168831"/>
                  <a:gd name="connsiteY768" fmla="*/ 539868 h 1109282"/>
                  <a:gd name="connsiteX769" fmla="*/ 1515 w 1168831"/>
                  <a:gd name="connsiteY769" fmla="*/ 540929 h 1109282"/>
                  <a:gd name="connsiteX770" fmla="*/ 4091 w 1168831"/>
                  <a:gd name="connsiteY770" fmla="*/ 540626 h 1109282"/>
                  <a:gd name="connsiteX771" fmla="*/ 12728 w 1168831"/>
                  <a:gd name="connsiteY771" fmla="*/ 535626 h 1109282"/>
                  <a:gd name="connsiteX772" fmla="*/ 21819 w 1168831"/>
                  <a:gd name="connsiteY772" fmla="*/ 533656 h 1109282"/>
                  <a:gd name="connsiteX773" fmla="*/ 30001 w 1168831"/>
                  <a:gd name="connsiteY773" fmla="*/ 530625 h 1109282"/>
                  <a:gd name="connsiteX774" fmla="*/ 30607 w 1168831"/>
                  <a:gd name="connsiteY774" fmla="*/ 526837 h 1109282"/>
                  <a:gd name="connsiteX775" fmla="*/ 30001 w 1168831"/>
                  <a:gd name="connsiteY775" fmla="*/ 523807 h 1109282"/>
                  <a:gd name="connsiteX776" fmla="*/ 20607 w 1168831"/>
                  <a:gd name="connsiteY776" fmla="*/ 525625 h 1109282"/>
                  <a:gd name="connsiteX777" fmla="*/ 387135 w 1168831"/>
                  <a:gd name="connsiteY777" fmla="*/ 1013067 h 1109282"/>
                  <a:gd name="connsiteX778" fmla="*/ 385469 w 1168831"/>
                  <a:gd name="connsiteY778" fmla="*/ 1010491 h 1109282"/>
                  <a:gd name="connsiteX779" fmla="*/ 384560 w 1168831"/>
                  <a:gd name="connsiteY779" fmla="*/ 1010643 h 1109282"/>
                  <a:gd name="connsiteX780" fmla="*/ 383802 w 1168831"/>
                  <a:gd name="connsiteY780" fmla="*/ 1012158 h 1109282"/>
                  <a:gd name="connsiteX781" fmla="*/ 384408 w 1168831"/>
                  <a:gd name="connsiteY781" fmla="*/ 1015037 h 1109282"/>
                  <a:gd name="connsiteX782" fmla="*/ 384257 w 1168831"/>
                  <a:gd name="connsiteY782" fmla="*/ 1017764 h 1109282"/>
                  <a:gd name="connsiteX783" fmla="*/ 384560 w 1168831"/>
                  <a:gd name="connsiteY783" fmla="*/ 1018977 h 1109282"/>
                  <a:gd name="connsiteX784" fmla="*/ 385621 w 1168831"/>
                  <a:gd name="connsiteY784" fmla="*/ 1020795 h 1109282"/>
                  <a:gd name="connsiteX785" fmla="*/ 388196 w 1168831"/>
                  <a:gd name="connsiteY785" fmla="*/ 1021098 h 1109282"/>
                  <a:gd name="connsiteX786" fmla="*/ 388045 w 1168831"/>
                  <a:gd name="connsiteY786" fmla="*/ 1016249 h 1109282"/>
                  <a:gd name="connsiteX787" fmla="*/ 387135 w 1168831"/>
                  <a:gd name="connsiteY787" fmla="*/ 1013067 h 1109282"/>
                  <a:gd name="connsiteX788" fmla="*/ 464714 w 1168831"/>
                  <a:gd name="connsiteY788" fmla="*/ 888063 h 1109282"/>
                  <a:gd name="connsiteX789" fmla="*/ 467896 w 1168831"/>
                  <a:gd name="connsiteY789" fmla="*/ 888669 h 1109282"/>
                  <a:gd name="connsiteX790" fmla="*/ 470623 w 1168831"/>
                  <a:gd name="connsiteY790" fmla="*/ 888669 h 1109282"/>
                  <a:gd name="connsiteX791" fmla="*/ 471684 w 1168831"/>
                  <a:gd name="connsiteY791" fmla="*/ 887457 h 1109282"/>
                  <a:gd name="connsiteX792" fmla="*/ 471533 w 1168831"/>
                  <a:gd name="connsiteY792" fmla="*/ 884578 h 1109282"/>
                  <a:gd name="connsiteX793" fmla="*/ 469866 w 1168831"/>
                  <a:gd name="connsiteY793" fmla="*/ 882911 h 1109282"/>
                  <a:gd name="connsiteX794" fmla="*/ 466229 w 1168831"/>
                  <a:gd name="connsiteY794" fmla="*/ 883820 h 1109282"/>
                  <a:gd name="connsiteX795" fmla="*/ 462593 w 1168831"/>
                  <a:gd name="connsiteY795" fmla="*/ 885335 h 1109282"/>
                  <a:gd name="connsiteX796" fmla="*/ 462896 w 1168831"/>
                  <a:gd name="connsiteY796" fmla="*/ 886547 h 1109282"/>
                  <a:gd name="connsiteX797" fmla="*/ 464714 w 1168831"/>
                  <a:gd name="connsiteY797" fmla="*/ 888063 h 1109282"/>
                  <a:gd name="connsiteX798" fmla="*/ 1086101 w 1168831"/>
                  <a:gd name="connsiteY798" fmla="*/ 556384 h 1109282"/>
                  <a:gd name="connsiteX799" fmla="*/ 1081404 w 1168831"/>
                  <a:gd name="connsiteY799" fmla="*/ 555172 h 1109282"/>
                  <a:gd name="connsiteX800" fmla="*/ 1075646 w 1168831"/>
                  <a:gd name="connsiteY800" fmla="*/ 555323 h 1109282"/>
                  <a:gd name="connsiteX801" fmla="*/ 1075343 w 1168831"/>
                  <a:gd name="connsiteY801" fmla="*/ 554414 h 1109282"/>
                  <a:gd name="connsiteX802" fmla="*/ 1076252 w 1168831"/>
                  <a:gd name="connsiteY802" fmla="*/ 551384 h 1109282"/>
                  <a:gd name="connsiteX803" fmla="*/ 1071555 w 1168831"/>
                  <a:gd name="connsiteY803" fmla="*/ 547293 h 1109282"/>
                  <a:gd name="connsiteX804" fmla="*/ 1068676 w 1168831"/>
                  <a:gd name="connsiteY804" fmla="*/ 547747 h 1109282"/>
                  <a:gd name="connsiteX805" fmla="*/ 1064282 w 1168831"/>
                  <a:gd name="connsiteY805" fmla="*/ 550323 h 1109282"/>
                  <a:gd name="connsiteX806" fmla="*/ 1062615 w 1168831"/>
                  <a:gd name="connsiteY806" fmla="*/ 550172 h 1109282"/>
                  <a:gd name="connsiteX807" fmla="*/ 1062161 w 1168831"/>
                  <a:gd name="connsiteY807" fmla="*/ 549111 h 1109282"/>
                  <a:gd name="connsiteX808" fmla="*/ 1059888 w 1168831"/>
                  <a:gd name="connsiteY808" fmla="*/ 547293 h 1109282"/>
                  <a:gd name="connsiteX809" fmla="*/ 1053221 w 1168831"/>
                  <a:gd name="connsiteY809" fmla="*/ 545777 h 1109282"/>
                  <a:gd name="connsiteX810" fmla="*/ 1051100 w 1168831"/>
                  <a:gd name="connsiteY810" fmla="*/ 544414 h 1109282"/>
                  <a:gd name="connsiteX811" fmla="*/ 1048221 w 1168831"/>
                  <a:gd name="connsiteY811" fmla="*/ 540929 h 1109282"/>
                  <a:gd name="connsiteX812" fmla="*/ 1045039 w 1168831"/>
                  <a:gd name="connsiteY812" fmla="*/ 539414 h 1109282"/>
                  <a:gd name="connsiteX813" fmla="*/ 1037614 w 1168831"/>
                  <a:gd name="connsiteY813" fmla="*/ 539262 h 1109282"/>
                  <a:gd name="connsiteX814" fmla="*/ 1035341 w 1168831"/>
                  <a:gd name="connsiteY814" fmla="*/ 540323 h 1109282"/>
                  <a:gd name="connsiteX815" fmla="*/ 1031553 w 1168831"/>
                  <a:gd name="connsiteY815" fmla="*/ 544414 h 1109282"/>
                  <a:gd name="connsiteX816" fmla="*/ 1028220 w 1168831"/>
                  <a:gd name="connsiteY816" fmla="*/ 551384 h 1109282"/>
                  <a:gd name="connsiteX817" fmla="*/ 1026856 w 1168831"/>
                  <a:gd name="connsiteY817" fmla="*/ 557142 h 1109282"/>
                  <a:gd name="connsiteX818" fmla="*/ 1023371 w 1168831"/>
                  <a:gd name="connsiteY818" fmla="*/ 560020 h 1109282"/>
                  <a:gd name="connsiteX819" fmla="*/ 1022614 w 1168831"/>
                  <a:gd name="connsiteY819" fmla="*/ 561990 h 1109282"/>
                  <a:gd name="connsiteX820" fmla="*/ 1020189 w 1168831"/>
                  <a:gd name="connsiteY820" fmla="*/ 569566 h 1109282"/>
                  <a:gd name="connsiteX821" fmla="*/ 1019432 w 1168831"/>
                  <a:gd name="connsiteY821" fmla="*/ 567597 h 1109282"/>
                  <a:gd name="connsiteX822" fmla="*/ 1019432 w 1168831"/>
                  <a:gd name="connsiteY822" fmla="*/ 563960 h 1109282"/>
                  <a:gd name="connsiteX823" fmla="*/ 1020189 w 1168831"/>
                  <a:gd name="connsiteY823" fmla="*/ 560020 h 1109282"/>
                  <a:gd name="connsiteX824" fmla="*/ 1020493 w 1168831"/>
                  <a:gd name="connsiteY824" fmla="*/ 553202 h 1109282"/>
                  <a:gd name="connsiteX825" fmla="*/ 1022311 w 1168831"/>
                  <a:gd name="connsiteY825" fmla="*/ 548656 h 1109282"/>
                  <a:gd name="connsiteX826" fmla="*/ 1020795 w 1168831"/>
                  <a:gd name="connsiteY826" fmla="*/ 546838 h 1109282"/>
                  <a:gd name="connsiteX827" fmla="*/ 1014886 w 1168831"/>
                  <a:gd name="connsiteY827" fmla="*/ 548808 h 1109282"/>
                  <a:gd name="connsiteX828" fmla="*/ 1012159 w 1168831"/>
                  <a:gd name="connsiteY828" fmla="*/ 548202 h 1109282"/>
                  <a:gd name="connsiteX829" fmla="*/ 1013674 w 1168831"/>
                  <a:gd name="connsiteY829" fmla="*/ 546232 h 1109282"/>
                  <a:gd name="connsiteX830" fmla="*/ 1022462 w 1168831"/>
                  <a:gd name="connsiteY830" fmla="*/ 542293 h 1109282"/>
                  <a:gd name="connsiteX831" fmla="*/ 1023977 w 1168831"/>
                  <a:gd name="connsiteY831" fmla="*/ 540929 h 1109282"/>
                  <a:gd name="connsiteX832" fmla="*/ 1025492 w 1168831"/>
                  <a:gd name="connsiteY832" fmla="*/ 538656 h 1109282"/>
                  <a:gd name="connsiteX833" fmla="*/ 1025796 w 1168831"/>
                  <a:gd name="connsiteY833" fmla="*/ 533353 h 1109282"/>
                  <a:gd name="connsiteX834" fmla="*/ 1018977 w 1168831"/>
                  <a:gd name="connsiteY834" fmla="*/ 530019 h 1109282"/>
                  <a:gd name="connsiteX835" fmla="*/ 1010038 w 1168831"/>
                  <a:gd name="connsiteY835" fmla="*/ 529262 h 1109282"/>
                  <a:gd name="connsiteX836" fmla="*/ 1007765 w 1168831"/>
                  <a:gd name="connsiteY836" fmla="*/ 528201 h 1109282"/>
                  <a:gd name="connsiteX837" fmla="*/ 1003977 w 1168831"/>
                  <a:gd name="connsiteY837" fmla="*/ 527747 h 1109282"/>
                  <a:gd name="connsiteX838" fmla="*/ 996704 w 1168831"/>
                  <a:gd name="connsiteY838" fmla="*/ 532898 h 1109282"/>
                  <a:gd name="connsiteX839" fmla="*/ 994128 w 1168831"/>
                  <a:gd name="connsiteY839" fmla="*/ 535323 h 1109282"/>
                  <a:gd name="connsiteX840" fmla="*/ 995037 w 1168831"/>
                  <a:gd name="connsiteY840" fmla="*/ 537141 h 1109282"/>
                  <a:gd name="connsiteX841" fmla="*/ 1002916 w 1168831"/>
                  <a:gd name="connsiteY841" fmla="*/ 541232 h 1109282"/>
                  <a:gd name="connsiteX842" fmla="*/ 1002613 w 1168831"/>
                  <a:gd name="connsiteY842" fmla="*/ 542444 h 1109282"/>
                  <a:gd name="connsiteX843" fmla="*/ 996097 w 1168831"/>
                  <a:gd name="connsiteY843" fmla="*/ 542444 h 1109282"/>
                  <a:gd name="connsiteX844" fmla="*/ 992613 w 1168831"/>
                  <a:gd name="connsiteY844" fmla="*/ 545474 h 1109282"/>
                  <a:gd name="connsiteX845" fmla="*/ 991552 w 1168831"/>
                  <a:gd name="connsiteY845" fmla="*/ 548656 h 1109282"/>
                  <a:gd name="connsiteX846" fmla="*/ 989430 w 1168831"/>
                  <a:gd name="connsiteY846" fmla="*/ 552293 h 1109282"/>
                  <a:gd name="connsiteX847" fmla="*/ 987158 w 1168831"/>
                  <a:gd name="connsiteY847" fmla="*/ 557142 h 1109282"/>
                  <a:gd name="connsiteX848" fmla="*/ 978370 w 1168831"/>
                  <a:gd name="connsiteY848" fmla="*/ 561536 h 1109282"/>
                  <a:gd name="connsiteX849" fmla="*/ 976097 w 1168831"/>
                  <a:gd name="connsiteY849" fmla="*/ 562142 h 1109282"/>
                  <a:gd name="connsiteX850" fmla="*/ 976097 w 1168831"/>
                  <a:gd name="connsiteY850" fmla="*/ 560020 h 1109282"/>
                  <a:gd name="connsiteX851" fmla="*/ 976552 w 1168831"/>
                  <a:gd name="connsiteY851" fmla="*/ 557596 h 1109282"/>
                  <a:gd name="connsiteX852" fmla="*/ 977309 w 1168831"/>
                  <a:gd name="connsiteY852" fmla="*/ 555172 h 1109282"/>
                  <a:gd name="connsiteX853" fmla="*/ 977764 w 1168831"/>
                  <a:gd name="connsiteY853" fmla="*/ 550929 h 1109282"/>
                  <a:gd name="connsiteX854" fmla="*/ 975339 w 1168831"/>
                  <a:gd name="connsiteY854" fmla="*/ 549263 h 1109282"/>
                  <a:gd name="connsiteX855" fmla="*/ 978521 w 1168831"/>
                  <a:gd name="connsiteY855" fmla="*/ 545626 h 1109282"/>
                  <a:gd name="connsiteX856" fmla="*/ 980188 w 1168831"/>
                  <a:gd name="connsiteY856" fmla="*/ 540020 h 1109282"/>
                  <a:gd name="connsiteX857" fmla="*/ 978218 w 1168831"/>
                  <a:gd name="connsiteY857" fmla="*/ 535777 h 1109282"/>
                  <a:gd name="connsiteX858" fmla="*/ 973976 w 1168831"/>
                  <a:gd name="connsiteY858" fmla="*/ 537141 h 1109282"/>
                  <a:gd name="connsiteX859" fmla="*/ 966399 w 1168831"/>
                  <a:gd name="connsiteY859" fmla="*/ 543656 h 1109282"/>
                  <a:gd name="connsiteX860" fmla="*/ 959733 w 1168831"/>
                  <a:gd name="connsiteY860" fmla="*/ 551535 h 1109282"/>
                  <a:gd name="connsiteX861" fmla="*/ 945641 w 1168831"/>
                  <a:gd name="connsiteY861" fmla="*/ 565627 h 1109282"/>
                  <a:gd name="connsiteX862" fmla="*/ 944278 w 1168831"/>
                  <a:gd name="connsiteY862" fmla="*/ 570778 h 1109282"/>
                  <a:gd name="connsiteX863" fmla="*/ 938671 w 1168831"/>
                  <a:gd name="connsiteY863" fmla="*/ 575627 h 1109282"/>
                  <a:gd name="connsiteX864" fmla="*/ 934125 w 1168831"/>
                  <a:gd name="connsiteY864" fmla="*/ 576991 h 1109282"/>
                  <a:gd name="connsiteX865" fmla="*/ 932459 w 1168831"/>
                  <a:gd name="connsiteY865" fmla="*/ 575324 h 1109282"/>
                  <a:gd name="connsiteX866" fmla="*/ 932762 w 1168831"/>
                  <a:gd name="connsiteY866" fmla="*/ 571688 h 1109282"/>
                  <a:gd name="connsiteX867" fmla="*/ 936853 w 1168831"/>
                  <a:gd name="connsiteY867" fmla="*/ 566536 h 1109282"/>
                  <a:gd name="connsiteX868" fmla="*/ 938520 w 1168831"/>
                  <a:gd name="connsiteY868" fmla="*/ 558354 h 1109282"/>
                  <a:gd name="connsiteX869" fmla="*/ 940338 w 1168831"/>
                  <a:gd name="connsiteY869" fmla="*/ 555172 h 1109282"/>
                  <a:gd name="connsiteX870" fmla="*/ 945641 w 1168831"/>
                  <a:gd name="connsiteY870" fmla="*/ 549263 h 1109282"/>
                  <a:gd name="connsiteX871" fmla="*/ 951096 w 1168831"/>
                  <a:gd name="connsiteY871" fmla="*/ 543959 h 1109282"/>
                  <a:gd name="connsiteX872" fmla="*/ 954278 w 1168831"/>
                  <a:gd name="connsiteY872" fmla="*/ 541989 h 1109282"/>
                  <a:gd name="connsiteX873" fmla="*/ 953975 w 1168831"/>
                  <a:gd name="connsiteY873" fmla="*/ 540171 h 1109282"/>
                  <a:gd name="connsiteX874" fmla="*/ 952460 w 1168831"/>
                  <a:gd name="connsiteY874" fmla="*/ 539414 h 1109282"/>
                  <a:gd name="connsiteX875" fmla="*/ 950793 w 1168831"/>
                  <a:gd name="connsiteY875" fmla="*/ 539262 h 1109282"/>
                  <a:gd name="connsiteX876" fmla="*/ 948672 w 1168831"/>
                  <a:gd name="connsiteY876" fmla="*/ 537898 h 1109282"/>
                  <a:gd name="connsiteX877" fmla="*/ 945035 w 1168831"/>
                  <a:gd name="connsiteY877" fmla="*/ 537292 h 1109282"/>
                  <a:gd name="connsiteX878" fmla="*/ 943368 w 1168831"/>
                  <a:gd name="connsiteY878" fmla="*/ 538353 h 1109282"/>
                  <a:gd name="connsiteX879" fmla="*/ 942005 w 1168831"/>
                  <a:gd name="connsiteY879" fmla="*/ 540474 h 1109282"/>
                  <a:gd name="connsiteX880" fmla="*/ 940338 w 1168831"/>
                  <a:gd name="connsiteY880" fmla="*/ 540777 h 1109282"/>
                  <a:gd name="connsiteX881" fmla="*/ 937762 w 1168831"/>
                  <a:gd name="connsiteY881" fmla="*/ 539414 h 1109282"/>
                  <a:gd name="connsiteX882" fmla="*/ 934277 w 1168831"/>
                  <a:gd name="connsiteY882" fmla="*/ 536535 h 1109282"/>
                  <a:gd name="connsiteX883" fmla="*/ 928519 w 1168831"/>
                  <a:gd name="connsiteY883" fmla="*/ 534110 h 1109282"/>
                  <a:gd name="connsiteX884" fmla="*/ 926701 w 1168831"/>
                  <a:gd name="connsiteY884" fmla="*/ 532595 h 1109282"/>
                  <a:gd name="connsiteX885" fmla="*/ 923822 w 1168831"/>
                  <a:gd name="connsiteY885" fmla="*/ 532898 h 1109282"/>
                  <a:gd name="connsiteX886" fmla="*/ 917913 w 1168831"/>
                  <a:gd name="connsiteY886" fmla="*/ 538353 h 1109282"/>
                  <a:gd name="connsiteX887" fmla="*/ 913064 w 1168831"/>
                  <a:gd name="connsiteY887" fmla="*/ 541686 h 1109282"/>
                  <a:gd name="connsiteX888" fmla="*/ 913216 w 1168831"/>
                  <a:gd name="connsiteY888" fmla="*/ 544414 h 1109282"/>
                  <a:gd name="connsiteX889" fmla="*/ 916852 w 1168831"/>
                  <a:gd name="connsiteY889" fmla="*/ 545777 h 1109282"/>
                  <a:gd name="connsiteX890" fmla="*/ 917307 w 1168831"/>
                  <a:gd name="connsiteY890" fmla="*/ 547899 h 1109282"/>
                  <a:gd name="connsiteX891" fmla="*/ 915489 w 1168831"/>
                  <a:gd name="connsiteY891" fmla="*/ 548202 h 1109282"/>
                  <a:gd name="connsiteX892" fmla="*/ 913519 w 1168831"/>
                  <a:gd name="connsiteY892" fmla="*/ 549869 h 1109282"/>
                  <a:gd name="connsiteX893" fmla="*/ 906700 w 1168831"/>
                  <a:gd name="connsiteY893" fmla="*/ 558657 h 1109282"/>
                  <a:gd name="connsiteX894" fmla="*/ 902761 w 1168831"/>
                  <a:gd name="connsiteY894" fmla="*/ 558960 h 1109282"/>
                  <a:gd name="connsiteX895" fmla="*/ 896245 w 1168831"/>
                  <a:gd name="connsiteY895" fmla="*/ 562899 h 1109282"/>
                  <a:gd name="connsiteX896" fmla="*/ 888518 w 1168831"/>
                  <a:gd name="connsiteY896" fmla="*/ 570475 h 1109282"/>
                  <a:gd name="connsiteX897" fmla="*/ 887154 w 1168831"/>
                  <a:gd name="connsiteY897" fmla="*/ 572445 h 1109282"/>
                  <a:gd name="connsiteX898" fmla="*/ 885942 w 1168831"/>
                  <a:gd name="connsiteY898" fmla="*/ 577445 h 1109282"/>
                  <a:gd name="connsiteX899" fmla="*/ 886548 w 1168831"/>
                  <a:gd name="connsiteY899" fmla="*/ 579415 h 1109282"/>
                  <a:gd name="connsiteX900" fmla="*/ 888973 w 1168831"/>
                  <a:gd name="connsiteY900" fmla="*/ 581536 h 1109282"/>
                  <a:gd name="connsiteX901" fmla="*/ 887760 w 1168831"/>
                  <a:gd name="connsiteY901" fmla="*/ 583355 h 1109282"/>
                  <a:gd name="connsiteX902" fmla="*/ 885185 w 1168831"/>
                  <a:gd name="connsiteY902" fmla="*/ 582900 h 1109282"/>
                  <a:gd name="connsiteX903" fmla="*/ 882911 w 1168831"/>
                  <a:gd name="connsiteY903" fmla="*/ 581082 h 1109282"/>
                  <a:gd name="connsiteX904" fmla="*/ 879275 w 1168831"/>
                  <a:gd name="connsiteY904" fmla="*/ 577445 h 1109282"/>
                  <a:gd name="connsiteX905" fmla="*/ 877457 w 1168831"/>
                  <a:gd name="connsiteY905" fmla="*/ 570778 h 1109282"/>
                  <a:gd name="connsiteX906" fmla="*/ 876244 w 1168831"/>
                  <a:gd name="connsiteY906" fmla="*/ 567445 h 1109282"/>
                  <a:gd name="connsiteX907" fmla="*/ 873821 w 1168831"/>
                  <a:gd name="connsiteY907" fmla="*/ 565627 h 1109282"/>
                  <a:gd name="connsiteX908" fmla="*/ 869275 w 1168831"/>
                  <a:gd name="connsiteY908" fmla="*/ 563960 h 1109282"/>
                  <a:gd name="connsiteX909" fmla="*/ 862002 w 1168831"/>
                  <a:gd name="connsiteY909" fmla="*/ 565778 h 1109282"/>
                  <a:gd name="connsiteX910" fmla="*/ 860941 w 1168831"/>
                  <a:gd name="connsiteY910" fmla="*/ 568809 h 1109282"/>
                  <a:gd name="connsiteX911" fmla="*/ 859274 w 1168831"/>
                  <a:gd name="connsiteY911" fmla="*/ 569415 h 1109282"/>
                  <a:gd name="connsiteX912" fmla="*/ 856395 w 1168831"/>
                  <a:gd name="connsiteY912" fmla="*/ 567142 h 1109282"/>
                  <a:gd name="connsiteX913" fmla="*/ 851850 w 1168831"/>
                  <a:gd name="connsiteY913" fmla="*/ 568809 h 1109282"/>
                  <a:gd name="connsiteX914" fmla="*/ 850183 w 1168831"/>
                  <a:gd name="connsiteY914" fmla="*/ 567900 h 1109282"/>
                  <a:gd name="connsiteX915" fmla="*/ 844274 w 1168831"/>
                  <a:gd name="connsiteY915" fmla="*/ 571081 h 1109282"/>
                  <a:gd name="connsiteX916" fmla="*/ 837607 w 1168831"/>
                  <a:gd name="connsiteY916" fmla="*/ 569718 h 1109282"/>
                  <a:gd name="connsiteX917" fmla="*/ 832607 w 1168831"/>
                  <a:gd name="connsiteY917" fmla="*/ 570930 h 1109282"/>
                  <a:gd name="connsiteX918" fmla="*/ 832304 w 1168831"/>
                  <a:gd name="connsiteY918" fmla="*/ 572142 h 1109282"/>
                  <a:gd name="connsiteX919" fmla="*/ 833819 w 1168831"/>
                  <a:gd name="connsiteY919" fmla="*/ 573809 h 1109282"/>
                  <a:gd name="connsiteX920" fmla="*/ 839425 w 1168831"/>
                  <a:gd name="connsiteY920" fmla="*/ 577597 h 1109282"/>
                  <a:gd name="connsiteX921" fmla="*/ 844728 w 1168831"/>
                  <a:gd name="connsiteY921" fmla="*/ 579112 h 1109282"/>
                  <a:gd name="connsiteX922" fmla="*/ 847153 w 1168831"/>
                  <a:gd name="connsiteY922" fmla="*/ 582142 h 1109282"/>
                  <a:gd name="connsiteX923" fmla="*/ 849425 w 1168831"/>
                  <a:gd name="connsiteY923" fmla="*/ 590476 h 1109282"/>
                  <a:gd name="connsiteX924" fmla="*/ 848213 w 1168831"/>
                  <a:gd name="connsiteY924" fmla="*/ 591385 h 1109282"/>
                  <a:gd name="connsiteX925" fmla="*/ 844122 w 1168831"/>
                  <a:gd name="connsiteY925" fmla="*/ 587900 h 1109282"/>
                  <a:gd name="connsiteX926" fmla="*/ 838970 w 1168831"/>
                  <a:gd name="connsiteY926" fmla="*/ 585476 h 1109282"/>
                  <a:gd name="connsiteX927" fmla="*/ 834728 w 1168831"/>
                  <a:gd name="connsiteY927" fmla="*/ 581839 h 1109282"/>
                  <a:gd name="connsiteX928" fmla="*/ 829879 w 1168831"/>
                  <a:gd name="connsiteY928" fmla="*/ 582294 h 1109282"/>
                  <a:gd name="connsiteX929" fmla="*/ 827455 w 1168831"/>
                  <a:gd name="connsiteY929" fmla="*/ 587900 h 1109282"/>
                  <a:gd name="connsiteX930" fmla="*/ 823818 w 1168831"/>
                  <a:gd name="connsiteY930" fmla="*/ 588052 h 1109282"/>
                  <a:gd name="connsiteX931" fmla="*/ 822152 w 1168831"/>
                  <a:gd name="connsiteY931" fmla="*/ 586688 h 1109282"/>
                  <a:gd name="connsiteX932" fmla="*/ 818515 w 1168831"/>
                  <a:gd name="connsiteY932" fmla="*/ 587143 h 1109282"/>
                  <a:gd name="connsiteX933" fmla="*/ 812606 w 1168831"/>
                  <a:gd name="connsiteY933" fmla="*/ 586840 h 1109282"/>
                  <a:gd name="connsiteX934" fmla="*/ 810484 w 1168831"/>
                  <a:gd name="connsiteY934" fmla="*/ 589870 h 1109282"/>
                  <a:gd name="connsiteX935" fmla="*/ 810182 w 1168831"/>
                  <a:gd name="connsiteY935" fmla="*/ 597598 h 1109282"/>
                  <a:gd name="connsiteX936" fmla="*/ 810939 w 1168831"/>
                  <a:gd name="connsiteY936" fmla="*/ 600476 h 1109282"/>
                  <a:gd name="connsiteX937" fmla="*/ 813667 w 1168831"/>
                  <a:gd name="connsiteY937" fmla="*/ 602749 h 1109282"/>
                  <a:gd name="connsiteX938" fmla="*/ 815939 w 1168831"/>
                  <a:gd name="connsiteY938" fmla="*/ 605174 h 1109282"/>
                  <a:gd name="connsiteX939" fmla="*/ 815788 w 1168831"/>
                  <a:gd name="connsiteY939" fmla="*/ 605780 h 1109282"/>
                  <a:gd name="connsiteX940" fmla="*/ 808818 w 1168831"/>
                  <a:gd name="connsiteY940" fmla="*/ 604719 h 1109282"/>
                  <a:gd name="connsiteX941" fmla="*/ 800939 w 1168831"/>
                  <a:gd name="connsiteY941" fmla="*/ 613053 h 1109282"/>
                  <a:gd name="connsiteX942" fmla="*/ 798515 w 1168831"/>
                  <a:gd name="connsiteY942" fmla="*/ 614416 h 1109282"/>
                  <a:gd name="connsiteX943" fmla="*/ 796999 w 1168831"/>
                  <a:gd name="connsiteY943" fmla="*/ 614871 h 1109282"/>
                  <a:gd name="connsiteX944" fmla="*/ 796696 w 1168831"/>
                  <a:gd name="connsiteY944" fmla="*/ 613810 h 1109282"/>
                  <a:gd name="connsiteX945" fmla="*/ 803060 w 1168831"/>
                  <a:gd name="connsiteY945" fmla="*/ 605022 h 1109282"/>
                  <a:gd name="connsiteX946" fmla="*/ 804727 w 1168831"/>
                  <a:gd name="connsiteY946" fmla="*/ 601083 h 1109282"/>
                  <a:gd name="connsiteX947" fmla="*/ 804575 w 1168831"/>
                  <a:gd name="connsiteY947" fmla="*/ 598204 h 1109282"/>
                  <a:gd name="connsiteX948" fmla="*/ 806091 w 1168831"/>
                  <a:gd name="connsiteY948" fmla="*/ 588961 h 1109282"/>
                  <a:gd name="connsiteX949" fmla="*/ 805182 w 1168831"/>
                  <a:gd name="connsiteY949" fmla="*/ 586234 h 1109282"/>
                  <a:gd name="connsiteX950" fmla="*/ 804272 w 1168831"/>
                  <a:gd name="connsiteY950" fmla="*/ 585021 h 1109282"/>
                  <a:gd name="connsiteX951" fmla="*/ 801545 w 1168831"/>
                  <a:gd name="connsiteY951" fmla="*/ 585930 h 1109282"/>
                  <a:gd name="connsiteX952" fmla="*/ 799424 w 1168831"/>
                  <a:gd name="connsiteY952" fmla="*/ 587446 h 1109282"/>
                  <a:gd name="connsiteX953" fmla="*/ 797302 w 1168831"/>
                  <a:gd name="connsiteY953" fmla="*/ 588052 h 1109282"/>
                  <a:gd name="connsiteX954" fmla="*/ 794272 w 1168831"/>
                  <a:gd name="connsiteY954" fmla="*/ 590931 h 1109282"/>
                  <a:gd name="connsiteX955" fmla="*/ 791696 w 1168831"/>
                  <a:gd name="connsiteY955" fmla="*/ 595931 h 1109282"/>
                  <a:gd name="connsiteX956" fmla="*/ 788211 w 1168831"/>
                  <a:gd name="connsiteY956" fmla="*/ 606537 h 1109282"/>
                  <a:gd name="connsiteX957" fmla="*/ 785635 w 1168831"/>
                  <a:gd name="connsiteY957" fmla="*/ 610477 h 1109282"/>
                  <a:gd name="connsiteX958" fmla="*/ 785635 w 1168831"/>
                  <a:gd name="connsiteY958" fmla="*/ 606537 h 1109282"/>
                  <a:gd name="connsiteX959" fmla="*/ 787151 w 1168831"/>
                  <a:gd name="connsiteY959" fmla="*/ 601234 h 1109282"/>
                  <a:gd name="connsiteX960" fmla="*/ 787908 w 1168831"/>
                  <a:gd name="connsiteY960" fmla="*/ 593052 h 1109282"/>
                  <a:gd name="connsiteX961" fmla="*/ 786999 w 1168831"/>
                  <a:gd name="connsiteY961" fmla="*/ 591991 h 1109282"/>
                  <a:gd name="connsiteX962" fmla="*/ 773665 w 1168831"/>
                  <a:gd name="connsiteY962" fmla="*/ 594719 h 1109282"/>
                  <a:gd name="connsiteX963" fmla="*/ 769271 w 1168831"/>
                  <a:gd name="connsiteY963" fmla="*/ 598961 h 1109282"/>
                  <a:gd name="connsiteX964" fmla="*/ 768513 w 1168831"/>
                  <a:gd name="connsiteY964" fmla="*/ 600780 h 1109282"/>
                  <a:gd name="connsiteX965" fmla="*/ 768362 w 1168831"/>
                  <a:gd name="connsiteY965" fmla="*/ 602598 h 1109282"/>
                  <a:gd name="connsiteX966" fmla="*/ 767907 w 1168831"/>
                  <a:gd name="connsiteY966" fmla="*/ 603961 h 1109282"/>
                  <a:gd name="connsiteX967" fmla="*/ 764877 w 1168831"/>
                  <a:gd name="connsiteY967" fmla="*/ 605780 h 1109282"/>
                  <a:gd name="connsiteX968" fmla="*/ 761695 w 1168831"/>
                  <a:gd name="connsiteY968" fmla="*/ 606083 h 1109282"/>
                  <a:gd name="connsiteX969" fmla="*/ 759119 w 1168831"/>
                  <a:gd name="connsiteY969" fmla="*/ 605931 h 1109282"/>
                  <a:gd name="connsiteX970" fmla="*/ 757452 w 1168831"/>
                  <a:gd name="connsiteY970" fmla="*/ 607446 h 1109282"/>
                  <a:gd name="connsiteX971" fmla="*/ 757756 w 1168831"/>
                  <a:gd name="connsiteY971" fmla="*/ 610174 h 1109282"/>
                  <a:gd name="connsiteX972" fmla="*/ 761240 w 1168831"/>
                  <a:gd name="connsiteY972" fmla="*/ 612901 h 1109282"/>
                  <a:gd name="connsiteX973" fmla="*/ 765786 w 1168831"/>
                  <a:gd name="connsiteY973" fmla="*/ 615022 h 1109282"/>
                  <a:gd name="connsiteX974" fmla="*/ 764271 w 1168831"/>
                  <a:gd name="connsiteY974" fmla="*/ 616083 h 1109282"/>
                  <a:gd name="connsiteX975" fmla="*/ 758361 w 1168831"/>
                  <a:gd name="connsiteY975" fmla="*/ 615780 h 1109282"/>
                  <a:gd name="connsiteX976" fmla="*/ 753968 w 1168831"/>
                  <a:gd name="connsiteY976" fmla="*/ 613659 h 1109282"/>
                  <a:gd name="connsiteX977" fmla="*/ 751089 w 1168831"/>
                  <a:gd name="connsiteY977" fmla="*/ 610022 h 1109282"/>
                  <a:gd name="connsiteX978" fmla="*/ 748816 w 1168831"/>
                  <a:gd name="connsiteY978" fmla="*/ 608356 h 1109282"/>
                  <a:gd name="connsiteX979" fmla="*/ 747907 w 1168831"/>
                  <a:gd name="connsiteY979" fmla="*/ 608507 h 1109282"/>
                  <a:gd name="connsiteX980" fmla="*/ 745937 w 1168831"/>
                  <a:gd name="connsiteY980" fmla="*/ 610325 h 1109282"/>
                  <a:gd name="connsiteX981" fmla="*/ 742906 w 1168831"/>
                  <a:gd name="connsiteY981" fmla="*/ 615477 h 1109282"/>
                  <a:gd name="connsiteX982" fmla="*/ 742755 w 1168831"/>
                  <a:gd name="connsiteY982" fmla="*/ 620023 h 1109282"/>
                  <a:gd name="connsiteX983" fmla="*/ 743967 w 1168831"/>
                  <a:gd name="connsiteY983" fmla="*/ 622447 h 1109282"/>
                  <a:gd name="connsiteX984" fmla="*/ 743513 w 1168831"/>
                  <a:gd name="connsiteY984" fmla="*/ 623659 h 1109282"/>
                  <a:gd name="connsiteX985" fmla="*/ 732603 w 1168831"/>
                  <a:gd name="connsiteY985" fmla="*/ 626386 h 1109282"/>
                  <a:gd name="connsiteX986" fmla="*/ 728209 w 1168831"/>
                  <a:gd name="connsiteY986" fmla="*/ 631084 h 1109282"/>
                  <a:gd name="connsiteX987" fmla="*/ 726694 w 1168831"/>
                  <a:gd name="connsiteY987" fmla="*/ 636993 h 1109282"/>
                  <a:gd name="connsiteX988" fmla="*/ 723966 w 1168831"/>
                  <a:gd name="connsiteY988" fmla="*/ 640781 h 1109282"/>
                  <a:gd name="connsiteX989" fmla="*/ 716845 w 1168831"/>
                  <a:gd name="connsiteY989" fmla="*/ 645781 h 1109282"/>
                  <a:gd name="connsiteX990" fmla="*/ 710027 w 1168831"/>
                  <a:gd name="connsiteY990" fmla="*/ 646236 h 1109282"/>
                  <a:gd name="connsiteX991" fmla="*/ 703663 w 1168831"/>
                  <a:gd name="connsiteY991" fmla="*/ 649115 h 1109282"/>
                  <a:gd name="connsiteX992" fmla="*/ 701693 w 1168831"/>
                  <a:gd name="connsiteY992" fmla="*/ 650630 h 1109282"/>
                  <a:gd name="connsiteX993" fmla="*/ 699875 w 1168831"/>
                  <a:gd name="connsiteY993" fmla="*/ 653509 h 1109282"/>
                  <a:gd name="connsiteX994" fmla="*/ 700177 w 1168831"/>
                  <a:gd name="connsiteY994" fmla="*/ 655478 h 1109282"/>
                  <a:gd name="connsiteX995" fmla="*/ 701844 w 1168831"/>
                  <a:gd name="connsiteY995" fmla="*/ 656691 h 1109282"/>
                  <a:gd name="connsiteX996" fmla="*/ 718663 w 1168831"/>
                  <a:gd name="connsiteY996" fmla="*/ 656994 h 1109282"/>
                  <a:gd name="connsiteX997" fmla="*/ 724724 w 1168831"/>
                  <a:gd name="connsiteY997" fmla="*/ 655933 h 1109282"/>
                  <a:gd name="connsiteX998" fmla="*/ 726239 w 1168831"/>
                  <a:gd name="connsiteY998" fmla="*/ 656236 h 1109282"/>
                  <a:gd name="connsiteX999" fmla="*/ 726845 w 1168831"/>
                  <a:gd name="connsiteY999" fmla="*/ 656842 h 1109282"/>
                  <a:gd name="connsiteX1000" fmla="*/ 728663 w 1168831"/>
                  <a:gd name="connsiteY1000" fmla="*/ 657448 h 1109282"/>
                  <a:gd name="connsiteX1001" fmla="*/ 728209 w 1168831"/>
                  <a:gd name="connsiteY1001" fmla="*/ 658509 h 1109282"/>
                  <a:gd name="connsiteX1002" fmla="*/ 726239 w 1168831"/>
                  <a:gd name="connsiteY1002" fmla="*/ 658509 h 1109282"/>
                  <a:gd name="connsiteX1003" fmla="*/ 722300 w 1168831"/>
                  <a:gd name="connsiteY1003" fmla="*/ 659267 h 1109282"/>
                  <a:gd name="connsiteX1004" fmla="*/ 715633 w 1168831"/>
                  <a:gd name="connsiteY1004" fmla="*/ 661236 h 1109282"/>
                  <a:gd name="connsiteX1005" fmla="*/ 711693 w 1168831"/>
                  <a:gd name="connsiteY1005" fmla="*/ 661842 h 1109282"/>
                  <a:gd name="connsiteX1006" fmla="*/ 709269 w 1168831"/>
                  <a:gd name="connsiteY1006" fmla="*/ 661842 h 1109282"/>
                  <a:gd name="connsiteX1007" fmla="*/ 702602 w 1168831"/>
                  <a:gd name="connsiteY1007" fmla="*/ 659418 h 1109282"/>
                  <a:gd name="connsiteX1008" fmla="*/ 696238 w 1168831"/>
                  <a:gd name="connsiteY1008" fmla="*/ 660176 h 1109282"/>
                  <a:gd name="connsiteX1009" fmla="*/ 691238 w 1168831"/>
                  <a:gd name="connsiteY1009" fmla="*/ 663661 h 1109282"/>
                  <a:gd name="connsiteX1010" fmla="*/ 690480 w 1168831"/>
                  <a:gd name="connsiteY1010" fmla="*/ 665327 h 1109282"/>
                  <a:gd name="connsiteX1011" fmla="*/ 692753 w 1168831"/>
                  <a:gd name="connsiteY1011" fmla="*/ 671843 h 1109282"/>
                  <a:gd name="connsiteX1012" fmla="*/ 694420 w 1168831"/>
                  <a:gd name="connsiteY1012" fmla="*/ 673812 h 1109282"/>
                  <a:gd name="connsiteX1013" fmla="*/ 696389 w 1168831"/>
                  <a:gd name="connsiteY1013" fmla="*/ 674267 h 1109282"/>
                  <a:gd name="connsiteX1014" fmla="*/ 695784 w 1168831"/>
                  <a:gd name="connsiteY1014" fmla="*/ 675631 h 1109282"/>
                  <a:gd name="connsiteX1015" fmla="*/ 694117 w 1168831"/>
                  <a:gd name="connsiteY1015" fmla="*/ 676843 h 1109282"/>
                  <a:gd name="connsiteX1016" fmla="*/ 692753 w 1168831"/>
                  <a:gd name="connsiteY1016" fmla="*/ 678510 h 1109282"/>
                  <a:gd name="connsiteX1017" fmla="*/ 694268 w 1168831"/>
                  <a:gd name="connsiteY1017" fmla="*/ 684116 h 1109282"/>
                  <a:gd name="connsiteX1018" fmla="*/ 692905 w 1168831"/>
                  <a:gd name="connsiteY1018" fmla="*/ 683813 h 1109282"/>
                  <a:gd name="connsiteX1019" fmla="*/ 689117 w 1168831"/>
                  <a:gd name="connsiteY1019" fmla="*/ 677146 h 1109282"/>
                  <a:gd name="connsiteX1020" fmla="*/ 687601 w 1168831"/>
                  <a:gd name="connsiteY1020" fmla="*/ 668964 h 1109282"/>
                  <a:gd name="connsiteX1021" fmla="*/ 686843 w 1168831"/>
                  <a:gd name="connsiteY1021" fmla="*/ 668055 h 1109282"/>
                  <a:gd name="connsiteX1022" fmla="*/ 686086 w 1168831"/>
                  <a:gd name="connsiteY1022" fmla="*/ 667600 h 1109282"/>
                  <a:gd name="connsiteX1023" fmla="*/ 681843 w 1168831"/>
                  <a:gd name="connsiteY1023" fmla="*/ 669873 h 1109282"/>
                  <a:gd name="connsiteX1024" fmla="*/ 676540 w 1168831"/>
                  <a:gd name="connsiteY1024" fmla="*/ 670782 h 1109282"/>
                  <a:gd name="connsiteX1025" fmla="*/ 671843 w 1168831"/>
                  <a:gd name="connsiteY1025" fmla="*/ 673661 h 1109282"/>
                  <a:gd name="connsiteX1026" fmla="*/ 667146 w 1168831"/>
                  <a:gd name="connsiteY1026" fmla="*/ 675328 h 1109282"/>
                  <a:gd name="connsiteX1027" fmla="*/ 666540 w 1168831"/>
                  <a:gd name="connsiteY1027" fmla="*/ 676843 h 1109282"/>
                  <a:gd name="connsiteX1028" fmla="*/ 668358 w 1168831"/>
                  <a:gd name="connsiteY1028" fmla="*/ 678358 h 1109282"/>
                  <a:gd name="connsiteX1029" fmla="*/ 675177 w 1168831"/>
                  <a:gd name="connsiteY1029" fmla="*/ 679116 h 1109282"/>
                  <a:gd name="connsiteX1030" fmla="*/ 675631 w 1168831"/>
                  <a:gd name="connsiteY1030" fmla="*/ 680934 h 1109282"/>
                  <a:gd name="connsiteX1031" fmla="*/ 672449 w 1168831"/>
                  <a:gd name="connsiteY1031" fmla="*/ 681995 h 1109282"/>
                  <a:gd name="connsiteX1032" fmla="*/ 669570 w 1168831"/>
                  <a:gd name="connsiteY1032" fmla="*/ 682298 h 1109282"/>
                  <a:gd name="connsiteX1033" fmla="*/ 666085 w 1168831"/>
                  <a:gd name="connsiteY1033" fmla="*/ 680328 h 1109282"/>
                  <a:gd name="connsiteX1034" fmla="*/ 662297 w 1168831"/>
                  <a:gd name="connsiteY1034" fmla="*/ 679722 h 1109282"/>
                  <a:gd name="connsiteX1035" fmla="*/ 660024 w 1168831"/>
                  <a:gd name="connsiteY1035" fmla="*/ 680479 h 1109282"/>
                  <a:gd name="connsiteX1036" fmla="*/ 653206 w 1168831"/>
                  <a:gd name="connsiteY1036" fmla="*/ 687298 h 1109282"/>
                  <a:gd name="connsiteX1037" fmla="*/ 653812 w 1168831"/>
                  <a:gd name="connsiteY1037" fmla="*/ 690025 h 1109282"/>
                  <a:gd name="connsiteX1038" fmla="*/ 652751 w 1168831"/>
                  <a:gd name="connsiteY1038" fmla="*/ 693510 h 1109282"/>
                  <a:gd name="connsiteX1039" fmla="*/ 654721 w 1168831"/>
                  <a:gd name="connsiteY1039" fmla="*/ 694116 h 1109282"/>
                  <a:gd name="connsiteX1040" fmla="*/ 659873 w 1168831"/>
                  <a:gd name="connsiteY1040" fmla="*/ 693207 h 1109282"/>
                  <a:gd name="connsiteX1041" fmla="*/ 667146 w 1168831"/>
                  <a:gd name="connsiteY1041" fmla="*/ 689268 h 1109282"/>
                  <a:gd name="connsiteX1042" fmla="*/ 668358 w 1168831"/>
                  <a:gd name="connsiteY1042" fmla="*/ 690783 h 1109282"/>
                  <a:gd name="connsiteX1043" fmla="*/ 666691 w 1168831"/>
                  <a:gd name="connsiteY1043" fmla="*/ 691995 h 1109282"/>
                  <a:gd name="connsiteX1044" fmla="*/ 664873 w 1168831"/>
                  <a:gd name="connsiteY1044" fmla="*/ 694419 h 1109282"/>
                  <a:gd name="connsiteX1045" fmla="*/ 665631 w 1168831"/>
                  <a:gd name="connsiteY1045" fmla="*/ 696844 h 1109282"/>
                  <a:gd name="connsiteX1046" fmla="*/ 668510 w 1168831"/>
                  <a:gd name="connsiteY1046" fmla="*/ 699571 h 1109282"/>
                  <a:gd name="connsiteX1047" fmla="*/ 672146 w 1168831"/>
                  <a:gd name="connsiteY1047" fmla="*/ 700935 h 1109282"/>
                  <a:gd name="connsiteX1048" fmla="*/ 676844 w 1168831"/>
                  <a:gd name="connsiteY1048" fmla="*/ 699571 h 1109282"/>
                  <a:gd name="connsiteX1049" fmla="*/ 677601 w 1168831"/>
                  <a:gd name="connsiteY1049" fmla="*/ 700632 h 1109282"/>
                  <a:gd name="connsiteX1050" fmla="*/ 674419 w 1168831"/>
                  <a:gd name="connsiteY1050" fmla="*/ 704268 h 1109282"/>
                  <a:gd name="connsiteX1051" fmla="*/ 674874 w 1168831"/>
                  <a:gd name="connsiteY1051" fmla="*/ 708662 h 1109282"/>
                  <a:gd name="connsiteX1052" fmla="*/ 673813 w 1168831"/>
                  <a:gd name="connsiteY1052" fmla="*/ 708511 h 1109282"/>
                  <a:gd name="connsiteX1053" fmla="*/ 671389 w 1168831"/>
                  <a:gd name="connsiteY1053" fmla="*/ 703965 h 1109282"/>
                  <a:gd name="connsiteX1054" fmla="*/ 669873 w 1168831"/>
                  <a:gd name="connsiteY1054" fmla="*/ 702904 h 1109282"/>
                  <a:gd name="connsiteX1055" fmla="*/ 666540 w 1168831"/>
                  <a:gd name="connsiteY1055" fmla="*/ 702450 h 1109282"/>
                  <a:gd name="connsiteX1056" fmla="*/ 661994 w 1168831"/>
                  <a:gd name="connsiteY1056" fmla="*/ 699116 h 1109282"/>
                  <a:gd name="connsiteX1057" fmla="*/ 657600 w 1168831"/>
                  <a:gd name="connsiteY1057" fmla="*/ 698207 h 1109282"/>
                  <a:gd name="connsiteX1058" fmla="*/ 651994 w 1168831"/>
                  <a:gd name="connsiteY1058" fmla="*/ 701692 h 1109282"/>
                  <a:gd name="connsiteX1059" fmla="*/ 647145 w 1168831"/>
                  <a:gd name="connsiteY1059" fmla="*/ 706996 h 1109282"/>
                  <a:gd name="connsiteX1060" fmla="*/ 645933 w 1168831"/>
                  <a:gd name="connsiteY1060" fmla="*/ 709117 h 1109282"/>
                  <a:gd name="connsiteX1061" fmla="*/ 643509 w 1168831"/>
                  <a:gd name="connsiteY1061" fmla="*/ 711087 h 1109282"/>
                  <a:gd name="connsiteX1062" fmla="*/ 643357 w 1168831"/>
                  <a:gd name="connsiteY1062" fmla="*/ 712299 h 1109282"/>
                  <a:gd name="connsiteX1063" fmla="*/ 644418 w 1168831"/>
                  <a:gd name="connsiteY1063" fmla="*/ 713056 h 1109282"/>
                  <a:gd name="connsiteX1064" fmla="*/ 647145 w 1168831"/>
                  <a:gd name="connsiteY1064" fmla="*/ 712450 h 1109282"/>
                  <a:gd name="connsiteX1065" fmla="*/ 653812 w 1168831"/>
                  <a:gd name="connsiteY1065" fmla="*/ 712450 h 1109282"/>
                  <a:gd name="connsiteX1066" fmla="*/ 666843 w 1168831"/>
                  <a:gd name="connsiteY1066" fmla="*/ 712905 h 1109282"/>
                  <a:gd name="connsiteX1067" fmla="*/ 670479 w 1168831"/>
                  <a:gd name="connsiteY1067" fmla="*/ 713359 h 1109282"/>
                  <a:gd name="connsiteX1068" fmla="*/ 670025 w 1168831"/>
                  <a:gd name="connsiteY1068" fmla="*/ 715481 h 1109282"/>
                  <a:gd name="connsiteX1069" fmla="*/ 652448 w 1168831"/>
                  <a:gd name="connsiteY1069" fmla="*/ 715784 h 1109282"/>
                  <a:gd name="connsiteX1070" fmla="*/ 647600 w 1168831"/>
                  <a:gd name="connsiteY1070" fmla="*/ 716693 h 1109282"/>
                  <a:gd name="connsiteX1071" fmla="*/ 644115 w 1168831"/>
                  <a:gd name="connsiteY1071" fmla="*/ 718208 h 1109282"/>
                  <a:gd name="connsiteX1072" fmla="*/ 640478 w 1168831"/>
                  <a:gd name="connsiteY1072" fmla="*/ 717450 h 1109282"/>
                  <a:gd name="connsiteX1073" fmla="*/ 636842 w 1168831"/>
                  <a:gd name="connsiteY1073" fmla="*/ 719723 h 1109282"/>
                  <a:gd name="connsiteX1074" fmla="*/ 634266 w 1168831"/>
                  <a:gd name="connsiteY1074" fmla="*/ 719420 h 1109282"/>
                  <a:gd name="connsiteX1075" fmla="*/ 631842 w 1168831"/>
                  <a:gd name="connsiteY1075" fmla="*/ 721542 h 1109282"/>
                  <a:gd name="connsiteX1076" fmla="*/ 627902 w 1168831"/>
                  <a:gd name="connsiteY1076" fmla="*/ 726542 h 1109282"/>
                  <a:gd name="connsiteX1077" fmla="*/ 625932 w 1168831"/>
                  <a:gd name="connsiteY1077" fmla="*/ 726693 h 1109282"/>
                  <a:gd name="connsiteX1078" fmla="*/ 623660 w 1168831"/>
                  <a:gd name="connsiteY1078" fmla="*/ 727754 h 1109282"/>
                  <a:gd name="connsiteX1079" fmla="*/ 621538 w 1168831"/>
                  <a:gd name="connsiteY1079" fmla="*/ 729118 h 1109282"/>
                  <a:gd name="connsiteX1080" fmla="*/ 622902 w 1168831"/>
                  <a:gd name="connsiteY1080" fmla="*/ 731693 h 1109282"/>
                  <a:gd name="connsiteX1081" fmla="*/ 628660 w 1168831"/>
                  <a:gd name="connsiteY1081" fmla="*/ 733209 h 1109282"/>
                  <a:gd name="connsiteX1082" fmla="*/ 629872 w 1168831"/>
                  <a:gd name="connsiteY1082" fmla="*/ 734421 h 1109282"/>
                  <a:gd name="connsiteX1083" fmla="*/ 625175 w 1168831"/>
                  <a:gd name="connsiteY1083" fmla="*/ 735027 h 1109282"/>
                  <a:gd name="connsiteX1084" fmla="*/ 620629 w 1168831"/>
                  <a:gd name="connsiteY1084" fmla="*/ 734421 h 1109282"/>
                  <a:gd name="connsiteX1085" fmla="*/ 617902 w 1168831"/>
                  <a:gd name="connsiteY1085" fmla="*/ 736845 h 1109282"/>
                  <a:gd name="connsiteX1086" fmla="*/ 615932 w 1168831"/>
                  <a:gd name="connsiteY1086" fmla="*/ 738057 h 1109282"/>
                  <a:gd name="connsiteX1087" fmla="*/ 613205 w 1168831"/>
                  <a:gd name="connsiteY1087" fmla="*/ 738815 h 1109282"/>
                  <a:gd name="connsiteX1088" fmla="*/ 610477 w 1168831"/>
                  <a:gd name="connsiteY1088" fmla="*/ 741542 h 1109282"/>
                  <a:gd name="connsiteX1089" fmla="*/ 609871 w 1168831"/>
                  <a:gd name="connsiteY1089" fmla="*/ 746239 h 1109282"/>
                  <a:gd name="connsiteX1090" fmla="*/ 607447 w 1168831"/>
                  <a:gd name="connsiteY1090" fmla="*/ 746088 h 1109282"/>
                  <a:gd name="connsiteX1091" fmla="*/ 606386 w 1168831"/>
                  <a:gd name="connsiteY1091" fmla="*/ 751088 h 1109282"/>
                  <a:gd name="connsiteX1092" fmla="*/ 607750 w 1168831"/>
                  <a:gd name="connsiteY1092" fmla="*/ 760179 h 1109282"/>
                  <a:gd name="connsiteX1093" fmla="*/ 614114 w 1168831"/>
                  <a:gd name="connsiteY1093" fmla="*/ 759876 h 1109282"/>
                  <a:gd name="connsiteX1094" fmla="*/ 615932 w 1168831"/>
                  <a:gd name="connsiteY1094" fmla="*/ 759119 h 1109282"/>
                  <a:gd name="connsiteX1095" fmla="*/ 618205 w 1168831"/>
                  <a:gd name="connsiteY1095" fmla="*/ 759119 h 1109282"/>
                  <a:gd name="connsiteX1096" fmla="*/ 623205 w 1168831"/>
                  <a:gd name="connsiteY1096" fmla="*/ 758058 h 1109282"/>
                  <a:gd name="connsiteX1097" fmla="*/ 631236 w 1168831"/>
                  <a:gd name="connsiteY1097" fmla="*/ 755937 h 1109282"/>
                  <a:gd name="connsiteX1098" fmla="*/ 632902 w 1168831"/>
                  <a:gd name="connsiteY1098" fmla="*/ 756997 h 1109282"/>
                  <a:gd name="connsiteX1099" fmla="*/ 629720 w 1168831"/>
                  <a:gd name="connsiteY1099" fmla="*/ 759270 h 1109282"/>
                  <a:gd name="connsiteX1100" fmla="*/ 625478 w 1168831"/>
                  <a:gd name="connsiteY1100" fmla="*/ 760482 h 1109282"/>
                  <a:gd name="connsiteX1101" fmla="*/ 623205 w 1168831"/>
                  <a:gd name="connsiteY1101" fmla="*/ 762301 h 1109282"/>
                  <a:gd name="connsiteX1102" fmla="*/ 615326 w 1168831"/>
                  <a:gd name="connsiteY1102" fmla="*/ 762149 h 1109282"/>
                  <a:gd name="connsiteX1103" fmla="*/ 598810 w 1168831"/>
                  <a:gd name="connsiteY1103" fmla="*/ 765937 h 1109282"/>
                  <a:gd name="connsiteX1104" fmla="*/ 599113 w 1168831"/>
                  <a:gd name="connsiteY1104" fmla="*/ 767301 h 1109282"/>
                  <a:gd name="connsiteX1105" fmla="*/ 604113 w 1168831"/>
                  <a:gd name="connsiteY1105" fmla="*/ 769574 h 1109282"/>
                  <a:gd name="connsiteX1106" fmla="*/ 605629 w 1168831"/>
                  <a:gd name="connsiteY1106" fmla="*/ 772452 h 1109282"/>
                  <a:gd name="connsiteX1107" fmla="*/ 604265 w 1168831"/>
                  <a:gd name="connsiteY1107" fmla="*/ 773059 h 1109282"/>
                  <a:gd name="connsiteX1108" fmla="*/ 599719 w 1168831"/>
                  <a:gd name="connsiteY1108" fmla="*/ 772604 h 1109282"/>
                  <a:gd name="connsiteX1109" fmla="*/ 596234 w 1168831"/>
                  <a:gd name="connsiteY1109" fmla="*/ 774877 h 1109282"/>
                  <a:gd name="connsiteX1110" fmla="*/ 594567 w 1168831"/>
                  <a:gd name="connsiteY1110" fmla="*/ 779271 h 1109282"/>
                  <a:gd name="connsiteX1111" fmla="*/ 586840 w 1168831"/>
                  <a:gd name="connsiteY1111" fmla="*/ 787150 h 1109282"/>
                  <a:gd name="connsiteX1112" fmla="*/ 584870 w 1168831"/>
                  <a:gd name="connsiteY1112" fmla="*/ 789877 h 1109282"/>
                  <a:gd name="connsiteX1113" fmla="*/ 582900 w 1168831"/>
                  <a:gd name="connsiteY1113" fmla="*/ 793968 h 1109282"/>
                  <a:gd name="connsiteX1114" fmla="*/ 580628 w 1168831"/>
                  <a:gd name="connsiteY1114" fmla="*/ 799575 h 1109282"/>
                  <a:gd name="connsiteX1115" fmla="*/ 580931 w 1168831"/>
                  <a:gd name="connsiteY1115" fmla="*/ 803363 h 1109282"/>
                  <a:gd name="connsiteX1116" fmla="*/ 582749 w 1168831"/>
                  <a:gd name="connsiteY1116" fmla="*/ 804878 h 1109282"/>
                  <a:gd name="connsiteX1117" fmla="*/ 584567 w 1168831"/>
                  <a:gd name="connsiteY1117" fmla="*/ 804423 h 1109282"/>
                  <a:gd name="connsiteX1118" fmla="*/ 586537 w 1168831"/>
                  <a:gd name="connsiteY1118" fmla="*/ 805181 h 1109282"/>
                  <a:gd name="connsiteX1119" fmla="*/ 587295 w 1168831"/>
                  <a:gd name="connsiteY1119" fmla="*/ 807302 h 1109282"/>
                  <a:gd name="connsiteX1120" fmla="*/ 588810 w 1168831"/>
                  <a:gd name="connsiteY1120" fmla="*/ 807757 h 1109282"/>
                  <a:gd name="connsiteX1121" fmla="*/ 591386 w 1168831"/>
                  <a:gd name="connsiteY1121" fmla="*/ 807302 h 1109282"/>
                  <a:gd name="connsiteX1122" fmla="*/ 596992 w 1168831"/>
                  <a:gd name="connsiteY1122" fmla="*/ 804120 h 1109282"/>
                  <a:gd name="connsiteX1123" fmla="*/ 599871 w 1168831"/>
                  <a:gd name="connsiteY1123" fmla="*/ 801847 h 1109282"/>
                  <a:gd name="connsiteX1124" fmla="*/ 602447 w 1168831"/>
                  <a:gd name="connsiteY1124" fmla="*/ 800938 h 1109282"/>
                  <a:gd name="connsiteX1125" fmla="*/ 597598 w 1168831"/>
                  <a:gd name="connsiteY1125" fmla="*/ 806545 h 1109282"/>
                  <a:gd name="connsiteX1126" fmla="*/ 591234 w 1168831"/>
                  <a:gd name="connsiteY1126" fmla="*/ 811696 h 1109282"/>
                  <a:gd name="connsiteX1127" fmla="*/ 585779 w 1168831"/>
                  <a:gd name="connsiteY1127" fmla="*/ 812302 h 1109282"/>
                  <a:gd name="connsiteX1128" fmla="*/ 583658 w 1168831"/>
                  <a:gd name="connsiteY1128" fmla="*/ 809726 h 1109282"/>
                  <a:gd name="connsiteX1129" fmla="*/ 581840 w 1168831"/>
                  <a:gd name="connsiteY1129" fmla="*/ 808211 h 1109282"/>
                  <a:gd name="connsiteX1130" fmla="*/ 563506 w 1168831"/>
                  <a:gd name="connsiteY1130" fmla="*/ 817303 h 1109282"/>
                  <a:gd name="connsiteX1131" fmla="*/ 559718 w 1168831"/>
                  <a:gd name="connsiteY1131" fmla="*/ 820485 h 1109282"/>
                  <a:gd name="connsiteX1132" fmla="*/ 558506 w 1168831"/>
                  <a:gd name="connsiteY1132" fmla="*/ 823818 h 1109282"/>
                  <a:gd name="connsiteX1133" fmla="*/ 558354 w 1168831"/>
                  <a:gd name="connsiteY1133" fmla="*/ 827151 h 1109282"/>
                  <a:gd name="connsiteX1134" fmla="*/ 560930 w 1168831"/>
                  <a:gd name="connsiteY1134" fmla="*/ 826394 h 1109282"/>
                  <a:gd name="connsiteX1135" fmla="*/ 565627 w 1168831"/>
                  <a:gd name="connsiteY1135" fmla="*/ 824424 h 1109282"/>
                  <a:gd name="connsiteX1136" fmla="*/ 567597 w 1168831"/>
                  <a:gd name="connsiteY1136" fmla="*/ 824576 h 1109282"/>
                  <a:gd name="connsiteX1137" fmla="*/ 564567 w 1168831"/>
                  <a:gd name="connsiteY1137" fmla="*/ 827606 h 1109282"/>
                  <a:gd name="connsiteX1138" fmla="*/ 559263 w 1168831"/>
                  <a:gd name="connsiteY1138" fmla="*/ 830182 h 1109282"/>
                  <a:gd name="connsiteX1139" fmla="*/ 556384 w 1168831"/>
                  <a:gd name="connsiteY1139" fmla="*/ 830485 h 1109282"/>
                  <a:gd name="connsiteX1140" fmla="*/ 552748 w 1168831"/>
                  <a:gd name="connsiteY1140" fmla="*/ 833364 h 1109282"/>
                  <a:gd name="connsiteX1141" fmla="*/ 548354 w 1168831"/>
                  <a:gd name="connsiteY1141" fmla="*/ 835031 h 1109282"/>
                  <a:gd name="connsiteX1142" fmla="*/ 545626 w 1168831"/>
                  <a:gd name="connsiteY1142" fmla="*/ 838667 h 1109282"/>
                  <a:gd name="connsiteX1143" fmla="*/ 538353 w 1168831"/>
                  <a:gd name="connsiteY1143" fmla="*/ 842000 h 1109282"/>
                  <a:gd name="connsiteX1144" fmla="*/ 529414 w 1168831"/>
                  <a:gd name="connsiteY1144" fmla="*/ 852455 h 1109282"/>
                  <a:gd name="connsiteX1145" fmla="*/ 523201 w 1168831"/>
                  <a:gd name="connsiteY1145" fmla="*/ 856698 h 1109282"/>
                  <a:gd name="connsiteX1146" fmla="*/ 521231 w 1168831"/>
                  <a:gd name="connsiteY1146" fmla="*/ 861092 h 1109282"/>
                  <a:gd name="connsiteX1147" fmla="*/ 519110 w 1168831"/>
                  <a:gd name="connsiteY1147" fmla="*/ 863819 h 1109282"/>
                  <a:gd name="connsiteX1148" fmla="*/ 514868 w 1168831"/>
                  <a:gd name="connsiteY1148" fmla="*/ 866092 h 1109282"/>
                  <a:gd name="connsiteX1149" fmla="*/ 512292 w 1168831"/>
                  <a:gd name="connsiteY1149" fmla="*/ 869123 h 1109282"/>
                  <a:gd name="connsiteX1150" fmla="*/ 510928 w 1168831"/>
                  <a:gd name="connsiteY1150" fmla="*/ 872911 h 1109282"/>
                  <a:gd name="connsiteX1151" fmla="*/ 511685 w 1168831"/>
                  <a:gd name="connsiteY1151" fmla="*/ 874123 h 1109282"/>
                  <a:gd name="connsiteX1152" fmla="*/ 513352 w 1168831"/>
                  <a:gd name="connsiteY1152" fmla="*/ 873365 h 1109282"/>
                  <a:gd name="connsiteX1153" fmla="*/ 516383 w 1168831"/>
                  <a:gd name="connsiteY1153" fmla="*/ 873214 h 1109282"/>
                  <a:gd name="connsiteX1154" fmla="*/ 518201 w 1168831"/>
                  <a:gd name="connsiteY1154" fmla="*/ 876850 h 1109282"/>
                  <a:gd name="connsiteX1155" fmla="*/ 519868 w 1168831"/>
                  <a:gd name="connsiteY1155" fmla="*/ 878668 h 1109282"/>
                  <a:gd name="connsiteX1156" fmla="*/ 520777 w 1168831"/>
                  <a:gd name="connsiteY1156" fmla="*/ 881093 h 1109282"/>
                  <a:gd name="connsiteX1157" fmla="*/ 524414 w 1168831"/>
                  <a:gd name="connsiteY1157" fmla="*/ 881547 h 1109282"/>
                  <a:gd name="connsiteX1158" fmla="*/ 532141 w 1168831"/>
                  <a:gd name="connsiteY1158" fmla="*/ 878971 h 1109282"/>
                  <a:gd name="connsiteX1159" fmla="*/ 548505 w 1168831"/>
                  <a:gd name="connsiteY1159" fmla="*/ 870335 h 1109282"/>
                  <a:gd name="connsiteX1160" fmla="*/ 551536 w 1168831"/>
                  <a:gd name="connsiteY1160" fmla="*/ 867001 h 1109282"/>
                  <a:gd name="connsiteX1161" fmla="*/ 549263 w 1168831"/>
                  <a:gd name="connsiteY1161" fmla="*/ 864577 h 1109282"/>
                  <a:gd name="connsiteX1162" fmla="*/ 547899 w 1168831"/>
                  <a:gd name="connsiteY1162" fmla="*/ 863668 h 1109282"/>
                  <a:gd name="connsiteX1163" fmla="*/ 552293 w 1168831"/>
                  <a:gd name="connsiteY1163" fmla="*/ 860789 h 1109282"/>
                  <a:gd name="connsiteX1164" fmla="*/ 556081 w 1168831"/>
                  <a:gd name="connsiteY1164" fmla="*/ 858971 h 1109282"/>
                  <a:gd name="connsiteX1165" fmla="*/ 558657 w 1168831"/>
                  <a:gd name="connsiteY1165" fmla="*/ 858213 h 1109282"/>
                  <a:gd name="connsiteX1166" fmla="*/ 561991 w 1168831"/>
                  <a:gd name="connsiteY1166" fmla="*/ 859274 h 1109282"/>
                  <a:gd name="connsiteX1167" fmla="*/ 562748 w 1168831"/>
                  <a:gd name="connsiteY1167" fmla="*/ 860183 h 1109282"/>
                  <a:gd name="connsiteX1168" fmla="*/ 558354 w 1168831"/>
                  <a:gd name="connsiteY1168" fmla="*/ 862607 h 1109282"/>
                  <a:gd name="connsiteX1169" fmla="*/ 555172 w 1168831"/>
                  <a:gd name="connsiteY1169" fmla="*/ 864729 h 1109282"/>
                  <a:gd name="connsiteX1170" fmla="*/ 556233 w 1168831"/>
                  <a:gd name="connsiteY1170" fmla="*/ 865638 h 1109282"/>
                  <a:gd name="connsiteX1171" fmla="*/ 558809 w 1168831"/>
                  <a:gd name="connsiteY1171" fmla="*/ 865789 h 1109282"/>
                  <a:gd name="connsiteX1172" fmla="*/ 559869 w 1168831"/>
                  <a:gd name="connsiteY1172" fmla="*/ 867456 h 1109282"/>
                  <a:gd name="connsiteX1173" fmla="*/ 560475 w 1168831"/>
                  <a:gd name="connsiteY1173" fmla="*/ 868820 h 1109282"/>
                  <a:gd name="connsiteX1174" fmla="*/ 556536 w 1168831"/>
                  <a:gd name="connsiteY1174" fmla="*/ 870638 h 1109282"/>
                  <a:gd name="connsiteX1175" fmla="*/ 553657 w 1168831"/>
                  <a:gd name="connsiteY1175" fmla="*/ 872608 h 1109282"/>
                  <a:gd name="connsiteX1176" fmla="*/ 549111 w 1168831"/>
                  <a:gd name="connsiteY1176" fmla="*/ 873517 h 1109282"/>
                  <a:gd name="connsiteX1177" fmla="*/ 544414 w 1168831"/>
                  <a:gd name="connsiteY1177" fmla="*/ 875487 h 1109282"/>
                  <a:gd name="connsiteX1178" fmla="*/ 542899 w 1168831"/>
                  <a:gd name="connsiteY1178" fmla="*/ 876699 h 1109282"/>
                  <a:gd name="connsiteX1179" fmla="*/ 541535 w 1168831"/>
                  <a:gd name="connsiteY1179" fmla="*/ 879578 h 1109282"/>
                  <a:gd name="connsiteX1180" fmla="*/ 542444 w 1168831"/>
                  <a:gd name="connsiteY1180" fmla="*/ 880487 h 1109282"/>
                  <a:gd name="connsiteX1181" fmla="*/ 543960 w 1168831"/>
                  <a:gd name="connsiteY1181" fmla="*/ 883669 h 1109282"/>
                  <a:gd name="connsiteX1182" fmla="*/ 542444 w 1168831"/>
                  <a:gd name="connsiteY1182" fmla="*/ 883517 h 1109282"/>
                  <a:gd name="connsiteX1183" fmla="*/ 539262 w 1168831"/>
                  <a:gd name="connsiteY1183" fmla="*/ 884275 h 1109282"/>
                  <a:gd name="connsiteX1184" fmla="*/ 532444 w 1168831"/>
                  <a:gd name="connsiteY1184" fmla="*/ 883366 h 1109282"/>
                  <a:gd name="connsiteX1185" fmla="*/ 528353 w 1168831"/>
                  <a:gd name="connsiteY1185" fmla="*/ 883972 h 1109282"/>
                  <a:gd name="connsiteX1186" fmla="*/ 525323 w 1168831"/>
                  <a:gd name="connsiteY1186" fmla="*/ 884881 h 1109282"/>
                  <a:gd name="connsiteX1187" fmla="*/ 523656 w 1168831"/>
                  <a:gd name="connsiteY1187" fmla="*/ 886699 h 1109282"/>
                  <a:gd name="connsiteX1188" fmla="*/ 522444 w 1168831"/>
                  <a:gd name="connsiteY1188" fmla="*/ 886547 h 1109282"/>
                  <a:gd name="connsiteX1189" fmla="*/ 521231 w 1168831"/>
                  <a:gd name="connsiteY1189" fmla="*/ 882911 h 1109282"/>
                  <a:gd name="connsiteX1190" fmla="*/ 520019 w 1168831"/>
                  <a:gd name="connsiteY1190" fmla="*/ 882305 h 1109282"/>
                  <a:gd name="connsiteX1191" fmla="*/ 518352 w 1168831"/>
                  <a:gd name="connsiteY1191" fmla="*/ 880941 h 1109282"/>
                  <a:gd name="connsiteX1192" fmla="*/ 514716 w 1168831"/>
                  <a:gd name="connsiteY1192" fmla="*/ 876547 h 1109282"/>
                  <a:gd name="connsiteX1193" fmla="*/ 512140 w 1168831"/>
                  <a:gd name="connsiteY1193" fmla="*/ 877153 h 1109282"/>
                  <a:gd name="connsiteX1194" fmla="*/ 509867 w 1168831"/>
                  <a:gd name="connsiteY1194" fmla="*/ 878214 h 1109282"/>
                  <a:gd name="connsiteX1195" fmla="*/ 504413 w 1168831"/>
                  <a:gd name="connsiteY1195" fmla="*/ 878820 h 1109282"/>
                  <a:gd name="connsiteX1196" fmla="*/ 499867 w 1168831"/>
                  <a:gd name="connsiteY1196" fmla="*/ 883669 h 1109282"/>
                  <a:gd name="connsiteX1197" fmla="*/ 497898 w 1168831"/>
                  <a:gd name="connsiteY1197" fmla="*/ 883517 h 1109282"/>
                  <a:gd name="connsiteX1198" fmla="*/ 497746 w 1168831"/>
                  <a:gd name="connsiteY1198" fmla="*/ 881850 h 1109282"/>
                  <a:gd name="connsiteX1199" fmla="*/ 500019 w 1168831"/>
                  <a:gd name="connsiteY1199" fmla="*/ 878971 h 1109282"/>
                  <a:gd name="connsiteX1200" fmla="*/ 499412 w 1168831"/>
                  <a:gd name="connsiteY1200" fmla="*/ 877759 h 1109282"/>
                  <a:gd name="connsiteX1201" fmla="*/ 491382 w 1168831"/>
                  <a:gd name="connsiteY1201" fmla="*/ 875487 h 1109282"/>
                  <a:gd name="connsiteX1202" fmla="*/ 486836 w 1168831"/>
                  <a:gd name="connsiteY1202" fmla="*/ 876547 h 1109282"/>
                  <a:gd name="connsiteX1203" fmla="*/ 484109 w 1168831"/>
                  <a:gd name="connsiteY1203" fmla="*/ 877456 h 1109282"/>
                  <a:gd name="connsiteX1204" fmla="*/ 479260 w 1168831"/>
                  <a:gd name="connsiteY1204" fmla="*/ 880335 h 1109282"/>
                  <a:gd name="connsiteX1205" fmla="*/ 478200 w 1168831"/>
                  <a:gd name="connsiteY1205" fmla="*/ 881850 h 1109282"/>
                  <a:gd name="connsiteX1206" fmla="*/ 478957 w 1168831"/>
                  <a:gd name="connsiteY1206" fmla="*/ 884123 h 1109282"/>
                  <a:gd name="connsiteX1207" fmla="*/ 481533 w 1168831"/>
                  <a:gd name="connsiteY1207" fmla="*/ 885032 h 1109282"/>
                  <a:gd name="connsiteX1208" fmla="*/ 484715 w 1168831"/>
                  <a:gd name="connsiteY1208" fmla="*/ 884881 h 1109282"/>
                  <a:gd name="connsiteX1209" fmla="*/ 486078 w 1168831"/>
                  <a:gd name="connsiteY1209" fmla="*/ 886396 h 1109282"/>
                  <a:gd name="connsiteX1210" fmla="*/ 485927 w 1168831"/>
                  <a:gd name="connsiteY1210" fmla="*/ 888517 h 1109282"/>
                  <a:gd name="connsiteX1211" fmla="*/ 484412 w 1168831"/>
                  <a:gd name="connsiteY1211" fmla="*/ 889729 h 1109282"/>
                  <a:gd name="connsiteX1212" fmla="*/ 475927 w 1168831"/>
                  <a:gd name="connsiteY1212" fmla="*/ 890942 h 1109282"/>
                  <a:gd name="connsiteX1213" fmla="*/ 473502 w 1168831"/>
                  <a:gd name="connsiteY1213" fmla="*/ 893063 h 1109282"/>
                  <a:gd name="connsiteX1214" fmla="*/ 472745 w 1168831"/>
                  <a:gd name="connsiteY1214" fmla="*/ 896245 h 1109282"/>
                  <a:gd name="connsiteX1215" fmla="*/ 474866 w 1168831"/>
                  <a:gd name="connsiteY1215" fmla="*/ 899730 h 1109282"/>
                  <a:gd name="connsiteX1216" fmla="*/ 477745 w 1168831"/>
                  <a:gd name="connsiteY1216" fmla="*/ 901397 h 1109282"/>
                  <a:gd name="connsiteX1217" fmla="*/ 485169 w 1168831"/>
                  <a:gd name="connsiteY1217" fmla="*/ 908366 h 1109282"/>
                  <a:gd name="connsiteX1218" fmla="*/ 485624 w 1168831"/>
                  <a:gd name="connsiteY1218" fmla="*/ 909882 h 1109282"/>
                  <a:gd name="connsiteX1219" fmla="*/ 477139 w 1168831"/>
                  <a:gd name="connsiteY1219" fmla="*/ 904730 h 1109282"/>
                  <a:gd name="connsiteX1220" fmla="*/ 474412 w 1168831"/>
                  <a:gd name="connsiteY1220" fmla="*/ 903366 h 1109282"/>
                  <a:gd name="connsiteX1221" fmla="*/ 471381 w 1168831"/>
                  <a:gd name="connsiteY1221" fmla="*/ 899275 h 1109282"/>
                  <a:gd name="connsiteX1222" fmla="*/ 464866 w 1168831"/>
                  <a:gd name="connsiteY1222" fmla="*/ 898366 h 1109282"/>
                  <a:gd name="connsiteX1223" fmla="*/ 461532 w 1168831"/>
                  <a:gd name="connsiteY1223" fmla="*/ 898821 h 1109282"/>
                  <a:gd name="connsiteX1224" fmla="*/ 459259 w 1168831"/>
                  <a:gd name="connsiteY1224" fmla="*/ 898518 h 1109282"/>
                  <a:gd name="connsiteX1225" fmla="*/ 456987 w 1168831"/>
                  <a:gd name="connsiteY1225" fmla="*/ 898972 h 1109282"/>
                  <a:gd name="connsiteX1226" fmla="*/ 451986 w 1168831"/>
                  <a:gd name="connsiteY1226" fmla="*/ 902306 h 1109282"/>
                  <a:gd name="connsiteX1227" fmla="*/ 441532 w 1168831"/>
                  <a:gd name="connsiteY1227" fmla="*/ 905185 h 1109282"/>
                  <a:gd name="connsiteX1228" fmla="*/ 439713 w 1168831"/>
                  <a:gd name="connsiteY1228" fmla="*/ 906397 h 1109282"/>
                  <a:gd name="connsiteX1229" fmla="*/ 439410 w 1168831"/>
                  <a:gd name="connsiteY1229" fmla="*/ 907609 h 1109282"/>
                  <a:gd name="connsiteX1230" fmla="*/ 435471 w 1168831"/>
                  <a:gd name="connsiteY1230" fmla="*/ 912458 h 1109282"/>
                  <a:gd name="connsiteX1231" fmla="*/ 434259 w 1168831"/>
                  <a:gd name="connsiteY1231" fmla="*/ 915336 h 1109282"/>
                  <a:gd name="connsiteX1232" fmla="*/ 435471 w 1168831"/>
                  <a:gd name="connsiteY1232" fmla="*/ 916246 h 1109282"/>
                  <a:gd name="connsiteX1233" fmla="*/ 442138 w 1168831"/>
                  <a:gd name="connsiteY1233" fmla="*/ 915033 h 1109282"/>
                  <a:gd name="connsiteX1234" fmla="*/ 444562 w 1168831"/>
                  <a:gd name="connsiteY1234" fmla="*/ 913973 h 1109282"/>
                  <a:gd name="connsiteX1235" fmla="*/ 448198 w 1168831"/>
                  <a:gd name="connsiteY1235" fmla="*/ 913973 h 1109282"/>
                  <a:gd name="connsiteX1236" fmla="*/ 452744 w 1168831"/>
                  <a:gd name="connsiteY1236" fmla="*/ 915640 h 1109282"/>
                  <a:gd name="connsiteX1237" fmla="*/ 470169 w 1168831"/>
                  <a:gd name="connsiteY1237" fmla="*/ 913064 h 1109282"/>
                  <a:gd name="connsiteX1238" fmla="*/ 471533 w 1168831"/>
                  <a:gd name="connsiteY1238" fmla="*/ 914730 h 1109282"/>
                  <a:gd name="connsiteX1239" fmla="*/ 463502 w 1168831"/>
                  <a:gd name="connsiteY1239" fmla="*/ 915185 h 1109282"/>
                  <a:gd name="connsiteX1240" fmla="*/ 456229 w 1168831"/>
                  <a:gd name="connsiteY1240" fmla="*/ 917306 h 1109282"/>
                  <a:gd name="connsiteX1241" fmla="*/ 455623 w 1168831"/>
                  <a:gd name="connsiteY1241" fmla="*/ 918367 h 1109282"/>
                  <a:gd name="connsiteX1242" fmla="*/ 455926 w 1168831"/>
                  <a:gd name="connsiteY1242" fmla="*/ 919882 h 1109282"/>
                  <a:gd name="connsiteX1243" fmla="*/ 460320 w 1168831"/>
                  <a:gd name="connsiteY1243" fmla="*/ 920943 h 1109282"/>
                  <a:gd name="connsiteX1244" fmla="*/ 459259 w 1168831"/>
                  <a:gd name="connsiteY1244" fmla="*/ 921852 h 1109282"/>
                  <a:gd name="connsiteX1245" fmla="*/ 456987 w 1168831"/>
                  <a:gd name="connsiteY1245" fmla="*/ 922458 h 1109282"/>
                  <a:gd name="connsiteX1246" fmla="*/ 454865 w 1168831"/>
                  <a:gd name="connsiteY1246" fmla="*/ 922761 h 1109282"/>
                  <a:gd name="connsiteX1247" fmla="*/ 449108 w 1168831"/>
                  <a:gd name="connsiteY1247" fmla="*/ 920185 h 1109282"/>
                  <a:gd name="connsiteX1248" fmla="*/ 440319 w 1168831"/>
                  <a:gd name="connsiteY1248" fmla="*/ 919124 h 1109282"/>
                  <a:gd name="connsiteX1249" fmla="*/ 434410 w 1168831"/>
                  <a:gd name="connsiteY1249" fmla="*/ 918670 h 1109282"/>
                  <a:gd name="connsiteX1250" fmla="*/ 430925 w 1168831"/>
                  <a:gd name="connsiteY1250" fmla="*/ 919428 h 1109282"/>
                  <a:gd name="connsiteX1251" fmla="*/ 426076 w 1168831"/>
                  <a:gd name="connsiteY1251" fmla="*/ 919882 h 1109282"/>
                  <a:gd name="connsiteX1252" fmla="*/ 423652 w 1168831"/>
                  <a:gd name="connsiteY1252" fmla="*/ 919882 h 1109282"/>
                  <a:gd name="connsiteX1253" fmla="*/ 421531 w 1168831"/>
                  <a:gd name="connsiteY1253" fmla="*/ 921094 h 1109282"/>
                  <a:gd name="connsiteX1254" fmla="*/ 420622 w 1168831"/>
                  <a:gd name="connsiteY1254" fmla="*/ 923822 h 1109282"/>
                  <a:gd name="connsiteX1255" fmla="*/ 418652 w 1168831"/>
                  <a:gd name="connsiteY1255" fmla="*/ 925488 h 1109282"/>
                  <a:gd name="connsiteX1256" fmla="*/ 417440 w 1168831"/>
                  <a:gd name="connsiteY1256" fmla="*/ 927004 h 1109282"/>
                  <a:gd name="connsiteX1257" fmla="*/ 417894 w 1168831"/>
                  <a:gd name="connsiteY1257" fmla="*/ 928670 h 1109282"/>
                  <a:gd name="connsiteX1258" fmla="*/ 421379 w 1168831"/>
                  <a:gd name="connsiteY1258" fmla="*/ 928367 h 1109282"/>
                  <a:gd name="connsiteX1259" fmla="*/ 426683 w 1168831"/>
                  <a:gd name="connsiteY1259" fmla="*/ 927004 h 1109282"/>
                  <a:gd name="connsiteX1260" fmla="*/ 433046 w 1168831"/>
                  <a:gd name="connsiteY1260" fmla="*/ 926094 h 1109282"/>
                  <a:gd name="connsiteX1261" fmla="*/ 431077 w 1168831"/>
                  <a:gd name="connsiteY1261" fmla="*/ 928064 h 1109282"/>
                  <a:gd name="connsiteX1262" fmla="*/ 430016 w 1168831"/>
                  <a:gd name="connsiteY1262" fmla="*/ 928670 h 1109282"/>
                  <a:gd name="connsiteX1263" fmla="*/ 419864 w 1168831"/>
                  <a:gd name="connsiteY1263" fmla="*/ 930943 h 1109282"/>
                  <a:gd name="connsiteX1264" fmla="*/ 416379 w 1168831"/>
                  <a:gd name="connsiteY1264" fmla="*/ 931095 h 1109282"/>
                  <a:gd name="connsiteX1265" fmla="*/ 414864 w 1168831"/>
                  <a:gd name="connsiteY1265" fmla="*/ 930034 h 1109282"/>
                  <a:gd name="connsiteX1266" fmla="*/ 413652 w 1168831"/>
                  <a:gd name="connsiteY1266" fmla="*/ 928670 h 1109282"/>
                  <a:gd name="connsiteX1267" fmla="*/ 411682 w 1168831"/>
                  <a:gd name="connsiteY1267" fmla="*/ 928216 h 1109282"/>
                  <a:gd name="connsiteX1268" fmla="*/ 408652 w 1168831"/>
                  <a:gd name="connsiteY1268" fmla="*/ 929579 h 1109282"/>
                  <a:gd name="connsiteX1269" fmla="*/ 406530 w 1168831"/>
                  <a:gd name="connsiteY1269" fmla="*/ 929882 h 1109282"/>
                  <a:gd name="connsiteX1270" fmla="*/ 401530 w 1168831"/>
                  <a:gd name="connsiteY1270" fmla="*/ 932761 h 1109282"/>
                  <a:gd name="connsiteX1271" fmla="*/ 400166 w 1168831"/>
                  <a:gd name="connsiteY1271" fmla="*/ 935792 h 1109282"/>
                  <a:gd name="connsiteX1272" fmla="*/ 398499 w 1168831"/>
                  <a:gd name="connsiteY1272" fmla="*/ 937155 h 1109282"/>
                  <a:gd name="connsiteX1273" fmla="*/ 396681 w 1168831"/>
                  <a:gd name="connsiteY1273" fmla="*/ 939580 h 1109282"/>
                  <a:gd name="connsiteX1274" fmla="*/ 394863 w 1168831"/>
                  <a:gd name="connsiteY1274" fmla="*/ 939428 h 1109282"/>
                  <a:gd name="connsiteX1275" fmla="*/ 393348 w 1168831"/>
                  <a:gd name="connsiteY1275" fmla="*/ 937913 h 1109282"/>
                  <a:gd name="connsiteX1276" fmla="*/ 390621 w 1168831"/>
                  <a:gd name="connsiteY1276" fmla="*/ 939125 h 1109282"/>
                  <a:gd name="connsiteX1277" fmla="*/ 389409 w 1168831"/>
                  <a:gd name="connsiteY1277" fmla="*/ 944731 h 1109282"/>
                  <a:gd name="connsiteX1278" fmla="*/ 391075 w 1168831"/>
                  <a:gd name="connsiteY1278" fmla="*/ 947610 h 1109282"/>
                  <a:gd name="connsiteX1279" fmla="*/ 393954 w 1168831"/>
                  <a:gd name="connsiteY1279" fmla="*/ 948519 h 1109282"/>
                  <a:gd name="connsiteX1280" fmla="*/ 399560 w 1168831"/>
                  <a:gd name="connsiteY1280" fmla="*/ 948065 h 1109282"/>
                  <a:gd name="connsiteX1281" fmla="*/ 404864 w 1168831"/>
                  <a:gd name="connsiteY1281" fmla="*/ 948974 h 1109282"/>
                  <a:gd name="connsiteX1282" fmla="*/ 417591 w 1168831"/>
                  <a:gd name="connsiteY1282" fmla="*/ 952005 h 1109282"/>
                  <a:gd name="connsiteX1283" fmla="*/ 424864 w 1168831"/>
                  <a:gd name="connsiteY1283" fmla="*/ 952005 h 1109282"/>
                  <a:gd name="connsiteX1284" fmla="*/ 432743 w 1168831"/>
                  <a:gd name="connsiteY1284" fmla="*/ 950489 h 1109282"/>
                  <a:gd name="connsiteX1285" fmla="*/ 434107 w 1168831"/>
                  <a:gd name="connsiteY1285" fmla="*/ 951247 h 1109282"/>
                  <a:gd name="connsiteX1286" fmla="*/ 426834 w 1168831"/>
                  <a:gd name="connsiteY1286" fmla="*/ 953823 h 1109282"/>
                  <a:gd name="connsiteX1287" fmla="*/ 414561 w 1168831"/>
                  <a:gd name="connsiteY1287" fmla="*/ 954732 h 1109282"/>
                  <a:gd name="connsiteX1288" fmla="*/ 408500 w 1168831"/>
                  <a:gd name="connsiteY1288" fmla="*/ 953065 h 1109282"/>
                  <a:gd name="connsiteX1289" fmla="*/ 399560 w 1168831"/>
                  <a:gd name="connsiteY1289" fmla="*/ 950186 h 1109282"/>
                  <a:gd name="connsiteX1290" fmla="*/ 390014 w 1168831"/>
                  <a:gd name="connsiteY1290" fmla="*/ 950641 h 1109282"/>
                  <a:gd name="connsiteX1291" fmla="*/ 386378 w 1168831"/>
                  <a:gd name="connsiteY1291" fmla="*/ 950035 h 1109282"/>
                  <a:gd name="connsiteX1292" fmla="*/ 384863 w 1168831"/>
                  <a:gd name="connsiteY1292" fmla="*/ 950944 h 1109282"/>
                  <a:gd name="connsiteX1293" fmla="*/ 384257 w 1168831"/>
                  <a:gd name="connsiteY1293" fmla="*/ 953823 h 1109282"/>
                  <a:gd name="connsiteX1294" fmla="*/ 384711 w 1168831"/>
                  <a:gd name="connsiteY1294" fmla="*/ 957914 h 1109282"/>
                  <a:gd name="connsiteX1295" fmla="*/ 386530 w 1168831"/>
                  <a:gd name="connsiteY1295" fmla="*/ 960641 h 1109282"/>
                  <a:gd name="connsiteX1296" fmla="*/ 389409 w 1168831"/>
                  <a:gd name="connsiteY1296" fmla="*/ 961702 h 1109282"/>
                  <a:gd name="connsiteX1297" fmla="*/ 391227 w 1168831"/>
                  <a:gd name="connsiteY1297" fmla="*/ 964884 h 1109282"/>
                  <a:gd name="connsiteX1298" fmla="*/ 393954 w 1168831"/>
                  <a:gd name="connsiteY1298" fmla="*/ 966550 h 1109282"/>
                  <a:gd name="connsiteX1299" fmla="*/ 395924 w 1168831"/>
                  <a:gd name="connsiteY1299" fmla="*/ 967308 h 1109282"/>
                  <a:gd name="connsiteX1300" fmla="*/ 393651 w 1168831"/>
                  <a:gd name="connsiteY1300" fmla="*/ 968520 h 1109282"/>
                  <a:gd name="connsiteX1301" fmla="*/ 391378 w 1168831"/>
                  <a:gd name="connsiteY1301" fmla="*/ 968520 h 1109282"/>
                  <a:gd name="connsiteX1302" fmla="*/ 386681 w 1168831"/>
                  <a:gd name="connsiteY1302" fmla="*/ 969581 h 1109282"/>
                  <a:gd name="connsiteX1303" fmla="*/ 386378 w 1168831"/>
                  <a:gd name="connsiteY1303" fmla="*/ 971854 h 1109282"/>
                  <a:gd name="connsiteX1304" fmla="*/ 387287 w 1168831"/>
                  <a:gd name="connsiteY1304" fmla="*/ 977157 h 1109282"/>
                  <a:gd name="connsiteX1305" fmla="*/ 389560 w 1168831"/>
                  <a:gd name="connsiteY1305" fmla="*/ 979733 h 1109282"/>
                  <a:gd name="connsiteX1306" fmla="*/ 395469 w 1168831"/>
                  <a:gd name="connsiteY1306" fmla="*/ 983066 h 1109282"/>
                  <a:gd name="connsiteX1307" fmla="*/ 398954 w 1168831"/>
                  <a:gd name="connsiteY1307" fmla="*/ 983369 h 1109282"/>
                  <a:gd name="connsiteX1308" fmla="*/ 404257 w 1168831"/>
                  <a:gd name="connsiteY1308" fmla="*/ 981551 h 1109282"/>
                  <a:gd name="connsiteX1309" fmla="*/ 416228 w 1168831"/>
                  <a:gd name="connsiteY1309" fmla="*/ 980793 h 1109282"/>
                  <a:gd name="connsiteX1310" fmla="*/ 424410 w 1168831"/>
                  <a:gd name="connsiteY1310" fmla="*/ 982157 h 1109282"/>
                  <a:gd name="connsiteX1311" fmla="*/ 427440 w 1168831"/>
                  <a:gd name="connsiteY1311" fmla="*/ 981248 h 1109282"/>
                  <a:gd name="connsiteX1312" fmla="*/ 428804 w 1168831"/>
                  <a:gd name="connsiteY1312" fmla="*/ 977460 h 1109282"/>
                  <a:gd name="connsiteX1313" fmla="*/ 430319 w 1168831"/>
                  <a:gd name="connsiteY1313" fmla="*/ 975642 h 1109282"/>
                  <a:gd name="connsiteX1314" fmla="*/ 431077 w 1168831"/>
                  <a:gd name="connsiteY1314" fmla="*/ 976096 h 1109282"/>
                  <a:gd name="connsiteX1315" fmla="*/ 430622 w 1168831"/>
                  <a:gd name="connsiteY1315" fmla="*/ 978218 h 1109282"/>
                  <a:gd name="connsiteX1316" fmla="*/ 431834 w 1168831"/>
                  <a:gd name="connsiteY1316" fmla="*/ 979127 h 1109282"/>
                  <a:gd name="connsiteX1317" fmla="*/ 435622 w 1168831"/>
                  <a:gd name="connsiteY1317" fmla="*/ 979733 h 1109282"/>
                  <a:gd name="connsiteX1318" fmla="*/ 439713 w 1168831"/>
                  <a:gd name="connsiteY1318" fmla="*/ 980945 h 1109282"/>
                  <a:gd name="connsiteX1319" fmla="*/ 446077 w 1168831"/>
                  <a:gd name="connsiteY1319" fmla="*/ 980793 h 1109282"/>
                  <a:gd name="connsiteX1320" fmla="*/ 448804 w 1168831"/>
                  <a:gd name="connsiteY1320" fmla="*/ 980187 h 1109282"/>
                  <a:gd name="connsiteX1321" fmla="*/ 449411 w 1168831"/>
                  <a:gd name="connsiteY1321" fmla="*/ 978824 h 1109282"/>
                  <a:gd name="connsiteX1322" fmla="*/ 448804 w 1168831"/>
                  <a:gd name="connsiteY1322" fmla="*/ 975945 h 1109282"/>
                  <a:gd name="connsiteX1323" fmla="*/ 450320 w 1168831"/>
                  <a:gd name="connsiteY1323" fmla="*/ 972308 h 1109282"/>
                  <a:gd name="connsiteX1324" fmla="*/ 453350 w 1168831"/>
                  <a:gd name="connsiteY1324" fmla="*/ 969732 h 1109282"/>
                  <a:gd name="connsiteX1325" fmla="*/ 453653 w 1168831"/>
                  <a:gd name="connsiteY1325" fmla="*/ 970338 h 1109282"/>
                  <a:gd name="connsiteX1326" fmla="*/ 450774 w 1168831"/>
                  <a:gd name="connsiteY1326" fmla="*/ 975339 h 1109282"/>
                  <a:gd name="connsiteX1327" fmla="*/ 452290 w 1168831"/>
                  <a:gd name="connsiteY1327" fmla="*/ 978672 h 1109282"/>
                  <a:gd name="connsiteX1328" fmla="*/ 457744 w 1168831"/>
                  <a:gd name="connsiteY1328" fmla="*/ 979127 h 1109282"/>
                  <a:gd name="connsiteX1329" fmla="*/ 456078 w 1168831"/>
                  <a:gd name="connsiteY1329" fmla="*/ 980490 h 1109282"/>
                  <a:gd name="connsiteX1330" fmla="*/ 442289 w 1168831"/>
                  <a:gd name="connsiteY1330" fmla="*/ 984127 h 1109282"/>
                  <a:gd name="connsiteX1331" fmla="*/ 442441 w 1168831"/>
                  <a:gd name="connsiteY1331" fmla="*/ 987309 h 1109282"/>
                  <a:gd name="connsiteX1332" fmla="*/ 443350 w 1168831"/>
                  <a:gd name="connsiteY1332" fmla="*/ 989279 h 1109282"/>
                  <a:gd name="connsiteX1333" fmla="*/ 442289 w 1168831"/>
                  <a:gd name="connsiteY1333" fmla="*/ 989885 h 1109282"/>
                  <a:gd name="connsiteX1334" fmla="*/ 440774 w 1168831"/>
                  <a:gd name="connsiteY1334" fmla="*/ 988218 h 1109282"/>
                  <a:gd name="connsiteX1335" fmla="*/ 440471 w 1168831"/>
                  <a:gd name="connsiteY1335" fmla="*/ 985642 h 1109282"/>
                  <a:gd name="connsiteX1336" fmla="*/ 438653 w 1168831"/>
                  <a:gd name="connsiteY1336" fmla="*/ 983672 h 1109282"/>
                  <a:gd name="connsiteX1337" fmla="*/ 435168 w 1168831"/>
                  <a:gd name="connsiteY1337" fmla="*/ 982006 h 1109282"/>
                  <a:gd name="connsiteX1338" fmla="*/ 430622 w 1168831"/>
                  <a:gd name="connsiteY1338" fmla="*/ 982157 h 1109282"/>
                  <a:gd name="connsiteX1339" fmla="*/ 425319 w 1168831"/>
                  <a:gd name="connsiteY1339" fmla="*/ 984278 h 1109282"/>
                  <a:gd name="connsiteX1340" fmla="*/ 421834 w 1168831"/>
                  <a:gd name="connsiteY1340" fmla="*/ 984430 h 1109282"/>
                  <a:gd name="connsiteX1341" fmla="*/ 413349 w 1168831"/>
                  <a:gd name="connsiteY1341" fmla="*/ 982915 h 1109282"/>
                  <a:gd name="connsiteX1342" fmla="*/ 400318 w 1168831"/>
                  <a:gd name="connsiteY1342" fmla="*/ 985491 h 1109282"/>
                  <a:gd name="connsiteX1343" fmla="*/ 394409 w 1168831"/>
                  <a:gd name="connsiteY1343" fmla="*/ 985794 h 1109282"/>
                  <a:gd name="connsiteX1344" fmla="*/ 391833 w 1168831"/>
                  <a:gd name="connsiteY1344" fmla="*/ 985491 h 1109282"/>
                  <a:gd name="connsiteX1345" fmla="*/ 389105 w 1168831"/>
                  <a:gd name="connsiteY1345" fmla="*/ 984733 h 1109282"/>
                  <a:gd name="connsiteX1346" fmla="*/ 385923 w 1168831"/>
                  <a:gd name="connsiteY1346" fmla="*/ 986097 h 1109282"/>
                  <a:gd name="connsiteX1347" fmla="*/ 386378 w 1168831"/>
                  <a:gd name="connsiteY1347" fmla="*/ 990339 h 1109282"/>
                  <a:gd name="connsiteX1348" fmla="*/ 385923 w 1168831"/>
                  <a:gd name="connsiteY1348" fmla="*/ 993521 h 1109282"/>
                  <a:gd name="connsiteX1349" fmla="*/ 386984 w 1168831"/>
                  <a:gd name="connsiteY1349" fmla="*/ 999733 h 1109282"/>
                  <a:gd name="connsiteX1350" fmla="*/ 388802 w 1168831"/>
                  <a:gd name="connsiteY1350" fmla="*/ 1002764 h 1109282"/>
                  <a:gd name="connsiteX1351" fmla="*/ 392288 w 1168831"/>
                  <a:gd name="connsiteY1351" fmla="*/ 1005491 h 1109282"/>
                  <a:gd name="connsiteX1352" fmla="*/ 397894 w 1168831"/>
                  <a:gd name="connsiteY1352" fmla="*/ 1003521 h 1109282"/>
                  <a:gd name="connsiteX1353" fmla="*/ 401833 w 1168831"/>
                  <a:gd name="connsiteY1353" fmla="*/ 1000340 h 1109282"/>
                  <a:gd name="connsiteX1354" fmla="*/ 403500 w 1168831"/>
                  <a:gd name="connsiteY1354" fmla="*/ 1000643 h 1109282"/>
                  <a:gd name="connsiteX1355" fmla="*/ 400773 w 1168831"/>
                  <a:gd name="connsiteY1355" fmla="*/ 1003218 h 1109282"/>
                  <a:gd name="connsiteX1356" fmla="*/ 390469 w 1168831"/>
                  <a:gd name="connsiteY1356" fmla="*/ 1008976 h 1109282"/>
                  <a:gd name="connsiteX1357" fmla="*/ 389560 w 1168831"/>
                  <a:gd name="connsiteY1357" fmla="*/ 1010643 h 1109282"/>
                  <a:gd name="connsiteX1358" fmla="*/ 390772 w 1168831"/>
                  <a:gd name="connsiteY1358" fmla="*/ 1016249 h 1109282"/>
                  <a:gd name="connsiteX1359" fmla="*/ 393499 w 1168831"/>
                  <a:gd name="connsiteY1359" fmla="*/ 1020492 h 1109282"/>
                  <a:gd name="connsiteX1360" fmla="*/ 397136 w 1168831"/>
                  <a:gd name="connsiteY1360" fmla="*/ 1022613 h 1109282"/>
                  <a:gd name="connsiteX1361" fmla="*/ 401378 w 1168831"/>
                  <a:gd name="connsiteY1361" fmla="*/ 1022462 h 1109282"/>
                  <a:gd name="connsiteX1362" fmla="*/ 403652 w 1168831"/>
                  <a:gd name="connsiteY1362" fmla="*/ 1022613 h 1109282"/>
                  <a:gd name="connsiteX1363" fmla="*/ 404561 w 1168831"/>
                  <a:gd name="connsiteY1363" fmla="*/ 1023825 h 1109282"/>
                  <a:gd name="connsiteX1364" fmla="*/ 399257 w 1168831"/>
                  <a:gd name="connsiteY1364" fmla="*/ 1025947 h 1109282"/>
                  <a:gd name="connsiteX1365" fmla="*/ 396076 w 1168831"/>
                  <a:gd name="connsiteY1365" fmla="*/ 1026098 h 1109282"/>
                  <a:gd name="connsiteX1366" fmla="*/ 393045 w 1168831"/>
                  <a:gd name="connsiteY1366" fmla="*/ 1025340 h 1109282"/>
                  <a:gd name="connsiteX1367" fmla="*/ 391378 w 1168831"/>
                  <a:gd name="connsiteY1367" fmla="*/ 1025340 h 1109282"/>
                  <a:gd name="connsiteX1368" fmla="*/ 390469 w 1168831"/>
                  <a:gd name="connsiteY1368" fmla="*/ 1027007 h 1109282"/>
                  <a:gd name="connsiteX1369" fmla="*/ 391681 w 1168831"/>
                  <a:gd name="connsiteY1369" fmla="*/ 1029735 h 1109282"/>
                  <a:gd name="connsiteX1370" fmla="*/ 390772 w 1168831"/>
                  <a:gd name="connsiteY1370" fmla="*/ 1032613 h 1109282"/>
                  <a:gd name="connsiteX1371" fmla="*/ 388954 w 1168831"/>
                  <a:gd name="connsiteY1371" fmla="*/ 1035644 h 1109282"/>
                  <a:gd name="connsiteX1372" fmla="*/ 388499 w 1168831"/>
                  <a:gd name="connsiteY1372" fmla="*/ 1039735 h 1109282"/>
                  <a:gd name="connsiteX1373" fmla="*/ 388651 w 1168831"/>
                  <a:gd name="connsiteY1373" fmla="*/ 1042311 h 1109282"/>
                  <a:gd name="connsiteX1374" fmla="*/ 389560 w 1168831"/>
                  <a:gd name="connsiteY1374" fmla="*/ 1043523 h 1109282"/>
                  <a:gd name="connsiteX1375" fmla="*/ 390621 w 1168831"/>
                  <a:gd name="connsiteY1375" fmla="*/ 1043371 h 1109282"/>
                  <a:gd name="connsiteX1376" fmla="*/ 391984 w 1168831"/>
                  <a:gd name="connsiteY1376" fmla="*/ 1041402 h 1109282"/>
                  <a:gd name="connsiteX1377" fmla="*/ 392742 w 1168831"/>
                  <a:gd name="connsiteY1377" fmla="*/ 1040644 h 1109282"/>
                  <a:gd name="connsiteX1378" fmla="*/ 395166 w 1168831"/>
                  <a:gd name="connsiteY1378" fmla="*/ 1038523 h 1109282"/>
                  <a:gd name="connsiteX1379" fmla="*/ 398954 w 1168831"/>
                  <a:gd name="connsiteY1379" fmla="*/ 1035795 h 1109282"/>
                  <a:gd name="connsiteX1380" fmla="*/ 400621 w 1168831"/>
                  <a:gd name="connsiteY1380" fmla="*/ 1032462 h 1109282"/>
                  <a:gd name="connsiteX1381" fmla="*/ 404561 w 1168831"/>
                  <a:gd name="connsiteY1381" fmla="*/ 1028219 h 1109282"/>
                  <a:gd name="connsiteX1382" fmla="*/ 407288 w 1168831"/>
                  <a:gd name="connsiteY1382" fmla="*/ 1027613 h 1109282"/>
                  <a:gd name="connsiteX1383" fmla="*/ 409409 w 1168831"/>
                  <a:gd name="connsiteY1383" fmla="*/ 1025795 h 1109282"/>
                  <a:gd name="connsiteX1384" fmla="*/ 410167 w 1168831"/>
                  <a:gd name="connsiteY1384" fmla="*/ 1022462 h 1109282"/>
                  <a:gd name="connsiteX1385" fmla="*/ 411833 w 1168831"/>
                  <a:gd name="connsiteY1385" fmla="*/ 1020189 h 1109282"/>
                  <a:gd name="connsiteX1386" fmla="*/ 415470 w 1168831"/>
                  <a:gd name="connsiteY1386" fmla="*/ 1016704 h 1109282"/>
                  <a:gd name="connsiteX1387" fmla="*/ 416834 w 1168831"/>
                  <a:gd name="connsiteY1387" fmla="*/ 1014431 h 1109282"/>
                  <a:gd name="connsiteX1388" fmla="*/ 422137 w 1168831"/>
                  <a:gd name="connsiteY1388" fmla="*/ 1011401 h 1109282"/>
                  <a:gd name="connsiteX1389" fmla="*/ 434713 w 1168831"/>
                  <a:gd name="connsiteY1389" fmla="*/ 1008067 h 1109282"/>
                  <a:gd name="connsiteX1390" fmla="*/ 439865 w 1168831"/>
                  <a:gd name="connsiteY1390" fmla="*/ 1007613 h 1109282"/>
                  <a:gd name="connsiteX1391" fmla="*/ 438653 w 1168831"/>
                  <a:gd name="connsiteY1391" fmla="*/ 1008976 h 1109282"/>
                  <a:gd name="connsiteX1392" fmla="*/ 434259 w 1168831"/>
                  <a:gd name="connsiteY1392" fmla="*/ 1010037 h 1109282"/>
                  <a:gd name="connsiteX1393" fmla="*/ 432440 w 1168831"/>
                  <a:gd name="connsiteY1393" fmla="*/ 1011552 h 1109282"/>
                  <a:gd name="connsiteX1394" fmla="*/ 430773 w 1168831"/>
                  <a:gd name="connsiteY1394" fmla="*/ 1013673 h 1109282"/>
                  <a:gd name="connsiteX1395" fmla="*/ 427137 w 1168831"/>
                  <a:gd name="connsiteY1395" fmla="*/ 1022462 h 1109282"/>
                  <a:gd name="connsiteX1396" fmla="*/ 427137 w 1168831"/>
                  <a:gd name="connsiteY1396" fmla="*/ 1020037 h 1109282"/>
                  <a:gd name="connsiteX1397" fmla="*/ 428501 w 1168831"/>
                  <a:gd name="connsiteY1397" fmla="*/ 1013976 h 1109282"/>
                  <a:gd name="connsiteX1398" fmla="*/ 426985 w 1168831"/>
                  <a:gd name="connsiteY1398" fmla="*/ 1012007 h 1109282"/>
                  <a:gd name="connsiteX1399" fmla="*/ 422288 w 1168831"/>
                  <a:gd name="connsiteY1399" fmla="*/ 1014279 h 1109282"/>
                  <a:gd name="connsiteX1400" fmla="*/ 416530 w 1168831"/>
                  <a:gd name="connsiteY1400" fmla="*/ 1019128 h 1109282"/>
                  <a:gd name="connsiteX1401" fmla="*/ 415621 w 1168831"/>
                  <a:gd name="connsiteY1401" fmla="*/ 1022007 h 1109282"/>
                  <a:gd name="connsiteX1402" fmla="*/ 415773 w 1168831"/>
                  <a:gd name="connsiteY1402" fmla="*/ 1023371 h 1109282"/>
                  <a:gd name="connsiteX1403" fmla="*/ 414561 w 1168831"/>
                  <a:gd name="connsiteY1403" fmla="*/ 1025340 h 1109282"/>
                  <a:gd name="connsiteX1404" fmla="*/ 412591 w 1168831"/>
                  <a:gd name="connsiteY1404" fmla="*/ 1027462 h 1109282"/>
                  <a:gd name="connsiteX1405" fmla="*/ 406833 w 1168831"/>
                  <a:gd name="connsiteY1405" fmla="*/ 1032310 h 1109282"/>
                  <a:gd name="connsiteX1406" fmla="*/ 405318 w 1168831"/>
                  <a:gd name="connsiteY1406" fmla="*/ 1034280 h 1109282"/>
                  <a:gd name="connsiteX1407" fmla="*/ 406227 w 1168831"/>
                  <a:gd name="connsiteY1407" fmla="*/ 1036553 h 1109282"/>
                  <a:gd name="connsiteX1408" fmla="*/ 408197 w 1168831"/>
                  <a:gd name="connsiteY1408" fmla="*/ 1037159 h 1109282"/>
                  <a:gd name="connsiteX1409" fmla="*/ 411833 w 1168831"/>
                  <a:gd name="connsiteY1409" fmla="*/ 1036402 h 1109282"/>
                  <a:gd name="connsiteX1410" fmla="*/ 414409 w 1168831"/>
                  <a:gd name="connsiteY1410" fmla="*/ 1036250 h 1109282"/>
                  <a:gd name="connsiteX1411" fmla="*/ 418652 w 1168831"/>
                  <a:gd name="connsiteY1411" fmla="*/ 1035644 h 1109282"/>
                  <a:gd name="connsiteX1412" fmla="*/ 418804 w 1168831"/>
                  <a:gd name="connsiteY1412" fmla="*/ 1036250 h 1109282"/>
                  <a:gd name="connsiteX1413" fmla="*/ 412591 w 1168831"/>
                  <a:gd name="connsiteY1413" fmla="*/ 1039280 h 1109282"/>
                  <a:gd name="connsiteX1414" fmla="*/ 409258 w 1168831"/>
                  <a:gd name="connsiteY1414" fmla="*/ 1039735 h 1109282"/>
                  <a:gd name="connsiteX1415" fmla="*/ 406682 w 1168831"/>
                  <a:gd name="connsiteY1415" fmla="*/ 1042765 h 1109282"/>
                  <a:gd name="connsiteX1416" fmla="*/ 401378 w 1168831"/>
                  <a:gd name="connsiteY1416" fmla="*/ 1041705 h 1109282"/>
                  <a:gd name="connsiteX1417" fmla="*/ 400015 w 1168831"/>
                  <a:gd name="connsiteY1417" fmla="*/ 1040644 h 1109282"/>
                  <a:gd name="connsiteX1418" fmla="*/ 398499 w 1168831"/>
                  <a:gd name="connsiteY1418" fmla="*/ 1040644 h 1109282"/>
                  <a:gd name="connsiteX1419" fmla="*/ 396681 w 1168831"/>
                  <a:gd name="connsiteY1419" fmla="*/ 1042917 h 1109282"/>
                  <a:gd name="connsiteX1420" fmla="*/ 393954 w 1168831"/>
                  <a:gd name="connsiteY1420" fmla="*/ 1043523 h 1109282"/>
                  <a:gd name="connsiteX1421" fmla="*/ 392288 w 1168831"/>
                  <a:gd name="connsiteY1421" fmla="*/ 1046705 h 1109282"/>
                  <a:gd name="connsiteX1422" fmla="*/ 390772 w 1168831"/>
                  <a:gd name="connsiteY1422" fmla="*/ 1051251 h 1109282"/>
                  <a:gd name="connsiteX1423" fmla="*/ 389257 w 1168831"/>
                  <a:gd name="connsiteY1423" fmla="*/ 1060493 h 1109282"/>
                  <a:gd name="connsiteX1424" fmla="*/ 390469 w 1168831"/>
                  <a:gd name="connsiteY1424" fmla="*/ 1063069 h 1109282"/>
                  <a:gd name="connsiteX1425" fmla="*/ 395621 w 1168831"/>
                  <a:gd name="connsiteY1425" fmla="*/ 1062918 h 1109282"/>
                  <a:gd name="connsiteX1426" fmla="*/ 398499 w 1168831"/>
                  <a:gd name="connsiteY1426" fmla="*/ 1061402 h 1109282"/>
                  <a:gd name="connsiteX1427" fmla="*/ 401076 w 1168831"/>
                  <a:gd name="connsiteY1427" fmla="*/ 1057917 h 1109282"/>
                  <a:gd name="connsiteX1428" fmla="*/ 403652 w 1168831"/>
                  <a:gd name="connsiteY1428" fmla="*/ 1057160 h 1109282"/>
                  <a:gd name="connsiteX1429" fmla="*/ 405318 w 1168831"/>
                  <a:gd name="connsiteY1429" fmla="*/ 1056402 h 1109282"/>
                  <a:gd name="connsiteX1430" fmla="*/ 408803 w 1168831"/>
                  <a:gd name="connsiteY1430" fmla="*/ 1055493 h 1109282"/>
                  <a:gd name="connsiteX1431" fmla="*/ 413500 w 1168831"/>
                  <a:gd name="connsiteY1431" fmla="*/ 1053069 h 1109282"/>
                  <a:gd name="connsiteX1432" fmla="*/ 417440 w 1168831"/>
                  <a:gd name="connsiteY1432" fmla="*/ 1050038 h 1109282"/>
                  <a:gd name="connsiteX1433" fmla="*/ 420773 w 1168831"/>
                  <a:gd name="connsiteY1433" fmla="*/ 1048220 h 1109282"/>
                  <a:gd name="connsiteX1434" fmla="*/ 424258 w 1168831"/>
                  <a:gd name="connsiteY1434" fmla="*/ 1047159 h 1109282"/>
                  <a:gd name="connsiteX1435" fmla="*/ 424561 w 1168831"/>
                  <a:gd name="connsiteY1435" fmla="*/ 1047766 h 1109282"/>
                  <a:gd name="connsiteX1436" fmla="*/ 421531 w 1168831"/>
                  <a:gd name="connsiteY1436" fmla="*/ 1049432 h 1109282"/>
                  <a:gd name="connsiteX1437" fmla="*/ 418652 w 1168831"/>
                  <a:gd name="connsiteY1437" fmla="*/ 1052160 h 1109282"/>
                  <a:gd name="connsiteX1438" fmla="*/ 414561 w 1168831"/>
                  <a:gd name="connsiteY1438" fmla="*/ 1055039 h 1109282"/>
                  <a:gd name="connsiteX1439" fmla="*/ 411833 w 1168831"/>
                  <a:gd name="connsiteY1439" fmla="*/ 1057766 h 1109282"/>
                  <a:gd name="connsiteX1440" fmla="*/ 411379 w 1168831"/>
                  <a:gd name="connsiteY1440" fmla="*/ 1060342 h 1109282"/>
                  <a:gd name="connsiteX1441" fmla="*/ 412288 w 1168831"/>
                  <a:gd name="connsiteY1441" fmla="*/ 1062312 h 1109282"/>
                  <a:gd name="connsiteX1442" fmla="*/ 411682 w 1168831"/>
                  <a:gd name="connsiteY1442" fmla="*/ 1064433 h 1109282"/>
                  <a:gd name="connsiteX1443" fmla="*/ 410015 w 1168831"/>
                  <a:gd name="connsiteY1443" fmla="*/ 1065948 h 1109282"/>
                  <a:gd name="connsiteX1444" fmla="*/ 410015 w 1168831"/>
                  <a:gd name="connsiteY1444" fmla="*/ 1067463 h 1109282"/>
                  <a:gd name="connsiteX1445" fmla="*/ 413500 w 1168831"/>
                  <a:gd name="connsiteY1445" fmla="*/ 1070342 h 1109282"/>
                  <a:gd name="connsiteX1446" fmla="*/ 415773 w 1168831"/>
                  <a:gd name="connsiteY1446" fmla="*/ 1071857 h 1109282"/>
                  <a:gd name="connsiteX1447" fmla="*/ 421834 w 1168831"/>
                  <a:gd name="connsiteY1447" fmla="*/ 1069282 h 1109282"/>
                  <a:gd name="connsiteX1448" fmla="*/ 423046 w 1168831"/>
                  <a:gd name="connsiteY1448" fmla="*/ 1069888 h 1109282"/>
                  <a:gd name="connsiteX1449" fmla="*/ 418955 w 1168831"/>
                  <a:gd name="connsiteY1449" fmla="*/ 1072160 h 1109282"/>
                  <a:gd name="connsiteX1450" fmla="*/ 416834 w 1168831"/>
                  <a:gd name="connsiteY1450" fmla="*/ 1075039 h 1109282"/>
                  <a:gd name="connsiteX1451" fmla="*/ 415773 w 1168831"/>
                  <a:gd name="connsiteY1451" fmla="*/ 1075191 h 1109282"/>
                  <a:gd name="connsiteX1452" fmla="*/ 409106 w 1168831"/>
                  <a:gd name="connsiteY1452" fmla="*/ 1071554 h 1109282"/>
                  <a:gd name="connsiteX1453" fmla="*/ 402439 w 1168831"/>
                  <a:gd name="connsiteY1453" fmla="*/ 1069433 h 1109282"/>
                  <a:gd name="connsiteX1454" fmla="*/ 400924 w 1168831"/>
                  <a:gd name="connsiteY1454" fmla="*/ 1070948 h 1109282"/>
                  <a:gd name="connsiteX1455" fmla="*/ 400015 w 1168831"/>
                  <a:gd name="connsiteY1455" fmla="*/ 1077009 h 1109282"/>
                  <a:gd name="connsiteX1456" fmla="*/ 399864 w 1168831"/>
                  <a:gd name="connsiteY1456" fmla="*/ 1080797 h 1109282"/>
                  <a:gd name="connsiteX1457" fmla="*/ 401682 w 1168831"/>
                  <a:gd name="connsiteY1457" fmla="*/ 1085040 h 1109282"/>
                  <a:gd name="connsiteX1458" fmla="*/ 405015 w 1168831"/>
                  <a:gd name="connsiteY1458" fmla="*/ 1088979 h 1109282"/>
                  <a:gd name="connsiteX1459" fmla="*/ 412440 w 1168831"/>
                  <a:gd name="connsiteY1459" fmla="*/ 1092616 h 1109282"/>
                  <a:gd name="connsiteX1460" fmla="*/ 414561 w 1168831"/>
                  <a:gd name="connsiteY1460" fmla="*/ 1094888 h 1109282"/>
                  <a:gd name="connsiteX1461" fmla="*/ 423652 w 1168831"/>
                  <a:gd name="connsiteY1461" fmla="*/ 1099131 h 1109282"/>
                  <a:gd name="connsiteX1462" fmla="*/ 426380 w 1168831"/>
                  <a:gd name="connsiteY1462" fmla="*/ 1099434 h 1109282"/>
                  <a:gd name="connsiteX1463" fmla="*/ 429864 w 1168831"/>
                  <a:gd name="connsiteY1463" fmla="*/ 1099131 h 1109282"/>
                  <a:gd name="connsiteX1464" fmla="*/ 431077 w 1168831"/>
                  <a:gd name="connsiteY1464" fmla="*/ 1099283 h 1109282"/>
                  <a:gd name="connsiteX1465" fmla="*/ 431531 w 1168831"/>
                  <a:gd name="connsiteY1465" fmla="*/ 1100495 h 1109282"/>
                  <a:gd name="connsiteX1466" fmla="*/ 431986 w 1168831"/>
                  <a:gd name="connsiteY1466" fmla="*/ 1100949 h 1109282"/>
                  <a:gd name="connsiteX1467" fmla="*/ 429561 w 1168831"/>
                  <a:gd name="connsiteY1467" fmla="*/ 1102919 h 1109282"/>
                  <a:gd name="connsiteX1468" fmla="*/ 428198 w 1168831"/>
                  <a:gd name="connsiteY1468" fmla="*/ 1105040 h 1109282"/>
                  <a:gd name="connsiteX1469" fmla="*/ 429107 w 1168831"/>
                  <a:gd name="connsiteY1469" fmla="*/ 1106101 h 1109282"/>
                  <a:gd name="connsiteX1470" fmla="*/ 432895 w 1168831"/>
                  <a:gd name="connsiteY1470" fmla="*/ 1107313 h 1109282"/>
                  <a:gd name="connsiteX1471" fmla="*/ 433804 w 1168831"/>
                  <a:gd name="connsiteY1471" fmla="*/ 1106859 h 1109282"/>
                  <a:gd name="connsiteX1472" fmla="*/ 433956 w 1168831"/>
                  <a:gd name="connsiteY1472" fmla="*/ 1104889 h 1109282"/>
                  <a:gd name="connsiteX1473" fmla="*/ 434865 w 1168831"/>
                  <a:gd name="connsiteY1473" fmla="*/ 1103980 h 1109282"/>
                  <a:gd name="connsiteX1474" fmla="*/ 436834 w 1168831"/>
                  <a:gd name="connsiteY1474" fmla="*/ 1104131 h 1109282"/>
                  <a:gd name="connsiteX1475" fmla="*/ 437744 w 1168831"/>
                  <a:gd name="connsiteY1475" fmla="*/ 1104434 h 1109282"/>
                  <a:gd name="connsiteX1476" fmla="*/ 437289 w 1168831"/>
                  <a:gd name="connsiteY1476" fmla="*/ 1105343 h 1109282"/>
                  <a:gd name="connsiteX1477" fmla="*/ 437138 w 1168831"/>
                  <a:gd name="connsiteY1477" fmla="*/ 1106101 h 1109282"/>
                  <a:gd name="connsiteX1478" fmla="*/ 437440 w 1168831"/>
                  <a:gd name="connsiteY1478" fmla="*/ 1107313 h 1109282"/>
                  <a:gd name="connsiteX1479" fmla="*/ 440168 w 1168831"/>
                  <a:gd name="connsiteY1479" fmla="*/ 1109131 h 1109282"/>
                  <a:gd name="connsiteX1480" fmla="*/ 445320 w 1168831"/>
                  <a:gd name="connsiteY1480" fmla="*/ 1108222 h 1109282"/>
                  <a:gd name="connsiteX1481" fmla="*/ 452744 w 1168831"/>
                  <a:gd name="connsiteY1481" fmla="*/ 1109283 h 1109282"/>
                  <a:gd name="connsiteX1482" fmla="*/ 463957 w 1168831"/>
                  <a:gd name="connsiteY1482" fmla="*/ 1107010 h 1109282"/>
                  <a:gd name="connsiteX1483" fmla="*/ 468351 w 1168831"/>
                  <a:gd name="connsiteY1483" fmla="*/ 1104283 h 1109282"/>
                  <a:gd name="connsiteX1484" fmla="*/ 471836 w 1168831"/>
                  <a:gd name="connsiteY1484" fmla="*/ 1104434 h 1109282"/>
                  <a:gd name="connsiteX1485" fmla="*/ 475775 w 1168831"/>
                  <a:gd name="connsiteY1485" fmla="*/ 1101252 h 1109282"/>
                  <a:gd name="connsiteX1486" fmla="*/ 481533 w 1168831"/>
                  <a:gd name="connsiteY1486" fmla="*/ 1098222 h 1109282"/>
                  <a:gd name="connsiteX1487" fmla="*/ 492745 w 1168831"/>
                  <a:gd name="connsiteY1487" fmla="*/ 1087464 h 1109282"/>
                  <a:gd name="connsiteX1488" fmla="*/ 499564 w 1168831"/>
                  <a:gd name="connsiteY1488" fmla="*/ 1083221 h 1109282"/>
                  <a:gd name="connsiteX1489" fmla="*/ 500019 w 1168831"/>
                  <a:gd name="connsiteY1489" fmla="*/ 1081706 h 1109282"/>
                  <a:gd name="connsiteX1490" fmla="*/ 501231 w 1168831"/>
                  <a:gd name="connsiteY1490" fmla="*/ 1080646 h 1109282"/>
                  <a:gd name="connsiteX1491" fmla="*/ 503504 w 1168831"/>
                  <a:gd name="connsiteY1491" fmla="*/ 1080342 h 1109282"/>
                  <a:gd name="connsiteX1492" fmla="*/ 505474 w 1168831"/>
                  <a:gd name="connsiteY1492" fmla="*/ 1078070 h 1109282"/>
                  <a:gd name="connsiteX1493" fmla="*/ 503200 w 1168831"/>
                  <a:gd name="connsiteY1493" fmla="*/ 1075948 h 1109282"/>
                  <a:gd name="connsiteX1494" fmla="*/ 509867 w 1168831"/>
                  <a:gd name="connsiteY1494" fmla="*/ 1072918 h 1109282"/>
                  <a:gd name="connsiteX1495" fmla="*/ 511685 w 1168831"/>
                  <a:gd name="connsiteY1495" fmla="*/ 1072463 h 1109282"/>
                  <a:gd name="connsiteX1496" fmla="*/ 512746 w 1168831"/>
                  <a:gd name="connsiteY1496" fmla="*/ 1071403 h 1109282"/>
                  <a:gd name="connsiteX1497" fmla="*/ 513807 w 1168831"/>
                  <a:gd name="connsiteY1497" fmla="*/ 1069888 h 1109282"/>
                  <a:gd name="connsiteX1498" fmla="*/ 511989 w 1168831"/>
                  <a:gd name="connsiteY1498" fmla="*/ 1067615 h 1109282"/>
                  <a:gd name="connsiteX1499" fmla="*/ 510019 w 1168831"/>
                  <a:gd name="connsiteY1499" fmla="*/ 1065796 h 1109282"/>
                  <a:gd name="connsiteX1500" fmla="*/ 512140 w 1168831"/>
                  <a:gd name="connsiteY1500" fmla="*/ 1065645 h 1109282"/>
                  <a:gd name="connsiteX1501" fmla="*/ 516686 w 1168831"/>
                  <a:gd name="connsiteY1501" fmla="*/ 1069282 h 1109282"/>
                  <a:gd name="connsiteX1502" fmla="*/ 517898 w 1168831"/>
                  <a:gd name="connsiteY1502" fmla="*/ 1072009 h 1109282"/>
                  <a:gd name="connsiteX1503" fmla="*/ 521080 w 1168831"/>
                  <a:gd name="connsiteY1503" fmla="*/ 1071554 h 1109282"/>
                  <a:gd name="connsiteX1504" fmla="*/ 524414 w 1168831"/>
                  <a:gd name="connsiteY1504" fmla="*/ 1069130 h 1109282"/>
                  <a:gd name="connsiteX1505" fmla="*/ 526989 w 1168831"/>
                  <a:gd name="connsiteY1505" fmla="*/ 1069888 h 1109282"/>
                  <a:gd name="connsiteX1506" fmla="*/ 527747 w 1168831"/>
                  <a:gd name="connsiteY1506" fmla="*/ 1068675 h 1109282"/>
                  <a:gd name="connsiteX1507" fmla="*/ 528807 w 1168831"/>
                  <a:gd name="connsiteY1507" fmla="*/ 1067766 h 1109282"/>
                  <a:gd name="connsiteX1508" fmla="*/ 533959 w 1168831"/>
                  <a:gd name="connsiteY1508" fmla="*/ 1058978 h 1109282"/>
                  <a:gd name="connsiteX1509" fmla="*/ 534565 w 1168831"/>
                  <a:gd name="connsiteY1509" fmla="*/ 1055039 h 1109282"/>
                  <a:gd name="connsiteX1510" fmla="*/ 534414 w 1168831"/>
                  <a:gd name="connsiteY1510" fmla="*/ 1052311 h 1109282"/>
                  <a:gd name="connsiteX1511" fmla="*/ 533353 w 1168831"/>
                  <a:gd name="connsiteY1511" fmla="*/ 1051857 h 1109282"/>
                  <a:gd name="connsiteX1512" fmla="*/ 533050 w 1168831"/>
                  <a:gd name="connsiteY1512" fmla="*/ 1049281 h 1109282"/>
                  <a:gd name="connsiteX1513" fmla="*/ 535626 w 1168831"/>
                  <a:gd name="connsiteY1513" fmla="*/ 1048372 h 1109282"/>
                  <a:gd name="connsiteX1514" fmla="*/ 537747 w 1168831"/>
                  <a:gd name="connsiteY1514" fmla="*/ 1046553 h 1109282"/>
                  <a:gd name="connsiteX1515" fmla="*/ 536838 w 1168831"/>
                  <a:gd name="connsiteY1515" fmla="*/ 1042159 h 1109282"/>
                  <a:gd name="connsiteX1516" fmla="*/ 538505 w 1168831"/>
                  <a:gd name="connsiteY1516" fmla="*/ 1039432 h 1109282"/>
                  <a:gd name="connsiteX1517" fmla="*/ 538808 w 1168831"/>
                  <a:gd name="connsiteY1517" fmla="*/ 1042917 h 1109282"/>
                  <a:gd name="connsiteX1518" fmla="*/ 539566 w 1168831"/>
                  <a:gd name="connsiteY1518" fmla="*/ 1046099 h 1109282"/>
                  <a:gd name="connsiteX1519" fmla="*/ 539414 w 1168831"/>
                  <a:gd name="connsiteY1519" fmla="*/ 1053220 h 1109282"/>
                  <a:gd name="connsiteX1520" fmla="*/ 539869 w 1168831"/>
                  <a:gd name="connsiteY1520" fmla="*/ 1054736 h 1109282"/>
                  <a:gd name="connsiteX1521" fmla="*/ 542596 w 1168831"/>
                  <a:gd name="connsiteY1521" fmla="*/ 1058524 h 1109282"/>
                  <a:gd name="connsiteX1522" fmla="*/ 545172 w 1168831"/>
                  <a:gd name="connsiteY1522" fmla="*/ 1063069 h 1109282"/>
                  <a:gd name="connsiteX1523" fmla="*/ 548202 w 1168831"/>
                  <a:gd name="connsiteY1523" fmla="*/ 1063524 h 1109282"/>
                  <a:gd name="connsiteX1524" fmla="*/ 549717 w 1168831"/>
                  <a:gd name="connsiteY1524" fmla="*/ 1063827 h 1109282"/>
                  <a:gd name="connsiteX1525" fmla="*/ 552293 w 1168831"/>
                  <a:gd name="connsiteY1525" fmla="*/ 1064736 h 1109282"/>
                  <a:gd name="connsiteX1526" fmla="*/ 553354 w 1168831"/>
                  <a:gd name="connsiteY1526" fmla="*/ 1064736 h 1109282"/>
                  <a:gd name="connsiteX1527" fmla="*/ 559718 w 1168831"/>
                  <a:gd name="connsiteY1527" fmla="*/ 1066251 h 1109282"/>
                  <a:gd name="connsiteX1528" fmla="*/ 560324 w 1168831"/>
                  <a:gd name="connsiteY1528" fmla="*/ 1067766 h 1109282"/>
                  <a:gd name="connsiteX1529" fmla="*/ 560324 w 1168831"/>
                  <a:gd name="connsiteY1529" fmla="*/ 1068978 h 1109282"/>
                  <a:gd name="connsiteX1530" fmla="*/ 562597 w 1168831"/>
                  <a:gd name="connsiteY1530" fmla="*/ 1074130 h 1109282"/>
                  <a:gd name="connsiteX1531" fmla="*/ 564567 w 1168831"/>
                  <a:gd name="connsiteY1531" fmla="*/ 1074736 h 1109282"/>
                  <a:gd name="connsiteX1532" fmla="*/ 567294 w 1168831"/>
                  <a:gd name="connsiteY1532" fmla="*/ 1073373 h 1109282"/>
                  <a:gd name="connsiteX1533" fmla="*/ 569264 w 1168831"/>
                  <a:gd name="connsiteY1533" fmla="*/ 1069584 h 1109282"/>
                  <a:gd name="connsiteX1534" fmla="*/ 570324 w 1168831"/>
                  <a:gd name="connsiteY1534" fmla="*/ 1063978 h 1109282"/>
                  <a:gd name="connsiteX1535" fmla="*/ 571536 w 1168831"/>
                  <a:gd name="connsiteY1535" fmla="*/ 1058675 h 1109282"/>
                  <a:gd name="connsiteX1536" fmla="*/ 570021 w 1168831"/>
                  <a:gd name="connsiteY1536" fmla="*/ 1052917 h 1109282"/>
                  <a:gd name="connsiteX1537" fmla="*/ 568355 w 1168831"/>
                  <a:gd name="connsiteY1537" fmla="*/ 1047917 h 1109282"/>
                  <a:gd name="connsiteX1538" fmla="*/ 568203 w 1168831"/>
                  <a:gd name="connsiteY1538" fmla="*/ 1046402 h 1109282"/>
                  <a:gd name="connsiteX1539" fmla="*/ 572445 w 1168831"/>
                  <a:gd name="connsiteY1539" fmla="*/ 1042159 h 1109282"/>
                  <a:gd name="connsiteX1540" fmla="*/ 573658 w 1168831"/>
                  <a:gd name="connsiteY1540" fmla="*/ 1038674 h 1109282"/>
                  <a:gd name="connsiteX1541" fmla="*/ 575022 w 1168831"/>
                  <a:gd name="connsiteY1541" fmla="*/ 1035341 h 1109282"/>
                  <a:gd name="connsiteX1542" fmla="*/ 576536 w 1168831"/>
                  <a:gd name="connsiteY1542" fmla="*/ 1034280 h 1109282"/>
                  <a:gd name="connsiteX1543" fmla="*/ 578810 w 1168831"/>
                  <a:gd name="connsiteY1543" fmla="*/ 1033977 h 1109282"/>
                  <a:gd name="connsiteX1544" fmla="*/ 581537 w 1168831"/>
                  <a:gd name="connsiteY1544" fmla="*/ 1033371 h 1109282"/>
                  <a:gd name="connsiteX1545" fmla="*/ 584870 w 1168831"/>
                  <a:gd name="connsiteY1545" fmla="*/ 1031098 h 1109282"/>
                  <a:gd name="connsiteX1546" fmla="*/ 587900 w 1168831"/>
                  <a:gd name="connsiteY1546" fmla="*/ 1028068 h 1109282"/>
                  <a:gd name="connsiteX1547" fmla="*/ 590174 w 1168831"/>
                  <a:gd name="connsiteY1547" fmla="*/ 1025340 h 1109282"/>
                  <a:gd name="connsiteX1548" fmla="*/ 590931 w 1168831"/>
                  <a:gd name="connsiteY1548" fmla="*/ 1019886 h 1109282"/>
                  <a:gd name="connsiteX1549" fmla="*/ 590931 w 1168831"/>
                  <a:gd name="connsiteY1549" fmla="*/ 1017158 h 1109282"/>
                  <a:gd name="connsiteX1550" fmla="*/ 591992 w 1168831"/>
                  <a:gd name="connsiteY1550" fmla="*/ 1015189 h 1109282"/>
                  <a:gd name="connsiteX1551" fmla="*/ 592901 w 1168831"/>
                  <a:gd name="connsiteY1551" fmla="*/ 1011249 h 1109282"/>
                  <a:gd name="connsiteX1552" fmla="*/ 591992 w 1168831"/>
                  <a:gd name="connsiteY1552" fmla="*/ 1007309 h 1109282"/>
                  <a:gd name="connsiteX1553" fmla="*/ 588961 w 1168831"/>
                  <a:gd name="connsiteY1553" fmla="*/ 1001400 h 1109282"/>
                  <a:gd name="connsiteX1554" fmla="*/ 585325 w 1168831"/>
                  <a:gd name="connsiteY1554" fmla="*/ 993067 h 1109282"/>
                  <a:gd name="connsiteX1555" fmla="*/ 584719 w 1168831"/>
                  <a:gd name="connsiteY1555" fmla="*/ 988521 h 1109282"/>
                  <a:gd name="connsiteX1556" fmla="*/ 586386 w 1168831"/>
                  <a:gd name="connsiteY1556" fmla="*/ 987612 h 1109282"/>
                  <a:gd name="connsiteX1557" fmla="*/ 589567 w 1168831"/>
                  <a:gd name="connsiteY1557" fmla="*/ 986854 h 1109282"/>
                  <a:gd name="connsiteX1558" fmla="*/ 595476 w 1168831"/>
                  <a:gd name="connsiteY1558" fmla="*/ 986703 h 1109282"/>
                  <a:gd name="connsiteX1559" fmla="*/ 596083 w 1168831"/>
                  <a:gd name="connsiteY1559" fmla="*/ 986097 h 1109282"/>
                  <a:gd name="connsiteX1560" fmla="*/ 596689 w 1168831"/>
                  <a:gd name="connsiteY1560" fmla="*/ 984127 h 1109282"/>
                  <a:gd name="connsiteX1561" fmla="*/ 598053 w 1168831"/>
                  <a:gd name="connsiteY1561" fmla="*/ 981399 h 1109282"/>
                  <a:gd name="connsiteX1562" fmla="*/ 599416 w 1168831"/>
                  <a:gd name="connsiteY1562" fmla="*/ 979430 h 1109282"/>
                  <a:gd name="connsiteX1563" fmla="*/ 600325 w 1168831"/>
                  <a:gd name="connsiteY1563" fmla="*/ 976551 h 1109282"/>
                  <a:gd name="connsiteX1564" fmla="*/ 600780 w 1168831"/>
                  <a:gd name="connsiteY1564" fmla="*/ 973975 h 1109282"/>
                  <a:gd name="connsiteX1565" fmla="*/ 598053 w 1168831"/>
                  <a:gd name="connsiteY1565" fmla="*/ 969126 h 1109282"/>
                  <a:gd name="connsiteX1566" fmla="*/ 593658 w 1168831"/>
                  <a:gd name="connsiteY1566" fmla="*/ 965187 h 1109282"/>
                  <a:gd name="connsiteX1567" fmla="*/ 590628 w 1168831"/>
                  <a:gd name="connsiteY1567" fmla="*/ 963823 h 1109282"/>
                  <a:gd name="connsiteX1568" fmla="*/ 585325 w 1168831"/>
                  <a:gd name="connsiteY1568" fmla="*/ 960490 h 1109282"/>
                  <a:gd name="connsiteX1569" fmla="*/ 581537 w 1168831"/>
                  <a:gd name="connsiteY1569" fmla="*/ 957611 h 1109282"/>
                  <a:gd name="connsiteX1570" fmla="*/ 583658 w 1168831"/>
                  <a:gd name="connsiteY1570" fmla="*/ 946853 h 1109282"/>
                  <a:gd name="connsiteX1571" fmla="*/ 585325 w 1168831"/>
                  <a:gd name="connsiteY1571" fmla="*/ 938822 h 1109282"/>
                  <a:gd name="connsiteX1572" fmla="*/ 585628 w 1168831"/>
                  <a:gd name="connsiteY1572" fmla="*/ 936852 h 1109282"/>
                  <a:gd name="connsiteX1573" fmla="*/ 585628 w 1168831"/>
                  <a:gd name="connsiteY1573" fmla="*/ 933822 h 1109282"/>
                  <a:gd name="connsiteX1574" fmla="*/ 580476 w 1168831"/>
                  <a:gd name="connsiteY1574" fmla="*/ 920791 h 1109282"/>
                  <a:gd name="connsiteX1575" fmla="*/ 580628 w 1168831"/>
                  <a:gd name="connsiteY1575" fmla="*/ 917912 h 1109282"/>
                  <a:gd name="connsiteX1576" fmla="*/ 581082 w 1168831"/>
                  <a:gd name="connsiteY1576" fmla="*/ 915336 h 1109282"/>
                  <a:gd name="connsiteX1577" fmla="*/ 580476 w 1168831"/>
                  <a:gd name="connsiteY1577" fmla="*/ 910791 h 1109282"/>
                  <a:gd name="connsiteX1578" fmla="*/ 580173 w 1168831"/>
                  <a:gd name="connsiteY1578" fmla="*/ 906851 h 1109282"/>
                  <a:gd name="connsiteX1579" fmla="*/ 581082 w 1168831"/>
                  <a:gd name="connsiteY1579" fmla="*/ 905639 h 1109282"/>
                  <a:gd name="connsiteX1580" fmla="*/ 583203 w 1168831"/>
                  <a:gd name="connsiteY1580" fmla="*/ 903366 h 1109282"/>
                  <a:gd name="connsiteX1581" fmla="*/ 581234 w 1168831"/>
                  <a:gd name="connsiteY1581" fmla="*/ 899881 h 1109282"/>
                  <a:gd name="connsiteX1582" fmla="*/ 581082 w 1168831"/>
                  <a:gd name="connsiteY1582" fmla="*/ 899578 h 1109282"/>
                  <a:gd name="connsiteX1583" fmla="*/ 577294 w 1168831"/>
                  <a:gd name="connsiteY1583" fmla="*/ 890790 h 1109282"/>
                  <a:gd name="connsiteX1584" fmla="*/ 583052 w 1168831"/>
                  <a:gd name="connsiteY1584" fmla="*/ 882153 h 1109282"/>
                  <a:gd name="connsiteX1585" fmla="*/ 581991 w 1168831"/>
                  <a:gd name="connsiteY1585" fmla="*/ 877608 h 1109282"/>
                  <a:gd name="connsiteX1586" fmla="*/ 585477 w 1168831"/>
                  <a:gd name="connsiteY1586" fmla="*/ 874274 h 1109282"/>
                  <a:gd name="connsiteX1587" fmla="*/ 591840 w 1168831"/>
                  <a:gd name="connsiteY1587" fmla="*/ 866698 h 1109282"/>
                  <a:gd name="connsiteX1588" fmla="*/ 595325 w 1168831"/>
                  <a:gd name="connsiteY1588" fmla="*/ 862456 h 1109282"/>
                  <a:gd name="connsiteX1589" fmla="*/ 596083 w 1168831"/>
                  <a:gd name="connsiteY1589" fmla="*/ 861698 h 1109282"/>
                  <a:gd name="connsiteX1590" fmla="*/ 598962 w 1168831"/>
                  <a:gd name="connsiteY1590" fmla="*/ 859880 h 1109282"/>
                  <a:gd name="connsiteX1591" fmla="*/ 604265 w 1168831"/>
                  <a:gd name="connsiteY1591" fmla="*/ 857607 h 1109282"/>
                  <a:gd name="connsiteX1592" fmla="*/ 610174 w 1168831"/>
                  <a:gd name="connsiteY1592" fmla="*/ 856546 h 1109282"/>
                  <a:gd name="connsiteX1593" fmla="*/ 612750 w 1168831"/>
                  <a:gd name="connsiteY1593" fmla="*/ 856546 h 1109282"/>
                  <a:gd name="connsiteX1594" fmla="*/ 622902 w 1168831"/>
                  <a:gd name="connsiteY1594" fmla="*/ 858062 h 1109282"/>
                  <a:gd name="connsiteX1595" fmla="*/ 630781 w 1168831"/>
                  <a:gd name="connsiteY1595" fmla="*/ 859274 h 1109282"/>
                  <a:gd name="connsiteX1596" fmla="*/ 631993 w 1168831"/>
                  <a:gd name="connsiteY1596" fmla="*/ 858062 h 1109282"/>
                  <a:gd name="connsiteX1597" fmla="*/ 633660 w 1168831"/>
                  <a:gd name="connsiteY1597" fmla="*/ 855637 h 1109282"/>
                  <a:gd name="connsiteX1598" fmla="*/ 635781 w 1168831"/>
                  <a:gd name="connsiteY1598" fmla="*/ 852152 h 1109282"/>
                  <a:gd name="connsiteX1599" fmla="*/ 635933 w 1168831"/>
                  <a:gd name="connsiteY1599" fmla="*/ 848364 h 1109282"/>
                  <a:gd name="connsiteX1600" fmla="*/ 635175 w 1168831"/>
                  <a:gd name="connsiteY1600" fmla="*/ 842758 h 1109282"/>
                  <a:gd name="connsiteX1601" fmla="*/ 633963 w 1168831"/>
                  <a:gd name="connsiteY1601" fmla="*/ 839425 h 1109282"/>
                  <a:gd name="connsiteX1602" fmla="*/ 628357 w 1168831"/>
                  <a:gd name="connsiteY1602" fmla="*/ 837303 h 1109282"/>
                  <a:gd name="connsiteX1603" fmla="*/ 622296 w 1168831"/>
                  <a:gd name="connsiteY1603" fmla="*/ 834273 h 1109282"/>
                  <a:gd name="connsiteX1604" fmla="*/ 629872 w 1168831"/>
                  <a:gd name="connsiteY1604" fmla="*/ 824727 h 1109282"/>
                  <a:gd name="connsiteX1605" fmla="*/ 635024 w 1168831"/>
                  <a:gd name="connsiteY1605" fmla="*/ 818060 h 1109282"/>
                  <a:gd name="connsiteX1606" fmla="*/ 641539 w 1168831"/>
                  <a:gd name="connsiteY1606" fmla="*/ 808060 h 1109282"/>
                  <a:gd name="connsiteX1607" fmla="*/ 643509 w 1168831"/>
                  <a:gd name="connsiteY1607" fmla="*/ 803817 h 1109282"/>
                  <a:gd name="connsiteX1608" fmla="*/ 645024 w 1168831"/>
                  <a:gd name="connsiteY1608" fmla="*/ 802150 h 1109282"/>
                  <a:gd name="connsiteX1609" fmla="*/ 646994 w 1168831"/>
                  <a:gd name="connsiteY1609" fmla="*/ 786695 h 1109282"/>
                  <a:gd name="connsiteX1610" fmla="*/ 648206 w 1168831"/>
                  <a:gd name="connsiteY1610" fmla="*/ 782301 h 1109282"/>
                  <a:gd name="connsiteX1611" fmla="*/ 649267 w 1168831"/>
                  <a:gd name="connsiteY1611" fmla="*/ 780028 h 1109282"/>
                  <a:gd name="connsiteX1612" fmla="*/ 649267 w 1168831"/>
                  <a:gd name="connsiteY1612" fmla="*/ 777756 h 1109282"/>
                  <a:gd name="connsiteX1613" fmla="*/ 648509 w 1168831"/>
                  <a:gd name="connsiteY1613" fmla="*/ 773816 h 1109282"/>
                  <a:gd name="connsiteX1614" fmla="*/ 646691 w 1168831"/>
                  <a:gd name="connsiteY1614" fmla="*/ 764876 h 1109282"/>
                  <a:gd name="connsiteX1615" fmla="*/ 656994 w 1168831"/>
                  <a:gd name="connsiteY1615" fmla="*/ 763816 h 1109282"/>
                  <a:gd name="connsiteX1616" fmla="*/ 660327 w 1168831"/>
                  <a:gd name="connsiteY1616" fmla="*/ 763210 h 1109282"/>
                  <a:gd name="connsiteX1617" fmla="*/ 663358 w 1168831"/>
                  <a:gd name="connsiteY1617" fmla="*/ 762149 h 1109282"/>
                  <a:gd name="connsiteX1618" fmla="*/ 669419 w 1168831"/>
                  <a:gd name="connsiteY1618" fmla="*/ 759422 h 1109282"/>
                  <a:gd name="connsiteX1619" fmla="*/ 672449 w 1168831"/>
                  <a:gd name="connsiteY1619" fmla="*/ 756997 h 1109282"/>
                  <a:gd name="connsiteX1620" fmla="*/ 670782 w 1168831"/>
                  <a:gd name="connsiteY1620" fmla="*/ 748664 h 1109282"/>
                  <a:gd name="connsiteX1621" fmla="*/ 674419 w 1168831"/>
                  <a:gd name="connsiteY1621" fmla="*/ 745785 h 1109282"/>
                  <a:gd name="connsiteX1622" fmla="*/ 683359 w 1168831"/>
                  <a:gd name="connsiteY1622" fmla="*/ 735784 h 1109282"/>
                  <a:gd name="connsiteX1623" fmla="*/ 693056 w 1168831"/>
                  <a:gd name="connsiteY1623" fmla="*/ 726239 h 1109282"/>
                  <a:gd name="connsiteX1624" fmla="*/ 697602 w 1168831"/>
                  <a:gd name="connsiteY1624" fmla="*/ 722602 h 1109282"/>
                  <a:gd name="connsiteX1625" fmla="*/ 698056 w 1168831"/>
                  <a:gd name="connsiteY1625" fmla="*/ 720784 h 1109282"/>
                  <a:gd name="connsiteX1626" fmla="*/ 698359 w 1168831"/>
                  <a:gd name="connsiteY1626" fmla="*/ 717905 h 1109282"/>
                  <a:gd name="connsiteX1627" fmla="*/ 696389 w 1168831"/>
                  <a:gd name="connsiteY1627" fmla="*/ 713359 h 1109282"/>
                  <a:gd name="connsiteX1628" fmla="*/ 694268 w 1168831"/>
                  <a:gd name="connsiteY1628" fmla="*/ 710632 h 1109282"/>
                  <a:gd name="connsiteX1629" fmla="*/ 690026 w 1168831"/>
                  <a:gd name="connsiteY1629" fmla="*/ 705329 h 1109282"/>
                  <a:gd name="connsiteX1630" fmla="*/ 691844 w 1168831"/>
                  <a:gd name="connsiteY1630" fmla="*/ 701692 h 1109282"/>
                  <a:gd name="connsiteX1631" fmla="*/ 695026 w 1168831"/>
                  <a:gd name="connsiteY1631" fmla="*/ 700935 h 1109282"/>
                  <a:gd name="connsiteX1632" fmla="*/ 699117 w 1168831"/>
                  <a:gd name="connsiteY1632" fmla="*/ 699420 h 1109282"/>
                  <a:gd name="connsiteX1633" fmla="*/ 702299 w 1168831"/>
                  <a:gd name="connsiteY1633" fmla="*/ 696238 h 1109282"/>
                  <a:gd name="connsiteX1634" fmla="*/ 702602 w 1168831"/>
                  <a:gd name="connsiteY1634" fmla="*/ 695783 h 1109282"/>
                  <a:gd name="connsiteX1635" fmla="*/ 708057 w 1168831"/>
                  <a:gd name="connsiteY1635" fmla="*/ 683207 h 1109282"/>
                  <a:gd name="connsiteX1636" fmla="*/ 718663 w 1168831"/>
                  <a:gd name="connsiteY1636" fmla="*/ 676843 h 1109282"/>
                  <a:gd name="connsiteX1637" fmla="*/ 722905 w 1168831"/>
                  <a:gd name="connsiteY1637" fmla="*/ 673358 h 1109282"/>
                  <a:gd name="connsiteX1638" fmla="*/ 729421 w 1168831"/>
                  <a:gd name="connsiteY1638" fmla="*/ 675934 h 1109282"/>
                  <a:gd name="connsiteX1639" fmla="*/ 739118 w 1168831"/>
                  <a:gd name="connsiteY1639" fmla="*/ 679873 h 1109282"/>
                  <a:gd name="connsiteX1640" fmla="*/ 743361 w 1168831"/>
                  <a:gd name="connsiteY1640" fmla="*/ 674116 h 1109282"/>
                  <a:gd name="connsiteX1641" fmla="*/ 744725 w 1168831"/>
                  <a:gd name="connsiteY1641" fmla="*/ 671994 h 1109282"/>
                  <a:gd name="connsiteX1642" fmla="*/ 746088 w 1168831"/>
                  <a:gd name="connsiteY1642" fmla="*/ 668812 h 1109282"/>
                  <a:gd name="connsiteX1643" fmla="*/ 745482 w 1168831"/>
                  <a:gd name="connsiteY1643" fmla="*/ 663358 h 1109282"/>
                  <a:gd name="connsiteX1644" fmla="*/ 745179 w 1168831"/>
                  <a:gd name="connsiteY1644" fmla="*/ 656236 h 1109282"/>
                  <a:gd name="connsiteX1645" fmla="*/ 745634 w 1168831"/>
                  <a:gd name="connsiteY1645" fmla="*/ 653357 h 1109282"/>
                  <a:gd name="connsiteX1646" fmla="*/ 749422 w 1168831"/>
                  <a:gd name="connsiteY1646" fmla="*/ 652145 h 1109282"/>
                  <a:gd name="connsiteX1647" fmla="*/ 751543 w 1168831"/>
                  <a:gd name="connsiteY1647" fmla="*/ 651842 h 1109282"/>
                  <a:gd name="connsiteX1648" fmla="*/ 762301 w 1168831"/>
                  <a:gd name="connsiteY1648" fmla="*/ 654872 h 1109282"/>
                  <a:gd name="connsiteX1649" fmla="*/ 765028 w 1168831"/>
                  <a:gd name="connsiteY1649" fmla="*/ 654872 h 1109282"/>
                  <a:gd name="connsiteX1650" fmla="*/ 770029 w 1168831"/>
                  <a:gd name="connsiteY1650" fmla="*/ 655327 h 1109282"/>
                  <a:gd name="connsiteX1651" fmla="*/ 775635 w 1168831"/>
                  <a:gd name="connsiteY1651" fmla="*/ 656691 h 1109282"/>
                  <a:gd name="connsiteX1652" fmla="*/ 787453 w 1168831"/>
                  <a:gd name="connsiteY1652" fmla="*/ 660176 h 1109282"/>
                  <a:gd name="connsiteX1653" fmla="*/ 792302 w 1168831"/>
                  <a:gd name="connsiteY1653" fmla="*/ 661539 h 1109282"/>
                  <a:gd name="connsiteX1654" fmla="*/ 795030 w 1168831"/>
                  <a:gd name="connsiteY1654" fmla="*/ 661842 h 1109282"/>
                  <a:gd name="connsiteX1655" fmla="*/ 797454 w 1168831"/>
                  <a:gd name="connsiteY1655" fmla="*/ 660176 h 1109282"/>
                  <a:gd name="connsiteX1656" fmla="*/ 802454 w 1168831"/>
                  <a:gd name="connsiteY1656" fmla="*/ 656085 h 1109282"/>
                  <a:gd name="connsiteX1657" fmla="*/ 795030 w 1168831"/>
                  <a:gd name="connsiteY1657" fmla="*/ 653054 h 1109282"/>
                  <a:gd name="connsiteX1658" fmla="*/ 799878 w 1168831"/>
                  <a:gd name="connsiteY1658" fmla="*/ 649872 h 1109282"/>
                  <a:gd name="connsiteX1659" fmla="*/ 802454 w 1168831"/>
                  <a:gd name="connsiteY1659" fmla="*/ 646690 h 1109282"/>
                  <a:gd name="connsiteX1660" fmla="*/ 804575 w 1168831"/>
                  <a:gd name="connsiteY1660" fmla="*/ 642751 h 1109282"/>
                  <a:gd name="connsiteX1661" fmla="*/ 805333 w 1168831"/>
                  <a:gd name="connsiteY1661" fmla="*/ 638205 h 1109282"/>
                  <a:gd name="connsiteX1662" fmla="*/ 805030 w 1168831"/>
                  <a:gd name="connsiteY1662" fmla="*/ 635781 h 1109282"/>
                  <a:gd name="connsiteX1663" fmla="*/ 803515 w 1168831"/>
                  <a:gd name="connsiteY1663" fmla="*/ 634114 h 1109282"/>
                  <a:gd name="connsiteX1664" fmla="*/ 798969 w 1168831"/>
                  <a:gd name="connsiteY1664" fmla="*/ 630023 h 1109282"/>
                  <a:gd name="connsiteX1665" fmla="*/ 809273 w 1168831"/>
                  <a:gd name="connsiteY1665" fmla="*/ 629417 h 1109282"/>
                  <a:gd name="connsiteX1666" fmla="*/ 812909 w 1168831"/>
                  <a:gd name="connsiteY1666" fmla="*/ 629265 h 1109282"/>
                  <a:gd name="connsiteX1667" fmla="*/ 814424 w 1168831"/>
                  <a:gd name="connsiteY1667" fmla="*/ 627750 h 1109282"/>
                  <a:gd name="connsiteX1668" fmla="*/ 820334 w 1168831"/>
                  <a:gd name="connsiteY1668" fmla="*/ 627599 h 1109282"/>
                  <a:gd name="connsiteX1669" fmla="*/ 825182 w 1168831"/>
                  <a:gd name="connsiteY1669" fmla="*/ 628962 h 1109282"/>
                  <a:gd name="connsiteX1670" fmla="*/ 826243 w 1168831"/>
                  <a:gd name="connsiteY1670" fmla="*/ 628356 h 1109282"/>
                  <a:gd name="connsiteX1671" fmla="*/ 826849 w 1168831"/>
                  <a:gd name="connsiteY1671" fmla="*/ 627144 h 1109282"/>
                  <a:gd name="connsiteX1672" fmla="*/ 824727 w 1168831"/>
                  <a:gd name="connsiteY1672" fmla="*/ 621992 h 1109282"/>
                  <a:gd name="connsiteX1673" fmla="*/ 825031 w 1168831"/>
                  <a:gd name="connsiteY1673" fmla="*/ 620629 h 1109282"/>
                  <a:gd name="connsiteX1674" fmla="*/ 827152 w 1168831"/>
                  <a:gd name="connsiteY1674" fmla="*/ 618962 h 1109282"/>
                  <a:gd name="connsiteX1675" fmla="*/ 830485 w 1168831"/>
                  <a:gd name="connsiteY1675" fmla="*/ 617750 h 1109282"/>
                  <a:gd name="connsiteX1676" fmla="*/ 835789 w 1168831"/>
                  <a:gd name="connsiteY1676" fmla="*/ 617598 h 1109282"/>
                  <a:gd name="connsiteX1677" fmla="*/ 839425 w 1168831"/>
                  <a:gd name="connsiteY1677" fmla="*/ 617750 h 1109282"/>
                  <a:gd name="connsiteX1678" fmla="*/ 840486 w 1168831"/>
                  <a:gd name="connsiteY1678" fmla="*/ 617750 h 1109282"/>
                  <a:gd name="connsiteX1679" fmla="*/ 845940 w 1168831"/>
                  <a:gd name="connsiteY1679" fmla="*/ 623356 h 1109282"/>
                  <a:gd name="connsiteX1680" fmla="*/ 850638 w 1168831"/>
                  <a:gd name="connsiteY1680" fmla="*/ 628811 h 1109282"/>
                  <a:gd name="connsiteX1681" fmla="*/ 853062 w 1168831"/>
                  <a:gd name="connsiteY1681" fmla="*/ 631084 h 1109282"/>
                  <a:gd name="connsiteX1682" fmla="*/ 859123 w 1168831"/>
                  <a:gd name="connsiteY1682" fmla="*/ 637599 h 1109282"/>
                  <a:gd name="connsiteX1683" fmla="*/ 861396 w 1168831"/>
                  <a:gd name="connsiteY1683" fmla="*/ 641387 h 1109282"/>
                  <a:gd name="connsiteX1684" fmla="*/ 862153 w 1168831"/>
                  <a:gd name="connsiteY1684" fmla="*/ 644114 h 1109282"/>
                  <a:gd name="connsiteX1685" fmla="*/ 864578 w 1168831"/>
                  <a:gd name="connsiteY1685" fmla="*/ 644114 h 1109282"/>
                  <a:gd name="connsiteX1686" fmla="*/ 873063 w 1168831"/>
                  <a:gd name="connsiteY1686" fmla="*/ 645327 h 1109282"/>
                  <a:gd name="connsiteX1687" fmla="*/ 880184 w 1168831"/>
                  <a:gd name="connsiteY1687" fmla="*/ 646387 h 1109282"/>
                  <a:gd name="connsiteX1688" fmla="*/ 882154 w 1168831"/>
                  <a:gd name="connsiteY1688" fmla="*/ 647902 h 1109282"/>
                  <a:gd name="connsiteX1689" fmla="*/ 887003 w 1168831"/>
                  <a:gd name="connsiteY1689" fmla="*/ 647599 h 1109282"/>
                  <a:gd name="connsiteX1690" fmla="*/ 890791 w 1168831"/>
                  <a:gd name="connsiteY1690" fmla="*/ 646236 h 1109282"/>
                  <a:gd name="connsiteX1691" fmla="*/ 897458 w 1168831"/>
                  <a:gd name="connsiteY1691" fmla="*/ 644569 h 1109282"/>
                  <a:gd name="connsiteX1692" fmla="*/ 899276 w 1168831"/>
                  <a:gd name="connsiteY1692" fmla="*/ 642448 h 1109282"/>
                  <a:gd name="connsiteX1693" fmla="*/ 901549 w 1168831"/>
                  <a:gd name="connsiteY1693" fmla="*/ 640175 h 1109282"/>
                  <a:gd name="connsiteX1694" fmla="*/ 905488 w 1168831"/>
                  <a:gd name="connsiteY1694" fmla="*/ 640478 h 1109282"/>
                  <a:gd name="connsiteX1695" fmla="*/ 909731 w 1168831"/>
                  <a:gd name="connsiteY1695" fmla="*/ 642296 h 1109282"/>
                  <a:gd name="connsiteX1696" fmla="*/ 914580 w 1168831"/>
                  <a:gd name="connsiteY1696" fmla="*/ 644721 h 1109282"/>
                  <a:gd name="connsiteX1697" fmla="*/ 918973 w 1168831"/>
                  <a:gd name="connsiteY1697" fmla="*/ 645781 h 1109282"/>
                  <a:gd name="connsiteX1698" fmla="*/ 924731 w 1168831"/>
                  <a:gd name="connsiteY1698" fmla="*/ 647448 h 1109282"/>
                  <a:gd name="connsiteX1699" fmla="*/ 927459 w 1168831"/>
                  <a:gd name="connsiteY1699" fmla="*/ 649721 h 1109282"/>
                  <a:gd name="connsiteX1700" fmla="*/ 931247 w 1168831"/>
                  <a:gd name="connsiteY1700" fmla="*/ 650327 h 1109282"/>
                  <a:gd name="connsiteX1701" fmla="*/ 935186 w 1168831"/>
                  <a:gd name="connsiteY1701" fmla="*/ 648054 h 1109282"/>
                  <a:gd name="connsiteX1702" fmla="*/ 937611 w 1168831"/>
                  <a:gd name="connsiteY1702" fmla="*/ 641993 h 1109282"/>
                  <a:gd name="connsiteX1703" fmla="*/ 939732 w 1168831"/>
                  <a:gd name="connsiteY1703" fmla="*/ 639266 h 1109282"/>
                  <a:gd name="connsiteX1704" fmla="*/ 942762 w 1168831"/>
                  <a:gd name="connsiteY1704" fmla="*/ 637296 h 1109282"/>
                  <a:gd name="connsiteX1705" fmla="*/ 946096 w 1168831"/>
                  <a:gd name="connsiteY1705" fmla="*/ 636387 h 1109282"/>
                  <a:gd name="connsiteX1706" fmla="*/ 948672 w 1168831"/>
                  <a:gd name="connsiteY1706" fmla="*/ 636084 h 1109282"/>
                  <a:gd name="connsiteX1707" fmla="*/ 950641 w 1168831"/>
                  <a:gd name="connsiteY1707" fmla="*/ 634569 h 1109282"/>
                  <a:gd name="connsiteX1708" fmla="*/ 953369 w 1168831"/>
                  <a:gd name="connsiteY1708" fmla="*/ 631235 h 1109282"/>
                  <a:gd name="connsiteX1709" fmla="*/ 953975 w 1168831"/>
                  <a:gd name="connsiteY1709" fmla="*/ 627144 h 1109282"/>
                  <a:gd name="connsiteX1710" fmla="*/ 953369 w 1168831"/>
                  <a:gd name="connsiteY1710" fmla="*/ 619720 h 1109282"/>
                  <a:gd name="connsiteX1711" fmla="*/ 953823 w 1168831"/>
                  <a:gd name="connsiteY1711" fmla="*/ 617295 h 1109282"/>
                  <a:gd name="connsiteX1712" fmla="*/ 956096 w 1168831"/>
                  <a:gd name="connsiteY1712" fmla="*/ 613204 h 1109282"/>
                  <a:gd name="connsiteX1713" fmla="*/ 959126 w 1168831"/>
                  <a:gd name="connsiteY1713" fmla="*/ 602446 h 1109282"/>
                  <a:gd name="connsiteX1714" fmla="*/ 960490 w 1168831"/>
                  <a:gd name="connsiteY1714" fmla="*/ 599264 h 1109282"/>
                  <a:gd name="connsiteX1715" fmla="*/ 962157 w 1168831"/>
                  <a:gd name="connsiteY1715" fmla="*/ 597295 h 1109282"/>
                  <a:gd name="connsiteX1716" fmla="*/ 964430 w 1168831"/>
                  <a:gd name="connsiteY1716" fmla="*/ 596234 h 1109282"/>
                  <a:gd name="connsiteX1717" fmla="*/ 968521 w 1168831"/>
                  <a:gd name="connsiteY1717" fmla="*/ 592900 h 1109282"/>
                  <a:gd name="connsiteX1718" fmla="*/ 974430 w 1168831"/>
                  <a:gd name="connsiteY1718" fmla="*/ 586385 h 1109282"/>
                  <a:gd name="connsiteX1719" fmla="*/ 976097 w 1168831"/>
                  <a:gd name="connsiteY1719" fmla="*/ 585779 h 1109282"/>
                  <a:gd name="connsiteX1720" fmla="*/ 980340 w 1168831"/>
                  <a:gd name="connsiteY1720" fmla="*/ 585476 h 1109282"/>
                  <a:gd name="connsiteX1721" fmla="*/ 985642 w 1168831"/>
                  <a:gd name="connsiteY1721" fmla="*/ 585779 h 1109282"/>
                  <a:gd name="connsiteX1722" fmla="*/ 990340 w 1168831"/>
                  <a:gd name="connsiteY1722" fmla="*/ 586991 h 1109282"/>
                  <a:gd name="connsiteX1723" fmla="*/ 990795 w 1168831"/>
                  <a:gd name="connsiteY1723" fmla="*/ 586840 h 1109282"/>
                  <a:gd name="connsiteX1724" fmla="*/ 992916 w 1168831"/>
                  <a:gd name="connsiteY1724" fmla="*/ 586234 h 1109282"/>
                  <a:gd name="connsiteX1725" fmla="*/ 996855 w 1168831"/>
                  <a:gd name="connsiteY1725" fmla="*/ 584264 h 1109282"/>
                  <a:gd name="connsiteX1726" fmla="*/ 1003522 w 1168831"/>
                  <a:gd name="connsiteY1726" fmla="*/ 580173 h 1109282"/>
                  <a:gd name="connsiteX1727" fmla="*/ 1007765 w 1168831"/>
                  <a:gd name="connsiteY1727" fmla="*/ 579112 h 1109282"/>
                  <a:gd name="connsiteX1728" fmla="*/ 1011704 w 1168831"/>
                  <a:gd name="connsiteY1728" fmla="*/ 579264 h 1109282"/>
                  <a:gd name="connsiteX1729" fmla="*/ 1015947 w 1168831"/>
                  <a:gd name="connsiteY1729" fmla="*/ 583658 h 1109282"/>
                  <a:gd name="connsiteX1730" fmla="*/ 1022008 w 1168831"/>
                  <a:gd name="connsiteY1730" fmla="*/ 588506 h 1109282"/>
                  <a:gd name="connsiteX1731" fmla="*/ 1025947 w 1168831"/>
                  <a:gd name="connsiteY1731" fmla="*/ 590931 h 1109282"/>
                  <a:gd name="connsiteX1732" fmla="*/ 1036554 w 1168831"/>
                  <a:gd name="connsiteY1732" fmla="*/ 595325 h 1109282"/>
                  <a:gd name="connsiteX1733" fmla="*/ 1045948 w 1168831"/>
                  <a:gd name="connsiteY1733" fmla="*/ 598204 h 1109282"/>
                  <a:gd name="connsiteX1734" fmla="*/ 1051251 w 1168831"/>
                  <a:gd name="connsiteY1734" fmla="*/ 607901 h 1109282"/>
                  <a:gd name="connsiteX1735" fmla="*/ 1048675 w 1168831"/>
                  <a:gd name="connsiteY1735" fmla="*/ 611689 h 1109282"/>
                  <a:gd name="connsiteX1736" fmla="*/ 1047463 w 1168831"/>
                  <a:gd name="connsiteY1736" fmla="*/ 613053 h 1109282"/>
                  <a:gd name="connsiteX1737" fmla="*/ 1042917 w 1168831"/>
                  <a:gd name="connsiteY1737" fmla="*/ 616841 h 1109282"/>
                  <a:gd name="connsiteX1738" fmla="*/ 1038069 w 1168831"/>
                  <a:gd name="connsiteY1738" fmla="*/ 622144 h 1109282"/>
                  <a:gd name="connsiteX1739" fmla="*/ 1037766 w 1168831"/>
                  <a:gd name="connsiteY1739" fmla="*/ 624871 h 1109282"/>
                  <a:gd name="connsiteX1740" fmla="*/ 1039433 w 1168831"/>
                  <a:gd name="connsiteY1740" fmla="*/ 627750 h 1109282"/>
                  <a:gd name="connsiteX1741" fmla="*/ 1041402 w 1168831"/>
                  <a:gd name="connsiteY1741" fmla="*/ 629568 h 1109282"/>
                  <a:gd name="connsiteX1742" fmla="*/ 1045645 w 1168831"/>
                  <a:gd name="connsiteY1742" fmla="*/ 628205 h 1109282"/>
                  <a:gd name="connsiteX1743" fmla="*/ 1047009 w 1168831"/>
                  <a:gd name="connsiteY1743" fmla="*/ 627144 h 1109282"/>
                  <a:gd name="connsiteX1744" fmla="*/ 1048069 w 1168831"/>
                  <a:gd name="connsiteY1744" fmla="*/ 625932 h 1109282"/>
                  <a:gd name="connsiteX1745" fmla="*/ 1052009 w 1168831"/>
                  <a:gd name="connsiteY1745" fmla="*/ 617598 h 1109282"/>
                  <a:gd name="connsiteX1746" fmla="*/ 1052918 w 1168831"/>
                  <a:gd name="connsiteY1746" fmla="*/ 616235 h 1109282"/>
                  <a:gd name="connsiteX1747" fmla="*/ 1065040 w 1168831"/>
                  <a:gd name="connsiteY1747" fmla="*/ 613204 h 1109282"/>
                  <a:gd name="connsiteX1748" fmla="*/ 1069433 w 1168831"/>
                  <a:gd name="connsiteY1748" fmla="*/ 611689 h 1109282"/>
                  <a:gd name="connsiteX1749" fmla="*/ 1072010 w 1168831"/>
                  <a:gd name="connsiteY1749" fmla="*/ 609719 h 1109282"/>
                  <a:gd name="connsiteX1750" fmla="*/ 1073221 w 1168831"/>
                  <a:gd name="connsiteY1750" fmla="*/ 608204 h 1109282"/>
                  <a:gd name="connsiteX1751" fmla="*/ 1074131 w 1168831"/>
                  <a:gd name="connsiteY1751" fmla="*/ 606386 h 1109282"/>
                  <a:gd name="connsiteX1752" fmla="*/ 1074737 w 1168831"/>
                  <a:gd name="connsiteY1752" fmla="*/ 604416 h 1109282"/>
                  <a:gd name="connsiteX1753" fmla="*/ 1075040 w 1168831"/>
                  <a:gd name="connsiteY1753" fmla="*/ 602598 h 1109282"/>
                  <a:gd name="connsiteX1754" fmla="*/ 1073979 w 1168831"/>
                  <a:gd name="connsiteY1754" fmla="*/ 600173 h 1109282"/>
                  <a:gd name="connsiteX1755" fmla="*/ 1074586 w 1168831"/>
                  <a:gd name="connsiteY1755" fmla="*/ 599870 h 1109282"/>
                  <a:gd name="connsiteX1756" fmla="*/ 1075949 w 1168831"/>
                  <a:gd name="connsiteY1756" fmla="*/ 600022 h 1109282"/>
                  <a:gd name="connsiteX1757" fmla="*/ 1080040 w 1168831"/>
                  <a:gd name="connsiteY1757" fmla="*/ 602446 h 1109282"/>
                  <a:gd name="connsiteX1758" fmla="*/ 1086555 w 1168831"/>
                  <a:gd name="connsiteY1758" fmla="*/ 605022 h 1109282"/>
                  <a:gd name="connsiteX1759" fmla="*/ 1091252 w 1168831"/>
                  <a:gd name="connsiteY1759" fmla="*/ 605174 h 1109282"/>
                  <a:gd name="connsiteX1760" fmla="*/ 1093222 w 1168831"/>
                  <a:gd name="connsiteY1760" fmla="*/ 604719 h 1109282"/>
                  <a:gd name="connsiteX1761" fmla="*/ 1094131 w 1168831"/>
                  <a:gd name="connsiteY1761" fmla="*/ 603658 h 1109282"/>
                  <a:gd name="connsiteX1762" fmla="*/ 1094889 w 1168831"/>
                  <a:gd name="connsiteY1762" fmla="*/ 601537 h 1109282"/>
                  <a:gd name="connsiteX1763" fmla="*/ 1094889 w 1168831"/>
                  <a:gd name="connsiteY1763" fmla="*/ 599264 h 1109282"/>
                  <a:gd name="connsiteX1764" fmla="*/ 1093374 w 1168831"/>
                  <a:gd name="connsiteY1764" fmla="*/ 592900 h 1109282"/>
                  <a:gd name="connsiteX1765" fmla="*/ 1089131 w 1168831"/>
                  <a:gd name="connsiteY1765" fmla="*/ 592294 h 1109282"/>
                  <a:gd name="connsiteX1766" fmla="*/ 1085798 w 1168831"/>
                  <a:gd name="connsiteY1766" fmla="*/ 592597 h 1109282"/>
                  <a:gd name="connsiteX1767" fmla="*/ 1082767 w 1168831"/>
                  <a:gd name="connsiteY1767" fmla="*/ 592294 h 1109282"/>
                  <a:gd name="connsiteX1768" fmla="*/ 1081253 w 1168831"/>
                  <a:gd name="connsiteY1768" fmla="*/ 595779 h 1109282"/>
                  <a:gd name="connsiteX1769" fmla="*/ 1080343 w 1168831"/>
                  <a:gd name="connsiteY1769" fmla="*/ 595325 h 1109282"/>
                  <a:gd name="connsiteX1770" fmla="*/ 1078979 w 1168831"/>
                  <a:gd name="connsiteY1770" fmla="*/ 590325 h 1109282"/>
                  <a:gd name="connsiteX1771" fmla="*/ 1075949 w 1168831"/>
                  <a:gd name="connsiteY1771" fmla="*/ 588961 h 1109282"/>
                  <a:gd name="connsiteX1772" fmla="*/ 1074434 w 1168831"/>
                  <a:gd name="connsiteY1772" fmla="*/ 590022 h 1109282"/>
                  <a:gd name="connsiteX1773" fmla="*/ 1073828 w 1168831"/>
                  <a:gd name="connsiteY1773" fmla="*/ 594719 h 1109282"/>
                  <a:gd name="connsiteX1774" fmla="*/ 1072010 w 1168831"/>
                  <a:gd name="connsiteY1774" fmla="*/ 596082 h 1109282"/>
                  <a:gd name="connsiteX1775" fmla="*/ 1069282 w 1168831"/>
                  <a:gd name="connsiteY1775" fmla="*/ 595173 h 1109282"/>
                  <a:gd name="connsiteX1776" fmla="*/ 1063827 w 1168831"/>
                  <a:gd name="connsiteY1776" fmla="*/ 595628 h 1109282"/>
                  <a:gd name="connsiteX1777" fmla="*/ 1061100 w 1168831"/>
                  <a:gd name="connsiteY1777" fmla="*/ 594870 h 1109282"/>
                  <a:gd name="connsiteX1778" fmla="*/ 1059433 w 1168831"/>
                  <a:gd name="connsiteY1778" fmla="*/ 593203 h 1109282"/>
                  <a:gd name="connsiteX1779" fmla="*/ 1058979 w 1168831"/>
                  <a:gd name="connsiteY1779" fmla="*/ 591385 h 1109282"/>
                  <a:gd name="connsiteX1780" fmla="*/ 1058979 w 1168831"/>
                  <a:gd name="connsiteY1780" fmla="*/ 588658 h 1109282"/>
                  <a:gd name="connsiteX1781" fmla="*/ 1059736 w 1168831"/>
                  <a:gd name="connsiteY1781" fmla="*/ 585324 h 1109282"/>
                  <a:gd name="connsiteX1782" fmla="*/ 1058524 w 1168831"/>
                  <a:gd name="connsiteY1782" fmla="*/ 583658 h 1109282"/>
                  <a:gd name="connsiteX1783" fmla="*/ 1036705 w 1168831"/>
                  <a:gd name="connsiteY1783" fmla="*/ 577900 h 1109282"/>
                  <a:gd name="connsiteX1784" fmla="*/ 1036099 w 1168831"/>
                  <a:gd name="connsiteY1784" fmla="*/ 575324 h 1109282"/>
                  <a:gd name="connsiteX1785" fmla="*/ 1067464 w 1168831"/>
                  <a:gd name="connsiteY1785" fmla="*/ 577748 h 1109282"/>
                  <a:gd name="connsiteX1786" fmla="*/ 1076707 w 1168831"/>
                  <a:gd name="connsiteY1786" fmla="*/ 576385 h 1109282"/>
                  <a:gd name="connsiteX1787" fmla="*/ 1082313 w 1168831"/>
                  <a:gd name="connsiteY1787" fmla="*/ 572748 h 1109282"/>
                  <a:gd name="connsiteX1788" fmla="*/ 1095344 w 1168831"/>
                  <a:gd name="connsiteY1788" fmla="*/ 568960 h 1109282"/>
                  <a:gd name="connsiteX1789" fmla="*/ 1095798 w 1168831"/>
                  <a:gd name="connsiteY1789" fmla="*/ 565475 h 1109282"/>
                  <a:gd name="connsiteX1790" fmla="*/ 1094889 w 1168831"/>
                  <a:gd name="connsiteY1790" fmla="*/ 562596 h 1109282"/>
                  <a:gd name="connsiteX1791" fmla="*/ 1086101 w 1168831"/>
                  <a:gd name="connsiteY1791" fmla="*/ 556384 h 1109282"/>
                  <a:gd name="connsiteX1792" fmla="*/ 480776 w 1168831"/>
                  <a:gd name="connsiteY1792" fmla="*/ 874274 h 1109282"/>
                  <a:gd name="connsiteX1793" fmla="*/ 489412 w 1168831"/>
                  <a:gd name="connsiteY1793" fmla="*/ 872759 h 1109282"/>
                  <a:gd name="connsiteX1794" fmla="*/ 490170 w 1168831"/>
                  <a:gd name="connsiteY1794" fmla="*/ 871850 h 1109282"/>
                  <a:gd name="connsiteX1795" fmla="*/ 490018 w 1168831"/>
                  <a:gd name="connsiteY1795" fmla="*/ 869880 h 1109282"/>
                  <a:gd name="connsiteX1796" fmla="*/ 488806 w 1168831"/>
                  <a:gd name="connsiteY1796" fmla="*/ 868365 h 1109282"/>
                  <a:gd name="connsiteX1797" fmla="*/ 487897 w 1168831"/>
                  <a:gd name="connsiteY1797" fmla="*/ 868517 h 1109282"/>
                  <a:gd name="connsiteX1798" fmla="*/ 487291 w 1168831"/>
                  <a:gd name="connsiteY1798" fmla="*/ 869729 h 1109282"/>
                  <a:gd name="connsiteX1799" fmla="*/ 480169 w 1168831"/>
                  <a:gd name="connsiteY1799" fmla="*/ 871547 h 1109282"/>
                  <a:gd name="connsiteX1800" fmla="*/ 475624 w 1168831"/>
                  <a:gd name="connsiteY1800" fmla="*/ 873517 h 1109282"/>
                  <a:gd name="connsiteX1801" fmla="*/ 477442 w 1168831"/>
                  <a:gd name="connsiteY1801" fmla="*/ 874426 h 1109282"/>
                  <a:gd name="connsiteX1802" fmla="*/ 480776 w 1168831"/>
                  <a:gd name="connsiteY1802" fmla="*/ 874274 h 1109282"/>
                  <a:gd name="connsiteX1803" fmla="*/ 1162316 w 1168831"/>
                  <a:gd name="connsiteY1803" fmla="*/ 14698 h 1109282"/>
                  <a:gd name="connsiteX1804" fmla="*/ 1154437 w 1168831"/>
                  <a:gd name="connsiteY1804" fmla="*/ 15607 h 1109282"/>
                  <a:gd name="connsiteX1805" fmla="*/ 1152315 w 1168831"/>
                  <a:gd name="connsiteY1805" fmla="*/ 16213 h 1109282"/>
                  <a:gd name="connsiteX1806" fmla="*/ 1110193 w 1168831"/>
                  <a:gd name="connsiteY1806" fmla="*/ 23183 h 1109282"/>
                  <a:gd name="connsiteX1807" fmla="*/ 1112769 w 1168831"/>
                  <a:gd name="connsiteY1807" fmla="*/ 24849 h 1109282"/>
                  <a:gd name="connsiteX1808" fmla="*/ 1138679 w 1168831"/>
                  <a:gd name="connsiteY1808" fmla="*/ 22425 h 1109282"/>
                  <a:gd name="connsiteX1809" fmla="*/ 1166862 w 1168831"/>
                  <a:gd name="connsiteY1809" fmla="*/ 17425 h 1109282"/>
                  <a:gd name="connsiteX1810" fmla="*/ 1168831 w 1168831"/>
                  <a:gd name="connsiteY1810" fmla="*/ 16213 h 1109282"/>
                  <a:gd name="connsiteX1811" fmla="*/ 1162316 w 1168831"/>
                  <a:gd name="connsiteY1811" fmla="*/ 14698 h 1109282"/>
                  <a:gd name="connsiteX1812" fmla="*/ 638963 w 1168831"/>
                  <a:gd name="connsiteY1812" fmla="*/ 669418 h 1109282"/>
                  <a:gd name="connsiteX1813" fmla="*/ 641539 w 1168831"/>
                  <a:gd name="connsiteY1813" fmla="*/ 670024 h 1109282"/>
                  <a:gd name="connsiteX1814" fmla="*/ 649115 w 1168831"/>
                  <a:gd name="connsiteY1814" fmla="*/ 669115 h 1109282"/>
                  <a:gd name="connsiteX1815" fmla="*/ 657297 w 1168831"/>
                  <a:gd name="connsiteY1815" fmla="*/ 663964 h 1109282"/>
                  <a:gd name="connsiteX1816" fmla="*/ 660327 w 1168831"/>
                  <a:gd name="connsiteY1816" fmla="*/ 665024 h 1109282"/>
                  <a:gd name="connsiteX1817" fmla="*/ 661994 w 1168831"/>
                  <a:gd name="connsiteY1817" fmla="*/ 664721 h 1109282"/>
                  <a:gd name="connsiteX1818" fmla="*/ 664419 w 1168831"/>
                  <a:gd name="connsiteY1818" fmla="*/ 663661 h 1109282"/>
                  <a:gd name="connsiteX1819" fmla="*/ 666994 w 1168831"/>
                  <a:gd name="connsiteY1819" fmla="*/ 660630 h 1109282"/>
                  <a:gd name="connsiteX1820" fmla="*/ 668510 w 1168831"/>
                  <a:gd name="connsiteY1820" fmla="*/ 660479 h 1109282"/>
                  <a:gd name="connsiteX1821" fmla="*/ 668661 w 1168831"/>
                  <a:gd name="connsiteY1821" fmla="*/ 663055 h 1109282"/>
                  <a:gd name="connsiteX1822" fmla="*/ 671237 w 1168831"/>
                  <a:gd name="connsiteY1822" fmla="*/ 663661 h 1109282"/>
                  <a:gd name="connsiteX1823" fmla="*/ 677904 w 1168831"/>
                  <a:gd name="connsiteY1823" fmla="*/ 661539 h 1109282"/>
                  <a:gd name="connsiteX1824" fmla="*/ 680177 w 1168831"/>
                  <a:gd name="connsiteY1824" fmla="*/ 658963 h 1109282"/>
                  <a:gd name="connsiteX1825" fmla="*/ 682146 w 1168831"/>
                  <a:gd name="connsiteY1825" fmla="*/ 658963 h 1109282"/>
                  <a:gd name="connsiteX1826" fmla="*/ 683055 w 1168831"/>
                  <a:gd name="connsiteY1826" fmla="*/ 659721 h 1109282"/>
                  <a:gd name="connsiteX1827" fmla="*/ 684116 w 1168831"/>
                  <a:gd name="connsiteY1827" fmla="*/ 660024 h 1109282"/>
                  <a:gd name="connsiteX1828" fmla="*/ 685783 w 1168831"/>
                  <a:gd name="connsiteY1828" fmla="*/ 659418 h 1109282"/>
                  <a:gd name="connsiteX1829" fmla="*/ 687753 w 1168831"/>
                  <a:gd name="connsiteY1829" fmla="*/ 656539 h 1109282"/>
                  <a:gd name="connsiteX1830" fmla="*/ 691692 w 1168831"/>
                  <a:gd name="connsiteY1830" fmla="*/ 653054 h 1109282"/>
                  <a:gd name="connsiteX1831" fmla="*/ 695632 w 1168831"/>
                  <a:gd name="connsiteY1831" fmla="*/ 651690 h 1109282"/>
                  <a:gd name="connsiteX1832" fmla="*/ 700632 w 1168831"/>
                  <a:gd name="connsiteY1832" fmla="*/ 648660 h 1109282"/>
                  <a:gd name="connsiteX1833" fmla="*/ 701390 w 1168831"/>
                  <a:gd name="connsiteY1833" fmla="*/ 644721 h 1109282"/>
                  <a:gd name="connsiteX1834" fmla="*/ 699572 w 1168831"/>
                  <a:gd name="connsiteY1834" fmla="*/ 640629 h 1109282"/>
                  <a:gd name="connsiteX1835" fmla="*/ 698056 w 1168831"/>
                  <a:gd name="connsiteY1835" fmla="*/ 638811 h 1109282"/>
                  <a:gd name="connsiteX1836" fmla="*/ 695480 w 1168831"/>
                  <a:gd name="connsiteY1836" fmla="*/ 637144 h 1109282"/>
                  <a:gd name="connsiteX1837" fmla="*/ 693965 w 1168831"/>
                  <a:gd name="connsiteY1837" fmla="*/ 637599 h 1109282"/>
                  <a:gd name="connsiteX1838" fmla="*/ 692601 w 1168831"/>
                  <a:gd name="connsiteY1838" fmla="*/ 638357 h 1109282"/>
                  <a:gd name="connsiteX1839" fmla="*/ 690480 w 1168831"/>
                  <a:gd name="connsiteY1839" fmla="*/ 638963 h 1109282"/>
                  <a:gd name="connsiteX1840" fmla="*/ 689722 w 1168831"/>
                  <a:gd name="connsiteY1840" fmla="*/ 641084 h 1109282"/>
                  <a:gd name="connsiteX1841" fmla="*/ 689874 w 1168831"/>
                  <a:gd name="connsiteY1841" fmla="*/ 643660 h 1109282"/>
                  <a:gd name="connsiteX1842" fmla="*/ 688208 w 1168831"/>
                  <a:gd name="connsiteY1842" fmla="*/ 645175 h 1109282"/>
                  <a:gd name="connsiteX1843" fmla="*/ 687904 w 1168831"/>
                  <a:gd name="connsiteY1843" fmla="*/ 646842 h 1109282"/>
                  <a:gd name="connsiteX1844" fmla="*/ 683813 w 1168831"/>
                  <a:gd name="connsiteY1844" fmla="*/ 648205 h 1109282"/>
                  <a:gd name="connsiteX1845" fmla="*/ 680025 w 1168831"/>
                  <a:gd name="connsiteY1845" fmla="*/ 652751 h 1109282"/>
                  <a:gd name="connsiteX1846" fmla="*/ 679722 w 1168831"/>
                  <a:gd name="connsiteY1846" fmla="*/ 652448 h 1109282"/>
                  <a:gd name="connsiteX1847" fmla="*/ 680480 w 1168831"/>
                  <a:gd name="connsiteY1847" fmla="*/ 649721 h 1109282"/>
                  <a:gd name="connsiteX1848" fmla="*/ 684268 w 1168831"/>
                  <a:gd name="connsiteY1848" fmla="*/ 644114 h 1109282"/>
                  <a:gd name="connsiteX1849" fmla="*/ 684116 w 1168831"/>
                  <a:gd name="connsiteY1849" fmla="*/ 640023 h 1109282"/>
                  <a:gd name="connsiteX1850" fmla="*/ 683662 w 1168831"/>
                  <a:gd name="connsiteY1850" fmla="*/ 635781 h 1109282"/>
                  <a:gd name="connsiteX1851" fmla="*/ 681692 w 1168831"/>
                  <a:gd name="connsiteY1851" fmla="*/ 633205 h 1109282"/>
                  <a:gd name="connsiteX1852" fmla="*/ 681086 w 1168831"/>
                  <a:gd name="connsiteY1852" fmla="*/ 630174 h 1109282"/>
                  <a:gd name="connsiteX1853" fmla="*/ 686086 w 1168831"/>
                  <a:gd name="connsiteY1853" fmla="*/ 625932 h 1109282"/>
                  <a:gd name="connsiteX1854" fmla="*/ 689420 w 1168831"/>
                  <a:gd name="connsiteY1854" fmla="*/ 620932 h 1109282"/>
                  <a:gd name="connsiteX1855" fmla="*/ 689874 w 1168831"/>
                  <a:gd name="connsiteY1855" fmla="*/ 618204 h 1109282"/>
                  <a:gd name="connsiteX1856" fmla="*/ 687601 w 1168831"/>
                  <a:gd name="connsiteY1856" fmla="*/ 616841 h 1109282"/>
                  <a:gd name="connsiteX1857" fmla="*/ 685329 w 1168831"/>
                  <a:gd name="connsiteY1857" fmla="*/ 616841 h 1109282"/>
                  <a:gd name="connsiteX1858" fmla="*/ 683359 w 1168831"/>
                  <a:gd name="connsiteY1858" fmla="*/ 618053 h 1109282"/>
                  <a:gd name="connsiteX1859" fmla="*/ 679267 w 1168831"/>
                  <a:gd name="connsiteY1859" fmla="*/ 623205 h 1109282"/>
                  <a:gd name="connsiteX1860" fmla="*/ 676692 w 1168831"/>
                  <a:gd name="connsiteY1860" fmla="*/ 625023 h 1109282"/>
                  <a:gd name="connsiteX1861" fmla="*/ 672146 w 1168831"/>
                  <a:gd name="connsiteY1861" fmla="*/ 629265 h 1109282"/>
                  <a:gd name="connsiteX1862" fmla="*/ 670934 w 1168831"/>
                  <a:gd name="connsiteY1862" fmla="*/ 632447 h 1109282"/>
                  <a:gd name="connsiteX1863" fmla="*/ 671086 w 1168831"/>
                  <a:gd name="connsiteY1863" fmla="*/ 635326 h 1109282"/>
                  <a:gd name="connsiteX1864" fmla="*/ 673358 w 1168831"/>
                  <a:gd name="connsiteY1864" fmla="*/ 635629 h 1109282"/>
                  <a:gd name="connsiteX1865" fmla="*/ 674267 w 1168831"/>
                  <a:gd name="connsiteY1865" fmla="*/ 637448 h 1109282"/>
                  <a:gd name="connsiteX1866" fmla="*/ 672146 w 1168831"/>
                  <a:gd name="connsiteY1866" fmla="*/ 640781 h 1109282"/>
                  <a:gd name="connsiteX1867" fmla="*/ 670025 w 1168831"/>
                  <a:gd name="connsiteY1867" fmla="*/ 649872 h 1109282"/>
                  <a:gd name="connsiteX1868" fmla="*/ 661388 w 1168831"/>
                  <a:gd name="connsiteY1868" fmla="*/ 658206 h 1109282"/>
                  <a:gd name="connsiteX1869" fmla="*/ 647448 w 1168831"/>
                  <a:gd name="connsiteY1869" fmla="*/ 660176 h 1109282"/>
                  <a:gd name="connsiteX1870" fmla="*/ 643357 w 1168831"/>
                  <a:gd name="connsiteY1870" fmla="*/ 662903 h 1109282"/>
                  <a:gd name="connsiteX1871" fmla="*/ 638357 w 1168831"/>
                  <a:gd name="connsiteY1871" fmla="*/ 666843 h 1109282"/>
                  <a:gd name="connsiteX1872" fmla="*/ 638963 w 1168831"/>
                  <a:gd name="connsiteY1872" fmla="*/ 669418 h 1109282"/>
                  <a:gd name="connsiteX1873" fmla="*/ 1065343 w 1168831"/>
                  <a:gd name="connsiteY1873" fmla="*/ 586840 h 1109282"/>
                  <a:gd name="connsiteX1874" fmla="*/ 1063979 w 1168831"/>
                  <a:gd name="connsiteY1874" fmla="*/ 590628 h 1109282"/>
                  <a:gd name="connsiteX1875" fmla="*/ 1062767 w 1168831"/>
                  <a:gd name="connsiteY1875" fmla="*/ 592446 h 1109282"/>
                  <a:gd name="connsiteX1876" fmla="*/ 1063373 w 1168831"/>
                  <a:gd name="connsiteY1876" fmla="*/ 593658 h 1109282"/>
                  <a:gd name="connsiteX1877" fmla="*/ 1068524 w 1168831"/>
                  <a:gd name="connsiteY1877" fmla="*/ 592294 h 1109282"/>
                  <a:gd name="connsiteX1878" fmla="*/ 1071252 w 1168831"/>
                  <a:gd name="connsiteY1878" fmla="*/ 590325 h 1109282"/>
                  <a:gd name="connsiteX1879" fmla="*/ 1069585 w 1168831"/>
                  <a:gd name="connsiteY1879" fmla="*/ 588658 h 1109282"/>
                  <a:gd name="connsiteX1880" fmla="*/ 1067464 w 1168831"/>
                  <a:gd name="connsiteY1880" fmla="*/ 587294 h 1109282"/>
                  <a:gd name="connsiteX1881" fmla="*/ 1065343 w 1168831"/>
                  <a:gd name="connsiteY1881" fmla="*/ 586840 h 1109282"/>
                  <a:gd name="connsiteX1882" fmla="*/ 606538 w 1168831"/>
                  <a:gd name="connsiteY1882" fmla="*/ 675025 h 1109282"/>
                  <a:gd name="connsiteX1883" fmla="*/ 603507 w 1168831"/>
                  <a:gd name="connsiteY1883" fmla="*/ 677600 h 1109282"/>
                  <a:gd name="connsiteX1884" fmla="*/ 601386 w 1168831"/>
                  <a:gd name="connsiteY1884" fmla="*/ 682146 h 1109282"/>
                  <a:gd name="connsiteX1885" fmla="*/ 599871 w 1168831"/>
                  <a:gd name="connsiteY1885" fmla="*/ 686692 h 1109282"/>
                  <a:gd name="connsiteX1886" fmla="*/ 603962 w 1168831"/>
                  <a:gd name="connsiteY1886" fmla="*/ 684267 h 1109282"/>
                  <a:gd name="connsiteX1887" fmla="*/ 606841 w 1168831"/>
                  <a:gd name="connsiteY1887" fmla="*/ 681389 h 1109282"/>
                  <a:gd name="connsiteX1888" fmla="*/ 607447 w 1168831"/>
                  <a:gd name="connsiteY1888" fmla="*/ 680328 h 1109282"/>
                  <a:gd name="connsiteX1889" fmla="*/ 607447 w 1168831"/>
                  <a:gd name="connsiteY1889" fmla="*/ 678207 h 1109282"/>
                  <a:gd name="connsiteX1890" fmla="*/ 608205 w 1168831"/>
                  <a:gd name="connsiteY1890" fmla="*/ 675934 h 1109282"/>
                  <a:gd name="connsiteX1891" fmla="*/ 606538 w 1168831"/>
                  <a:gd name="connsiteY1891" fmla="*/ 675025 h 1109282"/>
                  <a:gd name="connsiteX1892" fmla="*/ 596992 w 1168831"/>
                  <a:gd name="connsiteY1892" fmla="*/ 772452 h 1109282"/>
                  <a:gd name="connsiteX1893" fmla="*/ 598659 w 1168831"/>
                  <a:gd name="connsiteY1893" fmla="*/ 771240 h 1109282"/>
                  <a:gd name="connsiteX1894" fmla="*/ 597750 w 1168831"/>
                  <a:gd name="connsiteY1894" fmla="*/ 770331 h 1109282"/>
                  <a:gd name="connsiteX1895" fmla="*/ 594871 w 1168831"/>
                  <a:gd name="connsiteY1895" fmla="*/ 770483 h 1109282"/>
                  <a:gd name="connsiteX1896" fmla="*/ 592295 w 1168831"/>
                  <a:gd name="connsiteY1896" fmla="*/ 770786 h 1109282"/>
                  <a:gd name="connsiteX1897" fmla="*/ 590325 w 1168831"/>
                  <a:gd name="connsiteY1897" fmla="*/ 771846 h 1109282"/>
                  <a:gd name="connsiteX1898" fmla="*/ 589113 w 1168831"/>
                  <a:gd name="connsiteY1898" fmla="*/ 773513 h 1109282"/>
                  <a:gd name="connsiteX1899" fmla="*/ 589113 w 1168831"/>
                  <a:gd name="connsiteY1899" fmla="*/ 775331 h 1109282"/>
                  <a:gd name="connsiteX1900" fmla="*/ 591234 w 1168831"/>
                  <a:gd name="connsiteY1900" fmla="*/ 775180 h 1109282"/>
                  <a:gd name="connsiteX1901" fmla="*/ 596992 w 1168831"/>
                  <a:gd name="connsiteY1901" fmla="*/ 772452 h 1109282"/>
                  <a:gd name="connsiteX1902" fmla="*/ 628508 w 1168831"/>
                  <a:gd name="connsiteY1902" fmla="*/ 665782 h 1109282"/>
                  <a:gd name="connsiteX1903" fmla="*/ 626084 w 1168831"/>
                  <a:gd name="connsiteY1903" fmla="*/ 665327 h 1109282"/>
                  <a:gd name="connsiteX1904" fmla="*/ 623508 w 1168831"/>
                  <a:gd name="connsiteY1904" fmla="*/ 665479 h 1109282"/>
                  <a:gd name="connsiteX1905" fmla="*/ 619417 w 1168831"/>
                  <a:gd name="connsiteY1905" fmla="*/ 666691 h 1109282"/>
                  <a:gd name="connsiteX1906" fmla="*/ 616386 w 1168831"/>
                  <a:gd name="connsiteY1906" fmla="*/ 670782 h 1109282"/>
                  <a:gd name="connsiteX1907" fmla="*/ 614720 w 1168831"/>
                  <a:gd name="connsiteY1907" fmla="*/ 670631 h 1109282"/>
                  <a:gd name="connsiteX1908" fmla="*/ 612902 w 1168831"/>
                  <a:gd name="connsiteY1908" fmla="*/ 670934 h 1109282"/>
                  <a:gd name="connsiteX1909" fmla="*/ 611689 w 1168831"/>
                  <a:gd name="connsiteY1909" fmla="*/ 672752 h 1109282"/>
                  <a:gd name="connsiteX1910" fmla="*/ 610174 w 1168831"/>
                  <a:gd name="connsiteY1910" fmla="*/ 674267 h 1109282"/>
                  <a:gd name="connsiteX1911" fmla="*/ 610932 w 1168831"/>
                  <a:gd name="connsiteY1911" fmla="*/ 678661 h 1109282"/>
                  <a:gd name="connsiteX1912" fmla="*/ 614265 w 1168831"/>
                  <a:gd name="connsiteY1912" fmla="*/ 678055 h 1109282"/>
                  <a:gd name="connsiteX1913" fmla="*/ 615326 w 1168831"/>
                  <a:gd name="connsiteY1913" fmla="*/ 677449 h 1109282"/>
                  <a:gd name="connsiteX1914" fmla="*/ 615629 w 1168831"/>
                  <a:gd name="connsiteY1914" fmla="*/ 675631 h 1109282"/>
                  <a:gd name="connsiteX1915" fmla="*/ 616235 w 1168831"/>
                  <a:gd name="connsiteY1915" fmla="*/ 674570 h 1109282"/>
                  <a:gd name="connsiteX1916" fmla="*/ 618205 w 1168831"/>
                  <a:gd name="connsiteY1916" fmla="*/ 676085 h 1109282"/>
                  <a:gd name="connsiteX1917" fmla="*/ 620629 w 1168831"/>
                  <a:gd name="connsiteY1917" fmla="*/ 674116 h 1109282"/>
                  <a:gd name="connsiteX1918" fmla="*/ 622599 w 1168831"/>
                  <a:gd name="connsiteY1918" fmla="*/ 673661 h 1109282"/>
                  <a:gd name="connsiteX1919" fmla="*/ 625932 w 1168831"/>
                  <a:gd name="connsiteY1919" fmla="*/ 673661 h 1109282"/>
                  <a:gd name="connsiteX1920" fmla="*/ 627145 w 1168831"/>
                  <a:gd name="connsiteY1920" fmla="*/ 672903 h 1109282"/>
                  <a:gd name="connsiteX1921" fmla="*/ 628963 w 1168831"/>
                  <a:gd name="connsiteY1921" fmla="*/ 670631 h 1109282"/>
                  <a:gd name="connsiteX1922" fmla="*/ 632902 w 1168831"/>
                  <a:gd name="connsiteY1922" fmla="*/ 669721 h 1109282"/>
                  <a:gd name="connsiteX1923" fmla="*/ 634721 w 1168831"/>
                  <a:gd name="connsiteY1923" fmla="*/ 668206 h 1109282"/>
                  <a:gd name="connsiteX1924" fmla="*/ 635327 w 1168831"/>
                  <a:gd name="connsiteY1924" fmla="*/ 666843 h 1109282"/>
                  <a:gd name="connsiteX1925" fmla="*/ 634417 w 1168831"/>
                  <a:gd name="connsiteY1925" fmla="*/ 666539 h 1109282"/>
                  <a:gd name="connsiteX1926" fmla="*/ 630175 w 1168831"/>
                  <a:gd name="connsiteY1926" fmla="*/ 666843 h 1109282"/>
                  <a:gd name="connsiteX1927" fmla="*/ 628508 w 1168831"/>
                  <a:gd name="connsiteY1927" fmla="*/ 665782 h 1109282"/>
                  <a:gd name="connsiteX1928" fmla="*/ 550475 w 1168831"/>
                  <a:gd name="connsiteY1928" fmla="*/ 816697 h 1109282"/>
                  <a:gd name="connsiteX1929" fmla="*/ 544869 w 1168831"/>
                  <a:gd name="connsiteY1929" fmla="*/ 819121 h 1109282"/>
                  <a:gd name="connsiteX1930" fmla="*/ 542899 w 1168831"/>
                  <a:gd name="connsiteY1930" fmla="*/ 821545 h 1109282"/>
                  <a:gd name="connsiteX1931" fmla="*/ 545475 w 1168831"/>
                  <a:gd name="connsiteY1931" fmla="*/ 822757 h 1109282"/>
                  <a:gd name="connsiteX1932" fmla="*/ 551839 w 1168831"/>
                  <a:gd name="connsiteY1932" fmla="*/ 822000 h 1109282"/>
                  <a:gd name="connsiteX1933" fmla="*/ 555021 w 1168831"/>
                  <a:gd name="connsiteY1933" fmla="*/ 823060 h 1109282"/>
                  <a:gd name="connsiteX1934" fmla="*/ 556384 w 1168831"/>
                  <a:gd name="connsiteY1934" fmla="*/ 821848 h 1109282"/>
                  <a:gd name="connsiteX1935" fmla="*/ 556839 w 1168831"/>
                  <a:gd name="connsiteY1935" fmla="*/ 820030 h 1109282"/>
                  <a:gd name="connsiteX1936" fmla="*/ 553657 w 1168831"/>
                  <a:gd name="connsiteY1936" fmla="*/ 817000 h 1109282"/>
                  <a:gd name="connsiteX1937" fmla="*/ 550475 w 1168831"/>
                  <a:gd name="connsiteY1937" fmla="*/ 816697 h 1109282"/>
                  <a:gd name="connsiteX1938" fmla="*/ 571839 w 1168831"/>
                  <a:gd name="connsiteY1938" fmla="*/ 785029 h 1109282"/>
                  <a:gd name="connsiteX1939" fmla="*/ 570930 w 1168831"/>
                  <a:gd name="connsiteY1939" fmla="*/ 787453 h 1109282"/>
                  <a:gd name="connsiteX1940" fmla="*/ 571234 w 1168831"/>
                  <a:gd name="connsiteY1940" fmla="*/ 788665 h 1109282"/>
                  <a:gd name="connsiteX1941" fmla="*/ 574567 w 1168831"/>
                  <a:gd name="connsiteY1941" fmla="*/ 789120 h 1109282"/>
                  <a:gd name="connsiteX1942" fmla="*/ 576385 w 1168831"/>
                  <a:gd name="connsiteY1942" fmla="*/ 787756 h 1109282"/>
                  <a:gd name="connsiteX1943" fmla="*/ 577294 w 1168831"/>
                  <a:gd name="connsiteY1943" fmla="*/ 785332 h 1109282"/>
                  <a:gd name="connsiteX1944" fmla="*/ 576385 w 1168831"/>
                  <a:gd name="connsiteY1944" fmla="*/ 784271 h 1109282"/>
                  <a:gd name="connsiteX1945" fmla="*/ 573658 w 1168831"/>
                  <a:gd name="connsiteY1945" fmla="*/ 784120 h 1109282"/>
                  <a:gd name="connsiteX1946" fmla="*/ 571839 w 1168831"/>
                  <a:gd name="connsiteY1946" fmla="*/ 785029 h 1109282"/>
                  <a:gd name="connsiteX1947" fmla="*/ 594265 w 1168831"/>
                  <a:gd name="connsiteY1947" fmla="*/ 765179 h 1109282"/>
                  <a:gd name="connsiteX1948" fmla="*/ 594265 w 1168831"/>
                  <a:gd name="connsiteY1948" fmla="*/ 762604 h 1109282"/>
                  <a:gd name="connsiteX1949" fmla="*/ 591688 w 1168831"/>
                  <a:gd name="connsiteY1949" fmla="*/ 761088 h 1109282"/>
                  <a:gd name="connsiteX1950" fmla="*/ 589870 w 1168831"/>
                  <a:gd name="connsiteY1950" fmla="*/ 762301 h 1109282"/>
                  <a:gd name="connsiteX1951" fmla="*/ 589416 w 1168831"/>
                  <a:gd name="connsiteY1951" fmla="*/ 763816 h 1109282"/>
                  <a:gd name="connsiteX1952" fmla="*/ 588658 w 1168831"/>
                  <a:gd name="connsiteY1952" fmla="*/ 765179 h 1109282"/>
                  <a:gd name="connsiteX1953" fmla="*/ 586537 w 1168831"/>
                  <a:gd name="connsiteY1953" fmla="*/ 767149 h 1109282"/>
                  <a:gd name="connsiteX1954" fmla="*/ 586082 w 1168831"/>
                  <a:gd name="connsiteY1954" fmla="*/ 769119 h 1109282"/>
                  <a:gd name="connsiteX1955" fmla="*/ 588658 w 1168831"/>
                  <a:gd name="connsiteY1955" fmla="*/ 768816 h 1109282"/>
                  <a:gd name="connsiteX1956" fmla="*/ 592901 w 1168831"/>
                  <a:gd name="connsiteY1956" fmla="*/ 767452 h 1109282"/>
                  <a:gd name="connsiteX1957" fmla="*/ 594265 w 1168831"/>
                  <a:gd name="connsiteY1957" fmla="*/ 765179 h 1109282"/>
                  <a:gd name="connsiteX1958" fmla="*/ 544111 w 1168831"/>
                  <a:gd name="connsiteY1958" fmla="*/ 110762 h 1109282"/>
                  <a:gd name="connsiteX1959" fmla="*/ 545475 w 1168831"/>
                  <a:gd name="connsiteY1959" fmla="*/ 113337 h 1109282"/>
                  <a:gd name="connsiteX1960" fmla="*/ 553203 w 1168831"/>
                  <a:gd name="connsiteY1960" fmla="*/ 124247 h 1109282"/>
                  <a:gd name="connsiteX1961" fmla="*/ 555324 w 1168831"/>
                  <a:gd name="connsiteY1961" fmla="*/ 125611 h 1109282"/>
                  <a:gd name="connsiteX1962" fmla="*/ 560021 w 1168831"/>
                  <a:gd name="connsiteY1962" fmla="*/ 125762 h 1109282"/>
                  <a:gd name="connsiteX1963" fmla="*/ 565930 w 1168831"/>
                  <a:gd name="connsiteY1963" fmla="*/ 128793 h 1109282"/>
                  <a:gd name="connsiteX1964" fmla="*/ 570627 w 1168831"/>
                  <a:gd name="connsiteY1964" fmla="*/ 132278 h 1109282"/>
                  <a:gd name="connsiteX1965" fmla="*/ 576385 w 1168831"/>
                  <a:gd name="connsiteY1965" fmla="*/ 138490 h 1109282"/>
                  <a:gd name="connsiteX1966" fmla="*/ 580476 w 1168831"/>
                  <a:gd name="connsiteY1966" fmla="*/ 138035 h 1109282"/>
                  <a:gd name="connsiteX1967" fmla="*/ 578810 w 1168831"/>
                  <a:gd name="connsiteY1967" fmla="*/ 133641 h 1109282"/>
                  <a:gd name="connsiteX1968" fmla="*/ 575324 w 1168831"/>
                  <a:gd name="connsiteY1968" fmla="*/ 129550 h 1109282"/>
                  <a:gd name="connsiteX1969" fmla="*/ 574112 w 1168831"/>
                  <a:gd name="connsiteY1969" fmla="*/ 127429 h 1109282"/>
                  <a:gd name="connsiteX1970" fmla="*/ 572445 w 1168831"/>
                  <a:gd name="connsiteY1970" fmla="*/ 125762 h 1109282"/>
                  <a:gd name="connsiteX1971" fmla="*/ 566688 w 1168831"/>
                  <a:gd name="connsiteY1971" fmla="*/ 123489 h 1109282"/>
                  <a:gd name="connsiteX1972" fmla="*/ 561384 w 1168831"/>
                  <a:gd name="connsiteY1972" fmla="*/ 119095 h 1109282"/>
                  <a:gd name="connsiteX1973" fmla="*/ 556991 w 1168831"/>
                  <a:gd name="connsiteY1973" fmla="*/ 119550 h 1109282"/>
                  <a:gd name="connsiteX1974" fmla="*/ 556687 w 1168831"/>
                  <a:gd name="connsiteY1974" fmla="*/ 115459 h 1109282"/>
                  <a:gd name="connsiteX1975" fmla="*/ 554112 w 1168831"/>
                  <a:gd name="connsiteY1975" fmla="*/ 113641 h 1109282"/>
                  <a:gd name="connsiteX1976" fmla="*/ 551990 w 1168831"/>
                  <a:gd name="connsiteY1976" fmla="*/ 110913 h 1109282"/>
                  <a:gd name="connsiteX1977" fmla="*/ 553960 w 1168831"/>
                  <a:gd name="connsiteY1977" fmla="*/ 108640 h 1109282"/>
                  <a:gd name="connsiteX1978" fmla="*/ 553203 w 1168831"/>
                  <a:gd name="connsiteY1978" fmla="*/ 106822 h 1109282"/>
                  <a:gd name="connsiteX1979" fmla="*/ 548808 w 1168831"/>
                  <a:gd name="connsiteY1979" fmla="*/ 101216 h 1109282"/>
                  <a:gd name="connsiteX1980" fmla="*/ 543657 w 1168831"/>
                  <a:gd name="connsiteY1980" fmla="*/ 98791 h 1109282"/>
                  <a:gd name="connsiteX1981" fmla="*/ 537747 w 1168831"/>
                  <a:gd name="connsiteY1981" fmla="*/ 97882 h 1109282"/>
                  <a:gd name="connsiteX1982" fmla="*/ 537747 w 1168831"/>
                  <a:gd name="connsiteY1982" fmla="*/ 101822 h 1109282"/>
                  <a:gd name="connsiteX1983" fmla="*/ 539717 w 1168831"/>
                  <a:gd name="connsiteY1983" fmla="*/ 106822 h 1109282"/>
                  <a:gd name="connsiteX1984" fmla="*/ 544111 w 1168831"/>
                  <a:gd name="connsiteY1984" fmla="*/ 110762 h 110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Lst>
                <a:rect l="l" t="t" r="r" b="b"/>
                <a:pathLst>
                  <a:path w="1168831" h="1109282">
                    <a:moveTo>
                      <a:pt x="543202" y="49244"/>
                    </a:moveTo>
                    <a:lnTo>
                      <a:pt x="544717" y="52275"/>
                    </a:lnTo>
                    <a:lnTo>
                      <a:pt x="542748" y="55911"/>
                    </a:lnTo>
                    <a:lnTo>
                      <a:pt x="542444" y="57578"/>
                    </a:lnTo>
                    <a:lnTo>
                      <a:pt x="542748" y="59699"/>
                    </a:lnTo>
                    <a:lnTo>
                      <a:pt x="545323" y="63184"/>
                    </a:lnTo>
                    <a:lnTo>
                      <a:pt x="546838" y="66063"/>
                    </a:lnTo>
                    <a:lnTo>
                      <a:pt x="547899" y="70154"/>
                    </a:lnTo>
                    <a:lnTo>
                      <a:pt x="549263" y="72881"/>
                    </a:lnTo>
                    <a:lnTo>
                      <a:pt x="552899" y="77276"/>
                    </a:lnTo>
                    <a:lnTo>
                      <a:pt x="555627" y="83639"/>
                    </a:lnTo>
                    <a:lnTo>
                      <a:pt x="559263" y="84852"/>
                    </a:lnTo>
                    <a:lnTo>
                      <a:pt x="564263" y="82276"/>
                    </a:lnTo>
                    <a:lnTo>
                      <a:pt x="566839" y="78942"/>
                    </a:lnTo>
                    <a:lnTo>
                      <a:pt x="565779" y="74094"/>
                    </a:lnTo>
                    <a:lnTo>
                      <a:pt x="568506" y="73639"/>
                    </a:lnTo>
                    <a:lnTo>
                      <a:pt x="576688" y="73488"/>
                    </a:lnTo>
                    <a:lnTo>
                      <a:pt x="579567" y="75003"/>
                    </a:lnTo>
                    <a:lnTo>
                      <a:pt x="577749" y="78336"/>
                    </a:lnTo>
                    <a:lnTo>
                      <a:pt x="574415" y="82124"/>
                    </a:lnTo>
                    <a:lnTo>
                      <a:pt x="574718" y="84549"/>
                    </a:lnTo>
                    <a:lnTo>
                      <a:pt x="575324" y="86670"/>
                    </a:lnTo>
                    <a:lnTo>
                      <a:pt x="576840" y="89852"/>
                    </a:lnTo>
                    <a:lnTo>
                      <a:pt x="578658" y="92428"/>
                    </a:lnTo>
                    <a:lnTo>
                      <a:pt x="579719" y="92882"/>
                    </a:lnTo>
                    <a:lnTo>
                      <a:pt x="584264" y="92882"/>
                    </a:lnTo>
                    <a:lnTo>
                      <a:pt x="587598" y="93488"/>
                    </a:lnTo>
                    <a:lnTo>
                      <a:pt x="588355" y="94246"/>
                    </a:lnTo>
                    <a:lnTo>
                      <a:pt x="586234" y="96670"/>
                    </a:lnTo>
                    <a:lnTo>
                      <a:pt x="584870" y="97276"/>
                    </a:lnTo>
                    <a:lnTo>
                      <a:pt x="565021" y="92428"/>
                    </a:lnTo>
                    <a:lnTo>
                      <a:pt x="562445" y="93034"/>
                    </a:lnTo>
                    <a:lnTo>
                      <a:pt x="560021" y="94397"/>
                    </a:lnTo>
                    <a:lnTo>
                      <a:pt x="566688" y="98488"/>
                    </a:lnTo>
                    <a:lnTo>
                      <a:pt x="573506" y="101519"/>
                    </a:lnTo>
                    <a:lnTo>
                      <a:pt x="570627" y="102731"/>
                    </a:lnTo>
                    <a:lnTo>
                      <a:pt x="570324" y="105458"/>
                    </a:lnTo>
                    <a:lnTo>
                      <a:pt x="571082" y="108489"/>
                    </a:lnTo>
                    <a:lnTo>
                      <a:pt x="573658" y="111065"/>
                    </a:lnTo>
                    <a:lnTo>
                      <a:pt x="576233" y="113034"/>
                    </a:lnTo>
                    <a:lnTo>
                      <a:pt x="581082" y="115307"/>
                    </a:lnTo>
                    <a:lnTo>
                      <a:pt x="584416" y="115913"/>
                    </a:lnTo>
                    <a:lnTo>
                      <a:pt x="589265" y="122580"/>
                    </a:lnTo>
                    <a:lnTo>
                      <a:pt x="595628" y="128490"/>
                    </a:lnTo>
                    <a:lnTo>
                      <a:pt x="599871" y="130459"/>
                    </a:lnTo>
                    <a:lnTo>
                      <a:pt x="601234" y="131671"/>
                    </a:lnTo>
                    <a:lnTo>
                      <a:pt x="602447" y="133490"/>
                    </a:lnTo>
                    <a:lnTo>
                      <a:pt x="608962" y="137278"/>
                    </a:lnTo>
                    <a:lnTo>
                      <a:pt x="622750" y="136823"/>
                    </a:lnTo>
                    <a:lnTo>
                      <a:pt x="629720" y="135460"/>
                    </a:lnTo>
                    <a:lnTo>
                      <a:pt x="635327" y="135156"/>
                    </a:lnTo>
                    <a:lnTo>
                      <a:pt x="638812" y="132884"/>
                    </a:lnTo>
                    <a:lnTo>
                      <a:pt x="642297" y="129853"/>
                    </a:lnTo>
                    <a:lnTo>
                      <a:pt x="646085" y="127883"/>
                    </a:lnTo>
                    <a:lnTo>
                      <a:pt x="649873" y="126520"/>
                    </a:lnTo>
                    <a:lnTo>
                      <a:pt x="647297" y="123641"/>
                    </a:lnTo>
                    <a:lnTo>
                      <a:pt x="644115" y="121823"/>
                    </a:lnTo>
                    <a:lnTo>
                      <a:pt x="645024" y="118944"/>
                    </a:lnTo>
                    <a:lnTo>
                      <a:pt x="646388" y="116519"/>
                    </a:lnTo>
                    <a:lnTo>
                      <a:pt x="646085" y="113489"/>
                    </a:lnTo>
                    <a:lnTo>
                      <a:pt x="645024" y="110762"/>
                    </a:lnTo>
                    <a:lnTo>
                      <a:pt x="648054" y="108943"/>
                    </a:lnTo>
                    <a:lnTo>
                      <a:pt x="651085" y="108034"/>
                    </a:lnTo>
                    <a:lnTo>
                      <a:pt x="652600" y="108034"/>
                    </a:lnTo>
                    <a:lnTo>
                      <a:pt x="653964" y="108943"/>
                    </a:lnTo>
                    <a:lnTo>
                      <a:pt x="655176" y="111368"/>
                    </a:lnTo>
                    <a:lnTo>
                      <a:pt x="656691" y="112883"/>
                    </a:lnTo>
                    <a:lnTo>
                      <a:pt x="660024" y="113489"/>
                    </a:lnTo>
                    <a:lnTo>
                      <a:pt x="663358" y="111368"/>
                    </a:lnTo>
                    <a:lnTo>
                      <a:pt x="665782" y="107277"/>
                    </a:lnTo>
                    <a:lnTo>
                      <a:pt x="668510" y="104246"/>
                    </a:lnTo>
                    <a:lnTo>
                      <a:pt x="670177" y="104852"/>
                    </a:lnTo>
                    <a:lnTo>
                      <a:pt x="670328" y="107883"/>
                    </a:lnTo>
                    <a:lnTo>
                      <a:pt x="669116" y="111368"/>
                    </a:lnTo>
                    <a:lnTo>
                      <a:pt x="666843" y="114701"/>
                    </a:lnTo>
                    <a:lnTo>
                      <a:pt x="666540" y="115913"/>
                    </a:lnTo>
                    <a:lnTo>
                      <a:pt x="667298" y="118035"/>
                    </a:lnTo>
                    <a:lnTo>
                      <a:pt x="669570" y="121974"/>
                    </a:lnTo>
                    <a:lnTo>
                      <a:pt x="671086" y="122883"/>
                    </a:lnTo>
                    <a:lnTo>
                      <a:pt x="678358" y="123035"/>
                    </a:lnTo>
                    <a:lnTo>
                      <a:pt x="685632" y="121671"/>
                    </a:lnTo>
                    <a:lnTo>
                      <a:pt x="691541" y="118944"/>
                    </a:lnTo>
                    <a:lnTo>
                      <a:pt x="699420" y="112883"/>
                    </a:lnTo>
                    <a:lnTo>
                      <a:pt x="701693" y="111822"/>
                    </a:lnTo>
                    <a:lnTo>
                      <a:pt x="708663" y="111368"/>
                    </a:lnTo>
                    <a:lnTo>
                      <a:pt x="706239" y="114398"/>
                    </a:lnTo>
                    <a:lnTo>
                      <a:pt x="699420" y="120913"/>
                    </a:lnTo>
                    <a:lnTo>
                      <a:pt x="701844" y="124247"/>
                    </a:lnTo>
                    <a:lnTo>
                      <a:pt x="707148" y="126823"/>
                    </a:lnTo>
                    <a:lnTo>
                      <a:pt x="709420" y="127429"/>
                    </a:lnTo>
                    <a:lnTo>
                      <a:pt x="714420" y="127277"/>
                    </a:lnTo>
                    <a:lnTo>
                      <a:pt x="719421" y="126217"/>
                    </a:lnTo>
                    <a:lnTo>
                      <a:pt x="714724" y="129096"/>
                    </a:lnTo>
                    <a:lnTo>
                      <a:pt x="708511" y="130156"/>
                    </a:lnTo>
                    <a:lnTo>
                      <a:pt x="691389" y="130005"/>
                    </a:lnTo>
                    <a:lnTo>
                      <a:pt x="683813" y="130762"/>
                    </a:lnTo>
                    <a:lnTo>
                      <a:pt x="681237" y="131520"/>
                    </a:lnTo>
                    <a:lnTo>
                      <a:pt x="677753" y="133187"/>
                    </a:lnTo>
                    <a:lnTo>
                      <a:pt x="677753" y="135308"/>
                    </a:lnTo>
                    <a:lnTo>
                      <a:pt x="678813" y="137581"/>
                    </a:lnTo>
                    <a:lnTo>
                      <a:pt x="673965" y="137278"/>
                    </a:lnTo>
                    <a:lnTo>
                      <a:pt x="669116" y="138035"/>
                    </a:lnTo>
                    <a:lnTo>
                      <a:pt x="659570" y="142126"/>
                    </a:lnTo>
                    <a:lnTo>
                      <a:pt x="639115" y="146824"/>
                    </a:lnTo>
                    <a:lnTo>
                      <a:pt x="640781" y="150763"/>
                    </a:lnTo>
                    <a:lnTo>
                      <a:pt x="633660" y="147127"/>
                    </a:lnTo>
                    <a:lnTo>
                      <a:pt x="630629" y="146066"/>
                    </a:lnTo>
                    <a:lnTo>
                      <a:pt x="627599" y="146066"/>
                    </a:lnTo>
                    <a:lnTo>
                      <a:pt x="626084" y="146672"/>
                    </a:lnTo>
                    <a:lnTo>
                      <a:pt x="624720" y="147733"/>
                    </a:lnTo>
                    <a:lnTo>
                      <a:pt x="623660" y="149551"/>
                    </a:lnTo>
                    <a:lnTo>
                      <a:pt x="624569" y="156066"/>
                    </a:lnTo>
                    <a:lnTo>
                      <a:pt x="625478" y="158188"/>
                    </a:lnTo>
                    <a:lnTo>
                      <a:pt x="626539" y="159854"/>
                    </a:lnTo>
                    <a:lnTo>
                      <a:pt x="631236" y="163188"/>
                    </a:lnTo>
                    <a:lnTo>
                      <a:pt x="634721" y="164703"/>
                    </a:lnTo>
                    <a:lnTo>
                      <a:pt x="648812" y="165006"/>
                    </a:lnTo>
                    <a:lnTo>
                      <a:pt x="655479" y="164248"/>
                    </a:lnTo>
                    <a:lnTo>
                      <a:pt x="662297" y="162430"/>
                    </a:lnTo>
                    <a:lnTo>
                      <a:pt x="669116" y="159551"/>
                    </a:lnTo>
                    <a:lnTo>
                      <a:pt x="675631" y="158794"/>
                    </a:lnTo>
                    <a:lnTo>
                      <a:pt x="682298" y="160157"/>
                    </a:lnTo>
                    <a:lnTo>
                      <a:pt x="688662" y="160157"/>
                    </a:lnTo>
                    <a:lnTo>
                      <a:pt x="701844" y="158188"/>
                    </a:lnTo>
                    <a:lnTo>
                      <a:pt x="710481" y="156369"/>
                    </a:lnTo>
                    <a:lnTo>
                      <a:pt x="712148" y="157127"/>
                    </a:lnTo>
                    <a:lnTo>
                      <a:pt x="713663" y="160460"/>
                    </a:lnTo>
                    <a:lnTo>
                      <a:pt x="715481" y="163036"/>
                    </a:lnTo>
                    <a:lnTo>
                      <a:pt x="704117" y="163036"/>
                    </a:lnTo>
                    <a:lnTo>
                      <a:pt x="692753" y="163945"/>
                    </a:lnTo>
                    <a:lnTo>
                      <a:pt x="657600" y="169400"/>
                    </a:lnTo>
                    <a:lnTo>
                      <a:pt x="651388" y="178946"/>
                    </a:lnTo>
                    <a:lnTo>
                      <a:pt x="648660" y="178188"/>
                    </a:lnTo>
                    <a:lnTo>
                      <a:pt x="645630" y="176219"/>
                    </a:lnTo>
                    <a:lnTo>
                      <a:pt x="642600" y="175764"/>
                    </a:lnTo>
                    <a:lnTo>
                      <a:pt x="634266" y="176673"/>
                    </a:lnTo>
                    <a:lnTo>
                      <a:pt x="633054" y="177734"/>
                    </a:lnTo>
                    <a:lnTo>
                      <a:pt x="632296" y="179855"/>
                    </a:lnTo>
                    <a:lnTo>
                      <a:pt x="632599" y="183492"/>
                    </a:lnTo>
                    <a:lnTo>
                      <a:pt x="633811" y="185916"/>
                    </a:lnTo>
                    <a:lnTo>
                      <a:pt x="636387" y="189855"/>
                    </a:lnTo>
                    <a:lnTo>
                      <a:pt x="639115" y="193037"/>
                    </a:lnTo>
                    <a:lnTo>
                      <a:pt x="642297" y="195765"/>
                    </a:lnTo>
                    <a:lnTo>
                      <a:pt x="645630" y="197886"/>
                    </a:lnTo>
                    <a:lnTo>
                      <a:pt x="652448" y="200007"/>
                    </a:lnTo>
                    <a:lnTo>
                      <a:pt x="663055" y="204553"/>
                    </a:lnTo>
                    <a:lnTo>
                      <a:pt x="674570" y="216068"/>
                    </a:lnTo>
                    <a:lnTo>
                      <a:pt x="687147" y="223341"/>
                    </a:lnTo>
                    <a:lnTo>
                      <a:pt x="690480" y="224554"/>
                    </a:lnTo>
                    <a:lnTo>
                      <a:pt x="693662" y="226675"/>
                    </a:lnTo>
                    <a:lnTo>
                      <a:pt x="696541" y="229857"/>
                    </a:lnTo>
                    <a:lnTo>
                      <a:pt x="699723" y="231827"/>
                    </a:lnTo>
                    <a:lnTo>
                      <a:pt x="706239" y="233493"/>
                    </a:lnTo>
                    <a:lnTo>
                      <a:pt x="712602" y="231978"/>
                    </a:lnTo>
                    <a:lnTo>
                      <a:pt x="716087" y="228948"/>
                    </a:lnTo>
                    <a:lnTo>
                      <a:pt x="715329" y="225463"/>
                    </a:lnTo>
                    <a:lnTo>
                      <a:pt x="713815" y="222129"/>
                    </a:lnTo>
                    <a:lnTo>
                      <a:pt x="713663" y="220311"/>
                    </a:lnTo>
                    <a:lnTo>
                      <a:pt x="718208" y="215462"/>
                    </a:lnTo>
                    <a:lnTo>
                      <a:pt x="721087" y="211220"/>
                    </a:lnTo>
                    <a:lnTo>
                      <a:pt x="719269" y="209705"/>
                    </a:lnTo>
                    <a:lnTo>
                      <a:pt x="718360" y="207432"/>
                    </a:lnTo>
                    <a:lnTo>
                      <a:pt x="723663" y="201219"/>
                    </a:lnTo>
                    <a:lnTo>
                      <a:pt x="726239" y="197280"/>
                    </a:lnTo>
                    <a:lnTo>
                      <a:pt x="731239" y="187128"/>
                    </a:lnTo>
                    <a:lnTo>
                      <a:pt x="737300" y="181370"/>
                    </a:lnTo>
                    <a:lnTo>
                      <a:pt x="745179" y="180764"/>
                    </a:lnTo>
                    <a:lnTo>
                      <a:pt x="747603" y="179855"/>
                    </a:lnTo>
                    <a:lnTo>
                      <a:pt x="749573" y="176522"/>
                    </a:lnTo>
                    <a:lnTo>
                      <a:pt x="751240" y="170461"/>
                    </a:lnTo>
                    <a:lnTo>
                      <a:pt x="752452" y="163945"/>
                    </a:lnTo>
                    <a:lnTo>
                      <a:pt x="753361" y="155157"/>
                    </a:lnTo>
                    <a:lnTo>
                      <a:pt x="753210" y="152278"/>
                    </a:lnTo>
                    <a:lnTo>
                      <a:pt x="753513" y="150309"/>
                    </a:lnTo>
                    <a:lnTo>
                      <a:pt x="757149" y="148945"/>
                    </a:lnTo>
                    <a:lnTo>
                      <a:pt x="760937" y="149399"/>
                    </a:lnTo>
                    <a:lnTo>
                      <a:pt x="763968" y="149248"/>
                    </a:lnTo>
                    <a:lnTo>
                      <a:pt x="768665" y="146824"/>
                    </a:lnTo>
                    <a:lnTo>
                      <a:pt x="768968" y="143793"/>
                    </a:lnTo>
                    <a:lnTo>
                      <a:pt x="767604" y="140763"/>
                    </a:lnTo>
                    <a:lnTo>
                      <a:pt x="768362" y="137732"/>
                    </a:lnTo>
                    <a:lnTo>
                      <a:pt x="770332" y="132732"/>
                    </a:lnTo>
                    <a:lnTo>
                      <a:pt x="772908" y="129096"/>
                    </a:lnTo>
                    <a:lnTo>
                      <a:pt x="779271" y="123035"/>
                    </a:lnTo>
                    <a:lnTo>
                      <a:pt x="785787" y="118035"/>
                    </a:lnTo>
                    <a:lnTo>
                      <a:pt x="786847" y="115913"/>
                    </a:lnTo>
                    <a:lnTo>
                      <a:pt x="787453" y="115156"/>
                    </a:lnTo>
                    <a:lnTo>
                      <a:pt x="790030" y="114398"/>
                    </a:lnTo>
                    <a:lnTo>
                      <a:pt x="807000" y="113186"/>
                    </a:lnTo>
                    <a:lnTo>
                      <a:pt x="816242" y="111368"/>
                    </a:lnTo>
                    <a:lnTo>
                      <a:pt x="826394" y="111065"/>
                    </a:lnTo>
                    <a:lnTo>
                      <a:pt x="830485" y="109701"/>
                    </a:lnTo>
                    <a:lnTo>
                      <a:pt x="834425" y="107277"/>
                    </a:lnTo>
                    <a:lnTo>
                      <a:pt x="833364" y="105307"/>
                    </a:lnTo>
                    <a:lnTo>
                      <a:pt x="832304" y="103792"/>
                    </a:lnTo>
                    <a:lnTo>
                      <a:pt x="826243" y="100307"/>
                    </a:lnTo>
                    <a:lnTo>
                      <a:pt x="816091" y="96973"/>
                    </a:lnTo>
                    <a:lnTo>
                      <a:pt x="810030" y="92428"/>
                    </a:lnTo>
                    <a:lnTo>
                      <a:pt x="817303" y="87730"/>
                    </a:lnTo>
                    <a:lnTo>
                      <a:pt x="813061" y="84852"/>
                    </a:lnTo>
                    <a:lnTo>
                      <a:pt x="808818" y="83488"/>
                    </a:lnTo>
                    <a:lnTo>
                      <a:pt x="800787" y="82427"/>
                    </a:lnTo>
                    <a:lnTo>
                      <a:pt x="799424" y="83639"/>
                    </a:lnTo>
                    <a:lnTo>
                      <a:pt x="799424" y="86518"/>
                    </a:lnTo>
                    <a:lnTo>
                      <a:pt x="793363" y="87730"/>
                    </a:lnTo>
                    <a:lnTo>
                      <a:pt x="789423" y="82124"/>
                    </a:lnTo>
                    <a:lnTo>
                      <a:pt x="782302" y="80306"/>
                    </a:lnTo>
                    <a:lnTo>
                      <a:pt x="771392" y="81518"/>
                    </a:lnTo>
                    <a:lnTo>
                      <a:pt x="768362" y="80154"/>
                    </a:lnTo>
                    <a:lnTo>
                      <a:pt x="765634" y="76821"/>
                    </a:lnTo>
                    <a:lnTo>
                      <a:pt x="762756" y="75154"/>
                    </a:lnTo>
                    <a:lnTo>
                      <a:pt x="760180" y="75003"/>
                    </a:lnTo>
                    <a:lnTo>
                      <a:pt x="761392" y="73791"/>
                    </a:lnTo>
                    <a:lnTo>
                      <a:pt x="763816" y="72427"/>
                    </a:lnTo>
                    <a:lnTo>
                      <a:pt x="764271" y="70306"/>
                    </a:lnTo>
                    <a:lnTo>
                      <a:pt x="764574" y="67275"/>
                    </a:lnTo>
                    <a:lnTo>
                      <a:pt x="764119" y="64699"/>
                    </a:lnTo>
                    <a:lnTo>
                      <a:pt x="763362" y="62578"/>
                    </a:lnTo>
                    <a:lnTo>
                      <a:pt x="762301" y="60911"/>
                    </a:lnTo>
                    <a:lnTo>
                      <a:pt x="757756" y="55760"/>
                    </a:lnTo>
                    <a:lnTo>
                      <a:pt x="752755" y="53638"/>
                    </a:lnTo>
                    <a:lnTo>
                      <a:pt x="750937" y="53335"/>
                    </a:lnTo>
                    <a:lnTo>
                      <a:pt x="749270" y="53941"/>
                    </a:lnTo>
                    <a:lnTo>
                      <a:pt x="738058" y="64093"/>
                    </a:lnTo>
                    <a:lnTo>
                      <a:pt x="732755" y="67275"/>
                    </a:lnTo>
                    <a:lnTo>
                      <a:pt x="733967" y="64548"/>
                    </a:lnTo>
                    <a:lnTo>
                      <a:pt x="734421" y="61366"/>
                    </a:lnTo>
                    <a:lnTo>
                      <a:pt x="733209" y="58184"/>
                    </a:lnTo>
                    <a:lnTo>
                      <a:pt x="734421" y="55911"/>
                    </a:lnTo>
                    <a:lnTo>
                      <a:pt x="737906" y="51820"/>
                    </a:lnTo>
                    <a:lnTo>
                      <a:pt x="740482" y="47577"/>
                    </a:lnTo>
                    <a:lnTo>
                      <a:pt x="737148" y="41668"/>
                    </a:lnTo>
                    <a:lnTo>
                      <a:pt x="733058" y="38183"/>
                    </a:lnTo>
                    <a:lnTo>
                      <a:pt x="730179" y="36516"/>
                    </a:lnTo>
                    <a:lnTo>
                      <a:pt x="720330" y="33032"/>
                    </a:lnTo>
                    <a:lnTo>
                      <a:pt x="713360" y="31819"/>
                    </a:lnTo>
                    <a:lnTo>
                      <a:pt x="712299" y="32728"/>
                    </a:lnTo>
                    <a:lnTo>
                      <a:pt x="711239" y="34547"/>
                    </a:lnTo>
                    <a:lnTo>
                      <a:pt x="709875" y="35153"/>
                    </a:lnTo>
                    <a:lnTo>
                      <a:pt x="708511" y="35001"/>
                    </a:lnTo>
                    <a:lnTo>
                      <a:pt x="701390" y="27880"/>
                    </a:lnTo>
                    <a:lnTo>
                      <a:pt x="697602" y="25910"/>
                    </a:lnTo>
                    <a:lnTo>
                      <a:pt x="693814" y="26062"/>
                    </a:lnTo>
                    <a:lnTo>
                      <a:pt x="689722" y="28637"/>
                    </a:lnTo>
                    <a:lnTo>
                      <a:pt x="688208" y="32880"/>
                    </a:lnTo>
                    <a:lnTo>
                      <a:pt x="689420" y="37274"/>
                    </a:lnTo>
                    <a:lnTo>
                      <a:pt x="685480" y="40304"/>
                    </a:lnTo>
                    <a:lnTo>
                      <a:pt x="682450" y="46668"/>
                    </a:lnTo>
                    <a:lnTo>
                      <a:pt x="681995" y="48184"/>
                    </a:lnTo>
                    <a:lnTo>
                      <a:pt x="681692" y="49850"/>
                    </a:lnTo>
                    <a:lnTo>
                      <a:pt x="682298" y="55760"/>
                    </a:lnTo>
                    <a:lnTo>
                      <a:pt x="683207" y="60002"/>
                    </a:lnTo>
                    <a:lnTo>
                      <a:pt x="687450" y="70912"/>
                    </a:lnTo>
                    <a:lnTo>
                      <a:pt x="693662" y="85003"/>
                    </a:lnTo>
                    <a:lnTo>
                      <a:pt x="696086" y="93337"/>
                    </a:lnTo>
                    <a:lnTo>
                      <a:pt x="694723" y="93034"/>
                    </a:lnTo>
                    <a:lnTo>
                      <a:pt x="682753" y="82124"/>
                    </a:lnTo>
                    <a:lnTo>
                      <a:pt x="680177" y="81215"/>
                    </a:lnTo>
                    <a:lnTo>
                      <a:pt x="677298" y="77427"/>
                    </a:lnTo>
                    <a:lnTo>
                      <a:pt x="671389" y="66821"/>
                    </a:lnTo>
                    <a:lnTo>
                      <a:pt x="666085" y="58184"/>
                    </a:lnTo>
                    <a:lnTo>
                      <a:pt x="660631" y="50153"/>
                    </a:lnTo>
                    <a:lnTo>
                      <a:pt x="654570" y="44547"/>
                    </a:lnTo>
                    <a:lnTo>
                      <a:pt x="648054" y="42577"/>
                    </a:lnTo>
                    <a:lnTo>
                      <a:pt x="642145" y="47123"/>
                    </a:lnTo>
                    <a:lnTo>
                      <a:pt x="636690" y="53790"/>
                    </a:lnTo>
                    <a:lnTo>
                      <a:pt x="632902" y="55911"/>
                    </a:lnTo>
                    <a:lnTo>
                      <a:pt x="632296" y="58790"/>
                    </a:lnTo>
                    <a:lnTo>
                      <a:pt x="631993" y="62275"/>
                    </a:lnTo>
                    <a:lnTo>
                      <a:pt x="632448" y="65457"/>
                    </a:lnTo>
                    <a:lnTo>
                      <a:pt x="633205" y="68336"/>
                    </a:lnTo>
                    <a:lnTo>
                      <a:pt x="632448" y="70760"/>
                    </a:lnTo>
                    <a:lnTo>
                      <a:pt x="630478" y="71063"/>
                    </a:lnTo>
                    <a:lnTo>
                      <a:pt x="627145" y="68790"/>
                    </a:lnTo>
                    <a:lnTo>
                      <a:pt x="623962" y="65457"/>
                    </a:lnTo>
                    <a:lnTo>
                      <a:pt x="620781" y="63790"/>
                    </a:lnTo>
                    <a:lnTo>
                      <a:pt x="616084" y="62881"/>
                    </a:lnTo>
                    <a:lnTo>
                      <a:pt x="614720" y="62275"/>
                    </a:lnTo>
                    <a:lnTo>
                      <a:pt x="613356" y="56517"/>
                    </a:lnTo>
                    <a:lnTo>
                      <a:pt x="610174" y="55760"/>
                    </a:lnTo>
                    <a:lnTo>
                      <a:pt x="592143" y="56972"/>
                    </a:lnTo>
                    <a:lnTo>
                      <a:pt x="605326" y="49850"/>
                    </a:lnTo>
                    <a:lnTo>
                      <a:pt x="625478" y="48032"/>
                    </a:lnTo>
                    <a:lnTo>
                      <a:pt x="628963" y="45759"/>
                    </a:lnTo>
                    <a:lnTo>
                      <a:pt x="629417" y="45153"/>
                    </a:lnTo>
                    <a:lnTo>
                      <a:pt x="629569" y="43183"/>
                    </a:lnTo>
                    <a:lnTo>
                      <a:pt x="629266" y="41668"/>
                    </a:lnTo>
                    <a:lnTo>
                      <a:pt x="623205" y="38941"/>
                    </a:lnTo>
                    <a:lnTo>
                      <a:pt x="607144" y="40759"/>
                    </a:lnTo>
                    <a:lnTo>
                      <a:pt x="597446" y="44244"/>
                    </a:lnTo>
                    <a:lnTo>
                      <a:pt x="593355" y="44396"/>
                    </a:lnTo>
                    <a:lnTo>
                      <a:pt x="584567" y="41668"/>
                    </a:lnTo>
                    <a:lnTo>
                      <a:pt x="582900" y="42729"/>
                    </a:lnTo>
                    <a:lnTo>
                      <a:pt x="583658" y="45759"/>
                    </a:lnTo>
                    <a:lnTo>
                      <a:pt x="584870" y="48032"/>
                    </a:lnTo>
                    <a:lnTo>
                      <a:pt x="582900" y="47426"/>
                    </a:lnTo>
                    <a:lnTo>
                      <a:pt x="580022" y="46214"/>
                    </a:lnTo>
                    <a:lnTo>
                      <a:pt x="569112" y="41062"/>
                    </a:lnTo>
                    <a:lnTo>
                      <a:pt x="559263" y="42426"/>
                    </a:lnTo>
                    <a:lnTo>
                      <a:pt x="556687" y="43335"/>
                    </a:lnTo>
                    <a:lnTo>
                      <a:pt x="554869" y="47274"/>
                    </a:lnTo>
                    <a:lnTo>
                      <a:pt x="553960" y="47426"/>
                    </a:lnTo>
                    <a:lnTo>
                      <a:pt x="551233" y="44699"/>
                    </a:lnTo>
                    <a:lnTo>
                      <a:pt x="546232" y="42426"/>
                    </a:lnTo>
                    <a:lnTo>
                      <a:pt x="544566" y="42274"/>
                    </a:lnTo>
                    <a:lnTo>
                      <a:pt x="543050" y="42880"/>
                    </a:lnTo>
                    <a:lnTo>
                      <a:pt x="541232" y="44850"/>
                    </a:lnTo>
                    <a:lnTo>
                      <a:pt x="541384" y="46365"/>
                    </a:lnTo>
                    <a:lnTo>
                      <a:pt x="543202" y="49244"/>
                    </a:lnTo>
                    <a:close/>
                    <a:moveTo>
                      <a:pt x="814121" y="570930"/>
                    </a:moveTo>
                    <a:lnTo>
                      <a:pt x="809727" y="572294"/>
                    </a:lnTo>
                    <a:lnTo>
                      <a:pt x="807454" y="574718"/>
                    </a:lnTo>
                    <a:lnTo>
                      <a:pt x="807303" y="576536"/>
                    </a:lnTo>
                    <a:lnTo>
                      <a:pt x="808970" y="578658"/>
                    </a:lnTo>
                    <a:lnTo>
                      <a:pt x="810939" y="578506"/>
                    </a:lnTo>
                    <a:lnTo>
                      <a:pt x="812606" y="578961"/>
                    </a:lnTo>
                    <a:lnTo>
                      <a:pt x="813818" y="579718"/>
                    </a:lnTo>
                    <a:lnTo>
                      <a:pt x="816091" y="579264"/>
                    </a:lnTo>
                    <a:lnTo>
                      <a:pt x="817606" y="578051"/>
                    </a:lnTo>
                    <a:lnTo>
                      <a:pt x="818667" y="572294"/>
                    </a:lnTo>
                    <a:lnTo>
                      <a:pt x="817758" y="571536"/>
                    </a:lnTo>
                    <a:lnTo>
                      <a:pt x="814121" y="570930"/>
                    </a:lnTo>
                    <a:close/>
                    <a:moveTo>
                      <a:pt x="886548" y="546535"/>
                    </a:moveTo>
                    <a:lnTo>
                      <a:pt x="888821" y="544868"/>
                    </a:lnTo>
                    <a:lnTo>
                      <a:pt x="889730" y="543353"/>
                    </a:lnTo>
                    <a:lnTo>
                      <a:pt x="890336" y="541838"/>
                    </a:lnTo>
                    <a:lnTo>
                      <a:pt x="889124" y="540474"/>
                    </a:lnTo>
                    <a:lnTo>
                      <a:pt x="885942" y="541989"/>
                    </a:lnTo>
                    <a:lnTo>
                      <a:pt x="883820" y="541838"/>
                    </a:lnTo>
                    <a:lnTo>
                      <a:pt x="877154" y="546990"/>
                    </a:lnTo>
                    <a:lnTo>
                      <a:pt x="874275" y="546081"/>
                    </a:lnTo>
                    <a:lnTo>
                      <a:pt x="866396" y="547596"/>
                    </a:lnTo>
                    <a:lnTo>
                      <a:pt x="862305" y="547293"/>
                    </a:lnTo>
                    <a:lnTo>
                      <a:pt x="860335" y="549566"/>
                    </a:lnTo>
                    <a:lnTo>
                      <a:pt x="857153" y="549111"/>
                    </a:lnTo>
                    <a:lnTo>
                      <a:pt x="855486" y="549566"/>
                    </a:lnTo>
                    <a:lnTo>
                      <a:pt x="850638" y="549566"/>
                    </a:lnTo>
                    <a:lnTo>
                      <a:pt x="852304" y="551687"/>
                    </a:lnTo>
                    <a:lnTo>
                      <a:pt x="855335" y="554263"/>
                    </a:lnTo>
                    <a:lnTo>
                      <a:pt x="860487" y="556535"/>
                    </a:lnTo>
                    <a:lnTo>
                      <a:pt x="862456" y="556839"/>
                    </a:lnTo>
                    <a:lnTo>
                      <a:pt x="865941" y="556535"/>
                    </a:lnTo>
                    <a:lnTo>
                      <a:pt x="867305" y="555626"/>
                    </a:lnTo>
                    <a:lnTo>
                      <a:pt x="868668" y="554414"/>
                    </a:lnTo>
                    <a:lnTo>
                      <a:pt x="873366" y="555323"/>
                    </a:lnTo>
                    <a:lnTo>
                      <a:pt x="874881" y="554717"/>
                    </a:lnTo>
                    <a:lnTo>
                      <a:pt x="876093" y="553657"/>
                    </a:lnTo>
                    <a:lnTo>
                      <a:pt x="879881" y="552596"/>
                    </a:lnTo>
                    <a:lnTo>
                      <a:pt x="886548" y="546535"/>
                    </a:lnTo>
                    <a:close/>
                    <a:moveTo>
                      <a:pt x="771544" y="358195"/>
                    </a:moveTo>
                    <a:lnTo>
                      <a:pt x="774877" y="356074"/>
                    </a:lnTo>
                    <a:lnTo>
                      <a:pt x="776392" y="352589"/>
                    </a:lnTo>
                    <a:lnTo>
                      <a:pt x="776089" y="351376"/>
                    </a:lnTo>
                    <a:lnTo>
                      <a:pt x="773968" y="349255"/>
                    </a:lnTo>
                    <a:lnTo>
                      <a:pt x="765180" y="349407"/>
                    </a:lnTo>
                    <a:lnTo>
                      <a:pt x="763210" y="351073"/>
                    </a:lnTo>
                    <a:lnTo>
                      <a:pt x="766544" y="355164"/>
                    </a:lnTo>
                    <a:lnTo>
                      <a:pt x="771544" y="358195"/>
                    </a:lnTo>
                    <a:close/>
                    <a:moveTo>
                      <a:pt x="895791" y="559414"/>
                    </a:moveTo>
                    <a:lnTo>
                      <a:pt x="895640" y="557445"/>
                    </a:lnTo>
                    <a:lnTo>
                      <a:pt x="895185" y="555172"/>
                    </a:lnTo>
                    <a:lnTo>
                      <a:pt x="894124" y="552899"/>
                    </a:lnTo>
                    <a:lnTo>
                      <a:pt x="893215" y="551687"/>
                    </a:lnTo>
                    <a:lnTo>
                      <a:pt x="885033" y="557293"/>
                    </a:lnTo>
                    <a:lnTo>
                      <a:pt x="882609" y="556687"/>
                    </a:lnTo>
                    <a:lnTo>
                      <a:pt x="878820" y="558202"/>
                    </a:lnTo>
                    <a:lnTo>
                      <a:pt x="876548" y="560324"/>
                    </a:lnTo>
                    <a:lnTo>
                      <a:pt x="875942" y="561687"/>
                    </a:lnTo>
                    <a:lnTo>
                      <a:pt x="875942" y="563202"/>
                    </a:lnTo>
                    <a:lnTo>
                      <a:pt x="878366" y="564718"/>
                    </a:lnTo>
                    <a:lnTo>
                      <a:pt x="880639" y="563505"/>
                    </a:lnTo>
                    <a:lnTo>
                      <a:pt x="881093" y="564415"/>
                    </a:lnTo>
                    <a:lnTo>
                      <a:pt x="880942" y="567445"/>
                    </a:lnTo>
                    <a:lnTo>
                      <a:pt x="882609" y="568051"/>
                    </a:lnTo>
                    <a:lnTo>
                      <a:pt x="885639" y="567293"/>
                    </a:lnTo>
                    <a:lnTo>
                      <a:pt x="887608" y="566384"/>
                    </a:lnTo>
                    <a:lnTo>
                      <a:pt x="887306" y="565475"/>
                    </a:lnTo>
                    <a:lnTo>
                      <a:pt x="893215" y="561839"/>
                    </a:lnTo>
                    <a:lnTo>
                      <a:pt x="895791" y="559414"/>
                    </a:lnTo>
                    <a:close/>
                    <a:moveTo>
                      <a:pt x="748967" y="604871"/>
                    </a:moveTo>
                    <a:lnTo>
                      <a:pt x="752755" y="603961"/>
                    </a:lnTo>
                    <a:lnTo>
                      <a:pt x="763059" y="602749"/>
                    </a:lnTo>
                    <a:lnTo>
                      <a:pt x="763513" y="601537"/>
                    </a:lnTo>
                    <a:lnTo>
                      <a:pt x="763665" y="599870"/>
                    </a:lnTo>
                    <a:lnTo>
                      <a:pt x="766392" y="596688"/>
                    </a:lnTo>
                    <a:lnTo>
                      <a:pt x="769120" y="594113"/>
                    </a:lnTo>
                    <a:lnTo>
                      <a:pt x="772453" y="591688"/>
                    </a:lnTo>
                    <a:lnTo>
                      <a:pt x="774271" y="592143"/>
                    </a:lnTo>
                    <a:lnTo>
                      <a:pt x="778059" y="591082"/>
                    </a:lnTo>
                    <a:lnTo>
                      <a:pt x="780938" y="586840"/>
                    </a:lnTo>
                    <a:lnTo>
                      <a:pt x="785029" y="583809"/>
                    </a:lnTo>
                    <a:lnTo>
                      <a:pt x="785484" y="581385"/>
                    </a:lnTo>
                    <a:lnTo>
                      <a:pt x="782454" y="580021"/>
                    </a:lnTo>
                    <a:lnTo>
                      <a:pt x="780938" y="580476"/>
                    </a:lnTo>
                    <a:lnTo>
                      <a:pt x="780332" y="581536"/>
                    </a:lnTo>
                    <a:lnTo>
                      <a:pt x="778211" y="581839"/>
                    </a:lnTo>
                    <a:lnTo>
                      <a:pt x="775787" y="579112"/>
                    </a:lnTo>
                    <a:lnTo>
                      <a:pt x="775635" y="573657"/>
                    </a:lnTo>
                    <a:lnTo>
                      <a:pt x="774574" y="570324"/>
                    </a:lnTo>
                    <a:lnTo>
                      <a:pt x="772453" y="570475"/>
                    </a:lnTo>
                    <a:lnTo>
                      <a:pt x="770483" y="574263"/>
                    </a:lnTo>
                    <a:lnTo>
                      <a:pt x="770180" y="575779"/>
                    </a:lnTo>
                    <a:lnTo>
                      <a:pt x="770786" y="578203"/>
                    </a:lnTo>
                    <a:lnTo>
                      <a:pt x="770180" y="580627"/>
                    </a:lnTo>
                    <a:lnTo>
                      <a:pt x="767907" y="580324"/>
                    </a:lnTo>
                    <a:lnTo>
                      <a:pt x="765634" y="581991"/>
                    </a:lnTo>
                    <a:lnTo>
                      <a:pt x="763968" y="584415"/>
                    </a:lnTo>
                    <a:lnTo>
                      <a:pt x="760180" y="587749"/>
                    </a:lnTo>
                    <a:lnTo>
                      <a:pt x="759877" y="589112"/>
                    </a:lnTo>
                    <a:lnTo>
                      <a:pt x="760483" y="591082"/>
                    </a:lnTo>
                    <a:lnTo>
                      <a:pt x="759877" y="593203"/>
                    </a:lnTo>
                    <a:lnTo>
                      <a:pt x="758513" y="591688"/>
                    </a:lnTo>
                    <a:lnTo>
                      <a:pt x="757452" y="591991"/>
                    </a:lnTo>
                    <a:lnTo>
                      <a:pt x="755483" y="593507"/>
                    </a:lnTo>
                    <a:lnTo>
                      <a:pt x="752604" y="592900"/>
                    </a:lnTo>
                    <a:lnTo>
                      <a:pt x="751089" y="593507"/>
                    </a:lnTo>
                    <a:lnTo>
                      <a:pt x="750180" y="596082"/>
                    </a:lnTo>
                    <a:lnTo>
                      <a:pt x="748967" y="596688"/>
                    </a:lnTo>
                    <a:lnTo>
                      <a:pt x="747907" y="597901"/>
                    </a:lnTo>
                    <a:lnTo>
                      <a:pt x="747755" y="599870"/>
                    </a:lnTo>
                    <a:lnTo>
                      <a:pt x="743815" y="600325"/>
                    </a:lnTo>
                    <a:lnTo>
                      <a:pt x="743209" y="601537"/>
                    </a:lnTo>
                    <a:lnTo>
                      <a:pt x="745028" y="603658"/>
                    </a:lnTo>
                    <a:lnTo>
                      <a:pt x="748967" y="604871"/>
                    </a:lnTo>
                    <a:close/>
                    <a:moveTo>
                      <a:pt x="741997" y="613962"/>
                    </a:moveTo>
                    <a:lnTo>
                      <a:pt x="743513" y="611689"/>
                    </a:lnTo>
                    <a:lnTo>
                      <a:pt x="742906" y="608659"/>
                    </a:lnTo>
                    <a:lnTo>
                      <a:pt x="741543" y="606386"/>
                    </a:lnTo>
                    <a:lnTo>
                      <a:pt x="739421" y="606234"/>
                    </a:lnTo>
                    <a:lnTo>
                      <a:pt x="737603" y="604416"/>
                    </a:lnTo>
                    <a:lnTo>
                      <a:pt x="735482" y="603507"/>
                    </a:lnTo>
                    <a:lnTo>
                      <a:pt x="732603" y="603810"/>
                    </a:lnTo>
                    <a:lnTo>
                      <a:pt x="731088" y="604719"/>
                    </a:lnTo>
                    <a:lnTo>
                      <a:pt x="727754" y="601992"/>
                    </a:lnTo>
                    <a:lnTo>
                      <a:pt x="727300" y="602446"/>
                    </a:lnTo>
                    <a:lnTo>
                      <a:pt x="727148" y="603355"/>
                    </a:lnTo>
                    <a:lnTo>
                      <a:pt x="726391" y="605325"/>
                    </a:lnTo>
                    <a:lnTo>
                      <a:pt x="723663" y="605477"/>
                    </a:lnTo>
                    <a:lnTo>
                      <a:pt x="720784" y="606537"/>
                    </a:lnTo>
                    <a:lnTo>
                      <a:pt x="720178" y="607749"/>
                    </a:lnTo>
                    <a:lnTo>
                      <a:pt x="724118" y="609568"/>
                    </a:lnTo>
                    <a:lnTo>
                      <a:pt x="724724" y="610628"/>
                    </a:lnTo>
                    <a:lnTo>
                      <a:pt x="723815" y="612295"/>
                    </a:lnTo>
                    <a:lnTo>
                      <a:pt x="716239" y="611386"/>
                    </a:lnTo>
                    <a:lnTo>
                      <a:pt x="713966" y="613204"/>
                    </a:lnTo>
                    <a:lnTo>
                      <a:pt x="713815" y="614719"/>
                    </a:lnTo>
                    <a:lnTo>
                      <a:pt x="713208" y="616992"/>
                    </a:lnTo>
                    <a:lnTo>
                      <a:pt x="713815" y="621538"/>
                    </a:lnTo>
                    <a:lnTo>
                      <a:pt x="713057" y="624114"/>
                    </a:lnTo>
                    <a:lnTo>
                      <a:pt x="709572" y="625326"/>
                    </a:lnTo>
                    <a:lnTo>
                      <a:pt x="708814" y="626083"/>
                    </a:lnTo>
                    <a:lnTo>
                      <a:pt x="708663" y="627296"/>
                    </a:lnTo>
                    <a:lnTo>
                      <a:pt x="712754" y="627296"/>
                    </a:lnTo>
                    <a:lnTo>
                      <a:pt x="715936" y="628356"/>
                    </a:lnTo>
                    <a:lnTo>
                      <a:pt x="716087" y="629872"/>
                    </a:lnTo>
                    <a:lnTo>
                      <a:pt x="718208" y="629265"/>
                    </a:lnTo>
                    <a:lnTo>
                      <a:pt x="722603" y="624265"/>
                    </a:lnTo>
                    <a:lnTo>
                      <a:pt x="727148" y="621083"/>
                    </a:lnTo>
                    <a:lnTo>
                      <a:pt x="729270" y="622902"/>
                    </a:lnTo>
                    <a:lnTo>
                      <a:pt x="734876" y="622295"/>
                    </a:lnTo>
                    <a:lnTo>
                      <a:pt x="739725" y="621083"/>
                    </a:lnTo>
                    <a:lnTo>
                      <a:pt x="738967" y="617447"/>
                    </a:lnTo>
                    <a:lnTo>
                      <a:pt x="739573" y="614871"/>
                    </a:lnTo>
                    <a:lnTo>
                      <a:pt x="741997" y="613962"/>
                    </a:lnTo>
                    <a:close/>
                    <a:moveTo>
                      <a:pt x="750785" y="26213"/>
                    </a:moveTo>
                    <a:lnTo>
                      <a:pt x="764725" y="27728"/>
                    </a:lnTo>
                    <a:lnTo>
                      <a:pt x="761240" y="30304"/>
                    </a:lnTo>
                    <a:lnTo>
                      <a:pt x="757604" y="32122"/>
                    </a:lnTo>
                    <a:lnTo>
                      <a:pt x="748361" y="34395"/>
                    </a:lnTo>
                    <a:lnTo>
                      <a:pt x="749119" y="36971"/>
                    </a:lnTo>
                    <a:lnTo>
                      <a:pt x="750180" y="38638"/>
                    </a:lnTo>
                    <a:lnTo>
                      <a:pt x="753058" y="40911"/>
                    </a:lnTo>
                    <a:lnTo>
                      <a:pt x="761240" y="44850"/>
                    </a:lnTo>
                    <a:lnTo>
                      <a:pt x="767150" y="46365"/>
                    </a:lnTo>
                    <a:lnTo>
                      <a:pt x="779726" y="46971"/>
                    </a:lnTo>
                    <a:lnTo>
                      <a:pt x="786242" y="46820"/>
                    </a:lnTo>
                    <a:lnTo>
                      <a:pt x="793363" y="45911"/>
                    </a:lnTo>
                    <a:lnTo>
                      <a:pt x="799575" y="43789"/>
                    </a:lnTo>
                    <a:lnTo>
                      <a:pt x="808818" y="44093"/>
                    </a:lnTo>
                    <a:lnTo>
                      <a:pt x="817606" y="45759"/>
                    </a:lnTo>
                    <a:lnTo>
                      <a:pt x="814879" y="48335"/>
                    </a:lnTo>
                    <a:lnTo>
                      <a:pt x="811545" y="49396"/>
                    </a:lnTo>
                    <a:lnTo>
                      <a:pt x="809575" y="53032"/>
                    </a:lnTo>
                    <a:lnTo>
                      <a:pt x="801242" y="53032"/>
                    </a:lnTo>
                    <a:lnTo>
                      <a:pt x="796545" y="52578"/>
                    </a:lnTo>
                    <a:lnTo>
                      <a:pt x="791242" y="53032"/>
                    </a:lnTo>
                    <a:lnTo>
                      <a:pt x="789272" y="53941"/>
                    </a:lnTo>
                    <a:lnTo>
                      <a:pt x="787302" y="55608"/>
                    </a:lnTo>
                    <a:lnTo>
                      <a:pt x="793514" y="59093"/>
                    </a:lnTo>
                    <a:lnTo>
                      <a:pt x="799727" y="61820"/>
                    </a:lnTo>
                    <a:lnTo>
                      <a:pt x="807151" y="63487"/>
                    </a:lnTo>
                    <a:lnTo>
                      <a:pt x="817000" y="64851"/>
                    </a:lnTo>
                    <a:lnTo>
                      <a:pt x="818212" y="66821"/>
                    </a:lnTo>
                    <a:lnTo>
                      <a:pt x="819727" y="67578"/>
                    </a:lnTo>
                    <a:lnTo>
                      <a:pt x="848516" y="68639"/>
                    </a:lnTo>
                    <a:lnTo>
                      <a:pt x="874578" y="66669"/>
                    </a:lnTo>
                    <a:lnTo>
                      <a:pt x="869881" y="71821"/>
                    </a:lnTo>
                    <a:lnTo>
                      <a:pt x="872456" y="75760"/>
                    </a:lnTo>
                    <a:lnTo>
                      <a:pt x="875639" y="77882"/>
                    </a:lnTo>
                    <a:lnTo>
                      <a:pt x="898973" y="79397"/>
                    </a:lnTo>
                    <a:lnTo>
                      <a:pt x="904125" y="80154"/>
                    </a:lnTo>
                    <a:lnTo>
                      <a:pt x="909125" y="78791"/>
                    </a:lnTo>
                    <a:lnTo>
                      <a:pt x="912458" y="75912"/>
                    </a:lnTo>
                    <a:lnTo>
                      <a:pt x="915943" y="73639"/>
                    </a:lnTo>
                    <a:lnTo>
                      <a:pt x="925944" y="69700"/>
                    </a:lnTo>
                    <a:lnTo>
                      <a:pt x="928519" y="69548"/>
                    </a:lnTo>
                    <a:lnTo>
                      <a:pt x="936853" y="71366"/>
                    </a:lnTo>
                    <a:lnTo>
                      <a:pt x="939429" y="70912"/>
                    </a:lnTo>
                    <a:lnTo>
                      <a:pt x="950490" y="67275"/>
                    </a:lnTo>
                    <a:lnTo>
                      <a:pt x="952763" y="65002"/>
                    </a:lnTo>
                    <a:lnTo>
                      <a:pt x="957611" y="57426"/>
                    </a:lnTo>
                    <a:lnTo>
                      <a:pt x="960490" y="53941"/>
                    </a:lnTo>
                    <a:lnTo>
                      <a:pt x="966399" y="50153"/>
                    </a:lnTo>
                    <a:lnTo>
                      <a:pt x="989885" y="38486"/>
                    </a:lnTo>
                    <a:lnTo>
                      <a:pt x="993067" y="35910"/>
                    </a:lnTo>
                    <a:lnTo>
                      <a:pt x="991704" y="26365"/>
                    </a:lnTo>
                    <a:lnTo>
                      <a:pt x="988067" y="22274"/>
                    </a:lnTo>
                    <a:lnTo>
                      <a:pt x="983824" y="20152"/>
                    </a:lnTo>
                    <a:lnTo>
                      <a:pt x="972157" y="19243"/>
                    </a:lnTo>
                    <a:lnTo>
                      <a:pt x="955793" y="19243"/>
                    </a:lnTo>
                    <a:lnTo>
                      <a:pt x="953520" y="18486"/>
                    </a:lnTo>
                    <a:lnTo>
                      <a:pt x="951247" y="17122"/>
                    </a:lnTo>
                    <a:lnTo>
                      <a:pt x="945944" y="15607"/>
                    </a:lnTo>
                    <a:lnTo>
                      <a:pt x="930489" y="12879"/>
                    </a:lnTo>
                    <a:lnTo>
                      <a:pt x="927156" y="11364"/>
                    </a:lnTo>
                    <a:lnTo>
                      <a:pt x="925792" y="11364"/>
                    </a:lnTo>
                    <a:lnTo>
                      <a:pt x="922459" y="12273"/>
                    </a:lnTo>
                    <a:lnTo>
                      <a:pt x="920640" y="11667"/>
                    </a:lnTo>
                    <a:lnTo>
                      <a:pt x="916701" y="7879"/>
                    </a:lnTo>
                    <a:lnTo>
                      <a:pt x="913822" y="7576"/>
                    </a:lnTo>
                    <a:lnTo>
                      <a:pt x="913367" y="9546"/>
                    </a:lnTo>
                    <a:lnTo>
                      <a:pt x="912155" y="11213"/>
                    </a:lnTo>
                    <a:lnTo>
                      <a:pt x="909731" y="11667"/>
                    </a:lnTo>
                    <a:lnTo>
                      <a:pt x="904579" y="11061"/>
                    </a:lnTo>
                    <a:lnTo>
                      <a:pt x="899579" y="14849"/>
                    </a:lnTo>
                    <a:lnTo>
                      <a:pt x="897306" y="17273"/>
                    </a:lnTo>
                    <a:lnTo>
                      <a:pt x="888215" y="19092"/>
                    </a:lnTo>
                    <a:lnTo>
                      <a:pt x="881699" y="18637"/>
                    </a:lnTo>
                    <a:lnTo>
                      <a:pt x="884730" y="10455"/>
                    </a:lnTo>
                    <a:lnTo>
                      <a:pt x="885487" y="6515"/>
                    </a:lnTo>
                    <a:lnTo>
                      <a:pt x="887306" y="3636"/>
                    </a:lnTo>
                    <a:lnTo>
                      <a:pt x="885487" y="2273"/>
                    </a:lnTo>
                    <a:lnTo>
                      <a:pt x="878820" y="606"/>
                    </a:lnTo>
                    <a:lnTo>
                      <a:pt x="875790" y="909"/>
                    </a:lnTo>
                    <a:lnTo>
                      <a:pt x="872608" y="2576"/>
                    </a:lnTo>
                    <a:lnTo>
                      <a:pt x="869275" y="3940"/>
                    </a:lnTo>
                    <a:lnTo>
                      <a:pt x="865941" y="3636"/>
                    </a:lnTo>
                    <a:lnTo>
                      <a:pt x="863214" y="4546"/>
                    </a:lnTo>
                    <a:lnTo>
                      <a:pt x="862305" y="6818"/>
                    </a:lnTo>
                    <a:lnTo>
                      <a:pt x="863062" y="10455"/>
                    </a:lnTo>
                    <a:lnTo>
                      <a:pt x="862911" y="17879"/>
                    </a:lnTo>
                    <a:lnTo>
                      <a:pt x="861092" y="24243"/>
                    </a:lnTo>
                    <a:lnTo>
                      <a:pt x="858668" y="26819"/>
                    </a:lnTo>
                    <a:lnTo>
                      <a:pt x="855941" y="26213"/>
                    </a:lnTo>
                    <a:lnTo>
                      <a:pt x="847910" y="21667"/>
                    </a:lnTo>
                    <a:lnTo>
                      <a:pt x="844728" y="21213"/>
                    </a:lnTo>
                    <a:lnTo>
                      <a:pt x="842456" y="20001"/>
                    </a:lnTo>
                    <a:lnTo>
                      <a:pt x="841243" y="16213"/>
                    </a:lnTo>
                    <a:lnTo>
                      <a:pt x="838364" y="14698"/>
                    </a:lnTo>
                    <a:lnTo>
                      <a:pt x="823364" y="15001"/>
                    </a:lnTo>
                    <a:lnTo>
                      <a:pt x="820637" y="14243"/>
                    </a:lnTo>
                    <a:lnTo>
                      <a:pt x="815030" y="11213"/>
                    </a:lnTo>
                    <a:lnTo>
                      <a:pt x="809121" y="6667"/>
                    </a:lnTo>
                    <a:lnTo>
                      <a:pt x="805939" y="4849"/>
                    </a:lnTo>
                    <a:lnTo>
                      <a:pt x="798969" y="3030"/>
                    </a:lnTo>
                    <a:lnTo>
                      <a:pt x="791999" y="455"/>
                    </a:lnTo>
                    <a:lnTo>
                      <a:pt x="788817" y="0"/>
                    </a:lnTo>
                    <a:lnTo>
                      <a:pt x="785635" y="909"/>
                    </a:lnTo>
                    <a:lnTo>
                      <a:pt x="787756" y="4697"/>
                    </a:lnTo>
                    <a:lnTo>
                      <a:pt x="790030" y="7728"/>
                    </a:lnTo>
                    <a:lnTo>
                      <a:pt x="790939" y="9394"/>
                    </a:lnTo>
                    <a:lnTo>
                      <a:pt x="790787" y="11364"/>
                    </a:lnTo>
                    <a:lnTo>
                      <a:pt x="789423" y="15607"/>
                    </a:lnTo>
                    <a:lnTo>
                      <a:pt x="784423" y="14243"/>
                    </a:lnTo>
                    <a:lnTo>
                      <a:pt x="777756" y="9697"/>
                    </a:lnTo>
                    <a:lnTo>
                      <a:pt x="776089" y="8940"/>
                    </a:lnTo>
                    <a:lnTo>
                      <a:pt x="773817" y="9243"/>
                    </a:lnTo>
                    <a:lnTo>
                      <a:pt x="773210" y="11061"/>
                    </a:lnTo>
                    <a:lnTo>
                      <a:pt x="774120" y="13485"/>
                    </a:lnTo>
                    <a:lnTo>
                      <a:pt x="778514" y="18334"/>
                    </a:lnTo>
                    <a:lnTo>
                      <a:pt x="783514" y="19698"/>
                    </a:lnTo>
                    <a:lnTo>
                      <a:pt x="778211" y="22577"/>
                    </a:lnTo>
                    <a:lnTo>
                      <a:pt x="772756" y="21213"/>
                    </a:lnTo>
                    <a:lnTo>
                      <a:pt x="767756" y="18940"/>
                    </a:lnTo>
                    <a:lnTo>
                      <a:pt x="762756" y="17728"/>
                    </a:lnTo>
                    <a:lnTo>
                      <a:pt x="743815" y="19092"/>
                    </a:lnTo>
                    <a:lnTo>
                      <a:pt x="739118" y="20910"/>
                    </a:lnTo>
                    <a:lnTo>
                      <a:pt x="744876" y="24092"/>
                    </a:lnTo>
                    <a:lnTo>
                      <a:pt x="750785" y="26213"/>
                    </a:lnTo>
                    <a:close/>
                    <a:moveTo>
                      <a:pt x="651842" y="640326"/>
                    </a:moveTo>
                    <a:lnTo>
                      <a:pt x="650933" y="639569"/>
                    </a:lnTo>
                    <a:lnTo>
                      <a:pt x="647145" y="639417"/>
                    </a:lnTo>
                    <a:lnTo>
                      <a:pt x="645630" y="641690"/>
                    </a:lnTo>
                    <a:lnTo>
                      <a:pt x="642297" y="644569"/>
                    </a:lnTo>
                    <a:lnTo>
                      <a:pt x="643206" y="646842"/>
                    </a:lnTo>
                    <a:lnTo>
                      <a:pt x="646388" y="648357"/>
                    </a:lnTo>
                    <a:lnTo>
                      <a:pt x="648812" y="648054"/>
                    </a:lnTo>
                    <a:lnTo>
                      <a:pt x="652448" y="646236"/>
                    </a:lnTo>
                    <a:lnTo>
                      <a:pt x="653812" y="646690"/>
                    </a:lnTo>
                    <a:lnTo>
                      <a:pt x="654115" y="648205"/>
                    </a:lnTo>
                    <a:lnTo>
                      <a:pt x="656539" y="649569"/>
                    </a:lnTo>
                    <a:lnTo>
                      <a:pt x="660327" y="649721"/>
                    </a:lnTo>
                    <a:lnTo>
                      <a:pt x="665631" y="649266"/>
                    </a:lnTo>
                    <a:lnTo>
                      <a:pt x="669116" y="646539"/>
                    </a:lnTo>
                    <a:lnTo>
                      <a:pt x="670479" y="641236"/>
                    </a:lnTo>
                    <a:lnTo>
                      <a:pt x="668813" y="638357"/>
                    </a:lnTo>
                    <a:lnTo>
                      <a:pt x="665328" y="633508"/>
                    </a:lnTo>
                    <a:lnTo>
                      <a:pt x="664419" y="631690"/>
                    </a:lnTo>
                    <a:lnTo>
                      <a:pt x="663055" y="630629"/>
                    </a:lnTo>
                    <a:lnTo>
                      <a:pt x="662297" y="630478"/>
                    </a:lnTo>
                    <a:lnTo>
                      <a:pt x="660479" y="630781"/>
                    </a:lnTo>
                    <a:lnTo>
                      <a:pt x="660479" y="635932"/>
                    </a:lnTo>
                    <a:lnTo>
                      <a:pt x="655934" y="635023"/>
                    </a:lnTo>
                    <a:lnTo>
                      <a:pt x="655024" y="636387"/>
                    </a:lnTo>
                    <a:lnTo>
                      <a:pt x="655327" y="638205"/>
                    </a:lnTo>
                    <a:lnTo>
                      <a:pt x="654115" y="640933"/>
                    </a:lnTo>
                    <a:lnTo>
                      <a:pt x="651842" y="640326"/>
                    </a:lnTo>
                    <a:close/>
                    <a:moveTo>
                      <a:pt x="761695" y="11061"/>
                    </a:moveTo>
                    <a:lnTo>
                      <a:pt x="755634" y="8031"/>
                    </a:lnTo>
                    <a:lnTo>
                      <a:pt x="749422" y="7425"/>
                    </a:lnTo>
                    <a:lnTo>
                      <a:pt x="746997" y="9091"/>
                    </a:lnTo>
                    <a:lnTo>
                      <a:pt x="745785" y="11819"/>
                    </a:lnTo>
                    <a:lnTo>
                      <a:pt x="755786" y="14546"/>
                    </a:lnTo>
                    <a:lnTo>
                      <a:pt x="761695" y="11061"/>
                    </a:lnTo>
                    <a:close/>
                    <a:moveTo>
                      <a:pt x="1028523" y="98640"/>
                    </a:moveTo>
                    <a:lnTo>
                      <a:pt x="1039129" y="99095"/>
                    </a:lnTo>
                    <a:lnTo>
                      <a:pt x="1050948" y="100761"/>
                    </a:lnTo>
                    <a:lnTo>
                      <a:pt x="1061555" y="97579"/>
                    </a:lnTo>
                    <a:lnTo>
                      <a:pt x="1060191" y="96519"/>
                    </a:lnTo>
                    <a:lnTo>
                      <a:pt x="1052009" y="97428"/>
                    </a:lnTo>
                    <a:lnTo>
                      <a:pt x="1043827" y="96973"/>
                    </a:lnTo>
                    <a:lnTo>
                      <a:pt x="1038220" y="93488"/>
                    </a:lnTo>
                    <a:lnTo>
                      <a:pt x="1029129" y="93640"/>
                    </a:lnTo>
                    <a:lnTo>
                      <a:pt x="1026553" y="93943"/>
                    </a:lnTo>
                    <a:lnTo>
                      <a:pt x="1025492" y="96064"/>
                    </a:lnTo>
                    <a:lnTo>
                      <a:pt x="1018523" y="97125"/>
                    </a:lnTo>
                    <a:lnTo>
                      <a:pt x="1012159" y="100610"/>
                    </a:lnTo>
                    <a:lnTo>
                      <a:pt x="1016250" y="101973"/>
                    </a:lnTo>
                    <a:lnTo>
                      <a:pt x="1028523" y="98640"/>
                    </a:lnTo>
                    <a:close/>
                    <a:moveTo>
                      <a:pt x="901549" y="546990"/>
                    </a:moveTo>
                    <a:lnTo>
                      <a:pt x="901094" y="546232"/>
                    </a:lnTo>
                    <a:lnTo>
                      <a:pt x="899579" y="545323"/>
                    </a:lnTo>
                    <a:lnTo>
                      <a:pt x="897154" y="546535"/>
                    </a:lnTo>
                    <a:lnTo>
                      <a:pt x="896397" y="548959"/>
                    </a:lnTo>
                    <a:lnTo>
                      <a:pt x="896549" y="552899"/>
                    </a:lnTo>
                    <a:lnTo>
                      <a:pt x="897761" y="554717"/>
                    </a:lnTo>
                    <a:lnTo>
                      <a:pt x="900791" y="556384"/>
                    </a:lnTo>
                    <a:lnTo>
                      <a:pt x="905943" y="554414"/>
                    </a:lnTo>
                    <a:lnTo>
                      <a:pt x="907609" y="550323"/>
                    </a:lnTo>
                    <a:lnTo>
                      <a:pt x="904276" y="547899"/>
                    </a:lnTo>
                    <a:lnTo>
                      <a:pt x="901549" y="546990"/>
                    </a:lnTo>
                    <a:close/>
                    <a:moveTo>
                      <a:pt x="930337" y="166218"/>
                    </a:moveTo>
                    <a:lnTo>
                      <a:pt x="921246" y="161673"/>
                    </a:lnTo>
                    <a:lnTo>
                      <a:pt x="912155" y="157885"/>
                    </a:lnTo>
                    <a:lnTo>
                      <a:pt x="902458" y="159854"/>
                    </a:lnTo>
                    <a:lnTo>
                      <a:pt x="897003" y="159248"/>
                    </a:lnTo>
                    <a:lnTo>
                      <a:pt x="887306" y="154400"/>
                    </a:lnTo>
                    <a:lnTo>
                      <a:pt x="881397" y="152430"/>
                    </a:lnTo>
                    <a:lnTo>
                      <a:pt x="882306" y="146672"/>
                    </a:lnTo>
                    <a:lnTo>
                      <a:pt x="888064" y="144702"/>
                    </a:lnTo>
                    <a:lnTo>
                      <a:pt x="890487" y="143036"/>
                    </a:lnTo>
                    <a:lnTo>
                      <a:pt x="887760" y="140914"/>
                    </a:lnTo>
                    <a:lnTo>
                      <a:pt x="881397" y="137732"/>
                    </a:lnTo>
                    <a:lnTo>
                      <a:pt x="877760" y="136975"/>
                    </a:lnTo>
                    <a:lnTo>
                      <a:pt x="870790" y="137732"/>
                    </a:lnTo>
                    <a:lnTo>
                      <a:pt x="862911" y="139248"/>
                    </a:lnTo>
                    <a:lnTo>
                      <a:pt x="858820" y="138490"/>
                    </a:lnTo>
                    <a:lnTo>
                      <a:pt x="856244" y="127732"/>
                    </a:lnTo>
                    <a:lnTo>
                      <a:pt x="851698" y="117580"/>
                    </a:lnTo>
                    <a:lnTo>
                      <a:pt x="843516" y="117883"/>
                    </a:lnTo>
                    <a:lnTo>
                      <a:pt x="839728" y="116519"/>
                    </a:lnTo>
                    <a:lnTo>
                      <a:pt x="835486" y="116368"/>
                    </a:lnTo>
                    <a:lnTo>
                      <a:pt x="824273" y="118792"/>
                    </a:lnTo>
                    <a:lnTo>
                      <a:pt x="805484" y="121368"/>
                    </a:lnTo>
                    <a:lnTo>
                      <a:pt x="801848" y="123641"/>
                    </a:lnTo>
                    <a:lnTo>
                      <a:pt x="805787" y="127580"/>
                    </a:lnTo>
                    <a:lnTo>
                      <a:pt x="810939" y="127126"/>
                    </a:lnTo>
                    <a:lnTo>
                      <a:pt x="810030" y="132732"/>
                    </a:lnTo>
                    <a:lnTo>
                      <a:pt x="817151" y="137126"/>
                    </a:lnTo>
                    <a:lnTo>
                      <a:pt x="818818" y="142278"/>
                    </a:lnTo>
                    <a:lnTo>
                      <a:pt x="823970" y="148642"/>
                    </a:lnTo>
                    <a:lnTo>
                      <a:pt x="828819" y="151824"/>
                    </a:lnTo>
                    <a:lnTo>
                      <a:pt x="840940" y="156672"/>
                    </a:lnTo>
                    <a:lnTo>
                      <a:pt x="839728" y="157127"/>
                    </a:lnTo>
                    <a:lnTo>
                      <a:pt x="834880" y="163339"/>
                    </a:lnTo>
                    <a:lnTo>
                      <a:pt x="832304" y="165764"/>
                    </a:lnTo>
                    <a:lnTo>
                      <a:pt x="830031" y="169400"/>
                    </a:lnTo>
                    <a:lnTo>
                      <a:pt x="828667" y="174703"/>
                    </a:lnTo>
                    <a:lnTo>
                      <a:pt x="819727" y="177885"/>
                    </a:lnTo>
                    <a:lnTo>
                      <a:pt x="821243" y="184098"/>
                    </a:lnTo>
                    <a:lnTo>
                      <a:pt x="824576" y="185158"/>
                    </a:lnTo>
                    <a:lnTo>
                      <a:pt x="846698" y="181976"/>
                    </a:lnTo>
                    <a:lnTo>
                      <a:pt x="852153" y="181522"/>
                    </a:lnTo>
                    <a:lnTo>
                      <a:pt x="857608" y="179855"/>
                    </a:lnTo>
                    <a:lnTo>
                      <a:pt x="861547" y="177431"/>
                    </a:lnTo>
                    <a:lnTo>
                      <a:pt x="862911" y="177431"/>
                    </a:lnTo>
                    <a:lnTo>
                      <a:pt x="867608" y="178643"/>
                    </a:lnTo>
                    <a:lnTo>
                      <a:pt x="869426" y="178340"/>
                    </a:lnTo>
                    <a:lnTo>
                      <a:pt x="870790" y="179097"/>
                    </a:lnTo>
                    <a:lnTo>
                      <a:pt x="869275" y="181370"/>
                    </a:lnTo>
                    <a:lnTo>
                      <a:pt x="862759" y="185461"/>
                    </a:lnTo>
                    <a:lnTo>
                      <a:pt x="863971" y="189552"/>
                    </a:lnTo>
                    <a:lnTo>
                      <a:pt x="863517" y="191219"/>
                    </a:lnTo>
                    <a:lnTo>
                      <a:pt x="862305" y="192128"/>
                    </a:lnTo>
                    <a:lnTo>
                      <a:pt x="865790" y="195007"/>
                    </a:lnTo>
                    <a:lnTo>
                      <a:pt x="872608" y="194401"/>
                    </a:lnTo>
                    <a:lnTo>
                      <a:pt x="875335" y="192280"/>
                    </a:lnTo>
                    <a:lnTo>
                      <a:pt x="878063" y="189401"/>
                    </a:lnTo>
                    <a:lnTo>
                      <a:pt x="880942" y="188037"/>
                    </a:lnTo>
                    <a:lnTo>
                      <a:pt x="888518" y="188340"/>
                    </a:lnTo>
                    <a:lnTo>
                      <a:pt x="891852" y="187128"/>
                    </a:lnTo>
                    <a:lnTo>
                      <a:pt x="898215" y="183643"/>
                    </a:lnTo>
                    <a:lnTo>
                      <a:pt x="901094" y="181522"/>
                    </a:lnTo>
                    <a:lnTo>
                      <a:pt x="904276" y="178037"/>
                    </a:lnTo>
                    <a:lnTo>
                      <a:pt x="907155" y="173794"/>
                    </a:lnTo>
                    <a:lnTo>
                      <a:pt x="908973" y="172128"/>
                    </a:lnTo>
                    <a:lnTo>
                      <a:pt x="930337" y="166218"/>
                    </a:lnTo>
                    <a:close/>
                    <a:moveTo>
                      <a:pt x="956248" y="527443"/>
                    </a:moveTo>
                    <a:lnTo>
                      <a:pt x="948975" y="525474"/>
                    </a:lnTo>
                    <a:lnTo>
                      <a:pt x="944580" y="527747"/>
                    </a:lnTo>
                    <a:lnTo>
                      <a:pt x="941550" y="530019"/>
                    </a:lnTo>
                    <a:lnTo>
                      <a:pt x="941550" y="530928"/>
                    </a:lnTo>
                    <a:lnTo>
                      <a:pt x="946096" y="531686"/>
                    </a:lnTo>
                    <a:lnTo>
                      <a:pt x="948823" y="534565"/>
                    </a:lnTo>
                    <a:lnTo>
                      <a:pt x="953672" y="534868"/>
                    </a:lnTo>
                    <a:lnTo>
                      <a:pt x="954581" y="534413"/>
                    </a:lnTo>
                    <a:lnTo>
                      <a:pt x="960339" y="533807"/>
                    </a:lnTo>
                    <a:lnTo>
                      <a:pt x="963975" y="532747"/>
                    </a:lnTo>
                    <a:lnTo>
                      <a:pt x="964278" y="530625"/>
                    </a:lnTo>
                    <a:lnTo>
                      <a:pt x="962309" y="530928"/>
                    </a:lnTo>
                    <a:lnTo>
                      <a:pt x="958672" y="527292"/>
                    </a:lnTo>
                    <a:lnTo>
                      <a:pt x="956248" y="527443"/>
                    </a:lnTo>
                    <a:close/>
                    <a:moveTo>
                      <a:pt x="972764" y="103186"/>
                    </a:moveTo>
                    <a:lnTo>
                      <a:pt x="971400" y="104701"/>
                    </a:lnTo>
                    <a:lnTo>
                      <a:pt x="972764" y="108640"/>
                    </a:lnTo>
                    <a:lnTo>
                      <a:pt x="980188" y="113034"/>
                    </a:lnTo>
                    <a:lnTo>
                      <a:pt x="984128" y="112883"/>
                    </a:lnTo>
                    <a:lnTo>
                      <a:pt x="987764" y="110004"/>
                    </a:lnTo>
                    <a:lnTo>
                      <a:pt x="981703" y="108337"/>
                    </a:lnTo>
                    <a:lnTo>
                      <a:pt x="976097" y="103034"/>
                    </a:lnTo>
                    <a:lnTo>
                      <a:pt x="972764" y="103186"/>
                    </a:lnTo>
                    <a:close/>
                    <a:moveTo>
                      <a:pt x="788211" y="574112"/>
                    </a:moveTo>
                    <a:lnTo>
                      <a:pt x="789120" y="576839"/>
                    </a:lnTo>
                    <a:lnTo>
                      <a:pt x="790030" y="578506"/>
                    </a:lnTo>
                    <a:lnTo>
                      <a:pt x="793211" y="578961"/>
                    </a:lnTo>
                    <a:lnTo>
                      <a:pt x="796241" y="578506"/>
                    </a:lnTo>
                    <a:lnTo>
                      <a:pt x="798515" y="577294"/>
                    </a:lnTo>
                    <a:lnTo>
                      <a:pt x="798363" y="575930"/>
                    </a:lnTo>
                    <a:lnTo>
                      <a:pt x="795939" y="574869"/>
                    </a:lnTo>
                    <a:lnTo>
                      <a:pt x="793666" y="572294"/>
                    </a:lnTo>
                    <a:lnTo>
                      <a:pt x="792453" y="571839"/>
                    </a:lnTo>
                    <a:lnTo>
                      <a:pt x="791090" y="572142"/>
                    </a:lnTo>
                    <a:lnTo>
                      <a:pt x="789726" y="571536"/>
                    </a:lnTo>
                    <a:lnTo>
                      <a:pt x="787453" y="568657"/>
                    </a:lnTo>
                    <a:lnTo>
                      <a:pt x="785181" y="568960"/>
                    </a:lnTo>
                    <a:lnTo>
                      <a:pt x="785635" y="571233"/>
                    </a:lnTo>
                    <a:lnTo>
                      <a:pt x="788211" y="574112"/>
                    </a:lnTo>
                    <a:close/>
                    <a:moveTo>
                      <a:pt x="385014" y="981551"/>
                    </a:moveTo>
                    <a:lnTo>
                      <a:pt x="383499" y="979430"/>
                    </a:lnTo>
                    <a:lnTo>
                      <a:pt x="381984" y="979733"/>
                    </a:lnTo>
                    <a:lnTo>
                      <a:pt x="380923" y="980339"/>
                    </a:lnTo>
                    <a:lnTo>
                      <a:pt x="380166" y="984278"/>
                    </a:lnTo>
                    <a:lnTo>
                      <a:pt x="382135" y="984733"/>
                    </a:lnTo>
                    <a:lnTo>
                      <a:pt x="384560" y="984278"/>
                    </a:lnTo>
                    <a:lnTo>
                      <a:pt x="385014" y="981551"/>
                    </a:lnTo>
                    <a:close/>
                    <a:moveTo>
                      <a:pt x="20607" y="525625"/>
                    </a:moveTo>
                    <a:lnTo>
                      <a:pt x="15758" y="531080"/>
                    </a:lnTo>
                    <a:lnTo>
                      <a:pt x="3636" y="536838"/>
                    </a:lnTo>
                    <a:lnTo>
                      <a:pt x="0" y="539868"/>
                    </a:lnTo>
                    <a:lnTo>
                      <a:pt x="1515" y="540929"/>
                    </a:lnTo>
                    <a:lnTo>
                      <a:pt x="4091" y="540626"/>
                    </a:lnTo>
                    <a:lnTo>
                      <a:pt x="12728" y="535626"/>
                    </a:lnTo>
                    <a:lnTo>
                      <a:pt x="21819" y="533656"/>
                    </a:lnTo>
                    <a:lnTo>
                      <a:pt x="30001" y="530625"/>
                    </a:lnTo>
                    <a:lnTo>
                      <a:pt x="30607" y="526837"/>
                    </a:lnTo>
                    <a:lnTo>
                      <a:pt x="30001" y="523807"/>
                    </a:lnTo>
                    <a:lnTo>
                      <a:pt x="20607" y="525625"/>
                    </a:lnTo>
                    <a:close/>
                    <a:moveTo>
                      <a:pt x="387135" y="1013067"/>
                    </a:moveTo>
                    <a:lnTo>
                      <a:pt x="385469" y="1010491"/>
                    </a:lnTo>
                    <a:lnTo>
                      <a:pt x="384560" y="1010643"/>
                    </a:lnTo>
                    <a:lnTo>
                      <a:pt x="383802" y="1012158"/>
                    </a:lnTo>
                    <a:lnTo>
                      <a:pt x="384408" y="1015037"/>
                    </a:lnTo>
                    <a:lnTo>
                      <a:pt x="384257" y="1017764"/>
                    </a:lnTo>
                    <a:lnTo>
                      <a:pt x="384560" y="1018977"/>
                    </a:lnTo>
                    <a:lnTo>
                      <a:pt x="385621" y="1020795"/>
                    </a:lnTo>
                    <a:lnTo>
                      <a:pt x="388196" y="1021098"/>
                    </a:lnTo>
                    <a:lnTo>
                      <a:pt x="388045" y="1016249"/>
                    </a:lnTo>
                    <a:lnTo>
                      <a:pt x="387135" y="1013067"/>
                    </a:lnTo>
                    <a:close/>
                    <a:moveTo>
                      <a:pt x="464714" y="888063"/>
                    </a:moveTo>
                    <a:lnTo>
                      <a:pt x="467896" y="888669"/>
                    </a:lnTo>
                    <a:lnTo>
                      <a:pt x="470623" y="888669"/>
                    </a:lnTo>
                    <a:lnTo>
                      <a:pt x="471684" y="887457"/>
                    </a:lnTo>
                    <a:lnTo>
                      <a:pt x="471533" y="884578"/>
                    </a:lnTo>
                    <a:lnTo>
                      <a:pt x="469866" y="882911"/>
                    </a:lnTo>
                    <a:lnTo>
                      <a:pt x="466229" y="883820"/>
                    </a:lnTo>
                    <a:lnTo>
                      <a:pt x="462593" y="885335"/>
                    </a:lnTo>
                    <a:lnTo>
                      <a:pt x="462896" y="886547"/>
                    </a:lnTo>
                    <a:lnTo>
                      <a:pt x="464714" y="888063"/>
                    </a:lnTo>
                    <a:close/>
                    <a:moveTo>
                      <a:pt x="1086101" y="556384"/>
                    </a:moveTo>
                    <a:lnTo>
                      <a:pt x="1081404" y="555172"/>
                    </a:lnTo>
                    <a:lnTo>
                      <a:pt x="1075646" y="555323"/>
                    </a:lnTo>
                    <a:lnTo>
                      <a:pt x="1075343" y="554414"/>
                    </a:lnTo>
                    <a:lnTo>
                      <a:pt x="1076252" y="551384"/>
                    </a:lnTo>
                    <a:lnTo>
                      <a:pt x="1071555" y="547293"/>
                    </a:lnTo>
                    <a:lnTo>
                      <a:pt x="1068676" y="547747"/>
                    </a:lnTo>
                    <a:lnTo>
                      <a:pt x="1064282" y="550323"/>
                    </a:lnTo>
                    <a:lnTo>
                      <a:pt x="1062615" y="550172"/>
                    </a:lnTo>
                    <a:lnTo>
                      <a:pt x="1062161" y="549111"/>
                    </a:lnTo>
                    <a:lnTo>
                      <a:pt x="1059888" y="547293"/>
                    </a:lnTo>
                    <a:lnTo>
                      <a:pt x="1053221" y="545777"/>
                    </a:lnTo>
                    <a:lnTo>
                      <a:pt x="1051100" y="544414"/>
                    </a:lnTo>
                    <a:lnTo>
                      <a:pt x="1048221" y="540929"/>
                    </a:lnTo>
                    <a:lnTo>
                      <a:pt x="1045039" y="539414"/>
                    </a:lnTo>
                    <a:lnTo>
                      <a:pt x="1037614" y="539262"/>
                    </a:lnTo>
                    <a:lnTo>
                      <a:pt x="1035341" y="540323"/>
                    </a:lnTo>
                    <a:lnTo>
                      <a:pt x="1031553" y="544414"/>
                    </a:lnTo>
                    <a:lnTo>
                      <a:pt x="1028220" y="551384"/>
                    </a:lnTo>
                    <a:lnTo>
                      <a:pt x="1026856" y="557142"/>
                    </a:lnTo>
                    <a:lnTo>
                      <a:pt x="1023371" y="560020"/>
                    </a:lnTo>
                    <a:lnTo>
                      <a:pt x="1022614" y="561990"/>
                    </a:lnTo>
                    <a:lnTo>
                      <a:pt x="1020189" y="569566"/>
                    </a:lnTo>
                    <a:lnTo>
                      <a:pt x="1019432" y="567597"/>
                    </a:lnTo>
                    <a:lnTo>
                      <a:pt x="1019432" y="563960"/>
                    </a:lnTo>
                    <a:lnTo>
                      <a:pt x="1020189" y="560020"/>
                    </a:lnTo>
                    <a:lnTo>
                      <a:pt x="1020493" y="553202"/>
                    </a:lnTo>
                    <a:lnTo>
                      <a:pt x="1022311" y="548656"/>
                    </a:lnTo>
                    <a:lnTo>
                      <a:pt x="1020795" y="546838"/>
                    </a:lnTo>
                    <a:lnTo>
                      <a:pt x="1014886" y="548808"/>
                    </a:lnTo>
                    <a:lnTo>
                      <a:pt x="1012159" y="548202"/>
                    </a:lnTo>
                    <a:lnTo>
                      <a:pt x="1013674" y="546232"/>
                    </a:lnTo>
                    <a:lnTo>
                      <a:pt x="1022462" y="542293"/>
                    </a:lnTo>
                    <a:lnTo>
                      <a:pt x="1023977" y="540929"/>
                    </a:lnTo>
                    <a:lnTo>
                      <a:pt x="1025492" y="538656"/>
                    </a:lnTo>
                    <a:lnTo>
                      <a:pt x="1025796" y="533353"/>
                    </a:lnTo>
                    <a:lnTo>
                      <a:pt x="1018977" y="530019"/>
                    </a:lnTo>
                    <a:lnTo>
                      <a:pt x="1010038" y="529262"/>
                    </a:lnTo>
                    <a:lnTo>
                      <a:pt x="1007765" y="528201"/>
                    </a:lnTo>
                    <a:lnTo>
                      <a:pt x="1003977" y="527747"/>
                    </a:lnTo>
                    <a:lnTo>
                      <a:pt x="996704" y="532898"/>
                    </a:lnTo>
                    <a:lnTo>
                      <a:pt x="994128" y="535323"/>
                    </a:lnTo>
                    <a:lnTo>
                      <a:pt x="995037" y="537141"/>
                    </a:lnTo>
                    <a:lnTo>
                      <a:pt x="1002916" y="541232"/>
                    </a:lnTo>
                    <a:lnTo>
                      <a:pt x="1002613" y="542444"/>
                    </a:lnTo>
                    <a:lnTo>
                      <a:pt x="996097" y="542444"/>
                    </a:lnTo>
                    <a:lnTo>
                      <a:pt x="992613" y="545474"/>
                    </a:lnTo>
                    <a:lnTo>
                      <a:pt x="991552" y="548656"/>
                    </a:lnTo>
                    <a:lnTo>
                      <a:pt x="989430" y="552293"/>
                    </a:lnTo>
                    <a:lnTo>
                      <a:pt x="987158" y="557142"/>
                    </a:lnTo>
                    <a:lnTo>
                      <a:pt x="978370" y="561536"/>
                    </a:lnTo>
                    <a:lnTo>
                      <a:pt x="976097" y="562142"/>
                    </a:lnTo>
                    <a:lnTo>
                      <a:pt x="976097" y="560020"/>
                    </a:lnTo>
                    <a:lnTo>
                      <a:pt x="976552" y="557596"/>
                    </a:lnTo>
                    <a:lnTo>
                      <a:pt x="977309" y="555172"/>
                    </a:lnTo>
                    <a:lnTo>
                      <a:pt x="977764" y="550929"/>
                    </a:lnTo>
                    <a:lnTo>
                      <a:pt x="975339" y="549263"/>
                    </a:lnTo>
                    <a:lnTo>
                      <a:pt x="978521" y="545626"/>
                    </a:lnTo>
                    <a:lnTo>
                      <a:pt x="980188" y="540020"/>
                    </a:lnTo>
                    <a:lnTo>
                      <a:pt x="978218" y="535777"/>
                    </a:lnTo>
                    <a:lnTo>
                      <a:pt x="973976" y="537141"/>
                    </a:lnTo>
                    <a:lnTo>
                      <a:pt x="966399" y="543656"/>
                    </a:lnTo>
                    <a:lnTo>
                      <a:pt x="959733" y="551535"/>
                    </a:lnTo>
                    <a:lnTo>
                      <a:pt x="945641" y="565627"/>
                    </a:lnTo>
                    <a:lnTo>
                      <a:pt x="944278" y="570778"/>
                    </a:lnTo>
                    <a:lnTo>
                      <a:pt x="938671" y="575627"/>
                    </a:lnTo>
                    <a:lnTo>
                      <a:pt x="934125" y="576991"/>
                    </a:lnTo>
                    <a:lnTo>
                      <a:pt x="932459" y="575324"/>
                    </a:lnTo>
                    <a:lnTo>
                      <a:pt x="932762" y="571688"/>
                    </a:lnTo>
                    <a:lnTo>
                      <a:pt x="936853" y="566536"/>
                    </a:lnTo>
                    <a:lnTo>
                      <a:pt x="938520" y="558354"/>
                    </a:lnTo>
                    <a:lnTo>
                      <a:pt x="940338" y="555172"/>
                    </a:lnTo>
                    <a:lnTo>
                      <a:pt x="945641" y="549263"/>
                    </a:lnTo>
                    <a:lnTo>
                      <a:pt x="951096" y="543959"/>
                    </a:lnTo>
                    <a:lnTo>
                      <a:pt x="954278" y="541989"/>
                    </a:lnTo>
                    <a:lnTo>
                      <a:pt x="953975" y="540171"/>
                    </a:lnTo>
                    <a:lnTo>
                      <a:pt x="952460" y="539414"/>
                    </a:lnTo>
                    <a:lnTo>
                      <a:pt x="950793" y="539262"/>
                    </a:lnTo>
                    <a:lnTo>
                      <a:pt x="948672" y="537898"/>
                    </a:lnTo>
                    <a:lnTo>
                      <a:pt x="945035" y="537292"/>
                    </a:lnTo>
                    <a:lnTo>
                      <a:pt x="943368" y="538353"/>
                    </a:lnTo>
                    <a:lnTo>
                      <a:pt x="942005" y="540474"/>
                    </a:lnTo>
                    <a:lnTo>
                      <a:pt x="940338" y="540777"/>
                    </a:lnTo>
                    <a:lnTo>
                      <a:pt x="937762" y="539414"/>
                    </a:lnTo>
                    <a:lnTo>
                      <a:pt x="934277" y="536535"/>
                    </a:lnTo>
                    <a:lnTo>
                      <a:pt x="928519" y="534110"/>
                    </a:lnTo>
                    <a:lnTo>
                      <a:pt x="926701" y="532595"/>
                    </a:lnTo>
                    <a:lnTo>
                      <a:pt x="923822" y="532898"/>
                    </a:lnTo>
                    <a:lnTo>
                      <a:pt x="917913" y="538353"/>
                    </a:lnTo>
                    <a:lnTo>
                      <a:pt x="913064" y="541686"/>
                    </a:lnTo>
                    <a:lnTo>
                      <a:pt x="913216" y="544414"/>
                    </a:lnTo>
                    <a:lnTo>
                      <a:pt x="916852" y="545777"/>
                    </a:lnTo>
                    <a:lnTo>
                      <a:pt x="917307" y="547899"/>
                    </a:lnTo>
                    <a:lnTo>
                      <a:pt x="915489" y="548202"/>
                    </a:lnTo>
                    <a:lnTo>
                      <a:pt x="913519" y="549869"/>
                    </a:lnTo>
                    <a:lnTo>
                      <a:pt x="906700" y="558657"/>
                    </a:lnTo>
                    <a:lnTo>
                      <a:pt x="902761" y="558960"/>
                    </a:lnTo>
                    <a:lnTo>
                      <a:pt x="896245" y="562899"/>
                    </a:lnTo>
                    <a:lnTo>
                      <a:pt x="888518" y="570475"/>
                    </a:lnTo>
                    <a:lnTo>
                      <a:pt x="887154" y="572445"/>
                    </a:lnTo>
                    <a:lnTo>
                      <a:pt x="885942" y="577445"/>
                    </a:lnTo>
                    <a:lnTo>
                      <a:pt x="886548" y="579415"/>
                    </a:lnTo>
                    <a:lnTo>
                      <a:pt x="888973" y="581536"/>
                    </a:lnTo>
                    <a:lnTo>
                      <a:pt x="887760" y="583355"/>
                    </a:lnTo>
                    <a:lnTo>
                      <a:pt x="885185" y="582900"/>
                    </a:lnTo>
                    <a:lnTo>
                      <a:pt x="882911" y="581082"/>
                    </a:lnTo>
                    <a:lnTo>
                      <a:pt x="879275" y="577445"/>
                    </a:lnTo>
                    <a:lnTo>
                      <a:pt x="877457" y="570778"/>
                    </a:lnTo>
                    <a:lnTo>
                      <a:pt x="876244" y="567445"/>
                    </a:lnTo>
                    <a:lnTo>
                      <a:pt x="873821" y="565627"/>
                    </a:lnTo>
                    <a:lnTo>
                      <a:pt x="869275" y="563960"/>
                    </a:lnTo>
                    <a:lnTo>
                      <a:pt x="862002" y="565778"/>
                    </a:lnTo>
                    <a:lnTo>
                      <a:pt x="860941" y="568809"/>
                    </a:lnTo>
                    <a:lnTo>
                      <a:pt x="859274" y="569415"/>
                    </a:lnTo>
                    <a:lnTo>
                      <a:pt x="856395" y="567142"/>
                    </a:lnTo>
                    <a:lnTo>
                      <a:pt x="851850" y="568809"/>
                    </a:lnTo>
                    <a:lnTo>
                      <a:pt x="850183" y="567900"/>
                    </a:lnTo>
                    <a:lnTo>
                      <a:pt x="844274" y="571081"/>
                    </a:lnTo>
                    <a:lnTo>
                      <a:pt x="837607" y="569718"/>
                    </a:lnTo>
                    <a:lnTo>
                      <a:pt x="832607" y="570930"/>
                    </a:lnTo>
                    <a:lnTo>
                      <a:pt x="832304" y="572142"/>
                    </a:lnTo>
                    <a:lnTo>
                      <a:pt x="833819" y="573809"/>
                    </a:lnTo>
                    <a:lnTo>
                      <a:pt x="839425" y="577597"/>
                    </a:lnTo>
                    <a:lnTo>
                      <a:pt x="844728" y="579112"/>
                    </a:lnTo>
                    <a:lnTo>
                      <a:pt x="847153" y="582142"/>
                    </a:lnTo>
                    <a:lnTo>
                      <a:pt x="849425" y="590476"/>
                    </a:lnTo>
                    <a:lnTo>
                      <a:pt x="848213" y="591385"/>
                    </a:lnTo>
                    <a:lnTo>
                      <a:pt x="844122" y="587900"/>
                    </a:lnTo>
                    <a:lnTo>
                      <a:pt x="838970" y="585476"/>
                    </a:lnTo>
                    <a:lnTo>
                      <a:pt x="834728" y="581839"/>
                    </a:lnTo>
                    <a:lnTo>
                      <a:pt x="829879" y="582294"/>
                    </a:lnTo>
                    <a:lnTo>
                      <a:pt x="827455" y="587900"/>
                    </a:lnTo>
                    <a:lnTo>
                      <a:pt x="823818" y="588052"/>
                    </a:lnTo>
                    <a:lnTo>
                      <a:pt x="822152" y="586688"/>
                    </a:lnTo>
                    <a:lnTo>
                      <a:pt x="818515" y="587143"/>
                    </a:lnTo>
                    <a:lnTo>
                      <a:pt x="812606" y="586840"/>
                    </a:lnTo>
                    <a:lnTo>
                      <a:pt x="810484" y="589870"/>
                    </a:lnTo>
                    <a:lnTo>
                      <a:pt x="810182" y="597598"/>
                    </a:lnTo>
                    <a:lnTo>
                      <a:pt x="810939" y="600476"/>
                    </a:lnTo>
                    <a:lnTo>
                      <a:pt x="813667" y="602749"/>
                    </a:lnTo>
                    <a:lnTo>
                      <a:pt x="815939" y="605174"/>
                    </a:lnTo>
                    <a:lnTo>
                      <a:pt x="815788" y="605780"/>
                    </a:lnTo>
                    <a:lnTo>
                      <a:pt x="808818" y="604719"/>
                    </a:lnTo>
                    <a:lnTo>
                      <a:pt x="800939" y="613053"/>
                    </a:lnTo>
                    <a:lnTo>
                      <a:pt x="798515" y="614416"/>
                    </a:lnTo>
                    <a:lnTo>
                      <a:pt x="796999" y="614871"/>
                    </a:lnTo>
                    <a:lnTo>
                      <a:pt x="796696" y="613810"/>
                    </a:lnTo>
                    <a:lnTo>
                      <a:pt x="803060" y="605022"/>
                    </a:lnTo>
                    <a:lnTo>
                      <a:pt x="804727" y="601083"/>
                    </a:lnTo>
                    <a:lnTo>
                      <a:pt x="804575" y="598204"/>
                    </a:lnTo>
                    <a:lnTo>
                      <a:pt x="806091" y="588961"/>
                    </a:lnTo>
                    <a:lnTo>
                      <a:pt x="805182" y="586234"/>
                    </a:lnTo>
                    <a:lnTo>
                      <a:pt x="804272" y="585021"/>
                    </a:lnTo>
                    <a:lnTo>
                      <a:pt x="801545" y="585930"/>
                    </a:lnTo>
                    <a:lnTo>
                      <a:pt x="799424" y="587446"/>
                    </a:lnTo>
                    <a:lnTo>
                      <a:pt x="797302" y="588052"/>
                    </a:lnTo>
                    <a:lnTo>
                      <a:pt x="794272" y="590931"/>
                    </a:lnTo>
                    <a:lnTo>
                      <a:pt x="791696" y="595931"/>
                    </a:lnTo>
                    <a:lnTo>
                      <a:pt x="788211" y="606537"/>
                    </a:lnTo>
                    <a:lnTo>
                      <a:pt x="785635" y="610477"/>
                    </a:lnTo>
                    <a:lnTo>
                      <a:pt x="785635" y="606537"/>
                    </a:lnTo>
                    <a:lnTo>
                      <a:pt x="787151" y="601234"/>
                    </a:lnTo>
                    <a:lnTo>
                      <a:pt x="787908" y="593052"/>
                    </a:lnTo>
                    <a:lnTo>
                      <a:pt x="786999" y="591991"/>
                    </a:lnTo>
                    <a:lnTo>
                      <a:pt x="773665" y="594719"/>
                    </a:lnTo>
                    <a:lnTo>
                      <a:pt x="769271" y="598961"/>
                    </a:lnTo>
                    <a:lnTo>
                      <a:pt x="768513" y="600780"/>
                    </a:lnTo>
                    <a:lnTo>
                      <a:pt x="768362" y="602598"/>
                    </a:lnTo>
                    <a:lnTo>
                      <a:pt x="767907" y="603961"/>
                    </a:lnTo>
                    <a:lnTo>
                      <a:pt x="764877" y="605780"/>
                    </a:lnTo>
                    <a:lnTo>
                      <a:pt x="761695" y="606083"/>
                    </a:lnTo>
                    <a:lnTo>
                      <a:pt x="759119" y="605931"/>
                    </a:lnTo>
                    <a:lnTo>
                      <a:pt x="757452" y="607446"/>
                    </a:lnTo>
                    <a:lnTo>
                      <a:pt x="757756" y="610174"/>
                    </a:lnTo>
                    <a:lnTo>
                      <a:pt x="761240" y="612901"/>
                    </a:lnTo>
                    <a:lnTo>
                      <a:pt x="765786" y="615022"/>
                    </a:lnTo>
                    <a:lnTo>
                      <a:pt x="764271" y="616083"/>
                    </a:lnTo>
                    <a:lnTo>
                      <a:pt x="758361" y="615780"/>
                    </a:lnTo>
                    <a:lnTo>
                      <a:pt x="753968" y="613659"/>
                    </a:lnTo>
                    <a:lnTo>
                      <a:pt x="751089" y="610022"/>
                    </a:lnTo>
                    <a:lnTo>
                      <a:pt x="748816" y="608356"/>
                    </a:lnTo>
                    <a:lnTo>
                      <a:pt x="747907" y="608507"/>
                    </a:lnTo>
                    <a:lnTo>
                      <a:pt x="745937" y="610325"/>
                    </a:lnTo>
                    <a:lnTo>
                      <a:pt x="742906" y="615477"/>
                    </a:lnTo>
                    <a:lnTo>
                      <a:pt x="742755" y="620023"/>
                    </a:lnTo>
                    <a:lnTo>
                      <a:pt x="743967" y="622447"/>
                    </a:lnTo>
                    <a:lnTo>
                      <a:pt x="743513" y="623659"/>
                    </a:lnTo>
                    <a:lnTo>
                      <a:pt x="732603" y="626386"/>
                    </a:lnTo>
                    <a:lnTo>
                      <a:pt x="728209" y="631084"/>
                    </a:lnTo>
                    <a:lnTo>
                      <a:pt x="726694" y="636993"/>
                    </a:lnTo>
                    <a:lnTo>
                      <a:pt x="723966" y="640781"/>
                    </a:lnTo>
                    <a:lnTo>
                      <a:pt x="716845" y="645781"/>
                    </a:lnTo>
                    <a:lnTo>
                      <a:pt x="710027" y="646236"/>
                    </a:lnTo>
                    <a:lnTo>
                      <a:pt x="703663" y="649115"/>
                    </a:lnTo>
                    <a:lnTo>
                      <a:pt x="701693" y="650630"/>
                    </a:lnTo>
                    <a:lnTo>
                      <a:pt x="699875" y="653509"/>
                    </a:lnTo>
                    <a:lnTo>
                      <a:pt x="700177" y="655478"/>
                    </a:lnTo>
                    <a:lnTo>
                      <a:pt x="701844" y="656691"/>
                    </a:lnTo>
                    <a:lnTo>
                      <a:pt x="718663" y="656994"/>
                    </a:lnTo>
                    <a:lnTo>
                      <a:pt x="724724" y="655933"/>
                    </a:lnTo>
                    <a:lnTo>
                      <a:pt x="726239" y="656236"/>
                    </a:lnTo>
                    <a:lnTo>
                      <a:pt x="726845" y="656842"/>
                    </a:lnTo>
                    <a:lnTo>
                      <a:pt x="728663" y="657448"/>
                    </a:lnTo>
                    <a:lnTo>
                      <a:pt x="728209" y="658509"/>
                    </a:lnTo>
                    <a:lnTo>
                      <a:pt x="726239" y="658509"/>
                    </a:lnTo>
                    <a:lnTo>
                      <a:pt x="722300" y="659267"/>
                    </a:lnTo>
                    <a:lnTo>
                      <a:pt x="715633" y="661236"/>
                    </a:lnTo>
                    <a:lnTo>
                      <a:pt x="711693" y="661842"/>
                    </a:lnTo>
                    <a:lnTo>
                      <a:pt x="709269" y="661842"/>
                    </a:lnTo>
                    <a:lnTo>
                      <a:pt x="702602" y="659418"/>
                    </a:lnTo>
                    <a:lnTo>
                      <a:pt x="696238" y="660176"/>
                    </a:lnTo>
                    <a:lnTo>
                      <a:pt x="691238" y="663661"/>
                    </a:lnTo>
                    <a:lnTo>
                      <a:pt x="690480" y="665327"/>
                    </a:lnTo>
                    <a:lnTo>
                      <a:pt x="692753" y="671843"/>
                    </a:lnTo>
                    <a:lnTo>
                      <a:pt x="694420" y="673812"/>
                    </a:lnTo>
                    <a:lnTo>
                      <a:pt x="696389" y="674267"/>
                    </a:lnTo>
                    <a:lnTo>
                      <a:pt x="695784" y="675631"/>
                    </a:lnTo>
                    <a:lnTo>
                      <a:pt x="694117" y="676843"/>
                    </a:lnTo>
                    <a:lnTo>
                      <a:pt x="692753" y="678510"/>
                    </a:lnTo>
                    <a:lnTo>
                      <a:pt x="694268" y="684116"/>
                    </a:lnTo>
                    <a:lnTo>
                      <a:pt x="692905" y="683813"/>
                    </a:lnTo>
                    <a:lnTo>
                      <a:pt x="689117" y="677146"/>
                    </a:lnTo>
                    <a:lnTo>
                      <a:pt x="687601" y="668964"/>
                    </a:lnTo>
                    <a:lnTo>
                      <a:pt x="686843" y="668055"/>
                    </a:lnTo>
                    <a:lnTo>
                      <a:pt x="686086" y="667600"/>
                    </a:lnTo>
                    <a:lnTo>
                      <a:pt x="681843" y="669873"/>
                    </a:lnTo>
                    <a:lnTo>
                      <a:pt x="676540" y="670782"/>
                    </a:lnTo>
                    <a:lnTo>
                      <a:pt x="671843" y="673661"/>
                    </a:lnTo>
                    <a:lnTo>
                      <a:pt x="667146" y="675328"/>
                    </a:lnTo>
                    <a:lnTo>
                      <a:pt x="666540" y="676843"/>
                    </a:lnTo>
                    <a:lnTo>
                      <a:pt x="668358" y="678358"/>
                    </a:lnTo>
                    <a:lnTo>
                      <a:pt x="675177" y="679116"/>
                    </a:lnTo>
                    <a:lnTo>
                      <a:pt x="675631" y="680934"/>
                    </a:lnTo>
                    <a:lnTo>
                      <a:pt x="672449" y="681995"/>
                    </a:lnTo>
                    <a:lnTo>
                      <a:pt x="669570" y="682298"/>
                    </a:lnTo>
                    <a:lnTo>
                      <a:pt x="666085" y="680328"/>
                    </a:lnTo>
                    <a:lnTo>
                      <a:pt x="662297" y="679722"/>
                    </a:lnTo>
                    <a:lnTo>
                      <a:pt x="660024" y="680479"/>
                    </a:lnTo>
                    <a:lnTo>
                      <a:pt x="653206" y="687298"/>
                    </a:lnTo>
                    <a:lnTo>
                      <a:pt x="653812" y="690025"/>
                    </a:lnTo>
                    <a:lnTo>
                      <a:pt x="652751" y="693510"/>
                    </a:lnTo>
                    <a:lnTo>
                      <a:pt x="654721" y="694116"/>
                    </a:lnTo>
                    <a:lnTo>
                      <a:pt x="659873" y="693207"/>
                    </a:lnTo>
                    <a:lnTo>
                      <a:pt x="667146" y="689268"/>
                    </a:lnTo>
                    <a:lnTo>
                      <a:pt x="668358" y="690783"/>
                    </a:lnTo>
                    <a:lnTo>
                      <a:pt x="666691" y="691995"/>
                    </a:lnTo>
                    <a:lnTo>
                      <a:pt x="664873" y="694419"/>
                    </a:lnTo>
                    <a:lnTo>
                      <a:pt x="665631" y="696844"/>
                    </a:lnTo>
                    <a:lnTo>
                      <a:pt x="668510" y="699571"/>
                    </a:lnTo>
                    <a:lnTo>
                      <a:pt x="672146" y="700935"/>
                    </a:lnTo>
                    <a:lnTo>
                      <a:pt x="676844" y="699571"/>
                    </a:lnTo>
                    <a:lnTo>
                      <a:pt x="677601" y="700632"/>
                    </a:lnTo>
                    <a:lnTo>
                      <a:pt x="674419" y="704268"/>
                    </a:lnTo>
                    <a:lnTo>
                      <a:pt x="674874" y="708662"/>
                    </a:lnTo>
                    <a:lnTo>
                      <a:pt x="673813" y="708511"/>
                    </a:lnTo>
                    <a:lnTo>
                      <a:pt x="671389" y="703965"/>
                    </a:lnTo>
                    <a:lnTo>
                      <a:pt x="669873" y="702904"/>
                    </a:lnTo>
                    <a:lnTo>
                      <a:pt x="666540" y="702450"/>
                    </a:lnTo>
                    <a:lnTo>
                      <a:pt x="661994" y="699116"/>
                    </a:lnTo>
                    <a:lnTo>
                      <a:pt x="657600" y="698207"/>
                    </a:lnTo>
                    <a:lnTo>
                      <a:pt x="651994" y="701692"/>
                    </a:lnTo>
                    <a:lnTo>
                      <a:pt x="647145" y="706996"/>
                    </a:lnTo>
                    <a:lnTo>
                      <a:pt x="645933" y="709117"/>
                    </a:lnTo>
                    <a:lnTo>
                      <a:pt x="643509" y="711087"/>
                    </a:lnTo>
                    <a:lnTo>
                      <a:pt x="643357" y="712299"/>
                    </a:lnTo>
                    <a:lnTo>
                      <a:pt x="644418" y="713056"/>
                    </a:lnTo>
                    <a:lnTo>
                      <a:pt x="647145" y="712450"/>
                    </a:lnTo>
                    <a:lnTo>
                      <a:pt x="653812" y="712450"/>
                    </a:lnTo>
                    <a:lnTo>
                      <a:pt x="666843" y="712905"/>
                    </a:lnTo>
                    <a:lnTo>
                      <a:pt x="670479" y="713359"/>
                    </a:lnTo>
                    <a:lnTo>
                      <a:pt x="670025" y="715481"/>
                    </a:lnTo>
                    <a:lnTo>
                      <a:pt x="652448" y="715784"/>
                    </a:lnTo>
                    <a:lnTo>
                      <a:pt x="647600" y="716693"/>
                    </a:lnTo>
                    <a:lnTo>
                      <a:pt x="644115" y="718208"/>
                    </a:lnTo>
                    <a:lnTo>
                      <a:pt x="640478" y="717450"/>
                    </a:lnTo>
                    <a:lnTo>
                      <a:pt x="636842" y="719723"/>
                    </a:lnTo>
                    <a:lnTo>
                      <a:pt x="634266" y="719420"/>
                    </a:lnTo>
                    <a:lnTo>
                      <a:pt x="631842" y="721542"/>
                    </a:lnTo>
                    <a:lnTo>
                      <a:pt x="627902" y="726542"/>
                    </a:lnTo>
                    <a:lnTo>
                      <a:pt x="625932" y="726693"/>
                    </a:lnTo>
                    <a:lnTo>
                      <a:pt x="623660" y="727754"/>
                    </a:lnTo>
                    <a:lnTo>
                      <a:pt x="621538" y="729118"/>
                    </a:lnTo>
                    <a:lnTo>
                      <a:pt x="622902" y="731693"/>
                    </a:lnTo>
                    <a:lnTo>
                      <a:pt x="628660" y="733209"/>
                    </a:lnTo>
                    <a:lnTo>
                      <a:pt x="629872" y="734421"/>
                    </a:lnTo>
                    <a:lnTo>
                      <a:pt x="625175" y="735027"/>
                    </a:lnTo>
                    <a:lnTo>
                      <a:pt x="620629" y="734421"/>
                    </a:lnTo>
                    <a:lnTo>
                      <a:pt x="617902" y="736845"/>
                    </a:lnTo>
                    <a:lnTo>
                      <a:pt x="615932" y="738057"/>
                    </a:lnTo>
                    <a:lnTo>
                      <a:pt x="613205" y="738815"/>
                    </a:lnTo>
                    <a:lnTo>
                      <a:pt x="610477" y="741542"/>
                    </a:lnTo>
                    <a:lnTo>
                      <a:pt x="609871" y="746239"/>
                    </a:lnTo>
                    <a:lnTo>
                      <a:pt x="607447" y="746088"/>
                    </a:lnTo>
                    <a:lnTo>
                      <a:pt x="606386" y="751088"/>
                    </a:lnTo>
                    <a:lnTo>
                      <a:pt x="607750" y="760179"/>
                    </a:lnTo>
                    <a:lnTo>
                      <a:pt x="614114" y="759876"/>
                    </a:lnTo>
                    <a:lnTo>
                      <a:pt x="615932" y="759119"/>
                    </a:lnTo>
                    <a:lnTo>
                      <a:pt x="618205" y="759119"/>
                    </a:lnTo>
                    <a:lnTo>
                      <a:pt x="623205" y="758058"/>
                    </a:lnTo>
                    <a:lnTo>
                      <a:pt x="631236" y="755937"/>
                    </a:lnTo>
                    <a:lnTo>
                      <a:pt x="632902" y="756997"/>
                    </a:lnTo>
                    <a:lnTo>
                      <a:pt x="629720" y="759270"/>
                    </a:lnTo>
                    <a:lnTo>
                      <a:pt x="625478" y="760482"/>
                    </a:lnTo>
                    <a:lnTo>
                      <a:pt x="623205" y="762301"/>
                    </a:lnTo>
                    <a:lnTo>
                      <a:pt x="615326" y="762149"/>
                    </a:lnTo>
                    <a:lnTo>
                      <a:pt x="598810" y="765937"/>
                    </a:lnTo>
                    <a:lnTo>
                      <a:pt x="599113" y="767301"/>
                    </a:lnTo>
                    <a:lnTo>
                      <a:pt x="604113" y="769574"/>
                    </a:lnTo>
                    <a:lnTo>
                      <a:pt x="605629" y="772452"/>
                    </a:lnTo>
                    <a:lnTo>
                      <a:pt x="604265" y="773059"/>
                    </a:lnTo>
                    <a:lnTo>
                      <a:pt x="599719" y="772604"/>
                    </a:lnTo>
                    <a:lnTo>
                      <a:pt x="596234" y="774877"/>
                    </a:lnTo>
                    <a:lnTo>
                      <a:pt x="594567" y="779271"/>
                    </a:lnTo>
                    <a:lnTo>
                      <a:pt x="586840" y="787150"/>
                    </a:lnTo>
                    <a:lnTo>
                      <a:pt x="584870" y="789877"/>
                    </a:lnTo>
                    <a:lnTo>
                      <a:pt x="582900" y="793968"/>
                    </a:lnTo>
                    <a:lnTo>
                      <a:pt x="580628" y="799575"/>
                    </a:lnTo>
                    <a:lnTo>
                      <a:pt x="580931" y="803363"/>
                    </a:lnTo>
                    <a:lnTo>
                      <a:pt x="582749" y="804878"/>
                    </a:lnTo>
                    <a:lnTo>
                      <a:pt x="584567" y="804423"/>
                    </a:lnTo>
                    <a:lnTo>
                      <a:pt x="586537" y="805181"/>
                    </a:lnTo>
                    <a:lnTo>
                      <a:pt x="587295" y="807302"/>
                    </a:lnTo>
                    <a:lnTo>
                      <a:pt x="588810" y="807757"/>
                    </a:lnTo>
                    <a:lnTo>
                      <a:pt x="591386" y="807302"/>
                    </a:lnTo>
                    <a:lnTo>
                      <a:pt x="596992" y="804120"/>
                    </a:lnTo>
                    <a:lnTo>
                      <a:pt x="599871" y="801847"/>
                    </a:lnTo>
                    <a:lnTo>
                      <a:pt x="602447" y="800938"/>
                    </a:lnTo>
                    <a:lnTo>
                      <a:pt x="597598" y="806545"/>
                    </a:lnTo>
                    <a:lnTo>
                      <a:pt x="591234" y="811696"/>
                    </a:lnTo>
                    <a:lnTo>
                      <a:pt x="585779" y="812302"/>
                    </a:lnTo>
                    <a:lnTo>
                      <a:pt x="583658" y="809726"/>
                    </a:lnTo>
                    <a:lnTo>
                      <a:pt x="581840" y="808211"/>
                    </a:lnTo>
                    <a:lnTo>
                      <a:pt x="563506" y="817303"/>
                    </a:lnTo>
                    <a:lnTo>
                      <a:pt x="559718" y="820485"/>
                    </a:lnTo>
                    <a:lnTo>
                      <a:pt x="558506" y="823818"/>
                    </a:lnTo>
                    <a:lnTo>
                      <a:pt x="558354" y="827151"/>
                    </a:lnTo>
                    <a:lnTo>
                      <a:pt x="560930" y="826394"/>
                    </a:lnTo>
                    <a:lnTo>
                      <a:pt x="565627" y="824424"/>
                    </a:lnTo>
                    <a:lnTo>
                      <a:pt x="567597" y="824576"/>
                    </a:lnTo>
                    <a:lnTo>
                      <a:pt x="564567" y="827606"/>
                    </a:lnTo>
                    <a:lnTo>
                      <a:pt x="559263" y="830182"/>
                    </a:lnTo>
                    <a:lnTo>
                      <a:pt x="556384" y="830485"/>
                    </a:lnTo>
                    <a:lnTo>
                      <a:pt x="552748" y="833364"/>
                    </a:lnTo>
                    <a:lnTo>
                      <a:pt x="548354" y="835031"/>
                    </a:lnTo>
                    <a:lnTo>
                      <a:pt x="545626" y="838667"/>
                    </a:lnTo>
                    <a:lnTo>
                      <a:pt x="538353" y="842000"/>
                    </a:lnTo>
                    <a:lnTo>
                      <a:pt x="529414" y="852455"/>
                    </a:lnTo>
                    <a:lnTo>
                      <a:pt x="523201" y="856698"/>
                    </a:lnTo>
                    <a:lnTo>
                      <a:pt x="521231" y="861092"/>
                    </a:lnTo>
                    <a:lnTo>
                      <a:pt x="519110" y="863819"/>
                    </a:lnTo>
                    <a:lnTo>
                      <a:pt x="514868" y="866092"/>
                    </a:lnTo>
                    <a:lnTo>
                      <a:pt x="512292" y="869123"/>
                    </a:lnTo>
                    <a:lnTo>
                      <a:pt x="510928" y="872911"/>
                    </a:lnTo>
                    <a:lnTo>
                      <a:pt x="511685" y="874123"/>
                    </a:lnTo>
                    <a:lnTo>
                      <a:pt x="513352" y="873365"/>
                    </a:lnTo>
                    <a:lnTo>
                      <a:pt x="516383" y="873214"/>
                    </a:lnTo>
                    <a:lnTo>
                      <a:pt x="518201" y="876850"/>
                    </a:lnTo>
                    <a:lnTo>
                      <a:pt x="519868" y="878668"/>
                    </a:lnTo>
                    <a:lnTo>
                      <a:pt x="520777" y="881093"/>
                    </a:lnTo>
                    <a:lnTo>
                      <a:pt x="524414" y="881547"/>
                    </a:lnTo>
                    <a:lnTo>
                      <a:pt x="532141" y="878971"/>
                    </a:lnTo>
                    <a:lnTo>
                      <a:pt x="548505" y="870335"/>
                    </a:lnTo>
                    <a:lnTo>
                      <a:pt x="551536" y="867001"/>
                    </a:lnTo>
                    <a:lnTo>
                      <a:pt x="549263" y="864577"/>
                    </a:lnTo>
                    <a:lnTo>
                      <a:pt x="547899" y="863668"/>
                    </a:lnTo>
                    <a:lnTo>
                      <a:pt x="552293" y="860789"/>
                    </a:lnTo>
                    <a:lnTo>
                      <a:pt x="556081" y="858971"/>
                    </a:lnTo>
                    <a:lnTo>
                      <a:pt x="558657" y="858213"/>
                    </a:lnTo>
                    <a:lnTo>
                      <a:pt x="561991" y="859274"/>
                    </a:lnTo>
                    <a:lnTo>
                      <a:pt x="562748" y="860183"/>
                    </a:lnTo>
                    <a:lnTo>
                      <a:pt x="558354" y="862607"/>
                    </a:lnTo>
                    <a:lnTo>
                      <a:pt x="555172" y="864729"/>
                    </a:lnTo>
                    <a:lnTo>
                      <a:pt x="556233" y="865638"/>
                    </a:lnTo>
                    <a:lnTo>
                      <a:pt x="558809" y="865789"/>
                    </a:lnTo>
                    <a:lnTo>
                      <a:pt x="559869" y="867456"/>
                    </a:lnTo>
                    <a:lnTo>
                      <a:pt x="560475" y="868820"/>
                    </a:lnTo>
                    <a:lnTo>
                      <a:pt x="556536" y="870638"/>
                    </a:lnTo>
                    <a:lnTo>
                      <a:pt x="553657" y="872608"/>
                    </a:lnTo>
                    <a:lnTo>
                      <a:pt x="549111" y="873517"/>
                    </a:lnTo>
                    <a:lnTo>
                      <a:pt x="544414" y="875487"/>
                    </a:lnTo>
                    <a:lnTo>
                      <a:pt x="542899" y="876699"/>
                    </a:lnTo>
                    <a:lnTo>
                      <a:pt x="541535" y="879578"/>
                    </a:lnTo>
                    <a:lnTo>
                      <a:pt x="542444" y="880487"/>
                    </a:lnTo>
                    <a:lnTo>
                      <a:pt x="543960" y="883669"/>
                    </a:lnTo>
                    <a:lnTo>
                      <a:pt x="542444" y="883517"/>
                    </a:lnTo>
                    <a:lnTo>
                      <a:pt x="539262" y="884275"/>
                    </a:lnTo>
                    <a:lnTo>
                      <a:pt x="532444" y="883366"/>
                    </a:lnTo>
                    <a:lnTo>
                      <a:pt x="528353" y="883972"/>
                    </a:lnTo>
                    <a:lnTo>
                      <a:pt x="525323" y="884881"/>
                    </a:lnTo>
                    <a:lnTo>
                      <a:pt x="523656" y="886699"/>
                    </a:lnTo>
                    <a:lnTo>
                      <a:pt x="522444" y="886547"/>
                    </a:lnTo>
                    <a:lnTo>
                      <a:pt x="521231" y="882911"/>
                    </a:lnTo>
                    <a:lnTo>
                      <a:pt x="520019" y="882305"/>
                    </a:lnTo>
                    <a:lnTo>
                      <a:pt x="518352" y="880941"/>
                    </a:lnTo>
                    <a:lnTo>
                      <a:pt x="514716" y="876547"/>
                    </a:lnTo>
                    <a:lnTo>
                      <a:pt x="512140" y="877153"/>
                    </a:lnTo>
                    <a:lnTo>
                      <a:pt x="509867" y="878214"/>
                    </a:lnTo>
                    <a:lnTo>
                      <a:pt x="504413" y="878820"/>
                    </a:lnTo>
                    <a:lnTo>
                      <a:pt x="499867" y="883669"/>
                    </a:lnTo>
                    <a:lnTo>
                      <a:pt x="497898" y="883517"/>
                    </a:lnTo>
                    <a:lnTo>
                      <a:pt x="497746" y="881850"/>
                    </a:lnTo>
                    <a:lnTo>
                      <a:pt x="500019" y="878971"/>
                    </a:lnTo>
                    <a:lnTo>
                      <a:pt x="499412" y="877759"/>
                    </a:lnTo>
                    <a:lnTo>
                      <a:pt x="491382" y="875487"/>
                    </a:lnTo>
                    <a:lnTo>
                      <a:pt x="486836" y="876547"/>
                    </a:lnTo>
                    <a:lnTo>
                      <a:pt x="484109" y="877456"/>
                    </a:lnTo>
                    <a:lnTo>
                      <a:pt x="479260" y="880335"/>
                    </a:lnTo>
                    <a:lnTo>
                      <a:pt x="478200" y="881850"/>
                    </a:lnTo>
                    <a:lnTo>
                      <a:pt x="478957" y="884123"/>
                    </a:lnTo>
                    <a:lnTo>
                      <a:pt x="481533" y="885032"/>
                    </a:lnTo>
                    <a:lnTo>
                      <a:pt x="484715" y="884881"/>
                    </a:lnTo>
                    <a:lnTo>
                      <a:pt x="486078" y="886396"/>
                    </a:lnTo>
                    <a:lnTo>
                      <a:pt x="485927" y="888517"/>
                    </a:lnTo>
                    <a:lnTo>
                      <a:pt x="484412" y="889729"/>
                    </a:lnTo>
                    <a:lnTo>
                      <a:pt x="475927" y="890942"/>
                    </a:lnTo>
                    <a:lnTo>
                      <a:pt x="473502" y="893063"/>
                    </a:lnTo>
                    <a:lnTo>
                      <a:pt x="472745" y="896245"/>
                    </a:lnTo>
                    <a:lnTo>
                      <a:pt x="474866" y="899730"/>
                    </a:lnTo>
                    <a:lnTo>
                      <a:pt x="477745" y="901397"/>
                    </a:lnTo>
                    <a:lnTo>
                      <a:pt x="485169" y="908366"/>
                    </a:lnTo>
                    <a:lnTo>
                      <a:pt x="485624" y="909882"/>
                    </a:lnTo>
                    <a:lnTo>
                      <a:pt x="477139" y="904730"/>
                    </a:lnTo>
                    <a:lnTo>
                      <a:pt x="474412" y="903366"/>
                    </a:lnTo>
                    <a:lnTo>
                      <a:pt x="471381" y="899275"/>
                    </a:lnTo>
                    <a:lnTo>
                      <a:pt x="464866" y="898366"/>
                    </a:lnTo>
                    <a:lnTo>
                      <a:pt x="461532" y="898821"/>
                    </a:lnTo>
                    <a:lnTo>
                      <a:pt x="459259" y="898518"/>
                    </a:lnTo>
                    <a:lnTo>
                      <a:pt x="456987" y="898972"/>
                    </a:lnTo>
                    <a:lnTo>
                      <a:pt x="451986" y="902306"/>
                    </a:lnTo>
                    <a:lnTo>
                      <a:pt x="441532" y="905185"/>
                    </a:lnTo>
                    <a:lnTo>
                      <a:pt x="439713" y="906397"/>
                    </a:lnTo>
                    <a:lnTo>
                      <a:pt x="439410" y="907609"/>
                    </a:lnTo>
                    <a:lnTo>
                      <a:pt x="435471" y="912458"/>
                    </a:lnTo>
                    <a:lnTo>
                      <a:pt x="434259" y="915336"/>
                    </a:lnTo>
                    <a:lnTo>
                      <a:pt x="435471" y="916246"/>
                    </a:lnTo>
                    <a:lnTo>
                      <a:pt x="442138" y="915033"/>
                    </a:lnTo>
                    <a:lnTo>
                      <a:pt x="444562" y="913973"/>
                    </a:lnTo>
                    <a:lnTo>
                      <a:pt x="448198" y="913973"/>
                    </a:lnTo>
                    <a:lnTo>
                      <a:pt x="452744" y="915640"/>
                    </a:lnTo>
                    <a:lnTo>
                      <a:pt x="470169" y="913064"/>
                    </a:lnTo>
                    <a:lnTo>
                      <a:pt x="471533" y="914730"/>
                    </a:lnTo>
                    <a:lnTo>
                      <a:pt x="463502" y="915185"/>
                    </a:lnTo>
                    <a:lnTo>
                      <a:pt x="456229" y="917306"/>
                    </a:lnTo>
                    <a:lnTo>
                      <a:pt x="455623" y="918367"/>
                    </a:lnTo>
                    <a:lnTo>
                      <a:pt x="455926" y="919882"/>
                    </a:lnTo>
                    <a:lnTo>
                      <a:pt x="460320" y="920943"/>
                    </a:lnTo>
                    <a:lnTo>
                      <a:pt x="459259" y="921852"/>
                    </a:lnTo>
                    <a:lnTo>
                      <a:pt x="456987" y="922458"/>
                    </a:lnTo>
                    <a:lnTo>
                      <a:pt x="454865" y="922761"/>
                    </a:lnTo>
                    <a:lnTo>
                      <a:pt x="449108" y="920185"/>
                    </a:lnTo>
                    <a:lnTo>
                      <a:pt x="440319" y="919124"/>
                    </a:lnTo>
                    <a:lnTo>
                      <a:pt x="434410" y="918670"/>
                    </a:lnTo>
                    <a:lnTo>
                      <a:pt x="430925" y="919428"/>
                    </a:lnTo>
                    <a:lnTo>
                      <a:pt x="426076" y="919882"/>
                    </a:lnTo>
                    <a:lnTo>
                      <a:pt x="423652" y="919882"/>
                    </a:lnTo>
                    <a:lnTo>
                      <a:pt x="421531" y="921094"/>
                    </a:lnTo>
                    <a:lnTo>
                      <a:pt x="420622" y="923822"/>
                    </a:lnTo>
                    <a:lnTo>
                      <a:pt x="418652" y="925488"/>
                    </a:lnTo>
                    <a:lnTo>
                      <a:pt x="417440" y="927004"/>
                    </a:lnTo>
                    <a:lnTo>
                      <a:pt x="417894" y="928670"/>
                    </a:lnTo>
                    <a:lnTo>
                      <a:pt x="421379" y="928367"/>
                    </a:lnTo>
                    <a:lnTo>
                      <a:pt x="426683" y="927004"/>
                    </a:lnTo>
                    <a:lnTo>
                      <a:pt x="433046" y="926094"/>
                    </a:lnTo>
                    <a:lnTo>
                      <a:pt x="431077" y="928064"/>
                    </a:lnTo>
                    <a:lnTo>
                      <a:pt x="430016" y="928670"/>
                    </a:lnTo>
                    <a:lnTo>
                      <a:pt x="419864" y="930943"/>
                    </a:lnTo>
                    <a:lnTo>
                      <a:pt x="416379" y="931095"/>
                    </a:lnTo>
                    <a:lnTo>
                      <a:pt x="414864" y="930034"/>
                    </a:lnTo>
                    <a:lnTo>
                      <a:pt x="413652" y="928670"/>
                    </a:lnTo>
                    <a:lnTo>
                      <a:pt x="411682" y="928216"/>
                    </a:lnTo>
                    <a:lnTo>
                      <a:pt x="408652" y="929579"/>
                    </a:lnTo>
                    <a:lnTo>
                      <a:pt x="406530" y="929882"/>
                    </a:lnTo>
                    <a:lnTo>
                      <a:pt x="401530" y="932761"/>
                    </a:lnTo>
                    <a:lnTo>
                      <a:pt x="400166" y="935792"/>
                    </a:lnTo>
                    <a:lnTo>
                      <a:pt x="398499" y="937155"/>
                    </a:lnTo>
                    <a:lnTo>
                      <a:pt x="396681" y="939580"/>
                    </a:lnTo>
                    <a:lnTo>
                      <a:pt x="394863" y="939428"/>
                    </a:lnTo>
                    <a:lnTo>
                      <a:pt x="393348" y="937913"/>
                    </a:lnTo>
                    <a:lnTo>
                      <a:pt x="390621" y="939125"/>
                    </a:lnTo>
                    <a:lnTo>
                      <a:pt x="389409" y="944731"/>
                    </a:lnTo>
                    <a:lnTo>
                      <a:pt x="391075" y="947610"/>
                    </a:lnTo>
                    <a:lnTo>
                      <a:pt x="393954" y="948519"/>
                    </a:lnTo>
                    <a:lnTo>
                      <a:pt x="399560" y="948065"/>
                    </a:lnTo>
                    <a:lnTo>
                      <a:pt x="404864" y="948974"/>
                    </a:lnTo>
                    <a:lnTo>
                      <a:pt x="417591" y="952005"/>
                    </a:lnTo>
                    <a:lnTo>
                      <a:pt x="424864" y="952005"/>
                    </a:lnTo>
                    <a:lnTo>
                      <a:pt x="432743" y="950489"/>
                    </a:lnTo>
                    <a:lnTo>
                      <a:pt x="434107" y="951247"/>
                    </a:lnTo>
                    <a:lnTo>
                      <a:pt x="426834" y="953823"/>
                    </a:lnTo>
                    <a:lnTo>
                      <a:pt x="414561" y="954732"/>
                    </a:lnTo>
                    <a:lnTo>
                      <a:pt x="408500" y="953065"/>
                    </a:lnTo>
                    <a:lnTo>
                      <a:pt x="399560" y="950186"/>
                    </a:lnTo>
                    <a:lnTo>
                      <a:pt x="390014" y="950641"/>
                    </a:lnTo>
                    <a:lnTo>
                      <a:pt x="386378" y="950035"/>
                    </a:lnTo>
                    <a:lnTo>
                      <a:pt x="384863" y="950944"/>
                    </a:lnTo>
                    <a:lnTo>
                      <a:pt x="384257" y="953823"/>
                    </a:lnTo>
                    <a:lnTo>
                      <a:pt x="384711" y="957914"/>
                    </a:lnTo>
                    <a:lnTo>
                      <a:pt x="386530" y="960641"/>
                    </a:lnTo>
                    <a:lnTo>
                      <a:pt x="389409" y="961702"/>
                    </a:lnTo>
                    <a:lnTo>
                      <a:pt x="391227" y="964884"/>
                    </a:lnTo>
                    <a:lnTo>
                      <a:pt x="393954" y="966550"/>
                    </a:lnTo>
                    <a:lnTo>
                      <a:pt x="395924" y="967308"/>
                    </a:lnTo>
                    <a:lnTo>
                      <a:pt x="393651" y="968520"/>
                    </a:lnTo>
                    <a:lnTo>
                      <a:pt x="391378" y="968520"/>
                    </a:lnTo>
                    <a:lnTo>
                      <a:pt x="386681" y="969581"/>
                    </a:lnTo>
                    <a:lnTo>
                      <a:pt x="386378" y="971854"/>
                    </a:lnTo>
                    <a:lnTo>
                      <a:pt x="387287" y="977157"/>
                    </a:lnTo>
                    <a:lnTo>
                      <a:pt x="389560" y="979733"/>
                    </a:lnTo>
                    <a:lnTo>
                      <a:pt x="395469" y="983066"/>
                    </a:lnTo>
                    <a:lnTo>
                      <a:pt x="398954" y="983369"/>
                    </a:lnTo>
                    <a:lnTo>
                      <a:pt x="404257" y="981551"/>
                    </a:lnTo>
                    <a:lnTo>
                      <a:pt x="416228" y="980793"/>
                    </a:lnTo>
                    <a:lnTo>
                      <a:pt x="424410" y="982157"/>
                    </a:lnTo>
                    <a:lnTo>
                      <a:pt x="427440" y="981248"/>
                    </a:lnTo>
                    <a:lnTo>
                      <a:pt x="428804" y="977460"/>
                    </a:lnTo>
                    <a:lnTo>
                      <a:pt x="430319" y="975642"/>
                    </a:lnTo>
                    <a:lnTo>
                      <a:pt x="431077" y="976096"/>
                    </a:lnTo>
                    <a:lnTo>
                      <a:pt x="430622" y="978218"/>
                    </a:lnTo>
                    <a:lnTo>
                      <a:pt x="431834" y="979127"/>
                    </a:lnTo>
                    <a:lnTo>
                      <a:pt x="435622" y="979733"/>
                    </a:lnTo>
                    <a:lnTo>
                      <a:pt x="439713" y="980945"/>
                    </a:lnTo>
                    <a:lnTo>
                      <a:pt x="446077" y="980793"/>
                    </a:lnTo>
                    <a:lnTo>
                      <a:pt x="448804" y="980187"/>
                    </a:lnTo>
                    <a:lnTo>
                      <a:pt x="449411" y="978824"/>
                    </a:lnTo>
                    <a:lnTo>
                      <a:pt x="448804" y="975945"/>
                    </a:lnTo>
                    <a:lnTo>
                      <a:pt x="450320" y="972308"/>
                    </a:lnTo>
                    <a:lnTo>
                      <a:pt x="453350" y="969732"/>
                    </a:lnTo>
                    <a:lnTo>
                      <a:pt x="453653" y="970338"/>
                    </a:lnTo>
                    <a:lnTo>
                      <a:pt x="450774" y="975339"/>
                    </a:lnTo>
                    <a:lnTo>
                      <a:pt x="452290" y="978672"/>
                    </a:lnTo>
                    <a:lnTo>
                      <a:pt x="457744" y="979127"/>
                    </a:lnTo>
                    <a:lnTo>
                      <a:pt x="456078" y="980490"/>
                    </a:lnTo>
                    <a:lnTo>
                      <a:pt x="442289" y="984127"/>
                    </a:lnTo>
                    <a:lnTo>
                      <a:pt x="442441" y="987309"/>
                    </a:lnTo>
                    <a:lnTo>
                      <a:pt x="443350" y="989279"/>
                    </a:lnTo>
                    <a:lnTo>
                      <a:pt x="442289" y="989885"/>
                    </a:lnTo>
                    <a:lnTo>
                      <a:pt x="440774" y="988218"/>
                    </a:lnTo>
                    <a:lnTo>
                      <a:pt x="440471" y="985642"/>
                    </a:lnTo>
                    <a:lnTo>
                      <a:pt x="438653" y="983672"/>
                    </a:lnTo>
                    <a:lnTo>
                      <a:pt x="435168" y="982006"/>
                    </a:lnTo>
                    <a:lnTo>
                      <a:pt x="430622" y="982157"/>
                    </a:lnTo>
                    <a:lnTo>
                      <a:pt x="425319" y="984278"/>
                    </a:lnTo>
                    <a:lnTo>
                      <a:pt x="421834" y="984430"/>
                    </a:lnTo>
                    <a:lnTo>
                      <a:pt x="413349" y="982915"/>
                    </a:lnTo>
                    <a:lnTo>
                      <a:pt x="400318" y="985491"/>
                    </a:lnTo>
                    <a:lnTo>
                      <a:pt x="394409" y="985794"/>
                    </a:lnTo>
                    <a:lnTo>
                      <a:pt x="391833" y="985491"/>
                    </a:lnTo>
                    <a:lnTo>
                      <a:pt x="389105" y="984733"/>
                    </a:lnTo>
                    <a:lnTo>
                      <a:pt x="385923" y="986097"/>
                    </a:lnTo>
                    <a:lnTo>
                      <a:pt x="386378" y="990339"/>
                    </a:lnTo>
                    <a:lnTo>
                      <a:pt x="385923" y="993521"/>
                    </a:lnTo>
                    <a:lnTo>
                      <a:pt x="386984" y="999733"/>
                    </a:lnTo>
                    <a:lnTo>
                      <a:pt x="388802" y="1002764"/>
                    </a:lnTo>
                    <a:lnTo>
                      <a:pt x="392288" y="1005491"/>
                    </a:lnTo>
                    <a:lnTo>
                      <a:pt x="397894" y="1003521"/>
                    </a:lnTo>
                    <a:lnTo>
                      <a:pt x="401833" y="1000340"/>
                    </a:lnTo>
                    <a:lnTo>
                      <a:pt x="403500" y="1000643"/>
                    </a:lnTo>
                    <a:lnTo>
                      <a:pt x="400773" y="1003218"/>
                    </a:lnTo>
                    <a:lnTo>
                      <a:pt x="390469" y="1008976"/>
                    </a:lnTo>
                    <a:lnTo>
                      <a:pt x="389560" y="1010643"/>
                    </a:lnTo>
                    <a:lnTo>
                      <a:pt x="390772" y="1016249"/>
                    </a:lnTo>
                    <a:lnTo>
                      <a:pt x="393499" y="1020492"/>
                    </a:lnTo>
                    <a:lnTo>
                      <a:pt x="397136" y="1022613"/>
                    </a:lnTo>
                    <a:lnTo>
                      <a:pt x="401378" y="1022462"/>
                    </a:lnTo>
                    <a:lnTo>
                      <a:pt x="403652" y="1022613"/>
                    </a:lnTo>
                    <a:lnTo>
                      <a:pt x="404561" y="1023825"/>
                    </a:lnTo>
                    <a:lnTo>
                      <a:pt x="399257" y="1025947"/>
                    </a:lnTo>
                    <a:lnTo>
                      <a:pt x="396076" y="1026098"/>
                    </a:lnTo>
                    <a:lnTo>
                      <a:pt x="393045" y="1025340"/>
                    </a:lnTo>
                    <a:lnTo>
                      <a:pt x="391378" y="1025340"/>
                    </a:lnTo>
                    <a:lnTo>
                      <a:pt x="390469" y="1027007"/>
                    </a:lnTo>
                    <a:lnTo>
                      <a:pt x="391681" y="1029735"/>
                    </a:lnTo>
                    <a:lnTo>
                      <a:pt x="390772" y="1032613"/>
                    </a:lnTo>
                    <a:lnTo>
                      <a:pt x="388954" y="1035644"/>
                    </a:lnTo>
                    <a:lnTo>
                      <a:pt x="388499" y="1039735"/>
                    </a:lnTo>
                    <a:lnTo>
                      <a:pt x="388651" y="1042311"/>
                    </a:lnTo>
                    <a:lnTo>
                      <a:pt x="389560" y="1043523"/>
                    </a:lnTo>
                    <a:lnTo>
                      <a:pt x="390621" y="1043371"/>
                    </a:lnTo>
                    <a:lnTo>
                      <a:pt x="391984" y="1041402"/>
                    </a:lnTo>
                    <a:lnTo>
                      <a:pt x="392742" y="1040644"/>
                    </a:lnTo>
                    <a:lnTo>
                      <a:pt x="395166" y="1038523"/>
                    </a:lnTo>
                    <a:lnTo>
                      <a:pt x="398954" y="1035795"/>
                    </a:lnTo>
                    <a:lnTo>
                      <a:pt x="400621" y="1032462"/>
                    </a:lnTo>
                    <a:lnTo>
                      <a:pt x="404561" y="1028219"/>
                    </a:lnTo>
                    <a:lnTo>
                      <a:pt x="407288" y="1027613"/>
                    </a:lnTo>
                    <a:lnTo>
                      <a:pt x="409409" y="1025795"/>
                    </a:lnTo>
                    <a:lnTo>
                      <a:pt x="410167" y="1022462"/>
                    </a:lnTo>
                    <a:lnTo>
                      <a:pt x="411833" y="1020189"/>
                    </a:lnTo>
                    <a:lnTo>
                      <a:pt x="415470" y="1016704"/>
                    </a:lnTo>
                    <a:lnTo>
                      <a:pt x="416834" y="1014431"/>
                    </a:lnTo>
                    <a:lnTo>
                      <a:pt x="422137" y="1011401"/>
                    </a:lnTo>
                    <a:lnTo>
                      <a:pt x="434713" y="1008067"/>
                    </a:lnTo>
                    <a:lnTo>
                      <a:pt x="439865" y="1007613"/>
                    </a:lnTo>
                    <a:lnTo>
                      <a:pt x="438653" y="1008976"/>
                    </a:lnTo>
                    <a:lnTo>
                      <a:pt x="434259" y="1010037"/>
                    </a:lnTo>
                    <a:lnTo>
                      <a:pt x="432440" y="1011552"/>
                    </a:lnTo>
                    <a:lnTo>
                      <a:pt x="430773" y="1013673"/>
                    </a:lnTo>
                    <a:lnTo>
                      <a:pt x="427137" y="1022462"/>
                    </a:lnTo>
                    <a:lnTo>
                      <a:pt x="427137" y="1020037"/>
                    </a:lnTo>
                    <a:lnTo>
                      <a:pt x="428501" y="1013976"/>
                    </a:lnTo>
                    <a:lnTo>
                      <a:pt x="426985" y="1012007"/>
                    </a:lnTo>
                    <a:lnTo>
                      <a:pt x="422288" y="1014279"/>
                    </a:lnTo>
                    <a:lnTo>
                      <a:pt x="416530" y="1019128"/>
                    </a:lnTo>
                    <a:lnTo>
                      <a:pt x="415621" y="1022007"/>
                    </a:lnTo>
                    <a:lnTo>
                      <a:pt x="415773" y="1023371"/>
                    </a:lnTo>
                    <a:lnTo>
                      <a:pt x="414561" y="1025340"/>
                    </a:lnTo>
                    <a:lnTo>
                      <a:pt x="412591" y="1027462"/>
                    </a:lnTo>
                    <a:lnTo>
                      <a:pt x="406833" y="1032310"/>
                    </a:lnTo>
                    <a:lnTo>
                      <a:pt x="405318" y="1034280"/>
                    </a:lnTo>
                    <a:lnTo>
                      <a:pt x="406227" y="1036553"/>
                    </a:lnTo>
                    <a:lnTo>
                      <a:pt x="408197" y="1037159"/>
                    </a:lnTo>
                    <a:lnTo>
                      <a:pt x="411833" y="1036402"/>
                    </a:lnTo>
                    <a:lnTo>
                      <a:pt x="414409" y="1036250"/>
                    </a:lnTo>
                    <a:lnTo>
                      <a:pt x="418652" y="1035644"/>
                    </a:lnTo>
                    <a:lnTo>
                      <a:pt x="418804" y="1036250"/>
                    </a:lnTo>
                    <a:lnTo>
                      <a:pt x="412591" y="1039280"/>
                    </a:lnTo>
                    <a:lnTo>
                      <a:pt x="409258" y="1039735"/>
                    </a:lnTo>
                    <a:lnTo>
                      <a:pt x="406682" y="1042765"/>
                    </a:lnTo>
                    <a:lnTo>
                      <a:pt x="401378" y="1041705"/>
                    </a:lnTo>
                    <a:lnTo>
                      <a:pt x="400015" y="1040644"/>
                    </a:lnTo>
                    <a:lnTo>
                      <a:pt x="398499" y="1040644"/>
                    </a:lnTo>
                    <a:lnTo>
                      <a:pt x="396681" y="1042917"/>
                    </a:lnTo>
                    <a:lnTo>
                      <a:pt x="393954" y="1043523"/>
                    </a:lnTo>
                    <a:lnTo>
                      <a:pt x="392288" y="1046705"/>
                    </a:lnTo>
                    <a:lnTo>
                      <a:pt x="390772" y="1051251"/>
                    </a:lnTo>
                    <a:lnTo>
                      <a:pt x="389257" y="1060493"/>
                    </a:lnTo>
                    <a:lnTo>
                      <a:pt x="390469" y="1063069"/>
                    </a:lnTo>
                    <a:lnTo>
                      <a:pt x="395621" y="1062918"/>
                    </a:lnTo>
                    <a:lnTo>
                      <a:pt x="398499" y="1061402"/>
                    </a:lnTo>
                    <a:lnTo>
                      <a:pt x="401076" y="1057917"/>
                    </a:lnTo>
                    <a:lnTo>
                      <a:pt x="403652" y="1057160"/>
                    </a:lnTo>
                    <a:lnTo>
                      <a:pt x="405318" y="1056402"/>
                    </a:lnTo>
                    <a:lnTo>
                      <a:pt x="408803" y="1055493"/>
                    </a:lnTo>
                    <a:lnTo>
                      <a:pt x="413500" y="1053069"/>
                    </a:lnTo>
                    <a:lnTo>
                      <a:pt x="417440" y="1050038"/>
                    </a:lnTo>
                    <a:lnTo>
                      <a:pt x="420773" y="1048220"/>
                    </a:lnTo>
                    <a:lnTo>
                      <a:pt x="424258" y="1047159"/>
                    </a:lnTo>
                    <a:lnTo>
                      <a:pt x="424561" y="1047766"/>
                    </a:lnTo>
                    <a:lnTo>
                      <a:pt x="421531" y="1049432"/>
                    </a:lnTo>
                    <a:lnTo>
                      <a:pt x="418652" y="1052160"/>
                    </a:lnTo>
                    <a:lnTo>
                      <a:pt x="414561" y="1055039"/>
                    </a:lnTo>
                    <a:lnTo>
                      <a:pt x="411833" y="1057766"/>
                    </a:lnTo>
                    <a:lnTo>
                      <a:pt x="411379" y="1060342"/>
                    </a:lnTo>
                    <a:lnTo>
                      <a:pt x="412288" y="1062312"/>
                    </a:lnTo>
                    <a:lnTo>
                      <a:pt x="411682" y="1064433"/>
                    </a:lnTo>
                    <a:lnTo>
                      <a:pt x="410015" y="1065948"/>
                    </a:lnTo>
                    <a:lnTo>
                      <a:pt x="410015" y="1067463"/>
                    </a:lnTo>
                    <a:lnTo>
                      <a:pt x="413500" y="1070342"/>
                    </a:lnTo>
                    <a:lnTo>
                      <a:pt x="415773" y="1071857"/>
                    </a:lnTo>
                    <a:lnTo>
                      <a:pt x="421834" y="1069282"/>
                    </a:lnTo>
                    <a:lnTo>
                      <a:pt x="423046" y="1069888"/>
                    </a:lnTo>
                    <a:lnTo>
                      <a:pt x="418955" y="1072160"/>
                    </a:lnTo>
                    <a:lnTo>
                      <a:pt x="416834" y="1075039"/>
                    </a:lnTo>
                    <a:lnTo>
                      <a:pt x="415773" y="1075191"/>
                    </a:lnTo>
                    <a:lnTo>
                      <a:pt x="409106" y="1071554"/>
                    </a:lnTo>
                    <a:lnTo>
                      <a:pt x="402439" y="1069433"/>
                    </a:lnTo>
                    <a:lnTo>
                      <a:pt x="400924" y="1070948"/>
                    </a:lnTo>
                    <a:lnTo>
                      <a:pt x="400015" y="1077009"/>
                    </a:lnTo>
                    <a:lnTo>
                      <a:pt x="399864" y="1080797"/>
                    </a:lnTo>
                    <a:lnTo>
                      <a:pt x="401682" y="1085040"/>
                    </a:lnTo>
                    <a:lnTo>
                      <a:pt x="405015" y="1088979"/>
                    </a:lnTo>
                    <a:lnTo>
                      <a:pt x="412440" y="1092616"/>
                    </a:lnTo>
                    <a:lnTo>
                      <a:pt x="414561" y="1094888"/>
                    </a:lnTo>
                    <a:lnTo>
                      <a:pt x="423652" y="1099131"/>
                    </a:lnTo>
                    <a:lnTo>
                      <a:pt x="426380" y="1099434"/>
                    </a:lnTo>
                    <a:lnTo>
                      <a:pt x="429864" y="1099131"/>
                    </a:lnTo>
                    <a:lnTo>
                      <a:pt x="431077" y="1099283"/>
                    </a:lnTo>
                    <a:lnTo>
                      <a:pt x="431531" y="1100495"/>
                    </a:lnTo>
                    <a:lnTo>
                      <a:pt x="431986" y="1100949"/>
                    </a:lnTo>
                    <a:lnTo>
                      <a:pt x="429561" y="1102919"/>
                    </a:lnTo>
                    <a:lnTo>
                      <a:pt x="428198" y="1105040"/>
                    </a:lnTo>
                    <a:lnTo>
                      <a:pt x="429107" y="1106101"/>
                    </a:lnTo>
                    <a:lnTo>
                      <a:pt x="432895" y="1107313"/>
                    </a:lnTo>
                    <a:lnTo>
                      <a:pt x="433804" y="1106859"/>
                    </a:lnTo>
                    <a:lnTo>
                      <a:pt x="433956" y="1104889"/>
                    </a:lnTo>
                    <a:lnTo>
                      <a:pt x="434865" y="1103980"/>
                    </a:lnTo>
                    <a:lnTo>
                      <a:pt x="436834" y="1104131"/>
                    </a:lnTo>
                    <a:lnTo>
                      <a:pt x="437744" y="1104434"/>
                    </a:lnTo>
                    <a:lnTo>
                      <a:pt x="437289" y="1105343"/>
                    </a:lnTo>
                    <a:lnTo>
                      <a:pt x="437138" y="1106101"/>
                    </a:lnTo>
                    <a:lnTo>
                      <a:pt x="437440" y="1107313"/>
                    </a:lnTo>
                    <a:lnTo>
                      <a:pt x="440168" y="1109131"/>
                    </a:lnTo>
                    <a:lnTo>
                      <a:pt x="445320" y="1108222"/>
                    </a:lnTo>
                    <a:lnTo>
                      <a:pt x="452744" y="1109283"/>
                    </a:lnTo>
                    <a:lnTo>
                      <a:pt x="463957" y="1107010"/>
                    </a:lnTo>
                    <a:lnTo>
                      <a:pt x="468351" y="1104283"/>
                    </a:lnTo>
                    <a:lnTo>
                      <a:pt x="471836" y="1104434"/>
                    </a:lnTo>
                    <a:lnTo>
                      <a:pt x="475775" y="1101252"/>
                    </a:lnTo>
                    <a:lnTo>
                      <a:pt x="481533" y="1098222"/>
                    </a:lnTo>
                    <a:lnTo>
                      <a:pt x="492745" y="1087464"/>
                    </a:lnTo>
                    <a:lnTo>
                      <a:pt x="499564" y="1083221"/>
                    </a:lnTo>
                    <a:lnTo>
                      <a:pt x="500019" y="1081706"/>
                    </a:lnTo>
                    <a:lnTo>
                      <a:pt x="501231" y="1080646"/>
                    </a:lnTo>
                    <a:lnTo>
                      <a:pt x="503504" y="1080342"/>
                    </a:lnTo>
                    <a:lnTo>
                      <a:pt x="505474" y="1078070"/>
                    </a:lnTo>
                    <a:lnTo>
                      <a:pt x="503200" y="1075948"/>
                    </a:lnTo>
                    <a:lnTo>
                      <a:pt x="509867" y="1072918"/>
                    </a:lnTo>
                    <a:lnTo>
                      <a:pt x="511685" y="1072463"/>
                    </a:lnTo>
                    <a:lnTo>
                      <a:pt x="512746" y="1071403"/>
                    </a:lnTo>
                    <a:lnTo>
                      <a:pt x="513807" y="1069888"/>
                    </a:lnTo>
                    <a:lnTo>
                      <a:pt x="511989" y="1067615"/>
                    </a:lnTo>
                    <a:lnTo>
                      <a:pt x="510019" y="1065796"/>
                    </a:lnTo>
                    <a:lnTo>
                      <a:pt x="512140" y="1065645"/>
                    </a:lnTo>
                    <a:lnTo>
                      <a:pt x="516686" y="1069282"/>
                    </a:lnTo>
                    <a:lnTo>
                      <a:pt x="517898" y="1072009"/>
                    </a:lnTo>
                    <a:lnTo>
                      <a:pt x="521080" y="1071554"/>
                    </a:lnTo>
                    <a:lnTo>
                      <a:pt x="524414" y="1069130"/>
                    </a:lnTo>
                    <a:lnTo>
                      <a:pt x="526989" y="1069888"/>
                    </a:lnTo>
                    <a:lnTo>
                      <a:pt x="527747" y="1068675"/>
                    </a:lnTo>
                    <a:lnTo>
                      <a:pt x="528807" y="1067766"/>
                    </a:lnTo>
                    <a:lnTo>
                      <a:pt x="533959" y="1058978"/>
                    </a:lnTo>
                    <a:lnTo>
                      <a:pt x="534565" y="1055039"/>
                    </a:lnTo>
                    <a:lnTo>
                      <a:pt x="534414" y="1052311"/>
                    </a:lnTo>
                    <a:lnTo>
                      <a:pt x="533353" y="1051857"/>
                    </a:lnTo>
                    <a:lnTo>
                      <a:pt x="533050" y="1049281"/>
                    </a:lnTo>
                    <a:lnTo>
                      <a:pt x="535626" y="1048372"/>
                    </a:lnTo>
                    <a:lnTo>
                      <a:pt x="537747" y="1046553"/>
                    </a:lnTo>
                    <a:lnTo>
                      <a:pt x="536838" y="1042159"/>
                    </a:lnTo>
                    <a:lnTo>
                      <a:pt x="538505" y="1039432"/>
                    </a:lnTo>
                    <a:lnTo>
                      <a:pt x="538808" y="1042917"/>
                    </a:lnTo>
                    <a:lnTo>
                      <a:pt x="539566" y="1046099"/>
                    </a:lnTo>
                    <a:lnTo>
                      <a:pt x="539414" y="1053220"/>
                    </a:lnTo>
                    <a:lnTo>
                      <a:pt x="539869" y="1054736"/>
                    </a:lnTo>
                    <a:lnTo>
                      <a:pt x="542596" y="1058524"/>
                    </a:lnTo>
                    <a:lnTo>
                      <a:pt x="545172" y="1063069"/>
                    </a:lnTo>
                    <a:lnTo>
                      <a:pt x="548202" y="1063524"/>
                    </a:lnTo>
                    <a:lnTo>
                      <a:pt x="549717" y="1063827"/>
                    </a:lnTo>
                    <a:lnTo>
                      <a:pt x="552293" y="1064736"/>
                    </a:lnTo>
                    <a:lnTo>
                      <a:pt x="553354" y="1064736"/>
                    </a:lnTo>
                    <a:lnTo>
                      <a:pt x="559718" y="1066251"/>
                    </a:lnTo>
                    <a:lnTo>
                      <a:pt x="560324" y="1067766"/>
                    </a:lnTo>
                    <a:lnTo>
                      <a:pt x="560324" y="1068978"/>
                    </a:lnTo>
                    <a:lnTo>
                      <a:pt x="562597" y="1074130"/>
                    </a:lnTo>
                    <a:lnTo>
                      <a:pt x="564567" y="1074736"/>
                    </a:lnTo>
                    <a:lnTo>
                      <a:pt x="567294" y="1073373"/>
                    </a:lnTo>
                    <a:lnTo>
                      <a:pt x="569264" y="1069584"/>
                    </a:lnTo>
                    <a:lnTo>
                      <a:pt x="570324" y="1063978"/>
                    </a:lnTo>
                    <a:lnTo>
                      <a:pt x="571536" y="1058675"/>
                    </a:lnTo>
                    <a:lnTo>
                      <a:pt x="570021" y="1052917"/>
                    </a:lnTo>
                    <a:lnTo>
                      <a:pt x="568355" y="1047917"/>
                    </a:lnTo>
                    <a:lnTo>
                      <a:pt x="568203" y="1046402"/>
                    </a:lnTo>
                    <a:lnTo>
                      <a:pt x="572445" y="1042159"/>
                    </a:lnTo>
                    <a:lnTo>
                      <a:pt x="573658" y="1038674"/>
                    </a:lnTo>
                    <a:lnTo>
                      <a:pt x="575022" y="1035341"/>
                    </a:lnTo>
                    <a:lnTo>
                      <a:pt x="576536" y="1034280"/>
                    </a:lnTo>
                    <a:lnTo>
                      <a:pt x="578810" y="1033977"/>
                    </a:lnTo>
                    <a:lnTo>
                      <a:pt x="581537" y="1033371"/>
                    </a:lnTo>
                    <a:lnTo>
                      <a:pt x="584870" y="1031098"/>
                    </a:lnTo>
                    <a:lnTo>
                      <a:pt x="587900" y="1028068"/>
                    </a:lnTo>
                    <a:lnTo>
                      <a:pt x="590174" y="1025340"/>
                    </a:lnTo>
                    <a:lnTo>
                      <a:pt x="590931" y="1019886"/>
                    </a:lnTo>
                    <a:lnTo>
                      <a:pt x="590931" y="1017158"/>
                    </a:lnTo>
                    <a:lnTo>
                      <a:pt x="591992" y="1015189"/>
                    </a:lnTo>
                    <a:lnTo>
                      <a:pt x="592901" y="1011249"/>
                    </a:lnTo>
                    <a:lnTo>
                      <a:pt x="591992" y="1007309"/>
                    </a:lnTo>
                    <a:lnTo>
                      <a:pt x="588961" y="1001400"/>
                    </a:lnTo>
                    <a:lnTo>
                      <a:pt x="585325" y="993067"/>
                    </a:lnTo>
                    <a:lnTo>
                      <a:pt x="584719" y="988521"/>
                    </a:lnTo>
                    <a:lnTo>
                      <a:pt x="586386" y="987612"/>
                    </a:lnTo>
                    <a:lnTo>
                      <a:pt x="589567" y="986854"/>
                    </a:lnTo>
                    <a:lnTo>
                      <a:pt x="595476" y="986703"/>
                    </a:lnTo>
                    <a:lnTo>
                      <a:pt x="596083" y="986097"/>
                    </a:lnTo>
                    <a:lnTo>
                      <a:pt x="596689" y="984127"/>
                    </a:lnTo>
                    <a:lnTo>
                      <a:pt x="598053" y="981399"/>
                    </a:lnTo>
                    <a:lnTo>
                      <a:pt x="599416" y="979430"/>
                    </a:lnTo>
                    <a:lnTo>
                      <a:pt x="600325" y="976551"/>
                    </a:lnTo>
                    <a:lnTo>
                      <a:pt x="600780" y="973975"/>
                    </a:lnTo>
                    <a:lnTo>
                      <a:pt x="598053" y="969126"/>
                    </a:lnTo>
                    <a:lnTo>
                      <a:pt x="593658" y="965187"/>
                    </a:lnTo>
                    <a:lnTo>
                      <a:pt x="590628" y="963823"/>
                    </a:lnTo>
                    <a:lnTo>
                      <a:pt x="585325" y="960490"/>
                    </a:lnTo>
                    <a:lnTo>
                      <a:pt x="581537" y="957611"/>
                    </a:lnTo>
                    <a:lnTo>
                      <a:pt x="583658" y="946853"/>
                    </a:lnTo>
                    <a:lnTo>
                      <a:pt x="585325" y="938822"/>
                    </a:lnTo>
                    <a:lnTo>
                      <a:pt x="585628" y="936852"/>
                    </a:lnTo>
                    <a:lnTo>
                      <a:pt x="585628" y="933822"/>
                    </a:lnTo>
                    <a:lnTo>
                      <a:pt x="580476" y="920791"/>
                    </a:lnTo>
                    <a:lnTo>
                      <a:pt x="580628" y="917912"/>
                    </a:lnTo>
                    <a:lnTo>
                      <a:pt x="581082" y="915336"/>
                    </a:lnTo>
                    <a:lnTo>
                      <a:pt x="580476" y="910791"/>
                    </a:lnTo>
                    <a:lnTo>
                      <a:pt x="580173" y="906851"/>
                    </a:lnTo>
                    <a:lnTo>
                      <a:pt x="581082" y="905639"/>
                    </a:lnTo>
                    <a:lnTo>
                      <a:pt x="583203" y="903366"/>
                    </a:lnTo>
                    <a:lnTo>
                      <a:pt x="581234" y="899881"/>
                    </a:lnTo>
                    <a:lnTo>
                      <a:pt x="581082" y="899578"/>
                    </a:lnTo>
                    <a:lnTo>
                      <a:pt x="577294" y="890790"/>
                    </a:lnTo>
                    <a:lnTo>
                      <a:pt x="583052" y="882153"/>
                    </a:lnTo>
                    <a:lnTo>
                      <a:pt x="581991" y="877608"/>
                    </a:lnTo>
                    <a:lnTo>
                      <a:pt x="585477" y="874274"/>
                    </a:lnTo>
                    <a:lnTo>
                      <a:pt x="591840" y="866698"/>
                    </a:lnTo>
                    <a:lnTo>
                      <a:pt x="595325" y="862456"/>
                    </a:lnTo>
                    <a:lnTo>
                      <a:pt x="596083" y="861698"/>
                    </a:lnTo>
                    <a:lnTo>
                      <a:pt x="598962" y="859880"/>
                    </a:lnTo>
                    <a:lnTo>
                      <a:pt x="604265" y="857607"/>
                    </a:lnTo>
                    <a:lnTo>
                      <a:pt x="610174" y="856546"/>
                    </a:lnTo>
                    <a:lnTo>
                      <a:pt x="612750" y="856546"/>
                    </a:lnTo>
                    <a:lnTo>
                      <a:pt x="622902" y="858062"/>
                    </a:lnTo>
                    <a:lnTo>
                      <a:pt x="630781" y="859274"/>
                    </a:lnTo>
                    <a:lnTo>
                      <a:pt x="631993" y="858062"/>
                    </a:lnTo>
                    <a:lnTo>
                      <a:pt x="633660" y="855637"/>
                    </a:lnTo>
                    <a:lnTo>
                      <a:pt x="635781" y="852152"/>
                    </a:lnTo>
                    <a:lnTo>
                      <a:pt x="635933" y="848364"/>
                    </a:lnTo>
                    <a:lnTo>
                      <a:pt x="635175" y="842758"/>
                    </a:lnTo>
                    <a:lnTo>
                      <a:pt x="633963" y="839425"/>
                    </a:lnTo>
                    <a:lnTo>
                      <a:pt x="628357" y="837303"/>
                    </a:lnTo>
                    <a:lnTo>
                      <a:pt x="622296" y="834273"/>
                    </a:lnTo>
                    <a:lnTo>
                      <a:pt x="629872" y="824727"/>
                    </a:lnTo>
                    <a:lnTo>
                      <a:pt x="635024" y="818060"/>
                    </a:lnTo>
                    <a:lnTo>
                      <a:pt x="641539" y="808060"/>
                    </a:lnTo>
                    <a:lnTo>
                      <a:pt x="643509" y="803817"/>
                    </a:lnTo>
                    <a:lnTo>
                      <a:pt x="645024" y="802150"/>
                    </a:lnTo>
                    <a:lnTo>
                      <a:pt x="646994" y="786695"/>
                    </a:lnTo>
                    <a:lnTo>
                      <a:pt x="648206" y="782301"/>
                    </a:lnTo>
                    <a:lnTo>
                      <a:pt x="649267" y="780028"/>
                    </a:lnTo>
                    <a:lnTo>
                      <a:pt x="649267" y="777756"/>
                    </a:lnTo>
                    <a:lnTo>
                      <a:pt x="648509" y="773816"/>
                    </a:lnTo>
                    <a:lnTo>
                      <a:pt x="646691" y="764876"/>
                    </a:lnTo>
                    <a:lnTo>
                      <a:pt x="656994" y="763816"/>
                    </a:lnTo>
                    <a:lnTo>
                      <a:pt x="660327" y="763210"/>
                    </a:lnTo>
                    <a:lnTo>
                      <a:pt x="663358" y="762149"/>
                    </a:lnTo>
                    <a:lnTo>
                      <a:pt x="669419" y="759422"/>
                    </a:lnTo>
                    <a:lnTo>
                      <a:pt x="672449" y="756997"/>
                    </a:lnTo>
                    <a:lnTo>
                      <a:pt x="670782" y="748664"/>
                    </a:lnTo>
                    <a:lnTo>
                      <a:pt x="674419" y="745785"/>
                    </a:lnTo>
                    <a:lnTo>
                      <a:pt x="683359" y="735784"/>
                    </a:lnTo>
                    <a:lnTo>
                      <a:pt x="693056" y="726239"/>
                    </a:lnTo>
                    <a:lnTo>
                      <a:pt x="697602" y="722602"/>
                    </a:lnTo>
                    <a:lnTo>
                      <a:pt x="698056" y="720784"/>
                    </a:lnTo>
                    <a:lnTo>
                      <a:pt x="698359" y="717905"/>
                    </a:lnTo>
                    <a:lnTo>
                      <a:pt x="696389" y="713359"/>
                    </a:lnTo>
                    <a:lnTo>
                      <a:pt x="694268" y="710632"/>
                    </a:lnTo>
                    <a:lnTo>
                      <a:pt x="690026" y="705329"/>
                    </a:lnTo>
                    <a:lnTo>
                      <a:pt x="691844" y="701692"/>
                    </a:lnTo>
                    <a:lnTo>
                      <a:pt x="695026" y="700935"/>
                    </a:lnTo>
                    <a:lnTo>
                      <a:pt x="699117" y="699420"/>
                    </a:lnTo>
                    <a:lnTo>
                      <a:pt x="702299" y="696238"/>
                    </a:lnTo>
                    <a:lnTo>
                      <a:pt x="702602" y="695783"/>
                    </a:lnTo>
                    <a:lnTo>
                      <a:pt x="708057" y="683207"/>
                    </a:lnTo>
                    <a:lnTo>
                      <a:pt x="718663" y="676843"/>
                    </a:lnTo>
                    <a:lnTo>
                      <a:pt x="722905" y="673358"/>
                    </a:lnTo>
                    <a:lnTo>
                      <a:pt x="729421" y="675934"/>
                    </a:lnTo>
                    <a:lnTo>
                      <a:pt x="739118" y="679873"/>
                    </a:lnTo>
                    <a:lnTo>
                      <a:pt x="743361" y="674116"/>
                    </a:lnTo>
                    <a:lnTo>
                      <a:pt x="744725" y="671994"/>
                    </a:lnTo>
                    <a:lnTo>
                      <a:pt x="746088" y="668812"/>
                    </a:lnTo>
                    <a:lnTo>
                      <a:pt x="745482" y="663358"/>
                    </a:lnTo>
                    <a:lnTo>
                      <a:pt x="745179" y="656236"/>
                    </a:lnTo>
                    <a:lnTo>
                      <a:pt x="745634" y="653357"/>
                    </a:lnTo>
                    <a:lnTo>
                      <a:pt x="749422" y="652145"/>
                    </a:lnTo>
                    <a:lnTo>
                      <a:pt x="751543" y="651842"/>
                    </a:lnTo>
                    <a:lnTo>
                      <a:pt x="762301" y="654872"/>
                    </a:lnTo>
                    <a:lnTo>
                      <a:pt x="765028" y="654872"/>
                    </a:lnTo>
                    <a:lnTo>
                      <a:pt x="770029" y="655327"/>
                    </a:lnTo>
                    <a:lnTo>
                      <a:pt x="775635" y="656691"/>
                    </a:lnTo>
                    <a:lnTo>
                      <a:pt x="787453" y="660176"/>
                    </a:lnTo>
                    <a:lnTo>
                      <a:pt x="792302" y="661539"/>
                    </a:lnTo>
                    <a:lnTo>
                      <a:pt x="795030" y="661842"/>
                    </a:lnTo>
                    <a:lnTo>
                      <a:pt x="797454" y="660176"/>
                    </a:lnTo>
                    <a:lnTo>
                      <a:pt x="802454" y="656085"/>
                    </a:lnTo>
                    <a:lnTo>
                      <a:pt x="795030" y="653054"/>
                    </a:lnTo>
                    <a:lnTo>
                      <a:pt x="799878" y="649872"/>
                    </a:lnTo>
                    <a:lnTo>
                      <a:pt x="802454" y="646690"/>
                    </a:lnTo>
                    <a:lnTo>
                      <a:pt x="804575" y="642751"/>
                    </a:lnTo>
                    <a:lnTo>
                      <a:pt x="805333" y="638205"/>
                    </a:lnTo>
                    <a:lnTo>
                      <a:pt x="805030" y="635781"/>
                    </a:lnTo>
                    <a:lnTo>
                      <a:pt x="803515" y="634114"/>
                    </a:lnTo>
                    <a:lnTo>
                      <a:pt x="798969" y="630023"/>
                    </a:lnTo>
                    <a:lnTo>
                      <a:pt x="809273" y="629417"/>
                    </a:lnTo>
                    <a:lnTo>
                      <a:pt x="812909" y="629265"/>
                    </a:lnTo>
                    <a:lnTo>
                      <a:pt x="814424" y="627750"/>
                    </a:lnTo>
                    <a:lnTo>
                      <a:pt x="820334" y="627599"/>
                    </a:lnTo>
                    <a:lnTo>
                      <a:pt x="825182" y="628962"/>
                    </a:lnTo>
                    <a:lnTo>
                      <a:pt x="826243" y="628356"/>
                    </a:lnTo>
                    <a:lnTo>
                      <a:pt x="826849" y="627144"/>
                    </a:lnTo>
                    <a:lnTo>
                      <a:pt x="824727" y="621992"/>
                    </a:lnTo>
                    <a:lnTo>
                      <a:pt x="825031" y="620629"/>
                    </a:lnTo>
                    <a:lnTo>
                      <a:pt x="827152" y="618962"/>
                    </a:lnTo>
                    <a:lnTo>
                      <a:pt x="830485" y="617750"/>
                    </a:lnTo>
                    <a:lnTo>
                      <a:pt x="835789" y="617598"/>
                    </a:lnTo>
                    <a:lnTo>
                      <a:pt x="839425" y="617750"/>
                    </a:lnTo>
                    <a:lnTo>
                      <a:pt x="840486" y="617750"/>
                    </a:lnTo>
                    <a:lnTo>
                      <a:pt x="845940" y="623356"/>
                    </a:lnTo>
                    <a:lnTo>
                      <a:pt x="850638" y="628811"/>
                    </a:lnTo>
                    <a:lnTo>
                      <a:pt x="853062" y="631084"/>
                    </a:lnTo>
                    <a:lnTo>
                      <a:pt x="859123" y="637599"/>
                    </a:lnTo>
                    <a:lnTo>
                      <a:pt x="861396" y="641387"/>
                    </a:lnTo>
                    <a:lnTo>
                      <a:pt x="862153" y="644114"/>
                    </a:lnTo>
                    <a:lnTo>
                      <a:pt x="864578" y="644114"/>
                    </a:lnTo>
                    <a:lnTo>
                      <a:pt x="873063" y="645327"/>
                    </a:lnTo>
                    <a:lnTo>
                      <a:pt x="880184" y="646387"/>
                    </a:lnTo>
                    <a:lnTo>
                      <a:pt x="882154" y="647902"/>
                    </a:lnTo>
                    <a:lnTo>
                      <a:pt x="887003" y="647599"/>
                    </a:lnTo>
                    <a:lnTo>
                      <a:pt x="890791" y="646236"/>
                    </a:lnTo>
                    <a:lnTo>
                      <a:pt x="897458" y="644569"/>
                    </a:lnTo>
                    <a:lnTo>
                      <a:pt x="899276" y="642448"/>
                    </a:lnTo>
                    <a:lnTo>
                      <a:pt x="901549" y="640175"/>
                    </a:lnTo>
                    <a:lnTo>
                      <a:pt x="905488" y="640478"/>
                    </a:lnTo>
                    <a:lnTo>
                      <a:pt x="909731" y="642296"/>
                    </a:lnTo>
                    <a:lnTo>
                      <a:pt x="914580" y="644721"/>
                    </a:lnTo>
                    <a:lnTo>
                      <a:pt x="918973" y="645781"/>
                    </a:lnTo>
                    <a:lnTo>
                      <a:pt x="924731" y="647448"/>
                    </a:lnTo>
                    <a:lnTo>
                      <a:pt x="927459" y="649721"/>
                    </a:lnTo>
                    <a:lnTo>
                      <a:pt x="931247" y="650327"/>
                    </a:lnTo>
                    <a:lnTo>
                      <a:pt x="935186" y="648054"/>
                    </a:lnTo>
                    <a:lnTo>
                      <a:pt x="937611" y="641993"/>
                    </a:lnTo>
                    <a:lnTo>
                      <a:pt x="939732" y="639266"/>
                    </a:lnTo>
                    <a:lnTo>
                      <a:pt x="942762" y="637296"/>
                    </a:lnTo>
                    <a:lnTo>
                      <a:pt x="946096" y="636387"/>
                    </a:lnTo>
                    <a:lnTo>
                      <a:pt x="948672" y="636084"/>
                    </a:lnTo>
                    <a:lnTo>
                      <a:pt x="950641" y="634569"/>
                    </a:lnTo>
                    <a:lnTo>
                      <a:pt x="953369" y="631235"/>
                    </a:lnTo>
                    <a:lnTo>
                      <a:pt x="953975" y="627144"/>
                    </a:lnTo>
                    <a:lnTo>
                      <a:pt x="953369" y="619720"/>
                    </a:lnTo>
                    <a:lnTo>
                      <a:pt x="953823" y="617295"/>
                    </a:lnTo>
                    <a:lnTo>
                      <a:pt x="956096" y="613204"/>
                    </a:lnTo>
                    <a:lnTo>
                      <a:pt x="959126" y="602446"/>
                    </a:lnTo>
                    <a:lnTo>
                      <a:pt x="960490" y="599264"/>
                    </a:lnTo>
                    <a:lnTo>
                      <a:pt x="962157" y="597295"/>
                    </a:lnTo>
                    <a:lnTo>
                      <a:pt x="964430" y="596234"/>
                    </a:lnTo>
                    <a:lnTo>
                      <a:pt x="968521" y="592900"/>
                    </a:lnTo>
                    <a:lnTo>
                      <a:pt x="974430" y="586385"/>
                    </a:lnTo>
                    <a:lnTo>
                      <a:pt x="976097" y="585779"/>
                    </a:lnTo>
                    <a:lnTo>
                      <a:pt x="980340" y="585476"/>
                    </a:lnTo>
                    <a:lnTo>
                      <a:pt x="985642" y="585779"/>
                    </a:lnTo>
                    <a:lnTo>
                      <a:pt x="990340" y="586991"/>
                    </a:lnTo>
                    <a:lnTo>
                      <a:pt x="990795" y="586840"/>
                    </a:lnTo>
                    <a:lnTo>
                      <a:pt x="992916" y="586234"/>
                    </a:lnTo>
                    <a:lnTo>
                      <a:pt x="996855" y="584264"/>
                    </a:lnTo>
                    <a:lnTo>
                      <a:pt x="1003522" y="580173"/>
                    </a:lnTo>
                    <a:lnTo>
                      <a:pt x="1007765" y="579112"/>
                    </a:lnTo>
                    <a:lnTo>
                      <a:pt x="1011704" y="579264"/>
                    </a:lnTo>
                    <a:lnTo>
                      <a:pt x="1015947" y="583658"/>
                    </a:lnTo>
                    <a:lnTo>
                      <a:pt x="1022008" y="588506"/>
                    </a:lnTo>
                    <a:lnTo>
                      <a:pt x="1025947" y="590931"/>
                    </a:lnTo>
                    <a:lnTo>
                      <a:pt x="1036554" y="595325"/>
                    </a:lnTo>
                    <a:lnTo>
                      <a:pt x="1045948" y="598204"/>
                    </a:lnTo>
                    <a:lnTo>
                      <a:pt x="1051251" y="607901"/>
                    </a:lnTo>
                    <a:lnTo>
                      <a:pt x="1048675" y="611689"/>
                    </a:lnTo>
                    <a:lnTo>
                      <a:pt x="1047463" y="613053"/>
                    </a:lnTo>
                    <a:lnTo>
                      <a:pt x="1042917" y="616841"/>
                    </a:lnTo>
                    <a:lnTo>
                      <a:pt x="1038069" y="622144"/>
                    </a:lnTo>
                    <a:lnTo>
                      <a:pt x="1037766" y="624871"/>
                    </a:lnTo>
                    <a:lnTo>
                      <a:pt x="1039433" y="627750"/>
                    </a:lnTo>
                    <a:lnTo>
                      <a:pt x="1041402" y="629568"/>
                    </a:lnTo>
                    <a:lnTo>
                      <a:pt x="1045645" y="628205"/>
                    </a:lnTo>
                    <a:lnTo>
                      <a:pt x="1047009" y="627144"/>
                    </a:lnTo>
                    <a:lnTo>
                      <a:pt x="1048069" y="625932"/>
                    </a:lnTo>
                    <a:lnTo>
                      <a:pt x="1052009" y="617598"/>
                    </a:lnTo>
                    <a:lnTo>
                      <a:pt x="1052918" y="616235"/>
                    </a:lnTo>
                    <a:lnTo>
                      <a:pt x="1065040" y="613204"/>
                    </a:lnTo>
                    <a:lnTo>
                      <a:pt x="1069433" y="611689"/>
                    </a:lnTo>
                    <a:lnTo>
                      <a:pt x="1072010" y="609719"/>
                    </a:lnTo>
                    <a:lnTo>
                      <a:pt x="1073221" y="608204"/>
                    </a:lnTo>
                    <a:lnTo>
                      <a:pt x="1074131" y="606386"/>
                    </a:lnTo>
                    <a:lnTo>
                      <a:pt x="1074737" y="604416"/>
                    </a:lnTo>
                    <a:lnTo>
                      <a:pt x="1075040" y="602598"/>
                    </a:lnTo>
                    <a:lnTo>
                      <a:pt x="1073979" y="600173"/>
                    </a:lnTo>
                    <a:lnTo>
                      <a:pt x="1074586" y="599870"/>
                    </a:lnTo>
                    <a:lnTo>
                      <a:pt x="1075949" y="600022"/>
                    </a:lnTo>
                    <a:lnTo>
                      <a:pt x="1080040" y="602446"/>
                    </a:lnTo>
                    <a:lnTo>
                      <a:pt x="1086555" y="605022"/>
                    </a:lnTo>
                    <a:lnTo>
                      <a:pt x="1091252" y="605174"/>
                    </a:lnTo>
                    <a:lnTo>
                      <a:pt x="1093222" y="604719"/>
                    </a:lnTo>
                    <a:lnTo>
                      <a:pt x="1094131" y="603658"/>
                    </a:lnTo>
                    <a:lnTo>
                      <a:pt x="1094889" y="601537"/>
                    </a:lnTo>
                    <a:lnTo>
                      <a:pt x="1094889" y="599264"/>
                    </a:lnTo>
                    <a:lnTo>
                      <a:pt x="1093374" y="592900"/>
                    </a:lnTo>
                    <a:lnTo>
                      <a:pt x="1089131" y="592294"/>
                    </a:lnTo>
                    <a:lnTo>
                      <a:pt x="1085798" y="592597"/>
                    </a:lnTo>
                    <a:lnTo>
                      <a:pt x="1082767" y="592294"/>
                    </a:lnTo>
                    <a:lnTo>
                      <a:pt x="1081253" y="595779"/>
                    </a:lnTo>
                    <a:lnTo>
                      <a:pt x="1080343" y="595325"/>
                    </a:lnTo>
                    <a:lnTo>
                      <a:pt x="1078979" y="590325"/>
                    </a:lnTo>
                    <a:lnTo>
                      <a:pt x="1075949" y="588961"/>
                    </a:lnTo>
                    <a:lnTo>
                      <a:pt x="1074434" y="590022"/>
                    </a:lnTo>
                    <a:lnTo>
                      <a:pt x="1073828" y="594719"/>
                    </a:lnTo>
                    <a:lnTo>
                      <a:pt x="1072010" y="596082"/>
                    </a:lnTo>
                    <a:lnTo>
                      <a:pt x="1069282" y="595173"/>
                    </a:lnTo>
                    <a:lnTo>
                      <a:pt x="1063827" y="595628"/>
                    </a:lnTo>
                    <a:lnTo>
                      <a:pt x="1061100" y="594870"/>
                    </a:lnTo>
                    <a:lnTo>
                      <a:pt x="1059433" y="593203"/>
                    </a:lnTo>
                    <a:lnTo>
                      <a:pt x="1058979" y="591385"/>
                    </a:lnTo>
                    <a:lnTo>
                      <a:pt x="1058979" y="588658"/>
                    </a:lnTo>
                    <a:lnTo>
                      <a:pt x="1059736" y="585324"/>
                    </a:lnTo>
                    <a:lnTo>
                      <a:pt x="1058524" y="583658"/>
                    </a:lnTo>
                    <a:lnTo>
                      <a:pt x="1036705" y="577900"/>
                    </a:lnTo>
                    <a:lnTo>
                      <a:pt x="1036099" y="575324"/>
                    </a:lnTo>
                    <a:lnTo>
                      <a:pt x="1067464" y="577748"/>
                    </a:lnTo>
                    <a:lnTo>
                      <a:pt x="1076707" y="576385"/>
                    </a:lnTo>
                    <a:lnTo>
                      <a:pt x="1082313" y="572748"/>
                    </a:lnTo>
                    <a:lnTo>
                      <a:pt x="1095344" y="568960"/>
                    </a:lnTo>
                    <a:lnTo>
                      <a:pt x="1095798" y="565475"/>
                    </a:lnTo>
                    <a:lnTo>
                      <a:pt x="1094889" y="562596"/>
                    </a:lnTo>
                    <a:lnTo>
                      <a:pt x="1086101" y="556384"/>
                    </a:lnTo>
                    <a:close/>
                    <a:moveTo>
                      <a:pt x="480776" y="874274"/>
                    </a:moveTo>
                    <a:lnTo>
                      <a:pt x="489412" y="872759"/>
                    </a:lnTo>
                    <a:lnTo>
                      <a:pt x="490170" y="871850"/>
                    </a:lnTo>
                    <a:lnTo>
                      <a:pt x="490018" y="869880"/>
                    </a:lnTo>
                    <a:lnTo>
                      <a:pt x="488806" y="868365"/>
                    </a:lnTo>
                    <a:lnTo>
                      <a:pt x="487897" y="868517"/>
                    </a:lnTo>
                    <a:lnTo>
                      <a:pt x="487291" y="869729"/>
                    </a:lnTo>
                    <a:lnTo>
                      <a:pt x="480169" y="871547"/>
                    </a:lnTo>
                    <a:lnTo>
                      <a:pt x="475624" y="873517"/>
                    </a:lnTo>
                    <a:lnTo>
                      <a:pt x="477442" y="874426"/>
                    </a:lnTo>
                    <a:lnTo>
                      <a:pt x="480776" y="874274"/>
                    </a:lnTo>
                    <a:close/>
                    <a:moveTo>
                      <a:pt x="1162316" y="14698"/>
                    </a:moveTo>
                    <a:lnTo>
                      <a:pt x="1154437" y="15607"/>
                    </a:lnTo>
                    <a:lnTo>
                      <a:pt x="1152315" y="16213"/>
                    </a:lnTo>
                    <a:lnTo>
                      <a:pt x="1110193" y="23183"/>
                    </a:lnTo>
                    <a:lnTo>
                      <a:pt x="1112769" y="24849"/>
                    </a:lnTo>
                    <a:lnTo>
                      <a:pt x="1138679" y="22425"/>
                    </a:lnTo>
                    <a:lnTo>
                      <a:pt x="1166862" y="17425"/>
                    </a:lnTo>
                    <a:lnTo>
                      <a:pt x="1168831" y="16213"/>
                    </a:lnTo>
                    <a:lnTo>
                      <a:pt x="1162316" y="14698"/>
                    </a:lnTo>
                    <a:close/>
                    <a:moveTo>
                      <a:pt x="638963" y="669418"/>
                    </a:moveTo>
                    <a:lnTo>
                      <a:pt x="641539" y="670024"/>
                    </a:lnTo>
                    <a:lnTo>
                      <a:pt x="649115" y="669115"/>
                    </a:lnTo>
                    <a:lnTo>
                      <a:pt x="657297" y="663964"/>
                    </a:lnTo>
                    <a:lnTo>
                      <a:pt x="660327" y="665024"/>
                    </a:lnTo>
                    <a:lnTo>
                      <a:pt x="661994" y="664721"/>
                    </a:lnTo>
                    <a:lnTo>
                      <a:pt x="664419" y="663661"/>
                    </a:lnTo>
                    <a:lnTo>
                      <a:pt x="666994" y="660630"/>
                    </a:lnTo>
                    <a:lnTo>
                      <a:pt x="668510" y="660479"/>
                    </a:lnTo>
                    <a:lnTo>
                      <a:pt x="668661" y="663055"/>
                    </a:lnTo>
                    <a:lnTo>
                      <a:pt x="671237" y="663661"/>
                    </a:lnTo>
                    <a:lnTo>
                      <a:pt x="677904" y="661539"/>
                    </a:lnTo>
                    <a:lnTo>
                      <a:pt x="680177" y="658963"/>
                    </a:lnTo>
                    <a:lnTo>
                      <a:pt x="682146" y="658963"/>
                    </a:lnTo>
                    <a:lnTo>
                      <a:pt x="683055" y="659721"/>
                    </a:lnTo>
                    <a:lnTo>
                      <a:pt x="684116" y="660024"/>
                    </a:lnTo>
                    <a:lnTo>
                      <a:pt x="685783" y="659418"/>
                    </a:lnTo>
                    <a:lnTo>
                      <a:pt x="687753" y="656539"/>
                    </a:lnTo>
                    <a:lnTo>
                      <a:pt x="691692" y="653054"/>
                    </a:lnTo>
                    <a:lnTo>
                      <a:pt x="695632" y="651690"/>
                    </a:lnTo>
                    <a:lnTo>
                      <a:pt x="700632" y="648660"/>
                    </a:lnTo>
                    <a:lnTo>
                      <a:pt x="701390" y="644721"/>
                    </a:lnTo>
                    <a:lnTo>
                      <a:pt x="699572" y="640629"/>
                    </a:lnTo>
                    <a:lnTo>
                      <a:pt x="698056" y="638811"/>
                    </a:lnTo>
                    <a:lnTo>
                      <a:pt x="695480" y="637144"/>
                    </a:lnTo>
                    <a:lnTo>
                      <a:pt x="693965" y="637599"/>
                    </a:lnTo>
                    <a:lnTo>
                      <a:pt x="692601" y="638357"/>
                    </a:lnTo>
                    <a:lnTo>
                      <a:pt x="690480" y="638963"/>
                    </a:lnTo>
                    <a:lnTo>
                      <a:pt x="689722" y="641084"/>
                    </a:lnTo>
                    <a:lnTo>
                      <a:pt x="689874" y="643660"/>
                    </a:lnTo>
                    <a:lnTo>
                      <a:pt x="688208" y="645175"/>
                    </a:lnTo>
                    <a:lnTo>
                      <a:pt x="687904" y="646842"/>
                    </a:lnTo>
                    <a:lnTo>
                      <a:pt x="683813" y="648205"/>
                    </a:lnTo>
                    <a:lnTo>
                      <a:pt x="680025" y="652751"/>
                    </a:lnTo>
                    <a:lnTo>
                      <a:pt x="679722" y="652448"/>
                    </a:lnTo>
                    <a:lnTo>
                      <a:pt x="680480" y="649721"/>
                    </a:lnTo>
                    <a:lnTo>
                      <a:pt x="684268" y="644114"/>
                    </a:lnTo>
                    <a:lnTo>
                      <a:pt x="684116" y="640023"/>
                    </a:lnTo>
                    <a:lnTo>
                      <a:pt x="683662" y="635781"/>
                    </a:lnTo>
                    <a:lnTo>
                      <a:pt x="681692" y="633205"/>
                    </a:lnTo>
                    <a:lnTo>
                      <a:pt x="681086" y="630174"/>
                    </a:lnTo>
                    <a:lnTo>
                      <a:pt x="686086" y="625932"/>
                    </a:lnTo>
                    <a:lnTo>
                      <a:pt x="689420" y="620932"/>
                    </a:lnTo>
                    <a:lnTo>
                      <a:pt x="689874" y="618204"/>
                    </a:lnTo>
                    <a:lnTo>
                      <a:pt x="687601" y="616841"/>
                    </a:lnTo>
                    <a:lnTo>
                      <a:pt x="685329" y="616841"/>
                    </a:lnTo>
                    <a:lnTo>
                      <a:pt x="683359" y="618053"/>
                    </a:lnTo>
                    <a:lnTo>
                      <a:pt x="679267" y="623205"/>
                    </a:lnTo>
                    <a:lnTo>
                      <a:pt x="676692" y="625023"/>
                    </a:lnTo>
                    <a:lnTo>
                      <a:pt x="672146" y="629265"/>
                    </a:lnTo>
                    <a:lnTo>
                      <a:pt x="670934" y="632447"/>
                    </a:lnTo>
                    <a:lnTo>
                      <a:pt x="671086" y="635326"/>
                    </a:lnTo>
                    <a:lnTo>
                      <a:pt x="673358" y="635629"/>
                    </a:lnTo>
                    <a:lnTo>
                      <a:pt x="674267" y="637448"/>
                    </a:lnTo>
                    <a:lnTo>
                      <a:pt x="672146" y="640781"/>
                    </a:lnTo>
                    <a:lnTo>
                      <a:pt x="670025" y="649872"/>
                    </a:lnTo>
                    <a:lnTo>
                      <a:pt x="661388" y="658206"/>
                    </a:lnTo>
                    <a:lnTo>
                      <a:pt x="647448" y="660176"/>
                    </a:lnTo>
                    <a:lnTo>
                      <a:pt x="643357" y="662903"/>
                    </a:lnTo>
                    <a:lnTo>
                      <a:pt x="638357" y="666843"/>
                    </a:lnTo>
                    <a:lnTo>
                      <a:pt x="638963" y="669418"/>
                    </a:lnTo>
                    <a:close/>
                    <a:moveTo>
                      <a:pt x="1065343" y="586840"/>
                    </a:moveTo>
                    <a:lnTo>
                      <a:pt x="1063979" y="590628"/>
                    </a:lnTo>
                    <a:lnTo>
                      <a:pt x="1062767" y="592446"/>
                    </a:lnTo>
                    <a:lnTo>
                      <a:pt x="1063373" y="593658"/>
                    </a:lnTo>
                    <a:lnTo>
                      <a:pt x="1068524" y="592294"/>
                    </a:lnTo>
                    <a:lnTo>
                      <a:pt x="1071252" y="590325"/>
                    </a:lnTo>
                    <a:lnTo>
                      <a:pt x="1069585" y="588658"/>
                    </a:lnTo>
                    <a:lnTo>
                      <a:pt x="1067464" y="587294"/>
                    </a:lnTo>
                    <a:lnTo>
                      <a:pt x="1065343" y="586840"/>
                    </a:lnTo>
                    <a:close/>
                    <a:moveTo>
                      <a:pt x="606538" y="675025"/>
                    </a:moveTo>
                    <a:lnTo>
                      <a:pt x="603507" y="677600"/>
                    </a:lnTo>
                    <a:lnTo>
                      <a:pt x="601386" y="682146"/>
                    </a:lnTo>
                    <a:lnTo>
                      <a:pt x="599871" y="686692"/>
                    </a:lnTo>
                    <a:lnTo>
                      <a:pt x="603962" y="684267"/>
                    </a:lnTo>
                    <a:lnTo>
                      <a:pt x="606841" y="681389"/>
                    </a:lnTo>
                    <a:lnTo>
                      <a:pt x="607447" y="680328"/>
                    </a:lnTo>
                    <a:lnTo>
                      <a:pt x="607447" y="678207"/>
                    </a:lnTo>
                    <a:lnTo>
                      <a:pt x="608205" y="675934"/>
                    </a:lnTo>
                    <a:lnTo>
                      <a:pt x="606538" y="675025"/>
                    </a:lnTo>
                    <a:close/>
                    <a:moveTo>
                      <a:pt x="596992" y="772452"/>
                    </a:moveTo>
                    <a:lnTo>
                      <a:pt x="598659" y="771240"/>
                    </a:lnTo>
                    <a:lnTo>
                      <a:pt x="597750" y="770331"/>
                    </a:lnTo>
                    <a:lnTo>
                      <a:pt x="594871" y="770483"/>
                    </a:lnTo>
                    <a:lnTo>
                      <a:pt x="592295" y="770786"/>
                    </a:lnTo>
                    <a:lnTo>
                      <a:pt x="590325" y="771846"/>
                    </a:lnTo>
                    <a:lnTo>
                      <a:pt x="589113" y="773513"/>
                    </a:lnTo>
                    <a:lnTo>
                      <a:pt x="589113" y="775331"/>
                    </a:lnTo>
                    <a:lnTo>
                      <a:pt x="591234" y="775180"/>
                    </a:lnTo>
                    <a:lnTo>
                      <a:pt x="596992" y="772452"/>
                    </a:lnTo>
                    <a:close/>
                    <a:moveTo>
                      <a:pt x="628508" y="665782"/>
                    </a:moveTo>
                    <a:lnTo>
                      <a:pt x="626084" y="665327"/>
                    </a:lnTo>
                    <a:lnTo>
                      <a:pt x="623508" y="665479"/>
                    </a:lnTo>
                    <a:lnTo>
                      <a:pt x="619417" y="666691"/>
                    </a:lnTo>
                    <a:lnTo>
                      <a:pt x="616386" y="670782"/>
                    </a:lnTo>
                    <a:lnTo>
                      <a:pt x="614720" y="670631"/>
                    </a:lnTo>
                    <a:lnTo>
                      <a:pt x="612902" y="670934"/>
                    </a:lnTo>
                    <a:lnTo>
                      <a:pt x="611689" y="672752"/>
                    </a:lnTo>
                    <a:lnTo>
                      <a:pt x="610174" y="674267"/>
                    </a:lnTo>
                    <a:lnTo>
                      <a:pt x="610932" y="678661"/>
                    </a:lnTo>
                    <a:lnTo>
                      <a:pt x="614265" y="678055"/>
                    </a:lnTo>
                    <a:lnTo>
                      <a:pt x="615326" y="677449"/>
                    </a:lnTo>
                    <a:lnTo>
                      <a:pt x="615629" y="675631"/>
                    </a:lnTo>
                    <a:lnTo>
                      <a:pt x="616235" y="674570"/>
                    </a:lnTo>
                    <a:lnTo>
                      <a:pt x="618205" y="676085"/>
                    </a:lnTo>
                    <a:lnTo>
                      <a:pt x="620629" y="674116"/>
                    </a:lnTo>
                    <a:lnTo>
                      <a:pt x="622599" y="673661"/>
                    </a:lnTo>
                    <a:lnTo>
                      <a:pt x="625932" y="673661"/>
                    </a:lnTo>
                    <a:lnTo>
                      <a:pt x="627145" y="672903"/>
                    </a:lnTo>
                    <a:lnTo>
                      <a:pt x="628963" y="670631"/>
                    </a:lnTo>
                    <a:lnTo>
                      <a:pt x="632902" y="669721"/>
                    </a:lnTo>
                    <a:lnTo>
                      <a:pt x="634721" y="668206"/>
                    </a:lnTo>
                    <a:lnTo>
                      <a:pt x="635327" y="666843"/>
                    </a:lnTo>
                    <a:lnTo>
                      <a:pt x="634417" y="666539"/>
                    </a:lnTo>
                    <a:lnTo>
                      <a:pt x="630175" y="666843"/>
                    </a:lnTo>
                    <a:lnTo>
                      <a:pt x="628508" y="665782"/>
                    </a:lnTo>
                    <a:close/>
                    <a:moveTo>
                      <a:pt x="550475" y="816697"/>
                    </a:moveTo>
                    <a:lnTo>
                      <a:pt x="544869" y="819121"/>
                    </a:lnTo>
                    <a:lnTo>
                      <a:pt x="542899" y="821545"/>
                    </a:lnTo>
                    <a:lnTo>
                      <a:pt x="545475" y="822757"/>
                    </a:lnTo>
                    <a:lnTo>
                      <a:pt x="551839" y="822000"/>
                    </a:lnTo>
                    <a:lnTo>
                      <a:pt x="555021" y="823060"/>
                    </a:lnTo>
                    <a:lnTo>
                      <a:pt x="556384" y="821848"/>
                    </a:lnTo>
                    <a:lnTo>
                      <a:pt x="556839" y="820030"/>
                    </a:lnTo>
                    <a:lnTo>
                      <a:pt x="553657" y="817000"/>
                    </a:lnTo>
                    <a:lnTo>
                      <a:pt x="550475" y="816697"/>
                    </a:lnTo>
                    <a:close/>
                    <a:moveTo>
                      <a:pt x="571839" y="785029"/>
                    </a:moveTo>
                    <a:lnTo>
                      <a:pt x="570930" y="787453"/>
                    </a:lnTo>
                    <a:lnTo>
                      <a:pt x="571234" y="788665"/>
                    </a:lnTo>
                    <a:lnTo>
                      <a:pt x="574567" y="789120"/>
                    </a:lnTo>
                    <a:lnTo>
                      <a:pt x="576385" y="787756"/>
                    </a:lnTo>
                    <a:lnTo>
                      <a:pt x="577294" y="785332"/>
                    </a:lnTo>
                    <a:lnTo>
                      <a:pt x="576385" y="784271"/>
                    </a:lnTo>
                    <a:lnTo>
                      <a:pt x="573658" y="784120"/>
                    </a:lnTo>
                    <a:lnTo>
                      <a:pt x="571839" y="785029"/>
                    </a:lnTo>
                    <a:close/>
                    <a:moveTo>
                      <a:pt x="594265" y="765179"/>
                    </a:moveTo>
                    <a:lnTo>
                      <a:pt x="594265" y="762604"/>
                    </a:lnTo>
                    <a:lnTo>
                      <a:pt x="591688" y="761088"/>
                    </a:lnTo>
                    <a:lnTo>
                      <a:pt x="589870" y="762301"/>
                    </a:lnTo>
                    <a:lnTo>
                      <a:pt x="589416" y="763816"/>
                    </a:lnTo>
                    <a:lnTo>
                      <a:pt x="588658" y="765179"/>
                    </a:lnTo>
                    <a:lnTo>
                      <a:pt x="586537" y="767149"/>
                    </a:lnTo>
                    <a:lnTo>
                      <a:pt x="586082" y="769119"/>
                    </a:lnTo>
                    <a:lnTo>
                      <a:pt x="588658" y="768816"/>
                    </a:lnTo>
                    <a:lnTo>
                      <a:pt x="592901" y="767452"/>
                    </a:lnTo>
                    <a:lnTo>
                      <a:pt x="594265" y="765179"/>
                    </a:lnTo>
                    <a:close/>
                    <a:moveTo>
                      <a:pt x="544111" y="110762"/>
                    </a:moveTo>
                    <a:lnTo>
                      <a:pt x="545475" y="113337"/>
                    </a:lnTo>
                    <a:lnTo>
                      <a:pt x="553203" y="124247"/>
                    </a:lnTo>
                    <a:lnTo>
                      <a:pt x="555324" y="125611"/>
                    </a:lnTo>
                    <a:lnTo>
                      <a:pt x="560021" y="125762"/>
                    </a:lnTo>
                    <a:lnTo>
                      <a:pt x="565930" y="128793"/>
                    </a:lnTo>
                    <a:lnTo>
                      <a:pt x="570627" y="132278"/>
                    </a:lnTo>
                    <a:lnTo>
                      <a:pt x="576385" y="138490"/>
                    </a:lnTo>
                    <a:lnTo>
                      <a:pt x="580476" y="138035"/>
                    </a:lnTo>
                    <a:lnTo>
                      <a:pt x="578810" y="133641"/>
                    </a:lnTo>
                    <a:lnTo>
                      <a:pt x="575324" y="129550"/>
                    </a:lnTo>
                    <a:lnTo>
                      <a:pt x="574112" y="127429"/>
                    </a:lnTo>
                    <a:lnTo>
                      <a:pt x="572445" y="125762"/>
                    </a:lnTo>
                    <a:lnTo>
                      <a:pt x="566688" y="123489"/>
                    </a:lnTo>
                    <a:lnTo>
                      <a:pt x="561384" y="119095"/>
                    </a:lnTo>
                    <a:lnTo>
                      <a:pt x="556991" y="119550"/>
                    </a:lnTo>
                    <a:lnTo>
                      <a:pt x="556687" y="115459"/>
                    </a:lnTo>
                    <a:lnTo>
                      <a:pt x="554112" y="113641"/>
                    </a:lnTo>
                    <a:lnTo>
                      <a:pt x="551990" y="110913"/>
                    </a:lnTo>
                    <a:lnTo>
                      <a:pt x="553960" y="108640"/>
                    </a:lnTo>
                    <a:lnTo>
                      <a:pt x="553203" y="106822"/>
                    </a:lnTo>
                    <a:lnTo>
                      <a:pt x="548808" y="101216"/>
                    </a:lnTo>
                    <a:lnTo>
                      <a:pt x="543657" y="98791"/>
                    </a:lnTo>
                    <a:lnTo>
                      <a:pt x="537747" y="97882"/>
                    </a:lnTo>
                    <a:lnTo>
                      <a:pt x="537747" y="101822"/>
                    </a:lnTo>
                    <a:lnTo>
                      <a:pt x="539717" y="106822"/>
                    </a:lnTo>
                    <a:lnTo>
                      <a:pt x="544111" y="1107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9" name="Freeform: Shape 3198">
                <a:extLst>
                  <a:ext uri="{FF2B5EF4-FFF2-40B4-BE49-F238E27FC236}">
                    <a16:creationId xmlns:a16="http://schemas.microsoft.com/office/drawing/2014/main" id="{2D3AA049-37A4-466D-A7EC-71E9970E96A7}"/>
                  </a:ext>
                </a:extLst>
              </p:cNvPr>
              <p:cNvSpPr/>
              <p:nvPr/>
            </p:nvSpPr>
            <p:spPr>
              <a:xfrm>
                <a:off x="5868718" y="2941631"/>
                <a:ext cx="105458" cy="105003"/>
              </a:xfrm>
              <a:custGeom>
                <a:avLst/>
                <a:gdLst>
                  <a:gd name="connsiteX0" fmla="*/ 39395 w 105458"/>
                  <a:gd name="connsiteY0" fmla="*/ 23183 h 105003"/>
                  <a:gd name="connsiteX1" fmla="*/ 42123 w 105458"/>
                  <a:gd name="connsiteY1" fmla="*/ 20607 h 105003"/>
                  <a:gd name="connsiteX2" fmla="*/ 42123 w 105458"/>
                  <a:gd name="connsiteY2" fmla="*/ 16364 h 105003"/>
                  <a:gd name="connsiteX3" fmla="*/ 38183 w 105458"/>
                  <a:gd name="connsiteY3" fmla="*/ 19849 h 105003"/>
                  <a:gd name="connsiteX4" fmla="*/ 37274 w 105458"/>
                  <a:gd name="connsiteY4" fmla="*/ 21971 h 105003"/>
                  <a:gd name="connsiteX5" fmla="*/ 37729 w 105458"/>
                  <a:gd name="connsiteY5" fmla="*/ 22577 h 105003"/>
                  <a:gd name="connsiteX6" fmla="*/ 39395 w 105458"/>
                  <a:gd name="connsiteY6" fmla="*/ 23183 h 105003"/>
                  <a:gd name="connsiteX7" fmla="*/ 48183 w 105458"/>
                  <a:gd name="connsiteY7" fmla="*/ 11819 h 105003"/>
                  <a:gd name="connsiteX8" fmla="*/ 45911 w 105458"/>
                  <a:gd name="connsiteY8" fmla="*/ 11667 h 105003"/>
                  <a:gd name="connsiteX9" fmla="*/ 42577 w 105458"/>
                  <a:gd name="connsiteY9" fmla="*/ 14091 h 105003"/>
                  <a:gd name="connsiteX10" fmla="*/ 43032 w 105458"/>
                  <a:gd name="connsiteY10" fmla="*/ 14546 h 105003"/>
                  <a:gd name="connsiteX11" fmla="*/ 48183 w 105458"/>
                  <a:gd name="connsiteY11" fmla="*/ 11819 h 105003"/>
                  <a:gd name="connsiteX12" fmla="*/ 65305 w 105458"/>
                  <a:gd name="connsiteY12" fmla="*/ 6819 h 105003"/>
                  <a:gd name="connsiteX13" fmla="*/ 70760 w 105458"/>
                  <a:gd name="connsiteY13" fmla="*/ 6212 h 105003"/>
                  <a:gd name="connsiteX14" fmla="*/ 70760 w 105458"/>
                  <a:gd name="connsiteY14" fmla="*/ 5909 h 105003"/>
                  <a:gd name="connsiteX15" fmla="*/ 69396 w 105458"/>
                  <a:gd name="connsiteY15" fmla="*/ 5606 h 105003"/>
                  <a:gd name="connsiteX16" fmla="*/ 64851 w 105458"/>
                  <a:gd name="connsiteY16" fmla="*/ 5606 h 105003"/>
                  <a:gd name="connsiteX17" fmla="*/ 63336 w 105458"/>
                  <a:gd name="connsiteY17" fmla="*/ 5909 h 105003"/>
                  <a:gd name="connsiteX18" fmla="*/ 63639 w 105458"/>
                  <a:gd name="connsiteY18" fmla="*/ 6364 h 105003"/>
                  <a:gd name="connsiteX19" fmla="*/ 65305 w 105458"/>
                  <a:gd name="connsiteY19" fmla="*/ 6819 h 105003"/>
                  <a:gd name="connsiteX20" fmla="*/ 54244 w 105458"/>
                  <a:gd name="connsiteY20" fmla="*/ 8940 h 105003"/>
                  <a:gd name="connsiteX21" fmla="*/ 61215 w 105458"/>
                  <a:gd name="connsiteY21" fmla="*/ 6970 h 105003"/>
                  <a:gd name="connsiteX22" fmla="*/ 60457 w 105458"/>
                  <a:gd name="connsiteY22" fmla="*/ 6819 h 105003"/>
                  <a:gd name="connsiteX23" fmla="*/ 56517 w 105458"/>
                  <a:gd name="connsiteY23" fmla="*/ 7273 h 105003"/>
                  <a:gd name="connsiteX24" fmla="*/ 50305 w 105458"/>
                  <a:gd name="connsiteY24" fmla="*/ 8788 h 105003"/>
                  <a:gd name="connsiteX25" fmla="*/ 51517 w 105458"/>
                  <a:gd name="connsiteY25" fmla="*/ 9243 h 105003"/>
                  <a:gd name="connsiteX26" fmla="*/ 54244 w 105458"/>
                  <a:gd name="connsiteY26" fmla="*/ 8940 h 105003"/>
                  <a:gd name="connsiteX27" fmla="*/ 94549 w 105458"/>
                  <a:gd name="connsiteY27" fmla="*/ 0 h 105003"/>
                  <a:gd name="connsiteX28" fmla="*/ 93337 w 105458"/>
                  <a:gd name="connsiteY28" fmla="*/ 0 h 105003"/>
                  <a:gd name="connsiteX29" fmla="*/ 90912 w 105458"/>
                  <a:gd name="connsiteY29" fmla="*/ 758 h 105003"/>
                  <a:gd name="connsiteX30" fmla="*/ 90155 w 105458"/>
                  <a:gd name="connsiteY30" fmla="*/ 1818 h 105003"/>
                  <a:gd name="connsiteX31" fmla="*/ 92731 w 105458"/>
                  <a:gd name="connsiteY31" fmla="*/ 1667 h 105003"/>
                  <a:gd name="connsiteX32" fmla="*/ 94549 w 105458"/>
                  <a:gd name="connsiteY32" fmla="*/ 0 h 105003"/>
                  <a:gd name="connsiteX33" fmla="*/ 81821 w 105458"/>
                  <a:gd name="connsiteY33" fmla="*/ 4243 h 105003"/>
                  <a:gd name="connsiteX34" fmla="*/ 80609 w 105458"/>
                  <a:gd name="connsiteY34" fmla="*/ 4091 h 105003"/>
                  <a:gd name="connsiteX35" fmla="*/ 77276 w 105458"/>
                  <a:gd name="connsiteY35" fmla="*/ 4849 h 105003"/>
                  <a:gd name="connsiteX36" fmla="*/ 76972 w 105458"/>
                  <a:gd name="connsiteY36" fmla="*/ 5152 h 105003"/>
                  <a:gd name="connsiteX37" fmla="*/ 77882 w 105458"/>
                  <a:gd name="connsiteY37" fmla="*/ 5455 h 105003"/>
                  <a:gd name="connsiteX38" fmla="*/ 81821 w 105458"/>
                  <a:gd name="connsiteY38" fmla="*/ 4243 h 105003"/>
                  <a:gd name="connsiteX39" fmla="*/ 105458 w 105458"/>
                  <a:gd name="connsiteY39" fmla="*/ 12728 h 105003"/>
                  <a:gd name="connsiteX40" fmla="*/ 101670 w 105458"/>
                  <a:gd name="connsiteY40" fmla="*/ 12122 h 105003"/>
                  <a:gd name="connsiteX41" fmla="*/ 99246 w 105458"/>
                  <a:gd name="connsiteY41" fmla="*/ 11061 h 105003"/>
                  <a:gd name="connsiteX42" fmla="*/ 97731 w 105458"/>
                  <a:gd name="connsiteY42" fmla="*/ 9243 h 105003"/>
                  <a:gd name="connsiteX43" fmla="*/ 95155 w 105458"/>
                  <a:gd name="connsiteY43" fmla="*/ 6819 h 105003"/>
                  <a:gd name="connsiteX44" fmla="*/ 88185 w 105458"/>
                  <a:gd name="connsiteY44" fmla="*/ 7121 h 105003"/>
                  <a:gd name="connsiteX45" fmla="*/ 82427 w 105458"/>
                  <a:gd name="connsiteY45" fmla="*/ 7879 h 105003"/>
                  <a:gd name="connsiteX46" fmla="*/ 74397 w 105458"/>
                  <a:gd name="connsiteY46" fmla="*/ 8182 h 105003"/>
                  <a:gd name="connsiteX47" fmla="*/ 69245 w 105458"/>
                  <a:gd name="connsiteY47" fmla="*/ 9394 h 105003"/>
                  <a:gd name="connsiteX48" fmla="*/ 59851 w 105458"/>
                  <a:gd name="connsiteY48" fmla="*/ 13334 h 105003"/>
                  <a:gd name="connsiteX49" fmla="*/ 57427 w 105458"/>
                  <a:gd name="connsiteY49" fmla="*/ 15304 h 105003"/>
                  <a:gd name="connsiteX50" fmla="*/ 55002 w 105458"/>
                  <a:gd name="connsiteY50" fmla="*/ 19698 h 105003"/>
                  <a:gd name="connsiteX51" fmla="*/ 46820 w 105458"/>
                  <a:gd name="connsiteY51" fmla="*/ 24698 h 105003"/>
                  <a:gd name="connsiteX52" fmla="*/ 42123 w 105458"/>
                  <a:gd name="connsiteY52" fmla="*/ 26668 h 105003"/>
                  <a:gd name="connsiteX53" fmla="*/ 40759 w 105458"/>
                  <a:gd name="connsiteY53" fmla="*/ 25910 h 105003"/>
                  <a:gd name="connsiteX54" fmla="*/ 38789 w 105458"/>
                  <a:gd name="connsiteY54" fmla="*/ 25455 h 105003"/>
                  <a:gd name="connsiteX55" fmla="*/ 37274 w 105458"/>
                  <a:gd name="connsiteY55" fmla="*/ 28031 h 105003"/>
                  <a:gd name="connsiteX56" fmla="*/ 36365 w 105458"/>
                  <a:gd name="connsiteY56" fmla="*/ 30304 h 105003"/>
                  <a:gd name="connsiteX57" fmla="*/ 33183 w 105458"/>
                  <a:gd name="connsiteY57" fmla="*/ 43789 h 105003"/>
                  <a:gd name="connsiteX58" fmla="*/ 31062 w 105458"/>
                  <a:gd name="connsiteY58" fmla="*/ 48638 h 105003"/>
                  <a:gd name="connsiteX59" fmla="*/ 28183 w 105458"/>
                  <a:gd name="connsiteY59" fmla="*/ 52729 h 105003"/>
                  <a:gd name="connsiteX60" fmla="*/ 23637 w 105458"/>
                  <a:gd name="connsiteY60" fmla="*/ 57729 h 105003"/>
                  <a:gd name="connsiteX61" fmla="*/ 21516 w 105458"/>
                  <a:gd name="connsiteY61" fmla="*/ 59396 h 105003"/>
                  <a:gd name="connsiteX62" fmla="*/ 20304 w 105458"/>
                  <a:gd name="connsiteY62" fmla="*/ 60002 h 105003"/>
                  <a:gd name="connsiteX63" fmla="*/ 18637 w 105458"/>
                  <a:gd name="connsiteY63" fmla="*/ 62427 h 105003"/>
                  <a:gd name="connsiteX64" fmla="*/ 17274 w 105458"/>
                  <a:gd name="connsiteY64" fmla="*/ 65305 h 105003"/>
                  <a:gd name="connsiteX65" fmla="*/ 16364 w 105458"/>
                  <a:gd name="connsiteY65" fmla="*/ 66669 h 105003"/>
                  <a:gd name="connsiteX66" fmla="*/ 21516 w 105458"/>
                  <a:gd name="connsiteY66" fmla="*/ 71669 h 105003"/>
                  <a:gd name="connsiteX67" fmla="*/ 22122 w 105458"/>
                  <a:gd name="connsiteY67" fmla="*/ 73033 h 105003"/>
                  <a:gd name="connsiteX68" fmla="*/ 22728 w 105458"/>
                  <a:gd name="connsiteY68" fmla="*/ 73942 h 105003"/>
                  <a:gd name="connsiteX69" fmla="*/ 17879 w 105458"/>
                  <a:gd name="connsiteY69" fmla="*/ 74397 h 105003"/>
                  <a:gd name="connsiteX70" fmla="*/ 20001 w 105458"/>
                  <a:gd name="connsiteY70" fmla="*/ 76063 h 105003"/>
                  <a:gd name="connsiteX71" fmla="*/ 22576 w 105458"/>
                  <a:gd name="connsiteY71" fmla="*/ 77276 h 105003"/>
                  <a:gd name="connsiteX72" fmla="*/ 24395 w 105458"/>
                  <a:gd name="connsiteY72" fmla="*/ 77882 h 105003"/>
                  <a:gd name="connsiteX73" fmla="*/ 25304 w 105458"/>
                  <a:gd name="connsiteY73" fmla="*/ 79094 h 105003"/>
                  <a:gd name="connsiteX74" fmla="*/ 23486 w 105458"/>
                  <a:gd name="connsiteY74" fmla="*/ 79700 h 105003"/>
                  <a:gd name="connsiteX75" fmla="*/ 21667 w 105458"/>
                  <a:gd name="connsiteY75" fmla="*/ 79700 h 105003"/>
                  <a:gd name="connsiteX76" fmla="*/ 14698 w 105458"/>
                  <a:gd name="connsiteY76" fmla="*/ 75457 h 105003"/>
                  <a:gd name="connsiteX77" fmla="*/ 10758 w 105458"/>
                  <a:gd name="connsiteY77" fmla="*/ 74700 h 105003"/>
                  <a:gd name="connsiteX78" fmla="*/ 5455 w 105458"/>
                  <a:gd name="connsiteY78" fmla="*/ 75003 h 105003"/>
                  <a:gd name="connsiteX79" fmla="*/ 4091 w 105458"/>
                  <a:gd name="connsiteY79" fmla="*/ 75457 h 105003"/>
                  <a:gd name="connsiteX80" fmla="*/ 2727 w 105458"/>
                  <a:gd name="connsiteY80" fmla="*/ 76821 h 105003"/>
                  <a:gd name="connsiteX81" fmla="*/ 4697 w 105458"/>
                  <a:gd name="connsiteY81" fmla="*/ 78791 h 105003"/>
                  <a:gd name="connsiteX82" fmla="*/ 6515 w 105458"/>
                  <a:gd name="connsiteY82" fmla="*/ 80003 h 105003"/>
                  <a:gd name="connsiteX83" fmla="*/ 9394 w 105458"/>
                  <a:gd name="connsiteY83" fmla="*/ 80154 h 105003"/>
                  <a:gd name="connsiteX84" fmla="*/ 12879 w 105458"/>
                  <a:gd name="connsiteY84" fmla="*/ 81670 h 105003"/>
                  <a:gd name="connsiteX85" fmla="*/ 17879 w 105458"/>
                  <a:gd name="connsiteY85" fmla="*/ 80458 h 105003"/>
                  <a:gd name="connsiteX86" fmla="*/ 21516 w 105458"/>
                  <a:gd name="connsiteY86" fmla="*/ 81973 h 105003"/>
                  <a:gd name="connsiteX87" fmla="*/ 23940 w 105458"/>
                  <a:gd name="connsiteY87" fmla="*/ 82579 h 105003"/>
                  <a:gd name="connsiteX88" fmla="*/ 26062 w 105458"/>
                  <a:gd name="connsiteY88" fmla="*/ 83488 h 105003"/>
                  <a:gd name="connsiteX89" fmla="*/ 27880 w 105458"/>
                  <a:gd name="connsiteY89" fmla="*/ 83639 h 105003"/>
                  <a:gd name="connsiteX90" fmla="*/ 28638 w 105458"/>
                  <a:gd name="connsiteY90" fmla="*/ 83185 h 105003"/>
                  <a:gd name="connsiteX91" fmla="*/ 28183 w 105458"/>
                  <a:gd name="connsiteY91" fmla="*/ 81064 h 105003"/>
                  <a:gd name="connsiteX92" fmla="*/ 29698 w 105458"/>
                  <a:gd name="connsiteY92" fmla="*/ 79851 h 105003"/>
                  <a:gd name="connsiteX93" fmla="*/ 31365 w 105458"/>
                  <a:gd name="connsiteY93" fmla="*/ 79245 h 105003"/>
                  <a:gd name="connsiteX94" fmla="*/ 32122 w 105458"/>
                  <a:gd name="connsiteY94" fmla="*/ 80154 h 105003"/>
                  <a:gd name="connsiteX95" fmla="*/ 33638 w 105458"/>
                  <a:gd name="connsiteY95" fmla="*/ 81064 h 105003"/>
                  <a:gd name="connsiteX96" fmla="*/ 34850 w 105458"/>
                  <a:gd name="connsiteY96" fmla="*/ 81064 h 105003"/>
                  <a:gd name="connsiteX97" fmla="*/ 38183 w 105458"/>
                  <a:gd name="connsiteY97" fmla="*/ 78488 h 105003"/>
                  <a:gd name="connsiteX98" fmla="*/ 38941 w 105458"/>
                  <a:gd name="connsiteY98" fmla="*/ 78942 h 105003"/>
                  <a:gd name="connsiteX99" fmla="*/ 39698 w 105458"/>
                  <a:gd name="connsiteY99" fmla="*/ 79851 h 105003"/>
                  <a:gd name="connsiteX100" fmla="*/ 39850 w 105458"/>
                  <a:gd name="connsiteY100" fmla="*/ 80609 h 105003"/>
                  <a:gd name="connsiteX101" fmla="*/ 40002 w 105458"/>
                  <a:gd name="connsiteY101" fmla="*/ 81367 h 105003"/>
                  <a:gd name="connsiteX102" fmla="*/ 40759 w 105458"/>
                  <a:gd name="connsiteY102" fmla="*/ 81670 h 105003"/>
                  <a:gd name="connsiteX103" fmla="*/ 43335 w 105458"/>
                  <a:gd name="connsiteY103" fmla="*/ 81518 h 105003"/>
                  <a:gd name="connsiteX104" fmla="*/ 44699 w 105458"/>
                  <a:gd name="connsiteY104" fmla="*/ 80154 h 105003"/>
                  <a:gd name="connsiteX105" fmla="*/ 45759 w 105458"/>
                  <a:gd name="connsiteY105" fmla="*/ 79245 h 105003"/>
                  <a:gd name="connsiteX106" fmla="*/ 46517 w 105458"/>
                  <a:gd name="connsiteY106" fmla="*/ 79851 h 105003"/>
                  <a:gd name="connsiteX107" fmla="*/ 46972 w 105458"/>
                  <a:gd name="connsiteY107" fmla="*/ 81518 h 105003"/>
                  <a:gd name="connsiteX108" fmla="*/ 47729 w 105458"/>
                  <a:gd name="connsiteY108" fmla="*/ 83639 h 105003"/>
                  <a:gd name="connsiteX109" fmla="*/ 50911 w 105458"/>
                  <a:gd name="connsiteY109" fmla="*/ 86064 h 105003"/>
                  <a:gd name="connsiteX110" fmla="*/ 53487 w 105458"/>
                  <a:gd name="connsiteY110" fmla="*/ 86821 h 105003"/>
                  <a:gd name="connsiteX111" fmla="*/ 56669 w 105458"/>
                  <a:gd name="connsiteY111" fmla="*/ 86367 h 105003"/>
                  <a:gd name="connsiteX112" fmla="*/ 57881 w 105458"/>
                  <a:gd name="connsiteY112" fmla="*/ 85912 h 105003"/>
                  <a:gd name="connsiteX113" fmla="*/ 58790 w 105458"/>
                  <a:gd name="connsiteY113" fmla="*/ 86215 h 105003"/>
                  <a:gd name="connsiteX114" fmla="*/ 59699 w 105458"/>
                  <a:gd name="connsiteY114" fmla="*/ 87579 h 105003"/>
                  <a:gd name="connsiteX115" fmla="*/ 61517 w 105458"/>
                  <a:gd name="connsiteY115" fmla="*/ 89094 h 105003"/>
                  <a:gd name="connsiteX116" fmla="*/ 65457 w 105458"/>
                  <a:gd name="connsiteY116" fmla="*/ 90155 h 105003"/>
                  <a:gd name="connsiteX117" fmla="*/ 66669 w 105458"/>
                  <a:gd name="connsiteY117" fmla="*/ 90761 h 105003"/>
                  <a:gd name="connsiteX118" fmla="*/ 67578 w 105458"/>
                  <a:gd name="connsiteY118" fmla="*/ 91822 h 105003"/>
                  <a:gd name="connsiteX119" fmla="*/ 67275 w 105458"/>
                  <a:gd name="connsiteY119" fmla="*/ 93185 h 105003"/>
                  <a:gd name="connsiteX120" fmla="*/ 65457 w 105458"/>
                  <a:gd name="connsiteY120" fmla="*/ 96670 h 105003"/>
                  <a:gd name="connsiteX121" fmla="*/ 65154 w 105458"/>
                  <a:gd name="connsiteY121" fmla="*/ 97731 h 105003"/>
                  <a:gd name="connsiteX122" fmla="*/ 65457 w 105458"/>
                  <a:gd name="connsiteY122" fmla="*/ 98034 h 105003"/>
                  <a:gd name="connsiteX123" fmla="*/ 65154 w 105458"/>
                  <a:gd name="connsiteY123" fmla="*/ 98640 h 105003"/>
                  <a:gd name="connsiteX124" fmla="*/ 62730 w 105458"/>
                  <a:gd name="connsiteY124" fmla="*/ 101064 h 105003"/>
                  <a:gd name="connsiteX125" fmla="*/ 62578 w 105458"/>
                  <a:gd name="connsiteY125" fmla="*/ 101822 h 105003"/>
                  <a:gd name="connsiteX126" fmla="*/ 63336 w 105458"/>
                  <a:gd name="connsiteY126" fmla="*/ 103186 h 105003"/>
                  <a:gd name="connsiteX127" fmla="*/ 63942 w 105458"/>
                  <a:gd name="connsiteY127" fmla="*/ 104246 h 105003"/>
                  <a:gd name="connsiteX128" fmla="*/ 63942 w 105458"/>
                  <a:gd name="connsiteY128" fmla="*/ 104246 h 105003"/>
                  <a:gd name="connsiteX129" fmla="*/ 65457 w 105458"/>
                  <a:gd name="connsiteY129" fmla="*/ 104852 h 105003"/>
                  <a:gd name="connsiteX130" fmla="*/ 66821 w 105458"/>
                  <a:gd name="connsiteY130" fmla="*/ 105004 h 105003"/>
                  <a:gd name="connsiteX131" fmla="*/ 69396 w 105458"/>
                  <a:gd name="connsiteY131" fmla="*/ 105004 h 105003"/>
                  <a:gd name="connsiteX132" fmla="*/ 72124 w 105458"/>
                  <a:gd name="connsiteY132" fmla="*/ 105004 h 105003"/>
                  <a:gd name="connsiteX133" fmla="*/ 73639 w 105458"/>
                  <a:gd name="connsiteY133" fmla="*/ 99398 h 105003"/>
                  <a:gd name="connsiteX134" fmla="*/ 72427 w 105458"/>
                  <a:gd name="connsiteY134" fmla="*/ 97731 h 105003"/>
                  <a:gd name="connsiteX135" fmla="*/ 71063 w 105458"/>
                  <a:gd name="connsiteY135" fmla="*/ 96973 h 105003"/>
                  <a:gd name="connsiteX136" fmla="*/ 69396 w 105458"/>
                  <a:gd name="connsiteY136" fmla="*/ 96519 h 105003"/>
                  <a:gd name="connsiteX137" fmla="*/ 68639 w 105458"/>
                  <a:gd name="connsiteY137" fmla="*/ 95761 h 105003"/>
                  <a:gd name="connsiteX138" fmla="*/ 68336 w 105458"/>
                  <a:gd name="connsiteY138" fmla="*/ 94852 h 105003"/>
                  <a:gd name="connsiteX139" fmla="*/ 68639 w 105458"/>
                  <a:gd name="connsiteY139" fmla="*/ 94246 h 105003"/>
                  <a:gd name="connsiteX140" fmla="*/ 70609 w 105458"/>
                  <a:gd name="connsiteY140" fmla="*/ 94397 h 105003"/>
                  <a:gd name="connsiteX141" fmla="*/ 71215 w 105458"/>
                  <a:gd name="connsiteY141" fmla="*/ 93791 h 105003"/>
                  <a:gd name="connsiteX142" fmla="*/ 75912 w 105458"/>
                  <a:gd name="connsiteY142" fmla="*/ 90458 h 105003"/>
                  <a:gd name="connsiteX143" fmla="*/ 76063 w 105458"/>
                  <a:gd name="connsiteY143" fmla="*/ 89852 h 105003"/>
                  <a:gd name="connsiteX144" fmla="*/ 75458 w 105458"/>
                  <a:gd name="connsiteY144" fmla="*/ 89549 h 105003"/>
                  <a:gd name="connsiteX145" fmla="*/ 74548 w 105458"/>
                  <a:gd name="connsiteY145" fmla="*/ 89397 h 105003"/>
                  <a:gd name="connsiteX146" fmla="*/ 74397 w 105458"/>
                  <a:gd name="connsiteY146" fmla="*/ 88640 h 105003"/>
                  <a:gd name="connsiteX147" fmla="*/ 74397 w 105458"/>
                  <a:gd name="connsiteY147" fmla="*/ 87730 h 105003"/>
                  <a:gd name="connsiteX148" fmla="*/ 76821 w 105458"/>
                  <a:gd name="connsiteY148" fmla="*/ 83033 h 105003"/>
                  <a:gd name="connsiteX149" fmla="*/ 77579 w 105458"/>
                  <a:gd name="connsiteY149" fmla="*/ 81064 h 105003"/>
                  <a:gd name="connsiteX150" fmla="*/ 77730 w 105458"/>
                  <a:gd name="connsiteY150" fmla="*/ 79700 h 105003"/>
                  <a:gd name="connsiteX151" fmla="*/ 77579 w 105458"/>
                  <a:gd name="connsiteY151" fmla="*/ 78336 h 105003"/>
                  <a:gd name="connsiteX152" fmla="*/ 76215 w 105458"/>
                  <a:gd name="connsiteY152" fmla="*/ 76063 h 105003"/>
                  <a:gd name="connsiteX153" fmla="*/ 74851 w 105458"/>
                  <a:gd name="connsiteY153" fmla="*/ 74245 h 105003"/>
                  <a:gd name="connsiteX154" fmla="*/ 74851 w 105458"/>
                  <a:gd name="connsiteY154" fmla="*/ 72882 h 105003"/>
                  <a:gd name="connsiteX155" fmla="*/ 73791 w 105458"/>
                  <a:gd name="connsiteY155" fmla="*/ 72124 h 105003"/>
                  <a:gd name="connsiteX156" fmla="*/ 70912 w 105458"/>
                  <a:gd name="connsiteY156" fmla="*/ 68336 h 105003"/>
                  <a:gd name="connsiteX157" fmla="*/ 70912 w 105458"/>
                  <a:gd name="connsiteY157" fmla="*/ 66821 h 105003"/>
                  <a:gd name="connsiteX158" fmla="*/ 72579 w 105458"/>
                  <a:gd name="connsiteY158" fmla="*/ 65608 h 105003"/>
                  <a:gd name="connsiteX159" fmla="*/ 74851 w 105458"/>
                  <a:gd name="connsiteY159" fmla="*/ 64851 h 105003"/>
                  <a:gd name="connsiteX160" fmla="*/ 75609 w 105458"/>
                  <a:gd name="connsiteY160" fmla="*/ 64245 h 105003"/>
                  <a:gd name="connsiteX161" fmla="*/ 76972 w 105458"/>
                  <a:gd name="connsiteY161" fmla="*/ 63942 h 105003"/>
                  <a:gd name="connsiteX162" fmla="*/ 80609 w 105458"/>
                  <a:gd name="connsiteY162" fmla="*/ 65002 h 105003"/>
                  <a:gd name="connsiteX163" fmla="*/ 82276 w 105458"/>
                  <a:gd name="connsiteY163" fmla="*/ 65911 h 105003"/>
                  <a:gd name="connsiteX164" fmla="*/ 82730 w 105458"/>
                  <a:gd name="connsiteY164" fmla="*/ 65760 h 105003"/>
                  <a:gd name="connsiteX165" fmla="*/ 84246 w 105458"/>
                  <a:gd name="connsiteY165" fmla="*/ 64699 h 105003"/>
                  <a:gd name="connsiteX166" fmla="*/ 86822 w 105458"/>
                  <a:gd name="connsiteY166" fmla="*/ 64851 h 105003"/>
                  <a:gd name="connsiteX167" fmla="*/ 92882 w 105458"/>
                  <a:gd name="connsiteY167" fmla="*/ 62730 h 105003"/>
                  <a:gd name="connsiteX168" fmla="*/ 93791 w 105458"/>
                  <a:gd name="connsiteY168" fmla="*/ 61669 h 105003"/>
                  <a:gd name="connsiteX169" fmla="*/ 94549 w 105458"/>
                  <a:gd name="connsiteY169" fmla="*/ 60608 h 105003"/>
                  <a:gd name="connsiteX170" fmla="*/ 94549 w 105458"/>
                  <a:gd name="connsiteY170" fmla="*/ 60154 h 105003"/>
                  <a:gd name="connsiteX171" fmla="*/ 92124 w 105458"/>
                  <a:gd name="connsiteY171" fmla="*/ 58032 h 105003"/>
                  <a:gd name="connsiteX172" fmla="*/ 92124 w 105458"/>
                  <a:gd name="connsiteY172" fmla="*/ 57275 h 105003"/>
                  <a:gd name="connsiteX173" fmla="*/ 92428 w 105458"/>
                  <a:gd name="connsiteY173" fmla="*/ 56366 h 105003"/>
                  <a:gd name="connsiteX174" fmla="*/ 93034 w 105458"/>
                  <a:gd name="connsiteY174" fmla="*/ 55760 h 105003"/>
                  <a:gd name="connsiteX175" fmla="*/ 94398 w 105458"/>
                  <a:gd name="connsiteY175" fmla="*/ 55305 h 105003"/>
                  <a:gd name="connsiteX176" fmla="*/ 95912 w 105458"/>
                  <a:gd name="connsiteY176" fmla="*/ 54396 h 105003"/>
                  <a:gd name="connsiteX177" fmla="*/ 99246 w 105458"/>
                  <a:gd name="connsiteY177" fmla="*/ 51820 h 105003"/>
                  <a:gd name="connsiteX178" fmla="*/ 100458 w 105458"/>
                  <a:gd name="connsiteY178" fmla="*/ 49547 h 105003"/>
                  <a:gd name="connsiteX179" fmla="*/ 100761 w 105458"/>
                  <a:gd name="connsiteY179" fmla="*/ 47123 h 105003"/>
                  <a:gd name="connsiteX180" fmla="*/ 100761 w 105458"/>
                  <a:gd name="connsiteY180" fmla="*/ 45305 h 105003"/>
                  <a:gd name="connsiteX181" fmla="*/ 99852 w 105458"/>
                  <a:gd name="connsiteY181" fmla="*/ 43941 h 105003"/>
                  <a:gd name="connsiteX182" fmla="*/ 98943 w 105458"/>
                  <a:gd name="connsiteY182" fmla="*/ 43032 h 105003"/>
                  <a:gd name="connsiteX183" fmla="*/ 97731 w 105458"/>
                  <a:gd name="connsiteY183" fmla="*/ 43183 h 105003"/>
                  <a:gd name="connsiteX184" fmla="*/ 95307 w 105458"/>
                  <a:gd name="connsiteY184" fmla="*/ 43183 h 105003"/>
                  <a:gd name="connsiteX185" fmla="*/ 93034 w 105458"/>
                  <a:gd name="connsiteY185" fmla="*/ 42426 h 105003"/>
                  <a:gd name="connsiteX186" fmla="*/ 91822 w 105458"/>
                  <a:gd name="connsiteY186" fmla="*/ 41062 h 105003"/>
                  <a:gd name="connsiteX187" fmla="*/ 91519 w 105458"/>
                  <a:gd name="connsiteY187" fmla="*/ 39850 h 105003"/>
                  <a:gd name="connsiteX188" fmla="*/ 92124 w 105458"/>
                  <a:gd name="connsiteY188" fmla="*/ 39092 h 105003"/>
                  <a:gd name="connsiteX189" fmla="*/ 92276 w 105458"/>
                  <a:gd name="connsiteY189" fmla="*/ 38183 h 105003"/>
                  <a:gd name="connsiteX190" fmla="*/ 91973 w 105458"/>
                  <a:gd name="connsiteY190" fmla="*/ 37274 h 105003"/>
                  <a:gd name="connsiteX191" fmla="*/ 92124 w 105458"/>
                  <a:gd name="connsiteY191" fmla="*/ 36517 h 105003"/>
                  <a:gd name="connsiteX192" fmla="*/ 93185 w 105458"/>
                  <a:gd name="connsiteY192" fmla="*/ 35910 h 105003"/>
                  <a:gd name="connsiteX193" fmla="*/ 100458 w 105458"/>
                  <a:gd name="connsiteY193" fmla="*/ 35910 h 105003"/>
                  <a:gd name="connsiteX194" fmla="*/ 101065 w 105458"/>
                  <a:gd name="connsiteY194" fmla="*/ 35304 h 105003"/>
                  <a:gd name="connsiteX195" fmla="*/ 101519 w 105458"/>
                  <a:gd name="connsiteY195" fmla="*/ 31819 h 105003"/>
                  <a:gd name="connsiteX196" fmla="*/ 103337 w 105458"/>
                  <a:gd name="connsiteY196" fmla="*/ 26516 h 105003"/>
                  <a:gd name="connsiteX197" fmla="*/ 105004 w 105458"/>
                  <a:gd name="connsiteY197" fmla="*/ 23637 h 105003"/>
                  <a:gd name="connsiteX198" fmla="*/ 105307 w 105458"/>
                  <a:gd name="connsiteY198" fmla="*/ 22425 h 105003"/>
                  <a:gd name="connsiteX199" fmla="*/ 105307 w 105458"/>
                  <a:gd name="connsiteY199" fmla="*/ 15455 h 105003"/>
                  <a:gd name="connsiteX200" fmla="*/ 105458 w 105458"/>
                  <a:gd name="connsiteY200" fmla="*/ 12728 h 105003"/>
                  <a:gd name="connsiteX201" fmla="*/ 66972 w 105458"/>
                  <a:gd name="connsiteY201" fmla="*/ 44396 h 105003"/>
                  <a:gd name="connsiteX202" fmla="*/ 58790 w 105458"/>
                  <a:gd name="connsiteY202" fmla="*/ 50911 h 105003"/>
                  <a:gd name="connsiteX203" fmla="*/ 53941 w 105458"/>
                  <a:gd name="connsiteY203" fmla="*/ 49396 h 105003"/>
                  <a:gd name="connsiteX204" fmla="*/ 46365 w 105458"/>
                  <a:gd name="connsiteY204" fmla="*/ 47426 h 105003"/>
                  <a:gd name="connsiteX205" fmla="*/ 45608 w 105458"/>
                  <a:gd name="connsiteY205" fmla="*/ 46668 h 105003"/>
                  <a:gd name="connsiteX206" fmla="*/ 46214 w 105458"/>
                  <a:gd name="connsiteY206" fmla="*/ 45153 h 105003"/>
                  <a:gd name="connsiteX207" fmla="*/ 46972 w 105458"/>
                  <a:gd name="connsiteY207" fmla="*/ 44244 h 105003"/>
                  <a:gd name="connsiteX208" fmla="*/ 47123 w 105458"/>
                  <a:gd name="connsiteY208" fmla="*/ 43486 h 105003"/>
                  <a:gd name="connsiteX209" fmla="*/ 47123 w 105458"/>
                  <a:gd name="connsiteY209" fmla="*/ 40911 h 105003"/>
                  <a:gd name="connsiteX210" fmla="*/ 46820 w 105458"/>
                  <a:gd name="connsiteY210" fmla="*/ 39244 h 105003"/>
                  <a:gd name="connsiteX211" fmla="*/ 46972 w 105458"/>
                  <a:gd name="connsiteY211" fmla="*/ 37123 h 105003"/>
                  <a:gd name="connsiteX212" fmla="*/ 48941 w 105458"/>
                  <a:gd name="connsiteY212" fmla="*/ 36971 h 105003"/>
                  <a:gd name="connsiteX213" fmla="*/ 51820 w 105458"/>
                  <a:gd name="connsiteY213" fmla="*/ 35304 h 105003"/>
                  <a:gd name="connsiteX214" fmla="*/ 51972 w 105458"/>
                  <a:gd name="connsiteY214" fmla="*/ 33032 h 105003"/>
                  <a:gd name="connsiteX215" fmla="*/ 49699 w 105458"/>
                  <a:gd name="connsiteY215" fmla="*/ 31062 h 105003"/>
                  <a:gd name="connsiteX216" fmla="*/ 48335 w 105458"/>
                  <a:gd name="connsiteY216" fmla="*/ 29243 h 105003"/>
                  <a:gd name="connsiteX217" fmla="*/ 47729 w 105458"/>
                  <a:gd name="connsiteY217" fmla="*/ 27425 h 105003"/>
                  <a:gd name="connsiteX218" fmla="*/ 46972 w 105458"/>
                  <a:gd name="connsiteY218" fmla="*/ 26062 h 105003"/>
                  <a:gd name="connsiteX219" fmla="*/ 49244 w 105458"/>
                  <a:gd name="connsiteY219" fmla="*/ 24395 h 105003"/>
                  <a:gd name="connsiteX220" fmla="*/ 52426 w 105458"/>
                  <a:gd name="connsiteY220" fmla="*/ 22122 h 105003"/>
                  <a:gd name="connsiteX221" fmla="*/ 55457 w 105458"/>
                  <a:gd name="connsiteY221" fmla="*/ 20758 h 105003"/>
                  <a:gd name="connsiteX222" fmla="*/ 56063 w 105458"/>
                  <a:gd name="connsiteY222" fmla="*/ 21667 h 105003"/>
                  <a:gd name="connsiteX223" fmla="*/ 56517 w 105458"/>
                  <a:gd name="connsiteY223" fmla="*/ 26819 h 105003"/>
                  <a:gd name="connsiteX224" fmla="*/ 56669 w 105458"/>
                  <a:gd name="connsiteY224" fmla="*/ 27880 h 105003"/>
                  <a:gd name="connsiteX225" fmla="*/ 57578 w 105458"/>
                  <a:gd name="connsiteY225" fmla="*/ 28486 h 105003"/>
                  <a:gd name="connsiteX226" fmla="*/ 60154 w 105458"/>
                  <a:gd name="connsiteY226" fmla="*/ 28941 h 105003"/>
                  <a:gd name="connsiteX227" fmla="*/ 63184 w 105458"/>
                  <a:gd name="connsiteY227" fmla="*/ 28789 h 105003"/>
                  <a:gd name="connsiteX228" fmla="*/ 63487 w 105458"/>
                  <a:gd name="connsiteY228" fmla="*/ 30001 h 105003"/>
                  <a:gd name="connsiteX229" fmla="*/ 62275 w 105458"/>
                  <a:gd name="connsiteY229" fmla="*/ 31365 h 105003"/>
                  <a:gd name="connsiteX230" fmla="*/ 62124 w 105458"/>
                  <a:gd name="connsiteY230" fmla="*/ 32274 h 105003"/>
                  <a:gd name="connsiteX231" fmla="*/ 61972 w 105458"/>
                  <a:gd name="connsiteY231" fmla="*/ 35001 h 105003"/>
                  <a:gd name="connsiteX232" fmla="*/ 62124 w 105458"/>
                  <a:gd name="connsiteY232" fmla="*/ 35910 h 105003"/>
                  <a:gd name="connsiteX233" fmla="*/ 63033 w 105458"/>
                  <a:gd name="connsiteY233" fmla="*/ 36971 h 105003"/>
                  <a:gd name="connsiteX234" fmla="*/ 68033 w 105458"/>
                  <a:gd name="connsiteY234" fmla="*/ 37729 h 105003"/>
                  <a:gd name="connsiteX235" fmla="*/ 68942 w 105458"/>
                  <a:gd name="connsiteY235" fmla="*/ 39395 h 105003"/>
                  <a:gd name="connsiteX236" fmla="*/ 69093 w 105458"/>
                  <a:gd name="connsiteY236" fmla="*/ 42274 h 105003"/>
                  <a:gd name="connsiteX237" fmla="*/ 66972 w 105458"/>
                  <a:gd name="connsiteY237" fmla="*/ 44396 h 105003"/>
                  <a:gd name="connsiteX238" fmla="*/ 18183 w 105458"/>
                  <a:gd name="connsiteY238" fmla="*/ 81973 h 105003"/>
                  <a:gd name="connsiteX239" fmla="*/ 14698 w 105458"/>
                  <a:gd name="connsiteY239" fmla="*/ 83488 h 105003"/>
                  <a:gd name="connsiteX240" fmla="*/ 10152 w 105458"/>
                  <a:gd name="connsiteY240" fmla="*/ 82882 h 105003"/>
                  <a:gd name="connsiteX241" fmla="*/ 6667 w 105458"/>
                  <a:gd name="connsiteY241" fmla="*/ 81821 h 105003"/>
                  <a:gd name="connsiteX242" fmla="*/ 2122 w 105458"/>
                  <a:gd name="connsiteY242" fmla="*/ 81973 h 105003"/>
                  <a:gd name="connsiteX243" fmla="*/ 0 w 105458"/>
                  <a:gd name="connsiteY243" fmla="*/ 82579 h 105003"/>
                  <a:gd name="connsiteX244" fmla="*/ 757 w 105458"/>
                  <a:gd name="connsiteY244" fmla="*/ 85761 h 105003"/>
                  <a:gd name="connsiteX245" fmla="*/ 1364 w 105458"/>
                  <a:gd name="connsiteY245" fmla="*/ 86821 h 105003"/>
                  <a:gd name="connsiteX246" fmla="*/ 2122 w 105458"/>
                  <a:gd name="connsiteY246" fmla="*/ 87427 h 105003"/>
                  <a:gd name="connsiteX247" fmla="*/ 3182 w 105458"/>
                  <a:gd name="connsiteY247" fmla="*/ 87579 h 105003"/>
                  <a:gd name="connsiteX248" fmla="*/ 4394 w 105458"/>
                  <a:gd name="connsiteY248" fmla="*/ 86821 h 105003"/>
                  <a:gd name="connsiteX249" fmla="*/ 6061 w 105458"/>
                  <a:gd name="connsiteY249" fmla="*/ 86064 h 105003"/>
                  <a:gd name="connsiteX250" fmla="*/ 8788 w 105458"/>
                  <a:gd name="connsiteY250" fmla="*/ 86518 h 105003"/>
                  <a:gd name="connsiteX251" fmla="*/ 10758 w 105458"/>
                  <a:gd name="connsiteY251" fmla="*/ 87276 h 105003"/>
                  <a:gd name="connsiteX252" fmla="*/ 11516 w 105458"/>
                  <a:gd name="connsiteY252" fmla="*/ 88034 h 105003"/>
                  <a:gd name="connsiteX253" fmla="*/ 12879 w 105458"/>
                  <a:gd name="connsiteY253" fmla="*/ 88791 h 105003"/>
                  <a:gd name="connsiteX254" fmla="*/ 14849 w 105458"/>
                  <a:gd name="connsiteY254" fmla="*/ 88943 h 105003"/>
                  <a:gd name="connsiteX255" fmla="*/ 18637 w 105458"/>
                  <a:gd name="connsiteY255" fmla="*/ 87579 h 105003"/>
                  <a:gd name="connsiteX256" fmla="*/ 22274 w 105458"/>
                  <a:gd name="connsiteY256" fmla="*/ 85458 h 105003"/>
                  <a:gd name="connsiteX257" fmla="*/ 23334 w 105458"/>
                  <a:gd name="connsiteY257" fmla="*/ 83942 h 105003"/>
                  <a:gd name="connsiteX258" fmla="*/ 23789 w 105458"/>
                  <a:gd name="connsiteY258" fmla="*/ 82579 h 105003"/>
                  <a:gd name="connsiteX259" fmla="*/ 20607 w 105458"/>
                  <a:gd name="connsiteY259" fmla="*/ 83488 h 105003"/>
                  <a:gd name="connsiteX260" fmla="*/ 18183 w 105458"/>
                  <a:gd name="connsiteY260" fmla="*/ 81973 h 105003"/>
                  <a:gd name="connsiteX261" fmla="*/ 67124 w 105458"/>
                  <a:gd name="connsiteY261" fmla="*/ 39244 h 105003"/>
                  <a:gd name="connsiteX262" fmla="*/ 65457 w 105458"/>
                  <a:gd name="connsiteY262" fmla="*/ 38638 h 105003"/>
                  <a:gd name="connsiteX263" fmla="*/ 63336 w 105458"/>
                  <a:gd name="connsiteY263" fmla="*/ 38486 h 105003"/>
                  <a:gd name="connsiteX264" fmla="*/ 60154 w 105458"/>
                  <a:gd name="connsiteY264" fmla="*/ 39547 h 105003"/>
                  <a:gd name="connsiteX265" fmla="*/ 55760 w 105458"/>
                  <a:gd name="connsiteY265" fmla="*/ 41971 h 105003"/>
                  <a:gd name="connsiteX266" fmla="*/ 50002 w 105458"/>
                  <a:gd name="connsiteY266" fmla="*/ 46062 h 105003"/>
                  <a:gd name="connsiteX267" fmla="*/ 50456 w 105458"/>
                  <a:gd name="connsiteY267" fmla="*/ 46820 h 105003"/>
                  <a:gd name="connsiteX268" fmla="*/ 52123 w 105458"/>
                  <a:gd name="connsiteY268" fmla="*/ 47729 h 105003"/>
                  <a:gd name="connsiteX269" fmla="*/ 57123 w 105458"/>
                  <a:gd name="connsiteY269" fmla="*/ 49093 h 105003"/>
                  <a:gd name="connsiteX270" fmla="*/ 59093 w 105458"/>
                  <a:gd name="connsiteY270" fmla="*/ 48941 h 105003"/>
                  <a:gd name="connsiteX271" fmla="*/ 60457 w 105458"/>
                  <a:gd name="connsiteY271" fmla="*/ 48184 h 105003"/>
                  <a:gd name="connsiteX272" fmla="*/ 62426 w 105458"/>
                  <a:gd name="connsiteY272" fmla="*/ 46365 h 105003"/>
                  <a:gd name="connsiteX273" fmla="*/ 65760 w 105458"/>
                  <a:gd name="connsiteY273" fmla="*/ 44396 h 105003"/>
                  <a:gd name="connsiteX274" fmla="*/ 67427 w 105458"/>
                  <a:gd name="connsiteY274" fmla="*/ 43032 h 105003"/>
                  <a:gd name="connsiteX275" fmla="*/ 68336 w 105458"/>
                  <a:gd name="connsiteY275" fmla="*/ 41668 h 105003"/>
                  <a:gd name="connsiteX276" fmla="*/ 68184 w 105458"/>
                  <a:gd name="connsiteY276" fmla="*/ 40456 h 105003"/>
                  <a:gd name="connsiteX277" fmla="*/ 67124 w 105458"/>
                  <a:gd name="connsiteY277" fmla="*/ 39244 h 105003"/>
                  <a:gd name="connsiteX278" fmla="*/ 10607 w 105458"/>
                  <a:gd name="connsiteY278" fmla="*/ 71669 h 105003"/>
                  <a:gd name="connsiteX279" fmla="*/ 13031 w 105458"/>
                  <a:gd name="connsiteY279" fmla="*/ 71063 h 105003"/>
                  <a:gd name="connsiteX280" fmla="*/ 16667 w 105458"/>
                  <a:gd name="connsiteY280" fmla="*/ 73488 h 105003"/>
                  <a:gd name="connsiteX281" fmla="*/ 20001 w 105458"/>
                  <a:gd name="connsiteY281" fmla="*/ 72730 h 105003"/>
                  <a:gd name="connsiteX282" fmla="*/ 19849 w 105458"/>
                  <a:gd name="connsiteY282" fmla="*/ 72124 h 105003"/>
                  <a:gd name="connsiteX283" fmla="*/ 19243 w 105458"/>
                  <a:gd name="connsiteY283" fmla="*/ 71518 h 105003"/>
                  <a:gd name="connsiteX284" fmla="*/ 16516 w 105458"/>
                  <a:gd name="connsiteY284" fmla="*/ 69548 h 105003"/>
                  <a:gd name="connsiteX285" fmla="*/ 12121 w 105458"/>
                  <a:gd name="connsiteY285" fmla="*/ 69245 h 105003"/>
                  <a:gd name="connsiteX286" fmla="*/ 9698 w 105458"/>
                  <a:gd name="connsiteY286" fmla="*/ 69851 h 105003"/>
                  <a:gd name="connsiteX287" fmla="*/ 9698 w 105458"/>
                  <a:gd name="connsiteY287" fmla="*/ 70609 h 105003"/>
                  <a:gd name="connsiteX288" fmla="*/ 10607 w 105458"/>
                  <a:gd name="connsiteY288" fmla="*/ 71669 h 1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Lst>
                <a:rect l="l" t="t" r="r" b="b"/>
                <a:pathLst>
                  <a:path w="105458" h="105003">
                    <a:moveTo>
                      <a:pt x="39395" y="23183"/>
                    </a:moveTo>
                    <a:lnTo>
                      <a:pt x="42123" y="20607"/>
                    </a:lnTo>
                    <a:lnTo>
                      <a:pt x="42123" y="16364"/>
                    </a:lnTo>
                    <a:lnTo>
                      <a:pt x="38183" y="19849"/>
                    </a:lnTo>
                    <a:lnTo>
                      <a:pt x="37274" y="21971"/>
                    </a:lnTo>
                    <a:lnTo>
                      <a:pt x="37729" y="22577"/>
                    </a:lnTo>
                    <a:lnTo>
                      <a:pt x="39395" y="23183"/>
                    </a:lnTo>
                    <a:close/>
                    <a:moveTo>
                      <a:pt x="48183" y="11819"/>
                    </a:moveTo>
                    <a:lnTo>
                      <a:pt x="45911" y="11667"/>
                    </a:lnTo>
                    <a:lnTo>
                      <a:pt x="42577" y="14091"/>
                    </a:lnTo>
                    <a:lnTo>
                      <a:pt x="43032" y="14546"/>
                    </a:lnTo>
                    <a:lnTo>
                      <a:pt x="48183" y="11819"/>
                    </a:lnTo>
                    <a:close/>
                    <a:moveTo>
                      <a:pt x="65305" y="6819"/>
                    </a:moveTo>
                    <a:lnTo>
                      <a:pt x="70760" y="6212"/>
                    </a:lnTo>
                    <a:lnTo>
                      <a:pt x="70760" y="5909"/>
                    </a:lnTo>
                    <a:lnTo>
                      <a:pt x="69396" y="5606"/>
                    </a:lnTo>
                    <a:lnTo>
                      <a:pt x="64851" y="5606"/>
                    </a:lnTo>
                    <a:lnTo>
                      <a:pt x="63336" y="5909"/>
                    </a:lnTo>
                    <a:lnTo>
                      <a:pt x="63639" y="6364"/>
                    </a:lnTo>
                    <a:lnTo>
                      <a:pt x="65305" y="6819"/>
                    </a:lnTo>
                    <a:close/>
                    <a:moveTo>
                      <a:pt x="54244" y="8940"/>
                    </a:moveTo>
                    <a:lnTo>
                      <a:pt x="61215" y="6970"/>
                    </a:lnTo>
                    <a:lnTo>
                      <a:pt x="60457" y="6819"/>
                    </a:lnTo>
                    <a:lnTo>
                      <a:pt x="56517" y="7273"/>
                    </a:lnTo>
                    <a:lnTo>
                      <a:pt x="50305" y="8788"/>
                    </a:lnTo>
                    <a:lnTo>
                      <a:pt x="51517" y="9243"/>
                    </a:lnTo>
                    <a:lnTo>
                      <a:pt x="54244" y="8940"/>
                    </a:lnTo>
                    <a:close/>
                    <a:moveTo>
                      <a:pt x="94549" y="0"/>
                    </a:moveTo>
                    <a:lnTo>
                      <a:pt x="93337" y="0"/>
                    </a:lnTo>
                    <a:lnTo>
                      <a:pt x="90912" y="758"/>
                    </a:lnTo>
                    <a:lnTo>
                      <a:pt x="90155" y="1818"/>
                    </a:lnTo>
                    <a:lnTo>
                      <a:pt x="92731" y="1667"/>
                    </a:lnTo>
                    <a:lnTo>
                      <a:pt x="94549" y="0"/>
                    </a:lnTo>
                    <a:close/>
                    <a:moveTo>
                      <a:pt x="81821" y="4243"/>
                    </a:moveTo>
                    <a:lnTo>
                      <a:pt x="80609" y="4091"/>
                    </a:lnTo>
                    <a:lnTo>
                      <a:pt x="77276" y="4849"/>
                    </a:lnTo>
                    <a:lnTo>
                      <a:pt x="76972" y="5152"/>
                    </a:lnTo>
                    <a:lnTo>
                      <a:pt x="77882" y="5455"/>
                    </a:lnTo>
                    <a:lnTo>
                      <a:pt x="81821" y="4243"/>
                    </a:lnTo>
                    <a:close/>
                    <a:moveTo>
                      <a:pt x="105458" y="12728"/>
                    </a:moveTo>
                    <a:lnTo>
                      <a:pt x="101670" y="12122"/>
                    </a:lnTo>
                    <a:lnTo>
                      <a:pt x="99246" y="11061"/>
                    </a:lnTo>
                    <a:lnTo>
                      <a:pt x="97731" y="9243"/>
                    </a:lnTo>
                    <a:lnTo>
                      <a:pt x="95155" y="6819"/>
                    </a:lnTo>
                    <a:lnTo>
                      <a:pt x="88185" y="7121"/>
                    </a:lnTo>
                    <a:lnTo>
                      <a:pt x="82427" y="7879"/>
                    </a:lnTo>
                    <a:lnTo>
                      <a:pt x="74397" y="8182"/>
                    </a:lnTo>
                    <a:lnTo>
                      <a:pt x="69245" y="9394"/>
                    </a:lnTo>
                    <a:lnTo>
                      <a:pt x="59851" y="13334"/>
                    </a:lnTo>
                    <a:lnTo>
                      <a:pt x="57427" y="15304"/>
                    </a:lnTo>
                    <a:lnTo>
                      <a:pt x="55002" y="19698"/>
                    </a:lnTo>
                    <a:lnTo>
                      <a:pt x="46820" y="24698"/>
                    </a:lnTo>
                    <a:lnTo>
                      <a:pt x="42123" y="26668"/>
                    </a:lnTo>
                    <a:lnTo>
                      <a:pt x="40759" y="25910"/>
                    </a:lnTo>
                    <a:lnTo>
                      <a:pt x="38789" y="25455"/>
                    </a:lnTo>
                    <a:lnTo>
                      <a:pt x="37274" y="28031"/>
                    </a:lnTo>
                    <a:lnTo>
                      <a:pt x="36365" y="30304"/>
                    </a:lnTo>
                    <a:lnTo>
                      <a:pt x="33183" y="43789"/>
                    </a:lnTo>
                    <a:lnTo>
                      <a:pt x="31062" y="48638"/>
                    </a:lnTo>
                    <a:lnTo>
                      <a:pt x="28183" y="52729"/>
                    </a:lnTo>
                    <a:lnTo>
                      <a:pt x="23637" y="57729"/>
                    </a:lnTo>
                    <a:lnTo>
                      <a:pt x="21516" y="59396"/>
                    </a:lnTo>
                    <a:lnTo>
                      <a:pt x="20304" y="60002"/>
                    </a:lnTo>
                    <a:lnTo>
                      <a:pt x="18637" y="62427"/>
                    </a:lnTo>
                    <a:lnTo>
                      <a:pt x="17274" y="65305"/>
                    </a:lnTo>
                    <a:lnTo>
                      <a:pt x="16364" y="66669"/>
                    </a:lnTo>
                    <a:lnTo>
                      <a:pt x="21516" y="71669"/>
                    </a:lnTo>
                    <a:lnTo>
                      <a:pt x="22122" y="73033"/>
                    </a:lnTo>
                    <a:lnTo>
                      <a:pt x="22728" y="73942"/>
                    </a:lnTo>
                    <a:lnTo>
                      <a:pt x="17879" y="74397"/>
                    </a:lnTo>
                    <a:lnTo>
                      <a:pt x="20001" y="76063"/>
                    </a:lnTo>
                    <a:lnTo>
                      <a:pt x="22576" y="77276"/>
                    </a:lnTo>
                    <a:lnTo>
                      <a:pt x="24395" y="77882"/>
                    </a:lnTo>
                    <a:lnTo>
                      <a:pt x="25304" y="79094"/>
                    </a:lnTo>
                    <a:lnTo>
                      <a:pt x="23486" y="79700"/>
                    </a:lnTo>
                    <a:lnTo>
                      <a:pt x="21667" y="79700"/>
                    </a:lnTo>
                    <a:lnTo>
                      <a:pt x="14698" y="75457"/>
                    </a:lnTo>
                    <a:lnTo>
                      <a:pt x="10758" y="74700"/>
                    </a:lnTo>
                    <a:lnTo>
                      <a:pt x="5455" y="75003"/>
                    </a:lnTo>
                    <a:lnTo>
                      <a:pt x="4091" y="75457"/>
                    </a:lnTo>
                    <a:lnTo>
                      <a:pt x="2727" y="76821"/>
                    </a:lnTo>
                    <a:lnTo>
                      <a:pt x="4697" y="78791"/>
                    </a:lnTo>
                    <a:lnTo>
                      <a:pt x="6515" y="80003"/>
                    </a:lnTo>
                    <a:lnTo>
                      <a:pt x="9394" y="80154"/>
                    </a:lnTo>
                    <a:lnTo>
                      <a:pt x="12879" y="81670"/>
                    </a:lnTo>
                    <a:lnTo>
                      <a:pt x="17879" y="80458"/>
                    </a:lnTo>
                    <a:lnTo>
                      <a:pt x="21516" y="81973"/>
                    </a:lnTo>
                    <a:lnTo>
                      <a:pt x="23940" y="82579"/>
                    </a:lnTo>
                    <a:lnTo>
                      <a:pt x="26062" y="83488"/>
                    </a:lnTo>
                    <a:lnTo>
                      <a:pt x="27880" y="83639"/>
                    </a:lnTo>
                    <a:lnTo>
                      <a:pt x="28638" y="83185"/>
                    </a:lnTo>
                    <a:lnTo>
                      <a:pt x="28183" y="81064"/>
                    </a:lnTo>
                    <a:lnTo>
                      <a:pt x="29698" y="79851"/>
                    </a:lnTo>
                    <a:lnTo>
                      <a:pt x="31365" y="79245"/>
                    </a:lnTo>
                    <a:lnTo>
                      <a:pt x="32122" y="80154"/>
                    </a:lnTo>
                    <a:lnTo>
                      <a:pt x="33638" y="81064"/>
                    </a:lnTo>
                    <a:lnTo>
                      <a:pt x="34850" y="81064"/>
                    </a:lnTo>
                    <a:lnTo>
                      <a:pt x="38183" y="78488"/>
                    </a:lnTo>
                    <a:lnTo>
                      <a:pt x="38941" y="78942"/>
                    </a:lnTo>
                    <a:lnTo>
                      <a:pt x="39698" y="79851"/>
                    </a:lnTo>
                    <a:lnTo>
                      <a:pt x="39850" y="80609"/>
                    </a:lnTo>
                    <a:lnTo>
                      <a:pt x="40002" y="81367"/>
                    </a:lnTo>
                    <a:lnTo>
                      <a:pt x="40759" y="81670"/>
                    </a:lnTo>
                    <a:lnTo>
                      <a:pt x="43335" y="81518"/>
                    </a:lnTo>
                    <a:lnTo>
                      <a:pt x="44699" y="80154"/>
                    </a:lnTo>
                    <a:lnTo>
                      <a:pt x="45759" y="79245"/>
                    </a:lnTo>
                    <a:lnTo>
                      <a:pt x="46517" y="79851"/>
                    </a:lnTo>
                    <a:lnTo>
                      <a:pt x="46972" y="81518"/>
                    </a:lnTo>
                    <a:lnTo>
                      <a:pt x="47729" y="83639"/>
                    </a:lnTo>
                    <a:lnTo>
                      <a:pt x="50911" y="86064"/>
                    </a:lnTo>
                    <a:lnTo>
                      <a:pt x="53487" y="86821"/>
                    </a:lnTo>
                    <a:lnTo>
                      <a:pt x="56669" y="86367"/>
                    </a:lnTo>
                    <a:lnTo>
                      <a:pt x="57881" y="85912"/>
                    </a:lnTo>
                    <a:lnTo>
                      <a:pt x="58790" y="86215"/>
                    </a:lnTo>
                    <a:lnTo>
                      <a:pt x="59699" y="87579"/>
                    </a:lnTo>
                    <a:lnTo>
                      <a:pt x="61517" y="89094"/>
                    </a:lnTo>
                    <a:lnTo>
                      <a:pt x="65457" y="90155"/>
                    </a:lnTo>
                    <a:lnTo>
                      <a:pt x="66669" y="90761"/>
                    </a:lnTo>
                    <a:lnTo>
                      <a:pt x="67578" y="91822"/>
                    </a:lnTo>
                    <a:lnTo>
                      <a:pt x="67275" y="93185"/>
                    </a:lnTo>
                    <a:lnTo>
                      <a:pt x="65457" y="96670"/>
                    </a:lnTo>
                    <a:lnTo>
                      <a:pt x="65154" y="97731"/>
                    </a:lnTo>
                    <a:lnTo>
                      <a:pt x="65457" y="98034"/>
                    </a:lnTo>
                    <a:lnTo>
                      <a:pt x="65154" y="98640"/>
                    </a:lnTo>
                    <a:lnTo>
                      <a:pt x="62730" y="101064"/>
                    </a:lnTo>
                    <a:lnTo>
                      <a:pt x="62578" y="101822"/>
                    </a:lnTo>
                    <a:lnTo>
                      <a:pt x="63336" y="103186"/>
                    </a:lnTo>
                    <a:lnTo>
                      <a:pt x="63942" y="104246"/>
                    </a:lnTo>
                    <a:lnTo>
                      <a:pt x="63942" y="104246"/>
                    </a:lnTo>
                    <a:lnTo>
                      <a:pt x="65457" y="104852"/>
                    </a:lnTo>
                    <a:lnTo>
                      <a:pt x="66821" y="105004"/>
                    </a:lnTo>
                    <a:lnTo>
                      <a:pt x="69396" y="105004"/>
                    </a:lnTo>
                    <a:lnTo>
                      <a:pt x="72124" y="105004"/>
                    </a:lnTo>
                    <a:lnTo>
                      <a:pt x="73639" y="99398"/>
                    </a:lnTo>
                    <a:lnTo>
                      <a:pt x="72427" y="97731"/>
                    </a:lnTo>
                    <a:lnTo>
                      <a:pt x="71063" y="96973"/>
                    </a:lnTo>
                    <a:lnTo>
                      <a:pt x="69396" y="96519"/>
                    </a:lnTo>
                    <a:lnTo>
                      <a:pt x="68639" y="95761"/>
                    </a:lnTo>
                    <a:lnTo>
                      <a:pt x="68336" y="94852"/>
                    </a:lnTo>
                    <a:lnTo>
                      <a:pt x="68639" y="94246"/>
                    </a:lnTo>
                    <a:lnTo>
                      <a:pt x="70609" y="94397"/>
                    </a:lnTo>
                    <a:lnTo>
                      <a:pt x="71215" y="93791"/>
                    </a:lnTo>
                    <a:lnTo>
                      <a:pt x="75912" y="90458"/>
                    </a:lnTo>
                    <a:lnTo>
                      <a:pt x="76063" y="89852"/>
                    </a:lnTo>
                    <a:lnTo>
                      <a:pt x="75458" y="89549"/>
                    </a:lnTo>
                    <a:lnTo>
                      <a:pt x="74548" y="89397"/>
                    </a:lnTo>
                    <a:lnTo>
                      <a:pt x="74397" y="88640"/>
                    </a:lnTo>
                    <a:lnTo>
                      <a:pt x="74397" y="87730"/>
                    </a:lnTo>
                    <a:lnTo>
                      <a:pt x="76821" y="83033"/>
                    </a:lnTo>
                    <a:lnTo>
                      <a:pt x="77579" y="81064"/>
                    </a:lnTo>
                    <a:lnTo>
                      <a:pt x="77730" y="79700"/>
                    </a:lnTo>
                    <a:lnTo>
                      <a:pt x="77579" y="78336"/>
                    </a:lnTo>
                    <a:lnTo>
                      <a:pt x="76215" y="76063"/>
                    </a:lnTo>
                    <a:lnTo>
                      <a:pt x="74851" y="74245"/>
                    </a:lnTo>
                    <a:lnTo>
                      <a:pt x="74851" y="72882"/>
                    </a:lnTo>
                    <a:lnTo>
                      <a:pt x="73791" y="72124"/>
                    </a:lnTo>
                    <a:lnTo>
                      <a:pt x="70912" y="68336"/>
                    </a:lnTo>
                    <a:lnTo>
                      <a:pt x="70912" y="66821"/>
                    </a:lnTo>
                    <a:lnTo>
                      <a:pt x="72579" y="65608"/>
                    </a:lnTo>
                    <a:lnTo>
                      <a:pt x="74851" y="64851"/>
                    </a:lnTo>
                    <a:lnTo>
                      <a:pt x="75609" y="64245"/>
                    </a:lnTo>
                    <a:lnTo>
                      <a:pt x="76972" y="63942"/>
                    </a:lnTo>
                    <a:lnTo>
                      <a:pt x="80609" y="65002"/>
                    </a:lnTo>
                    <a:lnTo>
                      <a:pt x="82276" y="65911"/>
                    </a:lnTo>
                    <a:lnTo>
                      <a:pt x="82730" y="65760"/>
                    </a:lnTo>
                    <a:lnTo>
                      <a:pt x="84246" y="64699"/>
                    </a:lnTo>
                    <a:lnTo>
                      <a:pt x="86822" y="64851"/>
                    </a:lnTo>
                    <a:lnTo>
                      <a:pt x="92882" y="62730"/>
                    </a:lnTo>
                    <a:lnTo>
                      <a:pt x="93791" y="61669"/>
                    </a:lnTo>
                    <a:lnTo>
                      <a:pt x="94549" y="60608"/>
                    </a:lnTo>
                    <a:lnTo>
                      <a:pt x="94549" y="60154"/>
                    </a:lnTo>
                    <a:lnTo>
                      <a:pt x="92124" y="58032"/>
                    </a:lnTo>
                    <a:lnTo>
                      <a:pt x="92124" y="57275"/>
                    </a:lnTo>
                    <a:lnTo>
                      <a:pt x="92428" y="56366"/>
                    </a:lnTo>
                    <a:lnTo>
                      <a:pt x="93034" y="55760"/>
                    </a:lnTo>
                    <a:lnTo>
                      <a:pt x="94398" y="55305"/>
                    </a:lnTo>
                    <a:lnTo>
                      <a:pt x="95912" y="54396"/>
                    </a:lnTo>
                    <a:lnTo>
                      <a:pt x="99246" y="51820"/>
                    </a:lnTo>
                    <a:lnTo>
                      <a:pt x="100458" y="49547"/>
                    </a:lnTo>
                    <a:lnTo>
                      <a:pt x="100761" y="47123"/>
                    </a:lnTo>
                    <a:lnTo>
                      <a:pt x="100761" y="45305"/>
                    </a:lnTo>
                    <a:lnTo>
                      <a:pt x="99852" y="43941"/>
                    </a:lnTo>
                    <a:lnTo>
                      <a:pt x="98943" y="43032"/>
                    </a:lnTo>
                    <a:lnTo>
                      <a:pt x="97731" y="43183"/>
                    </a:lnTo>
                    <a:lnTo>
                      <a:pt x="95307" y="43183"/>
                    </a:lnTo>
                    <a:lnTo>
                      <a:pt x="93034" y="42426"/>
                    </a:lnTo>
                    <a:lnTo>
                      <a:pt x="91822" y="41062"/>
                    </a:lnTo>
                    <a:lnTo>
                      <a:pt x="91519" y="39850"/>
                    </a:lnTo>
                    <a:lnTo>
                      <a:pt x="92124" y="39092"/>
                    </a:lnTo>
                    <a:lnTo>
                      <a:pt x="92276" y="38183"/>
                    </a:lnTo>
                    <a:lnTo>
                      <a:pt x="91973" y="37274"/>
                    </a:lnTo>
                    <a:lnTo>
                      <a:pt x="92124" y="36517"/>
                    </a:lnTo>
                    <a:lnTo>
                      <a:pt x="93185" y="35910"/>
                    </a:lnTo>
                    <a:lnTo>
                      <a:pt x="100458" y="35910"/>
                    </a:lnTo>
                    <a:lnTo>
                      <a:pt x="101065" y="35304"/>
                    </a:lnTo>
                    <a:lnTo>
                      <a:pt x="101519" y="31819"/>
                    </a:lnTo>
                    <a:lnTo>
                      <a:pt x="103337" y="26516"/>
                    </a:lnTo>
                    <a:lnTo>
                      <a:pt x="105004" y="23637"/>
                    </a:lnTo>
                    <a:lnTo>
                      <a:pt x="105307" y="22425"/>
                    </a:lnTo>
                    <a:lnTo>
                      <a:pt x="105307" y="15455"/>
                    </a:lnTo>
                    <a:lnTo>
                      <a:pt x="105458" y="12728"/>
                    </a:lnTo>
                    <a:close/>
                    <a:moveTo>
                      <a:pt x="66972" y="44396"/>
                    </a:moveTo>
                    <a:lnTo>
                      <a:pt x="58790" y="50911"/>
                    </a:lnTo>
                    <a:lnTo>
                      <a:pt x="53941" y="49396"/>
                    </a:lnTo>
                    <a:lnTo>
                      <a:pt x="46365" y="47426"/>
                    </a:lnTo>
                    <a:lnTo>
                      <a:pt x="45608" y="46668"/>
                    </a:lnTo>
                    <a:lnTo>
                      <a:pt x="46214" y="45153"/>
                    </a:lnTo>
                    <a:lnTo>
                      <a:pt x="46972" y="44244"/>
                    </a:lnTo>
                    <a:lnTo>
                      <a:pt x="47123" y="43486"/>
                    </a:lnTo>
                    <a:lnTo>
                      <a:pt x="47123" y="40911"/>
                    </a:lnTo>
                    <a:lnTo>
                      <a:pt x="46820" y="39244"/>
                    </a:lnTo>
                    <a:lnTo>
                      <a:pt x="46972" y="37123"/>
                    </a:lnTo>
                    <a:lnTo>
                      <a:pt x="48941" y="36971"/>
                    </a:lnTo>
                    <a:lnTo>
                      <a:pt x="51820" y="35304"/>
                    </a:lnTo>
                    <a:lnTo>
                      <a:pt x="51972" y="33032"/>
                    </a:lnTo>
                    <a:lnTo>
                      <a:pt x="49699" y="31062"/>
                    </a:lnTo>
                    <a:lnTo>
                      <a:pt x="48335" y="29243"/>
                    </a:lnTo>
                    <a:lnTo>
                      <a:pt x="47729" y="27425"/>
                    </a:lnTo>
                    <a:lnTo>
                      <a:pt x="46972" y="26062"/>
                    </a:lnTo>
                    <a:lnTo>
                      <a:pt x="49244" y="24395"/>
                    </a:lnTo>
                    <a:lnTo>
                      <a:pt x="52426" y="22122"/>
                    </a:lnTo>
                    <a:lnTo>
                      <a:pt x="55457" y="20758"/>
                    </a:lnTo>
                    <a:lnTo>
                      <a:pt x="56063" y="21667"/>
                    </a:lnTo>
                    <a:lnTo>
                      <a:pt x="56517" y="26819"/>
                    </a:lnTo>
                    <a:lnTo>
                      <a:pt x="56669" y="27880"/>
                    </a:lnTo>
                    <a:lnTo>
                      <a:pt x="57578" y="28486"/>
                    </a:lnTo>
                    <a:lnTo>
                      <a:pt x="60154" y="28941"/>
                    </a:lnTo>
                    <a:lnTo>
                      <a:pt x="63184" y="28789"/>
                    </a:lnTo>
                    <a:lnTo>
                      <a:pt x="63487" y="30001"/>
                    </a:lnTo>
                    <a:lnTo>
                      <a:pt x="62275" y="31365"/>
                    </a:lnTo>
                    <a:lnTo>
                      <a:pt x="62124" y="32274"/>
                    </a:lnTo>
                    <a:lnTo>
                      <a:pt x="61972" y="35001"/>
                    </a:lnTo>
                    <a:lnTo>
                      <a:pt x="62124" y="35910"/>
                    </a:lnTo>
                    <a:lnTo>
                      <a:pt x="63033" y="36971"/>
                    </a:lnTo>
                    <a:lnTo>
                      <a:pt x="68033" y="37729"/>
                    </a:lnTo>
                    <a:lnTo>
                      <a:pt x="68942" y="39395"/>
                    </a:lnTo>
                    <a:lnTo>
                      <a:pt x="69093" y="42274"/>
                    </a:lnTo>
                    <a:lnTo>
                      <a:pt x="66972" y="44396"/>
                    </a:lnTo>
                    <a:close/>
                    <a:moveTo>
                      <a:pt x="18183" y="81973"/>
                    </a:moveTo>
                    <a:lnTo>
                      <a:pt x="14698" y="83488"/>
                    </a:lnTo>
                    <a:lnTo>
                      <a:pt x="10152" y="82882"/>
                    </a:lnTo>
                    <a:lnTo>
                      <a:pt x="6667" y="81821"/>
                    </a:lnTo>
                    <a:lnTo>
                      <a:pt x="2122" y="81973"/>
                    </a:lnTo>
                    <a:lnTo>
                      <a:pt x="0" y="82579"/>
                    </a:lnTo>
                    <a:lnTo>
                      <a:pt x="757" y="85761"/>
                    </a:lnTo>
                    <a:lnTo>
                      <a:pt x="1364" y="86821"/>
                    </a:lnTo>
                    <a:lnTo>
                      <a:pt x="2122" y="87427"/>
                    </a:lnTo>
                    <a:lnTo>
                      <a:pt x="3182" y="87579"/>
                    </a:lnTo>
                    <a:lnTo>
                      <a:pt x="4394" y="86821"/>
                    </a:lnTo>
                    <a:lnTo>
                      <a:pt x="6061" y="86064"/>
                    </a:lnTo>
                    <a:lnTo>
                      <a:pt x="8788" y="86518"/>
                    </a:lnTo>
                    <a:lnTo>
                      <a:pt x="10758" y="87276"/>
                    </a:lnTo>
                    <a:lnTo>
                      <a:pt x="11516" y="88034"/>
                    </a:lnTo>
                    <a:lnTo>
                      <a:pt x="12879" y="88791"/>
                    </a:lnTo>
                    <a:lnTo>
                      <a:pt x="14849" y="88943"/>
                    </a:lnTo>
                    <a:lnTo>
                      <a:pt x="18637" y="87579"/>
                    </a:lnTo>
                    <a:lnTo>
                      <a:pt x="22274" y="85458"/>
                    </a:lnTo>
                    <a:lnTo>
                      <a:pt x="23334" y="83942"/>
                    </a:lnTo>
                    <a:lnTo>
                      <a:pt x="23789" y="82579"/>
                    </a:lnTo>
                    <a:lnTo>
                      <a:pt x="20607" y="83488"/>
                    </a:lnTo>
                    <a:lnTo>
                      <a:pt x="18183" y="81973"/>
                    </a:lnTo>
                    <a:close/>
                    <a:moveTo>
                      <a:pt x="67124" y="39244"/>
                    </a:moveTo>
                    <a:lnTo>
                      <a:pt x="65457" y="38638"/>
                    </a:lnTo>
                    <a:lnTo>
                      <a:pt x="63336" y="38486"/>
                    </a:lnTo>
                    <a:lnTo>
                      <a:pt x="60154" y="39547"/>
                    </a:lnTo>
                    <a:lnTo>
                      <a:pt x="55760" y="41971"/>
                    </a:lnTo>
                    <a:lnTo>
                      <a:pt x="50002" y="46062"/>
                    </a:lnTo>
                    <a:lnTo>
                      <a:pt x="50456" y="46820"/>
                    </a:lnTo>
                    <a:lnTo>
                      <a:pt x="52123" y="47729"/>
                    </a:lnTo>
                    <a:lnTo>
                      <a:pt x="57123" y="49093"/>
                    </a:lnTo>
                    <a:lnTo>
                      <a:pt x="59093" y="48941"/>
                    </a:lnTo>
                    <a:lnTo>
                      <a:pt x="60457" y="48184"/>
                    </a:lnTo>
                    <a:lnTo>
                      <a:pt x="62426" y="46365"/>
                    </a:lnTo>
                    <a:lnTo>
                      <a:pt x="65760" y="44396"/>
                    </a:lnTo>
                    <a:lnTo>
                      <a:pt x="67427" y="43032"/>
                    </a:lnTo>
                    <a:lnTo>
                      <a:pt x="68336" y="41668"/>
                    </a:lnTo>
                    <a:lnTo>
                      <a:pt x="68184" y="40456"/>
                    </a:lnTo>
                    <a:lnTo>
                      <a:pt x="67124" y="39244"/>
                    </a:lnTo>
                    <a:close/>
                    <a:moveTo>
                      <a:pt x="10607" y="71669"/>
                    </a:moveTo>
                    <a:lnTo>
                      <a:pt x="13031" y="71063"/>
                    </a:lnTo>
                    <a:lnTo>
                      <a:pt x="16667" y="73488"/>
                    </a:lnTo>
                    <a:lnTo>
                      <a:pt x="20001" y="72730"/>
                    </a:lnTo>
                    <a:lnTo>
                      <a:pt x="19849" y="72124"/>
                    </a:lnTo>
                    <a:lnTo>
                      <a:pt x="19243" y="71518"/>
                    </a:lnTo>
                    <a:lnTo>
                      <a:pt x="16516" y="69548"/>
                    </a:lnTo>
                    <a:lnTo>
                      <a:pt x="12121" y="69245"/>
                    </a:lnTo>
                    <a:lnTo>
                      <a:pt x="9698" y="69851"/>
                    </a:lnTo>
                    <a:lnTo>
                      <a:pt x="9698" y="70609"/>
                    </a:lnTo>
                    <a:lnTo>
                      <a:pt x="10607" y="7166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0" name="Freeform: Shape 3199">
                <a:extLst>
                  <a:ext uri="{FF2B5EF4-FFF2-40B4-BE49-F238E27FC236}">
                    <a16:creationId xmlns:a16="http://schemas.microsoft.com/office/drawing/2014/main" id="{F64D062E-536F-477D-B9C3-BBB40D346BB0}"/>
                  </a:ext>
                </a:extLst>
              </p:cNvPr>
              <p:cNvSpPr/>
              <p:nvPr/>
            </p:nvSpPr>
            <p:spPr>
              <a:xfrm>
                <a:off x="4046530" y="4077278"/>
                <a:ext cx="8636" cy="4848"/>
              </a:xfrm>
              <a:custGeom>
                <a:avLst/>
                <a:gdLst>
                  <a:gd name="connsiteX0" fmla="*/ 303 w 8636"/>
                  <a:gd name="connsiteY0" fmla="*/ 0 h 4848"/>
                  <a:gd name="connsiteX1" fmla="*/ 0 w 8636"/>
                  <a:gd name="connsiteY1" fmla="*/ 152 h 4848"/>
                  <a:gd name="connsiteX2" fmla="*/ 0 w 8636"/>
                  <a:gd name="connsiteY2" fmla="*/ 606 h 4848"/>
                  <a:gd name="connsiteX3" fmla="*/ 303 w 8636"/>
                  <a:gd name="connsiteY3" fmla="*/ 909 h 4848"/>
                  <a:gd name="connsiteX4" fmla="*/ 606 w 8636"/>
                  <a:gd name="connsiteY4" fmla="*/ 758 h 4848"/>
                  <a:gd name="connsiteX5" fmla="*/ 757 w 8636"/>
                  <a:gd name="connsiteY5" fmla="*/ 455 h 4848"/>
                  <a:gd name="connsiteX6" fmla="*/ 606 w 8636"/>
                  <a:gd name="connsiteY6" fmla="*/ 152 h 4848"/>
                  <a:gd name="connsiteX7" fmla="*/ 303 w 8636"/>
                  <a:gd name="connsiteY7" fmla="*/ 0 h 4848"/>
                  <a:gd name="connsiteX8" fmla="*/ 7879 w 8636"/>
                  <a:gd name="connsiteY8" fmla="*/ 3940 h 4848"/>
                  <a:gd name="connsiteX9" fmla="*/ 7727 w 8636"/>
                  <a:gd name="connsiteY9" fmla="*/ 3788 h 4848"/>
                  <a:gd name="connsiteX10" fmla="*/ 7576 w 8636"/>
                  <a:gd name="connsiteY10" fmla="*/ 3637 h 4848"/>
                  <a:gd name="connsiteX11" fmla="*/ 6970 w 8636"/>
                  <a:gd name="connsiteY11" fmla="*/ 3333 h 4848"/>
                  <a:gd name="connsiteX12" fmla="*/ 6970 w 8636"/>
                  <a:gd name="connsiteY12" fmla="*/ 4243 h 4848"/>
                  <a:gd name="connsiteX13" fmla="*/ 7424 w 8636"/>
                  <a:gd name="connsiteY13" fmla="*/ 4849 h 4848"/>
                  <a:gd name="connsiteX14" fmla="*/ 8031 w 8636"/>
                  <a:gd name="connsiteY14" fmla="*/ 4849 h 4848"/>
                  <a:gd name="connsiteX15" fmla="*/ 8637 w 8636"/>
                  <a:gd name="connsiteY15" fmla="*/ 4243 h 4848"/>
                  <a:gd name="connsiteX16" fmla="*/ 7879 w 8636"/>
                  <a:gd name="connsiteY16" fmla="*/ 3940 h 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36" h="4848">
                    <a:moveTo>
                      <a:pt x="303" y="0"/>
                    </a:moveTo>
                    <a:lnTo>
                      <a:pt x="0" y="152"/>
                    </a:lnTo>
                    <a:lnTo>
                      <a:pt x="0" y="606"/>
                    </a:lnTo>
                    <a:lnTo>
                      <a:pt x="303" y="909"/>
                    </a:lnTo>
                    <a:lnTo>
                      <a:pt x="606" y="758"/>
                    </a:lnTo>
                    <a:lnTo>
                      <a:pt x="757" y="455"/>
                    </a:lnTo>
                    <a:lnTo>
                      <a:pt x="606" y="152"/>
                    </a:lnTo>
                    <a:lnTo>
                      <a:pt x="303" y="0"/>
                    </a:lnTo>
                    <a:close/>
                    <a:moveTo>
                      <a:pt x="7879" y="3940"/>
                    </a:moveTo>
                    <a:lnTo>
                      <a:pt x="7727" y="3788"/>
                    </a:lnTo>
                    <a:lnTo>
                      <a:pt x="7576" y="3637"/>
                    </a:lnTo>
                    <a:lnTo>
                      <a:pt x="6970" y="3333"/>
                    </a:lnTo>
                    <a:lnTo>
                      <a:pt x="6970" y="4243"/>
                    </a:lnTo>
                    <a:lnTo>
                      <a:pt x="7424" y="4849"/>
                    </a:lnTo>
                    <a:lnTo>
                      <a:pt x="8031" y="4849"/>
                    </a:lnTo>
                    <a:lnTo>
                      <a:pt x="8637" y="4243"/>
                    </a:lnTo>
                    <a:lnTo>
                      <a:pt x="7879" y="3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1" name="Freeform: Shape 3200">
                <a:extLst>
                  <a:ext uri="{FF2B5EF4-FFF2-40B4-BE49-F238E27FC236}">
                    <a16:creationId xmlns:a16="http://schemas.microsoft.com/office/drawing/2014/main" id="{0E2D31D4-8DBB-4550-9ECF-C4A44FDD2CDB}"/>
                  </a:ext>
                </a:extLst>
              </p:cNvPr>
              <p:cNvSpPr/>
              <p:nvPr/>
            </p:nvSpPr>
            <p:spPr>
              <a:xfrm>
                <a:off x="3378474" y="4151069"/>
                <a:ext cx="123641" cy="117883"/>
              </a:xfrm>
              <a:custGeom>
                <a:avLst/>
                <a:gdLst>
                  <a:gd name="connsiteX0" fmla="*/ 118338 w 123641"/>
                  <a:gd name="connsiteY0" fmla="*/ 3030 h 117883"/>
                  <a:gd name="connsiteX1" fmla="*/ 119398 w 123641"/>
                  <a:gd name="connsiteY1" fmla="*/ 3333 h 117883"/>
                  <a:gd name="connsiteX2" fmla="*/ 119550 w 123641"/>
                  <a:gd name="connsiteY2" fmla="*/ 5758 h 117883"/>
                  <a:gd name="connsiteX3" fmla="*/ 120156 w 123641"/>
                  <a:gd name="connsiteY3" fmla="*/ 5455 h 117883"/>
                  <a:gd name="connsiteX4" fmla="*/ 121974 w 123641"/>
                  <a:gd name="connsiteY4" fmla="*/ 2121 h 117883"/>
                  <a:gd name="connsiteX5" fmla="*/ 122883 w 123641"/>
                  <a:gd name="connsiteY5" fmla="*/ 1515 h 117883"/>
                  <a:gd name="connsiteX6" fmla="*/ 123641 w 123641"/>
                  <a:gd name="connsiteY6" fmla="*/ 455 h 117883"/>
                  <a:gd name="connsiteX7" fmla="*/ 116671 w 123641"/>
                  <a:gd name="connsiteY7" fmla="*/ 0 h 117883"/>
                  <a:gd name="connsiteX8" fmla="*/ 113338 w 123641"/>
                  <a:gd name="connsiteY8" fmla="*/ 909 h 117883"/>
                  <a:gd name="connsiteX9" fmla="*/ 111822 w 123641"/>
                  <a:gd name="connsiteY9" fmla="*/ 2879 h 117883"/>
                  <a:gd name="connsiteX10" fmla="*/ 110610 w 123641"/>
                  <a:gd name="connsiteY10" fmla="*/ 3788 h 117883"/>
                  <a:gd name="connsiteX11" fmla="*/ 109550 w 123641"/>
                  <a:gd name="connsiteY11" fmla="*/ 3636 h 117883"/>
                  <a:gd name="connsiteX12" fmla="*/ 107428 w 123641"/>
                  <a:gd name="connsiteY12" fmla="*/ 4394 h 117883"/>
                  <a:gd name="connsiteX13" fmla="*/ 104246 w 123641"/>
                  <a:gd name="connsiteY13" fmla="*/ 6061 h 117883"/>
                  <a:gd name="connsiteX14" fmla="*/ 101367 w 123641"/>
                  <a:gd name="connsiteY14" fmla="*/ 6667 h 117883"/>
                  <a:gd name="connsiteX15" fmla="*/ 98792 w 123641"/>
                  <a:gd name="connsiteY15" fmla="*/ 6212 h 117883"/>
                  <a:gd name="connsiteX16" fmla="*/ 98034 w 123641"/>
                  <a:gd name="connsiteY16" fmla="*/ 6667 h 117883"/>
                  <a:gd name="connsiteX17" fmla="*/ 97883 w 123641"/>
                  <a:gd name="connsiteY17" fmla="*/ 7273 h 117883"/>
                  <a:gd name="connsiteX18" fmla="*/ 97428 w 123641"/>
                  <a:gd name="connsiteY18" fmla="*/ 7879 h 117883"/>
                  <a:gd name="connsiteX19" fmla="*/ 96367 w 123641"/>
                  <a:gd name="connsiteY19" fmla="*/ 8182 h 117883"/>
                  <a:gd name="connsiteX20" fmla="*/ 95155 w 123641"/>
                  <a:gd name="connsiteY20" fmla="*/ 8031 h 117883"/>
                  <a:gd name="connsiteX21" fmla="*/ 93943 w 123641"/>
                  <a:gd name="connsiteY21" fmla="*/ 7424 h 117883"/>
                  <a:gd name="connsiteX22" fmla="*/ 93337 w 123641"/>
                  <a:gd name="connsiteY22" fmla="*/ 7727 h 117883"/>
                  <a:gd name="connsiteX23" fmla="*/ 93337 w 123641"/>
                  <a:gd name="connsiteY23" fmla="*/ 8788 h 117883"/>
                  <a:gd name="connsiteX24" fmla="*/ 92579 w 123641"/>
                  <a:gd name="connsiteY24" fmla="*/ 9091 h 117883"/>
                  <a:gd name="connsiteX25" fmla="*/ 91216 w 123641"/>
                  <a:gd name="connsiteY25" fmla="*/ 8637 h 117883"/>
                  <a:gd name="connsiteX26" fmla="*/ 89701 w 123641"/>
                  <a:gd name="connsiteY26" fmla="*/ 9091 h 117883"/>
                  <a:gd name="connsiteX27" fmla="*/ 88034 w 123641"/>
                  <a:gd name="connsiteY27" fmla="*/ 10455 h 117883"/>
                  <a:gd name="connsiteX28" fmla="*/ 85761 w 123641"/>
                  <a:gd name="connsiteY28" fmla="*/ 10758 h 117883"/>
                  <a:gd name="connsiteX29" fmla="*/ 82730 w 123641"/>
                  <a:gd name="connsiteY29" fmla="*/ 10000 h 117883"/>
                  <a:gd name="connsiteX30" fmla="*/ 80458 w 123641"/>
                  <a:gd name="connsiteY30" fmla="*/ 8485 h 117883"/>
                  <a:gd name="connsiteX31" fmla="*/ 78791 w 123641"/>
                  <a:gd name="connsiteY31" fmla="*/ 6364 h 117883"/>
                  <a:gd name="connsiteX32" fmla="*/ 76821 w 123641"/>
                  <a:gd name="connsiteY32" fmla="*/ 5758 h 117883"/>
                  <a:gd name="connsiteX33" fmla="*/ 73336 w 123641"/>
                  <a:gd name="connsiteY33" fmla="*/ 7424 h 117883"/>
                  <a:gd name="connsiteX34" fmla="*/ 71972 w 123641"/>
                  <a:gd name="connsiteY34" fmla="*/ 9243 h 117883"/>
                  <a:gd name="connsiteX35" fmla="*/ 71669 w 123641"/>
                  <a:gd name="connsiteY35" fmla="*/ 10303 h 117883"/>
                  <a:gd name="connsiteX36" fmla="*/ 71972 w 123641"/>
                  <a:gd name="connsiteY36" fmla="*/ 11364 h 117883"/>
                  <a:gd name="connsiteX37" fmla="*/ 71366 w 123641"/>
                  <a:gd name="connsiteY37" fmla="*/ 12121 h 117883"/>
                  <a:gd name="connsiteX38" fmla="*/ 69851 w 123641"/>
                  <a:gd name="connsiteY38" fmla="*/ 12425 h 117883"/>
                  <a:gd name="connsiteX39" fmla="*/ 68639 w 123641"/>
                  <a:gd name="connsiteY39" fmla="*/ 13637 h 117883"/>
                  <a:gd name="connsiteX40" fmla="*/ 67881 w 123641"/>
                  <a:gd name="connsiteY40" fmla="*/ 15758 h 117883"/>
                  <a:gd name="connsiteX41" fmla="*/ 67730 w 123641"/>
                  <a:gd name="connsiteY41" fmla="*/ 17425 h 117883"/>
                  <a:gd name="connsiteX42" fmla="*/ 68184 w 123641"/>
                  <a:gd name="connsiteY42" fmla="*/ 18637 h 117883"/>
                  <a:gd name="connsiteX43" fmla="*/ 67427 w 123641"/>
                  <a:gd name="connsiteY43" fmla="*/ 19546 h 117883"/>
                  <a:gd name="connsiteX44" fmla="*/ 65306 w 123641"/>
                  <a:gd name="connsiteY44" fmla="*/ 20152 h 117883"/>
                  <a:gd name="connsiteX45" fmla="*/ 62881 w 123641"/>
                  <a:gd name="connsiteY45" fmla="*/ 21970 h 117883"/>
                  <a:gd name="connsiteX46" fmla="*/ 60002 w 123641"/>
                  <a:gd name="connsiteY46" fmla="*/ 25152 h 117883"/>
                  <a:gd name="connsiteX47" fmla="*/ 57123 w 123641"/>
                  <a:gd name="connsiteY47" fmla="*/ 27425 h 117883"/>
                  <a:gd name="connsiteX48" fmla="*/ 54396 w 123641"/>
                  <a:gd name="connsiteY48" fmla="*/ 28637 h 117883"/>
                  <a:gd name="connsiteX49" fmla="*/ 53032 w 123641"/>
                  <a:gd name="connsiteY49" fmla="*/ 30001 h 117883"/>
                  <a:gd name="connsiteX50" fmla="*/ 53184 w 123641"/>
                  <a:gd name="connsiteY50" fmla="*/ 31516 h 117883"/>
                  <a:gd name="connsiteX51" fmla="*/ 53032 w 123641"/>
                  <a:gd name="connsiteY51" fmla="*/ 31971 h 117883"/>
                  <a:gd name="connsiteX52" fmla="*/ 52426 w 123641"/>
                  <a:gd name="connsiteY52" fmla="*/ 32122 h 117883"/>
                  <a:gd name="connsiteX53" fmla="*/ 51517 w 123641"/>
                  <a:gd name="connsiteY53" fmla="*/ 32274 h 117883"/>
                  <a:gd name="connsiteX54" fmla="*/ 46062 w 123641"/>
                  <a:gd name="connsiteY54" fmla="*/ 28940 h 117883"/>
                  <a:gd name="connsiteX55" fmla="*/ 44547 w 123641"/>
                  <a:gd name="connsiteY55" fmla="*/ 26668 h 117883"/>
                  <a:gd name="connsiteX56" fmla="*/ 43184 w 123641"/>
                  <a:gd name="connsiteY56" fmla="*/ 26971 h 117883"/>
                  <a:gd name="connsiteX57" fmla="*/ 41517 w 123641"/>
                  <a:gd name="connsiteY57" fmla="*/ 28183 h 117883"/>
                  <a:gd name="connsiteX58" fmla="*/ 39092 w 123641"/>
                  <a:gd name="connsiteY58" fmla="*/ 30759 h 117883"/>
                  <a:gd name="connsiteX59" fmla="*/ 36517 w 123641"/>
                  <a:gd name="connsiteY59" fmla="*/ 34395 h 117883"/>
                  <a:gd name="connsiteX60" fmla="*/ 35304 w 123641"/>
                  <a:gd name="connsiteY60" fmla="*/ 34850 h 117883"/>
                  <a:gd name="connsiteX61" fmla="*/ 28941 w 123641"/>
                  <a:gd name="connsiteY61" fmla="*/ 34244 h 117883"/>
                  <a:gd name="connsiteX62" fmla="*/ 25607 w 123641"/>
                  <a:gd name="connsiteY62" fmla="*/ 34547 h 117883"/>
                  <a:gd name="connsiteX63" fmla="*/ 24849 w 123641"/>
                  <a:gd name="connsiteY63" fmla="*/ 35001 h 117883"/>
                  <a:gd name="connsiteX64" fmla="*/ 24547 w 123641"/>
                  <a:gd name="connsiteY64" fmla="*/ 36365 h 117883"/>
                  <a:gd name="connsiteX65" fmla="*/ 24698 w 123641"/>
                  <a:gd name="connsiteY65" fmla="*/ 38183 h 117883"/>
                  <a:gd name="connsiteX66" fmla="*/ 25607 w 123641"/>
                  <a:gd name="connsiteY66" fmla="*/ 44547 h 117883"/>
                  <a:gd name="connsiteX67" fmla="*/ 26062 w 123641"/>
                  <a:gd name="connsiteY67" fmla="*/ 47123 h 117883"/>
                  <a:gd name="connsiteX68" fmla="*/ 25607 w 123641"/>
                  <a:gd name="connsiteY68" fmla="*/ 47880 h 117883"/>
                  <a:gd name="connsiteX69" fmla="*/ 23940 w 123641"/>
                  <a:gd name="connsiteY69" fmla="*/ 48032 h 117883"/>
                  <a:gd name="connsiteX70" fmla="*/ 21668 w 123641"/>
                  <a:gd name="connsiteY70" fmla="*/ 48335 h 117883"/>
                  <a:gd name="connsiteX71" fmla="*/ 20455 w 123641"/>
                  <a:gd name="connsiteY71" fmla="*/ 49547 h 117883"/>
                  <a:gd name="connsiteX72" fmla="*/ 20152 w 123641"/>
                  <a:gd name="connsiteY72" fmla="*/ 50759 h 117883"/>
                  <a:gd name="connsiteX73" fmla="*/ 20001 w 123641"/>
                  <a:gd name="connsiteY73" fmla="*/ 52426 h 117883"/>
                  <a:gd name="connsiteX74" fmla="*/ 19243 w 123641"/>
                  <a:gd name="connsiteY74" fmla="*/ 54244 h 117883"/>
                  <a:gd name="connsiteX75" fmla="*/ 17880 w 123641"/>
                  <a:gd name="connsiteY75" fmla="*/ 55456 h 117883"/>
                  <a:gd name="connsiteX76" fmla="*/ 16516 w 123641"/>
                  <a:gd name="connsiteY76" fmla="*/ 55911 h 117883"/>
                  <a:gd name="connsiteX77" fmla="*/ 8940 w 123641"/>
                  <a:gd name="connsiteY77" fmla="*/ 56214 h 117883"/>
                  <a:gd name="connsiteX78" fmla="*/ 8940 w 123641"/>
                  <a:gd name="connsiteY78" fmla="*/ 56972 h 117883"/>
                  <a:gd name="connsiteX79" fmla="*/ 7576 w 123641"/>
                  <a:gd name="connsiteY79" fmla="*/ 57729 h 117883"/>
                  <a:gd name="connsiteX80" fmla="*/ 6667 w 123641"/>
                  <a:gd name="connsiteY80" fmla="*/ 57729 h 117883"/>
                  <a:gd name="connsiteX81" fmla="*/ 4697 w 123641"/>
                  <a:gd name="connsiteY81" fmla="*/ 56063 h 117883"/>
                  <a:gd name="connsiteX82" fmla="*/ 3485 w 123641"/>
                  <a:gd name="connsiteY82" fmla="*/ 54547 h 117883"/>
                  <a:gd name="connsiteX83" fmla="*/ 2273 w 123641"/>
                  <a:gd name="connsiteY83" fmla="*/ 54396 h 117883"/>
                  <a:gd name="connsiteX84" fmla="*/ 0 w 123641"/>
                  <a:gd name="connsiteY84" fmla="*/ 56517 h 117883"/>
                  <a:gd name="connsiteX85" fmla="*/ 0 w 123641"/>
                  <a:gd name="connsiteY85" fmla="*/ 58184 h 117883"/>
                  <a:gd name="connsiteX86" fmla="*/ 5606 w 123641"/>
                  <a:gd name="connsiteY86" fmla="*/ 62275 h 117883"/>
                  <a:gd name="connsiteX87" fmla="*/ 13031 w 123641"/>
                  <a:gd name="connsiteY87" fmla="*/ 69093 h 117883"/>
                  <a:gd name="connsiteX88" fmla="*/ 14698 w 123641"/>
                  <a:gd name="connsiteY88" fmla="*/ 71215 h 117883"/>
                  <a:gd name="connsiteX89" fmla="*/ 22274 w 123641"/>
                  <a:gd name="connsiteY89" fmla="*/ 76366 h 117883"/>
                  <a:gd name="connsiteX90" fmla="*/ 24849 w 123641"/>
                  <a:gd name="connsiteY90" fmla="*/ 78942 h 117883"/>
                  <a:gd name="connsiteX91" fmla="*/ 27577 w 123641"/>
                  <a:gd name="connsiteY91" fmla="*/ 83791 h 117883"/>
                  <a:gd name="connsiteX92" fmla="*/ 32729 w 123641"/>
                  <a:gd name="connsiteY92" fmla="*/ 90458 h 117883"/>
                  <a:gd name="connsiteX93" fmla="*/ 46668 w 123641"/>
                  <a:gd name="connsiteY93" fmla="*/ 101670 h 117883"/>
                  <a:gd name="connsiteX94" fmla="*/ 50305 w 123641"/>
                  <a:gd name="connsiteY94" fmla="*/ 105307 h 117883"/>
                  <a:gd name="connsiteX95" fmla="*/ 52578 w 123641"/>
                  <a:gd name="connsiteY95" fmla="*/ 108337 h 117883"/>
                  <a:gd name="connsiteX96" fmla="*/ 52578 w 123641"/>
                  <a:gd name="connsiteY96" fmla="*/ 109095 h 117883"/>
                  <a:gd name="connsiteX97" fmla="*/ 53184 w 123641"/>
                  <a:gd name="connsiteY97" fmla="*/ 108943 h 117883"/>
                  <a:gd name="connsiteX98" fmla="*/ 53790 w 123641"/>
                  <a:gd name="connsiteY98" fmla="*/ 108489 h 117883"/>
                  <a:gd name="connsiteX99" fmla="*/ 54093 w 123641"/>
                  <a:gd name="connsiteY99" fmla="*/ 108034 h 117883"/>
                  <a:gd name="connsiteX100" fmla="*/ 55154 w 123641"/>
                  <a:gd name="connsiteY100" fmla="*/ 106519 h 117883"/>
                  <a:gd name="connsiteX101" fmla="*/ 56063 w 123641"/>
                  <a:gd name="connsiteY101" fmla="*/ 105610 h 117883"/>
                  <a:gd name="connsiteX102" fmla="*/ 57123 w 123641"/>
                  <a:gd name="connsiteY102" fmla="*/ 105458 h 117883"/>
                  <a:gd name="connsiteX103" fmla="*/ 58336 w 123641"/>
                  <a:gd name="connsiteY103" fmla="*/ 106064 h 117883"/>
                  <a:gd name="connsiteX104" fmla="*/ 63033 w 123641"/>
                  <a:gd name="connsiteY104" fmla="*/ 107731 h 117883"/>
                  <a:gd name="connsiteX105" fmla="*/ 68184 w 123641"/>
                  <a:gd name="connsiteY105" fmla="*/ 109549 h 117883"/>
                  <a:gd name="connsiteX106" fmla="*/ 75609 w 123641"/>
                  <a:gd name="connsiteY106" fmla="*/ 112125 h 117883"/>
                  <a:gd name="connsiteX107" fmla="*/ 78639 w 123641"/>
                  <a:gd name="connsiteY107" fmla="*/ 110458 h 117883"/>
                  <a:gd name="connsiteX108" fmla="*/ 81215 w 123641"/>
                  <a:gd name="connsiteY108" fmla="*/ 109246 h 117883"/>
                  <a:gd name="connsiteX109" fmla="*/ 83034 w 123641"/>
                  <a:gd name="connsiteY109" fmla="*/ 109398 h 117883"/>
                  <a:gd name="connsiteX110" fmla="*/ 86973 w 123641"/>
                  <a:gd name="connsiteY110" fmla="*/ 110913 h 117883"/>
                  <a:gd name="connsiteX111" fmla="*/ 89397 w 123641"/>
                  <a:gd name="connsiteY111" fmla="*/ 111368 h 117883"/>
                  <a:gd name="connsiteX112" fmla="*/ 90912 w 123641"/>
                  <a:gd name="connsiteY112" fmla="*/ 111216 h 117883"/>
                  <a:gd name="connsiteX113" fmla="*/ 93489 w 123641"/>
                  <a:gd name="connsiteY113" fmla="*/ 113337 h 117883"/>
                  <a:gd name="connsiteX114" fmla="*/ 94852 w 123641"/>
                  <a:gd name="connsiteY114" fmla="*/ 115004 h 117883"/>
                  <a:gd name="connsiteX115" fmla="*/ 95155 w 123641"/>
                  <a:gd name="connsiteY115" fmla="*/ 116065 h 117883"/>
                  <a:gd name="connsiteX116" fmla="*/ 95913 w 123641"/>
                  <a:gd name="connsiteY116" fmla="*/ 116671 h 117883"/>
                  <a:gd name="connsiteX117" fmla="*/ 97883 w 123641"/>
                  <a:gd name="connsiteY117" fmla="*/ 116822 h 117883"/>
                  <a:gd name="connsiteX118" fmla="*/ 102731 w 123641"/>
                  <a:gd name="connsiteY118" fmla="*/ 117883 h 117883"/>
                  <a:gd name="connsiteX119" fmla="*/ 105762 w 123641"/>
                  <a:gd name="connsiteY119" fmla="*/ 117731 h 117883"/>
                  <a:gd name="connsiteX120" fmla="*/ 108489 w 123641"/>
                  <a:gd name="connsiteY120" fmla="*/ 116519 h 117883"/>
                  <a:gd name="connsiteX121" fmla="*/ 110004 w 123641"/>
                  <a:gd name="connsiteY121" fmla="*/ 115156 h 117883"/>
                  <a:gd name="connsiteX122" fmla="*/ 110459 w 123641"/>
                  <a:gd name="connsiteY122" fmla="*/ 112883 h 117883"/>
                  <a:gd name="connsiteX123" fmla="*/ 108489 w 123641"/>
                  <a:gd name="connsiteY123" fmla="*/ 112428 h 117883"/>
                  <a:gd name="connsiteX124" fmla="*/ 106974 w 123641"/>
                  <a:gd name="connsiteY124" fmla="*/ 110307 h 117883"/>
                  <a:gd name="connsiteX125" fmla="*/ 105155 w 123641"/>
                  <a:gd name="connsiteY125" fmla="*/ 106974 h 117883"/>
                  <a:gd name="connsiteX126" fmla="*/ 104095 w 123641"/>
                  <a:gd name="connsiteY126" fmla="*/ 102276 h 117883"/>
                  <a:gd name="connsiteX127" fmla="*/ 104398 w 123641"/>
                  <a:gd name="connsiteY127" fmla="*/ 100761 h 117883"/>
                  <a:gd name="connsiteX128" fmla="*/ 105155 w 123641"/>
                  <a:gd name="connsiteY128" fmla="*/ 98640 h 117883"/>
                  <a:gd name="connsiteX129" fmla="*/ 106671 w 123641"/>
                  <a:gd name="connsiteY129" fmla="*/ 96519 h 117883"/>
                  <a:gd name="connsiteX130" fmla="*/ 107580 w 123641"/>
                  <a:gd name="connsiteY130" fmla="*/ 94852 h 117883"/>
                  <a:gd name="connsiteX131" fmla="*/ 110156 w 123641"/>
                  <a:gd name="connsiteY131" fmla="*/ 92731 h 117883"/>
                  <a:gd name="connsiteX132" fmla="*/ 109853 w 123641"/>
                  <a:gd name="connsiteY132" fmla="*/ 90458 h 117883"/>
                  <a:gd name="connsiteX133" fmla="*/ 108792 w 123641"/>
                  <a:gd name="connsiteY133" fmla="*/ 87730 h 117883"/>
                  <a:gd name="connsiteX134" fmla="*/ 107428 w 123641"/>
                  <a:gd name="connsiteY134" fmla="*/ 87882 h 117883"/>
                  <a:gd name="connsiteX135" fmla="*/ 106368 w 123641"/>
                  <a:gd name="connsiteY135" fmla="*/ 87427 h 117883"/>
                  <a:gd name="connsiteX136" fmla="*/ 105459 w 123641"/>
                  <a:gd name="connsiteY136" fmla="*/ 86670 h 117883"/>
                  <a:gd name="connsiteX137" fmla="*/ 105913 w 123641"/>
                  <a:gd name="connsiteY137" fmla="*/ 85761 h 117883"/>
                  <a:gd name="connsiteX138" fmla="*/ 107125 w 123641"/>
                  <a:gd name="connsiteY138" fmla="*/ 84851 h 117883"/>
                  <a:gd name="connsiteX139" fmla="*/ 106974 w 123641"/>
                  <a:gd name="connsiteY139" fmla="*/ 83639 h 117883"/>
                  <a:gd name="connsiteX140" fmla="*/ 107125 w 123641"/>
                  <a:gd name="connsiteY140" fmla="*/ 81367 h 117883"/>
                  <a:gd name="connsiteX141" fmla="*/ 108489 w 123641"/>
                  <a:gd name="connsiteY141" fmla="*/ 81367 h 117883"/>
                  <a:gd name="connsiteX142" fmla="*/ 108943 w 123641"/>
                  <a:gd name="connsiteY142" fmla="*/ 82124 h 117883"/>
                  <a:gd name="connsiteX143" fmla="*/ 109398 w 123641"/>
                  <a:gd name="connsiteY143" fmla="*/ 82276 h 117883"/>
                  <a:gd name="connsiteX144" fmla="*/ 109701 w 123641"/>
                  <a:gd name="connsiteY144" fmla="*/ 76669 h 117883"/>
                  <a:gd name="connsiteX145" fmla="*/ 110156 w 123641"/>
                  <a:gd name="connsiteY145" fmla="*/ 75003 h 117883"/>
                  <a:gd name="connsiteX146" fmla="*/ 109701 w 123641"/>
                  <a:gd name="connsiteY146" fmla="*/ 73639 h 117883"/>
                  <a:gd name="connsiteX147" fmla="*/ 108337 w 123641"/>
                  <a:gd name="connsiteY147" fmla="*/ 71669 h 117883"/>
                  <a:gd name="connsiteX148" fmla="*/ 107277 w 123641"/>
                  <a:gd name="connsiteY148" fmla="*/ 69093 h 117883"/>
                  <a:gd name="connsiteX149" fmla="*/ 108186 w 123641"/>
                  <a:gd name="connsiteY149" fmla="*/ 67730 h 117883"/>
                  <a:gd name="connsiteX150" fmla="*/ 109247 w 123641"/>
                  <a:gd name="connsiteY150" fmla="*/ 67275 h 117883"/>
                  <a:gd name="connsiteX151" fmla="*/ 110762 w 123641"/>
                  <a:gd name="connsiteY151" fmla="*/ 66063 h 117883"/>
                  <a:gd name="connsiteX152" fmla="*/ 111671 w 123641"/>
                  <a:gd name="connsiteY152" fmla="*/ 63336 h 117883"/>
                  <a:gd name="connsiteX153" fmla="*/ 112126 w 123641"/>
                  <a:gd name="connsiteY153" fmla="*/ 64548 h 117883"/>
                  <a:gd name="connsiteX154" fmla="*/ 111822 w 123641"/>
                  <a:gd name="connsiteY154" fmla="*/ 66972 h 117883"/>
                  <a:gd name="connsiteX155" fmla="*/ 110913 w 123641"/>
                  <a:gd name="connsiteY155" fmla="*/ 68790 h 117883"/>
                  <a:gd name="connsiteX156" fmla="*/ 110762 w 123641"/>
                  <a:gd name="connsiteY156" fmla="*/ 70306 h 117883"/>
                  <a:gd name="connsiteX157" fmla="*/ 111671 w 123641"/>
                  <a:gd name="connsiteY157" fmla="*/ 71972 h 117883"/>
                  <a:gd name="connsiteX158" fmla="*/ 112580 w 123641"/>
                  <a:gd name="connsiteY158" fmla="*/ 72124 h 117883"/>
                  <a:gd name="connsiteX159" fmla="*/ 114095 w 123641"/>
                  <a:gd name="connsiteY159" fmla="*/ 71669 h 117883"/>
                  <a:gd name="connsiteX160" fmla="*/ 113944 w 123641"/>
                  <a:gd name="connsiteY160" fmla="*/ 68790 h 117883"/>
                  <a:gd name="connsiteX161" fmla="*/ 113338 w 123641"/>
                  <a:gd name="connsiteY161" fmla="*/ 66518 h 117883"/>
                  <a:gd name="connsiteX162" fmla="*/ 114095 w 123641"/>
                  <a:gd name="connsiteY162" fmla="*/ 56972 h 117883"/>
                  <a:gd name="connsiteX163" fmla="*/ 112580 w 123641"/>
                  <a:gd name="connsiteY163" fmla="*/ 46517 h 117883"/>
                  <a:gd name="connsiteX164" fmla="*/ 114550 w 123641"/>
                  <a:gd name="connsiteY164" fmla="*/ 35001 h 117883"/>
                  <a:gd name="connsiteX165" fmla="*/ 116823 w 123641"/>
                  <a:gd name="connsiteY165" fmla="*/ 27880 h 117883"/>
                  <a:gd name="connsiteX166" fmla="*/ 118641 w 123641"/>
                  <a:gd name="connsiteY166" fmla="*/ 26213 h 117883"/>
                  <a:gd name="connsiteX167" fmla="*/ 120459 w 123641"/>
                  <a:gd name="connsiteY167" fmla="*/ 23486 h 117883"/>
                  <a:gd name="connsiteX168" fmla="*/ 122277 w 123641"/>
                  <a:gd name="connsiteY168" fmla="*/ 20304 h 117883"/>
                  <a:gd name="connsiteX169" fmla="*/ 122883 w 123641"/>
                  <a:gd name="connsiteY169" fmla="*/ 18334 h 117883"/>
                  <a:gd name="connsiteX170" fmla="*/ 119853 w 123641"/>
                  <a:gd name="connsiteY170" fmla="*/ 6970 h 117883"/>
                  <a:gd name="connsiteX171" fmla="*/ 118641 w 123641"/>
                  <a:gd name="connsiteY171" fmla="*/ 6515 h 117883"/>
                  <a:gd name="connsiteX172" fmla="*/ 117732 w 123641"/>
                  <a:gd name="connsiteY172" fmla="*/ 6515 h 117883"/>
                  <a:gd name="connsiteX173" fmla="*/ 116671 w 123641"/>
                  <a:gd name="connsiteY173" fmla="*/ 4849 h 117883"/>
                  <a:gd name="connsiteX174" fmla="*/ 117277 w 123641"/>
                  <a:gd name="connsiteY174" fmla="*/ 3636 h 117883"/>
                  <a:gd name="connsiteX175" fmla="*/ 118338 w 123641"/>
                  <a:gd name="connsiteY175" fmla="*/ 3030 h 117883"/>
                  <a:gd name="connsiteX176" fmla="*/ 42880 w 123641"/>
                  <a:gd name="connsiteY176" fmla="*/ 77579 h 117883"/>
                  <a:gd name="connsiteX177" fmla="*/ 40911 w 123641"/>
                  <a:gd name="connsiteY177" fmla="*/ 78184 h 117883"/>
                  <a:gd name="connsiteX178" fmla="*/ 38486 w 123641"/>
                  <a:gd name="connsiteY178" fmla="*/ 78488 h 117883"/>
                  <a:gd name="connsiteX179" fmla="*/ 36971 w 123641"/>
                  <a:gd name="connsiteY179" fmla="*/ 78336 h 117883"/>
                  <a:gd name="connsiteX180" fmla="*/ 37123 w 123641"/>
                  <a:gd name="connsiteY180" fmla="*/ 77579 h 117883"/>
                  <a:gd name="connsiteX181" fmla="*/ 37426 w 123641"/>
                  <a:gd name="connsiteY181" fmla="*/ 76518 h 117883"/>
                  <a:gd name="connsiteX182" fmla="*/ 37274 w 123641"/>
                  <a:gd name="connsiteY182" fmla="*/ 75912 h 117883"/>
                  <a:gd name="connsiteX183" fmla="*/ 36820 w 123641"/>
                  <a:gd name="connsiteY183" fmla="*/ 75457 h 117883"/>
                  <a:gd name="connsiteX184" fmla="*/ 35001 w 123641"/>
                  <a:gd name="connsiteY184" fmla="*/ 75609 h 117883"/>
                  <a:gd name="connsiteX185" fmla="*/ 32729 w 123641"/>
                  <a:gd name="connsiteY185" fmla="*/ 75609 h 117883"/>
                  <a:gd name="connsiteX186" fmla="*/ 31062 w 123641"/>
                  <a:gd name="connsiteY186" fmla="*/ 74851 h 117883"/>
                  <a:gd name="connsiteX187" fmla="*/ 29850 w 123641"/>
                  <a:gd name="connsiteY187" fmla="*/ 73790 h 117883"/>
                  <a:gd name="connsiteX188" fmla="*/ 29395 w 123641"/>
                  <a:gd name="connsiteY188" fmla="*/ 72730 h 117883"/>
                  <a:gd name="connsiteX189" fmla="*/ 29395 w 123641"/>
                  <a:gd name="connsiteY189" fmla="*/ 71972 h 117883"/>
                  <a:gd name="connsiteX190" fmla="*/ 30607 w 123641"/>
                  <a:gd name="connsiteY190" fmla="*/ 71821 h 117883"/>
                  <a:gd name="connsiteX191" fmla="*/ 32729 w 123641"/>
                  <a:gd name="connsiteY191" fmla="*/ 71366 h 117883"/>
                  <a:gd name="connsiteX192" fmla="*/ 34547 w 123641"/>
                  <a:gd name="connsiteY192" fmla="*/ 70457 h 117883"/>
                  <a:gd name="connsiteX193" fmla="*/ 36213 w 123641"/>
                  <a:gd name="connsiteY193" fmla="*/ 70002 h 117883"/>
                  <a:gd name="connsiteX194" fmla="*/ 37426 w 123641"/>
                  <a:gd name="connsiteY194" fmla="*/ 70154 h 117883"/>
                  <a:gd name="connsiteX195" fmla="*/ 39092 w 123641"/>
                  <a:gd name="connsiteY195" fmla="*/ 72730 h 117883"/>
                  <a:gd name="connsiteX196" fmla="*/ 41062 w 123641"/>
                  <a:gd name="connsiteY196" fmla="*/ 74548 h 117883"/>
                  <a:gd name="connsiteX197" fmla="*/ 42274 w 123641"/>
                  <a:gd name="connsiteY197" fmla="*/ 74245 h 117883"/>
                  <a:gd name="connsiteX198" fmla="*/ 42729 w 123641"/>
                  <a:gd name="connsiteY198" fmla="*/ 74700 h 117883"/>
                  <a:gd name="connsiteX199" fmla="*/ 42729 w 123641"/>
                  <a:gd name="connsiteY199" fmla="*/ 75760 h 117883"/>
                  <a:gd name="connsiteX200" fmla="*/ 42880 w 123641"/>
                  <a:gd name="connsiteY200" fmla="*/ 77579 h 117883"/>
                  <a:gd name="connsiteX201" fmla="*/ 78488 w 123641"/>
                  <a:gd name="connsiteY201" fmla="*/ 109095 h 117883"/>
                  <a:gd name="connsiteX202" fmla="*/ 77427 w 123641"/>
                  <a:gd name="connsiteY202" fmla="*/ 109549 h 117883"/>
                  <a:gd name="connsiteX203" fmla="*/ 75912 w 123641"/>
                  <a:gd name="connsiteY203" fmla="*/ 109852 h 117883"/>
                  <a:gd name="connsiteX204" fmla="*/ 74700 w 123641"/>
                  <a:gd name="connsiteY204" fmla="*/ 109398 h 117883"/>
                  <a:gd name="connsiteX205" fmla="*/ 72882 w 123641"/>
                  <a:gd name="connsiteY205" fmla="*/ 109246 h 117883"/>
                  <a:gd name="connsiteX206" fmla="*/ 70003 w 123641"/>
                  <a:gd name="connsiteY206" fmla="*/ 108640 h 117883"/>
                  <a:gd name="connsiteX207" fmla="*/ 65912 w 123641"/>
                  <a:gd name="connsiteY207" fmla="*/ 107428 h 117883"/>
                  <a:gd name="connsiteX208" fmla="*/ 61821 w 123641"/>
                  <a:gd name="connsiteY208" fmla="*/ 106064 h 117883"/>
                  <a:gd name="connsiteX209" fmla="*/ 58942 w 123641"/>
                  <a:gd name="connsiteY209" fmla="*/ 104852 h 117883"/>
                  <a:gd name="connsiteX210" fmla="*/ 57123 w 123641"/>
                  <a:gd name="connsiteY210" fmla="*/ 103943 h 117883"/>
                  <a:gd name="connsiteX211" fmla="*/ 55608 w 123641"/>
                  <a:gd name="connsiteY211" fmla="*/ 103034 h 117883"/>
                  <a:gd name="connsiteX212" fmla="*/ 54396 w 123641"/>
                  <a:gd name="connsiteY212" fmla="*/ 102125 h 117883"/>
                  <a:gd name="connsiteX213" fmla="*/ 53487 w 123641"/>
                  <a:gd name="connsiteY213" fmla="*/ 101216 h 117883"/>
                  <a:gd name="connsiteX214" fmla="*/ 52578 w 123641"/>
                  <a:gd name="connsiteY214" fmla="*/ 99701 h 117883"/>
                  <a:gd name="connsiteX215" fmla="*/ 51366 w 123641"/>
                  <a:gd name="connsiteY215" fmla="*/ 97579 h 117883"/>
                  <a:gd name="connsiteX216" fmla="*/ 50305 w 123641"/>
                  <a:gd name="connsiteY216" fmla="*/ 95306 h 117883"/>
                  <a:gd name="connsiteX217" fmla="*/ 49699 w 123641"/>
                  <a:gd name="connsiteY217" fmla="*/ 93640 h 117883"/>
                  <a:gd name="connsiteX218" fmla="*/ 49396 w 123641"/>
                  <a:gd name="connsiteY218" fmla="*/ 92579 h 117883"/>
                  <a:gd name="connsiteX219" fmla="*/ 49093 w 123641"/>
                  <a:gd name="connsiteY219" fmla="*/ 92125 h 117883"/>
                  <a:gd name="connsiteX220" fmla="*/ 48790 w 123641"/>
                  <a:gd name="connsiteY220" fmla="*/ 91973 h 117883"/>
                  <a:gd name="connsiteX221" fmla="*/ 48487 w 123641"/>
                  <a:gd name="connsiteY221" fmla="*/ 91670 h 117883"/>
                  <a:gd name="connsiteX222" fmla="*/ 48335 w 123641"/>
                  <a:gd name="connsiteY222" fmla="*/ 91215 h 117883"/>
                  <a:gd name="connsiteX223" fmla="*/ 48335 w 123641"/>
                  <a:gd name="connsiteY223" fmla="*/ 90609 h 117883"/>
                  <a:gd name="connsiteX224" fmla="*/ 48335 w 123641"/>
                  <a:gd name="connsiteY224" fmla="*/ 89246 h 117883"/>
                  <a:gd name="connsiteX225" fmla="*/ 48184 w 123641"/>
                  <a:gd name="connsiteY225" fmla="*/ 87124 h 117883"/>
                  <a:gd name="connsiteX226" fmla="*/ 48032 w 123641"/>
                  <a:gd name="connsiteY226" fmla="*/ 85003 h 117883"/>
                  <a:gd name="connsiteX227" fmla="*/ 48032 w 123641"/>
                  <a:gd name="connsiteY227" fmla="*/ 83639 h 117883"/>
                  <a:gd name="connsiteX228" fmla="*/ 48487 w 123641"/>
                  <a:gd name="connsiteY228" fmla="*/ 82730 h 117883"/>
                  <a:gd name="connsiteX229" fmla="*/ 49093 w 123641"/>
                  <a:gd name="connsiteY229" fmla="*/ 81063 h 117883"/>
                  <a:gd name="connsiteX230" fmla="*/ 50154 w 123641"/>
                  <a:gd name="connsiteY230" fmla="*/ 80761 h 117883"/>
                  <a:gd name="connsiteX231" fmla="*/ 51214 w 123641"/>
                  <a:gd name="connsiteY231" fmla="*/ 80761 h 117883"/>
                  <a:gd name="connsiteX232" fmla="*/ 52426 w 123641"/>
                  <a:gd name="connsiteY232" fmla="*/ 81063 h 117883"/>
                  <a:gd name="connsiteX233" fmla="*/ 54548 w 123641"/>
                  <a:gd name="connsiteY233" fmla="*/ 81821 h 117883"/>
                  <a:gd name="connsiteX234" fmla="*/ 56972 w 123641"/>
                  <a:gd name="connsiteY234" fmla="*/ 83185 h 117883"/>
                  <a:gd name="connsiteX235" fmla="*/ 59093 w 123641"/>
                  <a:gd name="connsiteY235" fmla="*/ 84700 h 117883"/>
                  <a:gd name="connsiteX236" fmla="*/ 61063 w 123641"/>
                  <a:gd name="connsiteY236" fmla="*/ 86215 h 117883"/>
                  <a:gd name="connsiteX237" fmla="*/ 63184 w 123641"/>
                  <a:gd name="connsiteY237" fmla="*/ 87427 h 117883"/>
                  <a:gd name="connsiteX238" fmla="*/ 66063 w 123641"/>
                  <a:gd name="connsiteY238" fmla="*/ 89397 h 117883"/>
                  <a:gd name="connsiteX239" fmla="*/ 69548 w 123641"/>
                  <a:gd name="connsiteY239" fmla="*/ 92731 h 117883"/>
                  <a:gd name="connsiteX240" fmla="*/ 72882 w 123641"/>
                  <a:gd name="connsiteY240" fmla="*/ 96519 h 117883"/>
                  <a:gd name="connsiteX241" fmla="*/ 75458 w 123641"/>
                  <a:gd name="connsiteY241" fmla="*/ 99549 h 117883"/>
                  <a:gd name="connsiteX242" fmla="*/ 77124 w 123641"/>
                  <a:gd name="connsiteY242" fmla="*/ 101822 h 117883"/>
                  <a:gd name="connsiteX243" fmla="*/ 78336 w 123641"/>
                  <a:gd name="connsiteY243" fmla="*/ 103792 h 117883"/>
                  <a:gd name="connsiteX244" fmla="*/ 78942 w 123641"/>
                  <a:gd name="connsiteY244" fmla="*/ 105307 h 117883"/>
                  <a:gd name="connsiteX245" fmla="*/ 79246 w 123641"/>
                  <a:gd name="connsiteY245" fmla="*/ 106670 h 117883"/>
                  <a:gd name="connsiteX246" fmla="*/ 79548 w 123641"/>
                  <a:gd name="connsiteY246" fmla="*/ 107731 h 117883"/>
                  <a:gd name="connsiteX247" fmla="*/ 78488 w 123641"/>
                  <a:gd name="connsiteY247" fmla="*/ 109095 h 1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123641" h="117883">
                    <a:moveTo>
                      <a:pt x="118338" y="3030"/>
                    </a:moveTo>
                    <a:lnTo>
                      <a:pt x="119398" y="3333"/>
                    </a:lnTo>
                    <a:lnTo>
                      <a:pt x="119550" y="5758"/>
                    </a:lnTo>
                    <a:lnTo>
                      <a:pt x="120156" y="5455"/>
                    </a:lnTo>
                    <a:lnTo>
                      <a:pt x="121974" y="2121"/>
                    </a:lnTo>
                    <a:lnTo>
                      <a:pt x="122883" y="1515"/>
                    </a:lnTo>
                    <a:lnTo>
                      <a:pt x="123641" y="455"/>
                    </a:lnTo>
                    <a:lnTo>
                      <a:pt x="116671" y="0"/>
                    </a:lnTo>
                    <a:lnTo>
                      <a:pt x="113338" y="909"/>
                    </a:lnTo>
                    <a:lnTo>
                      <a:pt x="111822" y="2879"/>
                    </a:lnTo>
                    <a:lnTo>
                      <a:pt x="110610" y="3788"/>
                    </a:lnTo>
                    <a:lnTo>
                      <a:pt x="109550" y="3636"/>
                    </a:lnTo>
                    <a:lnTo>
                      <a:pt x="107428" y="4394"/>
                    </a:lnTo>
                    <a:lnTo>
                      <a:pt x="104246" y="6061"/>
                    </a:lnTo>
                    <a:lnTo>
                      <a:pt x="101367" y="6667"/>
                    </a:lnTo>
                    <a:lnTo>
                      <a:pt x="98792" y="6212"/>
                    </a:lnTo>
                    <a:lnTo>
                      <a:pt x="98034" y="6667"/>
                    </a:lnTo>
                    <a:lnTo>
                      <a:pt x="97883" y="7273"/>
                    </a:lnTo>
                    <a:lnTo>
                      <a:pt x="97428" y="7879"/>
                    </a:lnTo>
                    <a:lnTo>
                      <a:pt x="96367" y="8182"/>
                    </a:lnTo>
                    <a:lnTo>
                      <a:pt x="95155" y="8031"/>
                    </a:lnTo>
                    <a:lnTo>
                      <a:pt x="93943" y="7424"/>
                    </a:lnTo>
                    <a:lnTo>
                      <a:pt x="93337" y="7727"/>
                    </a:lnTo>
                    <a:lnTo>
                      <a:pt x="93337" y="8788"/>
                    </a:lnTo>
                    <a:lnTo>
                      <a:pt x="92579" y="9091"/>
                    </a:lnTo>
                    <a:lnTo>
                      <a:pt x="91216" y="8637"/>
                    </a:lnTo>
                    <a:lnTo>
                      <a:pt x="89701" y="9091"/>
                    </a:lnTo>
                    <a:lnTo>
                      <a:pt x="88034" y="10455"/>
                    </a:lnTo>
                    <a:lnTo>
                      <a:pt x="85761" y="10758"/>
                    </a:lnTo>
                    <a:lnTo>
                      <a:pt x="82730" y="10000"/>
                    </a:lnTo>
                    <a:lnTo>
                      <a:pt x="80458" y="8485"/>
                    </a:lnTo>
                    <a:lnTo>
                      <a:pt x="78791" y="6364"/>
                    </a:lnTo>
                    <a:lnTo>
                      <a:pt x="76821" y="5758"/>
                    </a:lnTo>
                    <a:lnTo>
                      <a:pt x="73336" y="7424"/>
                    </a:lnTo>
                    <a:lnTo>
                      <a:pt x="71972" y="9243"/>
                    </a:lnTo>
                    <a:lnTo>
                      <a:pt x="71669" y="10303"/>
                    </a:lnTo>
                    <a:lnTo>
                      <a:pt x="71972" y="11364"/>
                    </a:lnTo>
                    <a:lnTo>
                      <a:pt x="71366" y="12121"/>
                    </a:lnTo>
                    <a:lnTo>
                      <a:pt x="69851" y="12425"/>
                    </a:lnTo>
                    <a:lnTo>
                      <a:pt x="68639" y="13637"/>
                    </a:lnTo>
                    <a:lnTo>
                      <a:pt x="67881" y="15758"/>
                    </a:lnTo>
                    <a:lnTo>
                      <a:pt x="67730" y="17425"/>
                    </a:lnTo>
                    <a:lnTo>
                      <a:pt x="68184" y="18637"/>
                    </a:lnTo>
                    <a:lnTo>
                      <a:pt x="67427" y="19546"/>
                    </a:lnTo>
                    <a:lnTo>
                      <a:pt x="65306" y="20152"/>
                    </a:lnTo>
                    <a:lnTo>
                      <a:pt x="62881" y="21970"/>
                    </a:lnTo>
                    <a:lnTo>
                      <a:pt x="60002" y="25152"/>
                    </a:lnTo>
                    <a:lnTo>
                      <a:pt x="57123" y="27425"/>
                    </a:lnTo>
                    <a:lnTo>
                      <a:pt x="54396" y="28637"/>
                    </a:lnTo>
                    <a:lnTo>
                      <a:pt x="53032" y="30001"/>
                    </a:lnTo>
                    <a:lnTo>
                      <a:pt x="53184" y="31516"/>
                    </a:lnTo>
                    <a:lnTo>
                      <a:pt x="53032" y="31971"/>
                    </a:lnTo>
                    <a:lnTo>
                      <a:pt x="52426" y="32122"/>
                    </a:lnTo>
                    <a:lnTo>
                      <a:pt x="51517" y="32274"/>
                    </a:lnTo>
                    <a:lnTo>
                      <a:pt x="46062" y="28940"/>
                    </a:lnTo>
                    <a:lnTo>
                      <a:pt x="44547" y="26668"/>
                    </a:lnTo>
                    <a:lnTo>
                      <a:pt x="43184" y="26971"/>
                    </a:lnTo>
                    <a:lnTo>
                      <a:pt x="41517" y="28183"/>
                    </a:lnTo>
                    <a:lnTo>
                      <a:pt x="39092" y="30759"/>
                    </a:lnTo>
                    <a:lnTo>
                      <a:pt x="36517" y="34395"/>
                    </a:lnTo>
                    <a:lnTo>
                      <a:pt x="35304" y="34850"/>
                    </a:lnTo>
                    <a:lnTo>
                      <a:pt x="28941" y="34244"/>
                    </a:lnTo>
                    <a:lnTo>
                      <a:pt x="25607" y="34547"/>
                    </a:lnTo>
                    <a:lnTo>
                      <a:pt x="24849" y="35001"/>
                    </a:lnTo>
                    <a:lnTo>
                      <a:pt x="24547" y="36365"/>
                    </a:lnTo>
                    <a:lnTo>
                      <a:pt x="24698" y="38183"/>
                    </a:lnTo>
                    <a:lnTo>
                      <a:pt x="25607" y="44547"/>
                    </a:lnTo>
                    <a:lnTo>
                      <a:pt x="26062" y="47123"/>
                    </a:lnTo>
                    <a:lnTo>
                      <a:pt x="25607" y="47880"/>
                    </a:lnTo>
                    <a:lnTo>
                      <a:pt x="23940" y="48032"/>
                    </a:lnTo>
                    <a:lnTo>
                      <a:pt x="21668" y="48335"/>
                    </a:lnTo>
                    <a:lnTo>
                      <a:pt x="20455" y="49547"/>
                    </a:lnTo>
                    <a:lnTo>
                      <a:pt x="20152" y="50759"/>
                    </a:lnTo>
                    <a:lnTo>
                      <a:pt x="20001" y="52426"/>
                    </a:lnTo>
                    <a:lnTo>
                      <a:pt x="19243" y="54244"/>
                    </a:lnTo>
                    <a:lnTo>
                      <a:pt x="17880" y="55456"/>
                    </a:lnTo>
                    <a:lnTo>
                      <a:pt x="16516" y="55911"/>
                    </a:lnTo>
                    <a:lnTo>
                      <a:pt x="8940" y="56214"/>
                    </a:lnTo>
                    <a:lnTo>
                      <a:pt x="8940" y="56972"/>
                    </a:lnTo>
                    <a:lnTo>
                      <a:pt x="7576" y="57729"/>
                    </a:lnTo>
                    <a:lnTo>
                      <a:pt x="6667" y="57729"/>
                    </a:lnTo>
                    <a:lnTo>
                      <a:pt x="4697" y="56063"/>
                    </a:lnTo>
                    <a:lnTo>
                      <a:pt x="3485" y="54547"/>
                    </a:lnTo>
                    <a:lnTo>
                      <a:pt x="2273" y="54396"/>
                    </a:lnTo>
                    <a:lnTo>
                      <a:pt x="0" y="56517"/>
                    </a:lnTo>
                    <a:lnTo>
                      <a:pt x="0" y="58184"/>
                    </a:lnTo>
                    <a:lnTo>
                      <a:pt x="5606" y="62275"/>
                    </a:lnTo>
                    <a:lnTo>
                      <a:pt x="13031" y="69093"/>
                    </a:lnTo>
                    <a:lnTo>
                      <a:pt x="14698" y="71215"/>
                    </a:lnTo>
                    <a:lnTo>
                      <a:pt x="22274" y="76366"/>
                    </a:lnTo>
                    <a:lnTo>
                      <a:pt x="24849" y="78942"/>
                    </a:lnTo>
                    <a:lnTo>
                      <a:pt x="27577" y="83791"/>
                    </a:lnTo>
                    <a:lnTo>
                      <a:pt x="32729" y="90458"/>
                    </a:lnTo>
                    <a:lnTo>
                      <a:pt x="46668" y="101670"/>
                    </a:lnTo>
                    <a:lnTo>
                      <a:pt x="50305" y="105307"/>
                    </a:lnTo>
                    <a:lnTo>
                      <a:pt x="52578" y="108337"/>
                    </a:lnTo>
                    <a:lnTo>
                      <a:pt x="52578" y="109095"/>
                    </a:lnTo>
                    <a:lnTo>
                      <a:pt x="53184" y="108943"/>
                    </a:lnTo>
                    <a:lnTo>
                      <a:pt x="53790" y="108489"/>
                    </a:lnTo>
                    <a:lnTo>
                      <a:pt x="54093" y="108034"/>
                    </a:lnTo>
                    <a:lnTo>
                      <a:pt x="55154" y="106519"/>
                    </a:lnTo>
                    <a:lnTo>
                      <a:pt x="56063" y="105610"/>
                    </a:lnTo>
                    <a:lnTo>
                      <a:pt x="57123" y="105458"/>
                    </a:lnTo>
                    <a:lnTo>
                      <a:pt x="58336" y="106064"/>
                    </a:lnTo>
                    <a:lnTo>
                      <a:pt x="63033" y="107731"/>
                    </a:lnTo>
                    <a:lnTo>
                      <a:pt x="68184" y="109549"/>
                    </a:lnTo>
                    <a:lnTo>
                      <a:pt x="75609" y="112125"/>
                    </a:lnTo>
                    <a:lnTo>
                      <a:pt x="78639" y="110458"/>
                    </a:lnTo>
                    <a:lnTo>
                      <a:pt x="81215" y="109246"/>
                    </a:lnTo>
                    <a:lnTo>
                      <a:pt x="83034" y="109398"/>
                    </a:lnTo>
                    <a:lnTo>
                      <a:pt x="86973" y="110913"/>
                    </a:lnTo>
                    <a:lnTo>
                      <a:pt x="89397" y="111368"/>
                    </a:lnTo>
                    <a:lnTo>
                      <a:pt x="90912" y="111216"/>
                    </a:lnTo>
                    <a:lnTo>
                      <a:pt x="93489" y="113337"/>
                    </a:lnTo>
                    <a:lnTo>
                      <a:pt x="94852" y="115004"/>
                    </a:lnTo>
                    <a:lnTo>
                      <a:pt x="95155" y="116065"/>
                    </a:lnTo>
                    <a:lnTo>
                      <a:pt x="95913" y="116671"/>
                    </a:lnTo>
                    <a:lnTo>
                      <a:pt x="97883" y="116822"/>
                    </a:lnTo>
                    <a:lnTo>
                      <a:pt x="102731" y="117883"/>
                    </a:lnTo>
                    <a:lnTo>
                      <a:pt x="105762" y="117731"/>
                    </a:lnTo>
                    <a:lnTo>
                      <a:pt x="108489" y="116519"/>
                    </a:lnTo>
                    <a:lnTo>
                      <a:pt x="110004" y="115156"/>
                    </a:lnTo>
                    <a:lnTo>
                      <a:pt x="110459" y="112883"/>
                    </a:lnTo>
                    <a:lnTo>
                      <a:pt x="108489" y="112428"/>
                    </a:lnTo>
                    <a:lnTo>
                      <a:pt x="106974" y="110307"/>
                    </a:lnTo>
                    <a:lnTo>
                      <a:pt x="105155" y="106974"/>
                    </a:lnTo>
                    <a:lnTo>
                      <a:pt x="104095" y="102276"/>
                    </a:lnTo>
                    <a:lnTo>
                      <a:pt x="104398" y="100761"/>
                    </a:lnTo>
                    <a:lnTo>
                      <a:pt x="105155" y="98640"/>
                    </a:lnTo>
                    <a:lnTo>
                      <a:pt x="106671" y="96519"/>
                    </a:lnTo>
                    <a:lnTo>
                      <a:pt x="107580" y="94852"/>
                    </a:lnTo>
                    <a:lnTo>
                      <a:pt x="110156" y="92731"/>
                    </a:lnTo>
                    <a:lnTo>
                      <a:pt x="109853" y="90458"/>
                    </a:lnTo>
                    <a:lnTo>
                      <a:pt x="108792" y="87730"/>
                    </a:lnTo>
                    <a:lnTo>
                      <a:pt x="107428" y="87882"/>
                    </a:lnTo>
                    <a:lnTo>
                      <a:pt x="106368" y="87427"/>
                    </a:lnTo>
                    <a:lnTo>
                      <a:pt x="105459" y="86670"/>
                    </a:lnTo>
                    <a:lnTo>
                      <a:pt x="105913" y="85761"/>
                    </a:lnTo>
                    <a:lnTo>
                      <a:pt x="107125" y="84851"/>
                    </a:lnTo>
                    <a:lnTo>
                      <a:pt x="106974" y="83639"/>
                    </a:lnTo>
                    <a:lnTo>
                      <a:pt x="107125" y="81367"/>
                    </a:lnTo>
                    <a:lnTo>
                      <a:pt x="108489" y="81367"/>
                    </a:lnTo>
                    <a:lnTo>
                      <a:pt x="108943" y="82124"/>
                    </a:lnTo>
                    <a:lnTo>
                      <a:pt x="109398" y="82276"/>
                    </a:lnTo>
                    <a:lnTo>
                      <a:pt x="109701" y="76669"/>
                    </a:lnTo>
                    <a:lnTo>
                      <a:pt x="110156" y="75003"/>
                    </a:lnTo>
                    <a:lnTo>
                      <a:pt x="109701" y="73639"/>
                    </a:lnTo>
                    <a:lnTo>
                      <a:pt x="108337" y="71669"/>
                    </a:lnTo>
                    <a:lnTo>
                      <a:pt x="107277" y="69093"/>
                    </a:lnTo>
                    <a:lnTo>
                      <a:pt x="108186" y="67730"/>
                    </a:lnTo>
                    <a:lnTo>
                      <a:pt x="109247" y="67275"/>
                    </a:lnTo>
                    <a:lnTo>
                      <a:pt x="110762" y="66063"/>
                    </a:lnTo>
                    <a:lnTo>
                      <a:pt x="111671" y="63336"/>
                    </a:lnTo>
                    <a:lnTo>
                      <a:pt x="112126" y="64548"/>
                    </a:lnTo>
                    <a:lnTo>
                      <a:pt x="111822" y="66972"/>
                    </a:lnTo>
                    <a:lnTo>
                      <a:pt x="110913" y="68790"/>
                    </a:lnTo>
                    <a:lnTo>
                      <a:pt x="110762" y="70306"/>
                    </a:lnTo>
                    <a:lnTo>
                      <a:pt x="111671" y="71972"/>
                    </a:lnTo>
                    <a:lnTo>
                      <a:pt x="112580" y="72124"/>
                    </a:lnTo>
                    <a:lnTo>
                      <a:pt x="114095" y="71669"/>
                    </a:lnTo>
                    <a:lnTo>
                      <a:pt x="113944" y="68790"/>
                    </a:lnTo>
                    <a:lnTo>
                      <a:pt x="113338" y="66518"/>
                    </a:lnTo>
                    <a:lnTo>
                      <a:pt x="114095" y="56972"/>
                    </a:lnTo>
                    <a:lnTo>
                      <a:pt x="112580" y="46517"/>
                    </a:lnTo>
                    <a:lnTo>
                      <a:pt x="114550" y="35001"/>
                    </a:lnTo>
                    <a:lnTo>
                      <a:pt x="116823" y="27880"/>
                    </a:lnTo>
                    <a:lnTo>
                      <a:pt x="118641" y="26213"/>
                    </a:lnTo>
                    <a:lnTo>
                      <a:pt x="120459" y="23486"/>
                    </a:lnTo>
                    <a:lnTo>
                      <a:pt x="122277" y="20304"/>
                    </a:lnTo>
                    <a:lnTo>
                      <a:pt x="122883" y="18334"/>
                    </a:lnTo>
                    <a:lnTo>
                      <a:pt x="119853" y="6970"/>
                    </a:lnTo>
                    <a:lnTo>
                      <a:pt x="118641" y="6515"/>
                    </a:lnTo>
                    <a:lnTo>
                      <a:pt x="117732" y="6515"/>
                    </a:lnTo>
                    <a:lnTo>
                      <a:pt x="116671" y="4849"/>
                    </a:lnTo>
                    <a:lnTo>
                      <a:pt x="117277" y="3636"/>
                    </a:lnTo>
                    <a:lnTo>
                      <a:pt x="118338" y="3030"/>
                    </a:lnTo>
                    <a:close/>
                    <a:moveTo>
                      <a:pt x="42880" y="77579"/>
                    </a:moveTo>
                    <a:lnTo>
                      <a:pt x="40911" y="78184"/>
                    </a:lnTo>
                    <a:lnTo>
                      <a:pt x="38486" y="78488"/>
                    </a:lnTo>
                    <a:lnTo>
                      <a:pt x="36971" y="78336"/>
                    </a:lnTo>
                    <a:lnTo>
                      <a:pt x="37123" y="77579"/>
                    </a:lnTo>
                    <a:lnTo>
                      <a:pt x="37426" y="76518"/>
                    </a:lnTo>
                    <a:lnTo>
                      <a:pt x="37274" y="75912"/>
                    </a:lnTo>
                    <a:lnTo>
                      <a:pt x="36820" y="75457"/>
                    </a:lnTo>
                    <a:lnTo>
                      <a:pt x="35001" y="75609"/>
                    </a:lnTo>
                    <a:lnTo>
                      <a:pt x="32729" y="75609"/>
                    </a:lnTo>
                    <a:lnTo>
                      <a:pt x="31062" y="74851"/>
                    </a:lnTo>
                    <a:lnTo>
                      <a:pt x="29850" y="73790"/>
                    </a:lnTo>
                    <a:lnTo>
                      <a:pt x="29395" y="72730"/>
                    </a:lnTo>
                    <a:lnTo>
                      <a:pt x="29395" y="71972"/>
                    </a:lnTo>
                    <a:lnTo>
                      <a:pt x="30607" y="71821"/>
                    </a:lnTo>
                    <a:lnTo>
                      <a:pt x="32729" y="71366"/>
                    </a:lnTo>
                    <a:lnTo>
                      <a:pt x="34547" y="70457"/>
                    </a:lnTo>
                    <a:lnTo>
                      <a:pt x="36213" y="70002"/>
                    </a:lnTo>
                    <a:lnTo>
                      <a:pt x="37426" y="70154"/>
                    </a:lnTo>
                    <a:lnTo>
                      <a:pt x="39092" y="72730"/>
                    </a:lnTo>
                    <a:lnTo>
                      <a:pt x="41062" y="74548"/>
                    </a:lnTo>
                    <a:lnTo>
                      <a:pt x="42274" y="74245"/>
                    </a:lnTo>
                    <a:lnTo>
                      <a:pt x="42729" y="74700"/>
                    </a:lnTo>
                    <a:lnTo>
                      <a:pt x="42729" y="75760"/>
                    </a:lnTo>
                    <a:lnTo>
                      <a:pt x="42880" y="77579"/>
                    </a:lnTo>
                    <a:close/>
                    <a:moveTo>
                      <a:pt x="78488" y="109095"/>
                    </a:moveTo>
                    <a:lnTo>
                      <a:pt x="77427" y="109549"/>
                    </a:lnTo>
                    <a:lnTo>
                      <a:pt x="75912" y="109852"/>
                    </a:lnTo>
                    <a:lnTo>
                      <a:pt x="74700" y="109398"/>
                    </a:lnTo>
                    <a:lnTo>
                      <a:pt x="72882" y="109246"/>
                    </a:lnTo>
                    <a:lnTo>
                      <a:pt x="70003" y="108640"/>
                    </a:lnTo>
                    <a:lnTo>
                      <a:pt x="65912" y="107428"/>
                    </a:lnTo>
                    <a:lnTo>
                      <a:pt x="61821" y="106064"/>
                    </a:lnTo>
                    <a:lnTo>
                      <a:pt x="58942" y="104852"/>
                    </a:lnTo>
                    <a:lnTo>
                      <a:pt x="57123" y="103943"/>
                    </a:lnTo>
                    <a:lnTo>
                      <a:pt x="55608" y="103034"/>
                    </a:lnTo>
                    <a:lnTo>
                      <a:pt x="54396" y="102125"/>
                    </a:lnTo>
                    <a:lnTo>
                      <a:pt x="53487" y="101216"/>
                    </a:lnTo>
                    <a:lnTo>
                      <a:pt x="52578" y="99701"/>
                    </a:lnTo>
                    <a:lnTo>
                      <a:pt x="51366" y="97579"/>
                    </a:lnTo>
                    <a:lnTo>
                      <a:pt x="50305" y="95306"/>
                    </a:lnTo>
                    <a:lnTo>
                      <a:pt x="49699" y="93640"/>
                    </a:lnTo>
                    <a:lnTo>
                      <a:pt x="49396" y="92579"/>
                    </a:lnTo>
                    <a:lnTo>
                      <a:pt x="49093" y="92125"/>
                    </a:lnTo>
                    <a:lnTo>
                      <a:pt x="48790" y="91973"/>
                    </a:lnTo>
                    <a:lnTo>
                      <a:pt x="48487" y="91670"/>
                    </a:lnTo>
                    <a:lnTo>
                      <a:pt x="48335" y="91215"/>
                    </a:lnTo>
                    <a:lnTo>
                      <a:pt x="48335" y="90609"/>
                    </a:lnTo>
                    <a:lnTo>
                      <a:pt x="48335" y="89246"/>
                    </a:lnTo>
                    <a:lnTo>
                      <a:pt x="48184" y="87124"/>
                    </a:lnTo>
                    <a:lnTo>
                      <a:pt x="48032" y="85003"/>
                    </a:lnTo>
                    <a:lnTo>
                      <a:pt x="48032" y="83639"/>
                    </a:lnTo>
                    <a:lnTo>
                      <a:pt x="48487" y="82730"/>
                    </a:lnTo>
                    <a:lnTo>
                      <a:pt x="49093" y="81063"/>
                    </a:lnTo>
                    <a:lnTo>
                      <a:pt x="50154" y="80761"/>
                    </a:lnTo>
                    <a:lnTo>
                      <a:pt x="51214" y="80761"/>
                    </a:lnTo>
                    <a:lnTo>
                      <a:pt x="52426" y="81063"/>
                    </a:lnTo>
                    <a:lnTo>
                      <a:pt x="54548" y="81821"/>
                    </a:lnTo>
                    <a:lnTo>
                      <a:pt x="56972" y="83185"/>
                    </a:lnTo>
                    <a:lnTo>
                      <a:pt x="59093" y="84700"/>
                    </a:lnTo>
                    <a:lnTo>
                      <a:pt x="61063" y="86215"/>
                    </a:lnTo>
                    <a:lnTo>
                      <a:pt x="63184" y="87427"/>
                    </a:lnTo>
                    <a:lnTo>
                      <a:pt x="66063" y="89397"/>
                    </a:lnTo>
                    <a:lnTo>
                      <a:pt x="69548" y="92731"/>
                    </a:lnTo>
                    <a:lnTo>
                      <a:pt x="72882" y="96519"/>
                    </a:lnTo>
                    <a:lnTo>
                      <a:pt x="75458" y="99549"/>
                    </a:lnTo>
                    <a:lnTo>
                      <a:pt x="77124" y="101822"/>
                    </a:lnTo>
                    <a:lnTo>
                      <a:pt x="78336" y="103792"/>
                    </a:lnTo>
                    <a:lnTo>
                      <a:pt x="78942" y="105307"/>
                    </a:lnTo>
                    <a:lnTo>
                      <a:pt x="79246" y="106670"/>
                    </a:lnTo>
                    <a:lnTo>
                      <a:pt x="79548" y="107731"/>
                    </a:lnTo>
                    <a:lnTo>
                      <a:pt x="78488" y="1090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2" name="Freeform: Shape 3201">
                <a:extLst>
                  <a:ext uri="{FF2B5EF4-FFF2-40B4-BE49-F238E27FC236}">
                    <a16:creationId xmlns:a16="http://schemas.microsoft.com/office/drawing/2014/main" id="{788DC04A-ADC4-4217-A6C6-08352EA40955}"/>
                  </a:ext>
                </a:extLst>
              </p:cNvPr>
              <p:cNvSpPr/>
              <p:nvPr/>
            </p:nvSpPr>
            <p:spPr>
              <a:xfrm>
                <a:off x="5850839" y="4183040"/>
                <a:ext cx="327436" cy="263494"/>
              </a:xfrm>
              <a:custGeom>
                <a:avLst/>
                <a:gdLst>
                  <a:gd name="connsiteX0" fmla="*/ 124096 w 327436"/>
                  <a:gd name="connsiteY0" fmla="*/ 255918 h 263494"/>
                  <a:gd name="connsiteX1" fmla="*/ 121671 w 327436"/>
                  <a:gd name="connsiteY1" fmla="*/ 259555 h 263494"/>
                  <a:gd name="connsiteX2" fmla="*/ 123338 w 327436"/>
                  <a:gd name="connsiteY2" fmla="*/ 259706 h 263494"/>
                  <a:gd name="connsiteX3" fmla="*/ 125914 w 327436"/>
                  <a:gd name="connsiteY3" fmla="*/ 258949 h 263494"/>
                  <a:gd name="connsiteX4" fmla="*/ 126671 w 327436"/>
                  <a:gd name="connsiteY4" fmla="*/ 257131 h 263494"/>
                  <a:gd name="connsiteX5" fmla="*/ 125156 w 327436"/>
                  <a:gd name="connsiteY5" fmla="*/ 256828 h 263494"/>
                  <a:gd name="connsiteX6" fmla="*/ 124096 w 327436"/>
                  <a:gd name="connsiteY6" fmla="*/ 255918 h 263494"/>
                  <a:gd name="connsiteX7" fmla="*/ 326375 w 327436"/>
                  <a:gd name="connsiteY7" fmla="*/ 47123 h 263494"/>
                  <a:gd name="connsiteX8" fmla="*/ 325466 w 327436"/>
                  <a:gd name="connsiteY8" fmla="*/ 45456 h 263494"/>
                  <a:gd name="connsiteX9" fmla="*/ 325315 w 327436"/>
                  <a:gd name="connsiteY9" fmla="*/ 45153 h 263494"/>
                  <a:gd name="connsiteX10" fmla="*/ 323648 w 327436"/>
                  <a:gd name="connsiteY10" fmla="*/ 43032 h 263494"/>
                  <a:gd name="connsiteX11" fmla="*/ 320769 w 327436"/>
                  <a:gd name="connsiteY11" fmla="*/ 41820 h 263494"/>
                  <a:gd name="connsiteX12" fmla="*/ 316830 w 327436"/>
                  <a:gd name="connsiteY12" fmla="*/ 41517 h 263494"/>
                  <a:gd name="connsiteX13" fmla="*/ 314708 w 327436"/>
                  <a:gd name="connsiteY13" fmla="*/ 40759 h 263494"/>
                  <a:gd name="connsiteX14" fmla="*/ 314406 w 327436"/>
                  <a:gd name="connsiteY14" fmla="*/ 38941 h 263494"/>
                  <a:gd name="connsiteX15" fmla="*/ 314254 w 327436"/>
                  <a:gd name="connsiteY15" fmla="*/ 37880 h 263494"/>
                  <a:gd name="connsiteX16" fmla="*/ 314102 w 327436"/>
                  <a:gd name="connsiteY16" fmla="*/ 36819 h 263494"/>
                  <a:gd name="connsiteX17" fmla="*/ 313799 w 327436"/>
                  <a:gd name="connsiteY17" fmla="*/ 34395 h 263494"/>
                  <a:gd name="connsiteX18" fmla="*/ 311223 w 327436"/>
                  <a:gd name="connsiteY18" fmla="*/ 21516 h 263494"/>
                  <a:gd name="connsiteX19" fmla="*/ 307587 w 327436"/>
                  <a:gd name="connsiteY19" fmla="*/ 16516 h 263494"/>
                  <a:gd name="connsiteX20" fmla="*/ 303042 w 327436"/>
                  <a:gd name="connsiteY20" fmla="*/ 10152 h 263494"/>
                  <a:gd name="connsiteX21" fmla="*/ 298799 w 327436"/>
                  <a:gd name="connsiteY21" fmla="*/ 4243 h 263494"/>
                  <a:gd name="connsiteX22" fmla="*/ 293950 w 327436"/>
                  <a:gd name="connsiteY22" fmla="*/ 4394 h 263494"/>
                  <a:gd name="connsiteX23" fmla="*/ 291071 w 327436"/>
                  <a:gd name="connsiteY23" fmla="*/ 5303 h 263494"/>
                  <a:gd name="connsiteX24" fmla="*/ 287586 w 327436"/>
                  <a:gd name="connsiteY24" fmla="*/ 8031 h 263494"/>
                  <a:gd name="connsiteX25" fmla="*/ 283647 w 327436"/>
                  <a:gd name="connsiteY25" fmla="*/ 9091 h 263494"/>
                  <a:gd name="connsiteX26" fmla="*/ 278798 w 327436"/>
                  <a:gd name="connsiteY26" fmla="*/ 11515 h 263494"/>
                  <a:gd name="connsiteX27" fmla="*/ 275768 w 327436"/>
                  <a:gd name="connsiteY27" fmla="*/ 13485 h 263494"/>
                  <a:gd name="connsiteX28" fmla="*/ 272889 w 327436"/>
                  <a:gd name="connsiteY28" fmla="*/ 15000 h 263494"/>
                  <a:gd name="connsiteX29" fmla="*/ 268949 w 327436"/>
                  <a:gd name="connsiteY29" fmla="*/ 18637 h 263494"/>
                  <a:gd name="connsiteX30" fmla="*/ 267737 w 327436"/>
                  <a:gd name="connsiteY30" fmla="*/ 21364 h 263494"/>
                  <a:gd name="connsiteX31" fmla="*/ 263798 w 327436"/>
                  <a:gd name="connsiteY31" fmla="*/ 21970 h 263494"/>
                  <a:gd name="connsiteX32" fmla="*/ 258343 w 327436"/>
                  <a:gd name="connsiteY32" fmla="*/ 21516 h 263494"/>
                  <a:gd name="connsiteX33" fmla="*/ 254858 w 327436"/>
                  <a:gd name="connsiteY33" fmla="*/ 18788 h 263494"/>
                  <a:gd name="connsiteX34" fmla="*/ 246676 w 327436"/>
                  <a:gd name="connsiteY34" fmla="*/ 15909 h 263494"/>
                  <a:gd name="connsiteX35" fmla="*/ 241372 w 327436"/>
                  <a:gd name="connsiteY35" fmla="*/ 14698 h 263494"/>
                  <a:gd name="connsiteX36" fmla="*/ 238948 w 327436"/>
                  <a:gd name="connsiteY36" fmla="*/ 14394 h 263494"/>
                  <a:gd name="connsiteX37" fmla="*/ 226523 w 327436"/>
                  <a:gd name="connsiteY37" fmla="*/ 13940 h 263494"/>
                  <a:gd name="connsiteX38" fmla="*/ 213341 w 327436"/>
                  <a:gd name="connsiteY38" fmla="*/ 15152 h 263494"/>
                  <a:gd name="connsiteX39" fmla="*/ 206674 w 327436"/>
                  <a:gd name="connsiteY39" fmla="*/ 16516 h 263494"/>
                  <a:gd name="connsiteX40" fmla="*/ 205462 w 327436"/>
                  <a:gd name="connsiteY40" fmla="*/ 16819 h 263494"/>
                  <a:gd name="connsiteX41" fmla="*/ 201674 w 327436"/>
                  <a:gd name="connsiteY41" fmla="*/ 18637 h 263494"/>
                  <a:gd name="connsiteX42" fmla="*/ 198492 w 327436"/>
                  <a:gd name="connsiteY42" fmla="*/ 20607 h 263494"/>
                  <a:gd name="connsiteX43" fmla="*/ 189856 w 327436"/>
                  <a:gd name="connsiteY43" fmla="*/ 29546 h 263494"/>
                  <a:gd name="connsiteX44" fmla="*/ 178491 w 327436"/>
                  <a:gd name="connsiteY44" fmla="*/ 29243 h 263494"/>
                  <a:gd name="connsiteX45" fmla="*/ 171825 w 327436"/>
                  <a:gd name="connsiteY45" fmla="*/ 28183 h 263494"/>
                  <a:gd name="connsiteX46" fmla="*/ 166218 w 327436"/>
                  <a:gd name="connsiteY46" fmla="*/ 26819 h 263494"/>
                  <a:gd name="connsiteX47" fmla="*/ 158188 w 327436"/>
                  <a:gd name="connsiteY47" fmla="*/ 22576 h 263494"/>
                  <a:gd name="connsiteX48" fmla="*/ 148339 w 327436"/>
                  <a:gd name="connsiteY48" fmla="*/ 16213 h 263494"/>
                  <a:gd name="connsiteX49" fmla="*/ 144550 w 327436"/>
                  <a:gd name="connsiteY49" fmla="*/ 15304 h 263494"/>
                  <a:gd name="connsiteX50" fmla="*/ 141066 w 327436"/>
                  <a:gd name="connsiteY50" fmla="*/ 14849 h 263494"/>
                  <a:gd name="connsiteX51" fmla="*/ 139853 w 327436"/>
                  <a:gd name="connsiteY51" fmla="*/ 15000 h 263494"/>
                  <a:gd name="connsiteX52" fmla="*/ 128035 w 327436"/>
                  <a:gd name="connsiteY52" fmla="*/ 21364 h 263494"/>
                  <a:gd name="connsiteX53" fmla="*/ 125762 w 327436"/>
                  <a:gd name="connsiteY53" fmla="*/ 21213 h 263494"/>
                  <a:gd name="connsiteX54" fmla="*/ 123035 w 327436"/>
                  <a:gd name="connsiteY54" fmla="*/ 21970 h 263494"/>
                  <a:gd name="connsiteX55" fmla="*/ 121217 w 327436"/>
                  <a:gd name="connsiteY55" fmla="*/ 23486 h 263494"/>
                  <a:gd name="connsiteX56" fmla="*/ 119853 w 327436"/>
                  <a:gd name="connsiteY56" fmla="*/ 24243 h 263494"/>
                  <a:gd name="connsiteX57" fmla="*/ 118489 w 327436"/>
                  <a:gd name="connsiteY57" fmla="*/ 24395 h 263494"/>
                  <a:gd name="connsiteX58" fmla="*/ 116671 w 327436"/>
                  <a:gd name="connsiteY58" fmla="*/ 24092 h 263494"/>
                  <a:gd name="connsiteX59" fmla="*/ 114853 w 327436"/>
                  <a:gd name="connsiteY59" fmla="*/ 23183 h 263494"/>
                  <a:gd name="connsiteX60" fmla="*/ 113034 w 327436"/>
                  <a:gd name="connsiteY60" fmla="*/ 21364 h 263494"/>
                  <a:gd name="connsiteX61" fmla="*/ 108186 w 327436"/>
                  <a:gd name="connsiteY61" fmla="*/ 14243 h 263494"/>
                  <a:gd name="connsiteX62" fmla="*/ 107125 w 327436"/>
                  <a:gd name="connsiteY62" fmla="*/ 13031 h 263494"/>
                  <a:gd name="connsiteX63" fmla="*/ 105004 w 327436"/>
                  <a:gd name="connsiteY63" fmla="*/ 10910 h 263494"/>
                  <a:gd name="connsiteX64" fmla="*/ 101519 w 327436"/>
                  <a:gd name="connsiteY64" fmla="*/ 7576 h 263494"/>
                  <a:gd name="connsiteX65" fmla="*/ 99094 w 327436"/>
                  <a:gd name="connsiteY65" fmla="*/ 6061 h 263494"/>
                  <a:gd name="connsiteX66" fmla="*/ 97579 w 327436"/>
                  <a:gd name="connsiteY66" fmla="*/ 5606 h 263494"/>
                  <a:gd name="connsiteX67" fmla="*/ 95912 w 327436"/>
                  <a:gd name="connsiteY67" fmla="*/ 5909 h 263494"/>
                  <a:gd name="connsiteX68" fmla="*/ 86518 w 327436"/>
                  <a:gd name="connsiteY68" fmla="*/ 3030 h 263494"/>
                  <a:gd name="connsiteX69" fmla="*/ 76972 w 327436"/>
                  <a:gd name="connsiteY69" fmla="*/ 0 h 263494"/>
                  <a:gd name="connsiteX70" fmla="*/ 74851 w 327436"/>
                  <a:gd name="connsiteY70" fmla="*/ 303 h 263494"/>
                  <a:gd name="connsiteX71" fmla="*/ 73336 w 327436"/>
                  <a:gd name="connsiteY71" fmla="*/ 909 h 263494"/>
                  <a:gd name="connsiteX72" fmla="*/ 70003 w 327436"/>
                  <a:gd name="connsiteY72" fmla="*/ 3182 h 263494"/>
                  <a:gd name="connsiteX73" fmla="*/ 66215 w 327436"/>
                  <a:gd name="connsiteY73" fmla="*/ 3636 h 263494"/>
                  <a:gd name="connsiteX74" fmla="*/ 61366 w 327436"/>
                  <a:gd name="connsiteY74" fmla="*/ 3485 h 263494"/>
                  <a:gd name="connsiteX75" fmla="*/ 58638 w 327436"/>
                  <a:gd name="connsiteY75" fmla="*/ 3182 h 263494"/>
                  <a:gd name="connsiteX76" fmla="*/ 54244 w 327436"/>
                  <a:gd name="connsiteY76" fmla="*/ 3939 h 263494"/>
                  <a:gd name="connsiteX77" fmla="*/ 51365 w 327436"/>
                  <a:gd name="connsiteY77" fmla="*/ 4849 h 263494"/>
                  <a:gd name="connsiteX78" fmla="*/ 47577 w 327436"/>
                  <a:gd name="connsiteY78" fmla="*/ 6364 h 263494"/>
                  <a:gd name="connsiteX79" fmla="*/ 42729 w 327436"/>
                  <a:gd name="connsiteY79" fmla="*/ 10455 h 263494"/>
                  <a:gd name="connsiteX80" fmla="*/ 41365 w 327436"/>
                  <a:gd name="connsiteY80" fmla="*/ 10910 h 263494"/>
                  <a:gd name="connsiteX81" fmla="*/ 40153 w 327436"/>
                  <a:gd name="connsiteY81" fmla="*/ 11515 h 263494"/>
                  <a:gd name="connsiteX82" fmla="*/ 38486 w 327436"/>
                  <a:gd name="connsiteY82" fmla="*/ 22576 h 263494"/>
                  <a:gd name="connsiteX83" fmla="*/ 37122 w 327436"/>
                  <a:gd name="connsiteY83" fmla="*/ 25910 h 263494"/>
                  <a:gd name="connsiteX84" fmla="*/ 34698 w 327436"/>
                  <a:gd name="connsiteY84" fmla="*/ 30304 h 263494"/>
                  <a:gd name="connsiteX85" fmla="*/ 29850 w 327436"/>
                  <a:gd name="connsiteY85" fmla="*/ 34547 h 263494"/>
                  <a:gd name="connsiteX86" fmla="*/ 26516 w 327436"/>
                  <a:gd name="connsiteY86" fmla="*/ 37123 h 263494"/>
                  <a:gd name="connsiteX87" fmla="*/ 26364 w 327436"/>
                  <a:gd name="connsiteY87" fmla="*/ 40607 h 263494"/>
                  <a:gd name="connsiteX88" fmla="*/ 26062 w 327436"/>
                  <a:gd name="connsiteY88" fmla="*/ 46214 h 263494"/>
                  <a:gd name="connsiteX89" fmla="*/ 26062 w 327436"/>
                  <a:gd name="connsiteY89" fmla="*/ 50153 h 263494"/>
                  <a:gd name="connsiteX90" fmla="*/ 26213 w 327436"/>
                  <a:gd name="connsiteY90" fmla="*/ 52729 h 263494"/>
                  <a:gd name="connsiteX91" fmla="*/ 25607 w 327436"/>
                  <a:gd name="connsiteY91" fmla="*/ 53941 h 263494"/>
                  <a:gd name="connsiteX92" fmla="*/ 25304 w 327436"/>
                  <a:gd name="connsiteY92" fmla="*/ 55002 h 263494"/>
                  <a:gd name="connsiteX93" fmla="*/ 25455 w 327436"/>
                  <a:gd name="connsiteY93" fmla="*/ 56669 h 263494"/>
                  <a:gd name="connsiteX94" fmla="*/ 26213 w 327436"/>
                  <a:gd name="connsiteY94" fmla="*/ 57426 h 263494"/>
                  <a:gd name="connsiteX95" fmla="*/ 26667 w 327436"/>
                  <a:gd name="connsiteY95" fmla="*/ 58487 h 263494"/>
                  <a:gd name="connsiteX96" fmla="*/ 26364 w 327436"/>
                  <a:gd name="connsiteY96" fmla="*/ 59396 h 263494"/>
                  <a:gd name="connsiteX97" fmla="*/ 24849 w 327436"/>
                  <a:gd name="connsiteY97" fmla="*/ 60305 h 263494"/>
                  <a:gd name="connsiteX98" fmla="*/ 23789 w 327436"/>
                  <a:gd name="connsiteY98" fmla="*/ 62123 h 263494"/>
                  <a:gd name="connsiteX99" fmla="*/ 22122 w 327436"/>
                  <a:gd name="connsiteY99" fmla="*/ 65760 h 263494"/>
                  <a:gd name="connsiteX100" fmla="*/ 22122 w 327436"/>
                  <a:gd name="connsiteY100" fmla="*/ 68639 h 263494"/>
                  <a:gd name="connsiteX101" fmla="*/ 26213 w 327436"/>
                  <a:gd name="connsiteY101" fmla="*/ 74700 h 263494"/>
                  <a:gd name="connsiteX102" fmla="*/ 26667 w 327436"/>
                  <a:gd name="connsiteY102" fmla="*/ 75306 h 263494"/>
                  <a:gd name="connsiteX103" fmla="*/ 27728 w 327436"/>
                  <a:gd name="connsiteY103" fmla="*/ 76215 h 263494"/>
                  <a:gd name="connsiteX104" fmla="*/ 28334 w 327436"/>
                  <a:gd name="connsiteY104" fmla="*/ 77275 h 263494"/>
                  <a:gd name="connsiteX105" fmla="*/ 28789 w 327436"/>
                  <a:gd name="connsiteY105" fmla="*/ 80306 h 263494"/>
                  <a:gd name="connsiteX106" fmla="*/ 29092 w 327436"/>
                  <a:gd name="connsiteY106" fmla="*/ 83639 h 263494"/>
                  <a:gd name="connsiteX107" fmla="*/ 29395 w 327436"/>
                  <a:gd name="connsiteY107" fmla="*/ 85912 h 263494"/>
                  <a:gd name="connsiteX108" fmla="*/ 31365 w 327436"/>
                  <a:gd name="connsiteY108" fmla="*/ 89094 h 263494"/>
                  <a:gd name="connsiteX109" fmla="*/ 31516 w 327436"/>
                  <a:gd name="connsiteY109" fmla="*/ 90306 h 263494"/>
                  <a:gd name="connsiteX110" fmla="*/ 30152 w 327436"/>
                  <a:gd name="connsiteY110" fmla="*/ 95003 h 263494"/>
                  <a:gd name="connsiteX111" fmla="*/ 29850 w 327436"/>
                  <a:gd name="connsiteY111" fmla="*/ 95458 h 263494"/>
                  <a:gd name="connsiteX112" fmla="*/ 29546 w 327436"/>
                  <a:gd name="connsiteY112" fmla="*/ 95610 h 263494"/>
                  <a:gd name="connsiteX113" fmla="*/ 27425 w 327436"/>
                  <a:gd name="connsiteY113" fmla="*/ 95155 h 263494"/>
                  <a:gd name="connsiteX114" fmla="*/ 26516 w 327436"/>
                  <a:gd name="connsiteY114" fmla="*/ 95610 h 263494"/>
                  <a:gd name="connsiteX115" fmla="*/ 25304 w 327436"/>
                  <a:gd name="connsiteY115" fmla="*/ 97276 h 263494"/>
                  <a:gd name="connsiteX116" fmla="*/ 24546 w 327436"/>
                  <a:gd name="connsiteY116" fmla="*/ 98943 h 263494"/>
                  <a:gd name="connsiteX117" fmla="*/ 24546 w 327436"/>
                  <a:gd name="connsiteY117" fmla="*/ 99549 h 263494"/>
                  <a:gd name="connsiteX118" fmla="*/ 26516 w 327436"/>
                  <a:gd name="connsiteY118" fmla="*/ 102579 h 263494"/>
                  <a:gd name="connsiteX119" fmla="*/ 25304 w 327436"/>
                  <a:gd name="connsiteY119" fmla="*/ 106822 h 263494"/>
                  <a:gd name="connsiteX120" fmla="*/ 24092 w 327436"/>
                  <a:gd name="connsiteY120" fmla="*/ 109549 h 263494"/>
                  <a:gd name="connsiteX121" fmla="*/ 21819 w 327436"/>
                  <a:gd name="connsiteY121" fmla="*/ 111064 h 263494"/>
                  <a:gd name="connsiteX122" fmla="*/ 19849 w 327436"/>
                  <a:gd name="connsiteY122" fmla="*/ 111368 h 263494"/>
                  <a:gd name="connsiteX123" fmla="*/ 18486 w 327436"/>
                  <a:gd name="connsiteY123" fmla="*/ 112125 h 263494"/>
                  <a:gd name="connsiteX124" fmla="*/ 17728 w 327436"/>
                  <a:gd name="connsiteY124" fmla="*/ 113034 h 263494"/>
                  <a:gd name="connsiteX125" fmla="*/ 17879 w 327436"/>
                  <a:gd name="connsiteY125" fmla="*/ 116065 h 263494"/>
                  <a:gd name="connsiteX126" fmla="*/ 15000 w 327436"/>
                  <a:gd name="connsiteY126" fmla="*/ 118792 h 263494"/>
                  <a:gd name="connsiteX127" fmla="*/ 13334 w 327436"/>
                  <a:gd name="connsiteY127" fmla="*/ 120762 h 263494"/>
                  <a:gd name="connsiteX128" fmla="*/ 12576 w 327436"/>
                  <a:gd name="connsiteY128" fmla="*/ 121974 h 263494"/>
                  <a:gd name="connsiteX129" fmla="*/ 12879 w 327436"/>
                  <a:gd name="connsiteY129" fmla="*/ 125611 h 263494"/>
                  <a:gd name="connsiteX130" fmla="*/ 11819 w 327436"/>
                  <a:gd name="connsiteY130" fmla="*/ 129247 h 263494"/>
                  <a:gd name="connsiteX131" fmla="*/ 10000 w 327436"/>
                  <a:gd name="connsiteY131" fmla="*/ 132126 h 263494"/>
                  <a:gd name="connsiteX132" fmla="*/ 5909 w 327436"/>
                  <a:gd name="connsiteY132" fmla="*/ 132732 h 263494"/>
                  <a:gd name="connsiteX133" fmla="*/ 2576 w 327436"/>
                  <a:gd name="connsiteY133" fmla="*/ 133035 h 263494"/>
                  <a:gd name="connsiteX134" fmla="*/ 1364 w 327436"/>
                  <a:gd name="connsiteY134" fmla="*/ 140308 h 263494"/>
                  <a:gd name="connsiteX135" fmla="*/ 1364 w 327436"/>
                  <a:gd name="connsiteY135" fmla="*/ 144854 h 263494"/>
                  <a:gd name="connsiteX136" fmla="*/ 1061 w 327436"/>
                  <a:gd name="connsiteY136" fmla="*/ 149551 h 263494"/>
                  <a:gd name="connsiteX137" fmla="*/ 455 w 327436"/>
                  <a:gd name="connsiteY137" fmla="*/ 151521 h 263494"/>
                  <a:gd name="connsiteX138" fmla="*/ 757 w 327436"/>
                  <a:gd name="connsiteY138" fmla="*/ 154248 h 263494"/>
                  <a:gd name="connsiteX139" fmla="*/ 455 w 327436"/>
                  <a:gd name="connsiteY139" fmla="*/ 160309 h 263494"/>
                  <a:gd name="connsiteX140" fmla="*/ 0 w 327436"/>
                  <a:gd name="connsiteY140" fmla="*/ 165157 h 263494"/>
                  <a:gd name="connsiteX141" fmla="*/ 606 w 327436"/>
                  <a:gd name="connsiteY141" fmla="*/ 166521 h 263494"/>
                  <a:gd name="connsiteX142" fmla="*/ 909 w 327436"/>
                  <a:gd name="connsiteY142" fmla="*/ 169400 h 263494"/>
                  <a:gd name="connsiteX143" fmla="*/ 909 w 327436"/>
                  <a:gd name="connsiteY143" fmla="*/ 172279 h 263494"/>
                  <a:gd name="connsiteX144" fmla="*/ 1818 w 327436"/>
                  <a:gd name="connsiteY144" fmla="*/ 174249 h 263494"/>
                  <a:gd name="connsiteX145" fmla="*/ 2727 w 327436"/>
                  <a:gd name="connsiteY145" fmla="*/ 176067 h 263494"/>
                  <a:gd name="connsiteX146" fmla="*/ 2727 w 327436"/>
                  <a:gd name="connsiteY146" fmla="*/ 176976 h 263494"/>
                  <a:gd name="connsiteX147" fmla="*/ 2273 w 327436"/>
                  <a:gd name="connsiteY147" fmla="*/ 177582 h 263494"/>
                  <a:gd name="connsiteX148" fmla="*/ 1818 w 327436"/>
                  <a:gd name="connsiteY148" fmla="*/ 178340 h 263494"/>
                  <a:gd name="connsiteX149" fmla="*/ 1818 w 327436"/>
                  <a:gd name="connsiteY149" fmla="*/ 185158 h 263494"/>
                  <a:gd name="connsiteX150" fmla="*/ 1970 w 327436"/>
                  <a:gd name="connsiteY150" fmla="*/ 187280 h 263494"/>
                  <a:gd name="connsiteX151" fmla="*/ 1667 w 327436"/>
                  <a:gd name="connsiteY151" fmla="*/ 188643 h 263494"/>
                  <a:gd name="connsiteX152" fmla="*/ 909 w 327436"/>
                  <a:gd name="connsiteY152" fmla="*/ 189704 h 263494"/>
                  <a:gd name="connsiteX153" fmla="*/ 1212 w 327436"/>
                  <a:gd name="connsiteY153" fmla="*/ 193189 h 263494"/>
                  <a:gd name="connsiteX154" fmla="*/ 1818 w 327436"/>
                  <a:gd name="connsiteY154" fmla="*/ 195462 h 263494"/>
                  <a:gd name="connsiteX155" fmla="*/ 2424 w 327436"/>
                  <a:gd name="connsiteY155" fmla="*/ 197128 h 263494"/>
                  <a:gd name="connsiteX156" fmla="*/ 1818 w 327436"/>
                  <a:gd name="connsiteY156" fmla="*/ 198492 h 263494"/>
                  <a:gd name="connsiteX157" fmla="*/ 1364 w 327436"/>
                  <a:gd name="connsiteY157" fmla="*/ 200310 h 263494"/>
                  <a:gd name="connsiteX158" fmla="*/ 606 w 327436"/>
                  <a:gd name="connsiteY158" fmla="*/ 204856 h 263494"/>
                  <a:gd name="connsiteX159" fmla="*/ 606 w 327436"/>
                  <a:gd name="connsiteY159" fmla="*/ 206523 h 263494"/>
                  <a:gd name="connsiteX160" fmla="*/ 2424 w 327436"/>
                  <a:gd name="connsiteY160" fmla="*/ 206371 h 263494"/>
                  <a:gd name="connsiteX161" fmla="*/ 17879 w 327436"/>
                  <a:gd name="connsiteY161" fmla="*/ 205765 h 263494"/>
                  <a:gd name="connsiteX162" fmla="*/ 20455 w 327436"/>
                  <a:gd name="connsiteY162" fmla="*/ 202280 h 263494"/>
                  <a:gd name="connsiteX163" fmla="*/ 22425 w 327436"/>
                  <a:gd name="connsiteY163" fmla="*/ 202129 h 263494"/>
                  <a:gd name="connsiteX164" fmla="*/ 28334 w 327436"/>
                  <a:gd name="connsiteY164" fmla="*/ 200310 h 263494"/>
                  <a:gd name="connsiteX165" fmla="*/ 29243 w 327436"/>
                  <a:gd name="connsiteY165" fmla="*/ 200765 h 263494"/>
                  <a:gd name="connsiteX166" fmla="*/ 23637 w 327436"/>
                  <a:gd name="connsiteY166" fmla="*/ 203644 h 263494"/>
                  <a:gd name="connsiteX167" fmla="*/ 22122 w 327436"/>
                  <a:gd name="connsiteY167" fmla="*/ 204250 h 263494"/>
                  <a:gd name="connsiteX168" fmla="*/ 21061 w 327436"/>
                  <a:gd name="connsiteY168" fmla="*/ 205007 h 263494"/>
                  <a:gd name="connsiteX169" fmla="*/ 21970 w 327436"/>
                  <a:gd name="connsiteY169" fmla="*/ 205462 h 263494"/>
                  <a:gd name="connsiteX170" fmla="*/ 39395 w 327436"/>
                  <a:gd name="connsiteY170" fmla="*/ 205462 h 263494"/>
                  <a:gd name="connsiteX171" fmla="*/ 47729 w 327436"/>
                  <a:gd name="connsiteY171" fmla="*/ 207129 h 263494"/>
                  <a:gd name="connsiteX172" fmla="*/ 53335 w 327436"/>
                  <a:gd name="connsiteY172" fmla="*/ 210765 h 263494"/>
                  <a:gd name="connsiteX173" fmla="*/ 59548 w 327436"/>
                  <a:gd name="connsiteY173" fmla="*/ 215917 h 263494"/>
                  <a:gd name="connsiteX174" fmla="*/ 64548 w 327436"/>
                  <a:gd name="connsiteY174" fmla="*/ 222129 h 263494"/>
                  <a:gd name="connsiteX175" fmla="*/ 65912 w 327436"/>
                  <a:gd name="connsiteY175" fmla="*/ 222887 h 263494"/>
                  <a:gd name="connsiteX176" fmla="*/ 66215 w 327436"/>
                  <a:gd name="connsiteY176" fmla="*/ 223948 h 263494"/>
                  <a:gd name="connsiteX177" fmla="*/ 66366 w 327436"/>
                  <a:gd name="connsiteY177" fmla="*/ 226372 h 263494"/>
                  <a:gd name="connsiteX178" fmla="*/ 68033 w 327436"/>
                  <a:gd name="connsiteY178" fmla="*/ 227432 h 263494"/>
                  <a:gd name="connsiteX179" fmla="*/ 70912 w 327436"/>
                  <a:gd name="connsiteY179" fmla="*/ 226372 h 263494"/>
                  <a:gd name="connsiteX180" fmla="*/ 71669 w 327436"/>
                  <a:gd name="connsiteY180" fmla="*/ 224857 h 263494"/>
                  <a:gd name="connsiteX181" fmla="*/ 72275 w 327436"/>
                  <a:gd name="connsiteY181" fmla="*/ 224554 h 263494"/>
                  <a:gd name="connsiteX182" fmla="*/ 72275 w 327436"/>
                  <a:gd name="connsiteY182" fmla="*/ 226220 h 263494"/>
                  <a:gd name="connsiteX183" fmla="*/ 73033 w 327436"/>
                  <a:gd name="connsiteY183" fmla="*/ 226826 h 263494"/>
                  <a:gd name="connsiteX184" fmla="*/ 74851 w 327436"/>
                  <a:gd name="connsiteY184" fmla="*/ 226826 h 263494"/>
                  <a:gd name="connsiteX185" fmla="*/ 75912 w 327436"/>
                  <a:gd name="connsiteY185" fmla="*/ 227129 h 263494"/>
                  <a:gd name="connsiteX186" fmla="*/ 74245 w 327436"/>
                  <a:gd name="connsiteY186" fmla="*/ 228190 h 263494"/>
                  <a:gd name="connsiteX187" fmla="*/ 71366 w 327436"/>
                  <a:gd name="connsiteY187" fmla="*/ 228038 h 263494"/>
                  <a:gd name="connsiteX188" fmla="*/ 69396 w 327436"/>
                  <a:gd name="connsiteY188" fmla="*/ 228190 h 263494"/>
                  <a:gd name="connsiteX189" fmla="*/ 68942 w 327436"/>
                  <a:gd name="connsiteY189" fmla="*/ 229251 h 263494"/>
                  <a:gd name="connsiteX190" fmla="*/ 69851 w 327436"/>
                  <a:gd name="connsiteY190" fmla="*/ 230614 h 263494"/>
                  <a:gd name="connsiteX191" fmla="*/ 74093 w 327436"/>
                  <a:gd name="connsiteY191" fmla="*/ 232887 h 263494"/>
                  <a:gd name="connsiteX192" fmla="*/ 78639 w 327436"/>
                  <a:gd name="connsiteY192" fmla="*/ 230917 h 263494"/>
                  <a:gd name="connsiteX193" fmla="*/ 78185 w 327436"/>
                  <a:gd name="connsiteY193" fmla="*/ 232281 h 263494"/>
                  <a:gd name="connsiteX194" fmla="*/ 77276 w 327436"/>
                  <a:gd name="connsiteY194" fmla="*/ 233645 h 263494"/>
                  <a:gd name="connsiteX195" fmla="*/ 75609 w 327436"/>
                  <a:gd name="connsiteY195" fmla="*/ 233948 h 263494"/>
                  <a:gd name="connsiteX196" fmla="*/ 73639 w 327436"/>
                  <a:gd name="connsiteY196" fmla="*/ 234705 h 263494"/>
                  <a:gd name="connsiteX197" fmla="*/ 73488 w 327436"/>
                  <a:gd name="connsiteY197" fmla="*/ 236827 h 263494"/>
                  <a:gd name="connsiteX198" fmla="*/ 73639 w 327436"/>
                  <a:gd name="connsiteY198" fmla="*/ 238645 h 263494"/>
                  <a:gd name="connsiteX199" fmla="*/ 74093 w 327436"/>
                  <a:gd name="connsiteY199" fmla="*/ 239251 h 263494"/>
                  <a:gd name="connsiteX200" fmla="*/ 76518 w 327436"/>
                  <a:gd name="connsiteY200" fmla="*/ 239857 h 263494"/>
                  <a:gd name="connsiteX201" fmla="*/ 75912 w 327436"/>
                  <a:gd name="connsiteY201" fmla="*/ 240615 h 263494"/>
                  <a:gd name="connsiteX202" fmla="*/ 74548 w 327436"/>
                  <a:gd name="connsiteY202" fmla="*/ 240160 h 263494"/>
                  <a:gd name="connsiteX203" fmla="*/ 73942 w 327436"/>
                  <a:gd name="connsiteY203" fmla="*/ 240463 h 263494"/>
                  <a:gd name="connsiteX204" fmla="*/ 75760 w 327436"/>
                  <a:gd name="connsiteY204" fmla="*/ 245463 h 263494"/>
                  <a:gd name="connsiteX205" fmla="*/ 76972 w 327436"/>
                  <a:gd name="connsiteY205" fmla="*/ 248342 h 263494"/>
                  <a:gd name="connsiteX206" fmla="*/ 78639 w 327436"/>
                  <a:gd name="connsiteY206" fmla="*/ 251221 h 263494"/>
                  <a:gd name="connsiteX207" fmla="*/ 79548 w 327436"/>
                  <a:gd name="connsiteY207" fmla="*/ 253494 h 263494"/>
                  <a:gd name="connsiteX208" fmla="*/ 85306 w 327436"/>
                  <a:gd name="connsiteY208" fmla="*/ 258646 h 263494"/>
                  <a:gd name="connsiteX209" fmla="*/ 88185 w 327436"/>
                  <a:gd name="connsiteY209" fmla="*/ 260464 h 263494"/>
                  <a:gd name="connsiteX210" fmla="*/ 90003 w 327436"/>
                  <a:gd name="connsiteY210" fmla="*/ 261828 h 263494"/>
                  <a:gd name="connsiteX211" fmla="*/ 92882 w 327436"/>
                  <a:gd name="connsiteY211" fmla="*/ 263191 h 263494"/>
                  <a:gd name="connsiteX212" fmla="*/ 95458 w 327436"/>
                  <a:gd name="connsiteY212" fmla="*/ 263494 h 263494"/>
                  <a:gd name="connsiteX213" fmla="*/ 96367 w 327436"/>
                  <a:gd name="connsiteY213" fmla="*/ 263040 h 263494"/>
                  <a:gd name="connsiteX214" fmla="*/ 96670 w 327436"/>
                  <a:gd name="connsiteY214" fmla="*/ 260464 h 263494"/>
                  <a:gd name="connsiteX215" fmla="*/ 98185 w 327436"/>
                  <a:gd name="connsiteY215" fmla="*/ 259252 h 263494"/>
                  <a:gd name="connsiteX216" fmla="*/ 98337 w 327436"/>
                  <a:gd name="connsiteY216" fmla="*/ 260919 h 263494"/>
                  <a:gd name="connsiteX217" fmla="*/ 97882 w 327436"/>
                  <a:gd name="connsiteY217" fmla="*/ 261979 h 263494"/>
                  <a:gd name="connsiteX218" fmla="*/ 98034 w 327436"/>
                  <a:gd name="connsiteY218" fmla="*/ 262585 h 263494"/>
                  <a:gd name="connsiteX219" fmla="*/ 99094 w 327436"/>
                  <a:gd name="connsiteY219" fmla="*/ 262737 h 263494"/>
                  <a:gd name="connsiteX220" fmla="*/ 103488 w 327436"/>
                  <a:gd name="connsiteY220" fmla="*/ 261979 h 263494"/>
                  <a:gd name="connsiteX221" fmla="*/ 104549 w 327436"/>
                  <a:gd name="connsiteY221" fmla="*/ 261979 h 263494"/>
                  <a:gd name="connsiteX222" fmla="*/ 106065 w 327436"/>
                  <a:gd name="connsiteY222" fmla="*/ 261676 h 263494"/>
                  <a:gd name="connsiteX223" fmla="*/ 106822 w 327436"/>
                  <a:gd name="connsiteY223" fmla="*/ 258040 h 263494"/>
                  <a:gd name="connsiteX224" fmla="*/ 107428 w 327436"/>
                  <a:gd name="connsiteY224" fmla="*/ 258646 h 263494"/>
                  <a:gd name="connsiteX225" fmla="*/ 107883 w 327436"/>
                  <a:gd name="connsiteY225" fmla="*/ 260767 h 263494"/>
                  <a:gd name="connsiteX226" fmla="*/ 108337 w 327436"/>
                  <a:gd name="connsiteY226" fmla="*/ 261676 h 263494"/>
                  <a:gd name="connsiteX227" fmla="*/ 110610 w 327436"/>
                  <a:gd name="connsiteY227" fmla="*/ 261676 h 263494"/>
                  <a:gd name="connsiteX228" fmla="*/ 111822 w 327436"/>
                  <a:gd name="connsiteY228" fmla="*/ 261676 h 263494"/>
                  <a:gd name="connsiteX229" fmla="*/ 114701 w 327436"/>
                  <a:gd name="connsiteY229" fmla="*/ 260919 h 263494"/>
                  <a:gd name="connsiteX230" fmla="*/ 112883 w 327436"/>
                  <a:gd name="connsiteY230" fmla="*/ 258343 h 263494"/>
                  <a:gd name="connsiteX231" fmla="*/ 112883 w 327436"/>
                  <a:gd name="connsiteY231" fmla="*/ 255009 h 263494"/>
                  <a:gd name="connsiteX232" fmla="*/ 112731 w 327436"/>
                  <a:gd name="connsiteY232" fmla="*/ 253343 h 263494"/>
                  <a:gd name="connsiteX233" fmla="*/ 112277 w 327436"/>
                  <a:gd name="connsiteY233" fmla="*/ 251373 h 263494"/>
                  <a:gd name="connsiteX234" fmla="*/ 112883 w 327436"/>
                  <a:gd name="connsiteY234" fmla="*/ 251373 h 263494"/>
                  <a:gd name="connsiteX235" fmla="*/ 113943 w 327436"/>
                  <a:gd name="connsiteY235" fmla="*/ 253494 h 263494"/>
                  <a:gd name="connsiteX236" fmla="*/ 114398 w 327436"/>
                  <a:gd name="connsiteY236" fmla="*/ 256828 h 263494"/>
                  <a:gd name="connsiteX237" fmla="*/ 115156 w 327436"/>
                  <a:gd name="connsiteY237" fmla="*/ 259100 h 263494"/>
                  <a:gd name="connsiteX238" fmla="*/ 116671 w 327436"/>
                  <a:gd name="connsiteY238" fmla="*/ 260464 h 263494"/>
                  <a:gd name="connsiteX239" fmla="*/ 119095 w 327436"/>
                  <a:gd name="connsiteY239" fmla="*/ 260312 h 263494"/>
                  <a:gd name="connsiteX240" fmla="*/ 123035 w 327436"/>
                  <a:gd name="connsiteY240" fmla="*/ 257131 h 263494"/>
                  <a:gd name="connsiteX241" fmla="*/ 123338 w 327436"/>
                  <a:gd name="connsiteY241" fmla="*/ 254403 h 263494"/>
                  <a:gd name="connsiteX242" fmla="*/ 121217 w 327436"/>
                  <a:gd name="connsiteY242" fmla="*/ 252433 h 263494"/>
                  <a:gd name="connsiteX243" fmla="*/ 120913 w 327436"/>
                  <a:gd name="connsiteY243" fmla="*/ 251676 h 263494"/>
                  <a:gd name="connsiteX244" fmla="*/ 122732 w 327436"/>
                  <a:gd name="connsiteY244" fmla="*/ 252585 h 263494"/>
                  <a:gd name="connsiteX245" fmla="*/ 124398 w 327436"/>
                  <a:gd name="connsiteY245" fmla="*/ 254555 h 263494"/>
                  <a:gd name="connsiteX246" fmla="*/ 126520 w 327436"/>
                  <a:gd name="connsiteY246" fmla="*/ 256373 h 263494"/>
                  <a:gd name="connsiteX247" fmla="*/ 131368 w 327436"/>
                  <a:gd name="connsiteY247" fmla="*/ 256221 h 263494"/>
                  <a:gd name="connsiteX248" fmla="*/ 132732 w 327436"/>
                  <a:gd name="connsiteY248" fmla="*/ 255161 h 263494"/>
                  <a:gd name="connsiteX249" fmla="*/ 132884 w 327436"/>
                  <a:gd name="connsiteY249" fmla="*/ 253797 h 263494"/>
                  <a:gd name="connsiteX250" fmla="*/ 133186 w 327436"/>
                  <a:gd name="connsiteY250" fmla="*/ 253494 h 263494"/>
                  <a:gd name="connsiteX251" fmla="*/ 134096 w 327436"/>
                  <a:gd name="connsiteY251" fmla="*/ 256070 h 263494"/>
                  <a:gd name="connsiteX252" fmla="*/ 136217 w 327436"/>
                  <a:gd name="connsiteY252" fmla="*/ 256979 h 263494"/>
                  <a:gd name="connsiteX253" fmla="*/ 140460 w 327436"/>
                  <a:gd name="connsiteY253" fmla="*/ 257131 h 263494"/>
                  <a:gd name="connsiteX254" fmla="*/ 146672 w 327436"/>
                  <a:gd name="connsiteY254" fmla="*/ 256221 h 263494"/>
                  <a:gd name="connsiteX255" fmla="*/ 153945 w 327436"/>
                  <a:gd name="connsiteY255" fmla="*/ 256221 h 263494"/>
                  <a:gd name="connsiteX256" fmla="*/ 154854 w 327436"/>
                  <a:gd name="connsiteY256" fmla="*/ 253494 h 263494"/>
                  <a:gd name="connsiteX257" fmla="*/ 152278 w 327436"/>
                  <a:gd name="connsiteY257" fmla="*/ 246676 h 263494"/>
                  <a:gd name="connsiteX258" fmla="*/ 152733 w 327436"/>
                  <a:gd name="connsiteY258" fmla="*/ 246221 h 263494"/>
                  <a:gd name="connsiteX259" fmla="*/ 155157 w 327436"/>
                  <a:gd name="connsiteY259" fmla="*/ 248948 h 263494"/>
                  <a:gd name="connsiteX260" fmla="*/ 156521 w 327436"/>
                  <a:gd name="connsiteY260" fmla="*/ 249251 h 263494"/>
                  <a:gd name="connsiteX261" fmla="*/ 157582 w 327436"/>
                  <a:gd name="connsiteY261" fmla="*/ 251070 h 263494"/>
                  <a:gd name="connsiteX262" fmla="*/ 159854 w 327436"/>
                  <a:gd name="connsiteY262" fmla="*/ 251676 h 263494"/>
                  <a:gd name="connsiteX263" fmla="*/ 160612 w 327436"/>
                  <a:gd name="connsiteY263" fmla="*/ 250767 h 263494"/>
                  <a:gd name="connsiteX264" fmla="*/ 160915 w 327436"/>
                  <a:gd name="connsiteY264" fmla="*/ 250767 h 263494"/>
                  <a:gd name="connsiteX265" fmla="*/ 161672 w 327436"/>
                  <a:gd name="connsiteY265" fmla="*/ 248645 h 263494"/>
                  <a:gd name="connsiteX266" fmla="*/ 163188 w 327436"/>
                  <a:gd name="connsiteY266" fmla="*/ 246069 h 263494"/>
                  <a:gd name="connsiteX267" fmla="*/ 165309 w 327436"/>
                  <a:gd name="connsiteY267" fmla="*/ 242736 h 263494"/>
                  <a:gd name="connsiteX268" fmla="*/ 167582 w 327436"/>
                  <a:gd name="connsiteY268" fmla="*/ 238645 h 263494"/>
                  <a:gd name="connsiteX269" fmla="*/ 169248 w 327436"/>
                  <a:gd name="connsiteY269" fmla="*/ 231372 h 263494"/>
                  <a:gd name="connsiteX270" fmla="*/ 170309 w 327436"/>
                  <a:gd name="connsiteY270" fmla="*/ 226826 h 263494"/>
                  <a:gd name="connsiteX271" fmla="*/ 171370 w 327436"/>
                  <a:gd name="connsiteY271" fmla="*/ 222735 h 263494"/>
                  <a:gd name="connsiteX272" fmla="*/ 173036 w 327436"/>
                  <a:gd name="connsiteY272" fmla="*/ 218947 h 263494"/>
                  <a:gd name="connsiteX273" fmla="*/ 174703 w 327436"/>
                  <a:gd name="connsiteY273" fmla="*/ 216523 h 263494"/>
                  <a:gd name="connsiteX274" fmla="*/ 179552 w 327436"/>
                  <a:gd name="connsiteY274" fmla="*/ 211674 h 263494"/>
                  <a:gd name="connsiteX275" fmla="*/ 183189 w 327436"/>
                  <a:gd name="connsiteY275" fmla="*/ 208038 h 263494"/>
                  <a:gd name="connsiteX276" fmla="*/ 185007 w 327436"/>
                  <a:gd name="connsiteY276" fmla="*/ 206523 h 263494"/>
                  <a:gd name="connsiteX277" fmla="*/ 186370 w 327436"/>
                  <a:gd name="connsiteY277" fmla="*/ 205310 h 263494"/>
                  <a:gd name="connsiteX278" fmla="*/ 188643 w 327436"/>
                  <a:gd name="connsiteY278" fmla="*/ 203947 h 263494"/>
                  <a:gd name="connsiteX279" fmla="*/ 191067 w 327436"/>
                  <a:gd name="connsiteY279" fmla="*/ 202280 h 263494"/>
                  <a:gd name="connsiteX280" fmla="*/ 192886 w 327436"/>
                  <a:gd name="connsiteY280" fmla="*/ 199098 h 263494"/>
                  <a:gd name="connsiteX281" fmla="*/ 194401 w 327436"/>
                  <a:gd name="connsiteY281" fmla="*/ 196068 h 263494"/>
                  <a:gd name="connsiteX282" fmla="*/ 195462 w 327436"/>
                  <a:gd name="connsiteY282" fmla="*/ 195462 h 263494"/>
                  <a:gd name="connsiteX283" fmla="*/ 196977 w 327436"/>
                  <a:gd name="connsiteY283" fmla="*/ 195007 h 263494"/>
                  <a:gd name="connsiteX284" fmla="*/ 201522 w 327436"/>
                  <a:gd name="connsiteY284" fmla="*/ 191825 h 263494"/>
                  <a:gd name="connsiteX285" fmla="*/ 204401 w 327436"/>
                  <a:gd name="connsiteY285" fmla="*/ 189704 h 263494"/>
                  <a:gd name="connsiteX286" fmla="*/ 205008 w 327436"/>
                  <a:gd name="connsiteY286" fmla="*/ 190764 h 263494"/>
                  <a:gd name="connsiteX287" fmla="*/ 205462 w 327436"/>
                  <a:gd name="connsiteY287" fmla="*/ 191977 h 263494"/>
                  <a:gd name="connsiteX288" fmla="*/ 206068 w 327436"/>
                  <a:gd name="connsiteY288" fmla="*/ 192583 h 263494"/>
                  <a:gd name="connsiteX289" fmla="*/ 208492 w 327436"/>
                  <a:gd name="connsiteY289" fmla="*/ 193037 h 263494"/>
                  <a:gd name="connsiteX290" fmla="*/ 211826 w 327436"/>
                  <a:gd name="connsiteY290" fmla="*/ 193037 h 263494"/>
                  <a:gd name="connsiteX291" fmla="*/ 213644 w 327436"/>
                  <a:gd name="connsiteY291" fmla="*/ 192734 h 263494"/>
                  <a:gd name="connsiteX292" fmla="*/ 214705 w 327436"/>
                  <a:gd name="connsiteY292" fmla="*/ 191674 h 263494"/>
                  <a:gd name="connsiteX293" fmla="*/ 215765 w 327436"/>
                  <a:gd name="connsiteY293" fmla="*/ 188795 h 263494"/>
                  <a:gd name="connsiteX294" fmla="*/ 216372 w 327436"/>
                  <a:gd name="connsiteY294" fmla="*/ 188189 h 263494"/>
                  <a:gd name="connsiteX295" fmla="*/ 217129 w 327436"/>
                  <a:gd name="connsiteY295" fmla="*/ 188037 h 263494"/>
                  <a:gd name="connsiteX296" fmla="*/ 220766 w 327436"/>
                  <a:gd name="connsiteY296" fmla="*/ 190007 h 263494"/>
                  <a:gd name="connsiteX297" fmla="*/ 223796 w 327436"/>
                  <a:gd name="connsiteY297" fmla="*/ 192886 h 263494"/>
                  <a:gd name="connsiteX298" fmla="*/ 226675 w 327436"/>
                  <a:gd name="connsiteY298" fmla="*/ 195765 h 263494"/>
                  <a:gd name="connsiteX299" fmla="*/ 228190 w 327436"/>
                  <a:gd name="connsiteY299" fmla="*/ 196825 h 263494"/>
                  <a:gd name="connsiteX300" fmla="*/ 228796 w 327436"/>
                  <a:gd name="connsiteY300" fmla="*/ 197886 h 263494"/>
                  <a:gd name="connsiteX301" fmla="*/ 230160 w 327436"/>
                  <a:gd name="connsiteY301" fmla="*/ 203189 h 263494"/>
                  <a:gd name="connsiteX302" fmla="*/ 230918 w 327436"/>
                  <a:gd name="connsiteY302" fmla="*/ 204553 h 263494"/>
                  <a:gd name="connsiteX303" fmla="*/ 232130 w 327436"/>
                  <a:gd name="connsiteY303" fmla="*/ 205159 h 263494"/>
                  <a:gd name="connsiteX304" fmla="*/ 234403 w 327436"/>
                  <a:gd name="connsiteY304" fmla="*/ 204856 h 263494"/>
                  <a:gd name="connsiteX305" fmla="*/ 236827 w 327436"/>
                  <a:gd name="connsiteY305" fmla="*/ 203947 h 263494"/>
                  <a:gd name="connsiteX306" fmla="*/ 238948 w 327436"/>
                  <a:gd name="connsiteY306" fmla="*/ 202583 h 263494"/>
                  <a:gd name="connsiteX307" fmla="*/ 241070 w 327436"/>
                  <a:gd name="connsiteY307" fmla="*/ 200916 h 263494"/>
                  <a:gd name="connsiteX308" fmla="*/ 242433 w 327436"/>
                  <a:gd name="connsiteY308" fmla="*/ 199401 h 263494"/>
                  <a:gd name="connsiteX309" fmla="*/ 243039 w 327436"/>
                  <a:gd name="connsiteY309" fmla="*/ 198189 h 263494"/>
                  <a:gd name="connsiteX310" fmla="*/ 243342 w 327436"/>
                  <a:gd name="connsiteY310" fmla="*/ 193946 h 263494"/>
                  <a:gd name="connsiteX311" fmla="*/ 243797 w 327436"/>
                  <a:gd name="connsiteY311" fmla="*/ 193037 h 263494"/>
                  <a:gd name="connsiteX312" fmla="*/ 245918 w 327436"/>
                  <a:gd name="connsiteY312" fmla="*/ 191370 h 263494"/>
                  <a:gd name="connsiteX313" fmla="*/ 249403 w 327436"/>
                  <a:gd name="connsiteY313" fmla="*/ 188492 h 263494"/>
                  <a:gd name="connsiteX314" fmla="*/ 251373 w 327436"/>
                  <a:gd name="connsiteY314" fmla="*/ 186825 h 263494"/>
                  <a:gd name="connsiteX315" fmla="*/ 251221 w 327436"/>
                  <a:gd name="connsiteY315" fmla="*/ 186219 h 263494"/>
                  <a:gd name="connsiteX316" fmla="*/ 250009 w 327436"/>
                  <a:gd name="connsiteY316" fmla="*/ 184401 h 263494"/>
                  <a:gd name="connsiteX317" fmla="*/ 248949 w 327436"/>
                  <a:gd name="connsiteY317" fmla="*/ 182431 h 263494"/>
                  <a:gd name="connsiteX318" fmla="*/ 250160 w 327436"/>
                  <a:gd name="connsiteY318" fmla="*/ 180461 h 263494"/>
                  <a:gd name="connsiteX319" fmla="*/ 251373 w 327436"/>
                  <a:gd name="connsiteY319" fmla="*/ 178946 h 263494"/>
                  <a:gd name="connsiteX320" fmla="*/ 255918 w 327436"/>
                  <a:gd name="connsiteY320" fmla="*/ 173794 h 263494"/>
                  <a:gd name="connsiteX321" fmla="*/ 255918 w 327436"/>
                  <a:gd name="connsiteY321" fmla="*/ 172128 h 263494"/>
                  <a:gd name="connsiteX322" fmla="*/ 256222 w 327436"/>
                  <a:gd name="connsiteY322" fmla="*/ 170006 h 263494"/>
                  <a:gd name="connsiteX323" fmla="*/ 259858 w 327436"/>
                  <a:gd name="connsiteY323" fmla="*/ 164097 h 263494"/>
                  <a:gd name="connsiteX324" fmla="*/ 261979 w 327436"/>
                  <a:gd name="connsiteY324" fmla="*/ 156369 h 263494"/>
                  <a:gd name="connsiteX325" fmla="*/ 261979 w 327436"/>
                  <a:gd name="connsiteY325" fmla="*/ 154854 h 263494"/>
                  <a:gd name="connsiteX326" fmla="*/ 264101 w 327436"/>
                  <a:gd name="connsiteY326" fmla="*/ 151066 h 263494"/>
                  <a:gd name="connsiteX327" fmla="*/ 266677 w 327436"/>
                  <a:gd name="connsiteY327" fmla="*/ 146217 h 263494"/>
                  <a:gd name="connsiteX328" fmla="*/ 271525 w 327436"/>
                  <a:gd name="connsiteY328" fmla="*/ 145460 h 263494"/>
                  <a:gd name="connsiteX329" fmla="*/ 273343 w 327436"/>
                  <a:gd name="connsiteY329" fmla="*/ 144248 h 263494"/>
                  <a:gd name="connsiteX330" fmla="*/ 275465 w 327436"/>
                  <a:gd name="connsiteY330" fmla="*/ 142126 h 263494"/>
                  <a:gd name="connsiteX331" fmla="*/ 276828 w 327436"/>
                  <a:gd name="connsiteY331" fmla="*/ 140157 h 263494"/>
                  <a:gd name="connsiteX332" fmla="*/ 277435 w 327436"/>
                  <a:gd name="connsiteY332" fmla="*/ 138338 h 263494"/>
                  <a:gd name="connsiteX333" fmla="*/ 277889 w 327436"/>
                  <a:gd name="connsiteY333" fmla="*/ 134702 h 263494"/>
                  <a:gd name="connsiteX334" fmla="*/ 278798 w 327436"/>
                  <a:gd name="connsiteY334" fmla="*/ 130611 h 263494"/>
                  <a:gd name="connsiteX335" fmla="*/ 279404 w 327436"/>
                  <a:gd name="connsiteY335" fmla="*/ 126974 h 263494"/>
                  <a:gd name="connsiteX336" fmla="*/ 280919 w 327436"/>
                  <a:gd name="connsiteY336" fmla="*/ 123641 h 263494"/>
                  <a:gd name="connsiteX337" fmla="*/ 283344 w 327436"/>
                  <a:gd name="connsiteY337" fmla="*/ 121974 h 263494"/>
                  <a:gd name="connsiteX338" fmla="*/ 287586 w 327436"/>
                  <a:gd name="connsiteY338" fmla="*/ 120610 h 263494"/>
                  <a:gd name="connsiteX339" fmla="*/ 288192 w 327436"/>
                  <a:gd name="connsiteY339" fmla="*/ 120004 h 263494"/>
                  <a:gd name="connsiteX340" fmla="*/ 288799 w 327436"/>
                  <a:gd name="connsiteY340" fmla="*/ 117731 h 263494"/>
                  <a:gd name="connsiteX341" fmla="*/ 289253 w 327436"/>
                  <a:gd name="connsiteY341" fmla="*/ 113034 h 263494"/>
                  <a:gd name="connsiteX342" fmla="*/ 289405 w 327436"/>
                  <a:gd name="connsiteY342" fmla="*/ 110307 h 263494"/>
                  <a:gd name="connsiteX343" fmla="*/ 289556 w 327436"/>
                  <a:gd name="connsiteY343" fmla="*/ 109095 h 263494"/>
                  <a:gd name="connsiteX344" fmla="*/ 290162 w 327436"/>
                  <a:gd name="connsiteY344" fmla="*/ 106974 h 263494"/>
                  <a:gd name="connsiteX345" fmla="*/ 294102 w 327436"/>
                  <a:gd name="connsiteY345" fmla="*/ 103186 h 263494"/>
                  <a:gd name="connsiteX346" fmla="*/ 295920 w 327436"/>
                  <a:gd name="connsiteY346" fmla="*/ 97428 h 263494"/>
                  <a:gd name="connsiteX347" fmla="*/ 297435 w 327436"/>
                  <a:gd name="connsiteY347" fmla="*/ 91367 h 263494"/>
                  <a:gd name="connsiteX348" fmla="*/ 301981 w 327436"/>
                  <a:gd name="connsiteY348" fmla="*/ 83942 h 263494"/>
                  <a:gd name="connsiteX349" fmla="*/ 307284 w 327436"/>
                  <a:gd name="connsiteY349" fmla="*/ 76669 h 263494"/>
                  <a:gd name="connsiteX350" fmla="*/ 309709 w 327436"/>
                  <a:gd name="connsiteY350" fmla="*/ 74700 h 263494"/>
                  <a:gd name="connsiteX351" fmla="*/ 311830 w 327436"/>
                  <a:gd name="connsiteY351" fmla="*/ 73790 h 263494"/>
                  <a:gd name="connsiteX352" fmla="*/ 314254 w 327436"/>
                  <a:gd name="connsiteY352" fmla="*/ 73639 h 263494"/>
                  <a:gd name="connsiteX353" fmla="*/ 315921 w 327436"/>
                  <a:gd name="connsiteY353" fmla="*/ 73033 h 263494"/>
                  <a:gd name="connsiteX354" fmla="*/ 321527 w 327436"/>
                  <a:gd name="connsiteY354" fmla="*/ 69396 h 263494"/>
                  <a:gd name="connsiteX355" fmla="*/ 323951 w 327436"/>
                  <a:gd name="connsiteY355" fmla="*/ 68184 h 263494"/>
                  <a:gd name="connsiteX356" fmla="*/ 325618 w 327436"/>
                  <a:gd name="connsiteY356" fmla="*/ 66972 h 263494"/>
                  <a:gd name="connsiteX357" fmla="*/ 326073 w 327436"/>
                  <a:gd name="connsiteY357" fmla="*/ 65911 h 263494"/>
                  <a:gd name="connsiteX358" fmla="*/ 326224 w 327436"/>
                  <a:gd name="connsiteY358" fmla="*/ 64245 h 263494"/>
                  <a:gd name="connsiteX359" fmla="*/ 325618 w 327436"/>
                  <a:gd name="connsiteY359" fmla="*/ 60457 h 263494"/>
                  <a:gd name="connsiteX360" fmla="*/ 326527 w 327436"/>
                  <a:gd name="connsiteY360" fmla="*/ 57729 h 263494"/>
                  <a:gd name="connsiteX361" fmla="*/ 327133 w 327436"/>
                  <a:gd name="connsiteY361" fmla="*/ 53335 h 263494"/>
                  <a:gd name="connsiteX362" fmla="*/ 327436 w 327436"/>
                  <a:gd name="connsiteY362" fmla="*/ 50002 h 263494"/>
                  <a:gd name="connsiteX363" fmla="*/ 326375 w 327436"/>
                  <a:gd name="connsiteY363" fmla="*/ 47123 h 2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Lst>
                <a:rect l="l" t="t" r="r" b="b"/>
                <a:pathLst>
                  <a:path w="327436" h="263494">
                    <a:moveTo>
                      <a:pt x="124096" y="255918"/>
                    </a:moveTo>
                    <a:lnTo>
                      <a:pt x="121671" y="259555"/>
                    </a:lnTo>
                    <a:lnTo>
                      <a:pt x="123338" y="259706"/>
                    </a:lnTo>
                    <a:lnTo>
                      <a:pt x="125914" y="258949"/>
                    </a:lnTo>
                    <a:lnTo>
                      <a:pt x="126671" y="257131"/>
                    </a:lnTo>
                    <a:lnTo>
                      <a:pt x="125156" y="256828"/>
                    </a:lnTo>
                    <a:lnTo>
                      <a:pt x="124096" y="255918"/>
                    </a:lnTo>
                    <a:close/>
                    <a:moveTo>
                      <a:pt x="326375" y="47123"/>
                    </a:moveTo>
                    <a:lnTo>
                      <a:pt x="325466" y="45456"/>
                    </a:lnTo>
                    <a:lnTo>
                      <a:pt x="325315" y="45153"/>
                    </a:lnTo>
                    <a:lnTo>
                      <a:pt x="323648" y="43032"/>
                    </a:lnTo>
                    <a:lnTo>
                      <a:pt x="320769" y="41820"/>
                    </a:lnTo>
                    <a:lnTo>
                      <a:pt x="316830" y="41517"/>
                    </a:lnTo>
                    <a:lnTo>
                      <a:pt x="314708" y="40759"/>
                    </a:lnTo>
                    <a:lnTo>
                      <a:pt x="314406" y="38941"/>
                    </a:lnTo>
                    <a:lnTo>
                      <a:pt x="314254" y="37880"/>
                    </a:lnTo>
                    <a:lnTo>
                      <a:pt x="314102" y="36819"/>
                    </a:lnTo>
                    <a:lnTo>
                      <a:pt x="313799" y="34395"/>
                    </a:lnTo>
                    <a:lnTo>
                      <a:pt x="311223" y="21516"/>
                    </a:lnTo>
                    <a:lnTo>
                      <a:pt x="307587" y="16516"/>
                    </a:lnTo>
                    <a:lnTo>
                      <a:pt x="303042" y="10152"/>
                    </a:lnTo>
                    <a:lnTo>
                      <a:pt x="298799" y="4243"/>
                    </a:lnTo>
                    <a:lnTo>
                      <a:pt x="293950" y="4394"/>
                    </a:lnTo>
                    <a:lnTo>
                      <a:pt x="291071" y="5303"/>
                    </a:lnTo>
                    <a:lnTo>
                      <a:pt x="287586" y="8031"/>
                    </a:lnTo>
                    <a:lnTo>
                      <a:pt x="283647" y="9091"/>
                    </a:lnTo>
                    <a:lnTo>
                      <a:pt x="278798" y="11515"/>
                    </a:lnTo>
                    <a:lnTo>
                      <a:pt x="275768" y="13485"/>
                    </a:lnTo>
                    <a:lnTo>
                      <a:pt x="272889" y="15000"/>
                    </a:lnTo>
                    <a:lnTo>
                      <a:pt x="268949" y="18637"/>
                    </a:lnTo>
                    <a:lnTo>
                      <a:pt x="267737" y="21364"/>
                    </a:lnTo>
                    <a:lnTo>
                      <a:pt x="263798" y="21970"/>
                    </a:lnTo>
                    <a:lnTo>
                      <a:pt x="258343" y="21516"/>
                    </a:lnTo>
                    <a:lnTo>
                      <a:pt x="254858" y="18788"/>
                    </a:lnTo>
                    <a:lnTo>
                      <a:pt x="246676" y="15909"/>
                    </a:lnTo>
                    <a:lnTo>
                      <a:pt x="241372" y="14698"/>
                    </a:lnTo>
                    <a:lnTo>
                      <a:pt x="238948" y="14394"/>
                    </a:lnTo>
                    <a:lnTo>
                      <a:pt x="226523" y="13940"/>
                    </a:lnTo>
                    <a:lnTo>
                      <a:pt x="213341" y="15152"/>
                    </a:lnTo>
                    <a:lnTo>
                      <a:pt x="206674" y="16516"/>
                    </a:lnTo>
                    <a:lnTo>
                      <a:pt x="205462" y="16819"/>
                    </a:lnTo>
                    <a:lnTo>
                      <a:pt x="201674" y="18637"/>
                    </a:lnTo>
                    <a:lnTo>
                      <a:pt x="198492" y="20607"/>
                    </a:lnTo>
                    <a:lnTo>
                      <a:pt x="189856" y="29546"/>
                    </a:lnTo>
                    <a:lnTo>
                      <a:pt x="178491" y="29243"/>
                    </a:lnTo>
                    <a:lnTo>
                      <a:pt x="171825" y="28183"/>
                    </a:lnTo>
                    <a:lnTo>
                      <a:pt x="166218" y="26819"/>
                    </a:lnTo>
                    <a:lnTo>
                      <a:pt x="158188" y="22576"/>
                    </a:lnTo>
                    <a:lnTo>
                      <a:pt x="148339" y="16213"/>
                    </a:lnTo>
                    <a:lnTo>
                      <a:pt x="144550" y="15304"/>
                    </a:lnTo>
                    <a:lnTo>
                      <a:pt x="141066" y="14849"/>
                    </a:lnTo>
                    <a:lnTo>
                      <a:pt x="139853" y="15000"/>
                    </a:lnTo>
                    <a:lnTo>
                      <a:pt x="128035" y="21364"/>
                    </a:lnTo>
                    <a:lnTo>
                      <a:pt x="125762" y="21213"/>
                    </a:lnTo>
                    <a:lnTo>
                      <a:pt x="123035" y="21970"/>
                    </a:lnTo>
                    <a:lnTo>
                      <a:pt x="121217" y="23486"/>
                    </a:lnTo>
                    <a:lnTo>
                      <a:pt x="119853" y="24243"/>
                    </a:lnTo>
                    <a:lnTo>
                      <a:pt x="118489" y="24395"/>
                    </a:lnTo>
                    <a:lnTo>
                      <a:pt x="116671" y="24092"/>
                    </a:lnTo>
                    <a:lnTo>
                      <a:pt x="114853" y="23183"/>
                    </a:lnTo>
                    <a:lnTo>
                      <a:pt x="113034" y="21364"/>
                    </a:lnTo>
                    <a:lnTo>
                      <a:pt x="108186" y="14243"/>
                    </a:lnTo>
                    <a:lnTo>
                      <a:pt x="107125" y="13031"/>
                    </a:lnTo>
                    <a:lnTo>
                      <a:pt x="105004" y="10910"/>
                    </a:lnTo>
                    <a:lnTo>
                      <a:pt x="101519" y="7576"/>
                    </a:lnTo>
                    <a:lnTo>
                      <a:pt x="99094" y="6061"/>
                    </a:lnTo>
                    <a:lnTo>
                      <a:pt x="97579" y="5606"/>
                    </a:lnTo>
                    <a:lnTo>
                      <a:pt x="95912" y="5909"/>
                    </a:lnTo>
                    <a:lnTo>
                      <a:pt x="86518" y="3030"/>
                    </a:lnTo>
                    <a:lnTo>
                      <a:pt x="76972" y="0"/>
                    </a:lnTo>
                    <a:lnTo>
                      <a:pt x="74851" y="303"/>
                    </a:lnTo>
                    <a:lnTo>
                      <a:pt x="73336" y="909"/>
                    </a:lnTo>
                    <a:lnTo>
                      <a:pt x="70003" y="3182"/>
                    </a:lnTo>
                    <a:lnTo>
                      <a:pt x="66215" y="3636"/>
                    </a:lnTo>
                    <a:lnTo>
                      <a:pt x="61366" y="3485"/>
                    </a:lnTo>
                    <a:lnTo>
                      <a:pt x="58638" y="3182"/>
                    </a:lnTo>
                    <a:lnTo>
                      <a:pt x="54244" y="3939"/>
                    </a:lnTo>
                    <a:lnTo>
                      <a:pt x="51365" y="4849"/>
                    </a:lnTo>
                    <a:lnTo>
                      <a:pt x="47577" y="6364"/>
                    </a:lnTo>
                    <a:lnTo>
                      <a:pt x="42729" y="10455"/>
                    </a:lnTo>
                    <a:lnTo>
                      <a:pt x="41365" y="10910"/>
                    </a:lnTo>
                    <a:lnTo>
                      <a:pt x="40153" y="11515"/>
                    </a:lnTo>
                    <a:lnTo>
                      <a:pt x="38486" y="22576"/>
                    </a:lnTo>
                    <a:lnTo>
                      <a:pt x="37122" y="25910"/>
                    </a:lnTo>
                    <a:lnTo>
                      <a:pt x="34698" y="30304"/>
                    </a:lnTo>
                    <a:lnTo>
                      <a:pt x="29850" y="34547"/>
                    </a:lnTo>
                    <a:lnTo>
                      <a:pt x="26516" y="37123"/>
                    </a:lnTo>
                    <a:lnTo>
                      <a:pt x="26364" y="40607"/>
                    </a:lnTo>
                    <a:lnTo>
                      <a:pt x="26062" y="46214"/>
                    </a:lnTo>
                    <a:lnTo>
                      <a:pt x="26062" y="50153"/>
                    </a:lnTo>
                    <a:lnTo>
                      <a:pt x="26213" y="52729"/>
                    </a:lnTo>
                    <a:lnTo>
                      <a:pt x="25607" y="53941"/>
                    </a:lnTo>
                    <a:lnTo>
                      <a:pt x="25304" y="55002"/>
                    </a:lnTo>
                    <a:lnTo>
                      <a:pt x="25455" y="56669"/>
                    </a:lnTo>
                    <a:lnTo>
                      <a:pt x="26213" y="57426"/>
                    </a:lnTo>
                    <a:lnTo>
                      <a:pt x="26667" y="58487"/>
                    </a:lnTo>
                    <a:lnTo>
                      <a:pt x="26364" y="59396"/>
                    </a:lnTo>
                    <a:lnTo>
                      <a:pt x="24849" y="60305"/>
                    </a:lnTo>
                    <a:lnTo>
                      <a:pt x="23789" y="62123"/>
                    </a:lnTo>
                    <a:lnTo>
                      <a:pt x="22122" y="65760"/>
                    </a:lnTo>
                    <a:lnTo>
                      <a:pt x="22122" y="68639"/>
                    </a:lnTo>
                    <a:lnTo>
                      <a:pt x="26213" y="74700"/>
                    </a:lnTo>
                    <a:lnTo>
                      <a:pt x="26667" y="75306"/>
                    </a:lnTo>
                    <a:lnTo>
                      <a:pt x="27728" y="76215"/>
                    </a:lnTo>
                    <a:lnTo>
                      <a:pt x="28334" y="77275"/>
                    </a:lnTo>
                    <a:lnTo>
                      <a:pt x="28789" y="80306"/>
                    </a:lnTo>
                    <a:lnTo>
                      <a:pt x="29092" y="83639"/>
                    </a:lnTo>
                    <a:lnTo>
                      <a:pt x="29395" y="85912"/>
                    </a:lnTo>
                    <a:lnTo>
                      <a:pt x="31365" y="89094"/>
                    </a:lnTo>
                    <a:lnTo>
                      <a:pt x="31516" y="90306"/>
                    </a:lnTo>
                    <a:lnTo>
                      <a:pt x="30152" y="95003"/>
                    </a:lnTo>
                    <a:lnTo>
                      <a:pt x="29850" y="95458"/>
                    </a:lnTo>
                    <a:lnTo>
                      <a:pt x="29546" y="95610"/>
                    </a:lnTo>
                    <a:lnTo>
                      <a:pt x="27425" y="95155"/>
                    </a:lnTo>
                    <a:lnTo>
                      <a:pt x="26516" y="95610"/>
                    </a:lnTo>
                    <a:lnTo>
                      <a:pt x="25304" y="97276"/>
                    </a:lnTo>
                    <a:lnTo>
                      <a:pt x="24546" y="98943"/>
                    </a:lnTo>
                    <a:lnTo>
                      <a:pt x="24546" y="99549"/>
                    </a:lnTo>
                    <a:lnTo>
                      <a:pt x="26516" y="102579"/>
                    </a:lnTo>
                    <a:lnTo>
                      <a:pt x="25304" y="106822"/>
                    </a:lnTo>
                    <a:lnTo>
                      <a:pt x="24092" y="109549"/>
                    </a:lnTo>
                    <a:lnTo>
                      <a:pt x="21819" y="111064"/>
                    </a:lnTo>
                    <a:lnTo>
                      <a:pt x="19849" y="111368"/>
                    </a:lnTo>
                    <a:lnTo>
                      <a:pt x="18486" y="112125"/>
                    </a:lnTo>
                    <a:lnTo>
                      <a:pt x="17728" y="113034"/>
                    </a:lnTo>
                    <a:lnTo>
                      <a:pt x="17879" y="116065"/>
                    </a:lnTo>
                    <a:lnTo>
                      <a:pt x="15000" y="118792"/>
                    </a:lnTo>
                    <a:lnTo>
                      <a:pt x="13334" y="120762"/>
                    </a:lnTo>
                    <a:lnTo>
                      <a:pt x="12576" y="121974"/>
                    </a:lnTo>
                    <a:lnTo>
                      <a:pt x="12879" y="125611"/>
                    </a:lnTo>
                    <a:lnTo>
                      <a:pt x="11819" y="129247"/>
                    </a:lnTo>
                    <a:lnTo>
                      <a:pt x="10000" y="132126"/>
                    </a:lnTo>
                    <a:lnTo>
                      <a:pt x="5909" y="132732"/>
                    </a:lnTo>
                    <a:lnTo>
                      <a:pt x="2576" y="133035"/>
                    </a:lnTo>
                    <a:lnTo>
                      <a:pt x="1364" y="140308"/>
                    </a:lnTo>
                    <a:lnTo>
                      <a:pt x="1364" y="144854"/>
                    </a:lnTo>
                    <a:lnTo>
                      <a:pt x="1061" y="149551"/>
                    </a:lnTo>
                    <a:lnTo>
                      <a:pt x="455" y="151521"/>
                    </a:lnTo>
                    <a:lnTo>
                      <a:pt x="757" y="154248"/>
                    </a:lnTo>
                    <a:lnTo>
                      <a:pt x="455" y="160309"/>
                    </a:lnTo>
                    <a:lnTo>
                      <a:pt x="0" y="165157"/>
                    </a:lnTo>
                    <a:lnTo>
                      <a:pt x="606" y="166521"/>
                    </a:lnTo>
                    <a:lnTo>
                      <a:pt x="909" y="169400"/>
                    </a:lnTo>
                    <a:lnTo>
                      <a:pt x="909" y="172279"/>
                    </a:lnTo>
                    <a:lnTo>
                      <a:pt x="1818" y="174249"/>
                    </a:lnTo>
                    <a:lnTo>
                      <a:pt x="2727" y="176067"/>
                    </a:lnTo>
                    <a:lnTo>
                      <a:pt x="2727" y="176976"/>
                    </a:lnTo>
                    <a:lnTo>
                      <a:pt x="2273" y="177582"/>
                    </a:lnTo>
                    <a:lnTo>
                      <a:pt x="1818" y="178340"/>
                    </a:lnTo>
                    <a:lnTo>
                      <a:pt x="1818" y="185158"/>
                    </a:lnTo>
                    <a:lnTo>
                      <a:pt x="1970" y="187280"/>
                    </a:lnTo>
                    <a:lnTo>
                      <a:pt x="1667" y="188643"/>
                    </a:lnTo>
                    <a:lnTo>
                      <a:pt x="909" y="189704"/>
                    </a:lnTo>
                    <a:lnTo>
                      <a:pt x="1212" y="193189"/>
                    </a:lnTo>
                    <a:lnTo>
                      <a:pt x="1818" y="195462"/>
                    </a:lnTo>
                    <a:lnTo>
                      <a:pt x="2424" y="197128"/>
                    </a:lnTo>
                    <a:lnTo>
                      <a:pt x="1818" y="198492"/>
                    </a:lnTo>
                    <a:lnTo>
                      <a:pt x="1364" y="200310"/>
                    </a:lnTo>
                    <a:lnTo>
                      <a:pt x="606" y="204856"/>
                    </a:lnTo>
                    <a:lnTo>
                      <a:pt x="606" y="206523"/>
                    </a:lnTo>
                    <a:lnTo>
                      <a:pt x="2424" y="206371"/>
                    </a:lnTo>
                    <a:lnTo>
                      <a:pt x="17879" y="205765"/>
                    </a:lnTo>
                    <a:lnTo>
                      <a:pt x="20455" y="202280"/>
                    </a:lnTo>
                    <a:lnTo>
                      <a:pt x="22425" y="202129"/>
                    </a:lnTo>
                    <a:lnTo>
                      <a:pt x="28334" y="200310"/>
                    </a:lnTo>
                    <a:lnTo>
                      <a:pt x="29243" y="200765"/>
                    </a:lnTo>
                    <a:lnTo>
                      <a:pt x="23637" y="203644"/>
                    </a:lnTo>
                    <a:lnTo>
                      <a:pt x="22122" y="204250"/>
                    </a:lnTo>
                    <a:lnTo>
                      <a:pt x="21061" y="205007"/>
                    </a:lnTo>
                    <a:lnTo>
                      <a:pt x="21970" y="205462"/>
                    </a:lnTo>
                    <a:lnTo>
                      <a:pt x="39395" y="205462"/>
                    </a:lnTo>
                    <a:lnTo>
                      <a:pt x="47729" y="207129"/>
                    </a:lnTo>
                    <a:lnTo>
                      <a:pt x="53335" y="210765"/>
                    </a:lnTo>
                    <a:lnTo>
                      <a:pt x="59548" y="215917"/>
                    </a:lnTo>
                    <a:lnTo>
                      <a:pt x="64548" y="222129"/>
                    </a:lnTo>
                    <a:lnTo>
                      <a:pt x="65912" y="222887"/>
                    </a:lnTo>
                    <a:lnTo>
                      <a:pt x="66215" y="223948"/>
                    </a:lnTo>
                    <a:lnTo>
                      <a:pt x="66366" y="226372"/>
                    </a:lnTo>
                    <a:lnTo>
                      <a:pt x="68033" y="227432"/>
                    </a:lnTo>
                    <a:lnTo>
                      <a:pt x="70912" y="226372"/>
                    </a:lnTo>
                    <a:lnTo>
                      <a:pt x="71669" y="224857"/>
                    </a:lnTo>
                    <a:lnTo>
                      <a:pt x="72275" y="224554"/>
                    </a:lnTo>
                    <a:lnTo>
                      <a:pt x="72275" y="226220"/>
                    </a:lnTo>
                    <a:lnTo>
                      <a:pt x="73033" y="226826"/>
                    </a:lnTo>
                    <a:lnTo>
                      <a:pt x="74851" y="226826"/>
                    </a:lnTo>
                    <a:lnTo>
                      <a:pt x="75912" y="227129"/>
                    </a:lnTo>
                    <a:lnTo>
                      <a:pt x="74245" y="228190"/>
                    </a:lnTo>
                    <a:lnTo>
                      <a:pt x="71366" y="228038"/>
                    </a:lnTo>
                    <a:lnTo>
                      <a:pt x="69396" y="228190"/>
                    </a:lnTo>
                    <a:lnTo>
                      <a:pt x="68942" y="229251"/>
                    </a:lnTo>
                    <a:lnTo>
                      <a:pt x="69851" y="230614"/>
                    </a:lnTo>
                    <a:lnTo>
                      <a:pt x="74093" y="232887"/>
                    </a:lnTo>
                    <a:lnTo>
                      <a:pt x="78639" y="230917"/>
                    </a:lnTo>
                    <a:lnTo>
                      <a:pt x="78185" y="232281"/>
                    </a:lnTo>
                    <a:lnTo>
                      <a:pt x="77276" y="233645"/>
                    </a:lnTo>
                    <a:lnTo>
                      <a:pt x="75609" y="233948"/>
                    </a:lnTo>
                    <a:lnTo>
                      <a:pt x="73639" y="234705"/>
                    </a:lnTo>
                    <a:lnTo>
                      <a:pt x="73488" y="236827"/>
                    </a:lnTo>
                    <a:lnTo>
                      <a:pt x="73639" y="238645"/>
                    </a:lnTo>
                    <a:lnTo>
                      <a:pt x="74093" y="239251"/>
                    </a:lnTo>
                    <a:lnTo>
                      <a:pt x="76518" y="239857"/>
                    </a:lnTo>
                    <a:lnTo>
                      <a:pt x="75912" y="240615"/>
                    </a:lnTo>
                    <a:lnTo>
                      <a:pt x="74548" y="240160"/>
                    </a:lnTo>
                    <a:lnTo>
                      <a:pt x="73942" y="240463"/>
                    </a:lnTo>
                    <a:lnTo>
                      <a:pt x="75760" y="245463"/>
                    </a:lnTo>
                    <a:lnTo>
                      <a:pt x="76972" y="248342"/>
                    </a:lnTo>
                    <a:lnTo>
                      <a:pt x="78639" y="251221"/>
                    </a:lnTo>
                    <a:lnTo>
                      <a:pt x="79548" y="253494"/>
                    </a:lnTo>
                    <a:lnTo>
                      <a:pt x="85306" y="258646"/>
                    </a:lnTo>
                    <a:lnTo>
                      <a:pt x="88185" y="260464"/>
                    </a:lnTo>
                    <a:lnTo>
                      <a:pt x="90003" y="261828"/>
                    </a:lnTo>
                    <a:lnTo>
                      <a:pt x="92882" y="263191"/>
                    </a:lnTo>
                    <a:lnTo>
                      <a:pt x="95458" y="263494"/>
                    </a:lnTo>
                    <a:lnTo>
                      <a:pt x="96367" y="263040"/>
                    </a:lnTo>
                    <a:lnTo>
                      <a:pt x="96670" y="260464"/>
                    </a:lnTo>
                    <a:lnTo>
                      <a:pt x="98185" y="259252"/>
                    </a:lnTo>
                    <a:lnTo>
                      <a:pt x="98337" y="260919"/>
                    </a:lnTo>
                    <a:lnTo>
                      <a:pt x="97882" y="261979"/>
                    </a:lnTo>
                    <a:lnTo>
                      <a:pt x="98034" y="262585"/>
                    </a:lnTo>
                    <a:lnTo>
                      <a:pt x="99094" y="262737"/>
                    </a:lnTo>
                    <a:lnTo>
                      <a:pt x="103488" y="261979"/>
                    </a:lnTo>
                    <a:lnTo>
                      <a:pt x="104549" y="261979"/>
                    </a:lnTo>
                    <a:lnTo>
                      <a:pt x="106065" y="261676"/>
                    </a:lnTo>
                    <a:lnTo>
                      <a:pt x="106822" y="258040"/>
                    </a:lnTo>
                    <a:lnTo>
                      <a:pt x="107428" y="258646"/>
                    </a:lnTo>
                    <a:lnTo>
                      <a:pt x="107883" y="260767"/>
                    </a:lnTo>
                    <a:lnTo>
                      <a:pt x="108337" y="261676"/>
                    </a:lnTo>
                    <a:lnTo>
                      <a:pt x="110610" y="261676"/>
                    </a:lnTo>
                    <a:lnTo>
                      <a:pt x="111822" y="261676"/>
                    </a:lnTo>
                    <a:lnTo>
                      <a:pt x="114701" y="260919"/>
                    </a:lnTo>
                    <a:lnTo>
                      <a:pt x="112883" y="258343"/>
                    </a:lnTo>
                    <a:lnTo>
                      <a:pt x="112883" y="255009"/>
                    </a:lnTo>
                    <a:lnTo>
                      <a:pt x="112731" y="253343"/>
                    </a:lnTo>
                    <a:lnTo>
                      <a:pt x="112277" y="251373"/>
                    </a:lnTo>
                    <a:lnTo>
                      <a:pt x="112883" y="251373"/>
                    </a:lnTo>
                    <a:lnTo>
                      <a:pt x="113943" y="253494"/>
                    </a:lnTo>
                    <a:lnTo>
                      <a:pt x="114398" y="256828"/>
                    </a:lnTo>
                    <a:lnTo>
                      <a:pt x="115156" y="259100"/>
                    </a:lnTo>
                    <a:lnTo>
                      <a:pt x="116671" y="260464"/>
                    </a:lnTo>
                    <a:lnTo>
                      <a:pt x="119095" y="260312"/>
                    </a:lnTo>
                    <a:lnTo>
                      <a:pt x="123035" y="257131"/>
                    </a:lnTo>
                    <a:lnTo>
                      <a:pt x="123338" y="254403"/>
                    </a:lnTo>
                    <a:lnTo>
                      <a:pt x="121217" y="252433"/>
                    </a:lnTo>
                    <a:lnTo>
                      <a:pt x="120913" y="251676"/>
                    </a:lnTo>
                    <a:lnTo>
                      <a:pt x="122732" y="252585"/>
                    </a:lnTo>
                    <a:lnTo>
                      <a:pt x="124398" y="254555"/>
                    </a:lnTo>
                    <a:lnTo>
                      <a:pt x="126520" y="256373"/>
                    </a:lnTo>
                    <a:lnTo>
                      <a:pt x="131368" y="256221"/>
                    </a:lnTo>
                    <a:lnTo>
                      <a:pt x="132732" y="255161"/>
                    </a:lnTo>
                    <a:lnTo>
                      <a:pt x="132884" y="253797"/>
                    </a:lnTo>
                    <a:lnTo>
                      <a:pt x="133186" y="253494"/>
                    </a:lnTo>
                    <a:lnTo>
                      <a:pt x="134096" y="256070"/>
                    </a:lnTo>
                    <a:lnTo>
                      <a:pt x="136217" y="256979"/>
                    </a:lnTo>
                    <a:lnTo>
                      <a:pt x="140460" y="257131"/>
                    </a:lnTo>
                    <a:lnTo>
                      <a:pt x="146672" y="256221"/>
                    </a:lnTo>
                    <a:lnTo>
                      <a:pt x="153945" y="256221"/>
                    </a:lnTo>
                    <a:lnTo>
                      <a:pt x="154854" y="253494"/>
                    </a:lnTo>
                    <a:lnTo>
                      <a:pt x="152278" y="246676"/>
                    </a:lnTo>
                    <a:lnTo>
                      <a:pt x="152733" y="246221"/>
                    </a:lnTo>
                    <a:lnTo>
                      <a:pt x="155157" y="248948"/>
                    </a:lnTo>
                    <a:lnTo>
                      <a:pt x="156521" y="249251"/>
                    </a:lnTo>
                    <a:lnTo>
                      <a:pt x="157582" y="251070"/>
                    </a:lnTo>
                    <a:lnTo>
                      <a:pt x="159854" y="251676"/>
                    </a:lnTo>
                    <a:lnTo>
                      <a:pt x="160612" y="250767"/>
                    </a:lnTo>
                    <a:lnTo>
                      <a:pt x="160915" y="250767"/>
                    </a:lnTo>
                    <a:lnTo>
                      <a:pt x="161672" y="248645"/>
                    </a:lnTo>
                    <a:lnTo>
                      <a:pt x="163188" y="246069"/>
                    </a:lnTo>
                    <a:lnTo>
                      <a:pt x="165309" y="242736"/>
                    </a:lnTo>
                    <a:lnTo>
                      <a:pt x="167582" y="238645"/>
                    </a:lnTo>
                    <a:lnTo>
                      <a:pt x="169248" y="231372"/>
                    </a:lnTo>
                    <a:lnTo>
                      <a:pt x="170309" y="226826"/>
                    </a:lnTo>
                    <a:lnTo>
                      <a:pt x="171370" y="222735"/>
                    </a:lnTo>
                    <a:lnTo>
                      <a:pt x="173036" y="218947"/>
                    </a:lnTo>
                    <a:lnTo>
                      <a:pt x="174703" y="216523"/>
                    </a:lnTo>
                    <a:lnTo>
                      <a:pt x="179552" y="211674"/>
                    </a:lnTo>
                    <a:lnTo>
                      <a:pt x="183189" y="208038"/>
                    </a:lnTo>
                    <a:lnTo>
                      <a:pt x="185007" y="206523"/>
                    </a:lnTo>
                    <a:lnTo>
                      <a:pt x="186370" y="205310"/>
                    </a:lnTo>
                    <a:lnTo>
                      <a:pt x="188643" y="203947"/>
                    </a:lnTo>
                    <a:lnTo>
                      <a:pt x="191067" y="202280"/>
                    </a:lnTo>
                    <a:lnTo>
                      <a:pt x="192886" y="199098"/>
                    </a:lnTo>
                    <a:lnTo>
                      <a:pt x="194401" y="196068"/>
                    </a:lnTo>
                    <a:lnTo>
                      <a:pt x="195462" y="195462"/>
                    </a:lnTo>
                    <a:lnTo>
                      <a:pt x="196977" y="195007"/>
                    </a:lnTo>
                    <a:lnTo>
                      <a:pt x="201522" y="191825"/>
                    </a:lnTo>
                    <a:lnTo>
                      <a:pt x="204401" y="189704"/>
                    </a:lnTo>
                    <a:lnTo>
                      <a:pt x="205008" y="190764"/>
                    </a:lnTo>
                    <a:lnTo>
                      <a:pt x="205462" y="191977"/>
                    </a:lnTo>
                    <a:lnTo>
                      <a:pt x="206068" y="192583"/>
                    </a:lnTo>
                    <a:lnTo>
                      <a:pt x="208492" y="193037"/>
                    </a:lnTo>
                    <a:lnTo>
                      <a:pt x="211826" y="193037"/>
                    </a:lnTo>
                    <a:lnTo>
                      <a:pt x="213644" y="192734"/>
                    </a:lnTo>
                    <a:lnTo>
                      <a:pt x="214705" y="191674"/>
                    </a:lnTo>
                    <a:lnTo>
                      <a:pt x="215765" y="188795"/>
                    </a:lnTo>
                    <a:lnTo>
                      <a:pt x="216372" y="188189"/>
                    </a:lnTo>
                    <a:lnTo>
                      <a:pt x="217129" y="188037"/>
                    </a:lnTo>
                    <a:lnTo>
                      <a:pt x="220766" y="190007"/>
                    </a:lnTo>
                    <a:lnTo>
                      <a:pt x="223796" y="192886"/>
                    </a:lnTo>
                    <a:lnTo>
                      <a:pt x="226675" y="195765"/>
                    </a:lnTo>
                    <a:lnTo>
                      <a:pt x="228190" y="196825"/>
                    </a:lnTo>
                    <a:lnTo>
                      <a:pt x="228796" y="197886"/>
                    </a:lnTo>
                    <a:lnTo>
                      <a:pt x="230160" y="203189"/>
                    </a:lnTo>
                    <a:lnTo>
                      <a:pt x="230918" y="204553"/>
                    </a:lnTo>
                    <a:lnTo>
                      <a:pt x="232130" y="205159"/>
                    </a:lnTo>
                    <a:lnTo>
                      <a:pt x="234403" y="204856"/>
                    </a:lnTo>
                    <a:lnTo>
                      <a:pt x="236827" y="203947"/>
                    </a:lnTo>
                    <a:lnTo>
                      <a:pt x="238948" y="202583"/>
                    </a:lnTo>
                    <a:lnTo>
                      <a:pt x="241070" y="200916"/>
                    </a:lnTo>
                    <a:lnTo>
                      <a:pt x="242433" y="199401"/>
                    </a:lnTo>
                    <a:lnTo>
                      <a:pt x="243039" y="198189"/>
                    </a:lnTo>
                    <a:lnTo>
                      <a:pt x="243342" y="193946"/>
                    </a:lnTo>
                    <a:lnTo>
                      <a:pt x="243797" y="193037"/>
                    </a:lnTo>
                    <a:lnTo>
                      <a:pt x="245918" y="191370"/>
                    </a:lnTo>
                    <a:lnTo>
                      <a:pt x="249403" y="188492"/>
                    </a:lnTo>
                    <a:lnTo>
                      <a:pt x="251373" y="186825"/>
                    </a:lnTo>
                    <a:lnTo>
                      <a:pt x="251221" y="186219"/>
                    </a:lnTo>
                    <a:lnTo>
                      <a:pt x="250009" y="184401"/>
                    </a:lnTo>
                    <a:lnTo>
                      <a:pt x="248949" y="182431"/>
                    </a:lnTo>
                    <a:lnTo>
                      <a:pt x="250160" y="180461"/>
                    </a:lnTo>
                    <a:lnTo>
                      <a:pt x="251373" y="178946"/>
                    </a:lnTo>
                    <a:lnTo>
                      <a:pt x="255918" y="173794"/>
                    </a:lnTo>
                    <a:lnTo>
                      <a:pt x="255918" y="172128"/>
                    </a:lnTo>
                    <a:lnTo>
                      <a:pt x="256222" y="170006"/>
                    </a:lnTo>
                    <a:lnTo>
                      <a:pt x="259858" y="164097"/>
                    </a:lnTo>
                    <a:lnTo>
                      <a:pt x="261979" y="156369"/>
                    </a:lnTo>
                    <a:lnTo>
                      <a:pt x="261979" y="154854"/>
                    </a:lnTo>
                    <a:lnTo>
                      <a:pt x="264101" y="151066"/>
                    </a:lnTo>
                    <a:lnTo>
                      <a:pt x="266677" y="146217"/>
                    </a:lnTo>
                    <a:lnTo>
                      <a:pt x="271525" y="145460"/>
                    </a:lnTo>
                    <a:lnTo>
                      <a:pt x="273343" y="144248"/>
                    </a:lnTo>
                    <a:lnTo>
                      <a:pt x="275465" y="142126"/>
                    </a:lnTo>
                    <a:lnTo>
                      <a:pt x="276828" y="140157"/>
                    </a:lnTo>
                    <a:lnTo>
                      <a:pt x="277435" y="138338"/>
                    </a:lnTo>
                    <a:lnTo>
                      <a:pt x="277889" y="134702"/>
                    </a:lnTo>
                    <a:lnTo>
                      <a:pt x="278798" y="130611"/>
                    </a:lnTo>
                    <a:lnTo>
                      <a:pt x="279404" y="126974"/>
                    </a:lnTo>
                    <a:lnTo>
                      <a:pt x="280919" y="123641"/>
                    </a:lnTo>
                    <a:lnTo>
                      <a:pt x="283344" y="121974"/>
                    </a:lnTo>
                    <a:lnTo>
                      <a:pt x="287586" y="120610"/>
                    </a:lnTo>
                    <a:lnTo>
                      <a:pt x="288192" y="120004"/>
                    </a:lnTo>
                    <a:lnTo>
                      <a:pt x="288799" y="117731"/>
                    </a:lnTo>
                    <a:lnTo>
                      <a:pt x="289253" y="113034"/>
                    </a:lnTo>
                    <a:lnTo>
                      <a:pt x="289405" y="110307"/>
                    </a:lnTo>
                    <a:lnTo>
                      <a:pt x="289556" y="109095"/>
                    </a:lnTo>
                    <a:lnTo>
                      <a:pt x="290162" y="106974"/>
                    </a:lnTo>
                    <a:lnTo>
                      <a:pt x="294102" y="103186"/>
                    </a:lnTo>
                    <a:lnTo>
                      <a:pt x="295920" y="97428"/>
                    </a:lnTo>
                    <a:lnTo>
                      <a:pt x="297435" y="91367"/>
                    </a:lnTo>
                    <a:lnTo>
                      <a:pt x="301981" y="83942"/>
                    </a:lnTo>
                    <a:lnTo>
                      <a:pt x="307284" y="76669"/>
                    </a:lnTo>
                    <a:lnTo>
                      <a:pt x="309709" y="74700"/>
                    </a:lnTo>
                    <a:lnTo>
                      <a:pt x="311830" y="73790"/>
                    </a:lnTo>
                    <a:lnTo>
                      <a:pt x="314254" y="73639"/>
                    </a:lnTo>
                    <a:lnTo>
                      <a:pt x="315921" y="73033"/>
                    </a:lnTo>
                    <a:lnTo>
                      <a:pt x="321527" y="69396"/>
                    </a:lnTo>
                    <a:lnTo>
                      <a:pt x="323951" y="68184"/>
                    </a:lnTo>
                    <a:lnTo>
                      <a:pt x="325618" y="66972"/>
                    </a:lnTo>
                    <a:lnTo>
                      <a:pt x="326073" y="65911"/>
                    </a:lnTo>
                    <a:lnTo>
                      <a:pt x="326224" y="64245"/>
                    </a:lnTo>
                    <a:lnTo>
                      <a:pt x="325618" y="60457"/>
                    </a:lnTo>
                    <a:lnTo>
                      <a:pt x="326527" y="57729"/>
                    </a:lnTo>
                    <a:lnTo>
                      <a:pt x="327133" y="53335"/>
                    </a:lnTo>
                    <a:lnTo>
                      <a:pt x="327436" y="50002"/>
                    </a:lnTo>
                    <a:lnTo>
                      <a:pt x="326375" y="471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3" name="Freeform: Shape 3202">
                <a:extLst>
                  <a:ext uri="{FF2B5EF4-FFF2-40B4-BE49-F238E27FC236}">
                    <a16:creationId xmlns:a16="http://schemas.microsoft.com/office/drawing/2014/main" id="{FB075407-0C4B-432A-8F71-5D60DFA4634F}"/>
                  </a:ext>
                </a:extLst>
              </p:cNvPr>
              <p:cNvSpPr/>
              <p:nvPr/>
            </p:nvSpPr>
            <p:spPr>
              <a:xfrm>
                <a:off x="10371158" y="5373689"/>
                <a:ext cx="2423" cy="2424"/>
              </a:xfrm>
              <a:custGeom>
                <a:avLst/>
                <a:gdLst>
                  <a:gd name="connsiteX0" fmla="*/ 1970 w 2423"/>
                  <a:gd name="connsiteY0" fmla="*/ 606 h 2424"/>
                  <a:gd name="connsiteX1" fmla="*/ 1515 w 2423"/>
                  <a:gd name="connsiteY1" fmla="*/ 455 h 2424"/>
                  <a:gd name="connsiteX2" fmla="*/ 909 w 2423"/>
                  <a:gd name="connsiteY2" fmla="*/ 152 h 2424"/>
                  <a:gd name="connsiteX3" fmla="*/ 454 w 2423"/>
                  <a:gd name="connsiteY3" fmla="*/ 0 h 2424"/>
                  <a:gd name="connsiteX4" fmla="*/ 0 w 2423"/>
                  <a:gd name="connsiteY4" fmla="*/ 455 h 2424"/>
                  <a:gd name="connsiteX5" fmla="*/ 454 w 2423"/>
                  <a:gd name="connsiteY5" fmla="*/ 303 h 2424"/>
                  <a:gd name="connsiteX6" fmla="*/ 606 w 2423"/>
                  <a:gd name="connsiteY6" fmla="*/ 455 h 2424"/>
                  <a:gd name="connsiteX7" fmla="*/ 606 w 2423"/>
                  <a:gd name="connsiteY7" fmla="*/ 606 h 2424"/>
                  <a:gd name="connsiteX8" fmla="*/ 302 w 2423"/>
                  <a:gd name="connsiteY8" fmla="*/ 909 h 2424"/>
                  <a:gd name="connsiteX9" fmla="*/ 302 w 2423"/>
                  <a:gd name="connsiteY9" fmla="*/ 1212 h 2424"/>
                  <a:gd name="connsiteX10" fmla="*/ 302 w 2423"/>
                  <a:gd name="connsiteY10" fmla="*/ 1515 h 2424"/>
                  <a:gd name="connsiteX11" fmla="*/ 454 w 2423"/>
                  <a:gd name="connsiteY11" fmla="*/ 1818 h 2424"/>
                  <a:gd name="connsiteX12" fmla="*/ 454 w 2423"/>
                  <a:gd name="connsiteY12" fmla="*/ 2122 h 2424"/>
                  <a:gd name="connsiteX13" fmla="*/ 606 w 2423"/>
                  <a:gd name="connsiteY13" fmla="*/ 2122 h 2424"/>
                  <a:gd name="connsiteX14" fmla="*/ 757 w 2423"/>
                  <a:gd name="connsiteY14" fmla="*/ 1818 h 2424"/>
                  <a:gd name="connsiteX15" fmla="*/ 1060 w 2423"/>
                  <a:gd name="connsiteY15" fmla="*/ 1818 h 2424"/>
                  <a:gd name="connsiteX16" fmla="*/ 1363 w 2423"/>
                  <a:gd name="connsiteY16" fmla="*/ 2122 h 2424"/>
                  <a:gd name="connsiteX17" fmla="*/ 1515 w 2423"/>
                  <a:gd name="connsiteY17" fmla="*/ 2424 h 2424"/>
                  <a:gd name="connsiteX18" fmla="*/ 1515 w 2423"/>
                  <a:gd name="connsiteY18" fmla="*/ 2273 h 2424"/>
                  <a:gd name="connsiteX19" fmla="*/ 1667 w 2423"/>
                  <a:gd name="connsiteY19" fmla="*/ 2273 h 2424"/>
                  <a:gd name="connsiteX20" fmla="*/ 1667 w 2423"/>
                  <a:gd name="connsiteY20" fmla="*/ 2122 h 2424"/>
                  <a:gd name="connsiteX21" fmla="*/ 1818 w 2423"/>
                  <a:gd name="connsiteY21" fmla="*/ 2122 h 2424"/>
                  <a:gd name="connsiteX22" fmla="*/ 2121 w 2423"/>
                  <a:gd name="connsiteY22" fmla="*/ 1818 h 2424"/>
                  <a:gd name="connsiteX23" fmla="*/ 2272 w 2423"/>
                  <a:gd name="connsiteY23" fmla="*/ 1364 h 2424"/>
                  <a:gd name="connsiteX24" fmla="*/ 2424 w 2423"/>
                  <a:gd name="connsiteY24" fmla="*/ 909 h 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23" h="2424">
                    <a:moveTo>
                      <a:pt x="1970" y="606"/>
                    </a:moveTo>
                    <a:lnTo>
                      <a:pt x="1515" y="455"/>
                    </a:lnTo>
                    <a:lnTo>
                      <a:pt x="909" y="152"/>
                    </a:lnTo>
                    <a:lnTo>
                      <a:pt x="454" y="0"/>
                    </a:lnTo>
                    <a:lnTo>
                      <a:pt x="0" y="455"/>
                    </a:lnTo>
                    <a:lnTo>
                      <a:pt x="454" y="303"/>
                    </a:lnTo>
                    <a:lnTo>
                      <a:pt x="606" y="455"/>
                    </a:lnTo>
                    <a:lnTo>
                      <a:pt x="606" y="606"/>
                    </a:lnTo>
                    <a:lnTo>
                      <a:pt x="302" y="909"/>
                    </a:lnTo>
                    <a:lnTo>
                      <a:pt x="302" y="1212"/>
                    </a:lnTo>
                    <a:lnTo>
                      <a:pt x="302" y="1515"/>
                    </a:lnTo>
                    <a:lnTo>
                      <a:pt x="454" y="1818"/>
                    </a:lnTo>
                    <a:lnTo>
                      <a:pt x="454" y="2122"/>
                    </a:lnTo>
                    <a:lnTo>
                      <a:pt x="606" y="2122"/>
                    </a:lnTo>
                    <a:lnTo>
                      <a:pt x="757" y="1818"/>
                    </a:lnTo>
                    <a:lnTo>
                      <a:pt x="1060" y="1818"/>
                    </a:lnTo>
                    <a:lnTo>
                      <a:pt x="1363" y="2122"/>
                    </a:lnTo>
                    <a:lnTo>
                      <a:pt x="1515" y="2424"/>
                    </a:lnTo>
                    <a:lnTo>
                      <a:pt x="1515" y="2273"/>
                    </a:lnTo>
                    <a:lnTo>
                      <a:pt x="1667" y="2273"/>
                    </a:lnTo>
                    <a:lnTo>
                      <a:pt x="1667" y="2122"/>
                    </a:lnTo>
                    <a:lnTo>
                      <a:pt x="1818" y="2122"/>
                    </a:lnTo>
                    <a:lnTo>
                      <a:pt x="2121" y="1818"/>
                    </a:lnTo>
                    <a:lnTo>
                      <a:pt x="2272" y="1364"/>
                    </a:lnTo>
                    <a:lnTo>
                      <a:pt x="2424" y="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4" name="Freeform: Shape 3203">
                <a:extLst>
                  <a:ext uri="{FF2B5EF4-FFF2-40B4-BE49-F238E27FC236}">
                    <a16:creationId xmlns:a16="http://schemas.microsoft.com/office/drawing/2014/main" id="{F61564DC-621E-4439-86A1-3C63F753C59F}"/>
                  </a:ext>
                </a:extLst>
              </p:cNvPr>
              <p:cNvSpPr/>
              <p:nvPr/>
            </p:nvSpPr>
            <p:spPr>
              <a:xfrm>
                <a:off x="5781746" y="3910757"/>
                <a:ext cx="432137" cy="331981"/>
              </a:xfrm>
              <a:custGeom>
                <a:avLst/>
                <a:gdLst>
                  <a:gd name="connsiteX0" fmla="*/ 431228 w 432137"/>
                  <a:gd name="connsiteY0" fmla="*/ 89094 h 331981"/>
                  <a:gd name="connsiteX1" fmla="*/ 424107 w 432137"/>
                  <a:gd name="connsiteY1" fmla="*/ 81367 h 331981"/>
                  <a:gd name="connsiteX2" fmla="*/ 421985 w 432137"/>
                  <a:gd name="connsiteY2" fmla="*/ 79548 h 331981"/>
                  <a:gd name="connsiteX3" fmla="*/ 420621 w 432137"/>
                  <a:gd name="connsiteY3" fmla="*/ 75609 h 331981"/>
                  <a:gd name="connsiteX4" fmla="*/ 422440 w 432137"/>
                  <a:gd name="connsiteY4" fmla="*/ 73336 h 331981"/>
                  <a:gd name="connsiteX5" fmla="*/ 413954 w 432137"/>
                  <a:gd name="connsiteY5" fmla="*/ 60305 h 331981"/>
                  <a:gd name="connsiteX6" fmla="*/ 411833 w 432137"/>
                  <a:gd name="connsiteY6" fmla="*/ 58638 h 331981"/>
                  <a:gd name="connsiteX7" fmla="*/ 410773 w 432137"/>
                  <a:gd name="connsiteY7" fmla="*/ 57123 h 331981"/>
                  <a:gd name="connsiteX8" fmla="*/ 410773 w 432137"/>
                  <a:gd name="connsiteY8" fmla="*/ 54699 h 331981"/>
                  <a:gd name="connsiteX9" fmla="*/ 410621 w 432137"/>
                  <a:gd name="connsiteY9" fmla="*/ 45759 h 331981"/>
                  <a:gd name="connsiteX10" fmla="*/ 408348 w 432137"/>
                  <a:gd name="connsiteY10" fmla="*/ 31516 h 331981"/>
                  <a:gd name="connsiteX11" fmla="*/ 405318 w 432137"/>
                  <a:gd name="connsiteY11" fmla="*/ 15000 h 331981"/>
                  <a:gd name="connsiteX12" fmla="*/ 405318 w 432137"/>
                  <a:gd name="connsiteY12" fmla="*/ 15000 h 331981"/>
                  <a:gd name="connsiteX13" fmla="*/ 393651 w 432137"/>
                  <a:gd name="connsiteY13" fmla="*/ 21061 h 331981"/>
                  <a:gd name="connsiteX14" fmla="*/ 384863 w 432137"/>
                  <a:gd name="connsiteY14" fmla="*/ 25758 h 331981"/>
                  <a:gd name="connsiteX15" fmla="*/ 384408 w 432137"/>
                  <a:gd name="connsiteY15" fmla="*/ 25758 h 331981"/>
                  <a:gd name="connsiteX16" fmla="*/ 383954 w 432137"/>
                  <a:gd name="connsiteY16" fmla="*/ 25607 h 331981"/>
                  <a:gd name="connsiteX17" fmla="*/ 374711 w 432137"/>
                  <a:gd name="connsiteY17" fmla="*/ 17728 h 331981"/>
                  <a:gd name="connsiteX18" fmla="*/ 367438 w 432137"/>
                  <a:gd name="connsiteY18" fmla="*/ 11515 h 331981"/>
                  <a:gd name="connsiteX19" fmla="*/ 364256 w 432137"/>
                  <a:gd name="connsiteY19" fmla="*/ 9697 h 331981"/>
                  <a:gd name="connsiteX20" fmla="*/ 350619 w 432137"/>
                  <a:gd name="connsiteY20" fmla="*/ 6515 h 331981"/>
                  <a:gd name="connsiteX21" fmla="*/ 337134 w 432137"/>
                  <a:gd name="connsiteY21" fmla="*/ 3333 h 331981"/>
                  <a:gd name="connsiteX22" fmla="*/ 322891 w 432137"/>
                  <a:gd name="connsiteY22" fmla="*/ 0 h 331981"/>
                  <a:gd name="connsiteX23" fmla="*/ 308799 w 432137"/>
                  <a:gd name="connsiteY23" fmla="*/ 8788 h 331981"/>
                  <a:gd name="connsiteX24" fmla="*/ 294556 w 432137"/>
                  <a:gd name="connsiteY24" fmla="*/ 17576 h 331981"/>
                  <a:gd name="connsiteX25" fmla="*/ 280313 w 432137"/>
                  <a:gd name="connsiteY25" fmla="*/ 26364 h 331981"/>
                  <a:gd name="connsiteX26" fmla="*/ 266222 w 432137"/>
                  <a:gd name="connsiteY26" fmla="*/ 35001 h 331981"/>
                  <a:gd name="connsiteX27" fmla="*/ 251979 w 432137"/>
                  <a:gd name="connsiteY27" fmla="*/ 43789 h 331981"/>
                  <a:gd name="connsiteX28" fmla="*/ 237887 w 432137"/>
                  <a:gd name="connsiteY28" fmla="*/ 52426 h 331981"/>
                  <a:gd name="connsiteX29" fmla="*/ 223644 w 432137"/>
                  <a:gd name="connsiteY29" fmla="*/ 61214 h 331981"/>
                  <a:gd name="connsiteX30" fmla="*/ 209553 w 432137"/>
                  <a:gd name="connsiteY30" fmla="*/ 69851 h 331981"/>
                  <a:gd name="connsiteX31" fmla="*/ 200159 w 432137"/>
                  <a:gd name="connsiteY31" fmla="*/ 75609 h 331981"/>
                  <a:gd name="connsiteX32" fmla="*/ 194249 w 432137"/>
                  <a:gd name="connsiteY32" fmla="*/ 80609 h 331981"/>
                  <a:gd name="connsiteX33" fmla="*/ 186673 w 432137"/>
                  <a:gd name="connsiteY33" fmla="*/ 86973 h 331981"/>
                  <a:gd name="connsiteX34" fmla="*/ 179552 w 432137"/>
                  <a:gd name="connsiteY34" fmla="*/ 93337 h 331981"/>
                  <a:gd name="connsiteX35" fmla="*/ 174097 w 432137"/>
                  <a:gd name="connsiteY35" fmla="*/ 98337 h 331981"/>
                  <a:gd name="connsiteX36" fmla="*/ 166824 w 432137"/>
                  <a:gd name="connsiteY36" fmla="*/ 104701 h 331981"/>
                  <a:gd name="connsiteX37" fmla="*/ 163188 w 432137"/>
                  <a:gd name="connsiteY37" fmla="*/ 107883 h 331981"/>
                  <a:gd name="connsiteX38" fmla="*/ 155157 w 432137"/>
                  <a:gd name="connsiteY38" fmla="*/ 115156 h 331981"/>
                  <a:gd name="connsiteX39" fmla="*/ 152733 w 432137"/>
                  <a:gd name="connsiteY39" fmla="*/ 116368 h 331981"/>
                  <a:gd name="connsiteX40" fmla="*/ 142127 w 432137"/>
                  <a:gd name="connsiteY40" fmla="*/ 118489 h 331981"/>
                  <a:gd name="connsiteX41" fmla="*/ 132277 w 432137"/>
                  <a:gd name="connsiteY41" fmla="*/ 120459 h 331981"/>
                  <a:gd name="connsiteX42" fmla="*/ 123186 w 432137"/>
                  <a:gd name="connsiteY42" fmla="*/ 122126 h 331981"/>
                  <a:gd name="connsiteX43" fmla="*/ 117125 w 432137"/>
                  <a:gd name="connsiteY43" fmla="*/ 123338 h 331981"/>
                  <a:gd name="connsiteX44" fmla="*/ 111065 w 432137"/>
                  <a:gd name="connsiteY44" fmla="*/ 124550 h 331981"/>
                  <a:gd name="connsiteX45" fmla="*/ 111065 w 432137"/>
                  <a:gd name="connsiteY45" fmla="*/ 129550 h 331981"/>
                  <a:gd name="connsiteX46" fmla="*/ 111216 w 432137"/>
                  <a:gd name="connsiteY46" fmla="*/ 136975 h 331981"/>
                  <a:gd name="connsiteX47" fmla="*/ 111216 w 432137"/>
                  <a:gd name="connsiteY47" fmla="*/ 145157 h 331981"/>
                  <a:gd name="connsiteX48" fmla="*/ 111216 w 432137"/>
                  <a:gd name="connsiteY48" fmla="*/ 152884 h 331981"/>
                  <a:gd name="connsiteX49" fmla="*/ 111216 w 432137"/>
                  <a:gd name="connsiteY49" fmla="*/ 161521 h 331981"/>
                  <a:gd name="connsiteX50" fmla="*/ 111216 w 432137"/>
                  <a:gd name="connsiteY50" fmla="*/ 168491 h 331981"/>
                  <a:gd name="connsiteX51" fmla="*/ 111216 w 432137"/>
                  <a:gd name="connsiteY51" fmla="*/ 176673 h 331981"/>
                  <a:gd name="connsiteX52" fmla="*/ 111367 w 432137"/>
                  <a:gd name="connsiteY52" fmla="*/ 184855 h 331981"/>
                  <a:gd name="connsiteX53" fmla="*/ 110458 w 432137"/>
                  <a:gd name="connsiteY53" fmla="*/ 185764 h 331981"/>
                  <a:gd name="connsiteX54" fmla="*/ 110155 w 432137"/>
                  <a:gd name="connsiteY54" fmla="*/ 190461 h 331981"/>
                  <a:gd name="connsiteX55" fmla="*/ 109853 w 432137"/>
                  <a:gd name="connsiteY55" fmla="*/ 196522 h 331981"/>
                  <a:gd name="connsiteX56" fmla="*/ 108186 w 432137"/>
                  <a:gd name="connsiteY56" fmla="*/ 202735 h 331981"/>
                  <a:gd name="connsiteX57" fmla="*/ 105307 w 432137"/>
                  <a:gd name="connsiteY57" fmla="*/ 207280 h 331981"/>
                  <a:gd name="connsiteX58" fmla="*/ 104246 w 432137"/>
                  <a:gd name="connsiteY58" fmla="*/ 211674 h 331981"/>
                  <a:gd name="connsiteX59" fmla="*/ 103488 w 432137"/>
                  <a:gd name="connsiteY59" fmla="*/ 214250 h 331981"/>
                  <a:gd name="connsiteX60" fmla="*/ 102277 w 432137"/>
                  <a:gd name="connsiteY60" fmla="*/ 215614 h 331981"/>
                  <a:gd name="connsiteX61" fmla="*/ 102125 w 432137"/>
                  <a:gd name="connsiteY61" fmla="*/ 217281 h 331981"/>
                  <a:gd name="connsiteX62" fmla="*/ 101519 w 432137"/>
                  <a:gd name="connsiteY62" fmla="*/ 219553 h 331981"/>
                  <a:gd name="connsiteX63" fmla="*/ 100610 w 432137"/>
                  <a:gd name="connsiteY63" fmla="*/ 221069 h 331981"/>
                  <a:gd name="connsiteX64" fmla="*/ 99852 w 432137"/>
                  <a:gd name="connsiteY64" fmla="*/ 221826 h 331981"/>
                  <a:gd name="connsiteX65" fmla="*/ 96973 w 432137"/>
                  <a:gd name="connsiteY65" fmla="*/ 222735 h 331981"/>
                  <a:gd name="connsiteX66" fmla="*/ 91822 w 432137"/>
                  <a:gd name="connsiteY66" fmla="*/ 227129 h 331981"/>
                  <a:gd name="connsiteX67" fmla="*/ 91367 w 432137"/>
                  <a:gd name="connsiteY67" fmla="*/ 230614 h 331981"/>
                  <a:gd name="connsiteX68" fmla="*/ 85457 w 432137"/>
                  <a:gd name="connsiteY68" fmla="*/ 229705 h 331981"/>
                  <a:gd name="connsiteX69" fmla="*/ 79245 w 432137"/>
                  <a:gd name="connsiteY69" fmla="*/ 228645 h 331981"/>
                  <a:gd name="connsiteX70" fmla="*/ 78336 w 432137"/>
                  <a:gd name="connsiteY70" fmla="*/ 228796 h 331981"/>
                  <a:gd name="connsiteX71" fmla="*/ 77881 w 432137"/>
                  <a:gd name="connsiteY71" fmla="*/ 229251 h 331981"/>
                  <a:gd name="connsiteX72" fmla="*/ 77579 w 432137"/>
                  <a:gd name="connsiteY72" fmla="*/ 231069 h 331981"/>
                  <a:gd name="connsiteX73" fmla="*/ 69093 w 432137"/>
                  <a:gd name="connsiteY73" fmla="*/ 231372 h 331981"/>
                  <a:gd name="connsiteX74" fmla="*/ 61669 w 432137"/>
                  <a:gd name="connsiteY74" fmla="*/ 231675 h 331981"/>
                  <a:gd name="connsiteX75" fmla="*/ 52578 w 432137"/>
                  <a:gd name="connsiteY75" fmla="*/ 231978 h 331981"/>
                  <a:gd name="connsiteX76" fmla="*/ 46365 w 432137"/>
                  <a:gd name="connsiteY76" fmla="*/ 232130 h 331981"/>
                  <a:gd name="connsiteX77" fmla="*/ 38335 w 432137"/>
                  <a:gd name="connsiteY77" fmla="*/ 232584 h 331981"/>
                  <a:gd name="connsiteX78" fmla="*/ 31062 w 432137"/>
                  <a:gd name="connsiteY78" fmla="*/ 233039 h 331981"/>
                  <a:gd name="connsiteX79" fmla="*/ 26062 w 432137"/>
                  <a:gd name="connsiteY79" fmla="*/ 236978 h 331981"/>
                  <a:gd name="connsiteX80" fmla="*/ 21667 w 432137"/>
                  <a:gd name="connsiteY80" fmla="*/ 240918 h 331981"/>
                  <a:gd name="connsiteX81" fmla="*/ 21364 w 432137"/>
                  <a:gd name="connsiteY81" fmla="*/ 241069 h 331981"/>
                  <a:gd name="connsiteX82" fmla="*/ 15152 w 432137"/>
                  <a:gd name="connsiteY82" fmla="*/ 241827 h 331981"/>
                  <a:gd name="connsiteX83" fmla="*/ 7273 w 432137"/>
                  <a:gd name="connsiteY83" fmla="*/ 241069 h 331981"/>
                  <a:gd name="connsiteX84" fmla="*/ 3333 w 432137"/>
                  <a:gd name="connsiteY84" fmla="*/ 241069 h 331981"/>
                  <a:gd name="connsiteX85" fmla="*/ 1667 w 432137"/>
                  <a:gd name="connsiteY85" fmla="*/ 241524 h 331981"/>
                  <a:gd name="connsiteX86" fmla="*/ 1364 w 432137"/>
                  <a:gd name="connsiteY86" fmla="*/ 243039 h 331981"/>
                  <a:gd name="connsiteX87" fmla="*/ 1060 w 432137"/>
                  <a:gd name="connsiteY87" fmla="*/ 244251 h 331981"/>
                  <a:gd name="connsiteX88" fmla="*/ 1060 w 432137"/>
                  <a:gd name="connsiteY88" fmla="*/ 246524 h 331981"/>
                  <a:gd name="connsiteX89" fmla="*/ 455 w 432137"/>
                  <a:gd name="connsiteY89" fmla="*/ 250161 h 331981"/>
                  <a:gd name="connsiteX90" fmla="*/ 0 w 432137"/>
                  <a:gd name="connsiteY90" fmla="*/ 254555 h 331981"/>
                  <a:gd name="connsiteX91" fmla="*/ 2273 w 432137"/>
                  <a:gd name="connsiteY91" fmla="*/ 257282 h 331981"/>
                  <a:gd name="connsiteX92" fmla="*/ 5152 w 432137"/>
                  <a:gd name="connsiteY92" fmla="*/ 260312 h 331981"/>
                  <a:gd name="connsiteX93" fmla="*/ 5909 w 432137"/>
                  <a:gd name="connsiteY93" fmla="*/ 261525 h 331981"/>
                  <a:gd name="connsiteX94" fmla="*/ 5152 w 432137"/>
                  <a:gd name="connsiteY94" fmla="*/ 264404 h 331981"/>
                  <a:gd name="connsiteX95" fmla="*/ 5606 w 432137"/>
                  <a:gd name="connsiteY95" fmla="*/ 266222 h 331981"/>
                  <a:gd name="connsiteX96" fmla="*/ 7121 w 432137"/>
                  <a:gd name="connsiteY96" fmla="*/ 269101 h 331981"/>
                  <a:gd name="connsiteX97" fmla="*/ 9697 w 432137"/>
                  <a:gd name="connsiteY97" fmla="*/ 272737 h 331981"/>
                  <a:gd name="connsiteX98" fmla="*/ 12424 w 432137"/>
                  <a:gd name="connsiteY98" fmla="*/ 276525 h 331981"/>
                  <a:gd name="connsiteX99" fmla="*/ 14243 w 432137"/>
                  <a:gd name="connsiteY99" fmla="*/ 276980 h 331981"/>
                  <a:gd name="connsiteX100" fmla="*/ 15909 w 432137"/>
                  <a:gd name="connsiteY100" fmla="*/ 277283 h 331981"/>
                  <a:gd name="connsiteX101" fmla="*/ 16970 w 432137"/>
                  <a:gd name="connsiteY101" fmla="*/ 278040 h 331981"/>
                  <a:gd name="connsiteX102" fmla="*/ 18486 w 432137"/>
                  <a:gd name="connsiteY102" fmla="*/ 278647 h 331981"/>
                  <a:gd name="connsiteX103" fmla="*/ 20000 w 432137"/>
                  <a:gd name="connsiteY103" fmla="*/ 279101 h 331981"/>
                  <a:gd name="connsiteX104" fmla="*/ 21364 w 432137"/>
                  <a:gd name="connsiteY104" fmla="*/ 279859 h 331981"/>
                  <a:gd name="connsiteX105" fmla="*/ 22122 w 432137"/>
                  <a:gd name="connsiteY105" fmla="*/ 280768 h 331981"/>
                  <a:gd name="connsiteX106" fmla="*/ 23334 w 432137"/>
                  <a:gd name="connsiteY106" fmla="*/ 283041 h 331981"/>
                  <a:gd name="connsiteX107" fmla="*/ 26213 w 432137"/>
                  <a:gd name="connsiteY107" fmla="*/ 284556 h 331981"/>
                  <a:gd name="connsiteX108" fmla="*/ 28334 w 432137"/>
                  <a:gd name="connsiteY108" fmla="*/ 286071 h 331981"/>
                  <a:gd name="connsiteX109" fmla="*/ 27425 w 432137"/>
                  <a:gd name="connsiteY109" fmla="*/ 286829 h 331981"/>
                  <a:gd name="connsiteX110" fmla="*/ 24849 w 432137"/>
                  <a:gd name="connsiteY110" fmla="*/ 286525 h 331981"/>
                  <a:gd name="connsiteX111" fmla="*/ 22425 w 432137"/>
                  <a:gd name="connsiteY111" fmla="*/ 285919 h 331981"/>
                  <a:gd name="connsiteX112" fmla="*/ 22122 w 432137"/>
                  <a:gd name="connsiteY112" fmla="*/ 286980 h 331981"/>
                  <a:gd name="connsiteX113" fmla="*/ 22122 w 432137"/>
                  <a:gd name="connsiteY113" fmla="*/ 291223 h 331981"/>
                  <a:gd name="connsiteX114" fmla="*/ 22425 w 432137"/>
                  <a:gd name="connsiteY114" fmla="*/ 294859 h 331981"/>
                  <a:gd name="connsiteX115" fmla="*/ 23031 w 432137"/>
                  <a:gd name="connsiteY115" fmla="*/ 295314 h 331981"/>
                  <a:gd name="connsiteX116" fmla="*/ 25455 w 432137"/>
                  <a:gd name="connsiteY116" fmla="*/ 295920 h 331981"/>
                  <a:gd name="connsiteX117" fmla="*/ 31213 w 432137"/>
                  <a:gd name="connsiteY117" fmla="*/ 300617 h 331981"/>
                  <a:gd name="connsiteX118" fmla="*/ 36517 w 432137"/>
                  <a:gd name="connsiteY118" fmla="*/ 305011 h 331981"/>
                  <a:gd name="connsiteX119" fmla="*/ 38335 w 432137"/>
                  <a:gd name="connsiteY119" fmla="*/ 306072 h 331981"/>
                  <a:gd name="connsiteX120" fmla="*/ 41214 w 432137"/>
                  <a:gd name="connsiteY120" fmla="*/ 306526 h 331981"/>
                  <a:gd name="connsiteX121" fmla="*/ 44395 w 432137"/>
                  <a:gd name="connsiteY121" fmla="*/ 306678 h 331981"/>
                  <a:gd name="connsiteX122" fmla="*/ 45759 w 432137"/>
                  <a:gd name="connsiteY122" fmla="*/ 306223 h 331981"/>
                  <a:gd name="connsiteX123" fmla="*/ 48941 w 432137"/>
                  <a:gd name="connsiteY123" fmla="*/ 304102 h 331981"/>
                  <a:gd name="connsiteX124" fmla="*/ 50608 w 432137"/>
                  <a:gd name="connsiteY124" fmla="*/ 303799 h 331981"/>
                  <a:gd name="connsiteX125" fmla="*/ 52123 w 432137"/>
                  <a:gd name="connsiteY125" fmla="*/ 303950 h 331981"/>
                  <a:gd name="connsiteX126" fmla="*/ 53032 w 432137"/>
                  <a:gd name="connsiteY126" fmla="*/ 304254 h 331981"/>
                  <a:gd name="connsiteX127" fmla="*/ 54547 w 432137"/>
                  <a:gd name="connsiteY127" fmla="*/ 306072 h 331981"/>
                  <a:gd name="connsiteX128" fmla="*/ 55911 w 432137"/>
                  <a:gd name="connsiteY128" fmla="*/ 308799 h 331981"/>
                  <a:gd name="connsiteX129" fmla="*/ 56366 w 432137"/>
                  <a:gd name="connsiteY129" fmla="*/ 310769 h 331981"/>
                  <a:gd name="connsiteX130" fmla="*/ 56214 w 432137"/>
                  <a:gd name="connsiteY130" fmla="*/ 311830 h 331981"/>
                  <a:gd name="connsiteX131" fmla="*/ 55760 w 432137"/>
                  <a:gd name="connsiteY131" fmla="*/ 312284 h 331981"/>
                  <a:gd name="connsiteX132" fmla="*/ 53183 w 432137"/>
                  <a:gd name="connsiteY132" fmla="*/ 312739 h 331981"/>
                  <a:gd name="connsiteX133" fmla="*/ 51972 w 432137"/>
                  <a:gd name="connsiteY133" fmla="*/ 313193 h 331981"/>
                  <a:gd name="connsiteX134" fmla="*/ 51820 w 432137"/>
                  <a:gd name="connsiteY134" fmla="*/ 313799 h 331981"/>
                  <a:gd name="connsiteX135" fmla="*/ 52123 w 432137"/>
                  <a:gd name="connsiteY135" fmla="*/ 315011 h 331981"/>
                  <a:gd name="connsiteX136" fmla="*/ 52729 w 432137"/>
                  <a:gd name="connsiteY136" fmla="*/ 315920 h 331981"/>
                  <a:gd name="connsiteX137" fmla="*/ 55457 w 432137"/>
                  <a:gd name="connsiteY137" fmla="*/ 319860 h 331981"/>
                  <a:gd name="connsiteX138" fmla="*/ 59548 w 432137"/>
                  <a:gd name="connsiteY138" fmla="*/ 325163 h 331981"/>
                  <a:gd name="connsiteX139" fmla="*/ 60760 w 432137"/>
                  <a:gd name="connsiteY139" fmla="*/ 326375 h 331981"/>
                  <a:gd name="connsiteX140" fmla="*/ 61517 w 432137"/>
                  <a:gd name="connsiteY140" fmla="*/ 323648 h 331981"/>
                  <a:gd name="connsiteX141" fmla="*/ 60154 w 432137"/>
                  <a:gd name="connsiteY141" fmla="*/ 318345 h 331981"/>
                  <a:gd name="connsiteX142" fmla="*/ 60154 w 432137"/>
                  <a:gd name="connsiteY142" fmla="*/ 317436 h 331981"/>
                  <a:gd name="connsiteX143" fmla="*/ 63033 w 432137"/>
                  <a:gd name="connsiteY143" fmla="*/ 316375 h 331981"/>
                  <a:gd name="connsiteX144" fmla="*/ 66517 w 432137"/>
                  <a:gd name="connsiteY144" fmla="*/ 315466 h 331981"/>
                  <a:gd name="connsiteX145" fmla="*/ 67881 w 432137"/>
                  <a:gd name="connsiteY145" fmla="*/ 315466 h 331981"/>
                  <a:gd name="connsiteX146" fmla="*/ 68790 w 432137"/>
                  <a:gd name="connsiteY146" fmla="*/ 315011 h 331981"/>
                  <a:gd name="connsiteX147" fmla="*/ 70154 w 432137"/>
                  <a:gd name="connsiteY147" fmla="*/ 313799 h 331981"/>
                  <a:gd name="connsiteX148" fmla="*/ 72124 w 432137"/>
                  <a:gd name="connsiteY148" fmla="*/ 313042 h 331981"/>
                  <a:gd name="connsiteX149" fmla="*/ 73487 w 432137"/>
                  <a:gd name="connsiteY149" fmla="*/ 313345 h 331981"/>
                  <a:gd name="connsiteX150" fmla="*/ 74245 w 432137"/>
                  <a:gd name="connsiteY150" fmla="*/ 313496 h 331981"/>
                  <a:gd name="connsiteX151" fmla="*/ 81669 w 432137"/>
                  <a:gd name="connsiteY151" fmla="*/ 320315 h 331981"/>
                  <a:gd name="connsiteX152" fmla="*/ 84851 w 432137"/>
                  <a:gd name="connsiteY152" fmla="*/ 323800 h 331981"/>
                  <a:gd name="connsiteX153" fmla="*/ 85761 w 432137"/>
                  <a:gd name="connsiteY153" fmla="*/ 325618 h 331981"/>
                  <a:gd name="connsiteX154" fmla="*/ 87427 w 432137"/>
                  <a:gd name="connsiteY154" fmla="*/ 326830 h 331981"/>
                  <a:gd name="connsiteX155" fmla="*/ 89852 w 432137"/>
                  <a:gd name="connsiteY155" fmla="*/ 327739 h 331981"/>
                  <a:gd name="connsiteX156" fmla="*/ 92124 w 432137"/>
                  <a:gd name="connsiteY156" fmla="*/ 329406 h 331981"/>
                  <a:gd name="connsiteX157" fmla="*/ 93791 w 432137"/>
                  <a:gd name="connsiteY157" fmla="*/ 331982 h 331981"/>
                  <a:gd name="connsiteX158" fmla="*/ 95458 w 432137"/>
                  <a:gd name="connsiteY158" fmla="*/ 330921 h 331981"/>
                  <a:gd name="connsiteX159" fmla="*/ 95761 w 432137"/>
                  <a:gd name="connsiteY159" fmla="*/ 330163 h 331981"/>
                  <a:gd name="connsiteX160" fmla="*/ 95306 w 432137"/>
                  <a:gd name="connsiteY160" fmla="*/ 329103 h 331981"/>
                  <a:gd name="connsiteX161" fmla="*/ 94397 w 432137"/>
                  <a:gd name="connsiteY161" fmla="*/ 328345 h 331981"/>
                  <a:gd name="connsiteX162" fmla="*/ 94246 w 432137"/>
                  <a:gd name="connsiteY162" fmla="*/ 326679 h 331981"/>
                  <a:gd name="connsiteX163" fmla="*/ 94549 w 432137"/>
                  <a:gd name="connsiteY163" fmla="*/ 325618 h 331981"/>
                  <a:gd name="connsiteX164" fmla="*/ 95003 w 432137"/>
                  <a:gd name="connsiteY164" fmla="*/ 324406 h 331981"/>
                  <a:gd name="connsiteX165" fmla="*/ 94852 w 432137"/>
                  <a:gd name="connsiteY165" fmla="*/ 321981 h 331981"/>
                  <a:gd name="connsiteX166" fmla="*/ 94852 w 432137"/>
                  <a:gd name="connsiteY166" fmla="*/ 318042 h 331981"/>
                  <a:gd name="connsiteX167" fmla="*/ 95155 w 432137"/>
                  <a:gd name="connsiteY167" fmla="*/ 312436 h 331981"/>
                  <a:gd name="connsiteX168" fmla="*/ 95155 w 432137"/>
                  <a:gd name="connsiteY168" fmla="*/ 308951 h 331981"/>
                  <a:gd name="connsiteX169" fmla="*/ 98640 w 432137"/>
                  <a:gd name="connsiteY169" fmla="*/ 306375 h 331981"/>
                  <a:gd name="connsiteX170" fmla="*/ 103488 w 432137"/>
                  <a:gd name="connsiteY170" fmla="*/ 302284 h 331981"/>
                  <a:gd name="connsiteX171" fmla="*/ 105913 w 432137"/>
                  <a:gd name="connsiteY171" fmla="*/ 297738 h 331981"/>
                  <a:gd name="connsiteX172" fmla="*/ 107277 w 432137"/>
                  <a:gd name="connsiteY172" fmla="*/ 294405 h 331981"/>
                  <a:gd name="connsiteX173" fmla="*/ 108943 w 432137"/>
                  <a:gd name="connsiteY173" fmla="*/ 283344 h 331981"/>
                  <a:gd name="connsiteX174" fmla="*/ 110155 w 432137"/>
                  <a:gd name="connsiteY174" fmla="*/ 282586 h 331981"/>
                  <a:gd name="connsiteX175" fmla="*/ 111519 w 432137"/>
                  <a:gd name="connsiteY175" fmla="*/ 282131 h 331981"/>
                  <a:gd name="connsiteX176" fmla="*/ 116368 w 432137"/>
                  <a:gd name="connsiteY176" fmla="*/ 278040 h 331981"/>
                  <a:gd name="connsiteX177" fmla="*/ 120156 w 432137"/>
                  <a:gd name="connsiteY177" fmla="*/ 276525 h 331981"/>
                  <a:gd name="connsiteX178" fmla="*/ 123035 w 432137"/>
                  <a:gd name="connsiteY178" fmla="*/ 275768 h 331981"/>
                  <a:gd name="connsiteX179" fmla="*/ 127429 w 432137"/>
                  <a:gd name="connsiteY179" fmla="*/ 275010 h 331981"/>
                  <a:gd name="connsiteX180" fmla="*/ 130156 w 432137"/>
                  <a:gd name="connsiteY180" fmla="*/ 275313 h 331981"/>
                  <a:gd name="connsiteX181" fmla="*/ 135005 w 432137"/>
                  <a:gd name="connsiteY181" fmla="*/ 275464 h 331981"/>
                  <a:gd name="connsiteX182" fmla="*/ 138793 w 432137"/>
                  <a:gd name="connsiteY182" fmla="*/ 275010 h 331981"/>
                  <a:gd name="connsiteX183" fmla="*/ 142127 w 432137"/>
                  <a:gd name="connsiteY183" fmla="*/ 272889 h 331981"/>
                  <a:gd name="connsiteX184" fmla="*/ 143641 w 432137"/>
                  <a:gd name="connsiteY184" fmla="*/ 272283 h 331981"/>
                  <a:gd name="connsiteX185" fmla="*/ 145763 w 432137"/>
                  <a:gd name="connsiteY185" fmla="*/ 271828 h 331981"/>
                  <a:gd name="connsiteX186" fmla="*/ 155157 w 432137"/>
                  <a:gd name="connsiteY186" fmla="*/ 274859 h 331981"/>
                  <a:gd name="connsiteX187" fmla="*/ 164703 w 432137"/>
                  <a:gd name="connsiteY187" fmla="*/ 277586 h 331981"/>
                  <a:gd name="connsiteX188" fmla="*/ 166370 w 432137"/>
                  <a:gd name="connsiteY188" fmla="*/ 277434 h 331981"/>
                  <a:gd name="connsiteX189" fmla="*/ 167885 w 432137"/>
                  <a:gd name="connsiteY189" fmla="*/ 277737 h 331981"/>
                  <a:gd name="connsiteX190" fmla="*/ 170158 w 432137"/>
                  <a:gd name="connsiteY190" fmla="*/ 279253 h 331981"/>
                  <a:gd name="connsiteX191" fmla="*/ 173643 w 432137"/>
                  <a:gd name="connsiteY191" fmla="*/ 282586 h 331981"/>
                  <a:gd name="connsiteX192" fmla="*/ 175764 w 432137"/>
                  <a:gd name="connsiteY192" fmla="*/ 284707 h 331981"/>
                  <a:gd name="connsiteX193" fmla="*/ 176824 w 432137"/>
                  <a:gd name="connsiteY193" fmla="*/ 285919 h 331981"/>
                  <a:gd name="connsiteX194" fmla="*/ 181673 w 432137"/>
                  <a:gd name="connsiteY194" fmla="*/ 293041 h 331981"/>
                  <a:gd name="connsiteX195" fmla="*/ 183491 w 432137"/>
                  <a:gd name="connsiteY195" fmla="*/ 294859 h 331981"/>
                  <a:gd name="connsiteX196" fmla="*/ 185310 w 432137"/>
                  <a:gd name="connsiteY196" fmla="*/ 295768 h 331981"/>
                  <a:gd name="connsiteX197" fmla="*/ 187128 w 432137"/>
                  <a:gd name="connsiteY197" fmla="*/ 296071 h 331981"/>
                  <a:gd name="connsiteX198" fmla="*/ 188492 w 432137"/>
                  <a:gd name="connsiteY198" fmla="*/ 295920 h 331981"/>
                  <a:gd name="connsiteX199" fmla="*/ 189856 w 432137"/>
                  <a:gd name="connsiteY199" fmla="*/ 295162 h 331981"/>
                  <a:gd name="connsiteX200" fmla="*/ 191674 w 432137"/>
                  <a:gd name="connsiteY200" fmla="*/ 293647 h 331981"/>
                  <a:gd name="connsiteX201" fmla="*/ 194553 w 432137"/>
                  <a:gd name="connsiteY201" fmla="*/ 292890 h 331981"/>
                  <a:gd name="connsiteX202" fmla="*/ 196825 w 432137"/>
                  <a:gd name="connsiteY202" fmla="*/ 293041 h 331981"/>
                  <a:gd name="connsiteX203" fmla="*/ 208492 w 432137"/>
                  <a:gd name="connsiteY203" fmla="*/ 286677 h 331981"/>
                  <a:gd name="connsiteX204" fmla="*/ 209705 w 432137"/>
                  <a:gd name="connsiteY204" fmla="*/ 286525 h 331981"/>
                  <a:gd name="connsiteX205" fmla="*/ 213189 w 432137"/>
                  <a:gd name="connsiteY205" fmla="*/ 287132 h 331981"/>
                  <a:gd name="connsiteX206" fmla="*/ 216977 w 432137"/>
                  <a:gd name="connsiteY206" fmla="*/ 287889 h 331981"/>
                  <a:gd name="connsiteX207" fmla="*/ 226827 w 432137"/>
                  <a:gd name="connsiteY207" fmla="*/ 294405 h 331981"/>
                  <a:gd name="connsiteX208" fmla="*/ 234857 w 432137"/>
                  <a:gd name="connsiteY208" fmla="*/ 298496 h 331981"/>
                  <a:gd name="connsiteX209" fmla="*/ 240463 w 432137"/>
                  <a:gd name="connsiteY209" fmla="*/ 299859 h 331981"/>
                  <a:gd name="connsiteX210" fmla="*/ 247130 w 432137"/>
                  <a:gd name="connsiteY210" fmla="*/ 300920 h 331981"/>
                  <a:gd name="connsiteX211" fmla="*/ 258494 w 432137"/>
                  <a:gd name="connsiteY211" fmla="*/ 301223 h 331981"/>
                  <a:gd name="connsiteX212" fmla="*/ 267131 w 432137"/>
                  <a:gd name="connsiteY212" fmla="*/ 292283 h 331981"/>
                  <a:gd name="connsiteX213" fmla="*/ 270313 w 432137"/>
                  <a:gd name="connsiteY213" fmla="*/ 290313 h 331981"/>
                  <a:gd name="connsiteX214" fmla="*/ 274101 w 432137"/>
                  <a:gd name="connsiteY214" fmla="*/ 288495 h 331981"/>
                  <a:gd name="connsiteX215" fmla="*/ 275313 w 432137"/>
                  <a:gd name="connsiteY215" fmla="*/ 288192 h 331981"/>
                  <a:gd name="connsiteX216" fmla="*/ 282132 w 432137"/>
                  <a:gd name="connsiteY216" fmla="*/ 286829 h 331981"/>
                  <a:gd name="connsiteX217" fmla="*/ 295314 w 432137"/>
                  <a:gd name="connsiteY217" fmla="*/ 285768 h 331981"/>
                  <a:gd name="connsiteX218" fmla="*/ 307739 w 432137"/>
                  <a:gd name="connsiteY218" fmla="*/ 286223 h 331981"/>
                  <a:gd name="connsiteX219" fmla="*/ 310163 w 432137"/>
                  <a:gd name="connsiteY219" fmla="*/ 286525 h 331981"/>
                  <a:gd name="connsiteX220" fmla="*/ 315315 w 432137"/>
                  <a:gd name="connsiteY220" fmla="*/ 287738 h 331981"/>
                  <a:gd name="connsiteX221" fmla="*/ 323496 w 432137"/>
                  <a:gd name="connsiteY221" fmla="*/ 290617 h 331981"/>
                  <a:gd name="connsiteX222" fmla="*/ 326982 w 432137"/>
                  <a:gd name="connsiteY222" fmla="*/ 293495 h 331981"/>
                  <a:gd name="connsiteX223" fmla="*/ 332437 w 432137"/>
                  <a:gd name="connsiteY223" fmla="*/ 293950 h 331981"/>
                  <a:gd name="connsiteX224" fmla="*/ 336376 w 432137"/>
                  <a:gd name="connsiteY224" fmla="*/ 293344 h 331981"/>
                  <a:gd name="connsiteX225" fmla="*/ 337739 w 432137"/>
                  <a:gd name="connsiteY225" fmla="*/ 290617 h 331981"/>
                  <a:gd name="connsiteX226" fmla="*/ 341679 w 432137"/>
                  <a:gd name="connsiteY226" fmla="*/ 286980 h 331981"/>
                  <a:gd name="connsiteX227" fmla="*/ 344558 w 432137"/>
                  <a:gd name="connsiteY227" fmla="*/ 285465 h 331981"/>
                  <a:gd name="connsiteX228" fmla="*/ 347589 w 432137"/>
                  <a:gd name="connsiteY228" fmla="*/ 283647 h 331981"/>
                  <a:gd name="connsiteX229" fmla="*/ 352437 w 432137"/>
                  <a:gd name="connsiteY229" fmla="*/ 281222 h 331981"/>
                  <a:gd name="connsiteX230" fmla="*/ 356377 w 432137"/>
                  <a:gd name="connsiteY230" fmla="*/ 280162 h 331981"/>
                  <a:gd name="connsiteX231" fmla="*/ 360013 w 432137"/>
                  <a:gd name="connsiteY231" fmla="*/ 277434 h 331981"/>
                  <a:gd name="connsiteX232" fmla="*/ 362741 w 432137"/>
                  <a:gd name="connsiteY232" fmla="*/ 276525 h 331981"/>
                  <a:gd name="connsiteX233" fmla="*/ 367741 w 432137"/>
                  <a:gd name="connsiteY233" fmla="*/ 276525 h 331981"/>
                  <a:gd name="connsiteX234" fmla="*/ 365013 w 432137"/>
                  <a:gd name="connsiteY234" fmla="*/ 264555 h 331981"/>
                  <a:gd name="connsiteX235" fmla="*/ 363347 w 432137"/>
                  <a:gd name="connsiteY235" fmla="*/ 257737 h 331981"/>
                  <a:gd name="connsiteX236" fmla="*/ 365165 w 432137"/>
                  <a:gd name="connsiteY236" fmla="*/ 255615 h 331981"/>
                  <a:gd name="connsiteX237" fmla="*/ 368650 w 432137"/>
                  <a:gd name="connsiteY237" fmla="*/ 250767 h 331981"/>
                  <a:gd name="connsiteX238" fmla="*/ 373196 w 432137"/>
                  <a:gd name="connsiteY238" fmla="*/ 241524 h 331981"/>
                  <a:gd name="connsiteX239" fmla="*/ 383347 w 432137"/>
                  <a:gd name="connsiteY239" fmla="*/ 227129 h 331981"/>
                  <a:gd name="connsiteX240" fmla="*/ 388499 w 432137"/>
                  <a:gd name="connsiteY240" fmla="*/ 219705 h 331981"/>
                  <a:gd name="connsiteX241" fmla="*/ 398954 w 432137"/>
                  <a:gd name="connsiteY241" fmla="*/ 208644 h 331981"/>
                  <a:gd name="connsiteX242" fmla="*/ 411682 w 432137"/>
                  <a:gd name="connsiteY242" fmla="*/ 195007 h 331981"/>
                  <a:gd name="connsiteX243" fmla="*/ 418803 w 432137"/>
                  <a:gd name="connsiteY243" fmla="*/ 187280 h 331981"/>
                  <a:gd name="connsiteX244" fmla="*/ 420016 w 432137"/>
                  <a:gd name="connsiteY244" fmla="*/ 173340 h 331981"/>
                  <a:gd name="connsiteX245" fmla="*/ 421228 w 432137"/>
                  <a:gd name="connsiteY245" fmla="*/ 158491 h 331981"/>
                  <a:gd name="connsiteX246" fmla="*/ 422137 w 432137"/>
                  <a:gd name="connsiteY246" fmla="*/ 147278 h 331981"/>
                  <a:gd name="connsiteX247" fmla="*/ 423349 w 432137"/>
                  <a:gd name="connsiteY247" fmla="*/ 133944 h 331981"/>
                  <a:gd name="connsiteX248" fmla="*/ 424258 w 432137"/>
                  <a:gd name="connsiteY248" fmla="*/ 122732 h 331981"/>
                  <a:gd name="connsiteX249" fmla="*/ 425016 w 432137"/>
                  <a:gd name="connsiteY249" fmla="*/ 114701 h 331981"/>
                  <a:gd name="connsiteX250" fmla="*/ 425925 w 432137"/>
                  <a:gd name="connsiteY250" fmla="*/ 103034 h 331981"/>
                  <a:gd name="connsiteX251" fmla="*/ 426834 w 432137"/>
                  <a:gd name="connsiteY251" fmla="*/ 100913 h 331981"/>
                  <a:gd name="connsiteX252" fmla="*/ 431834 w 432137"/>
                  <a:gd name="connsiteY252" fmla="*/ 91821 h 331981"/>
                  <a:gd name="connsiteX253" fmla="*/ 432137 w 432137"/>
                  <a:gd name="connsiteY253" fmla="*/ 90609 h 33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432137" h="331981">
                    <a:moveTo>
                      <a:pt x="431228" y="89094"/>
                    </a:moveTo>
                    <a:lnTo>
                      <a:pt x="424107" y="81367"/>
                    </a:lnTo>
                    <a:lnTo>
                      <a:pt x="421985" y="79548"/>
                    </a:lnTo>
                    <a:lnTo>
                      <a:pt x="420621" y="75609"/>
                    </a:lnTo>
                    <a:lnTo>
                      <a:pt x="422440" y="73336"/>
                    </a:lnTo>
                    <a:lnTo>
                      <a:pt x="413954" y="60305"/>
                    </a:lnTo>
                    <a:lnTo>
                      <a:pt x="411833" y="58638"/>
                    </a:lnTo>
                    <a:lnTo>
                      <a:pt x="410773" y="57123"/>
                    </a:lnTo>
                    <a:lnTo>
                      <a:pt x="410773" y="54699"/>
                    </a:lnTo>
                    <a:lnTo>
                      <a:pt x="410621" y="45759"/>
                    </a:lnTo>
                    <a:lnTo>
                      <a:pt x="408348" y="31516"/>
                    </a:lnTo>
                    <a:lnTo>
                      <a:pt x="405318" y="15000"/>
                    </a:lnTo>
                    <a:lnTo>
                      <a:pt x="405318" y="15000"/>
                    </a:lnTo>
                    <a:lnTo>
                      <a:pt x="393651" y="21061"/>
                    </a:lnTo>
                    <a:lnTo>
                      <a:pt x="384863" y="25758"/>
                    </a:lnTo>
                    <a:lnTo>
                      <a:pt x="384408" y="25758"/>
                    </a:lnTo>
                    <a:lnTo>
                      <a:pt x="383954" y="25607"/>
                    </a:lnTo>
                    <a:lnTo>
                      <a:pt x="374711" y="17728"/>
                    </a:lnTo>
                    <a:lnTo>
                      <a:pt x="367438" y="11515"/>
                    </a:lnTo>
                    <a:lnTo>
                      <a:pt x="364256" y="9697"/>
                    </a:lnTo>
                    <a:lnTo>
                      <a:pt x="350619" y="6515"/>
                    </a:lnTo>
                    <a:lnTo>
                      <a:pt x="337134" y="3333"/>
                    </a:lnTo>
                    <a:lnTo>
                      <a:pt x="322891" y="0"/>
                    </a:lnTo>
                    <a:lnTo>
                      <a:pt x="308799" y="8788"/>
                    </a:lnTo>
                    <a:lnTo>
                      <a:pt x="294556" y="17576"/>
                    </a:lnTo>
                    <a:lnTo>
                      <a:pt x="280313" y="26364"/>
                    </a:lnTo>
                    <a:lnTo>
                      <a:pt x="266222" y="35001"/>
                    </a:lnTo>
                    <a:lnTo>
                      <a:pt x="251979" y="43789"/>
                    </a:lnTo>
                    <a:lnTo>
                      <a:pt x="237887" y="52426"/>
                    </a:lnTo>
                    <a:lnTo>
                      <a:pt x="223644" y="61214"/>
                    </a:lnTo>
                    <a:lnTo>
                      <a:pt x="209553" y="69851"/>
                    </a:lnTo>
                    <a:lnTo>
                      <a:pt x="200159" y="75609"/>
                    </a:lnTo>
                    <a:lnTo>
                      <a:pt x="194249" y="80609"/>
                    </a:lnTo>
                    <a:lnTo>
                      <a:pt x="186673" y="86973"/>
                    </a:lnTo>
                    <a:lnTo>
                      <a:pt x="179552" y="93337"/>
                    </a:lnTo>
                    <a:lnTo>
                      <a:pt x="174097" y="98337"/>
                    </a:lnTo>
                    <a:lnTo>
                      <a:pt x="166824" y="104701"/>
                    </a:lnTo>
                    <a:lnTo>
                      <a:pt x="163188" y="107883"/>
                    </a:lnTo>
                    <a:lnTo>
                      <a:pt x="155157" y="115156"/>
                    </a:lnTo>
                    <a:lnTo>
                      <a:pt x="152733" y="116368"/>
                    </a:lnTo>
                    <a:lnTo>
                      <a:pt x="142127" y="118489"/>
                    </a:lnTo>
                    <a:lnTo>
                      <a:pt x="132277" y="120459"/>
                    </a:lnTo>
                    <a:lnTo>
                      <a:pt x="123186" y="122126"/>
                    </a:lnTo>
                    <a:lnTo>
                      <a:pt x="117125" y="123338"/>
                    </a:lnTo>
                    <a:lnTo>
                      <a:pt x="111065" y="124550"/>
                    </a:lnTo>
                    <a:lnTo>
                      <a:pt x="111065" y="129550"/>
                    </a:lnTo>
                    <a:lnTo>
                      <a:pt x="111216" y="136975"/>
                    </a:lnTo>
                    <a:lnTo>
                      <a:pt x="111216" y="145157"/>
                    </a:lnTo>
                    <a:lnTo>
                      <a:pt x="111216" y="152884"/>
                    </a:lnTo>
                    <a:lnTo>
                      <a:pt x="111216" y="161521"/>
                    </a:lnTo>
                    <a:lnTo>
                      <a:pt x="111216" y="168491"/>
                    </a:lnTo>
                    <a:lnTo>
                      <a:pt x="111216" y="176673"/>
                    </a:lnTo>
                    <a:lnTo>
                      <a:pt x="111367" y="184855"/>
                    </a:lnTo>
                    <a:lnTo>
                      <a:pt x="110458" y="185764"/>
                    </a:lnTo>
                    <a:lnTo>
                      <a:pt x="110155" y="190461"/>
                    </a:lnTo>
                    <a:lnTo>
                      <a:pt x="109853" y="196522"/>
                    </a:lnTo>
                    <a:lnTo>
                      <a:pt x="108186" y="202735"/>
                    </a:lnTo>
                    <a:lnTo>
                      <a:pt x="105307" y="207280"/>
                    </a:lnTo>
                    <a:lnTo>
                      <a:pt x="104246" y="211674"/>
                    </a:lnTo>
                    <a:lnTo>
                      <a:pt x="103488" y="214250"/>
                    </a:lnTo>
                    <a:lnTo>
                      <a:pt x="102277" y="215614"/>
                    </a:lnTo>
                    <a:lnTo>
                      <a:pt x="102125" y="217281"/>
                    </a:lnTo>
                    <a:lnTo>
                      <a:pt x="101519" y="219553"/>
                    </a:lnTo>
                    <a:lnTo>
                      <a:pt x="100610" y="221069"/>
                    </a:lnTo>
                    <a:lnTo>
                      <a:pt x="99852" y="221826"/>
                    </a:lnTo>
                    <a:lnTo>
                      <a:pt x="96973" y="222735"/>
                    </a:lnTo>
                    <a:lnTo>
                      <a:pt x="91822" y="227129"/>
                    </a:lnTo>
                    <a:lnTo>
                      <a:pt x="91367" y="230614"/>
                    </a:lnTo>
                    <a:lnTo>
                      <a:pt x="85457" y="229705"/>
                    </a:lnTo>
                    <a:lnTo>
                      <a:pt x="79245" y="228645"/>
                    </a:lnTo>
                    <a:lnTo>
                      <a:pt x="78336" y="228796"/>
                    </a:lnTo>
                    <a:lnTo>
                      <a:pt x="77881" y="229251"/>
                    </a:lnTo>
                    <a:lnTo>
                      <a:pt x="77579" y="231069"/>
                    </a:lnTo>
                    <a:lnTo>
                      <a:pt x="69093" y="231372"/>
                    </a:lnTo>
                    <a:lnTo>
                      <a:pt x="61669" y="231675"/>
                    </a:lnTo>
                    <a:lnTo>
                      <a:pt x="52578" y="231978"/>
                    </a:lnTo>
                    <a:lnTo>
                      <a:pt x="46365" y="232130"/>
                    </a:lnTo>
                    <a:lnTo>
                      <a:pt x="38335" y="232584"/>
                    </a:lnTo>
                    <a:lnTo>
                      <a:pt x="31062" y="233039"/>
                    </a:lnTo>
                    <a:lnTo>
                      <a:pt x="26062" y="236978"/>
                    </a:lnTo>
                    <a:lnTo>
                      <a:pt x="21667" y="240918"/>
                    </a:lnTo>
                    <a:lnTo>
                      <a:pt x="21364" y="241069"/>
                    </a:lnTo>
                    <a:lnTo>
                      <a:pt x="15152" y="241827"/>
                    </a:lnTo>
                    <a:lnTo>
                      <a:pt x="7273" y="241069"/>
                    </a:lnTo>
                    <a:lnTo>
                      <a:pt x="3333" y="241069"/>
                    </a:lnTo>
                    <a:lnTo>
                      <a:pt x="1667" y="241524"/>
                    </a:lnTo>
                    <a:lnTo>
                      <a:pt x="1364" y="243039"/>
                    </a:lnTo>
                    <a:lnTo>
                      <a:pt x="1060" y="244251"/>
                    </a:lnTo>
                    <a:lnTo>
                      <a:pt x="1060" y="246524"/>
                    </a:lnTo>
                    <a:lnTo>
                      <a:pt x="455" y="250161"/>
                    </a:lnTo>
                    <a:lnTo>
                      <a:pt x="0" y="254555"/>
                    </a:lnTo>
                    <a:lnTo>
                      <a:pt x="2273" y="257282"/>
                    </a:lnTo>
                    <a:lnTo>
                      <a:pt x="5152" y="260312"/>
                    </a:lnTo>
                    <a:lnTo>
                      <a:pt x="5909" y="261525"/>
                    </a:lnTo>
                    <a:lnTo>
                      <a:pt x="5152" y="264404"/>
                    </a:lnTo>
                    <a:lnTo>
                      <a:pt x="5606" y="266222"/>
                    </a:lnTo>
                    <a:lnTo>
                      <a:pt x="7121" y="269101"/>
                    </a:lnTo>
                    <a:lnTo>
                      <a:pt x="9697" y="272737"/>
                    </a:lnTo>
                    <a:lnTo>
                      <a:pt x="12424" y="276525"/>
                    </a:lnTo>
                    <a:lnTo>
                      <a:pt x="14243" y="276980"/>
                    </a:lnTo>
                    <a:lnTo>
                      <a:pt x="15909" y="277283"/>
                    </a:lnTo>
                    <a:lnTo>
                      <a:pt x="16970" y="278040"/>
                    </a:lnTo>
                    <a:lnTo>
                      <a:pt x="18486" y="278647"/>
                    </a:lnTo>
                    <a:lnTo>
                      <a:pt x="20000" y="279101"/>
                    </a:lnTo>
                    <a:lnTo>
                      <a:pt x="21364" y="279859"/>
                    </a:lnTo>
                    <a:lnTo>
                      <a:pt x="22122" y="280768"/>
                    </a:lnTo>
                    <a:lnTo>
                      <a:pt x="23334" y="283041"/>
                    </a:lnTo>
                    <a:lnTo>
                      <a:pt x="26213" y="284556"/>
                    </a:lnTo>
                    <a:lnTo>
                      <a:pt x="28334" y="286071"/>
                    </a:lnTo>
                    <a:lnTo>
                      <a:pt x="27425" y="286829"/>
                    </a:lnTo>
                    <a:lnTo>
                      <a:pt x="24849" y="286525"/>
                    </a:lnTo>
                    <a:lnTo>
                      <a:pt x="22425" y="285919"/>
                    </a:lnTo>
                    <a:lnTo>
                      <a:pt x="22122" y="286980"/>
                    </a:lnTo>
                    <a:lnTo>
                      <a:pt x="22122" y="291223"/>
                    </a:lnTo>
                    <a:lnTo>
                      <a:pt x="22425" y="294859"/>
                    </a:lnTo>
                    <a:lnTo>
                      <a:pt x="23031" y="295314"/>
                    </a:lnTo>
                    <a:lnTo>
                      <a:pt x="25455" y="295920"/>
                    </a:lnTo>
                    <a:lnTo>
                      <a:pt x="31213" y="300617"/>
                    </a:lnTo>
                    <a:lnTo>
                      <a:pt x="36517" y="305011"/>
                    </a:lnTo>
                    <a:lnTo>
                      <a:pt x="38335" y="306072"/>
                    </a:lnTo>
                    <a:lnTo>
                      <a:pt x="41214" y="306526"/>
                    </a:lnTo>
                    <a:lnTo>
                      <a:pt x="44395" y="306678"/>
                    </a:lnTo>
                    <a:lnTo>
                      <a:pt x="45759" y="306223"/>
                    </a:lnTo>
                    <a:lnTo>
                      <a:pt x="48941" y="304102"/>
                    </a:lnTo>
                    <a:lnTo>
                      <a:pt x="50608" y="303799"/>
                    </a:lnTo>
                    <a:lnTo>
                      <a:pt x="52123" y="303950"/>
                    </a:lnTo>
                    <a:lnTo>
                      <a:pt x="53032" y="304254"/>
                    </a:lnTo>
                    <a:lnTo>
                      <a:pt x="54547" y="306072"/>
                    </a:lnTo>
                    <a:lnTo>
                      <a:pt x="55911" y="308799"/>
                    </a:lnTo>
                    <a:lnTo>
                      <a:pt x="56366" y="310769"/>
                    </a:lnTo>
                    <a:lnTo>
                      <a:pt x="56214" y="311830"/>
                    </a:lnTo>
                    <a:lnTo>
                      <a:pt x="55760" y="312284"/>
                    </a:lnTo>
                    <a:lnTo>
                      <a:pt x="53183" y="312739"/>
                    </a:lnTo>
                    <a:lnTo>
                      <a:pt x="51972" y="313193"/>
                    </a:lnTo>
                    <a:lnTo>
                      <a:pt x="51820" y="313799"/>
                    </a:lnTo>
                    <a:lnTo>
                      <a:pt x="52123" y="315011"/>
                    </a:lnTo>
                    <a:lnTo>
                      <a:pt x="52729" y="315920"/>
                    </a:lnTo>
                    <a:lnTo>
                      <a:pt x="55457" y="319860"/>
                    </a:lnTo>
                    <a:lnTo>
                      <a:pt x="59548" y="325163"/>
                    </a:lnTo>
                    <a:lnTo>
                      <a:pt x="60760" y="326375"/>
                    </a:lnTo>
                    <a:lnTo>
                      <a:pt x="61517" y="323648"/>
                    </a:lnTo>
                    <a:lnTo>
                      <a:pt x="60154" y="318345"/>
                    </a:lnTo>
                    <a:lnTo>
                      <a:pt x="60154" y="317436"/>
                    </a:lnTo>
                    <a:lnTo>
                      <a:pt x="63033" y="316375"/>
                    </a:lnTo>
                    <a:lnTo>
                      <a:pt x="66517" y="315466"/>
                    </a:lnTo>
                    <a:lnTo>
                      <a:pt x="67881" y="315466"/>
                    </a:lnTo>
                    <a:lnTo>
                      <a:pt x="68790" y="315011"/>
                    </a:lnTo>
                    <a:lnTo>
                      <a:pt x="70154" y="313799"/>
                    </a:lnTo>
                    <a:lnTo>
                      <a:pt x="72124" y="313042"/>
                    </a:lnTo>
                    <a:lnTo>
                      <a:pt x="73487" y="313345"/>
                    </a:lnTo>
                    <a:lnTo>
                      <a:pt x="74245" y="313496"/>
                    </a:lnTo>
                    <a:lnTo>
                      <a:pt x="81669" y="320315"/>
                    </a:lnTo>
                    <a:lnTo>
                      <a:pt x="84851" y="323800"/>
                    </a:lnTo>
                    <a:lnTo>
                      <a:pt x="85761" y="325618"/>
                    </a:lnTo>
                    <a:lnTo>
                      <a:pt x="87427" y="326830"/>
                    </a:lnTo>
                    <a:lnTo>
                      <a:pt x="89852" y="327739"/>
                    </a:lnTo>
                    <a:lnTo>
                      <a:pt x="92124" y="329406"/>
                    </a:lnTo>
                    <a:lnTo>
                      <a:pt x="93791" y="331982"/>
                    </a:lnTo>
                    <a:lnTo>
                      <a:pt x="95458" y="330921"/>
                    </a:lnTo>
                    <a:lnTo>
                      <a:pt x="95761" y="330163"/>
                    </a:lnTo>
                    <a:lnTo>
                      <a:pt x="95306" y="329103"/>
                    </a:lnTo>
                    <a:lnTo>
                      <a:pt x="94397" y="328345"/>
                    </a:lnTo>
                    <a:lnTo>
                      <a:pt x="94246" y="326679"/>
                    </a:lnTo>
                    <a:lnTo>
                      <a:pt x="94549" y="325618"/>
                    </a:lnTo>
                    <a:lnTo>
                      <a:pt x="95003" y="324406"/>
                    </a:lnTo>
                    <a:lnTo>
                      <a:pt x="94852" y="321981"/>
                    </a:lnTo>
                    <a:lnTo>
                      <a:pt x="94852" y="318042"/>
                    </a:lnTo>
                    <a:lnTo>
                      <a:pt x="95155" y="312436"/>
                    </a:lnTo>
                    <a:lnTo>
                      <a:pt x="95155" y="308951"/>
                    </a:lnTo>
                    <a:lnTo>
                      <a:pt x="98640" y="306375"/>
                    </a:lnTo>
                    <a:lnTo>
                      <a:pt x="103488" y="302284"/>
                    </a:lnTo>
                    <a:lnTo>
                      <a:pt x="105913" y="297738"/>
                    </a:lnTo>
                    <a:lnTo>
                      <a:pt x="107277" y="294405"/>
                    </a:lnTo>
                    <a:lnTo>
                      <a:pt x="108943" y="283344"/>
                    </a:lnTo>
                    <a:lnTo>
                      <a:pt x="110155" y="282586"/>
                    </a:lnTo>
                    <a:lnTo>
                      <a:pt x="111519" y="282131"/>
                    </a:lnTo>
                    <a:lnTo>
                      <a:pt x="116368" y="278040"/>
                    </a:lnTo>
                    <a:lnTo>
                      <a:pt x="120156" y="276525"/>
                    </a:lnTo>
                    <a:lnTo>
                      <a:pt x="123035" y="275768"/>
                    </a:lnTo>
                    <a:lnTo>
                      <a:pt x="127429" y="275010"/>
                    </a:lnTo>
                    <a:lnTo>
                      <a:pt x="130156" y="275313"/>
                    </a:lnTo>
                    <a:lnTo>
                      <a:pt x="135005" y="275464"/>
                    </a:lnTo>
                    <a:lnTo>
                      <a:pt x="138793" y="275010"/>
                    </a:lnTo>
                    <a:lnTo>
                      <a:pt x="142127" y="272889"/>
                    </a:lnTo>
                    <a:lnTo>
                      <a:pt x="143641" y="272283"/>
                    </a:lnTo>
                    <a:lnTo>
                      <a:pt x="145763" y="271828"/>
                    </a:lnTo>
                    <a:lnTo>
                      <a:pt x="155157" y="274859"/>
                    </a:lnTo>
                    <a:lnTo>
                      <a:pt x="164703" y="277586"/>
                    </a:lnTo>
                    <a:lnTo>
                      <a:pt x="166370" y="277434"/>
                    </a:lnTo>
                    <a:lnTo>
                      <a:pt x="167885" y="277737"/>
                    </a:lnTo>
                    <a:lnTo>
                      <a:pt x="170158" y="279253"/>
                    </a:lnTo>
                    <a:lnTo>
                      <a:pt x="173643" y="282586"/>
                    </a:lnTo>
                    <a:lnTo>
                      <a:pt x="175764" y="284707"/>
                    </a:lnTo>
                    <a:lnTo>
                      <a:pt x="176824" y="285919"/>
                    </a:lnTo>
                    <a:lnTo>
                      <a:pt x="181673" y="293041"/>
                    </a:lnTo>
                    <a:lnTo>
                      <a:pt x="183491" y="294859"/>
                    </a:lnTo>
                    <a:lnTo>
                      <a:pt x="185310" y="295768"/>
                    </a:lnTo>
                    <a:lnTo>
                      <a:pt x="187128" y="296071"/>
                    </a:lnTo>
                    <a:lnTo>
                      <a:pt x="188492" y="295920"/>
                    </a:lnTo>
                    <a:lnTo>
                      <a:pt x="189856" y="295162"/>
                    </a:lnTo>
                    <a:lnTo>
                      <a:pt x="191674" y="293647"/>
                    </a:lnTo>
                    <a:lnTo>
                      <a:pt x="194553" y="292890"/>
                    </a:lnTo>
                    <a:lnTo>
                      <a:pt x="196825" y="293041"/>
                    </a:lnTo>
                    <a:lnTo>
                      <a:pt x="208492" y="286677"/>
                    </a:lnTo>
                    <a:lnTo>
                      <a:pt x="209705" y="286525"/>
                    </a:lnTo>
                    <a:lnTo>
                      <a:pt x="213189" y="287132"/>
                    </a:lnTo>
                    <a:lnTo>
                      <a:pt x="216977" y="287889"/>
                    </a:lnTo>
                    <a:lnTo>
                      <a:pt x="226827" y="294405"/>
                    </a:lnTo>
                    <a:lnTo>
                      <a:pt x="234857" y="298496"/>
                    </a:lnTo>
                    <a:lnTo>
                      <a:pt x="240463" y="299859"/>
                    </a:lnTo>
                    <a:lnTo>
                      <a:pt x="247130" y="300920"/>
                    </a:lnTo>
                    <a:lnTo>
                      <a:pt x="258494" y="301223"/>
                    </a:lnTo>
                    <a:lnTo>
                      <a:pt x="267131" y="292283"/>
                    </a:lnTo>
                    <a:lnTo>
                      <a:pt x="270313" y="290313"/>
                    </a:lnTo>
                    <a:lnTo>
                      <a:pt x="274101" y="288495"/>
                    </a:lnTo>
                    <a:lnTo>
                      <a:pt x="275313" y="288192"/>
                    </a:lnTo>
                    <a:lnTo>
                      <a:pt x="282132" y="286829"/>
                    </a:lnTo>
                    <a:lnTo>
                      <a:pt x="295314" y="285768"/>
                    </a:lnTo>
                    <a:lnTo>
                      <a:pt x="307739" y="286223"/>
                    </a:lnTo>
                    <a:lnTo>
                      <a:pt x="310163" y="286525"/>
                    </a:lnTo>
                    <a:lnTo>
                      <a:pt x="315315" y="287738"/>
                    </a:lnTo>
                    <a:lnTo>
                      <a:pt x="323496" y="290617"/>
                    </a:lnTo>
                    <a:lnTo>
                      <a:pt x="326982" y="293495"/>
                    </a:lnTo>
                    <a:lnTo>
                      <a:pt x="332437" y="293950"/>
                    </a:lnTo>
                    <a:lnTo>
                      <a:pt x="336376" y="293344"/>
                    </a:lnTo>
                    <a:lnTo>
                      <a:pt x="337739" y="290617"/>
                    </a:lnTo>
                    <a:lnTo>
                      <a:pt x="341679" y="286980"/>
                    </a:lnTo>
                    <a:lnTo>
                      <a:pt x="344558" y="285465"/>
                    </a:lnTo>
                    <a:lnTo>
                      <a:pt x="347589" y="283647"/>
                    </a:lnTo>
                    <a:lnTo>
                      <a:pt x="352437" y="281222"/>
                    </a:lnTo>
                    <a:lnTo>
                      <a:pt x="356377" y="280162"/>
                    </a:lnTo>
                    <a:lnTo>
                      <a:pt x="360013" y="277434"/>
                    </a:lnTo>
                    <a:lnTo>
                      <a:pt x="362741" y="276525"/>
                    </a:lnTo>
                    <a:lnTo>
                      <a:pt x="367741" y="276525"/>
                    </a:lnTo>
                    <a:lnTo>
                      <a:pt x="365013" y="264555"/>
                    </a:lnTo>
                    <a:lnTo>
                      <a:pt x="363347" y="257737"/>
                    </a:lnTo>
                    <a:lnTo>
                      <a:pt x="365165" y="255615"/>
                    </a:lnTo>
                    <a:lnTo>
                      <a:pt x="368650" y="250767"/>
                    </a:lnTo>
                    <a:lnTo>
                      <a:pt x="373196" y="241524"/>
                    </a:lnTo>
                    <a:lnTo>
                      <a:pt x="383347" y="227129"/>
                    </a:lnTo>
                    <a:lnTo>
                      <a:pt x="388499" y="219705"/>
                    </a:lnTo>
                    <a:lnTo>
                      <a:pt x="398954" y="208644"/>
                    </a:lnTo>
                    <a:lnTo>
                      <a:pt x="411682" y="195007"/>
                    </a:lnTo>
                    <a:lnTo>
                      <a:pt x="418803" y="187280"/>
                    </a:lnTo>
                    <a:lnTo>
                      <a:pt x="420016" y="173340"/>
                    </a:lnTo>
                    <a:lnTo>
                      <a:pt x="421228" y="158491"/>
                    </a:lnTo>
                    <a:lnTo>
                      <a:pt x="422137" y="147278"/>
                    </a:lnTo>
                    <a:lnTo>
                      <a:pt x="423349" y="133944"/>
                    </a:lnTo>
                    <a:lnTo>
                      <a:pt x="424258" y="122732"/>
                    </a:lnTo>
                    <a:lnTo>
                      <a:pt x="425016" y="114701"/>
                    </a:lnTo>
                    <a:lnTo>
                      <a:pt x="425925" y="103034"/>
                    </a:lnTo>
                    <a:lnTo>
                      <a:pt x="426834" y="100913"/>
                    </a:lnTo>
                    <a:lnTo>
                      <a:pt x="431834" y="91821"/>
                    </a:lnTo>
                    <a:lnTo>
                      <a:pt x="432137" y="906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5" name="Freeform: Shape 3204">
                <a:extLst>
                  <a:ext uri="{FF2B5EF4-FFF2-40B4-BE49-F238E27FC236}">
                    <a16:creationId xmlns:a16="http://schemas.microsoft.com/office/drawing/2014/main" id="{F268B3E6-ECC4-4203-B3E3-223FE809F32E}"/>
                  </a:ext>
                </a:extLst>
              </p:cNvPr>
              <p:cNvSpPr/>
              <p:nvPr/>
            </p:nvSpPr>
            <p:spPr>
              <a:xfrm>
                <a:off x="10152968" y="5088073"/>
                <a:ext cx="224705" cy="100761"/>
              </a:xfrm>
              <a:custGeom>
                <a:avLst/>
                <a:gdLst>
                  <a:gd name="connsiteX0" fmla="*/ 0 w 224705"/>
                  <a:gd name="connsiteY0" fmla="*/ 1667 h 100761"/>
                  <a:gd name="connsiteX1" fmla="*/ 152 w 224705"/>
                  <a:gd name="connsiteY1" fmla="*/ 6212 h 100761"/>
                  <a:gd name="connsiteX2" fmla="*/ 606 w 224705"/>
                  <a:gd name="connsiteY2" fmla="*/ 5606 h 100761"/>
                  <a:gd name="connsiteX3" fmla="*/ 1212 w 224705"/>
                  <a:gd name="connsiteY3" fmla="*/ 3485 h 100761"/>
                  <a:gd name="connsiteX4" fmla="*/ 757 w 224705"/>
                  <a:gd name="connsiteY4" fmla="*/ 0 h 100761"/>
                  <a:gd name="connsiteX5" fmla="*/ 0 w 224705"/>
                  <a:gd name="connsiteY5" fmla="*/ 1667 h 100761"/>
                  <a:gd name="connsiteX6" fmla="*/ 222432 w 224705"/>
                  <a:gd name="connsiteY6" fmla="*/ 66063 h 100761"/>
                  <a:gd name="connsiteX7" fmla="*/ 221220 w 224705"/>
                  <a:gd name="connsiteY7" fmla="*/ 65608 h 100761"/>
                  <a:gd name="connsiteX8" fmla="*/ 220766 w 224705"/>
                  <a:gd name="connsiteY8" fmla="*/ 65002 h 100761"/>
                  <a:gd name="connsiteX9" fmla="*/ 220463 w 224705"/>
                  <a:gd name="connsiteY9" fmla="*/ 63942 h 100761"/>
                  <a:gd name="connsiteX10" fmla="*/ 220614 w 224705"/>
                  <a:gd name="connsiteY10" fmla="*/ 63033 h 100761"/>
                  <a:gd name="connsiteX11" fmla="*/ 218948 w 224705"/>
                  <a:gd name="connsiteY11" fmla="*/ 64093 h 100761"/>
                  <a:gd name="connsiteX12" fmla="*/ 215917 w 224705"/>
                  <a:gd name="connsiteY12" fmla="*/ 64699 h 100761"/>
                  <a:gd name="connsiteX13" fmla="*/ 217584 w 224705"/>
                  <a:gd name="connsiteY13" fmla="*/ 68487 h 100761"/>
                  <a:gd name="connsiteX14" fmla="*/ 217432 w 224705"/>
                  <a:gd name="connsiteY14" fmla="*/ 70154 h 100761"/>
                  <a:gd name="connsiteX15" fmla="*/ 219250 w 224705"/>
                  <a:gd name="connsiteY15" fmla="*/ 70760 h 100761"/>
                  <a:gd name="connsiteX16" fmla="*/ 220008 w 224705"/>
                  <a:gd name="connsiteY16" fmla="*/ 71821 h 100761"/>
                  <a:gd name="connsiteX17" fmla="*/ 221069 w 224705"/>
                  <a:gd name="connsiteY17" fmla="*/ 71821 h 100761"/>
                  <a:gd name="connsiteX18" fmla="*/ 224251 w 224705"/>
                  <a:gd name="connsiteY18" fmla="*/ 71063 h 100761"/>
                  <a:gd name="connsiteX19" fmla="*/ 224706 w 224705"/>
                  <a:gd name="connsiteY19" fmla="*/ 66214 h 100761"/>
                  <a:gd name="connsiteX20" fmla="*/ 222432 w 224705"/>
                  <a:gd name="connsiteY20" fmla="*/ 66063 h 100761"/>
                  <a:gd name="connsiteX21" fmla="*/ 188492 w 224705"/>
                  <a:gd name="connsiteY21" fmla="*/ 82276 h 100761"/>
                  <a:gd name="connsiteX22" fmla="*/ 184856 w 224705"/>
                  <a:gd name="connsiteY22" fmla="*/ 80457 h 100761"/>
                  <a:gd name="connsiteX23" fmla="*/ 182128 w 224705"/>
                  <a:gd name="connsiteY23" fmla="*/ 78185 h 100761"/>
                  <a:gd name="connsiteX24" fmla="*/ 179552 w 224705"/>
                  <a:gd name="connsiteY24" fmla="*/ 75609 h 100761"/>
                  <a:gd name="connsiteX25" fmla="*/ 174401 w 224705"/>
                  <a:gd name="connsiteY25" fmla="*/ 71518 h 100761"/>
                  <a:gd name="connsiteX26" fmla="*/ 167734 w 224705"/>
                  <a:gd name="connsiteY26" fmla="*/ 67124 h 100761"/>
                  <a:gd name="connsiteX27" fmla="*/ 164703 w 224705"/>
                  <a:gd name="connsiteY27" fmla="*/ 65911 h 100761"/>
                  <a:gd name="connsiteX28" fmla="*/ 162885 w 224705"/>
                  <a:gd name="connsiteY28" fmla="*/ 64396 h 100761"/>
                  <a:gd name="connsiteX29" fmla="*/ 161218 w 224705"/>
                  <a:gd name="connsiteY29" fmla="*/ 63639 h 100761"/>
                  <a:gd name="connsiteX30" fmla="*/ 159854 w 224705"/>
                  <a:gd name="connsiteY30" fmla="*/ 62123 h 100761"/>
                  <a:gd name="connsiteX31" fmla="*/ 156824 w 224705"/>
                  <a:gd name="connsiteY31" fmla="*/ 60911 h 100761"/>
                  <a:gd name="connsiteX32" fmla="*/ 154551 w 224705"/>
                  <a:gd name="connsiteY32" fmla="*/ 58487 h 100761"/>
                  <a:gd name="connsiteX33" fmla="*/ 150915 w 224705"/>
                  <a:gd name="connsiteY33" fmla="*/ 55608 h 100761"/>
                  <a:gd name="connsiteX34" fmla="*/ 150157 w 224705"/>
                  <a:gd name="connsiteY34" fmla="*/ 54547 h 100761"/>
                  <a:gd name="connsiteX35" fmla="*/ 150006 w 224705"/>
                  <a:gd name="connsiteY35" fmla="*/ 52729 h 100761"/>
                  <a:gd name="connsiteX36" fmla="*/ 149097 w 224705"/>
                  <a:gd name="connsiteY36" fmla="*/ 51366 h 100761"/>
                  <a:gd name="connsiteX37" fmla="*/ 147127 w 224705"/>
                  <a:gd name="connsiteY37" fmla="*/ 50002 h 100761"/>
                  <a:gd name="connsiteX38" fmla="*/ 145611 w 224705"/>
                  <a:gd name="connsiteY38" fmla="*/ 48032 h 100761"/>
                  <a:gd name="connsiteX39" fmla="*/ 143945 w 224705"/>
                  <a:gd name="connsiteY39" fmla="*/ 46668 h 100761"/>
                  <a:gd name="connsiteX40" fmla="*/ 141823 w 224705"/>
                  <a:gd name="connsiteY40" fmla="*/ 45911 h 100761"/>
                  <a:gd name="connsiteX41" fmla="*/ 138035 w 224705"/>
                  <a:gd name="connsiteY41" fmla="*/ 44093 h 100761"/>
                  <a:gd name="connsiteX42" fmla="*/ 127429 w 224705"/>
                  <a:gd name="connsiteY42" fmla="*/ 35607 h 100761"/>
                  <a:gd name="connsiteX43" fmla="*/ 123338 w 224705"/>
                  <a:gd name="connsiteY43" fmla="*/ 32729 h 100761"/>
                  <a:gd name="connsiteX44" fmla="*/ 120004 w 224705"/>
                  <a:gd name="connsiteY44" fmla="*/ 33486 h 100761"/>
                  <a:gd name="connsiteX45" fmla="*/ 116974 w 224705"/>
                  <a:gd name="connsiteY45" fmla="*/ 31668 h 100761"/>
                  <a:gd name="connsiteX46" fmla="*/ 113035 w 224705"/>
                  <a:gd name="connsiteY46" fmla="*/ 28637 h 100761"/>
                  <a:gd name="connsiteX47" fmla="*/ 112580 w 224705"/>
                  <a:gd name="connsiteY47" fmla="*/ 29546 h 100761"/>
                  <a:gd name="connsiteX48" fmla="*/ 112428 w 224705"/>
                  <a:gd name="connsiteY48" fmla="*/ 31213 h 100761"/>
                  <a:gd name="connsiteX49" fmla="*/ 113186 w 224705"/>
                  <a:gd name="connsiteY49" fmla="*/ 32425 h 100761"/>
                  <a:gd name="connsiteX50" fmla="*/ 114853 w 224705"/>
                  <a:gd name="connsiteY50" fmla="*/ 33183 h 100761"/>
                  <a:gd name="connsiteX51" fmla="*/ 115762 w 224705"/>
                  <a:gd name="connsiteY51" fmla="*/ 34395 h 100761"/>
                  <a:gd name="connsiteX52" fmla="*/ 115610 w 224705"/>
                  <a:gd name="connsiteY52" fmla="*/ 36365 h 100761"/>
                  <a:gd name="connsiteX53" fmla="*/ 116065 w 224705"/>
                  <a:gd name="connsiteY53" fmla="*/ 38183 h 100761"/>
                  <a:gd name="connsiteX54" fmla="*/ 120004 w 224705"/>
                  <a:gd name="connsiteY54" fmla="*/ 42577 h 100761"/>
                  <a:gd name="connsiteX55" fmla="*/ 121672 w 224705"/>
                  <a:gd name="connsiteY55" fmla="*/ 45608 h 100761"/>
                  <a:gd name="connsiteX56" fmla="*/ 123792 w 224705"/>
                  <a:gd name="connsiteY56" fmla="*/ 48183 h 100761"/>
                  <a:gd name="connsiteX57" fmla="*/ 126671 w 224705"/>
                  <a:gd name="connsiteY57" fmla="*/ 50305 h 100761"/>
                  <a:gd name="connsiteX58" fmla="*/ 129248 w 224705"/>
                  <a:gd name="connsiteY58" fmla="*/ 52729 h 100761"/>
                  <a:gd name="connsiteX59" fmla="*/ 134702 w 224705"/>
                  <a:gd name="connsiteY59" fmla="*/ 58638 h 100761"/>
                  <a:gd name="connsiteX60" fmla="*/ 136672 w 224705"/>
                  <a:gd name="connsiteY60" fmla="*/ 61214 h 100761"/>
                  <a:gd name="connsiteX61" fmla="*/ 138944 w 224705"/>
                  <a:gd name="connsiteY61" fmla="*/ 62275 h 100761"/>
                  <a:gd name="connsiteX62" fmla="*/ 145309 w 224705"/>
                  <a:gd name="connsiteY62" fmla="*/ 67881 h 100761"/>
                  <a:gd name="connsiteX63" fmla="*/ 147733 w 224705"/>
                  <a:gd name="connsiteY63" fmla="*/ 69397 h 100761"/>
                  <a:gd name="connsiteX64" fmla="*/ 150460 w 224705"/>
                  <a:gd name="connsiteY64" fmla="*/ 70457 h 100761"/>
                  <a:gd name="connsiteX65" fmla="*/ 155764 w 224705"/>
                  <a:gd name="connsiteY65" fmla="*/ 73639 h 100761"/>
                  <a:gd name="connsiteX66" fmla="*/ 159097 w 224705"/>
                  <a:gd name="connsiteY66" fmla="*/ 75154 h 100761"/>
                  <a:gd name="connsiteX67" fmla="*/ 161218 w 224705"/>
                  <a:gd name="connsiteY67" fmla="*/ 77275 h 100761"/>
                  <a:gd name="connsiteX68" fmla="*/ 164249 w 224705"/>
                  <a:gd name="connsiteY68" fmla="*/ 78791 h 100761"/>
                  <a:gd name="connsiteX69" fmla="*/ 168643 w 224705"/>
                  <a:gd name="connsiteY69" fmla="*/ 80154 h 100761"/>
                  <a:gd name="connsiteX70" fmla="*/ 169400 w 224705"/>
                  <a:gd name="connsiteY70" fmla="*/ 81063 h 100761"/>
                  <a:gd name="connsiteX71" fmla="*/ 170006 w 224705"/>
                  <a:gd name="connsiteY71" fmla="*/ 82579 h 100761"/>
                  <a:gd name="connsiteX72" fmla="*/ 170916 w 224705"/>
                  <a:gd name="connsiteY72" fmla="*/ 83791 h 100761"/>
                  <a:gd name="connsiteX73" fmla="*/ 174097 w 224705"/>
                  <a:gd name="connsiteY73" fmla="*/ 85609 h 100761"/>
                  <a:gd name="connsiteX74" fmla="*/ 177431 w 224705"/>
                  <a:gd name="connsiteY74" fmla="*/ 86821 h 100761"/>
                  <a:gd name="connsiteX75" fmla="*/ 178037 w 224705"/>
                  <a:gd name="connsiteY75" fmla="*/ 87882 h 100761"/>
                  <a:gd name="connsiteX76" fmla="*/ 178794 w 224705"/>
                  <a:gd name="connsiteY76" fmla="*/ 88639 h 100761"/>
                  <a:gd name="connsiteX77" fmla="*/ 180310 w 224705"/>
                  <a:gd name="connsiteY77" fmla="*/ 88488 h 100761"/>
                  <a:gd name="connsiteX78" fmla="*/ 181673 w 224705"/>
                  <a:gd name="connsiteY78" fmla="*/ 88943 h 100761"/>
                  <a:gd name="connsiteX79" fmla="*/ 187279 w 224705"/>
                  <a:gd name="connsiteY79" fmla="*/ 92125 h 100761"/>
                  <a:gd name="connsiteX80" fmla="*/ 188946 w 224705"/>
                  <a:gd name="connsiteY80" fmla="*/ 91518 h 100761"/>
                  <a:gd name="connsiteX81" fmla="*/ 190765 w 224705"/>
                  <a:gd name="connsiteY81" fmla="*/ 91518 h 100761"/>
                  <a:gd name="connsiteX82" fmla="*/ 192734 w 224705"/>
                  <a:gd name="connsiteY82" fmla="*/ 90609 h 100761"/>
                  <a:gd name="connsiteX83" fmla="*/ 193644 w 224705"/>
                  <a:gd name="connsiteY83" fmla="*/ 88791 h 100761"/>
                  <a:gd name="connsiteX84" fmla="*/ 191977 w 224705"/>
                  <a:gd name="connsiteY84" fmla="*/ 83942 h 100761"/>
                  <a:gd name="connsiteX85" fmla="*/ 188492 w 224705"/>
                  <a:gd name="connsiteY85" fmla="*/ 82276 h 100761"/>
                  <a:gd name="connsiteX86" fmla="*/ 182280 w 224705"/>
                  <a:gd name="connsiteY86" fmla="*/ 43789 h 100761"/>
                  <a:gd name="connsiteX87" fmla="*/ 183189 w 224705"/>
                  <a:gd name="connsiteY87" fmla="*/ 41971 h 100761"/>
                  <a:gd name="connsiteX88" fmla="*/ 182582 w 224705"/>
                  <a:gd name="connsiteY88" fmla="*/ 41668 h 100761"/>
                  <a:gd name="connsiteX89" fmla="*/ 182582 w 224705"/>
                  <a:gd name="connsiteY89" fmla="*/ 40001 h 100761"/>
                  <a:gd name="connsiteX90" fmla="*/ 183037 w 224705"/>
                  <a:gd name="connsiteY90" fmla="*/ 38638 h 100761"/>
                  <a:gd name="connsiteX91" fmla="*/ 184552 w 224705"/>
                  <a:gd name="connsiteY91" fmla="*/ 37880 h 100761"/>
                  <a:gd name="connsiteX92" fmla="*/ 183340 w 224705"/>
                  <a:gd name="connsiteY92" fmla="*/ 36971 h 100761"/>
                  <a:gd name="connsiteX93" fmla="*/ 182128 w 224705"/>
                  <a:gd name="connsiteY93" fmla="*/ 36819 h 100761"/>
                  <a:gd name="connsiteX94" fmla="*/ 182280 w 224705"/>
                  <a:gd name="connsiteY94" fmla="*/ 37880 h 100761"/>
                  <a:gd name="connsiteX95" fmla="*/ 181522 w 224705"/>
                  <a:gd name="connsiteY95" fmla="*/ 41062 h 100761"/>
                  <a:gd name="connsiteX96" fmla="*/ 181522 w 224705"/>
                  <a:gd name="connsiteY96" fmla="*/ 42577 h 100761"/>
                  <a:gd name="connsiteX97" fmla="*/ 179703 w 224705"/>
                  <a:gd name="connsiteY97" fmla="*/ 45153 h 100761"/>
                  <a:gd name="connsiteX98" fmla="*/ 181219 w 224705"/>
                  <a:gd name="connsiteY98" fmla="*/ 44850 h 100761"/>
                  <a:gd name="connsiteX99" fmla="*/ 182280 w 224705"/>
                  <a:gd name="connsiteY99" fmla="*/ 43789 h 100761"/>
                  <a:gd name="connsiteX100" fmla="*/ 205614 w 224705"/>
                  <a:gd name="connsiteY100" fmla="*/ 97276 h 100761"/>
                  <a:gd name="connsiteX101" fmla="*/ 205008 w 224705"/>
                  <a:gd name="connsiteY101" fmla="*/ 99549 h 100761"/>
                  <a:gd name="connsiteX102" fmla="*/ 205614 w 224705"/>
                  <a:gd name="connsiteY102" fmla="*/ 100155 h 100761"/>
                  <a:gd name="connsiteX103" fmla="*/ 206371 w 224705"/>
                  <a:gd name="connsiteY103" fmla="*/ 100610 h 100761"/>
                  <a:gd name="connsiteX104" fmla="*/ 207432 w 224705"/>
                  <a:gd name="connsiteY104" fmla="*/ 100761 h 100761"/>
                  <a:gd name="connsiteX105" fmla="*/ 208341 w 224705"/>
                  <a:gd name="connsiteY105" fmla="*/ 99701 h 100761"/>
                  <a:gd name="connsiteX106" fmla="*/ 207886 w 224705"/>
                  <a:gd name="connsiteY106" fmla="*/ 98488 h 100761"/>
                  <a:gd name="connsiteX107" fmla="*/ 205614 w 224705"/>
                  <a:gd name="connsiteY107" fmla="*/ 97276 h 100761"/>
                  <a:gd name="connsiteX108" fmla="*/ 205310 w 224705"/>
                  <a:gd name="connsiteY108" fmla="*/ 54850 h 100761"/>
                  <a:gd name="connsiteX109" fmla="*/ 203341 w 224705"/>
                  <a:gd name="connsiteY109" fmla="*/ 51669 h 100761"/>
                  <a:gd name="connsiteX110" fmla="*/ 201522 w 224705"/>
                  <a:gd name="connsiteY110" fmla="*/ 50305 h 100761"/>
                  <a:gd name="connsiteX111" fmla="*/ 201674 w 224705"/>
                  <a:gd name="connsiteY111" fmla="*/ 45759 h 100761"/>
                  <a:gd name="connsiteX112" fmla="*/ 200917 w 224705"/>
                  <a:gd name="connsiteY112" fmla="*/ 44850 h 100761"/>
                  <a:gd name="connsiteX113" fmla="*/ 199099 w 224705"/>
                  <a:gd name="connsiteY113" fmla="*/ 44093 h 100761"/>
                  <a:gd name="connsiteX114" fmla="*/ 195007 w 224705"/>
                  <a:gd name="connsiteY114" fmla="*/ 45456 h 100761"/>
                  <a:gd name="connsiteX115" fmla="*/ 194704 w 224705"/>
                  <a:gd name="connsiteY115" fmla="*/ 46517 h 100761"/>
                  <a:gd name="connsiteX116" fmla="*/ 197280 w 224705"/>
                  <a:gd name="connsiteY116" fmla="*/ 46668 h 100761"/>
                  <a:gd name="connsiteX117" fmla="*/ 198795 w 224705"/>
                  <a:gd name="connsiteY117" fmla="*/ 47729 h 100761"/>
                  <a:gd name="connsiteX118" fmla="*/ 196674 w 224705"/>
                  <a:gd name="connsiteY118" fmla="*/ 50608 h 100761"/>
                  <a:gd name="connsiteX119" fmla="*/ 194553 w 224705"/>
                  <a:gd name="connsiteY119" fmla="*/ 51062 h 100761"/>
                  <a:gd name="connsiteX120" fmla="*/ 195613 w 224705"/>
                  <a:gd name="connsiteY120" fmla="*/ 53184 h 100761"/>
                  <a:gd name="connsiteX121" fmla="*/ 197280 w 224705"/>
                  <a:gd name="connsiteY121" fmla="*/ 55002 h 100761"/>
                  <a:gd name="connsiteX122" fmla="*/ 201068 w 224705"/>
                  <a:gd name="connsiteY122" fmla="*/ 56063 h 100761"/>
                  <a:gd name="connsiteX123" fmla="*/ 203038 w 224705"/>
                  <a:gd name="connsiteY123" fmla="*/ 58184 h 100761"/>
                  <a:gd name="connsiteX124" fmla="*/ 204553 w 224705"/>
                  <a:gd name="connsiteY124" fmla="*/ 57881 h 100761"/>
                  <a:gd name="connsiteX125" fmla="*/ 205310 w 224705"/>
                  <a:gd name="connsiteY125" fmla="*/ 55760 h 100761"/>
                  <a:gd name="connsiteX126" fmla="*/ 205310 w 224705"/>
                  <a:gd name="connsiteY126" fmla="*/ 54850 h 10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24705" h="100761">
                    <a:moveTo>
                      <a:pt x="0" y="1667"/>
                    </a:moveTo>
                    <a:lnTo>
                      <a:pt x="152" y="6212"/>
                    </a:lnTo>
                    <a:lnTo>
                      <a:pt x="606" y="5606"/>
                    </a:lnTo>
                    <a:lnTo>
                      <a:pt x="1212" y="3485"/>
                    </a:lnTo>
                    <a:lnTo>
                      <a:pt x="757" y="0"/>
                    </a:lnTo>
                    <a:lnTo>
                      <a:pt x="0" y="1667"/>
                    </a:lnTo>
                    <a:close/>
                    <a:moveTo>
                      <a:pt x="222432" y="66063"/>
                    </a:moveTo>
                    <a:lnTo>
                      <a:pt x="221220" y="65608"/>
                    </a:lnTo>
                    <a:lnTo>
                      <a:pt x="220766" y="65002"/>
                    </a:lnTo>
                    <a:lnTo>
                      <a:pt x="220463" y="63942"/>
                    </a:lnTo>
                    <a:lnTo>
                      <a:pt x="220614" y="63033"/>
                    </a:lnTo>
                    <a:lnTo>
                      <a:pt x="218948" y="64093"/>
                    </a:lnTo>
                    <a:lnTo>
                      <a:pt x="215917" y="64699"/>
                    </a:lnTo>
                    <a:lnTo>
                      <a:pt x="217584" y="68487"/>
                    </a:lnTo>
                    <a:lnTo>
                      <a:pt x="217432" y="70154"/>
                    </a:lnTo>
                    <a:lnTo>
                      <a:pt x="219250" y="70760"/>
                    </a:lnTo>
                    <a:lnTo>
                      <a:pt x="220008" y="71821"/>
                    </a:lnTo>
                    <a:lnTo>
                      <a:pt x="221069" y="71821"/>
                    </a:lnTo>
                    <a:lnTo>
                      <a:pt x="224251" y="71063"/>
                    </a:lnTo>
                    <a:lnTo>
                      <a:pt x="224706" y="66214"/>
                    </a:lnTo>
                    <a:lnTo>
                      <a:pt x="222432" y="66063"/>
                    </a:lnTo>
                    <a:close/>
                    <a:moveTo>
                      <a:pt x="188492" y="82276"/>
                    </a:moveTo>
                    <a:lnTo>
                      <a:pt x="184856" y="80457"/>
                    </a:lnTo>
                    <a:lnTo>
                      <a:pt x="182128" y="78185"/>
                    </a:lnTo>
                    <a:lnTo>
                      <a:pt x="179552" y="75609"/>
                    </a:lnTo>
                    <a:lnTo>
                      <a:pt x="174401" y="71518"/>
                    </a:lnTo>
                    <a:lnTo>
                      <a:pt x="167734" y="67124"/>
                    </a:lnTo>
                    <a:lnTo>
                      <a:pt x="164703" y="65911"/>
                    </a:lnTo>
                    <a:lnTo>
                      <a:pt x="162885" y="64396"/>
                    </a:lnTo>
                    <a:lnTo>
                      <a:pt x="161218" y="63639"/>
                    </a:lnTo>
                    <a:lnTo>
                      <a:pt x="159854" y="62123"/>
                    </a:lnTo>
                    <a:lnTo>
                      <a:pt x="156824" y="60911"/>
                    </a:lnTo>
                    <a:lnTo>
                      <a:pt x="154551" y="58487"/>
                    </a:lnTo>
                    <a:lnTo>
                      <a:pt x="150915" y="55608"/>
                    </a:lnTo>
                    <a:lnTo>
                      <a:pt x="150157" y="54547"/>
                    </a:lnTo>
                    <a:lnTo>
                      <a:pt x="150006" y="52729"/>
                    </a:lnTo>
                    <a:lnTo>
                      <a:pt x="149097" y="51366"/>
                    </a:lnTo>
                    <a:lnTo>
                      <a:pt x="147127" y="50002"/>
                    </a:lnTo>
                    <a:lnTo>
                      <a:pt x="145611" y="48032"/>
                    </a:lnTo>
                    <a:lnTo>
                      <a:pt x="143945" y="46668"/>
                    </a:lnTo>
                    <a:lnTo>
                      <a:pt x="141823" y="45911"/>
                    </a:lnTo>
                    <a:lnTo>
                      <a:pt x="138035" y="44093"/>
                    </a:lnTo>
                    <a:lnTo>
                      <a:pt x="127429" y="35607"/>
                    </a:lnTo>
                    <a:lnTo>
                      <a:pt x="123338" y="32729"/>
                    </a:lnTo>
                    <a:lnTo>
                      <a:pt x="120004" y="33486"/>
                    </a:lnTo>
                    <a:lnTo>
                      <a:pt x="116974" y="31668"/>
                    </a:lnTo>
                    <a:lnTo>
                      <a:pt x="113035" y="28637"/>
                    </a:lnTo>
                    <a:lnTo>
                      <a:pt x="112580" y="29546"/>
                    </a:lnTo>
                    <a:lnTo>
                      <a:pt x="112428" y="31213"/>
                    </a:lnTo>
                    <a:lnTo>
                      <a:pt x="113186" y="32425"/>
                    </a:lnTo>
                    <a:lnTo>
                      <a:pt x="114853" y="33183"/>
                    </a:lnTo>
                    <a:lnTo>
                      <a:pt x="115762" y="34395"/>
                    </a:lnTo>
                    <a:lnTo>
                      <a:pt x="115610" y="36365"/>
                    </a:lnTo>
                    <a:lnTo>
                      <a:pt x="116065" y="38183"/>
                    </a:lnTo>
                    <a:lnTo>
                      <a:pt x="120004" y="42577"/>
                    </a:lnTo>
                    <a:lnTo>
                      <a:pt x="121672" y="45608"/>
                    </a:lnTo>
                    <a:lnTo>
                      <a:pt x="123792" y="48183"/>
                    </a:lnTo>
                    <a:lnTo>
                      <a:pt x="126671" y="50305"/>
                    </a:lnTo>
                    <a:lnTo>
                      <a:pt x="129248" y="52729"/>
                    </a:lnTo>
                    <a:lnTo>
                      <a:pt x="134702" y="58638"/>
                    </a:lnTo>
                    <a:lnTo>
                      <a:pt x="136672" y="61214"/>
                    </a:lnTo>
                    <a:lnTo>
                      <a:pt x="138944" y="62275"/>
                    </a:lnTo>
                    <a:lnTo>
                      <a:pt x="145309" y="67881"/>
                    </a:lnTo>
                    <a:lnTo>
                      <a:pt x="147733" y="69397"/>
                    </a:lnTo>
                    <a:lnTo>
                      <a:pt x="150460" y="70457"/>
                    </a:lnTo>
                    <a:lnTo>
                      <a:pt x="155764" y="73639"/>
                    </a:lnTo>
                    <a:lnTo>
                      <a:pt x="159097" y="75154"/>
                    </a:lnTo>
                    <a:lnTo>
                      <a:pt x="161218" y="77275"/>
                    </a:lnTo>
                    <a:lnTo>
                      <a:pt x="164249" y="78791"/>
                    </a:lnTo>
                    <a:lnTo>
                      <a:pt x="168643" y="80154"/>
                    </a:lnTo>
                    <a:lnTo>
                      <a:pt x="169400" y="81063"/>
                    </a:lnTo>
                    <a:lnTo>
                      <a:pt x="170006" y="82579"/>
                    </a:lnTo>
                    <a:lnTo>
                      <a:pt x="170916" y="83791"/>
                    </a:lnTo>
                    <a:lnTo>
                      <a:pt x="174097" y="85609"/>
                    </a:lnTo>
                    <a:lnTo>
                      <a:pt x="177431" y="86821"/>
                    </a:lnTo>
                    <a:lnTo>
                      <a:pt x="178037" y="87882"/>
                    </a:lnTo>
                    <a:lnTo>
                      <a:pt x="178794" y="88639"/>
                    </a:lnTo>
                    <a:lnTo>
                      <a:pt x="180310" y="88488"/>
                    </a:lnTo>
                    <a:lnTo>
                      <a:pt x="181673" y="88943"/>
                    </a:lnTo>
                    <a:lnTo>
                      <a:pt x="187279" y="92125"/>
                    </a:lnTo>
                    <a:lnTo>
                      <a:pt x="188946" y="91518"/>
                    </a:lnTo>
                    <a:lnTo>
                      <a:pt x="190765" y="91518"/>
                    </a:lnTo>
                    <a:lnTo>
                      <a:pt x="192734" y="90609"/>
                    </a:lnTo>
                    <a:lnTo>
                      <a:pt x="193644" y="88791"/>
                    </a:lnTo>
                    <a:lnTo>
                      <a:pt x="191977" y="83942"/>
                    </a:lnTo>
                    <a:lnTo>
                      <a:pt x="188492" y="82276"/>
                    </a:lnTo>
                    <a:close/>
                    <a:moveTo>
                      <a:pt x="182280" y="43789"/>
                    </a:moveTo>
                    <a:lnTo>
                      <a:pt x="183189" y="41971"/>
                    </a:lnTo>
                    <a:lnTo>
                      <a:pt x="182582" y="41668"/>
                    </a:lnTo>
                    <a:lnTo>
                      <a:pt x="182582" y="40001"/>
                    </a:lnTo>
                    <a:lnTo>
                      <a:pt x="183037" y="38638"/>
                    </a:lnTo>
                    <a:lnTo>
                      <a:pt x="184552" y="37880"/>
                    </a:lnTo>
                    <a:lnTo>
                      <a:pt x="183340" y="36971"/>
                    </a:lnTo>
                    <a:lnTo>
                      <a:pt x="182128" y="36819"/>
                    </a:lnTo>
                    <a:lnTo>
                      <a:pt x="182280" y="37880"/>
                    </a:lnTo>
                    <a:lnTo>
                      <a:pt x="181522" y="41062"/>
                    </a:lnTo>
                    <a:lnTo>
                      <a:pt x="181522" y="42577"/>
                    </a:lnTo>
                    <a:lnTo>
                      <a:pt x="179703" y="45153"/>
                    </a:lnTo>
                    <a:lnTo>
                      <a:pt x="181219" y="44850"/>
                    </a:lnTo>
                    <a:lnTo>
                      <a:pt x="182280" y="43789"/>
                    </a:lnTo>
                    <a:close/>
                    <a:moveTo>
                      <a:pt x="205614" y="97276"/>
                    </a:moveTo>
                    <a:lnTo>
                      <a:pt x="205008" y="99549"/>
                    </a:lnTo>
                    <a:lnTo>
                      <a:pt x="205614" y="100155"/>
                    </a:lnTo>
                    <a:lnTo>
                      <a:pt x="206371" y="100610"/>
                    </a:lnTo>
                    <a:lnTo>
                      <a:pt x="207432" y="100761"/>
                    </a:lnTo>
                    <a:lnTo>
                      <a:pt x="208341" y="99701"/>
                    </a:lnTo>
                    <a:lnTo>
                      <a:pt x="207886" y="98488"/>
                    </a:lnTo>
                    <a:lnTo>
                      <a:pt x="205614" y="97276"/>
                    </a:lnTo>
                    <a:close/>
                    <a:moveTo>
                      <a:pt x="205310" y="54850"/>
                    </a:moveTo>
                    <a:lnTo>
                      <a:pt x="203341" y="51669"/>
                    </a:lnTo>
                    <a:lnTo>
                      <a:pt x="201522" y="50305"/>
                    </a:lnTo>
                    <a:lnTo>
                      <a:pt x="201674" y="45759"/>
                    </a:lnTo>
                    <a:lnTo>
                      <a:pt x="200917" y="44850"/>
                    </a:lnTo>
                    <a:lnTo>
                      <a:pt x="199099" y="44093"/>
                    </a:lnTo>
                    <a:lnTo>
                      <a:pt x="195007" y="45456"/>
                    </a:lnTo>
                    <a:lnTo>
                      <a:pt x="194704" y="46517"/>
                    </a:lnTo>
                    <a:lnTo>
                      <a:pt x="197280" y="46668"/>
                    </a:lnTo>
                    <a:lnTo>
                      <a:pt x="198795" y="47729"/>
                    </a:lnTo>
                    <a:lnTo>
                      <a:pt x="196674" y="50608"/>
                    </a:lnTo>
                    <a:lnTo>
                      <a:pt x="194553" y="51062"/>
                    </a:lnTo>
                    <a:lnTo>
                      <a:pt x="195613" y="53184"/>
                    </a:lnTo>
                    <a:lnTo>
                      <a:pt x="197280" y="55002"/>
                    </a:lnTo>
                    <a:lnTo>
                      <a:pt x="201068" y="56063"/>
                    </a:lnTo>
                    <a:lnTo>
                      <a:pt x="203038" y="58184"/>
                    </a:lnTo>
                    <a:lnTo>
                      <a:pt x="204553" y="57881"/>
                    </a:lnTo>
                    <a:lnTo>
                      <a:pt x="205310" y="55760"/>
                    </a:lnTo>
                    <a:lnTo>
                      <a:pt x="205310" y="548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6" name="Freeform: Shape 3205">
                <a:extLst>
                  <a:ext uri="{FF2B5EF4-FFF2-40B4-BE49-F238E27FC236}">
                    <a16:creationId xmlns:a16="http://schemas.microsoft.com/office/drawing/2014/main" id="{4283EB51-2B21-424A-BCB6-42020F92A4A1}"/>
                  </a:ext>
                </a:extLst>
              </p:cNvPr>
              <p:cNvSpPr/>
              <p:nvPr/>
            </p:nvSpPr>
            <p:spPr>
              <a:xfrm>
                <a:off x="6604049" y="4847458"/>
                <a:ext cx="290616" cy="462895"/>
              </a:xfrm>
              <a:custGeom>
                <a:avLst/>
                <a:gdLst>
                  <a:gd name="connsiteX0" fmla="*/ 290011 w 290616"/>
                  <a:gd name="connsiteY0" fmla="*/ 115307 h 462895"/>
                  <a:gd name="connsiteX1" fmla="*/ 290162 w 290616"/>
                  <a:gd name="connsiteY1" fmla="*/ 113337 h 462895"/>
                  <a:gd name="connsiteX2" fmla="*/ 289859 w 290616"/>
                  <a:gd name="connsiteY2" fmla="*/ 112428 h 462895"/>
                  <a:gd name="connsiteX3" fmla="*/ 290011 w 290616"/>
                  <a:gd name="connsiteY3" fmla="*/ 110610 h 462895"/>
                  <a:gd name="connsiteX4" fmla="*/ 288799 w 290616"/>
                  <a:gd name="connsiteY4" fmla="*/ 109247 h 462895"/>
                  <a:gd name="connsiteX5" fmla="*/ 287435 w 290616"/>
                  <a:gd name="connsiteY5" fmla="*/ 109247 h 462895"/>
                  <a:gd name="connsiteX6" fmla="*/ 285313 w 290616"/>
                  <a:gd name="connsiteY6" fmla="*/ 112580 h 462895"/>
                  <a:gd name="connsiteX7" fmla="*/ 285011 w 290616"/>
                  <a:gd name="connsiteY7" fmla="*/ 110156 h 462895"/>
                  <a:gd name="connsiteX8" fmla="*/ 285011 w 290616"/>
                  <a:gd name="connsiteY8" fmla="*/ 108489 h 462895"/>
                  <a:gd name="connsiteX9" fmla="*/ 287132 w 290616"/>
                  <a:gd name="connsiteY9" fmla="*/ 105610 h 462895"/>
                  <a:gd name="connsiteX10" fmla="*/ 287132 w 290616"/>
                  <a:gd name="connsiteY10" fmla="*/ 103489 h 462895"/>
                  <a:gd name="connsiteX11" fmla="*/ 285313 w 290616"/>
                  <a:gd name="connsiteY11" fmla="*/ 103186 h 462895"/>
                  <a:gd name="connsiteX12" fmla="*/ 284101 w 290616"/>
                  <a:gd name="connsiteY12" fmla="*/ 102276 h 462895"/>
                  <a:gd name="connsiteX13" fmla="*/ 283799 w 290616"/>
                  <a:gd name="connsiteY13" fmla="*/ 101064 h 462895"/>
                  <a:gd name="connsiteX14" fmla="*/ 283799 w 290616"/>
                  <a:gd name="connsiteY14" fmla="*/ 93337 h 462895"/>
                  <a:gd name="connsiteX15" fmla="*/ 282889 w 290616"/>
                  <a:gd name="connsiteY15" fmla="*/ 87124 h 462895"/>
                  <a:gd name="connsiteX16" fmla="*/ 282889 w 290616"/>
                  <a:gd name="connsiteY16" fmla="*/ 84700 h 462895"/>
                  <a:gd name="connsiteX17" fmla="*/ 282435 w 290616"/>
                  <a:gd name="connsiteY17" fmla="*/ 82730 h 462895"/>
                  <a:gd name="connsiteX18" fmla="*/ 283495 w 290616"/>
                  <a:gd name="connsiteY18" fmla="*/ 80306 h 462895"/>
                  <a:gd name="connsiteX19" fmla="*/ 282738 w 290616"/>
                  <a:gd name="connsiteY19" fmla="*/ 78033 h 462895"/>
                  <a:gd name="connsiteX20" fmla="*/ 283192 w 290616"/>
                  <a:gd name="connsiteY20" fmla="*/ 76063 h 462895"/>
                  <a:gd name="connsiteX21" fmla="*/ 283041 w 290616"/>
                  <a:gd name="connsiteY21" fmla="*/ 73185 h 462895"/>
                  <a:gd name="connsiteX22" fmla="*/ 283192 w 290616"/>
                  <a:gd name="connsiteY22" fmla="*/ 71518 h 462895"/>
                  <a:gd name="connsiteX23" fmla="*/ 283192 w 290616"/>
                  <a:gd name="connsiteY23" fmla="*/ 69548 h 462895"/>
                  <a:gd name="connsiteX24" fmla="*/ 279556 w 290616"/>
                  <a:gd name="connsiteY24" fmla="*/ 69397 h 462895"/>
                  <a:gd name="connsiteX25" fmla="*/ 279404 w 290616"/>
                  <a:gd name="connsiteY25" fmla="*/ 68184 h 462895"/>
                  <a:gd name="connsiteX26" fmla="*/ 279859 w 290616"/>
                  <a:gd name="connsiteY26" fmla="*/ 67275 h 462895"/>
                  <a:gd name="connsiteX27" fmla="*/ 282738 w 290616"/>
                  <a:gd name="connsiteY27" fmla="*/ 65154 h 462895"/>
                  <a:gd name="connsiteX28" fmla="*/ 283192 w 290616"/>
                  <a:gd name="connsiteY28" fmla="*/ 63184 h 462895"/>
                  <a:gd name="connsiteX29" fmla="*/ 283495 w 290616"/>
                  <a:gd name="connsiteY29" fmla="*/ 59851 h 462895"/>
                  <a:gd name="connsiteX30" fmla="*/ 282586 w 290616"/>
                  <a:gd name="connsiteY30" fmla="*/ 56820 h 462895"/>
                  <a:gd name="connsiteX31" fmla="*/ 280920 w 290616"/>
                  <a:gd name="connsiteY31" fmla="*/ 55911 h 462895"/>
                  <a:gd name="connsiteX32" fmla="*/ 281829 w 290616"/>
                  <a:gd name="connsiteY32" fmla="*/ 53184 h 462895"/>
                  <a:gd name="connsiteX33" fmla="*/ 281525 w 290616"/>
                  <a:gd name="connsiteY33" fmla="*/ 50911 h 462895"/>
                  <a:gd name="connsiteX34" fmla="*/ 281223 w 290616"/>
                  <a:gd name="connsiteY34" fmla="*/ 45608 h 462895"/>
                  <a:gd name="connsiteX35" fmla="*/ 282132 w 290616"/>
                  <a:gd name="connsiteY35" fmla="*/ 42426 h 462895"/>
                  <a:gd name="connsiteX36" fmla="*/ 281525 w 290616"/>
                  <a:gd name="connsiteY36" fmla="*/ 40608 h 462895"/>
                  <a:gd name="connsiteX37" fmla="*/ 281071 w 290616"/>
                  <a:gd name="connsiteY37" fmla="*/ 38032 h 462895"/>
                  <a:gd name="connsiteX38" fmla="*/ 279404 w 290616"/>
                  <a:gd name="connsiteY38" fmla="*/ 32880 h 462895"/>
                  <a:gd name="connsiteX39" fmla="*/ 280313 w 290616"/>
                  <a:gd name="connsiteY39" fmla="*/ 27122 h 462895"/>
                  <a:gd name="connsiteX40" fmla="*/ 278647 w 290616"/>
                  <a:gd name="connsiteY40" fmla="*/ 23940 h 462895"/>
                  <a:gd name="connsiteX41" fmla="*/ 279101 w 290616"/>
                  <a:gd name="connsiteY41" fmla="*/ 22122 h 462895"/>
                  <a:gd name="connsiteX42" fmla="*/ 281071 w 290616"/>
                  <a:gd name="connsiteY42" fmla="*/ 19698 h 462895"/>
                  <a:gd name="connsiteX43" fmla="*/ 282435 w 290616"/>
                  <a:gd name="connsiteY43" fmla="*/ 16516 h 462895"/>
                  <a:gd name="connsiteX44" fmla="*/ 281980 w 290616"/>
                  <a:gd name="connsiteY44" fmla="*/ 15455 h 462895"/>
                  <a:gd name="connsiteX45" fmla="*/ 281374 w 290616"/>
                  <a:gd name="connsiteY45" fmla="*/ 14698 h 462895"/>
                  <a:gd name="connsiteX46" fmla="*/ 281677 w 290616"/>
                  <a:gd name="connsiteY46" fmla="*/ 12879 h 462895"/>
                  <a:gd name="connsiteX47" fmla="*/ 283950 w 290616"/>
                  <a:gd name="connsiteY47" fmla="*/ 10152 h 462895"/>
                  <a:gd name="connsiteX48" fmla="*/ 280920 w 290616"/>
                  <a:gd name="connsiteY48" fmla="*/ 8334 h 462895"/>
                  <a:gd name="connsiteX49" fmla="*/ 282738 w 290616"/>
                  <a:gd name="connsiteY49" fmla="*/ 6970 h 462895"/>
                  <a:gd name="connsiteX50" fmla="*/ 284253 w 290616"/>
                  <a:gd name="connsiteY50" fmla="*/ 5455 h 462895"/>
                  <a:gd name="connsiteX51" fmla="*/ 281677 w 290616"/>
                  <a:gd name="connsiteY51" fmla="*/ 2879 h 462895"/>
                  <a:gd name="connsiteX52" fmla="*/ 280313 w 290616"/>
                  <a:gd name="connsiteY52" fmla="*/ 0 h 462895"/>
                  <a:gd name="connsiteX53" fmla="*/ 277132 w 290616"/>
                  <a:gd name="connsiteY53" fmla="*/ 2424 h 462895"/>
                  <a:gd name="connsiteX54" fmla="*/ 272131 w 290616"/>
                  <a:gd name="connsiteY54" fmla="*/ 6212 h 462895"/>
                  <a:gd name="connsiteX55" fmla="*/ 267283 w 290616"/>
                  <a:gd name="connsiteY55" fmla="*/ 9849 h 462895"/>
                  <a:gd name="connsiteX56" fmla="*/ 262585 w 290616"/>
                  <a:gd name="connsiteY56" fmla="*/ 12425 h 462895"/>
                  <a:gd name="connsiteX57" fmla="*/ 259252 w 290616"/>
                  <a:gd name="connsiteY57" fmla="*/ 13485 h 462895"/>
                  <a:gd name="connsiteX58" fmla="*/ 255615 w 290616"/>
                  <a:gd name="connsiteY58" fmla="*/ 14243 h 462895"/>
                  <a:gd name="connsiteX59" fmla="*/ 252282 w 290616"/>
                  <a:gd name="connsiteY59" fmla="*/ 15758 h 462895"/>
                  <a:gd name="connsiteX60" fmla="*/ 248949 w 290616"/>
                  <a:gd name="connsiteY60" fmla="*/ 18182 h 462895"/>
                  <a:gd name="connsiteX61" fmla="*/ 244858 w 290616"/>
                  <a:gd name="connsiteY61" fmla="*/ 19395 h 462895"/>
                  <a:gd name="connsiteX62" fmla="*/ 239857 w 290616"/>
                  <a:gd name="connsiteY62" fmla="*/ 19395 h 462895"/>
                  <a:gd name="connsiteX63" fmla="*/ 234554 w 290616"/>
                  <a:gd name="connsiteY63" fmla="*/ 21061 h 462895"/>
                  <a:gd name="connsiteX64" fmla="*/ 229403 w 290616"/>
                  <a:gd name="connsiteY64" fmla="*/ 24243 h 462895"/>
                  <a:gd name="connsiteX65" fmla="*/ 226372 w 290616"/>
                  <a:gd name="connsiteY65" fmla="*/ 26213 h 462895"/>
                  <a:gd name="connsiteX66" fmla="*/ 221523 w 290616"/>
                  <a:gd name="connsiteY66" fmla="*/ 23334 h 462895"/>
                  <a:gd name="connsiteX67" fmla="*/ 217735 w 290616"/>
                  <a:gd name="connsiteY67" fmla="*/ 22425 h 462895"/>
                  <a:gd name="connsiteX68" fmla="*/ 213341 w 290616"/>
                  <a:gd name="connsiteY68" fmla="*/ 22577 h 462895"/>
                  <a:gd name="connsiteX69" fmla="*/ 210614 w 290616"/>
                  <a:gd name="connsiteY69" fmla="*/ 22880 h 462895"/>
                  <a:gd name="connsiteX70" fmla="*/ 209705 w 290616"/>
                  <a:gd name="connsiteY70" fmla="*/ 23486 h 462895"/>
                  <a:gd name="connsiteX71" fmla="*/ 208947 w 290616"/>
                  <a:gd name="connsiteY71" fmla="*/ 25152 h 462895"/>
                  <a:gd name="connsiteX72" fmla="*/ 208189 w 290616"/>
                  <a:gd name="connsiteY72" fmla="*/ 28031 h 462895"/>
                  <a:gd name="connsiteX73" fmla="*/ 205310 w 290616"/>
                  <a:gd name="connsiteY73" fmla="*/ 30759 h 462895"/>
                  <a:gd name="connsiteX74" fmla="*/ 200310 w 290616"/>
                  <a:gd name="connsiteY74" fmla="*/ 33335 h 462895"/>
                  <a:gd name="connsiteX75" fmla="*/ 195765 w 290616"/>
                  <a:gd name="connsiteY75" fmla="*/ 34395 h 462895"/>
                  <a:gd name="connsiteX76" fmla="*/ 191522 w 290616"/>
                  <a:gd name="connsiteY76" fmla="*/ 33638 h 462895"/>
                  <a:gd name="connsiteX77" fmla="*/ 188644 w 290616"/>
                  <a:gd name="connsiteY77" fmla="*/ 32577 h 462895"/>
                  <a:gd name="connsiteX78" fmla="*/ 187128 w 290616"/>
                  <a:gd name="connsiteY78" fmla="*/ 31062 h 462895"/>
                  <a:gd name="connsiteX79" fmla="*/ 184856 w 290616"/>
                  <a:gd name="connsiteY79" fmla="*/ 30456 h 462895"/>
                  <a:gd name="connsiteX80" fmla="*/ 181977 w 290616"/>
                  <a:gd name="connsiteY80" fmla="*/ 30456 h 462895"/>
                  <a:gd name="connsiteX81" fmla="*/ 179249 w 290616"/>
                  <a:gd name="connsiteY81" fmla="*/ 31516 h 462895"/>
                  <a:gd name="connsiteX82" fmla="*/ 176522 w 290616"/>
                  <a:gd name="connsiteY82" fmla="*/ 33638 h 462895"/>
                  <a:gd name="connsiteX83" fmla="*/ 172279 w 290616"/>
                  <a:gd name="connsiteY83" fmla="*/ 34547 h 462895"/>
                  <a:gd name="connsiteX84" fmla="*/ 166521 w 290616"/>
                  <a:gd name="connsiteY84" fmla="*/ 34244 h 462895"/>
                  <a:gd name="connsiteX85" fmla="*/ 163339 w 290616"/>
                  <a:gd name="connsiteY85" fmla="*/ 33183 h 462895"/>
                  <a:gd name="connsiteX86" fmla="*/ 162885 w 290616"/>
                  <a:gd name="connsiteY86" fmla="*/ 31516 h 462895"/>
                  <a:gd name="connsiteX87" fmla="*/ 160309 w 290616"/>
                  <a:gd name="connsiteY87" fmla="*/ 29546 h 462895"/>
                  <a:gd name="connsiteX88" fmla="*/ 155763 w 290616"/>
                  <a:gd name="connsiteY88" fmla="*/ 27274 h 462895"/>
                  <a:gd name="connsiteX89" fmla="*/ 152278 w 290616"/>
                  <a:gd name="connsiteY89" fmla="*/ 27274 h 462895"/>
                  <a:gd name="connsiteX90" fmla="*/ 150005 w 290616"/>
                  <a:gd name="connsiteY90" fmla="*/ 29395 h 462895"/>
                  <a:gd name="connsiteX91" fmla="*/ 148036 w 290616"/>
                  <a:gd name="connsiteY91" fmla="*/ 30759 h 462895"/>
                  <a:gd name="connsiteX92" fmla="*/ 146217 w 290616"/>
                  <a:gd name="connsiteY92" fmla="*/ 31365 h 462895"/>
                  <a:gd name="connsiteX93" fmla="*/ 144551 w 290616"/>
                  <a:gd name="connsiteY93" fmla="*/ 31365 h 462895"/>
                  <a:gd name="connsiteX94" fmla="*/ 143187 w 290616"/>
                  <a:gd name="connsiteY94" fmla="*/ 31062 h 462895"/>
                  <a:gd name="connsiteX95" fmla="*/ 142278 w 290616"/>
                  <a:gd name="connsiteY95" fmla="*/ 30910 h 462895"/>
                  <a:gd name="connsiteX96" fmla="*/ 135762 w 290616"/>
                  <a:gd name="connsiteY96" fmla="*/ 30607 h 462895"/>
                  <a:gd name="connsiteX97" fmla="*/ 129702 w 290616"/>
                  <a:gd name="connsiteY97" fmla="*/ 30759 h 462895"/>
                  <a:gd name="connsiteX98" fmla="*/ 129702 w 290616"/>
                  <a:gd name="connsiteY98" fmla="*/ 30759 h 462895"/>
                  <a:gd name="connsiteX99" fmla="*/ 129550 w 290616"/>
                  <a:gd name="connsiteY99" fmla="*/ 35001 h 462895"/>
                  <a:gd name="connsiteX100" fmla="*/ 128944 w 290616"/>
                  <a:gd name="connsiteY100" fmla="*/ 38789 h 462895"/>
                  <a:gd name="connsiteX101" fmla="*/ 127732 w 290616"/>
                  <a:gd name="connsiteY101" fmla="*/ 41971 h 462895"/>
                  <a:gd name="connsiteX102" fmla="*/ 126823 w 290616"/>
                  <a:gd name="connsiteY102" fmla="*/ 43638 h 462895"/>
                  <a:gd name="connsiteX103" fmla="*/ 126217 w 290616"/>
                  <a:gd name="connsiteY103" fmla="*/ 43941 h 462895"/>
                  <a:gd name="connsiteX104" fmla="*/ 125005 w 290616"/>
                  <a:gd name="connsiteY104" fmla="*/ 44850 h 462895"/>
                  <a:gd name="connsiteX105" fmla="*/ 123338 w 290616"/>
                  <a:gd name="connsiteY105" fmla="*/ 46668 h 462895"/>
                  <a:gd name="connsiteX106" fmla="*/ 122580 w 290616"/>
                  <a:gd name="connsiteY106" fmla="*/ 47881 h 462895"/>
                  <a:gd name="connsiteX107" fmla="*/ 122884 w 290616"/>
                  <a:gd name="connsiteY107" fmla="*/ 48487 h 462895"/>
                  <a:gd name="connsiteX108" fmla="*/ 122884 w 290616"/>
                  <a:gd name="connsiteY108" fmla="*/ 50002 h 462895"/>
                  <a:gd name="connsiteX109" fmla="*/ 122884 w 290616"/>
                  <a:gd name="connsiteY109" fmla="*/ 52426 h 462895"/>
                  <a:gd name="connsiteX110" fmla="*/ 122580 w 290616"/>
                  <a:gd name="connsiteY110" fmla="*/ 53487 h 462895"/>
                  <a:gd name="connsiteX111" fmla="*/ 122429 w 290616"/>
                  <a:gd name="connsiteY111" fmla="*/ 53941 h 462895"/>
                  <a:gd name="connsiteX112" fmla="*/ 125005 w 290616"/>
                  <a:gd name="connsiteY112" fmla="*/ 60002 h 462895"/>
                  <a:gd name="connsiteX113" fmla="*/ 125459 w 290616"/>
                  <a:gd name="connsiteY113" fmla="*/ 63487 h 462895"/>
                  <a:gd name="connsiteX114" fmla="*/ 124550 w 290616"/>
                  <a:gd name="connsiteY114" fmla="*/ 66366 h 462895"/>
                  <a:gd name="connsiteX115" fmla="*/ 124398 w 290616"/>
                  <a:gd name="connsiteY115" fmla="*/ 68942 h 462895"/>
                  <a:gd name="connsiteX116" fmla="*/ 125308 w 290616"/>
                  <a:gd name="connsiteY116" fmla="*/ 71215 h 462895"/>
                  <a:gd name="connsiteX117" fmla="*/ 125611 w 290616"/>
                  <a:gd name="connsiteY117" fmla="*/ 73942 h 462895"/>
                  <a:gd name="connsiteX118" fmla="*/ 125308 w 290616"/>
                  <a:gd name="connsiteY118" fmla="*/ 77124 h 462895"/>
                  <a:gd name="connsiteX119" fmla="*/ 125611 w 290616"/>
                  <a:gd name="connsiteY119" fmla="*/ 79094 h 462895"/>
                  <a:gd name="connsiteX120" fmla="*/ 126520 w 290616"/>
                  <a:gd name="connsiteY120" fmla="*/ 80003 h 462895"/>
                  <a:gd name="connsiteX121" fmla="*/ 126974 w 290616"/>
                  <a:gd name="connsiteY121" fmla="*/ 82730 h 462895"/>
                  <a:gd name="connsiteX122" fmla="*/ 126974 w 290616"/>
                  <a:gd name="connsiteY122" fmla="*/ 84397 h 462895"/>
                  <a:gd name="connsiteX123" fmla="*/ 128186 w 290616"/>
                  <a:gd name="connsiteY123" fmla="*/ 85155 h 462895"/>
                  <a:gd name="connsiteX124" fmla="*/ 131217 w 290616"/>
                  <a:gd name="connsiteY124" fmla="*/ 87731 h 462895"/>
                  <a:gd name="connsiteX125" fmla="*/ 137581 w 290616"/>
                  <a:gd name="connsiteY125" fmla="*/ 94700 h 462895"/>
                  <a:gd name="connsiteX126" fmla="*/ 141066 w 290616"/>
                  <a:gd name="connsiteY126" fmla="*/ 99246 h 462895"/>
                  <a:gd name="connsiteX127" fmla="*/ 144096 w 290616"/>
                  <a:gd name="connsiteY127" fmla="*/ 103186 h 462895"/>
                  <a:gd name="connsiteX128" fmla="*/ 149703 w 290616"/>
                  <a:gd name="connsiteY128" fmla="*/ 110459 h 462895"/>
                  <a:gd name="connsiteX129" fmla="*/ 153945 w 290616"/>
                  <a:gd name="connsiteY129" fmla="*/ 116216 h 462895"/>
                  <a:gd name="connsiteX130" fmla="*/ 154551 w 290616"/>
                  <a:gd name="connsiteY130" fmla="*/ 121520 h 462895"/>
                  <a:gd name="connsiteX131" fmla="*/ 155157 w 290616"/>
                  <a:gd name="connsiteY131" fmla="*/ 122429 h 462895"/>
                  <a:gd name="connsiteX132" fmla="*/ 153793 w 290616"/>
                  <a:gd name="connsiteY132" fmla="*/ 126368 h 462895"/>
                  <a:gd name="connsiteX133" fmla="*/ 152733 w 290616"/>
                  <a:gd name="connsiteY133" fmla="*/ 132732 h 462895"/>
                  <a:gd name="connsiteX134" fmla="*/ 153491 w 290616"/>
                  <a:gd name="connsiteY134" fmla="*/ 136975 h 462895"/>
                  <a:gd name="connsiteX135" fmla="*/ 153188 w 290616"/>
                  <a:gd name="connsiteY135" fmla="*/ 144248 h 462895"/>
                  <a:gd name="connsiteX136" fmla="*/ 152430 w 290616"/>
                  <a:gd name="connsiteY136" fmla="*/ 152127 h 462895"/>
                  <a:gd name="connsiteX137" fmla="*/ 151369 w 290616"/>
                  <a:gd name="connsiteY137" fmla="*/ 154854 h 462895"/>
                  <a:gd name="connsiteX138" fmla="*/ 150157 w 290616"/>
                  <a:gd name="connsiteY138" fmla="*/ 155915 h 462895"/>
                  <a:gd name="connsiteX139" fmla="*/ 147127 w 290616"/>
                  <a:gd name="connsiteY139" fmla="*/ 156672 h 462895"/>
                  <a:gd name="connsiteX140" fmla="*/ 140611 w 290616"/>
                  <a:gd name="connsiteY140" fmla="*/ 157733 h 462895"/>
                  <a:gd name="connsiteX141" fmla="*/ 139551 w 290616"/>
                  <a:gd name="connsiteY141" fmla="*/ 158642 h 462895"/>
                  <a:gd name="connsiteX142" fmla="*/ 138793 w 290616"/>
                  <a:gd name="connsiteY142" fmla="*/ 160157 h 462895"/>
                  <a:gd name="connsiteX143" fmla="*/ 137429 w 290616"/>
                  <a:gd name="connsiteY143" fmla="*/ 163642 h 462895"/>
                  <a:gd name="connsiteX144" fmla="*/ 135762 w 290616"/>
                  <a:gd name="connsiteY144" fmla="*/ 167279 h 462895"/>
                  <a:gd name="connsiteX145" fmla="*/ 135308 w 290616"/>
                  <a:gd name="connsiteY145" fmla="*/ 168794 h 462895"/>
                  <a:gd name="connsiteX146" fmla="*/ 135611 w 290616"/>
                  <a:gd name="connsiteY146" fmla="*/ 169249 h 462895"/>
                  <a:gd name="connsiteX147" fmla="*/ 137126 w 290616"/>
                  <a:gd name="connsiteY147" fmla="*/ 171067 h 462895"/>
                  <a:gd name="connsiteX148" fmla="*/ 138490 w 290616"/>
                  <a:gd name="connsiteY148" fmla="*/ 175764 h 462895"/>
                  <a:gd name="connsiteX149" fmla="*/ 138641 w 290616"/>
                  <a:gd name="connsiteY149" fmla="*/ 183946 h 462895"/>
                  <a:gd name="connsiteX150" fmla="*/ 138187 w 290616"/>
                  <a:gd name="connsiteY150" fmla="*/ 184401 h 462895"/>
                  <a:gd name="connsiteX151" fmla="*/ 136217 w 290616"/>
                  <a:gd name="connsiteY151" fmla="*/ 184855 h 462895"/>
                  <a:gd name="connsiteX152" fmla="*/ 134248 w 290616"/>
                  <a:gd name="connsiteY152" fmla="*/ 184704 h 462895"/>
                  <a:gd name="connsiteX153" fmla="*/ 133338 w 290616"/>
                  <a:gd name="connsiteY153" fmla="*/ 184249 h 462895"/>
                  <a:gd name="connsiteX154" fmla="*/ 132581 w 290616"/>
                  <a:gd name="connsiteY154" fmla="*/ 183340 h 462895"/>
                  <a:gd name="connsiteX155" fmla="*/ 131974 w 290616"/>
                  <a:gd name="connsiteY155" fmla="*/ 181673 h 462895"/>
                  <a:gd name="connsiteX156" fmla="*/ 133338 w 290616"/>
                  <a:gd name="connsiteY156" fmla="*/ 180461 h 462895"/>
                  <a:gd name="connsiteX157" fmla="*/ 133793 w 290616"/>
                  <a:gd name="connsiteY157" fmla="*/ 178340 h 462895"/>
                  <a:gd name="connsiteX158" fmla="*/ 132884 w 290616"/>
                  <a:gd name="connsiteY158" fmla="*/ 176522 h 462895"/>
                  <a:gd name="connsiteX159" fmla="*/ 131217 w 290616"/>
                  <a:gd name="connsiteY159" fmla="*/ 176067 h 462895"/>
                  <a:gd name="connsiteX160" fmla="*/ 128944 w 290616"/>
                  <a:gd name="connsiteY160" fmla="*/ 174400 h 462895"/>
                  <a:gd name="connsiteX161" fmla="*/ 124096 w 290616"/>
                  <a:gd name="connsiteY161" fmla="*/ 169097 h 462895"/>
                  <a:gd name="connsiteX162" fmla="*/ 120156 w 290616"/>
                  <a:gd name="connsiteY162" fmla="*/ 165309 h 462895"/>
                  <a:gd name="connsiteX163" fmla="*/ 117883 w 290616"/>
                  <a:gd name="connsiteY163" fmla="*/ 162127 h 462895"/>
                  <a:gd name="connsiteX164" fmla="*/ 115459 w 290616"/>
                  <a:gd name="connsiteY164" fmla="*/ 160915 h 462895"/>
                  <a:gd name="connsiteX165" fmla="*/ 114853 w 290616"/>
                  <a:gd name="connsiteY165" fmla="*/ 160157 h 462895"/>
                  <a:gd name="connsiteX166" fmla="*/ 114247 w 290616"/>
                  <a:gd name="connsiteY166" fmla="*/ 158794 h 462895"/>
                  <a:gd name="connsiteX167" fmla="*/ 114247 w 290616"/>
                  <a:gd name="connsiteY167" fmla="*/ 156824 h 462895"/>
                  <a:gd name="connsiteX168" fmla="*/ 114398 w 290616"/>
                  <a:gd name="connsiteY168" fmla="*/ 155460 h 462895"/>
                  <a:gd name="connsiteX169" fmla="*/ 113641 w 290616"/>
                  <a:gd name="connsiteY169" fmla="*/ 153945 h 462895"/>
                  <a:gd name="connsiteX170" fmla="*/ 111368 w 290616"/>
                  <a:gd name="connsiteY170" fmla="*/ 151369 h 462895"/>
                  <a:gd name="connsiteX171" fmla="*/ 110155 w 290616"/>
                  <a:gd name="connsiteY171" fmla="*/ 150157 h 462895"/>
                  <a:gd name="connsiteX172" fmla="*/ 110155 w 290616"/>
                  <a:gd name="connsiteY172" fmla="*/ 148490 h 462895"/>
                  <a:gd name="connsiteX173" fmla="*/ 111216 w 290616"/>
                  <a:gd name="connsiteY173" fmla="*/ 146975 h 462895"/>
                  <a:gd name="connsiteX174" fmla="*/ 113186 w 290616"/>
                  <a:gd name="connsiteY174" fmla="*/ 145005 h 462895"/>
                  <a:gd name="connsiteX175" fmla="*/ 114701 w 290616"/>
                  <a:gd name="connsiteY175" fmla="*/ 141217 h 462895"/>
                  <a:gd name="connsiteX176" fmla="*/ 115308 w 290616"/>
                  <a:gd name="connsiteY176" fmla="*/ 138642 h 462895"/>
                  <a:gd name="connsiteX177" fmla="*/ 118186 w 290616"/>
                  <a:gd name="connsiteY177" fmla="*/ 133641 h 462895"/>
                  <a:gd name="connsiteX178" fmla="*/ 118641 w 290616"/>
                  <a:gd name="connsiteY178" fmla="*/ 129247 h 462895"/>
                  <a:gd name="connsiteX179" fmla="*/ 118641 w 290616"/>
                  <a:gd name="connsiteY179" fmla="*/ 125762 h 462895"/>
                  <a:gd name="connsiteX180" fmla="*/ 118489 w 290616"/>
                  <a:gd name="connsiteY180" fmla="*/ 123186 h 462895"/>
                  <a:gd name="connsiteX181" fmla="*/ 117731 w 290616"/>
                  <a:gd name="connsiteY181" fmla="*/ 117883 h 462895"/>
                  <a:gd name="connsiteX182" fmla="*/ 117277 w 290616"/>
                  <a:gd name="connsiteY182" fmla="*/ 114247 h 462895"/>
                  <a:gd name="connsiteX183" fmla="*/ 113641 w 290616"/>
                  <a:gd name="connsiteY183" fmla="*/ 109398 h 462895"/>
                  <a:gd name="connsiteX184" fmla="*/ 112429 w 290616"/>
                  <a:gd name="connsiteY184" fmla="*/ 108943 h 462895"/>
                  <a:gd name="connsiteX185" fmla="*/ 109095 w 290616"/>
                  <a:gd name="connsiteY185" fmla="*/ 109398 h 462895"/>
                  <a:gd name="connsiteX186" fmla="*/ 106216 w 290616"/>
                  <a:gd name="connsiteY186" fmla="*/ 110004 h 462895"/>
                  <a:gd name="connsiteX187" fmla="*/ 104701 w 290616"/>
                  <a:gd name="connsiteY187" fmla="*/ 111065 h 462895"/>
                  <a:gd name="connsiteX188" fmla="*/ 102579 w 290616"/>
                  <a:gd name="connsiteY188" fmla="*/ 111065 h 462895"/>
                  <a:gd name="connsiteX189" fmla="*/ 96822 w 290616"/>
                  <a:gd name="connsiteY189" fmla="*/ 111974 h 462895"/>
                  <a:gd name="connsiteX190" fmla="*/ 95155 w 290616"/>
                  <a:gd name="connsiteY190" fmla="*/ 112277 h 462895"/>
                  <a:gd name="connsiteX191" fmla="*/ 94094 w 290616"/>
                  <a:gd name="connsiteY191" fmla="*/ 113186 h 462895"/>
                  <a:gd name="connsiteX192" fmla="*/ 93489 w 290616"/>
                  <a:gd name="connsiteY192" fmla="*/ 113337 h 462895"/>
                  <a:gd name="connsiteX193" fmla="*/ 89852 w 290616"/>
                  <a:gd name="connsiteY193" fmla="*/ 109701 h 462895"/>
                  <a:gd name="connsiteX194" fmla="*/ 86670 w 290616"/>
                  <a:gd name="connsiteY194" fmla="*/ 105610 h 462895"/>
                  <a:gd name="connsiteX195" fmla="*/ 82730 w 290616"/>
                  <a:gd name="connsiteY195" fmla="*/ 98792 h 462895"/>
                  <a:gd name="connsiteX196" fmla="*/ 81518 w 290616"/>
                  <a:gd name="connsiteY196" fmla="*/ 98034 h 462895"/>
                  <a:gd name="connsiteX197" fmla="*/ 75760 w 290616"/>
                  <a:gd name="connsiteY197" fmla="*/ 100004 h 462895"/>
                  <a:gd name="connsiteX198" fmla="*/ 72579 w 290616"/>
                  <a:gd name="connsiteY198" fmla="*/ 101064 h 462895"/>
                  <a:gd name="connsiteX199" fmla="*/ 63790 w 290616"/>
                  <a:gd name="connsiteY199" fmla="*/ 103943 h 462895"/>
                  <a:gd name="connsiteX200" fmla="*/ 56214 w 290616"/>
                  <a:gd name="connsiteY200" fmla="*/ 106519 h 462895"/>
                  <a:gd name="connsiteX201" fmla="*/ 54093 w 290616"/>
                  <a:gd name="connsiteY201" fmla="*/ 107125 h 462895"/>
                  <a:gd name="connsiteX202" fmla="*/ 50153 w 290616"/>
                  <a:gd name="connsiteY202" fmla="*/ 108337 h 462895"/>
                  <a:gd name="connsiteX203" fmla="*/ 48183 w 290616"/>
                  <a:gd name="connsiteY203" fmla="*/ 109095 h 462895"/>
                  <a:gd name="connsiteX204" fmla="*/ 41214 w 290616"/>
                  <a:gd name="connsiteY204" fmla="*/ 111368 h 462895"/>
                  <a:gd name="connsiteX205" fmla="*/ 38335 w 290616"/>
                  <a:gd name="connsiteY205" fmla="*/ 112580 h 462895"/>
                  <a:gd name="connsiteX206" fmla="*/ 36062 w 290616"/>
                  <a:gd name="connsiteY206" fmla="*/ 113641 h 462895"/>
                  <a:gd name="connsiteX207" fmla="*/ 30304 w 290616"/>
                  <a:gd name="connsiteY207" fmla="*/ 115307 h 462895"/>
                  <a:gd name="connsiteX208" fmla="*/ 24850 w 290616"/>
                  <a:gd name="connsiteY208" fmla="*/ 116823 h 462895"/>
                  <a:gd name="connsiteX209" fmla="*/ 18940 w 290616"/>
                  <a:gd name="connsiteY209" fmla="*/ 118489 h 462895"/>
                  <a:gd name="connsiteX210" fmla="*/ 12425 w 290616"/>
                  <a:gd name="connsiteY210" fmla="*/ 120307 h 462895"/>
                  <a:gd name="connsiteX211" fmla="*/ 8637 w 290616"/>
                  <a:gd name="connsiteY211" fmla="*/ 121671 h 462895"/>
                  <a:gd name="connsiteX212" fmla="*/ 6212 w 290616"/>
                  <a:gd name="connsiteY212" fmla="*/ 122732 h 462895"/>
                  <a:gd name="connsiteX213" fmla="*/ 303 w 290616"/>
                  <a:gd name="connsiteY213" fmla="*/ 125156 h 462895"/>
                  <a:gd name="connsiteX214" fmla="*/ 0 w 290616"/>
                  <a:gd name="connsiteY214" fmla="*/ 125611 h 462895"/>
                  <a:gd name="connsiteX215" fmla="*/ 152 w 290616"/>
                  <a:gd name="connsiteY215" fmla="*/ 127278 h 462895"/>
                  <a:gd name="connsiteX216" fmla="*/ 909 w 290616"/>
                  <a:gd name="connsiteY216" fmla="*/ 130459 h 462895"/>
                  <a:gd name="connsiteX217" fmla="*/ 2273 w 290616"/>
                  <a:gd name="connsiteY217" fmla="*/ 133338 h 462895"/>
                  <a:gd name="connsiteX218" fmla="*/ 3485 w 290616"/>
                  <a:gd name="connsiteY218" fmla="*/ 135156 h 462895"/>
                  <a:gd name="connsiteX219" fmla="*/ 4394 w 290616"/>
                  <a:gd name="connsiteY219" fmla="*/ 139399 h 462895"/>
                  <a:gd name="connsiteX220" fmla="*/ 4849 w 290616"/>
                  <a:gd name="connsiteY220" fmla="*/ 143339 h 462895"/>
                  <a:gd name="connsiteX221" fmla="*/ 4849 w 290616"/>
                  <a:gd name="connsiteY221" fmla="*/ 147733 h 462895"/>
                  <a:gd name="connsiteX222" fmla="*/ 5152 w 290616"/>
                  <a:gd name="connsiteY222" fmla="*/ 152581 h 462895"/>
                  <a:gd name="connsiteX223" fmla="*/ 5910 w 290616"/>
                  <a:gd name="connsiteY223" fmla="*/ 153036 h 462895"/>
                  <a:gd name="connsiteX224" fmla="*/ 11212 w 290616"/>
                  <a:gd name="connsiteY224" fmla="*/ 153187 h 462895"/>
                  <a:gd name="connsiteX225" fmla="*/ 19698 w 290616"/>
                  <a:gd name="connsiteY225" fmla="*/ 153491 h 462895"/>
                  <a:gd name="connsiteX226" fmla="*/ 27728 w 290616"/>
                  <a:gd name="connsiteY226" fmla="*/ 153945 h 462895"/>
                  <a:gd name="connsiteX227" fmla="*/ 33031 w 290616"/>
                  <a:gd name="connsiteY227" fmla="*/ 157430 h 462895"/>
                  <a:gd name="connsiteX228" fmla="*/ 34698 w 290616"/>
                  <a:gd name="connsiteY228" fmla="*/ 158188 h 462895"/>
                  <a:gd name="connsiteX229" fmla="*/ 40153 w 290616"/>
                  <a:gd name="connsiteY229" fmla="*/ 159248 h 462895"/>
                  <a:gd name="connsiteX230" fmla="*/ 46972 w 290616"/>
                  <a:gd name="connsiteY230" fmla="*/ 165158 h 462895"/>
                  <a:gd name="connsiteX231" fmla="*/ 55305 w 290616"/>
                  <a:gd name="connsiteY231" fmla="*/ 165764 h 462895"/>
                  <a:gd name="connsiteX232" fmla="*/ 61063 w 290616"/>
                  <a:gd name="connsiteY232" fmla="*/ 167582 h 462895"/>
                  <a:gd name="connsiteX233" fmla="*/ 66063 w 290616"/>
                  <a:gd name="connsiteY233" fmla="*/ 169703 h 462895"/>
                  <a:gd name="connsiteX234" fmla="*/ 68942 w 290616"/>
                  <a:gd name="connsiteY234" fmla="*/ 172128 h 462895"/>
                  <a:gd name="connsiteX235" fmla="*/ 70912 w 290616"/>
                  <a:gd name="connsiteY235" fmla="*/ 172734 h 462895"/>
                  <a:gd name="connsiteX236" fmla="*/ 73336 w 290616"/>
                  <a:gd name="connsiteY236" fmla="*/ 172885 h 462895"/>
                  <a:gd name="connsiteX237" fmla="*/ 74548 w 290616"/>
                  <a:gd name="connsiteY237" fmla="*/ 173037 h 462895"/>
                  <a:gd name="connsiteX238" fmla="*/ 74397 w 290616"/>
                  <a:gd name="connsiteY238" fmla="*/ 174855 h 462895"/>
                  <a:gd name="connsiteX239" fmla="*/ 72730 w 290616"/>
                  <a:gd name="connsiteY239" fmla="*/ 177885 h 462895"/>
                  <a:gd name="connsiteX240" fmla="*/ 72881 w 290616"/>
                  <a:gd name="connsiteY240" fmla="*/ 182279 h 462895"/>
                  <a:gd name="connsiteX241" fmla="*/ 75154 w 290616"/>
                  <a:gd name="connsiteY241" fmla="*/ 188189 h 462895"/>
                  <a:gd name="connsiteX242" fmla="*/ 75458 w 290616"/>
                  <a:gd name="connsiteY242" fmla="*/ 193341 h 462895"/>
                  <a:gd name="connsiteX243" fmla="*/ 74851 w 290616"/>
                  <a:gd name="connsiteY243" fmla="*/ 202583 h 462895"/>
                  <a:gd name="connsiteX244" fmla="*/ 74851 w 290616"/>
                  <a:gd name="connsiteY244" fmla="*/ 211523 h 462895"/>
                  <a:gd name="connsiteX245" fmla="*/ 75003 w 290616"/>
                  <a:gd name="connsiteY245" fmla="*/ 214705 h 462895"/>
                  <a:gd name="connsiteX246" fmla="*/ 75458 w 290616"/>
                  <a:gd name="connsiteY246" fmla="*/ 216826 h 462895"/>
                  <a:gd name="connsiteX247" fmla="*/ 75912 w 290616"/>
                  <a:gd name="connsiteY247" fmla="*/ 218038 h 462895"/>
                  <a:gd name="connsiteX248" fmla="*/ 75912 w 290616"/>
                  <a:gd name="connsiteY248" fmla="*/ 219250 h 462895"/>
                  <a:gd name="connsiteX249" fmla="*/ 74397 w 290616"/>
                  <a:gd name="connsiteY249" fmla="*/ 223038 h 462895"/>
                  <a:gd name="connsiteX250" fmla="*/ 73336 w 290616"/>
                  <a:gd name="connsiteY250" fmla="*/ 226978 h 462895"/>
                  <a:gd name="connsiteX251" fmla="*/ 73336 w 290616"/>
                  <a:gd name="connsiteY251" fmla="*/ 228493 h 462895"/>
                  <a:gd name="connsiteX252" fmla="*/ 72881 w 290616"/>
                  <a:gd name="connsiteY252" fmla="*/ 229705 h 462895"/>
                  <a:gd name="connsiteX253" fmla="*/ 72124 w 290616"/>
                  <a:gd name="connsiteY253" fmla="*/ 230614 h 462895"/>
                  <a:gd name="connsiteX254" fmla="*/ 68487 w 290616"/>
                  <a:gd name="connsiteY254" fmla="*/ 232433 h 462895"/>
                  <a:gd name="connsiteX255" fmla="*/ 67881 w 290616"/>
                  <a:gd name="connsiteY255" fmla="*/ 233645 h 462895"/>
                  <a:gd name="connsiteX256" fmla="*/ 67881 w 290616"/>
                  <a:gd name="connsiteY256" fmla="*/ 235615 h 462895"/>
                  <a:gd name="connsiteX257" fmla="*/ 68336 w 290616"/>
                  <a:gd name="connsiteY257" fmla="*/ 237433 h 462895"/>
                  <a:gd name="connsiteX258" fmla="*/ 69700 w 290616"/>
                  <a:gd name="connsiteY258" fmla="*/ 238039 h 462895"/>
                  <a:gd name="connsiteX259" fmla="*/ 71215 w 290616"/>
                  <a:gd name="connsiteY259" fmla="*/ 238948 h 462895"/>
                  <a:gd name="connsiteX260" fmla="*/ 71972 w 290616"/>
                  <a:gd name="connsiteY260" fmla="*/ 240312 h 462895"/>
                  <a:gd name="connsiteX261" fmla="*/ 71972 w 290616"/>
                  <a:gd name="connsiteY261" fmla="*/ 241675 h 462895"/>
                  <a:gd name="connsiteX262" fmla="*/ 71366 w 290616"/>
                  <a:gd name="connsiteY262" fmla="*/ 244100 h 462895"/>
                  <a:gd name="connsiteX263" fmla="*/ 70003 w 290616"/>
                  <a:gd name="connsiteY263" fmla="*/ 248342 h 462895"/>
                  <a:gd name="connsiteX264" fmla="*/ 71366 w 290616"/>
                  <a:gd name="connsiteY264" fmla="*/ 253039 h 462895"/>
                  <a:gd name="connsiteX265" fmla="*/ 73033 w 290616"/>
                  <a:gd name="connsiteY265" fmla="*/ 256222 h 462895"/>
                  <a:gd name="connsiteX266" fmla="*/ 75306 w 290616"/>
                  <a:gd name="connsiteY266" fmla="*/ 259858 h 462895"/>
                  <a:gd name="connsiteX267" fmla="*/ 76215 w 290616"/>
                  <a:gd name="connsiteY267" fmla="*/ 261979 h 462895"/>
                  <a:gd name="connsiteX268" fmla="*/ 76215 w 290616"/>
                  <a:gd name="connsiteY268" fmla="*/ 263646 h 462895"/>
                  <a:gd name="connsiteX269" fmla="*/ 75912 w 290616"/>
                  <a:gd name="connsiteY269" fmla="*/ 265161 h 462895"/>
                  <a:gd name="connsiteX270" fmla="*/ 72427 w 290616"/>
                  <a:gd name="connsiteY270" fmla="*/ 271677 h 462895"/>
                  <a:gd name="connsiteX271" fmla="*/ 70003 w 290616"/>
                  <a:gd name="connsiteY271" fmla="*/ 275768 h 462895"/>
                  <a:gd name="connsiteX272" fmla="*/ 67124 w 290616"/>
                  <a:gd name="connsiteY272" fmla="*/ 280162 h 462895"/>
                  <a:gd name="connsiteX273" fmla="*/ 63184 w 290616"/>
                  <a:gd name="connsiteY273" fmla="*/ 282889 h 462895"/>
                  <a:gd name="connsiteX274" fmla="*/ 62124 w 290616"/>
                  <a:gd name="connsiteY274" fmla="*/ 284253 h 462895"/>
                  <a:gd name="connsiteX275" fmla="*/ 61820 w 290616"/>
                  <a:gd name="connsiteY275" fmla="*/ 285768 h 462895"/>
                  <a:gd name="connsiteX276" fmla="*/ 61820 w 290616"/>
                  <a:gd name="connsiteY276" fmla="*/ 289101 h 462895"/>
                  <a:gd name="connsiteX277" fmla="*/ 61669 w 290616"/>
                  <a:gd name="connsiteY277" fmla="*/ 292586 h 462895"/>
                  <a:gd name="connsiteX278" fmla="*/ 58336 w 290616"/>
                  <a:gd name="connsiteY278" fmla="*/ 297890 h 462895"/>
                  <a:gd name="connsiteX279" fmla="*/ 60457 w 290616"/>
                  <a:gd name="connsiteY279" fmla="*/ 302435 h 462895"/>
                  <a:gd name="connsiteX280" fmla="*/ 60002 w 290616"/>
                  <a:gd name="connsiteY280" fmla="*/ 302738 h 462895"/>
                  <a:gd name="connsiteX281" fmla="*/ 58790 w 290616"/>
                  <a:gd name="connsiteY281" fmla="*/ 303496 h 462895"/>
                  <a:gd name="connsiteX282" fmla="*/ 53941 w 290616"/>
                  <a:gd name="connsiteY282" fmla="*/ 308648 h 462895"/>
                  <a:gd name="connsiteX283" fmla="*/ 49093 w 290616"/>
                  <a:gd name="connsiteY283" fmla="*/ 313799 h 462895"/>
                  <a:gd name="connsiteX284" fmla="*/ 45608 w 290616"/>
                  <a:gd name="connsiteY284" fmla="*/ 317587 h 462895"/>
                  <a:gd name="connsiteX285" fmla="*/ 41517 w 290616"/>
                  <a:gd name="connsiteY285" fmla="*/ 321981 h 462895"/>
                  <a:gd name="connsiteX286" fmla="*/ 36971 w 290616"/>
                  <a:gd name="connsiteY286" fmla="*/ 326830 h 462895"/>
                  <a:gd name="connsiteX287" fmla="*/ 33031 w 290616"/>
                  <a:gd name="connsiteY287" fmla="*/ 330921 h 462895"/>
                  <a:gd name="connsiteX288" fmla="*/ 29243 w 290616"/>
                  <a:gd name="connsiteY288" fmla="*/ 333952 h 462895"/>
                  <a:gd name="connsiteX289" fmla="*/ 29395 w 290616"/>
                  <a:gd name="connsiteY289" fmla="*/ 335467 h 462895"/>
                  <a:gd name="connsiteX290" fmla="*/ 29547 w 290616"/>
                  <a:gd name="connsiteY290" fmla="*/ 336073 h 462895"/>
                  <a:gd name="connsiteX291" fmla="*/ 30910 w 290616"/>
                  <a:gd name="connsiteY291" fmla="*/ 340012 h 462895"/>
                  <a:gd name="connsiteX292" fmla="*/ 32729 w 290616"/>
                  <a:gd name="connsiteY292" fmla="*/ 346073 h 462895"/>
                  <a:gd name="connsiteX293" fmla="*/ 34092 w 290616"/>
                  <a:gd name="connsiteY293" fmla="*/ 351528 h 462895"/>
                  <a:gd name="connsiteX294" fmla="*/ 35910 w 290616"/>
                  <a:gd name="connsiteY294" fmla="*/ 359104 h 462895"/>
                  <a:gd name="connsiteX295" fmla="*/ 35759 w 290616"/>
                  <a:gd name="connsiteY295" fmla="*/ 363195 h 462895"/>
                  <a:gd name="connsiteX296" fmla="*/ 36214 w 290616"/>
                  <a:gd name="connsiteY296" fmla="*/ 364862 h 462895"/>
                  <a:gd name="connsiteX297" fmla="*/ 37880 w 290616"/>
                  <a:gd name="connsiteY297" fmla="*/ 366983 h 462895"/>
                  <a:gd name="connsiteX298" fmla="*/ 39850 w 290616"/>
                  <a:gd name="connsiteY298" fmla="*/ 370468 h 462895"/>
                  <a:gd name="connsiteX299" fmla="*/ 40456 w 290616"/>
                  <a:gd name="connsiteY299" fmla="*/ 372438 h 462895"/>
                  <a:gd name="connsiteX300" fmla="*/ 41062 w 290616"/>
                  <a:gd name="connsiteY300" fmla="*/ 373801 h 462895"/>
                  <a:gd name="connsiteX301" fmla="*/ 43184 w 290616"/>
                  <a:gd name="connsiteY301" fmla="*/ 376680 h 462895"/>
                  <a:gd name="connsiteX302" fmla="*/ 44850 w 290616"/>
                  <a:gd name="connsiteY302" fmla="*/ 380923 h 462895"/>
                  <a:gd name="connsiteX303" fmla="*/ 46214 w 290616"/>
                  <a:gd name="connsiteY303" fmla="*/ 386529 h 462895"/>
                  <a:gd name="connsiteX304" fmla="*/ 47274 w 290616"/>
                  <a:gd name="connsiteY304" fmla="*/ 389257 h 462895"/>
                  <a:gd name="connsiteX305" fmla="*/ 47729 w 290616"/>
                  <a:gd name="connsiteY305" fmla="*/ 390620 h 462895"/>
                  <a:gd name="connsiteX306" fmla="*/ 48335 w 290616"/>
                  <a:gd name="connsiteY306" fmla="*/ 393045 h 462895"/>
                  <a:gd name="connsiteX307" fmla="*/ 48183 w 290616"/>
                  <a:gd name="connsiteY307" fmla="*/ 398196 h 462895"/>
                  <a:gd name="connsiteX308" fmla="*/ 48183 w 290616"/>
                  <a:gd name="connsiteY308" fmla="*/ 404106 h 462895"/>
                  <a:gd name="connsiteX309" fmla="*/ 48335 w 290616"/>
                  <a:gd name="connsiteY309" fmla="*/ 410773 h 462895"/>
                  <a:gd name="connsiteX310" fmla="*/ 48335 w 290616"/>
                  <a:gd name="connsiteY310" fmla="*/ 416379 h 462895"/>
                  <a:gd name="connsiteX311" fmla="*/ 48183 w 290616"/>
                  <a:gd name="connsiteY311" fmla="*/ 419106 h 462895"/>
                  <a:gd name="connsiteX312" fmla="*/ 48335 w 290616"/>
                  <a:gd name="connsiteY312" fmla="*/ 426985 h 462895"/>
                  <a:gd name="connsiteX313" fmla="*/ 46517 w 290616"/>
                  <a:gd name="connsiteY313" fmla="*/ 431076 h 462895"/>
                  <a:gd name="connsiteX314" fmla="*/ 46668 w 290616"/>
                  <a:gd name="connsiteY314" fmla="*/ 434410 h 462895"/>
                  <a:gd name="connsiteX315" fmla="*/ 47274 w 290616"/>
                  <a:gd name="connsiteY315" fmla="*/ 436531 h 462895"/>
                  <a:gd name="connsiteX316" fmla="*/ 47881 w 290616"/>
                  <a:gd name="connsiteY316" fmla="*/ 436986 h 462895"/>
                  <a:gd name="connsiteX317" fmla="*/ 50305 w 290616"/>
                  <a:gd name="connsiteY317" fmla="*/ 438198 h 462895"/>
                  <a:gd name="connsiteX318" fmla="*/ 50608 w 290616"/>
                  <a:gd name="connsiteY318" fmla="*/ 440925 h 462895"/>
                  <a:gd name="connsiteX319" fmla="*/ 50305 w 290616"/>
                  <a:gd name="connsiteY319" fmla="*/ 443956 h 462895"/>
                  <a:gd name="connsiteX320" fmla="*/ 49850 w 290616"/>
                  <a:gd name="connsiteY320" fmla="*/ 445925 h 462895"/>
                  <a:gd name="connsiteX321" fmla="*/ 50002 w 290616"/>
                  <a:gd name="connsiteY321" fmla="*/ 447895 h 462895"/>
                  <a:gd name="connsiteX322" fmla="*/ 50760 w 290616"/>
                  <a:gd name="connsiteY322" fmla="*/ 450774 h 462895"/>
                  <a:gd name="connsiteX323" fmla="*/ 51517 w 290616"/>
                  <a:gd name="connsiteY323" fmla="*/ 452895 h 462895"/>
                  <a:gd name="connsiteX324" fmla="*/ 51820 w 290616"/>
                  <a:gd name="connsiteY324" fmla="*/ 462290 h 462895"/>
                  <a:gd name="connsiteX325" fmla="*/ 54093 w 290616"/>
                  <a:gd name="connsiteY325" fmla="*/ 461987 h 462895"/>
                  <a:gd name="connsiteX326" fmla="*/ 58336 w 290616"/>
                  <a:gd name="connsiteY326" fmla="*/ 462896 h 462895"/>
                  <a:gd name="connsiteX327" fmla="*/ 61820 w 290616"/>
                  <a:gd name="connsiteY327" fmla="*/ 462744 h 462895"/>
                  <a:gd name="connsiteX328" fmla="*/ 64851 w 290616"/>
                  <a:gd name="connsiteY328" fmla="*/ 462744 h 462895"/>
                  <a:gd name="connsiteX329" fmla="*/ 70003 w 290616"/>
                  <a:gd name="connsiteY329" fmla="*/ 462593 h 462895"/>
                  <a:gd name="connsiteX330" fmla="*/ 72881 w 290616"/>
                  <a:gd name="connsiteY330" fmla="*/ 462593 h 462895"/>
                  <a:gd name="connsiteX331" fmla="*/ 73033 w 290616"/>
                  <a:gd name="connsiteY331" fmla="*/ 461987 h 462895"/>
                  <a:gd name="connsiteX332" fmla="*/ 74245 w 290616"/>
                  <a:gd name="connsiteY332" fmla="*/ 445016 h 462895"/>
                  <a:gd name="connsiteX333" fmla="*/ 74851 w 290616"/>
                  <a:gd name="connsiteY333" fmla="*/ 440168 h 462895"/>
                  <a:gd name="connsiteX334" fmla="*/ 73791 w 290616"/>
                  <a:gd name="connsiteY334" fmla="*/ 440319 h 462895"/>
                  <a:gd name="connsiteX335" fmla="*/ 73184 w 290616"/>
                  <a:gd name="connsiteY335" fmla="*/ 441531 h 462895"/>
                  <a:gd name="connsiteX336" fmla="*/ 71972 w 290616"/>
                  <a:gd name="connsiteY336" fmla="*/ 445471 h 462895"/>
                  <a:gd name="connsiteX337" fmla="*/ 70609 w 290616"/>
                  <a:gd name="connsiteY337" fmla="*/ 444713 h 462895"/>
                  <a:gd name="connsiteX338" fmla="*/ 69700 w 290616"/>
                  <a:gd name="connsiteY338" fmla="*/ 443653 h 462895"/>
                  <a:gd name="connsiteX339" fmla="*/ 67881 w 290616"/>
                  <a:gd name="connsiteY339" fmla="*/ 442289 h 462895"/>
                  <a:gd name="connsiteX340" fmla="*/ 66366 w 290616"/>
                  <a:gd name="connsiteY340" fmla="*/ 440471 h 462895"/>
                  <a:gd name="connsiteX341" fmla="*/ 64851 w 290616"/>
                  <a:gd name="connsiteY341" fmla="*/ 437895 h 462895"/>
                  <a:gd name="connsiteX342" fmla="*/ 66669 w 290616"/>
                  <a:gd name="connsiteY342" fmla="*/ 434864 h 462895"/>
                  <a:gd name="connsiteX343" fmla="*/ 68487 w 290616"/>
                  <a:gd name="connsiteY343" fmla="*/ 432440 h 462895"/>
                  <a:gd name="connsiteX344" fmla="*/ 70306 w 290616"/>
                  <a:gd name="connsiteY344" fmla="*/ 427440 h 462895"/>
                  <a:gd name="connsiteX345" fmla="*/ 75003 w 290616"/>
                  <a:gd name="connsiteY345" fmla="*/ 422894 h 462895"/>
                  <a:gd name="connsiteX346" fmla="*/ 85609 w 290616"/>
                  <a:gd name="connsiteY346" fmla="*/ 416227 h 462895"/>
                  <a:gd name="connsiteX347" fmla="*/ 90610 w 290616"/>
                  <a:gd name="connsiteY347" fmla="*/ 414106 h 462895"/>
                  <a:gd name="connsiteX348" fmla="*/ 98943 w 290616"/>
                  <a:gd name="connsiteY348" fmla="*/ 410621 h 462895"/>
                  <a:gd name="connsiteX349" fmla="*/ 120005 w 290616"/>
                  <a:gd name="connsiteY349" fmla="*/ 403500 h 462895"/>
                  <a:gd name="connsiteX350" fmla="*/ 130611 w 290616"/>
                  <a:gd name="connsiteY350" fmla="*/ 398499 h 462895"/>
                  <a:gd name="connsiteX351" fmla="*/ 135005 w 290616"/>
                  <a:gd name="connsiteY351" fmla="*/ 395469 h 462895"/>
                  <a:gd name="connsiteX352" fmla="*/ 137732 w 290616"/>
                  <a:gd name="connsiteY352" fmla="*/ 392136 h 462895"/>
                  <a:gd name="connsiteX353" fmla="*/ 142733 w 290616"/>
                  <a:gd name="connsiteY353" fmla="*/ 384711 h 462895"/>
                  <a:gd name="connsiteX354" fmla="*/ 144096 w 290616"/>
                  <a:gd name="connsiteY354" fmla="*/ 381681 h 462895"/>
                  <a:gd name="connsiteX355" fmla="*/ 145612 w 290616"/>
                  <a:gd name="connsiteY355" fmla="*/ 374711 h 462895"/>
                  <a:gd name="connsiteX356" fmla="*/ 145005 w 290616"/>
                  <a:gd name="connsiteY356" fmla="*/ 373650 h 462895"/>
                  <a:gd name="connsiteX357" fmla="*/ 144096 w 290616"/>
                  <a:gd name="connsiteY357" fmla="*/ 373650 h 462895"/>
                  <a:gd name="connsiteX358" fmla="*/ 143339 w 290616"/>
                  <a:gd name="connsiteY358" fmla="*/ 375468 h 462895"/>
                  <a:gd name="connsiteX359" fmla="*/ 141672 w 290616"/>
                  <a:gd name="connsiteY359" fmla="*/ 375165 h 462895"/>
                  <a:gd name="connsiteX360" fmla="*/ 140914 w 290616"/>
                  <a:gd name="connsiteY360" fmla="*/ 373953 h 462895"/>
                  <a:gd name="connsiteX361" fmla="*/ 141066 w 290616"/>
                  <a:gd name="connsiteY361" fmla="*/ 371377 h 462895"/>
                  <a:gd name="connsiteX362" fmla="*/ 144248 w 290616"/>
                  <a:gd name="connsiteY362" fmla="*/ 356377 h 462895"/>
                  <a:gd name="connsiteX363" fmla="*/ 146521 w 290616"/>
                  <a:gd name="connsiteY363" fmla="*/ 350013 h 462895"/>
                  <a:gd name="connsiteX364" fmla="*/ 144551 w 290616"/>
                  <a:gd name="connsiteY364" fmla="*/ 344558 h 462895"/>
                  <a:gd name="connsiteX365" fmla="*/ 144248 w 290616"/>
                  <a:gd name="connsiteY365" fmla="*/ 341225 h 462895"/>
                  <a:gd name="connsiteX366" fmla="*/ 145612 w 290616"/>
                  <a:gd name="connsiteY366" fmla="*/ 333194 h 462895"/>
                  <a:gd name="connsiteX367" fmla="*/ 145612 w 290616"/>
                  <a:gd name="connsiteY367" fmla="*/ 331073 h 462895"/>
                  <a:gd name="connsiteX368" fmla="*/ 145308 w 290616"/>
                  <a:gd name="connsiteY368" fmla="*/ 329557 h 462895"/>
                  <a:gd name="connsiteX369" fmla="*/ 144551 w 290616"/>
                  <a:gd name="connsiteY369" fmla="*/ 327891 h 462895"/>
                  <a:gd name="connsiteX370" fmla="*/ 144248 w 290616"/>
                  <a:gd name="connsiteY370" fmla="*/ 325921 h 462895"/>
                  <a:gd name="connsiteX371" fmla="*/ 143187 w 290616"/>
                  <a:gd name="connsiteY371" fmla="*/ 325769 h 462895"/>
                  <a:gd name="connsiteX372" fmla="*/ 142278 w 290616"/>
                  <a:gd name="connsiteY372" fmla="*/ 327436 h 462895"/>
                  <a:gd name="connsiteX373" fmla="*/ 141672 w 290616"/>
                  <a:gd name="connsiteY373" fmla="*/ 331527 h 462895"/>
                  <a:gd name="connsiteX374" fmla="*/ 141975 w 290616"/>
                  <a:gd name="connsiteY374" fmla="*/ 333952 h 462895"/>
                  <a:gd name="connsiteX375" fmla="*/ 141217 w 290616"/>
                  <a:gd name="connsiteY375" fmla="*/ 335467 h 462895"/>
                  <a:gd name="connsiteX376" fmla="*/ 139399 w 290616"/>
                  <a:gd name="connsiteY376" fmla="*/ 333800 h 462895"/>
                  <a:gd name="connsiteX377" fmla="*/ 139702 w 290616"/>
                  <a:gd name="connsiteY377" fmla="*/ 329861 h 462895"/>
                  <a:gd name="connsiteX378" fmla="*/ 139702 w 290616"/>
                  <a:gd name="connsiteY378" fmla="*/ 323497 h 462895"/>
                  <a:gd name="connsiteX379" fmla="*/ 138187 w 290616"/>
                  <a:gd name="connsiteY379" fmla="*/ 315618 h 462895"/>
                  <a:gd name="connsiteX380" fmla="*/ 138036 w 290616"/>
                  <a:gd name="connsiteY380" fmla="*/ 312436 h 462895"/>
                  <a:gd name="connsiteX381" fmla="*/ 134248 w 290616"/>
                  <a:gd name="connsiteY381" fmla="*/ 305163 h 462895"/>
                  <a:gd name="connsiteX382" fmla="*/ 133944 w 290616"/>
                  <a:gd name="connsiteY382" fmla="*/ 299556 h 462895"/>
                  <a:gd name="connsiteX383" fmla="*/ 130308 w 290616"/>
                  <a:gd name="connsiteY383" fmla="*/ 288496 h 462895"/>
                  <a:gd name="connsiteX384" fmla="*/ 127429 w 290616"/>
                  <a:gd name="connsiteY384" fmla="*/ 284556 h 462895"/>
                  <a:gd name="connsiteX385" fmla="*/ 124398 w 290616"/>
                  <a:gd name="connsiteY385" fmla="*/ 281525 h 462895"/>
                  <a:gd name="connsiteX386" fmla="*/ 122732 w 290616"/>
                  <a:gd name="connsiteY386" fmla="*/ 278950 h 462895"/>
                  <a:gd name="connsiteX387" fmla="*/ 122580 w 290616"/>
                  <a:gd name="connsiteY387" fmla="*/ 276980 h 462895"/>
                  <a:gd name="connsiteX388" fmla="*/ 123944 w 290616"/>
                  <a:gd name="connsiteY388" fmla="*/ 268192 h 462895"/>
                  <a:gd name="connsiteX389" fmla="*/ 123793 w 290616"/>
                  <a:gd name="connsiteY389" fmla="*/ 263646 h 462895"/>
                  <a:gd name="connsiteX390" fmla="*/ 124096 w 290616"/>
                  <a:gd name="connsiteY390" fmla="*/ 260464 h 462895"/>
                  <a:gd name="connsiteX391" fmla="*/ 122884 w 290616"/>
                  <a:gd name="connsiteY391" fmla="*/ 258949 h 462895"/>
                  <a:gd name="connsiteX392" fmla="*/ 121217 w 290616"/>
                  <a:gd name="connsiteY392" fmla="*/ 257131 h 462895"/>
                  <a:gd name="connsiteX393" fmla="*/ 123186 w 290616"/>
                  <a:gd name="connsiteY393" fmla="*/ 257282 h 462895"/>
                  <a:gd name="connsiteX394" fmla="*/ 126672 w 290616"/>
                  <a:gd name="connsiteY394" fmla="*/ 260464 h 462895"/>
                  <a:gd name="connsiteX395" fmla="*/ 127732 w 290616"/>
                  <a:gd name="connsiteY395" fmla="*/ 260464 h 462895"/>
                  <a:gd name="connsiteX396" fmla="*/ 129399 w 290616"/>
                  <a:gd name="connsiteY396" fmla="*/ 260313 h 462895"/>
                  <a:gd name="connsiteX397" fmla="*/ 140763 w 290616"/>
                  <a:gd name="connsiteY397" fmla="*/ 251221 h 462895"/>
                  <a:gd name="connsiteX398" fmla="*/ 148642 w 290616"/>
                  <a:gd name="connsiteY398" fmla="*/ 241979 h 462895"/>
                  <a:gd name="connsiteX399" fmla="*/ 154097 w 290616"/>
                  <a:gd name="connsiteY399" fmla="*/ 237130 h 462895"/>
                  <a:gd name="connsiteX400" fmla="*/ 157582 w 290616"/>
                  <a:gd name="connsiteY400" fmla="*/ 234857 h 462895"/>
                  <a:gd name="connsiteX401" fmla="*/ 161521 w 290616"/>
                  <a:gd name="connsiteY401" fmla="*/ 232887 h 462895"/>
                  <a:gd name="connsiteX402" fmla="*/ 163188 w 290616"/>
                  <a:gd name="connsiteY402" fmla="*/ 233645 h 462895"/>
                  <a:gd name="connsiteX403" fmla="*/ 164552 w 290616"/>
                  <a:gd name="connsiteY403" fmla="*/ 233493 h 462895"/>
                  <a:gd name="connsiteX404" fmla="*/ 165309 w 290616"/>
                  <a:gd name="connsiteY404" fmla="*/ 229402 h 462895"/>
                  <a:gd name="connsiteX405" fmla="*/ 167127 w 290616"/>
                  <a:gd name="connsiteY405" fmla="*/ 231524 h 462895"/>
                  <a:gd name="connsiteX406" fmla="*/ 169249 w 290616"/>
                  <a:gd name="connsiteY406" fmla="*/ 230766 h 462895"/>
                  <a:gd name="connsiteX407" fmla="*/ 169400 w 290616"/>
                  <a:gd name="connsiteY407" fmla="*/ 228645 h 462895"/>
                  <a:gd name="connsiteX408" fmla="*/ 171825 w 290616"/>
                  <a:gd name="connsiteY408" fmla="*/ 225311 h 462895"/>
                  <a:gd name="connsiteX409" fmla="*/ 172885 w 290616"/>
                  <a:gd name="connsiteY409" fmla="*/ 223796 h 462895"/>
                  <a:gd name="connsiteX410" fmla="*/ 178794 w 290616"/>
                  <a:gd name="connsiteY410" fmla="*/ 217887 h 462895"/>
                  <a:gd name="connsiteX411" fmla="*/ 182734 w 290616"/>
                  <a:gd name="connsiteY411" fmla="*/ 212887 h 462895"/>
                  <a:gd name="connsiteX412" fmla="*/ 183340 w 290616"/>
                  <a:gd name="connsiteY412" fmla="*/ 211371 h 462895"/>
                  <a:gd name="connsiteX413" fmla="*/ 183795 w 290616"/>
                  <a:gd name="connsiteY413" fmla="*/ 208947 h 462895"/>
                  <a:gd name="connsiteX414" fmla="*/ 185461 w 290616"/>
                  <a:gd name="connsiteY414" fmla="*/ 207432 h 462895"/>
                  <a:gd name="connsiteX415" fmla="*/ 186825 w 290616"/>
                  <a:gd name="connsiteY415" fmla="*/ 206674 h 462895"/>
                  <a:gd name="connsiteX416" fmla="*/ 192128 w 290616"/>
                  <a:gd name="connsiteY416" fmla="*/ 201826 h 462895"/>
                  <a:gd name="connsiteX417" fmla="*/ 199553 w 290616"/>
                  <a:gd name="connsiteY417" fmla="*/ 197129 h 462895"/>
                  <a:gd name="connsiteX418" fmla="*/ 208493 w 290616"/>
                  <a:gd name="connsiteY418" fmla="*/ 192128 h 462895"/>
                  <a:gd name="connsiteX419" fmla="*/ 214099 w 290616"/>
                  <a:gd name="connsiteY419" fmla="*/ 190159 h 462895"/>
                  <a:gd name="connsiteX420" fmla="*/ 215160 w 290616"/>
                  <a:gd name="connsiteY420" fmla="*/ 188946 h 462895"/>
                  <a:gd name="connsiteX421" fmla="*/ 216826 w 290616"/>
                  <a:gd name="connsiteY421" fmla="*/ 187886 h 462895"/>
                  <a:gd name="connsiteX422" fmla="*/ 223341 w 290616"/>
                  <a:gd name="connsiteY422" fmla="*/ 185916 h 462895"/>
                  <a:gd name="connsiteX423" fmla="*/ 230160 w 290616"/>
                  <a:gd name="connsiteY423" fmla="*/ 183340 h 462895"/>
                  <a:gd name="connsiteX424" fmla="*/ 231221 w 290616"/>
                  <a:gd name="connsiteY424" fmla="*/ 182582 h 462895"/>
                  <a:gd name="connsiteX425" fmla="*/ 232433 w 290616"/>
                  <a:gd name="connsiteY425" fmla="*/ 182431 h 462895"/>
                  <a:gd name="connsiteX426" fmla="*/ 233645 w 290616"/>
                  <a:gd name="connsiteY426" fmla="*/ 182734 h 462895"/>
                  <a:gd name="connsiteX427" fmla="*/ 237130 w 290616"/>
                  <a:gd name="connsiteY427" fmla="*/ 182279 h 462895"/>
                  <a:gd name="connsiteX428" fmla="*/ 238948 w 290616"/>
                  <a:gd name="connsiteY428" fmla="*/ 181219 h 462895"/>
                  <a:gd name="connsiteX429" fmla="*/ 242585 w 290616"/>
                  <a:gd name="connsiteY429" fmla="*/ 180461 h 462895"/>
                  <a:gd name="connsiteX430" fmla="*/ 245161 w 290616"/>
                  <a:gd name="connsiteY430" fmla="*/ 176673 h 462895"/>
                  <a:gd name="connsiteX431" fmla="*/ 246827 w 290616"/>
                  <a:gd name="connsiteY431" fmla="*/ 175310 h 462895"/>
                  <a:gd name="connsiteX432" fmla="*/ 257282 w 290616"/>
                  <a:gd name="connsiteY432" fmla="*/ 169400 h 462895"/>
                  <a:gd name="connsiteX433" fmla="*/ 261070 w 290616"/>
                  <a:gd name="connsiteY433" fmla="*/ 166218 h 462895"/>
                  <a:gd name="connsiteX434" fmla="*/ 263343 w 290616"/>
                  <a:gd name="connsiteY434" fmla="*/ 165309 h 462895"/>
                  <a:gd name="connsiteX435" fmla="*/ 261828 w 290616"/>
                  <a:gd name="connsiteY435" fmla="*/ 161370 h 462895"/>
                  <a:gd name="connsiteX436" fmla="*/ 263798 w 290616"/>
                  <a:gd name="connsiteY436" fmla="*/ 160309 h 462895"/>
                  <a:gd name="connsiteX437" fmla="*/ 267131 w 290616"/>
                  <a:gd name="connsiteY437" fmla="*/ 159551 h 462895"/>
                  <a:gd name="connsiteX438" fmla="*/ 270313 w 290616"/>
                  <a:gd name="connsiteY438" fmla="*/ 155006 h 462895"/>
                  <a:gd name="connsiteX439" fmla="*/ 270616 w 290616"/>
                  <a:gd name="connsiteY439" fmla="*/ 153945 h 462895"/>
                  <a:gd name="connsiteX440" fmla="*/ 270616 w 290616"/>
                  <a:gd name="connsiteY440" fmla="*/ 152581 h 462895"/>
                  <a:gd name="connsiteX441" fmla="*/ 273192 w 290616"/>
                  <a:gd name="connsiteY441" fmla="*/ 149551 h 462895"/>
                  <a:gd name="connsiteX442" fmla="*/ 276223 w 290616"/>
                  <a:gd name="connsiteY442" fmla="*/ 146672 h 462895"/>
                  <a:gd name="connsiteX443" fmla="*/ 282889 w 290616"/>
                  <a:gd name="connsiteY443" fmla="*/ 138490 h 462895"/>
                  <a:gd name="connsiteX444" fmla="*/ 285313 w 290616"/>
                  <a:gd name="connsiteY444" fmla="*/ 132581 h 462895"/>
                  <a:gd name="connsiteX445" fmla="*/ 285465 w 290616"/>
                  <a:gd name="connsiteY445" fmla="*/ 130762 h 462895"/>
                  <a:gd name="connsiteX446" fmla="*/ 284404 w 290616"/>
                  <a:gd name="connsiteY446" fmla="*/ 128641 h 462895"/>
                  <a:gd name="connsiteX447" fmla="*/ 285162 w 290616"/>
                  <a:gd name="connsiteY447" fmla="*/ 127732 h 462895"/>
                  <a:gd name="connsiteX448" fmla="*/ 286526 w 290616"/>
                  <a:gd name="connsiteY448" fmla="*/ 127126 h 462895"/>
                  <a:gd name="connsiteX449" fmla="*/ 286374 w 290616"/>
                  <a:gd name="connsiteY449" fmla="*/ 125762 h 462895"/>
                  <a:gd name="connsiteX450" fmla="*/ 286678 w 290616"/>
                  <a:gd name="connsiteY450" fmla="*/ 123489 h 462895"/>
                  <a:gd name="connsiteX451" fmla="*/ 288799 w 290616"/>
                  <a:gd name="connsiteY451" fmla="*/ 121065 h 462895"/>
                  <a:gd name="connsiteX452" fmla="*/ 290466 w 290616"/>
                  <a:gd name="connsiteY452" fmla="*/ 119550 h 462895"/>
                  <a:gd name="connsiteX453" fmla="*/ 290617 w 290616"/>
                  <a:gd name="connsiteY453" fmla="*/ 117580 h 46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Lst>
                <a:rect l="l" t="t" r="r" b="b"/>
                <a:pathLst>
                  <a:path w="290616" h="462895">
                    <a:moveTo>
                      <a:pt x="290011" y="115307"/>
                    </a:moveTo>
                    <a:lnTo>
                      <a:pt x="290162" y="113337"/>
                    </a:lnTo>
                    <a:lnTo>
                      <a:pt x="289859" y="112428"/>
                    </a:lnTo>
                    <a:lnTo>
                      <a:pt x="290011" y="110610"/>
                    </a:lnTo>
                    <a:lnTo>
                      <a:pt x="288799" y="109247"/>
                    </a:lnTo>
                    <a:lnTo>
                      <a:pt x="287435" y="109247"/>
                    </a:lnTo>
                    <a:lnTo>
                      <a:pt x="285313" y="112580"/>
                    </a:lnTo>
                    <a:lnTo>
                      <a:pt x="285011" y="110156"/>
                    </a:lnTo>
                    <a:lnTo>
                      <a:pt x="285011" y="108489"/>
                    </a:lnTo>
                    <a:lnTo>
                      <a:pt x="287132" y="105610"/>
                    </a:lnTo>
                    <a:lnTo>
                      <a:pt x="287132" y="103489"/>
                    </a:lnTo>
                    <a:lnTo>
                      <a:pt x="285313" y="103186"/>
                    </a:lnTo>
                    <a:lnTo>
                      <a:pt x="284101" y="102276"/>
                    </a:lnTo>
                    <a:lnTo>
                      <a:pt x="283799" y="101064"/>
                    </a:lnTo>
                    <a:lnTo>
                      <a:pt x="283799" y="93337"/>
                    </a:lnTo>
                    <a:lnTo>
                      <a:pt x="282889" y="87124"/>
                    </a:lnTo>
                    <a:lnTo>
                      <a:pt x="282889" y="84700"/>
                    </a:lnTo>
                    <a:lnTo>
                      <a:pt x="282435" y="82730"/>
                    </a:lnTo>
                    <a:lnTo>
                      <a:pt x="283495" y="80306"/>
                    </a:lnTo>
                    <a:lnTo>
                      <a:pt x="282738" y="78033"/>
                    </a:lnTo>
                    <a:lnTo>
                      <a:pt x="283192" y="76063"/>
                    </a:lnTo>
                    <a:lnTo>
                      <a:pt x="283041" y="73185"/>
                    </a:lnTo>
                    <a:lnTo>
                      <a:pt x="283192" y="71518"/>
                    </a:lnTo>
                    <a:lnTo>
                      <a:pt x="283192" y="69548"/>
                    </a:lnTo>
                    <a:lnTo>
                      <a:pt x="279556" y="69397"/>
                    </a:lnTo>
                    <a:lnTo>
                      <a:pt x="279404" y="68184"/>
                    </a:lnTo>
                    <a:lnTo>
                      <a:pt x="279859" y="67275"/>
                    </a:lnTo>
                    <a:lnTo>
                      <a:pt x="282738" y="65154"/>
                    </a:lnTo>
                    <a:lnTo>
                      <a:pt x="283192" y="63184"/>
                    </a:lnTo>
                    <a:lnTo>
                      <a:pt x="283495" y="59851"/>
                    </a:lnTo>
                    <a:lnTo>
                      <a:pt x="282586" y="56820"/>
                    </a:lnTo>
                    <a:lnTo>
                      <a:pt x="280920" y="55911"/>
                    </a:lnTo>
                    <a:lnTo>
                      <a:pt x="281829" y="53184"/>
                    </a:lnTo>
                    <a:lnTo>
                      <a:pt x="281525" y="50911"/>
                    </a:lnTo>
                    <a:lnTo>
                      <a:pt x="281223" y="45608"/>
                    </a:lnTo>
                    <a:lnTo>
                      <a:pt x="282132" y="42426"/>
                    </a:lnTo>
                    <a:lnTo>
                      <a:pt x="281525" y="40608"/>
                    </a:lnTo>
                    <a:lnTo>
                      <a:pt x="281071" y="38032"/>
                    </a:lnTo>
                    <a:lnTo>
                      <a:pt x="279404" y="32880"/>
                    </a:lnTo>
                    <a:lnTo>
                      <a:pt x="280313" y="27122"/>
                    </a:lnTo>
                    <a:lnTo>
                      <a:pt x="278647" y="23940"/>
                    </a:lnTo>
                    <a:lnTo>
                      <a:pt x="279101" y="22122"/>
                    </a:lnTo>
                    <a:lnTo>
                      <a:pt x="281071" y="19698"/>
                    </a:lnTo>
                    <a:lnTo>
                      <a:pt x="282435" y="16516"/>
                    </a:lnTo>
                    <a:lnTo>
                      <a:pt x="281980" y="15455"/>
                    </a:lnTo>
                    <a:lnTo>
                      <a:pt x="281374" y="14698"/>
                    </a:lnTo>
                    <a:lnTo>
                      <a:pt x="281677" y="12879"/>
                    </a:lnTo>
                    <a:lnTo>
                      <a:pt x="283950" y="10152"/>
                    </a:lnTo>
                    <a:lnTo>
                      <a:pt x="280920" y="8334"/>
                    </a:lnTo>
                    <a:lnTo>
                      <a:pt x="282738" y="6970"/>
                    </a:lnTo>
                    <a:lnTo>
                      <a:pt x="284253" y="5455"/>
                    </a:lnTo>
                    <a:lnTo>
                      <a:pt x="281677" y="2879"/>
                    </a:lnTo>
                    <a:lnTo>
                      <a:pt x="280313" y="0"/>
                    </a:lnTo>
                    <a:lnTo>
                      <a:pt x="277132" y="2424"/>
                    </a:lnTo>
                    <a:lnTo>
                      <a:pt x="272131" y="6212"/>
                    </a:lnTo>
                    <a:lnTo>
                      <a:pt x="267283" y="9849"/>
                    </a:lnTo>
                    <a:lnTo>
                      <a:pt x="262585" y="12425"/>
                    </a:lnTo>
                    <a:lnTo>
                      <a:pt x="259252" y="13485"/>
                    </a:lnTo>
                    <a:lnTo>
                      <a:pt x="255615" y="14243"/>
                    </a:lnTo>
                    <a:lnTo>
                      <a:pt x="252282" y="15758"/>
                    </a:lnTo>
                    <a:lnTo>
                      <a:pt x="248949" y="18182"/>
                    </a:lnTo>
                    <a:lnTo>
                      <a:pt x="244858" y="19395"/>
                    </a:lnTo>
                    <a:lnTo>
                      <a:pt x="239857" y="19395"/>
                    </a:lnTo>
                    <a:lnTo>
                      <a:pt x="234554" y="21061"/>
                    </a:lnTo>
                    <a:lnTo>
                      <a:pt x="229403" y="24243"/>
                    </a:lnTo>
                    <a:lnTo>
                      <a:pt x="226372" y="26213"/>
                    </a:lnTo>
                    <a:lnTo>
                      <a:pt x="221523" y="23334"/>
                    </a:lnTo>
                    <a:lnTo>
                      <a:pt x="217735" y="22425"/>
                    </a:lnTo>
                    <a:lnTo>
                      <a:pt x="213341" y="22577"/>
                    </a:lnTo>
                    <a:lnTo>
                      <a:pt x="210614" y="22880"/>
                    </a:lnTo>
                    <a:lnTo>
                      <a:pt x="209705" y="23486"/>
                    </a:lnTo>
                    <a:lnTo>
                      <a:pt x="208947" y="25152"/>
                    </a:lnTo>
                    <a:lnTo>
                      <a:pt x="208189" y="28031"/>
                    </a:lnTo>
                    <a:lnTo>
                      <a:pt x="205310" y="30759"/>
                    </a:lnTo>
                    <a:lnTo>
                      <a:pt x="200310" y="33335"/>
                    </a:lnTo>
                    <a:lnTo>
                      <a:pt x="195765" y="34395"/>
                    </a:lnTo>
                    <a:lnTo>
                      <a:pt x="191522" y="33638"/>
                    </a:lnTo>
                    <a:lnTo>
                      <a:pt x="188644" y="32577"/>
                    </a:lnTo>
                    <a:lnTo>
                      <a:pt x="187128" y="31062"/>
                    </a:lnTo>
                    <a:lnTo>
                      <a:pt x="184856" y="30456"/>
                    </a:lnTo>
                    <a:lnTo>
                      <a:pt x="181977" y="30456"/>
                    </a:lnTo>
                    <a:lnTo>
                      <a:pt x="179249" y="31516"/>
                    </a:lnTo>
                    <a:lnTo>
                      <a:pt x="176522" y="33638"/>
                    </a:lnTo>
                    <a:lnTo>
                      <a:pt x="172279" y="34547"/>
                    </a:lnTo>
                    <a:lnTo>
                      <a:pt x="166521" y="34244"/>
                    </a:lnTo>
                    <a:lnTo>
                      <a:pt x="163339" y="33183"/>
                    </a:lnTo>
                    <a:lnTo>
                      <a:pt x="162885" y="31516"/>
                    </a:lnTo>
                    <a:lnTo>
                      <a:pt x="160309" y="29546"/>
                    </a:lnTo>
                    <a:lnTo>
                      <a:pt x="155763" y="27274"/>
                    </a:lnTo>
                    <a:lnTo>
                      <a:pt x="152278" y="27274"/>
                    </a:lnTo>
                    <a:lnTo>
                      <a:pt x="150005" y="29395"/>
                    </a:lnTo>
                    <a:lnTo>
                      <a:pt x="148036" y="30759"/>
                    </a:lnTo>
                    <a:lnTo>
                      <a:pt x="146217" y="31365"/>
                    </a:lnTo>
                    <a:lnTo>
                      <a:pt x="144551" y="31365"/>
                    </a:lnTo>
                    <a:lnTo>
                      <a:pt x="143187" y="31062"/>
                    </a:lnTo>
                    <a:lnTo>
                      <a:pt x="142278" y="30910"/>
                    </a:lnTo>
                    <a:lnTo>
                      <a:pt x="135762" y="30607"/>
                    </a:lnTo>
                    <a:lnTo>
                      <a:pt x="129702" y="30759"/>
                    </a:lnTo>
                    <a:lnTo>
                      <a:pt x="129702" y="30759"/>
                    </a:lnTo>
                    <a:lnTo>
                      <a:pt x="129550" y="35001"/>
                    </a:lnTo>
                    <a:lnTo>
                      <a:pt x="128944" y="38789"/>
                    </a:lnTo>
                    <a:lnTo>
                      <a:pt x="127732" y="41971"/>
                    </a:lnTo>
                    <a:lnTo>
                      <a:pt x="126823" y="43638"/>
                    </a:lnTo>
                    <a:lnTo>
                      <a:pt x="126217" y="43941"/>
                    </a:lnTo>
                    <a:lnTo>
                      <a:pt x="125005" y="44850"/>
                    </a:lnTo>
                    <a:lnTo>
                      <a:pt x="123338" y="46668"/>
                    </a:lnTo>
                    <a:lnTo>
                      <a:pt x="122580" y="47881"/>
                    </a:lnTo>
                    <a:lnTo>
                      <a:pt x="122884" y="48487"/>
                    </a:lnTo>
                    <a:lnTo>
                      <a:pt x="122884" y="50002"/>
                    </a:lnTo>
                    <a:lnTo>
                      <a:pt x="122884" y="52426"/>
                    </a:lnTo>
                    <a:lnTo>
                      <a:pt x="122580" y="53487"/>
                    </a:lnTo>
                    <a:lnTo>
                      <a:pt x="122429" y="53941"/>
                    </a:lnTo>
                    <a:lnTo>
                      <a:pt x="125005" y="60002"/>
                    </a:lnTo>
                    <a:lnTo>
                      <a:pt x="125459" y="63487"/>
                    </a:lnTo>
                    <a:lnTo>
                      <a:pt x="124550" y="66366"/>
                    </a:lnTo>
                    <a:lnTo>
                      <a:pt x="124398" y="68942"/>
                    </a:lnTo>
                    <a:lnTo>
                      <a:pt x="125308" y="71215"/>
                    </a:lnTo>
                    <a:lnTo>
                      <a:pt x="125611" y="73942"/>
                    </a:lnTo>
                    <a:lnTo>
                      <a:pt x="125308" y="77124"/>
                    </a:lnTo>
                    <a:lnTo>
                      <a:pt x="125611" y="79094"/>
                    </a:lnTo>
                    <a:lnTo>
                      <a:pt x="126520" y="80003"/>
                    </a:lnTo>
                    <a:lnTo>
                      <a:pt x="126974" y="82730"/>
                    </a:lnTo>
                    <a:lnTo>
                      <a:pt x="126974" y="84397"/>
                    </a:lnTo>
                    <a:lnTo>
                      <a:pt x="128186" y="85155"/>
                    </a:lnTo>
                    <a:lnTo>
                      <a:pt x="131217" y="87731"/>
                    </a:lnTo>
                    <a:lnTo>
                      <a:pt x="137581" y="94700"/>
                    </a:lnTo>
                    <a:lnTo>
                      <a:pt x="141066" y="99246"/>
                    </a:lnTo>
                    <a:lnTo>
                      <a:pt x="144096" y="103186"/>
                    </a:lnTo>
                    <a:lnTo>
                      <a:pt x="149703" y="110459"/>
                    </a:lnTo>
                    <a:lnTo>
                      <a:pt x="153945" y="116216"/>
                    </a:lnTo>
                    <a:lnTo>
                      <a:pt x="154551" y="121520"/>
                    </a:lnTo>
                    <a:lnTo>
                      <a:pt x="155157" y="122429"/>
                    </a:lnTo>
                    <a:lnTo>
                      <a:pt x="153793" y="126368"/>
                    </a:lnTo>
                    <a:lnTo>
                      <a:pt x="152733" y="132732"/>
                    </a:lnTo>
                    <a:lnTo>
                      <a:pt x="153491" y="136975"/>
                    </a:lnTo>
                    <a:lnTo>
                      <a:pt x="153188" y="144248"/>
                    </a:lnTo>
                    <a:lnTo>
                      <a:pt x="152430" y="152127"/>
                    </a:lnTo>
                    <a:lnTo>
                      <a:pt x="151369" y="154854"/>
                    </a:lnTo>
                    <a:lnTo>
                      <a:pt x="150157" y="155915"/>
                    </a:lnTo>
                    <a:lnTo>
                      <a:pt x="147127" y="156672"/>
                    </a:lnTo>
                    <a:lnTo>
                      <a:pt x="140611" y="157733"/>
                    </a:lnTo>
                    <a:lnTo>
                      <a:pt x="139551" y="158642"/>
                    </a:lnTo>
                    <a:lnTo>
                      <a:pt x="138793" y="160157"/>
                    </a:lnTo>
                    <a:lnTo>
                      <a:pt x="137429" y="163642"/>
                    </a:lnTo>
                    <a:lnTo>
                      <a:pt x="135762" y="167279"/>
                    </a:lnTo>
                    <a:lnTo>
                      <a:pt x="135308" y="168794"/>
                    </a:lnTo>
                    <a:lnTo>
                      <a:pt x="135611" y="169249"/>
                    </a:lnTo>
                    <a:lnTo>
                      <a:pt x="137126" y="171067"/>
                    </a:lnTo>
                    <a:lnTo>
                      <a:pt x="138490" y="175764"/>
                    </a:lnTo>
                    <a:lnTo>
                      <a:pt x="138641" y="183946"/>
                    </a:lnTo>
                    <a:lnTo>
                      <a:pt x="138187" y="184401"/>
                    </a:lnTo>
                    <a:lnTo>
                      <a:pt x="136217" y="184855"/>
                    </a:lnTo>
                    <a:lnTo>
                      <a:pt x="134248" y="184704"/>
                    </a:lnTo>
                    <a:lnTo>
                      <a:pt x="133338" y="184249"/>
                    </a:lnTo>
                    <a:lnTo>
                      <a:pt x="132581" y="183340"/>
                    </a:lnTo>
                    <a:lnTo>
                      <a:pt x="131974" y="181673"/>
                    </a:lnTo>
                    <a:lnTo>
                      <a:pt x="133338" y="180461"/>
                    </a:lnTo>
                    <a:lnTo>
                      <a:pt x="133793" y="178340"/>
                    </a:lnTo>
                    <a:lnTo>
                      <a:pt x="132884" y="176522"/>
                    </a:lnTo>
                    <a:lnTo>
                      <a:pt x="131217" y="176067"/>
                    </a:lnTo>
                    <a:lnTo>
                      <a:pt x="128944" y="174400"/>
                    </a:lnTo>
                    <a:lnTo>
                      <a:pt x="124096" y="169097"/>
                    </a:lnTo>
                    <a:lnTo>
                      <a:pt x="120156" y="165309"/>
                    </a:lnTo>
                    <a:lnTo>
                      <a:pt x="117883" y="162127"/>
                    </a:lnTo>
                    <a:lnTo>
                      <a:pt x="115459" y="160915"/>
                    </a:lnTo>
                    <a:lnTo>
                      <a:pt x="114853" y="160157"/>
                    </a:lnTo>
                    <a:lnTo>
                      <a:pt x="114247" y="158794"/>
                    </a:lnTo>
                    <a:lnTo>
                      <a:pt x="114247" y="156824"/>
                    </a:lnTo>
                    <a:lnTo>
                      <a:pt x="114398" y="155460"/>
                    </a:lnTo>
                    <a:lnTo>
                      <a:pt x="113641" y="153945"/>
                    </a:lnTo>
                    <a:lnTo>
                      <a:pt x="111368" y="151369"/>
                    </a:lnTo>
                    <a:lnTo>
                      <a:pt x="110155" y="150157"/>
                    </a:lnTo>
                    <a:lnTo>
                      <a:pt x="110155" y="148490"/>
                    </a:lnTo>
                    <a:lnTo>
                      <a:pt x="111216" y="146975"/>
                    </a:lnTo>
                    <a:lnTo>
                      <a:pt x="113186" y="145005"/>
                    </a:lnTo>
                    <a:lnTo>
                      <a:pt x="114701" y="141217"/>
                    </a:lnTo>
                    <a:lnTo>
                      <a:pt x="115308" y="138642"/>
                    </a:lnTo>
                    <a:lnTo>
                      <a:pt x="118186" y="133641"/>
                    </a:lnTo>
                    <a:lnTo>
                      <a:pt x="118641" y="129247"/>
                    </a:lnTo>
                    <a:lnTo>
                      <a:pt x="118641" y="125762"/>
                    </a:lnTo>
                    <a:lnTo>
                      <a:pt x="118489" y="123186"/>
                    </a:lnTo>
                    <a:lnTo>
                      <a:pt x="117731" y="117883"/>
                    </a:lnTo>
                    <a:lnTo>
                      <a:pt x="117277" y="114247"/>
                    </a:lnTo>
                    <a:lnTo>
                      <a:pt x="113641" y="109398"/>
                    </a:lnTo>
                    <a:lnTo>
                      <a:pt x="112429" y="108943"/>
                    </a:lnTo>
                    <a:lnTo>
                      <a:pt x="109095" y="109398"/>
                    </a:lnTo>
                    <a:lnTo>
                      <a:pt x="106216" y="110004"/>
                    </a:lnTo>
                    <a:lnTo>
                      <a:pt x="104701" y="111065"/>
                    </a:lnTo>
                    <a:lnTo>
                      <a:pt x="102579" y="111065"/>
                    </a:lnTo>
                    <a:lnTo>
                      <a:pt x="96822" y="111974"/>
                    </a:lnTo>
                    <a:lnTo>
                      <a:pt x="95155" y="112277"/>
                    </a:lnTo>
                    <a:lnTo>
                      <a:pt x="94094" y="113186"/>
                    </a:lnTo>
                    <a:lnTo>
                      <a:pt x="93489" y="113337"/>
                    </a:lnTo>
                    <a:lnTo>
                      <a:pt x="89852" y="109701"/>
                    </a:lnTo>
                    <a:lnTo>
                      <a:pt x="86670" y="105610"/>
                    </a:lnTo>
                    <a:lnTo>
                      <a:pt x="82730" y="98792"/>
                    </a:lnTo>
                    <a:lnTo>
                      <a:pt x="81518" y="98034"/>
                    </a:lnTo>
                    <a:lnTo>
                      <a:pt x="75760" y="100004"/>
                    </a:lnTo>
                    <a:lnTo>
                      <a:pt x="72579" y="101064"/>
                    </a:lnTo>
                    <a:lnTo>
                      <a:pt x="63790" y="103943"/>
                    </a:lnTo>
                    <a:lnTo>
                      <a:pt x="56214" y="106519"/>
                    </a:lnTo>
                    <a:lnTo>
                      <a:pt x="54093" y="107125"/>
                    </a:lnTo>
                    <a:lnTo>
                      <a:pt x="50153" y="108337"/>
                    </a:lnTo>
                    <a:lnTo>
                      <a:pt x="48183" y="109095"/>
                    </a:lnTo>
                    <a:lnTo>
                      <a:pt x="41214" y="111368"/>
                    </a:lnTo>
                    <a:lnTo>
                      <a:pt x="38335" y="112580"/>
                    </a:lnTo>
                    <a:lnTo>
                      <a:pt x="36062" y="113641"/>
                    </a:lnTo>
                    <a:lnTo>
                      <a:pt x="30304" y="115307"/>
                    </a:lnTo>
                    <a:lnTo>
                      <a:pt x="24850" y="116823"/>
                    </a:lnTo>
                    <a:lnTo>
                      <a:pt x="18940" y="118489"/>
                    </a:lnTo>
                    <a:lnTo>
                      <a:pt x="12425" y="120307"/>
                    </a:lnTo>
                    <a:lnTo>
                      <a:pt x="8637" y="121671"/>
                    </a:lnTo>
                    <a:lnTo>
                      <a:pt x="6212" y="122732"/>
                    </a:lnTo>
                    <a:lnTo>
                      <a:pt x="303" y="125156"/>
                    </a:lnTo>
                    <a:lnTo>
                      <a:pt x="0" y="125611"/>
                    </a:lnTo>
                    <a:lnTo>
                      <a:pt x="152" y="127278"/>
                    </a:lnTo>
                    <a:lnTo>
                      <a:pt x="909" y="130459"/>
                    </a:lnTo>
                    <a:lnTo>
                      <a:pt x="2273" y="133338"/>
                    </a:lnTo>
                    <a:lnTo>
                      <a:pt x="3485" y="135156"/>
                    </a:lnTo>
                    <a:lnTo>
                      <a:pt x="4394" y="139399"/>
                    </a:lnTo>
                    <a:lnTo>
                      <a:pt x="4849" y="143339"/>
                    </a:lnTo>
                    <a:lnTo>
                      <a:pt x="4849" y="147733"/>
                    </a:lnTo>
                    <a:lnTo>
                      <a:pt x="5152" y="152581"/>
                    </a:lnTo>
                    <a:lnTo>
                      <a:pt x="5910" y="153036"/>
                    </a:lnTo>
                    <a:lnTo>
                      <a:pt x="11212" y="153187"/>
                    </a:lnTo>
                    <a:lnTo>
                      <a:pt x="19698" y="153491"/>
                    </a:lnTo>
                    <a:lnTo>
                      <a:pt x="27728" y="153945"/>
                    </a:lnTo>
                    <a:lnTo>
                      <a:pt x="33031" y="157430"/>
                    </a:lnTo>
                    <a:lnTo>
                      <a:pt x="34698" y="158188"/>
                    </a:lnTo>
                    <a:lnTo>
                      <a:pt x="40153" y="159248"/>
                    </a:lnTo>
                    <a:lnTo>
                      <a:pt x="46972" y="165158"/>
                    </a:lnTo>
                    <a:lnTo>
                      <a:pt x="55305" y="165764"/>
                    </a:lnTo>
                    <a:lnTo>
                      <a:pt x="61063" y="167582"/>
                    </a:lnTo>
                    <a:lnTo>
                      <a:pt x="66063" y="169703"/>
                    </a:lnTo>
                    <a:lnTo>
                      <a:pt x="68942" y="172128"/>
                    </a:lnTo>
                    <a:lnTo>
                      <a:pt x="70912" y="172734"/>
                    </a:lnTo>
                    <a:lnTo>
                      <a:pt x="73336" y="172885"/>
                    </a:lnTo>
                    <a:lnTo>
                      <a:pt x="74548" y="173037"/>
                    </a:lnTo>
                    <a:lnTo>
                      <a:pt x="74397" y="174855"/>
                    </a:lnTo>
                    <a:lnTo>
                      <a:pt x="72730" y="177885"/>
                    </a:lnTo>
                    <a:lnTo>
                      <a:pt x="72881" y="182279"/>
                    </a:lnTo>
                    <a:lnTo>
                      <a:pt x="75154" y="188189"/>
                    </a:lnTo>
                    <a:lnTo>
                      <a:pt x="75458" y="193341"/>
                    </a:lnTo>
                    <a:lnTo>
                      <a:pt x="74851" y="202583"/>
                    </a:lnTo>
                    <a:lnTo>
                      <a:pt x="74851" y="211523"/>
                    </a:lnTo>
                    <a:lnTo>
                      <a:pt x="75003" y="214705"/>
                    </a:lnTo>
                    <a:lnTo>
                      <a:pt x="75458" y="216826"/>
                    </a:lnTo>
                    <a:lnTo>
                      <a:pt x="75912" y="218038"/>
                    </a:lnTo>
                    <a:lnTo>
                      <a:pt x="75912" y="219250"/>
                    </a:lnTo>
                    <a:lnTo>
                      <a:pt x="74397" y="223038"/>
                    </a:lnTo>
                    <a:lnTo>
                      <a:pt x="73336" y="226978"/>
                    </a:lnTo>
                    <a:lnTo>
                      <a:pt x="73336" y="228493"/>
                    </a:lnTo>
                    <a:lnTo>
                      <a:pt x="72881" y="229705"/>
                    </a:lnTo>
                    <a:lnTo>
                      <a:pt x="72124" y="230614"/>
                    </a:lnTo>
                    <a:lnTo>
                      <a:pt x="68487" y="232433"/>
                    </a:lnTo>
                    <a:lnTo>
                      <a:pt x="67881" y="233645"/>
                    </a:lnTo>
                    <a:lnTo>
                      <a:pt x="67881" y="235615"/>
                    </a:lnTo>
                    <a:lnTo>
                      <a:pt x="68336" y="237433"/>
                    </a:lnTo>
                    <a:lnTo>
                      <a:pt x="69700" y="238039"/>
                    </a:lnTo>
                    <a:lnTo>
                      <a:pt x="71215" y="238948"/>
                    </a:lnTo>
                    <a:lnTo>
                      <a:pt x="71972" y="240312"/>
                    </a:lnTo>
                    <a:lnTo>
                      <a:pt x="71972" y="241675"/>
                    </a:lnTo>
                    <a:lnTo>
                      <a:pt x="71366" y="244100"/>
                    </a:lnTo>
                    <a:lnTo>
                      <a:pt x="70003" y="248342"/>
                    </a:lnTo>
                    <a:lnTo>
                      <a:pt x="71366" y="253039"/>
                    </a:lnTo>
                    <a:lnTo>
                      <a:pt x="73033" y="256222"/>
                    </a:lnTo>
                    <a:lnTo>
                      <a:pt x="75306" y="259858"/>
                    </a:lnTo>
                    <a:lnTo>
                      <a:pt x="76215" y="261979"/>
                    </a:lnTo>
                    <a:lnTo>
                      <a:pt x="76215" y="263646"/>
                    </a:lnTo>
                    <a:lnTo>
                      <a:pt x="75912" y="265161"/>
                    </a:lnTo>
                    <a:lnTo>
                      <a:pt x="72427" y="271677"/>
                    </a:lnTo>
                    <a:lnTo>
                      <a:pt x="70003" y="275768"/>
                    </a:lnTo>
                    <a:lnTo>
                      <a:pt x="67124" y="280162"/>
                    </a:lnTo>
                    <a:lnTo>
                      <a:pt x="63184" y="282889"/>
                    </a:lnTo>
                    <a:lnTo>
                      <a:pt x="62124" y="284253"/>
                    </a:lnTo>
                    <a:lnTo>
                      <a:pt x="61820" y="285768"/>
                    </a:lnTo>
                    <a:lnTo>
                      <a:pt x="61820" y="289101"/>
                    </a:lnTo>
                    <a:lnTo>
                      <a:pt x="61669" y="292586"/>
                    </a:lnTo>
                    <a:lnTo>
                      <a:pt x="58336" y="297890"/>
                    </a:lnTo>
                    <a:lnTo>
                      <a:pt x="60457" y="302435"/>
                    </a:lnTo>
                    <a:lnTo>
                      <a:pt x="60002" y="302738"/>
                    </a:lnTo>
                    <a:lnTo>
                      <a:pt x="58790" y="303496"/>
                    </a:lnTo>
                    <a:lnTo>
                      <a:pt x="53941" y="308648"/>
                    </a:lnTo>
                    <a:lnTo>
                      <a:pt x="49093" y="313799"/>
                    </a:lnTo>
                    <a:lnTo>
                      <a:pt x="45608" y="317587"/>
                    </a:lnTo>
                    <a:lnTo>
                      <a:pt x="41517" y="321981"/>
                    </a:lnTo>
                    <a:lnTo>
                      <a:pt x="36971" y="326830"/>
                    </a:lnTo>
                    <a:lnTo>
                      <a:pt x="33031" y="330921"/>
                    </a:lnTo>
                    <a:lnTo>
                      <a:pt x="29243" y="333952"/>
                    </a:lnTo>
                    <a:lnTo>
                      <a:pt x="29395" y="335467"/>
                    </a:lnTo>
                    <a:lnTo>
                      <a:pt x="29547" y="336073"/>
                    </a:lnTo>
                    <a:lnTo>
                      <a:pt x="30910" y="340012"/>
                    </a:lnTo>
                    <a:lnTo>
                      <a:pt x="32729" y="346073"/>
                    </a:lnTo>
                    <a:lnTo>
                      <a:pt x="34092" y="351528"/>
                    </a:lnTo>
                    <a:lnTo>
                      <a:pt x="35910" y="359104"/>
                    </a:lnTo>
                    <a:lnTo>
                      <a:pt x="35759" y="363195"/>
                    </a:lnTo>
                    <a:lnTo>
                      <a:pt x="36214" y="364862"/>
                    </a:lnTo>
                    <a:lnTo>
                      <a:pt x="37880" y="366983"/>
                    </a:lnTo>
                    <a:lnTo>
                      <a:pt x="39850" y="370468"/>
                    </a:lnTo>
                    <a:lnTo>
                      <a:pt x="40456" y="372438"/>
                    </a:lnTo>
                    <a:lnTo>
                      <a:pt x="41062" y="373801"/>
                    </a:lnTo>
                    <a:lnTo>
                      <a:pt x="43184" y="376680"/>
                    </a:lnTo>
                    <a:lnTo>
                      <a:pt x="44850" y="380923"/>
                    </a:lnTo>
                    <a:lnTo>
                      <a:pt x="46214" y="386529"/>
                    </a:lnTo>
                    <a:lnTo>
                      <a:pt x="47274" y="389257"/>
                    </a:lnTo>
                    <a:lnTo>
                      <a:pt x="47729" y="390620"/>
                    </a:lnTo>
                    <a:lnTo>
                      <a:pt x="48335" y="393045"/>
                    </a:lnTo>
                    <a:lnTo>
                      <a:pt x="48183" y="398196"/>
                    </a:lnTo>
                    <a:lnTo>
                      <a:pt x="48183" y="404106"/>
                    </a:lnTo>
                    <a:lnTo>
                      <a:pt x="48335" y="410773"/>
                    </a:lnTo>
                    <a:lnTo>
                      <a:pt x="48335" y="416379"/>
                    </a:lnTo>
                    <a:lnTo>
                      <a:pt x="48183" y="419106"/>
                    </a:lnTo>
                    <a:lnTo>
                      <a:pt x="48335" y="426985"/>
                    </a:lnTo>
                    <a:lnTo>
                      <a:pt x="46517" y="431076"/>
                    </a:lnTo>
                    <a:lnTo>
                      <a:pt x="46668" y="434410"/>
                    </a:lnTo>
                    <a:lnTo>
                      <a:pt x="47274" y="436531"/>
                    </a:lnTo>
                    <a:lnTo>
                      <a:pt x="47881" y="436986"/>
                    </a:lnTo>
                    <a:lnTo>
                      <a:pt x="50305" y="438198"/>
                    </a:lnTo>
                    <a:lnTo>
                      <a:pt x="50608" y="440925"/>
                    </a:lnTo>
                    <a:lnTo>
                      <a:pt x="50305" y="443956"/>
                    </a:lnTo>
                    <a:lnTo>
                      <a:pt x="49850" y="445925"/>
                    </a:lnTo>
                    <a:lnTo>
                      <a:pt x="50002" y="447895"/>
                    </a:lnTo>
                    <a:lnTo>
                      <a:pt x="50760" y="450774"/>
                    </a:lnTo>
                    <a:lnTo>
                      <a:pt x="51517" y="452895"/>
                    </a:lnTo>
                    <a:lnTo>
                      <a:pt x="51820" y="462290"/>
                    </a:lnTo>
                    <a:lnTo>
                      <a:pt x="54093" y="461987"/>
                    </a:lnTo>
                    <a:lnTo>
                      <a:pt x="58336" y="462896"/>
                    </a:lnTo>
                    <a:lnTo>
                      <a:pt x="61820" y="462744"/>
                    </a:lnTo>
                    <a:lnTo>
                      <a:pt x="64851" y="462744"/>
                    </a:lnTo>
                    <a:lnTo>
                      <a:pt x="70003" y="462593"/>
                    </a:lnTo>
                    <a:lnTo>
                      <a:pt x="72881" y="462593"/>
                    </a:lnTo>
                    <a:lnTo>
                      <a:pt x="73033" y="461987"/>
                    </a:lnTo>
                    <a:lnTo>
                      <a:pt x="74245" y="445016"/>
                    </a:lnTo>
                    <a:lnTo>
                      <a:pt x="74851" y="440168"/>
                    </a:lnTo>
                    <a:lnTo>
                      <a:pt x="73791" y="440319"/>
                    </a:lnTo>
                    <a:lnTo>
                      <a:pt x="73184" y="441531"/>
                    </a:lnTo>
                    <a:lnTo>
                      <a:pt x="71972" y="445471"/>
                    </a:lnTo>
                    <a:lnTo>
                      <a:pt x="70609" y="444713"/>
                    </a:lnTo>
                    <a:lnTo>
                      <a:pt x="69700" y="443653"/>
                    </a:lnTo>
                    <a:lnTo>
                      <a:pt x="67881" y="442289"/>
                    </a:lnTo>
                    <a:lnTo>
                      <a:pt x="66366" y="440471"/>
                    </a:lnTo>
                    <a:lnTo>
                      <a:pt x="64851" y="437895"/>
                    </a:lnTo>
                    <a:lnTo>
                      <a:pt x="66669" y="434864"/>
                    </a:lnTo>
                    <a:lnTo>
                      <a:pt x="68487" y="432440"/>
                    </a:lnTo>
                    <a:lnTo>
                      <a:pt x="70306" y="427440"/>
                    </a:lnTo>
                    <a:lnTo>
                      <a:pt x="75003" y="422894"/>
                    </a:lnTo>
                    <a:lnTo>
                      <a:pt x="85609" y="416227"/>
                    </a:lnTo>
                    <a:lnTo>
                      <a:pt x="90610" y="414106"/>
                    </a:lnTo>
                    <a:lnTo>
                      <a:pt x="98943" y="410621"/>
                    </a:lnTo>
                    <a:lnTo>
                      <a:pt x="120005" y="403500"/>
                    </a:lnTo>
                    <a:lnTo>
                      <a:pt x="130611" y="398499"/>
                    </a:lnTo>
                    <a:lnTo>
                      <a:pt x="135005" y="395469"/>
                    </a:lnTo>
                    <a:lnTo>
                      <a:pt x="137732" y="392136"/>
                    </a:lnTo>
                    <a:lnTo>
                      <a:pt x="142733" y="384711"/>
                    </a:lnTo>
                    <a:lnTo>
                      <a:pt x="144096" y="381681"/>
                    </a:lnTo>
                    <a:lnTo>
                      <a:pt x="145612" y="374711"/>
                    </a:lnTo>
                    <a:lnTo>
                      <a:pt x="145005" y="373650"/>
                    </a:lnTo>
                    <a:lnTo>
                      <a:pt x="144096" y="373650"/>
                    </a:lnTo>
                    <a:lnTo>
                      <a:pt x="143339" y="375468"/>
                    </a:lnTo>
                    <a:lnTo>
                      <a:pt x="141672" y="375165"/>
                    </a:lnTo>
                    <a:lnTo>
                      <a:pt x="140914" y="373953"/>
                    </a:lnTo>
                    <a:lnTo>
                      <a:pt x="141066" y="371377"/>
                    </a:lnTo>
                    <a:lnTo>
                      <a:pt x="144248" y="356377"/>
                    </a:lnTo>
                    <a:lnTo>
                      <a:pt x="146521" y="350013"/>
                    </a:lnTo>
                    <a:lnTo>
                      <a:pt x="144551" y="344558"/>
                    </a:lnTo>
                    <a:lnTo>
                      <a:pt x="144248" y="341225"/>
                    </a:lnTo>
                    <a:lnTo>
                      <a:pt x="145612" y="333194"/>
                    </a:lnTo>
                    <a:lnTo>
                      <a:pt x="145612" y="331073"/>
                    </a:lnTo>
                    <a:lnTo>
                      <a:pt x="145308" y="329557"/>
                    </a:lnTo>
                    <a:lnTo>
                      <a:pt x="144551" y="327891"/>
                    </a:lnTo>
                    <a:lnTo>
                      <a:pt x="144248" y="325921"/>
                    </a:lnTo>
                    <a:lnTo>
                      <a:pt x="143187" y="325769"/>
                    </a:lnTo>
                    <a:lnTo>
                      <a:pt x="142278" y="327436"/>
                    </a:lnTo>
                    <a:lnTo>
                      <a:pt x="141672" y="331527"/>
                    </a:lnTo>
                    <a:lnTo>
                      <a:pt x="141975" y="333952"/>
                    </a:lnTo>
                    <a:lnTo>
                      <a:pt x="141217" y="335467"/>
                    </a:lnTo>
                    <a:lnTo>
                      <a:pt x="139399" y="333800"/>
                    </a:lnTo>
                    <a:lnTo>
                      <a:pt x="139702" y="329861"/>
                    </a:lnTo>
                    <a:lnTo>
                      <a:pt x="139702" y="323497"/>
                    </a:lnTo>
                    <a:lnTo>
                      <a:pt x="138187" y="315618"/>
                    </a:lnTo>
                    <a:lnTo>
                      <a:pt x="138036" y="312436"/>
                    </a:lnTo>
                    <a:lnTo>
                      <a:pt x="134248" y="305163"/>
                    </a:lnTo>
                    <a:lnTo>
                      <a:pt x="133944" y="299556"/>
                    </a:lnTo>
                    <a:lnTo>
                      <a:pt x="130308" y="288496"/>
                    </a:lnTo>
                    <a:lnTo>
                      <a:pt x="127429" y="284556"/>
                    </a:lnTo>
                    <a:lnTo>
                      <a:pt x="124398" y="281525"/>
                    </a:lnTo>
                    <a:lnTo>
                      <a:pt x="122732" y="278950"/>
                    </a:lnTo>
                    <a:lnTo>
                      <a:pt x="122580" y="276980"/>
                    </a:lnTo>
                    <a:lnTo>
                      <a:pt x="123944" y="268192"/>
                    </a:lnTo>
                    <a:lnTo>
                      <a:pt x="123793" y="263646"/>
                    </a:lnTo>
                    <a:lnTo>
                      <a:pt x="124096" y="260464"/>
                    </a:lnTo>
                    <a:lnTo>
                      <a:pt x="122884" y="258949"/>
                    </a:lnTo>
                    <a:lnTo>
                      <a:pt x="121217" y="257131"/>
                    </a:lnTo>
                    <a:lnTo>
                      <a:pt x="123186" y="257282"/>
                    </a:lnTo>
                    <a:lnTo>
                      <a:pt x="126672" y="260464"/>
                    </a:lnTo>
                    <a:lnTo>
                      <a:pt x="127732" y="260464"/>
                    </a:lnTo>
                    <a:lnTo>
                      <a:pt x="129399" y="260313"/>
                    </a:lnTo>
                    <a:lnTo>
                      <a:pt x="140763" y="251221"/>
                    </a:lnTo>
                    <a:lnTo>
                      <a:pt x="148642" y="241979"/>
                    </a:lnTo>
                    <a:lnTo>
                      <a:pt x="154097" y="237130"/>
                    </a:lnTo>
                    <a:lnTo>
                      <a:pt x="157582" y="234857"/>
                    </a:lnTo>
                    <a:lnTo>
                      <a:pt x="161521" y="232887"/>
                    </a:lnTo>
                    <a:lnTo>
                      <a:pt x="163188" y="233645"/>
                    </a:lnTo>
                    <a:lnTo>
                      <a:pt x="164552" y="233493"/>
                    </a:lnTo>
                    <a:lnTo>
                      <a:pt x="165309" y="229402"/>
                    </a:lnTo>
                    <a:lnTo>
                      <a:pt x="167127" y="231524"/>
                    </a:lnTo>
                    <a:lnTo>
                      <a:pt x="169249" y="230766"/>
                    </a:lnTo>
                    <a:lnTo>
                      <a:pt x="169400" y="228645"/>
                    </a:lnTo>
                    <a:lnTo>
                      <a:pt x="171825" y="225311"/>
                    </a:lnTo>
                    <a:lnTo>
                      <a:pt x="172885" y="223796"/>
                    </a:lnTo>
                    <a:lnTo>
                      <a:pt x="178794" y="217887"/>
                    </a:lnTo>
                    <a:lnTo>
                      <a:pt x="182734" y="212887"/>
                    </a:lnTo>
                    <a:lnTo>
                      <a:pt x="183340" y="211371"/>
                    </a:lnTo>
                    <a:lnTo>
                      <a:pt x="183795" y="208947"/>
                    </a:lnTo>
                    <a:lnTo>
                      <a:pt x="185461" y="207432"/>
                    </a:lnTo>
                    <a:lnTo>
                      <a:pt x="186825" y="206674"/>
                    </a:lnTo>
                    <a:lnTo>
                      <a:pt x="192128" y="201826"/>
                    </a:lnTo>
                    <a:lnTo>
                      <a:pt x="199553" y="197129"/>
                    </a:lnTo>
                    <a:lnTo>
                      <a:pt x="208493" y="192128"/>
                    </a:lnTo>
                    <a:lnTo>
                      <a:pt x="214099" y="190159"/>
                    </a:lnTo>
                    <a:lnTo>
                      <a:pt x="215160" y="188946"/>
                    </a:lnTo>
                    <a:lnTo>
                      <a:pt x="216826" y="187886"/>
                    </a:lnTo>
                    <a:lnTo>
                      <a:pt x="223341" y="185916"/>
                    </a:lnTo>
                    <a:lnTo>
                      <a:pt x="230160" y="183340"/>
                    </a:lnTo>
                    <a:lnTo>
                      <a:pt x="231221" y="182582"/>
                    </a:lnTo>
                    <a:lnTo>
                      <a:pt x="232433" y="182431"/>
                    </a:lnTo>
                    <a:lnTo>
                      <a:pt x="233645" y="182734"/>
                    </a:lnTo>
                    <a:lnTo>
                      <a:pt x="237130" y="182279"/>
                    </a:lnTo>
                    <a:lnTo>
                      <a:pt x="238948" y="181219"/>
                    </a:lnTo>
                    <a:lnTo>
                      <a:pt x="242585" y="180461"/>
                    </a:lnTo>
                    <a:lnTo>
                      <a:pt x="245161" y="176673"/>
                    </a:lnTo>
                    <a:lnTo>
                      <a:pt x="246827" y="175310"/>
                    </a:lnTo>
                    <a:lnTo>
                      <a:pt x="257282" y="169400"/>
                    </a:lnTo>
                    <a:lnTo>
                      <a:pt x="261070" y="166218"/>
                    </a:lnTo>
                    <a:lnTo>
                      <a:pt x="263343" y="165309"/>
                    </a:lnTo>
                    <a:lnTo>
                      <a:pt x="261828" y="161370"/>
                    </a:lnTo>
                    <a:lnTo>
                      <a:pt x="263798" y="160309"/>
                    </a:lnTo>
                    <a:lnTo>
                      <a:pt x="267131" y="159551"/>
                    </a:lnTo>
                    <a:lnTo>
                      <a:pt x="270313" y="155006"/>
                    </a:lnTo>
                    <a:lnTo>
                      <a:pt x="270616" y="153945"/>
                    </a:lnTo>
                    <a:lnTo>
                      <a:pt x="270616" y="152581"/>
                    </a:lnTo>
                    <a:lnTo>
                      <a:pt x="273192" y="149551"/>
                    </a:lnTo>
                    <a:lnTo>
                      <a:pt x="276223" y="146672"/>
                    </a:lnTo>
                    <a:lnTo>
                      <a:pt x="282889" y="138490"/>
                    </a:lnTo>
                    <a:lnTo>
                      <a:pt x="285313" y="132581"/>
                    </a:lnTo>
                    <a:lnTo>
                      <a:pt x="285465" y="130762"/>
                    </a:lnTo>
                    <a:lnTo>
                      <a:pt x="284404" y="128641"/>
                    </a:lnTo>
                    <a:lnTo>
                      <a:pt x="285162" y="127732"/>
                    </a:lnTo>
                    <a:lnTo>
                      <a:pt x="286526" y="127126"/>
                    </a:lnTo>
                    <a:lnTo>
                      <a:pt x="286374" y="125762"/>
                    </a:lnTo>
                    <a:lnTo>
                      <a:pt x="286678" y="123489"/>
                    </a:lnTo>
                    <a:lnTo>
                      <a:pt x="288799" y="121065"/>
                    </a:lnTo>
                    <a:lnTo>
                      <a:pt x="290466" y="119550"/>
                    </a:lnTo>
                    <a:lnTo>
                      <a:pt x="290617" y="1175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7" name="Freeform: Shape 3206">
                <a:extLst>
                  <a:ext uri="{FF2B5EF4-FFF2-40B4-BE49-F238E27FC236}">
                    <a16:creationId xmlns:a16="http://schemas.microsoft.com/office/drawing/2014/main" id="{1213E070-E296-4FD3-863B-0DF583EA2FAB}"/>
                  </a:ext>
                </a:extLst>
              </p:cNvPr>
              <p:cNvSpPr/>
              <p:nvPr/>
            </p:nvSpPr>
            <p:spPr>
              <a:xfrm>
                <a:off x="8299263" y="3765600"/>
                <a:ext cx="245008" cy="527140"/>
              </a:xfrm>
              <a:custGeom>
                <a:avLst/>
                <a:gdLst>
                  <a:gd name="connsiteX0" fmla="*/ 161370 w 245008"/>
                  <a:gd name="connsiteY0" fmla="*/ 477290 h 527140"/>
                  <a:gd name="connsiteX1" fmla="*/ 161521 w 245008"/>
                  <a:gd name="connsiteY1" fmla="*/ 476229 h 527140"/>
                  <a:gd name="connsiteX2" fmla="*/ 160915 w 245008"/>
                  <a:gd name="connsiteY2" fmla="*/ 475623 h 527140"/>
                  <a:gd name="connsiteX3" fmla="*/ 159551 w 245008"/>
                  <a:gd name="connsiteY3" fmla="*/ 472744 h 527140"/>
                  <a:gd name="connsiteX4" fmla="*/ 159854 w 245008"/>
                  <a:gd name="connsiteY4" fmla="*/ 477290 h 527140"/>
                  <a:gd name="connsiteX5" fmla="*/ 161521 w 245008"/>
                  <a:gd name="connsiteY5" fmla="*/ 478957 h 527140"/>
                  <a:gd name="connsiteX6" fmla="*/ 161370 w 245008"/>
                  <a:gd name="connsiteY6" fmla="*/ 477290 h 527140"/>
                  <a:gd name="connsiteX7" fmla="*/ 162582 w 245008"/>
                  <a:gd name="connsiteY7" fmla="*/ 461077 h 527140"/>
                  <a:gd name="connsiteX8" fmla="*/ 162127 w 245008"/>
                  <a:gd name="connsiteY8" fmla="*/ 460774 h 527140"/>
                  <a:gd name="connsiteX9" fmla="*/ 161218 w 245008"/>
                  <a:gd name="connsiteY9" fmla="*/ 460623 h 527140"/>
                  <a:gd name="connsiteX10" fmla="*/ 160763 w 245008"/>
                  <a:gd name="connsiteY10" fmla="*/ 460926 h 527140"/>
                  <a:gd name="connsiteX11" fmla="*/ 160158 w 245008"/>
                  <a:gd name="connsiteY11" fmla="*/ 462290 h 527140"/>
                  <a:gd name="connsiteX12" fmla="*/ 161218 w 245008"/>
                  <a:gd name="connsiteY12" fmla="*/ 464108 h 527140"/>
                  <a:gd name="connsiteX13" fmla="*/ 162127 w 245008"/>
                  <a:gd name="connsiteY13" fmla="*/ 464562 h 527140"/>
                  <a:gd name="connsiteX14" fmla="*/ 162582 w 245008"/>
                  <a:gd name="connsiteY14" fmla="*/ 464714 h 527140"/>
                  <a:gd name="connsiteX15" fmla="*/ 162885 w 245008"/>
                  <a:gd name="connsiteY15" fmla="*/ 464562 h 527140"/>
                  <a:gd name="connsiteX16" fmla="*/ 162430 w 245008"/>
                  <a:gd name="connsiteY16" fmla="*/ 463502 h 527140"/>
                  <a:gd name="connsiteX17" fmla="*/ 162430 w 245008"/>
                  <a:gd name="connsiteY17" fmla="*/ 462593 h 527140"/>
                  <a:gd name="connsiteX18" fmla="*/ 162733 w 245008"/>
                  <a:gd name="connsiteY18" fmla="*/ 461532 h 527140"/>
                  <a:gd name="connsiteX19" fmla="*/ 162582 w 245008"/>
                  <a:gd name="connsiteY19" fmla="*/ 461077 h 527140"/>
                  <a:gd name="connsiteX20" fmla="*/ 161067 w 245008"/>
                  <a:gd name="connsiteY20" fmla="*/ 458047 h 527140"/>
                  <a:gd name="connsiteX21" fmla="*/ 160915 w 245008"/>
                  <a:gd name="connsiteY21" fmla="*/ 457896 h 527140"/>
                  <a:gd name="connsiteX22" fmla="*/ 160460 w 245008"/>
                  <a:gd name="connsiteY22" fmla="*/ 458198 h 527140"/>
                  <a:gd name="connsiteX23" fmla="*/ 158945 w 245008"/>
                  <a:gd name="connsiteY23" fmla="*/ 458047 h 527140"/>
                  <a:gd name="connsiteX24" fmla="*/ 157582 w 245008"/>
                  <a:gd name="connsiteY24" fmla="*/ 459411 h 527140"/>
                  <a:gd name="connsiteX25" fmla="*/ 157884 w 245008"/>
                  <a:gd name="connsiteY25" fmla="*/ 460017 h 527140"/>
                  <a:gd name="connsiteX26" fmla="*/ 159248 w 245008"/>
                  <a:gd name="connsiteY26" fmla="*/ 461229 h 527140"/>
                  <a:gd name="connsiteX27" fmla="*/ 160763 w 245008"/>
                  <a:gd name="connsiteY27" fmla="*/ 459108 h 527140"/>
                  <a:gd name="connsiteX28" fmla="*/ 161067 w 245008"/>
                  <a:gd name="connsiteY28" fmla="*/ 458047 h 527140"/>
                  <a:gd name="connsiteX29" fmla="*/ 148339 w 245008"/>
                  <a:gd name="connsiteY29" fmla="*/ 345922 h 527140"/>
                  <a:gd name="connsiteX30" fmla="*/ 148187 w 245008"/>
                  <a:gd name="connsiteY30" fmla="*/ 345013 h 527140"/>
                  <a:gd name="connsiteX31" fmla="*/ 147733 w 245008"/>
                  <a:gd name="connsiteY31" fmla="*/ 344255 h 527140"/>
                  <a:gd name="connsiteX32" fmla="*/ 146672 w 245008"/>
                  <a:gd name="connsiteY32" fmla="*/ 343649 h 527140"/>
                  <a:gd name="connsiteX33" fmla="*/ 145915 w 245008"/>
                  <a:gd name="connsiteY33" fmla="*/ 343952 h 527140"/>
                  <a:gd name="connsiteX34" fmla="*/ 144551 w 245008"/>
                  <a:gd name="connsiteY34" fmla="*/ 345013 h 527140"/>
                  <a:gd name="connsiteX35" fmla="*/ 144854 w 245008"/>
                  <a:gd name="connsiteY35" fmla="*/ 349407 h 527140"/>
                  <a:gd name="connsiteX36" fmla="*/ 146369 w 245008"/>
                  <a:gd name="connsiteY36" fmla="*/ 351225 h 527140"/>
                  <a:gd name="connsiteX37" fmla="*/ 147430 w 245008"/>
                  <a:gd name="connsiteY37" fmla="*/ 350922 h 527140"/>
                  <a:gd name="connsiteX38" fmla="*/ 147884 w 245008"/>
                  <a:gd name="connsiteY38" fmla="*/ 346831 h 527140"/>
                  <a:gd name="connsiteX39" fmla="*/ 148339 w 245008"/>
                  <a:gd name="connsiteY39" fmla="*/ 345922 h 527140"/>
                  <a:gd name="connsiteX40" fmla="*/ 21364 w 245008"/>
                  <a:gd name="connsiteY40" fmla="*/ 244251 h 527140"/>
                  <a:gd name="connsiteX41" fmla="*/ 20152 w 245008"/>
                  <a:gd name="connsiteY41" fmla="*/ 243039 h 527140"/>
                  <a:gd name="connsiteX42" fmla="*/ 20152 w 245008"/>
                  <a:gd name="connsiteY42" fmla="*/ 245463 h 527140"/>
                  <a:gd name="connsiteX43" fmla="*/ 21819 w 245008"/>
                  <a:gd name="connsiteY43" fmla="*/ 249251 h 527140"/>
                  <a:gd name="connsiteX44" fmla="*/ 23183 w 245008"/>
                  <a:gd name="connsiteY44" fmla="*/ 250312 h 527140"/>
                  <a:gd name="connsiteX45" fmla="*/ 22880 w 245008"/>
                  <a:gd name="connsiteY45" fmla="*/ 247585 h 527140"/>
                  <a:gd name="connsiteX46" fmla="*/ 21364 w 245008"/>
                  <a:gd name="connsiteY46" fmla="*/ 244251 h 527140"/>
                  <a:gd name="connsiteX47" fmla="*/ 163188 w 245008"/>
                  <a:gd name="connsiteY47" fmla="*/ 524413 h 527140"/>
                  <a:gd name="connsiteX48" fmla="*/ 162582 w 245008"/>
                  <a:gd name="connsiteY48" fmla="*/ 527140 h 527140"/>
                  <a:gd name="connsiteX49" fmla="*/ 163037 w 245008"/>
                  <a:gd name="connsiteY49" fmla="*/ 527140 h 527140"/>
                  <a:gd name="connsiteX50" fmla="*/ 164400 w 245008"/>
                  <a:gd name="connsiteY50" fmla="*/ 525474 h 527140"/>
                  <a:gd name="connsiteX51" fmla="*/ 165764 w 245008"/>
                  <a:gd name="connsiteY51" fmla="*/ 524868 h 527140"/>
                  <a:gd name="connsiteX52" fmla="*/ 167127 w 245008"/>
                  <a:gd name="connsiteY52" fmla="*/ 523352 h 527140"/>
                  <a:gd name="connsiteX53" fmla="*/ 167279 w 245008"/>
                  <a:gd name="connsiteY53" fmla="*/ 522140 h 527140"/>
                  <a:gd name="connsiteX54" fmla="*/ 165309 w 245008"/>
                  <a:gd name="connsiteY54" fmla="*/ 522292 h 527140"/>
                  <a:gd name="connsiteX55" fmla="*/ 163188 w 245008"/>
                  <a:gd name="connsiteY55" fmla="*/ 524413 h 527140"/>
                  <a:gd name="connsiteX56" fmla="*/ 39395 w 245008"/>
                  <a:gd name="connsiteY56" fmla="*/ 276828 h 527140"/>
                  <a:gd name="connsiteX57" fmla="*/ 35759 w 245008"/>
                  <a:gd name="connsiteY57" fmla="*/ 277434 h 527140"/>
                  <a:gd name="connsiteX58" fmla="*/ 38032 w 245008"/>
                  <a:gd name="connsiteY58" fmla="*/ 280465 h 527140"/>
                  <a:gd name="connsiteX59" fmla="*/ 40910 w 245008"/>
                  <a:gd name="connsiteY59" fmla="*/ 282889 h 527140"/>
                  <a:gd name="connsiteX60" fmla="*/ 41365 w 245008"/>
                  <a:gd name="connsiteY60" fmla="*/ 282586 h 527140"/>
                  <a:gd name="connsiteX61" fmla="*/ 42123 w 245008"/>
                  <a:gd name="connsiteY61" fmla="*/ 281677 h 527140"/>
                  <a:gd name="connsiteX62" fmla="*/ 42880 w 245008"/>
                  <a:gd name="connsiteY62" fmla="*/ 279101 h 527140"/>
                  <a:gd name="connsiteX63" fmla="*/ 42880 w 245008"/>
                  <a:gd name="connsiteY63" fmla="*/ 277434 h 527140"/>
                  <a:gd name="connsiteX64" fmla="*/ 39395 w 245008"/>
                  <a:gd name="connsiteY64" fmla="*/ 276828 h 527140"/>
                  <a:gd name="connsiteX65" fmla="*/ 64851 w 245008"/>
                  <a:gd name="connsiteY65" fmla="*/ 353649 h 527140"/>
                  <a:gd name="connsiteX66" fmla="*/ 63487 w 245008"/>
                  <a:gd name="connsiteY66" fmla="*/ 355771 h 527140"/>
                  <a:gd name="connsiteX67" fmla="*/ 60608 w 245008"/>
                  <a:gd name="connsiteY67" fmla="*/ 358043 h 527140"/>
                  <a:gd name="connsiteX68" fmla="*/ 61215 w 245008"/>
                  <a:gd name="connsiteY68" fmla="*/ 362134 h 527140"/>
                  <a:gd name="connsiteX69" fmla="*/ 63033 w 245008"/>
                  <a:gd name="connsiteY69" fmla="*/ 359407 h 527140"/>
                  <a:gd name="connsiteX70" fmla="*/ 65457 w 245008"/>
                  <a:gd name="connsiteY70" fmla="*/ 357437 h 527140"/>
                  <a:gd name="connsiteX71" fmla="*/ 66821 w 245008"/>
                  <a:gd name="connsiteY71" fmla="*/ 354104 h 527140"/>
                  <a:gd name="connsiteX72" fmla="*/ 66366 w 245008"/>
                  <a:gd name="connsiteY72" fmla="*/ 352286 h 527140"/>
                  <a:gd name="connsiteX73" fmla="*/ 64851 w 245008"/>
                  <a:gd name="connsiteY73" fmla="*/ 353649 h 527140"/>
                  <a:gd name="connsiteX74" fmla="*/ 69851 w 245008"/>
                  <a:gd name="connsiteY74" fmla="*/ 362741 h 527140"/>
                  <a:gd name="connsiteX75" fmla="*/ 70154 w 245008"/>
                  <a:gd name="connsiteY75" fmla="*/ 363043 h 527140"/>
                  <a:gd name="connsiteX76" fmla="*/ 71214 w 245008"/>
                  <a:gd name="connsiteY76" fmla="*/ 363498 h 527140"/>
                  <a:gd name="connsiteX77" fmla="*/ 71821 w 245008"/>
                  <a:gd name="connsiteY77" fmla="*/ 362741 h 527140"/>
                  <a:gd name="connsiteX78" fmla="*/ 72730 w 245008"/>
                  <a:gd name="connsiteY78" fmla="*/ 360771 h 527140"/>
                  <a:gd name="connsiteX79" fmla="*/ 72427 w 245008"/>
                  <a:gd name="connsiteY79" fmla="*/ 359559 h 527140"/>
                  <a:gd name="connsiteX80" fmla="*/ 69851 w 245008"/>
                  <a:gd name="connsiteY80" fmla="*/ 362741 h 527140"/>
                  <a:gd name="connsiteX81" fmla="*/ 35910 w 245008"/>
                  <a:gd name="connsiteY81" fmla="*/ 248494 h 527140"/>
                  <a:gd name="connsiteX82" fmla="*/ 33789 w 245008"/>
                  <a:gd name="connsiteY82" fmla="*/ 246827 h 527140"/>
                  <a:gd name="connsiteX83" fmla="*/ 33941 w 245008"/>
                  <a:gd name="connsiteY83" fmla="*/ 248948 h 527140"/>
                  <a:gd name="connsiteX84" fmla="*/ 34698 w 245008"/>
                  <a:gd name="connsiteY84" fmla="*/ 250918 h 527140"/>
                  <a:gd name="connsiteX85" fmla="*/ 36517 w 245008"/>
                  <a:gd name="connsiteY85" fmla="*/ 252434 h 527140"/>
                  <a:gd name="connsiteX86" fmla="*/ 35910 w 245008"/>
                  <a:gd name="connsiteY86" fmla="*/ 248494 h 527140"/>
                  <a:gd name="connsiteX87" fmla="*/ 244858 w 245008"/>
                  <a:gd name="connsiteY87" fmla="*/ 197128 h 527140"/>
                  <a:gd name="connsiteX88" fmla="*/ 244858 w 245008"/>
                  <a:gd name="connsiteY88" fmla="*/ 196219 h 527140"/>
                  <a:gd name="connsiteX89" fmla="*/ 244554 w 245008"/>
                  <a:gd name="connsiteY89" fmla="*/ 195916 h 527140"/>
                  <a:gd name="connsiteX90" fmla="*/ 243494 w 245008"/>
                  <a:gd name="connsiteY90" fmla="*/ 195613 h 527140"/>
                  <a:gd name="connsiteX91" fmla="*/ 241827 w 245008"/>
                  <a:gd name="connsiteY91" fmla="*/ 196219 h 527140"/>
                  <a:gd name="connsiteX92" fmla="*/ 236827 w 245008"/>
                  <a:gd name="connsiteY92" fmla="*/ 198492 h 527140"/>
                  <a:gd name="connsiteX93" fmla="*/ 232433 w 245008"/>
                  <a:gd name="connsiteY93" fmla="*/ 202735 h 527140"/>
                  <a:gd name="connsiteX94" fmla="*/ 230463 w 245008"/>
                  <a:gd name="connsiteY94" fmla="*/ 203644 h 527140"/>
                  <a:gd name="connsiteX95" fmla="*/ 228493 w 245008"/>
                  <a:gd name="connsiteY95" fmla="*/ 204098 h 527140"/>
                  <a:gd name="connsiteX96" fmla="*/ 226220 w 245008"/>
                  <a:gd name="connsiteY96" fmla="*/ 203341 h 527140"/>
                  <a:gd name="connsiteX97" fmla="*/ 223645 w 245008"/>
                  <a:gd name="connsiteY97" fmla="*/ 202886 h 527140"/>
                  <a:gd name="connsiteX98" fmla="*/ 219857 w 245008"/>
                  <a:gd name="connsiteY98" fmla="*/ 203947 h 527140"/>
                  <a:gd name="connsiteX99" fmla="*/ 218038 w 245008"/>
                  <a:gd name="connsiteY99" fmla="*/ 203492 h 527140"/>
                  <a:gd name="connsiteX100" fmla="*/ 217129 w 245008"/>
                  <a:gd name="connsiteY100" fmla="*/ 202583 h 527140"/>
                  <a:gd name="connsiteX101" fmla="*/ 216372 w 245008"/>
                  <a:gd name="connsiteY101" fmla="*/ 201219 h 527140"/>
                  <a:gd name="connsiteX102" fmla="*/ 216826 w 245008"/>
                  <a:gd name="connsiteY102" fmla="*/ 199553 h 527140"/>
                  <a:gd name="connsiteX103" fmla="*/ 216523 w 245008"/>
                  <a:gd name="connsiteY103" fmla="*/ 198341 h 527140"/>
                  <a:gd name="connsiteX104" fmla="*/ 215008 w 245008"/>
                  <a:gd name="connsiteY104" fmla="*/ 197735 h 527140"/>
                  <a:gd name="connsiteX105" fmla="*/ 213341 w 245008"/>
                  <a:gd name="connsiteY105" fmla="*/ 197128 h 527140"/>
                  <a:gd name="connsiteX106" fmla="*/ 212281 w 245008"/>
                  <a:gd name="connsiteY106" fmla="*/ 195462 h 527140"/>
                  <a:gd name="connsiteX107" fmla="*/ 211826 w 245008"/>
                  <a:gd name="connsiteY107" fmla="*/ 193643 h 527140"/>
                  <a:gd name="connsiteX108" fmla="*/ 212281 w 245008"/>
                  <a:gd name="connsiteY108" fmla="*/ 191370 h 527140"/>
                  <a:gd name="connsiteX109" fmla="*/ 212432 w 245008"/>
                  <a:gd name="connsiteY109" fmla="*/ 188946 h 527140"/>
                  <a:gd name="connsiteX110" fmla="*/ 211675 w 245008"/>
                  <a:gd name="connsiteY110" fmla="*/ 187886 h 527140"/>
                  <a:gd name="connsiteX111" fmla="*/ 209098 w 245008"/>
                  <a:gd name="connsiteY111" fmla="*/ 187280 h 527140"/>
                  <a:gd name="connsiteX112" fmla="*/ 202735 w 245008"/>
                  <a:gd name="connsiteY112" fmla="*/ 186219 h 527140"/>
                  <a:gd name="connsiteX113" fmla="*/ 197129 w 245008"/>
                  <a:gd name="connsiteY113" fmla="*/ 185613 h 527140"/>
                  <a:gd name="connsiteX114" fmla="*/ 194855 w 245008"/>
                  <a:gd name="connsiteY114" fmla="*/ 185916 h 527140"/>
                  <a:gd name="connsiteX115" fmla="*/ 192886 w 245008"/>
                  <a:gd name="connsiteY115" fmla="*/ 185613 h 527140"/>
                  <a:gd name="connsiteX116" fmla="*/ 191825 w 245008"/>
                  <a:gd name="connsiteY116" fmla="*/ 185158 h 527140"/>
                  <a:gd name="connsiteX117" fmla="*/ 191219 w 245008"/>
                  <a:gd name="connsiteY117" fmla="*/ 184401 h 527140"/>
                  <a:gd name="connsiteX118" fmla="*/ 191219 w 245008"/>
                  <a:gd name="connsiteY118" fmla="*/ 183340 h 527140"/>
                  <a:gd name="connsiteX119" fmla="*/ 192128 w 245008"/>
                  <a:gd name="connsiteY119" fmla="*/ 180764 h 527140"/>
                  <a:gd name="connsiteX120" fmla="*/ 193189 w 245008"/>
                  <a:gd name="connsiteY120" fmla="*/ 178188 h 527140"/>
                  <a:gd name="connsiteX121" fmla="*/ 195765 w 245008"/>
                  <a:gd name="connsiteY121" fmla="*/ 174552 h 527140"/>
                  <a:gd name="connsiteX122" fmla="*/ 195916 w 245008"/>
                  <a:gd name="connsiteY122" fmla="*/ 171976 h 527140"/>
                  <a:gd name="connsiteX123" fmla="*/ 195765 w 245008"/>
                  <a:gd name="connsiteY123" fmla="*/ 169097 h 527140"/>
                  <a:gd name="connsiteX124" fmla="*/ 196977 w 245008"/>
                  <a:gd name="connsiteY124" fmla="*/ 165157 h 527140"/>
                  <a:gd name="connsiteX125" fmla="*/ 199250 w 245008"/>
                  <a:gd name="connsiteY125" fmla="*/ 162279 h 527140"/>
                  <a:gd name="connsiteX126" fmla="*/ 200310 w 245008"/>
                  <a:gd name="connsiteY126" fmla="*/ 161369 h 527140"/>
                  <a:gd name="connsiteX127" fmla="*/ 200007 w 245008"/>
                  <a:gd name="connsiteY127" fmla="*/ 160006 h 527140"/>
                  <a:gd name="connsiteX128" fmla="*/ 199098 w 245008"/>
                  <a:gd name="connsiteY128" fmla="*/ 158794 h 527140"/>
                  <a:gd name="connsiteX129" fmla="*/ 197886 w 245008"/>
                  <a:gd name="connsiteY129" fmla="*/ 158188 h 527140"/>
                  <a:gd name="connsiteX130" fmla="*/ 195765 w 245008"/>
                  <a:gd name="connsiteY130" fmla="*/ 157430 h 527140"/>
                  <a:gd name="connsiteX131" fmla="*/ 192431 w 245008"/>
                  <a:gd name="connsiteY131" fmla="*/ 157278 h 527140"/>
                  <a:gd name="connsiteX132" fmla="*/ 187886 w 245008"/>
                  <a:gd name="connsiteY132" fmla="*/ 156521 h 527140"/>
                  <a:gd name="connsiteX133" fmla="*/ 182582 w 245008"/>
                  <a:gd name="connsiteY133" fmla="*/ 154854 h 527140"/>
                  <a:gd name="connsiteX134" fmla="*/ 183189 w 245008"/>
                  <a:gd name="connsiteY134" fmla="*/ 151521 h 527140"/>
                  <a:gd name="connsiteX135" fmla="*/ 183037 w 245008"/>
                  <a:gd name="connsiteY135" fmla="*/ 149399 h 527140"/>
                  <a:gd name="connsiteX136" fmla="*/ 182431 w 245008"/>
                  <a:gd name="connsiteY136" fmla="*/ 147733 h 527140"/>
                  <a:gd name="connsiteX137" fmla="*/ 181370 w 245008"/>
                  <a:gd name="connsiteY137" fmla="*/ 146520 h 527140"/>
                  <a:gd name="connsiteX138" fmla="*/ 180764 w 245008"/>
                  <a:gd name="connsiteY138" fmla="*/ 145460 h 527140"/>
                  <a:gd name="connsiteX139" fmla="*/ 181673 w 245008"/>
                  <a:gd name="connsiteY139" fmla="*/ 142429 h 527140"/>
                  <a:gd name="connsiteX140" fmla="*/ 180461 w 245008"/>
                  <a:gd name="connsiteY140" fmla="*/ 139096 h 527140"/>
                  <a:gd name="connsiteX141" fmla="*/ 179098 w 245008"/>
                  <a:gd name="connsiteY141" fmla="*/ 137732 h 527140"/>
                  <a:gd name="connsiteX142" fmla="*/ 177582 w 245008"/>
                  <a:gd name="connsiteY142" fmla="*/ 136066 h 527140"/>
                  <a:gd name="connsiteX143" fmla="*/ 177431 w 245008"/>
                  <a:gd name="connsiteY143" fmla="*/ 134247 h 527140"/>
                  <a:gd name="connsiteX144" fmla="*/ 178037 w 245008"/>
                  <a:gd name="connsiteY144" fmla="*/ 132581 h 527140"/>
                  <a:gd name="connsiteX145" fmla="*/ 181673 w 245008"/>
                  <a:gd name="connsiteY145" fmla="*/ 128944 h 527140"/>
                  <a:gd name="connsiteX146" fmla="*/ 181673 w 245008"/>
                  <a:gd name="connsiteY146" fmla="*/ 128035 h 527140"/>
                  <a:gd name="connsiteX147" fmla="*/ 180764 w 245008"/>
                  <a:gd name="connsiteY147" fmla="*/ 128035 h 527140"/>
                  <a:gd name="connsiteX148" fmla="*/ 179703 w 245008"/>
                  <a:gd name="connsiteY148" fmla="*/ 128186 h 527140"/>
                  <a:gd name="connsiteX149" fmla="*/ 174703 w 245008"/>
                  <a:gd name="connsiteY149" fmla="*/ 129550 h 527140"/>
                  <a:gd name="connsiteX150" fmla="*/ 174249 w 245008"/>
                  <a:gd name="connsiteY150" fmla="*/ 128641 h 527140"/>
                  <a:gd name="connsiteX151" fmla="*/ 172431 w 245008"/>
                  <a:gd name="connsiteY151" fmla="*/ 128186 h 527140"/>
                  <a:gd name="connsiteX152" fmla="*/ 168794 w 245008"/>
                  <a:gd name="connsiteY152" fmla="*/ 128035 h 527140"/>
                  <a:gd name="connsiteX153" fmla="*/ 164551 w 245008"/>
                  <a:gd name="connsiteY153" fmla="*/ 128338 h 527140"/>
                  <a:gd name="connsiteX154" fmla="*/ 159248 w 245008"/>
                  <a:gd name="connsiteY154" fmla="*/ 129702 h 527140"/>
                  <a:gd name="connsiteX155" fmla="*/ 154400 w 245008"/>
                  <a:gd name="connsiteY155" fmla="*/ 131974 h 527140"/>
                  <a:gd name="connsiteX156" fmla="*/ 152127 w 245008"/>
                  <a:gd name="connsiteY156" fmla="*/ 133490 h 527140"/>
                  <a:gd name="connsiteX157" fmla="*/ 150157 w 245008"/>
                  <a:gd name="connsiteY157" fmla="*/ 134399 h 527140"/>
                  <a:gd name="connsiteX158" fmla="*/ 148642 w 245008"/>
                  <a:gd name="connsiteY158" fmla="*/ 134702 h 527140"/>
                  <a:gd name="connsiteX159" fmla="*/ 146824 w 245008"/>
                  <a:gd name="connsiteY159" fmla="*/ 133944 h 527140"/>
                  <a:gd name="connsiteX160" fmla="*/ 146975 w 245008"/>
                  <a:gd name="connsiteY160" fmla="*/ 131672 h 527140"/>
                  <a:gd name="connsiteX161" fmla="*/ 150308 w 245008"/>
                  <a:gd name="connsiteY161" fmla="*/ 127580 h 527140"/>
                  <a:gd name="connsiteX162" fmla="*/ 150763 w 245008"/>
                  <a:gd name="connsiteY162" fmla="*/ 124701 h 527140"/>
                  <a:gd name="connsiteX163" fmla="*/ 149703 w 245008"/>
                  <a:gd name="connsiteY163" fmla="*/ 122277 h 527140"/>
                  <a:gd name="connsiteX164" fmla="*/ 149551 w 245008"/>
                  <a:gd name="connsiteY164" fmla="*/ 120307 h 527140"/>
                  <a:gd name="connsiteX165" fmla="*/ 148339 w 245008"/>
                  <a:gd name="connsiteY165" fmla="*/ 119095 h 527140"/>
                  <a:gd name="connsiteX166" fmla="*/ 146672 w 245008"/>
                  <a:gd name="connsiteY166" fmla="*/ 118489 h 527140"/>
                  <a:gd name="connsiteX167" fmla="*/ 145763 w 245008"/>
                  <a:gd name="connsiteY167" fmla="*/ 117125 h 527140"/>
                  <a:gd name="connsiteX168" fmla="*/ 145763 w 245008"/>
                  <a:gd name="connsiteY168" fmla="*/ 113034 h 527140"/>
                  <a:gd name="connsiteX169" fmla="*/ 147278 w 245008"/>
                  <a:gd name="connsiteY169" fmla="*/ 108943 h 527140"/>
                  <a:gd name="connsiteX170" fmla="*/ 149703 w 245008"/>
                  <a:gd name="connsiteY170" fmla="*/ 107580 h 527140"/>
                  <a:gd name="connsiteX171" fmla="*/ 151218 w 245008"/>
                  <a:gd name="connsiteY171" fmla="*/ 106974 h 527140"/>
                  <a:gd name="connsiteX172" fmla="*/ 151672 w 245008"/>
                  <a:gd name="connsiteY172" fmla="*/ 106216 h 527140"/>
                  <a:gd name="connsiteX173" fmla="*/ 150915 w 245008"/>
                  <a:gd name="connsiteY173" fmla="*/ 103337 h 527140"/>
                  <a:gd name="connsiteX174" fmla="*/ 151066 w 245008"/>
                  <a:gd name="connsiteY174" fmla="*/ 101519 h 527140"/>
                  <a:gd name="connsiteX175" fmla="*/ 152430 w 245008"/>
                  <a:gd name="connsiteY175" fmla="*/ 97882 h 527140"/>
                  <a:gd name="connsiteX176" fmla="*/ 153793 w 245008"/>
                  <a:gd name="connsiteY176" fmla="*/ 95155 h 527140"/>
                  <a:gd name="connsiteX177" fmla="*/ 156521 w 245008"/>
                  <a:gd name="connsiteY177" fmla="*/ 95610 h 527140"/>
                  <a:gd name="connsiteX178" fmla="*/ 157733 w 245008"/>
                  <a:gd name="connsiteY178" fmla="*/ 95004 h 527140"/>
                  <a:gd name="connsiteX179" fmla="*/ 159097 w 245008"/>
                  <a:gd name="connsiteY179" fmla="*/ 94094 h 527140"/>
                  <a:gd name="connsiteX180" fmla="*/ 160612 w 245008"/>
                  <a:gd name="connsiteY180" fmla="*/ 92427 h 527140"/>
                  <a:gd name="connsiteX181" fmla="*/ 161521 w 245008"/>
                  <a:gd name="connsiteY181" fmla="*/ 90458 h 527140"/>
                  <a:gd name="connsiteX182" fmla="*/ 162733 w 245008"/>
                  <a:gd name="connsiteY182" fmla="*/ 85912 h 527140"/>
                  <a:gd name="connsiteX183" fmla="*/ 163491 w 245008"/>
                  <a:gd name="connsiteY183" fmla="*/ 85306 h 527140"/>
                  <a:gd name="connsiteX184" fmla="*/ 166825 w 245008"/>
                  <a:gd name="connsiteY184" fmla="*/ 86064 h 527140"/>
                  <a:gd name="connsiteX185" fmla="*/ 167885 w 245008"/>
                  <a:gd name="connsiteY185" fmla="*/ 85609 h 527140"/>
                  <a:gd name="connsiteX186" fmla="*/ 169703 w 245008"/>
                  <a:gd name="connsiteY186" fmla="*/ 83033 h 527140"/>
                  <a:gd name="connsiteX187" fmla="*/ 171522 w 245008"/>
                  <a:gd name="connsiteY187" fmla="*/ 79851 h 527140"/>
                  <a:gd name="connsiteX188" fmla="*/ 174097 w 245008"/>
                  <a:gd name="connsiteY188" fmla="*/ 78791 h 527140"/>
                  <a:gd name="connsiteX189" fmla="*/ 175915 w 245008"/>
                  <a:gd name="connsiteY189" fmla="*/ 78639 h 527140"/>
                  <a:gd name="connsiteX190" fmla="*/ 176824 w 245008"/>
                  <a:gd name="connsiteY190" fmla="*/ 77579 h 527140"/>
                  <a:gd name="connsiteX191" fmla="*/ 176824 w 245008"/>
                  <a:gd name="connsiteY191" fmla="*/ 76063 h 527140"/>
                  <a:gd name="connsiteX192" fmla="*/ 175158 w 245008"/>
                  <a:gd name="connsiteY192" fmla="*/ 73487 h 527140"/>
                  <a:gd name="connsiteX193" fmla="*/ 174401 w 245008"/>
                  <a:gd name="connsiteY193" fmla="*/ 71518 h 527140"/>
                  <a:gd name="connsiteX194" fmla="*/ 174552 w 245008"/>
                  <a:gd name="connsiteY194" fmla="*/ 70306 h 527140"/>
                  <a:gd name="connsiteX195" fmla="*/ 176976 w 245008"/>
                  <a:gd name="connsiteY195" fmla="*/ 69548 h 527140"/>
                  <a:gd name="connsiteX196" fmla="*/ 177582 w 245008"/>
                  <a:gd name="connsiteY196" fmla="*/ 68033 h 527140"/>
                  <a:gd name="connsiteX197" fmla="*/ 177279 w 245008"/>
                  <a:gd name="connsiteY197" fmla="*/ 64851 h 527140"/>
                  <a:gd name="connsiteX198" fmla="*/ 178340 w 245008"/>
                  <a:gd name="connsiteY198" fmla="*/ 61063 h 527140"/>
                  <a:gd name="connsiteX199" fmla="*/ 178946 w 245008"/>
                  <a:gd name="connsiteY199" fmla="*/ 56517 h 527140"/>
                  <a:gd name="connsiteX200" fmla="*/ 179098 w 245008"/>
                  <a:gd name="connsiteY200" fmla="*/ 53184 h 527140"/>
                  <a:gd name="connsiteX201" fmla="*/ 179098 w 245008"/>
                  <a:gd name="connsiteY201" fmla="*/ 50608 h 527140"/>
                  <a:gd name="connsiteX202" fmla="*/ 178794 w 245008"/>
                  <a:gd name="connsiteY202" fmla="*/ 47881 h 527140"/>
                  <a:gd name="connsiteX203" fmla="*/ 178491 w 245008"/>
                  <a:gd name="connsiteY203" fmla="*/ 43032 h 527140"/>
                  <a:gd name="connsiteX204" fmla="*/ 177279 w 245008"/>
                  <a:gd name="connsiteY204" fmla="*/ 38789 h 527140"/>
                  <a:gd name="connsiteX205" fmla="*/ 177431 w 245008"/>
                  <a:gd name="connsiteY205" fmla="*/ 37123 h 527140"/>
                  <a:gd name="connsiteX206" fmla="*/ 177279 w 245008"/>
                  <a:gd name="connsiteY206" fmla="*/ 31971 h 527140"/>
                  <a:gd name="connsiteX207" fmla="*/ 176522 w 245008"/>
                  <a:gd name="connsiteY207" fmla="*/ 27577 h 527140"/>
                  <a:gd name="connsiteX208" fmla="*/ 175158 w 245008"/>
                  <a:gd name="connsiteY208" fmla="*/ 26819 h 527140"/>
                  <a:gd name="connsiteX209" fmla="*/ 172582 w 245008"/>
                  <a:gd name="connsiteY209" fmla="*/ 25455 h 527140"/>
                  <a:gd name="connsiteX210" fmla="*/ 171218 w 245008"/>
                  <a:gd name="connsiteY210" fmla="*/ 25152 h 527140"/>
                  <a:gd name="connsiteX211" fmla="*/ 170006 w 245008"/>
                  <a:gd name="connsiteY211" fmla="*/ 25607 h 527140"/>
                  <a:gd name="connsiteX212" fmla="*/ 169552 w 245008"/>
                  <a:gd name="connsiteY212" fmla="*/ 27122 h 527140"/>
                  <a:gd name="connsiteX213" fmla="*/ 168339 w 245008"/>
                  <a:gd name="connsiteY213" fmla="*/ 28486 h 527140"/>
                  <a:gd name="connsiteX214" fmla="*/ 166976 w 245008"/>
                  <a:gd name="connsiteY214" fmla="*/ 28183 h 527140"/>
                  <a:gd name="connsiteX215" fmla="*/ 166370 w 245008"/>
                  <a:gd name="connsiteY215" fmla="*/ 26819 h 527140"/>
                  <a:gd name="connsiteX216" fmla="*/ 165460 w 245008"/>
                  <a:gd name="connsiteY216" fmla="*/ 25001 h 527140"/>
                  <a:gd name="connsiteX217" fmla="*/ 162430 w 245008"/>
                  <a:gd name="connsiteY217" fmla="*/ 16061 h 527140"/>
                  <a:gd name="connsiteX218" fmla="*/ 162127 w 245008"/>
                  <a:gd name="connsiteY218" fmla="*/ 13485 h 527140"/>
                  <a:gd name="connsiteX219" fmla="*/ 161521 w 245008"/>
                  <a:gd name="connsiteY219" fmla="*/ 10910 h 527140"/>
                  <a:gd name="connsiteX220" fmla="*/ 160460 w 245008"/>
                  <a:gd name="connsiteY220" fmla="*/ 9697 h 527140"/>
                  <a:gd name="connsiteX221" fmla="*/ 159400 w 245008"/>
                  <a:gd name="connsiteY221" fmla="*/ 8940 h 527140"/>
                  <a:gd name="connsiteX222" fmla="*/ 156975 w 245008"/>
                  <a:gd name="connsiteY222" fmla="*/ 5909 h 527140"/>
                  <a:gd name="connsiteX223" fmla="*/ 155763 w 245008"/>
                  <a:gd name="connsiteY223" fmla="*/ 4697 h 527140"/>
                  <a:gd name="connsiteX224" fmla="*/ 155157 w 245008"/>
                  <a:gd name="connsiteY224" fmla="*/ 4546 h 527140"/>
                  <a:gd name="connsiteX225" fmla="*/ 153793 w 245008"/>
                  <a:gd name="connsiteY225" fmla="*/ 4697 h 527140"/>
                  <a:gd name="connsiteX226" fmla="*/ 152430 w 245008"/>
                  <a:gd name="connsiteY226" fmla="*/ 4697 h 527140"/>
                  <a:gd name="connsiteX227" fmla="*/ 151369 w 245008"/>
                  <a:gd name="connsiteY227" fmla="*/ 3182 h 527140"/>
                  <a:gd name="connsiteX228" fmla="*/ 150460 w 245008"/>
                  <a:gd name="connsiteY228" fmla="*/ 1364 h 527140"/>
                  <a:gd name="connsiteX229" fmla="*/ 149551 w 245008"/>
                  <a:gd name="connsiteY229" fmla="*/ 455 h 527140"/>
                  <a:gd name="connsiteX230" fmla="*/ 147884 w 245008"/>
                  <a:gd name="connsiteY230" fmla="*/ 0 h 527140"/>
                  <a:gd name="connsiteX231" fmla="*/ 146217 w 245008"/>
                  <a:gd name="connsiteY231" fmla="*/ 151 h 527140"/>
                  <a:gd name="connsiteX232" fmla="*/ 145308 w 245008"/>
                  <a:gd name="connsiteY232" fmla="*/ 1667 h 527140"/>
                  <a:gd name="connsiteX233" fmla="*/ 144702 w 245008"/>
                  <a:gd name="connsiteY233" fmla="*/ 2576 h 527140"/>
                  <a:gd name="connsiteX234" fmla="*/ 143490 w 245008"/>
                  <a:gd name="connsiteY234" fmla="*/ 4697 h 527140"/>
                  <a:gd name="connsiteX235" fmla="*/ 141369 w 245008"/>
                  <a:gd name="connsiteY235" fmla="*/ 7576 h 527140"/>
                  <a:gd name="connsiteX236" fmla="*/ 140460 w 245008"/>
                  <a:gd name="connsiteY236" fmla="*/ 8637 h 527140"/>
                  <a:gd name="connsiteX237" fmla="*/ 140157 w 245008"/>
                  <a:gd name="connsiteY237" fmla="*/ 10455 h 527140"/>
                  <a:gd name="connsiteX238" fmla="*/ 140005 w 245008"/>
                  <a:gd name="connsiteY238" fmla="*/ 12425 h 527140"/>
                  <a:gd name="connsiteX239" fmla="*/ 141066 w 245008"/>
                  <a:gd name="connsiteY239" fmla="*/ 14091 h 527140"/>
                  <a:gd name="connsiteX240" fmla="*/ 141217 w 245008"/>
                  <a:gd name="connsiteY240" fmla="*/ 15455 h 527140"/>
                  <a:gd name="connsiteX241" fmla="*/ 140914 w 245008"/>
                  <a:gd name="connsiteY241" fmla="*/ 16819 h 527140"/>
                  <a:gd name="connsiteX242" fmla="*/ 140157 w 245008"/>
                  <a:gd name="connsiteY242" fmla="*/ 17728 h 527140"/>
                  <a:gd name="connsiteX243" fmla="*/ 138035 w 245008"/>
                  <a:gd name="connsiteY243" fmla="*/ 18182 h 527140"/>
                  <a:gd name="connsiteX244" fmla="*/ 136217 w 245008"/>
                  <a:gd name="connsiteY244" fmla="*/ 19698 h 527140"/>
                  <a:gd name="connsiteX245" fmla="*/ 133187 w 245008"/>
                  <a:gd name="connsiteY245" fmla="*/ 21970 h 527140"/>
                  <a:gd name="connsiteX246" fmla="*/ 130763 w 245008"/>
                  <a:gd name="connsiteY246" fmla="*/ 23789 h 527140"/>
                  <a:gd name="connsiteX247" fmla="*/ 129096 w 245008"/>
                  <a:gd name="connsiteY247" fmla="*/ 25455 h 527140"/>
                  <a:gd name="connsiteX248" fmla="*/ 128490 w 245008"/>
                  <a:gd name="connsiteY248" fmla="*/ 27122 h 527140"/>
                  <a:gd name="connsiteX249" fmla="*/ 128641 w 245008"/>
                  <a:gd name="connsiteY249" fmla="*/ 29243 h 527140"/>
                  <a:gd name="connsiteX250" fmla="*/ 129096 w 245008"/>
                  <a:gd name="connsiteY250" fmla="*/ 31516 h 527140"/>
                  <a:gd name="connsiteX251" fmla="*/ 134551 w 245008"/>
                  <a:gd name="connsiteY251" fmla="*/ 39547 h 527140"/>
                  <a:gd name="connsiteX252" fmla="*/ 134551 w 245008"/>
                  <a:gd name="connsiteY252" fmla="*/ 40911 h 527140"/>
                  <a:gd name="connsiteX253" fmla="*/ 132732 w 245008"/>
                  <a:gd name="connsiteY253" fmla="*/ 41365 h 527140"/>
                  <a:gd name="connsiteX254" fmla="*/ 130459 w 245008"/>
                  <a:gd name="connsiteY254" fmla="*/ 40456 h 527140"/>
                  <a:gd name="connsiteX255" fmla="*/ 128490 w 245008"/>
                  <a:gd name="connsiteY255" fmla="*/ 39092 h 527140"/>
                  <a:gd name="connsiteX256" fmla="*/ 126217 w 245008"/>
                  <a:gd name="connsiteY256" fmla="*/ 35607 h 527140"/>
                  <a:gd name="connsiteX257" fmla="*/ 124398 w 245008"/>
                  <a:gd name="connsiteY257" fmla="*/ 34547 h 527140"/>
                  <a:gd name="connsiteX258" fmla="*/ 122580 w 245008"/>
                  <a:gd name="connsiteY258" fmla="*/ 34244 h 527140"/>
                  <a:gd name="connsiteX259" fmla="*/ 111822 w 245008"/>
                  <a:gd name="connsiteY259" fmla="*/ 36062 h 527140"/>
                  <a:gd name="connsiteX260" fmla="*/ 109550 w 245008"/>
                  <a:gd name="connsiteY260" fmla="*/ 36517 h 527140"/>
                  <a:gd name="connsiteX261" fmla="*/ 106065 w 245008"/>
                  <a:gd name="connsiteY261" fmla="*/ 37880 h 527140"/>
                  <a:gd name="connsiteX262" fmla="*/ 103640 w 245008"/>
                  <a:gd name="connsiteY262" fmla="*/ 40456 h 527140"/>
                  <a:gd name="connsiteX263" fmla="*/ 101822 w 245008"/>
                  <a:gd name="connsiteY263" fmla="*/ 42880 h 527140"/>
                  <a:gd name="connsiteX264" fmla="*/ 100004 w 245008"/>
                  <a:gd name="connsiteY264" fmla="*/ 43789 h 527140"/>
                  <a:gd name="connsiteX265" fmla="*/ 97276 w 245008"/>
                  <a:gd name="connsiteY265" fmla="*/ 45608 h 527140"/>
                  <a:gd name="connsiteX266" fmla="*/ 89700 w 245008"/>
                  <a:gd name="connsiteY266" fmla="*/ 51366 h 527140"/>
                  <a:gd name="connsiteX267" fmla="*/ 85306 w 245008"/>
                  <a:gd name="connsiteY267" fmla="*/ 53790 h 527140"/>
                  <a:gd name="connsiteX268" fmla="*/ 82427 w 245008"/>
                  <a:gd name="connsiteY268" fmla="*/ 54699 h 527140"/>
                  <a:gd name="connsiteX269" fmla="*/ 80457 w 245008"/>
                  <a:gd name="connsiteY269" fmla="*/ 56063 h 527140"/>
                  <a:gd name="connsiteX270" fmla="*/ 79397 w 245008"/>
                  <a:gd name="connsiteY270" fmla="*/ 58184 h 527140"/>
                  <a:gd name="connsiteX271" fmla="*/ 78639 w 245008"/>
                  <a:gd name="connsiteY271" fmla="*/ 59699 h 527140"/>
                  <a:gd name="connsiteX272" fmla="*/ 78336 w 245008"/>
                  <a:gd name="connsiteY272" fmla="*/ 63336 h 527140"/>
                  <a:gd name="connsiteX273" fmla="*/ 78791 w 245008"/>
                  <a:gd name="connsiteY273" fmla="*/ 67881 h 527140"/>
                  <a:gd name="connsiteX274" fmla="*/ 79851 w 245008"/>
                  <a:gd name="connsiteY274" fmla="*/ 70760 h 527140"/>
                  <a:gd name="connsiteX275" fmla="*/ 80457 w 245008"/>
                  <a:gd name="connsiteY275" fmla="*/ 71366 h 527140"/>
                  <a:gd name="connsiteX276" fmla="*/ 80609 w 245008"/>
                  <a:gd name="connsiteY276" fmla="*/ 72275 h 527140"/>
                  <a:gd name="connsiteX277" fmla="*/ 79548 w 245008"/>
                  <a:gd name="connsiteY277" fmla="*/ 73790 h 527140"/>
                  <a:gd name="connsiteX278" fmla="*/ 78185 w 245008"/>
                  <a:gd name="connsiteY278" fmla="*/ 75154 h 527140"/>
                  <a:gd name="connsiteX279" fmla="*/ 77427 w 245008"/>
                  <a:gd name="connsiteY279" fmla="*/ 75912 h 527140"/>
                  <a:gd name="connsiteX280" fmla="*/ 76821 w 245008"/>
                  <a:gd name="connsiteY280" fmla="*/ 80003 h 527140"/>
                  <a:gd name="connsiteX281" fmla="*/ 75609 w 245008"/>
                  <a:gd name="connsiteY281" fmla="*/ 81973 h 527140"/>
                  <a:gd name="connsiteX282" fmla="*/ 73336 w 245008"/>
                  <a:gd name="connsiteY282" fmla="*/ 85003 h 527140"/>
                  <a:gd name="connsiteX283" fmla="*/ 71214 w 245008"/>
                  <a:gd name="connsiteY283" fmla="*/ 87276 h 527140"/>
                  <a:gd name="connsiteX284" fmla="*/ 68033 w 245008"/>
                  <a:gd name="connsiteY284" fmla="*/ 89094 h 527140"/>
                  <a:gd name="connsiteX285" fmla="*/ 66821 w 245008"/>
                  <a:gd name="connsiteY285" fmla="*/ 90458 h 527140"/>
                  <a:gd name="connsiteX286" fmla="*/ 65608 w 245008"/>
                  <a:gd name="connsiteY286" fmla="*/ 93034 h 527140"/>
                  <a:gd name="connsiteX287" fmla="*/ 64851 w 245008"/>
                  <a:gd name="connsiteY287" fmla="*/ 95306 h 527140"/>
                  <a:gd name="connsiteX288" fmla="*/ 64851 w 245008"/>
                  <a:gd name="connsiteY288" fmla="*/ 96064 h 527140"/>
                  <a:gd name="connsiteX289" fmla="*/ 65154 w 245008"/>
                  <a:gd name="connsiteY289" fmla="*/ 96822 h 527140"/>
                  <a:gd name="connsiteX290" fmla="*/ 66517 w 245008"/>
                  <a:gd name="connsiteY290" fmla="*/ 97579 h 527140"/>
                  <a:gd name="connsiteX291" fmla="*/ 68184 w 245008"/>
                  <a:gd name="connsiteY291" fmla="*/ 98337 h 527140"/>
                  <a:gd name="connsiteX292" fmla="*/ 68942 w 245008"/>
                  <a:gd name="connsiteY292" fmla="*/ 99549 h 527140"/>
                  <a:gd name="connsiteX293" fmla="*/ 69093 w 245008"/>
                  <a:gd name="connsiteY293" fmla="*/ 100913 h 527140"/>
                  <a:gd name="connsiteX294" fmla="*/ 67881 w 245008"/>
                  <a:gd name="connsiteY294" fmla="*/ 104398 h 527140"/>
                  <a:gd name="connsiteX295" fmla="*/ 65760 w 245008"/>
                  <a:gd name="connsiteY295" fmla="*/ 109095 h 527140"/>
                  <a:gd name="connsiteX296" fmla="*/ 63336 w 245008"/>
                  <a:gd name="connsiteY296" fmla="*/ 112883 h 527140"/>
                  <a:gd name="connsiteX297" fmla="*/ 60760 w 245008"/>
                  <a:gd name="connsiteY297" fmla="*/ 116519 h 527140"/>
                  <a:gd name="connsiteX298" fmla="*/ 60154 w 245008"/>
                  <a:gd name="connsiteY298" fmla="*/ 117732 h 527140"/>
                  <a:gd name="connsiteX299" fmla="*/ 57881 w 245008"/>
                  <a:gd name="connsiteY299" fmla="*/ 122126 h 527140"/>
                  <a:gd name="connsiteX300" fmla="*/ 55911 w 245008"/>
                  <a:gd name="connsiteY300" fmla="*/ 128186 h 527140"/>
                  <a:gd name="connsiteX301" fmla="*/ 54548 w 245008"/>
                  <a:gd name="connsiteY301" fmla="*/ 132277 h 527140"/>
                  <a:gd name="connsiteX302" fmla="*/ 53335 w 245008"/>
                  <a:gd name="connsiteY302" fmla="*/ 135005 h 527140"/>
                  <a:gd name="connsiteX303" fmla="*/ 51820 w 245008"/>
                  <a:gd name="connsiteY303" fmla="*/ 135156 h 527140"/>
                  <a:gd name="connsiteX304" fmla="*/ 50002 w 245008"/>
                  <a:gd name="connsiteY304" fmla="*/ 134247 h 527140"/>
                  <a:gd name="connsiteX305" fmla="*/ 45759 w 245008"/>
                  <a:gd name="connsiteY305" fmla="*/ 133035 h 527140"/>
                  <a:gd name="connsiteX306" fmla="*/ 43032 w 245008"/>
                  <a:gd name="connsiteY306" fmla="*/ 132126 h 527140"/>
                  <a:gd name="connsiteX307" fmla="*/ 41062 w 245008"/>
                  <a:gd name="connsiteY307" fmla="*/ 131217 h 527140"/>
                  <a:gd name="connsiteX308" fmla="*/ 39698 w 245008"/>
                  <a:gd name="connsiteY308" fmla="*/ 131217 h 527140"/>
                  <a:gd name="connsiteX309" fmla="*/ 37729 w 245008"/>
                  <a:gd name="connsiteY309" fmla="*/ 131823 h 527140"/>
                  <a:gd name="connsiteX310" fmla="*/ 35759 w 245008"/>
                  <a:gd name="connsiteY310" fmla="*/ 132277 h 527140"/>
                  <a:gd name="connsiteX311" fmla="*/ 34547 w 245008"/>
                  <a:gd name="connsiteY311" fmla="*/ 131823 h 527140"/>
                  <a:gd name="connsiteX312" fmla="*/ 31971 w 245008"/>
                  <a:gd name="connsiteY312" fmla="*/ 129399 h 527140"/>
                  <a:gd name="connsiteX313" fmla="*/ 31213 w 245008"/>
                  <a:gd name="connsiteY313" fmla="*/ 129702 h 527140"/>
                  <a:gd name="connsiteX314" fmla="*/ 30759 w 245008"/>
                  <a:gd name="connsiteY314" fmla="*/ 130914 h 527140"/>
                  <a:gd name="connsiteX315" fmla="*/ 32577 w 245008"/>
                  <a:gd name="connsiteY315" fmla="*/ 138035 h 527140"/>
                  <a:gd name="connsiteX316" fmla="*/ 33789 w 245008"/>
                  <a:gd name="connsiteY316" fmla="*/ 140611 h 527140"/>
                  <a:gd name="connsiteX317" fmla="*/ 33638 w 245008"/>
                  <a:gd name="connsiteY317" fmla="*/ 145005 h 527140"/>
                  <a:gd name="connsiteX318" fmla="*/ 33183 w 245008"/>
                  <a:gd name="connsiteY318" fmla="*/ 150460 h 527140"/>
                  <a:gd name="connsiteX319" fmla="*/ 32425 w 245008"/>
                  <a:gd name="connsiteY319" fmla="*/ 156369 h 527140"/>
                  <a:gd name="connsiteX320" fmla="*/ 31971 w 245008"/>
                  <a:gd name="connsiteY320" fmla="*/ 157733 h 527140"/>
                  <a:gd name="connsiteX321" fmla="*/ 30910 w 245008"/>
                  <a:gd name="connsiteY321" fmla="*/ 159248 h 527140"/>
                  <a:gd name="connsiteX322" fmla="*/ 29395 w 245008"/>
                  <a:gd name="connsiteY322" fmla="*/ 159703 h 527140"/>
                  <a:gd name="connsiteX323" fmla="*/ 28031 w 245008"/>
                  <a:gd name="connsiteY323" fmla="*/ 159097 h 527140"/>
                  <a:gd name="connsiteX324" fmla="*/ 26971 w 245008"/>
                  <a:gd name="connsiteY324" fmla="*/ 159248 h 527140"/>
                  <a:gd name="connsiteX325" fmla="*/ 26668 w 245008"/>
                  <a:gd name="connsiteY325" fmla="*/ 160309 h 527140"/>
                  <a:gd name="connsiteX326" fmla="*/ 26971 w 245008"/>
                  <a:gd name="connsiteY326" fmla="*/ 162885 h 527140"/>
                  <a:gd name="connsiteX327" fmla="*/ 25607 w 245008"/>
                  <a:gd name="connsiteY327" fmla="*/ 165764 h 527140"/>
                  <a:gd name="connsiteX328" fmla="*/ 24698 w 245008"/>
                  <a:gd name="connsiteY328" fmla="*/ 168339 h 527140"/>
                  <a:gd name="connsiteX329" fmla="*/ 25001 w 245008"/>
                  <a:gd name="connsiteY329" fmla="*/ 170764 h 527140"/>
                  <a:gd name="connsiteX330" fmla="*/ 25455 w 245008"/>
                  <a:gd name="connsiteY330" fmla="*/ 173188 h 527140"/>
                  <a:gd name="connsiteX331" fmla="*/ 26971 w 245008"/>
                  <a:gd name="connsiteY331" fmla="*/ 178491 h 527140"/>
                  <a:gd name="connsiteX332" fmla="*/ 26971 w 245008"/>
                  <a:gd name="connsiteY332" fmla="*/ 180461 h 527140"/>
                  <a:gd name="connsiteX333" fmla="*/ 26668 w 245008"/>
                  <a:gd name="connsiteY333" fmla="*/ 182279 h 527140"/>
                  <a:gd name="connsiteX334" fmla="*/ 25910 w 245008"/>
                  <a:gd name="connsiteY334" fmla="*/ 183037 h 527140"/>
                  <a:gd name="connsiteX335" fmla="*/ 24546 w 245008"/>
                  <a:gd name="connsiteY335" fmla="*/ 182885 h 527140"/>
                  <a:gd name="connsiteX336" fmla="*/ 23789 w 245008"/>
                  <a:gd name="connsiteY336" fmla="*/ 183643 h 527140"/>
                  <a:gd name="connsiteX337" fmla="*/ 23183 w 245008"/>
                  <a:gd name="connsiteY337" fmla="*/ 184704 h 527140"/>
                  <a:gd name="connsiteX338" fmla="*/ 21667 w 245008"/>
                  <a:gd name="connsiteY338" fmla="*/ 188795 h 527140"/>
                  <a:gd name="connsiteX339" fmla="*/ 20152 w 245008"/>
                  <a:gd name="connsiteY339" fmla="*/ 189249 h 527140"/>
                  <a:gd name="connsiteX340" fmla="*/ 18637 w 245008"/>
                  <a:gd name="connsiteY340" fmla="*/ 188643 h 527140"/>
                  <a:gd name="connsiteX341" fmla="*/ 16364 w 245008"/>
                  <a:gd name="connsiteY341" fmla="*/ 185916 h 527140"/>
                  <a:gd name="connsiteX342" fmla="*/ 15000 w 245008"/>
                  <a:gd name="connsiteY342" fmla="*/ 185158 h 527140"/>
                  <a:gd name="connsiteX343" fmla="*/ 14091 w 245008"/>
                  <a:gd name="connsiteY343" fmla="*/ 185158 h 527140"/>
                  <a:gd name="connsiteX344" fmla="*/ 13637 w 245008"/>
                  <a:gd name="connsiteY344" fmla="*/ 185916 h 527140"/>
                  <a:gd name="connsiteX345" fmla="*/ 13031 w 245008"/>
                  <a:gd name="connsiteY345" fmla="*/ 187582 h 527140"/>
                  <a:gd name="connsiteX346" fmla="*/ 12425 w 245008"/>
                  <a:gd name="connsiteY346" fmla="*/ 188643 h 527140"/>
                  <a:gd name="connsiteX347" fmla="*/ 10910 w 245008"/>
                  <a:gd name="connsiteY347" fmla="*/ 189552 h 527140"/>
                  <a:gd name="connsiteX348" fmla="*/ 11061 w 245008"/>
                  <a:gd name="connsiteY348" fmla="*/ 190613 h 527140"/>
                  <a:gd name="connsiteX349" fmla="*/ 11061 w 245008"/>
                  <a:gd name="connsiteY349" fmla="*/ 200007 h 527140"/>
                  <a:gd name="connsiteX350" fmla="*/ 11364 w 245008"/>
                  <a:gd name="connsiteY350" fmla="*/ 204098 h 527140"/>
                  <a:gd name="connsiteX351" fmla="*/ 12273 w 245008"/>
                  <a:gd name="connsiteY351" fmla="*/ 207432 h 527140"/>
                  <a:gd name="connsiteX352" fmla="*/ 12425 w 245008"/>
                  <a:gd name="connsiteY352" fmla="*/ 208644 h 527140"/>
                  <a:gd name="connsiteX353" fmla="*/ 11516 w 245008"/>
                  <a:gd name="connsiteY353" fmla="*/ 209705 h 527140"/>
                  <a:gd name="connsiteX354" fmla="*/ 10606 w 245008"/>
                  <a:gd name="connsiteY354" fmla="*/ 209856 h 527140"/>
                  <a:gd name="connsiteX355" fmla="*/ 9849 w 245008"/>
                  <a:gd name="connsiteY355" fmla="*/ 208189 h 527140"/>
                  <a:gd name="connsiteX356" fmla="*/ 8031 w 245008"/>
                  <a:gd name="connsiteY356" fmla="*/ 206977 h 527140"/>
                  <a:gd name="connsiteX357" fmla="*/ 5303 w 245008"/>
                  <a:gd name="connsiteY357" fmla="*/ 205613 h 527140"/>
                  <a:gd name="connsiteX358" fmla="*/ 4091 w 245008"/>
                  <a:gd name="connsiteY358" fmla="*/ 204704 h 527140"/>
                  <a:gd name="connsiteX359" fmla="*/ 2727 w 245008"/>
                  <a:gd name="connsiteY359" fmla="*/ 205007 h 527140"/>
                  <a:gd name="connsiteX360" fmla="*/ 757 w 245008"/>
                  <a:gd name="connsiteY360" fmla="*/ 206977 h 527140"/>
                  <a:gd name="connsiteX361" fmla="*/ 0 w 245008"/>
                  <a:gd name="connsiteY361" fmla="*/ 208795 h 527140"/>
                  <a:gd name="connsiteX362" fmla="*/ 303 w 245008"/>
                  <a:gd name="connsiteY362" fmla="*/ 211371 h 527140"/>
                  <a:gd name="connsiteX363" fmla="*/ 909 w 245008"/>
                  <a:gd name="connsiteY363" fmla="*/ 213947 h 527140"/>
                  <a:gd name="connsiteX364" fmla="*/ 2273 w 245008"/>
                  <a:gd name="connsiteY364" fmla="*/ 215462 h 527140"/>
                  <a:gd name="connsiteX365" fmla="*/ 2424 w 245008"/>
                  <a:gd name="connsiteY365" fmla="*/ 217129 h 527140"/>
                  <a:gd name="connsiteX366" fmla="*/ 2879 w 245008"/>
                  <a:gd name="connsiteY366" fmla="*/ 219250 h 527140"/>
                  <a:gd name="connsiteX367" fmla="*/ 3636 w 245008"/>
                  <a:gd name="connsiteY367" fmla="*/ 221220 h 527140"/>
                  <a:gd name="connsiteX368" fmla="*/ 3940 w 245008"/>
                  <a:gd name="connsiteY368" fmla="*/ 223341 h 527140"/>
                  <a:gd name="connsiteX369" fmla="*/ 5455 w 245008"/>
                  <a:gd name="connsiteY369" fmla="*/ 225463 h 527140"/>
                  <a:gd name="connsiteX370" fmla="*/ 11667 w 245008"/>
                  <a:gd name="connsiteY370" fmla="*/ 232433 h 527140"/>
                  <a:gd name="connsiteX371" fmla="*/ 14849 w 245008"/>
                  <a:gd name="connsiteY371" fmla="*/ 237433 h 527140"/>
                  <a:gd name="connsiteX372" fmla="*/ 15152 w 245008"/>
                  <a:gd name="connsiteY372" fmla="*/ 232887 h 527140"/>
                  <a:gd name="connsiteX373" fmla="*/ 14546 w 245008"/>
                  <a:gd name="connsiteY373" fmla="*/ 229705 h 527140"/>
                  <a:gd name="connsiteX374" fmla="*/ 15304 w 245008"/>
                  <a:gd name="connsiteY374" fmla="*/ 229705 h 527140"/>
                  <a:gd name="connsiteX375" fmla="*/ 16667 w 245008"/>
                  <a:gd name="connsiteY375" fmla="*/ 232433 h 527140"/>
                  <a:gd name="connsiteX376" fmla="*/ 18486 w 245008"/>
                  <a:gd name="connsiteY376" fmla="*/ 233948 h 527140"/>
                  <a:gd name="connsiteX377" fmla="*/ 19546 w 245008"/>
                  <a:gd name="connsiteY377" fmla="*/ 236069 h 527140"/>
                  <a:gd name="connsiteX378" fmla="*/ 18940 w 245008"/>
                  <a:gd name="connsiteY378" fmla="*/ 237130 h 527140"/>
                  <a:gd name="connsiteX379" fmla="*/ 18182 w 245008"/>
                  <a:gd name="connsiteY379" fmla="*/ 237736 h 527140"/>
                  <a:gd name="connsiteX380" fmla="*/ 16819 w 245008"/>
                  <a:gd name="connsiteY380" fmla="*/ 239706 h 527140"/>
                  <a:gd name="connsiteX381" fmla="*/ 17879 w 245008"/>
                  <a:gd name="connsiteY381" fmla="*/ 240615 h 527140"/>
                  <a:gd name="connsiteX382" fmla="*/ 19395 w 245008"/>
                  <a:gd name="connsiteY382" fmla="*/ 241372 h 527140"/>
                  <a:gd name="connsiteX383" fmla="*/ 22425 w 245008"/>
                  <a:gd name="connsiteY383" fmla="*/ 237584 h 527140"/>
                  <a:gd name="connsiteX384" fmla="*/ 23183 w 245008"/>
                  <a:gd name="connsiteY384" fmla="*/ 235918 h 527140"/>
                  <a:gd name="connsiteX385" fmla="*/ 23637 w 245008"/>
                  <a:gd name="connsiteY385" fmla="*/ 234251 h 527140"/>
                  <a:gd name="connsiteX386" fmla="*/ 24546 w 245008"/>
                  <a:gd name="connsiteY386" fmla="*/ 235008 h 527140"/>
                  <a:gd name="connsiteX387" fmla="*/ 23183 w 245008"/>
                  <a:gd name="connsiteY387" fmla="*/ 240463 h 527140"/>
                  <a:gd name="connsiteX388" fmla="*/ 24698 w 245008"/>
                  <a:gd name="connsiteY388" fmla="*/ 240312 h 527140"/>
                  <a:gd name="connsiteX389" fmla="*/ 25455 w 245008"/>
                  <a:gd name="connsiteY389" fmla="*/ 240463 h 527140"/>
                  <a:gd name="connsiteX390" fmla="*/ 23940 w 245008"/>
                  <a:gd name="connsiteY390" fmla="*/ 241979 h 527140"/>
                  <a:gd name="connsiteX391" fmla="*/ 22880 w 245008"/>
                  <a:gd name="connsiteY391" fmla="*/ 243494 h 527140"/>
                  <a:gd name="connsiteX392" fmla="*/ 26364 w 245008"/>
                  <a:gd name="connsiteY392" fmla="*/ 249555 h 527140"/>
                  <a:gd name="connsiteX393" fmla="*/ 28031 w 245008"/>
                  <a:gd name="connsiteY393" fmla="*/ 249706 h 527140"/>
                  <a:gd name="connsiteX394" fmla="*/ 28334 w 245008"/>
                  <a:gd name="connsiteY394" fmla="*/ 248342 h 527140"/>
                  <a:gd name="connsiteX395" fmla="*/ 27122 w 245008"/>
                  <a:gd name="connsiteY395" fmla="*/ 244251 h 527140"/>
                  <a:gd name="connsiteX396" fmla="*/ 29698 w 245008"/>
                  <a:gd name="connsiteY396" fmla="*/ 243494 h 527140"/>
                  <a:gd name="connsiteX397" fmla="*/ 32729 w 245008"/>
                  <a:gd name="connsiteY397" fmla="*/ 243797 h 527140"/>
                  <a:gd name="connsiteX398" fmla="*/ 34092 w 245008"/>
                  <a:gd name="connsiteY398" fmla="*/ 244403 h 527140"/>
                  <a:gd name="connsiteX399" fmla="*/ 34850 w 245008"/>
                  <a:gd name="connsiteY399" fmla="*/ 245160 h 527140"/>
                  <a:gd name="connsiteX400" fmla="*/ 38789 w 245008"/>
                  <a:gd name="connsiteY400" fmla="*/ 248039 h 527140"/>
                  <a:gd name="connsiteX401" fmla="*/ 42274 w 245008"/>
                  <a:gd name="connsiteY401" fmla="*/ 248039 h 527140"/>
                  <a:gd name="connsiteX402" fmla="*/ 40910 w 245008"/>
                  <a:gd name="connsiteY402" fmla="*/ 249706 h 527140"/>
                  <a:gd name="connsiteX403" fmla="*/ 39547 w 245008"/>
                  <a:gd name="connsiteY403" fmla="*/ 251979 h 527140"/>
                  <a:gd name="connsiteX404" fmla="*/ 41062 w 245008"/>
                  <a:gd name="connsiteY404" fmla="*/ 253191 h 527140"/>
                  <a:gd name="connsiteX405" fmla="*/ 43032 w 245008"/>
                  <a:gd name="connsiteY405" fmla="*/ 254100 h 527140"/>
                  <a:gd name="connsiteX406" fmla="*/ 43638 w 245008"/>
                  <a:gd name="connsiteY406" fmla="*/ 255464 h 527140"/>
                  <a:gd name="connsiteX407" fmla="*/ 43941 w 245008"/>
                  <a:gd name="connsiteY407" fmla="*/ 256524 h 527140"/>
                  <a:gd name="connsiteX408" fmla="*/ 45911 w 245008"/>
                  <a:gd name="connsiteY408" fmla="*/ 258646 h 527140"/>
                  <a:gd name="connsiteX409" fmla="*/ 47274 w 245008"/>
                  <a:gd name="connsiteY409" fmla="*/ 259555 h 527140"/>
                  <a:gd name="connsiteX410" fmla="*/ 49244 w 245008"/>
                  <a:gd name="connsiteY410" fmla="*/ 260161 h 527140"/>
                  <a:gd name="connsiteX411" fmla="*/ 50305 w 245008"/>
                  <a:gd name="connsiteY411" fmla="*/ 261373 h 527140"/>
                  <a:gd name="connsiteX412" fmla="*/ 49244 w 245008"/>
                  <a:gd name="connsiteY412" fmla="*/ 264555 h 527140"/>
                  <a:gd name="connsiteX413" fmla="*/ 47123 w 245008"/>
                  <a:gd name="connsiteY413" fmla="*/ 266222 h 527140"/>
                  <a:gd name="connsiteX414" fmla="*/ 45456 w 245008"/>
                  <a:gd name="connsiteY414" fmla="*/ 267131 h 527140"/>
                  <a:gd name="connsiteX415" fmla="*/ 42880 w 245008"/>
                  <a:gd name="connsiteY415" fmla="*/ 266373 h 527140"/>
                  <a:gd name="connsiteX416" fmla="*/ 38789 w 245008"/>
                  <a:gd name="connsiteY416" fmla="*/ 262585 h 527140"/>
                  <a:gd name="connsiteX417" fmla="*/ 37426 w 245008"/>
                  <a:gd name="connsiteY417" fmla="*/ 262737 h 527140"/>
                  <a:gd name="connsiteX418" fmla="*/ 36365 w 245008"/>
                  <a:gd name="connsiteY418" fmla="*/ 263494 h 527140"/>
                  <a:gd name="connsiteX419" fmla="*/ 39244 w 245008"/>
                  <a:gd name="connsiteY419" fmla="*/ 268646 h 527140"/>
                  <a:gd name="connsiteX420" fmla="*/ 42123 w 245008"/>
                  <a:gd name="connsiteY420" fmla="*/ 273192 h 527140"/>
                  <a:gd name="connsiteX421" fmla="*/ 44698 w 245008"/>
                  <a:gd name="connsiteY421" fmla="*/ 275010 h 527140"/>
                  <a:gd name="connsiteX422" fmla="*/ 48183 w 245008"/>
                  <a:gd name="connsiteY422" fmla="*/ 276677 h 527140"/>
                  <a:gd name="connsiteX423" fmla="*/ 49093 w 245008"/>
                  <a:gd name="connsiteY423" fmla="*/ 275010 h 527140"/>
                  <a:gd name="connsiteX424" fmla="*/ 49244 w 245008"/>
                  <a:gd name="connsiteY424" fmla="*/ 273949 h 527140"/>
                  <a:gd name="connsiteX425" fmla="*/ 48486 w 245008"/>
                  <a:gd name="connsiteY425" fmla="*/ 269707 h 527140"/>
                  <a:gd name="connsiteX426" fmla="*/ 50153 w 245008"/>
                  <a:gd name="connsiteY426" fmla="*/ 268646 h 527140"/>
                  <a:gd name="connsiteX427" fmla="*/ 50760 w 245008"/>
                  <a:gd name="connsiteY427" fmla="*/ 266222 h 527140"/>
                  <a:gd name="connsiteX428" fmla="*/ 51365 w 245008"/>
                  <a:gd name="connsiteY428" fmla="*/ 265767 h 527140"/>
                  <a:gd name="connsiteX429" fmla="*/ 51214 w 245008"/>
                  <a:gd name="connsiteY429" fmla="*/ 269707 h 527140"/>
                  <a:gd name="connsiteX430" fmla="*/ 52123 w 245008"/>
                  <a:gd name="connsiteY430" fmla="*/ 276828 h 527140"/>
                  <a:gd name="connsiteX431" fmla="*/ 52729 w 245008"/>
                  <a:gd name="connsiteY431" fmla="*/ 278040 h 527140"/>
                  <a:gd name="connsiteX432" fmla="*/ 56972 w 245008"/>
                  <a:gd name="connsiteY432" fmla="*/ 281071 h 527140"/>
                  <a:gd name="connsiteX433" fmla="*/ 54850 w 245008"/>
                  <a:gd name="connsiteY433" fmla="*/ 281374 h 527140"/>
                  <a:gd name="connsiteX434" fmla="*/ 57123 w 245008"/>
                  <a:gd name="connsiteY434" fmla="*/ 284859 h 527140"/>
                  <a:gd name="connsiteX435" fmla="*/ 57427 w 245008"/>
                  <a:gd name="connsiteY435" fmla="*/ 287738 h 527140"/>
                  <a:gd name="connsiteX436" fmla="*/ 61972 w 245008"/>
                  <a:gd name="connsiteY436" fmla="*/ 296374 h 527140"/>
                  <a:gd name="connsiteX437" fmla="*/ 63638 w 245008"/>
                  <a:gd name="connsiteY437" fmla="*/ 306981 h 527140"/>
                  <a:gd name="connsiteX438" fmla="*/ 65457 w 245008"/>
                  <a:gd name="connsiteY438" fmla="*/ 310466 h 527140"/>
                  <a:gd name="connsiteX439" fmla="*/ 66215 w 245008"/>
                  <a:gd name="connsiteY439" fmla="*/ 314102 h 527140"/>
                  <a:gd name="connsiteX440" fmla="*/ 65608 w 245008"/>
                  <a:gd name="connsiteY440" fmla="*/ 321375 h 527140"/>
                  <a:gd name="connsiteX441" fmla="*/ 63638 w 245008"/>
                  <a:gd name="connsiteY441" fmla="*/ 325315 h 527140"/>
                  <a:gd name="connsiteX442" fmla="*/ 63033 w 245008"/>
                  <a:gd name="connsiteY442" fmla="*/ 326224 h 527140"/>
                  <a:gd name="connsiteX443" fmla="*/ 62426 w 245008"/>
                  <a:gd name="connsiteY443" fmla="*/ 331224 h 527140"/>
                  <a:gd name="connsiteX444" fmla="*/ 61063 w 245008"/>
                  <a:gd name="connsiteY444" fmla="*/ 333649 h 527140"/>
                  <a:gd name="connsiteX445" fmla="*/ 59850 w 245008"/>
                  <a:gd name="connsiteY445" fmla="*/ 340012 h 527140"/>
                  <a:gd name="connsiteX446" fmla="*/ 59093 w 245008"/>
                  <a:gd name="connsiteY446" fmla="*/ 341831 h 527140"/>
                  <a:gd name="connsiteX447" fmla="*/ 57578 w 245008"/>
                  <a:gd name="connsiteY447" fmla="*/ 343346 h 527140"/>
                  <a:gd name="connsiteX448" fmla="*/ 56062 w 245008"/>
                  <a:gd name="connsiteY448" fmla="*/ 354255 h 527140"/>
                  <a:gd name="connsiteX449" fmla="*/ 56366 w 245008"/>
                  <a:gd name="connsiteY449" fmla="*/ 357286 h 527140"/>
                  <a:gd name="connsiteX450" fmla="*/ 58487 w 245008"/>
                  <a:gd name="connsiteY450" fmla="*/ 357589 h 527140"/>
                  <a:gd name="connsiteX451" fmla="*/ 62426 w 245008"/>
                  <a:gd name="connsiteY451" fmla="*/ 355165 h 527140"/>
                  <a:gd name="connsiteX452" fmla="*/ 63942 w 245008"/>
                  <a:gd name="connsiteY452" fmla="*/ 352589 h 527140"/>
                  <a:gd name="connsiteX453" fmla="*/ 66517 w 245008"/>
                  <a:gd name="connsiteY453" fmla="*/ 349710 h 527140"/>
                  <a:gd name="connsiteX454" fmla="*/ 67881 w 245008"/>
                  <a:gd name="connsiteY454" fmla="*/ 349104 h 527140"/>
                  <a:gd name="connsiteX455" fmla="*/ 68639 w 245008"/>
                  <a:gd name="connsiteY455" fmla="*/ 348346 h 527140"/>
                  <a:gd name="connsiteX456" fmla="*/ 68942 w 245008"/>
                  <a:gd name="connsiteY456" fmla="*/ 345922 h 527140"/>
                  <a:gd name="connsiteX457" fmla="*/ 69548 w 245008"/>
                  <a:gd name="connsiteY457" fmla="*/ 343497 h 527140"/>
                  <a:gd name="connsiteX458" fmla="*/ 69851 w 245008"/>
                  <a:gd name="connsiteY458" fmla="*/ 345164 h 527140"/>
                  <a:gd name="connsiteX459" fmla="*/ 70003 w 245008"/>
                  <a:gd name="connsiteY459" fmla="*/ 346679 h 527140"/>
                  <a:gd name="connsiteX460" fmla="*/ 68791 w 245008"/>
                  <a:gd name="connsiteY460" fmla="*/ 351073 h 527140"/>
                  <a:gd name="connsiteX461" fmla="*/ 68942 w 245008"/>
                  <a:gd name="connsiteY461" fmla="*/ 354104 h 527140"/>
                  <a:gd name="connsiteX462" fmla="*/ 68184 w 245008"/>
                  <a:gd name="connsiteY462" fmla="*/ 356074 h 527140"/>
                  <a:gd name="connsiteX463" fmla="*/ 68336 w 245008"/>
                  <a:gd name="connsiteY463" fmla="*/ 358195 h 527140"/>
                  <a:gd name="connsiteX464" fmla="*/ 68487 w 245008"/>
                  <a:gd name="connsiteY464" fmla="*/ 360619 h 527140"/>
                  <a:gd name="connsiteX465" fmla="*/ 72275 w 245008"/>
                  <a:gd name="connsiteY465" fmla="*/ 358801 h 527140"/>
                  <a:gd name="connsiteX466" fmla="*/ 73639 w 245008"/>
                  <a:gd name="connsiteY466" fmla="*/ 357134 h 527140"/>
                  <a:gd name="connsiteX467" fmla="*/ 73942 w 245008"/>
                  <a:gd name="connsiteY467" fmla="*/ 355165 h 527140"/>
                  <a:gd name="connsiteX468" fmla="*/ 74851 w 245008"/>
                  <a:gd name="connsiteY468" fmla="*/ 352892 h 527140"/>
                  <a:gd name="connsiteX469" fmla="*/ 75003 w 245008"/>
                  <a:gd name="connsiteY469" fmla="*/ 354104 h 527140"/>
                  <a:gd name="connsiteX470" fmla="*/ 74548 w 245008"/>
                  <a:gd name="connsiteY470" fmla="*/ 355619 h 527140"/>
                  <a:gd name="connsiteX471" fmla="*/ 74851 w 245008"/>
                  <a:gd name="connsiteY471" fmla="*/ 356983 h 527140"/>
                  <a:gd name="connsiteX472" fmla="*/ 74851 w 245008"/>
                  <a:gd name="connsiteY472" fmla="*/ 358649 h 527140"/>
                  <a:gd name="connsiteX473" fmla="*/ 76215 w 245008"/>
                  <a:gd name="connsiteY473" fmla="*/ 363195 h 527140"/>
                  <a:gd name="connsiteX474" fmla="*/ 80003 w 245008"/>
                  <a:gd name="connsiteY474" fmla="*/ 362589 h 527140"/>
                  <a:gd name="connsiteX475" fmla="*/ 82730 w 245008"/>
                  <a:gd name="connsiteY475" fmla="*/ 362892 h 527140"/>
                  <a:gd name="connsiteX476" fmla="*/ 84094 w 245008"/>
                  <a:gd name="connsiteY476" fmla="*/ 361528 h 527140"/>
                  <a:gd name="connsiteX477" fmla="*/ 86973 w 245008"/>
                  <a:gd name="connsiteY477" fmla="*/ 357134 h 527140"/>
                  <a:gd name="connsiteX478" fmla="*/ 87276 w 245008"/>
                  <a:gd name="connsiteY478" fmla="*/ 355316 h 527140"/>
                  <a:gd name="connsiteX479" fmla="*/ 87731 w 245008"/>
                  <a:gd name="connsiteY479" fmla="*/ 358498 h 527140"/>
                  <a:gd name="connsiteX480" fmla="*/ 86215 w 245008"/>
                  <a:gd name="connsiteY480" fmla="*/ 361377 h 527140"/>
                  <a:gd name="connsiteX481" fmla="*/ 86064 w 245008"/>
                  <a:gd name="connsiteY481" fmla="*/ 364862 h 527140"/>
                  <a:gd name="connsiteX482" fmla="*/ 87276 w 245008"/>
                  <a:gd name="connsiteY482" fmla="*/ 365619 h 527140"/>
                  <a:gd name="connsiteX483" fmla="*/ 88336 w 245008"/>
                  <a:gd name="connsiteY483" fmla="*/ 365771 h 527140"/>
                  <a:gd name="connsiteX484" fmla="*/ 92882 w 245008"/>
                  <a:gd name="connsiteY484" fmla="*/ 362589 h 527140"/>
                  <a:gd name="connsiteX485" fmla="*/ 96216 w 245008"/>
                  <a:gd name="connsiteY485" fmla="*/ 358649 h 527140"/>
                  <a:gd name="connsiteX486" fmla="*/ 97125 w 245008"/>
                  <a:gd name="connsiteY486" fmla="*/ 355922 h 527140"/>
                  <a:gd name="connsiteX487" fmla="*/ 98489 w 245008"/>
                  <a:gd name="connsiteY487" fmla="*/ 353195 h 527140"/>
                  <a:gd name="connsiteX488" fmla="*/ 105307 w 245008"/>
                  <a:gd name="connsiteY488" fmla="*/ 350770 h 527140"/>
                  <a:gd name="connsiteX489" fmla="*/ 105913 w 245008"/>
                  <a:gd name="connsiteY489" fmla="*/ 349861 h 527140"/>
                  <a:gd name="connsiteX490" fmla="*/ 106216 w 245008"/>
                  <a:gd name="connsiteY490" fmla="*/ 348346 h 527140"/>
                  <a:gd name="connsiteX491" fmla="*/ 107277 w 245008"/>
                  <a:gd name="connsiteY491" fmla="*/ 348043 h 527140"/>
                  <a:gd name="connsiteX492" fmla="*/ 108792 w 245008"/>
                  <a:gd name="connsiteY492" fmla="*/ 348346 h 527140"/>
                  <a:gd name="connsiteX493" fmla="*/ 113186 w 245008"/>
                  <a:gd name="connsiteY493" fmla="*/ 346528 h 527140"/>
                  <a:gd name="connsiteX494" fmla="*/ 114095 w 245008"/>
                  <a:gd name="connsiteY494" fmla="*/ 345619 h 527140"/>
                  <a:gd name="connsiteX495" fmla="*/ 111671 w 245008"/>
                  <a:gd name="connsiteY495" fmla="*/ 342134 h 527140"/>
                  <a:gd name="connsiteX496" fmla="*/ 111671 w 245008"/>
                  <a:gd name="connsiteY496" fmla="*/ 340315 h 527140"/>
                  <a:gd name="connsiteX497" fmla="*/ 110307 w 245008"/>
                  <a:gd name="connsiteY497" fmla="*/ 336527 h 527140"/>
                  <a:gd name="connsiteX498" fmla="*/ 111216 w 245008"/>
                  <a:gd name="connsiteY498" fmla="*/ 336224 h 527140"/>
                  <a:gd name="connsiteX499" fmla="*/ 111974 w 245008"/>
                  <a:gd name="connsiteY499" fmla="*/ 336679 h 527140"/>
                  <a:gd name="connsiteX500" fmla="*/ 112277 w 245008"/>
                  <a:gd name="connsiteY500" fmla="*/ 339709 h 527140"/>
                  <a:gd name="connsiteX501" fmla="*/ 112883 w 245008"/>
                  <a:gd name="connsiteY501" fmla="*/ 341528 h 527140"/>
                  <a:gd name="connsiteX502" fmla="*/ 115156 w 245008"/>
                  <a:gd name="connsiteY502" fmla="*/ 343649 h 527140"/>
                  <a:gd name="connsiteX503" fmla="*/ 116974 w 245008"/>
                  <a:gd name="connsiteY503" fmla="*/ 344103 h 527140"/>
                  <a:gd name="connsiteX504" fmla="*/ 119095 w 245008"/>
                  <a:gd name="connsiteY504" fmla="*/ 343800 h 527140"/>
                  <a:gd name="connsiteX505" fmla="*/ 122277 w 245008"/>
                  <a:gd name="connsiteY505" fmla="*/ 342437 h 527140"/>
                  <a:gd name="connsiteX506" fmla="*/ 126217 w 245008"/>
                  <a:gd name="connsiteY506" fmla="*/ 338346 h 527140"/>
                  <a:gd name="connsiteX507" fmla="*/ 127429 w 245008"/>
                  <a:gd name="connsiteY507" fmla="*/ 336376 h 527140"/>
                  <a:gd name="connsiteX508" fmla="*/ 128793 w 245008"/>
                  <a:gd name="connsiteY508" fmla="*/ 332436 h 527140"/>
                  <a:gd name="connsiteX509" fmla="*/ 130156 w 245008"/>
                  <a:gd name="connsiteY509" fmla="*/ 329406 h 527140"/>
                  <a:gd name="connsiteX510" fmla="*/ 128641 w 245008"/>
                  <a:gd name="connsiteY510" fmla="*/ 324557 h 527140"/>
                  <a:gd name="connsiteX511" fmla="*/ 130308 w 245008"/>
                  <a:gd name="connsiteY511" fmla="*/ 321678 h 527140"/>
                  <a:gd name="connsiteX512" fmla="*/ 129399 w 245008"/>
                  <a:gd name="connsiteY512" fmla="*/ 320618 h 527140"/>
                  <a:gd name="connsiteX513" fmla="*/ 128641 w 245008"/>
                  <a:gd name="connsiteY513" fmla="*/ 318951 h 527140"/>
                  <a:gd name="connsiteX514" fmla="*/ 131823 w 245008"/>
                  <a:gd name="connsiteY514" fmla="*/ 321224 h 527140"/>
                  <a:gd name="connsiteX515" fmla="*/ 134702 w 245008"/>
                  <a:gd name="connsiteY515" fmla="*/ 324254 h 527140"/>
                  <a:gd name="connsiteX516" fmla="*/ 135460 w 245008"/>
                  <a:gd name="connsiteY516" fmla="*/ 325466 h 527140"/>
                  <a:gd name="connsiteX517" fmla="*/ 138187 w 245008"/>
                  <a:gd name="connsiteY517" fmla="*/ 327436 h 527140"/>
                  <a:gd name="connsiteX518" fmla="*/ 137581 w 245008"/>
                  <a:gd name="connsiteY518" fmla="*/ 328345 h 527140"/>
                  <a:gd name="connsiteX519" fmla="*/ 138490 w 245008"/>
                  <a:gd name="connsiteY519" fmla="*/ 333042 h 527140"/>
                  <a:gd name="connsiteX520" fmla="*/ 140005 w 245008"/>
                  <a:gd name="connsiteY520" fmla="*/ 337285 h 527140"/>
                  <a:gd name="connsiteX521" fmla="*/ 141672 w 245008"/>
                  <a:gd name="connsiteY521" fmla="*/ 339255 h 527140"/>
                  <a:gd name="connsiteX522" fmla="*/ 142884 w 245008"/>
                  <a:gd name="connsiteY522" fmla="*/ 343346 h 527140"/>
                  <a:gd name="connsiteX523" fmla="*/ 146369 w 245008"/>
                  <a:gd name="connsiteY523" fmla="*/ 343346 h 527140"/>
                  <a:gd name="connsiteX524" fmla="*/ 149551 w 245008"/>
                  <a:gd name="connsiteY524" fmla="*/ 343043 h 527140"/>
                  <a:gd name="connsiteX525" fmla="*/ 150915 w 245008"/>
                  <a:gd name="connsiteY525" fmla="*/ 342588 h 527140"/>
                  <a:gd name="connsiteX526" fmla="*/ 152430 w 245008"/>
                  <a:gd name="connsiteY526" fmla="*/ 342134 h 527140"/>
                  <a:gd name="connsiteX527" fmla="*/ 150763 w 245008"/>
                  <a:gd name="connsiteY527" fmla="*/ 343497 h 527140"/>
                  <a:gd name="connsiteX528" fmla="*/ 149854 w 245008"/>
                  <a:gd name="connsiteY528" fmla="*/ 345316 h 527140"/>
                  <a:gd name="connsiteX529" fmla="*/ 150005 w 245008"/>
                  <a:gd name="connsiteY529" fmla="*/ 351073 h 527140"/>
                  <a:gd name="connsiteX530" fmla="*/ 149096 w 245008"/>
                  <a:gd name="connsiteY530" fmla="*/ 354104 h 527140"/>
                  <a:gd name="connsiteX531" fmla="*/ 148339 w 245008"/>
                  <a:gd name="connsiteY531" fmla="*/ 357589 h 527140"/>
                  <a:gd name="connsiteX532" fmla="*/ 151824 w 245008"/>
                  <a:gd name="connsiteY532" fmla="*/ 361680 h 527140"/>
                  <a:gd name="connsiteX533" fmla="*/ 153642 w 245008"/>
                  <a:gd name="connsiteY533" fmla="*/ 374105 h 527140"/>
                  <a:gd name="connsiteX534" fmla="*/ 152884 w 245008"/>
                  <a:gd name="connsiteY534" fmla="*/ 377590 h 527140"/>
                  <a:gd name="connsiteX535" fmla="*/ 154400 w 245008"/>
                  <a:gd name="connsiteY535" fmla="*/ 380923 h 527140"/>
                  <a:gd name="connsiteX536" fmla="*/ 154703 w 245008"/>
                  <a:gd name="connsiteY536" fmla="*/ 390014 h 527140"/>
                  <a:gd name="connsiteX537" fmla="*/ 156218 w 245008"/>
                  <a:gd name="connsiteY537" fmla="*/ 393348 h 527140"/>
                  <a:gd name="connsiteX538" fmla="*/ 158036 w 245008"/>
                  <a:gd name="connsiteY538" fmla="*/ 392590 h 527140"/>
                  <a:gd name="connsiteX539" fmla="*/ 160309 w 245008"/>
                  <a:gd name="connsiteY539" fmla="*/ 395621 h 527140"/>
                  <a:gd name="connsiteX540" fmla="*/ 157884 w 245008"/>
                  <a:gd name="connsiteY540" fmla="*/ 394408 h 527140"/>
                  <a:gd name="connsiteX541" fmla="*/ 157279 w 245008"/>
                  <a:gd name="connsiteY541" fmla="*/ 395621 h 527140"/>
                  <a:gd name="connsiteX542" fmla="*/ 159097 w 245008"/>
                  <a:gd name="connsiteY542" fmla="*/ 400924 h 527140"/>
                  <a:gd name="connsiteX543" fmla="*/ 159703 w 245008"/>
                  <a:gd name="connsiteY543" fmla="*/ 404409 h 527140"/>
                  <a:gd name="connsiteX544" fmla="*/ 162430 w 245008"/>
                  <a:gd name="connsiteY544" fmla="*/ 409257 h 527140"/>
                  <a:gd name="connsiteX545" fmla="*/ 161672 w 245008"/>
                  <a:gd name="connsiteY545" fmla="*/ 414106 h 527140"/>
                  <a:gd name="connsiteX546" fmla="*/ 162430 w 245008"/>
                  <a:gd name="connsiteY546" fmla="*/ 416530 h 527140"/>
                  <a:gd name="connsiteX547" fmla="*/ 162733 w 245008"/>
                  <a:gd name="connsiteY547" fmla="*/ 421682 h 527140"/>
                  <a:gd name="connsiteX548" fmla="*/ 163794 w 245008"/>
                  <a:gd name="connsiteY548" fmla="*/ 423500 h 527140"/>
                  <a:gd name="connsiteX549" fmla="*/ 165158 w 245008"/>
                  <a:gd name="connsiteY549" fmla="*/ 414257 h 527140"/>
                  <a:gd name="connsiteX550" fmla="*/ 166218 w 245008"/>
                  <a:gd name="connsiteY550" fmla="*/ 415470 h 527140"/>
                  <a:gd name="connsiteX551" fmla="*/ 166521 w 245008"/>
                  <a:gd name="connsiteY551" fmla="*/ 418046 h 527140"/>
                  <a:gd name="connsiteX552" fmla="*/ 166370 w 245008"/>
                  <a:gd name="connsiteY552" fmla="*/ 421076 h 527140"/>
                  <a:gd name="connsiteX553" fmla="*/ 171218 w 245008"/>
                  <a:gd name="connsiteY553" fmla="*/ 428046 h 527140"/>
                  <a:gd name="connsiteX554" fmla="*/ 173036 w 245008"/>
                  <a:gd name="connsiteY554" fmla="*/ 433349 h 527140"/>
                  <a:gd name="connsiteX555" fmla="*/ 175461 w 245008"/>
                  <a:gd name="connsiteY555" fmla="*/ 436986 h 527140"/>
                  <a:gd name="connsiteX556" fmla="*/ 175915 w 245008"/>
                  <a:gd name="connsiteY556" fmla="*/ 441834 h 527140"/>
                  <a:gd name="connsiteX557" fmla="*/ 177128 w 245008"/>
                  <a:gd name="connsiteY557" fmla="*/ 445622 h 527140"/>
                  <a:gd name="connsiteX558" fmla="*/ 177128 w 245008"/>
                  <a:gd name="connsiteY558" fmla="*/ 447744 h 527140"/>
                  <a:gd name="connsiteX559" fmla="*/ 177885 w 245008"/>
                  <a:gd name="connsiteY559" fmla="*/ 450774 h 527140"/>
                  <a:gd name="connsiteX560" fmla="*/ 177885 w 245008"/>
                  <a:gd name="connsiteY560" fmla="*/ 454108 h 527140"/>
                  <a:gd name="connsiteX561" fmla="*/ 176824 w 245008"/>
                  <a:gd name="connsiteY561" fmla="*/ 456835 h 527140"/>
                  <a:gd name="connsiteX562" fmla="*/ 178340 w 245008"/>
                  <a:gd name="connsiteY562" fmla="*/ 459411 h 527140"/>
                  <a:gd name="connsiteX563" fmla="*/ 176673 w 245008"/>
                  <a:gd name="connsiteY563" fmla="*/ 460774 h 527140"/>
                  <a:gd name="connsiteX564" fmla="*/ 176219 w 245008"/>
                  <a:gd name="connsiteY564" fmla="*/ 462290 h 527140"/>
                  <a:gd name="connsiteX565" fmla="*/ 176976 w 245008"/>
                  <a:gd name="connsiteY565" fmla="*/ 462896 h 527140"/>
                  <a:gd name="connsiteX566" fmla="*/ 178794 w 245008"/>
                  <a:gd name="connsiteY566" fmla="*/ 462896 h 527140"/>
                  <a:gd name="connsiteX567" fmla="*/ 177885 w 245008"/>
                  <a:gd name="connsiteY567" fmla="*/ 465623 h 527140"/>
                  <a:gd name="connsiteX568" fmla="*/ 178491 w 245008"/>
                  <a:gd name="connsiteY568" fmla="*/ 467744 h 527140"/>
                  <a:gd name="connsiteX569" fmla="*/ 178643 w 245008"/>
                  <a:gd name="connsiteY569" fmla="*/ 470169 h 527140"/>
                  <a:gd name="connsiteX570" fmla="*/ 177431 w 245008"/>
                  <a:gd name="connsiteY570" fmla="*/ 471381 h 527140"/>
                  <a:gd name="connsiteX571" fmla="*/ 177279 w 245008"/>
                  <a:gd name="connsiteY571" fmla="*/ 472441 h 527140"/>
                  <a:gd name="connsiteX572" fmla="*/ 176824 w 245008"/>
                  <a:gd name="connsiteY572" fmla="*/ 474260 h 527140"/>
                  <a:gd name="connsiteX573" fmla="*/ 177128 w 245008"/>
                  <a:gd name="connsiteY573" fmla="*/ 475927 h 527140"/>
                  <a:gd name="connsiteX574" fmla="*/ 178643 w 245008"/>
                  <a:gd name="connsiteY574" fmla="*/ 476532 h 527140"/>
                  <a:gd name="connsiteX575" fmla="*/ 181673 w 245008"/>
                  <a:gd name="connsiteY575" fmla="*/ 474866 h 527140"/>
                  <a:gd name="connsiteX576" fmla="*/ 182582 w 245008"/>
                  <a:gd name="connsiteY576" fmla="*/ 475927 h 527140"/>
                  <a:gd name="connsiteX577" fmla="*/ 183491 w 245008"/>
                  <a:gd name="connsiteY577" fmla="*/ 476532 h 527140"/>
                  <a:gd name="connsiteX578" fmla="*/ 181219 w 245008"/>
                  <a:gd name="connsiteY578" fmla="*/ 478048 h 527140"/>
                  <a:gd name="connsiteX579" fmla="*/ 179855 w 245008"/>
                  <a:gd name="connsiteY579" fmla="*/ 480017 h 527140"/>
                  <a:gd name="connsiteX580" fmla="*/ 180007 w 245008"/>
                  <a:gd name="connsiteY580" fmla="*/ 481987 h 527140"/>
                  <a:gd name="connsiteX581" fmla="*/ 179703 w 245008"/>
                  <a:gd name="connsiteY581" fmla="*/ 484412 h 527140"/>
                  <a:gd name="connsiteX582" fmla="*/ 179552 w 245008"/>
                  <a:gd name="connsiteY582" fmla="*/ 487291 h 527140"/>
                  <a:gd name="connsiteX583" fmla="*/ 180007 w 245008"/>
                  <a:gd name="connsiteY583" fmla="*/ 489715 h 527140"/>
                  <a:gd name="connsiteX584" fmla="*/ 178340 w 245008"/>
                  <a:gd name="connsiteY584" fmla="*/ 492594 h 527140"/>
                  <a:gd name="connsiteX585" fmla="*/ 178189 w 245008"/>
                  <a:gd name="connsiteY585" fmla="*/ 496685 h 527140"/>
                  <a:gd name="connsiteX586" fmla="*/ 176067 w 245008"/>
                  <a:gd name="connsiteY586" fmla="*/ 500018 h 527140"/>
                  <a:gd name="connsiteX587" fmla="*/ 174401 w 245008"/>
                  <a:gd name="connsiteY587" fmla="*/ 503352 h 527140"/>
                  <a:gd name="connsiteX588" fmla="*/ 173491 w 245008"/>
                  <a:gd name="connsiteY588" fmla="*/ 503958 h 527140"/>
                  <a:gd name="connsiteX589" fmla="*/ 172431 w 245008"/>
                  <a:gd name="connsiteY589" fmla="*/ 505170 h 527140"/>
                  <a:gd name="connsiteX590" fmla="*/ 173946 w 245008"/>
                  <a:gd name="connsiteY590" fmla="*/ 514110 h 527140"/>
                  <a:gd name="connsiteX591" fmla="*/ 173188 w 245008"/>
                  <a:gd name="connsiteY591" fmla="*/ 518807 h 527140"/>
                  <a:gd name="connsiteX592" fmla="*/ 173794 w 245008"/>
                  <a:gd name="connsiteY592" fmla="*/ 520928 h 527140"/>
                  <a:gd name="connsiteX593" fmla="*/ 174855 w 245008"/>
                  <a:gd name="connsiteY593" fmla="*/ 522898 h 527140"/>
                  <a:gd name="connsiteX594" fmla="*/ 177431 w 245008"/>
                  <a:gd name="connsiteY594" fmla="*/ 518958 h 527140"/>
                  <a:gd name="connsiteX595" fmla="*/ 178643 w 245008"/>
                  <a:gd name="connsiteY595" fmla="*/ 518655 h 527140"/>
                  <a:gd name="connsiteX596" fmla="*/ 179098 w 245008"/>
                  <a:gd name="connsiteY596" fmla="*/ 516534 h 527140"/>
                  <a:gd name="connsiteX597" fmla="*/ 179855 w 245008"/>
                  <a:gd name="connsiteY597" fmla="*/ 514261 h 527140"/>
                  <a:gd name="connsiteX598" fmla="*/ 180461 w 245008"/>
                  <a:gd name="connsiteY598" fmla="*/ 511988 h 527140"/>
                  <a:gd name="connsiteX599" fmla="*/ 180613 w 245008"/>
                  <a:gd name="connsiteY599" fmla="*/ 508503 h 527140"/>
                  <a:gd name="connsiteX600" fmla="*/ 180158 w 245008"/>
                  <a:gd name="connsiteY600" fmla="*/ 506685 h 527140"/>
                  <a:gd name="connsiteX601" fmla="*/ 180158 w 245008"/>
                  <a:gd name="connsiteY601" fmla="*/ 505624 h 527140"/>
                  <a:gd name="connsiteX602" fmla="*/ 180916 w 245008"/>
                  <a:gd name="connsiteY602" fmla="*/ 504261 h 527140"/>
                  <a:gd name="connsiteX603" fmla="*/ 183643 w 245008"/>
                  <a:gd name="connsiteY603" fmla="*/ 502140 h 527140"/>
                  <a:gd name="connsiteX604" fmla="*/ 187431 w 245008"/>
                  <a:gd name="connsiteY604" fmla="*/ 498503 h 527140"/>
                  <a:gd name="connsiteX605" fmla="*/ 191977 w 245008"/>
                  <a:gd name="connsiteY605" fmla="*/ 493351 h 527140"/>
                  <a:gd name="connsiteX606" fmla="*/ 196522 w 245008"/>
                  <a:gd name="connsiteY606" fmla="*/ 485472 h 527140"/>
                  <a:gd name="connsiteX607" fmla="*/ 198795 w 245008"/>
                  <a:gd name="connsiteY607" fmla="*/ 480926 h 527140"/>
                  <a:gd name="connsiteX608" fmla="*/ 199704 w 245008"/>
                  <a:gd name="connsiteY608" fmla="*/ 479260 h 527140"/>
                  <a:gd name="connsiteX609" fmla="*/ 200765 w 245008"/>
                  <a:gd name="connsiteY609" fmla="*/ 478805 h 527140"/>
                  <a:gd name="connsiteX610" fmla="*/ 202280 w 245008"/>
                  <a:gd name="connsiteY610" fmla="*/ 477290 h 527140"/>
                  <a:gd name="connsiteX611" fmla="*/ 203341 w 245008"/>
                  <a:gd name="connsiteY611" fmla="*/ 475623 h 527140"/>
                  <a:gd name="connsiteX612" fmla="*/ 203341 w 245008"/>
                  <a:gd name="connsiteY612" fmla="*/ 474714 h 527140"/>
                  <a:gd name="connsiteX613" fmla="*/ 200765 w 245008"/>
                  <a:gd name="connsiteY613" fmla="*/ 466229 h 527140"/>
                  <a:gd name="connsiteX614" fmla="*/ 199098 w 245008"/>
                  <a:gd name="connsiteY614" fmla="*/ 463502 h 527140"/>
                  <a:gd name="connsiteX615" fmla="*/ 198341 w 245008"/>
                  <a:gd name="connsiteY615" fmla="*/ 460168 h 527140"/>
                  <a:gd name="connsiteX616" fmla="*/ 197886 w 245008"/>
                  <a:gd name="connsiteY616" fmla="*/ 457744 h 527140"/>
                  <a:gd name="connsiteX617" fmla="*/ 197280 w 245008"/>
                  <a:gd name="connsiteY617" fmla="*/ 455623 h 527140"/>
                  <a:gd name="connsiteX618" fmla="*/ 197583 w 245008"/>
                  <a:gd name="connsiteY618" fmla="*/ 453501 h 527140"/>
                  <a:gd name="connsiteX619" fmla="*/ 196674 w 245008"/>
                  <a:gd name="connsiteY619" fmla="*/ 452289 h 527140"/>
                  <a:gd name="connsiteX620" fmla="*/ 194704 w 245008"/>
                  <a:gd name="connsiteY620" fmla="*/ 450622 h 527140"/>
                  <a:gd name="connsiteX621" fmla="*/ 192583 w 245008"/>
                  <a:gd name="connsiteY621" fmla="*/ 448198 h 527140"/>
                  <a:gd name="connsiteX622" fmla="*/ 191371 w 245008"/>
                  <a:gd name="connsiteY622" fmla="*/ 444259 h 527140"/>
                  <a:gd name="connsiteX623" fmla="*/ 191371 w 245008"/>
                  <a:gd name="connsiteY623" fmla="*/ 442137 h 527140"/>
                  <a:gd name="connsiteX624" fmla="*/ 190007 w 245008"/>
                  <a:gd name="connsiteY624" fmla="*/ 440168 h 527140"/>
                  <a:gd name="connsiteX625" fmla="*/ 189553 w 245008"/>
                  <a:gd name="connsiteY625" fmla="*/ 438198 h 527140"/>
                  <a:gd name="connsiteX626" fmla="*/ 190310 w 245008"/>
                  <a:gd name="connsiteY626" fmla="*/ 436228 h 527140"/>
                  <a:gd name="connsiteX627" fmla="*/ 191371 w 245008"/>
                  <a:gd name="connsiteY627" fmla="*/ 434561 h 527140"/>
                  <a:gd name="connsiteX628" fmla="*/ 191219 w 245008"/>
                  <a:gd name="connsiteY628" fmla="*/ 427288 h 527140"/>
                  <a:gd name="connsiteX629" fmla="*/ 190765 w 245008"/>
                  <a:gd name="connsiteY629" fmla="*/ 425167 h 527140"/>
                  <a:gd name="connsiteX630" fmla="*/ 190310 w 245008"/>
                  <a:gd name="connsiteY630" fmla="*/ 421228 h 527140"/>
                  <a:gd name="connsiteX631" fmla="*/ 188946 w 245008"/>
                  <a:gd name="connsiteY631" fmla="*/ 418349 h 527140"/>
                  <a:gd name="connsiteX632" fmla="*/ 186977 w 245008"/>
                  <a:gd name="connsiteY632" fmla="*/ 414863 h 527140"/>
                  <a:gd name="connsiteX633" fmla="*/ 184704 w 245008"/>
                  <a:gd name="connsiteY633" fmla="*/ 411985 h 527140"/>
                  <a:gd name="connsiteX634" fmla="*/ 178946 w 245008"/>
                  <a:gd name="connsiteY634" fmla="*/ 406833 h 527140"/>
                  <a:gd name="connsiteX635" fmla="*/ 174855 w 245008"/>
                  <a:gd name="connsiteY635" fmla="*/ 403348 h 527140"/>
                  <a:gd name="connsiteX636" fmla="*/ 172734 w 245008"/>
                  <a:gd name="connsiteY636" fmla="*/ 400166 h 527140"/>
                  <a:gd name="connsiteX637" fmla="*/ 170158 w 245008"/>
                  <a:gd name="connsiteY637" fmla="*/ 396530 h 527140"/>
                  <a:gd name="connsiteX638" fmla="*/ 168339 w 245008"/>
                  <a:gd name="connsiteY638" fmla="*/ 393954 h 527140"/>
                  <a:gd name="connsiteX639" fmla="*/ 165915 w 245008"/>
                  <a:gd name="connsiteY639" fmla="*/ 390620 h 527140"/>
                  <a:gd name="connsiteX640" fmla="*/ 164703 w 245008"/>
                  <a:gd name="connsiteY640" fmla="*/ 386075 h 527140"/>
                  <a:gd name="connsiteX641" fmla="*/ 164097 w 245008"/>
                  <a:gd name="connsiteY641" fmla="*/ 381378 h 527140"/>
                  <a:gd name="connsiteX642" fmla="*/ 164400 w 245008"/>
                  <a:gd name="connsiteY642" fmla="*/ 379862 h 527140"/>
                  <a:gd name="connsiteX643" fmla="*/ 165460 w 245008"/>
                  <a:gd name="connsiteY643" fmla="*/ 378802 h 527140"/>
                  <a:gd name="connsiteX644" fmla="*/ 166976 w 245008"/>
                  <a:gd name="connsiteY644" fmla="*/ 377893 h 527140"/>
                  <a:gd name="connsiteX645" fmla="*/ 168188 w 245008"/>
                  <a:gd name="connsiteY645" fmla="*/ 377741 h 527140"/>
                  <a:gd name="connsiteX646" fmla="*/ 171522 w 245008"/>
                  <a:gd name="connsiteY646" fmla="*/ 375620 h 527140"/>
                  <a:gd name="connsiteX647" fmla="*/ 173794 w 245008"/>
                  <a:gd name="connsiteY647" fmla="*/ 375771 h 527140"/>
                  <a:gd name="connsiteX648" fmla="*/ 174401 w 245008"/>
                  <a:gd name="connsiteY648" fmla="*/ 375317 h 527140"/>
                  <a:gd name="connsiteX649" fmla="*/ 174703 w 245008"/>
                  <a:gd name="connsiteY649" fmla="*/ 374256 h 527140"/>
                  <a:gd name="connsiteX650" fmla="*/ 174401 w 245008"/>
                  <a:gd name="connsiteY650" fmla="*/ 369862 h 527140"/>
                  <a:gd name="connsiteX651" fmla="*/ 174552 w 245008"/>
                  <a:gd name="connsiteY651" fmla="*/ 364104 h 527140"/>
                  <a:gd name="connsiteX652" fmla="*/ 175006 w 245008"/>
                  <a:gd name="connsiteY652" fmla="*/ 359407 h 527140"/>
                  <a:gd name="connsiteX653" fmla="*/ 175461 w 245008"/>
                  <a:gd name="connsiteY653" fmla="*/ 356225 h 527140"/>
                  <a:gd name="connsiteX654" fmla="*/ 181673 w 245008"/>
                  <a:gd name="connsiteY654" fmla="*/ 352589 h 527140"/>
                  <a:gd name="connsiteX655" fmla="*/ 183037 w 245008"/>
                  <a:gd name="connsiteY655" fmla="*/ 351073 h 527140"/>
                  <a:gd name="connsiteX656" fmla="*/ 183643 w 245008"/>
                  <a:gd name="connsiteY656" fmla="*/ 349407 h 527140"/>
                  <a:gd name="connsiteX657" fmla="*/ 183643 w 245008"/>
                  <a:gd name="connsiteY657" fmla="*/ 347891 h 527140"/>
                  <a:gd name="connsiteX658" fmla="*/ 183189 w 245008"/>
                  <a:gd name="connsiteY658" fmla="*/ 346679 h 527140"/>
                  <a:gd name="connsiteX659" fmla="*/ 182279 w 245008"/>
                  <a:gd name="connsiteY659" fmla="*/ 346073 h 527140"/>
                  <a:gd name="connsiteX660" fmla="*/ 178340 w 245008"/>
                  <a:gd name="connsiteY660" fmla="*/ 349255 h 527140"/>
                  <a:gd name="connsiteX661" fmla="*/ 177582 w 245008"/>
                  <a:gd name="connsiteY661" fmla="*/ 348498 h 527140"/>
                  <a:gd name="connsiteX662" fmla="*/ 175764 w 245008"/>
                  <a:gd name="connsiteY662" fmla="*/ 343346 h 527140"/>
                  <a:gd name="connsiteX663" fmla="*/ 175006 w 245008"/>
                  <a:gd name="connsiteY663" fmla="*/ 341831 h 527140"/>
                  <a:gd name="connsiteX664" fmla="*/ 173794 w 245008"/>
                  <a:gd name="connsiteY664" fmla="*/ 340012 h 527140"/>
                  <a:gd name="connsiteX665" fmla="*/ 172582 w 245008"/>
                  <a:gd name="connsiteY665" fmla="*/ 337437 h 527140"/>
                  <a:gd name="connsiteX666" fmla="*/ 172431 w 245008"/>
                  <a:gd name="connsiteY666" fmla="*/ 332891 h 527140"/>
                  <a:gd name="connsiteX667" fmla="*/ 171522 w 245008"/>
                  <a:gd name="connsiteY667" fmla="*/ 330618 h 527140"/>
                  <a:gd name="connsiteX668" fmla="*/ 166521 w 245008"/>
                  <a:gd name="connsiteY668" fmla="*/ 325769 h 527140"/>
                  <a:gd name="connsiteX669" fmla="*/ 164248 w 245008"/>
                  <a:gd name="connsiteY669" fmla="*/ 323194 h 527140"/>
                  <a:gd name="connsiteX670" fmla="*/ 161218 w 245008"/>
                  <a:gd name="connsiteY670" fmla="*/ 319406 h 527140"/>
                  <a:gd name="connsiteX671" fmla="*/ 157582 w 245008"/>
                  <a:gd name="connsiteY671" fmla="*/ 314860 h 527140"/>
                  <a:gd name="connsiteX672" fmla="*/ 153793 w 245008"/>
                  <a:gd name="connsiteY672" fmla="*/ 310769 h 527140"/>
                  <a:gd name="connsiteX673" fmla="*/ 151975 w 245008"/>
                  <a:gd name="connsiteY673" fmla="*/ 308042 h 527140"/>
                  <a:gd name="connsiteX674" fmla="*/ 151369 w 245008"/>
                  <a:gd name="connsiteY674" fmla="*/ 307435 h 527140"/>
                  <a:gd name="connsiteX675" fmla="*/ 151218 w 245008"/>
                  <a:gd name="connsiteY675" fmla="*/ 306375 h 527140"/>
                  <a:gd name="connsiteX676" fmla="*/ 152278 w 245008"/>
                  <a:gd name="connsiteY676" fmla="*/ 303496 h 527140"/>
                  <a:gd name="connsiteX677" fmla="*/ 151672 w 245008"/>
                  <a:gd name="connsiteY677" fmla="*/ 300617 h 527140"/>
                  <a:gd name="connsiteX678" fmla="*/ 149854 w 245008"/>
                  <a:gd name="connsiteY678" fmla="*/ 296829 h 527140"/>
                  <a:gd name="connsiteX679" fmla="*/ 149096 w 245008"/>
                  <a:gd name="connsiteY679" fmla="*/ 294405 h 527140"/>
                  <a:gd name="connsiteX680" fmla="*/ 149399 w 245008"/>
                  <a:gd name="connsiteY680" fmla="*/ 293495 h 527140"/>
                  <a:gd name="connsiteX681" fmla="*/ 148490 w 245008"/>
                  <a:gd name="connsiteY681" fmla="*/ 293192 h 527140"/>
                  <a:gd name="connsiteX682" fmla="*/ 146369 w 245008"/>
                  <a:gd name="connsiteY682" fmla="*/ 293344 h 527140"/>
                  <a:gd name="connsiteX683" fmla="*/ 144399 w 245008"/>
                  <a:gd name="connsiteY683" fmla="*/ 291526 h 527140"/>
                  <a:gd name="connsiteX684" fmla="*/ 142429 w 245008"/>
                  <a:gd name="connsiteY684" fmla="*/ 287738 h 527140"/>
                  <a:gd name="connsiteX685" fmla="*/ 142278 w 245008"/>
                  <a:gd name="connsiteY685" fmla="*/ 287132 h 527140"/>
                  <a:gd name="connsiteX686" fmla="*/ 142884 w 245008"/>
                  <a:gd name="connsiteY686" fmla="*/ 287132 h 527140"/>
                  <a:gd name="connsiteX687" fmla="*/ 145308 w 245008"/>
                  <a:gd name="connsiteY687" fmla="*/ 287738 h 527140"/>
                  <a:gd name="connsiteX688" fmla="*/ 146066 w 245008"/>
                  <a:gd name="connsiteY688" fmla="*/ 287586 h 527140"/>
                  <a:gd name="connsiteX689" fmla="*/ 147733 w 245008"/>
                  <a:gd name="connsiteY689" fmla="*/ 286677 h 527140"/>
                  <a:gd name="connsiteX690" fmla="*/ 150308 w 245008"/>
                  <a:gd name="connsiteY690" fmla="*/ 285768 h 527140"/>
                  <a:gd name="connsiteX691" fmla="*/ 151824 w 245008"/>
                  <a:gd name="connsiteY691" fmla="*/ 285465 h 527140"/>
                  <a:gd name="connsiteX692" fmla="*/ 152278 w 245008"/>
                  <a:gd name="connsiteY692" fmla="*/ 285010 h 527140"/>
                  <a:gd name="connsiteX693" fmla="*/ 152430 w 245008"/>
                  <a:gd name="connsiteY693" fmla="*/ 284101 h 527140"/>
                  <a:gd name="connsiteX694" fmla="*/ 151066 w 245008"/>
                  <a:gd name="connsiteY694" fmla="*/ 275313 h 527140"/>
                  <a:gd name="connsiteX695" fmla="*/ 151218 w 245008"/>
                  <a:gd name="connsiteY695" fmla="*/ 273495 h 527140"/>
                  <a:gd name="connsiteX696" fmla="*/ 153642 w 245008"/>
                  <a:gd name="connsiteY696" fmla="*/ 269707 h 527140"/>
                  <a:gd name="connsiteX697" fmla="*/ 153339 w 245008"/>
                  <a:gd name="connsiteY697" fmla="*/ 265919 h 527140"/>
                  <a:gd name="connsiteX698" fmla="*/ 153945 w 245008"/>
                  <a:gd name="connsiteY698" fmla="*/ 260464 h 527140"/>
                  <a:gd name="connsiteX699" fmla="*/ 156672 w 245008"/>
                  <a:gd name="connsiteY699" fmla="*/ 256676 h 527140"/>
                  <a:gd name="connsiteX700" fmla="*/ 158794 w 245008"/>
                  <a:gd name="connsiteY700" fmla="*/ 255009 h 527140"/>
                  <a:gd name="connsiteX701" fmla="*/ 159400 w 245008"/>
                  <a:gd name="connsiteY701" fmla="*/ 252282 h 527140"/>
                  <a:gd name="connsiteX702" fmla="*/ 160309 w 245008"/>
                  <a:gd name="connsiteY702" fmla="*/ 251676 h 527140"/>
                  <a:gd name="connsiteX703" fmla="*/ 161976 w 245008"/>
                  <a:gd name="connsiteY703" fmla="*/ 251827 h 527140"/>
                  <a:gd name="connsiteX704" fmla="*/ 165460 w 245008"/>
                  <a:gd name="connsiteY704" fmla="*/ 253797 h 527140"/>
                  <a:gd name="connsiteX705" fmla="*/ 166976 w 245008"/>
                  <a:gd name="connsiteY705" fmla="*/ 253949 h 527140"/>
                  <a:gd name="connsiteX706" fmla="*/ 169097 w 245008"/>
                  <a:gd name="connsiteY706" fmla="*/ 253949 h 527140"/>
                  <a:gd name="connsiteX707" fmla="*/ 171370 w 245008"/>
                  <a:gd name="connsiteY707" fmla="*/ 253797 h 527140"/>
                  <a:gd name="connsiteX708" fmla="*/ 172431 w 245008"/>
                  <a:gd name="connsiteY708" fmla="*/ 253645 h 527140"/>
                  <a:gd name="connsiteX709" fmla="*/ 179703 w 245008"/>
                  <a:gd name="connsiteY709" fmla="*/ 251676 h 527140"/>
                  <a:gd name="connsiteX710" fmla="*/ 181370 w 245008"/>
                  <a:gd name="connsiteY710" fmla="*/ 251524 h 527140"/>
                  <a:gd name="connsiteX711" fmla="*/ 182886 w 245008"/>
                  <a:gd name="connsiteY711" fmla="*/ 251827 h 527140"/>
                  <a:gd name="connsiteX712" fmla="*/ 183946 w 245008"/>
                  <a:gd name="connsiteY712" fmla="*/ 251676 h 527140"/>
                  <a:gd name="connsiteX713" fmla="*/ 185007 w 245008"/>
                  <a:gd name="connsiteY713" fmla="*/ 250767 h 527140"/>
                  <a:gd name="connsiteX714" fmla="*/ 185765 w 245008"/>
                  <a:gd name="connsiteY714" fmla="*/ 249100 h 527140"/>
                  <a:gd name="connsiteX715" fmla="*/ 186674 w 245008"/>
                  <a:gd name="connsiteY715" fmla="*/ 243948 h 527140"/>
                  <a:gd name="connsiteX716" fmla="*/ 187128 w 245008"/>
                  <a:gd name="connsiteY716" fmla="*/ 243039 h 527140"/>
                  <a:gd name="connsiteX717" fmla="*/ 188037 w 245008"/>
                  <a:gd name="connsiteY717" fmla="*/ 242281 h 527140"/>
                  <a:gd name="connsiteX718" fmla="*/ 189553 w 245008"/>
                  <a:gd name="connsiteY718" fmla="*/ 241827 h 527140"/>
                  <a:gd name="connsiteX719" fmla="*/ 191371 w 245008"/>
                  <a:gd name="connsiteY719" fmla="*/ 241827 h 527140"/>
                  <a:gd name="connsiteX720" fmla="*/ 193795 w 245008"/>
                  <a:gd name="connsiteY720" fmla="*/ 242736 h 527140"/>
                  <a:gd name="connsiteX721" fmla="*/ 195310 w 245008"/>
                  <a:gd name="connsiteY721" fmla="*/ 242736 h 527140"/>
                  <a:gd name="connsiteX722" fmla="*/ 196977 w 245008"/>
                  <a:gd name="connsiteY722" fmla="*/ 242281 h 527140"/>
                  <a:gd name="connsiteX723" fmla="*/ 198341 w 245008"/>
                  <a:gd name="connsiteY723" fmla="*/ 241524 h 527140"/>
                  <a:gd name="connsiteX724" fmla="*/ 199250 w 245008"/>
                  <a:gd name="connsiteY724" fmla="*/ 240615 h 527140"/>
                  <a:gd name="connsiteX725" fmla="*/ 199704 w 245008"/>
                  <a:gd name="connsiteY725" fmla="*/ 239554 h 527140"/>
                  <a:gd name="connsiteX726" fmla="*/ 199250 w 245008"/>
                  <a:gd name="connsiteY726" fmla="*/ 237433 h 527140"/>
                  <a:gd name="connsiteX727" fmla="*/ 198189 w 245008"/>
                  <a:gd name="connsiteY727" fmla="*/ 234857 h 527140"/>
                  <a:gd name="connsiteX728" fmla="*/ 198492 w 245008"/>
                  <a:gd name="connsiteY728" fmla="*/ 234554 h 527140"/>
                  <a:gd name="connsiteX729" fmla="*/ 200462 w 245008"/>
                  <a:gd name="connsiteY729" fmla="*/ 235160 h 527140"/>
                  <a:gd name="connsiteX730" fmla="*/ 203341 w 245008"/>
                  <a:gd name="connsiteY730" fmla="*/ 235766 h 527140"/>
                  <a:gd name="connsiteX731" fmla="*/ 205614 w 245008"/>
                  <a:gd name="connsiteY731" fmla="*/ 235615 h 527140"/>
                  <a:gd name="connsiteX732" fmla="*/ 207129 w 245008"/>
                  <a:gd name="connsiteY732" fmla="*/ 235160 h 527140"/>
                  <a:gd name="connsiteX733" fmla="*/ 208493 w 245008"/>
                  <a:gd name="connsiteY733" fmla="*/ 233948 h 527140"/>
                  <a:gd name="connsiteX734" fmla="*/ 210311 w 245008"/>
                  <a:gd name="connsiteY734" fmla="*/ 232887 h 527140"/>
                  <a:gd name="connsiteX735" fmla="*/ 212129 w 245008"/>
                  <a:gd name="connsiteY735" fmla="*/ 233190 h 527140"/>
                  <a:gd name="connsiteX736" fmla="*/ 213493 w 245008"/>
                  <a:gd name="connsiteY736" fmla="*/ 234251 h 527140"/>
                  <a:gd name="connsiteX737" fmla="*/ 216675 w 245008"/>
                  <a:gd name="connsiteY737" fmla="*/ 236069 h 527140"/>
                  <a:gd name="connsiteX738" fmla="*/ 216826 w 245008"/>
                  <a:gd name="connsiteY738" fmla="*/ 234554 h 527140"/>
                  <a:gd name="connsiteX739" fmla="*/ 218341 w 245008"/>
                  <a:gd name="connsiteY739" fmla="*/ 228342 h 527140"/>
                  <a:gd name="connsiteX740" fmla="*/ 220160 w 245008"/>
                  <a:gd name="connsiteY740" fmla="*/ 224402 h 527140"/>
                  <a:gd name="connsiteX741" fmla="*/ 222281 w 245008"/>
                  <a:gd name="connsiteY741" fmla="*/ 222584 h 527140"/>
                  <a:gd name="connsiteX742" fmla="*/ 224554 w 245008"/>
                  <a:gd name="connsiteY742" fmla="*/ 221826 h 527140"/>
                  <a:gd name="connsiteX743" fmla="*/ 226978 w 245008"/>
                  <a:gd name="connsiteY743" fmla="*/ 222129 h 527140"/>
                  <a:gd name="connsiteX744" fmla="*/ 228948 w 245008"/>
                  <a:gd name="connsiteY744" fmla="*/ 221826 h 527140"/>
                  <a:gd name="connsiteX745" fmla="*/ 230463 w 245008"/>
                  <a:gd name="connsiteY745" fmla="*/ 220917 h 527140"/>
                  <a:gd name="connsiteX746" fmla="*/ 230311 w 245008"/>
                  <a:gd name="connsiteY746" fmla="*/ 220311 h 527140"/>
                  <a:gd name="connsiteX747" fmla="*/ 228493 w 245008"/>
                  <a:gd name="connsiteY747" fmla="*/ 220160 h 527140"/>
                  <a:gd name="connsiteX748" fmla="*/ 227736 w 245008"/>
                  <a:gd name="connsiteY748" fmla="*/ 219099 h 527140"/>
                  <a:gd name="connsiteX749" fmla="*/ 228190 w 245008"/>
                  <a:gd name="connsiteY749" fmla="*/ 217129 h 527140"/>
                  <a:gd name="connsiteX750" fmla="*/ 229099 w 245008"/>
                  <a:gd name="connsiteY750" fmla="*/ 215765 h 527140"/>
                  <a:gd name="connsiteX751" fmla="*/ 230311 w 245008"/>
                  <a:gd name="connsiteY751" fmla="*/ 215159 h 527140"/>
                  <a:gd name="connsiteX752" fmla="*/ 231524 w 245008"/>
                  <a:gd name="connsiteY752" fmla="*/ 213189 h 527140"/>
                  <a:gd name="connsiteX753" fmla="*/ 232736 w 245008"/>
                  <a:gd name="connsiteY753" fmla="*/ 209705 h 527140"/>
                  <a:gd name="connsiteX754" fmla="*/ 234251 w 245008"/>
                  <a:gd name="connsiteY754" fmla="*/ 207886 h 527140"/>
                  <a:gd name="connsiteX755" fmla="*/ 235918 w 245008"/>
                  <a:gd name="connsiteY755" fmla="*/ 207886 h 527140"/>
                  <a:gd name="connsiteX756" fmla="*/ 238797 w 245008"/>
                  <a:gd name="connsiteY756" fmla="*/ 206371 h 527140"/>
                  <a:gd name="connsiteX757" fmla="*/ 243039 w 245008"/>
                  <a:gd name="connsiteY757" fmla="*/ 203492 h 527140"/>
                  <a:gd name="connsiteX758" fmla="*/ 244706 w 245008"/>
                  <a:gd name="connsiteY758" fmla="*/ 200613 h 527140"/>
                  <a:gd name="connsiteX759" fmla="*/ 245009 w 245008"/>
                  <a:gd name="connsiteY759" fmla="*/ 200159 h 527140"/>
                  <a:gd name="connsiteX760" fmla="*/ 244858 w 245008"/>
                  <a:gd name="connsiteY760" fmla="*/ 197128 h 527140"/>
                  <a:gd name="connsiteX761" fmla="*/ 163794 w 245008"/>
                  <a:gd name="connsiteY761" fmla="*/ 496836 h 527140"/>
                  <a:gd name="connsiteX762" fmla="*/ 163188 w 245008"/>
                  <a:gd name="connsiteY762" fmla="*/ 497291 h 527140"/>
                  <a:gd name="connsiteX763" fmla="*/ 161521 w 245008"/>
                  <a:gd name="connsiteY763" fmla="*/ 499412 h 527140"/>
                  <a:gd name="connsiteX764" fmla="*/ 163642 w 245008"/>
                  <a:gd name="connsiteY764" fmla="*/ 499109 h 527140"/>
                  <a:gd name="connsiteX765" fmla="*/ 165309 w 245008"/>
                  <a:gd name="connsiteY765" fmla="*/ 500776 h 527140"/>
                  <a:gd name="connsiteX766" fmla="*/ 166218 w 245008"/>
                  <a:gd name="connsiteY766" fmla="*/ 503352 h 527140"/>
                  <a:gd name="connsiteX767" fmla="*/ 166825 w 245008"/>
                  <a:gd name="connsiteY767" fmla="*/ 503503 h 527140"/>
                  <a:gd name="connsiteX768" fmla="*/ 167127 w 245008"/>
                  <a:gd name="connsiteY768" fmla="*/ 503200 h 527140"/>
                  <a:gd name="connsiteX769" fmla="*/ 167430 w 245008"/>
                  <a:gd name="connsiteY769" fmla="*/ 502443 h 527140"/>
                  <a:gd name="connsiteX770" fmla="*/ 165158 w 245008"/>
                  <a:gd name="connsiteY770" fmla="*/ 497745 h 527140"/>
                  <a:gd name="connsiteX771" fmla="*/ 163794 w 245008"/>
                  <a:gd name="connsiteY771" fmla="*/ 496836 h 527140"/>
                  <a:gd name="connsiteX772" fmla="*/ 174401 w 245008"/>
                  <a:gd name="connsiteY772" fmla="*/ 475775 h 527140"/>
                  <a:gd name="connsiteX773" fmla="*/ 173643 w 245008"/>
                  <a:gd name="connsiteY773" fmla="*/ 474108 h 527140"/>
                  <a:gd name="connsiteX774" fmla="*/ 169552 w 245008"/>
                  <a:gd name="connsiteY774" fmla="*/ 474411 h 527140"/>
                  <a:gd name="connsiteX775" fmla="*/ 170158 w 245008"/>
                  <a:gd name="connsiteY775" fmla="*/ 476532 h 527140"/>
                  <a:gd name="connsiteX776" fmla="*/ 170158 w 245008"/>
                  <a:gd name="connsiteY776" fmla="*/ 477442 h 527140"/>
                  <a:gd name="connsiteX777" fmla="*/ 171218 w 245008"/>
                  <a:gd name="connsiteY777" fmla="*/ 480624 h 527140"/>
                  <a:gd name="connsiteX778" fmla="*/ 171976 w 245008"/>
                  <a:gd name="connsiteY778" fmla="*/ 480624 h 527140"/>
                  <a:gd name="connsiteX779" fmla="*/ 173643 w 245008"/>
                  <a:gd name="connsiteY779" fmla="*/ 481381 h 527140"/>
                  <a:gd name="connsiteX780" fmla="*/ 174401 w 245008"/>
                  <a:gd name="connsiteY780" fmla="*/ 475775 h 527140"/>
                  <a:gd name="connsiteX781" fmla="*/ 43184 w 245008"/>
                  <a:gd name="connsiteY781" fmla="*/ 264555 h 527140"/>
                  <a:gd name="connsiteX782" fmla="*/ 44850 w 245008"/>
                  <a:gd name="connsiteY782" fmla="*/ 265313 h 527140"/>
                  <a:gd name="connsiteX783" fmla="*/ 47274 w 245008"/>
                  <a:gd name="connsiteY783" fmla="*/ 264404 h 527140"/>
                  <a:gd name="connsiteX784" fmla="*/ 48183 w 245008"/>
                  <a:gd name="connsiteY784" fmla="*/ 263494 h 527140"/>
                  <a:gd name="connsiteX785" fmla="*/ 48486 w 245008"/>
                  <a:gd name="connsiteY785" fmla="*/ 262282 h 527140"/>
                  <a:gd name="connsiteX786" fmla="*/ 48486 w 245008"/>
                  <a:gd name="connsiteY786" fmla="*/ 261676 h 527140"/>
                  <a:gd name="connsiteX787" fmla="*/ 46517 w 245008"/>
                  <a:gd name="connsiteY787" fmla="*/ 260161 h 527140"/>
                  <a:gd name="connsiteX788" fmla="*/ 45305 w 245008"/>
                  <a:gd name="connsiteY788" fmla="*/ 260312 h 527140"/>
                  <a:gd name="connsiteX789" fmla="*/ 42123 w 245008"/>
                  <a:gd name="connsiteY789" fmla="*/ 258040 h 527140"/>
                  <a:gd name="connsiteX790" fmla="*/ 41365 w 245008"/>
                  <a:gd name="connsiteY790" fmla="*/ 258494 h 527140"/>
                  <a:gd name="connsiteX791" fmla="*/ 40153 w 245008"/>
                  <a:gd name="connsiteY791" fmla="*/ 259858 h 527140"/>
                  <a:gd name="connsiteX792" fmla="*/ 40607 w 245008"/>
                  <a:gd name="connsiteY792" fmla="*/ 260919 h 527140"/>
                  <a:gd name="connsiteX793" fmla="*/ 42577 w 245008"/>
                  <a:gd name="connsiteY793" fmla="*/ 262131 h 527140"/>
                  <a:gd name="connsiteX794" fmla="*/ 43184 w 245008"/>
                  <a:gd name="connsiteY794" fmla="*/ 264555 h 527140"/>
                  <a:gd name="connsiteX795" fmla="*/ 172279 w 245008"/>
                  <a:gd name="connsiteY795" fmla="*/ 496836 h 527140"/>
                  <a:gd name="connsiteX796" fmla="*/ 172885 w 245008"/>
                  <a:gd name="connsiteY796" fmla="*/ 497291 h 527140"/>
                  <a:gd name="connsiteX797" fmla="*/ 173491 w 245008"/>
                  <a:gd name="connsiteY797" fmla="*/ 497442 h 527140"/>
                  <a:gd name="connsiteX798" fmla="*/ 174097 w 245008"/>
                  <a:gd name="connsiteY798" fmla="*/ 497442 h 527140"/>
                  <a:gd name="connsiteX799" fmla="*/ 173643 w 245008"/>
                  <a:gd name="connsiteY799" fmla="*/ 493957 h 527140"/>
                  <a:gd name="connsiteX800" fmla="*/ 172279 w 245008"/>
                  <a:gd name="connsiteY800" fmla="*/ 496836 h 527140"/>
                  <a:gd name="connsiteX801" fmla="*/ 166825 w 245008"/>
                  <a:gd name="connsiteY801" fmla="*/ 475472 h 527140"/>
                  <a:gd name="connsiteX802" fmla="*/ 165764 w 245008"/>
                  <a:gd name="connsiteY802" fmla="*/ 478654 h 527140"/>
                  <a:gd name="connsiteX803" fmla="*/ 164703 w 245008"/>
                  <a:gd name="connsiteY803" fmla="*/ 480775 h 527140"/>
                  <a:gd name="connsiteX804" fmla="*/ 164400 w 245008"/>
                  <a:gd name="connsiteY804" fmla="*/ 483351 h 527140"/>
                  <a:gd name="connsiteX805" fmla="*/ 165006 w 245008"/>
                  <a:gd name="connsiteY805" fmla="*/ 483805 h 527140"/>
                  <a:gd name="connsiteX806" fmla="*/ 165158 w 245008"/>
                  <a:gd name="connsiteY806" fmla="*/ 483805 h 527140"/>
                  <a:gd name="connsiteX807" fmla="*/ 165309 w 245008"/>
                  <a:gd name="connsiteY807" fmla="*/ 483199 h 527140"/>
                  <a:gd name="connsiteX808" fmla="*/ 166521 w 245008"/>
                  <a:gd name="connsiteY808" fmla="*/ 481987 h 527140"/>
                  <a:gd name="connsiteX809" fmla="*/ 167127 w 245008"/>
                  <a:gd name="connsiteY809" fmla="*/ 480017 h 527140"/>
                  <a:gd name="connsiteX810" fmla="*/ 167734 w 245008"/>
                  <a:gd name="connsiteY810" fmla="*/ 476532 h 527140"/>
                  <a:gd name="connsiteX811" fmla="*/ 167582 w 245008"/>
                  <a:gd name="connsiteY811" fmla="*/ 474866 h 527140"/>
                  <a:gd name="connsiteX812" fmla="*/ 166825 w 245008"/>
                  <a:gd name="connsiteY812" fmla="*/ 475472 h 527140"/>
                  <a:gd name="connsiteX813" fmla="*/ 167885 w 245008"/>
                  <a:gd name="connsiteY813" fmla="*/ 438349 h 527140"/>
                  <a:gd name="connsiteX814" fmla="*/ 167430 w 245008"/>
                  <a:gd name="connsiteY814" fmla="*/ 436834 h 527140"/>
                  <a:gd name="connsiteX815" fmla="*/ 166673 w 245008"/>
                  <a:gd name="connsiteY815" fmla="*/ 435773 h 527140"/>
                  <a:gd name="connsiteX816" fmla="*/ 166521 w 245008"/>
                  <a:gd name="connsiteY816" fmla="*/ 435470 h 527140"/>
                  <a:gd name="connsiteX817" fmla="*/ 166218 w 245008"/>
                  <a:gd name="connsiteY817" fmla="*/ 435773 h 527140"/>
                  <a:gd name="connsiteX818" fmla="*/ 166067 w 245008"/>
                  <a:gd name="connsiteY818" fmla="*/ 438046 h 527140"/>
                  <a:gd name="connsiteX819" fmla="*/ 166370 w 245008"/>
                  <a:gd name="connsiteY819" fmla="*/ 440471 h 527140"/>
                  <a:gd name="connsiteX820" fmla="*/ 167734 w 245008"/>
                  <a:gd name="connsiteY820" fmla="*/ 442592 h 527140"/>
                  <a:gd name="connsiteX821" fmla="*/ 167885 w 245008"/>
                  <a:gd name="connsiteY821" fmla="*/ 438349 h 527140"/>
                  <a:gd name="connsiteX822" fmla="*/ 172279 w 245008"/>
                  <a:gd name="connsiteY822" fmla="*/ 471532 h 527140"/>
                  <a:gd name="connsiteX823" fmla="*/ 173491 w 245008"/>
                  <a:gd name="connsiteY823" fmla="*/ 471381 h 527140"/>
                  <a:gd name="connsiteX824" fmla="*/ 175158 w 245008"/>
                  <a:gd name="connsiteY824" fmla="*/ 470775 h 527140"/>
                  <a:gd name="connsiteX825" fmla="*/ 176067 w 245008"/>
                  <a:gd name="connsiteY825" fmla="*/ 469866 h 527140"/>
                  <a:gd name="connsiteX826" fmla="*/ 173794 w 245008"/>
                  <a:gd name="connsiteY826" fmla="*/ 468502 h 527140"/>
                  <a:gd name="connsiteX827" fmla="*/ 172127 w 245008"/>
                  <a:gd name="connsiteY827" fmla="*/ 466381 h 527140"/>
                  <a:gd name="connsiteX828" fmla="*/ 171825 w 245008"/>
                  <a:gd name="connsiteY828" fmla="*/ 466987 h 527140"/>
                  <a:gd name="connsiteX829" fmla="*/ 172279 w 245008"/>
                  <a:gd name="connsiteY829" fmla="*/ 471532 h 527140"/>
                  <a:gd name="connsiteX830" fmla="*/ 171825 w 245008"/>
                  <a:gd name="connsiteY830" fmla="*/ 455623 h 527140"/>
                  <a:gd name="connsiteX831" fmla="*/ 172127 w 245008"/>
                  <a:gd name="connsiteY831" fmla="*/ 452895 h 527140"/>
                  <a:gd name="connsiteX832" fmla="*/ 171218 w 245008"/>
                  <a:gd name="connsiteY832" fmla="*/ 452895 h 527140"/>
                  <a:gd name="connsiteX833" fmla="*/ 170613 w 245008"/>
                  <a:gd name="connsiteY833" fmla="*/ 452138 h 527140"/>
                  <a:gd name="connsiteX834" fmla="*/ 170158 w 245008"/>
                  <a:gd name="connsiteY834" fmla="*/ 450774 h 527140"/>
                  <a:gd name="connsiteX835" fmla="*/ 167885 w 245008"/>
                  <a:gd name="connsiteY835" fmla="*/ 449865 h 527140"/>
                  <a:gd name="connsiteX836" fmla="*/ 167582 w 245008"/>
                  <a:gd name="connsiteY836" fmla="*/ 451683 h 527140"/>
                  <a:gd name="connsiteX837" fmla="*/ 168339 w 245008"/>
                  <a:gd name="connsiteY837" fmla="*/ 454410 h 527140"/>
                  <a:gd name="connsiteX838" fmla="*/ 167885 w 245008"/>
                  <a:gd name="connsiteY838" fmla="*/ 459259 h 527140"/>
                  <a:gd name="connsiteX839" fmla="*/ 168491 w 245008"/>
                  <a:gd name="connsiteY839" fmla="*/ 459259 h 527140"/>
                  <a:gd name="connsiteX840" fmla="*/ 169703 w 245008"/>
                  <a:gd name="connsiteY840" fmla="*/ 458805 h 527140"/>
                  <a:gd name="connsiteX841" fmla="*/ 171825 w 245008"/>
                  <a:gd name="connsiteY841" fmla="*/ 455623 h 52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Lst>
                <a:rect l="l" t="t" r="r" b="b"/>
                <a:pathLst>
                  <a:path w="245008" h="527140">
                    <a:moveTo>
                      <a:pt x="161370" y="477290"/>
                    </a:moveTo>
                    <a:lnTo>
                      <a:pt x="161521" y="476229"/>
                    </a:lnTo>
                    <a:lnTo>
                      <a:pt x="160915" y="475623"/>
                    </a:lnTo>
                    <a:lnTo>
                      <a:pt x="159551" y="472744"/>
                    </a:lnTo>
                    <a:lnTo>
                      <a:pt x="159854" y="477290"/>
                    </a:lnTo>
                    <a:lnTo>
                      <a:pt x="161521" y="478957"/>
                    </a:lnTo>
                    <a:lnTo>
                      <a:pt x="161370" y="477290"/>
                    </a:lnTo>
                    <a:close/>
                    <a:moveTo>
                      <a:pt x="162582" y="461077"/>
                    </a:moveTo>
                    <a:lnTo>
                      <a:pt x="162127" y="460774"/>
                    </a:lnTo>
                    <a:lnTo>
                      <a:pt x="161218" y="460623"/>
                    </a:lnTo>
                    <a:lnTo>
                      <a:pt x="160763" y="460926"/>
                    </a:lnTo>
                    <a:lnTo>
                      <a:pt x="160158" y="462290"/>
                    </a:lnTo>
                    <a:lnTo>
                      <a:pt x="161218" y="464108"/>
                    </a:lnTo>
                    <a:lnTo>
                      <a:pt x="162127" y="464562"/>
                    </a:lnTo>
                    <a:lnTo>
                      <a:pt x="162582" y="464714"/>
                    </a:lnTo>
                    <a:lnTo>
                      <a:pt x="162885" y="464562"/>
                    </a:lnTo>
                    <a:lnTo>
                      <a:pt x="162430" y="463502"/>
                    </a:lnTo>
                    <a:lnTo>
                      <a:pt x="162430" y="462593"/>
                    </a:lnTo>
                    <a:lnTo>
                      <a:pt x="162733" y="461532"/>
                    </a:lnTo>
                    <a:lnTo>
                      <a:pt x="162582" y="461077"/>
                    </a:lnTo>
                    <a:close/>
                    <a:moveTo>
                      <a:pt x="161067" y="458047"/>
                    </a:moveTo>
                    <a:lnTo>
                      <a:pt x="160915" y="457896"/>
                    </a:lnTo>
                    <a:lnTo>
                      <a:pt x="160460" y="458198"/>
                    </a:lnTo>
                    <a:lnTo>
                      <a:pt x="158945" y="458047"/>
                    </a:lnTo>
                    <a:lnTo>
                      <a:pt x="157582" y="459411"/>
                    </a:lnTo>
                    <a:lnTo>
                      <a:pt x="157884" y="460017"/>
                    </a:lnTo>
                    <a:lnTo>
                      <a:pt x="159248" y="461229"/>
                    </a:lnTo>
                    <a:lnTo>
                      <a:pt x="160763" y="459108"/>
                    </a:lnTo>
                    <a:lnTo>
                      <a:pt x="161067" y="458047"/>
                    </a:lnTo>
                    <a:close/>
                    <a:moveTo>
                      <a:pt x="148339" y="345922"/>
                    </a:moveTo>
                    <a:lnTo>
                      <a:pt x="148187" y="345013"/>
                    </a:lnTo>
                    <a:lnTo>
                      <a:pt x="147733" y="344255"/>
                    </a:lnTo>
                    <a:lnTo>
                      <a:pt x="146672" y="343649"/>
                    </a:lnTo>
                    <a:lnTo>
                      <a:pt x="145915" y="343952"/>
                    </a:lnTo>
                    <a:lnTo>
                      <a:pt x="144551" y="345013"/>
                    </a:lnTo>
                    <a:lnTo>
                      <a:pt x="144854" y="349407"/>
                    </a:lnTo>
                    <a:lnTo>
                      <a:pt x="146369" y="351225"/>
                    </a:lnTo>
                    <a:lnTo>
                      <a:pt x="147430" y="350922"/>
                    </a:lnTo>
                    <a:lnTo>
                      <a:pt x="147884" y="346831"/>
                    </a:lnTo>
                    <a:lnTo>
                      <a:pt x="148339" y="345922"/>
                    </a:lnTo>
                    <a:close/>
                    <a:moveTo>
                      <a:pt x="21364" y="244251"/>
                    </a:moveTo>
                    <a:lnTo>
                      <a:pt x="20152" y="243039"/>
                    </a:lnTo>
                    <a:lnTo>
                      <a:pt x="20152" y="245463"/>
                    </a:lnTo>
                    <a:lnTo>
                      <a:pt x="21819" y="249251"/>
                    </a:lnTo>
                    <a:lnTo>
                      <a:pt x="23183" y="250312"/>
                    </a:lnTo>
                    <a:lnTo>
                      <a:pt x="22880" y="247585"/>
                    </a:lnTo>
                    <a:lnTo>
                      <a:pt x="21364" y="244251"/>
                    </a:lnTo>
                    <a:close/>
                    <a:moveTo>
                      <a:pt x="163188" y="524413"/>
                    </a:moveTo>
                    <a:lnTo>
                      <a:pt x="162582" y="527140"/>
                    </a:lnTo>
                    <a:lnTo>
                      <a:pt x="163037" y="527140"/>
                    </a:lnTo>
                    <a:lnTo>
                      <a:pt x="164400" y="525474"/>
                    </a:lnTo>
                    <a:lnTo>
                      <a:pt x="165764" y="524868"/>
                    </a:lnTo>
                    <a:lnTo>
                      <a:pt x="167127" y="523352"/>
                    </a:lnTo>
                    <a:lnTo>
                      <a:pt x="167279" y="522140"/>
                    </a:lnTo>
                    <a:lnTo>
                      <a:pt x="165309" y="522292"/>
                    </a:lnTo>
                    <a:lnTo>
                      <a:pt x="163188" y="524413"/>
                    </a:lnTo>
                    <a:close/>
                    <a:moveTo>
                      <a:pt x="39395" y="276828"/>
                    </a:moveTo>
                    <a:lnTo>
                      <a:pt x="35759" y="277434"/>
                    </a:lnTo>
                    <a:lnTo>
                      <a:pt x="38032" y="280465"/>
                    </a:lnTo>
                    <a:lnTo>
                      <a:pt x="40910" y="282889"/>
                    </a:lnTo>
                    <a:lnTo>
                      <a:pt x="41365" y="282586"/>
                    </a:lnTo>
                    <a:lnTo>
                      <a:pt x="42123" y="281677"/>
                    </a:lnTo>
                    <a:lnTo>
                      <a:pt x="42880" y="279101"/>
                    </a:lnTo>
                    <a:lnTo>
                      <a:pt x="42880" y="277434"/>
                    </a:lnTo>
                    <a:lnTo>
                      <a:pt x="39395" y="276828"/>
                    </a:lnTo>
                    <a:close/>
                    <a:moveTo>
                      <a:pt x="64851" y="353649"/>
                    </a:moveTo>
                    <a:lnTo>
                      <a:pt x="63487" y="355771"/>
                    </a:lnTo>
                    <a:lnTo>
                      <a:pt x="60608" y="358043"/>
                    </a:lnTo>
                    <a:lnTo>
                      <a:pt x="61215" y="362134"/>
                    </a:lnTo>
                    <a:lnTo>
                      <a:pt x="63033" y="359407"/>
                    </a:lnTo>
                    <a:lnTo>
                      <a:pt x="65457" y="357437"/>
                    </a:lnTo>
                    <a:lnTo>
                      <a:pt x="66821" y="354104"/>
                    </a:lnTo>
                    <a:lnTo>
                      <a:pt x="66366" y="352286"/>
                    </a:lnTo>
                    <a:lnTo>
                      <a:pt x="64851" y="353649"/>
                    </a:lnTo>
                    <a:close/>
                    <a:moveTo>
                      <a:pt x="69851" y="362741"/>
                    </a:moveTo>
                    <a:lnTo>
                      <a:pt x="70154" y="363043"/>
                    </a:lnTo>
                    <a:lnTo>
                      <a:pt x="71214" y="363498"/>
                    </a:lnTo>
                    <a:lnTo>
                      <a:pt x="71821" y="362741"/>
                    </a:lnTo>
                    <a:lnTo>
                      <a:pt x="72730" y="360771"/>
                    </a:lnTo>
                    <a:lnTo>
                      <a:pt x="72427" y="359559"/>
                    </a:lnTo>
                    <a:lnTo>
                      <a:pt x="69851" y="362741"/>
                    </a:lnTo>
                    <a:close/>
                    <a:moveTo>
                      <a:pt x="35910" y="248494"/>
                    </a:moveTo>
                    <a:lnTo>
                      <a:pt x="33789" y="246827"/>
                    </a:lnTo>
                    <a:lnTo>
                      <a:pt x="33941" y="248948"/>
                    </a:lnTo>
                    <a:lnTo>
                      <a:pt x="34698" y="250918"/>
                    </a:lnTo>
                    <a:lnTo>
                      <a:pt x="36517" y="252434"/>
                    </a:lnTo>
                    <a:lnTo>
                      <a:pt x="35910" y="248494"/>
                    </a:lnTo>
                    <a:close/>
                    <a:moveTo>
                      <a:pt x="244858" y="197128"/>
                    </a:moveTo>
                    <a:lnTo>
                      <a:pt x="244858" y="196219"/>
                    </a:lnTo>
                    <a:lnTo>
                      <a:pt x="244554" y="195916"/>
                    </a:lnTo>
                    <a:lnTo>
                      <a:pt x="243494" y="195613"/>
                    </a:lnTo>
                    <a:lnTo>
                      <a:pt x="241827" y="196219"/>
                    </a:lnTo>
                    <a:lnTo>
                      <a:pt x="236827" y="198492"/>
                    </a:lnTo>
                    <a:lnTo>
                      <a:pt x="232433" y="202735"/>
                    </a:lnTo>
                    <a:lnTo>
                      <a:pt x="230463" y="203644"/>
                    </a:lnTo>
                    <a:lnTo>
                      <a:pt x="228493" y="204098"/>
                    </a:lnTo>
                    <a:lnTo>
                      <a:pt x="226220" y="203341"/>
                    </a:lnTo>
                    <a:lnTo>
                      <a:pt x="223645" y="202886"/>
                    </a:lnTo>
                    <a:lnTo>
                      <a:pt x="219857" y="203947"/>
                    </a:lnTo>
                    <a:lnTo>
                      <a:pt x="218038" y="203492"/>
                    </a:lnTo>
                    <a:lnTo>
                      <a:pt x="217129" y="202583"/>
                    </a:lnTo>
                    <a:lnTo>
                      <a:pt x="216372" y="201219"/>
                    </a:lnTo>
                    <a:lnTo>
                      <a:pt x="216826" y="199553"/>
                    </a:lnTo>
                    <a:lnTo>
                      <a:pt x="216523" y="198341"/>
                    </a:lnTo>
                    <a:lnTo>
                      <a:pt x="215008" y="197735"/>
                    </a:lnTo>
                    <a:lnTo>
                      <a:pt x="213341" y="197128"/>
                    </a:lnTo>
                    <a:lnTo>
                      <a:pt x="212281" y="195462"/>
                    </a:lnTo>
                    <a:lnTo>
                      <a:pt x="211826" y="193643"/>
                    </a:lnTo>
                    <a:lnTo>
                      <a:pt x="212281" y="191370"/>
                    </a:lnTo>
                    <a:lnTo>
                      <a:pt x="212432" y="188946"/>
                    </a:lnTo>
                    <a:lnTo>
                      <a:pt x="211675" y="187886"/>
                    </a:lnTo>
                    <a:lnTo>
                      <a:pt x="209098" y="187280"/>
                    </a:lnTo>
                    <a:lnTo>
                      <a:pt x="202735" y="186219"/>
                    </a:lnTo>
                    <a:lnTo>
                      <a:pt x="197129" y="185613"/>
                    </a:lnTo>
                    <a:lnTo>
                      <a:pt x="194855" y="185916"/>
                    </a:lnTo>
                    <a:lnTo>
                      <a:pt x="192886" y="185613"/>
                    </a:lnTo>
                    <a:lnTo>
                      <a:pt x="191825" y="185158"/>
                    </a:lnTo>
                    <a:lnTo>
                      <a:pt x="191219" y="184401"/>
                    </a:lnTo>
                    <a:lnTo>
                      <a:pt x="191219" y="183340"/>
                    </a:lnTo>
                    <a:lnTo>
                      <a:pt x="192128" y="180764"/>
                    </a:lnTo>
                    <a:lnTo>
                      <a:pt x="193189" y="178188"/>
                    </a:lnTo>
                    <a:lnTo>
                      <a:pt x="195765" y="174552"/>
                    </a:lnTo>
                    <a:lnTo>
                      <a:pt x="195916" y="171976"/>
                    </a:lnTo>
                    <a:lnTo>
                      <a:pt x="195765" y="169097"/>
                    </a:lnTo>
                    <a:lnTo>
                      <a:pt x="196977" y="165157"/>
                    </a:lnTo>
                    <a:lnTo>
                      <a:pt x="199250" y="162279"/>
                    </a:lnTo>
                    <a:lnTo>
                      <a:pt x="200310" y="161369"/>
                    </a:lnTo>
                    <a:lnTo>
                      <a:pt x="200007" y="160006"/>
                    </a:lnTo>
                    <a:lnTo>
                      <a:pt x="199098" y="158794"/>
                    </a:lnTo>
                    <a:lnTo>
                      <a:pt x="197886" y="158188"/>
                    </a:lnTo>
                    <a:lnTo>
                      <a:pt x="195765" y="157430"/>
                    </a:lnTo>
                    <a:lnTo>
                      <a:pt x="192431" y="157278"/>
                    </a:lnTo>
                    <a:lnTo>
                      <a:pt x="187886" y="156521"/>
                    </a:lnTo>
                    <a:lnTo>
                      <a:pt x="182582" y="154854"/>
                    </a:lnTo>
                    <a:lnTo>
                      <a:pt x="183189" y="151521"/>
                    </a:lnTo>
                    <a:lnTo>
                      <a:pt x="183037" y="149399"/>
                    </a:lnTo>
                    <a:lnTo>
                      <a:pt x="182431" y="147733"/>
                    </a:lnTo>
                    <a:lnTo>
                      <a:pt x="181370" y="146520"/>
                    </a:lnTo>
                    <a:lnTo>
                      <a:pt x="180764" y="145460"/>
                    </a:lnTo>
                    <a:lnTo>
                      <a:pt x="181673" y="142429"/>
                    </a:lnTo>
                    <a:lnTo>
                      <a:pt x="180461" y="139096"/>
                    </a:lnTo>
                    <a:lnTo>
                      <a:pt x="179098" y="137732"/>
                    </a:lnTo>
                    <a:lnTo>
                      <a:pt x="177582" y="136066"/>
                    </a:lnTo>
                    <a:lnTo>
                      <a:pt x="177431" y="134247"/>
                    </a:lnTo>
                    <a:lnTo>
                      <a:pt x="178037" y="132581"/>
                    </a:lnTo>
                    <a:lnTo>
                      <a:pt x="181673" y="128944"/>
                    </a:lnTo>
                    <a:lnTo>
                      <a:pt x="181673" y="128035"/>
                    </a:lnTo>
                    <a:lnTo>
                      <a:pt x="180764" y="128035"/>
                    </a:lnTo>
                    <a:lnTo>
                      <a:pt x="179703" y="128186"/>
                    </a:lnTo>
                    <a:lnTo>
                      <a:pt x="174703" y="129550"/>
                    </a:lnTo>
                    <a:lnTo>
                      <a:pt x="174249" y="128641"/>
                    </a:lnTo>
                    <a:lnTo>
                      <a:pt x="172431" y="128186"/>
                    </a:lnTo>
                    <a:lnTo>
                      <a:pt x="168794" y="128035"/>
                    </a:lnTo>
                    <a:lnTo>
                      <a:pt x="164551" y="128338"/>
                    </a:lnTo>
                    <a:lnTo>
                      <a:pt x="159248" y="129702"/>
                    </a:lnTo>
                    <a:lnTo>
                      <a:pt x="154400" y="131974"/>
                    </a:lnTo>
                    <a:lnTo>
                      <a:pt x="152127" y="133490"/>
                    </a:lnTo>
                    <a:lnTo>
                      <a:pt x="150157" y="134399"/>
                    </a:lnTo>
                    <a:lnTo>
                      <a:pt x="148642" y="134702"/>
                    </a:lnTo>
                    <a:lnTo>
                      <a:pt x="146824" y="133944"/>
                    </a:lnTo>
                    <a:lnTo>
                      <a:pt x="146975" y="131672"/>
                    </a:lnTo>
                    <a:lnTo>
                      <a:pt x="150308" y="127580"/>
                    </a:lnTo>
                    <a:lnTo>
                      <a:pt x="150763" y="124701"/>
                    </a:lnTo>
                    <a:lnTo>
                      <a:pt x="149703" y="122277"/>
                    </a:lnTo>
                    <a:lnTo>
                      <a:pt x="149551" y="120307"/>
                    </a:lnTo>
                    <a:lnTo>
                      <a:pt x="148339" y="119095"/>
                    </a:lnTo>
                    <a:lnTo>
                      <a:pt x="146672" y="118489"/>
                    </a:lnTo>
                    <a:lnTo>
                      <a:pt x="145763" y="117125"/>
                    </a:lnTo>
                    <a:lnTo>
                      <a:pt x="145763" y="113034"/>
                    </a:lnTo>
                    <a:lnTo>
                      <a:pt x="147278" y="108943"/>
                    </a:lnTo>
                    <a:lnTo>
                      <a:pt x="149703" y="107580"/>
                    </a:lnTo>
                    <a:lnTo>
                      <a:pt x="151218" y="106974"/>
                    </a:lnTo>
                    <a:lnTo>
                      <a:pt x="151672" y="106216"/>
                    </a:lnTo>
                    <a:lnTo>
                      <a:pt x="150915" y="103337"/>
                    </a:lnTo>
                    <a:lnTo>
                      <a:pt x="151066" y="101519"/>
                    </a:lnTo>
                    <a:lnTo>
                      <a:pt x="152430" y="97882"/>
                    </a:lnTo>
                    <a:lnTo>
                      <a:pt x="153793" y="95155"/>
                    </a:lnTo>
                    <a:lnTo>
                      <a:pt x="156521" y="95610"/>
                    </a:lnTo>
                    <a:lnTo>
                      <a:pt x="157733" y="95004"/>
                    </a:lnTo>
                    <a:lnTo>
                      <a:pt x="159097" y="94094"/>
                    </a:lnTo>
                    <a:lnTo>
                      <a:pt x="160612" y="92427"/>
                    </a:lnTo>
                    <a:lnTo>
                      <a:pt x="161521" y="90458"/>
                    </a:lnTo>
                    <a:lnTo>
                      <a:pt x="162733" y="85912"/>
                    </a:lnTo>
                    <a:lnTo>
                      <a:pt x="163491" y="85306"/>
                    </a:lnTo>
                    <a:lnTo>
                      <a:pt x="166825" y="86064"/>
                    </a:lnTo>
                    <a:lnTo>
                      <a:pt x="167885" y="85609"/>
                    </a:lnTo>
                    <a:lnTo>
                      <a:pt x="169703" y="83033"/>
                    </a:lnTo>
                    <a:lnTo>
                      <a:pt x="171522" y="79851"/>
                    </a:lnTo>
                    <a:lnTo>
                      <a:pt x="174097" y="78791"/>
                    </a:lnTo>
                    <a:lnTo>
                      <a:pt x="175915" y="78639"/>
                    </a:lnTo>
                    <a:lnTo>
                      <a:pt x="176824" y="77579"/>
                    </a:lnTo>
                    <a:lnTo>
                      <a:pt x="176824" y="76063"/>
                    </a:lnTo>
                    <a:lnTo>
                      <a:pt x="175158" y="73487"/>
                    </a:lnTo>
                    <a:lnTo>
                      <a:pt x="174401" y="71518"/>
                    </a:lnTo>
                    <a:lnTo>
                      <a:pt x="174552" y="70306"/>
                    </a:lnTo>
                    <a:lnTo>
                      <a:pt x="176976" y="69548"/>
                    </a:lnTo>
                    <a:lnTo>
                      <a:pt x="177582" y="68033"/>
                    </a:lnTo>
                    <a:lnTo>
                      <a:pt x="177279" y="64851"/>
                    </a:lnTo>
                    <a:lnTo>
                      <a:pt x="178340" y="61063"/>
                    </a:lnTo>
                    <a:lnTo>
                      <a:pt x="178946" y="56517"/>
                    </a:lnTo>
                    <a:lnTo>
                      <a:pt x="179098" y="53184"/>
                    </a:lnTo>
                    <a:lnTo>
                      <a:pt x="179098" y="50608"/>
                    </a:lnTo>
                    <a:lnTo>
                      <a:pt x="178794" y="47881"/>
                    </a:lnTo>
                    <a:lnTo>
                      <a:pt x="178491" y="43032"/>
                    </a:lnTo>
                    <a:lnTo>
                      <a:pt x="177279" y="38789"/>
                    </a:lnTo>
                    <a:lnTo>
                      <a:pt x="177431" y="37123"/>
                    </a:lnTo>
                    <a:lnTo>
                      <a:pt x="177279" y="31971"/>
                    </a:lnTo>
                    <a:lnTo>
                      <a:pt x="176522" y="27577"/>
                    </a:lnTo>
                    <a:lnTo>
                      <a:pt x="175158" y="26819"/>
                    </a:lnTo>
                    <a:lnTo>
                      <a:pt x="172582" y="25455"/>
                    </a:lnTo>
                    <a:lnTo>
                      <a:pt x="171218" y="25152"/>
                    </a:lnTo>
                    <a:lnTo>
                      <a:pt x="170006" y="25607"/>
                    </a:lnTo>
                    <a:lnTo>
                      <a:pt x="169552" y="27122"/>
                    </a:lnTo>
                    <a:lnTo>
                      <a:pt x="168339" y="28486"/>
                    </a:lnTo>
                    <a:lnTo>
                      <a:pt x="166976" y="28183"/>
                    </a:lnTo>
                    <a:lnTo>
                      <a:pt x="166370" y="26819"/>
                    </a:lnTo>
                    <a:lnTo>
                      <a:pt x="165460" y="25001"/>
                    </a:lnTo>
                    <a:lnTo>
                      <a:pt x="162430" y="16061"/>
                    </a:lnTo>
                    <a:lnTo>
                      <a:pt x="162127" y="13485"/>
                    </a:lnTo>
                    <a:lnTo>
                      <a:pt x="161521" y="10910"/>
                    </a:lnTo>
                    <a:lnTo>
                      <a:pt x="160460" y="9697"/>
                    </a:lnTo>
                    <a:lnTo>
                      <a:pt x="159400" y="8940"/>
                    </a:lnTo>
                    <a:lnTo>
                      <a:pt x="156975" y="5909"/>
                    </a:lnTo>
                    <a:lnTo>
                      <a:pt x="155763" y="4697"/>
                    </a:lnTo>
                    <a:lnTo>
                      <a:pt x="155157" y="4546"/>
                    </a:lnTo>
                    <a:lnTo>
                      <a:pt x="153793" y="4697"/>
                    </a:lnTo>
                    <a:lnTo>
                      <a:pt x="152430" y="4697"/>
                    </a:lnTo>
                    <a:lnTo>
                      <a:pt x="151369" y="3182"/>
                    </a:lnTo>
                    <a:lnTo>
                      <a:pt x="150460" y="1364"/>
                    </a:lnTo>
                    <a:lnTo>
                      <a:pt x="149551" y="455"/>
                    </a:lnTo>
                    <a:lnTo>
                      <a:pt x="147884" y="0"/>
                    </a:lnTo>
                    <a:lnTo>
                      <a:pt x="146217" y="151"/>
                    </a:lnTo>
                    <a:lnTo>
                      <a:pt x="145308" y="1667"/>
                    </a:lnTo>
                    <a:lnTo>
                      <a:pt x="144702" y="2576"/>
                    </a:lnTo>
                    <a:lnTo>
                      <a:pt x="143490" y="4697"/>
                    </a:lnTo>
                    <a:lnTo>
                      <a:pt x="141369" y="7576"/>
                    </a:lnTo>
                    <a:lnTo>
                      <a:pt x="140460" y="8637"/>
                    </a:lnTo>
                    <a:lnTo>
                      <a:pt x="140157" y="10455"/>
                    </a:lnTo>
                    <a:lnTo>
                      <a:pt x="140005" y="12425"/>
                    </a:lnTo>
                    <a:lnTo>
                      <a:pt x="141066" y="14091"/>
                    </a:lnTo>
                    <a:lnTo>
                      <a:pt x="141217" y="15455"/>
                    </a:lnTo>
                    <a:lnTo>
                      <a:pt x="140914" y="16819"/>
                    </a:lnTo>
                    <a:lnTo>
                      <a:pt x="140157" y="17728"/>
                    </a:lnTo>
                    <a:lnTo>
                      <a:pt x="138035" y="18182"/>
                    </a:lnTo>
                    <a:lnTo>
                      <a:pt x="136217" y="19698"/>
                    </a:lnTo>
                    <a:lnTo>
                      <a:pt x="133187" y="21970"/>
                    </a:lnTo>
                    <a:lnTo>
                      <a:pt x="130763" y="23789"/>
                    </a:lnTo>
                    <a:lnTo>
                      <a:pt x="129096" y="25455"/>
                    </a:lnTo>
                    <a:lnTo>
                      <a:pt x="128490" y="27122"/>
                    </a:lnTo>
                    <a:lnTo>
                      <a:pt x="128641" y="29243"/>
                    </a:lnTo>
                    <a:lnTo>
                      <a:pt x="129096" y="31516"/>
                    </a:lnTo>
                    <a:lnTo>
                      <a:pt x="134551" y="39547"/>
                    </a:lnTo>
                    <a:lnTo>
                      <a:pt x="134551" y="40911"/>
                    </a:lnTo>
                    <a:lnTo>
                      <a:pt x="132732" y="41365"/>
                    </a:lnTo>
                    <a:lnTo>
                      <a:pt x="130459" y="40456"/>
                    </a:lnTo>
                    <a:lnTo>
                      <a:pt x="128490" y="39092"/>
                    </a:lnTo>
                    <a:lnTo>
                      <a:pt x="126217" y="35607"/>
                    </a:lnTo>
                    <a:lnTo>
                      <a:pt x="124398" y="34547"/>
                    </a:lnTo>
                    <a:lnTo>
                      <a:pt x="122580" y="34244"/>
                    </a:lnTo>
                    <a:lnTo>
                      <a:pt x="111822" y="36062"/>
                    </a:lnTo>
                    <a:lnTo>
                      <a:pt x="109550" y="36517"/>
                    </a:lnTo>
                    <a:lnTo>
                      <a:pt x="106065" y="37880"/>
                    </a:lnTo>
                    <a:lnTo>
                      <a:pt x="103640" y="40456"/>
                    </a:lnTo>
                    <a:lnTo>
                      <a:pt x="101822" y="42880"/>
                    </a:lnTo>
                    <a:lnTo>
                      <a:pt x="100004" y="43789"/>
                    </a:lnTo>
                    <a:lnTo>
                      <a:pt x="97276" y="45608"/>
                    </a:lnTo>
                    <a:lnTo>
                      <a:pt x="89700" y="51366"/>
                    </a:lnTo>
                    <a:lnTo>
                      <a:pt x="85306" y="53790"/>
                    </a:lnTo>
                    <a:lnTo>
                      <a:pt x="82427" y="54699"/>
                    </a:lnTo>
                    <a:lnTo>
                      <a:pt x="80457" y="56063"/>
                    </a:lnTo>
                    <a:lnTo>
                      <a:pt x="79397" y="58184"/>
                    </a:lnTo>
                    <a:lnTo>
                      <a:pt x="78639" y="59699"/>
                    </a:lnTo>
                    <a:lnTo>
                      <a:pt x="78336" y="63336"/>
                    </a:lnTo>
                    <a:lnTo>
                      <a:pt x="78791" y="67881"/>
                    </a:lnTo>
                    <a:lnTo>
                      <a:pt x="79851" y="70760"/>
                    </a:lnTo>
                    <a:lnTo>
                      <a:pt x="80457" y="71366"/>
                    </a:lnTo>
                    <a:lnTo>
                      <a:pt x="80609" y="72275"/>
                    </a:lnTo>
                    <a:lnTo>
                      <a:pt x="79548" y="73790"/>
                    </a:lnTo>
                    <a:lnTo>
                      <a:pt x="78185" y="75154"/>
                    </a:lnTo>
                    <a:lnTo>
                      <a:pt x="77427" y="75912"/>
                    </a:lnTo>
                    <a:lnTo>
                      <a:pt x="76821" y="80003"/>
                    </a:lnTo>
                    <a:lnTo>
                      <a:pt x="75609" y="81973"/>
                    </a:lnTo>
                    <a:lnTo>
                      <a:pt x="73336" y="85003"/>
                    </a:lnTo>
                    <a:lnTo>
                      <a:pt x="71214" y="87276"/>
                    </a:lnTo>
                    <a:lnTo>
                      <a:pt x="68033" y="89094"/>
                    </a:lnTo>
                    <a:lnTo>
                      <a:pt x="66821" y="90458"/>
                    </a:lnTo>
                    <a:lnTo>
                      <a:pt x="65608" y="93034"/>
                    </a:lnTo>
                    <a:lnTo>
                      <a:pt x="64851" y="95306"/>
                    </a:lnTo>
                    <a:lnTo>
                      <a:pt x="64851" y="96064"/>
                    </a:lnTo>
                    <a:lnTo>
                      <a:pt x="65154" y="96822"/>
                    </a:lnTo>
                    <a:lnTo>
                      <a:pt x="66517" y="97579"/>
                    </a:lnTo>
                    <a:lnTo>
                      <a:pt x="68184" y="98337"/>
                    </a:lnTo>
                    <a:lnTo>
                      <a:pt x="68942" y="99549"/>
                    </a:lnTo>
                    <a:lnTo>
                      <a:pt x="69093" y="100913"/>
                    </a:lnTo>
                    <a:lnTo>
                      <a:pt x="67881" y="104398"/>
                    </a:lnTo>
                    <a:lnTo>
                      <a:pt x="65760" y="109095"/>
                    </a:lnTo>
                    <a:lnTo>
                      <a:pt x="63336" y="112883"/>
                    </a:lnTo>
                    <a:lnTo>
                      <a:pt x="60760" y="116519"/>
                    </a:lnTo>
                    <a:lnTo>
                      <a:pt x="60154" y="117732"/>
                    </a:lnTo>
                    <a:lnTo>
                      <a:pt x="57881" y="122126"/>
                    </a:lnTo>
                    <a:lnTo>
                      <a:pt x="55911" y="128186"/>
                    </a:lnTo>
                    <a:lnTo>
                      <a:pt x="54548" y="132277"/>
                    </a:lnTo>
                    <a:lnTo>
                      <a:pt x="53335" y="135005"/>
                    </a:lnTo>
                    <a:lnTo>
                      <a:pt x="51820" y="135156"/>
                    </a:lnTo>
                    <a:lnTo>
                      <a:pt x="50002" y="134247"/>
                    </a:lnTo>
                    <a:lnTo>
                      <a:pt x="45759" y="133035"/>
                    </a:lnTo>
                    <a:lnTo>
                      <a:pt x="43032" y="132126"/>
                    </a:lnTo>
                    <a:lnTo>
                      <a:pt x="41062" y="131217"/>
                    </a:lnTo>
                    <a:lnTo>
                      <a:pt x="39698" y="131217"/>
                    </a:lnTo>
                    <a:lnTo>
                      <a:pt x="37729" y="131823"/>
                    </a:lnTo>
                    <a:lnTo>
                      <a:pt x="35759" y="132277"/>
                    </a:lnTo>
                    <a:lnTo>
                      <a:pt x="34547" y="131823"/>
                    </a:lnTo>
                    <a:lnTo>
                      <a:pt x="31971" y="129399"/>
                    </a:lnTo>
                    <a:lnTo>
                      <a:pt x="31213" y="129702"/>
                    </a:lnTo>
                    <a:lnTo>
                      <a:pt x="30759" y="130914"/>
                    </a:lnTo>
                    <a:lnTo>
                      <a:pt x="32577" y="138035"/>
                    </a:lnTo>
                    <a:lnTo>
                      <a:pt x="33789" y="140611"/>
                    </a:lnTo>
                    <a:lnTo>
                      <a:pt x="33638" y="145005"/>
                    </a:lnTo>
                    <a:lnTo>
                      <a:pt x="33183" y="150460"/>
                    </a:lnTo>
                    <a:lnTo>
                      <a:pt x="32425" y="156369"/>
                    </a:lnTo>
                    <a:lnTo>
                      <a:pt x="31971" y="157733"/>
                    </a:lnTo>
                    <a:lnTo>
                      <a:pt x="30910" y="159248"/>
                    </a:lnTo>
                    <a:lnTo>
                      <a:pt x="29395" y="159703"/>
                    </a:lnTo>
                    <a:lnTo>
                      <a:pt x="28031" y="159097"/>
                    </a:lnTo>
                    <a:lnTo>
                      <a:pt x="26971" y="159248"/>
                    </a:lnTo>
                    <a:lnTo>
                      <a:pt x="26668" y="160309"/>
                    </a:lnTo>
                    <a:lnTo>
                      <a:pt x="26971" y="162885"/>
                    </a:lnTo>
                    <a:lnTo>
                      <a:pt x="25607" y="165764"/>
                    </a:lnTo>
                    <a:lnTo>
                      <a:pt x="24698" y="168339"/>
                    </a:lnTo>
                    <a:lnTo>
                      <a:pt x="25001" y="170764"/>
                    </a:lnTo>
                    <a:lnTo>
                      <a:pt x="25455" y="173188"/>
                    </a:lnTo>
                    <a:lnTo>
                      <a:pt x="26971" y="178491"/>
                    </a:lnTo>
                    <a:lnTo>
                      <a:pt x="26971" y="180461"/>
                    </a:lnTo>
                    <a:lnTo>
                      <a:pt x="26668" y="182279"/>
                    </a:lnTo>
                    <a:lnTo>
                      <a:pt x="25910" y="183037"/>
                    </a:lnTo>
                    <a:lnTo>
                      <a:pt x="24546" y="182885"/>
                    </a:lnTo>
                    <a:lnTo>
                      <a:pt x="23789" y="183643"/>
                    </a:lnTo>
                    <a:lnTo>
                      <a:pt x="23183" y="184704"/>
                    </a:lnTo>
                    <a:lnTo>
                      <a:pt x="21667" y="188795"/>
                    </a:lnTo>
                    <a:lnTo>
                      <a:pt x="20152" y="189249"/>
                    </a:lnTo>
                    <a:lnTo>
                      <a:pt x="18637" y="188643"/>
                    </a:lnTo>
                    <a:lnTo>
                      <a:pt x="16364" y="185916"/>
                    </a:lnTo>
                    <a:lnTo>
                      <a:pt x="15000" y="185158"/>
                    </a:lnTo>
                    <a:lnTo>
                      <a:pt x="14091" y="185158"/>
                    </a:lnTo>
                    <a:lnTo>
                      <a:pt x="13637" y="185916"/>
                    </a:lnTo>
                    <a:lnTo>
                      <a:pt x="13031" y="187582"/>
                    </a:lnTo>
                    <a:lnTo>
                      <a:pt x="12425" y="188643"/>
                    </a:lnTo>
                    <a:lnTo>
                      <a:pt x="10910" y="189552"/>
                    </a:lnTo>
                    <a:lnTo>
                      <a:pt x="11061" y="190613"/>
                    </a:lnTo>
                    <a:lnTo>
                      <a:pt x="11061" y="200007"/>
                    </a:lnTo>
                    <a:lnTo>
                      <a:pt x="11364" y="204098"/>
                    </a:lnTo>
                    <a:lnTo>
                      <a:pt x="12273" y="207432"/>
                    </a:lnTo>
                    <a:lnTo>
                      <a:pt x="12425" y="208644"/>
                    </a:lnTo>
                    <a:lnTo>
                      <a:pt x="11516" y="209705"/>
                    </a:lnTo>
                    <a:lnTo>
                      <a:pt x="10606" y="209856"/>
                    </a:lnTo>
                    <a:lnTo>
                      <a:pt x="9849" y="208189"/>
                    </a:lnTo>
                    <a:lnTo>
                      <a:pt x="8031" y="206977"/>
                    </a:lnTo>
                    <a:lnTo>
                      <a:pt x="5303" y="205613"/>
                    </a:lnTo>
                    <a:lnTo>
                      <a:pt x="4091" y="204704"/>
                    </a:lnTo>
                    <a:lnTo>
                      <a:pt x="2727" y="205007"/>
                    </a:lnTo>
                    <a:lnTo>
                      <a:pt x="757" y="206977"/>
                    </a:lnTo>
                    <a:lnTo>
                      <a:pt x="0" y="208795"/>
                    </a:lnTo>
                    <a:lnTo>
                      <a:pt x="303" y="211371"/>
                    </a:lnTo>
                    <a:lnTo>
                      <a:pt x="909" y="213947"/>
                    </a:lnTo>
                    <a:lnTo>
                      <a:pt x="2273" y="215462"/>
                    </a:lnTo>
                    <a:lnTo>
                      <a:pt x="2424" y="217129"/>
                    </a:lnTo>
                    <a:lnTo>
                      <a:pt x="2879" y="219250"/>
                    </a:lnTo>
                    <a:lnTo>
                      <a:pt x="3636" y="221220"/>
                    </a:lnTo>
                    <a:lnTo>
                      <a:pt x="3940" y="223341"/>
                    </a:lnTo>
                    <a:lnTo>
                      <a:pt x="5455" y="225463"/>
                    </a:lnTo>
                    <a:lnTo>
                      <a:pt x="11667" y="232433"/>
                    </a:lnTo>
                    <a:lnTo>
                      <a:pt x="14849" y="237433"/>
                    </a:lnTo>
                    <a:lnTo>
                      <a:pt x="15152" y="232887"/>
                    </a:lnTo>
                    <a:lnTo>
                      <a:pt x="14546" y="229705"/>
                    </a:lnTo>
                    <a:lnTo>
                      <a:pt x="15304" y="229705"/>
                    </a:lnTo>
                    <a:lnTo>
                      <a:pt x="16667" y="232433"/>
                    </a:lnTo>
                    <a:lnTo>
                      <a:pt x="18486" y="233948"/>
                    </a:lnTo>
                    <a:lnTo>
                      <a:pt x="19546" y="236069"/>
                    </a:lnTo>
                    <a:lnTo>
                      <a:pt x="18940" y="237130"/>
                    </a:lnTo>
                    <a:lnTo>
                      <a:pt x="18182" y="237736"/>
                    </a:lnTo>
                    <a:lnTo>
                      <a:pt x="16819" y="239706"/>
                    </a:lnTo>
                    <a:lnTo>
                      <a:pt x="17879" y="240615"/>
                    </a:lnTo>
                    <a:lnTo>
                      <a:pt x="19395" y="241372"/>
                    </a:lnTo>
                    <a:lnTo>
                      <a:pt x="22425" y="237584"/>
                    </a:lnTo>
                    <a:lnTo>
                      <a:pt x="23183" y="235918"/>
                    </a:lnTo>
                    <a:lnTo>
                      <a:pt x="23637" y="234251"/>
                    </a:lnTo>
                    <a:lnTo>
                      <a:pt x="24546" y="235008"/>
                    </a:lnTo>
                    <a:lnTo>
                      <a:pt x="23183" y="240463"/>
                    </a:lnTo>
                    <a:lnTo>
                      <a:pt x="24698" y="240312"/>
                    </a:lnTo>
                    <a:lnTo>
                      <a:pt x="25455" y="240463"/>
                    </a:lnTo>
                    <a:lnTo>
                      <a:pt x="23940" y="241979"/>
                    </a:lnTo>
                    <a:lnTo>
                      <a:pt x="22880" y="243494"/>
                    </a:lnTo>
                    <a:lnTo>
                      <a:pt x="26364" y="249555"/>
                    </a:lnTo>
                    <a:lnTo>
                      <a:pt x="28031" y="249706"/>
                    </a:lnTo>
                    <a:lnTo>
                      <a:pt x="28334" y="248342"/>
                    </a:lnTo>
                    <a:lnTo>
                      <a:pt x="27122" y="244251"/>
                    </a:lnTo>
                    <a:lnTo>
                      <a:pt x="29698" y="243494"/>
                    </a:lnTo>
                    <a:lnTo>
                      <a:pt x="32729" y="243797"/>
                    </a:lnTo>
                    <a:lnTo>
                      <a:pt x="34092" y="244403"/>
                    </a:lnTo>
                    <a:lnTo>
                      <a:pt x="34850" y="245160"/>
                    </a:lnTo>
                    <a:lnTo>
                      <a:pt x="38789" y="248039"/>
                    </a:lnTo>
                    <a:lnTo>
                      <a:pt x="42274" y="248039"/>
                    </a:lnTo>
                    <a:lnTo>
                      <a:pt x="40910" y="249706"/>
                    </a:lnTo>
                    <a:lnTo>
                      <a:pt x="39547" y="251979"/>
                    </a:lnTo>
                    <a:lnTo>
                      <a:pt x="41062" y="253191"/>
                    </a:lnTo>
                    <a:lnTo>
                      <a:pt x="43032" y="254100"/>
                    </a:lnTo>
                    <a:lnTo>
                      <a:pt x="43638" y="255464"/>
                    </a:lnTo>
                    <a:lnTo>
                      <a:pt x="43941" y="256524"/>
                    </a:lnTo>
                    <a:lnTo>
                      <a:pt x="45911" y="258646"/>
                    </a:lnTo>
                    <a:lnTo>
                      <a:pt x="47274" y="259555"/>
                    </a:lnTo>
                    <a:lnTo>
                      <a:pt x="49244" y="260161"/>
                    </a:lnTo>
                    <a:lnTo>
                      <a:pt x="50305" y="261373"/>
                    </a:lnTo>
                    <a:lnTo>
                      <a:pt x="49244" y="264555"/>
                    </a:lnTo>
                    <a:lnTo>
                      <a:pt x="47123" y="266222"/>
                    </a:lnTo>
                    <a:lnTo>
                      <a:pt x="45456" y="267131"/>
                    </a:lnTo>
                    <a:lnTo>
                      <a:pt x="42880" y="266373"/>
                    </a:lnTo>
                    <a:lnTo>
                      <a:pt x="38789" y="262585"/>
                    </a:lnTo>
                    <a:lnTo>
                      <a:pt x="37426" y="262737"/>
                    </a:lnTo>
                    <a:lnTo>
                      <a:pt x="36365" y="263494"/>
                    </a:lnTo>
                    <a:lnTo>
                      <a:pt x="39244" y="268646"/>
                    </a:lnTo>
                    <a:lnTo>
                      <a:pt x="42123" y="273192"/>
                    </a:lnTo>
                    <a:lnTo>
                      <a:pt x="44698" y="275010"/>
                    </a:lnTo>
                    <a:lnTo>
                      <a:pt x="48183" y="276677"/>
                    </a:lnTo>
                    <a:lnTo>
                      <a:pt x="49093" y="275010"/>
                    </a:lnTo>
                    <a:lnTo>
                      <a:pt x="49244" y="273949"/>
                    </a:lnTo>
                    <a:lnTo>
                      <a:pt x="48486" y="269707"/>
                    </a:lnTo>
                    <a:lnTo>
                      <a:pt x="50153" y="268646"/>
                    </a:lnTo>
                    <a:lnTo>
                      <a:pt x="50760" y="266222"/>
                    </a:lnTo>
                    <a:lnTo>
                      <a:pt x="51365" y="265767"/>
                    </a:lnTo>
                    <a:lnTo>
                      <a:pt x="51214" y="269707"/>
                    </a:lnTo>
                    <a:lnTo>
                      <a:pt x="52123" y="276828"/>
                    </a:lnTo>
                    <a:lnTo>
                      <a:pt x="52729" y="278040"/>
                    </a:lnTo>
                    <a:lnTo>
                      <a:pt x="56972" y="281071"/>
                    </a:lnTo>
                    <a:lnTo>
                      <a:pt x="54850" y="281374"/>
                    </a:lnTo>
                    <a:lnTo>
                      <a:pt x="57123" y="284859"/>
                    </a:lnTo>
                    <a:lnTo>
                      <a:pt x="57427" y="287738"/>
                    </a:lnTo>
                    <a:lnTo>
                      <a:pt x="61972" y="296374"/>
                    </a:lnTo>
                    <a:lnTo>
                      <a:pt x="63638" y="306981"/>
                    </a:lnTo>
                    <a:lnTo>
                      <a:pt x="65457" y="310466"/>
                    </a:lnTo>
                    <a:lnTo>
                      <a:pt x="66215" y="314102"/>
                    </a:lnTo>
                    <a:lnTo>
                      <a:pt x="65608" y="321375"/>
                    </a:lnTo>
                    <a:lnTo>
                      <a:pt x="63638" y="325315"/>
                    </a:lnTo>
                    <a:lnTo>
                      <a:pt x="63033" y="326224"/>
                    </a:lnTo>
                    <a:lnTo>
                      <a:pt x="62426" y="331224"/>
                    </a:lnTo>
                    <a:lnTo>
                      <a:pt x="61063" y="333649"/>
                    </a:lnTo>
                    <a:lnTo>
                      <a:pt x="59850" y="340012"/>
                    </a:lnTo>
                    <a:lnTo>
                      <a:pt x="59093" y="341831"/>
                    </a:lnTo>
                    <a:lnTo>
                      <a:pt x="57578" y="343346"/>
                    </a:lnTo>
                    <a:lnTo>
                      <a:pt x="56062" y="354255"/>
                    </a:lnTo>
                    <a:lnTo>
                      <a:pt x="56366" y="357286"/>
                    </a:lnTo>
                    <a:lnTo>
                      <a:pt x="58487" y="357589"/>
                    </a:lnTo>
                    <a:lnTo>
                      <a:pt x="62426" y="355165"/>
                    </a:lnTo>
                    <a:lnTo>
                      <a:pt x="63942" y="352589"/>
                    </a:lnTo>
                    <a:lnTo>
                      <a:pt x="66517" y="349710"/>
                    </a:lnTo>
                    <a:lnTo>
                      <a:pt x="67881" y="349104"/>
                    </a:lnTo>
                    <a:lnTo>
                      <a:pt x="68639" y="348346"/>
                    </a:lnTo>
                    <a:lnTo>
                      <a:pt x="68942" y="345922"/>
                    </a:lnTo>
                    <a:lnTo>
                      <a:pt x="69548" y="343497"/>
                    </a:lnTo>
                    <a:lnTo>
                      <a:pt x="69851" y="345164"/>
                    </a:lnTo>
                    <a:lnTo>
                      <a:pt x="70003" y="346679"/>
                    </a:lnTo>
                    <a:lnTo>
                      <a:pt x="68791" y="351073"/>
                    </a:lnTo>
                    <a:lnTo>
                      <a:pt x="68942" y="354104"/>
                    </a:lnTo>
                    <a:lnTo>
                      <a:pt x="68184" y="356074"/>
                    </a:lnTo>
                    <a:lnTo>
                      <a:pt x="68336" y="358195"/>
                    </a:lnTo>
                    <a:lnTo>
                      <a:pt x="68487" y="360619"/>
                    </a:lnTo>
                    <a:lnTo>
                      <a:pt x="72275" y="358801"/>
                    </a:lnTo>
                    <a:lnTo>
                      <a:pt x="73639" y="357134"/>
                    </a:lnTo>
                    <a:lnTo>
                      <a:pt x="73942" y="355165"/>
                    </a:lnTo>
                    <a:lnTo>
                      <a:pt x="74851" y="352892"/>
                    </a:lnTo>
                    <a:lnTo>
                      <a:pt x="75003" y="354104"/>
                    </a:lnTo>
                    <a:lnTo>
                      <a:pt x="74548" y="355619"/>
                    </a:lnTo>
                    <a:lnTo>
                      <a:pt x="74851" y="356983"/>
                    </a:lnTo>
                    <a:lnTo>
                      <a:pt x="74851" y="358649"/>
                    </a:lnTo>
                    <a:lnTo>
                      <a:pt x="76215" y="363195"/>
                    </a:lnTo>
                    <a:lnTo>
                      <a:pt x="80003" y="362589"/>
                    </a:lnTo>
                    <a:lnTo>
                      <a:pt x="82730" y="362892"/>
                    </a:lnTo>
                    <a:lnTo>
                      <a:pt x="84094" y="361528"/>
                    </a:lnTo>
                    <a:lnTo>
                      <a:pt x="86973" y="357134"/>
                    </a:lnTo>
                    <a:lnTo>
                      <a:pt x="87276" y="355316"/>
                    </a:lnTo>
                    <a:lnTo>
                      <a:pt x="87731" y="358498"/>
                    </a:lnTo>
                    <a:lnTo>
                      <a:pt x="86215" y="361377"/>
                    </a:lnTo>
                    <a:lnTo>
                      <a:pt x="86064" y="364862"/>
                    </a:lnTo>
                    <a:lnTo>
                      <a:pt x="87276" y="365619"/>
                    </a:lnTo>
                    <a:lnTo>
                      <a:pt x="88336" y="365771"/>
                    </a:lnTo>
                    <a:lnTo>
                      <a:pt x="92882" y="362589"/>
                    </a:lnTo>
                    <a:lnTo>
                      <a:pt x="96216" y="358649"/>
                    </a:lnTo>
                    <a:lnTo>
                      <a:pt x="97125" y="355922"/>
                    </a:lnTo>
                    <a:lnTo>
                      <a:pt x="98489" y="353195"/>
                    </a:lnTo>
                    <a:lnTo>
                      <a:pt x="105307" y="350770"/>
                    </a:lnTo>
                    <a:lnTo>
                      <a:pt x="105913" y="349861"/>
                    </a:lnTo>
                    <a:lnTo>
                      <a:pt x="106216" y="348346"/>
                    </a:lnTo>
                    <a:lnTo>
                      <a:pt x="107277" y="348043"/>
                    </a:lnTo>
                    <a:lnTo>
                      <a:pt x="108792" y="348346"/>
                    </a:lnTo>
                    <a:lnTo>
                      <a:pt x="113186" y="346528"/>
                    </a:lnTo>
                    <a:lnTo>
                      <a:pt x="114095" y="345619"/>
                    </a:lnTo>
                    <a:lnTo>
                      <a:pt x="111671" y="342134"/>
                    </a:lnTo>
                    <a:lnTo>
                      <a:pt x="111671" y="340315"/>
                    </a:lnTo>
                    <a:lnTo>
                      <a:pt x="110307" y="336527"/>
                    </a:lnTo>
                    <a:lnTo>
                      <a:pt x="111216" y="336224"/>
                    </a:lnTo>
                    <a:lnTo>
                      <a:pt x="111974" y="336679"/>
                    </a:lnTo>
                    <a:lnTo>
                      <a:pt x="112277" y="339709"/>
                    </a:lnTo>
                    <a:lnTo>
                      <a:pt x="112883" y="341528"/>
                    </a:lnTo>
                    <a:lnTo>
                      <a:pt x="115156" y="343649"/>
                    </a:lnTo>
                    <a:lnTo>
                      <a:pt x="116974" y="344103"/>
                    </a:lnTo>
                    <a:lnTo>
                      <a:pt x="119095" y="343800"/>
                    </a:lnTo>
                    <a:lnTo>
                      <a:pt x="122277" y="342437"/>
                    </a:lnTo>
                    <a:lnTo>
                      <a:pt x="126217" y="338346"/>
                    </a:lnTo>
                    <a:lnTo>
                      <a:pt x="127429" y="336376"/>
                    </a:lnTo>
                    <a:lnTo>
                      <a:pt x="128793" y="332436"/>
                    </a:lnTo>
                    <a:lnTo>
                      <a:pt x="130156" y="329406"/>
                    </a:lnTo>
                    <a:lnTo>
                      <a:pt x="128641" y="324557"/>
                    </a:lnTo>
                    <a:lnTo>
                      <a:pt x="130308" y="321678"/>
                    </a:lnTo>
                    <a:lnTo>
                      <a:pt x="129399" y="320618"/>
                    </a:lnTo>
                    <a:lnTo>
                      <a:pt x="128641" y="318951"/>
                    </a:lnTo>
                    <a:lnTo>
                      <a:pt x="131823" y="321224"/>
                    </a:lnTo>
                    <a:lnTo>
                      <a:pt x="134702" y="324254"/>
                    </a:lnTo>
                    <a:lnTo>
                      <a:pt x="135460" y="325466"/>
                    </a:lnTo>
                    <a:lnTo>
                      <a:pt x="138187" y="327436"/>
                    </a:lnTo>
                    <a:lnTo>
                      <a:pt x="137581" y="328345"/>
                    </a:lnTo>
                    <a:lnTo>
                      <a:pt x="138490" y="333042"/>
                    </a:lnTo>
                    <a:lnTo>
                      <a:pt x="140005" y="337285"/>
                    </a:lnTo>
                    <a:lnTo>
                      <a:pt x="141672" y="339255"/>
                    </a:lnTo>
                    <a:lnTo>
                      <a:pt x="142884" y="343346"/>
                    </a:lnTo>
                    <a:lnTo>
                      <a:pt x="146369" y="343346"/>
                    </a:lnTo>
                    <a:lnTo>
                      <a:pt x="149551" y="343043"/>
                    </a:lnTo>
                    <a:lnTo>
                      <a:pt x="150915" y="342588"/>
                    </a:lnTo>
                    <a:lnTo>
                      <a:pt x="152430" y="342134"/>
                    </a:lnTo>
                    <a:lnTo>
                      <a:pt x="150763" y="343497"/>
                    </a:lnTo>
                    <a:lnTo>
                      <a:pt x="149854" y="345316"/>
                    </a:lnTo>
                    <a:lnTo>
                      <a:pt x="150005" y="351073"/>
                    </a:lnTo>
                    <a:lnTo>
                      <a:pt x="149096" y="354104"/>
                    </a:lnTo>
                    <a:lnTo>
                      <a:pt x="148339" y="357589"/>
                    </a:lnTo>
                    <a:lnTo>
                      <a:pt x="151824" y="361680"/>
                    </a:lnTo>
                    <a:lnTo>
                      <a:pt x="153642" y="374105"/>
                    </a:lnTo>
                    <a:lnTo>
                      <a:pt x="152884" y="377590"/>
                    </a:lnTo>
                    <a:lnTo>
                      <a:pt x="154400" y="380923"/>
                    </a:lnTo>
                    <a:lnTo>
                      <a:pt x="154703" y="390014"/>
                    </a:lnTo>
                    <a:lnTo>
                      <a:pt x="156218" y="393348"/>
                    </a:lnTo>
                    <a:lnTo>
                      <a:pt x="158036" y="392590"/>
                    </a:lnTo>
                    <a:lnTo>
                      <a:pt x="160309" y="395621"/>
                    </a:lnTo>
                    <a:lnTo>
                      <a:pt x="157884" y="394408"/>
                    </a:lnTo>
                    <a:lnTo>
                      <a:pt x="157279" y="395621"/>
                    </a:lnTo>
                    <a:lnTo>
                      <a:pt x="159097" y="400924"/>
                    </a:lnTo>
                    <a:lnTo>
                      <a:pt x="159703" y="404409"/>
                    </a:lnTo>
                    <a:lnTo>
                      <a:pt x="162430" y="409257"/>
                    </a:lnTo>
                    <a:lnTo>
                      <a:pt x="161672" y="414106"/>
                    </a:lnTo>
                    <a:lnTo>
                      <a:pt x="162430" y="416530"/>
                    </a:lnTo>
                    <a:lnTo>
                      <a:pt x="162733" y="421682"/>
                    </a:lnTo>
                    <a:lnTo>
                      <a:pt x="163794" y="423500"/>
                    </a:lnTo>
                    <a:lnTo>
                      <a:pt x="165158" y="414257"/>
                    </a:lnTo>
                    <a:lnTo>
                      <a:pt x="166218" y="415470"/>
                    </a:lnTo>
                    <a:lnTo>
                      <a:pt x="166521" y="418046"/>
                    </a:lnTo>
                    <a:lnTo>
                      <a:pt x="166370" y="421076"/>
                    </a:lnTo>
                    <a:lnTo>
                      <a:pt x="171218" y="428046"/>
                    </a:lnTo>
                    <a:lnTo>
                      <a:pt x="173036" y="433349"/>
                    </a:lnTo>
                    <a:lnTo>
                      <a:pt x="175461" y="436986"/>
                    </a:lnTo>
                    <a:lnTo>
                      <a:pt x="175915" y="441834"/>
                    </a:lnTo>
                    <a:lnTo>
                      <a:pt x="177128" y="445622"/>
                    </a:lnTo>
                    <a:lnTo>
                      <a:pt x="177128" y="447744"/>
                    </a:lnTo>
                    <a:lnTo>
                      <a:pt x="177885" y="450774"/>
                    </a:lnTo>
                    <a:lnTo>
                      <a:pt x="177885" y="454108"/>
                    </a:lnTo>
                    <a:lnTo>
                      <a:pt x="176824" y="456835"/>
                    </a:lnTo>
                    <a:lnTo>
                      <a:pt x="178340" y="459411"/>
                    </a:lnTo>
                    <a:lnTo>
                      <a:pt x="176673" y="460774"/>
                    </a:lnTo>
                    <a:lnTo>
                      <a:pt x="176219" y="462290"/>
                    </a:lnTo>
                    <a:lnTo>
                      <a:pt x="176976" y="462896"/>
                    </a:lnTo>
                    <a:lnTo>
                      <a:pt x="178794" y="462896"/>
                    </a:lnTo>
                    <a:lnTo>
                      <a:pt x="177885" y="465623"/>
                    </a:lnTo>
                    <a:lnTo>
                      <a:pt x="178491" y="467744"/>
                    </a:lnTo>
                    <a:lnTo>
                      <a:pt x="178643" y="470169"/>
                    </a:lnTo>
                    <a:lnTo>
                      <a:pt x="177431" y="471381"/>
                    </a:lnTo>
                    <a:lnTo>
                      <a:pt x="177279" y="472441"/>
                    </a:lnTo>
                    <a:lnTo>
                      <a:pt x="176824" y="474260"/>
                    </a:lnTo>
                    <a:lnTo>
                      <a:pt x="177128" y="475927"/>
                    </a:lnTo>
                    <a:lnTo>
                      <a:pt x="178643" y="476532"/>
                    </a:lnTo>
                    <a:lnTo>
                      <a:pt x="181673" y="474866"/>
                    </a:lnTo>
                    <a:lnTo>
                      <a:pt x="182582" y="475927"/>
                    </a:lnTo>
                    <a:lnTo>
                      <a:pt x="183491" y="476532"/>
                    </a:lnTo>
                    <a:lnTo>
                      <a:pt x="181219" y="478048"/>
                    </a:lnTo>
                    <a:lnTo>
                      <a:pt x="179855" y="480017"/>
                    </a:lnTo>
                    <a:lnTo>
                      <a:pt x="180007" y="481987"/>
                    </a:lnTo>
                    <a:lnTo>
                      <a:pt x="179703" y="484412"/>
                    </a:lnTo>
                    <a:lnTo>
                      <a:pt x="179552" y="487291"/>
                    </a:lnTo>
                    <a:lnTo>
                      <a:pt x="180007" y="489715"/>
                    </a:lnTo>
                    <a:lnTo>
                      <a:pt x="178340" y="492594"/>
                    </a:lnTo>
                    <a:lnTo>
                      <a:pt x="178189" y="496685"/>
                    </a:lnTo>
                    <a:lnTo>
                      <a:pt x="176067" y="500018"/>
                    </a:lnTo>
                    <a:lnTo>
                      <a:pt x="174401" y="503352"/>
                    </a:lnTo>
                    <a:lnTo>
                      <a:pt x="173491" y="503958"/>
                    </a:lnTo>
                    <a:lnTo>
                      <a:pt x="172431" y="505170"/>
                    </a:lnTo>
                    <a:lnTo>
                      <a:pt x="173946" y="514110"/>
                    </a:lnTo>
                    <a:lnTo>
                      <a:pt x="173188" y="518807"/>
                    </a:lnTo>
                    <a:lnTo>
                      <a:pt x="173794" y="520928"/>
                    </a:lnTo>
                    <a:lnTo>
                      <a:pt x="174855" y="522898"/>
                    </a:lnTo>
                    <a:lnTo>
                      <a:pt x="177431" y="518958"/>
                    </a:lnTo>
                    <a:lnTo>
                      <a:pt x="178643" y="518655"/>
                    </a:lnTo>
                    <a:lnTo>
                      <a:pt x="179098" y="516534"/>
                    </a:lnTo>
                    <a:lnTo>
                      <a:pt x="179855" y="514261"/>
                    </a:lnTo>
                    <a:lnTo>
                      <a:pt x="180461" y="511988"/>
                    </a:lnTo>
                    <a:lnTo>
                      <a:pt x="180613" y="508503"/>
                    </a:lnTo>
                    <a:lnTo>
                      <a:pt x="180158" y="506685"/>
                    </a:lnTo>
                    <a:lnTo>
                      <a:pt x="180158" y="505624"/>
                    </a:lnTo>
                    <a:lnTo>
                      <a:pt x="180916" y="504261"/>
                    </a:lnTo>
                    <a:lnTo>
                      <a:pt x="183643" y="502140"/>
                    </a:lnTo>
                    <a:lnTo>
                      <a:pt x="187431" y="498503"/>
                    </a:lnTo>
                    <a:lnTo>
                      <a:pt x="191977" y="493351"/>
                    </a:lnTo>
                    <a:lnTo>
                      <a:pt x="196522" y="485472"/>
                    </a:lnTo>
                    <a:lnTo>
                      <a:pt x="198795" y="480926"/>
                    </a:lnTo>
                    <a:lnTo>
                      <a:pt x="199704" y="479260"/>
                    </a:lnTo>
                    <a:lnTo>
                      <a:pt x="200765" y="478805"/>
                    </a:lnTo>
                    <a:lnTo>
                      <a:pt x="202280" y="477290"/>
                    </a:lnTo>
                    <a:lnTo>
                      <a:pt x="203341" y="475623"/>
                    </a:lnTo>
                    <a:lnTo>
                      <a:pt x="203341" y="474714"/>
                    </a:lnTo>
                    <a:lnTo>
                      <a:pt x="200765" y="466229"/>
                    </a:lnTo>
                    <a:lnTo>
                      <a:pt x="199098" y="463502"/>
                    </a:lnTo>
                    <a:lnTo>
                      <a:pt x="198341" y="460168"/>
                    </a:lnTo>
                    <a:lnTo>
                      <a:pt x="197886" y="457744"/>
                    </a:lnTo>
                    <a:lnTo>
                      <a:pt x="197280" y="455623"/>
                    </a:lnTo>
                    <a:lnTo>
                      <a:pt x="197583" y="453501"/>
                    </a:lnTo>
                    <a:lnTo>
                      <a:pt x="196674" y="452289"/>
                    </a:lnTo>
                    <a:lnTo>
                      <a:pt x="194704" y="450622"/>
                    </a:lnTo>
                    <a:lnTo>
                      <a:pt x="192583" y="448198"/>
                    </a:lnTo>
                    <a:lnTo>
                      <a:pt x="191371" y="444259"/>
                    </a:lnTo>
                    <a:lnTo>
                      <a:pt x="191371" y="442137"/>
                    </a:lnTo>
                    <a:lnTo>
                      <a:pt x="190007" y="440168"/>
                    </a:lnTo>
                    <a:lnTo>
                      <a:pt x="189553" y="438198"/>
                    </a:lnTo>
                    <a:lnTo>
                      <a:pt x="190310" y="436228"/>
                    </a:lnTo>
                    <a:lnTo>
                      <a:pt x="191371" y="434561"/>
                    </a:lnTo>
                    <a:lnTo>
                      <a:pt x="191219" y="427288"/>
                    </a:lnTo>
                    <a:lnTo>
                      <a:pt x="190765" y="425167"/>
                    </a:lnTo>
                    <a:lnTo>
                      <a:pt x="190310" y="421228"/>
                    </a:lnTo>
                    <a:lnTo>
                      <a:pt x="188946" y="418349"/>
                    </a:lnTo>
                    <a:lnTo>
                      <a:pt x="186977" y="414863"/>
                    </a:lnTo>
                    <a:lnTo>
                      <a:pt x="184704" y="411985"/>
                    </a:lnTo>
                    <a:lnTo>
                      <a:pt x="178946" y="406833"/>
                    </a:lnTo>
                    <a:lnTo>
                      <a:pt x="174855" y="403348"/>
                    </a:lnTo>
                    <a:lnTo>
                      <a:pt x="172734" y="400166"/>
                    </a:lnTo>
                    <a:lnTo>
                      <a:pt x="170158" y="396530"/>
                    </a:lnTo>
                    <a:lnTo>
                      <a:pt x="168339" y="393954"/>
                    </a:lnTo>
                    <a:lnTo>
                      <a:pt x="165915" y="390620"/>
                    </a:lnTo>
                    <a:lnTo>
                      <a:pt x="164703" y="386075"/>
                    </a:lnTo>
                    <a:lnTo>
                      <a:pt x="164097" y="381378"/>
                    </a:lnTo>
                    <a:lnTo>
                      <a:pt x="164400" y="379862"/>
                    </a:lnTo>
                    <a:lnTo>
                      <a:pt x="165460" y="378802"/>
                    </a:lnTo>
                    <a:lnTo>
                      <a:pt x="166976" y="377893"/>
                    </a:lnTo>
                    <a:lnTo>
                      <a:pt x="168188" y="377741"/>
                    </a:lnTo>
                    <a:lnTo>
                      <a:pt x="171522" y="375620"/>
                    </a:lnTo>
                    <a:lnTo>
                      <a:pt x="173794" y="375771"/>
                    </a:lnTo>
                    <a:lnTo>
                      <a:pt x="174401" y="375317"/>
                    </a:lnTo>
                    <a:lnTo>
                      <a:pt x="174703" y="374256"/>
                    </a:lnTo>
                    <a:lnTo>
                      <a:pt x="174401" y="369862"/>
                    </a:lnTo>
                    <a:lnTo>
                      <a:pt x="174552" y="364104"/>
                    </a:lnTo>
                    <a:lnTo>
                      <a:pt x="175006" y="359407"/>
                    </a:lnTo>
                    <a:lnTo>
                      <a:pt x="175461" y="356225"/>
                    </a:lnTo>
                    <a:lnTo>
                      <a:pt x="181673" y="352589"/>
                    </a:lnTo>
                    <a:lnTo>
                      <a:pt x="183037" y="351073"/>
                    </a:lnTo>
                    <a:lnTo>
                      <a:pt x="183643" y="349407"/>
                    </a:lnTo>
                    <a:lnTo>
                      <a:pt x="183643" y="347891"/>
                    </a:lnTo>
                    <a:lnTo>
                      <a:pt x="183189" y="346679"/>
                    </a:lnTo>
                    <a:lnTo>
                      <a:pt x="182279" y="346073"/>
                    </a:lnTo>
                    <a:lnTo>
                      <a:pt x="178340" y="349255"/>
                    </a:lnTo>
                    <a:lnTo>
                      <a:pt x="177582" y="348498"/>
                    </a:lnTo>
                    <a:lnTo>
                      <a:pt x="175764" y="343346"/>
                    </a:lnTo>
                    <a:lnTo>
                      <a:pt x="175006" y="341831"/>
                    </a:lnTo>
                    <a:lnTo>
                      <a:pt x="173794" y="340012"/>
                    </a:lnTo>
                    <a:lnTo>
                      <a:pt x="172582" y="337437"/>
                    </a:lnTo>
                    <a:lnTo>
                      <a:pt x="172431" y="332891"/>
                    </a:lnTo>
                    <a:lnTo>
                      <a:pt x="171522" y="330618"/>
                    </a:lnTo>
                    <a:lnTo>
                      <a:pt x="166521" y="325769"/>
                    </a:lnTo>
                    <a:lnTo>
                      <a:pt x="164248" y="323194"/>
                    </a:lnTo>
                    <a:lnTo>
                      <a:pt x="161218" y="319406"/>
                    </a:lnTo>
                    <a:lnTo>
                      <a:pt x="157582" y="314860"/>
                    </a:lnTo>
                    <a:lnTo>
                      <a:pt x="153793" y="310769"/>
                    </a:lnTo>
                    <a:lnTo>
                      <a:pt x="151975" y="308042"/>
                    </a:lnTo>
                    <a:lnTo>
                      <a:pt x="151369" y="307435"/>
                    </a:lnTo>
                    <a:lnTo>
                      <a:pt x="151218" y="306375"/>
                    </a:lnTo>
                    <a:lnTo>
                      <a:pt x="152278" y="303496"/>
                    </a:lnTo>
                    <a:lnTo>
                      <a:pt x="151672" y="300617"/>
                    </a:lnTo>
                    <a:lnTo>
                      <a:pt x="149854" y="296829"/>
                    </a:lnTo>
                    <a:lnTo>
                      <a:pt x="149096" y="294405"/>
                    </a:lnTo>
                    <a:lnTo>
                      <a:pt x="149399" y="293495"/>
                    </a:lnTo>
                    <a:lnTo>
                      <a:pt x="148490" y="293192"/>
                    </a:lnTo>
                    <a:lnTo>
                      <a:pt x="146369" y="293344"/>
                    </a:lnTo>
                    <a:lnTo>
                      <a:pt x="144399" y="291526"/>
                    </a:lnTo>
                    <a:lnTo>
                      <a:pt x="142429" y="287738"/>
                    </a:lnTo>
                    <a:lnTo>
                      <a:pt x="142278" y="287132"/>
                    </a:lnTo>
                    <a:lnTo>
                      <a:pt x="142884" y="287132"/>
                    </a:lnTo>
                    <a:lnTo>
                      <a:pt x="145308" y="287738"/>
                    </a:lnTo>
                    <a:lnTo>
                      <a:pt x="146066" y="287586"/>
                    </a:lnTo>
                    <a:lnTo>
                      <a:pt x="147733" y="286677"/>
                    </a:lnTo>
                    <a:lnTo>
                      <a:pt x="150308" y="285768"/>
                    </a:lnTo>
                    <a:lnTo>
                      <a:pt x="151824" y="285465"/>
                    </a:lnTo>
                    <a:lnTo>
                      <a:pt x="152278" y="285010"/>
                    </a:lnTo>
                    <a:lnTo>
                      <a:pt x="152430" y="284101"/>
                    </a:lnTo>
                    <a:lnTo>
                      <a:pt x="151066" y="275313"/>
                    </a:lnTo>
                    <a:lnTo>
                      <a:pt x="151218" y="273495"/>
                    </a:lnTo>
                    <a:lnTo>
                      <a:pt x="153642" y="269707"/>
                    </a:lnTo>
                    <a:lnTo>
                      <a:pt x="153339" y="265919"/>
                    </a:lnTo>
                    <a:lnTo>
                      <a:pt x="153945" y="260464"/>
                    </a:lnTo>
                    <a:lnTo>
                      <a:pt x="156672" y="256676"/>
                    </a:lnTo>
                    <a:lnTo>
                      <a:pt x="158794" y="255009"/>
                    </a:lnTo>
                    <a:lnTo>
                      <a:pt x="159400" y="252282"/>
                    </a:lnTo>
                    <a:lnTo>
                      <a:pt x="160309" y="251676"/>
                    </a:lnTo>
                    <a:lnTo>
                      <a:pt x="161976" y="251827"/>
                    </a:lnTo>
                    <a:lnTo>
                      <a:pt x="165460" y="253797"/>
                    </a:lnTo>
                    <a:lnTo>
                      <a:pt x="166976" y="253949"/>
                    </a:lnTo>
                    <a:lnTo>
                      <a:pt x="169097" y="253949"/>
                    </a:lnTo>
                    <a:lnTo>
                      <a:pt x="171370" y="253797"/>
                    </a:lnTo>
                    <a:lnTo>
                      <a:pt x="172431" y="253645"/>
                    </a:lnTo>
                    <a:lnTo>
                      <a:pt x="179703" y="251676"/>
                    </a:lnTo>
                    <a:lnTo>
                      <a:pt x="181370" y="251524"/>
                    </a:lnTo>
                    <a:lnTo>
                      <a:pt x="182886" y="251827"/>
                    </a:lnTo>
                    <a:lnTo>
                      <a:pt x="183946" y="251676"/>
                    </a:lnTo>
                    <a:lnTo>
                      <a:pt x="185007" y="250767"/>
                    </a:lnTo>
                    <a:lnTo>
                      <a:pt x="185765" y="249100"/>
                    </a:lnTo>
                    <a:lnTo>
                      <a:pt x="186674" y="243948"/>
                    </a:lnTo>
                    <a:lnTo>
                      <a:pt x="187128" y="243039"/>
                    </a:lnTo>
                    <a:lnTo>
                      <a:pt x="188037" y="242281"/>
                    </a:lnTo>
                    <a:lnTo>
                      <a:pt x="189553" y="241827"/>
                    </a:lnTo>
                    <a:lnTo>
                      <a:pt x="191371" y="241827"/>
                    </a:lnTo>
                    <a:lnTo>
                      <a:pt x="193795" y="242736"/>
                    </a:lnTo>
                    <a:lnTo>
                      <a:pt x="195310" y="242736"/>
                    </a:lnTo>
                    <a:lnTo>
                      <a:pt x="196977" y="242281"/>
                    </a:lnTo>
                    <a:lnTo>
                      <a:pt x="198341" y="241524"/>
                    </a:lnTo>
                    <a:lnTo>
                      <a:pt x="199250" y="240615"/>
                    </a:lnTo>
                    <a:lnTo>
                      <a:pt x="199704" y="239554"/>
                    </a:lnTo>
                    <a:lnTo>
                      <a:pt x="199250" y="237433"/>
                    </a:lnTo>
                    <a:lnTo>
                      <a:pt x="198189" y="234857"/>
                    </a:lnTo>
                    <a:lnTo>
                      <a:pt x="198492" y="234554"/>
                    </a:lnTo>
                    <a:lnTo>
                      <a:pt x="200462" y="235160"/>
                    </a:lnTo>
                    <a:lnTo>
                      <a:pt x="203341" y="235766"/>
                    </a:lnTo>
                    <a:lnTo>
                      <a:pt x="205614" y="235615"/>
                    </a:lnTo>
                    <a:lnTo>
                      <a:pt x="207129" y="235160"/>
                    </a:lnTo>
                    <a:lnTo>
                      <a:pt x="208493" y="233948"/>
                    </a:lnTo>
                    <a:lnTo>
                      <a:pt x="210311" y="232887"/>
                    </a:lnTo>
                    <a:lnTo>
                      <a:pt x="212129" y="233190"/>
                    </a:lnTo>
                    <a:lnTo>
                      <a:pt x="213493" y="234251"/>
                    </a:lnTo>
                    <a:lnTo>
                      <a:pt x="216675" y="236069"/>
                    </a:lnTo>
                    <a:lnTo>
                      <a:pt x="216826" y="234554"/>
                    </a:lnTo>
                    <a:lnTo>
                      <a:pt x="218341" y="228342"/>
                    </a:lnTo>
                    <a:lnTo>
                      <a:pt x="220160" y="224402"/>
                    </a:lnTo>
                    <a:lnTo>
                      <a:pt x="222281" y="222584"/>
                    </a:lnTo>
                    <a:lnTo>
                      <a:pt x="224554" y="221826"/>
                    </a:lnTo>
                    <a:lnTo>
                      <a:pt x="226978" y="222129"/>
                    </a:lnTo>
                    <a:lnTo>
                      <a:pt x="228948" y="221826"/>
                    </a:lnTo>
                    <a:lnTo>
                      <a:pt x="230463" y="220917"/>
                    </a:lnTo>
                    <a:lnTo>
                      <a:pt x="230311" y="220311"/>
                    </a:lnTo>
                    <a:lnTo>
                      <a:pt x="228493" y="220160"/>
                    </a:lnTo>
                    <a:lnTo>
                      <a:pt x="227736" y="219099"/>
                    </a:lnTo>
                    <a:lnTo>
                      <a:pt x="228190" y="217129"/>
                    </a:lnTo>
                    <a:lnTo>
                      <a:pt x="229099" y="215765"/>
                    </a:lnTo>
                    <a:lnTo>
                      <a:pt x="230311" y="215159"/>
                    </a:lnTo>
                    <a:lnTo>
                      <a:pt x="231524" y="213189"/>
                    </a:lnTo>
                    <a:lnTo>
                      <a:pt x="232736" y="209705"/>
                    </a:lnTo>
                    <a:lnTo>
                      <a:pt x="234251" y="207886"/>
                    </a:lnTo>
                    <a:lnTo>
                      <a:pt x="235918" y="207886"/>
                    </a:lnTo>
                    <a:lnTo>
                      <a:pt x="238797" y="206371"/>
                    </a:lnTo>
                    <a:lnTo>
                      <a:pt x="243039" y="203492"/>
                    </a:lnTo>
                    <a:lnTo>
                      <a:pt x="244706" y="200613"/>
                    </a:lnTo>
                    <a:lnTo>
                      <a:pt x="245009" y="200159"/>
                    </a:lnTo>
                    <a:lnTo>
                      <a:pt x="244858" y="197128"/>
                    </a:lnTo>
                    <a:close/>
                    <a:moveTo>
                      <a:pt x="163794" y="496836"/>
                    </a:moveTo>
                    <a:lnTo>
                      <a:pt x="163188" y="497291"/>
                    </a:lnTo>
                    <a:lnTo>
                      <a:pt x="161521" y="499412"/>
                    </a:lnTo>
                    <a:lnTo>
                      <a:pt x="163642" y="499109"/>
                    </a:lnTo>
                    <a:lnTo>
                      <a:pt x="165309" y="500776"/>
                    </a:lnTo>
                    <a:lnTo>
                      <a:pt x="166218" y="503352"/>
                    </a:lnTo>
                    <a:lnTo>
                      <a:pt x="166825" y="503503"/>
                    </a:lnTo>
                    <a:lnTo>
                      <a:pt x="167127" y="503200"/>
                    </a:lnTo>
                    <a:lnTo>
                      <a:pt x="167430" y="502443"/>
                    </a:lnTo>
                    <a:lnTo>
                      <a:pt x="165158" y="497745"/>
                    </a:lnTo>
                    <a:lnTo>
                      <a:pt x="163794" y="496836"/>
                    </a:lnTo>
                    <a:close/>
                    <a:moveTo>
                      <a:pt x="174401" y="475775"/>
                    </a:moveTo>
                    <a:lnTo>
                      <a:pt x="173643" y="474108"/>
                    </a:lnTo>
                    <a:lnTo>
                      <a:pt x="169552" y="474411"/>
                    </a:lnTo>
                    <a:lnTo>
                      <a:pt x="170158" y="476532"/>
                    </a:lnTo>
                    <a:lnTo>
                      <a:pt x="170158" y="477442"/>
                    </a:lnTo>
                    <a:lnTo>
                      <a:pt x="171218" y="480624"/>
                    </a:lnTo>
                    <a:lnTo>
                      <a:pt x="171976" y="480624"/>
                    </a:lnTo>
                    <a:lnTo>
                      <a:pt x="173643" y="481381"/>
                    </a:lnTo>
                    <a:lnTo>
                      <a:pt x="174401" y="475775"/>
                    </a:lnTo>
                    <a:close/>
                    <a:moveTo>
                      <a:pt x="43184" y="264555"/>
                    </a:moveTo>
                    <a:lnTo>
                      <a:pt x="44850" y="265313"/>
                    </a:lnTo>
                    <a:lnTo>
                      <a:pt x="47274" y="264404"/>
                    </a:lnTo>
                    <a:lnTo>
                      <a:pt x="48183" y="263494"/>
                    </a:lnTo>
                    <a:lnTo>
                      <a:pt x="48486" y="262282"/>
                    </a:lnTo>
                    <a:lnTo>
                      <a:pt x="48486" y="261676"/>
                    </a:lnTo>
                    <a:lnTo>
                      <a:pt x="46517" y="260161"/>
                    </a:lnTo>
                    <a:lnTo>
                      <a:pt x="45305" y="260312"/>
                    </a:lnTo>
                    <a:lnTo>
                      <a:pt x="42123" y="258040"/>
                    </a:lnTo>
                    <a:lnTo>
                      <a:pt x="41365" y="258494"/>
                    </a:lnTo>
                    <a:lnTo>
                      <a:pt x="40153" y="259858"/>
                    </a:lnTo>
                    <a:lnTo>
                      <a:pt x="40607" y="260919"/>
                    </a:lnTo>
                    <a:lnTo>
                      <a:pt x="42577" y="262131"/>
                    </a:lnTo>
                    <a:lnTo>
                      <a:pt x="43184" y="264555"/>
                    </a:lnTo>
                    <a:close/>
                    <a:moveTo>
                      <a:pt x="172279" y="496836"/>
                    </a:moveTo>
                    <a:lnTo>
                      <a:pt x="172885" y="497291"/>
                    </a:lnTo>
                    <a:lnTo>
                      <a:pt x="173491" y="497442"/>
                    </a:lnTo>
                    <a:lnTo>
                      <a:pt x="174097" y="497442"/>
                    </a:lnTo>
                    <a:lnTo>
                      <a:pt x="173643" y="493957"/>
                    </a:lnTo>
                    <a:lnTo>
                      <a:pt x="172279" y="496836"/>
                    </a:lnTo>
                    <a:close/>
                    <a:moveTo>
                      <a:pt x="166825" y="475472"/>
                    </a:moveTo>
                    <a:lnTo>
                      <a:pt x="165764" y="478654"/>
                    </a:lnTo>
                    <a:lnTo>
                      <a:pt x="164703" y="480775"/>
                    </a:lnTo>
                    <a:lnTo>
                      <a:pt x="164400" y="483351"/>
                    </a:lnTo>
                    <a:lnTo>
                      <a:pt x="165006" y="483805"/>
                    </a:lnTo>
                    <a:lnTo>
                      <a:pt x="165158" y="483805"/>
                    </a:lnTo>
                    <a:lnTo>
                      <a:pt x="165309" y="483199"/>
                    </a:lnTo>
                    <a:lnTo>
                      <a:pt x="166521" y="481987"/>
                    </a:lnTo>
                    <a:lnTo>
                      <a:pt x="167127" y="480017"/>
                    </a:lnTo>
                    <a:lnTo>
                      <a:pt x="167734" y="476532"/>
                    </a:lnTo>
                    <a:lnTo>
                      <a:pt x="167582" y="474866"/>
                    </a:lnTo>
                    <a:lnTo>
                      <a:pt x="166825" y="475472"/>
                    </a:lnTo>
                    <a:close/>
                    <a:moveTo>
                      <a:pt x="167885" y="438349"/>
                    </a:moveTo>
                    <a:lnTo>
                      <a:pt x="167430" y="436834"/>
                    </a:lnTo>
                    <a:lnTo>
                      <a:pt x="166673" y="435773"/>
                    </a:lnTo>
                    <a:lnTo>
                      <a:pt x="166521" y="435470"/>
                    </a:lnTo>
                    <a:lnTo>
                      <a:pt x="166218" y="435773"/>
                    </a:lnTo>
                    <a:lnTo>
                      <a:pt x="166067" y="438046"/>
                    </a:lnTo>
                    <a:lnTo>
                      <a:pt x="166370" y="440471"/>
                    </a:lnTo>
                    <a:lnTo>
                      <a:pt x="167734" y="442592"/>
                    </a:lnTo>
                    <a:lnTo>
                      <a:pt x="167885" y="438349"/>
                    </a:lnTo>
                    <a:close/>
                    <a:moveTo>
                      <a:pt x="172279" y="471532"/>
                    </a:moveTo>
                    <a:lnTo>
                      <a:pt x="173491" y="471381"/>
                    </a:lnTo>
                    <a:lnTo>
                      <a:pt x="175158" y="470775"/>
                    </a:lnTo>
                    <a:lnTo>
                      <a:pt x="176067" y="469866"/>
                    </a:lnTo>
                    <a:lnTo>
                      <a:pt x="173794" y="468502"/>
                    </a:lnTo>
                    <a:lnTo>
                      <a:pt x="172127" y="466381"/>
                    </a:lnTo>
                    <a:lnTo>
                      <a:pt x="171825" y="466987"/>
                    </a:lnTo>
                    <a:lnTo>
                      <a:pt x="172279" y="471532"/>
                    </a:lnTo>
                    <a:close/>
                    <a:moveTo>
                      <a:pt x="171825" y="455623"/>
                    </a:moveTo>
                    <a:lnTo>
                      <a:pt x="172127" y="452895"/>
                    </a:lnTo>
                    <a:lnTo>
                      <a:pt x="171218" y="452895"/>
                    </a:lnTo>
                    <a:lnTo>
                      <a:pt x="170613" y="452138"/>
                    </a:lnTo>
                    <a:lnTo>
                      <a:pt x="170158" y="450774"/>
                    </a:lnTo>
                    <a:lnTo>
                      <a:pt x="167885" y="449865"/>
                    </a:lnTo>
                    <a:lnTo>
                      <a:pt x="167582" y="451683"/>
                    </a:lnTo>
                    <a:lnTo>
                      <a:pt x="168339" y="454410"/>
                    </a:lnTo>
                    <a:lnTo>
                      <a:pt x="167885" y="459259"/>
                    </a:lnTo>
                    <a:lnTo>
                      <a:pt x="168491" y="459259"/>
                    </a:lnTo>
                    <a:lnTo>
                      <a:pt x="169703" y="458805"/>
                    </a:lnTo>
                    <a:lnTo>
                      <a:pt x="171825" y="4556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8" name="Freeform: Shape 3207">
                <a:extLst>
                  <a:ext uri="{FF2B5EF4-FFF2-40B4-BE49-F238E27FC236}">
                    <a16:creationId xmlns:a16="http://schemas.microsoft.com/office/drawing/2014/main" id="{7AF8FFA0-1A2E-4105-B0AD-91C8C2407D5F}"/>
                  </a:ext>
                </a:extLst>
              </p:cNvPr>
              <p:cNvSpPr/>
              <p:nvPr/>
            </p:nvSpPr>
            <p:spPr>
              <a:xfrm>
                <a:off x="8503513" y="4361986"/>
                <a:ext cx="536534" cy="177279"/>
              </a:xfrm>
              <a:custGeom>
                <a:avLst/>
                <a:gdLst>
                  <a:gd name="connsiteX0" fmla="*/ 320466 w 536534"/>
                  <a:gd name="connsiteY0" fmla="*/ 134853 h 177279"/>
                  <a:gd name="connsiteX1" fmla="*/ 321375 w 536534"/>
                  <a:gd name="connsiteY1" fmla="*/ 134550 h 177279"/>
                  <a:gd name="connsiteX2" fmla="*/ 321072 w 536534"/>
                  <a:gd name="connsiteY2" fmla="*/ 133338 h 177279"/>
                  <a:gd name="connsiteX3" fmla="*/ 320921 w 536534"/>
                  <a:gd name="connsiteY3" fmla="*/ 130156 h 177279"/>
                  <a:gd name="connsiteX4" fmla="*/ 320921 w 536534"/>
                  <a:gd name="connsiteY4" fmla="*/ 126520 h 177279"/>
                  <a:gd name="connsiteX5" fmla="*/ 320315 w 536534"/>
                  <a:gd name="connsiteY5" fmla="*/ 125005 h 177279"/>
                  <a:gd name="connsiteX6" fmla="*/ 319708 w 536534"/>
                  <a:gd name="connsiteY6" fmla="*/ 124853 h 177279"/>
                  <a:gd name="connsiteX7" fmla="*/ 318799 w 536534"/>
                  <a:gd name="connsiteY7" fmla="*/ 125611 h 177279"/>
                  <a:gd name="connsiteX8" fmla="*/ 319103 w 536534"/>
                  <a:gd name="connsiteY8" fmla="*/ 133793 h 177279"/>
                  <a:gd name="connsiteX9" fmla="*/ 320466 w 536534"/>
                  <a:gd name="connsiteY9" fmla="*/ 134853 h 177279"/>
                  <a:gd name="connsiteX10" fmla="*/ 123944 w 536534"/>
                  <a:gd name="connsiteY10" fmla="*/ 126065 h 177279"/>
                  <a:gd name="connsiteX11" fmla="*/ 125308 w 536534"/>
                  <a:gd name="connsiteY11" fmla="*/ 125762 h 177279"/>
                  <a:gd name="connsiteX12" fmla="*/ 125308 w 536534"/>
                  <a:gd name="connsiteY12" fmla="*/ 124550 h 177279"/>
                  <a:gd name="connsiteX13" fmla="*/ 124247 w 536534"/>
                  <a:gd name="connsiteY13" fmla="*/ 121974 h 177279"/>
                  <a:gd name="connsiteX14" fmla="*/ 123792 w 536534"/>
                  <a:gd name="connsiteY14" fmla="*/ 122429 h 177279"/>
                  <a:gd name="connsiteX15" fmla="*/ 122731 w 536534"/>
                  <a:gd name="connsiteY15" fmla="*/ 124853 h 177279"/>
                  <a:gd name="connsiteX16" fmla="*/ 123186 w 536534"/>
                  <a:gd name="connsiteY16" fmla="*/ 125914 h 177279"/>
                  <a:gd name="connsiteX17" fmla="*/ 123944 w 536534"/>
                  <a:gd name="connsiteY17" fmla="*/ 126065 h 177279"/>
                  <a:gd name="connsiteX18" fmla="*/ 478805 w 536534"/>
                  <a:gd name="connsiteY18" fmla="*/ 5000 h 177279"/>
                  <a:gd name="connsiteX19" fmla="*/ 481533 w 536534"/>
                  <a:gd name="connsiteY19" fmla="*/ 4546 h 177279"/>
                  <a:gd name="connsiteX20" fmla="*/ 482290 w 536534"/>
                  <a:gd name="connsiteY20" fmla="*/ 3636 h 177279"/>
                  <a:gd name="connsiteX21" fmla="*/ 482745 w 536534"/>
                  <a:gd name="connsiteY21" fmla="*/ 1667 h 177279"/>
                  <a:gd name="connsiteX22" fmla="*/ 482290 w 536534"/>
                  <a:gd name="connsiteY22" fmla="*/ 0 h 177279"/>
                  <a:gd name="connsiteX23" fmla="*/ 479109 w 536534"/>
                  <a:gd name="connsiteY23" fmla="*/ 455 h 177279"/>
                  <a:gd name="connsiteX24" fmla="*/ 476835 w 536534"/>
                  <a:gd name="connsiteY24" fmla="*/ 2576 h 177279"/>
                  <a:gd name="connsiteX25" fmla="*/ 476684 w 536534"/>
                  <a:gd name="connsiteY25" fmla="*/ 4849 h 177279"/>
                  <a:gd name="connsiteX26" fmla="*/ 477290 w 536534"/>
                  <a:gd name="connsiteY26" fmla="*/ 6515 h 177279"/>
                  <a:gd name="connsiteX27" fmla="*/ 478805 w 536534"/>
                  <a:gd name="connsiteY27" fmla="*/ 5000 h 177279"/>
                  <a:gd name="connsiteX28" fmla="*/ 4848 w 536534"/>
                  <a:gd name="connsiteY28" fmla="*/ 24698 h 177279"/>
                  <a:gd name="connsiteX29" fmla="*/ 2878 w 536534"/>
                  <a:gd name="connsiteY29" fmla="*/ 25607 h 177279"/>
                  <a:gd name="connsiteX30" fmla="*/ 1818 w 536534"/>
                  <a:gd name="connsiteY30" fmla="*/ 25152 h 177279"/>
                  <a:gd name="connsiteX31" fmla="*/ 0 w 536534"/>
                  <a:gd name="connsiteY31" fmla="*/ 25455 h 177279"/>
                  <a:gd name="connsiteX32" fmla="*/ 303 w 536534"/>
                  <a:gd name="connsiteY32" fmla="*/ 26819 h 177279"/>
                  <a:gd name="connsiteX33" fmla="*/ 1667 w 536534"/>
                  <a:gd name="connsiteY33" fmla="*/ 27577 h 177279"/>
                  <a:gd name="connsiteX34" fmla="*/ 2727 w 536534"/>
                  <a:gd name="connsiteY34" fmla="*/ 29546 h 177279"/>
                  <a:gd name="connsiteX35" fmla="*/ 3788 w 536534"/>
                  <a:gd name="connsiteY35" fmla="*/ 29395 h 177279"/>
                  <a:gd name="connsiteX36" fmla="*/ 4848 w 536534"/>
                  <a:gd name="connsiteY36" fmla="*/ 28334 h 177279"/>
                  <a:gd name="connsiteX37" fmla="*/ 6061 w 536534"/>
                  <a:gd name="connsiteY37" fmla="*/ 28789 h 177279"/>
                  <a:gd name="connsiteX38" fmla="*/ 6515 w 536534"/>
                  <a:gd name="connsiteY38" fmla="*/ 28486 h 177279"/>
                  <a:gd name="connsiteX39" fmla="*/ 7424 w 536534"/>
                  <a:gd name="connsiteY39" fmla="*/ 27122 h 177279"/>
                  <a:gd name="connsiteX40" fmla="*/ 5455 w 536534"/>
                  <a:gd name="connsiteY40" fmla="*/ 24243 h 177279"/>
                  <a:gd name="connsiteX41" fmla="*/ 4848 w 536534"/>
                  <a:gd name="connsiteY41" fmla="*/ 24698 h 177279"/>
                  <a:gd name="connsiteX42" fmla="*/ 536535 w 536534"/>
                  <a:gd name="connsiteY42" fmla="*/ 54093 h 177279"/>
                  <a:gd name="connsiteX43" fmla="*/ 535626 w 536534"/>
                  <a:gd name="connsiteY43" fmla="*/ 52881 h 177279"/>
                  <a:gd name="connsiteX44" fmla="*/ 534413 w 536534"/>
                  <a:gd name="connsiteY44" fmla="*/ 52426 h 177279"/>
                  <a:gd name="connsiteX45" fmla="*/ 530928 w 536534"/>
                  <a:gd name="connsiteY45" fmla="*/ 52881 h 177279"/>
                  <a:gd name="connsiteX46" fmla="*/ 529565 w 536534"/>
                  <a:gd name="connsiteY46" fmla="*/ 52881 h 177279"/>
                  <a:gd name="connsiteX47" fmla="*/ 528353 w 536534"/>
                  <a:gd name="connsiteY47" fmla="*/ 52578 h 177279"/>
                  <a:gd name="connsiteX48" fmla="*/ 521686 w 536534"/>
                  <a:gd name="connsiteY48" fmla="*/ 49093 h 177279"/>
                  <a:gd name="connsiteX49" fmla="*/ 518504 w 536534"/>
                  <a:gd name="connsiteY49" fmla="*/ 48183 h 177279"/>
                  <a:gd name="connsiteX50" fmla="*/ 517595 w 536534"/>
                  <a:gd name="connsiteY50" fmla="*/ 45608 h 177279"/>
                  <a:gd name="connsiteX51" fmla="*/ 516231 w 536534"/>
                  <a:gd name="connsiteY51" fmla="*/ 44395 h 177279"/>
                  <a:gd name="connsiteX52" fmla="*/ 514716 w 536534"/>
                  <a:gd name="connsiteY52" fmla="*/ 43486 h 177279"/>
                  <a:gd name="connsiteX53" fmla="*/ 511837 w 536534"/>
                  <a:gd name="connsiteY53" fmla="*/ 42274 h 177279"/>
                  <a:gd name="connsiteX54" fmla="*/ 510322 w 536534"/>
                  <a:gd name="connsiteY54" fmla="*/ 41971 h 177279"/>
                  <a:gd name="connsiteX55" fmla="*/ 508958 w 536534"/>
                  <a:gd name="connsiteY55" fmla="*/ 41971 h 177279"/>
                  <a:gd name="connsiteX56" fmla="*/ 506079 w 536534"/>
                  <a:gd name="connsiteY56" fmla="*/ 43789 h 177279"/>
                  <a:gd name="connsiteX57" fmla="*/ 503049 w 536534"/>
                  <a:gd name="connsiteY57" fmla="*/ 45002 h 177279"/>
                  <a:gd name="connsiteX58" fmla="*/ 501533 w 536534"/>
                  <a:gd name="connsiteY58" fmla="*/ 45153 h 177279"/>
                  <a:gd name="connsiteX59" fmla="*/ 500321 w 536534"/>
                  <a:gd name="connsiteY59" fmla="*/ 43486 h 177279"/>
                  <a:gd name="connsiteX60" fmla="*/ 500473 w 536534"/>
                  <a:gd name="connsiteY60" fmla="*/ 43032 h 177279"/>
                  <a:gd name="connsiteX61" fmla="*/ 504261 w 536534"/>
                  <a:gd name="connsiteY61" fmla="*/ 41820 h 177279"/>
                  <a:gd name="connsiteX62" fmla="*/ 505473 w 536534"/>
                  <a:gd name="connsiteY62" fmla="*/ 41062 h 177279"/>
                  <a:gd name="connsiteX63" fmla="*/ 503958 w 536534"/>
                  <a:gd name="connsiteY63" fmla="*/ 37729 h 177279"/>
                  <a:gd name="connsiteX64" fmla="*/ 502442 w 536534"/>
                  <a:gd name="connsiteY64" fmla="*/ 35759 h 177279"/>
                  <a:gd name="connsiteX65" fmla="*/ 499412 w 536534"/>
                  <a:gd name="connsiteY65" fmla="*/ 38032 h 177279"/>
                  <a:gd name="connsiteX66" fmla="*/ 497291 w 536534"/>
                  <a:gd name="connsiteY66" fmla="*/ 38941 h 177279"/>
                  <a:gd name="connsiteX67" fmla="*/ 488654 w 536534"/>
                  <a:gd name="connsiteY67" fmla="*/ 40456 h 177279"/>
                  <a:gd name="connsiteX68" fmla="*/ 491836 w 536534"/>
                  <a:gd name="connsiteY68" fmla="*/ 38941 h 177279"/>
                  <a:gd name="connsiteX69" fmla="*/ 492594 w 536534"/>
                  <a:gd name="connsiteY69" fmla="*/ 37274 h 177279"/>
                  <a:gd name="connsiteX70" fmla="*/ 492745 w 536534"/>
                  <a:gd name="connsiteY70" fmla="*/ 35304 h 177279"/>
                  <a:gd name="connsiteX71" fmla="*/ 491836 w 536534"/>
                  <a:gd name="connsiteY71" fmla="*/ 31971 h 177279"/>
                  <a:gd name="connsiteX72" fmla="*/ 493957 w 536534"/>
                  <a:gd name="connsiteY72" fmla="*/ 29850 h 177279"/>
                  <a:gd name="connsiteX73" fmla="*/ 493957 w 536534"/>
                  <a:gd name="connsiteY73" fmla="*/ 27728 h 177279"/>
                  <a:gd name="connsiteX74" fmla="*/ 493352 w 536534"/>
                  <a:gd name="connsiteY74" fmla="*/ 25607 h 177279"/>
                  <a:gd name="connsiteX75" fmla="*/ 492745 w 536534"/>
                  <a:gd name="connsiteY75" fmla="*/ 24395 h 177279"/>
                  <a:gd name="connsiteX76" fmla="*/ 491685 w 536534"/>
                  <a:gd name="connsiteY76" fmla="*/ 23334 h 177279"/>
                  <a:gd name="connsiteX77" fmla="*/ 488654 w 536534"/>
                  <a:gd name="connsiteY77" fmla="*/ 21667 h 177279"/>
                  <a:gd name="connsiteX78" fmla="*/ 485472 w 536534"/>
                  <a:gd name="connsiteY78" fmla="*/ 20607 h 177279"/>
                  <a:gd name="connsiteX79" fmla="*/ 483048 w 536534"/>
                  <a:gd name="connsiteY79" fmla="*/ 18788 h 177279"/>
                  <a:gd name="connsiteX80" fmla="*/ 481988 w 536534"/>
                  <a:gd name="connsiteY80" fmla="*/ 15910 h 177279"/>
                  <a:gd name="connsiteX81" fmla="*/ 481684 w 536534"/>
                  <a:gd name="connsiteY81" fmla="*/ 14546 h 177279"/>
                  <a:gd name="connsiteX82" fmla="*/ 481836 w 536534"/>
                  <a:gd name="connsiteY82" fmla="*/ 12273 h 177279"/>
                  <a:gd name="connsiteX83" fmla="*/ 481230 w 536534"/>
                  <a:gd name="connsiteY83" fmla="*/ 11667 h 177279"/>
                  <a:gd name="connsiteX84" fmla="*/ 478502 w 536534"/>
                  <a:gd name="connsiteY84" fmla="*/ 10910 h 177279"/>
                  <a:gd name="connsiteX85" fmla="*/ 477139 w 536534"/>
                  <a:gd name="connsiteY85" fmla="*/ 12273 h 177279"/>
                  <a:gd name="connsiteX86" fmla="*/ 475472 w 536534"/>
                  <a:gd name="connsiteY86" fmla="*/ 15607 h 177279"/>
                  <a:gd name="connsiteX87" fmla="*/ 472593 w 536534"/>
                  <a:gd name="connsiteY87" fmla="*/ 19395 h 177279"/>
                  <a:gd name="connsiteX88" fmla="*/ 469866 w 536534"/>
                  <a:gd name="connsiteY88" fmla="*/ 20758 h 177279"/>
                  <a:gd name="connsiteX89" fmla="*/ 469259 w 536534"/>
                  <a:gd name="connsiteY89" fmla="*/ 20758 h 177279"/>
                  <a:gd name="connsiteX90" fmla="*/ 469866 w 536534"/>
                  <a:gd name="connsiteY90" fmla="*/ 18486 h 177279"/>
                  <a:gd name="connsiteX91" fmla="*/ 470775 w 536534"/>
                  <a:gd name="connsiteY91" fmla="*/ 16213 h 177279"/>
                  <a:gd name="connsiteX92" fmla="*/ 470926 w 536534"/>
                  <a:gd name="connsiteY92" fmla="*/ 14698 h 177279"/>
                  <a:gd name="connsiteX93" fmla="*/ 470472 w 536534"/>
                  <a:gd name="connsiteY93" fmla="*/ 11212 h 177279"/>
                  <a:gd name="connsiteX94" fmla="*/ 468957 w 536534"/>
                  <a:gd name="connsiteY94" fmla="*/ 10152 h 177279"/>
                  <a:gd name="connsiteX95" fmla="*/ 468199 w 536534"/>
                  <a:gd name="connsiteY95" fmla="*/ 10455 h 177279"/>
                  <a:gd name="connsiteX96" fmla="*/ 462441 w 536534"/>
                  <a:gd name="connsiteY96" fmla="*/ 21213 h 177279"/>
                  <a:gd name="connsiteX97" fmla="*/ 461229 w 536534"/>
                  <a:gd name="connsiteY97" fmla="*/ 22880 h 177279"/>
                  <a:gd name="connsiteX98" fmla="*/ 451532 w 536534"/>
                  <a:gd name="connsiteY98" fmla="*/ 33638 h 177279"/>
                  <a:gd name="connsiteX99" fmla="*/ 450774 w 536534"/>
                  <a:gd name="connsiteY99" fmla="*/ 37123 h 177279"/>
                  <a:gd name="connsiteX100" fmla="*/ 449410 w 536534"/>
                  <a:gd name="connsiteY100" fmla="*/ 40456 h 177279"/>
                  <a:gd name="connsiteX101" fmla="*/ 445471 w 536534"/>
                  <a:gd name="connsiteY101" fmla="*/ 44699 h 177279"/>
                  <a:gd name="connsiteX102" fmla="*/ 444410 w 536534"/>
                  <a:gd name="connsiteY102" fmla="*/ 47729 h 177279"/>
                  <a:gd name="connsiteX103" fmla="*/ 442289 w 536534"/>
                  <a:gd name="connsiteY103" fmla="*/ 49850 h 177279"/>
                  <a:gd name="connsiteX104" fmla="*/ 440773 w 536534"/>
                  <a:gd name="connsiteY104" fmla="*/ 50002 h 177279"/>
                  <a:gd name="connsiteX105" fmla="*/ 439259 w 536534"/>
                  <a:gd name="connsiteY105" fmla="*/ 50002 h 177279"/>
                  <a:gd name="connsiteX106" fmla="*/ 437592 w 536534"/>
                  <a:gd name="connsiteY106" fmla="*/ 49699 h 177279"/>
                  <a:gd name="connsiteX107" fmla="*/ 436985 w 536534"/>
                  <a:gd name="connsiteY107" fmla="*/ 48183 h 177279"/>
                  <a:gd name="connsiteX108" fmla="*/ 435622 w 536534"/>
                  <a:gd name="connsiteY108" fmla="*/ 49244 h 177279"/>
                  <a:gd name="connsiteX109" fmla="*/ 431834 w 536534"/>
                  <a:gd name="connsiteY109" fmla="*/ 53487 h 177279"/>
                  <a:gd name="connsiteX110" fmla="*/ 431834 w 536534"/>
                  <a:gd name="connsiteY110" fmla="*/ 55760 h 177279"/>
                  <a:gd name="connsiteX111" fmla="*/ 433046 w 536534"/>
                  <a:gd name="connsiteY111" fmla="*/ 57881 h 177279"/>
                  <a:gd name="connsiteX112" fmla="*/ 436228 w 536534"/>
                  <a:gd name="connsiteY112" fmla="*/ 59548 h 177279"/>
                  <a:gd name="connsiteX113" fmla="*/ 435471 w 536534"/>
                  <a:gd name="connsiteY113" fmla="*/ 62275 h 177279"/>
                  <a:gd name="connsiteX114" fmla="*/ 434561 w 536534"/>
                  <a:gd name="connsiteY114" fmla="*/ 63487 h 177279"/>
                  <a:gd name="connsiteX115" fmla="*/ 431986 w 536534"/>
                  <a:gd name="connsiteY115" fmla="*/ 65608 h 177279"/>
                  <a:gd name="connsiteX116" fmla="*/ 430470 w 536534"/>
                  <a:gd name="connsiteY116" fmla="*/ 66669 h 177279"/>
                  <a:gd name="connsiteX117" fmla="*/ 424107 w 536534"/>
                  <a:gd name="connsiteY117" fmla="*/ 67578 h 177279"/>
                  <a:gd name="connsiteX118" fmla="*/ 424864 w 536534"/>
                  <a:gd name="connsiteY118" fmla="*/ 68487 h 177279"/>
                  <a:gd name="connsiteX119" fmla="*/ 426530 w 536534"/>
                  <a:gd name="connsiteY119" fmla="*/ 71669 h 177279"/>
                  <a:gd name="connsiteX120" fmla="*/ 427591 w 536534"/>
                  <a:gd name="connsiteY120" fmla="*/ 74851 h 177279"/>
                  <a:gd name="connsiteX121" fmla="*/ 427895 w 536534"/>
                  <a:gd name="connsiteY121" fmla="*/ 79700 h 177279"/>
                  <a:gd name="connsiteX122" fmla="*/ 429258 w 536534"/>
                  <a:gd name="connsiteY122" fmla="*/ 81821 h 177279"/>
                  <a:gd name="connsiteX123" fmla="*/ 429107 w 536534"/>
                  <a:gd name="connsiteY123" fmla="*/ 82276 h 177279"/>
                  <a:gd name="connsiteX124" fmla="*/ 428349 w 536534"/>
                  <a:gd name="connsiteY124" fmla="*/ 82579 h 177279"/>
                  <a:gd name="connsiteX125" fmla="*/ 427137 w 536534"/>
                  <a:gd name="connsiteY125" fmla="*/ 82730 h 177279"/>
                  <a:gd name="connsiteX126" fmla="*/ 425016 w 536534"/>
                  <a:gd name="connsiteY126" fmla="*/ 82276 h 177279"/>
                  <a:gd name="connsiteX127" fmla="*/ 423349 w 536534"/>
                  <a:gd name="connsiteY127" fmla="*/ 81518 h 177279"/>
                  <a:gd name="connsiteX128" fmla="*/ 421834 w 536534"/>
                  <a:gd name="connsiteY128" fmla="*/ 76215 h 177279"/>
                  <a:gd name="connsiteX129" fmla="*/ 421228 w 536534"/>
                  <a:gd name="connsiteY129" fmla="*/ 73185 h 177279"/>
                  <a:gd name="connsiteX130" fmla="*/ 421228 w 536534"/>
                  <a:gd name="connsiteY130" fmla="*/ 69699 h 177279"/>
                  <a:gd name="connsiteX131" fmla="*/ 421228 w 536534"/>
                  <a:gd name="connsiteY131" fmla="*/ 67578 h 177279"/>
                  <a:gd name="connsiteX132" fmla="*/ 418955 w 536534"/>
                  <a:gd name="connsiteY132" fmla="*/ 68790 h 177279"/>
                  <a:gd name="connsiteX133" fmla="*/ 416833 w 536534"/>
                  <a:gd name="connsiteY133" fmla="*/ 70306 h 177279"/>
                  <a:gd name="connsiteX134" fmla="*/ 414561 w 536534"/>
                  <a:gd name="connsiteY134" fmla="*/ 71518 h 177279"/>
                  <a:gd name="connsiteX135" fmla="*/ 413500 w 536534"/>
                  <a:gd name="connsiteY135" fmla="*/ 72578 h 177279"/>
                  <a:gd name="connsiteX136" fmla="*/ 413803 w 536534"/>
                  <a:gd name="connsiteY136" fmla="*/ 73942 h 177279"/>
                  <a:gd name="connsiteX137" fmla="*/ 414258 w 536534"/>
                  <a:gd name="connsiteY137" fmla="*/ 76973 h 177279"/>
                  <a:gd name="connsiteX138" fmla="*/ 414561 w 536534"/>
                  <a:gd name="connsiteY138" fmla="*/ 79397 h 177279"/>
                  <a:gd name="connsiteX139" fmla="*/ 415318 w 536534"/>
                  <a:gd name="connsiteY139" fmla="*/ 80306 h 177279"/>
                  <a:gd name="connsiteX140" fmla="*/ 415924 w 536534"/>
                  <a:gd name="connsiteY140" fmla="*/ 81215 h 177279"/>
                  <a:gd name="connsiteX141" fmla="*/ 415621 w 536534"/>
                  <a:gd name="connsiteY141" fmla="*/ 82276 h 177279"/>
                  <a:gd name="connsiteX142" fmla="*/ 414258 w 536534"/>
                  <a:gd name="connsiteY142" fmla="*/ 84245 h 177279"/>
                  <a:gd name="connsiteX143" fmla="*/ 415015 w 536534"/>
                  <a:gd name="connsiteY143" fmla="*/ 84700 h 177279"/>
                  <a:gd name="connsiteX144" fmla="*/ 414106 w 536534"/>
                  <a:gd name="connsiteY144" fmla="*/ 87427 h 177279"/>
                  <a:gd name="connsiteX145" fmla="*/ 412742 w 536534"/>
                  <a:gd name="connsiteY145" fmla="*/ 89397 h 177279"/>
                  <a:gd name="connsiteX146" fmla="*/ 410773 w 536534"/>
                  <a:gd name="connsiteY146" fmla="*/ 91064 h 177279"/>
                  <a:gd name="connsiteX147" fmla="*/ 409561 w 536534"/>
                  <a:gd name="connsiteY147" fmla="*/ 91367 h 177279"/>
                  <a:gd name="connsiteX148" fmla="*/ 408500 w 536534"/>
                  <a:gd name="connsiteY148" fmla="*/ 90609 h 177279"/>
                  <a:gd name="connsiteX149" fmla="*/ 406833 w 536534"/>
                  <a:gd name="connsiteY149" fmla="*/ 88791 h 177279"/>
                  <a:gd name="connsiteX150" fmla="*/ 405015 w 536534"/>
                  <a:gd name="connsiteY150" fmla="*/ 86367 h 177279"/>
                  <a:gd name="connsiteX151" fmla="*/ 404106 w 536534"/>
                  <a:gd name="connsiteY151" fmla="*/ 85003 h 177279"/>
                  <a:gd name="connsiteX152" fmla="*/ 401530 w 536534"/>
                  <a:gd name="connsiteY152" fmla="*/ 84851 h 177279"/>
                  <a:gd name="connsiteX153" fmla="*/ 400621 w 536534"/>
                  <a:gd name="connsiteY153" fmla="*/ 83791 h 177279"/>
                  <a:gd name="connsiteX154" fmla="*/ 400621 w 536534"/>
                  <a:gd name="connsiteY154" fmla="*/ 82427 h 177279"/>
                  <a:gd name="connsiteX155" fmla="*/ 399863 w 536534"/>
                  <a:gd name="connsiteY155" fmla="*/ 80761 h 177279"/>
                  <a:gd name="connsiteX156" fmla="*/ 398802 w 536534"/>
                  <a:gd name="connsiteY156" fmla="*/ 79094 h 177279"/>
                  <a:gd name="connsiteX157" fmla="*/ 397287 w 536534"/>
                  <a:gd name="connsiteY157" fmla="*/ 77730 h 177279"/>
                  <a:gd name="connsiteX158" fmla="*/ 395318 w 536534"/>
                  <a:gd name="connsiteY158" fmla="*/ 76669 h 177279"/>
                  <a:gd name="connsiteX159" fmla="*/ 394409 w 536534"/>
                  <a:gd name="connsiteY159" fmla="*/ 75912 h 177279"/>
                  <a:gd name="connsiteX160" fmla="*/ 394105 w 536534"/>
                  <a:gd name="connsiteY160" fmla="*/ 75912 h 177279"/>
                  <a:gd name="connsiteX161" fmla="*/ 393044 w 536534"/>
                  <a:gd name="connsiteY161" fmla="*/ 76366 h 177279"/>
                  <a:gd name="connsiteX162" fmla="*/ 392287 w 536534"/>
                  <a:gd name="connsiteY162" fmla="*/ 77124 h 177279"/>
                  <a:gd name="connsiteX163" fmla="*/ 392439 w 536534"/>
                  <a:gd name="connsiteY163" fmla="*/ 78791 h 177279"/>
                  <a:gd name="connsiteX164" fmla="*/ 392439 w 536534"/>
                  <a:gd name="connsiteY164" fmla="*/ 80457 h 177279"/>
                  <a:gd name="connsiteX165" fmla="*/ 391530 w 536534"/>
                  <a:gd name="connsiteY165" fmla="*/ 84094 h 177279"/>
                  <a:gd name="connsiteX166" fmla="*/ 390772 w 536534"/>
                  <a:gd name="connsiteY166" fmla="*/ 85306 h 177279"/>
                  <a:gd name="connsiteX167" fmla="*/ 385014 w 536534"/>
                  <a:gd name="connsiteY167" fmla="*/ 91821 h 177279"/>
                  <a:gd name="connsiteX168" fmla="*/ 377741 w 536534"/>
                  <a:gd name="connsiteY168" fmla="*/ 98943 h 177279"/>
                  <a:gd name="connsiteX169" fmla="*/ 374256 w 536534"/>
                  <a:gd name="connsiteY169" fmla="*/ 103792 h 177279"/>
                  <a:gd name="connsiteX170" fmla="*/ 369407 w 536534"/>
                  <a:gd name="connsiteY170" fmla="*/ 109701 h 177279"/>
                  <a:gd name="connsiteX171" fmla="*/ 366832 w 536534"/>
                  <a:gd name="connsiteY171" fmla="*/ 113489 h 177279"/>
                  <a:gd name="connsiteX172" fmla="*/ 365316 w 536534"/>
                  <a:gd name="connsiteY172" fmla="*/ 114701 h 177279"/>
                  <a:gd name="connsiteX173" fmla="*/ 363498 w 536534"/>
                  <a:gd name="connsiteY173" fmla="*/ 115610 h 177279"/>
                  <a:gd name="connsiteX174" fmla="*/ 358498 w 536534"/>
                  <a:gd name="connsiteY174" fmla="*/ 117277 h 177279"/>
                  <a:gd name="connsiteX175" fmla="*/ 341527 w 536534"/>
                  <a:gd name="connsiteY175" fmla="*/ 121519 h 177279"/>
                  <a:gd name="connsiteX176" fmla="*/ 330770 w 536534"/>
                  <a:gd name="connsiteY176" fmla="*/ 123186 h 177279"/>
                  <a:gd name="connsiteX177" fmla="*/ 327891 w 536534"/>
                  <a:gd name="connsiteY177" fmla="*/ 124095 h 177279"/>
                  <a:gd name="connsiteX178" fmla="*/ 324860 w 536534"/>
                  <a:gd name="connsiteY178" fmla="*/ 126065 h 177279"/>
                  <a:gd name="connsiteX179" fmla="*/ 322891 w 536534"/>
                  <a:gd name="connsiteY179" fmla="*/ 129095 h 177279"/>
                  <a:gd name="connsiteX180" fmla="*/ 322739 w 536534"/>
                  <a:gd name="connsiteY180" fmla="*/ 132732 h 177279"/>
                  <a:gd name="connsiteX181" fmla="*/ 323042 w 536534"/>
                  <a:gd name="connsiteY181" fmla="*/ 134702 h 177279"/>
                  <a:gd name="connsiteX182" fmla="*/ 322891 w 536534"/>
                  <a:gd name="connsiteY182" fmla="*/ 135914 h 177279"/>
                  <a:gd name="connsiteX183" fmla="*/ 321830 w 536534"/>
                  <a:gd name="connsiteY183" fmla="*/ 136217 h 177279"/>
                  <a:gd name="connsiteX184" fmla="*/ 320315 w 536534"/>
                  <a:gd name="connsiteY184" fmla="*/ 136369 h 177279"/>
                  <a:gd name="connsiteX185" fmla="*/ 318799 w 536534"/>
                  <a:gd name="connsiteY185" fmla="*/ 135460 h 177279"/>
                  <a:gd name="connsiteX186" fmla="*/ 317284 w 536534"/>
                  <a:gd name="connsiteY186" fmla="*/ 134399 h 177279"/>
                  <a:gd name="connsiteX187" fmla="*/ 316375 w 536534"/>
                  <a:gd name="connsiteY187" fmla="*/ 135914 h 177279"/>
                  <a:gd name="connsiteX188" fmla="*/ 316072 w 536534"/>
                  <a:gd name="connsiteY188" fmla="*/ 138187 h 177279"/>
                  <a:gd name="connsiteX189" fmla="*/ 316375 w 536534"/>
                  <a:gd name="connsiteY189" fmla="*/ 140914 h 177279"/>
                  <a:gd name="connsiteX190" fmla="*/ 318042 w 536534"/>
                  <a:gd name="connsiteY190" fmla="*/ 142429 h 177279"/>
                  <a:gd name="connsiteX191" fmla="*/ 317587 w 536534"/>
                  <a:gd name="connsiteY191" fmla="*/ 144551 h 177279"/>
                  <a:gd name="connsiteX192" fmla="*/ 316072 w 536534"/>
                  <a:gd name="connsiteY192" fmla="*/ 146672 h 177279"/>
                  <a:gd name="connsiteX193" fmla="*/ 315315 w 536534"/>
                  <a:gd name="connsiteY193" fmla="*/ 148945 h 177279"/>
                  <a:gd name="connsiteX194" fmla="*/ 314860 w 536534"/>
                  <a:gd name="connsiteY194" fmla="*/ 153339 h 177279"/>
                  <a:gd name="connsiteX195" fmla="*/ 313648 w 536534"/>
                  <a:gd name="connsiteY195" fmla="*/ 154854 h 177279"/>
                  <a:gd name="connsiteX196" fmla="*/ 311981 w 536534"/>
                  <a:gd name="connsiteY196" fmla="*/ 156218 h 177279"/>
                  <a:gd name="connsiteX197" fmla="*/ 311527 w 536534"/>
                  <a:gd name="connsiteY197" fmla="*/ 158339 h 177279"/>
                  <a:gd name="connsiteX198" fmla="*/ 312284 w 536534"/>
                  <a:gd name="connsiteY198" fmla="*/ 160309 h 177279"/>
                  <a:gd name="connsiteX199" fmla="*/ 314102 w 536534"/>
                  <a:gd name="connsiteY199" fmla="*/ 161369 h 177279"/>
                  <a:gd name="connsiteX200" fmla="*/ 316830 w 536534"/>
                  <a:gd name="connsiteY200" fmla="*/ 162885 h 177279"/>
                  <a:gd name="connsiteX201" fmla="*/ 314708 w 536534"/>
                  <a:gd name="connsiteY201" fmla="*/ 163188 h 177279"/>
                  <a:gd name="connsiteX202" fmla="*/ 313496 w 536534"/>
                  <a:gd name="connsiteY202" fmla="*/ 162885 h 177279"/>
                  <a:gd name="connsiteX203" fmla="*/ 309102 w 536534"/>
                  <a:gd name="connsiteY203" fmla="*/ 159703 h 177279"/>
                  <a:gd name="connsiteX204" fmla="*/ 307890 w 536534"/>
                  <a:gd name="connsiteY204" fmla="*/ 159248 h 177279"/>
                  <a:gd name="connsiteX205" fmla="*/ 304860 w 536534"/>
                  <a:gd name="connsiteY205" fmla="*/ 159551 h 177279"/>
                  <a:gd name="connsiteX206" fmla="*/ 301981 w 536534"/>
                  <a:gd name="connsiteY206" fmla="*/ 158794 h 177279"/>
                  <a:gd name="connsiteX207" fmla="*/ 294405 w 536534"/>
                  <a:gd name="connsiteY207" fmla="*/ 154702 h 177279"/>
                  <a:gd name="connsiteX208" fmla="*/ 293041 w 536534"/>
                  <a:gd name="connsiteY208" fmla="*/ 154097 h 177279"/>
                  <a:gd name="connsiteX209" fmla="*/ 291677 w 536534"/>
                  <a:gd name="connsiteY209" fmla="*/ 154551 h 177279"/>
                  <a:gd name="connsiteX210" fmla="*/ 290313 w 536534"/>
                  <a:gd name="connsiteY210" fmla="*/ 154702 h 177279"/>
                  <a:gd name="connsiteX211" fmla="*/ 286677 w 536534"/>
                  <a:gd name="connsiteY211" fmla="*/ 154551 h 177279"/>
                  <a:gd name="connsiteX212" fmla="*/ 283192 w 536534"/>
                  <a:gd name="connsiteY212" fmla="*/ 154097 h 177279"/>
                  <a:gd name="connsiteX213" fmla="*/ 279858 w 536534"/>
                  <a:gd name="connsiteY213" fmla="*/ 152884 h 177279"/>
                  <a:gd name="connsiteX214" fmla="*/ 275919 w 536534"/>
                  <a:gd name="connsiteY214" fmla="*/ 150308 h 177279"/>
                  <a:gd name="connsiteX215" fmla="*/ 275161 w 536534"/>
                  <a:gd name="connsiteY215" fmla="*/ 149399 h 177279"/>
                  <a:gd name="connsiteX216" fmla="*/ 273343 w 536534"/>
                  <a:gd name="connsiteY216" fmla="*/ 145611 h 177279"/>
                  <a:gd name="connsiteX217" fmla="*/ 270919 w 536534"/>
                  <a:gd name="connsiteY217" fmla="*/ 149248 h 177279"/>
                  <a:gd name="connsiteX218" fmla="*/ 271222 w 536534"/>
                  <a:gd name="connsiteY218" fmla="*/ 150612 h 177279"/>
                  <a:gd name="connsiteX219" fmla="*/ 271828 w 536534"/>
                  <a:gd name="connsiteY219" fmla="*/ 151824 h 177279"/>
                  <a:gd name="connsiteX220" fmla="*/ 273646 w 536534"/>
                  <a:gd name="connsiteY220" fmla="*/ 152581 h 177279"/>
                  <a:gd name="connsiteX221" fmla="*/ 274101 w 536534"/>
                  <a:gd name="connsiteY221" fmla="*/ 156975 h 177279"/>
                  <a:gd name="connsiteX222" fmla="*/ 276374 w 536534"/>
                  <a:gd name="connsiteY222" fmla="*/ 159400 h 177279"/>
                  <a:gd name="connsiteX223" fmla="*/ 278646 w 536534"/>
                  <a:gd name="connsiteY223" fmla="*/ 161673 h 177279"/>
                  <a:gd name="connsiteX224" fmla="*/ 280313 w 536534"/>
                  <a:gd name="connsiteY224" fmla="*/ 162733 h 177279"/>
                  <a:gd name="connsiteX225" fmla="*/ 282132 w 536534"/>
                  <a:gd name="connsiteY225" fmla="*/ 164400 h 177279"/>
                  <a:gd name="connsiteX226" fmla="*/ 283344 w 536534"/>
                  <a:gd name="connsiteY226" fmla="*/ 165915 h 177279"/>
                  <a:gd name="connsiteX227" fmla="*/ 284707 w 536534"/>
                  <a:gd name="connsiteY227" fmla="*/ 167127 h 177279"/>
                  <a:gd name="connsiteX228" fmla="*/ 286677 w 536534"/>
                  <a:gd name="connsiteY228" fmla="*/ 168339 h 177279"/>
                  <a:gd name="connsiteX229" fmla="*/ 292132 w 536534"/>
                  <a:gd name="connsiteY229" fmla="*/ 173643 h 177279"/>
                  <a:gd name="connsiteX230" fmla="*/ 294405 w 536534"/>
                  <a:gd name="connsiteY230" fmla="*/ 175158 h 177279"/>
                  <a:gd name="connsiteX231" fmla="*/ 296071 w 536534"/>
                  <a:gd name="connsiteY231" fmla="*/ 176673 h 177279"/>
                  <a:gd name="connsiteX232" fmla="*/ 297284 w 536534"/>
                  <a:gd name="connsiteY232" fmla="*/ 177279 h 177279"/>
                  <a:gd name="connsiteX233" fmla="*/ 300314 w 536534"/>
                  <a:gd name="connsiteY233" fmla="*/ 176825 h 177279"/>
                  <a:gd name="connsiteX234" fmla="*/ 309102 w 536534"/>
                  <a:gd name="connsiteY234" fmla="*/ 173037 h 177279"/>
                  <a:gd name="connsiteX235" fmla="*/ 310618 w 536534"/>
                  <a:gd name="connsiteY235" fmla="*/ 172733 h 177279"/>
                  <a:gd name="connsiteX236" fmla="*/ 313496 w 536534"/>
                  <a:gd name="connsiteY236" fmla="*/ 172128 h 177279"/>
                  <a:gd name="connsiteX237" fmla="*/ 318497 w 536534"/>
                  <a:gd name="connsiteY237" fmla="*/ 172279 h 177279"/>
                  <a:gd name="connsiteX238" fmla="*/ 323800 w 536534"/>
                  <a:gd name="connsiteY238" fmla="*/ 173643 h 177279"/>
                  <a:gd name="connsiteX239" fmla="*/ 325466 w 536534"/>
                  <a:gd name="connsiteY239" fmla="*/ 173643 h 177279"/>
                  <a:gd name="connsiteX240" fmla="*/ 327133 w 536534"/>
                  <a:gd name="connsiteY240" fmla="*/ 172885 h 177279"/>
                  <a:gd name="connsiteX241" fmla="*/ 329406 w 536534"/>
                  <a:gd name="connsiteY241" fmla="*/ 173188 h 177279"/>
                  <a:gd name="connsiteX242" fmla="*/ 331527 w 536534"/>
                  <a:gd name="connsiteY242" fmla="*/ 173643 h 177279"/>
                  <a:gd name="connsiteX243" fmla="*/ 332588 w 536534"/>
                  <a:gd name="connsiteY243" fmla="*/ 173340 h 177279"/>
                  <a:gd name="connsiteX244" fmla="*/ 335770 w 536534"/>
                  <a:gd name="connsiteY244" fmla="*/ 170612 h 177279"/>
                  <a:gd name="connsiteX245" fmla="*/ 340012 w 536534"/>
                  <a:gd name="connsiteY245" fmla="*/ 169855 h 177279"/>
                  <a:gd name="connsiteX246" fmla="*/ 341376 w 536534"/>
                  <a:gd name="connsiteY246" fmla="*/ 167127 h 177279"/>
                  <a:gd name="connsiteX247" fmla="*/ 342437 w 536534"/>
                  <a:gd name="connsiteY247" fmla="*/ 164551 h 177279"/>
                  <a:gd name="connsiteX248" fmla="*/ 342891 w 536534"/>
                  <a:gd name="connsiteY248" fmla="*/ 161824 h 177279"/>
                  <a:gd name="connsiteX249" fmla="*/ 344710 w 536534"/>
                  <a:gd name="connsiteY249" fmla="*/ 160763 h 177279"/>
                  <a:gd name="connsiteX250" fmla="*/ 347134 w 536534"/>
                  <a:gd name="connsiteY250" fmla="*/ 159854 h 177279"/>
                  <a:gd name="connsiteX251" fmla="*/ 350771 w 536534"/>
                  <a:gd name="connsiteY251" fmla="*/ 158642 h 177279"/>
                  <a:gd name="connsiteX252" fmla="*/ 363498 w 536534"/>
                  <a:gd name="connsiteY252" fmla="*/ 158491 h 177279"/>
                  <a:gd name="connsiteX253" fmla="*/ 364710 w 536534"/>
                  <a:gd name="connsiteY253" fmla="*/ 158945 h 177279"/>
                  <a:gd name="connsiteX254" fmla="*/ 365013 w 536534"/>
                  <a:gd name="connsiteY254" fmla="*/ 160309 h 177279"/>
                  <a:gd name="connsiteX255" fmla="*/ 364710 w 536534"/>
                  <a:gd name="connsiteY255" fmla="*/ 161369 h 177279"/>
                  <a:gd name="connsiteX256" fmla="*/ 365165 w 536534"/>
                  <a:gd name="connsiteY256" fmla="*/ 161976 h 177279"/>
                  <a:gd name="connsiteX257" fmla="*/ 366832 w 536534"/>
                  <a:gd name="connsiteY257" fmla="*/ 161976 h 177279"/>
                  <a:gd name="connsiteX258" fmla="*/ 368347 w 536534"/>
                  <a:gd name="connsiteY258" fmla="*/ 162582 h 177279"/>
                  <a:gd name="connsiteX259" fmla="*/ 374711 w 536534"/>
                  <a:gd name="connsiteY259" fmla="*/ 164854 h 177279"/>
                  <a:gd name="connsiteX260" fmla="*/ 377438 w 536534"/>
                  <a:gd name="connsiteY260" fmla="*/ 165461 h 177279"/>
                  <a:gd name="connsiteX261" fmla="*/ 378953 w 536534"/>
                  <a:gd name="connsiteY261" fmla="*/ 165309 h 177279"/>
                  <a:gd name="connsiteX262" fmla="*/ 381984 w 536534"/>
                  <a:gd name="connsiteY262" fmla="*/ 167279 h 177279"/>
                  <a:gd name="connsiteX263" fmla="*/ 383650 w 536534"/>
                  <a:gd name="connsiteY263" fmla="*/ 166673 h 177279"/>
                  <a:gd name="connsiteX264" fmla="*/ 385772 w 536534"/>
                  <a:gd name="connsiteY264" fmla="*/ 165309 h 177279"/>
                  <a:gd name="connsiteX265" fmla="*/ 387893 w 536534"/>
                  <a:gd name="connsiteY265" fmla="*/ 163491 h 177279"/>
                  <a:gd name="connsiteX266" fmla="*/ 389711 w 536534"/>
                  <a:gd name="connsiteY266" fmla="*/ 161976 h 177279"/>
                  <a:gd name="connsiteX267" fmla="*/ 392439 w 536534"/>
                  <a:gd name="connsiteY267" fmla="*/ 161369 h 177279"/>
                  <a:gd name="connsiteX268" fmla="*/ 395923 w 536534"/>
                  <a:gd name="connsiteY268" fmla="*/ 161521 h 177279"/>
                  <a:gd name="connsiteX269" fmla="*/ 400015 w 536534"/>
                  <a:gd name="connsiteY269" fmla="*/ 161066 h 177279"/>
                  <a:gd name="connsiteX270" fmla="*/ 403045 w 536534"/>
                  <a:gd name="connsiteY270" fmla="*/ 160309 h 177279"/>
                  <a:gd name="connsiteX271" fmla="*/ 406530 w 536534"/>
                  <a:gd name="connsiteY271" fmla="*/ 161673 h 177279"/>
                  <a:gd name="connsiteX272" fmla="*/ 407439 w 536534"/>
                  <a:gd name="connsiteY272" fmla="*/ 161218 h 177279"/>
                  <a:gd name="connsiteX273" fmla="*/ 408045 w 536534"/>
                  <a:gd name="connsiteY273" fmla="*/ 160006 h 177279"/>
                  <a:gd name="connsiteX274" fmla="*/ 409864 w 536534"/>
                  <a:gd name="connsiteY274" fmla="*/ 157278 h 177279"/>
                  <a:gd name="connsiteX275" fmla="*/ 410621 w 536534"/>
                  <a:gd name="connsiteY275" fmla="*/ 155460 h 177279"/>
                  <a:gd name="connsiteX276" fmla="*/ 411379 w 536534"/>
                  <a:gd name="connsiteY276" fmla="*/ 151824 h 177279"/>
                  <a:gd name="connsiteX277" fmla="*/ 411833 w 536534"/>
                  <a:gd name="connsiteY277" fmla="*/ 150914 h 177279"/>
                  <a:gd name="connsiteX278" fmla="*/ 413197 w 536534"/>
                  <a:gd name="connsiteY278" fmla="*/ 150460 h 177279"/>
                  <a:gd name="connsiteX279" fmla="*/ 414561 w 536534"/>
                  <a:gd name="connsiteY279" fmla="*/ 149854 h 177279"/>
                  <a:gd name="connsiteX280" fmla="*/ 414863 w 536534"/>
                  <a:gd name="connsiteY280" fmla="*/ 148793 h 177279"/>
                  <a:gd name="connsiteX281" fmla="*/ 415318 w 536534"/>
                  <a:gd name="connsiteY281" fmla="*/ 147581 h 177279"/>
                  <a:gd name="connsiteX282" fmla="*/ 414863 w 536534"/>
                  <a:gd name="connsiteY282" fmla="*/ 146520 h 177279"/>
                  <a:gd name="connsiteX283" fmla="*/ 414106 w 536534"/>
                  <a:gd name="connsiteY283" fmla="*/ 145611 h 177279"/>
                  <a:gd name="connsiteX284" fmla="*/ 413349 w 536534"/>
                  <a:gd name="connsiteY284" fmla="*/ 142581 h 177279"/>
                  <a:gd name="connsiteX285" fmla="*/ 413652 w 536534"/>
                  <a:gd name="connsiteY285" fmla="*/ 141217 h 177279"/>
                  <a:gd name="connsiteX286" fmla="*/ 414106 w 536534"/>
                  <a:gd name="connsiteY286" fmla="*/ 140157 h 177279"/>
                  <a:gd name="connsiteX287" fmla="*/ 415470 w 536534"/>
                  <a:gd name="connsiteY287" fmla="*/ 139702 h 177279"/>
                  <a:gd name="connsiteX288" fmla="*/ 419106 w 536534"/>
                  <a:gd name="connsiteY288" fmla="*/ 137429 h 177279"/>
                  <a:gd name="connsiteX289" fmla="*/ 422288 w 536534"/>
                  <a:gd name="connsiteY289" fmla="*/ 134853 h 177279"/>
                  <a:gd name="connsiteX290" fmla="*/ 424107 w 536534"/>
                  <a:gd name="connsiteY290" fmla="*/ 133641 h 177279"/>
                  <a:gd name="connsiteX291" fmla="*/ 424864 w 536534"/>
                  <a:gd name="connsiteY291" fmla="*/ 132883 h 177279"/>
                  <a:gd name="connsiteX292" fmla="*/ 424864 w 536534"/>
                  <a:gd name="connsiteY292" fmla="*/ 131672 h 177279"/>
                  <a:gd name="connsiteX293" fmla="*/ 423500 w 536534"/>
                  <a:gd name="connsiteY293" fmla="*/ 130459 h 177279"/>
                  <a:gd name="connsiteX294" fmla="*/ 422137 w 536534"/>
                  <a:gd name="connsiteY294" fmla="*/ 129853 h 177279"/>
                  <a:gd name="connsiteX295" fmla="*/ 421985 w 536534"/>
                  <a:gd name="connsiteY295" fmla="*/ 128489 h 177279"/>
                  <a:gd name="connsiteX296" fmla="*/ 421985 w 536534"/>
                  <a:gd name="connsiteY296" fmla="*/ 127429 h 177279"/>
                  <a:gd name="connsiteX297" fmla="*/ 422440 w 536534"/>
                  <a:gd name="connsiteY297" fmla="*/ 126520 h 177279"/>
                  <a:gd name="connsiteX298" fmla="*/ 422288 w 536534"/>
                  <a:gd name="connsiteY298" fmla="*/ 125611 h 177279"/>
                  <a:gd name="connsiteX299" fmla="*/ 422288 w 536534"/>
                  <a:gd name="connsiteY299" fmla="*/ 124247 h 177279"/>
                  <a:gd name="connsiteX300" fmla="*/ 423197 w 536534"/>
                  <a:gd name="connsiteY300" fmla="*/ 122732 h 177279"/>
                  <a:gd name="connsiteX301" fmla="*/ 425167 w 536534"/>
                  <a:gd name="connsiteY301" fmla="*/ 120610 h 177279"/>
                  <a:gd name="connsiteX302" fmla="*/ 426682 w 536534"/>
                  <a:gd name="connsiteY302" fmla="*/ 119247 h 177279"/>
                  <a:gd name="connsiteX303" fmla="*/ 428349 w 536534"/>
                  <a:gd name="connsiteY303" fmla="*/ 120156 h 177279"/>
                  <a:gd name="connsiteX304" fmla="*/ 430318 w 536534"/>
                  <a:gd name="connsiteY304" fmla="*/ 119701 h 177279"/>
                  <a:gd name="connsiteX305" fmla="*/ 432288 w 536534"/>
                  <a:gd name="connsiteY305" fmla="*/ 118944 h 177279"/>
                  <a:gd name="connsiteX306" fmla="*/ 433349 w 536534"/>
                  <a:gd name="connsiteY306" fmla="*/ 116368 h 177279"/>
                  <a:gd name="connsiteX307" fmla="*/ 433501 w 536534"/>
                  <a:gd name="connsiteY307" fmla="*/ 115156 h 177279"/>
                  <a:gd name="connsiteX308" fmla="*/ 433197 w 536534"/>
                  <a:gd name="connsiteY308" fmla="*/ 114246 h 177279"/>
                  <a:gd name="connsiteX309" fmla="*/ 433804 w 536534"/>
                  <a:gd name="connsiteY309" fmla="*/ 110610 h 177279"/>
                  <a:gd name="connsiteX310" fmla="*/ 433956 w 536534"/>
                  <a:gd name="connsiteY310" fmla="*/ 110155 h 177279"/>
                  <a:gd name="connsiteX311" fmla="*/ 435167 w 536534"/>
                  <a:gd name="connsiteY311" fmla="*/ 107883 h 177279"/>
                  <a:gd name="connsiteX312" fmla="*/ 435319 w 536534"/>
                  <a:gd name="connsiteY312" fmla="*/ 106367 h 177279"/>
                  <a:gd name="connsiteX313" fmla="*/ 434561 w 536534"/>
                  <a:gd name="connsiteY313" fmla="*/ 102731 h 177279"/>
                  <a:gd name="connsiteX314" fmla="*/ 435016 w 536534"/>
                  <a:gd name="connsiteY314" fmla="*/ 100004 h 177279"/>
                  <a:gd name="connsiteX315" fmla="*/ 435167 w 536534"/>
                  <a:gd name="connsiteY315" fmla="*/ 94397 h 177279"/>
                  <a:gd name="connsiteX316" fmla="*/ 435925 w 536534"/>
                  <a:gd name="connsiteY316" fmla="*/ 93337 h 177279"/>
                  <a:gd name="connsiteX317" fmla="*/ 436834 w 536534"/>
                  <a:gd name="connsiteY317" fmla="*/ 90458 h 177279"/>
                  <a:gd name="connsiteX318" fmla="*/ 438198 w 536534"/>
                  <a:gd name="connsiteY318" fmla="*/ 87427 h 177279"/>
                  <a:gd name="connsiteX319" fmla="*/ 441077 w 536534"/>
                  <a:gd name="connsiteY319" fmla="*/ 85761 h 177279"/>
                  <a:gd name="connsiteX320" fmla="*/ 442592 w 536534"/>
                  <a:gd name="connsiteY320" fmla="*/ 83639 h 177279"/>
                  <a:gd name="connsiteX321" fmla="*/ 443198 w 536534"/>
                  <a:gd name="connsiteY321" fmla="*/ 83185 h 177279"/>
                  <a:gd name="connsiteX322" fmla="*/ 444107 w 536534"/>
                  <a:gd name="connsiteY322" fmla="*/ 83185 h 177279"/>
                  <a:gd name="connsiteX323" fmla="*/ 447592 w 536534"/>
                  <a:gd name="connsiteY323" fmla="*/ 84700 h 177279"/>
                  <a:gd name="connsiteX324" fmla="*/ 450623 w 536534"/>
                  <a:gd name="connsiteY324" fmla="*/ 82882 h 177279"/>
                  <a:gd name="connsiteX325" fmla="*/ 453350 w 536534"/>
                  <a:gd name="connsiteY325" fmla="*/ 82730 h 177279"/>
                  <a:gd name="connsiteX326" fmla="*/ 455623 w 536534"/>
                  <a:gd name="connsiteY326" fmla="*/ 83033 h 177279"/>
                  <a:gd name="connsiteX327" fmla="*/ 456986 w 536534"/>
                  <a:gd name="connsiteY327" fmla="*/ 83791 h 177279"/>
                  <a:gd name="connsiteX328" fmla="*/ 458199 w 536534"/>
                  <a:gd name="connsiteY328" fmla="*/ 84245 h 177279"/>
                  <a:gd name="connsiteX329" fmla="*/ 460926 w 536534"/>
                  <a:gd name="connsiteY329" fmla="*/ 82579 h 177279"/>
                  <a:gd name="connsiteX330" fmla="*/ 461987 w 536534"/>
                  <a:gd name="connsiteY330" fmla="*/ 82882 h 177279"/>
                  <a:gd name="connsiteX331" fmla="*/ 462896 w 536534"/>
                  <a:gd name="connsiteY331" fmla="*/ 83488 h 177279"/>
                  <a:gd name="connsiteX332" fmla="*/ 464260 w 536534"/>
                  <a:gd name="connsiteY332" fmla="*/ 83488 h 177279"/>
                  <a:gd name="connsiteX333" fmla="*/ 465926 w 536534"/>
                  <a:gd name="connsiteY333" fmla="*/ 83033 h 177279"/>
                  <a:gd name="connsiteX334" fmla="*/ 469866 w 536534"/>
                  <a:gd name="connsiteY334" fmla="*/ 83488 h 177279"/>
                  <a:gd name="connsiteX335" fmla="*/ 476835 w 536534"/>
                  <a:gd name="connsiteY335" fmla="*/ 83639 h 177279"/>
                  <a:gd name="connsiteX336" fmla="*/ 481684 w 536534"/>
                  <a:gd name="connsiteY336" fmla="*/ 84700 h 177279"/>
                  <a:gd name="connsiteX337" fmla="*/ 486381 w 536534"/>
                  <a:gd name="connsiteY337" fmla="*/ 87579 h 177279"/>
                  <a:gd name="connsiteX338" fmla="*/ 488806 w 536534"/>
                  <a:gd name="connsiteY338" fmla="*/ 88185 h 177279"/>
                  <a:gd name="connsiteX339" fmla="*/ 489866 w 536534"/>
                  <a:gd name="connsiteY339" fmla="*/ 88185 h 177279"/>
                  <a:gd name="connsiteX340" fmla="*/ 490624 w 536534"/>
                  <a:gd name="connsiteY340" fmla="*/ 87427 h 177279"/>
                  <a:gd name="connsiteX341" fmla="*/ 491836 w 536534"/>
                  <a:gd name="connsiteY341" fmla="*/ 84549 h 177279"/>
                  <a:gd name="connsiteX342" fmla="*/ 493048 w 536534"/>
                  <a:gd name="connsiteY342" fmla="*/ 83488 h 177279"/>
                  <a:gd name="connsiteX343" fmla="*/ 494261 w 536534"/>
                  <a:gd name="connsiteY343" fmla="*/ 83639 h 177279"/>
                  <a:gd name="connsiteX344" fmla="*/ 498503 w 536534"/>
                  <a:gd name="connsiteY344" fmla="*/ 85609 h 177279"/>
                  <a:gd name="connsiteX345" fmla="*/ 501533 w 536534"/>
                  <a:gd name="connsiteY345" fmla="*/ 85912 h 177279"/>
                  <a:gd name="connsiteX346" fmla="*/ 504564 w 536534"/>
                  <a:gd name="connsiteY346" fmla="*/ 84851 h 177279"/>
                  <a:gd name="connsiteX347" fmla="*/ 507595 w 536534"/>
                  <a:gd name="connsiteY347" fmla="*/ 84094 h 177279"/>
                  <a:gd name="connsiteX348" fmla="*/ 511231 w 536534"/>
                  <a:gd name="connsiteY348" fmla="*/ 83488 h 177279"/>
                  <a:gd name="connsiteX349" fmla="*/ 514867 w 536534"/>
                  <a:gd name="connsiteY349" fmla="*/ 82730 h 177279"/>
                  <a:gd name="connsiteX350" fmla="*/ 516231 w 536534"/>
                  <a:gd name="connsiteY350" fmla="*/ 82276 h 177279"/>
                  <a:gd name="connsiteX351" fmla="*/ 517292 w 536534"/>
                  <a:gd name="connsiteY351" fmla="*/ 81518 h 177279"/>
                  <a:gd name="connsiteX352" fmla="*/ 517595 w 536534"/>
                  <a:gd name="connsiteY352" fmla="*/ 80154 h 177279"/>
                  <a:gd name="connsiteX353" fmla="*/ 516685 w 536534"/>
                  <a:gd name="connsiteY353" fmla="*/ 79094 h 177279"/>
                  <a:gd name="connsiteX354" fmla="*/ 510170 w 536534"/>
                  <a:gd name="connsiteY354" fmla="*/ 74548 h 177279"/>
                  <a:gd name="connsiteX355" fmla="*/ 506382 w 536534"/>
                  <a:gd name="connsiteY355" fmla="*/ 70154 h 177279"/>
                  <a:gd name="connsiteX356" fmla="*/ 508504 w 536534"/>
                  <a:gd name="connsiteY356" fmla="*/ 65760 h 177279"/>
                  <a:gd name="connsiteX357" fmla="*/ 510170 w 536534"/>
                  <a:gd name="connsiteY357" fmla="*/ 65154 h 177279"/>
                  <a:gd name="connsiteX358" fmla="*/ 511837 w 536534"/>
                  <a:gd name="connsiteY358" fmla="*/ 65002 h 177279"/>
                  <a:gd name="connsiteX359" fmla="*/ 516534 w 536534"/>
                  <a:gd name="connsiteY359" fmla="*/ 66366 h 177279"/>
                  <a:gd name="connsiteX360" fmla="*/ 519868 w 536534"/>
                  <a:gd name="connsiteY360" fmla="*/ 66518 h 177279"/>
                  <a:gd name="connsiteX361" fmla="*/ 526383 w 536534"/>
                  <a:gd name="connsiteY361" fmla="*/ 64851 h 177279"/>
                  <a:gd name="connsiteX362" fmla="*/ 532444 w 536534"/>
                  <a:gd name="connsiteY362" fmla="*/ 62730 h 177279"/>
                  <a:gd name="connsiteX363" fmla="*/ 534868 w 536534"/>
                  <a:gd name="connsiteY363" fmla="*/ 61063 h 177279"/>
                  <a:gd name="connsiteX364" fmla="*/ 535626 w 536534"/>
                  <a:gd name="connsiteY364" fmla="*/ 60002 h 177279"/>
                  <a:gd name="connsiteX365" fmla="*/ 535929 w 536534"/>
                  <a:gd name="connsiteY365" fmla="*/ 58790 h 177279"/>
                  <a:gd name="connsiteX366" fmla="*/ 536081 w 536534"/>
                  <a:gd name="connsiteY366" fmla="*/ 57123 h 177279"/>
                  <a:gd name="connsiteX367" fmla="*/ 536535 w 536534"/>
                  <a:gd name="connsiteY367" fmla="*/ 54093 h 177279"/>
                  <a:gd name="connsiteX368" fmla="*/ 118338 w 536534"/>
                  <a:gd name="connsiteY368" fmla="*/ 138641 h 177279"/>
                  <a:gd name="connsiteX369" fmla="*/ 114701 w 536534"/>
                  <a:gd name="connsiteY369" fmla="*/ 131974 h 177279"/>
                  <a:gd name="connsiteX370" fmla="*/ 114095 w 536534"/>
                  <a:gd name="connsiteY370" fmla="*/ 130005 h 177279"/>
                  <a:gd name="connsiteX371" fmla="*/ 106519 w 536534"/>
                  <a:gd name="connsiteY371" fmla="*/ 124701 h 177279"/>
                  <a:gd name="connsiteX372" fmla="*/ 105155 w 536534"/>
                  <a:gd name="connsiteY372" fmla="*/ 123035 h 177279"/>
                  <a:gd name="connsiteX373" fmla="*/ 103943 w 536534"/>
                  <a:gd name="connsiteY373" fmla="*/ 120459 h 177279"/>
                  <a:gd name="connsiteX374" fmla="*/ 104095 w 536534"/>
                  <a:gd name="connsiteY374" fmla="*/ 111519 h 177279"/>
                  <a:gd name="connsiteX375" fmla="*/ 103640 w 536534"/>
                  <a:gd name="connsiteY375" fmla="*/ 108337 h 177279"/>
                  <a:gd name="connsiteX376" fmla="*/ 104246 w 536534"/>
                  <a:gd name="connsiteY376" fmla="*/ 104398 h 177279"/>
                  <a:gd name="connsiteX377" fmla="*/ 102125 w 536534"/>
                  <a:gd name="connsiteY377" fmla="*/ 100307 h 177279"/>
                  <a:gd name="connsiteX378" fmla="*/ 101822 w 536534"/>
                  <a:gd name="connsiteY378" fmla="*/ 97579 h 177279"/>
                  <a:gd name="connsiteX379" fmla="*/ 103488 w 536534"/>
                  <a:gd name="connsiteY379" fmla="*/ 91973 h 177279"/>
                  <a:gd name="connsiteX380" fmla="*/ 104852 w 536534"/>
                  <a:gd name="connsiteY380" fmla="*/ 80609 h 177279"/>
                  <a:gd name="connsiteX381" fmla="*/ 104398 w 536534"/>
                  <a:gd name="connsiteY381" fmla="*/ 73033 h 177279"/>
                  <a:gd name="connsiteX382" fmla="*/ 103337 w 536534"/>
                  <a:gd name="connsiteY382" fmla="*/ 68033 h 177279"/>
                  <a:gd name="connsiteX383" fmla="*/ 97276 w 536534"/>
                  <a:gd name="connsiteY383" fmla="*/ 56820 h 177279"/>
                  <a:gd name="connsiteX384" fmla="*/ 94549 w 536534"/>
                  <a:gd name="connsiteY384" fmla="*/ 52881 h 177279"/>
                  <a:gd name="connsiteX385" fmla="*/ 91367 w 536534"/>
                  <a:gd name="connsiteY385" fmla="*/ 49699 h 177279"/>
                  <a:gd name="connsiteX386" fmla="*/ 89094 w 536534"/>
                  <a:gd name="connsiteY386" fmla="*/ 48638 h 177279"/>
                  <a:gd name="connsiteX387" fmla="*/ 86064 w 536534"/>
                  <a:gd name="connsiteY387" fmla="*/ 46365 h 177279"/>
                  <a:gd name="connsiteX388" fmla="*/ 79093 w 536534"/>
                  <a:gd name="connsiteY388" fmla="*/ 40456 h 177279"/>
                  <a:gd name="connsiteX389" fmla="*/ 73791 w 536534"/>
                  <a:gd name="connsiteY389" fmla="*/ 31971 h 177279"/>
                  <a:gd name="connsiteX390" fmla="*/ 71972 w 536534"/>
                  <a:gd name="connsiteY390" fmla="*/ 31062 h 177279"/>
                  <a:gd name="connsiteX391" fmla="*/ 67275 w 536534"/>
                  <a:gd name="connsiteY391" fmla="*/ 30001 h 177279"/>
                  <a:gd name="connsiteX392" fmla="*/ 66366 w 536534"/>
                  <a:gd name="connsiteY392" fmla="*/ 31516 h 177279"/>
                  <a:gd name="connsiteX393" fmla="*/ 66063 w 536534"/>
                  <a:gd name="connsiteY393" fmla="*/ 33940 h 177279"/>
                  <a:gd name="connsiteX394" fmla="*/ 62729 w 536534"/>
                  <a:gd name="connsiteY394" fmla="*/ 37123 h 177279"/>
                  <a:gd name="connsiteX395" fmla="*/ 62275 w 536534"/>
                  <a:gd name="connsiteY395" fmla="*/ 39244 h 177279"/>
                  <a:gd name="connsiteX396" fmla="*/ 61063 w 536534"/>
                  <a:gd name="connsiteY396" fmla="*/ 41517 h 177279"/>
                  <a:gd name="connsiteX397" fmla="*/ 58790 w 536534"/>
                  <a:gd name="connsiteY397" fmla="*/ 42729 h 177279"/>
                  <a:gd name="connsiteX398" fmla="*/ 56820 w 536534"/>
                  <a:gd name="connsiteY398" fmla="*/ 43032 h 177279"/>
                  <a:gd name="connsiteX399" fmla="*/ 55760 w 536534"/>
                  <a:gd name="connsiteY399" fmla="*/ 42880 h 177279"/>
                  <a:gd name="connsiteX400" fmla="*/ 55002 w 536534"/>
                  <a:gd name="connsiteY400" fmla="*/ 42426 h 177279"/>
                  <a:gd name="connsiteX401" fmla="*/ 53638 w 536534"/>
                  <a:gd name="connsiteY401" fmla="*/ 40153 h 177279"/>
                  <a:gd name="connsiteX402" fmla="*/ 53032 w 536534"/>
                  <a:gd name="connsiteY402" fmla="*/ 39547 h 177279"/>
                  <a:gd name="connsiteX403" fmla="*/ 52426 w 536534"/>
                  <a:gd name="connsiteY403" fmla="*/ 39395 h 177279"/>
                  <a:gd name="connsiteX404" fmla="*/ 48335 w 536534"/>
                  <a:gd name="connsiteY404" fmla="*/ 40911 h 177279"/>
                  <a:gd name="connsiteX405" fmla="*/ 44244 w 536534"/>
                  <a:gd name="connsiteY405" fmla="*/ 42577 h 177279"/>
                  <a:gd name="connsiteX406" fmla="*/ 43486 w 536534"/>
                  <a:gd name="connsiteY406" fmla="*/ 44093 h 177279"/>
                  <a:gd name="connsiteX407" fmla="*/ 42426 w 536534"/>
                  <a:gd name="connsiteY407" fmla="*/ 45911 h 177279"/>
                  <a:gd name="connsiteX408" fmla="*/ 41213 w 536534"/>
                  <a:gd name="connsiteY408" fmla="*/ 46668 h 177279"/>
                  <a:gd name="connsiteX409" fmla="*/ 40304 w 536534"/>
                  <a:gd name="connsiteY409" fmla="*/ 46820 h 177279"/>
                  <a:gd name="connsiteX410" fmla="*/ 39395 w 536534"/>
                  <a:gd name="connsiteY410" fmla="*/ 45759 h 177279"/>
                  <a:gd name="connsiteX411" fmla="*/ 37880 w 536534"/>
                  <a:gd name="connsiteY411" fmla="*/ 44395 h 177279"/>
                  <a:gd name="connsiteX412" fmla="*/ 36668 w 536534"/>
                  <a:gd name="connsiteY412" fmla="*/ 43183 h 177279"/>
                  <a:gd name="connsiteX413" fmla="*/ 36971 w 536534"/>
                  <a:gd name="connsiteY413" fmla="*/ 41062 h 177279"/>
                  <a:gd name="connsiteX414" fmla="*/ 39244 w 536534"/>
                  <a:gd name="connsiteY414" fmla="*/ 38032 h 177279"/>
                  <a:gd name="connsiteX415" fmla="*/ 39547 w 536534"/>
                  <a:gd name="connsiteY415" fmla="*/ 35910 h 177279"/>
                  <a:gd name="connsiteX416" fmla="*/ 39244 w 536534"/>
                  <a:gd name="connsiteY416" fmla="*/ 32274 h 177279"/>
                  <a:gd name="connsiteX417" fmla="*/ 38638 w 536534"/>
                  <a:gd name="connsiteY417" fmla="*/ 30152 h 177279"/>
                  <a:gd name="connsiteX418" fmla="*/ 38031 w 536534"/>
                  <a:gd name="connsiteY418" fmla="*/ 30152 h 177279"/>
                  <a:gd name="connsiteX419" fmla="*/ 36971 w 536534"/>
                  <a:gd name="connsiteY419" fmla="*/ 29850 h 177279"/>
                  <a:gd name="connsiteX420" fmla="*/ 33789 w 536534"/>
                  <a:gd name="connsiteY420" fmla="*/ 30152 h 177279"/>
                  <a:gd name="connsiteX421" fmla="*/ 32274 w 536534"/>
                  <a:gd name="connsiteY421" fmla="*/ 27728 h 177279"/>
                  <a:gd name="connsiteX422" fmla="*/ 31668 w 536534"/>
                  <a:gd name="connsiteY422" fmla="*/ 25152 h 177279"/>
                  <a:gd name="connsiteX423" fmla="*/ 30607 w 536534"/>
                  <a:gd name="connsiteY423" fmla="*/ 24243 h 177279"/>
                  <a:gd name="connsiteX424" fmla="*/ 29546 w 536534"/>
                  <a:gd name="connsiteY424" fmla="*/ 23637 h 177279"/>
                  <a:gd name="connsiteX425" fmla="*/ 27122 w 536534"/>
                  <a:gd name="connsiteY425" fmla="*/ 24546 h 177279"/>
                  <a:gd name="connsiteX426" fmla="*/ 25304 w 536534"/>
                  <a:gd name="connsiteY426" fmla="*/ 23940 h 177279"/>
                  <a:gd name="connsiteX427" fmla="*/ 19395 w 536534"/>
                  <a:gd name="connsiteY427" fmla="*/ 21667 h 177279"/>
                  <a:gd name="connsiteX428" fmla="*/ 17121 w 536534"/>
                  <a:gd name="connsiteY428" fmla="*/ 18031 h 177279"/>
                  <a:gd name="connsiteX429" fmla="*/ 15909 w 536534"/>
                  <a:gd name="connsiteY429" fmla="*/ 17879 h 177279"/>
                  <a:gd name="connsiteX430" fmla="*/ 14849 w 536534"/>
                  <a:gd name="connsiteY430" fmla="*/ 18334 h 177279"/>
                  <a:gd name="connsiteX431" fmla="*/ 14394 w 536534"/>
                  <a:gd name="connsiteY431" fmla="*/ 19092 h 177279"/>
                  <a:gd name="connsiteX432" fmla="*/ 13788 w 536534"/>
                  <a:gd name="connsiteY432" fmla="*/ 23334 h 177279"/>
                  <a:gd name="connsiteX433" fmla="*/ 13333 w 536534"/>
                  <a:gd name="connsiteY433" fmla="*/ 24546 h 177279"/>
                  <a:gd name="connsiteX434" fmla="*/ 14394 w 536534"/>
                  <a:gd name="connsiteY434" fmla="*/ 27728 h 177279"/>
                  <a:gd name="connsiteX435" fmla="*/ 17273 w 536534"/>
                  <a:gd name="connsiteY435" fmla="*/ 31668 h 177279"/>
                  <a:gd name="connsiteX436" fmla="*/ 19395 w 536534"/>
                  <a:gd name="connsiteY436" fmla="*/ 37123 h 177279"/>
                  <a:gd name="connsiteX437" fmla="*/ 20304 w 536534"/>
                  <a:gd name="connsiteY437" fmla="*/ 42729 h 177279"/>
                  <a:gd name="connsiteX438" fmla="*/ 19698 w 536534"/>
                  <a:gd name="connsiteY438" fmla="*/ 47881 h 177279"/>
                  <a:gd name="connsiteX439" fmla="*/ 23031 w 536534"/>
                  <a:gd name="connsiteY439" fmla="*/ 62730 h 177279"/>
                  <a:gd name="connsiteX440" fmla="*/ 26819 w 536534"/>
                  <a:gd name="connsiteY440" fmla="*/ 73336 h 177279"/>
                  <a:gd name="connsiteX441" fmla="*/ 26819 w 536534"/>
                  <a:gd name="connsiteY441" fmla="*/ 80912 h 177279"/>
                  <a:gd name="connsiteX442" fmla="*/ 28031 w 536534"/>
                  <a:gd name="connsiteY442" fmla="*/ 85003 h 177279"/>
                  <a:gd name="connsiteX443" fmla="*/ 30759 w 536534"/>
                  <a:gd name="connsiteY443" fmla="*/ 88488 h 177279"/>
                  <a:gd name="connsiteX444" fmla="*/ 31668 w 536534"/>
                  <a:gd name="connsiteY444" fmla="*/ 90458 h 177279"/>
                  <a:gd name="connsiteX445" fmla="*/ 30607 w 536534"/>
                  <a:gd name="connsiteY445" fmla="*/ 91064 h 177279"/>
                  <a:gd name="connsiteX446" fmla="*/ 29395 w 536534"/>
                  <a:gd name="connsiteY446" fmla="*/ 91973 h 177279"/>
                  <a:gd name="connsiteX447" fmla="*/ 31213 w 536534"/>
                  <a:gd name="connsiteY447" fmla="*/ 94700 h 177279"/>
                  <a:gd name="connsiteX448" fmla="*/ 33183 w 536534"/>
                  <a:gd name="connsiteY448" fmla="*/ 97125 h 177279"/>
                  <a:gd name="connsiteX449" fmla="*/ 37880 w 536534"/>
                  <a:gd name="connsiteY449" fmla="*/ 101216 h 177279"/>
                  <a:gd name="connsiteX450" fmla="*/ 40304 w 536534"/>
                  <a:gd name="connsiteY450" fmla="*/ 105307 h 177279"/>
                  <a:gd name="connsiteX451" fmla="*/ 45305 w 536534"/>
                  <a:gd name="connsiteY451" fmla="*/ 111216 h 177279"/>
                  <a:gd name="connsiteX452" fmla="*/ 46062 w 536534"/>
                  <a:gd name="connsiteY452" fmla="*/ 114246 h 177279"/>
                  <a:gd name="connsiteX453" fmla="*/ 46668 w 536534"/>
                  <a:gd name="connsiteY453" fmla="*/ 117883 h 177279"/>
                  <a:gd name="connsiteX454" fmla="*/ 45001 w 536534"/>
                  <a:gd name="connsiteY454" fmla="*/ 121368 h 177279"/>
                  <a:gd name="connsiteX455" fmla="*/ 46517 w 536534"/>
                  <a:gd name="connsiteY455" fmla="*/ 122580 h 177279"/>
                  <a:gd name="connsiteX456" fmla="*/ 48032 w 536534"/>
                  <a:gd name="connsiteY456" fmla="*/ 123338 h 177279"/>
                  <a:gd name="connsiteX457" fmla="*/ 51062 w 536534"/>
                  <a:gd name="connsiteY457" fmla="*/ 126823 h 177279"/>
                  <a:gd name="connsiteX458" fmla="*/ 58184 w 536534"/>
                  <a:gd name="connsiteY458" fmla="*/ 129853 h 177279"/>
                  <a:gd name="connsiteX459" fmla="*/ 61214 w 536534"/>
                  <a:gd name="connsiteY459" fmla="*/ 133187 h 177279"/>
                  <a:gd name="connsiteX460" fmla="*/ 68184 w 536534"/>
                  <a:gd name="connsiteY460" fmla="*/ 138641 h 177279"/>
                  <a:gd name="connsiteX461" fmla="*/ 79245 w 536534"/>
                  <a:gd name="connsiteY461" fmla="*/ 144248 h 177279"/>
                  <a:gd name="connsiteX462" fmla="*/ 84094 w 536534"/>
                  <a:gd name="connsiteY462" fmla="*/ 149399 h 177279"/>
                  <a:gd name="connsiteX463" fmla="*/ 88791 w 536534"/>
                  <a:gd name="connsiteY463" fmla="*/ 151066 h 177279"/>
                  <a:gd name="connsiteX464" fmla="*/ 101367 w 536534"/>
                  <a:gd name="connsiteY464" fmla="*/ 157733 h 177279"/>
                  <a:gd name="connsiteX465" fmla="*/ 102579 w 536534"/>
                  <a:gd name="connsiteY465" fmla="*/ 159097 h 177279"/>
                  <a:gd name="connsiteX466" fmla="*/ 103337 w 536534"/>
                  <a:gd name="connsiteY466" fmla="*/ 160915 h 177279"/>
                  <a:gd name="connsiteX467" fmla="*/ 104852 w 536534"/>
                  <a:gd name="connsiteY467" fmla="*/ 163642 h 177279"/>
                  <a:gd name="connsiteX468" fmla="*/ 106822 w 536534"/>
                  <a:gd name="connsiteY468" fmla="*/ 163491 h 177279"/>
                  <a:gd name="connsiteX469" fmla="*/ 110762 w 536534"/>
                  <a:gd name="connsiteY469" fmla="*/ 160309 h 177279"/>
                  <a:gd name="connsiteX470" fmla="*/ 114095 w 536534"/>
                  <a:gd name="connsiteY470" fmla="*/ 159551 h 177279"/>
                  <a:gd name="connsiteX471" fmla="*/ 116822 w 536534"/>
                  <a:gd name="connsiteY471" fmla="*/ 160309 h 177279"/>
                  <a:gd name="connsiteX472" fmla="*/ 118943 w 536534"/>
                  <a:gd name="connsiteY472" fmla="*/ 160157 h 177279"/>
                  <a:gd name="connsiteX473" fmla="*/ 118943 w 536534"/>
                  <a:gd name="connsiteY473" fmla="*/ 157581 h 177279"/>
                  <a:gd name="connsiteX474" fmla="*/ 118641 w 536534"/>
                  <a:gd name="connsiteY474" fmla="*/ 155612 h 177279"/>
                  <a:gd name="connsiteX475" fmla="*/ 119550 w 536534"/>
                  <a:gd name="connsiteY475" fmla="*/ 156824 h 177279"/>
                  <a:gd name="connsiteX476" fmla="*/ 121217 w 536534"/>
                  <a:gd name="connsiteY476" fmla="*/ 158188 h 177279"/>
                  <a:gd name="connsiteX477" fmla="*/ 121822 w 536534"/>
                  <a:gd name="connsiteY477" fmla="*/ 159248 h 177279"/>
                  <a:gd name="connsiteX478" fmla="*/ 121671 w 536534"/>
                  <a:gd name="connsiteY478" fmla="*/ 160460 h 177279"/>
                  <a:gd name="connsiteX479" fmla="*/ 122277 w 536534"/>
                  <a:gd name="connsiteY479" fmla="*/ 161369 h 177279"/>
                  <a:gd name="connsiteX480" fmla="*/ 123944 w 536534"/>
                  <a:gd name="connsiteY480" fmla="*/ 162582 h 177279"/>
                  <a:gd name="connsiteX481" fmla="*/ 125914 w 536534"/>
                  <a:gd name="connsiteY481" fmla="*/ 161976 h 177279"/>
                  <a:gd name="connsiteX482" fmla="*/ 126671 w 536534"/>
                  <a:gd name="connsiteY482" fmla="*/ 161218 h 177279"/>
                  <a:gd name="connsiteX483" fmla="*/ 126823 w 536534"/>
                  <a:gd name="connsiteY483" fmla="*/ 159400 h 177279"/>
                  <a:gd name="connsiteX484" fmla="*/ 124853 w 536534"/>
                  <a:gd name="connsiteY484" fmla="*/ 152884 h 177279"/>
                  <a:gd name="connsiteX485" fmla="*/ 118338 w 536534"/>
                  <a:gd name="connsiteY485" fmla="*/ 138641 h 177279"/>
                  <a:gd name="connsiteX486" fmla="*/ 16516 w 536534"/>
                  <a:gd name="connsiteY486" fmla="*/ 51366 h 177279"/>
                  <a:gd name="connsiteX487" fmla="*/ 15303 w 536534"/>
                  <a:gd name="connsiteY487" fmla="*/ 51971 h 177279"/>
                  <a:gd name="connsiteX488" fmla="*/ 15000 w 536534"/>
                  <a:gd name="connsiteY488" fmla="*/ 56517 h 177279"/>
                  <a:gd name="connsiteX489" fmla="*/ 16970 w 536534"/>
                  <a:gd name="connsiteY489" fmla="*/ 56972 h 177279"/>
                  <a:gd name="connsiteX490" fmla="*/ 17728 w 536534"/>
                  <a:gd name="connsiteY490" fmla="*/ 56214 h 177279"/>
                  <a:gd name="connsiteX491" fmla="*/ 19091 w 536534"/>
                  <a:gd name="connsiteY491" fmla="*/ 53032 h 177279"/>
                  <a:gd name="connsiteX492" fmla="*/ 18334 w 536534"/>
                  <a:gd name="connsiteY492" fmla="*/ 52275 h 177279"/>
                  <a:gd name="connsiteX493" fmla="*/ 16516 w 536534"/>
                  <a:gd name="connsiteY493" fmla="*/ 51366 h 177279"/>
                  <a:gd name="connsiteX494" fmla="*/ 494261 w 536534"/>
                  <a:gd name="connsiteY494" fmla="*/ 84245 h 177279"/>
                  <a:gd name="connsiteX495" fmla="*/ 493048 w 536534"/>
                  <a:gd name="connsiteY495" fmla="*/ 84549 h 177279"/>
                  <a:gd name="connsiteX496" fmla="*/ 493200 w 536534"/>
                  <a:gd name="connsiteY496" fmla="*/ 85761 h 177279"/>
                  <a:gd name="connsiteX497" fmla="*/ 492745 w 536534"/>
                  <a:gd name="connsiteY497" fmla="*/ 86670 h 177279"/>
                  <a:gd name="connsiteX498" fmla="*/ 495321 w 536534"/>
                  <a:gd name="connsiteY498" fmla="*/ 86670 h 177279"/>
                  <a:gd name="connsiteX499" fmla="*/ 499109 w 536534"/>
                  <a:gd name="connsiteY499" fmla="*/ 86215 h 177279"/>
                  <a:gd name="connsiteX500" fmla="*/ 495776 w 536534"/>
                  <a:gd name="connsiteY500" fmla="*/ 84397 h 177279"/>
                  <a:gd name="connsiteX501" fmla="*/ 494261 w 536534"/>
                  <a:gd name="connsiteY501" fmla="*/ 84245 h 177279"/>
                  <a:gd name="connsiteX502" fmla="*/ 46062 w 536534"/>
                  <a:gd name="connsiteY502" fmla="*/ 117277 h 177279"/>
                  <a:gd name="connsiteX503" fmla="*/ 45607 w 536534"/>
                  <a:gd name="connsiteY503" fmla="*/ 116671 h 177279"/>
                  <a:gd name="connsiteX504" fmla="*/ 44547 w 536534"/>
                  <a:gd name="connsiteY504" fmla="*/ 117580 h 177279"/>
                  <a:gd name="connsiteX505" fmla="*/ 44244 w 536534"/>
                  <a:gd name="connsiteY505" fmla="*/ 118641 h 177279"/>
                  <a:gd name="connsiteX506" fmla="*/ 44244 w 536534"/>
                  <a:gd name="connsiteY506" fmla="*/ 119398 h 177279"/>
                  <a:gd name="connsiteX507" fmla="*/ 45607 w 536534"/>
                  <a:gd name="connsiteY507" fmla="*/ 118944 h 177279"/>
                  <a:gd name="connsiteX508" fmla="*/ 46062 w 536534"/>
                  <a:gd name="connsiteY508" fmla="*/ 117277 h 17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Lst>
                <a:rect l="l" t="t" r="r" b="b"/>
                <a:pathLst>
                  <a:path w="536534" h="177279">
                    <a:moveTo>
                      <a:pt x="320466" y="134853"/>
                    </a:moveTo>
                    <a:lnTo>
                      <a:pt x="321375" y="134550"/>
                    </a:lnTo>
                    <a:lnTo>
                      <a:pt x="321072" y="133338"/>
                    </a:lnTo>
                    <a:lnTo>
                      <a:pt x="320921" y="130156"/>
                    </a:lnTo>
                    <a:lnTo>
                      <a:pt x="320921" y="126520"/>
                    </a:lnTo>
                    <a:lnTo>
                      <a:pt x="320315" y="125005"/>
                    </a:lnTo>
                    <a:lnTo>
                      <a:pt x="319708" y="124853"/>
                    </a:lnTo>
                    <a:lnTo>
                      <a:pt x="318799" y="125611"/>
                    </a:lnTo>
                    <a:lnTo>
                      <a:pt x="319103" y="133793"/>
                    </a:lnTo>
                    <a:lnTo>
                      <a:pt x="320466" y="134853"/>
                    </a:lnTo>
                    <a:close/>
                    <a:moveTo>
                      <a:pt x="123944" y="126065"/>
                    </a:moveTo>
                    <a:lnTo>
                      <a:pt x="125308" y="125762"/>
                    </a:lnTo>
                    <a:lnTo>
                      <a:pt x="125308" y="124550"/>
                    </a:lnTo>
                    <a:lnTo>
                      <a:pt x="124247" y="121974"/>
                    </a:lnTo>
                    <a:lnTo>
                      <a:pt x="123792" y="122429"/>
                    </a:lnTo>
                    <a:lnTo>
                      <a:pt x="122731" y="124853"/>
                    </a:lnTo>
                    <a:lnTo>
                      <a:pt x="123186" y="125914"/>
                    </a:lnTo>
                    <a:lnTo>
                      <a:pt x="123944" y="126065"/>
                    </a:lnTo>
                    <a:close/>
                    <a:moveTo>
                      <a:pt x="478805" y="5000"/>
                    </a:moveTo>
                    <a:lnTo>
                      <a:pt x="481533" y="4546"/>
                    </a:lnTo>
                    <a:lnTo>
                      <a:pt x="482290" y="3636"/>
                    </a:lnTo>
                    <a:lnTo>
                      <a:pt x="482745" y="1667"/>
                    </a:lnTo>
                    <a:lnTo>
                      <a:pt x="482290" y="0"/>
                    </a:lnTo>
                    <a:lnTo>
                      <a:pt x="479109" y="455"/>
                    </a:lnTo>
                    <a:lnTo>
                      <a:pt x="476835" y="2576"/>
                    </a:lnTo>
                    <a:lnTo>
                      <a:pt x="476684" y="4849"/>
                    </a:lnTo>
                    <a:lnTo>
                      <a:pt x="477290" y="6515"/>
                    </a:lnTo>
                    <a:lnTo>
                      <a:pt x="478805" y="5000"/>
                    </a:lnTo>
                    <a:close/>
                    <a:moveTo>
                      <a:pt x="4848" y="24698"/>
                    </a:moveTo>
                    <a:lnTo>
                      <a:pt x="2878" y="25607"/>
                    </a:lnTo>
                    <a:lnTo>
                      <a:pt x="1818" y="25152"/>
                    </a:lnTo>
                    <a:lnTo>
                      <a:pt x="0" y="25455"/>
                    </a:lnTo>
                    <a:lnTo>
                      <a:pt x="303" y="26819"/>
                    </a:lnTo>
                    <a:lnTo>
                      <a:pt x="1667" y="27577"/>
                    </a:lnTo>
                    <a:lnTo>
                      <a:pt x="2727" y="29546"/>
                    </a:lnTo>
                    <a:lnTo>
                      <a:pt x="3788" y="29395"/>
                    </a:lnTo>
                    <a:lnTo>
                      <a:pt x="4848" y="28334"/>
                    </a:lnTo>
                    <a:lnTo>
                      <a:pt x="6061" y="28789"/>
                    </a:lnTo>
                    <a:lnTo>
                      <a:pt x="6515" y="28486"/>
                    </a:lnTo>
                    <a:lnTo>
                      <a:pt x="7424" y="27122"/>
                    </a:lnTo>
                    <a:lnTo>
                      <a:pt x="5455" y="24243"/>
                    </a:lnTo>
                    <a:lnTo>
                      <a:pt x="4848" y="24698"/>
                    </a:lnTo>
                    <a:close/>
                    <a:moveTo>
                      <a:pt x="536535" y="54093"/>
                    </a:moveTo>
                    <a:lnTo>
                      <a:pt x="535626" y="52881"/>
                    </a:lnTo>
                    <a:lnTo>
                      <a:pt x="534413" y="52426"/>
                    </a:lnTo>
                    <a:lnTo>
                      <a:pt x="530928" y="52881"/>
                    </a:lnTo>
                    <a:lnTo>
                      <a:pt x="529565" y="52881"/>
                    </a:lnTo>
                    <a:lnTo>
                      <a:pt x="528353" y="52578"/>
                    </a:lnTo>
                    <a:lnTo>
                      <a:pt x="521686" y="49093"/>
                    </a:lnTo>
                    <a:lnTo>
                      <a:pt x="518504" y="48183"/>
                    </a:lnTo>
                    <a:lnTo>
                      <a:pt x="517595" y="45608"/>
                    </a:lnTo>
                    <a:lnTo>
                      <a:pt x="516231" y="44395"/>
                    </a:lnTo>
                    <a:lnTo>
                      <a:pt x="514716" y="43486"/>
                    </a:lnTo>
                    <a:lnTo>
                      <a:pt x="511837" y="42274"/>
                    </a:lnTo>
                    <a:lnTo>
                      <a:pt x="510322" y="41971"/>
                    </a:lnTo>
                    <a:lnTo>
                      <a:pt x="508958" y="41971"/>
                    </a:lnTo>
                    <a:lnTo>
                      <a:pt x="506079" y="43789"/>
                    </a:lnTo>
                    <a:lnTo>
                      <a:pt x="503049" y="45002"/>
                    </a:lnTo>
                    <a:lnTo>
                      <a:pt x="501533" y="45153"/>
                    </a:lnTo>
                    <a:lnTo>
                      <a:pt x="500321" y="43486"/>
                    </a:lnTo>
                    <a:lnTo>
                      <a:pt x="500473" y="43032"/>
                    </a:lnTo>
                    <a:lnTo>
                      <a:pt x="504261" y="41820"/>
                    </a:lnTo>
                    <a:lnTo>
                      <a:pt x="505473" y="41062"/>
                    </a:lnTo>
                    <a:lnTo>
                      <a:pt x="503958" y="37729"/>
                    </a:lnTo>
                    <a:lnTo>
                      <a:pt x="502442" y="35759"/>
                    </a:lnTo>
                    <a:lnTo>
                      <a:pt x="499412" y="38032"/>
                    </a:lnTo>
                    <a:lnTo>
                      <a:pt x="497291" y="38941"/>
                    </a:lnTo>
                    <a:lnTo>
                      <a:pt x="488654" y="40456"/>
                    </a:lnTo>
                    <a:lnTo>
                      <a:pt x="491836" y="38941"/>
                    </a:lnTo>
                    <a:lnTo>
                      <a:pt x="492594" y="37274"/>
                    </a:lnTo>
                    <a:lnTo>
                      <a:pt x="492745" y="35304"/>
                    </a:lnTo>
                    <a:lnTo>
                      <a:pt x="491836" y="31971"/>
                    </a:lnTo>
                    <a:lnTo>
                      <a:pt x="493957" y="29850"/>
                    </a:lnTo>
                    <a:lnTo>
                      <a:pt x="493957" y="27728"/>
                    </a:lnTo>
                    <a:lnTo>
                      <a:pt x="493352" y="25607"/>
                    </a:lnTo>
                    <a:lnTo>
                      <a:pt x="492745" y="24395"/>
                    </a:lnTo>
                    <a:lnTo>
                      <a:pt x="491685" y="23334"/>
                    </a:lnTo>
                    <a:lnTo>
                      <a:pt x="488654" y="21667"/>
                    </a:lnTo>
                    <a:lnTo>
                      <a:pt x="485472" y="20607"/>
                    </a:lnTo>
                    <a:lnTo>
                      <a:pt x="483048" y="18788"/>
                    </a:lnTo>
                    <a:lnTo>
                      <a:pt x="481988" y="15910"/>
                    </a:lnTo>
                    <a:lnTo>
                      <a:pt x="481684" y="14546"/>
                    </a:lnTo>
                    <a:lnTo>
                      <a:pt x="481836" y="12273"/>
                    </a:lnTo>
                    <a:lnTo>
                      <a:pt x="481230" y="11667"/>
                    </a:lnTo>
                    <a:lnTo>
                      <a:pt x="478502" y="10910"/>
                    </a:lnTo>
                    <a:lnTo>
                      <a:pt x="477139" y="12273"/>
                    </a:lnTo>
                    <a:lnTo>
                      <a:pt x="475472" y="15607"/>
                    </a:lnTo>
                    <a:lnTo>
                      <a:pt x="472593" y="19395"/>
                    </a:lnTo>
                    <a:lnTo>
                      <a:pt x="469866" y="20758"/>
                    </a:lnTo>
                    <a:lnTo>
                      <a:pt x="469259" y="20758"/>
                    </a:lnTo>
                    <a:lnTo>
                      <a:pt x="469866" y="18486"/>
                    </a:lnTo>
                    <a:lnTo>
                      <a:pt x="470775" y="16213"/>
                    </a:lnTo>
                    <a:lnTo>
                      <a:pt x="470926" y="14698"/>
                    </a:lnTo>
                    <a:lnTo>
                      <a:pt x="470472" y="11212"/>
                    </a:lnTo>
                    <a:lnTo>
                      <a:pt x="468957" y="10152"/>
                    </a:lnTo>
                    <a:lnTo>
                      <a:pt x="468199" y="10455"/>
                    </a:lnTo>
                    <a:lnTo>
                      <a:pt x="462441" y="21213"/>
                    </a:lnTo>
                    <a:lnTo>
                      <a:pt x="461229" y="22880"/>
                    </a:lnTo>
                    <a:lnTo>
                      <a:pt x="451532" y="33638"/>
                    </a:lnTo>
                    <a:lnTo>
                      <a:pt x="450774" y="37123"/>
                    </a:lnTo>
                    <a:lnTo>
                      <a:pt x="449410" y="40456"/>
                    </a:lnTo>
                    <a:lnTo>
                      <a:pt x="445471" y="44699"/>
                    </a:lnTo>
                    <a:lnTo>
                      <a:pt x="444410" y="47729"/>
                    </a:lnTo>
                    <a:lnTo>
                      <a:pt x="442289" y="49850"/>
                    </a:lnTo>
                    <a:lnTo>
                      <a:pt x="440773" y="50002"/>
                    </a:lnTo>
                    <a:lnTo>
                      <a:pt x="439259" y="50002"/>
                    </a:lnTo>
                    <a:lnTo>
                      <a:pt x="437592" y="49699"/>
                    </a:lnTo>
                    <a:lnTo>
                      <a:pt x="436985" y="48183"/>
                    </a:lnTo>
                    <a:lnTo>
                      <a:pt x="435622" y="49244"/>
                    </a:lnTo>
                    <a:lnTo>
                      <a:pt x="431834" y="53487"/>
                    </a:lnTo>
                    <a:lnTo>
                      <a:pt x="431834" y="55760"/>
                    </a:lnTo>
                    <a:lnTo>
                      <a:pt x="433046" y="57881"/>
                    </a:lnTo>
                    <a:lnTo>
                      <a:pt x="436228" y="59548"/>
                    </a:lnTo>
                    <a:lnTo>
                      <a:pt x="435471" y="62275"/>
                    </a:lnTo>
                    <a:lnTo>
                      <a:pt x="434561" y="63487"/>
                    </a:lnTo>
                    <a:lnTo>
                      <a:pt x="431986" y="65608"/>
                    </a:lnTo>
                    <a:lnTo>
                      <a:pt x="430470" y="66669"/>
                    </a:lnTo>
                    <a:lnTo>
                      <a:pt x="424107" y="67578"/>
                    </a:lnTo>
                    <a:lnTo>
                      <a:pt x="424864" y="68487"/>
                    </a:lnTo>
                    <a:lnTo>
                      <a:pt x="426530" y="71669"/>
                    </a:lnTo>
                    <a:lnTo>
                      <a:pt x="427591" y="74851"/>
                    </a:lnTo>
                    <a:lnTo>
                      <a:pt x="427895" y="79700"/>
                    </a:lnTo>
                    <a:lnTo>
                      <a:pt x="429258" y="81821"/>
                    </a:lnTo>
                    <a:lnTo>
                      <a:pt x="429107" y="82276"/>
                    </a:lnTo>
                    <a:lnTo>
                      <a:pt x="428349" y="82579"/>
                    </a:lnTo>
                    <a:lnTo>
                      <a:pt x="427137" y="82730"/>
                    </a:lnTo>
                    <a:lnTo>
                      <a:pt x="425016" y="82276"/>
                    </a:lnTo>
                    <a:lnTo>
                      <a:pt x="423349" y="81518"/>
                    </a:lnTo>
                    <a:lnTo>
                      <a:pt x="421834" y="76215"/>
                    </a:lnTo>
                    <a:lnTo>
                      <a:pt x="421228" y="73185"/>
                    </a:lnTo>
                    <a:lnTo>
                      <a:pt x="421228" y="69699"/>
                    </a:lnTo>
                    <a:lnTo>
                      <a:pt x="421228" y="67578"/>
                    </a:lnTo>
                    <a:lnTo>
                      <a:pt x="418955" y="68790"/>
                    </a:lnTo>
                    <a:lnTo>
                      <a:pt x="416833" y="70306"/>
                    </a:lnTo>
                    <a:lnTo>
                      <a:pt x="414561" y="71518"/>
                    </a:lnTo>
                    <a:lnTo>
                      <a:pt x="413500" y="72578"/>
                    </a:lnTo>
                    <a:lnTo>
                      <a:pt x="413803" y="73942"/>
                    </a:lnTo>
                    <a:lnTo>
                      <a:pt x="414258" y="76973"/>
                    </a:lnTo>
                    <a:lnTo>
                      <a:pt x="414561" y="79397"/>
                    </a:lnTo>
                    <a:lnTo>
                      <a:pt x="415318" y="80306"/>
                    </a:lnTo>
                    <a:lnTo>
                      <a:pt x="415924" y="81215"/>
                    </a:lnTo>
                    <a:lnTo>
                      <a:pt x="415621" y="82276"/>
                    </a:lnTo>
                    <a:lnTo>
                      <a:pt x="414258" y="84245"/>
                    </a:lnTo>
                    <a:lnTo>
                      <a:pt x="415015" y="84700"/>
                    </a:lnTo>
                    <a:lnTo>
                      <a:pt x="414106" y="87427"/>
                    </a:lnTo>
                    <a:lnTo>
                      <a:pt x="412742" y="89397"/>
                    </a:lnTo>
                    <a:lnTo>
                      <a:pt x="410773" y="91064"/>
                    </a:lnTo>
                    <a:lnTo>
                      <a:pt x="409561" y="91367"/>
                    </a:lnTo>
                    <a:lnTo>
                      <a:pt x="408500" y="90609"/>
                    </a:lnTo>
                    <a:lnTo>
                      <a:pt x="406833" y="88791"/>
                    </a:lnTo>
                    <a:lnTo>
                      <a:pt x="405015" y="86367"/>
                    </a:lnTo>
                    <a:lnTo>
                      <a:pt x="404106" y="85003"/>
                    </a:lnTo>
                    <a:lnTo>
                      <a:pt x="401530" y="84851"/>
                    </a:lnTo>
                    <a:lnTo>
                      <a:pt x="400621" y="83791"/>
                    </a:lnTo>
                    <a:lnTo>
                      <a:pt x="400621" y="82427"/>
                    </a:lnTo>
                    <a:lnTo>
                      <a:pt x="399863" y="80761"/>
                    </a:lnTo>
                    <a:lnTo>
                      <a:pt x="398802" y="79094"/>
                    </a:lnTo>
                    <a:lnTo>
                      <a:pt x="397287" y="77730"/>
                    </a:lnTo>
                    <a:lnTo>
                      <a:pt x="395318" y="76669"/>
                    </a:lnTo>
                    <a:lnTo>
                      <a:pt x="394409" y="75912"/>
                    </a:lnTo>
                    <a:lnTo>
                      <a:pt x="394105" y="75912"/>
                    </a:lnTo>
                    <a:lnTo>
                      <a:pt x="393044" y="76366"/>
                    </a:lnTo>
                    <a:lnTo>
                      <a:pt x="392287" y="77124"/>
                    </a:lnTo>
                    <a:lnTo>
                      <a:pt x="392439" y="78791"/>
                    </a:lnTo>
                    <a:lnTo>
                      <a:pt x="392439" y="80457"/>
                    </a:lnTo>
                    <a:lnTo>
                      <a:pt x="391530" y="84094"/>
                    </a:lnTo>
                    <a:lnTo>
                      <a:pt x="390772" y="85306"/>
                    </a:lnTo>
                    <a:lnTo>
                      <a:pt x="385014" y="91821"/>
                    </a:lnTo>
                    <a:lnTo>
                      <a:pt x="377741" y="98943"/>
                    </a:lnTo>
                    <a:lnTo>
                      <a:pt x="374256" y="103792"/>
                    </a:lnTo>
                    <a:lnTo>
                      <a:pt x="369407" y="109701"/>
                    </a:lnTo>
                    <a:lnTo>
                      <a:pt x="366832" y="113489"/>
                    </a:lnTo>
                    <a:lnTo>
                      <a:pt x="365316" y="114701"/>
                    </a:lnTo>
                    <a:lnTo>
                      <a:pt x="363498" y="115610"/>
                    </a:lnTo>
                    <a:lnTo>
                      <a:pt x="358498" y="117277"/>
                    </a:lnTo>
                    <a:lnTo>
                      <a:pt x="341527" y="121519"/>
                    </a:lnTo>
                    <a:lnTo>
                      <a:pt x="330770" y="123186"/>
                    </a:lnTo>
                    <a:lnTo>
                      <a:pt x="327891" y="124095"/>
                    </a:lnTo>
                    <a:lnTo>
                      <a:pt x="324860" y="126065"/>
                    </a:lnTo>
                    <a:lnTo>
                      <a:pt x="322891" y="129095"/>
                    </a:lnTo>
                    <a:lnTo>
                      <a:pt x="322739" y="132732"/>
                    </a:lnTo>
                    <a:lnTo>
                      <a:pt x="323042" y="134702"/>
                    </a:lnTo>
                    <a:lnTo>
                      <a:pt x="322891" y="135914"/>
                    </a:lnTo>
                    <a:lnTo>
                      <a:pt x="321830" y="136217"/>
                    </a:lnTo>
                    <a:lnTo>
                      <a:pt x="320315" y="136369"/>
                    </a:lnTo>
                    <a:lnTo>
                      <a:pt x="318799" y="135460"/>
                    </a:lnTo>
                    <a:lnTo>
                      <a:pt x="317284" y="134399"/>
                    </a:lnTo>
                    <a:lnTo>
                      <a:pt x="316375" y="135914"/>
                    </a:lnTo>
                    <a:lnTo>
                      <a:pt x="316072" y="138187"/>
                    </a:lnTo>
                    <a:lnTo>
                      <a:pt x="316375" y="140914"/>
                    </a:lnTo>
                    <a:lnTo>
                      <a:pt x="318042" y="142429"/>
                    </a:lnTo>
                    <a:lnTo>
                      <a:pt x="317587" y="144551"/>
                    </a:lnTo>
                    <a:lnTo>
                      <a:pt x="316072" y="146672"/>
                    </a:lnTo>
                    <a:lnTo>
                      <a:pt x="315315" y="148945"/>
                    </a:lnTo>
                    <a:lnTo>
                      <a:pt x="314860" y="153339"/>
                    </a:lnTo>
                    <a:lnTo>
                      <a:pt x="313648" y="154854"/>
                    </a:lnTo>
                    <a:lnTo>
                      <a:pt x="311981" y="156218"/>
                    </a:lnTo>
                    <a:lnTo>
                      <a:pt x="311527" y="158339"/>
                    </a:lnTo>
                    <a:lnTo>
                      <a:pt x="312284" y="160309"/>
                    </a:lnTo>
                    <a:lnTo>
                      <a:pt x="314102" y="161369"/>
                    </a:lnTo>
                    <a:lnTo>
                      <a:pt x="316830" y="162885"/>
                    </a:lnTo>
                    <a:lnTo>
                      <a:pt x="314708" y="163188"/>
                    </a:lnTo>
                    <a:lnTo>
                      <a:pt x="313496" y="162885"/>
                    </a:lnTo>
                    <a:lnTo>
                      <a:pt x="309102" y="159703"/>
                    </a:lnTo>
                    <a:lnTo>
                      <a:pt x="307890" y="159248"/>
                    </a:lnTo>
                    <a:lnTo>
                      <a:pt x="304860" y="159551"/>
                    </a:lnTo>
                    <a:lnTo>
                      <a:pt x="301981" y="158794"/>
                    </a:lnTo>
                    <a:lnTo>
                      <a:pt x="294405" y="154702"/>
                    </a:lnTo>
                    <a:lnTo>
                      <a:pt x="293041" y="154097"/>
                    </a:lnTo>
                    <a:lnTo>
                      <a:pt x="291677" y="154551"/>
                    </a:lnTo>
                    <a:lnTo>
                      <a:pt x="290313" y="154702"/>
                    </a:lnTo>
                    <a:lnTo>
                      <a:pt x="286677" y="154551"/>
                    </a:lnTo>
                    <a:lnTo>
                      <a:pt x="283192" y="154097"/>
                    </a:lnTo>
                    <a:lnTo>
                      <a:pt x="279858" y="152884"/>
                    </a:lnTo>
                    <a:lnTo>
                      <a:pt x="275919" y="150308"/>
                    </a:lnTo>
                    <a:lnTo>
                      <a:pt x="275161" y="149399"/>
                    </a:lnTo>
                    <a:lnTo>
                      <a:pt x="273343" y="145611"/>
                    </a:lnTo>
                    <a:lnTo>
                      <a:pt x="270919" y="149248"/>
                    </a:lnTo>
                    <a:lnTo>
                      <a:pt x="271222" y="150612"/>
                    </a:lnTo>
                    <a:lnTo>
                      <a:pt x="271828" y="151824"/>
                    </a:lnTo>
                    <a:lnTo>
                      <a:pt x="273646" y="152581"/>
                    </a:lnTo>
                    <a:lnTo>
                      <a:pt x="274101" y="156975"/>
                    </a:lnTo>
                    <a:lnTo>
                      <a:pt x="276374" y="159400"/>
                    </a:lnTo>
                    <a:lnTo>
                      <a:pt x="278646" y="161673"/>
                    </a:lnTo>
                    <a:lnTo>
                      <a:pt x="280313" y="162733"/>
                    </a:lnTo>
                    <a:lnTo>
                      <a:pt x="282132" y="164400"/>
                    </a:lnTo>
                    <a:lnTo>
                      <a:pt x="283344" y="165915"/>
                    </a:lnTo>
                    <a:lnTo>
                      <a:pt x="284707" y="167127"/>
                    </a:lnTo>
                    <a:lnTo>
                      <a:pt x="286677" y="168339"/>
                    </a:lnTo>
                    <a:lnTo>
                      <a:pt x="292132" y="173643"/>
                    </a:lnTo>
                    <a:lnTo>
                      <a:pt x="294405" y="175158"/>
                    </a:lnTo>
                    <a:lnTo>
                      <a:pt x="296071" y="176673"/>
                    </a:lnTo>
                    <a:lnTo>
                      <a:pt x="297284" y="177279"/>
                    </a:lnTo>
                    <a:lnTo>
                      <a:pt x="300314" y="176825"/>
                    </a:lnTo>
                    <a:lnTo>
                      <a:pt x="309102" y="173037"/>
                    </a:lnTo>
                    <a:lnTo>
                      <a:pt x="310618" y="172733"/>
                    </a:lnTo>
                    <a:lnTo>
                      <a:pt x="313496" y="172128"/>
                    </a:lnTo>
                    <a:lnTo>
                      <a:pt x="318497" y="172279"/>
                    </a:lnTo>
                    <a:lnTo>
                      <a:pt x="323800" y="173643"/>
                    </a:lnTo>
                    <a:lnTo>
                      <a:pt x="325466" y="173643"/>
                    </a:lnTo>
                    <a:lnTo>
                      <a:pt x="327133" y="172885"/>
                    </a:lnTo>
                    <a:lnTo>
                      <a:pt x="329406" y="173188"/>
                    </a:lnTo>
                    <a:lnTo>
                      <a:pt x="331527" y="173643"/>
                    </a:lnTo>
                    <a:lnTo>
                      <a:pt x="332588" y="173340"/>
                    </a:lnTo>
                    <a:lnTo>
                      <a:pt x="335770" y="170612"/>
                    </a:lnTo>
                    <a:lnTo>
                      <a:pt x="340012" y="169855"/>
                    </a:lnTo>
                    <a:lnTo>
                      <a:pt x="341376" y="167127"/>
                    </a:lnTo>
                    <a:lnTo>
                      <a:pt x="342437" y="164551"/>
                    </a:lnTo>
                    <a:lnTo>
                      <a:pt x="342891" y="161824"/>
                    </a:lnTo>
                    <a:lnTo>
                      <a:pt x="344710" y="160763"/>
                    </a:lnTo>
                    <a:lnTo>
                      <a:pt x="347134" y="159854"/>
                    </a:lnTo>
                    <a:lnTo>
                      <a:pt x="350771" y="158642"/>
                    </a:lnTo>
                    <a:lnTo>
                      <a:pt x="363498" y="158491"/>
                    </a:lnTo>
                    <a:lnTo>
                      <a:pt x="364710" y="158945"/>
                    </a:lnTo>
                    <a:lnTo>
                      <a:pt x="365013" y="160309"/>
                    </a:lnTo>
                    <a:lnTo>
                      <a:pt x="364710" y="161369"/>
                    </a:lnTo>
                    <a:lnTo>
                      <a:pt x="365165" y="161976"/>
                    </a:lnTo>
                    <a:lnTo>
                      <a:pt x="366832" y="161976"/>
                    </a:lnTo>
                    <a:lnTo>
                      <a:pt x="368347" y="162582"/>
                    </a:lnTo>
                    <a:lnTo>
                      <a:pt x="374711" y="164854"/>
                    </a:lnTo>
                    <a:lnTo>
                      <a:pt x="377438" y="165461"/>
                    </a:lnTo>
                    <a:lnTo>
                      <a:pt x="378953" y="165309"/>
                    </a:lnTo>
                    <a:lnTo>
                      <a:pt x="381984" y="167279"/>
                    </a:lnTo>
                    <a:lnTo>
                      <a:pt x="383650" y="166673"/>
                    </a:lnTo>
                    <a:lnTo>
                      <a:pt x="385772" y="165309"/>
                    </a:lnTo>
                    <a:lnTo>
                      <a:pt x="387893" y="163491"/>
                    </a:lnTo>
                    <a:lnTo>
                      <a:pt x="389711" y="161976"/>
                    </a:lnTo>
                    <a:lnTo>
                      <a:pt x="392439" y="161369"/>
                    </a:lnTo>
                    <a:lnTo>
                      <a:pt x="395923" y="161521"/>
                    </a:lnTo>
                    <a:lnTo>
                      <a:pt x="400015" y="161066"/>
                    </a:lnTo>
                    <a:lnTo>
                      <a:pt x="403045" y="160309"/>
                    </a:lnTo>
                    <a:lnTo>
                      <a:pt x="406530" y="161673"/>
                    </a:lnTo>
                    <a:lnTo>
                      <a:pt x="407439" y="161218"/>
                    </a:lnTo>
                    <a:lnTo>
                      <a:pt x="408045" y="160006"/>
                    </a:lnTo>
                    <a:lnTo>
                      <a:pt x="409864" y="157278"/>
                    </a:lnTo>
                    <a:lnTo>
                      <a:pt x="410621" y="155460"/>
                    </a:lnTo>
                    <a:lnTo>
                      <a:pt x="411379" y="151824"/>
                    </a:lnTo>
                    <a:lnTo>
                      <a:pt x="411833" y="150914"/>
                    </a:lnTo>
                    <a:lnTo>
                      <a:pt x="413197" y="150460"/>
                    </a:lnTo>
                    <a:lnTo>
                      <a:pt x="414561" y="149854"/>
                    </a:lnTo>
                    <a:lnTo>
                      <a:pt x="414863" y="148793"/>
                    </a:lnTo>
                    <a:lnTo>
                      <a:pt x="415318" y="147581"/>
                    </a:lnTo>
                    <a:lnTo>
                      <a:pt x="414863" y="146520"/>
                    </a:lnTo>
                    <a:lnTo>
                      <a:pt x="414106" y="145611"/>
                    </a:lnTo>
                    <a:lnTo>
                      <a:pt x="413349" y="142581"/>
                    </a:lnTo>
                    <a:lnTo>
                      <a:pt x="413652" y="141217"/>
                    </a:lnTo>
                    <a:lnTo>
                      <a:pt x="414106" y="140157"/>
                    </a:lnTo>
                    <a:lnTo>
                      <a:pt x="415470" y="139702"/>
                    </a:lnTo>
                    <a:lnTo>
                      <a:pt x="419106" y="137429"/>
                    </a:lnTo>
                    <a:lnTo>
                      <a:pt x="422288" y="134853"/>
                    </a:lnTo>
                    <a:lnTo>
                      <a:pt x="424107" y="133641"/>
                    </a:lnTo>
                    <a:lnTo>
                      <a:pt x="424864" y="132883"/>
                    </a:lnTo>
                    <a:lnTo>
                      <a:pt x="424864" y="131672"/>
                    </a:lnTo>
                    <a:lnTo>
                      <a:pt x="423500" y="130459"/>
                    </a:lnTo>
                    <a:lnTo>
                      <a:pt x="422137" y="129853"/>
                    </a:lnTo>
                    <a:lnTo>
                      <a:pt x="421985" y="128489"/>
                    </a:lnTo>
                    <a:lnTo>
                      <a:pt x="421985" y="127429"/>
                    </a:lnTo>
                    <a:lnTo>
                      <a:pt x="422440" y="126520"/>
                    </a:lnTo>
                    <a:lnTo>
                      <a:pt x="422288" y="125611"/>
                    </a:lnTo>
                    <a:lnTo>
                      <a:pt x="422288" y="124247"/>
                    </a:lnTo>
                    <a:lnTo>
                      <a:pt x="423197" y="122732"/>
                    </a:lnTo>
                    <a:lnTo>
                      <a:pt x="425167" y="120610"/>
                    </a:lnTo>
                    <a:lnTo>
                      <a:pt x="426682" y="119247"/>
                    </a:lnTo>
                    <a:lnTo>
                      <a:pt x="428349" y="120156"/>
                    </a:lnTo>
                    <a:lnTo>
                      <a:pt x="430318" y="119701"/>
                    </a:lnTo>
                    <a:lnTo>
                      <a:pt x="432288" y="118944"/>
                    </a:lnTo>
                    <a:lnTo>
                      <a:pt x="433349" y="116368"/>
                    </a:lnTo>
                    <a:lnTo>
                      <a:pt x="433501" y="115156"/>
                    </a:lnTo>
                    <a:lnTo>
                      <a:pt x="433197" y="114246"/>
                    </a:lnTo>
                    <a:lnTo>
                      <a:pt x="433804" y="110610"/>
                    </a:lnTo>
                    <a:lnTo>
                      <a:pt x="433956" y="110155"/>
                    </a:lnTo>
                    <a:lnTo>
                      <a:pt x="435167" y="107883"/>
                    </a:lnTo>
                    <a:lnTo>
                      <a:pt x="435319" y="106367"/>
                    </a:lnTo>
                    <a:lnTo>
                      <a:pt x="434561" y="102731"/>
                    </a:lnTo>
                    <a:lnTo>
                      <a:pt x="435016" y="100004"/>
                    </a:lnTo>
                    <a:lnTo>
                      <a:pt x="435167" y="94397"/>
                    </a:lnTo>
                    <a:lnTo>
                      <a:pt x="435925" y="93337"/>
                    </a:lnTo>
                    <a:lnTo>
                      <a:pt x="436834" y="90458"/>
                    </a:lnTo>
                    <a:lnTo>
                      <a:pt x="438198" y="87427"/>
                    </a:lnTo>
                    <a:lnTo>
                      <a:pt x="441077" y="85761"/>
                    </a:lnTo>
                    <a:lnTo>
                      <a:pt x="442592" y="83639"/>
                    </a:lnTo>
                    <a:lnTo>
                      <a:pt x="443198" y="83185"/>
                    </a:lnTo>
                    <a:lnTo>
                      <a:pt x="444107" y="83185"/>
                    </a:lnTo>
                    <a:lnTo>
                      <a:pt x="447592" y="84700"/>
                    </a:lnTo>
                    <a:lnTo>
                      <a:pt x="450623" y="82882"/>
                    </a:lnTo>
                    <a:lnTo>
                      <a:pt x="453350" y="82730"/>
                    </a:lnTo>
                    <a:lnTo>
                      <a:pt x="455623" y="83033"/>
                    </a:lnTo>
                    <a:lnTo>
                      <a:pt x="456986" y="83791"/>
                    </a:lnTo>
                    <a:lnTo>
                      <a:pt x="458199" y="84245"/>
                    </a:lnTo>
                    <a:lnTo>
                      <a:pt x="460926" y="82579"/>
                    </a:lnTo>
                    <a:lnTo>
                      <a:pt x="461987" y="82882"/>
                    </a:lnTo>
                    <a:lnTo>
                      <a:pt x="462896" y="83488"/>
                    </a:lnTo>
                    <a:lnTo>
                      <a:pt x="464260" y="83488"/>
                    </a:lnTo>
                    <a:lnTo>
                      <a:pt x="465926" y="83033"/>
                    </a:lnTo>
                    <a:lnTo>
                      <a:pt x="469866" y="83488"/>
                    </a:lnTo>
                    <a:lnTo>
                      <a:pt x="476835" y="83639"/>
                    </a:lnTo>
                    <a:lnTo>
                      <a:pt x="481684" y="84700"/>
                    </a:lnTo>
                    <a:lnTo>
                      <a:pt x="486381" y="87579"/>
                    </a:lnTo>
                    <a:lnTo>
                      <a:pt x="488806" y="88185"/>
                    </a:lnTo>
                    <a:lnTo>
                      <a:pt x="489866" y="88185"/>
                    </a:lnTo>
                    <a:lnTo>
                      <a:pt x="490624" y="87427"/>
                    </a:lnTo>
                    <a:lnTo>
                      <a:pt x="491836" y="84549"/>
                    </a:lnTo>
                    <a:lnTo>
                      <a:pt x="493048" y="83488"/>
                    </a:lnTo>
                    <a:lnTo>
                      <a:pt x="494261" y="83639"/>
                    </a:lnTo>
                    <a:lnTo>
                      <a:pt x="498503" y="85609"/>
                    </a:lnTo>
                    <a:lnTo>
                      <a:pt x="501533" y="85912"/>
                    </a:lnTo>
                    <a:lnTo>
                      <a:pt x="504564" y="84851"/>
                    </a:lnTo>
                    <a:lnTo>
                      <a:pt x="507595" y="84094"/>
                    </a:lnTo>
                    <a:lnTo>
                      <a:pt x="511231" y="83488"/>
                    </a:lnTo>
                    <a:lnTo>
                      <a:pt x="514867" y="82730"/>
                    </a:lnTo>
                    <a:lnTo>
                      <a:pt x="516231" y="82276"/>
                    </a:lnTo>
                    <a:lnTo>
                      <a:pt x="517292" y="81518"/>
                    </a:lnTo>
                    <a:lnTo>
                      <a:pt x="517595" y="80154"/>
                    </a:lnTo>
                    <a:lnTo>
                      <a:pt x="516685" y="79094"/>
                    </a:lnTo>
                    <a:lnTo>
                      <a:pt x="510170" y="74548"/>
                    </a:lnTo>
                    <a:lnTo>
                      <a:pt x="506382" y="70154"/>
                    </a:lnTo>
                    <a:lnTo>
                      <a:pt x="508504" y="65760"/>
                    </a:lnTo>
                    <a:lnTo>
                      <a:pt x="510170" y="65154"/>
                    </a:lnTo>
                    <a:lnTo>
                      <a:pt x="511837" y="65002"/>
                    </a:lnTo>
                    <a:lnTo>
                      <a:pt x="516534" y="66366"/>
                    </a:lnTo>
                    <a:lnTo>
                      <a:pt x="519868" y="66518"/>
                    </a:lnTo>
                    <a:lnTo>
                      <a:pt x="526383" y="64851"/>
                    </a:lnTo>
                    <a:lnTo>
                      <a:pt x="532444" y="62730"/>
                    </a:lnTo>
                    <a:lnTo>
                      <a:pt x="534868" y="61063"/>
                    </a:lnTo>
                    <a:lnTo>
                      <a:pt x="535626" y="60002"/>
                    </a:lnTo>
                    <a:lnTo>
                      <a:pt x="535929" y="58790"/>
                    </a:lnTo>
                    <a:lnTo>
                      <a:pt x="536081" y="57123"/>
                    </a:lnTo>
                    <a:lnTo>
                      <a:pt x="536535" y="54093"/>
                    </a:lnTo>
                    <a:close/>
                    <a:moveTo>
                      <a:pt x="118338" y="138641"/>
                    </a:moveTo>
                    <a:lnTo>
                      <a:pt x="114701" y="131974"/>
                    </a:lnTo>
                    <a:lnTo>
                      <a:pt x="114095" y="130005"/>
                    </a:lnTo>
                    <a:lnTo>
                      <a:pt x="106519" y="124701"/>
                    </a:lnTo>
                    <a:lnTo>
                      <a:pt x="105155" y="123035"/>
                    </a:lnTo>
                    <a:lnTo>
                      <a:pt x="103943" y="120459"/>
                    </a:lnTo>
                    <a:lnTo>
                      <a:pt x="104095" y="111519"/>
                    </a:lnTo>
                    <a:lnTo>
                      <a:pt x="103640" y="108337"/>
                    </a:lnTo>
                    <a:lnTo>
                      <a:pt x="104246" y="104398"/>
                    </a:lnTo>
                    <a:lnTo>
                      <a:pt x="102125" y="100307"/>
                    </a:lnTo>
                    <a:lnTo>
                      <a:pt x="101822" y="97579"/>
                    </a:lnTo>
                    <a:lnTo>
                      <a:pt x="103488" y="91973"/>
                    </a:lnTo>
                    <a:lnTo>
                      <a:pt x="104852" y="80609"/>
                    </a:lnTo>
                    <a:lnTo>
                      <a:pt x="104398" y="73033"/>
                    </a:lnTo>
                    <a:lnTo>
                      <a:pt x="103337" y="68033"/>
                    </a:lnTo>
                    <a:lnTo>
                      <a:pt x="97276" y="56820"/>
                    </a:lnTo>
                    <a:lnTo>
                      <a:pt x="94549" y="52881"/>
                    </a:lnTo>
                    <a:lnTo>
                      <a:pt x="91367" y="49699"/>
                    </a:lnTo>
                    <a:lnTo>
                      <a:pt x="89094" y="48638"/>
                    </a:lnTo>
                    <a:lnTo>
                      <a:pt x="86064" y="46365"/>
                    </a:lnTo>
                    <a:lnTo>
                      <a:pt x="79093" y="40456"/>
                    </a:lnTo>
                    <a:lnTo>
                      <a:pt x="73791" y="31971"/>
                    </a:lnTo>
                    <a:lnTo>
                      <a:pt x="71972" y="31062"/>
                    </a:lnTo>
                    <a:lnTo>
                      <a:pt x="67275" y="30001"/>
                    </a:lnTo>
                    <a:lnTo>
                      <a:pt x="66366" y="31516"/>
                    </a:lnTo>
                    <a:lnTo>
                      <a:pt x="66063" y="33940"/>
                    </a:lnTo>
                    <a:lnTo>
                      <a:pt x="62729" y="37123"/>
                    </a:lnTo>
                    <a:lnTo>
                      <a:pt x="62275" y="39244"/>
                    </a:lnTo>
                    <a:lnTo>
                      <a:pt x="61063" y="41517"/>
                    </a:lnTo>
                    <a:lnTo>
                      <a:pt x="58790" y="42729"/>
                    </a:lnTo>
                    <a:lnTo>
                      <a:pt x="56820" y="43032"/>
                    </a:lnTo>
                    <a:lnTo>
                      <a:pt x="55760" y="42880"/>
                    </a:lnTo>
                    <a:lnTo>
                      <a:pt x="55002" y="42426"/>
                    </a:lnTo>
                    <a:lnTo>
                      <a:pt x="53638" y="40153"/>
                    </a:lnTo>
                    <a:lnTo>
                      <a:pt x="53032" y="39547"/>
                    </a:lnTo>
                    <a:lnTo>
                      <a:pt x="52426" y="39395"/>
                    </a:lnTo>
                    <a:lnTo>
                      <a:pt x="48335" y="40911"/>
                    </a:lnTo>
                    <a:lnTo>
                      <a:pt x="44244" y="42577"/>
                    </a:lnTo>
                    <a:lnTo>
                      <a:pt x="43486" y="44093"/>
                    </a:lnTo>
                    <a:lnTo>
                      <a:pt x="42426" y="45911"/>
                    </a:lnTo>
                    <a:lnTo>
                      <a:pt x="41213" y="46668"/>
                    </a:lnTo>
                    <a:lnTo>
                      <a:pt x="40304" y="46820"/>
                    </a:lnTo>
                    <a:lnTo>
                      <a:pt x="39395" y="45759"/>
                    </a:lnTo>
                    <a:lnTo>
                      <a:pt x="37880" y="44395"/>
                    </a:lnTo>
                    <a:lnTo>
                      <a:pt x="36668" y="43183"/>
                    </a:lnTo>
                    <a:lnTo>
                      <a:pt x="36971" y="41062"/>
                    </a:lnTo>
                    <a:lnTo>
                      <a:pt x="39244" y="38032"/>
                    </a:lnTo>
                    <a:lnTo>
                      <a:pt x="39547" y="35910"/>
                    </a:lnTo>
                    <a:lnTo>
                      <a:pt x="39244" y="32274"/>
                    </a:lnTo>
                    <a:lnTo>
                      <a:pt x="38638" y="30152"/>
                    </a:lnTo>
                    <a:lnTo>
                      <a:pt x="38031" y="30152"/>
                    </a:lnTo>
                    <a:lnTo>
                      <a:pt x="36971" y="29850"/>
                    </a:lnTo>
                    <a:lnTo>
                      <a:pt x="33789" y="30152"/>
                    </a:lnTo>
                    <a:lnTo>
                      <a:pt x="32274" y="27728"/>
                    </a:lnTo>
                    <a:lnTo>
                      <a:pt x="31668" y="25152"/>
                    </a:lnTo>
                    <a:lnTo>
                      <a:pt x="30607" y="24243"/>
                    </a:lnTo>
                    <a:lnTo>
                      <a:pt x="29546" y="23637"/>
                    </a:lnTo>
                    <a:lnTo>
                      <a:pt x="27122" y="24546"/>
                    </a:lnTo>
                    <a:lnTo>
                      <a:pt x="25304" y="23940"/>
                    </a:lnTo>
                    <a:lnTo>
                      <a:pt x="19395" y="21667"/>
                    </a:lnTo>
                    <a:lnTo>
                      <a:pt x="17121" y="18031"/>
                    </a:lnTo>
                    <a:lnTo>
                      <a:pt x="15909" y="17879"/>
                    </a:lnTo>
                    <a:lnTo>
                      <a:pt x="14849" y="18334"/>
                    </a:lnTo>
                    <a:lnTo>
                      <a:pt x="14394" y="19092"/>
                    </a:lnTo>
                    <a:lnTo>
                      <a:pt x="13788" y="23334"/>
                    </a:lnTo>
                    <a:lnTo>
                      <a:pt x="13333" y="24546"/>
                    </a:lnTo>
                    <a:lnTo>
                      <a:pt x="14394" y="27728"/>
                    </a:lnTo>
                    <a:lnTo>
                      <a:pt x="17273" y="31668"/>
                    </a:lnTo>
                    <a:lnTo>
                      <a:pt x="19395" y="37123"/>
                    </a:lnTo>
                    <a:lnTo>
                      <a:pt x="20304" y="42729"/>
                    </a:lnTo>
                    <a:lnTo>
                      <a:pt x="19698" y="47881"/>
                    </a:lnTo>
                    <a:lnTo>
                      <a:pt x="23031" y="62730"/>
                    </a:lnTo>
                    <a:lnTo>
                      <a:pt x="26819" y="73336"/>
                    </a:lnTo>
                    <a:lnTo>
                      <a:pt x="26819" y="80912"/>
                    </a:lnTo>
                    <a:lnTo>
                      <a:pt x="28031" y="85003"/>
                    </a:lnTo>
                    <a:lnTo>
                      <a:pt x="30759" y="88488"/>
                    </a:lnTo>
                    <a:lnTo>
                      <a:pt x="31668" y="90458"/>
                    </a:lnTo>
                    <a:lnTo>
                      <a:pt x="30607" y="91064"/>
                    </a:lnTo>
                    <a:lnTo>
                      <a:pt x="29395" y="91973"/>
                    </a:lnTo>
                    <a:lnTo>
                      <a:pt x="31213" y="94700"/>
                    </a:lnTo>
                    <a:lnTo>
                      <a:pt x="33183" y="97125"/>
                    </a:lnTo>
                    <a:lnTo>
                      <a:pt x="37880" y="101216"/>
                    </a:lnTo>
                    <a:lnTo>
                      <a:pt x="40304" y="105307"/>
                    </a:lnTo>
                    <a:lnTo>
                      <a:pt x="45305" y="111216"/>
                    </a:lnTo>
                    <a:lnTo>
                      <a:pt x="46062" y="114246"/>
                    </a:lnTo>
                    <a:lnTo>
                      <a:pt x="46668" y="117883"/>
                    </a:lnTo>
                    <a:lnTo>
                      <a:pt x="45001" y="121368"/>
                    </a:lnTo>
                    <a:lnTo>
                      <a:pt x="46517" y="122580"/>
                    </a:lnTo>
                    <a:lnTo>
                      <a:pt x="48032" y="123338"/>
                    </a:lnTo>
                    <a:lnTo>
                      <a:pt x="51062" y="126823"/>
                    </a:lnTo>
                    <a:lnTo>
                      <a:pt x="58184" y="129853"/>
                    </a:lnTo>
                    <a:lnTo>
                      <a:pt x="61214" y="133187"/>
                    </a:lnTo>
                    <a:lnTo>
                      <a:pt x="68184" y="138641"/>
                    </a:lnTo>
                    <a:lnTo>
                      <a:pt x="79245" y="144248"/>
                    </a:lnTo>
                    <a:lnTo>
                      <a:pt x="84094" y="149399"/>
                    </a:lnTo>
                    <a:lnTo>
                      <a:pt x="88791" y="151066"/>
                    </a:lnTo>
                    <a:lnTo>
                      <a:pt x="101367" y="157733"/>
                    </a:lnTo>
                    <a:lnTo>
                      <a:pt x="102579" y="159097"/>
                    </a:lnTo>
                    <a:lnTo>
                      <a:pt x="103337" y="160915"/>
                    </a:lnTo>
                    <a:lnTo>
                      <a:pt x="104852" y="163642"/>
                    </a:lnTo>
                    <a:lnTo>
                      <a:pt x="106822" y="163491"/>
                    </a:lnTo>
                    <a:lnTo>
                      <a:pt x="110762" y="160309"/>
                    </a:lnTo>
                    <a:lnTo>
                      <a:pt x="114095" y="159551"/>
                    </a:lnTo>
                    <a:lnTo>
                      <a:pt x="116822" y="160309"/>
                    </a:lnTo>
                    <a:lnTo>
                      <a:pt x="118943" y="160157"/>
                    </a:lnTo>
                    <a:lnTo>
                      <a:pt x="118943" y="157581"/>
                    </a:lnTo>
                    <a:lnTo>
                      <a:pt x="118641" y="155612"/>
                    </a:lnTo>
                    <a:lnTo>
                      <a:pt x="119550" y="156824"/>
                    </a:lnTo>
                    <a:lnTo>
                      <a:pt x="121217" y="158188"/>
                    </a:lnTo>
                    <a:lnTo>
                      <a:pt x="121822" y="159248"/>
                    </a:lnTo>
                    <a:lnTo>
                      <a:pt x="121671" y="160460"/>
                    </a:lnTo>
                    <a:lnTo>
                      <a:pt x="122277" y="161369"/>
                    </a:lnTo>
                    <a:lnTo>
                      <a:pt x="123944" y="162582"/>
                    </a:lnTo>
                    <a:lnTo>
                      <a:pt x="125914" y="161976"/>
                    </a:lnTo>
                    <a:lnTo>
                      <a:pt x="126671" y="161218"/>
                    </a:lnTo>
                    <a:lnTo>
                      <a:pt x="126823" y="159400"/>
                    </a:lnTo>
                    <a:lnTo>
                      <a:pt x="124853" y="152884"/>
                    </a:lnTo>
                    <a:lnTo>
                      <a:pt x="118338" y="138641"/>
                    </a:lnTo>
                    <a:close/>
                    <a:moveTo>
                      <a:pt x="16516" y="51366"/>
                    </a:moveTo>
                    <a:lnTo>
                      <a:pt x="15303" y="51971"/>
                    </a:lnTo>
                    <a:lnTo>
                      <a:pt x="15000" y="56517"/>
                    </a:lnTo>
                    <a:lnTo>
                      <a:pt x="16970" y="56972"/>
                    </a:lnTo>
                    <a:lnTo>
                      <a:pt x="17728" y="56214"/>
                    </a:lnTo>
                    <a:lnTo>
                      <a:pt x="19091" y="53032"/>
                    </a:lnTo>
                    <a:lnTo>
                      <a:pt x="18334" y="52275"/>
                    </a:lnTo>
                    <a:lnTo>
                      <a:pt x="16516" y="51366"/>
                    </a:lnTo>
                    <a:close/>
                    <a:moveTo>
                      <a:pt x="494261" y="84245"/>
                    </a:moveTo>
                    <a:lnTo>
                      <a:pt x="493048" y="84549"/>
                    </a:lnTo>
                    <a:lnTo>
                      <a:pt x="493200" y="85761"/>
                    </a:lnTo>
                    <a:lnTo>
                      <a:pt x="492745" y="86670"/>
                    </a:lnTo>
                    <a:lnTo>
                      <a:pt x="495321" y="86670"/>
                    </a:lnTo>
                    <a:lnTo>
                      <a:pt x="499109" y="86215"/>
                    </a:lnTo>
                    <a:lnTo>
                      <a:pt x="495776" y="84397"/>
                    </a:lnTo>
                    <a:lnTo>
                      <a:pt x="494261" y="84245"/>
                    </a:lnTo>
                    <a:close/>
                    <a:moveTo>
                      <a:pt x="46062" y="117277"/>
                    </a:moveTo>
                    <a:lnTo>
                      <a:pt x="45607" y="116671"/>
                    </a:lnTo>
                    <a:lnTo>
                      <a:pt x="44547" y="117580"/>
                    </a:lnTo>
                    <a:lnTo>
                      <a:pt x="44244" y="118641"/>
                    </a:lnTo>
                    <a:lnTo>
                      <a:pt x="44244" y="119398"/>
                    </a:lnTo>
                    <a:lnTo>
                      <a:pt x="45607" y="118944"/>
                    </a:lnTo>
                    <a:lnTo>
                      <a:pt x="46062" y="1172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9" name="Freeform: Shape 3208">
                <a:extLst>
                  <a:ext uri="{FF2B5EF4-FFF2-40B4-BE49-F238E27FC236}">
                    <a16:creationId xmlns:a16="http://schemas.microsoft.com/office/drawing/2014/main" id="{47F01510-4662-47BE-923E-432115FA9B70}"/>
                  </a:ext>
                </a:extLst>
              </p:cNvPr>
              <p:cNvSpPr/>
              <p:nvPr/>
            </p:nvSpPr>
            <p:spPr>
              <a:xfrm>
                <a:off x="2537686" y="3637717"/>
                <a:ext cx="867607" cy="527292"/>
              </a:xfrm>
              <a:custGeom>
                <a:avLst/>
                <a:gdLst>
                  <a:gd name="connsiteX0" fmla="*/ 171673 w 867607"/>
                  <a:gd name="connsiteY0" fmla="*/ 240312 h 527292"/>
                  <a:gd name="connsiteX1" fmla="*/ 171522 w 867607"/>
                  <a:gd name="connsiteY1" fmla="*/ 238191 h 527292"/>
                  <a:gd name="connsiteX2" fmla="*/ 170612 w 867607"/>
                  <a:gd name="connsiteY2" fmla="*/ 236221 h 527292"/>
                  <a:gd name="connsiteX3" fmla="*/ 169703 w 867607"/>
                  <a:gd name="connsiteY3" fmla="*/ 235008 h 527292"/>
                  <a:gd name="connsiteX4" fmla="*/ 169552 w 867607"/>
                  <a:gd name="connsiteY4" fmla="*/ 233796 h 527292"/>
                  <a:gd name="connsiteX5" fmla="*/ 171370 w 867607"/>
                  <a:gd name="connsiteY5" fmla="*/ 223948 h 527292"/>
                  <a:gd name="connsiteX6" fmla="*/ 170612 w 867607"/>
                  <a:gd name="connsiteY6" fmla="*/ 222129 h 527292"/>
                  <a:gd name="connsiteX7" fmla="*/ 168946 w 867607"/>
                  <a:gd name="connsiteY7" fmla="*/ 231827 h 527292"/>
                  <a:gd name="connsiteX8" fmla="*/ 166976 w 867607"/>
                  <a:gd name="connsiteY8" fmla="*/ 236524 h 527292"/>
                  <a:gd name="connsiteX9" fmla="*/ 169400 w 867607"/>
                  <a:gd name="connsiteY9" fmla="*/ 237281 h 527292"/>
                  <a:gd name="connsiteX10" fmla="*/ 170309 w 867607"/>
                  <a:gd name="connsiteY10" fmla="*/ 238191 h 527292"/>
                  <a:gd name="connsiteX11" fmla="*/ 170612 w 867607"/>
                  <a:gd name="connsiteY11" fmla="*/ 240463 h 527292"/>
                  <a:gd name="connsiteX12" fmla="*/ 172885 w 867607"/>
                  <a:gd name="connsiteY12" fmla="*/ 243797 h 527292"/>
                  <a:gd name="connsiteX13" fmla="*/ 173491 w 867607"/>
                  <a:gd name="connsiteY13" fmla="*/ 243494 h 527292"/>
                  <a:gd name="connsiteX14" fmla="*/ 173188 w 867607"/>
                  <a:gd name="connsiteY14" fmla="*/ 242433 h 527292"/>
                  <a:gd name="connsiteX15" fmla="*/ 171673 w 867607"/>
                  <a:gd name="connsiteY15" fmla="*/ 240312 h 527292"/>
                  <a:gd name="connsiteX16" fmla="*/ 176673 w 867607"/>
                  <a:gd name="connsiteY16" fmla="*/ 243342 h 527292"/>
                  <a:gd name="connsiteX17" fmla="*/ 174703 w 867607"/>
                  <a:gd name="connsiteY17" fmla="*/ 243797 h 527292"/>
                  <a:gd name="connsiteX18" fmla="*/ 182886 w 867607"/>
                  <a:gd name="connsiteY18" fmla="*/ 249251 h 527292"/>
                  <a:gd name="connsiteX19" fmla="*/ 183189 w 867607"/>
                  <a:gd name="connsiteY19" fmla="*/ 247888 h 527292"/>
                  <a:gd name="connsiteX20" fmla="*/ 178794 w 867607"/>
                  <a:gd name="connsiteY20" fmla="*/ 243645 h 527292"/>
                  <a:gd name="connsiteX21" fmla="*/ 176673 w 867607"/>
                  <a:gd name="connsiteY21" fmla="*/ 243342 h 527292"/>
                  <a:gd name="connsiteX22" fmla="*/ 324557 w 867607"/>
                  <a:gd name="connsiteY22" fmla="*/ 325769 h 527292"/>
                  <a:gd name="connsiteX23" fmla="*/ 322891 w 867607"/>
                  <a:gd name="connsiteY23" fmla="*/ 324709 h 527292"/>
                  <a:gd name="connsiteX24" fmla="*/ 321679 w 867607"/>
                  <a:gd name="connsiteY24" fmla="*/ 325163 h 527292"/>
                  <a:gd name="connsiteX25" fmla="*/ 321830 w 867607"/>
                  <a:gd name="connsiteY25" fmla="*/ 327588 h 527292"/>
                  <a:gd name="connsiteX26" fmla="*/ 322588 w 867607"/>
                  <a:gd name="connsiteY26" fmla="*/ 329103 h 527292"/>
                  <a:gd name="connsiteX27" fmla="*/ 324709 w 867607"/>
                  <a:gd name="connsiteY27" fmla="*/ 330012 h 527292"/>
                  <a:gd name="connsiteX28" fmla="*/ 325467 w 867607"/>
                  <a:gd name="connsiteY28" fmla="*/ 327739 h 527292"/>
                  <a:gd name="connsiteX29" fmla="*/ 324860 w 867607"/>
                  <a:gd name="connsiteY29" fmla="*/ 326527 h 527292"/>
                  <a:gd name="connsiteX30" fmla="*/ 324557 w 867607"/>
                  <a:gd name="connsiteY30" fmla="*/ 325769 h 527292"/>
                  <a:gd name="connsiteX31" fmla="*/ 202735 w 867607"/>
                  <a:gd name="connsiteY31" fmla="*/ 405469 h 527292"/>
                  <a:gd name="connsiteX32" fmla="*/ 201371 w 867607"/>
                  <a:gd name="connsiteY32" fmla="*/ 406378 h 527292"/>
                  <a:gd name="connsiteX33" fmla="*/ 200765 w 867607"/>
                  <a:gd name="connsiteY33" fmla="*/ 407742 h 527292"/>
                  <a:gd name="connsiteX34" fmla="*/ 203189 w 867607"/>
                  <a:gd name="connsiteY34" fmla="*/ 409409 h 527292"/>
                  <a:gd name="connsiteX35" fmla="*/ 204856 w 867607"/>
                  <a:gd name="connsiteY35" fmla="*/ 408803 h 527292"/>
                  <a:gd name="connsiteX36" fmla="*/ 204098 w 867607"/>
                  <a:gd name="connsiteY36" fmla="*/ 407136 h 527292"/>
                  <a:gd name="connsiteX37" fmla="*/ 202735 w 867607"/>
                  <a:gd name="connsiteY37" fmla="*/ 405469 h 527292"/>
                  <a:gd name="connsiteX38" fmla="*/ 86670 w 867607"/>
                  <a:gd name="connsiteY38" fmla="*/ 131823 h 527292"/>
                  <a:gd name="connsiteX39" fmla="*/ 85609 w 867607"/>
                  <a:gd name="connsiteY39" fmla="*/ 132581 h 527292"/>
                  <a:gd name="connsiteX40" fmla="*/ 85912 w 867607"/>
                  <a:gd name="connsiteY40" fmla="*/ 136217 h 527292"/>
                  <a:gd name="connsiteX41" fmla="*/ 83336 w 867607"/>
                  <a:gd name="connsiteY41" fmla="*/ 139702 h 527292"/>
                  <a:gd name="connsiteX42" fmla="*/ 87882 w 867607"/>
                  <a:gd name="connsiteY42" fmla="*/ 141672 h 527292"/>
                  <a:gd name="connsiteX43" fmla="*/ 88185 w 867607"/>
                  <a:gd name="connsiteY43" fmla="*/ 140763 h 527292"/>
                  <a:gd name="connsiteX44" fmla="*/ 88791 w 867607"/>
                  <a:gd name="connsiteY44" fmla="*/ 137732 h 527292"/>
                  <a:gd name="connsiteX45" fmla="*/ 87427 w 867607"/>
                  <a:gd name="connsiteY45" fmla="*/ 133187 h 527292"/>
                  <a:gd name="connsiteX46" fmla="*/ 86670 w 867607"/>
                  <a:gd name="connsiteY46" fmla="*/ 131823 h 527292"/>
                  <a:gd name="connsiteX47" fmla="*/ 730936 w 867607"/>
                  <a:gd name="connsiteY47" fmla="*/ 410773 h 527292"/>
                  <a:gd name="connsiteX48" fmla="*/ 731694 w 867607"/>
                  <a:gd name="connsiteY48" fmla="*/ 409863 h 527292"/>
                  <a:gd name="connsiteX49" fmla="*/ 734876 w 867607"/>
                  <a:gd name="connsiteY49" fmla="*/ 408500 h 527292"/>
                  <a:gd name="connsiteX50" fmla="*/ 734573 w 867607"/>
                  <a:gd name="connsiteY50" fmla="*/ 408045 h 527292"/>
                  <a:gd name="connsiteX51" fmla="*/ 733512 w 867607"/>
                  <a:gd name="connsiteY51" fmla="*/ 407894 h 527292"/>
                  <a:gd name="connsiteX52" fmla="*/ 727300 w 867607"/>
                  <a:gd name="connsiteY52" fmla="*/ 410773 h 527292"/>
                  <a:gd name="connsiteX53" fmla="*/ 727906 w 867607"/>
                  <a:gd name="connsiteY53" fmla="*/ 411379 h 527292"/>
                  <a:gd name="connsiteX54" fmla="*/ 730936 w 867607"/>
                  <a:gd name="connsiteY54" fmla="*/ 410773 h 527292"/>
                  <a:gd name="connsiteX55" fmla="*/ 3636 w 867607"/>
                  <a:gd name="connsiteY55" fmla="*/ 110610 h 527292"/>
                  <a:gd name="connsiteX56" fmla="*/ 2424 w 867607"/>
                  <a:gd name="connsiteY56" fmla="*/ 109247 h 527292"/>
                  <a:gd name="connsiteX57" fmla="*/ 2424 w 867607"/>
                  <a:gd name="connsiteY57" fmla="*/ 107731 h 527292"/>
                  <a:gd name="connsiteX58" fmla="*/ 909 w 867607"/>
                  <a:gd name="connsiteY58" fmla="*/ 107580 h 527292"/>
                  <a:gd name="connsiteX59" fmla="*/ 0 w 867607"/>
                  <a:gd name="connsiteY59" fmla="*/ 108337 h 527292"/>
                  <a:gd name="connsiteX60" fmla="*/ 0 w 867607"/>
                  <a:gd name="connsiteY60" fmla="*/ 109852 h 527292"/>
                  <a:gd name="connsiteX61" fmla="*/ 3182 w 867607"/>
                  <a:gd name="connsiteY61" fmla="*/ 116065 h 527292"/>
                  <a:gd name="connsiteX62" fmla="*/ 4394 w 867607"/>
                  <a:gd name="connsiteY62" fmla="*/ 115004 h 527292"/>
                  <a:gd name="connsiteX63" fmla="*/ 4243 w 867607"/>
                  <a:gd name="connsiteY63" fmla="*/ 111974 h 527292"/>
                  <a:gd name="connsiteX64" fmla="*/ 3636 w 867607"/>
                  <a:gd name="connsiteY64" fmla="*/ 110610 h 527292"/>
                  <a:gd name="connsiteX65" fmla="*/ 862759 w 867607"/>
                  <a:gd name="connsiteY65" fmla="*/ 348346 h 527292"/>
                  <a:gd name="connsiteX66" fmla="*/ 864123 w 867607"/>
                  <a:gd name="connsiteY66" fmla="*/ 344861 h 527292"/>
                  <a:gd name="connsiteX67" fmla="*/ 865335 w 867607"/>
                  <a:gd name="connsiteY67" fmla="*/ 340770 h 527292"/>
                  <a:gd name="connsiteX68" fmla="*/ 864426 w 867607"/>
                  <a:gd name="connsiteY68" fmla="*/ 339406 h 527292"/>
                  <a:gd name="connsiteX69" fmla="*/ 864123 w 867607"/>
                  <a:gd name="connsiteY69" fmla="*/ 338497 h 527292"/>
                  <a:gd name="connsiteX70" fmla="*/ 863971 w 867607"/>
                  <a:gd name="connsiteY70" fmla="*/ 333194 h 527292"/>
                  <a:gd name="connsiteX71" fmla="*/ 861547 w 867607"/>
                  <a:gd name="connsiteY71" fmla="*/ 331982 h 527292"/>
                  <a:gd name="connsiteX72" fmla="*/ 858214 w 867607"/>
                  <a:gd name="connsiteY72" fmla="*/ 328345 h 527292"/>
                  <a:gd name="connsiteX73" fmla="*/ 855638 w 867607"/>
                  <a:gd name="connsiteY73" fmla="*/ 327436 h 527292"/>
                  <a:gd name="connsiteX74" fmla="*/ 853213 w 867607"/>
                  <a:gd name="connsiteY74" fmla="*/ 328497 h 527292"/>
                  <a:gd name="connsiteX75" fmla="*/ 851547 w 867607"/>
                  <a:gd name="connsiteY75" fmla="*/ 328800 h 527292"/>
                  <a:gd name="connsiteX76" fmla="*/ 848971 w 867607"/>
                  <a:gd name="connsiteY76" fmla="*/ 328800 h 527292"/>
                  <a:gd name="connsiteX77" fmla="*/ 848516 w 867607"/>
                  <a:gd name="connsiteY77" fmla="*/ 329406 h 527292"/>
                  <a:gd name="connsiteX78" fmla="*/ 850941 w 867607"/>
                  <a:gd name="connsiteY78" fmla="*/ 330163 h 527292"/>
                  <a:gd name="connsiteX79" fmla="*/ 852153 w 867607"/>
                  <a:gd name="connsiteY79" fmla="*/ 330163 h 527292"/>
                  <a:gd name="connsiteX80" fmla="*/ 853213 w 867607"/>
                  <a:gd name="connsiteY80" fmla="*/ 329709 h 527292"/>
                  <a:gd name="connsiteX81" fmla="*/ 853819 w 867607"/>
                  <a:gd name="connsiteY81" fmla="*/ 329709 h 527292"/>
                  <a:gd name="connsiteX82" fmla="*/ 854426 w 867607"/>
                  <a:gd name="connsiteY82" fmla="*/ 330618 h 527292"/>
                  <a:gd name="connsiteX83" fmla="*/ 853819 w 867607"/>
                  <a:gd name="connsiteY83" fmla="*/ 331679 h 527292"/>
                  <a:gd name="connsiteX84" fmla="*/ 853062 w 867607"/>
                  <a:gd name="connsiteY84" fmla="*/ 332285 h 527292"/>
                  <a:gd name="connsiteX85" fmla="*/ 852153 w 867607"/>
                  <a:gd name="connsiteY85" fmla="*/ 332588 h 527292"/>
                  <a:gd name="connsiteX86" fmla="*/ 845941 w 867607"/>
                  <a:gd name="connsiteY86" fmla="*/ 331830 h 527292"/>
                  <a:gd name="connsiteX87" fmla="*/ 840183 w 867607"/>
                  <a:gd name="connsiteY87" fmla="*/ 330012 h 527292"/>
                  <a:gd name="connsiteX88" fmla="*/ 837910 w 867607"/>
                  <a:gd name="connsiteY88" fmla="*/ 329557 h 527292"/>
                  <a:gd name="connsiteX89" fmla="*/ 831546 w 867607"/>
                  <a:gd name="connsiteY89" fmla="*/ 328042 h 527292"/>
                  <a:gd name="connsiteX90" fmla="*/ 828061 w 867607"/>
                  <a:gd name="connsiteY90" fmla="*/ 327739 h 527292"/>
                  <a:gd name="connsiteX91" fmla="*/ 827000 w 867607"/>
                  <a:gd name="connsiteY91" fmla="*/ 328042 h 527292"/>
                  <a:gd name="connsiteX92" fmla="*/ 827000 w 867607"/>
                  <a:gd name="connsiteY92" fmla="*/ 328345 h 527292"/>
                  <a:gd name="connsiteX93" fmla="*/ 826697 w 867607"/>
                  <a:gd name="connsiteY93" fmla="*/ 328648 h 527292"/>
                  <a:gd name="connsiteX94" fmla="*/ 824879 w 867607"/>
                  <a:gd name="connsiteY94" fmla="*/ 328952 h 527292"/>
                  <a:gd name="connsiteX95" fmla="*/ 818970 w 867607"/>
                  <a:gd name="connsiteY95" fmla="*/ 328952 h 527292"/>
                  <a:gd name="connsiteX96" fmla="*/ 815788 w 867607"/>
                  <a:gd name="connsiteY96" fmla="*/ 329861 h 527292"/>
                  <a:gd name="connsiteX97" fmla="*/ 811394 w 867607"/>
                  <a:gd name="connsiteY97" fmla="*/ 332436 h 527292"/>
                  <a:gd name="connsiteX98" fmla="*/ 807757 w 867607"/>
                  <a:gd name="connsiteY98" fmla="*/ 333346 h 527292"/>
                  <a:gd name="connsiteX99" fmla="*/ 781999 w 867607"/>
                  <a:gd name="connsiteY99" fmla="*/ 337285 h 527292"/>
                  <a:gd name="connsiteX100" fmla="*/ 780180 w 867607"/>
                  <a:gd name="connsiteY100" fmla="*/ 337891 h 527292"/>
                  <a:gd name="connsiteX101" fmla="*/ 772150 w 867607"/>
                  <a:gd name="connsiteY101" fmla="*/ 341679 h 527292"/>
                  <a:gd name="connsiteX102" fmla="*/ 767453 w 867607"/>
                  <a:gd name="connsiteY102" fmla="*/ 344861 h 527292"/>
                  <a:gd name="connsiteX103" fmla="*/ 765180 w 867607"/>
                  <a:gd name="connsiteY103" fmla="*/ 351982 h 527292"/>
                  <a:gd name="connsiteX104" fmla="*/ 764574 w 867607"/>
                  <a:gd name="connsiteY104" fmla="*/ 353195 h 527292"/>
                  <a:gd name="connsiteX105" fmla="*/ 763816 w 867607"/>
                  <a:gd name="connsiteY105" fmla="*/ 357589 h 527292"/>
                  <a:gd name="connsiteX106" fmla="*/ 763968 w 867607"/>
                  <a:gd name="connsiteY106" fmla="*/ 362589 h 527292"/>
                  <a:gd name="connsiteX107" fmla="*/ 763816 w 867607"/>
                  <a:gd name="connsiteY107" fmla="*/ 366983 h 527292"/>
                  <a:gd name="connsiteX108" fmla="*/ 763968 w 867607"/>
                  <a:gd name="connsiteY108" fmla="*/ 372589 h 527292"/>
                  <a:gd name="connsiteX109" fmla="*/ 763665 w 867607"/>
                  <a:gd name="connsiteY109" fmla="*/ 374862 h 527292"/>
                  <a:gd name="connsiteX110" fmla="*/ 763210 w 867607"/>
                  <a:gd name="connsiteY110" fmla="*/ 375923 h 527292"/>
                  <a:gd name="connsiteX111" fmla="*/ 759271 w 867607"/>
                  <a:gd name="connsiteY111" fmla="*/ 379256 h 527292"/>
                  <a:gd name="connsiteX112" fmla="*/ 758058 w 867607"/>
                  <a:gd name="connsiteY112" fmla="*/ 381074 h 527292"/>
                  <a:gd name="connsiteX113" fmla="*/ 756846 w 867607"/>
                  <a:gd name="connsiteY113" fmla="*/ 391681 h 527292"/>
                  <a:gd name="connsiteX114" fmla="*/ 750937 w 867607"/>
                  <a:gd name="connsiteY114" fmla="*/ 397287 h 527292"/>
                  <a:gd name="connsiteX115" fmla="*/ 748058 w 867607"/>
                  <a:gd name="connsiteY115" fmla="*/ 398802 h 527292"/>
                  <a:gd name="connsiteX116" fmla="*/ 745937 w 867607"/>
                  <a:gd name="connsiteY116" fmla="*/ 400469 h 527292"/>
                  <a:gd name="connsiteX117" fmla="*/ 737755 w 867607"/>
                  <a:gd name="connsiteY117" fmla="*/ 404560 h 527292"/>
                  <a:gd name="connsiteX118" fmla="*/ 737148 w 867607"/>
                  <a:gd name="connsiteY118" fmla="*/ 405318 h 527292"/>
                  <a:gd name="connsiteX119" fmla="*/ 736845 w 867607"/>
                  <a:gd name="connsiteY119" fmla="*/ 406227 h 527292"/>
                  <a:gd name="connsiteX120" fmla="*/ 737452 w 867607"/>
                  <a:gd name="connsiteY120" fmla="*/ 406227 h 527292"/>
                  <a:gd name="connsiteX121" fmla="*/ 740331 w 867607"/>
                  <a:gd name="connsiteY121" fmla="*/ 404257 h 527292"/>
                  <a:gd name="connsiteX122" fmla="*/ 740633 w 867607"/>
                  <a:gd name="connsiteY122" fmla="*/ 404863 h 527292"/>
                  <a:gd name="connsiteX123" fmla="*/ 739724 w 867607"/>
                  <a:gd name="connsiteY123" fmla="*/ 406833 h 527292"/>
                  <a:gd name="connsiteX124" fmla="*/ 740027 w 867607"/>
                  <a:gd name="connsiteY124" fmla="*/ 407591 h 527292"/>
                  <a:gd name="connsiteX125" fmla="*/ 741391 w 867607"/>
                  <a:gd name="connsiteY125" fmla="*/ 407742 h 527292"/>
                  <a:gd name="connsiteX126" fmla="*/ 742149 w 867607"/>
                  <a:gd name="connsiteY126" fmla="*/ 409257 h 527292"/>
                  <a:gd name="connsiteX127" fmla="*/ 742300 w 867607"/>
                  <a:gd name="connsiteY127" fmla="*/ 411985 h 527292"/>
                  <a:gd name="connsiteX128" fmla="*/ 737755 w 867607"/>
                  <a:gd name="connsiteY128" fmla="*/ 414257 h 527292"/>
                  <a:gd name="connsiteX129" fmla="*/ 735179 w 867607"/>
                  <a:gd name="connsiteY129" fmla="*/ 416682 h 527292"/>
                  <a:gd name="connsiteX130" fmla="*/ 733360 w 867607"/>
                  <a:gd name="connsiteY130" fmla="*/ 416985 h 527292"/>
                  <a:gd name="connsiteX131" fmla="*/ 727754 w 867607"/>
                  <a:gd name="connsiteY131" fmla="*/ 416379 h 527292"/>
                  <a:gd name="connsiteX132" fmla="*/ 724724 w 867607"/>
                  <a:gd name="connsiteY132" fmla="*/ 414712 h 527292"/>
                  <a:gd name="connsiteX133" fmla="*/ 723966 w 867607"/>
                  <a:gd name="connsiteY133" fmla="*/ 413803 h 527292"/>
                  <a:gd name="connsiteX134" fmla="*/ 725633 w 867607"/>
                  <a:gd name="connsiteY134" fmla="*/ 412742 h 527292"/>
                  <a:gd name="connsiteX135" fmla="*/ 725633 w 867607"/>
                  <a:gd name="connsiteY135" fmla="*/ 411682 h 527292"/>
                  <a:gd name="connsiteX136" fmla="*/ 723057 w 867607"/>
                  <a:gd name="connsiteY136" fmla="*/ 409409 h 527292"/>
                  <a:gd name="connsiteX137" fmla="*/ 719572 w 867607"/>
                  <a:gd name="connsiteY137" fmla="*/ 409712 h 527292"/>
                  <a:gd name="connsiteX138" fmla="*/ 716542 w 867607"/>
                  <a:gd name="connsiteY138" fmla="*/ 410318 h 527292"/>
                  <a:gd name="connsiteX139" fmla="*/ 710329 w 867607"/>
                  <a:gd name="connsiteY139" fmla="*/ 410621 h 527292"/>
                  <a:gd name="connsiteX140" fmla="*/ 709117 w 867607"/>
                  <a:gd name="connsiteY140" fmla="*/ 410924 h 527292"/>
                  <a:gd name="connsiteX141" fmla="*/ 702905 w 867607"/>
                  <a:gd name="connsiteY141" fmla="*/ 412439 h 527292"/>
                  <a:gd name="connsiteX142" fmla="*/ 702450 w 867607"/>
                  <a:gd name="connsiteY142" fmla="*/ 413500 h 527292"/>
                  <a:gd name="connsiteX143" fmla="*/ 701390 w 867607"/>
                  <a:gd name="connsiteY143" fmla="*/ 414864 h 527292"/>
                  <a:gd name="connsiteX144" fmla="*/ 698208 w 867607"/>
                  <a:gd name="connsiteY144" fmla="*/ 416379 h 527292"/>
                  <a:gd name="connsiteX145" fmla="*/ 691541 w 867607"/>
                  <a:gd name="connsiteY145" fmla="*/ 417591 h 527292"/>
                  <a:gd name="connsiteX146" fmla="*/ 688813 w 867607"/>
                  <a:gd name="connsiteY146" fmla="*/ 416985 h 527292"/>
                  <a:gd name="connsiteX147" fmla="*/ 679874 w 867607"/>
                  <a:gd name="connsiteY147" fmla="*/ 417288 h 527292"/>
                  <a:gd name="connsiteX148" fmla="*/ 674116 w 867607"/>
                  <a:gd name="connsiteY148" fmla="*/ 419258 h 527292"/>
                  <a:gd name="connsiteX149" fmla="*/ 671085 w 867607"/>
                  <a:gd name="connsiteY149" fmla="*/ 420773 h 527292"/>
                  <a:gd name="connsiteX150" fmla="*/ 662449 w 867607"/>
                  <a:gd name="connsiteY150" fmla="*/ 423803 h 527292"/>
                  <a:gd name="connsiteX151" fmla="*/ 656842 w 867607"/>
                  <a:gd name="connsiteY151" fmla="*/ 424561 h 527292"/>
                  <a:gd name="connsiteX152" fmla="*/ 655024 w 867607"/>
                  <a:gd name="connsiteY152" fmla="*/ 424561 h 527292"/>
                  <a:gd name="connsiteX153" fmla="*/ 652600 w 867607"/>
                  <a:gd name="connsiteY153" fmla="*/ 424258 h 527292"/>
                  <a:gd name="connsiteX154" fmla="*/ 648964 w 867607"/>
                  <a:gd name="connsiteY154" fmla="*/ 419409 h 527292"/>
                  <a:gd name="connsiteX155" fmla="*/ 645781 w 867607"/>
                  <a:gd name="connsiteY155" fmla="*/ 414712 h 527292"/>
                  <a:gd name="connsiteX156" fmla="*/ 639872 w 867607"/>
                  <a:gd name="connsiteY156" fmla="*/ 413197 h 527292"/>
                  <a:gd name="connsiteX157" fmla="*/ 635327 w 867607"/>
                  <a:gd name="connsiteY157" fmla="*/ 409560 h 527292"/>
                  <a:gd name="connsiteX158" fmla="*/ 624872 w 867607"/>
                  <a:gd name="connsiteY158" fmla="*/ 409106 h 527292"/>
                  <a:gd name="connsiteX159" fmla="*/ 621084 w 867607"/>
                  <a:gd name="connsiteY159" fmla="*/ 407591 h 527292"/>
                  <a:gd name="connsiteX160" fmla="*/ 620478 w 867607"/>
                  <a:gd name="connsiteY160" fmla="*/ 407742 h 527292"/>
                  <a:gd name="connsiteX161" fmla="*/ 622296 w 867607"/>
                  <a:gd name="connsiteY161" fmla="*/ 408954 h 527292"/>
                  <a:gd name="connsiteX162" fmla="*/ 624417 w 867607"/>
                  <a:gd name="connsiteY162" fmla="*/ 409863 h 527292"/>
                  <a:gd name="connsiteX163" fmla="*/ 623053 w 867607"/>
                  <a:gd name="connsiteY163" fmla="*/ 409863 h 527292"/>
                  <a:gd name="connsiteX164" fmla="*/ 617750 w 867607"/>
                  <a:gd name="connsiteY164" fmla="*/ 408045 h 527292"/>
                  <a:gd name="connsiteX165" fmla="*/ 615023 w 867607"/>
                  <a:gd name="connsiteY165" fmla="*/ 406227 h 527292"/>
                  <a:gd name="connsiteX166" fmla="*/ 614871 w 867607"/>
                  <a:gd name="connsiteY166" fmla="*/ 405318 h 527292"/>
                  <a:gd name="connsiteX167" fmla="*/ 618053 w 867607"/>
                  <a:gd name="connsiteY167" fmla="*/ 406681 h 527292"/>
                  <a:gd name="connsiteX168" fmla="*/ 618962 w 867607"/>
                  <a:gd name="connsiteY168" fmla="*/ 406681 h 527292"/>
                  <a:gd name="connsiteX169" fmla="*/ 615326 w 867607"/>
                  <a:gd name="connsiteY169" fmla="*/ 404106 h 527292"/>
                  <a:gd name="connsiteX170" fmla="*/ 613356 w 867607"/>
                  <a:gd name="connsiteY170" fmla="*/ 399712 h 527292"/>
                  <a:gd name="connsiteX171" fmla="*/ 610932 w 867607"/>
                  <a:gd name="connsiteY171" fmla="*/ 398196 h 527292"/>
                  <a:gd name="connsiteX172" fmla="*/ 609568 w 867607"/>
                  <a:gd name="connsiteY172" fmla="*/ 395621 h 527292"/>
                  <a:gd name="connsiteX173" fmla="*/ 605022 w 867607"/>
                  <a:gd name="connsiteY173" fmla="*/ 391529 h 527292"/>
                  <a:gd name="connsiteX174" fmla="*/ 604265 w 867607"/>
                  <a:gd name="connsiteY174" fmla="*/ 387893 h 527292"/>
                  <a:gd name="connsiteX175" fmla="*/ 602750 w 867607"/>
                  <a:gd name="connsiteY175" fmla="*/ 385166 h 527292"/>
                  <a:gd name="connsiteX176" fmla="*/ 600325 w 867607"/>
                  <a:gd name="connsiteY176" fmla="*/ 376680 h 527292"/>
                  <a:gd name="connsiteX177" fmla="*/ 593355 w 867607"/>
                  <a:gd name="connsiteY177" fmla="*/ 367589 h 527292"/>
                  <a:gd name="connsiteX178" fmla="*/ 581991 w 867607"/>
                  <a:gd name="connsiteY178" fmla="*/ 355468 h 527292"/>
                  <a:gd name="connsiteX179" fmla="*/ 580173 w 867607"/>
                  <a:gd name="connsiteY179" fmla="*/ 352589 h 527292"/>
                  <a:gd name="connsiteX180" fmla="*/ 579870 w 867607"/>
                  <a:gd name="connsiteY180" fmla="*/ 350164 h 527292"/>
                  <a:gd name="connsiteX181" fmla="*/ 575476 w 867607"/>
                  <a:gd name="connsiteY181" fmla="*/ 341528 h 527292"/>
                  <a:gd name="connsiteX182" fmla="*/ 571536 w 867607"/>
                  <a:gd name="connsiteY182" fmla="*/ 333194 h 527292"/>
                  <a:gd name="connsiteX183" fmla="*/ 571536 w 867607"/>
                  <a:gd name="connsiteY183" fmla="*/ 332285 h 527292"/>
                  <a:gd name="connsiteX184" fmla="*/ 571233 w 867607"/>
                  <a:gd name="connsiteY184" fmla="*/ 330921 h 527292"/>
                  <a:gd name="connsiteX185" fmla="*/ 569870 w 867607"/>
                  <a:gd name="connsiteY185" fmla="*/ 330012 h 527292"/>
                  <a:gd name="connsiteX186" fmla="*/ 568960 w 867607"/>
                  <a:gd name="connsiteY186" fmla="*/ 329254 h 527292"/>
                  <a:gd name="connsiteX187" fmla="*/ 567900 w 867607"/>
                  <a:gd name="connsiteY187" fmla="*/ 327285 h 527292"/>
                  <a:gd name="connsiteX188" fmla="*/ 564718 w 867607"/>
                  <a:gd name="connsiteY188" fmla="*/ 315163 h 527292"/>
                  <a:gd name="connsiteX189" fmla="*/ 569264 w 867607"/>
                  <a:gd name="connsiteY189" fmla="*/ 322739 h 527292"/>
                  <a:gd name="connsiteX190" fmla="*/ 572900 w 867607"/>
                  <a:gd name="connsiteY190" fmla="*/ 326982 h 527292"/>
                  <a:gd name="connsiteX191" fmla="*/ 574870 w 867607"/>
                  <a:gd name="connsiteY191" fmla="*/ 328345 h 527292"/>
                  <a:gd name="connsiteX192" fmla="*/ 574870 w 867607"/>
                  <a:gd name="connsiteY192" fmla="*/ 329557 h 527292"/>
                  <a:gd name="connsiteX193" fmla="*/ 573809 w 867607"/>
                  <a:gd name="connsiteY193" fmla="*/ 331224 h 527292"/>
                  <a:gd name="connsiteX194" fmla="*/ 573506 w 867607"/>
                  <a:gd name="connsiteY194" fmla="*/ 334255 h 527292"/>
                  <a:gd name="connsiteX195" fmla="*/ 574264 w 867607"/>
                  <a:gd name="connsiteY195" fmla="*/ 336679 h 527292"/>
                  <a:gd name="connsiteX196" fmla="*/ 574870 w 867607"/>
                  <a:gd name="connsiteY196" fmla="*/ 333800 h 527292"/>
                  <a:gd name="connsiteX197" fmla="*/ 576233 w 867607"/>
                  <a:gd name="connsiteY197" fmla="*/ 331982 h 527292"/>
                  <a:gd name="connsiteX198" fmla="*/ 576839 w 867607"/>
                  <a:gd name="connsiteY198" fmla="*/ 328345 h 527292"/>
                  <a:gd name="connsiteX199" fmla="*/ 575627 w 867607"/>
                  <a:gd name="connsiteY199" fmla="*/ 326830 h 527292"/>
                  <a:gd name="connsiteX200" fmla="*/ 572294 w 867607"/>
                  <a:gd name="connsiteY200" fmla="*/ 324254 h 527292"/>
                  <a:gd name="connsiteX201" fmla="*/ 569567 w 867607"/>
                  <a:gd name="connsiteY201" fmla="*/ 321224 h 527292"/>
                  <a:gd name="connsiteX202" fmla="*/ 564718 w 867607"/>
                  <a:gd name="connsiteY202" fmla="*/ 312739 h 527292"/>
                  <a:gd name="connsiteX203" fmla="*/ 564263 w 867607"/>
                  <a:gd name="connsiteY203" fmla="*/ 307738 h 527292"/>
                  <a:gd name="connsiteX204" fmla="*/ 562597 w 867607"/>
                  <a:gd name="connsiteY204" fmla="*/ 301072 h 527292"/>
                  <a:gd name="connsiteX205" fmla="*/ 562597 w 867607"/>
                  <a:gd name="connsiteY205" fmla="*/ 299708 h 527292"/>
                  <a:gd name="connsiteX206" fmla="*/ 562142 w 867607"/>
                  <a:gd name="connsiteY206" fmla="*/ 297738 h 527292"/>
                  <a:gd name="connsiteX207" fmla="*/ 563203 w 867607"/>
                  <a:gd name="connsiteY207" fmla="*/ 293344 h 527292"/>
                  <a:gd name="connsiteX208" fmla="*/ 564869 w 867607"/>
                  <a:gd name="connsiteY208" fmla="*/ 290162 h 527292"/>
                  <a:gd name="connsiteX209" fmla="*/ 565172 w 867607"/>
                  <a:gd name="connsiteY209" fmla="*/ 288495 h 527292"/>
                  <a:gd name="connsiteX210" fmla="*/ 564566 w 867607"/>
                  <a:gd name="connsiteY210" fmla="*/ 278041 h 527292"/>
                  <a:gd name="connsiteX211" fmla="*/ 565627 w 867607"/>
                  <a:gd name="connsiteY211" fmla="*/ 265767 h 527292"/>
                  <a:gd name="connsiteX212" fmla="*/ 565172 w 867607"/>
                  <a:gd name="connsiteY212" fmla="*/ 265010 h 527292"/>
                  <a:gd name="connsiteX213" fmla="*/ 565627 w 867607"/>
                  <a:gd name="connsiteY213" fmla="*/ 264252 h 527292"/>
                  <a:gd name="connsiteX214" fmla="*/ 565930 w 867607"/>
                  <a:gd name="connsiteY214" fmla="*/ 258646 h 527292"/>
                  <a:gd name="connsiteX215" fmla="*/ 567294 w 867607"/>
                  <a:gd name="connsiteY215" fmla="*/ 246827 h 527292"/>
                  <a:gd name="connsiteX216" fmla="*/ 571688 w 867607"/>
                  <a:gd name="connsiteY216" fmla="*/ 228796 h 527292"/>
                  <a:gd name="connsiteX217" fmla="*/ 573961 w 867607"/>
                  <a:gd name="connsiteY217" fmla="*/ 222432 h 527292"/>
                  <a:gd name="connsiteX218" fmla="*/ 579415 w 867607"/>
                  <a:gd name="connsiteY218" fmla="*/ 212129 h 527292"/>
                  <a:gd name="connsiteX219" fmla="*/ 581082 w 867607"/>
                  <a:gd name="connsiteY219" fmla="*/ 207129 h 527292"/>
                  <a:gd name="connsiteX220" fmla="*/ 581537 w 867607"/>
                  <a:gd name="connsiteY220" fmla="*/ 201068 h 527292"/>
                  <a:gd name="connsiteX221" fmla="*/ 577900 w 867607"/>
                  <a:gd name="connsiteY221" fmla="*/ 201674 h 527292"/>
                  <a:gd name="connsiteX222" fmla="*/ 576385 w 867607"/>
                  <a:gd name="connsiteY222" fmla="*/ 202583 h 527292"/>
                  <a:gd name="connsiteX223" fmla="*/ 576082 w 867607"/>
                  <a:gd name="connsiteY223" fmla="*/ 203341 h 527292"/>
                  <a:gd name="connsiteX224" fmla="*/ 575779 w 867607"/>
                  <a:gd name="connsiteY224" fmla="*/ 203795 h 527292"/>
                  <a:gd name="connsiteX225" fmla="*/ 575324 w 867607"/>
                  <a:gd name="connsiteY225" fmla="*/ 203795 h 527292"/>
                  <a:gd name="connsiteX226" fmla="*/ 573506 w 867607"/>
                  <a:gd name="connsiteY226" fmla="*/ 203189 h 527292"/>
                  <a:gd name="connsiteX227" fmla="*/ 569415 w 867607"/>
                  <a:gd name="connsiteY227" fmla="*/ 200462 h 527292"/>
                  <a:gd name="connsiteX228" fmla="*/ 563506 w 867607"/>
                  <a:gd name="connsiteY228" fmla="*/ 198795 h 527292"/>
                  <a:gd name="connsiteX229" fmla="*/ 555778 w 867607"/>
                  <a:gd name="connsiteY229" fmla="*/ 198189 h 527292"/>
                  <a:gd name="connsiteX230" fmla="*/ 550475 w 867607"/>
                  <a:gd name="connsiteY230" fmla="*/ 196825 h 527292"/>
                  <a:gd name="connsiteX231" fmla="*/ 547596 w 867607"/>
                  <a:gd name="connsiteY231" fmla="*/ 194704 h 527292"/>
                  <a:gd name="connsiteX232" fmla="*/ 544717 w 867607"/>
                  <a:gd name="connsiteY232" fmla="*/ 193492 h 527292"/>
                  <a:gd name="connsiteX233" fmla="*/ 541687 w 867607"/>
                  <a:gd name="connsiteY233" fmla="*/ 193037 h 527292"/>
                  <a:gd name="connsiteX234" fmla="*/ 539111 w 867607"/>
                  <a:gd name="connsiteY234" fmla="*/ 191977 h 527292"/>
                  <a:gd name="connsiteX235" fmla="*/ 537141 w 867607"/>
                  <a:gd name="connsiteY235" fmla="*/ 190159 h 527292"/>
                  <a:gd name="connsiteX236" fmla="*/ 534262 w 867607"/>
                  <a:gd name="connsiteY236" fmla="*/ 188946 h 527292"/>
                  <a:gd name="connsiteX237" fmla="*/ 530323 w 867607"/>
                  <a:gd name="connsiteY237" fmla="*/ 188492 h 527292"/>
                  <a:gd name="connsiteX238" fmla="*/ 527747 w 867607"/>
                  <a:gd name="connsiteY238" fmla="*/ 187128 h 527292"/>
                  <a:gd name="connsiteX239" fmla="*/ 525929 w 867607"/>
                  <a:gd name="connsiteY239" fmla="*/ 183643 h 527292"/>
                  <a:gd name="connsiteX240" fmla="*/ 525929 w 867607"/>
                  <a:gd name="connsiteY240" fmla="*/ 183643 h 527292"/>
                  <a:gd name="connsiteX241" fmla="*/ 524413 w 867607"/>
                  <a:gd name="connsiteY241" fmla="*/ 177885 h 527292"/>
                  <a:gd name="connsiteX242" fmla="*/ 522444 w 867607"/>
                  <a:gd name="connsiteY242" fmla="*/ 174249 h 527292"/>
                  <a:gd name="connsiteX243" fmla="*/ 518656 w 867607"/>
                  <a:gd name="connsiteY243" fmla="*/ 169855 h 527292"/>
                  <a:gd name="connsiteX244" fmla="*/ 518353 w 867607"/>
                  <a:gd name="connsiteY244" fmla="*/ 169249 h 527292"/>
                  <a:gd name="connsiteX245" fmla="*/ 518353 w 867607"/>
                  <a:gd name="connsiteY245" fmla="*/ 169249 h 527292"/>
                  <a:gd name="connsiteX246" fmla="*/ 518353 w 867607"/>
                  <a:gd name="connsiteY246" fmla="*/ 168491 h 527292"/>
                  <a:gd name="connsiteX247" fmla="*/ 518807 w 867607"/>
                  <a:gd name="connsiteY247" fmla="*/ 165915 h 527292"/>
                  <a:gd name="connsiteX248" fmla="*/ 518353 w 867607"/>
                  <a:gd name="connsiteY248" fmla="*/ 164097 h 527292"/>
                  <a:gd name="connsiteX249" fmla="*/ 517140 w 867607"/>
                  <a:gd name="connsiteY249" fmla="*/ 162582 h 527292"/>
                  <a:gd name="connsiteX250" fmla="*/ 516837 w 867607"/>
                  <a:gd name="connsiteY250" fmla="*/ 160915 h 527292"/>
                  <a:gd name="connsiteX251" fmla="*/ 517443 w 867607"/>
                  <a:gd name="connsiteY251" fmla="*/ 159248 h 527292"/>
                  <a:gd name="connsiteX252" fmla="*/ 517443 w 867607"/>
                  <a:gd name="connsiteY252" fmla="*/ 157279 h 527292"/>
                  <a:gd name="connsiteX253" fmla="*/ 516837 w 867607"/>
                  <a:gd name="connsiteY253" fmla="*/ 154854 h 527292"/>
                  <a:gd name="connsiteX254" fmla="*/ 514413 w 867607"/>
                  <a:gd name="connsiteY254" fmla="*/ 152278 h 527292"/>
                  <a:gd name="connsiteX255" fmla="*/ 510019 w 867607"/>
                  <a:gd name="connsiteY255" fmla="*/ 149551 h 527292"/>
                  <a:gd name="connsiteX256" fmla="*/ 506382 w 867607"/>
                  <a:gd name="connsiteY256" fmla="*/ 145460 h 527292"/>
                  <a:gd name="connsiteX257" fmla="*/ 503352 w 867607"/>
                  <a:gd name="connsiteY257" fmla="*/ 140157 h 527292"/>
                  <a:gd name="connsiteX258" fmla="*/ 500322 w 867607"/>
                  <a:gd name="connsiteY258" fmla="*/ 136520 h 527292"/>
                  <a:gd name="connsiteX259" fmla="*/ 497291 w 867607"/>
                  <a:gd name="connsiteY259" fmla="*/ 134399 h 527292"/>
                  <a:gd name="connsiteX260" fmla="*/ 495321 w 867607"/>
                  <a:gd name="connsiteY260" fmla="*/ 131823 h 527292"/>
                  <a:gd name="connsiteX261" fmla="*/ 494261 w 867607"/>
                  <a:gd name="connsiteY261" fmla="*/ 128793 h 527292"/>
                  <a:gd name="connsiteX262" fmla="*/ 493958 w 867607"/>
                  <a:gd name="connsiteY262" fmla="*/ 127126 h 527292"/>
                  <a:gd name="connsiteX263" fmla="*/ 494412 w 867607"/>
                  <a:gd name="connsiteY263" fmla="*/ 126671 h 527292"/>
                  <a:gd name="connsiteX264" fmla="*/ 492594 w 867607"/>
                  <a:gd name="connsiteY264" fmla="*/ 123338 h 527292"/>
                  <a:gd name="connsiteX265" fmla="*/ 488503 w 867607"/>
                  <a:gd name="connsiteY265" fmla="*/ 117277 h 527292"/>
                  <a:gd name="connsiteX266" fmla="*/ 486079 w 867607"/>
                  <a:gd name="connsiteY266" fmla="*/ 112731 h 527292"/>
                  <a:gd name="connsiteX267" fmla="*/ 485472 w 867607"/>
                  <a:gd name="connsiteY267" fmla="*/ 109852 h 527292"/>
                  <a:gd name="connsiteX268" fmla="*/ 482897 w 867607"/>
                  <a:gd name="connsiteY268" fmla="*/ 106519 h 527292"/>
                  <a:gd name="connsiteX269" fmla="*/ 478200 w 867607"/>
                  <a:gd name="connsiteY269" fmla="*/ 102580 h 527292"/>
                  <a:gd name="connsiteX270" fmla="*/ 475624 w 867607"/>
                  <a:gd name="connsiteY270" fmla="*/ 100004 h 527292"/>
                  <a:gd name="connsiteX271" fmla="*/ 475018 w 867607"/>
                  <a:gd name="connsiteY271" fmla="*/ 98185 h 527292"/>
                  <a:gd name="connsiteX272" fmla="*/ 475018 w 867607"/>
                  <a:gd name="connsiteY272" fmla="*/ 98185 h 527292"/>
                  <a:gd name="connsiteX273" fmla="*/ 467745 w 867607"/>
                  <a:gd name="connsiteY273" fmla="*/ 93034 h 527292"/>
                  <a:gd name="connsiteX274" fmla="*/ 465623 w 867607"/>
                  <a:gd name="connsiteY274" fmla="*/ 89852 h 527292"/>
                  <a:gd name="connsiteX275" fmla="*/ 463957 w 867607"/>
                  <a:gd name="connsiteY275" fmla="*/ 88791 h 527292"/>
                  <a:gd name="connsiteX276" fmla="*/ 462138 w 867607"/>
                  <a:gd name="connsiteY276" fmla="*/ 88943 h 527292"/>
                  <a:gd name="connsiteX277" fmla="*/ 461229 w 867607"/>
                  <a:gd name="connsiteY277" fmla="*/ 88640 h 527292"/>
                  <a:gd name="connsiteX278" fmla="*/ 461229 w 867607"/>
                  <a:gd name="connsiteY278" fmla="*/ 87882 h 527292"/>
                  <a:gd name="connsiteX279" fmla="*/ 460623 w 867607"/>
                  <a:gd name="connsiteY279" fmla="*/ 87882 h 527292"/>
                  <a:gd name="connsiteX280" fmla="*/ 459411 w 867607"/>
                  <a:gd name="connsiteY280" fmla="*/ 88488 h 527292"/>
                  <a:gd name="connsiteX281" fmla="*/ 455623 w 867607"/>
                  <a:gd name="connsiteY281" fmla="*/ 88640 h 527292"/>
                  <a:gd name="connsiteX282" fmla="*/ 449108 w 867607"/>
                  <a:gd name="connsiteY282" fmla="*/ 88185 h 527292"/>
                  <a:gd name="connsiteX283" fmla="*/ 444410 w 867607"/>
                  <a:gd name="connsiteY283" fmla="*/ 87276 h 527292"/>
                  <a:gd name="connsiteX284" fmla="*/ 441532 w 867607"/>
                  <a:gd name="connsiteY284" fmla="*/ 85912 h 527292"/>
                  <a:gd name="connsiteX285" fmla="*/ 439562 w 867607"/>
                  <a:gd name="connsiteY285" fmla="*/ 86064 h 527292"/>
                  <a:gd name="connsiteX286" fmla="*/ 438349 w 867607"/>
                  <a:gd name="connsiteY286" fmla="*/ 87730 h 527292"/>
                  <a:gd name="connsiteX287" fmla="*/ 435925 w 867607"/>
                  <a:gd name="connsiteY287" fmla="*/ 88791 h 527292"/>
                  <a:gd name="connsiteX288" fmla="*/ 432137 w 867607"/>
                  <a:gd name="connsiteY288" fmla="*/ 89246 h 527292"/>
                  <a:gd name="connsiteX289" fmla="*/ 428804 w 867607"/>
                  <a:gd name="connsiteY289" fmla="*/ 92428 h 527292"/>
                  <a:gd name="connsiteX290" fmla="*/ 426076 w 867607"/>
                  <a:gd name="connsiteY290" fmla="*/ 98337 h 527292"/>
                  <a:gd name="connsiteX291" fmla="*/ 424864 w 867607"/>
                  <a:gd name="connsiteY291" fmla="*/ 102125 h 527292"/>
                  <a:gd name="connsiteX292" fmla="*/ 425167 w 867607"/>
                  <a:gd name="connsiteY292" fmla="*/ 103792 h 527292"/>
                  <a:gd name="connsiteX293" fmla="*/ 424410 w 867607"/>
                  <a:gd name="connsiteY293" fmla="*/ 105004 h 527292"/>
                  <a:gd name="connsiteX294" fmla="*/ 422591 w 867607"/>
                  <a:gd name="connsiteY294" fmla="*/ 105761 h 527292"/>
                  <a:gd name="connsiteX295" fmla="*/ 420773 w 867607"/>
                  <a:gd name="connsiteY295" fmla="*/ 107428 h 527292"/>
                  <a:gd name="connsiteX296" fmla="*/ 418955 w 867607"/>
                  <a:gd name="connsiteY296" fmla="*/ 110156 h 527292"/>
                  <a:gd name="connsiteX297" fmla="*/ 416834 w 867607"/>
                  <a:gd name="connsiteY297" fmla="*/ 111519 h 527292"/>
                  <a:gd name="connsiteX298" fmla="*/ 414409 w 867607"/>
                  <a:gd name="connsiteY298" fmla="*/ 111368 h 527292"/>
                  <a:gd name="connsiteX299" fmla="*/ 409864 w 867607"/>
                  <a:gd name="connsiteY299" fmla="*/ 109247 h 527292"/>
                  <a:gd name="connsiteX300" fmla="*/ 403197 w 867607"/>
                  <a:gd name="connsiteY300" fmla="*/ 105155 h 527292"/>
                  <a:gd name="connsiteX301" fmla="*/ 398045 w 867607"/>
                  <a:gd name="connsiteY301" fmla="*/ 102731 h 527292"/>
                  <a:gd name="connsiteX302" fmla="*/ 394257 w 867607"/>
                  <a:gd name="connsiteY302" fmla="*/ 101822 h 527292"/>
                  <a:gd name="connsiteX303" fmla="*/ 390924 w 867607"/>
                  <a:gd name="connsiteY303" fmla="*/ 100004 h 527292"/>
                  <a:gd name="connsiteX304" fmla="*/ 388045 w 867607"/>
                  <a:gd name="connsiteY304" fmla="*/ 97276 h 527292"/>
                  <a:gd name="connsiteX305" fmla="*/ 385469 w 867607"/>
                  <a:gd name="connsiteY305" fmla="*/ 95458 h 527292"/>
                  <a:gd name="connsiteX306" fmla="*/ 383045 w 867607"/>
                  <a:gd name="connsiteY306" fmla="*/ 94549 h 527292"/>
                  <a:gd name="connsiteX307" fmla="*/ 380166 w 867607"/>
                  <a:gd name="connsiteY307" fmla="*/ 91518 h 527292"/>
                  <a:gd name="connsiteX308" fmla="*/ 376984 w 867607"/>
                  <a:gd name="connsiteY308" fmla="*/ 86215 h 527292"/>
                  <a:gd name="connsiteX309" fmla="*/ 375317 w 867607"/>
                  <a:gd name="connsiteY309" fmla="*/ 82124 h 527292"/>
                  <a:gd name="connsiteX310" fmla="*/ 375317 w 867607"/>
                  <a:gd name="connsiteY310" fmla="*/ 77882 h 527292"/>
                  <a:gd name="connsiteX311" fmla="*/ 371074 w 867607"/>
                  <a:gd name="connsiteY311" fmla="*/ 68487 h 527292"/>
                  <a:gd name="connsiteX312" fmla="*/ 368802 w 867607"/>
                  <a:gd name="connsiteY312" fmla="*/ 64396 h 527292"/>
                  <a:gd name="connsiteX313" fmla="*/ 367135 w 867607"/>
                  <a:gd name="connsiteY313" fmla="*/ 62578 h 527292"/>
                  <a:gd name="connsiteX314" fmla="*/ 363801 w 867607"/>
                  <a:gd name="connsiteY314" fmla="*/ 60305 h 527292"/>
                  <a:gd name="connsiteX315" fmla="*/ 358953 w 867607"/>
                  <a:gd name="connsiteY315" fmla="*/ 57729 h 527292"/>
                  <a:gd name="connsiteX316" fmla="*/ 352437 w 867607"/>
                  <a:gd name="connsiteY316" fmla="*/ 52578 h 527292"/>
                  <a:gd name="connsiteX317" fmla="*/ 344255 w 867607"/>
                  <a:gd name="connsiteY317" fmla="*/ 44699 h 527292"/>
                  <a:gd name="connsiteX318" fmla="*/ 338497 w 867607"/>
                  <a:gd name="connsiteY318" fmla="*/ 40001 h 527292"/>
                  <a:gd name="connsiteX319" fmla="*/ 335164 w 867607"/>
                  <a:gd name="connsiteY319" fmla="*/ 38335 h 527292"/>
                  <a:gd name="connsiteX320" fmla="*/ 332285 w 867607"/>
                  <a:gd name="connsiteY320" fmla="*/ 35456 h 527292"/>
                  <a:gd name="connsiteX321" fmla="*/ 329861 w 867607"/>
                  <a:gd name="connsiteY321" fmla="*/ 31365 h 527292"/>
                  <a:gd name="connsiteX322" fmla="*/ 327436 w 867607"/>
                  <a:gd name="connsiteY322" fmla="*/ 28789 h 527292"/>
                  <a:gd name="connsiteX323" fmla="*/ 327133 w 867607"/>
                  <a:gd name="connsiteY323" fmla="*/ 28637 h 527292"/>
                  <a:gd name="connsiteX324" fmla="*/ 326982 w 867607"/>
                  <a:gd name="connsiteY324" fmla="*/ 28637 h 527292"/>
                  <a:gd name="connsiteX325" fmla="*/ 320921 w 867607"/>
                  <a:gd name="connsiteY325" fmla="*/ 28637 h 527292"/>
                  <a:gd name="connsiteX326" fmla="*/ 314860 w 867607"/>
                  <a:gd name="connsiteY326" fmla="*/ 28637 h 527292"/>
                  <a:gd name="connsiteX327" fmla="*/ 308799 w 867607"/>
                  <a:gd name="connsiteY327" fmla="*/ 28637 h 527292"/>
                  <a:gd name="connsiteX328" fmla="*/ 302738 w 867607"/>
                  <a:gd name="connsiteY328" fmla="*/ 28637 h 527292"/>
                  <a:gd name="connsiteX329" fmla="*/ 296678 w 867607"/>
                  <a:gd name="connsiteY329" fmla="*/ 28637 h 527292"/>
                  <a:gd name="connsiteX330" fmla="*/ 290617 w 867607"/>
                  <a:gd name="connsiteY330" fmla="*/ 28637 h 527292"/>
                  <a:gd name="connsiteX331" fmla="*/ 284556 w 867607"/>
                  <a:gd name="connsiteY331" fmla="*/ 28637 h 527292"/>
                  <a:gd name="connsiteX332" fmla="*/ 278495 w 867607"/>
                  <a:gd name="connsiteY332" fmla="*/ 28637 h 527292"/>
                  <a:gd name="connsiteX333" fmla="*/ 278495 w 867607"/>
                  <a:gd name="connsiteY333" fmla="*/ 31971 h 527292"/>
                  <a:gd name="connsiteX334" fmla="*/ 278495 w 867607"/>
                  <a:gd name="connsiteY334" fmla="*/ 35304 h 527292"/>
                  <a:gd name="connsiteX335" fmla="*/ 278495 w 867607"/>
                  <a:gd name="connsiteY335" fmla="*/ 38638 h 527292"/>
                  <a:gd name="connsiteX336" fmla="*/ 278495 w 867607"/>
                  <a:gd name="connsiteY336" fmla="*/ 41971 h 527292"/>
                  <a:gd name="connsiteX337" fmla="*/ 268798 w 867607"/>
                  <a:gd name="connsiteY337" fmla="*/ 41971 h 527292"/>
                  <a:gd name="connsiteX338" fmla="*/ 259101 w 867607"/>
                  <a:gd name="connsiteY338" fmla="*/ 41971 h 527292"/>
                  <a:gd name="connsiteX339" fmla="*/ 249403 w 867607"/>
                  <a:gd name="connsiteY339" fmla="*/ 41971 h 527292"/>
                  <a:gd name="connsiteX340" fmla="*/ 239706 w 867607"/>
                  <a:gd name="connsiteY340" fmla="*/ 41971 h 527292"/>
                  <a:gd name="connsiteX341" fmla="*/ 230008 w 867607"/>
                  <a:gd name="connsiteY341" fmla="*/ 41971 h 527292"/>
                  <a:gd name="connsiteX342" fmla="*/ 220311 w 867607"/>
                  <a:gd name="connsiteY342" fmla="*/ 41971 h 527292"/>
                  <a:gd name="connsiteX343" fmla="*/ 210614 w 867607"/>
                  <a:gd name="connsiteY343" fmla="*/ 41971 h 527292"/>
                  <a:gd name="connsiteX344" fmla="*/ 200916 w 867607"/>
                  <a:gd name="connsiteY344" fmla="*/ 41971 h 527292"/>
                  <a:gd name="connsiteX345" fmla="*/ 187886 w 867607"/>
                  <a:gd name="connsiteY345" fmla="*/ 37577 h 527292"/>
                  <a:gd name="connsiteX346" fmla="*/ 174855 w 867607"/>
                  <a:gd name="connsiteY346" fmla="*/ 33183 h 527292"/>
                  <a:gd name="connsiteX347" fmla="*/ 161824 w 867607"/>
                  <a:gd name="connsiteY347" fmla="*/ 28789 h 527292"/>
                  <a:gd name="connsiteX348" fmla="*/ 148793 w 867607"/>
                  <a:gd name="connsiteY348" fmla="*/ 24395 h 527292"/>
                  <a:gd name="connsiteX349" fmla="*/ 135763 w 867607"/>
                  <a:gd name="connsiteY349" fmla="*/ 19849 h 527292"/>
                  <a:gd name="connsiteX350" fmla="*/ 122732 w 867607"/>
                  <a:gd name="connsiteY350" fmla="*/ 15304 h 527292"/>
                  <a:gd name="connsiteX351" fmla="*/ 109701 w 867607"/>
                  <a:gd name="connsiteY351" fmla="*/ 10758 h 527292"/>
                  <a:gd name="connsiteX352" fmla="*/ 96670 w 867607"/>
                  <a:gd name="connsiteY352" fmla="*/ 6212 h 527292"/>
                  <a:gd name="connsiteX353" fmla="*/ 98034 w 867607"/>
                  <a:gd name="connsiteY353" fmla="*/ 4546 h 527292"/>
                  <a:gd name="connsiteX354" fmla="*/ 99701 w 867607"/>
                  <a:gd name="connsiteY354" fmla="*/ 0 h 527292"/>
                  <a:gd name="connsiteX355" fmla="*/ 96519 w 867607"/>
                  <a:gd name="connsiteY355" fmla="*/ 303 h 527292"/>
                  <a:gd name="connsiteX356" fmla="*/ 88640 w 867607"/>
                  <a:gd name="connsiteY356" fmla="*/ 909 h 527292"/>
                  <a:gd name="connsiteX357" fmla="*/ 80760 w 867607"/>
                  <a:gd name="connsiteY357" fmla="*/ 1515 h 527292"/>
                  <a:gd name="connsiteX358" fmla="*/ 72881 w 867607"/>
                  <a:gd name="connsiteY358" fmla="*/ 2121 h 527292"/>
                  <a:gd name="connsiteX359" fmla="*/ 65002 w 867607"/>
                  <a:gd name="connsiteY359" fmla="*/ 2727 h 527292"/>
                  <a:gd name="connsiteX360" fmla="*/ 57123 w 867607"/>
                  <a:gd name="connsiteY360" fmla="*/ 3333 h 527292"/>
                  <a:gd name="connsiteX361" fmla="*/ 49244 w 867607"/>
                  <a:gd name="connsiteY361" fmla="*/ 3939 h 527292"/>
                  <a:gd name="connsiteX362" fmla="*/ 41365 w 867607"/>
                  <a:gd name="connsiteY362" fmla="*/ 4546 h 527292"/>
                  <a:gd name="connsiteX363" fmla="*/ 33486 w 867607"/>
                  <a:gd name="connsiteY363" fmla="*/ 5152 h 527292"/>
                  <a:gd name="connsiteX364" fmla="*/ 35304 w 867607"/>
                  <a:gd name="connsiteY364" fmla="*/ 10910 h 527292"/>
                  <a:gd name="connsiteX365" fmla="*/ 36062 w 867607"/>
                  <a:gd name="connsiteY365" fmla="*/ 12122 h 527292"/>
                  <a:gd name="connsiteX366" fmla="*/ 39395 w 867607"/>
                  <a:gd name="connsiteY366" fmla="*/ 15304 h 527292"/>
                  <a:gd name="connsiteX367" fmla="*/ 41214 w 867607"/>
                  <a:gd name="connsiteY367" fmla="*/ 21364 h 527292"/>
                  <a:gd name="connsiteX368" fmla="*/ 47426 w 867607"/>
                  <a:gd name="connsiteY368" fmla="*/ 25758 h 527292"/>
                  <a:gd name="connsiteX369" fmla="*/ 47274 w 867607"/>
                  <a:gd name="connsiteY369" fmla="*/ 28637 h 527292"/>
                  <a:gd name="connsiteX370" fmla="*/ 46517 w 867607"/>
                  <a:gd name="connsiteY370" fmla="*/ 29243 h 527292"/>
                  <a:gd name="connsiteX371" fmla="*/ 45153 w 867607"/>
                  <a:gd name="connsiteY371" fmla="*/ 29092 h 527292"/>
                  <a:gd name="connsiteX372" fmla="*/ 44547 w 867607"/>
                  <a:gd name="connsiteY372" fmla="*/ 29395 h 527292"/>
                  <a:gd name="connsiteX373" fmla="*/ 46062 w 867607"/>
                  <a:gd name="connsiteY373" fmla="*/ 30456 h 527292"/>
                  <a:gd name="connsiteX374" fmla="*/ 46214 w 867607"/>
                  <a:gd name="connsiteY374" fmla="*/ 34547 h 527292"/>
                  <a:gd name="connsiteX375" fmla="*/ 47578 w 867607"/>
                  <a:gd name="connsiteY375" fmla="*/ 36517 h 527292"/>
                  <a:gd name="connsiteX376" fmla="*/ 51669 w 867607"/>
                  <a:gd name="connsiteY376" fmla="*/ 40607 h 527292"/>
                  <a:gd name="connsiteX377" fmla="*/ 55154 w 867607"/>
                  <a:gd name="connsiteY377" fmla="*/ 45305 h 527292"/>
                  <a:gd name="connsiteX378" fmla="*/ 55760 w 867607"/>
                  <a:gd name="connsiteY378" fmla="*/ 47577 h 527292"/>
                  <a:gd name="connsiteX379" fmla="*/ 55760 w 867607"/>
                  <a:gd name="connsiteY379" fmla="*/ 49850 h 527292"/>
                  <a:gd name="connsiteX380" fmla="*/ 56063 w 867607"/>
                  <a:gd name="connsiteY380" fmla="*/ 52275 h 527292"/>
                  <a:gd name="connsiteX381" fmla="*/ 62426 w 867607"/>
                  <a:gd name="connsiteY381" fmla="*/ 57275 h 527292"/>
                  <a:gd name="connsiteX382" fmla="*/ 63184 w 867607"/>
                  <a:gd name="connsiteY382" fmla="*/ 60305 h 527292"/>
                  <a:gd name="connsiteX383" fmla="*/ 63336 w 867607"/>
                  <a:gd name="connsiteY383" fmla="*/ 64548 h 527292"/>
                  <a:gd name="connsiteX384" fmla="*/ 64245 w 867607"/>
                  <a:gd name="connsiteY384" fmla="*/ 68942 h 527292"/>
                  <a:gd name="connsiteX385" fmla="*/ 68033 w 867607"/>
                  <a:gd name="connsiteY385" fmla="*/ 70609 h 527292"/>
                  <a:gd name="connsiteX386" fmla="*/ 69245 w 867607"/>
                  <a:gd name="connsiteY386" fmla="*/ 72275 h 527292"/>
                  <a:gd name="connsiteX387" fmla="*/ 70003 w 867607"/>
                  <a:gd name="connsiteY387" fmla="*/ 78791 h 527292"/>
                  <a:gd name="connsiteX388" fmla="*/ 69548 w 867607"/>
                  <a:gd name="connsiteY388" fmla="*/ 82427 h 527292"/>
                  <a:gd name="connsiteX389" fmla="*/ 71215 w 867607"/>
                  <a:gd name="connsiteY389" fmla="*/ 83185 h 527292"/>
                  <a:gd name="connsiteX390" fmla="*/ 73336 w 867607"/>
                  <a:gd name="connsiteY390" fmla="*/ 88488 h 527292"/>
                  <a:gd name="connsiteX391" fmla="*/ 76366 w 867607"/>
                  <a:gd name="connsiteY391" fmla="*/ 90761 h 527292"/>
                  <a:gd name="connsiteX392" fmla="*/ 83336 w 867607"/>
                  <a:gd name="connsiteY392" fmla="*/ 95155 h 527292"/>
                  <a:gd name="connsiteX393" fmla="*/ 87276 w 867607"/>
                  <a:gd name="connsiteY393" fmla="*/ 98337 h 527292"/>
                  <a:gd name="connsiteX394" fmla="*/ 91973 w 867607"/>
                  <a:gd name="connsiteY394" fmla="*/ 99549 h 527292"/>
                  <a:gd name="connsiteX395" fmla="*/ 93488 w 867607"/>
                  <a:gd name="connsiteY395" fmla="*/ 100458 h 527292"/>
                  <a:gd name="connsiteX396" fmla="*/ 95155 w 867607"/>
                  <a:gd name="connsiteY396" fmla="*/ 102580 h 527292"/>
                  <a:gd name="connsiteX397" fmla="*/ 100913 w 867607"/>
                  <a:gd name="connsiteY397" fmla="*/ 108186 h 527292"/>
                  <a:gd name="connsiteX398" fmla="*/ 110610 w 867607"/>
                  <a:gd name="connsiteY398" fmla="*/ 118944 h 527292"/>
                  <a:gd name="connsiteX399" fmla="*/ 115156 w 867607"/>
                  <a:gd name="connsiteY399" fmla="*/ 122580 h 527292"/>
                  <a:gd name="connsiteX400" fmla="*/ 117883 w 867607"/>
                  <a:gd name="connsiteY400" fmla="*/ 127883 h 527292"/>
                  <a:gd name="connsiteX401" fmla="*/ 116671 w 867607"/>
                  <a:gd name="connsiteY401" fmla="*/ 133944 h 527292"/>
                  <a:gd name="connsiteX402" fmla="*/ 114095 w 867607"/>
                  <a:gd name="connsiteY402" fmla="*/ 140005 h 527292"/>
                  <a:gd name="connsiteX403" fmla="*/ 111822 w 867607"/>
                  <a:gd name="connsiteY403" fmla="*/ 142278 h 527292"/>
                  <a:gd name="connsiteX404" fmla="*/ 112125 w 867607"/>
                  <a:gd name="connsiteY404" fmla="*/ 143036 h 527292"/>
                  <a:gd name="connsiteX405" fmla="*/ 114701 w 867607"/>
                  <a:gd name="connsiteY405" fmla="*/ 142732 h 527292"/>
                  <a:gd name="connsiteX406" fmla="*/ 114701 w 867607"/>
                  <a:gd name="connsiteY406" fmla="*/ 144248 h 527292"/>
                  <a:gd name="connsiteX407" fmla="*/ 114247 w 867607"/>
                  <a:gd name="connsiteY407" fmla="*/ 145308 h 527292"/>
                  <a:gd name="connsiteX408" fmla="*/ 115307 w 867607"/>
                  <a:gd name="connsiteY408" fmla="*/ 148339 h 527292"/>
                  <a:gd name="connsiteX409" fmla="*/ 117125 w 867607"/>
                  <a:gd name="connsiteY409" fmla="*/ 149854 h 527292"/>
                  <a:gd name="connsiteX410" fmla="*/ 115307 w 867607"/>
                  <a:gd name="connsiteY410" fmla="*/ 150005 h 527292"/>
                  <a:gd name="connsiteX411" fmla="*/ 112731 w 867607"/>
                  <a:gd name="connsiteY411" fmla="*/ 148642 h 527292"/>
                  <a:gd name="connsiteX412" fmla="*/ 110762 w 867607"/>
                  <a:gd name="connsiteY412" fmla="*/ 146975 h 527292"/>
                  <a:gd name="connsiteX413" fmla="*/ 111065 w 867607"/>
                  <a:gd name="connsiteY413" fmla="*/ 145157 h 527292"/>
                  <a:gd name="connsiteX414" fmla="*/ 110762 w 867607"/>
                  <a:gd name="connsiteY414" fmla="*/ 144096 h 527292"/>
                  <a:gd name="connsiteX415" fmla="*/ 108792 w 867607"/>
                  <a:gd name="connsiteY415" fmla="*/ 145005 h 527292"/>
                  <a:gd name="connsiteX416" fmla="*/ 106671 w 867607"/>
                  <a:gd name="connsiteY416" fmla="*/ 146369 h 527292"/>
                  <a:gd name="connsiteX417" fmla="*/ 103337 w 867607"/>
                  <a:gd name="connsiteY417" fmla="*/ 146824 h 527292"/>
                  <a:gd name="connsiteX418" fmla="*/ 96367 w 867607"/>
                  <a:gd name="connsiteY418" fmla="*/ 145460 h 527292"/>
                  <a:gd name="connsiteX419" fmla="*/ 90609 w 867607"/>
                  <a:gd name="connsiteY419" fmla="*/ 145157 h 527292"/>
                  <a:gd name="connsiteX420" fmla="*/ 90761 w 867607"/>
                  <a:gd name="connsiteY420" fmla="*/ 146369 h 527292"/>
                  <a:gd name="connsiteX421" fmla="*/ 91822 w 867607"/>
                  <a:gd name="connsiteY421" fmla="*/ 148187 h 527292"/>
                  <a:gd name="connsiteX422" fmla="*/ 95458 w 867607"/>
                  <a:gd name="connsiteY422" fmla="*/ 150460 h 527292"/>
                  <a:gd name="connsiteX423" fmla="*/ 99398 w 867607"/>
                  <a:gd name="connsiteY423" fmla="*/ 153945 h 527292"/>
                  <a:gd name="connsiteX424" fmla="*/ 104246 w 867607"/>
                  <a:gd name="connsiteY424" fmla="*/ 157127 h 527292"/>
                  <a:gd name="connsiteX425" fmla="*/ 105458 w 867607"/>
                  <a:gd name="connsiteY425" fmla="*/ 158794 h 527292"/>
                  <a:gd name="connsiteX426" fmla="*/ 105913 w 867607"/>
                  <a:gd name="connsiteY426" fmla="*/ 161521 h 527292"/>
                  <a:gd name="connsiteX427" fmla="*/ 106822 w 867607"/>
                  <a:gd name="connsiteY427" fmla="*/ 163491 h 527292"/>
                  <a:gd name="connsiteX428" fmla="*/ 109853 w 867607"/>
                  <a:gd name="connsiteY428" fmla="*/ 165309 h 527292"/>
                  <a:gd name="connsiteX429" fmla="*/ 113489 w 867607"/>
                  <a:gd name="connsiteY429" fmla="*/ 165764 h 527292"/>
                  <a:gd name="connsiteX430" fmla="*/ 116065 w 867607"/>
                  <a:gd name="connsiteY430" fmla="*/ 166824 h 527292"/>
                  <a:gd name="connsiteX431" fmla="*/ 119247 w 867607"/>
                  <a:gd name="connsiteY431" fmla="*/ 170309 h 527292"/>
                  <a:gd name="connsiteX432" fmla="*/ 120914 w 867607"/>
                  <a:gd name="connsiteY432" fmla="*/ 170309 h 527292"/>
                  <a:gd name="connsiteX433" fmla="*/ 123489 w 867607"/>
                  <a:gd name="connsiteY433" fmla="*/ 170915 h 527292"/>
                  <a:gd name="connsiteX434" fmla="*/ 125762 w 867607"/>
                  <a:gd name="connsiteY434" fmla="*/ 173643 h 527292"/>
                  <a:gd name="connsiteX435" fmla="*/ 127277 w 867607"/>
                  <a:gd name="connsiteY435" fmla="*/ 175916 h 527292"/>
                  <a:gd name="connsiteX436" fmla="*/ 130156 w 867607"/>
                  <a:gd name="connsiteY436" fmla="*/ 178037 h 527292"/>
                  <a:gd name="connsiteX437" fmla="*/ 134853 w 867607"/>
                  <a:gd name="connsiteY437" fmla="*/ 175916 h 527292"/>
                  <a:gd name="connsiteX438" fmla="*/ 139096 w 867607"/>
                  <a:gd name="connsiteY438" fmla="*/ 176067 h 527292"/>
                  <a:gd name="connsiteX439" fmla="*/ 140914 w 867607"/>
                  <a:gd name="connsiteY439" fmla="*/ 174097 h 527292"/>
                  <a:gd name="connsiteX440" fmla="*/ 142278 w 867607"/>
                  <a:gd name="connsiteY440" fmla="*/ 171521 h 527292"/>
                  <a:gd name="connsiteX441" fmla="*/ 142581 w 867607"/>
                  <a:gd name="connsiteY441" fmla="*/ 176067 h 527292"/>
                  <a:gd name="connsiteX442" fmla="*/ 143187 w 867607"/>
                  <a:gd name="connsiteY442" fmla="*/ 178340 h 527292"/>
                  <a:gd name="connsiteX443" fmla="*/ 145914 w 867607"/>
                  <a:gd name="connsiteY443" fmla="*/ 182279 h 527292"/>
                  <a:gd name="connsiteX444" fmla="*/ 155763 w 867607"/>
                  <a:gd name="connsiteY444" fmla="*/ 190007 h 527292"/>
                  <a:gd name="connsiteX445" fmla="*/ 159400 w 867607"/>
                  <a:gd name="connsiteY445" fmla="*/ 191219 h 527292"/>
                  <a:gd name="connsiteX446" fmla="*/ 163491 w 867607"/>
                  <a:gd name="connsiteY446" fmla="*/ 192886 h 527292"/>
                  <a:gd name="connsiteX447" fmla="*/ 169097 w 867607"/>
                  <a:gd name="connsiteY447" fmla="*/ 201674 h 527292"/>
                  <a:gd name="connsiteX448" fmla="*/ 170612 w 867607"/>
                  <a:gd name="connsiteY448" fmla="*/ 205917 h 527292"/>
                  <a:gd name="connsiteX449" fmla="*/ 170764 w 867607"/>
                  <a:gd name="connsiteY449" fmla="*/ 209856 h 527292"/>
                  <a:gd name="connsiteX450" fmla="*/ 171370 w 867607"/>
                  <a:gd name="connsiteY450" fmla="*/ 211220 h 527292"/>
                  <a:gd name="connsiteX451" fmla="*/ 171976 w 867607"/>
                  <a:gd name="connsiteY451" fmla="*/ 211523 h 527292"/>
                  <a:gd name="connsiteX452" fmla="*/ 172431 w 867607"/>
                  <a:gd name="connsiteY452" fmla="*/ 213947 h 527292"/>
                  <a:gd name="connsiteX453" fmla="*/ 171825 w 867607"/>
                  <a:gd name="connsiteY453" fmla="*/ 218644 h 527292"/>
                  <a:gd name="connsiteX454" fmla="*/ 170461 w 867607"/>
                  <a:gd name="connsiteY454" fmla="*/ 226826 h 527292"/>
                  <a:gd name="connsiteX455" fmla="*/ 170764 w 867607"/>
                  <a:gd name="connsiteY455" fmla="*/ 230008 h 527292"/>
                  <a:gd name="connsiteX456" fmla="*/ 171976 w 867607"/>
                  <a:gd name="connsiteY456" fmla="*/ 232736 h 527292"/>
                  <a:gd name="connsiteX457" fmla="*/ 178188 w 867607"/>
                  <a:gd name="connsiteY457" fmla="*/ 237584 h 527292"/>
                  <a:gd name="connsiteX458" fmla="*/ 178794 w 867607"/>
                  <a:gd name="connsiteY458" fmla="*/ 238645 h 527292"/>
                  <a:gd name="connsiteX459" fmla="*/ 178946 w 867607"/>
                  <a:gd name="connsiteY459" fmla="*/ 240312 h 527292"/>
                  <a:gd name="connsiteX460" fmla="*/ 179552 w 867607"/>
                  <a:gd name="connsiteY460" fmla="*/ 241221 h 527292"/>
                  <a:gd name="connsiteX461" fmla="*/ 180916 w 867607"/>
                  <a:gd name="connsiteY461" fmla="*/ 240918 h 527292"/>
                  <a:gd name="connsiteX462" fmla="*/ 182734 w 867607"/>
                  <a:gd name="connsiteY462" fmla="*/ 240918 h 527292"/>
                  <a:gd name="connsiteX463" fmla="*/ 185613 w 867607"/>
                  <a:gd name="connsiteY463" fmla="*/ 244251 h 527292"/>
                  <a:gd name="connsiteX464" fmla="*/ 190007 w 867607"/>
                  <a:gd name="connsiteY464" fmla="*/ 247585 h 527292"/>
                  <a:gd name="connsiteX465" fmla="*/ 200462 w 867607"/>
                  <a:gd name="connsiteY465" fmla="*/ 254100 h 527292"/>
                  <a:gd name="connsiteX466" fmla="*/ 204250 w 867607"/>
                  <a:gd name="connsiteY466" fmla="*/ 258040 h 527292"/>
                  <a:gd name="connsiteX467" fmla="*/ 207886 w 867607"/>
                  <a:gd name="connsiteY467" fmla="*/ 260767 h 527292"/>
                  <a:gd name="connsiteX468" fmla="*/ 211523 w 867607"/>
                  <a:gd name="connsiteY468" fmla="*/ 264858 h 527292"/>
                  <a:gd name="connsiteX469" fmla="*/ 218796 w 867607"/>
                  <a:gd name="connsiteY469" fmla="*/ 268646 h 527292"/>
                  <a:gd name="connsiteX470" fmla="*/ 220766 w 867607"/>
                  <a:gd name="connsiteY470" fmla="*/ 271222 h 527292"/>
                  <a:gd name="connsiteX471" fmla="*/ 221978 w 867607"/>
                  <a:gd name="connsiteY471" fmla="*/ 274253 h 527292"/>
                  <a:gd name="connsiteX472" fmla="*/ 223645 w 867607"/>
                  <a:gd name="connsiteY472" fmla="*/ 276222 h 527292"/>
                  <a:gd name="connsiteX473" fmla="*/ 226220 w 867607"/>
                  <a:gd name="connsiteY473" fmla="*/ 285919 h 527292"/>
                  <a:gd name="connsiteX474" fmla="*/ 228342 w 867607"/>
                  <a:gd name="connsiteY474" fmla="*/ 289101 h 527292"/>
                  <a:gd name="connsiteX475" fmla="*/ 230615 w 867607"/>
                  <a:gd name="connsiteY475" fmla="*/ 289405 h 527292"/>
                  <a:gd name="connsiteX476" fmla="*/ 233342 w 867607"/>
                  <a:gd name="connsiteY476" fmla="*/ 288344 h 527292"/>
                  <a:gd name="connsiteX477" fmla="*/ 235918 w 867607"/>
                  <a:gd name="connsiteY477" fmla="*/ 286677 h 527292"/>
                  <a:gd name="connsiteX478" fmla="*/ 238645 w 867607"/>
                  <a:gd name="connsiteY478" fmla="*/ 283950 h 527292"/>
                  <a:gd name="connsiteX479" fmla="*/ 242282 w 867607"/>
                  <a:gd name="connsiteY479" fmla="*/ 281677 h 527292"/>
                  <a:gd name="connsiteX480" fmla="*/ 243342 w 867607"/>
                  <a:gd name="connsiteY480" fmla="*/ 280162 h 527292"/>
                  <a:gd name="connsiteX481" fmla="*/ 244555 w 867607"/>
                  <a:gd name="connsiteY481" fmla="*/ 274707 h 527292"/>
                  <a:gd name="connsiteX482" fmla="*/ 244403 w 867607"/>
                  <a:gd name="connsiteY482" fmla="*/ 272586 h 527292"/>
                  <a:gd name="connsiteX483" fmla="*/ 241979 w 867607"/>
                  <a:gd name="connsiteY483" fmla="*/ 269252 h 527292"/>
                  <a:gd name="connsiteX484" fmla="*/ 237433 w 867607"/>
                  <a:gd name="connsiteY484" fmla="*/ 267434 h 527292"/>
                  <a:gd name="connsiteX485" fmla="*/ 236524 w 867607"/>
                  <a:gd name="connsiteY485" fmla="*/ 263343 h 527292"/>
                  <a:gd name="connsiteX486" fmla="*/ 234706 w 867607"/>
                  <a:gd name="connsiteY486" fmla="*/ 261525 h 527292"/>
                  <a:gd name="connsiteX487" fmla="*/ 233796 w 867607"/>
                  <a:gd name="connsiteY487" fmla="*/ 259403 h 527292"/>
                  <a:gd name="connsiteX488" fmla="*/ 231524 w 867607"/>
                  <a:gd name="connsiteY488" fmla="*/ 256676 h 527292"/>
                  <a:gd name="connsiteX489" fmla="*/ 229099 w 867607"/>
                  <a:gd name="connsiteY489" fmla="*/ 254403 h 527292"/>
                  <a:gd name="connsiteX490" fmla="*/ 228039 w 867607"/>
                  <a:gd name="connsiteY490" fmla="*/ 252585 h 527292"/>
                  <a:gd name="connsiteX491" fmla="*/ 221523 w 867607"/>
                  <a:gd name="connsiteY491" fmla="*/ 247736 h 527292"/>
                  <a:gd name="connsiteX492" fmla="*/ 220463 w 867607"/>
                  <a:gd name="connsiteY492" fmla="*/ 247888 h 527292"/>
                  <a:gd name="connsiteX493" fmla="*/ 219857 w 867607"/>
                  <a:gd name="connsiteY493" fmla="*/ 248797 h 527292"/>
                  <a:gd name="connsiteX494" fmla="*/ 220008 w 867607"/>
                  <a:gd name="connsiteY494" fmla="*/ 250161 h 527292"/>
                  <a:gd name="connsiteX495" fmla="*/ 220614 w 867607"/>
                  <a:gd name="connsiteY495" fmla="*/ 251979 h 527292"/>
                  <a:gd name="connsiteX496" fmla="*/ 220008 w 867607"/>
                  <a:gd name="connsiteY496" fmla="*/ 253646 h 527292"/>
                  <a:gd name="connsiteX497" fmla="*/ 218644 w 867607"/>
                  <a:gd name="connsiteY497" fmla="*/ 254706 h 527292"/>
                  <a:gd name="connsiteX498" fmla="*/ 217432 w 867607"/>
                  <a:gd name="connsiteY498" fmla="*/ 253797 h 527292"/>
                  <a:gd name="connsiteX499" fmla="*/ 217735 w 867607"/>
                  <a:gd name="connsiteY499" fmla="*/ 252736 h 527292"/>
                  <a:gd name="connsiteX500" fmla="*/ 217129 w 867607"/>
                  <a:gd name="connsiteY500" fmla="*/ 252282 h 527292"/>
                  <a:gd name="connsiteX501" fmla="*/ 213644 w 867607"/>
                  <a:gd name="connsiteY501" fmla="*/ 251373 h 527292"/>
                  <a:gd name="connsiteX502" fmla="*/ 210614 w 867607"/>
                  <a:gd name="connsiteY502" fmla="*/ 247736 h 527292"/>
                  <a:gd name="connsiteX503" fmla="*/ 208493 w 867607"/>
                  <a:gd name="connsiteY503" fmla="*/ 240615 h 527292"/>
                  <a:gd name="connsiteX504" fmla="*/ 208644 w 867607"/>
                  <a:gd name="connsiteY504" fmla="*/ 238191 h 527292"/>
                  <a:gd name="connsiteX505" fmla="*/ 210008 w 867607"/>
                  <a:gd name="connsiteY505" fmla="*/ 234857 h 527292"/>
                  <a:gd name="connsiteX506" fmla="*/ 209705 w 867607"/>
                  <a:gd name="connsiteY506" fmla="*/ 232584 h 527292"/>
                  <a:gd name="connsiteX507" fmla="*/ 207886 w 867607"/>
                  <a:gd name="connsiteY507" fmla="*/ 228948 h 527292"/>
                  <a:gd name="connsiteX508" fmla="*/ 204098 w 867607"/>
                  <a:gd name="connsiteY508" fmla="*/ 224554 h 527292"/>
                  <a:gd name="connsiteX509" fmla="*/ 200765 w 867607"/>
                  <a:gd name="connsiteY509" fmla="*/ 216523 h 527292"/>
                  <a:gd name="connsiteX510" fmla="*/ 200159 w 867607"/>
                  <a:gd name="connsiteY510" fmla="*/ 213493 h 527292"/>
                  <a:gd name="connsiteX511" fmla="*/ 196977 w 867607"/>
                  <a:gd name="connsiteY511" fmla="*/ 212129 h 527292"/>
                  <a:gd name="connsiteX512" fmla="*/ 194553 w 867607"/>
                  <a:gd name="connsiteY512" fmla="*/ 207432 h 527292"/>
                  <a:gd name="connsiteX513" fmla="*/ 193492 w 867607"/>
                  <a:gd name="connsiteY513" fmla="*/ 203341 h 527292"/>
                  <a:gd name="connsiteX514" fmla="*/ 193492 w 867607"/>
                  <a:gd name="connsiteY514" fmla="*/ 197735 h 527292"/>
                  <a:gd name="connsiteX515" fmla="*/ 191522 w 867607"/>
                  <a:gd name="connsiteY515" fmla="*/ 193643 h 527292"/>
                  <a:gd name="connsiteX516" fmla="*/ 191068 w 867607"/>
                  <a:gd name="connsiteY516" fmla="*/ 191219 h 527292"/>
                  <a:gd name="connsiteX517" fmla="*/ 189856 w 867607"/>
                  <a:gd name="connsiteY517" fmla="*/ 189552 h 527292"/>
                  <a:gd name="connsiteX518" fmla="*/ 189704 w 867607"/>
                  <a:gd name="connsiteY518" fmla="*/ 186673 h 527292"/>
                  <a:gd name="connsiteX519" fmla="*/ 187583 w 867607"/>
                  <a:gd name="connsiteY519" fmla="*/ 184552 h 527292"/>
                  <a:gd name="connsiteX520" fmla="*/ 186977 w 867607"/>
                  <a:gd name="connsiteY520" fmla="*/ 180764 h 527292"/>
                  <a:gd name="connsiteX521" fmla="*/ 180764 w 867607"/>
                  <a:gd name="connsiteY521" fmla="*/ 175764 h 527292"/>
                  <a:gd name="connsiteX522" fmla="*/ 180007 w 867607"/>
                  <a:gd name="connsiteY522" fmla="*/ 176219 h 527292"/>
                  <a:gd name="connsiteX523" fmla="*/ 180158 w 867607"/>
                  <a:gd name="connsiteY523" fmla="*/ 179400 h 527292"/>
                  <a:gd name="connsiteX524" fmla="*/ 181219 w 867607"/>
                  <a:gd name="connsiteY524" fmla="*/ 181370 h 527292"/>
                  <a:gd name="connsiteX525" fmla="*/ 183340 w 867607"/>
                  <a:gd name="connsiteY525" fmla="*/ 184552 h 527292"/>
                  <a:gd name="connsiteX526" fmla="*/ 182734 w 867607"/>
                  <a:gd name="connsiteY526" fmla="*/ 185007 h 527292"/>
                  <a:gd name="connsiteX527" fmla="*/ 181825 w 867607"/>
                  <a:gd name="connsiteY527" fmla="*/ 184704 h 527292"/>
                  <a:gd name="connsiteX528" fmla="*/ 178794 w 867607"/>
                  <a:gd name="connsiteY528" fmla="*/ 181673 h 527292"/>
                  <a:gd name="connsiteX529" fmla="*/ 178188 w 867607"/>
                  <a:gd name="connsiteY529" fmla="*/ 176976 h 527292"/>
                  <a:gd name="connsiteX530" fmla="*/ 174703 w 867607"/>
                  <a:gd name="connsiteY530" fmla="*/ 173188 h 527292"/>
                  <a:gd name="connsiteX531" fmla="*/ 174552 w 867607"/>
                  <a:gd name="connsiteY531" fmla="*/ 171976 h 527292"/>
                  <a:gd name="connsiteX532" fmla="*/ 174855 w 867607"/>
                  <a:gd name="connsiteY532" fmla="*/ 170006 h 527292"/>
                  <a:gd name="connsiteX533" fmla="*/ 172279 w 867607"/>
                  <a:gd name="connsiteY533" fmla="*/ 168036 h 527292"/>
                  <a:gd name="connsiteX534" fmla="*/ 169703 w 867607"/>
                  <a:gd name="connsiteY534" fmla="*/ 166824 h 527292"/>
                  <a:gd name="connsiteX535" fmla="*/ 167279 w 867607"/>
                  <a:gd name="connsiteY535" fmla="*/ 162127 h 527292"/>
                  <a:gd name="connsiteX536" fmla="*/ 166067 w 867607"/>
                  <a:gd name="connsiteY536" fmla="*/ 156975 h 527292"/>
                  <a:gd name="connsiteX537" fmla="*/ 160006 w 867607"/>
                  <a:gd name="connsiteY537" fmla="*/ 153036 h 527292"/>
                  <a:gd name="connsiteX538" fmla="*/ 155006 w 867607"/>
                  <a:gd name="connsiteY538" fmla="*/ 148036 h 527292"/>
                  <a:gd name="connsiteX539" fmla="*/ 154400 w 867607"/>
                  <a:gd name="connsiteY539" fmla="*/ 145763 h 527292"/>
                  <a:gd name="connsiteX540" fmla="*/ 154703 w 867607"/>
                  <a:gd name="connsiteY540" fmla="*/ 143036 h 527292"/>
                  <a:gd name="connsiteX541" fmla="*/ 153036 w 867607"/>
                  <a:gd name="connsiteY541" fmla="*/ 140157 h 527292"/>
                  <a:gd name="connsiteX542" fmla="*/ 153339 w 867607"/>
                  <a:gd name="connsiteY542" fmla="*/ 136823 h 527292"/>
                  <a:gd name="connsiteX543" fmla="*/ 151369 w 867607"/>
                  <a:gd name="connsiteY543" fmla="*/ 134247 h 527292"/>
                  <a:gd name="connsiteX544" fmla="*/ 151521 w 867607"/>
                  <a:gd name="connsiteY544" fmla="*/ 132581 h 527292"/>
                  <a:gd name="connsiteX545" fmla="*/ 151369 w 867607"/>
                  <a:gd name="connsiteY545" fmla="*/ 130459 h 527292"/>
                  <a:gd name="connsiteX546" fmla="*/ 149096 w 867607"/>
                  <a:gd name="connsiteY546" fmla="*/ 129550 h 527292"/>
                  <a:gd name="connsiteX547" fmla="*/ 146975 w 867607"/>
                  <a:gd name="connsiteY547" fmla="*/ 129096 h 527292"/>
                  <a:gd name="connsiteX548" fmla="*/ 145308 w 867607"/>
                  <a:gd name="connsiteY548" fmla="*/ 127883 h 527292"/>
                  <a:gd name="connsiteX549" fmla="*/ 142278 w 867607"/>
                  <a:gd name="connsiteY549" fmla="*/ 119398 h 527292"/>
                  <a:gd name="connsiteX550" fmla="*/ 140763 w 867607"/>
                  <a:gd name="connsiteY550" fmla="*/ 118792 h 527292"/>
                  <a:gd name="connsiteX551" fmla="*/ 139096 w 867607"/>
                  <a:gd name="connsiteY551" fmla="*/ 118944 h 527292"/>
                  <a:gd name="connsiteX552" fmla="*/ 138641 w 867607"/>
                  <a:gd name="connsiteY552" fmla="*/ 118186 h 527292"/>
                  <a:gd name="connsiteX553" fmla="*/ 138793 w 867607"/>
                  <a:gd name="connsiteY553" fmla="*/ 117125 h 527292"/>
                  <a:gd name="connsiteX554" fmla="*/ 137278 w 867607"/>
                  <a:gd name="connsiteY554" fmla="*/ 115004 h 527292"/>
                  <a:gd name="connsiteX555" fmla="*/ 134096 w 867607"/>
                  <a:gd name="connsiteY555" fmla="*/ 115610 h 527292"/>
                  <a:gd name="connsiteX556" fmla="*/ 133035 w 867607"/>
                  <a:gd name="connsiteY556" fmla="*/ 112731 h 527292"/>
                  <a:gd name="connsiteX557" fmla="*/ 132884 w 867607"/>
                  <a:gd name="connsiteY557" fmla="*/ 110458 h 527292"/>
                  <a:gd name="connsiteX558" fmla="*/ 127126 w 867607"/>
                  <a:gd name="connsiteY558" fmla="*/ 102580 h 527292"/>
                  <a:gd name="connsiteX559" fmla="*/ 125156 w 867607"/>
                  <a:gd name="connsiteY559" fmla="*/ 100458 h 527292"/>
                  <a:gd name="connsiteX560" fmla="*/ 118792 w 867607"/>
                  <a:gd name="connsiteY560" fmla="*/ 95458 h 527292"/>
                  <a:gd name="connsiteX561" fmla="*/ 115610 w 867607"/>
                  <a:gd name="connsiteY561" fmla="*/ 91670 h 527292"/>
                  <a:gd name="connsiteX562" fmla="*/ 110307 w 867607"/>
                  <a:gd name="connsiteY562" fmla="*/ 88791 h 527292"/>
                  <a:gd name="connsiteX563" fmla="*/ 109398 w 867607"/>
                  <a:gd name="connsiteY563" fmla="*/ 86821 h 527292"/>
                  <a:gd name="connsiteX564" fmla="*/ 105307 w 867607"/>
                  <a:gd name="connsiteY564" fmla="*/ 83033 h 527292"/>
                  <a:gd name="connsiteX565" fmla="*/ 103186 w 867607"/>
                  <a:gd name="connsiteY565" fmla="*/ 79094 h 527292"/>
                  <a:gd name="connsiteX566" fmla="*/ 102580 w 867607"/>
                  <a:gd name="connsiteY566" fmla="*/ 76669 h 527292"/>
                  <a:gd name="connsiteX567" fmla="*/ 103034 w 867607"/>
                  <a:gd name="connsiteY567" fmla="*/ 68639 h 527292"/>
                  <a:gd name="connsiteX568" fmla="*/ 101670 w 867607"/>
                  <a:gd name="connsiteY568" fmla="*/ 65154 h 527292"/>
                  <a:gd name="connsiteX569" fmla="*/ 101216 w 867607"/>
                  <a:gd name="connsiteY569" fmla="*/ 60911 h 527292"/>
                  <a:gd name="connsiteX570" fmla="*/ 99701 w 867607"/>
                  <a:gd name="connsiteY570" fmla="*/ 55154 h 527292"/>
                  <a:gd name="connsiteX571" fmla="*/ 97428 w 867607"/>
                  <a:gd name="connsiteY571" fmla="*/ 51517 h 527292"/>
                  <a:gd name="connsiteX572" fmla="*/ 96367 w 867607"/>
                  <a:gd name="connsiteY572" fmla="*/ 49244 h 527292"/>
                  <a:gd name="connsiteX573" fmla="*/ 97276 w 867607"/>
                  <a:gd name="connsiteY573" fmla="*/ 37729 h 527292"/>
                  <a:gd name="connsiteX574" fmla="*/ 98943 w 867607"/>
                  <a:gd name="connsiteY574" fmla="*/ 34395 h 527292"/>
                  <a:gd name="connsiteX575" fmla="*/ 97579 w 867607"/>
                  <a:gd name="connsiteY575" fmla="*/ 29850 h 527292"/>
                  <a:gd name="connsiteX576" fmla="*/ 96064 w 867607"/>
                  <a:gd name="connsiteY576" fmla="*/ 28334 h 527292"/>
                  <a:gd name="connsiteX577" fmla="*/ 95003 w 867607"/>
                  <a:gd name="connsiteY577" fmla="*/ 26819 h 527292"/>
                  <a:gd name="connsiteX578" fmla="*/ 100307 w 867607"/>
                  <a:gd name="connsiteY578" fmla="*/ 29698 h 527292"/>
                  <a:gd name="connsiteX579" fmla="*/ 101519 w 867607"/>
                  <a:gd name="connsiteY579" fmla="*/ 30607 h 527292"/>
                  <a:gd name="connsiteX580" fmla="*/ 103943 w 867607"/>
                  <a:gd name="connsiteY580" fmla="*/ 31062 h 527292"/>
                  <a:gd name="connsiteX581" fmla="*/ 105610 w 867607"/>
                  <a:gd name="connsiteY581" fmla="*/ 31971 h 527292"/>
                  <a:gd name="connsiteX582" fmla="*/ 113337 w 867607"/>
                  <a:gd name="connsiteY582" fmla="*/ 37426 h 527292"/>
                  <a:gd name="connsiteX583" fmla="*/ 116519 w 867607"/>
                  <a:gd name="connsiteY583" fmla="*/ 38789 h 527292"/>
                  <a:gd name="connsiteX584" fmla="*/ 118338 w 867607"/>
                  <a:gd name="connsiteY584" fmla="*/ 38638 h 527292"/>
                  <a:gd name="connsiteX585" fmla="*/ 120459 w 867607"/>
                  <a:gd name="connsiteY585" fmla="*/ 38183 h 527292"/>
                  <a:gd name="connsiteX586" fmla="*/ 121217 w 867607"/>
                  <a:gd name="connsiteY586" fmla="*/ 36213 h 527292"/>
                  <a:gd name="connsiteX587" fmla="*/ 121974 w 867607"/>
                  <a:gd name="connsiteY587" fmla="*/ 35153 h 527292"/>
                  <a:gd name="connsiteX588" fmla="*/ 127126 w 867607"/>
                  <a:gd name="connsiteY588" fmla="*/ 37274 h 527292"/>
                  <a:gd name="connsiteX589" fmla="*/ 128793 w 867607"/>
                  <a:gd name="connsiteY589" fmla="*/ 38335 h 527292"/>
                  <a:gd name="connsiteX590" fmla="*/ 130611 w 867607"/>
                  <a:gd name="connsiteY590" fmla="*/ 40001 h 527292"/>
                  <a:gd name="connsiteX591" fmla="*/ 130914 w 867607"/>
                  <a:gd name="connsiteY591" fmla="*/ 43638 h 527292"/>
                  <a:gd name="connsiteX592" fmla="*/ 134853 w 867607"/>
                  <a:gd name="connsiteY592" fmla="*/ 45153 h 527292"/>
                  <a:gd name="connsiteX593" fmla="*/ 141672 w 867607"/>
                  <a:gd name="connsiteY593" fmla="*/ 46214 h 527292"/>
                  <a:gd name="connsiteX594" fmla="*/ 142884 w 867607"/>
                  <a:gd name="connsiteY594" fmla="*/ 46820 h 527292"/>
                  <a:gd name="connsiteX595" fmla="*/ 145763 w 867607"/>
                  <a:gd name="connsiteY595" fmla="*/ 47729 h 527292"/>
                  <a:gd name="connsiteX596" fmla="*/ 146824 w 867607"/>
                  <a:gd name="connsiteY596" fmla="*/ 48638 h 527292"/>
                  <a:gd name="connsiteX597" fmla="*/ 146975 w 867607"/>
                  <a:gd name="connsiteY597" fmla="*/ 51366 h 527292"/>
                  <a:gd name="connsiteX598" fmla="*/ 146217 w 867607"/>
                  <a:gd name="connsiteY598" fmla="*/ 52123 h 527292"/>
                  <a:gd name="connsiteX599" fmla="*/ 145308 w 867607"/>
                  <a:gd name="connsiteY599" fmla="*/ 51669 h 527292"/>
                  <a:gd name="connsiteX600" fmla="*/ 145005 w 867607"/>
                  <a:gd name="connsiteY600" fmla="*/ 52578 h 527292"/>
                  <a:gd name="connsiteX601" fmla="*/ 145308 w 867607"/>
                  <a:gd name="connsiteY601" fmla="*/ 53184 h 527292"/>
                  <a:gd name="connsiteX602" fmla="*/ 145763 w 867607"/>
                  <a:gd name="connsiteY602" fmla="*/ 55911 h 527292"/>
                  <a:gd name="connsiteX603" fmla="*/ 145157 w 867607"/>
                  <a:gd name="connsiteY603" fmla="*/ 60305 h 527292"/>
                  <a:gd name="connsiteX604" fmla="*/ 146672 w 867607"/>
                  <a:gd name="connsiteY604" fmla="*/ 64548 h 527292"/>
                  <a:gd name="connsiteX605" fmla="*/ 149551 w 867607"/>
                  <a:gd name="connsiteY605" fmla="*/ 68790 h 527292"/>
                  <a:gd name="connsiteX606" fmla="*/ 153036 w 867607"/>
                  <a:gd name="connsiteY606" fmla="*/ 75003 h 527292"/>
                  <a:gd name="connsiteX607" fmla="*/ 154854 w 867607"/>
                  <a:gd name="connsiteY607" fmla="*/ 80154 h 527292"/>
                  <a:gd name="connsiteX608" fmla="*/ 155460 w 867607"/>
                  <a:gd name="connsiteY608" fmla="*/ 84397 h 527292"/>
                  <a:gd name="connsiteX609" fmla="*/ 156521 w 867607"/>
                  <a:gd name="connsiteY609" fmla="*/ 86367 h 527292"/>
                  <a:gd name="connsiteX610" fmla="*/ 157733 w 867607"/>
                  <a:gd name="connsiteY610" fmla="*/ 87730 h 527292"/>
                  <a:gd name="connsiteX611" fmla="*/ 159854 w 867607"/>
                  <a:gd name="connsiteY611" fmla="*/ 92276 h 527292"/>
                  <a:gd name="connsiteX612" fmla="*/ 164248 w 867607"/>
                  <a:gd name="connsiteY612" fmla="*/ 97731 h 527292"/>
                  <a:gd name="connsiteX613" fmla="*/ 165006 w 867607"/>
                  <a:gd name="connsiteY613" fmla="*/ 100004 h 527292"/>
                  <a:gd name="connsiteX614" fmla="*/ 164855 w 867607"/>
                  <a:gd name="connsiteY614" fmla="*/ 101216 h 527292"/>
                  <a:gd name="connsiteX615" fmla="*/ 165309 w 867607"/>
                  <a:gd name="connsiteY615" fmla="*/ 103337 h 527292"/>
                  <a:gd name="connsiteX616" fmla="*/ 167430 w 867607"/>
                  <a:gd name="connsiteY616" fmla="*/ 104095 h 527292"/>
                  <a:gd name="connsiteX617" fmla="*/ 169552 w 867607"/>
                  <a:gd name="connsiteY617" fmla="*/ 105610 h 527292"/>
                  <a:gd name="connsiteX618" fmla="*/ 170461 w 867607"/>
                  <a:gd name="connsiteY618" fmla="*/ 110156 h 527292"/>
                  <a:gd name="connsiteX619" fmla="*/ 171218 w 867607"/>
                  <a:gd name="connsiteY619" fmla="*/ 113035 h 527292"/>
                  <a:gd name="connsiteX620" fmla="*/ 174400 w 867607"/>
                  <a:gd name="connsiteY620" fmla="*/ 116671 h 527292"/>
                  <a:gd name="connsiteX621" fmla="*/ 177279 w 867607"/>
                  <a:gd name="connsiteY621" fmla="*/ 118792 h 527292"/>
                  <a:gd name="connsiteX622" fmla="*/ 177885 w 867607"/>
                  <a:gd name="connsiteY622" fmla="*/ 119550 h 527292"/>
                  <a:gd name="connsiteX623" fmla="*/ 178188 w 867607"/>
                  <a:gd name="connsiteY623" fmla="*/ 120913 h 527292"/>
                  <a:gd name="connsiteX624" fmla="*/ 180158 w 867607"/>
                  <a:gd name="connsiteY624" fmla="*/ 123944 h 527292"/>
                  <a:gd name="connsiteX625" fmla="*/ 182431 w 867607"/>
                  <a:gd name="connsiteY625" fmla="*/ 126368 h 527292"/>
                  <a:gd name="connsiteX626" fmla="*/ 184249 w 867607"/>
                  <a:gd name="connsiteY626" fmla="*/ 129096 h 527292"/>
                  <a:gd name="connsiteX627" fmla="*/ 190007 w 867607"/>
                  <a:gd name="connsiteY627" fmla="*/ 131672 h 527292"/>
                  <a:gd name="connsiteX628" fmla="*/ 195159 w 867607"/>
                  <a:gd name="connsiteY628" fmla="*/ 139551 h 527292"/>
                  <a:gd name="connsiteX629" fmla="*/ 199553 w 867607"/>
                  <a:gd name="connsiteY629" fmla="*/ 143945 h 527292"/>
                  <a:gd name="connsiteX630" fmla="*/ 203189 w 867607"/>
                  <a:gd name="connsiteY630" fmla="*/ 145157 h 527292"/>
                  <a:gd name="connsiteX631" fmla="*/ 205008 w 867607"/>
                  <a:gd name="connsiteY631" fmla="*/ 146217 h 527292"/>
                  <a:gd name="connsiteX632" fmla="*/ 206977 w 867607"/>
                  <a:gd name="connsiteY632" fmla="*/ 145308 h 527292"/>
                  <a:gd name="connsiteX633" fmla="*/ 209402 w 867607"/>
                  <a:gd name="connsiteY633" fmla="*/ 145308 h 527292"/>
                  <a:gd name="connsiteX634" fmla="*/ 215614 w 867607"/>
                  <a:gd name="connsiteY634" fmla="*/ 146824 h 527292"/>
                  <a:gd name="connsiteX635" fmla="*/ 214250 w 867607"/>
                  <a:gd name="connsiteY635" fmla="*/ 148793 h 527292"/>
                  <a:gd name="connsiteX636" fmla="*/ 213190 w 867607"/>
                  <a:gd name="connsiteY636" fmla="*/ 153036 h 527292"/>
                  <a:gd name="connsiteX637" fmla="*/ 213796 w 867607"/>
                  <a:gd name="connsiteY637" fmla="*/ 156218 h 527292"/>
                  <a:gd name="connsiteX638" fmla="*/ 214705 w 867607"/>
                  <a:gd name="connsiteY638" fmla="*/ 158945 h 527292"/>
                  <a:gd name="connsiteX639" fmla="*/ 215766 w 867607"/>
                  <a:gd name="connsiteY639" fmla="*/ 160612 h 527292"/>
                  <a:gd name="connsiteX640" fmla="*/ 216978 w 867607"/>
                  <a:gd name="connsiteY640" fmla="*/ 162733 h 527292"/>
                  <a:gd name="connsiteX641" fmla="*/ 219705 w 867607"/>
                  <a:gd name="connsiteY641" fmla="*/ 165309 h 527292"/>
                  <a:gd name="connsiteX642" fmla="*/ 222432 w 867607"/>
                  <a:gd name="connsiteY642" fmla="*/ 167430 h 527292"/>
                  <a:gd name="connsiteX643" fmla="*/ 231524 w 867607"/>
                  <a:gd name="connsiteY643" fmla="*/ 169855 h 527292"/>
                  <a:gd name="connsiteX644" fmla="*/ 231978 w 867607"/>
                  <a:gd name="connsiteY644" fmla="*/ 171370 h 527292"/>
                  <a:gd name="connsiteX645" fmla="*/ 232130 w 867607"/>
                  <a:gd name="connsiteY645" fmla="*/ 172885 h 527292"/>
                  <a:gd name="connsiteX646" fmla="*/ 233039 w 867607"/>
                  <a:gd name="connsiteY646" fmla="*/ 175612 h 527292"/>
                  <a:gd name="connsiteX647" fmla="*/ 234706 w 867607"/>
                  <a:gd name="connsiteY647" fmla="*/ 178946 h 527292"/>
                  <a:gd name="connsiteX648" fmla="*/ 236675 w 867607"/>
                  <a:gd name="connsiteY648" fmla="*/ 180916 h 527292"/>
                  <a:gd name="connsiteX649" fmla="*/ 238797 w 867607"/>
                  <a:gd name="connsiteY649" fmla="*/ 181067 h 527292"/>
                  <a:gd name="connsiteX650" fmla="*/ 244100 w 867607"/>
                  <a:gd name="connsiteY650" fmla="*/ 180613 h 527292"/>
                  <a:gd name="connsiteX651" fmla="*/ 249706 w 867607"/>
                  <a:gd name="connsiteY651" fmla="*/ 185764 h 527292"/>
                  <a:gd name="connsiteX652" fmla="*/ 250615 w 867607"/>
                  <a:gd name="connsiteY652" fmla="*/ 188189 h 527292"/>
                  <a:gd name="connsiteX653" fmla="*/ 250615 w 867607"/>
                  <a:gd name="connsiteY653" fmla="*/ 189552 h 527292"/>
                  <a:gd name="connsiteX654" fmla="*/ 251221 w 867607"/>
                  <a:gd name="connsiteY654" fmla="*/ 191068 h 527292"/>
                  <a:gd name="connsiteX655" fmla="*/ 253191 w 867607"/>
                  <a:gd name="connsiteY655" fmla="*/ 192583 h 527292"/>
                  <a:gd name="connsiteX656" fmla="*/ 253949 w 867607"/>
                  <a:gd name="connsiteY656" fmla="*/ 194098 h 527292"/>
                  <a:gd name="connsiteX657" fmla="*/ 252737 w 867607"/>
                  <a:gd name="connsiteY657" fmla="*/ 193947 h 527292"/>
                  <a:gd name="connsiteX658" fmla="*/ 251676 w 867607"/>
                  <a:gd name="connsiteY658" fmla="*/ 192583 h 527292"/>
                  <a:gd name="connsiteX659" fmla="*/ 249706 w 867607"/>
                  <a:gd name="connsiteY659" fmla="*/ 194401 h 527292"/>
                  <a:gd name="connsiteX660" fmla="*/ 247433 w 867607"/>
                  <a:gd name="connsiteY660" fmla="*/ 197431 h 527292"/>
                  <a:gd name="connsiteX661" fmla="*/ 245464 w 867607"/>
                  <a:gd name="connsiteY661" fmla="*/ 200462 h 527292"/>
                  <a:gd name="connsiteX662" fmla="*/ 246524 w 867607"/>
                  <a:gd name="connsiteY662" fmla="*/ 209401 h 527292"/>
                  <a:gd name="connsiteX663" fmla="*/ 248797 w 867607"/>
                  <a:gd name="connsiteY663" fmla="*/ 212129 h 527292"/>
                  <a:gd name="connsiteX664" fmla="*/ 250161 w 867607"/>
                  <a:gd name="connsiteY664" fmla="*/ 212887 h 527292"/>
                  <a:gd name="connsiteX665" fmla="*/ 251676 w 867607"/>
                  <a:gd name="connsiteY665" fmla="*/ 213341 h 527292"/>
                  <a:gd name="connsiteX666" fmla="*/ 254706 w 867607"/>
                  <a:gd name="connsiteY666" fmla="*/ 212735 h 527292"/>
                  <a:gd name="connsiteX667" fmla="*/ 256828 w 867607"/>
                  <a:gd name="connsiteY667" fmla="*/ 211978 h 527292"/>
                  <a:gd name="connsiteX668" fmla="*/ 258797 w 867607"/>
                  <a:gd name="connsiteY668" fmla="*/ 210614 h 527292"/>
                  <a:gd name="connsiteX669" fmla="*/ 260161 w 867607"/>
                  <a:gd name="connsiteY669" fmla="*/ 209401 h 527292"/>
                  <a:gd name="connsiteX670" fmla="*/ 260161 w 867607"/>
                  <a:gd name="connsiteY670" fmla="*/ 210462 h 527292"/>
                  <a:gd name="connsiteX671" fmla="*/ 257737 w 867607"/>
                  <a:gd name="connsiteY671" fmla="*/ 213644 h 527292"/>
                  <a:gd name="connsiteX672" fmla="*/ 255161 w 867607"/>
                  <a:gd name="connsiteY672" fmla="*/ 214705 h 527292"/>
                  <a:gd name="connsiteX673" fmla="*/ 255312 w 867607"/>
                  <a:gd name="connsiteY673" fmla="*/ 215766 h 527292"/>
                  <a:gd name="connsiteX674" fmla="*/ 256222 w 867607"/>
                  <a:gd name="connsiteY674" fmla="*/ 216826 h 527292"/>
                  <a:gd name="connsiteX675" fmla="*/ 259858 w 867607"/>
                  <a:gd name="connsiteY675" fmla="*/ 215917 h 527292"/>
                  <a:gd name="connsiteX676" fmla="*/ 261222 w 867607"/>
                  <a:gd name="connsiteY676" fmla="*/ 215008 h 527292"/>
                  <a:gd name="connsiteX677" fmla="*/ 262737 w 867607"/>
                  <a:gd name="connsiteY677" fmla="*/ 215159 h 527292"/>
                  <a:gd name="connsiteX678" fmla="*/ 263798 w 867607"/>
                  <a:gd name="connsiteY678" fmla="*/ 218493 h 527292"/>
                  <a:gd name="connsiteX679" fmla="*/ 265313 w 867607"/>
                  <a:gd name="connsiteY679" fmla="*/ 219705 h 527292"/>
                  <a:gd name="connsiteX680" fmla="*/ 271677 w 867607"/>
                  <a:gd name="connsiteY680" fmla="*/ 223190 h 527292"/>
                  <a:gd name="connsiteX681" fmla="*/ 274253 w 867607"/>
                  <a:gd name="connsiteY681" fmla="*/ 225311 h 527292"/>
                  <a:gd name="connsiteX682" fmla="*/ 281980 w 867607"/>
                  <a:gd name="connsiteY682" fmla="*/ 228190 h 527292"/>
                  <a:gd name="connsiteX683" fmla="*/ 283041 w 867607"/>
                  <a:gd name="connsiteY683" fmla="*/ 228948 h 527292"/>
                  <a:gd name="connsiteX684" fmla="*/ 283495 w 867607"/>
                  <a:gd name="connsiteY684" fmla="*/ 229857 h 527292"/>
                  <a:gd name="connsiteX685" fmla="*/ 282283 w 867607"/>
                  <a:gd name="connsiteY685" fmla="*/ 230311 h 527292"/>
                  <a:gd name="connsiteX686" fmla="*/ 280616 w 867607"/>
                  <a:gd name="connsiteY686" fmla="*/ 230311 h 527292"/>
                  <a:gd name="connsiteX687" fmla="*/ 279253 w 867607"/>
                  <a:gd name="connsiteY687" fmla="*/ 230008 h 527292"/>
                  <a:gd name="connsiteX688" fmla="*/ 277889 w 867607"/>
                  <a:gd name="connsiteY688" fmla="*/ 228796 h 527292"/>
                  <a:gd name="connsiteX689" fmla="*/ 276828 w 867607"/>
                  <a:gd name="connsiteY689" fmla="*/ 228645 h 527292"/>
                  <a:gd name="connsiteX690" fmla="*/ 278798 w 867607"/>
                  <a:gd name="connsiteY690" fmla="*/ 231675 h 527292"/>
                  <a:gd name="connsiteX691" fmla="*/ 284101 w 867607"/>
                  <a:gd name="connsiteY691" fmla="*/ 237281 h 527292"/>
                  <a:gd name="connsiteX692" fmla="*/ 284253 w 867607"/>
                  <a:gd name="connsiteY692" fmla="*/ 239857 h 527292"/>
                  <a:gd name="connsiteX693" fmla="*/ 285768 w 867607"/>
                  <a:gd name="connsiteY693" fmla="*/ 242130 h 527292"/>
                  <a:gd name="connsiteX694" fmla="*/ 289405 w 867607"/>
                  <a:gd name="connsiteY694" fmla="*/ 244251 h 527292"/>
                  <a:gd name="connsiteX695" fmla="*/ 292283 w 867607"/>
                  <a:gd name="connsiteY695" fmla="*/ 244706 h 527292"/>
                  <a:gd name="connsiteX696" fmla="*/ 293193 w 867607"/>
                  <a:gd name="connsiteY696" fmla="*/ 245312 h 527292"/>
                  <a:gd name="connsiteX697" fmla="*/ 295162 w 867607"/>
                  <a:gd name="connsiteY697" fmla="*/ 245767 h 527292"/>
                  <a:gd name="connsiteX698" fmla="*/ 296678 w 867607"/>
                  <a:gd name="connsiteY698" fmla="*/ 245312 h 527292"/>
                  <a:gd name="connsiteX699" fmla="*/ 297738 w 867607"/>
                  <a:gd name="connsiteY699" fmla="*/ 245767 h 527292"/>
                  <a:gd name="connsiteX700" fmla="*/ 298344 w 867607"/>
                  <a:gd name="connsiteY700" fmla="*/ 247585 h 527292"/>
                  <a:gd name="connsiteX701" fmla="*/ 298193 w 867607"/>
                  <a:gd name="connsiteY701" fmla="*/ 249100 h 527292"/>
                  <a:gd name="connsiteX702" fmla="*/ 297284 w 867607"/>
                  <a:gd name="connsiteY702" fmla="*/ 249403 h 527292"/>
                  <a:gd name="connsiteX703" fmla="*/ 291829 w 867607"/>
                  <a:gd name="connsiteY703" fmla="*/ 246221 h 527292"/>
                  <a:gd name="connsiteX704" fmla="*/ 290768 w 867607"/>
                  <a:gd name="connsiteY704" fmla="*/ 246221 h 527292"/>
                  <a:gd name="connsiteX705" fmla="*/ 309405 w 867607"/>
                  <a:gd name="connsiteY705" fmla="*/ 259403 h 527292"/>
                  <a:gd name="connsiteX706" fmla="*/ 313496 w 867607"/>
                  <a:gd name="connsiteY706" fmla="*/ 263343 h 527292"/>
                  <a:gd name="connsiteX707" fmla="*/ 319103 w 867607"/>
                  <a:gd name="connsiteY707" fmla="*/ 271070 h 527292"/>
                  <a:gd name="connsiteX708" fmla="*/ 323497 w 867607"/>
                  <a:gd name="connsiteY708" fmla="*/ 275768 h 527292"/>
                  <a:gd name="connsiteX709" fmla="*/ 328042 w 867607"/>
                  <a:gd name="connsiteY709" fmla="*/ 283041 h 527292"/>
                  <a:gd name="connsiteX710" fmla="*/ 332588 w 867607"/>
                  <a:gd name="connsiteY710" fmla="*/ 286980 h 527292"/>
                  <a:gd name="connsiteX711" fmla="*/ 338346 w 867607"/>
                  <a:gd name="connsiteY711" fmla="*/ 293647 h 527292"/>
                  <a:gd name="connsiteX712" fmla="*/ 340467 w 867607"/>
                  <a:gd name="connsiteY712" fmla="*/ 295162 h 527292"/>
                  <a:gd name="connsiteX713" fmla="*/ 344558 w 867607"/>
                  <a:gd name="connsiteY713" fmla="*/ 299405 h 527292"/>
                  <a:gd name="connsiteX714" fmla="*/ 348498 w 867607"/>
                  <a:gd name="connsiteY714" fmla="*/ 308042 h 527292"/>
                  <a:gd name="connsiteX715" fmla="*/ 348346 w 867607"/>
                  <a:gd name="connsiteY715" fmla="*/ 317739 h 527292"/>
                  <a:gd name="connsiteX716" fmla="*/ 351680 w 867607"/>
                  <a:gd name="connsiteY716" fmla="*/ 322587 h 527292"/>
                  <a:gd name="connsiteX717" fmla="*/ 353649 w 867607"/>
                  <a:gd name="connsiteY717" fmla="*/ 326679 h 527292"/>
                  <a:gd name="connsiteX718" fmla="*/ 354407 w 867607"/>
                  <a:gd name="connsiteY718" fmla="*/ 328194 h 527292"/>
                  <a:gd name="connsiteX719" fmla="*/ 360468 w 867607"/>
                  <a:gd name="connsiteY719" fmla="*/ 331830 h 527292"/>
                  <a:gd name="connsiteX720" fmla="*/ 359862 w 867607"/>
                  <a:gd name="connsiteY720" fmla="*/ 335012 h 527292"/>
                  <a:gd name="connsiteX721" fmla="*/ 360013 w 867607"/>
                  <a:gd name="connsiteY721" fmla="*/ 338800 h 527292"/>
                  <a:gd name="connsiteX722" fmla="*/ 359710 w 867607"/>
                  <a:gd name="connsiteY722" fmla="*/ 342588 h 527292"/>
                  <a:gd name="connsiteX723" fmla="*/ 357892 w 867607"/>
                  <a:gd name="connsiteY723" fmla="*/ 345164 h 527292"/>
                  <a:gd name="connsiteX724" fmla="*/ 355316 w 867607"/>
                  <a:gd name="connsiteY724" fmla="*/ 348043 h 527292"/>
                  <a:gd name="connsiteX725" fmla="*/ 353649 w 867607"/>
                  <a:gd name="connsiteY725" fmla="*/ 350316 h 527292"/>
                  <a:gd name="connsiteX726" fmla="*/ 352134 w 867607"/>
                  <a:gd name="connsiteY726" fmla="*/ 351377 h 527292"/>
                  <a:gd name="connsiteX727" fmla="*/ 352589 w 867607"/>
                  <a:gd name="connsiteY727" fmla="*/ 352286 h 527292"/>
                  <a:gd name="connsiteX728" fmla="*/ 354559 w 867607"/>
                  <a:gd name="connsiteY728" fmla="*/ 352286 h 527292"/>
                  <a:gd name="connsiteX729" fmla="*/ 357134 w 867607"/>
                  <a:gd name="connsiteY729" fmla="*/ 352892 h 527292"/>
                  <a:gd name="connsiteX730" fmla="*/ 359104 w 867607"/>
                  <a:gd name="connsiteY730" fmla="*/ 355316 h 527292"/>
                  <a:gd name="connsiteX731" fmla="*/ 359256 w 867607"/>
                  <a:gd name="connsiteY731" fmla="*/ 356225 h 527292"/>
                  <a:gd name="connsiteX732" fmla="*/ 358801 w 867607"/>
                  <a:gd name="connsiteY732" fmla="*/ 357740 h 527292"/>
                  <a:gd name="connsiteX733" fmla="*/ 355619 w 867607"/>
                  <a:gd name="connsiteY733" fmla="*/ 359710 h 527292"/>
                  <a:gd name="connsiteX734" fmla="*/ 351074 w 867607"/>
                  <a:gd name="connsiteY734" fmla="*/ 360165 h 527292"/>
                  <a:gd name="connsiteX735" fmla="*/ 348346 w 867607"/>
                  <a:gd name="connsiteY735" fmla="*/ 361983 h 527292"/>
                  <a:gd name="connsiteX736" fmla="*/ 347589 w 867607"/>
                  <a:gd name="connsiteY736" fmla="*/ 363347 h 527292"/>
                  <a:gd name="connsiteX737" fmla="*/ 349104 w 867607"/>
                  <a:gd name="connsiteY737" fmla="*/ 365316 h 527292"/>
                  <a:gd name="connsiteX738" fmla="*/ 350316 w 867607"/>
                  <a:gd name="connsiteY738" fmla="*/ 367892 h 527292"/>
                  <a:gd name="connsiteX739" fmla="*/ 351377 w 867607"/>
                  <a:gd name="connsiteY739" fmla="*/ 372135 h 527292"/>
                  <a:gd name="connsiteX740" fmla="*/ 352740 w 867607"/>
                  <a:gd name="connsiteY740" fmla="*/ 375014 h 527292"/>
                  <a:gd name="connsiteX741" fmla="*/ 358044 w 867607"/>
                  <a:gd name="connsiteY741" fmla="*/ 382590 h 527292"/>
                  <a:gd name="connsiteX742" fmla="*/ 362892 w 867607"/>
                  <a:gd name="connsiteY742" fmla="*/ 386681 h 527292"/>
                  <a:gd name="connsiteX743" fmla="*/ 364559 w 867607"/>
                  <a:gd name="connsiteY743" fmla="*/ 390014 h 527292"/>
                  <a:gd name="connsiteX744" fmla="*/ 367438 w 867607"/>
                  <a:gd name="connsiteY744" fmla="*/ 393802 h 527292"/>
                  <a:gd name="connsiteX745" fmla="*/ 376681 w 867607"/>
                  <a:gd name="connsiteY745" fmla="*/ 398196 h 527292"/>
                  <a:gd name="connsiteX746" fmla="*/ 382135 w 867607"/>
                  <a:gd name="connsiteY746" fmla="*/ 399863 h 527292"/>
                  <a:gd name="connsiteX747" fmla="*/ 385620 w 867607"/>
                  <a:gd name="connsiteY747" fmla="*/ 402136 h 527292"/>
                  <a:gd name="connsiteX748" fmla="*/ 391984 w 867607"/>
                  <a:gd name="connsiteY748" fmla="*/ 404863 h 527292"/>
                  <a:gd name="connsiteX749" fmla="*/ 395621 w 867607"/>
                  <a:gd name="connsiteY749" fmla="*/ 407288 h 527292"/>
                  <a:gd name="connsiteX750" fmla="*/ 401530 w 867607"/>
                  <a:gd name="connsiteY750" fmla="*/ 412742 h 527292"/>
                  <a:gd name="connsiteX751" fmla="*/ 404712 w 867607"/>
                  <a:gd name="connsiteY751" fmla="*/ 416985 h 527292"/>
                  <a:gd name="connsiteX752" fmla="*/ 408500 w 867607"/>
                  <a:gd name="connsiteY752" fmla="*/ 421530 h 527292"/>
                  <a:gd name="connsiteX753" fmla="*/ 420015 w 867607"/>
                  <a:gd name="connsiteY753" fmla="*/ 425470 h 527292"/>
                  <a:gd name="connsiteX754" fmla="*/ 428804 w 867607"/>
                  <a:gd name="connsiteY754" fmla="*/ 428955 h 527292"/>
                  <a:gd name="connsiteX755" fmla="*/ 433046 w 867607"/>
                  <a:gd name="connsiteY755" fmla="*/ 429561 h 527292"/>
                  <a:gd name="connsiteX756" fmla="*/ 442138 w 867607"/>
                  <a:gd name="connsiteY756" fmla="*/ 431985 h 527292"/>
                  <a:gd name="connsiteX757" fmla="*/ 448198 w 867607"/>
                  <a:gd name="connsiteY757" fmla="*/ 431531 h 527292"/>
                  <a:gd name="connsiteX758" fmla="*/ 450320 w 867607"/>
                  <a:gd name="connsiteY758" fmla="*/ 431834 h 527292"/>
                  <a:gd name="connsiteX759" fmla="*/ 452289 w 867607"/>
                  <a:gd name="connsiteY759" fmla="*/ 432894 h 527292"/>
                  <a:gd name="connsiteX760" fmla="*/ 454562 w 867607"/>
                  <a:gd name="connsiteY760" fmla="*/ 435167 h 527292"/>
                  <a:gd name="connsiteX761" fmla="*/ 458956 w 867607"/>
                  <a:gd name="connsiteY761" fmla="*/ 440471 h 527292"/>
                  <a:gd name="connsiteX762" fmla="*/ 461987 w 867607"/>
                  <a:gd name="connsiteY762" fmla="*/ 441531 h 527292"/>
                  <a:gd name="connsiteX763" fmla="*/ 464714 w 867607"/>
                  <a:gd name="connsiteY763" fmla="*/ 444410 h 527292"/>
                  <a:gd name="connsiteX764" fmla="*/ 471230 w 867607"/>
                  <a:gd name="connsiteY764" fmla="*/ 447744 h 527292"/>
                  <a:gd name="connsiteX765" fmla="*/ 475169 w 867607"/>
                  <a:gd name="connsiteY765" fmla="*/ 451077 h 527292"/>
                  <a:gd name="connsiteX766" fmla="*/ 479412 w 867607"/>
                  <a:gd name="connsiteY766" fmla="*/ 453198 h 527292"/>
                  <a:gd name="connsiteX767" fmla="*/ 490776 w 867607"/>
                  <a:gd name="connsiteY767" fmla="*/ 456986 h 527292"/>
                  <a:gd name="connsiteX768" fmla="*/ 495927 w 867607"/>
                  <a:gd name="connsiteY768" fmla="*/ 459259 h 527292"/>
                  <a:gd name="connsiteX769" fmla="*/ 501837 w 867607"/>
                  <a:gd name="connsiteY769" fmla="*/ 461077 h 527292"/>
                  <a:gd name="connsiteX770" fmla="*/ 510928 w 867607"/>
                  <a:gd name="connsiteY770" fmla="*/ 466684 h 527292"/>
                  <a:gd name="connsiteX771" fmla="*/ 520322 w 867607"/>
                  <a:gd name="connsiteY771" fmla="*/ 468199 h 527292"/>
                  <a:gd name="connsiteX772" fmla="*/ 529868 w 867607"/>
                  <a:gd name="connsiteY772" fmla="*/ 470472 h 527292"/>
                  <a:gd name="connsiteX773" fmla="*/ 532444 w 867607"/>
                  <a:gd name="connsiteY773" fmla="*/ 471532 h 527292"/>
                  <a:gd name="connsiteX774" fmla="*/ 536383 w 867607"/>
                  <a:gd name="connsiteY774" fmla="*/ 471835 h 527292"/>
                  <a:gd name="connsiteX775" fmla="*/ 543050 w 867607"/>
                  <a:gd name="connsiteY775" fmla="*/ 478199 h 527292"/>
                  <a:gd name="connsiteX776" fmla="*/ 553505 w 867607"/>
                  <a:gd name="connsiteY776" fmla="*/ 480927 h 527292"/>
                  <a:gd name="connsiteX777" fmla="*/ 563960 w 867607"/>
                  <a:gd name="connsiteY777" fmla="*/ 487593 h 527292"/>
                  <a:gd name="connsiteX778" fmla="*/ 579567 w 867607"/>
                  <a:gd name="connsiteY778" fmla="*/ 489260 h 527292"/>
                  <a:gd name="connsiteX779" fmla="*/ 589870 w 867607"/>
                  <a:gd name="connsiteY779" fmla="*/ 494412 h 527292"/>
                  <a:gd name="connsiteX780" fmla="*/ 598053 w 867607"/>
                  <a:gd name="connsiteY780" fmla="*/ 496533 h 527292"/>
                  <a:gd name="connsiteX781" fmla="*/ 600780 w 867607"/>
                  <a:gd name="connsiteY781" fmla="*/ 495624 h 527292"/>
                  <a:gd name="connsiteX782" fmla="*/ 606083 w 867607"/>
                  <a:gd name="connsiteY782" fmla="*/ 495321 h 527292"/>
                  <a:gd name="connsiteX783" fmla="*/ 618205 w 867607"/>
                  <a:gd name="connsiteY783" fmla="*/ 489866 h 527292"/>
                  <a:gd name="connsiteX784" fmla="*/ 626690 w 867607"/>
                  <a:gd name="connsiteY784" fmla="*/ 487442 h 527292"/>
                  <a:gd name="connsiteX785" fmla="*/ 635781 w 867607"/>
                  <a:gd name="connsiteY785" fmla="*/ 481836 h 527292"/>
                  <a:gd name="connsiteX786" fmla="*/ 640781 w 867607"/>
                  <a:gd name="connsiteY786" fmla="*/ 480927 h 527292"/>
                  <a:gd name="connsiteX787" fmla="*/ 644872 w 867607"/>
                  <a:gd name="connsiteY787" fmla="*/ 480927 h 527292"/>
                  <a:gd name="connsiteX788" fmla="*/ 645175 w 867607"/>
                  <a:gd name="connsiteY788" fmla="*/ 480321 h 527292"/>
                  <a:gd name="connsiteX789" fmla="*/ 643509 w 867607"/>
                  <a:gd name="connsiteY789" fmla="*/ 479866 h 527292"/>
                  <a:gd name="connsiteX790" fmla="*/ 638660 w 867607"/>
                  <a:gd name="connsiteY790" fmla="*/ 478957 h 527292"/>
                  <a:gd name="connsiteX791" fmla="*/ 638660 w 867607"/>
                  <a:gd name="connsiteY791" fmla="*/ 478199 h 527292"/>
                  <a:gd name="connsiteX792" fmla="*/ 641084 w 867607"/>
                  <a:gd name="connsiteY792" fmla="*/ 476229 h 527292"/>
                  <a:gd name="connsiteX793" fmla="*/ 641993 w 867607"/>
                  <a:gd name="connsiteY793" fmla="*/ 475169 h 527292"/>
                  <a:gd name="connsiteX794" fmla="*/ 643206 w 867607"/>
                  <a:gd name="connsiteY794" fmla="*/ 475169 h 527292"/>
                  <a:gd name="connsiteX795" fmla="*/ 645024 w 867607"/>
                  <a:gd name="connsiteY795" fmla="*/ 476684 h 527292"/>
                  <a:gd name="connsiteX796" fmla="*/ 644872 w 867607"/>
                  <a:gd name="connsiteY796" fmla="*/ 477745 h 527292"/>
                  <a:gd name="connsiteX797" fmla="*/ 645024 w 867607"/>
                  <a:gd name="connsiteY797" fmla="*/ 478805 h 527292"/>
                  <a:gd name="connsiteX798" fmla="*/ 646085 w 867607"/>
                  <a:gd name="connsiteY798" fmla="*/ 478654 h 527292"/>
                  <a:gd name="connsiteX799" fmla="*/ 648812 w 867607"/>
                  <a:gd name="connsiteY799" fmla="*/ 476987 h 527292"/>
                  <a:gd name="connsiteX800" fmla="*/ 649721 w 867607"/>
                  <a:gd name="connsiteY800" fmla="*/ 477139 h 527292"/>
                  <a:gd name="connsiteX801" fmla="*/ 650479 w 867607"/>
                  <a:gd name="connsiteY801" fmla="*/ 478048 h 527292"/>
                  <a:gd name="connsiteX802" fmla="*/ 647903 w 867607"/>
                  <a:gd name="connsiteY802" fmla="*/ 480472 h 527292"/>
                  <a:gd name="connsiteX803" fmla="*/ 648509 w 867607"/>
                  <a:gd name="connsiteY803" fmla="*/ 481230 h 527292"/>
                  <a:gd name="connsiteX804" fmla="*/ 653661 w 867607"/>
                  <a:gd name="connsiteY804" fmla="*/ 481684 h 527292"/>
                  <a:gd name="connsiteX805" fmla="*/ 666540 w 867607"/>
                  <a:gd name="connsiteY805" fmla="*/ 486381 h 527292"/>
                  <a:gd name="connsiteX806" fmla="*/ 665782 w 867607"/>
                  <a:gd name="connsiteY806" fmla="*/ 485169 h 527292"/>
                  <a:gd name="connsiteX807" fmla="*/ 661237 w 867607"/>
                  <a:gd name="connsiteY807" fmla="*/ 482896 h 527292"/>
                  <a:gd name="connsiteX808" fmla="*/ 659721 w 867607"/>
                  <a:gd name="connsiteY808" fmla="*/ 482290 h 527292"/>
                  <a:gd name="connsiteX809" fmla="*/ 658206 w 867607"/>
                  <a:gd name="connsiteY809" fmla="*/ 482290 h 527292"/>
                  <a:gd name="connsiteX810" fmla="*/ 656388 w 867607"/>
                  <a:gd name="connsiteY810" fmla="*/ 481533 h 527292"/>
                  <a:gd name="connsiteX811" fmla="*/ 654873 w 867607"/>
                  <a:gd name="connsiteY811" fmla="*/ 480624 h 527292"/>
                  <a:gd name="connsiteX812" fmla="*/ 655327 w 867607"/>
                  <a:gd name="connsiteY812" fmla="*/ 478957 h 527292"/>
                  <a:gd name="connsiteX813" fmla="*/ 656236 w 867607"/>
                  <a:gd name="connsiteY813" fmla="*/ 478957 h 527292"/>
                  <a:gd name="connsiteX814" fmla="*/ 657903 w 867607"/>
                  <a:gd name="connsiteY814" fmla="*/ 480169 h 527292"/>
                  <a:gd name="connsiteX815" fmla="*/ 659873 w 867607"/>
                  <a:gd name="connsiteY815" fmla="*/ 481078 h 527292"/>
                  <a:gd name="connsiteX816" fmla="*/ 664267 w 867607"/>
                  <a:gd name="connsiteY816" fmla="*/ 482745 h 527292"/>
                  <a:gd name="connsiteX817" fmla="*/ 668661 w 867607"/>
                  <a:gd name="connsiteY817" fmla="*/ 485321 h 527292"/>
                  <a:gd name="connsiteX818" fmla="*/ 673661 w 867607"/>
                  <a:gd name="connsiteY818" fmla="*/ 489866 h 527292"/>
                  <a:gd name="connsiteX819" fmla="*/ 678965 w 867607"/>
                  <a:gd name="connsiteY819" fmla="*/ 493654 h 527292"/>
                  <a:gd name="connsiteX820" fmla="*/ 689268 w 867607"/>
                  <a:gd name="connsiteY820" fmla="*/ 502140 h 527292"/>
                  <a:gd name="connsiteX821" fmla="*/ 693208 w 867607"/>
                  <a:gd name="connsiteY821" fmla="*/ 505928 h 527292"/>
                  <a:gd name="connsiteX822" fmla="*/ 696086 w 867607"/>
                  <a:gd name="connsiteY822" fmla="*/ 508049 h 527292"/>
                  <a:gd name="connsiteX823" fmla="*/ 699117 w 867607"/>
                  <a:gd name="connsiteY823" fmla="*/ 510776 h 527292"/>
                  <a:gd name="connsiteX824" fmla="*/ 706693 w 867607"/>
                  <a:gd name="connsiteY824" fmla="*/ 519110 h 527292"/>
                  <a:gd name="connsiteX825" fmla="*/ 713966 w 867607"/>
                  <a:gd name="connsiteY825" fmla="*/ 526686 h 527292"/>
                  <a:gd name="connsiteX826" fmla="*/ 714723 w 867607"/>
                  <a:gd name="connsiteY826" fmla="*/ 527292 h 527292"/>
                  <a:gd name="connsiteX827" fmla="*/ 715481 w 867607"/>
                  <a:gd name="connsiteY827" fmla="*/ 526534 h 527292"/>
                  <a:gd name="connsiteX828" fmla="*/ 716087 w 867607"/>
                  <a:gd name="connsiteY828" fmla="*/ 524868 h 527292"/>
                  <a:gd name="connsiteX829" fmla="*/ 716845 w 867607"/>
                  <a:gd name="connsiteY829" fmla="*/ 523201 h 527292"/>
                  <a:gd name="connsiteX830" fmla="*/ 716390 w 867607"/>
                  <a:gd name="connsiteY830" fmla="*/ 521231 h 527292"/>
                  <a:gd name="connsiteX831" fmla="*/ 716087 w 867607"/>
                  <a:gd name="connsiteY831" fmla="*/ 519716 h 527292"/>
                  <a:gd name="connsiteX832" fmla="*/ 716996 w 867607"/>
                  <a:gd name="connsiteY832" fmla="*/ 517443 h 527292"/>
                  <a:gd name="connsiteX833" fmla="*/ 716845 w 867607"/>
                  <a:gd name="connsiteY833" fmla="*/ 515776 h 527292"/>
                  <a:gd name="connsiteX834" fmla="*/ 717299 w 867607"/>
                  <a:gd name="connsiteY834" fmla="*/ 514716 h 527292"/>
                  <a:gd name="connsiteX835" fmla="*/ 718511 w 867607"/>
                  <a:gd name="connsiteY835" fmla="*/ 513958 h 527292"/>
                  <a:gd name="connsiteX836" fmla="*/ 719117 w 867607"/>
                  <a:gd name="connsiteY836" fmla="*/ 512594 h 527292"/>
                  <a:gd name="connsiteX837" fmla="*/ 715633 w 867607"/>
                  <a:gd name="connsiteY837" fmla="*/ 508049 h 527292"/>
                  <a:gd name="connsiteX838" fmla="*/ 715633 w 867607"/>
                  <a:gd name="connsiteY838" fmla="*/ 506988 h 527292"/>
                  <a:gd name="connsiteX839" fmla="*/ 716087 w 867607"/>
                  <a:gd name="connsiteY839" fmla="*/ 505776 h 527292"/>
                  <a:gd name="connsiteX840" fmla="*/ 718966 w 867607"/>
                  <a:gd name="connsiteY840" fmla="*/ 500927 h 527292"/>
                  <a:gd name="connsiteX841" fmla="*/ 722451 w 867607"/>
                  <a:gd name="connsiteY841" fmla="*/ 495169 h 527292"/>
                  <a:gd name="connsiteX842" fmla="*/ 726239 w 867607"/>
                  <a:gd name="connsiteY842" fmla="*/ 488806 h 527292"/>
                  <a:gd name="connsiteX843" fmla="*/ 728512 w 867607"/>
                  <a:gd name="connsiteY843" fmla="*/ 485018 h 527292"/>
                  <a:gd name="connsiteX844" fmla="*/ 736845 w 867607"/>
                  <a:gd name="connsiteY844" fmla="*/ 485018 h 527292"/>
                  <a:gd name="connsiteX845" fmla="*/ 742300 w 867607"/>
                  <a:gd name="connsiteY845" fmla="*/ 485018 h 527292"/>
                  <a:gd name="connsiteX846" fmla="*/ 749270 w 867607"/>
                  <a:gd name="connsiteY846" fmla="*/ 485018 h 527292"/>
                  <a:gd name="connsiteX847" fmla="*/ 756846 w 867607"/>
                  <a:gd name="connsiteY847" fmla="*/ 485018 h 527292"/>
                  <a:gd name="connsiteX848" fmla="*/ 761846 w 867607"/>
                  <a:gd name="connsiteY848" fmla="*/ 485018 h 527292"/>
                  <a:gd name="connsiteX849" fmla="*/ 763968 w 867607"/>
                  <a:gd name="connsiteY849" fmla="*/ 485018 h 527292"/>
                  <a:gd name="connsiteX850" fmla="*/ 763665 w 867607"/>
                  <a:gd name="connsiteY850" fmla="*/ 482442 h 527292"/>
                  <a:gd name="connsiteX851" fmla="*/ 763968 w 867607"/>
                  <a:gd name="connsiteY851" fmla="*/ 479715 h 527292"/>
                  <a:gd name="connsiteX852" fmla="*/ 764877 w 867607"/>
                  <a:gd name="connsiteY852" fmla="*/ 477139 h 527292"/>
                  <a:gd name="connsiteX853" fmla="*/ 764877 w 867607"/>
                  <a:gd name="connsiteY853" fmla="*/ 476078 h 527292"/>
                  <a:gd name="connsiteX854" fmla="*/ 763362 w 867607"/>
                  <a:gd name="connsiteY854" fmla="*/ 474714 h 527292"/>
                  <a:gd name="connsiteX855" fmla="*/ 760483 w 867607"/>
                  <a:gd name="connsiteY855" fmla="*/ 473957 h 527292"/>
                  <a:gd name="connsiteX856" fmla="*/ 758816 w 867607"/>
                  <a:gd name="connsiteY856" fmla="*/ 472744 h 527292"/>
                  <a:gd name="connsiteX857" fmla="*/ 758816 w 867607"/>
                  <a:gd name="connsiteY857" fmla="*/ 471229 h 527292"/>
                  <a:gd name="connsiteX858" fmla="*/ 758058 w 867607"/>
                  <a:gd name="connsiteY858" fmla="*/ 469411 h 527292"/>
                  <a:gd name="connsiteX859" fmla="*/ 756695 w 867607"/>
                  <a:gd name="connsiteY859" fmla="*/ 467290 h 527292"/>
                  <a:gd name="connsiteX860" fmla="*/ 753816 w 867607"/>
                  <a:gd name="connsiteY860" fmla="*/ 465017 h 527292"/>
                  <a:gd name="connsiteX861" fmla="*/ 749422 w 867607"/>
                  <a:gd name="connsiteY861" fmla="*/ 462744 h 527292"/>
                  <a:gd name="connsiteX862" fmla="*/ 745634 w 867607"/>
                  <a:gd name="connsiteY862" fmla="*/ 459714 h 527292"/>
                  <a:gd name="connsiteX863" fmla="*/ 742603 w 867607"/>
                  <a:gd name="connsiteY863" fmla="*/ 455926 h 527292"/>
                  <a:gd name="connsiteX864" fmla="*/ 740027 w 867607"/>
                  <a:gd name="connsiteY864" fmla="*/ 453501 h 527292"/>
                  <a:gd name="connsiteX865" fmla="*/ 738058 w 867607"/>
                  <a:gd name="connsiteY865" fmla="*/ 452441 h 527292"/>
                  <a:gd name="connsiteX866" fmla="*/ 737603 w 867607"/>
                  <a:gd name="connsiteY866" fmla="*/ 451835 h 527292"/>
                  <a:gd name="connsiteX867" fmla="*/ 743512 w 867607"/>
                  <a:gd name="connsiteY867" fmla="*/ 451835 h 527292"/>
                  <a:gd name="connsiteX868" fmla="*/ 749119 w 867607"/>
                  <a:gd name="connsiteY868" fmla="*/ 451835 h 527292"/>
                  <a:gd name="connsiteX869" fmla="*/ 749119 w 867607"/>
                  <a:gd name="connsiteY869" fmla="*/ 446380 h 527292"/>
                  <a:gd name="connsiteX870" fmla="*/ 749119 w 867607"/>
                  <a:gd name="connsiteY870" fmla="*/ 441531 h 527292"/>
                  <a:gd name="connsiteX871" fmla="*/ 749119 w 867607"/>
                  <a:gd name="connsiteY871" fmla="*/ 436077 h 527292"/>
                  <a:gd name="connsiteX872" fmla="*/ 759119 w 867607"/>
                  <a:gd name="connsiteY872" fmla="*/ 436077 h 527292"/>
                  <a:gd name="connsiteX873" fmla="*/ 771089 w 867607"/>
                  <a:gd name="connsiteY873" fmla="*/ 436077 h 527292"/>
                  <a:gd name="connsiteX874" fmla="*/ 783514 w 867607"/>
                  <a:gd name="connsiteY874" fmla="*/ 436077 h 527292"/>
                  <a:gd name="connsiteX875" fmla="*/ 793363 w 867607"/>
                  <a:gd name="connsiteY875" fmla="*/ 436077 h 527292"/>
                  <a:gd name="connsiteX876" fmla="*/ 799120 w 867607"/>
                  <a:gd name="connsiteY876" fmla="*/ 436077 h 527292"/>
                  <a:gd name="connsiteX877" fmla="*/ 799120 w 867607"/>
                  <a:gd name="connsiteY877" fmla="*/ 433652 h 527292"/>
                  <a:gd name="connsiteX878" fmla="*/ 799878 w 867607"/>
                  <a:gd name="connsiteY878" fmla="*/ 431683 h 527292"/>
                  <a:gd name="connsiteX879" fmla="*/ 802151 w 867607"/>
                  <a:gd name="connsiteY879" fmla="*/ 430925 h 527292"/>
                  <a:gd name="connsiteX880" fmla="*/ 805030 w 867607"/>
                  <a:gd name="connsiteY880" fmla="*/ 432592 h 527292"/>
                  <a:gd name="connsiteX881" fmla="*/ 806242 w 867607"/>
                  <a:gd name="connsiteY881" fmla="*/ 433349 h 527292"/>
                  <a:gd name="connsiteX882" fmla="*/ 807303 w 867607"/>
                  <a:gd name="connsiteY882" fmla="*/ 432894 h 527292"/>
                  <a:gd name="connsiteX883" fmla="*/ 808666 w 867607"/>
                  <a:gd name="connsiteY883" fmla="*/ 431834 h 527292"/>
                  <a:gd name="connsiteX884" fmla="*/ 810333 w 867607"/>
                  <a:gd name="connsiteY884" fmla="*/ 428804 h 527292"/>
                  <a:gd name="connsiteX885" fmla="*/ 814576 w 867607"/>
                  <a:gd name="connsiteY885" fmla="*/ 422591 h 527292"/>
                  <a:gd name="connsiteX886" fmla="*/ 816242 w 867607"/>
                  <a:gd name="connsiteY886" fmla="*/ 418197 h 527292"/>
                  <a:gd name="connsiteX887" fmla="*/ 817909 w 867607"/>
                  <a:gd name="connsiteY887" fmla="*/ 417288 h 527292"/>
                  <a:gd name="connsiteX888" fmla="*/ 820333 w 867607"/>
                  <a:gd name="connsiteY888" fmla="*/ 417136 h 527292"/>
                  <a:gd name="connsiteX889" fmla="*/ 822455 w 867607"/>
                  <a:gd name="connsiteY889" fmla="*/ 417440 h 527292"/>
                  <a:gd name="connsiteX890" fmla="*/ 823061 w 867607"/>
                  <a:gd name="connsiteY890" fmla="*/ 416227 h 527292"/>
                  <a:gd name="connsiteX891" fmla="*/ 825334 w 867607"/>
                  <a:gd name="connsiteY891" fmla="*/ 412591 h 527292"/>
                  <a:gd name="connsiteX892" fmla="*/ 825334 w 867607"/>
                  <a:gd name="connsiteY892" fmla="*/ 410469 h 527292"/>
                  <a:gd name="connsiteX893" fmla="*/ 827303 w 867607"/>
                  <a:gd name="connsiteY893" fmla="*/ 408954 h 527292"/>
                  <a:gd name="connsiteX894" fmla="*/ 828819 w 867607"/>
                  <a:gd name="connsiteY894" fmla="*/ 407288 h 527292"/>
                  <a:gd name="connsiteX895" fmla="*/ 830031 w 867607"/>
                  <a:gd name="connsiteY895" fmla="*/ 407136 h 527292"/>
                  <a:gd name="connsiteX896" fmla="*/ 830637 w 867607"/>
                  <a:gd name="connsiteY896" fmla="*/ 410318 h 527292"/>
                  <a:gd name="connsiteX897" fmla="*/ 829425 w 867607"/>
                  <a:gd name="connsiteY897" fmla="*/ 416076 h 527292"/>
                  <a:gd name="connsiteX898" fmla="*/ 829879 w 867607"/>
                  <a:gd name="connsiteY898" fmla="*/ 417288 h 527292"/>
                  <a:gd name="connsiteX899" fmla="*/ 832001 w 867607"/>
                  <a:gd name="connsiteY899" fmla="*/ 418500 h 527292"/>
                  <a:gd name="connsiteX900" fmla="*/ 834122 w 867607"/>
                  <a:gd name="connsiteY900" fmla="*/ 423197 h 527292"/>
                  <a:gd name="connsiteX901" fmla="*/ 834879 w 867607"/>
                  <a:gd name="connsiteY901" fmla="*/ 423349 h 527292"/>
                  <a:gd name="connsiteX902" fmla="*/ 836243 w 867607"/>
                  <a:gd name="connsiteY902" fmla="*/ 420924 h 527292"/>
                  <a:gd name="connsiteX903" fmla="*/ 837455 w 867607"/>
                  <a:gd name="connsiteY903" fmla="*/ 418349 h 527292"/>
                  <a:gd name="connsiteX904" fmla="*/ 838213 w 867607"/>
                  <a:gd name="connsiteY904" fmla="*/ 412439 h 527292"/>
                  <a:gd name="connsiteX905" fmla="*/ 840486 w 867607"/>
                  <a:gd name="connsiteY905" fmla="*/ 408348 h 527292"/>
                  <a:gd name="connsiteX906" fmla="*/ 842152 w 867607"/>
                  <a:gd name="connsiteY906" fmla="*/ 401378 h 527292"/>
                  <a:gd name="connsiteX907" fmla="*/ 844728 w 867607"/>
                  <a:gd name="connsiteY907" fmla="*/ 394560 h 527292"/>
                  <a:gd name="connsiteX908" fmla="*/ 844425 w 867607"/>
                  <a:gd name="connsiteY908" fmla="*/ 393651 h 527292"/>
                  <a:gd name="connsiteX909" fmla="*/ 843365 w 867607"/>
                  <a:gd name="connsiteY909" fmla="*/ 393499 h 527292"/>
                  <a:gd name="connsiteX910" fmla="*/ 841395 w 867607"/>
                  <a:gd name="connsiteY910" fmla="*/ 395469 h 527292"/>
                  <a:gd name="connsiteX911" fmla="*/ 840486 w 867607"/>
                  <a:gd name="connsiteY911" fmla="*/ 395317 h 527292"/>
                  <a:gd name="connsiteX912" fmla="*/ 840334 w 867607"/>
                  <a:gd name="connsiteY912" fmla="*/ 392590 h 527292"/>
                  <a:gd name="connsiteX913" fmla="*/ 841243 w 867607"/>
                  <a:gd name="connsiteY913" fmla="*/ 391681 h 527292"/>
                  <a:gd name="connsiteX914" fmla="*/ 842910 w 867607"/>
                  <a:gd name="connsiteY914" fmla="*/ 390772 h 527292"/>
                  <a:gd name="connsiteX915" fmla="*/ 844425 w 867607"/>
                  <a:gd name="connsiteY915" fmla="*/ 390469 h 527292"/>
                  <a:gd name="connsiteX916" fmla="*/ 845183 w 867607"/>
                  <a:gd name="connsiteY916" fmla="*/ 390014 h 527292"/>
                  <a:gd name="connsiteX917" fmla="*/ 846546 w 867607"/>
                  <a:gd name="connsiteY917" fmla="*/ 388348 h 527292"/>
                  <a:gd name="connsiteX918" fmla="*/ 846850 w 867607"/>
                  <a:gd name="connsiteY918" fmla="*/ 386075 h 527292"/>
                  <a:gd name="connsiteX919" fmla="*/ 845637 w 867607"/>
                  <a:gd name="connsiteY919" fmla="*/ 385923 h 527292"/>
                  <a:gd name="connsiteX920" fmla="*/ 844425 w 867607"/>
                  <a:gd name="connsiteY920" fmla="*/ 386226 h 527292"/>
                  <a:gd name="connsiteX921" fmla="*/ 842304 w 867607"/>
                  <a:gd name="connsiteY921" fmla="*/ 386226 h 527292"/>
                  <a:gd name="connsiteX922" fmla="*/ 840789 w 867607"/>
                  <a:gd name="connsiteY922" fmla="*/ 386832 h 527292"/>
                  <a:gd name="connsiteX923" fmla="*/ 839577 w 867607"/>
                  <a:gd name="connsiteY923" fmla="*/ 385772 h 527292"/>
                  <a:gd name="connsiteX924" fmla="*/ 839577 w 867607"/>
                  <a:gd name="connsiteY924" fmla="*/ 384560 h 527292"/>
                  <a:gd name="connsiteX925" fmla="*/ 842304 w 867607"/>
                  <a:gd name="connsiteY925" fmla="*/ 380468 h 527292"/>
                  <a:gd name="connsiteX926" fmla="*/ 844425 w 867607"/>
                  <a:gd name="connsiteY926" fmla="*/ 379105 h 527292"/>
                  <a:gd name="connsiteX927" fmla="*/ 845486 w 867607"/>
                  <a:gd name="connsiteY927" fmla="*/ 379256 h 527292"/>
                  <a:gd name="connsiteX928" fmla="*/ 846092 w 867607"/>
                  <a:gd name="connsiteY928" fmla="*/ 378196 h 527292"/>
                  <a:gd name="connsiteX929" fmla="*/ 846395 w 867607"/>
                  <a:gd name="connsiteY929" fmla="*/ 377135 h 527292"/>
                  <a:gd name="connsiteX930" fmla="*/ 845486 w 867607"/>
                  <a:gd name="connsiteY930" fmla="*/ 374256 h 527292"/>
                  <a:gd name="connsiteX931" fmla="*/ 845486 w 867607"/>
                  <a:gd name="connsiteY931" fmla="*/ 371377 h 527292"/>
                  <a:gd name="connsiteX932" fmla="*/ 846698 w 867607"/>
                  <a:gd name="connsiteY932" fmla="*/ 367741 h 527292"/>
                  <a:gd name="connsiteX933" fmla="*/ 852153 w 867607"/>
                  <a:gd name="connsiteY933" fmla="*/ 359862 h 527292"/>
                  <a:gd name="connsiteX934" fmla="*/ 856547 w 867607"/>
                  <a:gd name="connsiteY934" fmla="*/ 356377 h 527292"/>
                  <a:gd name="connsiteX935" fmla="*/ 860183 w 867607"/>
                  <a:gd name="connsiteY935" fmla="*/ 351982 h 527292"/>
                  <a:gd name="connsiteX936" fmla="*/ 862759 w 867607"/>
                  <a:gd name="connsiteY936" fmla="*/ 348346 h 527292"/>
                  <a:gd name="connsiteX937" fmla="*/ 137581 w 867607"/>
                  <a:gd name="connsiteY937" fmla="*/ 103034 h 527292"/>
                  <a:gd name="connsiteX938" fmla="*/ 137581 w 867607"/>
                  <a:gd name="connsiteY938" fmla="*/ 100761 h 527292"/>
                  <a:gd name="connsiteX939" fmla="*/ 136520 w 867607"/>
                  <a:gd name="connsiteY939" fmla="*/ 98792 h 527292"/>
                  <a:gd name="connsiteX940" fmla="*/ 133944 w 867607"/>
                  <a:gd name="connsiteY940" fmla="*/ 96519 h 527292"/>
                  <a:gd name="connsiteX941" fmla="*/ 131823 w 867607"/>
                  <a:gd name="connsiteY941" fmla="*/ 96064 h 527292"/>
                  <a:gd name="connsiteX942" fmla="*/ 131671 w 867607"/>
                  <a:gd name="connsiteY942" fmla="*/ 99398 h 527292"/>
                  <a:gd name="connsiteX943" fmla="*/ 131975 w 867607"/>
                  <a:gd name="connsiteY943" fmla="*/ 100913 h 527292"/>
                  <a:gd name="connsiteX944" fmla="*/ 134247 w 867607"/>
                  <a:gd name="connsiteY944" fmla="*/ 104095 h 527292"/>
                  <a:gd name="connsiteX945" fmla="*/ 140611 w 867607"/>
                  <a:gd name="connsiteY945" fmla="*/ 110307 h 527292"/>
                  <a:gd name="connsiteX946" fmla="*/ 143339 w 867607"/>
                  <a:gd name="connsiteY946" fmla="*/ 112125 h 527292"/>
                  <a:gd name="connsiteX947" fmla="*/ 143490 w 867607"/>
                  <a:gd name="connsiteY947" fmla="*/ 111671 h 527292"/>
                  <a:gd name="connsiteX948" fmla="*/ 142884 w 867607"/>
                  <a:gd name="connsiteY948" fmla="*/ 109247 h 527292"/>
                  <a:gd name="connsiteX949" fmla="*/ 142278 w 867607"/>
                  <a:gd name="connsiteY949" fmla="*/ 104246 h 527292"/>
                  <a:gd name="connsiteX950" fmla="*/ 137581 w 867607"/>
                  <a:gd name="connsiteY950" fmla="*/ 103034 h 527292"/>
                  <a:gd name="connsiteX951" fmla="*/ 863820 w 867607"/>
                  <a:gd name="connsiteY951" fmla="*/ 357589 h 527292"/>
                  <a:gd name="connsiteX952" fmla="*/ 861093 w 867607"/>
                  <a:gd name="connsiteY952" fmla="*/ 357740 h 527292"/>
                  <a:gd name="connsiteX953" fmla="*/ 859729 w 867607"/>
                  <a:gd name="connsiteY953" fmla="*/ 359559 h 527292"/>
                  <a:gd name="connsiteX954" fmla="*/ 858668 w 867607"/>
                  <a:gd name="connsiteY954" fmla="*/ 362589 h 527292"/>
                  <a:gd name="connsiteX955" fmla="*/ 859426 w 867607"/>
                  <a:gd name="connsiteY955" fmla="*/ 365771 h 527292"/>
                  <a:gd name="connsiteX956" fmla="*/ 860789 w 867607"/>
                  <a:gd name="connsiteY956" fmla="*/ 364862 h 527292"/>
                  <a:gd name="connsiteX957" fmla="*/ 864426 w 867607"/>
                  <a:gd name="connsiteY957" fmla="*/ 360165 h 527292"/>
                  <a:gd name="connsiteX958" fmla="*/ 865941 w 867607"/>
                  <a:gd name="connsiteY958" fmla="*/ 357740 h 527292"/>
                  <a:gd name="connsiteX959" fmla="*/ 865790 w 867607"/>
                  <a:gd name="connsiteY959" fmla="*/ 356983 h 527292"/>
                  <a:gd name="connsiteX960" fmla="*/ 863820 w 867607"/>
                  <a:gd name="connsiteY960" fmla="*/ 357589 h 527292"/>
                  <a:gd name="connsiteX961" fmla="*/ 867002 w 867607"/>
                  <a:gd name="connsiteY961" fmla="*/ 338194 h 527292"/>
                  <a:gd name="connsiteX962" fmla="*/ 866699 w 867607"/>
                  <a:gd name="connsiteY962" fmla="*/ 337437 h 527292"/>
                  <a:gd name="connsiteX963" fmla="*/ 866396 w 867607"/>
                  <a:gd name="connsiteY963" fmla="*/ 336982 h 527292"/>
                  <a:gd name="connsiteX964" fmla="*/ 866093 w 867607"/>
                  <a:gd name="connsiteY964" fmla="*/ 336982 h 527292"/>
                  <a:gd name="connsiteX965" fmla="*/ 866547 w 867607"/>
                  <a:gd name="connsiteY965" fmla="*/ 338346 h 527292"/>
                  <a:gd name="connsiteX966" fmla="*/ 867153 w 867607"/>
                  <a:gd name="connsiteY966" fmla="*/ 339406 h 527292"/>
                  <a:gd name="connsiteX967" fmla="*/ 867608 w 867607"/>
                  <a:gd name="connsiteY967" fmla="*/ 339558 h 527292"/>
                  <a:gd name="connsiteX968" fmla="*/ 867002 w 867607"/>
                  <a:gd name="connsiteY968" fmla="*/ 338194 h 527292"/>
                  <a:gd name="connsiteX969" fmla="*/ 99246 w 867607"/>
                  <a:gd name="connsiteY969" fmla="*/ 29546 h 527292"/>
                  <a:gd name="connsiteX970" fmla="*/ 98943 w 867607"/>
                  <a:gd name="connsiteY970" fmla="*/ 29698 h 527292"/>
                  <a:gd name="connsiteX971" fmla="*/ 98791 w 867607"/>
                  <a:gd name="connsiteY971" fmla="*/ 30910 h 527292"/>
                  <a:gd name="connsiteX972" fmla="*/ 100458 w 867607"/>
                  <a:gd name="connsiteY972" fmla="*/ 32274 h 527292"/>
                  <a:gd name="connsiteX973" fmla="*/ 101367 w 867607"/>
                  <a:gd name="connsiteY973" fmla="*/ 32122 h 527292"/>
                  <a:gd name="connsiteX974" fmla="*/ 101519 w 867607"/>
                  <a:gd name="connsiteY974" fmla="*/ 31516 h 527292"/>
                  <a:gd name="connsiteX975" fmla="*/ 100913 w 867607"/>
                  <a:gd name="connsiteY975" fmla="*/ 30456 h 527292"/>
                  <a:gd name="connsiteX976" fmla="*/ 99246 w 867607"/>
                  <a:gd name="connsiteY976" fmla="*/ 29546 h 527292"/>
                  <a:gd name="connsiteX977" fmla="*/ 213493 w 867607"/>
                  <a:gd name="connsiteY977" fmla="*/ 229099 h 527292"/>
                  <a:gd name="connsiteX978" fmla="*/ 210917 w 867607"/>
                  <a:gd name="connsiteY978" fmla="*/ 227736 h 527292"/>
                  <a:gd name="connsiteX979" fmla="*/ 210614 w 867607"/>
                  <a:gd name="connsiteY979" fmla="*/ 227887 h 527292"/>
                  <a:gd name="connsiteX980" fmla="*/ 210462 w 867607"/>
                  <a:gd name="connsiteY980" fmla="*/ 228948 h 527292"/>
                  <a:gd name="connsiteX981" fmla="*/ 211674 w 867607"/>
                  <a:gd name="connsiteY981" fmla="*/ 231220 h 527292"/>
                  <a:gd name="connsiteX982" fmla="*/ 213493 w 867607"/>
                  <a:gd name="connsiteY982" fmla="*/ 233039 h 527292"/>
                  <a:gd name="connsiteX983" fmla="*/ 214856 w 867607"/>
                  <a:gd name="connsiteY983" fmla="*/ 233493 h 527292"/>
                  <a:gd name="connsiteX984" fmla="*/ 214099 w 867607"/>
                  <a:gd name="connsiteY984" fmla="*/ 230311 h 527292"/>
                  <a:gd name="connsiteX985" fmla="*/ 213493 w 867607"/>
                  <a:gd name="connsiteY985" fmla="*/ 229099 h 527292"/>
                  <a:gd name="connsiteX986" fmla="*/ 167885 w 867607"/>
                  <a:gd name="connsiteY986" fmla="*/ 106974 h 527292"/>
                  <a:gd name="connsiteX987" fmla="*/ 167279 w 867607"/>
                  <a:gd name="connsiteY987" fmla="*/ 105913 h 527292"/>
                  <a:gd name="connsiteX988" fmla="*/ 163491 w 867607"/>
                  <a:gd name="connsiteY988" fmla="*/ 106974 h 527292"/>
                  <a:gd name="connsiteX989" fmla="*/ 162279 w 867607"/>
                  <a:gd name="connsiteY989" fmla="*/ 108034 h 527292"/>
                  <a:gd name="connsiteX990" fmla="*/ 160612 w 867607"/>
                  <a:gd name="connsiteY990" fmla="*/ 116216 h 527292"/>
                  <a:gd name="connsiteX991" fmla="*/ 161067 w 867607"/>
                  <a:gd name="connsiteY991" fmla="*/ 117580 h 527292"/>
                  <a:gd name="connsiteX992" fmla="*/ 165461 w 867607"/>
                  <a:gd name="connsiteY992" fmla="*/ 119853 h 527292"/>
                  <a:gd name="connsiteX993" fmla="*/ 167582 w 867607"/>
                  <a:gd name="connsiteY993" fmla="*/ 120004 h 527292"/>
                  <a:gd name="connsiteX994" fmla="*/ 169703 w 867607"/>
                  <a:gd name="connsiteY994" fmla="*/ 113035 h 527292"/>
                  <a:gd name="connsiteX995" fmla="*/ 168491 w 867607"/>
                  <a:gd name="connsiteY995" fmla="*/ 109398 h 527292"/>
                  <a:gd name="connsiteX996" fmla="*/ 167885 w 867607"/>
                  <a:gd name="connsiteY996" fmla="*/ 106974 h 527292"/>
                  <a:gd name="connsiteX997" fmla="*/ 232584 w 867607"/>
                  <a:gd name="connsiteY997" fmla="*/ 249706 h 527292"/>
                  <a:gd name="connsiteX998" fmla="*/ 233190 w 867607"/>
                  <a:gd name="connsiteY998" fmla="*/ 253494 h 527292"/>
                  <a:gd name="connsiteX999" fmla="*/ 234554 w 867607"/>
                  <a:gd name="connsiteY999" fmla="*/ 255009 h 527292"/>
                  <a:gd name="connsiteX1000" fmla="*/ 235160 w 867607"/>
                  <a:gd name="connsiteY1000" fmla="*/ 254858 h 527292"/>
                  <a:gd name="connsiteX1001" fmla="*/ 235463 w 867607"/>
                  <a:gd name="connsiteY1001" fmla="*/ 254555 h 527292"/>
                  <a:gd name="connsiteX1002" fmla="*/ 235463 w 867607"/>
                  <a:gd name="connsiteY1002" fmla="*/ 253949 h 527292"/>
                  <a:gd name="connsiteX1003" fmla="*/ 232887 w 867607"/>
                  <a:gd name="connsiteY1003" fmla="*/ 249251 h 527292"/>
                  <a:gd name="connsiteX1004" fmla="*/ 232584 w 867607"/>
                  <a:gd name="connsiteY1004" fmla="*/ 249706 h 527292"/>
                  <a:gd name="connsiteX1005" fmla="*/ 198644 w 867607"/>
                  <a:gd name="connsiteY1005" fmla="*/ 199250 h 527292"/>
                  <a:gd name="connsiteX1006" fmla="*/ 197432 w 867607"/>
                  <a:gd name="connsiteY1006" fmla="*/ 200159 h 527292"/>
                  <a:gd name="connsiteX1007" fmla="*/ 196219 w 867607"/>
                  <a:gd name="connsiteY1007" fmla="*/ 206068 h 527292"/>
                  <a:gd name="connsiteX1008" fmla="*/ 196825 w 867607"/>
                  <a:gd name="connsiteY1008" fmla="*/ 205613 h 527292"/>
                  <a:gd name="connsiteX1009" fmla="*/ 198795 w 867607"/>
                  <a:gd name="connsiteY1009" fmla="*/ 201219 h 527292"/>
                  <a:gd name="connsiteX1010" fmla="*/ 199856 w 867607"/>
                  <a:gd name="connsiteY1010" fmla="*/ 201977 h 527292"/>
                  <a:gd name="connsiteX1011" fmla="*/ 200007 w 867607"/>
                  <a:gd name="connsiteY1011" fmla="*/ 201674 h 527292"/>
                  <a:gd name="connsiteX1012" fmla="*/ 199704 w 867607"/>
                  <a:gd name="connsiteY1012" fmla="*/ 200613 h 527292"/>
                  <a:gd name="connsiteX1013" fmla="*/ 200007 w 867607"/>
                  <a:gd name="connsiteY1013" fmla="*/ 198947 h 527292"/>
                  <a:gd name="connsiteX1014" fmla="*/ 198644 w 867607"/>
                  <a:gd name="connsiteY1014" fmla="*/ 199250 h 52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Lst>
                <a:rect l="l" t="t" r="r" b="b"/>
                <a:pathLst>
                  <a:path w="867607" h="527292">
                    <a:moveTo>
                      <a:pt x="171673" y="240312"/>
                    </a:moveTo>
                    <a:lnTo>
                      <a:pt x="171522" y="238191"/>
                    </a:lnTo>
                    <a:lnTo>
                      <a:pt x="170612" y="236221"/>
                    </a:lnTo>
                    <a:lnTo>
                      <a:pt x="169703" y="235008"/>
                    </a:lnTo>
                    <a:lnTo>
                      <a:pt x="169552" y="233796"/>
                    </a:lnTo>
                    <a:lnTo>
                      <a:pt x="171370" y="223948"/>
                    </a:lnTo>
                    <a:lnTo>
                      <a:pt x="170612" y="222129"/>
                    </a:lnTo>
                    <a:lnTo>
                      <a:pt x="168946" y="231827"/>
                    </a:lnTo>
                    <a:lnTo>
                      <a:pt x="166976" y="236524"/>
                    </a:lnTo>
                    <a:lnTo>
                      <a:pt x="169400" y="237281"/>
                    </a:lnTo>
                    <a:lnTo>
                      <a:pt x="170309" y="238191"/>
                    </a:lnTo>
                    <a:lnTo>
                      <a:pt x="170612" y="240463"/>
                    </a:lnTo>
                    <a:lnTo>
                      <a:pt x="172885" y="243797"/>
                    </a:lnTo>
                    <a:lnTo>
                      <a:pt x="173491" y="243494"/>
                    </a:lnTo>
                    <a:lnTo>
                      <a:pt x="173188" y="242433"/>
                    </a:lnTo>
                    <a:lnTo>
                      <a:pt x="171673" y="240312"/>
                    </a:lnTo>
                    <a:close/>
                    <a:moveTo>
                      <a:pt x="176673" y="243342"/>
                    </a:moveTo>
                    <a:lnTo>
                      <a:pt x="174703" y="243797"/>
                    </a:lnTo>
                    <a:lnTo>
                      <a:pt x="182886" y="249251"/>
                    </a:lnTo>
                    <a:lnTo>
                      <a:pt x="183189" y="247888"/>
                    </a:lnTo>
                    <a:lnTo>
                      <a:pt x="178794" y="243645"/>
                    </a:lnTo>
                    <a:lnTo>
                      <a:pt x="176673" y="243342"/>
                    </a:lnTo>
                    <a:close/>
                    <a:moveTo>
                      <a:pt x="324557" y="325769"/>
                    </a:moveTo>
                    <a:lnTo>
                      <a:pt x="322891" y="324709"/>
                    </a:lnTo>
                    <a:lnTo>
                      <a:pt x="321679" y="325163"/>
                    </a:lnTo>
                    <a:lnTo>
                      <a:pt x="321830" y="327588"/>
                    </a:lnTo>
                    <a:lnTo>
                      <a:pt x="322588" y="329103"/>
                    </a:lnTo>
                    <a:lnTo>
                      <a:pt x="324709" y="330012"/>
                    </a:lnTo>
                    <a:lnTo>
                      <a:pt x="325467" y="327739"/>
                    </a:lnTo>
                    <a:lnTo>
                      <a:pt x="324860" y="326527"/>
                    </a:lnTo>
                    <a:lnTo>
                      <a:pt x="324557" y="325769"/>
                    </a:lnTo>
                    <a:close/>
                    <a:moveTo>
                      <a:pt x="202735" y="405469"/>
                    </a:moveTo>
                    <a:lnTo>
                      <a:pt x="201371" y="406378"/>
                    </a:lnTo>
                    <a:lnTo>
                      <a:pt x="200765" y="407742"/>
                    </a:lnTo>
                    <a:lnTo>
                      <a:pt x="203189" y="409409"/>
                    </a:lnTo>
                    <a:lnTo>
                      <a:pt x="204856" y="408803"/>
                    </a:lnTo>
                    <a:lnTo>
                      <a:pt x="204098" y="407136"/>
                    </a:lnTo>
                    <a:lnTo>
                      <a:pt x="202735" y="405469"/>
                    </a:lnTo>
                    <a:close/>
                    <a:moveTo>
                      <a:pt x="86670" y="131823"/>
                    </a:moveTo>
                    <a:lnTo>
                      <a:pt x="85609" y="132581"/>
                    </a:lnTo>
                    <a:lnTo>
                      <a:pt x="85912" y="136217"/>
                    </a:lnTo>
                    <a:lnTo>
                      <a:pt x="83336" y="139702"/>
                    </a:lnTo>
                    <a:lnTo>
                      <a:pt x="87882" y="141672"/>
                    </a:lnTo>
                    <a:lnTo>
                      <a:pt x="88185" y="140763"/>
                    </a:lnTo>
                    <a:lnTo>
                      <a:pt x="88791" y="137732"/>
                    </a:lnTo>
                    <a:lnTo>
                      <a:pt x="87427" y="133187"/>
                    </a:lnTo>
                    <a:lnTo>
                      <a:pt x="86670" y="131823"/>
                    </a:lnTo>
                    <a:close/>
                    <a:moveTo>
                      <a:pt x="730936" y="410773"/>
                    </a:moveTo>
                    <a:lnTo>
                      <a:pt x="731694" y="409863"/>
                    </a:lnTo>
                    <a:lnTo>
                      <a:pt x="734876" y="408500"/>
                    </a:lnTo>
                    <a:lnTo>
                      <a:pt x="734573" y="408045"/>
                    </a:lnTo>
                    <a:lnTo>
                      <a:pt x="733512" y="407894"/>
                    </a:lnTo>
                    <a:lnTo>
                      <a:pt x="727300" y="410773"/>
                    </a:lnTo>
                    <a:lnTo>
                      <a:pt x="727906" y="411379"/>
                    </a:lnTo>
                    <a:lnTo>
                      <a:pt x="730936" y="410773"/>
                    </a:lnTo>
                    <a:close/>
                    <a:moveTo>
                      <a:pt x="3636" y="110610"/>
                    </a:moveTo>
                    <a:lnTo>
                      <a:pt x="2424" y="109247"/>
                    </a:lnTo>
                    <a:lnTo>
                      <a:pt x="2424" y="107731"/>
                    </a:lnTo>
                    <a:lnTo>
                      <a:pt x="909" y="107580"/>
                    </a:lnTo>
                    <a:lnTo>
                      <a:pt x="0" y="108337"/>
                    </a:lnTo>
                    <a:lnTo>
                      <a:pt x="0" y="109852"/>
                    </a:lnTo>
                    <a:lnTo>
                      <a:pt x="3182" y="116065"/>
                    </a:lnTo>
                    <a:lnTo>
                      <a:pt x="4394" y="115004"/>
                    </a:lnTo>
                    <a:lnTo>
                      <a:pt x="4243" y="111974"/>
                    </a:lnTo>
                    <a:lnTo>
                      <a:pt x="3636" y="110610"/>
                    </a:lnTo>
                    <a:close/>
                    <a:moveTo>
                      <a:pt x="862759" y="348346"/>
                    </a:moveTo>
                    <a:lnTo>
                      <a:pt x="864123" y="344861"/>
                    </a:lnTo>
                    <a:lnTo>
                      <a:pt x="865335" y="340770"/>
                    </a:lnTo>
                    <a:lnTo>
                      <a:pt x="864426" y="339406"/>
                    </a:lnTo>
                    <a:lnTo>
                      <a:pt x="864123" y="338497"/>
                    </a:lnTo>
                    <a:lnTo>
                      <a:pt x="863971" y="333194"/>
                    </a:lnTo>
                    <a:lnTo>
                      <a:pt x="861547" y="331982"/>
                    </a:lnTo>
                    <a:lnTo>
                      <a:pt x="858214" y="328345"/>
                    </a:lnTo>
                    <a:lnTo>
                      <a:pt x="855638" y="327436"/>
                    </a:lnTo>
                    <a:lnTo>
                      <a:pt x="853213" y="328497"/>
                    </a:lnTo>
                    <a:lnTo>
                      <a:pt x="851547" y="328800"/>
                    </a:lnTo>
                    <a:lnTo>
                      <a:pt x="848971" y="328800"/>
                    </a:lnTo>
                    <a:lnTo>
                      <a:pt x="848516" y="329406"/>
                    </a:lnTo>
                    <a:lnTo>
                      <a:pt x="850941" y="330163"/>
                    </a:lnTo>
                    <a:lnTo>
                      <a:pt x="852153" y="330163"/>
                    </a:lnTo>
                    <a:lnTo>
                      <a:pt x="853213" y="329709"/>
                    </a:lnTo>
                    <a:lnTo>
                      <a:pt x="853819" y="329709"/>
                    </a:lnTo>
                    <a:lnTo>
                      <a:pt x="854426" y="330618"/>
                    </a:lnTo>
                    <a:lnTo>
                      <a:pt x="853819" y="331679"/>
                    </a:lnTo>
                    <a:lnTo>
                      <a:pt x="853062" y="332285"/>
                    </a:lnTo>
                    <a:lnTo>
                      <a:pt x="852153" y="332588"/>
                    </a:lnTo>
                    <a:lnTo>
                      <a:pt x="845941" y="331830"/>
                    </a:lnTo>
                    <a:lnTo>
                      <a:pt x="840183" y="330012"/>
                    </a:lnTo>
                    <a:lnTo>
                      <a:pt x="837910" y="329557"/>
                    </a:lnTo>
                    <a:lnTo>
                      <a:pt x="831546" y="328042"/>
                    </a:lnTo>
                    <a:lnTo>
                      <a:pt x="828061" y="327739"/>
                    </a:lnTo>
                    <a:lnTo>
                      <a:pt x="827000" y="328042"/>
                    </a:lnTo>
                    <a:lnTo>
                      <a:pt x="827000" y="328345"/>
                    </a:lnTo>
                    <a:lnTo>
                      <a:pt x="826697" y="328648"/>
                    </a:lnTo>
                    <a:lnTo>
                      <a:pt x="824879" y="328952"/>
                    </a:lnTo>
                    <a:lnTo>
                      <a:pt x="818970" y="328952"/>
                    </a:lnTo>
                    <a:lnTo>
                      <a:pt x="815788" y="329861"/>
                    </a:lnTo>
                    <a:lnTo>
                      <a:pt x="811394" y="332436"/>
                    </a:lnTo>
                    <a:lnTo>
                      <a:pt x="807757" y="333346"/>
                    </a:lnTo>
                    <a:lnTo>
                      <a:pt x="781999" y="337285"/>
                    </a:lnTo>
                    <a:lnTo>
                      <a:pt x="780180" y="337891"/>
                    </a:lnTo>
                    <a:lnTo>
                      <a:pt x="772150" y="341679"/>
                    </a:lnTo>
                    <a:lnTo>
                      <a:pt x="767453" y="344861"/>
                    </a:lnTo>
                    <a:lnTo>
                      <a:pt x="765180" y="351982"/>
                    </a:lnTo>
                    <a:lnTo>
                      <a:pt x="764574" y="353195"/>
                    </a:lnTo>
                    <a:lnTo>
                      <a:pt x="763816" y="357589"/>
                    </a:lnTo>
                    <a:lnTo>
                      <a:pt x="763968" y="362589"/>
                    </a:lnTo>
                    <a:lnTo>
                      <a:pt x="763816" y="366983"/>
                    </a:lnTo>
                    <a:lnTo>
                      <a:pt x="763968" y="372589"/>
                    </a:lnTo>
                    <a:lnTo>
                      <a:pt x="763665" y="374862"/>
                    </a:lnTo>
                    <a:lnTo>
                      <a:pt x="763210" y="375923"/>
                    </a:lnTo>
                    <a:lnTo>
                      <a:pt x="759271" y="379256"/>
                    </a:lnTo>
                    <a:lnTo>
                      <a:pt x="758058" y="381074"/>
                    </a:lnTo>
                    <a:lnTo>
                      <a:pt x="756846" y="391681"/>
                    </a:lnTo>
                    <a:lnTo>
                      <a:pt x="750937" y="397287"/>
                    </a:lnTo>
                    <a:lnTo>
                      <a:pt x="748058" y="398802"/>
                    </a:lnTo>
                    <a:lnTo>
                      <a:pt x="745937" y="400469"/>
                    </a:lnTo>
                    <a:lnTo>
                      <a:pt x="737755" y="404560"/>
                    </a:lnTo>
                    <a:lnTo>
                      <a:pt x="737148" y="405318"/>
                    </a:lnTo>
                    <a:lnTo>
                      <a:pt x="736845" y="406227"/>
                    </a:lnTo>
                    <a:lnTo>
                      <a:pt x="737452" y="406227"/>
                    </a:lnTo>
                    <a:lnTo>
                      <a:pt x="740331" y="404257"/>
                    </a:lnTo>
                    <a:lnTo>
                      <a:pt x="740633" y="404863"/>
                    </a:lnTo>
                    <a:lnTo>
                      <a:pt x="739724" y="406833"/>
                    </a:lnTo>
                    <a:lnTo>
                      <a:pt x="740027" y="407591"/>
                    </a:lnTo>
                    <a:lnTo>
                      <a:pt x="741391" y="407742"/>
                    </a:lnTo>
                    <a:lnTo>
                      <a:pt x="742149" y="409257"/>
                    </a:lnTo>
                    <a:lnTo>
                      <a:pt x="742300" y="411985"/>
                    </a:lnTo>
                    <a:lnTo>
                      <a:pt x="737755" y="414257"/>
                    </a:lnTo>
                    <a:lnTo>
                      <a:pt x="735179" y="416682"/>
                    </a:lnTo>
                    <a:lnTo>
                      <a:pt x="733360" y="416985"/>
                    </a:lnTo>
                    <a:lnTo>
                      <a:pt x="727754" y="416379"/>
                    </a:lnTo>
                    <a:lnTo>
                      <a:pt x="724724" y="414712"/>
                    </a:lnTo>
                    <a:lnTo>
                      <a:pt x="723966" y="413803"/>
                    </a:lnTo>
                    <a:lnTo>
                      <a:pt x="725633" y="412742"/>
                    </a:lnTo>
                    <a:lnTo>
                      <a:pt x="725633" y="411682"/>
                    </a:lnTo>
                    <a:lnTo>
                      <a:pt x="723057" y="409409"/>
                    </a:lnTo>
                    <a:lnTo>
                      <a:pt x="719572" y="409712"/>
                    </a:lnTo>
                    <a:lnTo>
                      <a:pt x="716542" y="410318"/>
                    </a:lnTo>
                    <a:lnTo>
                      <a:pt x="710329" y="410621"/>
                    </a:lnTo>
                    <a:lnTo>
                      <a:pt x="709117" y="410924"/>
                    </a:lnTo>
                    <a:lnTo>
                      <a:pt x="702905" y="412439"/>
                    </a:lnTo>
                    <a:lnTo>
                      <a:pt x="702450" y="413500"/>
                    </a:lnTo>
                    <a:lnTo>
                      <a:pt x="701390" y="414864"/>
                    </a:lnTo>
                    <a:lnTo>
                      <a:pt x="698208" y="416379"/>
                    </a:lnTo>
                    <a:lnTo>
                      <a:pt x="691541" y="417591"/>
                    </a:lnTo>
                    <a:lnTo>
                      <a:pt x="688813" y="416985"/>
                    </a:lnTo>
                    <a:lnTo>
                      <a:pt x="679874" y="417288"/>
                    </a:lnTo>
                    <a:lnTo>
                      <a:pt x="674116" y="419258"/>
                    </a:lnTo>
                    <a:lnTo>
                      <a:pt x="671085" y="420773"/>
                    </a:lnTo>
                    <a:lnTo>
                      <a:pt x="662449" y="423803"/>
                    </a:lnTo>
                    <a:lnTo>
                      <a:pt x="656842" y="424561"/>
                    </a:lnTo>
                    <a:lnTo>
                      <a:pt x="655024" y="424561"/>
                    </a:lnTo>
                    <a:lnTo>
                      <a:pt x="652600" y="424258"/>
                    </a:lnTo>
                    <a:lnTo>
                      <a:pt x="648964" y="419409"/>
                    </a:lnTo>
                    <a:lnTo>
                      <a:pt x="645781" y="414712"/>
                    </a:lnTo>
                    <a:lnTo>
                      <a:pt x="639872" y="413197"/>
                    </a:lnTo>
                    <a:lnTo>
                      <a:pt x="635327" y="409560"/>
                    </a:lnTo>
                    <a:lnTo>
                      <a:pt x="624872" y="409106"/>
                    </a:lnTo>
                    <a:lnTo>
                      <a:pt x="621084" y="407591"/>
                    </a:lnTo>
                    <a:lnTo>
                      <a:pt x="620478" y="407742"/>
                    </a:lnTo>
                    <a:lnTo>
                      <a:pt x="622296" y="408954"/>
                    </a:lnTo>
                    <a:lnTo>
                      <a:pt x="624417" y="409863"/>
                    </a:lnTo>
                    <a:lnTo>
                      <a:pt x="623053" y="409863"/>
                    </a:lnTo>
                    <a:lnTo>
                      <a:pt x="617750" y="408045"/>
                    </a:lnTo>
                    <a:lnTo>
                      <a:pt x="615023" y="406227"/>
                    </a:lnTo>
                    <a:lnTo>
                      <a:pt x="614871" y="405318"/>
                    </a:lnTo>
                    <a:lnTo>
                      <a:pt x="618053" y="406681"/>
                    </a:lnTo>
                    <a:lnTo>
                      <a:pt x="618962" y="406681"/>
                    </a:lnTo>
                    <a:lnTo>
                      <a:pt x="615326" y="404106"/>
                    </a:lnTo>
                    <a:lnTo>
                      <a:pt x="613356" y="399712"/>
                    </a:lnTo>
                    <a:lnTo>
                      <a:pt x="610932" y="398196"/>
                    </a:lnTo>
                    <a:lnTo>
                      <a:pt x="609568" y="395621"/>
                    </a:lnTo>
                    <a:lnTo>
                      <a:pt x="605022" y="391529"/>
                    </a:lnTo>
                    <a:lnTo>
                      <a:pt x="604265" y="387893"/>
                    </a:lnTo>
                    <a:lnTo>
                      <a:pt x="602750" y="385166"/>
                    </a:lnTo>
                    <a:lnTo>
                      <a:pt x="600325" y="376680"/>
                    </a:lnTo>
                    <a:lnTo>
                      <a:pt x="593355" y="367589"/>
                    </a:lnTo>
                    <a:lnTo>
                      <a:pt x="581991" y="355468"/>
                    </a:lnTo>
                    <a:lnTo>
                      <a:pt x="580173" y="352589"/>
                    </a:lnTo>
                    <a:lnTo>
                      <a:pt x="579870" y="350164"/>
                    </a:lnTo>
                    <a:lnTo>
                      <a:pt x="575476" y="341528"/>
                    </a:lnTo>
                    <a:lnTo>
                      <a:pt x="571536" y="333194"/>
                    </a:lnTo>
                    <a:lnTo>
                      <a:pt x="571536" y="332285"/>
                    </a:lnTo>
                    <a:lnTo>
                      <a:pt x="571233" y="330921"/>
                    </a:lnTo>
                    <a:lnTo>
                      <a:pt x="569870" y="330012"/>
                    </a:lnTo>
                    <a:lnTo>
                      <a:pt x="568960" y="329254"/>
                    </a:lnTo>
                    <a:lnTo>
                      <a:pt x="567900" y="327285"/>
                    </a:lnTo>
                    <a:lnTo>
                      <a:pt x="564718" y="315163"/>
                    </a:lnTo>
                    <a:lnTo>
                      <a:pt x="569264" y="322739"/>
                    </a:lnTo>
                    <a:lnTo>
                      <a:pt x="572900" y="326982"/>
                    </a:lnTo>
                    <a:lnTo>
                      <a:pt x="574870" y="328345"/>
                    </a:lnTo>
                    <a:lnTo>
                      <a:pt x="574870" y="329557"/>
                    </a:lnTo>
                    <a:lnTo>
                      <a:pt x="573809" y="331224"/>
                    </a:lnTo>
                    <a:lnTo>
                      <a:pt x="573506" y="334255"/>
                    </a:lnTo>
                    <a:lnTo>
                      <a:pt x="574264" y="336679"/>
                    </a:lnTo>
                    <a:lnTo>
                      <a:pt x="574870" y="333800"/>
                    </a:lnTo>
                    <a:lnTo>
                      <a:pt x="576233" y="331982"/>
                    </a:lnTo>
                    <a:lnTo>
                      <a:pt x="576839" y="328345"/>
                    </a:lnTo>
                    <a:lnTo>
                      <a:pt x="575627" y="326830"/>
                    </a:lnTo>
                    <a:lnTo>
                      <a:pt x="572294" y="324254"/>
                    </a:lnTo>
                    <a:lnTo>
                      <a:pt x="569567" y="321224"/>
                    </a:lnTo>
                    <a:lnTo>
                      <a:pt x="564718" y="312739"/>
                    </a:lnTo>
                    <a:lnTo>
                      <a:pt x="564263" y="307738"/>
                    </a:lnTo>
                    <a:lnTo>
                      <a:pt x="562597" y="301072"/>
                    </a:lnTo>
                    <a:lnTo>
                      <a:pt x="562597" y="299708"/>
                    </a:lnTo>
                    <a:lnTo>
                      <a:pt x="562142" y="297738"/>
                    </a:lnTo>
                    <a:lnTo>
                      <a:pt x="563203" y="293344"/>
                    </a:lnTo>
                    <a:lnTo>
                      <a:pt x="564869" y="290162"/>
                    </a:lnTo>
                    <a:lnTo>
                      <a:pt x="565172" y="288495"/>
                    </a:lnTo>
                    <a:lnTo>
                      <a:pt x="564566" y="278041"/>
                    </a:lnTo>
                    <a:lnTo>
                      <a:pt x="565627" y="265767"/>
                    </a:lnTo>
                    <a:lnTo>
                      <a:pt x="565172" y="265010"/>
                    </a:lnTo>
                    <a:lnTo>
                      <a:pt x="565627" y="264252"/>
                    </a:lnTo>
                    <a:lnTo>
                      <a:pt x="565930" y="258646"/>
                    </a:lnTo>
                    <a:lnTo>
                      <a:pt x="567294" y="246827"/>
                    </a:lnTo>
                    <a:lnTo>
                      <a:pt x="571688" y="228796"/>
                    </a:lnTo>
                    <a:lnTo>
                      <a:pt x="573961" y="222432"/>
                    </a:lnTo>
                    <a:lnTo>
                      <a:pt x="579415" y="212129"/>
                    </a:lnTo>
                    <a:lnTo>
                      <a:pt x="581082" y="207129"/>
                    </a:lnTo>
                    <a:lnTo>
                      <a:pt x="581537" y="201068"/>
                    </a:lnTo>
                    <a:lnTo>
                      <a:pt x="577900" y="201674"/>
                    </a:lnTo>
                    <a:lnTo>
                      <a:pt x="576385" y="202583"/>
                    </a:lnTo>
                    <a:lnTo>
                      <a:pt x="576082" y="203341"/>
                    </a:lnTo>
                    <a:lnTo>
                      <a:pt x="575779" y="203795"/>
                    </a:lnTo>
                    <a:lnTo>
                      <a:pt x="575324" y="203795"/>
                    </a:lnTo>
                    <a:lnTo>
                      <a:pt x="573506" y="203189"/>
                    </a:lnTo>
                    <a:lnTo>
                      <a:pt x="569415" y="200462"/>
                    </a:lnTo>
                    <a:lnTo>
                      <a:pt x="563506" y="198795"/>
                    </a:lnTo>
                    <a:lnTo>
                      <a:pt x="555778" y="198189"/>
                    </a:lnTo>
                    <a:lnTo>
                      <a:pt x="550475" y="196825"/>
                    </a:lnTo>
                    <a:lnTo>
                      <a:pt x="547596" y="194704"/>
                    </a:lnTo>
                    <a:lnTo>
                      <a:pt x="544717" y="193492"/>
                    </a:lnTo>
                    <a:lnTo>
                      <a:pt x="541687" y="193037"/>
                    </a:lnTo>
                    <a:lnTo>
                      <a:pt x="539111" y="191977"/>
                    </a:lnTo>
                    <a:lnTo>
                      <a:pt x="537141" y="190159"/>
                    </a:lnTo>
                    <a:lnTo>
                      <a:pt x="534262" y="188946"/>
                    </a:lnTo>
                    <a:lnTo>
                      <a:pt x="530323" y="188492"/>
                    </a:lnTo>
                    <a:lnTo>
                      <a:pt x="527747" y="187128"/>
                    </a:lnTo>
                    <a:lnTo>
                      <a:pt x="525929" y="183643"/>
                    </a:lnTo>
                    <a:lnTo>
                      <a:pt x="525929" y="183643"/>
                    </a:lnTo>
                    <a:lnTo>
                      <a:pt x="524413" y="177885"/>
                    </a:lnTo>
                    <a:lnTo>
                      <a:pt x="522444" y="174249"/>
                    </a:lnTo>
                    <a:lnTo>
                      <a:pt x="518656" y="169855"/>
                    </a:lnTo>
                    <a:lnTo>
                      <a:pt x="518353" y="169249"/>
                    </a:lnTo>
                    <a:lnTo>
                      <a:pt x="518353" y="169249"/>
                    </a:lnTo>
                    <a:lnTo>
                      <a:pt x="518353" y="168491"/>
                    </a:lnTo>
                    <a:lnTo>
                      <a:pt x="518807" y="165915"/>
                    </a:lnTo>
                    <a:lnTo>
                      <a:pt x="518353" y="164097"/>
                    </a:lnTo>
                    <a:lnTo>
                      <a:pt x="517140" y="162582"/>
                    </a:lnTo>
                    <a:lnTo>
                      <a:pt x="516837" y="160915"/>
                    </a:lnTo>
                    <a:lnTo>
                      <a:pt x="517443" y="159248"/>
                    </a:lnTo>
                    <a:lnTo>
                      <a:pt x="517443" y="157279"/>
                    </a:lnTo>
                    <a:lnTo>
                      <a:pt x="516837" y="154854"/>
                    </a:lnTo>
                    <a:lnTo>
                      <a:pt x="514413" y="152278"/>
                    </a:lnTo>
                    <a:lnTo>
                      <a:pt x="510019" y="149551"/>
                    </a:lnTo>
                    <a:lnTo>
                      <a:pt x="506382" y="145460"/>
                    </a:lnTo>
                    <a:lnTo>
                      <a:pt x="503352" y="140157"/>
                    </a:lnTo>
                    <a:lnTo>
                      <a:pt x="500322" y="136520"/>
                    </a:lnTo>
                    <a:lnTo>
                      <a:pt x="497291" y="134399"/>
                    </a:lnTo>
                    <a:lnTo>
                      <a:pt x="495321" y="131823"/>
                    </a:lnTo>
                    <a:lnTo>
                      <a:pt x="494261" y="128793"/>
                    </a:lnTo>
                    <a:lnTo>
                      <a:pt x="493958" y="127126"/>
                    </a:lnTo>
                    <a:lnTo>
                      <a:pt x="494412" y="126671"/>
                    </a:lnTo>
                    <a:lnTo>
                      <a:pt x="492594" y="123338"/>
                    </a:lnTo>
                    <a:lnTo>
                      <a:pt x="488503" y="117277"/>
                    </a:lnTo>
                    <a:lnTo>
                      <a:pt x="486079" y="112731"/>
                    </a:lnTo>
                    <a:lnTo>
                      <a:pt x="485472" y="109852"/>
                    </a:lnTo>
                    <a:lnTo>
                      <a:pt x="482897" y="106519"/>
                    </a:lnTo>
                    <a:lnTo>
                      <a:pt x="478200" y="102580"/>
                    </a:lnTo>
                    <a:lnTo>
                      <a:pt x="475624" y="100004"/>
                    </a:lnTo>
                    <a:lnTo>
                      <a:pt x="475018" y="98185"/>
                    </a:lnTo>
                    <a:lnTo>
                      <a:pt x="475018" y="98185"/>
                    </a:lnTo>
                    <a:lnTo>
                      <a:pt x="467745" y="93034"/>
                    </a:lnTo>
                    <a:lnTo>
                      <a:pt x="465623" y="89852"/>
                    </a:lnTo>
                    <a:lnTo>
                      <a:pt x="463957" y="88791"/>
                    </a:lnTo>
                    <a:lnTo>
                      <a:pt x="462138" y="88943"/>
                    </a:lnTo>
                    <a:lnTo>
                      <a:pt x="461229" y="88640"/>
                    </a:lnTo>
                    <a:lnTo>
                      <a:pt x="461229" y="87882"/>
                    </a:lnTo>
                    <a:lnTo>
                      <a:pt x="460623" y="87882"/>
                    </a:lnTo>
                    <a:lnTo>
                      <a:pt x="459411" y="88488"/>
                    </a:lnTo>
                    <a:lnTo>
                      <a:pt x="455623" y="88640"/>
                    </a:lnTo>
                    <a:lnTo>
                      <a:pt x="449108" y="88185"/>
                    </a:lnTo>
                    <a:lnTo>
                      <a:pt x="444410" y="87276"/>
                    </a:lnTo>
                    <a:lnTo>
                      <a:pt x="441532" y="85912"/>
                    </a:lnTo>
                    <a:lnTo>
                      <a:pt x="439562" y="86064"/>
                    </a:lnTo>
                    <a:lnTo>
                      <a:pt x="438349" y="87730"/>
                    </a:lnTo>
                    <a:lnTo>
                      <a:pt x="435925" y="88791"/>
                    </a:lnTo>
                    <a:lnTo>
                      <a:pt x="432137" y="89246"/>
                    </a:lnTo>
                    <a:lnTo>
                      <a:pt x="428804" y="92428"/>
                    </a:lnTo>
                    <a:lnTo>
                      <a:pt x="426076" y="98337"/>
                    </a:lnTo>
                    <a:lnTo>
                      <a:pt x="424864" y="102125"/>
                    </a:lnTo>
                    <a:lnTo>
                      <a:pt x="425167" y="103792"/>
                    </a:lnTo>
                    <a:lnTo>
                      <a:pt x="424410" y="105004"/>
                    </a:lnTo>
                    <a:lnTo>
                      <a:pt x="422591" y="105761"/>
                    </a:lnTo>
                    <a:lnTo>
                      <a:pt x="420773" y="107428"/>
                    </a:lnTo>
                    <a:lnTo>
                      <a:pt x="418955" y="110156"/>
                    </a:lnTo>
                    <a:lnTo>
                      <a:pt x="416834" y="111519"/>
                    </a:lnTo>
                    <a:lnTo>
                      <a:pt x="414409" y="111368"/>
                    </a:lnTo>
                    <a:lnTo>
                      <a:pt x="409864" y="109247"/>
                    </a:lnTo>
                    <a:lnTo>
                      <a:pt x="403197" y="105155"/>
                    </a:lnTo>
                    <a:lnTo>
                      <a:pt x="398045" y="102731"/>
                    </a:lnTo>
                    <a:lnTo>
                      <a:pt x="394257" y="101822"/>
                    </a:lnTo>
                    <a:lnTo>
                      <a:pt x="390924" y="100004"/>
                    </a:lnTo>
                    <a:lnTo>
                      <a:pt x="388045" y="97276"/>
                    </a:lnTo>
                    <a:lnTo>
                      <a:pt x="385469" y="95458"/>
                    </a:lnTo>
                    <a:lnTo>
                      <a:pt x="383045" y="94549"/>
                    </a:lnTo>
                    <a:lnTo>
                      <a:pt x="380166" y="91518"/>
                    </a:lnTo>
                    <a:lnTo>
                      <a:pt x="376984" y="86215"/>
                    </a:lnTo>
                    <a:lnTo>
                      <a:pt x="375317" y="82124"/>
                    </a:lnTo>
                    <a:lnTo>
                      <a:pt x="375317" y="77882"/>
                    </a:lnTo>
                    <a:lnTo>
                      <a:pt x="371074" y="68487"/>
                    </a:lnTo>
                    <a:lnTo>
                      <a:pt x="368802" y="64396"/>
                    </a:lnTo>
                    <a:lnTo>
                      <a:pt x="367135" y="62578"/>
                    </a:lnTo>
                    <a:lnTo>
                      <a:pt x="363801" y="60305"/>
                    </a:lnTo>
                    <a:lnTo>
                      <a:pt x="358953" y="57729"/>
                    </a:lnTo>
                    <a:lnTo>
                      <a:pt x="352437" y="52578"/>
                    </a:lnTo>
                    <a:lnTo>
                      <a:pt x="344255" y="44699"/>
                    </a:lnTo>
                    <a:lnTo>
                      <a:pt x="338497" y="40001"/>
                    </a:lnTo>
                    <a:lnTo>
                      <a:pt x="335164" y="38335"/>
                    </a:lnTo>
                    <a:lnTo>
                      <a:pt x="332285" y="35456"/>
                    </a:lnTo>
                    <a:lnTo>
                      <a:pt x="329861" y="31365"/>
                    </a:lnTo>
                    <a:lnTo>
                      <a:pt x="327436" y="28789"/>
                    </a:lnTo>
                    <a:lnTo>
                      <a:pt x="327133" y="28637"/>
                    </a:lnTo>
                    <a:lnTo>
                      <a:pt x="326982" y="28637"/>
                    </a:lnTo>
                    <a:lnTo>
                      <a:pt x="320921" y="28637"/>
                    </a:lnTo>
                    <a:lnTo>
                      <a:pt x="314860" y="28637"/>
                    </a:lnTo>
                    <a:lnTo>
                      <a:pt x="308799" y="28637"/>
                    </a:lnTo>
                    <a:lnTo>
                      <a:pt x="302738" y="28637"/>
                    </a:lnTo>
                    <a:lnTo>
                      <a:pt x="296678" y="28637"/>
                    </a:lnTo>
                    <a:lnTo>
                      <a:pt x="290617" y="28637"/>
                    </a:lnTo>
                    <a:lnTo>
                      <a:pt x="284556" y="28637"/>
                    </a:lnTo>
                    <a:lnTo>
                      <a:pt x="278495" y="28637"/>
                    </a:lnTo>
                    <a:lnTo>
                      <a:pt x="278495" y="31971"/>
                    </a:lnTo>
                    <a:lnTo>
                      <a:pt x="278495" y="35304"/>
                    </a:lnTo>
                    <a:lnTo>
                      <a:pt x="278495" y="38638"/>
                    </a:lnTo>
                    <a:lnTo>
                      <a:pt x="278495" y="41971"/>
                    </a:lnTo>
                    <a:lnTo>
                      <a:pt x="268798" y="41971"/>
                    </a:lnTo>
                    <a:lnTo>
                      <a:pt x="259101" y="41971"/>
                    </a:lnTo>
                    <a:lnTo>
                      <a:pt x="249403" y="41971"/>
                    </a:lnTo>
                    <a:lnTo>
                      <a:pt x="239706" y="41971"/>
                    </a:lnTo>
                    <a:lnTo>
                      <a:pt x="230008" y="41971"/>
                    </a:lnTo>
                    <a:lnTo>
                      <a:pt x="220311" y="41971"/>
                    </a:lnTo>
                    <a:lnTo>
                      <a:pt x="210614" y="41971"/>
                    </a:lnTo>
                    <a:lnTo>
                      <a:pt x="200916" y="41971"/>
                    </a:lnTo>
                    <a:lnTo>
                      <a:pt x="187886" y="37577"/>
                    </a:lnTo>
                    <a:lnTo>
                      <a:pt x="174855" y="33183"/>
                    </a:lnTo>
                    <a:lnTo>
                      <a:pt x="161824" y="28789"/>
                    </a:lnTo>
                    <a:lnTo>
                      <a:pt x="148793" y="24395"/>
                    </a:lnTo>
                    <a:lnTo>
                      <a:pt x="135763" y="19849"/>
                    </a:lnTo>
                    <a:lnTo>
                      <a:pt x="122732" y="15304"/>
                    </a:lnTo>
                    <a:lnTo>
                      <a:pt x="109701" y="10758"/>
                    </a:lnTo>
                    <a:lnTo>
                      <a:pt x="96670" y="6212"/>
                    </a:lnTo>
                    <a:lnTo>
                      <a:pt x="98034" y="4546"/>
                    </a:lnTo>
                    <a:lnTo>
                      <a:pt x="99701" y="0"/>
                    </a:lnTo>
                    <a:lnTo>
                      <a:pt x="96519" y="303"/>
                    </a:lnTo>
                    <a:lnTo>
                      <a:pt x="88640" y="909"/>
                    </a:lnTo>
                    <a:lnTo>
                      <a:pt x="80760" y="1515"/>
                    </a:lnTo>
                    <a:lnTo>
                      <a:pt x="72881" y="2121"/>
                    </a:lnTo>
                    <a:lnTo>
                      <a:pt x="65002" y="2727"/>
                    </a:lnTo>
                    <a:lnTo>
                      <a:pt x="57123" y="3333"/>
                    </a:lnTo>
                    <a:lnTo>
                      <a:pt x="49244" y="3939"/>
                    </a:lnTo>
                    <a:lnTo>
                      <a:pt x="41365" y="4546"/>
                    </a:lnTo>
                    <a:lnTo>
                      <a:pt x="33486" y="5152"/>
                    </a:lnTo>
                    <a:lnTo>
                      <a:pt x="35304" y="10910"/>
                    </a:lnTo>
                    <a:lnTo>
                      <a:pt x="36062" y="12122"/>
                    </a:lnTo>
                    <a:lnTo>
                      <a:pt x="39395" y="15304"/>
                    </a:lnTo>
                    <a:lnTo>
                      <a:pt x="41214" y="21364"/>
                    </a:lnTo>
                    <a:lnTo>
                      <a:pt x="47426" y="25758"/>
                    </a:lnTo>
                    <a:lnTo>
                      <a:pt x="47274" y="28637"/>
                    </a:lnTo>
                    <a:lnTo>
                      <a:pt x="46517" y="29243"/>
                    </a:lnTo>
                    <a:lnTo>
                      <a:pt x="45153" y="29092"/>
                    </a:lnTo>
                    <a:lnTo>
                      <a:pt x="44547" y="29395"/>
                    </a:lnTo>
                    <a:lnTo>
                      <a:pt x="46062" y="30456"/>
                    </a:lnTo>
                    <a:lnTo>
                      <a:pt x="46214" y="34547"/>
                    </a:lnTo>
                    <a:lnTo>
                      <a:pt x="47578" y="36517"/>
                    </a:lnTo>
                    <a:lnTo>
                      <a:pt x="51669" y="40607"/>
                    </a:lnTo>
                    <a:lnTo>
                      <a:pt x="55154" y="45305"/>
                    </a:lnTo>
                    <a:lnTo>
                      <a:pt x="55760" y="47577"/>
                    </a:lnTo>
                    <a:lnTo>
                      <a:pt x="55760" y="49850"/>
                    </a:lnTo>
                    <a:lnTo>
                      <a:pt x="56063" y="52275"/>
                    </a:lnTo>
                    <a:lnTo>
                      <a:pt x="62426" y="57275"/>
                    </a:lnTo>
                    <a:lnTo>
                      <a:pt x="63184" y="60305"/>
                    </a:lnTo>
                    <a:lnTo>
                      <a:pt x="63336" y="64548"/>
                    </a:lnTo>
                    <a:lnTo>
                      <a:pt x="64245" y="68942"/>
                    </a:lnTo>
                    <a:lnTo>
                      <a:pt x="68033" y="70609"/>
                    </a:lnTo>
                    <a:lnTo>
                      <a:pt x="69245" y="72275"/>
                    </a:lnTo>
                    <a:lnTo>
                      <a:pt x="70003" y="78791"/>
                    </a:lnTo>
                    <a:lnTo>
                      <a:pt x="69548" y="82427"/>
                    </a:lnTo>
                    <a:lnTo>
                      <a:pt x="71215" y="83185"/>
                    </a:lnTo>
                    <a:lnTo>
                      <a:pt x="73336" y="88488"/>
                    </a:lnTo>
                    <a:lnTo>
                      <a:pt x="76366" y="90761"/>
                    </a:lnTo>
                    <a:lnTo>
                      <a:pt x="83336" y="95155"/>
                    </a:lnTo>
                    <a:lnTo>
                      <a:pt x="87276" y="98337"/>
                    </a:lnTo>
                    <a:lnTo>
                      <a:pt x="91973" y="99549"/>
                    </a:lnTo>
                    <a:lnTo>
                      <a:pt x="93488" y="100458"/>
                    </a:lnTo>
                    <a:lnTo>
                      <a:pt x="95155" y="102580"/>
                    </a:lnTo>
                    <a:lnTo>
                      <a:pt x="100913" y="108186"/>
                    </a:lnTo>
                    <a:lnTo>
                      <a:pt x="110610" y="118944"/>
                    </a:lnTo>
                    <a:lnTo>
                      <a:pt x="115156" y="122580"/>
                    </a:lnTo>
                    <a:lnTo>
                      <a:pt x="117883" y="127883"/>
                    </a:lnTo>
                    <a:lnTo>
                      <a:pt x="116671" y="133944"/>
                    </a:lnTo>
                    <a:lnTo>
                      <a:pt x="114095" y="140005"/>
                    </a:lnTo>
                    <a:lnTo>
                      <a:pt x="111822" y="142278"/>
                    </a:lnTo>
                    <a:lnTo>
                      <a:pt x="112125" y="143036"/>
                    </a:lnTo>
                    <a:lnTo>
                      <a:pt x="114701" y="142732"/>
                    </a:lnTo>
                    <a:lnTo>
                      <a:pt x="114701" y="144248"/>
                    </a:lnTo>
                    <a:lnTo>
                      <a:pt x="114247" y="145308"/>
                    </a:lnTo>
                    <a:lnTo>
                      <a:pt x="115307" y="148339"/>
                    </a:lnTo>
                    <a:lnTo>
                      <a:pt x="117125" y="149854"/>
                    </a:lnTo>
                    <a:lnTo>
                      <a:pt x="115307" y="150005"/>
                    </a:lnTo>
                    <a:lnTo>
                      <a:pt x="112731" y="148642"/>
                    </a:lnTo>
                    <a:lnTo>
                      <a:pt x="110762" y="146975"/>
                    </a:lnTo>
                    <a:lnTo>
                      <a:pt x="111065" y="145157"/>
                    </a:lnTo>
                    <a:lnTo>
                      <a:pt x="110762" y="144096"/>
                    </a:lnTo>
                    <a:lnTo>
                      <a:pt x="108792" y="145005"/>
                    </a:lnTo>
                    <a:lnTo>
                      <a:pt x="106671" y="146369"/>
                    </a:lnTo>
                    <a:lnTo>
                      <a:pt x="103337" y="146824"/>
                    </a:lnTo>
                    <a:lnTo>
                      <a:pt x="96367" y="145460"/>
                    </a:lnTo>
                    <a:lnTo>
                      <a:pt x="90609" y="145157"/>
                    </a:lnTo>
                    <a:lnTo>
                      <a:pt x="90761" y="146369"/>
                    </a:lnTo>
                    <a:lnTo>
                      <a:pt x="91822" y="148187"/>
                    </a:lnTo>
                    <a:lnTo>
                      <a:pt x="95458" y="150460"/>
                    </a:lnTo>
                    <a:lnTo>
                      <a:pt x="99398" y="153945"/>
                    </a:lnTo>
                    <a:lnTo>
                      <a:pt x="104246" y="157127"/>
                    </a:lnTo>
                    <a:lnTo>
                      <a:pt x="105458" y="158794"/>
                    </a:lnTo>
                    <a:lnTo>
                      <a:pt x="105913" y="161521"/>
                    </a:lnTo>
                    <a:lnTo>
                      <a:pt x="106822" y="163491"/>
                    </a:lnTo>
                    <a:lnTo>
                      <a:pt x="109853" y="165309"/>
                    </a:lnTo>
                    <a:lnTo>
                      <a:pt x="113489" y="165764"/>
                    </a:lnTo>
                    <a:lnTo>
                      <a:pt x="116065" y="166824"/>
                    </a:lnTo>
                    <a:lnTo>
                      <a:pt x="119247" y="170309"/>
                    </a:lnTo>
                    <a:lnTo>
                      <a:pt x="120914" y="170309"/>
                    </a:lnTo>
                    <a:lnTo>
                      <a:pt x="123489" y="170915"/>
                    </a:lnTo>
                    <a:lnTo>
                      <a:pt x="125762" y="173643"/>
                    </a:lnTo>
                    <a:lnTo>
                      <a:pt x="127277" y="175916"/>
                    </a:lnTo>
                    <a:lnTo>
                      <a:pt x="130156" y="178037"/>
                    </a:lnTo>
                    <a:lnTo>
                      <a:pt x="134853" y="175916"/>
                    </a:lnTo>
                    <a:lnTo>
                      <a:pt x="139096" y="176067"/>
                    </a:lnTo>
                    <a:lnTo>
                      <a:pt x="140914" y="174097"/>
                    </a:lnTo>
                    <a:lnTo>
                      <a:pt x="142278" y="171521"/>
                    </a:lnTo>
                    <a:lnTo>
                      <a:pt x="142581" y="176067"/>
                    </a:lnTo>
                    <a:lnTo>
                      <a:pt x="143187" y="178340"/>
                    </a:lnTo>
                    <a:lnTo>
                      <a:pt x="145914" y="182279"/>
                    </a:lnTo>
                    <a:lnTo>
                      <a:pt x="155763" y="190007"/>
                    </a:lnTo>
                    <a:lnTo>
                      <a:pt x="159400" y="191219"/>
                    </a:lnTo>
                    <a:lnTo>
                      <a:pt x="163491" y="192886"/>
                    </a:lnTo>
                    <a:lnTo>
                      <a:pt x="169097" y="201674"/>
                    </a:lnTo>
                    <a:lnTo>
                      <a:pt x="170612" y="205917"/>
                    </a:lnTo>
                    <a:lnTo>
                      <a:pt x="170764" y="209856"/>
                    </a:lnTo>
                    <a:lnTo>
                      <a:pt x="171370" y="211220"/>
                    </a:lnTo>
                    <a:lnTo>
                      <a:pt x="171976" y="211523"/>
                    </a:lnTo>
                    <a:lnTo>
                      <a:pt x="172431" y="213947"/>
                    </a:lnTo>
                    <a:lnTo>
                      <a:pt x="171825" y="218644"/>
                    </a:lnTo>
                    <a:lnTo>
                      <a:pt x="170461" y="226826"/>
                    </a:lnTo>
                    <a:lnTo>
                      <a:pt x="170764" y="230008"/>
                    </a:lnTo>
                    <a:lnTo>
                      <a:pt x="171976" y="232736"/>
                    </a:lnTo>
                    <a:lnTo>
                      <a:pt x="178188" y="237584"/>
                    </a:lnTo>
                    <a:lnTo>
                      <a:pt x="178794" y="238645"/>
                    </a:lnTo>
                    <a:lnTo>
                      <a:pt x="178946" y="240312"/>
                    </a:lnTo>
                    <a:lnTo>
                      <a:pt x="179552" y="241221"/>
                    </a:lnTo>
                    <a:lnTo>
                      <a:pt x="180916" y="240918"/>
                    </a:lnTo>
                    <a:lnTo>
                      <a:pt x="182734" y="240918"/>
                    </a:lnTo>
                    <a:lnTo>
                      <a:pt x="185613" y="244251"/>
                    </a:lnTo>
                    <a:lnTo>
                      <a:pt x="190007" y="247585"/>
                    </a:lnTo>
                    <a:lnTo>
                      <a:pt x="200462" y="254100"/>
                    </a:lnTo>
                    <a:lnTo>
                      <a:pt x="204250" y="258040"/>
                    </a:lnTo>
                    <a:lnTo>
                      <a:pt x="207886" y="260767"/>
                    </a:lnTo>
                    <a:lnTo>
                      <a:pt x="211523" y="264858"/>
                    </a:lnTo>
                    <a:lnTo>
                      <a:pt x="218796" y="268646"/>
                    </a:lnTo>
                    <a:lnTo>
                      <a:pt x="220766" y="271222"/>
                    </a:lnTo>
                    <a:lnTo>
                      <a:pt x="221978" y="274253"/>
                    </a:lnTo>
                    <a:lnTo>
                      <a:pt x="223645" y="276222"/>
                    </a:lnTo>
                    <a:lnTo>
                      <a:pt x="226220" y="285919"/>
                    </a:lnTo>
                    <a:lnTo>
                      <a:pt x="228342" y="289101"/>
                    </a:lnTo>
                    <a:lnTo>
                      <a:pt x="230615" y="289405"/>
                    </a:lnTo>
                    <a:lnTo>
                      <a:pt x="233342" y="288344"/>
                    </a:lnTo>
                    <a:lnTo>
                      <a:pt x="235918" y="286677"/>
                    </a:lnTo>
                    <a:lnTo>
                      <a:pt x="238645" y="283950"/>
                    </a:lnTo>
                    <a:lnTo>
                      <a:pt x="242282" y="281677"/>
                    </a:lnTo>
                    <a:lnTo>
                      <a:pt x="243342" y="280162"/>
                    </a:lnTo>
                    <a:lnTo>
                      <a:pt x="244555" y="274707"/>
                    </a:lnTo>
                    <a:lnTo>
                      <a:pt x="244403" y="272586"/>
                    </a:lnTo>
                    <a:lnTo>
                      <a:pt x="241979" y="269252"/>
                    </a:lnTo>
                    <a:lnTo>
                      <a:pt x="237433" y="267434"/>
                    </a:lnTo>
                    <a:lnTo>
                      <a:pt x="236524" y="263343"/>
                    </a:lnTo>
                    <a:lnTo>
                      <a:pt x="234706" y="261525"/>
                    </a:lnTo>
                    <a:lnTo>
                      <a:pt x="233796" y="259403"/>
                    </a:lnTo>
                    <a:lnTo>
                      <a:pt x="231524" y="256676"/>
                    </a:lnTo>
                    <a:lnTo>
                      <a:pt x="229099" y="254403"/>
                    </a:lnTo>
                    <a:lnTo>
                      <a:pt x="228039" y="252585"/>
                    </a:lnTo>
                    <a:lnTo>
                      <a:pt x="221523" y="247736"/>
                    </a:lnTo>
                    <a:lnTo>
                      <a:pt x="220463" y="247888"/>
                    </a:lnTo>
                    <a:lnTo>
                      <a:pt x="219857" y="248797"/>
                    </a:lnTo>
                    <a:lnTo>
                      <a:pt x="220008" y="250161"/>
                    </a:lnTo>
                    <a:lnTo>
                      <a:pt x="220614" y="251979"/>
                    </a:lnTo>
                    <a:lnTo>
                      <a:pt x="220008" y="253646"/>
                    </a:lnTo>
                    <a:lnTo>
                      <a:pt x="218644" y="254706"/>
                    </a:lnTo>
                    <a:lnTo>
                      <a:pt x="217432" y="253797"/>
                    </a:lnTo>
                    <a:lnTo>
                      <a:pt x="217735" y="252736"/>
                    </a:lnTo>
                    <a:lnTo>
                      <a:pt x="217129" y="252282"/>
                    </a:lnTo>
                    <a:lnTo>
                      <a:pt x="213644" y="251373"/>
                    </a:lnTo>
                    <a:lnTo>
                      <a:pt x="210614" y="247736"/>
                    </a:lnTo>
                    <a:lnTo>
                      <a:pt x="208493" y="240615"/>
                    </a:lnTo>
                    <a:lnTo>
                      <a:pt x="208644" y="238191"/>
                    </a:lnTo>
                    <a:lnTo>
                      <a:pt x="210008" y="234857"/>
                    </a:lnTo>
                    <a:lnTo>
                      <a:pt x="209705" y="232584"/>
                    </a:lnTo>
                    <a:lnTo>
                      <a:pt x="207886" y="228948"/>
                    </a:lnTo>
                    <a:lnTo>
                      <a:pt x="204098" y="224554"/>
                    </a:lnTo>
                    <a:lnTo>
                      <a:pt x="200765" y="216523"/>
                    </a:lnTo>
                    <a:lnTo>
                      <a:pt x="200159" y="213493"/>
                    </a:lnTo>
                    <a:lnTo>
                      <a:pt x="196977" y="212129"/>
                    </a:lnTo>
                    <a:lnTo>
                      <a:pt x="194553" y="207432"/>
                    </a:lnTo>
                    <a:lnTo>
                      <a:pt x="193492" y="203341"/>
                    </a:lnTo>
                    <a:lnTo>
                      <a:pt x="193492" y="197735"/>
                    </a:lnTo>
                    <a:lnTo>
                      <a:pt x="191522" y="193643"/>
                    </a:lnTo>
                    <a:lnTo>
                      <a:pt x="191068" y="191219"/>
                    </a:lnTo>
                    <a:lnTo>
                      <a:pt x="189856" y="189552"/>
                    </a:lnTo>
                    <a:lnTo>
                      <a:pt x="189704" y="186673"/>
                    </a:lnTo>
                    <a:lnTo>
                      <a:pt x="187583" y="184552"/>
                    </a:lnTo>
                    <a:lnTo>
                      <a:pt x="186977" y="180764"/>
                    </a:lnTo>
                    <a:lnTo>
                      <a:pt x="180764" y="175764"/>
                    </a:lnTo>
                    <a:lnTo>
                      <a:pt x="180007" y="176219"/>
                    </a:lnTo>
                    <a:lnTo>
                      <a:pt x="180158" y="179400"/>
                    </a:lnTo>
                    <a:lnTo>
                      <a:pt x="181219" y="181370"/>
                    </a:lnTo>
                    <a:lnTo>
                      <a:pt x="183340" y="184552"/>
                    </a:lnTo>
                    <a:lnTo>
                      <a:pt x="182734" y="185007"/>
                    </a:lnTo>
                    <a:lnTo>
                      <a:pt x="181825" y="184704"/>
                    </a:lnTo>
                    <a:lnTo>
                      <a:pt x="178794" y="181673"/>
                    </a:lnTo>
                    <a:lnTo>
                      <a:pt x="178188" y="176976"/>
                    </a:lnTo>
                    <a:lnTo>
                      <a:pt x="174703" y="173188"/>
                    </a:lnTo>
                    <a:lnTo>
                      <a:pt x="174552" y="171976"/>
                    </a:lnTo>
                    <a:lnTo>
                      <a:pt x="174855" y="170006"/>
                    </a:lnTo>
                    <a:lnTo>
                      <a:pt x="172279" y="168036"/>
                    </a:lnTo>
                    <a:lnTo>
                      <a:pt x="169703" y="166824"/>
                    </a:lnTo>
                    <a:lnTo>
                      <a:pt x="167279" y="162127"/>
                    </a:lnTo>
                    <a:lnTo>
                      <a:pt x="166067" y="156975"/>
                    </a:lnTo>
                    <a:lnTo>
                      <a:pt x="160006" y="153036"/>
                    </a:lnTo>
                    <a:lnTo>
                      <a:pt x="155006" y="148036"/>
                    </a:lnTo>
                    <a:lnTo>
                      <a:pt x="154400" y="145763"/>
                    </a:lnTo>
                    <a:lnTo>
                      <a:pt x="154703" y="143036"/>
                    </a:lnTo>
                    <a:lnTo>
                      <a:pt x="153036" y="140157"/>
                    </a:lnTo>
                    <a:lnTo>
                      <a:pt x="153339" y="136823"/>
                    </a:lnTo>
                    <a:lnTo>
                      <a:pt x="151369" y="134247"/>
                    </a:lnTo>
                    <a:lnTo>
                      <a:pt x="151521" y="132581"/>
                    </a:lnTo>
                    <a:lnTo>
                      <a:pt x="151369" y="130459"/>
                    </a:lnTo>
                    <a:lnTo>
                      <a:pt x="149096" y="129550"/>
                    </a:lnTo>
                    <a:lnTo>
                      <a:pt x="146975" y="129096"/>
                    </a:lnTo>
                    <a:lnTo>
                      <a:pt x="145308" y="127883"/>
                    </a:lnTo>
                    <a:lnTo>
                      <a:pt x="142278" y="119398"/>
                    </a:lnTo>
                    <a:lnTo>
                      <a:pt x="140763" y="118792"/>
                    </a:lnTo>
                    <a:lnTo>
                      <a:pt x="139096" y="118944"/>
                    </a:lnTo>
                    <a:lnTo>
                      <a:pt x="138641" y="118186"/>
                    </a:lnTo>
                    <a:lnTo>
                      <a:pt x="138793" y="117125"/>
                    </a:lnTo>
                    <a:lnTo>
                      <a:pt x="137278" y="115004"/>
                    </a:lnTo>
                    <a:lnTo>
                      <a:pt x="134096" y="115610"/>
                    </a:lnTo>
                    <a:lnTo>
                      <a:pt x="133035" y="112731"/>
                    </a:lnTo>
                    <a:lnTo>
                      <a:pt x="132884" y="110458"/>
                    </a:lnTo>
                    <a:lnTo>
                      <a:pt x="127126" y="102580"/>
                    </a:lnTo>
                    <a:lnTo>
                      <a:pt x="125156" y="100458"/>
                    </a:lnTo>
                    <a:lnTo>
                      <a:pt x="118792" y="95458"/>
                    </a:lnTo>
                    <a:lnTo>
                      <a:pt x="115610" y="91670"/>
                    </a:lnTo>
                    <a:lnTo>
                      <a:pt x="110307" y="88791"/>
                    </a:lnTo>
                    <a:lnTo>
                      <a:pt x="109398" y="86821"/>
                    </a:lnTo>
                    <a:lnTo>
                      <a:pt x="105307" y="83033"/>
                    </a:lnTo>
                    <a:lnTo>
                      <a:pt x="103186" y="79094"/>
                    </a:lnTo>
                    <a:lnTo>
                      <a:pt x="102580" y="76669"/>
                    </a:lnTo>
                    <a:lnTo>
                      <a:pt x="103034" y="68639"/>
                    </a:lnTo>
                    <a:lnTo>
                      <a:pt x="101670" y="65154"/>
                    </a:lnTo>
                    <a:lnTo>
                      <a:pt x="101216" y="60911"/>
                    </a:lnTo>
                    <a:lnTo>
                      <a:pt x="99701" y="55154"/>
                    </a:lnTo>
                    <a:lnTo>
                      <a:pt x="97428" y="51517"/>
                    </a:lnTo>
                    <a:lnTo>
                      <a:pt x="96367" y="49244"/>
                    </a:lnTo>
                    <a:lnTo>
                      <a:pt x="97276" y="37729"/>
                    </a:lnTo>
                    <a:lnTo>
                      <a:pt x="98943" y="34395"/>
                    </a:lnTo>
                    <a:lnTo>
                      <a:pt x="97579" y="29850"/>
                    </a:lnTo>
                    <a:lnTo>
                      <a:pt x="96064" y="28334"/>
                    </a:lnTo>
                    <a:lnTo>
                      <a:pt x="95003" y="26819"/>
                    </a:lnTo>
                    <a:lnTo>
                      <a:pt x="100307" y="29698"/>
                    </a:lnTo>
                    <a:lnTo>
                      <a:pt x="101519" y="30607"/>
                    </a:lnTo>
                    <a:lnTo>
                      <a:pt x="103943" y="31062"/>
                    </a:lnTo>
                    <a:lnTo>
                      <a:pt x="105610" y="31971"/>
                    </a:lnTo>
                    <a:lnTo>
                      <a:pt x="113337" y="37426"/>
                    </a:lnTo>
                    <a:lnTo>
                      <a:pt x="116519" y="38789"/>
                    </a:lnTo>
                    <a:lnTo>
                      <a:pt x="118338" y="38638"/>
                    </a:lnTo>
                    <a:lnTo>
                      <a:pt x="120459" y="38183"/>
                    </a:lnTo>
                    <a:lnTo>
                      <a:pt x="121217" y="36213"/>
                    </a:lnTo>
                    <a:lnTo>
                      <a:pt x="121974" y="35153"/>
                    </a:lnTo>
                    <a:lnTo>
                      <a:pt x="127126" y="37274"/>
                    </a:lnTo>
                    <a:lnTo>
                      <a:pt x="128793" y="38335"/>
                    </a:lnTo>
                    <a:lnTo>
                      <a:pt x="130611" y="40001"/>
                    </a:lnTo>
                    <a:lnTo>
                      <a:pt x="130914" y="43638"/>
                    </a:lnTo>
                    <a:lnTo>
                      <a:pt x="134853" y="45153"/>
                    </a:lnTo>
                    <a:lnTo>
                      <a:pt x="141672" y="46214"/>
                    </a:lnTo>
                    <a:lnTo>
                      <a:pt x="142884" y="46820"/>
                    </a:lnTo>
                    <a:lnTo>
                      <a:pt x="145763" y="47729"/>
                    </a:lnTo>
                    <a:lnTo>
                      <a:pt x="146824" y="48638"/>
                    </a:lnTo>
                    <a:lnTo>
                      <a:pt x="146975" y="51366"/>
                    </a:lnTo>
                    <a:lnTo>
                      <a:pt x="146217" y="52123"/>
                    </a:lnTo>
                    <a:lnTo>
                      <a:pt x="145308" y="51669"/>
                    </a:lnTo>
                    <a:lnTo>
                      <a:pt x="145005" y="52578"/>
                    </a:lnTo>
                    <a:lnTo>
                      <a:pt x="145308" y="53184"/>
                    </a:lnTo>
                    <a:lnTo>
                      <a:pt x="145763" y="55911"/>
                    </a:lnTo>
                    <a:lnTo>
                      <a:pt x="145157" y="60305"/>
                    </a:lnTo>
                    <a:lnTo>
                      <a:pt x="146672" y="64548"/>
                    </a:lnTo>
                    <a:lnTo>
                      <a:pt x="149551" y="68790"/>
                    </a:lnTo>
                    <a:lnTo>
                      <a:pt x="153036" y="75003"/>
                    </a:lnTo>
                    <a:lnTo>
                      <a:pt x="154854" y="80154"/>
                    </a:lnTo>
                    <a:lnTo>
                      <a:pt x="155460" y="84397"/>
                    </a:lnTo>
                    <a:lnTo>
                      <a:pt x="156521" y="86367"/>
                    </a:lnTo>
                    <a:lnTo>
                      <a:pt x="157733" y="87730"/>
                    </a:lnTo>
                    <a:lnTo>
                      <a:pt x="159854" y="92276"/>
                    </a:lnTo>
                    <a:lnTo>
                      <a:pt x="164248" y="97731"/>
                    </a:lnTo>
                    <a:lnTo>
                      <a:pt x="165006" y="100004"/>
                    </a:lnTo>
                    <a:lnTo>
                      <a:pt x="164855" y="101216"/>
                    </a:lnTo>
                    <a:lnTo>
                      <a:pt x="165309" y="103337"/>
                    </a:lnTo>
                    <a:lnTo>
                      <a:pt x="167430" y="104095"/>
                    </a:lnTo>
                    <a:lnTo>
                      <a:pt x="169552" y="105610"/>
                    </a:lnTo>
                    <a:lnTo>
                      <a:pt x="170461" y="110156"/>
                    </a:lnTo>
                    <a:lnTo>
                      <a:pt x="171218" y="113035"/>
                    </a:lnTo>
                    <a:lnTo>
                      <a:pt x="174400" y="116671"/>
                    </a:lnTo>
                    <a:lnTo>
                      <a:pt x="177279" y="118792"/>
                    </a:lnTo>
                    <a:lnTo>
                      <a:pt x="177885" y="119550"/>
                    </a:lnTo>
                    <a:lnTo>
                      <a:pt x="178188" y="120913"/>
                    </a:lnTo>
                    <a:lnTo>
                      <a:pt x="180158" y="123944"/>
                    </a:lnTo>
                    <a:lnTo>
                      <a:pt x="182431" y="126368"/>
                    </a:lnTo>
                    <a:lnTo>
                      <a:pt x="184249" y="129096"/>
                    </a:lnTo>
                    <a:lnTo>
                      <a:pt x="190007" y="131672"/>
                    </a:lnTo>
                    <a:lnTo>
                      <a:pt x="195159" y="139551"/>
                    </a:lnTo>
                    <a:lnTo>
                      <a:pt x="199553" y="143945"/>
                    </a:lnTo>
                    <a:lnTo>
                      <a:pt x="203189" y="145157"/>
                    </a:lnTo>
                    <a:lnTo>
                      <a:pt x="205008" y="146217"/>
                    </a:lnTo>
                    <a:lnTo>
                      <a:pt x="206977" y="145308"/>
                    </a:lnTo>
                    <a:lnTo>
                      <a:pt x="209402" y="145308"/>
                    </a:lnTo>
                    <a:lnTo>
                      <a:pt x="215614" y="146824"/>
                    </a:lnTo>
                    <a:lnTo>
                      <a:pt x="214250" y="148793"/>
                    </a:lnTo>
                    <a:lnTo>
                      <a:pt x="213190" y="153036"/>
                    </a:lnTo>
                    <a:lnTo>
                      <a:pt x="213796" y="156218"/>
                    </a:lnTo>
                    <a:lnTo>
                      <a:pt x="214705" y="158945"/>
                    </a:lnTo>
                    <a:lnTo>
                      <a:pt x="215766" y="160612"/>
                    </a:lnTo>
                    <a:lnTo>
                      <a:pt x="216978" y="162733"/>
                    </a:lnTo>
                    <a:lnTo>
                      <a:pt x="219705" y="165309"/>
                    </a:lnTo>
                    <a:lnTo>
                      <a:pt x="222432" y="167430"/>
                    </a:lnTo>
                    <a:lnTo>
                      <a:pt x="231524" y="169855"/>
                    </a:lnTo>
                    <a:lnTo>
                      <a:pt x="231978" y="171370"/>
                    </a:lnTo>
                    <a:lnTo>
                      <a:pt x="232130" y="172885"/>
                    </a:lnTo>
                    <a:lnTo>
                      <a:pt x="233039" y="175612"/>
                    </a:lnTo>
                    <a:lnTo>
                      <a:pt x="234706" y="178946"/>
                    </a:lnTo>
                    <a:lnTo>
                      <a:pt x="236675" y="180916"/>
                    </a:lnTo>
                    <a:lnTo>
                      <a:pt x="238797" y="181067"/>
                    </a:lnTo>
                    <a:lnTo>
                      <a:pt x="244100" y="180613"/>
                    </a:lnTo>
                    <a:lnTo>
                      <a:pt x="249706" y="185764"/>
                    </a:lnTo>
                    <a:lnTo>
                      <a:pt x="250615" y="188189"/>
                    </a:lnTo>
                    <a:lnTo>
                      <a:pt x="250615" y="189552"/>
                    </a:lnTo>
                    <a:lnTo>
                      <a:pt x="251221" y="191068"/>
                    </a:lnTo>
                    <a:lnTo>
                      <a:pt x="253191" y="192583"/>
                    </a:lnTo>
                    <a:lnTo>
                      <a:pt x="253949" y="194098"/>
                    </a:lnTo>
                    <a:lnTo>
                      <a:pt x="252737" y="193947"/>
                    </a:lnTo>
                    <a:lnTo>
                      <a:pt x="251676" y="192583"/>
                    </a:lnTo>
                    <a:lnTo>
                      <a:pt x="249706" y="194401"/>
                    </a:lnTo>
                    <a:lnTo>
                      <a:pt x="247433" y="197431"/>
                    </a:lnTo>
                    <a:lnTo>
                      <a:pt x="245464" y="200462"/>
                    </a:lnTo>
                    <a:lnTo>
                      <a:pt x="246524" y="209401"/>
                    </a:lnTo>
                    <a:lnTo>
                      <a:pt x="248797" y="212129"/>
                    </a:lnTo>
                    <a:lnTo>
                      <a:pt x="250161" y="212887"/>
                    </a:lnTo>
                    <a:lnTo>
                      <a:pt x="251676" y="213341"/>
                    </a:lnTo>
                    <a:lnTo>
                      <a:pt x="254706" y="212735"/>
                    </a:lnTo>
                    <a:lnTo>
                      <a:pt x="256828" y="211978"/>
                    </a:lnTo>
                    <a:lnTo>
                      <a:pt x="258797" y="210614"/>
                    </a:lnTo>
                    <a:lnTo>
                      <a:pt x="260161" y="209401"/>
                    </a:lnTo>
                    <a:lnTo>
                      <a:pt x="260161" y="210462"/>
                    </a:lnTo>
                    <a:lnTo>
                      <a:pt x="257737" y="213644"/>
                    </a:lnTo>
                    <a:lnTo>
                      <a:pt x="255161" y="214705"/>
                    </a:lnTo>
                    <a:lnTo>
                      <a:pt x="255312" y="215766"/>
                    </a:lnTo>
                    <a:lnTo>
                      <a:pt x="256222" y="216826"/>
                    </a:lnTo>
                    <a:lnTo>
                      <a:pt x="259858" y="215917"/>
                    </a:lnTo>
                    <a:lnTo>
                      <a:pt x="261222" y="215008"/>
                    </a:lnTo>
                    <a:lnTo>
                      <a:pt x="262737" y="215159"/>
                    </a:lnTo>
                    <a:lnTo>
                      <a:pt x="263798" y="218493"/>
                    </a:lnTo>
                    <a:lnTo>
                      <a:pt x="265313" y="219705"/>
                    </a:lnTo>
                    <a:lnTo>
                      <a:pt x="271677" y="223190"/>
                    </a:lnTo>
                    <a:lnTo>
                      <a:pt x="274253" y="225311"/>
                    </a:lnTo>
                    <a:lnTo>
                      <a:pt x="281980" y="228190"/>
                    </a:lnTo>
                    <a:lnTo>
                      <a:pt x="283041" y="228948"/>
                    </a:lnTo>
                    <a:lnTo>
                      <a:pt x="283495" y="229857"/>
                    </a:lnTo>
                    <a:lnTo>
                      <a:pt x="282283" y="230311"/>
                    </a:lnTo>
                    <a:lnTo>
                      <a:pt x="280616" y="230311"/>
                    </a:lnTo>
                    <a:lnTo>
                      <a:pt x="279253" y="230008"/>
                    </a:lnTo>
                    <a:lnTo>
                      <a:pt x="277889" y="228796"/>
                    </a:lnTo>
                    <a:lnTo>
                      <a:pt x="276828" y="228645"/>
                    </a:lnTo>
                    <a:lnTo>
                      <a:pt x="278798" y="231675"/>
                    </a:lnTo>
                    <a:lnTo>
                      <a:pt x="284101" y="237281"/>
                    </a:lnTo>
                    <a:lnTo>
                      <a:pt x="284253" y="239857"/>
                    </a:lnTo>
                    <a:lnTo>
                      <a:pt x="285768" y="242130"/>
                    </a:lnTo>
                    <a:lnTo>
                      <a:pt x="289405" y="244251"/>
                    </a:lnTo>
                    <a:lnTo>
                      <a:pt x="292283" y="244706"/>
                    </a:lnTo>
                    <a:lnTo>
                      <a:pt x="293193" y="245312"/>
                    </a:lnTo>
                    <a:lnTo>
                      <a:pt x="295162" y="245767"/>
                    </a:lnTo>
                    <a:lnTo>
                      <a:pt x="296678" y="245312"/>
                    </a:lnTo>
                    <a:lnTo>
                      <a:pt x="297738" y="245767"/>
                    </a:lnTo>
                    <a:lnTo>
                      <a:pt x="298344" y="247585"/>
                    </a:lnTo>
                    <a:lnTo>
                      <a:pt x="298193" y="249100"/>
                    </a:lnTo>
                    <a:lnTo>
                      <a:pt x="297284" y="249403"/>
                    </a:lnTo>
                    <a:lnTo>
                      <a:pt x="291829" y="246221"/>
                    </a:lnTo>
                    <a:lnTo>
                      <a:pt x="290768" y="246221"/>
                    </a:lnTo>
                    <a:lnTo>
                      <a:pt x="309405" y="259403"/>
                    </a:lnTo>
                    <a:lnTo>
                      <a:pt x="313496" y="263343"/>
                    </a:lnTo>
                    <a:lnTo>
                      <a:pt x="319103" y="271070"/>
                    </a:lnTo>
                    <a:lnTo>
                      <a:pt x="323497" y="275768"/>
                    </a:lnTo>
                    <a:lnTo>
                      <a:pt x="328042" y="283041"/>
                    </a:lnTo>
                    <a:lnTo>
                      <a:pt x="332588" y="286980"/>
                    </a:lnTo>
                    <a:lnTo>
                      <a:pt x="338346" y="293647"/>
                    </a:lnTo>
                    <a:lnTo>
                      <a:pt x="340467" y="295162"/>
                    </a:lnTo>
                    <a:lnTo>
                      <a:pt x="344558" y="299405"/>
                    </a:lnTo>
                    <a:lnTo>
                      <a:pt x="348498" y="308042"/>
                    </a:lnTo>
                    <a:lnTo>
                      <a:pt x="348346" y="317739"/>
                    </a:lnTo>
                    <a:lnTo>
                      <a:pt x="351680" y="322587"/>
                    </a:lnTo>
                    <a:lnTo>
                      <a:pt x="353649" y="326679"/>
                    </a:lnTo>
                    <a:lnTo>
                      <a:pt x="354407" y="328194"/>
                    </a:lnTo>
                    <a:lnTo>
                      <a:pt x="360468" y="331830"/>
                    </a:lnTo>
                    <a:lnTo>
                      <a:pt x="359862" y="335012"/>
                    </a:lnTo>
                    <a:lnTo>
                      <a:pt x="360013" y="338800"/>
                    </a:lnTo>
                    <a:lnTo>
                      <a:pt x="359710" y="342588"/>
                    </a:lnTo>
                    <a:lnTo>
                      <a:pt x="357892" y="345164"/>
                    </a:lnTo>
                    <a:lnTo>
                      <a:pt x="355316" y="348043"/>
                    </a:lnTo>
                    <a:lnTo>
                      <a:pt x="353649" y="350316"/>
                    </a:lnTo>
                    <a:lnTo>
                      <a:pt x="352134" y="351377"/>
                    </a:lnTo>
                    <a:lnTo>
                      <a:pt x="352589" y="352286"/>
                    </a:lnTo>
                    <a:lnTo>
                      <a:pt x="354559" y="352286"/>
                    </a:lnTo>
                    <a:lnTo>
                      <a:pt x="357134" y="352892"/>
                    </a:lnTo>
                    <a:lnTo>
                      <a:pt x="359104" y="355316"/>
                    </a:lnTo>
                    <a:lnTo>
                      <a:pt x="359256" y="356225"/>
                    </a:lnTo>
                    <a:lnTo>
                      <a:pt x="358801" y="357740"/>
                    </a:lnTo>
                    <a:lnTo>
                      <a:pt x="355619" y="359710"/>
                    </a:lnTo>
                    <a:lnTo>
                      <a:pt x="351074" y="360165"/>
                    </a:lnTo>
                    <a:lnTo>
                      <a:pt x="348346" y="361983"/>
                    </a:lnTo>
                    <a:lnTo>
                      <a:pt x="347589" y="363347"/>
                    </a:lnTo>
                    <a:lnTo>
                      <a:pt x="349104" y="365316"/>
                    </a:lnTo>
                    <a:lnTo>
                      <a:pt x="350316" y="367892"/>
                    </a:lnTo>
                    <a:lnTo>
                      <a:pt x="351377" y="372135"/>
                    </a:lnTo>
                    <a:lnTo>
                      <a:pt x="352740" y="375014"/>
                    </a:lnTo>
                    <a:lnTo>
                      <a:pt x="358044" y="382590"/>
                    </a:lnTo>
                    <a:lnTo>
                      <a:pt x="362892" y="386681"/>
                    </a:lnTo>
                    <a:lnTo>
                      <a:pt x="364559" y="390014"/>
                    </a:lnTo>
                    <a:lnTo>
                      <a:pt x="367438" y="393802"/>
                    </a:lnTo>
                    <a:lnTo>
                      <a:pt x="376681" y="398196"/>
                    </a:lnTo>
                    <a:lnTo>
                      <a:pt x="382135" y="399863"/>
                    </a:lnTo>
                    <a:lnTo>
                      <a:pt x="385620" y="402136"/>
                    </a:lnTo>
                    <a:lnTo>
                      <a:pt x="391984" y="404863"/>
                    </a:lnTo>
                    <a:lnTo>
                      <a:pt x="395621" y="407288"/>
                    </a:lnTo>
                    <a:lnTo>
                      <a:pt x="401530" y="412742"/>
                    </a:lnTo>
                    <a:lnTo>
                      <a:pt x="404712" y="416985"/>
                    </a:lnTo>
                    <a:lnTo>
                      <a:pt x="408500" y="421530"/>
                    </a:lnTo>
                    <a:lnTo>
                      <a:pt x="420015" y="425470"/>
                    </a:lnTo>
                    <a:lnTo>
                      <a:pt x="428804" y="428955"/>
                    </a:lnTo>
                    <a:lnTo>
                      <a:pt x="433046" y="429561"/>
                    </a:lnTo>
                    <a:lnTo>
                      <a:pt x="442138" y="431985"/>
                    </a:lnTo>
                    <a:lnTo>
                      <a:pt x="448198" y="431531"/>
                    </a:lnTo>
                    <a:lnTo>
                      <a:pt x="450320" y="431834"/>
                    </a:lnTo>
                    <a:lnTo>
                      <a:pt x="452289" y="432894"/>
                    </a:lnTo>
                    <a:lnTo>
                      <a:pt x="454562" y="435167"/>
                    </a:lnTo>
                    <a:lnTo>
                      <a:pt x="458956" y="440471"/>
                    </a:lnTo>
                    <a:lnTo>
                      <a:pt x="461987" y="441531"/>
                    </a:lnTo>
                    <a:lnTo>
                      <a:pt x="464714" y="444410"/>
                    </a:lnTo>
                    <a:lnTo>
                      <a:pt x="471230" y="447744"/>
                    </a:lnTo>
                    <a:lnTo>
                      <a:pt x="475169" y="451077"/>
                    </a:lnTo>
                    <a:lnTo>
                      <a:pt x="479412" y="453198"/>
                    </a:lnTo>
                    <a:lnTo>
                      <a:pt x="490776" y="456986"/>
                    </a:lnTo>
                    <a:lnTo>
                      <a:pt x="495927" y="459259"/>
                    </a:lnTo>
                    <a:lnTo>
                      <a:pt x="501837" y="461077"/>
                    </a:lnTo>
                    <a:lnTo>
                      <a:pt x="510928" y="466684"/>
                    </a:lnTo>
                    <a:lnTo>
                      <a:pt x="520322" y="468199"/>
                    </a:lnTo>
                    <a:lnTo>
                      <a:pt x="529868" y="470472"/>
                    </a:lnTo>
                    <a:lnTo>
                      <a:pt x="532444" y="471532"/>
                    </a:lnTo>
                    <a:lnTo>
                      <a:pt x="536383" y="471835"/>
                    </a:lnTo>
                    <a:lnTo>
                      <a:pt x="543050" y="478199"/>
                    </a:lnTo>
                    <a:lnTo>
                      <a:pt x="553505" y="480927"/>
                    </a:lnTo>
                    <a:lnTo>
                      <a:pt x="563960" y="487593"/>
                    </a:lnTo>
                    <a:lnTo>
                      <a:pt x="579567" y="489260"/>
                    </a:lnTo>
                    <a:lnTo>
                      <a:pt x="589870" y="494412"/>
                    </a:lnTo>
                    <a:lnTo>
                      <a:pt x="598053" y="496533"/>
                    </a:lnTo>
                    <a:lnTo>
                      <a:pt x="600780" y="495624"/>
                    </a:lnTo>
                    <a:lnTo>
                      <a:pt x="606083" y="495321"/>
                    </a:lnTo>
                    <a:lnTo>
                      <a:pt x="618205" y="489866"/>
                    </a:lnTo>
                    <a:lnTo>
                      <a:pt x="626690" y="487442"/>
                    </a:lnTo>
                    <a:lnTo>
                      <a:pt x="635781" y="481836"/>
                    </a:lnTo>
                    <a:lnTo>
                      <a:pt x="640781" y="480927"/>
                    </a:lnTo>
                    <a:lnTo>
                      <a:pt x="644872" y="480927"/>
                    </a:lnTo>
                    <a:lnTo>
                      <a:pt x="645175" y="480321"/>
                    </a:lnTo>
                    <a:lnTo>
                      <a:pt x="643509" y="479866"/>
                    </a:lnTo>
                    <a:lnTo>
                      <a:pt x="638660" y="478957"/>
                    </a:lnTo>
                    <a:lnTo>
                      <a:pt x="638660" y="478199"/>
                    </a:lnTo>
                    <a:lnTo>
                      <a:pt x="641084" y="476229"/>
                    </a:lnTo>
                    <a:lnTo>
                      <a:pt x="641993" y="475169"/>
                    </a:lnTo>
                    <a:lnTo>
                      <a:pt x="643206" y="475169"/>
                    </a:lnTo>
                    <a:lnTo>
                      <a:pt x="645024" y="476684"/>
                    </a:lnTo>
                    <a:lnTo>
                      <a:pt x="644872" y="477745"/>
                    </a:lnTo>
                    <a:lnTo>
                      <a:pt x="645024" y="478805"/>
                    </a:lnTo>
                    <a:lnTo>
                      <a:pt x="646085" y="478654"/>
                    </a:lnTo>
                    <a:lnTo>
                      <a:pt x="648812" y="476987"/>
                    </a:lnTo>
                    <a:lnTo>
                      <a:pt x="649721" y="477139"/>
                    </a:lnTo>
                    <a:lnTo>
                      <a:pt x="650479" y="478048"/>
                    </a:lnTo>
                    <a:lnTo>
                      <a:pt x="647903" y="480472"/>
                    </a:lnTo>
                    <a:lnTo>
                      <a:pt x="648509" y="481230"/>
                    </a:lnTo>
                    <a:lnTo>
                      <a:pt x="653661" y="481684"/>
                    </a:lnTo>
                    <a:lnTo>
                      <a:pt x="666540" y="486381"/>
                    </a:lnTo>
                    <a:lnTo>
                      <a:pt x="665782" y="485169"/>
                    </a:lnTo>
                    <a:lnTo>
                      <a:pt x="661237" y="482896"/>
                    </a:lnTo>
                    <a:lnTo>
                      <a:pt x="659721" y="482290"/>
                    </a:lnTo>
                    <a:lnTo>
                      <a:pt x="658206" y="482290"/>
                    </a:lnTo>
                    <a:lnTo>
                      <a:pt x="656388" y="481533"/>
                    </a:lnTo>
                    <a:lnTo>
                      <a:pt x="654873" y="480624"/>
                    </a:lnTo>
                    <a:lnTo>
                      <a:pt x="655327" y="478957"/>
                    </a:lnTo>
                    <a:lnTo>
                      <a:pt x="656236" y="478957"/>
                    </a:lnTo>
                    <a:lnTo>
                      <a:pt x="657903" y="480169"/>
                    </a:lnTo>
                    <a:lnTo>
                      <a:pt x="659873" y="481078"/>
                    </a:lnTo>
                    <a:lnTo>
                      <a:pt x="664267" y="482745"/>
                    </a:lnTo>
                    <a:lnTo>
                      <a:pt x="668661" y="485321"/>
                    </a:lnTo>
                    <a:lnTo>
                      <a:pt x="673661" y="489866"/>
                    </a:lnTo>
                    <a:lnTo>
                      <a:pt x="678965" y="493654"/>
                    </a:lnTo>
                    <a:lnTo>
                      <a:pt x="689268" y="502140"/>
                    </a:lnTo>
                    <a:lnTo>
                      <a:pt x="693208" y="505928"/>
                    </a:lnTo>
                    <a:lnTo>
                      <a:pt x="696086" y="508049"/>
                    </a:lnTo>
                    <a:lnTo>
                      <a:pt x="699117" y="510776"/>
                    </a:lnTo>
                    <a:lnTo>
                      <a:pt x="706693" y="519110"/>
                    </a:lnTo>
                    <a:lnTo>
                      <a:pt x="713966" y="526686"/>
                    </a:lnTo>
                    <a:lnTo>
                      <a:pt x="714723" y="527292"/>
                    </a:lnTo>
                    <a:lnTo>
                      <a:pt x="715481" y="526534"/>
                    </a:lnTo>
                    <a:lnTo>
                      <a:pt x="716087" y="524868"/>
                    </a:lnTo>
                    <a:lnTo>
                      <a:pt x="716845" y="523201"/>
                    </a:lnTo>
                    <a:lnTo>
                      <a:pt x="716390" y="521231"/>
                    </a:lnTo>
                    <a:lnTo>
                      <a:pt x="716087" y="519716"/>
                    </a:lnTo>
                    <a:lnTo>
                      <a:pt x="716996" y="517443"/>
                    </a:lnTo>
                    <a:lnTo>
                      <a:pt x="716845" y="515776"/>
                    </a:lnTo>
                    <a:lnTo>
                      <a:pt x="717299" y="514716"/>
                    </a:lnTo>
                    <a:lnTo>
                      <a:pt x="718511" y="513958"/>
                    </a:lnTo>
                    <a:lnTo>
                      <a:pt x="719117" y="512594"/>
                    </a:lnTo>
                    <a:lnTo>
                      <a:pt x="715633" y="508049"/>
                    </a:lnTo>
                    <a:lnTo>
                      <a:pt x="715633" y="506988"/>
                    </a:lnTo>
                    <a:lnTo>
                      <a:pt x="716087" y="505776"/>
                    </a:lnTo>
                    <a:lnTo>
                      <a:pt x="718966" y="500927"/>
                    </a:lnTo>
                    <a:lnTo>
                      <a:pt x="722451" y="495169"/>
                    </a:lnTo>
                    <a:lnTo>
                      <a:pt x="726239" y="488806"/>
                    </a:lnTo>
                    <a:lnTo>
                      <a:pt x="728512" y="485018"/>
                    </a:lnTo>
                    <a:lnTo>
                      <a:pt x="736845" y="485018"/>
                    </a:lnTo>
                    <a:lnTo>
                      <a:pt x="742300" y="485018"/>
                    </a:lnTo>
                    <a:lnTo>
                      <a:pt x="749270" y="485018"/>
                    </a:lnTo>
                    <a:lnTo>
                      <a:pt x="756846" y="485018"/>
                    </a:lnTo>
                    <a:lnTo>
                      <a:pt x="761846" y="485018"/>
                    </a:lnTo>
                    <a:lnTo>
                      <a:pt x="763968" y="485018"/>
                    </a:lnTo>
                    <a:lnTo>
                      <a:pt x="763665" y="482442"/>
                    </a:lnTo>
                    <a:lnTo>
                      <a:pt x="763968" y="479715"/>
                    </a:lnTo>
                    <a:lnTo>
                      <a:pt x="764877" y="477139"/>
                    </a:lnTo>
                    <a:lnTo>
                      <a:pt x="764877" y="476078"/>
                    </a:lnTo>
                    <a:lnTo>
                      <a:pt x="763362" y="474714"/>
                    </a:lnTo>
                    <a:lnTo>
                      <a:pt x="760483" y="473957"/>
                    </a:lnTo>
                    <a:lnTo>
                      <a:pt x="758816" y="472744"/>
                    </a:lnTo>
                    <a:lnTo>
                      <a:pt x="758816" y="471229"/>
                    </a:lnTo>
                    <a:lnTo>
                      <a:pt x="758058" y="469411"/>
                    </a:lnTo>
                    <a:lnTo>
                      <a:pt x="756695" y="467290"/>
                    </a:lnTo>
                    <a:lnTo>
                      <a:pt x="753816" y="465017"/>
                    </a:lnTo>
                    <a:lnTo>
                      <a:pt x="749422" y="462744"/>
                    </a:lnTo>
                    <a:lnTo>
                      <a:pt x="745634" y="459714"/>
                    </a:lnTo>
                    <a:lnTo>
                      <a:pt x="742603" y="455926"/>
                    </a:lnTo>
                    <a:lnTo>
                      <a:pt x="740027" y="453501"/>
                    </a:lnTo>
                    <a:lnTo>
                      <a:pt x="738058" y="452441"/>
                    </a:lnTo>
                    <a:lnTo>
                      <a:pt x="737603" y="451835"/>
                    </a:lnTo>
                    <a:lnTo>
                      <a:pt x="743512" y="451835"/>
                    </a:lnTo>
                    <a:lnTo>
                      <a:pt x="749119" y="451835"/>
                    </a:lnTo>
                    <a:lnTo>
                      <a:pt x="749119" y="446380"/>
                    </a:lnTo>
                    <a:lnTo>
                      <a:pt x="749119" y="441531"/>
                    </a:lnTo>
                    <a:lnTo>
                      <a:pt x="749119" y="436077"/>
                    </a:lnTo>
                    <a:lnTo>
                      <a:pt x="759119" y="436077"/>
                    </a:lnTo>
                    <a:lnTo>
                      <a:pt x="771089" y="436077"/>
                    </a:lnTo>
                    <a:lnTo>
                      <a:pt x="783514" y="436077"/>
                    </a:lnTo>
                    <a:lnTo>
                      <a:pt x="793363" y="436077"/>
                    </a:lnTo>
                    <a:lnTo>
                      <a:pt x="799120" y="436077"/>
                    </a:lnTo>
                    <a:lnTo>
                      <a:pt x="799120" y="433652"/>
                    </a:lnTo>
                    <a:lnTo>
                      <a:pt x="799878" y="431683"/>
                    </a:lnTo>
                    <a:lnTo>
                      <a:pt x="802151" y="430925"/>
                    </a:lnTo>
                    <a:lnTo>
                      <a:pt x="805030" y="432592"/>
                    </a:lnTo>
                    <a:lnTo>
                      <a:pt x="806242" y="433349"/>
                    </a:lnTo>
                    <a:lnTo>
                      <a:pt x="807303" y="432894"/>
                    </a:lnTo>
                    <a:lnTo>
                      <a:pt x="808666" y="431834"/>
                    </a:lnTo>
                    <a:lnTo>
                      <a:pt x="810333" y="428804"/>
                    </a:lnTo>
                    <a:lnTo>
                      <a:pt x="814576" y="422591"/>
                    </a:lnTo>
                    <a:lnTo>
                      <a:pt x="816242" y="418197"/>
                    </a:lnTo>
                    <a:lnTo>
                      <a:pt x="817909" y="417288"/>
                    </a:lnTo>
                    <a:lnTo>
                      <a:pt x="820333" y="417136"/>
                    </a:lnTo>
                    <a:lnTo>
                      <a:pt x="822455" y="417440"/>
                    </a:lnTo>
                    <a:lnTo>
                      <a:pt x="823061" y="416227"/>
                    </a:lnTo>
                    <a:lnTo>
                      <a:pt x="825334" y="412591"/>
                    </a:lnTo>
                    <a:lnTo>
                      <a:pt x="825334" y="410469"/>
                    </a:lnTo>
                    <a:lnTo>
                      <a:pt x="827303" y="408954"/>
                    </a:lnTo>
                    <a:lnTo>
                      <a:pt x="828819" y="407288"/>
                    </a:lnTo>
                    <a:lnTo>
                      <a:pt x="830031" y="407136"/>
                    </a:lnTo>
                    <a:lnTo>
                      <a:pt x="830637" y="410318"/>
                    </a:lnTo>
                    <a:lnTo>
                      <a:pt x="829425" y="416076"/>
                    </a:lnTo>
                    <a:lnTo>
                      <a:pt x="829879" y="417288"/>
                    </a:lnTo>
                    <a:lnTo>
                      <a:pt x="832001" y="418500"/>
                    </a:lnTo>
                    <a:lnTo>
                      <a:pt x="834122" y="423197"/>
                    </a:lnTo>
                    <a:lnTo>
                      <a:pt x="834879" y="423349"/>
                    </a:lnTo>
                    <a:lnTo>
                      <a:pt x="836243" y="420924"/>
                    </a:lnTo>
                    <a:lnTo>
                      <a:pt x="837455" y="418349"/>
                    </a:lnTo>
                    <a:lnTo>
                      <a:pt x="838213" y="412439"/>
                    </a:lnTo>
                    <a:lnTo>
                      <a:pt x="840486" y="408348"/>
                    </a:lnTo>
                    <a:lnTo>
                      <a:pt x="842152" y="401378"/>
                    </a:lnTo>
                    <a:lnTo>
                      <a:pt x="844728" y="394560"/>
                    </a:lnTo>
                    <a:lnTo>
                      <a:pt x="844425" y="393651"/>
                    </a:lnTo>
                    <a:lnTo>
                      <a:pt x="843365" y="393499"/>
                    </a:lnTo>
                    <a:lnTo>
                      <a:pt x="841395" y="395469"/>
                    </a:lnTo>
                    <a:lnTo>
                      <a:pt x="840486" y="395317"/>
                    </a:lnTo>
                    <a:lnTo>
                      <a:pt x="840334" y="392590"/>
                    </a:lnTo>
                    <a:lnTo>
                      <a:pt x="841243" y="391681"/>
                    </a:lnTo>
                    <a:lnTo>
                      <a:pt x="842910" y="390772"/>
                    </a:lnTo>
                    <a:lnTo>
                      <a:pt x="844425" y="390469"/>
                    </a:lnTo>
                    <a:lnTo>
                      <a:pt x="845183" y="390014"/>
                    </a:lnTo>
                    <a:lnTo>
                      <a:pt x="846546" y="388348"/>
                    </a:lnTo>
                    <a:lnTo>
                      <a:pt x="846850" y="386075"/>
                    </a:lnTo>
                    <a:lnTo>
                      <a:pt x="845637" y="385923"/>
                    </a:lnTo>
                    <a:lnTo>
                      <a:pt x="844425" y="386226"/>
                    </a:lnTo>
                    <a:lnTo>
                      <a:pt x="842304" y="386226"/>
                    </a:lnTo>
                    <a:lnTo>
                      <a:pt x="840789" y="386832"/>
                    </a:lnTo>
                    <a:lnTo>
                      <a:pt x="839577" y="385772"/>
                    </a:lnTo>
                    <a:lnTo>
                      <a:pt x="839577" y="384560"/>
                    </a:lnTo>
                    <a:lnTo>
                      <a:pt x="842304" y="380468"/>
                    </a:lnTo>
                    <a:lnTo>
                      <a:pt x="844425" y="379105"/>
                    </a:lnTo>
                    <a:lnTo>
                      <a:pt x="845486" y="379256"/>
                    </a:lnTo>
                    <a:lnTo>
                      <a:pt x="846092" y="378196"/>
                    </a:lnTo>
                    <a:lnTo>
                      <a:pt x="846395" y="377135"/>
                    </a:lnTo>
                    <a:lnTo>
                      <a:pt x="845486" y="374256"/>
                    </a:lnTo>
                    <a:lnTo>
                      <a:pt x="845486" y="371377"/>
                    </a:lnTo>
                    <a:lnTo>
                      <a:pt x="846698" y="367741"/>
                    </a:lnTo>
                    <a:lnTo>
                      <a:pt x="852153" y="359862"/>
                    </a:lnTo>
                    <a:lnTo>
                      <a:pt x="856547" y="356377"/>
                    </a:lnTo>
                    <a:lnTo>
                      <a:pt x="860183" y="351982"/>
                    </a:lnTo>
                    <a:lnTo>
                      <a:pt x="862759" y="348346"/>
                    </a:lnTo>
                    <a:close/>
                    <a:moveTo>
                      <a:pt x="137581" y="103034"/>
                    </a:moveTo>
                    <a:lnTo>
                      <a:pt x="137581" y="100761"/>
                    </a:lnTo>
                    <a:lnTo>
                      <a:pt x="136520" y="98792"/>
                    </a:lnTo>
                    <a:lnTo>
                      <a:pt x="133944" y="96519"/>
                    </a:lnTo>
                    <a:lnTo>
                      <a:pt x="131823" y="96064"/>
                    </a:lnTo>
                    <a:lnTo>
                      <a:pt x="131671" y="99398"/>
                    </a:lnTo>
                    <a:lnTo>
                      <a:pt x="131975" y="100913"/>
                    </a:lnTo>
                    <a:lnTo>
                      <a:pt x="134247" y="104095"/>
                    </a:lnTo>
                    <a:lnTo>
                      <a:pt x="140611" y="110307"/>
                    </a:lnTo>
                    <a:lnTo>
                      <a:pt x="143339" y="112125"/>
                    </a:lnTo>
                    <a:lnTo>
                      <a:pt x="143490" y="111671"/>
                    </a:lnTo>
                    <a:lnTo>
                      <a:pt x="142884" y="109247"/>
                    </a:lnTo>
                    <a:lnTo>
                      <a:pt x="142278" y="104246"/>
                    </a:lnTo>
                    <a:lnTo>
                      <a:pt x="137581" y="103034"/>
                    </a:lnTo>
                    <a:close/>
                    <a:moveTo>
                      <a:pt x="863820" y="357589"/>
                    </a:moveTo>
                    <a:lnTo>
                      <a:pt x="861093" y="357740"/>
                    </a:lnTo>
                    <a:lnTo>
                      <a:pt x="859729" y="359559"/>
                    </a:lnTo>
                    <a:lnTo>
                      <a:pt x="858668" y="362589"/>
                    </a:lnTo>
                    <a:lnTo>
                      <a:pt x="859426" y="365771"/>
                    </a:lnTo>
                    <a:lnTo>
                      <a:pt x="860789" y="364862"/>
                    </a:lnTo>
                    <a:lnTo>
                      <a:pt x="864426" y="360165"/>
                    </a:lnTo>
                    <a:lnTo>
                      <a:pt x="865941" y="357740"/>
                    </a:lnTo>
                    <a:lnTo>
                      <a:pt x="865790" y="356983"/>
                    </a:lnTo>
                    <a:lnTo>
                      <a:pt x="863820" y="357589"/>
                    </a:lnTo>
                    <a:close/>
                    <a:moveTo>
                      <a:pt x="867002" y="338194"/>
                    </a:moveTo>
                    <a:lnTo>
                      <a:pt x="866699" y="337437"/>
                    </a:lnTo>
                    <a:lnTo>
                      <a:pt x="866396" y="336982"/>
                    </a:lnTo>
                    <a:lnTo>
                      <a:pt x="866093" y="336982"/>
                    </a:lnTo>
                    <a:lnTo>
                      <a:pt x="866547" y="338346"/>
                    </a:lnTo>
                    <a:lnTo>
                      <a:pt x="867153" y="339406"/>
                    </a:lnTo>
                    <a:lnTo>
                      <a:pt x="867608" y="339558"/>
                    </a:lnTo>
                    <a:lnTo>
                      <a:pt x="867002" y="338194"/>
                    </a:lnTo>
                    <a:close/>
                    <a:moveTo>
                      <a:pt x="99246" y="29546"/>
                    </a:moveTo>
                    <a:lnTo>
                      <a:pt x="98943" y="29698"/>
                    </a:lnTo>
                    <a:lnTo>
                      <a:pt x="98791" y="30910"/>
                    </a:lnTo>
                    <a:lnTo>
                      <a:pt x="100458" y="32274"/>
                    </a:lnTo>
                    <a:lnTo>
                      <a:pt x="101367" y="32122"/>
                    </a:lnTo>
                    <a:lnTo>
                      <a:pt x="101519" y="31516"/>
                    </a:lnTo>
                    <a:lnTo>
                      <a:pt x="100913" y="30456"/>
                    </a:lnTo>
                    <a:lnTo>
                      <a:pt x="99246" y="29546"/>
                    </a:lnTo>
                    <a:close/>
                    <a:moveTo>
                      <a:pt x="213493" y="229099"/>
                    </a:moveTo>
                    <a:lnTo>
                      <a:pt x="210917" y="227736"/>
                    </a:lnTo>
                    <a:lnTo>
                      <a:pt x="210614" y="227887"/>
                    </a:lnTo>
                    <a:lnTo>
                      <a:pt x="210462" y="228948"/>
                    </a:lnTo>
                    <a:lnTo>
                      <a:pt x="211674" y="231220"/>
                    </a:lnTo>
                    <a:lnTo>
                      <a:pt x="213493" y="233039"/>
                    </a:lnTo>
                    <a:lnTo>
                      <a:pt x="214856" y="233493"/>
                    </a:lnTo>
                    <a:lnTo>
                      <a:pt x="214099" y="230311"/>
                    </a:lnTo>
                    <a:lnTo>
                      <a:pt x="213493" y="229099"/>
                    </a:lnTo>
                    <a:close/>
                    <a:moveTo>
                      <a:pt x="167885" y="106974"/>
                    </a:moveTo>
                    <a:lnTo>
                      <a:pt x="167279" y="105913"/>
                    </a:lnTo>
                    <a:lnTo>
                      <a:pt x="163491" y="106974"/>
                    </a:lnTo>
                    <a:lnTo>
                      <a:pt x="162279" y="108034"/>
                    </a:lnTo>
                    <a:lnTo>
                      <a:pt x="160612" y="116216"/>
                    </a:lnTo>
                    <a:lnTo>
                      <a:pt x="161067" y="117580"/>
                    </a:lnTo>
                    <a:lnTo>
                      <a:pt x="165461" y="119853"/>
                    </a:lnTo>
                    <a:lnTo>
                      <a:pt x="167582" y="120004"/>
                    </a:lnTo>
                    <a:lnTo>
                      <a:pt x="169703" y="113035"/>
                    </a:lnTo>
                    <a:lnTo>
                      <a:pt x="168491" y="109398"/>
                    </a:lnTo>
                    <a:lnTo>
                      <a:pt x="167885" y="106974"/>
                    </a:lnTo>
                    <a:close/>
                    <a:moveTo>
                      <a:pt x="232584" y="249706"/>
                    </a:moveTo>
                    <a:lnTo>
                      <a:pt x="233190" y="253494"/>
                    </a:lnTo>
                    <a:lnTo>
                      <a:pt x="234554" y="255009"/>
                    </a:lnTo>
                    <a:lnTo>
                      <a:pt x="235160" y="254858"/>
                    </a:lnTo>
                    <a:lnTo>
                      <a:pt x="235463" y="254555"/>
                    </a:lnTo>
                    <a:lnTo>
                      <a:pt x="235463" y="253949"/>
                    </a:lnTo>
                    <a:lnTo>
                      <a:pt x="232887" y="249251"/>
                    </a:lnTo>
                    <a:lnTo>
                      <a:pt x="232584" y="249706"/>
                    </a:lnTo>
                    <a:close/>
                    <a:moveTo>
                      <a:pt x="198644" y="199250"/>
                    </a:moveTo>
                    <a:lnTo>
                      <a:pt x="197432" y="200159"/>
                    </a:lnTo>
                    <a:lnTo>
                      <a:pt x="196219" y="206068"/>
                    </a:lnTo>
                    <a:lnTo>
                      <a:pt x="196825" y="205613"/>
                    </a:lnTo>
                    <a:lnTo>
                      <a:pt x="198795" y="201219"/>
                    </a:lnTo>
                    <a:lnTo>
                      <a:pt x="199856" y="201977"/>
                    </a:lnTo>
                    <a:lnTo>
                      <a:pt x="200007" y="201674"/>
                    </a:lnTo>
                    <a:lnTo>
                      <a:pt x="199704" y="200613"/>
                    </a:lnTo>
                    <a:lnTo>
                      <a:pt x="200007" y="198947"/>
                    </a:lnTo>
                    <a:lnTo>
                      <a:pt x="198644" y="1992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0" name="Freeform: Shape 3209">
                <a:extLst>
                  <a:ext uri="{FF2B5EF4-FFF2-40B4-BE49-F238E27FC236}">
                    <a16:creationId xmlns:a16="http://schemas.microsoft.com/office/drawing/2014/main" id="{EB19B3A2-4500-4BBD-A283-0B873C985962}"/>
                  </a:ext>
                </a:extLst>
              </p:cNvPr>
              <p:cNvSpPr/>
              <p:nvPr/>
            </p:nvSpPr>
            <p:spPr>
              <a:xfrm>
                <a:off x="6671324" y="4817760"/>
                <a:ext cx="87881" cy="213492"/>
              </a:xfrm>
              <a:custGeom>
                <a:avLst/>
                <a:gdLst>
                  <a:gd name="connsiteX0" fmla="*/ 62426 w 87881"/>
                  <a:gd name="connsiteY0" fmla="*/ 60457 h 213492"/>
                  <a:gd name="connsiteX1" fmla="*/ 62426 w 87881"/>
                  <a:gd name="connsiteY1" fmla="*/ 60457 h 213492"/>
                  <a:gd name="connsiteX2" fmla="*/ 62275 w 87881"/>
                  <a:gd name="connsiteY2" fmla="*/ 59548 h 213492"/>
                  <a:gd name="connsiteX3" fmla="*/ 62426 w 87881"/>
                  <a:gd name="connsiteY3" fmla="*/ 60457 h 213492"/>
                  <a:gd name="connsiteX4" fmla="*/ 62426 w 87881"/>
                  <a:gd name="connsiteY4" fmla="*/ 60457 h 213492"/>
                  <a:gd name="connsiteX5" fmla="*/ 55760 w 87881"/>
                  <a:gd name="connsiteY5" fmla="*/ 75003 h 213492"/>
                  <a:gd name="connsiteX6" fmla="*/ 56517 w 87881"/>
                  <a:gd name="connsiteY6" fmla="*/ 74396 h 213492"/>
                  <a:gd name="connsiteX7" fmla="*/ 56820 w 87881"/>
                  <a:gd name="connsiteY7" fmla="*/ 73639 h 213492"/>
                  <a:gd name="connsiteX8" fmla="*/ 56820 w 87881"/>
                  <a:gd name="connsiteY8" fmla="*/ 72881 h 213492"/>
                  <a:gd name="connsiteX9" fmla="*/ 56366 w 87881"/>
                  <a:gd name="connsiteY9" fmla="*/ 72427 h 213492"/>
                  <a:gd name="connsiteX10" fmla="*/ 55760 w 87881"/>
                  <a:gd name="connsiteY10" fmla="*/ 72124 h 213492"/>
                  <a:gd name="connsiteX11" fmla="*/ 54850 w 87881"/>
                  <a:gd name="connsiteY11" fmla="*/ 72275 h 213492"/>
                  <a:gd name="connsiteX12" fmla="*/ 54548 w 87881"/>
                  <a:gd name="connsiteY12" fmla="*/ 73336 h 213492"/>
                  <a:gd name="connsiteX13" fmla="*/ 54396 w 87881"/>
                  <a:gd name="connsiteY13" fmla="*/ 74851 h 213492"/>
                  <a:gd name="connsiteX14" fmla="*/ 55002 w 87881"/>
                  <a:gd name="connsiteY14" fmla="*/ 75306 h 213492"/>
                  <a:gd name="connsiteX15" fmla="*/ 55760 w 87881"/>
                  <a:gd name="connsiteY15" fmla="*/ 75003 h 213492"/>
                  <a:gd name="connsiteX16" fmla="*/ 87882 w 87881"/>
                  <a:gd name="connsiteY16" fmla="*/ 152127 h 213492"/>
                  <a:gd name="connsiteX17" fmla="*/ 87124 w 87881"/>
                  <a:gd name="connsiteY17" fmla="*/ 151369 h 213492"/>
                  <a:gd name="connsiteX18" fmla="*/ 86518 w 87881"/>
                  <a:gd name="connsiteY18" fmla="*/ 146066 h 213492"/>
                  <a:gd name="connsiteX19" fmla="*/ 82276 w 87881"/>
                  <a:gd name="connsiteY19" fmla="*/ 140308 h 213492"/>
                  <a:gd name="connsiteX20" fmla="*/ 76821 w 87881"/>
                  <a:gd name="connsiteY20" fmla="*/ 133035 h 213492"/>
                  <a:gd name="connsiteX21" fmla="*/ 73791 w 87881"/>
                  <a:gd name="connsiteY21" fmla="*/ 129095 h 213492"/>
                  <a:gd name="connsiteX22" fmla="*/ 70305 w 87881"/>
                  <a:gd name="connsiteY22" fmla="*/ 124550 h 213492"/>
                  <a:gd name="connsiteX23" fmla="*/ 63942 w 87881"/>
                  <a:gd name="connsiteY23" fmla="*/ 117580 h 213492"/>
                  <a:gd name="connsiteX24" fmla="*/ 61063 w 87881"/>
                  <a:gd name="connsiteY24" fmla="*/ 115004 h 213492"/>
                  <a:gd name="connsiteX25" fmla="*/ 59851 w 87881"/>
                  <a:gd name="connsiteY25" fmla="*/ 114246 h 213492"/>
                  <a:gd name="connsiteX26" fmla="*/ 59851 w 87881"/>
                  <a:gd name="connsiteY26" fmla="*/ 116822 h 213492"/>
                  <a:gd name="connsiteX27" fmla="*/ 60154 w 87881"/>
                  <a:gd name="connsiteY27" fmla="*/ 119247 h 213492"/>
                  <a:gd name="connsiteX28" fmla="*/ 60760 w 87881"/>
                  <a:gd name="connsiteY28" fmla="*/ 119701 h 213492"/>
                  <a:gd name="connsiteX29" fmla="*/ 64699 w 87881"/>
                  <a:gd name="connsiteY29" fmla="*/ 120004 h 213492"/>
                  <a:gd name="connsiteX30" fmla="*/ 65457 w 87881"/>
                  <a:gd name="connsiteY30" fmla="*/ 120307 h 213492"/>
                  <a:gd name="connsiteX31" fmla="*/ 66517 w 87881"/>
                  <a:gd name="connsiteY31" fmla="*/ 122580 h 213492"/>
                  <a:gd name="connsiteX32" fmla="*/ 68791 w 87881"/>
                  <a:gd name="connsiteY32" fmla="*/ 129247 h 213492"/>
                  <a:gd name="connsiteX33" fmla="*/ 68791 w 87881"/>
                  <a:gd name="connsiteY33" fmla="*/ 129853 h 213492"/>
                  <a:gd name="connsiteX34" fmla="*/ 71063 w 87881"/>
                  <a:gd name="connsiteY34" fmla="*/ 135156 h 213492"/>
                  <a:gd name="connsiteX35" fmla="*/ 71669 w 87881"/>
                  <a:gd name="connsiteY35" fmla="*/ 137581 h 213492"/>
                  <a:gd name="connsiteX36" fmla="*/ 71366 w 87881"/>
                  <a:gd name="connsiteY36" fmla="*/ 138338 h 213492"/>
                  <a:gd name="connsiteX37" fmla="*/ 70912 w 87881"/>
                  <a:gd name="connsiteY37" fmla="*/ 138641 h 213492"/>
                  <a:gd name="connsiteX38" fmla="*/ 70305 w 87881"/>
                  <a:gd name="connsiteY38" fmla="*/ 138641 h 213492"/>
                  <a:gd name="connsiteX39" fmla="*/ 69093 w 87881"/>
                  <a:gd name="connsiteY39" fmla="*/ 137278 h 213492"/>
                  <a:gd name="connsiteX40" fmla="*/ 67427 w 87881"/>
                  <a:gd name="connsiteY40" fmla="*/ 135459 h 213492"/>
                  <a:gd name="connsiteX41" fmla="*/ 65154 w 87881"/>
                  <a:gd name="connsiteY41" fmla="*/ 132277 h 213492"/>
                  <a:gd name="connsiteX42" fmla="*/ 64245 w 87881"/>
                  <a:gd name="connsiteY42" fmla="*/ 131671 h 213492"/>
                  <a:gd name="connsiteX43" fmla="*/ 62729 w 87881"/>
                  <a:gd name="connsiteY43" fmla="*/ 131368 h 213492"/>
                  <a:gd name="connsiteX44" fmla="*/ 62426 w 87881"/>
                  <a:gd name="connsiteY44" fmla="*/ 130914 h 213492"/>
                  <a:gd name="connsiteX45" fmla="*/ 62275 w 87881"/>
                  <a:gd name="connsiteY45" fmla="*/ 129095 h 213492"/>
                  <a:gd name="connsiteX46" fmla="*/ 61972 w 87881"/>
                  <a:gd name="connsiteY46" fmla="*/ 128338 h 213492"/>
                  <a:gd name="connsiteX47" fmla="*/ 61366 w 87881"/>
                  <a:gd name="connsiteY47" fmla="*/ 127732 h 213492"/>
                  <a:gd name="connsiteX48" fmla="*/ 60760 w 87881"/>
                  <a:gd name="connsiteY48" fmla="*/ 127429 h 213492"/>
                  <a:gd name="connsiteX49" fmla="*/ 60154 w 87881"/>
                  <a:gd name="connsiteY49" fmla="*/ 127429 h 213492"/>
                  <a:gd name="connsiteX50" fmla="*/ 60002 w 87881"/>
                  <a:gd name="connsiteY50" fmla="*/ 128035 h 213492"/>
                  <a:gd name="connsiteX51" fmla="*/ 60305 w 87881"/>
                  <a:gd name="connsiteY51" fmla="*/ 129095 h 213492"/>
                  <a:gd name="connsiteX52" fmla="*/ 60154 w 87881"/>
                  <a:gd name="connsiteY52" fmla="*/ 130156 h 213492"/>
                  <a:gd name="connsiteX53" fmla="*/ 59396 w 87881"/>
                  <a:gd name="connsiteY53" fmla="*/ 131217 h 213492"/>
                  <a:gd name="connsiteX54" fmla="*/ 59093 w 87881"/>
                  <a:gd name="connsiteY54" fmla="*/ 131974 h 213492"/>
                  <a:gd name="connsiteX55" fmla="*/ 59396 w 87881"/>
                  <a:gd name="connsiteY55" fmla="*/ 132429 h 213492"/>
                  <a:gd name="connsiteX56" fmla="*/ 59245 w 87881"/>
                  <a:gd name="connsiteY56" fmla="*/ 133035 h 213492"/>
                  <a:gd name="connsiteX57" fmla="*/ 57881 w 87881"/>
                  <a:gd name="connsiteY57" fmla="*/ 134096 h 213492"/>
                  <a:gd name="connsiteX58" fmla="*/ 56820 w 87881"/>
                  <a:gd name="connsiteY58" fmla="*/ 134399 h 213492"/>
                  <a:gd name="connsiteX59" fmla="*/ 56214 w 87881"/>
                  <a:gd name="connsiteY59" fmla="*/ 134247 h 213492"/>
                  <a:gd name="connsiteX60" fmla="*/ 56063 w 87881"/>
                  <a:gd name="connsiteY60" fmla="*/ 133490 h 213492"/>
                  <a:gd name="connsiteX61" fmla="*/ 55457 w 87881"/>
                  <a:gd name="connsiteY61" fmla="*/ 132883 h 213492"/>
                  <a:gd name="connsiteX62" fmla="*/ 54396 w 87881"/>
                  <a:gd name="connsiteY62" fmla="*/ 132277 h 213492"/>
                  <a:gd name="connsiteX63" fmla="*/ 53335 w 87881"/>
                  <a:gd name="connsiteY63" fmla="*/ 131217 h 213492"/>
                  <a:gd name="connsiteX64" fmla="*/ 52426 w 87881"/>
                  <a:gd name="connsiteY64" fmla="*/ 129702 h 213492"/>
                  <a:gd name="connsiteX65" fmla="*/ 51820 w 87881"/>
                  <a:gd name="connsiteY65" fmla="*/ 128035 h 213492"/>
                  <a:gd name="connsiteX66" fmla="*/ 51517 w 87881"/>
                  <a:gd name="connsiteY66" fmla="*/ 126217 h 213492"/>
                  <a:gd name="connsiteX67" fmla="*/ 51669 w 87881"/>
                  <a:gd name="connsiteY67" fmla="*/ 124853 h 213492"/>
                  <a:gd name="connsiteX68" fmla="*/ 52275 w 87881"/>
                  <a:gd name="connsiteY68" fmla="*/ 124095 h 213492"/>
                  <a:gd name="connsiteX69" fmla="*/ 53032 w 87881"/>
                  <a:gd name="connsiteY69" fmla="*/ 122429 h 213492"/>
                  <a:gd name="connsiteX70" fmla="*/ 53790 w 87881"/>
                  <a:gd name="connsiteY70" fmla="*/ 119853 h 213492"/>
                  <a:gd name="connsiteX71" fmla="*/ 53335 w 87881"/>
                  <a:gd name="connsiteY71" fmla="*/ 117580 h 213492"/>
                  <a:gd name="connsiteX72" fmla="*/ 51669 w 87881"/>
                  <a:gd name="connsiteY72" fmla="*/ 115610 h 213492"/>
                  <a:gd name="connsiteX73" fmla="*/ 50305 w 87881"/>
                  <a:gd name="connsiteY73" fmla="*/ 114701 h 213492"/>
                  <a:gd name="connsiteX74" fmla="*/ 49244 w 87881"/>
                  <a:gd name="connsiteY74" fmla="*/ 114853 h 213492"/>
                  <a:gd name="connsiteX75" fmla="*/ 47881 w 87881"/>
                  <a:gd name="connsiteY75" fmla="*/ 113641 h 213492"/>
                  <a:gd name="connsiteX76" fmla="*/ 45456 w 87881"/>
                  <a:gd name="connsiteY76" fmla="*/ 109549 h 213492"/>
                  <a:gd name="connsiteX77" fmla="*/ 45305 w 87881"/>
                  <a:gd name="connsiteY77" fmla="*/ 108640 h 213492"/>
                  <a:gd name="connsiteX78" fmla="*/ 45456 w 87881"/>
                  <a:gd name="connsiteY78" fmla="*/ 107580 h 213492"/>
                  <a:gd name="connsiteX79" fmla="*/ 46062 w 87881"/>
                  <a:gd name="connsiteY79" fmla="*/ 106367 h 213492"/>
                  <a:gd name="connsiteX80" fmla="*/ 46214 w 87881"/>
                  <a:gd name="connsiteY80" fmla="*/ 103337 h 213492"/>
                  <a:gd name="connsiteX81" fmla="*/ 45759 w 87881"/>
                  <a:gd name="connsiteY81" fmla="*/ 97428 h 213492"/>
                  <a:gd name="connsiteX82" fmla="*/ 45456 w 87881"/>
                  <a:gd name="connsiteY82" fmla="*/ 96822 h 213492"/>
                  <a:gd name="connsiteX83" fmla="*/ 44850 w 87881"/>
                  <a:gd name="connsiteY83" fmla="*/ 95003 h 213492"/>
                  <a:gd name="connsiteX84" fmla="*/ 44244 w 87881"/>
                  <a:gd name="connsiteY84" fmla="*/ 94094 h 213492"/>
                  <a:gd name="connsiteX85" fmla="*/ 43941 w 87881"/>
                  <a:gd name="connsiteY85" fmla="*/ 93185 h 213492"/>
                  <a:gd name="connsiteX86" fmla="*/ 44093 w 87881"/>
                  <a:gd name="connsiteY86" fmla="*/ 92276 h 213492"/>
                  <a:gd name="connsiteX87" fmla="*/ 43789 w 87881"/>
                  <a:gd name="connsiteY87" fmla="*/ 91518 h 213492"/>
                  <a:gd name="connsiteX88" fmla="*/ 43032 w 87881"/>
                  <a:gd name="connsiteY88" fmla="*/ 91064 h 213492"/>
                  <a:gd name="connsiteX89" fmla="*/ 42426 w 87881"/>
                  <a:gd name="connsiteY89" fmla="*/ 90306 h 213492"/>
                  <a:gd name="connsiteX90" fmla="*/ 41971 w 87881"/>
                  <a:gd name="connsiteY90" fmla="*/ 89094 h 213492"/>
                  <a:gd name="connsiteX91" fmla="*/ 41971 w 87881"/>
                  <a:gd name="connsiteY91" fmla="*/ 84700 h 213492"/>
                  <a:gd name="connsiteX92" fmla="*/ 41517 w 87881"/>
                  <a:gd name="connsiteY92" fmla="*/ 83185 h 213492"/>
                  <a:gd name="connsiteX93" fmla="*/ 40759 w 87881"/>
                  <a:gd name="connsiteY93" fmla="*/ 82276 h 213492"/>
                  <a:gd name="connsiteX94" fmla="*/ 39547 w 87881"/>
                  <a:gd name="connsiteY94" fmla="*/ 81973 h 213492"/>
                  <a:gd name="connsiteX95" fmla="*/ 38638 w 87881"/>
                  <a:gd name="connsiteY95" fmla="*/ 81063 h 213492"/>
                  <a:gd name="connsiteX96" fmla="*/ 37577 w 87881"/>
                  <a:gd name="connsiteY96" fmla="*/ 78184 h 213492"/>
                  <a:gd name="connsiteX97" fmla="*/ 37426 w 87881"/>
                  <a:gd name="connsiteY97" fmla="*/ 76973 h 213492"/>
                  <a:gd name="connsiteX98" fmla="*/ 38183 w 87881"/>
                  <a:gd name="connsiteY98" fmla="*/ 72578 h 213492"/>
                  <a:gd name="connsiteX99" fmla="*/ 39244 w 87881"/>
                  <a:gd name="connsiteY99" fmla="*/ 70608 h 213492"/>
                  <a:gd name="connsiteX100" fmla="*/ 40911 w 87881"/>
                  <a:gd name="connsiteY100" fmla="*/ 69245 h 213492"/>
                  <a:gd name="connsiteX101" fmla="*/ 41668 w 87881"/>
                  <a:gd name="connsiteY101" fmla="*/ 68033 h 213492"/>
                  <a:gd name="connsiteX102" fmla="*/ 41668 w 87881"/>
                  <a:gd name="connsiteY102" fmla="*/ 66972 h 213492"/>
                  <a:gd name="connsiteX103" fmla="*/ 42426 w 87881"/>
                  <a:gd name="connsiteY103" fmla="*/ 65608 h 213492"/>
                  <a:gd name="connsiteX104" fmla="*/ 45002 w 87881"/>
                  <a:gd name="connsiteY104" fmla="*/ 62578 h 213492"/>
                  <a:gd name="connsiteX105" fmla="*/ 45153 w 87881"/>
                  <a:gd name="connsiteY105" fmla="*/ 61820 h 213492"/>
                  <a:gd name="connsiteX106" fmla="*/ 44244 w 87881"/>
                  <a:gd name="connsiteY106" fmla="*/ 55608 h 213492"/>
                  <a:gd name="connsiteX107" fmla="*/ 43486 w 87881"/>
                  <a:gd name="connsiteY107" fmla="*/ 52426 h 213492"/>
                  <a:gd name="connsiteX108" fmla="*/ 42577 w 87881"/>
                  <a:gd name="connsiteY108" fmla="*/ 50153 h 213492"/>
                  <a:gd name="connsiteX109" fmla="*/ 42426 w 87881"/>
                  <a:gd name="connsiteY109" fmla="*/ 48487 h 213492"/>
                  <a:gd name="connsiteX110" fmla="*/ 42880 w 87881"/>
                  <a:gd name="connsiteY110" fmla="*/ 47426 h 213492"/>
                  <a:gd name="connsiteX111" fmla="*/ 43032 w 87881"/>
                  <a:gd name="connsiteY111" fmla="*/ 46517 h 213492"/>
                  <a:gd name="connsiteX112" fmla="*/ 42729 w 87881"/>
                  <a:gd name="connsiteY112" fmla="*/ 45759 h 213492"/>
                  <a:gd name="connsiteX113" fmla="*/ 41820 w 87881"/>
                  <a:gd name="connsiteY113" fmla="*/ 33183 h 213492"/>
                  <a:gd name="connsiteX114" fmla="*/ 41517 w 87881"/>
                  <a:gd name="connsiteY114" fmla="*/ 32577 h 213492"/>
                  <a:gd name="connsiteX115" fmla="*/ 41668 w 87881"/>
                  <a:gd name="connsiteY115" fmla="*/ 31971 h 213492"/>
                  <a:gd name="connsiteX116" fmla="*/ 42274 w 87881"/>
                  <a:gd name="connsiteY116" fmla="*/ 31365 h 213492"/>
                  <a:gd name="connsiteX117" fmla="*/ 42577 w 87881"/>
                  <a:gd name="connsiteY117" fmla="*/ 30607 h 213492"/>
                  <a:gd name="connsiteX118" fmla="*/ 42577 w 87881"/>
                  <a:gd name="connsiteY118" fmla="*/ 29698 h 213492"/>
                  <a:gd name="connsiteX119" fmla="*/ 42880 w 87881"/>
                  <a:gd name="connsiteY119" fmla="*/ 29092 h 213492"/>
                  <a:gd name="connsiteX120" fmla="*/ 43486 w 87881"/>
                  <a:gd name="connsiteY120" fmla="*/ 28637 h 213492"/>
                  <a:gd name="connsiteX121" fmla="*/ 43184 w 87881"/>
                  <a:gd name="connsiteY121" fmla="*/ 27274 h 213492"/>
                  <a:gd name="connsiteX122" fmla="*/ 41971 w 87881"/>
                  <a:gd name="connsiteY122" fmla="*/ 25001 h 213492"/>
                  <a:gd name="connsiteX123" fmla="*/ 40607 w 87881"/>
                  <a:gd name="connsiteY123" fmla="*/ 23183 h 213492"/>
                  <a:gd name="connsiteX124" fmla="*/ 37880 w 87881"/>
                  <a:gd name="connsiteY124" fmla="*/ 20455 h 213492"/>
                  <a:gd name="connsiteX125" fmla="*/ 36819 w 87881"/>
                  <a:gd name="connsiteY125" fmla="*/ 18788 h 213492"/>
                  <a:gd name="connsiteX126" fmla="*/ 35910 w 87881"/>
                  <a:gd name="connsiteY126" fmla="*/ 16819 h 213492"/>
                  <a:gd name="connsiteX127" fmla="*/ 34698 w 87881"/>
                  <a:gd name="connsiteY127" fmla="*/ 12728 h 213492"/>
                  <a:gd name="connsiteX128" fmla="*/ 34092 w 87881"/>
                  <a:gd name="connsiteY128" fmla="*/ 11819 h 213492"/>
                  <a:gd name="connsiteX129" fmla="*/ 33789 w 87881"/>
                  <a:gd name="connsiteY129" fmla="*/ 10758 h 213492"/>
                  <a:gd name="connsiteX130" fmla="*/ 33789 w 87881"/>
                  <a:gd name="connsiteY130" fmla="*/ 9394 h 213492"/>
                  <a:gd name="connsiteX131" fmla="*/ 34092 w 87881"/>
                  <a:gd name="connsiteY131" fmla="*/ 8333 h 213492"/>
                  <a:gd name="connsiteX132" fmla="*/ 35153 w 87881"/>
                  <a:gd name="connsiteY132" fmla="*/ 6818 h 213492"/>
                  <a:gd name="connsiteX133" fmla="*/ 34850 w 87881"/>
                  <a:gd name="connsiteY133" fmla="*/ 7273 h 213492"/>
                  <a:gd name="connsiteX134" fmla="*/ 33335 w 87881"/>
                  <a:gd name="connsiteY134" fmla="*/ 7273 h 213492"/>
                  <a:gd name="connsiteX135" fmla="*/ 32425 w 87881"/>
                  <a:gd name="connsiteY135" fmla="*/ 7121 h 213492"/>
                  <a:gd name="connsiteX136" fmla="*/ 30001 w 87881"/>
                  <a:gd name="connsiteY136" fmla="*/ 5758 h 213492"/>
                  <a:gd name="connsiteX137" fmla="*/ 28183 w 87881"/>
                  <a:gd name="connsiteY137" fmla="*/ 5455 h 213492"/>
                  <a:gd name="connsiteX138" fmla="*/ 23486 w 87881"/>
                  <a:gd name="connsiteY138" fmla="*/ 5758 h 213492"/>
                  <a:gd name="connsiteX139" fmla="*/ 21819 w 87881"/>
                  <a:gd name="connsiteY139" fmla="*/ 6061 h 213492"/>
                  <a:gd name="connsiteX140" fmla="*/ 20607 w 87881"/>
                  <a:gd name="connsiteY140" fmla="*/ 5758 h 213492"/>
                  <a:gd name="connsiteX141" fmla="*/ 18183 w 87881"/>
                  <a:gd name="connsiteY141" fmla="*/ 3333 h 213492"/>
                  <a:gd name="connsiteX142" fmla="*/ 15304 w 87881"/>
                  <a:gd name="connsiteY142" fmla="*/ 2879 h 213492"/>
                  <a:gd name="connsiteX143" fmla="*/ 12728 w 87881"/>
                  <a:gd name="connsiteY143" fmla="*/ 2727 h 213492"/>
                  <a:gd name="connsiteX144" fmla="*/ 8485 w 87881"/>
                  <a:gd name="connsiteY144" fmla="*/ 0 h 213492"/>
                  <a:gd name="connsiteX145" fmla="*/ 7424 w 87881"/>
                  <a:gd name="connsiteY145" fmla="*/ 151 h 213492"/>
                  <a:gd name="connsiteX146" fmla="*/ 6970 w 87881"/>
                  <a:gd name="connsiteY146" fmla="*/ 303 h 213492"/>
                  <a:gd name="connsiteX147" fmla="*/ 7121 w 87881"/>
                  <a:gd name="connsiteY147" fmla="*/ 1061 h 213492"/>
                  <a:gd name="connsiteX148" fmla="*/ 7879 w 87881"/>
                  <a:gd name="connsiteY148" fmla="*/ 2424 h 213492"/>
                  <a:gd name="connsiteX149" fmla="*/ 8637 w 87881"/>
                  <a:gd name="connsiteY149" fmla="*/ 3485 h 213492"/>
                  <a:gd name="connsiteX150" fmla="*/ 8637 w 87881"/>
                  <a:gd name="connsiteY150" fmla="*/ 5000 h 213492"/>
                  <a:gd name="connsiteX151" fmla="*/ 8940 w 87881"/>
                  <a:gd name="connsiteY151" fmla="*/ 6364 h 213492"/>
                  <a:gd name="connsiteX152" fmla="*/ 10152 w 87881"/>
                  <a:gd name="connsiteY152" fmla="*/ 6667 h 213492"/>
                  <a:gd name="connsiteX153" fmla="*/ 11061 w 87881"/>
                  <a:gd name="connsiteY153" fmla="*/ 6818 h 213492"/>
                  <a:gd name="connsiteX154" fmla="*/ 11970 w 87881"/>
                  <a:gd name="connsiteY154" fmla="*/ 5909 h 213492"/>
                  <a:gd name="connsiteX155" fmla="*/ 13182 w 87881"/>
                  <a:gd name="connsiteY155" fmla="*/ 5909 h 213492"/>
                  <a:gd name="connsiteX156" fmla="*/ 14546 w 87881"/>
                  <a:gd name="connsiteY156" fmla="*/ 6515 h 213492"/>
                  <a:gd name="connsiteX157" fmla="*/ 15000 w 87881"/>
                  <a:gd name="connsiteY157" fmla="*/ 8031 h 213492"/>
                  <a:gd name="connsiteX158" fmla="*/ 16061 w 87881"/>
                  <a:gd name="connsiteY158" fmla="*/ 10152 h 213492"/>
                  <a:gd name="connsiteX159" fmla="*/ 17728 w 87881"/>
                  <a:gd name="connsiteY159" fmla="*/ 11515 h 213492"/>
                  <a:gd name="connsiteX160" fmla="*/ 18788 w 87881"/>
                  <a:gd name="connsiteY160" fmla="*/ 12879 h 213492"/>
                  <a:gd name="connsiteX161" fmla="*/ 18334 w 87881"/>
                  <a:gd name="connsiteY161" fmla="*/ 15455 h 213492"/>
                  <a:gd name="connsiteX162" fmla="*/ 17576 w 87881"/>
                  <a:gd name="connsiteY162" fmla="*/ 17728 h 213492"/>
                  <a:gd name="connsiteX163" fmla="*/ 19849 w 87881"/>
                  <a:gd name="connsiteY163" fmla="*/ 20001 h 213492"/>
                  <a:gd name="connsiteX164" fmla="*/ 22728 w 87881"/>
                  <a:gd name="connsiteY164" fmla="*/ 22122 h 213492"/>
                  <a:gd name="connsiteX165" fmla="*/ 23486 w 87881"/>
                  <a:gd name="connsiteY165" fmla="*/ 23031 h 213492"/>
                  <a:gd name="connsiteX166" fmla="*/ 23789 w 87881"/>
                  <a:gd name="connsiteY166" fmla="*/ 26213 h 213492"/>
                  <a:gd name="connsiteX167" fmla="*/ 24243 w 87881"/>
                  <a:gd name="connsiteY167" fmla="*/ 27274 h 213492"/>
                  <a:gd name="connsiteX168" fmla="*/ 26213 w 87881"/>
                  <a:gd name="connsiteY168" fmla="*/ 30001 h 213492"/>
                  <a:gd name="connsiteX169" fmla="*/ 27122 w 87881"/>
                  <a:gd name="connsiteY169" fmla="*/ 31819 h 213492"/>
                  <a:gd name="connsiteX170" fmla="*/ 27122 w 87881"/>
                  <a:gd name="connsiteY170" fmla="*/ 32880 h 213492"/>
                  <a:gd name="connsiteX171" fmla="*/ 21819 w 87881"/>
                  <a:gd name="connsiteY171" fmla="*/ 38183 h 213492"/>
                  <a:gd name="connsiteX172" fmla="*/ 20152 w 87881"/>
                  <a:gd name="connsiteY172" fmla="*/ 38638 h 213492"/>
                  <a:gd name="connsiteX173" fmla="*/ 18486 w 87881"/>
                  <a:gd name="connsiteY173" fmla="*/ 38941 h 213492"/>
                  <a:gd name="connsiteX174" fmla="*/ 17122 w 87881"/>
                  <a:gd name="connsiteY174" fmla="*/ 40001 h 213492"/>
                  <a:gd name="connsiteX175" fmla="*/ 16213 w 87881"/>
                  <a:gd name="connsiteY175" fmla="*/ 41062 h 213492"/>
                  <a:gd name="connsiteX176" fmla="*/ 16516 w 87881"/>
                  <a:gd name="connsiteY176" fmla="*/ 41668 h 213492"/>
                  <a:gd name="connsiteX177" fmla="*/ 17122 w 87881"/>
                  <a:gd name="connsiteY177" fmla="*/ 43486 h 213492"/>
                  <a:gd name="connsiteX178" fmla="*/ 18334 w 87881"/>
                  <a:gd name="connsiteY178" fmla="*/ 46365 h 213492"/>
                  <a:gd name="connsiteX179" fmla="*/ 19395 w 87881"/>
                  <a:gd name="connsiteY179" fmla="*/ 48335 h 213492"/>
                  <a:gd name="connsiteX180" fmla="*/ 18486 w 87881"/>
                  <a:gd name="connsiteY180" fmla="*/ 50911 h 213492"/>
                  <a:gd name="connsiteX181" fmla="*/ 16364 w 87881"/>
                  <a:gd name="connsiteY181" fmla="*/ 55154 h 213492"/>
                  <a:gd name="connsiteX182" fmla="*/ 15455 w 87881"/>
                  <a:gd name="connsiteY182" fmla="*/ 55608 h 213492"/>
                  <a:gd name="connsiteX183" fmla="*/ 15304 w 87881"/>
                  <a:gd name="connsiteY183" fmla="*/ 58790 h 213492"/>
                  <a:gd name="connsiteX184" fmla="*/ 15909 w 87881"/>
                  <a:gd name="connsiteY184" fmla="*/ 60002 h 213492"/>
                  <a:gd name="connsiteX185" fmla="*/ 16970 w 87881"/>
                  <a:gd name="connsiteY185" fmla="*/ 60911 h 213492"/>
                  <a:gd name="connsiteX186" fmla="*/ 17425 w 87881"/>
                  <a:gd name="connsiteY186" fmla="*/ 63032 h 213492"/>
                  <a:gd name="connsiteX187" fmla="*/ 17425 w 87881"/>
                  <a:gd name="connsiteY187" fmla="*/ 66063 h 213492"/>
                  <a:gd name="connsiteX188" fmla="*/ 17273 w 87881"/>
                  <a:gd name="connsiteY188" fmla="*/ 68487 h 213492"/>
                  <a:gd name="connsiteX189" fmla="*/ 15909 w 87881"/>
                  <a:gd name="connsiteY189" fmla="*/ 74700 h 213492"/>
                  <a:gd name="connsiteX190" fmla="*/ 18334 w 87881"/>
                  <a:gd name="connsiteY190" fmla="*/ 80154 h 213492"/>
                  <a:gd name="connsiteX191" fmla="*/ 19092 w 87881"/>
                  <a:gd name="connsiteY191" fmla="*/ 80761 h 213492"/>
                  <a:gd name="connsiteX192" fmla="*/ 22425 w 87881"/>
                  <a:gd name="connsiteY192" fmla="*/ 80761 h 213492"/>
                  <a:gd name="connsiteX193" fmla="*/ 23031 w 87881"/>
                  <a:gd name="connsiteY193" fmla="*/ 81215 h 213492"/>
                  <a:gd name="connsiteX194" fmla="*/ 22274 w 87881"/>
                  <a:gd name="connsiteY194" fmla="*/ 82730 h 213492"/>
                  <a:gd name="connsiteX195" fmla="*/ 20910 w 87881"/>
                  <a:gd name="connsiteY195" fmla="*/ 84245 h 213492"/>
                  <a:gd name="connsiteX196" fmla="*/ 20001 w 87881"/>
                  <a:gd name="connsiteY196" fmla="*/ 85003 h 213492"/>
                  <a:gd name="connsiteX197" fmla="*/ 15758 w 87881"/>
                  <a:gd name="connsiteY197" fmla="*/ 86821 h 213492"/>
                  <a:gd name="connsiteX198" fmla="*/ 9697 w 87881"/>
                  <a:gd name="connsiteY198" fmla="*/ 88791 h 213492"/>
                  <a:gd name="connsiteX199" fmla="*/ 8485 w 87881"/>
                  <a:gd name="connsiteY199" fmla="*/ 90761 h 213492"/>
                  <a:gd name="connsiteX200" fmla="*/ 7728 w 87881"/>
                  <a:gd name="connsiteY200" fmla="*/ 93640 h 213492"/>
                  <a:gd name="connsiteX201" fmla="*/ 8333 w 87881"/>
                  <a:gd name="connsiteY201" fmla="*/ 95306 h 213492"/>
                  <a:gd name="connsiteX202" fmla="*/ 9091 w 87881"/>
                  <a:gd name="connsiteY202" fmla="*/ 96215 h 213492"/>
                  <a:gd name="connsiteX203" fmla="*/ 8788 w 87881"/>
                  <a:gd name="connsiteY203" fmla="*/ 98640 h 213492"/>
                  <a:gd name="connsiteX204" fmla="*/ 8333 w 87881"/>
                  <a:gd name="connsiteY204" fmla="*/ 101216 h 213492"/>
                  <a:gd name="connsiteX205" fmla="*/ 8485 w 87881"/>
                  <a:gd name="connsiteY205" fmla="*/ 103337 h 213492"/>
                  <a:gd name="connsiteX206" fmla="*/ 8182 w 87881"/>
                  <a:gd name="connsiteY206" fmla="*/ 105155 h 213492"/>
                  <a:gd name="connsiteX207" fmla="*/ 7424 w 87881"/>
                  <a:gd name="connsiteY207" fmla="*/ 106064 h 213492"/>
                  <a:gd name="connsiteX208" fmla="*/ 6364 w 87881"/>
                  <a:gd name="connsiteY208" fmla="*/ 108792 h 213492"/>
                  <a:gd name="connsiteX209" fmla="*/ 5000 w 87881"/>
                  <a:gd name="connsiteY209" fmla="*/ 111519 h 213492"/>
                  <a:gd name="connsiteX210" fmla="*/ 3940 w 87881"/>
                  <a:gd name="connsiteY210" fmla="*/ 112731 h 213492"/>
                  <a:gd name="connsiteX211" fmla="*/ 2424 w 87881"/>
                  <a:gd name="connsiteY211" fmla="*/ 114095 h 213492"/>
                  <a:gd name="connsiteX212" fmla="*/ 0 w 87881"/>
                  <a:gd name="connsiteY212" fmla="*/ 115156 h 213492"/>
                  <a:gd name="connsiteX213" fmla="*/ 0 w 87881"/>
                  <a:gd name="connsiteY213" fmla="*/ 115762 h 213492"/>
                  <a:gd name="connsiteX214" fmla="*/ 2727 w 87881"/>
                  <a:gd name="connsiteY214" fmla="*/ 116974 h 213492"/>
                  <a:gd name="connsiteX215" fmla="*/ 3485 w 87881"/>
                  <a:gd name="connsiteY215" fmla="*/ 117883 h 213492"/>
                  <a:gd name="connsiteX216" fmla="*/ 3788 w 87881"/>
                  <a:gd name="connsiteY216" fmla="*/ 118489 h 213492"/>
                  <a:gd name="connsiteX217" fmla="*/ 3182 w 87881"/>
                  <a:gd name="connsiteY217" fmla="*/ 119095 h 213492"/>
                  <a:gd name="connsiteX218" fmla="*/ 2576 w 87881"/>
                  <a:gd name="connsiteY218" fmla="*/ 119853 h 213492"/>
                  <a:gd name="connsiteX219" fmla="*/ 3788 w 87881"/>
                  <a:gd name="connsiteY219" fmla="*/ 120762 h 213492"/>
                  <a:gd name="connsiteX220" fmla="*/ 5303 w 87881"/>
                  <a:gd name="connsiteY220" fmla="*/ 121519 h 213492"/>
                  <a:gd name="connsiteX221" fmla="*/ 6819 w 87881"/>
                  <a:gd name="connsiteY221" fmla="*/ 123338 h 213492"/>
                  <a:gd name="connsiteX222" fmla="*/ 8182 w 87881"/>
                  <a:gd name="connsiteY222" fmla="*/ 125914 h 213492"/>
                  <a:gd name="connsiteX223" fmla="*/ 8485 w 87881"/>
                  <a:gd name="connsiteY223" fmla="*/ 126823 h 213492"/>
                  <a:gd name="connsiteX224" fmla="*/ 8788 w 87881"/>
                  <a:gd name="connsiteY224" fmla="*/ 127126 h 213492"/>
                  <a:gd name="connsiteX225" fmla="*/ 9243 w 87881"/>
                  <a:gd name="connsiteY225" fmla="*/ 127126 h 213492"/>
                  <a:gd name="connsiteX226" fmla="*/ 10152 w 87881"/>
                  <a:gd name="connsiteY226" fmla="*/ 126671 h 213492"/>
                  <a:gd name="connsiteX227" fmla="*/ 11819 w 87881"/>
                  <a:gd name="connsiteY227" fmla="*/ 125307 h 213492"/>
                  <a:gd name="connsiteX228" fmla="*/ 13031 w 87881"/>
                  <a:gd name="connsiteY228" fmla="*/ 124853 h 213492"/>
                  <a:gd name="connsiteX229" fmla="*/ 14546 w 87881"/>
                  <a:gd name="connsiteY229" fmla="*/ 126823 h 213492"/>
                  <a:gd name="connsiteX230" fmla="*/ 15758 w 87881"/>
                  <a:gd name="connsiteY230" fmla="*/ 127580 h 213492"/>
                  <a:gd name="connsiteX231" fmla="*/ 19698 w 87881"/>
                  <a:gd name="connsiteY231" fmla="*/ 134399 h 213492"/>
                  <a:gd name="connsiteX232" fmla="*/ 22880 w 87881"/>
                  <a:gd name="connsiteY232" fmla="*/ 138338 h 213492"/>
                  <a:gd name="connsiteX233" fmla="*/ 26516 w 87881"/>
                  <a:gd name="connsiteY233" fmla="*/ 142126 h 213492"/>
                  <a:gd name="connsiteX234" fmla="*/ 27122 w 87881"/>
                  <a:gd name="connsiteY234" fmla="*/ 141975 h 213492"/>
                  <a:gd name="connsiteX235" fmla="*/ 28183 w 87881"/>
                  <a:gd name="connsiteY235" fmla="*/ 141066 h 213492"/>
                  <a:gd name="connsiteX236" fmla="*/ 30001 w 87881"/>
                  <a:gd name="connsiteY236" fmla="*/ 140763 h 213492"/>
                  <a:gd name="connsiteX237" fmla="*/ 35759 w 87881"/>
                  <a:gd name="connsiteY237" fmla="*/ 139854 h 213492"/>
                  <a:gd name="connsiteX238" fmla="*/ 37880 w 87881"/>
                  <a:gd name="connsiteY238" fmla="*/ 139854 h 213492"/>
                  <a:gd name="connsiteX239" fmla="*/ 39244 w 87881"/>
                  <a:gd name="connsiteY239" fmla="*/ 138793 h 213492"/>
                  <a:gd name="connsiteX240" fmla="*/ 42123 w 87881"/>
                  <a:gd name="connsiteY240" fmla="*/ 138035 h 213492"/>
                  <a:gd name="connsiteX241" fmla="*/ 45456 w 87881"/>
                  <a:gd name="connsiteY241" fmla="*/ 137581 h 213492"/>
                  <a:gd name="connsiteX242" fmla="*/ 46668 w 87881"/>
                  <a:gd name="connsiteY242" fmla="*/ 138035 h 213492"/>
                  <a:gd name="connsiteX243" fmla="*/ 50305 w 87881"/>
                  <a:gd name="connsiteY243" fmla="*/ 142884 h 213492"/>
                  <a:gd name="connsiteX244" fmla="*/ 50760 w 87881"/>
                  <a:gd name="connsiteY244" fmla="*/ 146520 h 213492"/>
                  <a:gd name="connsiteX245" fmla="*/ 51517 w 87881"/>
                  <a:gd name="connsiteY245" fmla="*/ 151824 h 213492"/>
                  <a:gd name="connsiteX246" fmla="*/ 51669 w 87881"/>
                  <a:gd name="connsiteY246" fmla="*/ 154399 h 213492"/>
                  <a:gd name="connsiteX247" fmla="*/ 51669 w 87881"/>
                  <a:gd name="connsiteY247" fmla="*/ 157885 h 213492"/>
                  <a:gd name="connsiteX248" fmla="*/ 51214 w 87881"/>
                  <a:gd name="connsiteY248" fmla="*/ 162279 h 213492"/>
                  <a:gd name="connsiteX249" fmla="*/ 48335 w 87881"/>
                  <a:gd name="connsiteY249" fmla="*/ 167279 h 213492"/>
                  <a:gd name="connsiteX250" fmla="*/ 47729 w 87881"/>
                  <a:gd name="connsiteY250" fmla="*/ 169703 h 213492"/>
                  <a:gd name="connsiteX251" fmla="*/ 46214 w 87881"/>
                  <a:gd name="connsiteY251" fmla="*/ 173491 h 213492"/>
                  <a:gd name="connsiteX252" fmla="*/ 44093 w 87881"/>
                  <a:gd name="connsiteY252" fmla="*/ 175461 h 213492"/>
                  <a:gd name="connsiteX253" fmla="*/ 43032 w 87881"/>
                  <a:gd name="connsiteY253" fmla="*/ 176976 h 213492"/>
                  <a:gd name="connsiteX254" fmla="*/ 43032 w 87881"/>
                  <a:gd name="connsiteY254" fmla="*/ 178643 h 213492"/>
                  <a:gd name="connsiteX255" fmla="*/ 44093 w 87881"/>
                  <a:gd name="connsiteY255" fmla="*/ 180006 h 213492"/>
                  <a:gd name="connsiteX256" fmla="*/ 46517 w 87881"/>
                  <a:gd name="connsiteY256" fmla="*/ 182431 h 213492"/>
                  <a:gd name="connsiteX257" fmla="*/ 47274 w 87881"/>
                  <a:gd name="connsiteY257" fmla="*/ 183946 h 213492"/>
                  <a:gd name="connsiteX258" fmla="*/ 47123 w 87881"/>
                  <a:gd name="connsiteY258" fmla="*/ 185310 h 213492"/>
                  <a:gd name="connsiteX259" fmla="*/ 47123 w 87881"/>
                  <a:gd name="connsiteY259" fmla="*/ 187280 h 213492"/>
                  <a:gd name="connsiteX260" fmla="*/ 47729 w 87881"/>
                  <a:gd name="connsiteY260" fmla="*/ 188643 h 213492"/>
                  <a:gd name="connsiteX261" fmla="*/ 48335 w 87881"/>
                  <a:gd name="connsiteY261" fmla="*/ 189401 h 213492"/>
                  <a:gd name="connsiteX262" fmla="*/ 50760 w 87881"/>
                  <a:gd name="connsiteY262" fmla="*/ 190613 h 213492"/>
                  <a:gd name="connsiteX263" fmla="*/ 53032 w 87881"/>
                  <a:gd name="connsiteY263" fmla="*/ 193795 h 213492"/>
                  <a:gd name="connsiteX264" fmla="*/ 56972 w 87881"/>
                  <a:gd name="connsiteY264" fmla="*/ 197583 h 213492"/>
                  <a:gd name="connsiteX265" fmla="*/ 61820 w 87881"/>
                  <a:gd name="connsiteY265" fmla="*/ 203038 h 213492"/>
                  <a:gd name="connsiteX266" fmla="*/ 64093 w 87881"/>
                  <a:gd name="connsiteY266" fmla="*/ 204704 h 213492"/>
                  <a:gd name="connsiteX267" fmla="*/ 65912 w 87881"/>
                  <a:gd name="connsiteY267" fmla="*/ 205159 h 213492"/>
                  <a:gd name="connsiteX268" fmla="*/ 66821 w 87881"/>
                  <a:gd name="connsiteY268" fmla="*/ 206977 h 213492"/>
                  <a:gd name="connsiteX269" fmla="*/ 66366 w 87881"/>
                  <a:gd name="connsiteY269" fmla="*/ 209098 h 213492"/>
                  <a:gd name="connsiteX270" fmla="*/ 65003 w 87881"/>
                  <a:gd name="connsiteY270" fmla="*/ 210311 h 213492"/>
                  <a:gd name="connsiteX271" fmla="*/ 65608 w 87881"/>
                  <a:gd name="connsiteY271" fmla="*/ 211977 h 213492"/>
                  <a:gd name="connsiteX272" fmla="*/ 66366 w 87881"/>
                  <a:gd name="connsiteY272" fmla="*/ 212886 h 213492"/>
                  <a:gd name="connsiteX273" fmla="*/ 67275 w 87881"/>
                  <a:gd name="connsiteY273" fmla="*/ 213341 h 213492"/>
                  <a:gd name="connsiteX274" fmla="*/ 69396 w 87881"/>
                  <a:gd name="connsiteY274" fmla="*/ 213493 h 213492"/>
                  <a:gd name="connsiteX275" fmla="*/ 71366 w 87881"/>
                  <a:gd name="connsiteY275" fmla="*/ 213189 h 213492"/>
                  <a:gd name="connsiteX276" fmla="*/ 71821 w 87881"/>
                  <a:gd name="connsiteY276" fmla="*/ 212583 h 213492"/>
                  <a:gd name="connsiteX277" fmla="*/ 71518 w 87881"/>
                  <a:gd name="connsiteY277" fmla="*/ 204553 h 213492"/>
                  <a:gd name="connsiteX278" fmla="*/ 70154 w 87881"/>
                  <a:gd name="connsiteY278" fmla="*/ 199856 h 213492"/>
                  <a:gd name="connsiteX279" fmla="*/ 68791 w 87881"/>
                  <a:gd name="connsiteY279" fmla="*/ 198037 h 213492"/>
                  <a:gd name="connsiteX280" fmla="*/ 68487 w 87881"/>
                  <a:gd name="connsiteY280" fmla="*/ 197734 h 213492"/>
                  <a:gd name="connsiteX281" fmla="*/ 68942 w 87881"/>
                  <a:gd name="connsiteY281" fmla="*/ 196219 h 213492"/>
                  <a:gd name="connsiteX282" fmla="*/ 70457 w 87881"/>
                  <a:gd name="connsiteY282" fmla="*/ 192583 h 213492"/>
                  <a:gd name="connsiteX283" fmla="*/ 71821 w 87881"/>
                  <a:gd name="connsiteY283" fmla="*/ 188946 h 213492"/>
                  <a:gd name="connsiteX284" fmla="*/ 72730 w 87881"/>
                  <a:gd name="connsiteY284" fmla="*/ 187431 h 213492"/>
                  <a:gd name="connsiteX285" fmla="*/ 73791 w 87881"/>
                  <a:gd name="connsiteY285" fmla="*/ 186522 h 213492"/>
                  <a:gd name="connsiteX286" fmla="*/ 80306 w 87881"/>
                  <a:gd name="connsiteY286" fmla="*/ 185613 h 213492"/>
                  <a:gd name="connsiteX287" fmla="*/ 83336 w 87881"/>
                  <a:gd name="connsiteY287" fmla="*/ 184704 h 213492"/>
                  <a:gd name="connsiteX288" fmla="*/ 84548 w 87881"/>
                  <a:gd name="connsiteY288" fmla="*/ 183643 h 213492"/>
                  <a:gd name="connsiteX289" fmla="*/ 85457 w 87881"/>
                  <a:gd name="connsiteY289" fmla="*/ 180916 h 213492"/>
                  <a:gd name="connsiteX290" fmla="*/ 86215 w 87881"/>
                  <a:gd name="connsiteY290" fmla="*/ 173188 h 213492"/>
                  <a:gd name="connsiteX291" fmla="*/ 86518 w 87881"/>
                  <a:gd name="connsiteY291" fmla="*/ 165915 h 213492"/>
                  <a:gd name="connsiteX292" fmla="*/ 85912 w 87881"/>
                  <a:gd name="connsiteY292" fmla="*/ 161673 h 213492"/>
                  <a:gd name="connsiteX293" fmla="*/ 86822 w 87881"/>
                  <a:gd name="connsiteY293" fmla="*/ 155309 h 213492"/>
                  <a:gd name="connsiteX294" fmla="*/ 87882 w 87881"/>
                  <a:gd name="connsiteY294" fmla="*/ 152127 h 213492"/>
                  <a:gd name="connsiteX295" fmla="*/ 53184 w 87881"/>
                  <a:gd name="connsiteY295" fmla="*/ 73790 h 213492"/>
                  <a:gd name="connsiteX296" fmla="*/ 53790 w 87881"/>
                  <a:gd name="connsiteY296" fmla="*/ 72275 h 213492"/>
                  <a:gd name="connsiteX297" fmla="*/ 53335 w 87881"/>
                  <a:gd name="connsiteY297" fmla="*/ 71518 h 213492"/>
                  <a:gd name="connsiteX298" fmla="*/ 52426 w 87881"/>
                  <a:gd name="connsiteY298" fmla="*/ 71215 h 213492"/>
                  <a:gd name="connsiteX299" fmla="*/ 51365 w 87881"/>
                  <a:gd name="connsiteY299" fmla="*/ 71518 h 213492"/>
                  <a:gd name="connsiteX300" fmla="*/ 51062 w 87881"/>
                  <a:gd name="connsiteY300" fmla="*/ 72578 h 213492"/>
                  <a:gd name="connsiteX301" fmla="*/ 52123 w 87881"/>
                  <a:gd name="connsiteY301" fmla="*/ 73942 h 213492"/>
                  <a:gd name="connsiteX302" fmla="*/ 53184 w 87881"/>
                  <a:gd name="connsiteY302" fmla="*/ 73790 h 21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Lst>
                <a:rect l="l" t="t" r="r" b="b"/>
                <a:pathLst>
                  <a:path w="87881" h="213492">
                    <a:moveTo>
                      <a:pt x="62426" y="60457"/>
                    </a:moveTo>
                    <a:lnTo>
                      <a:pt x="62426" y="60457"/>
                    </a:lnTo>
                    <a:lnTo>
                      <a:pt x="62275" y="59548"/>
                    </a:lnTo>
                    <a:lnTo>
                      <a:pt x="62426" y="60457"/>
                    </a:lnTo>
                    <a:lnTo>
                      <a:pt x="62426" y="60457"/>
                    </a:lnTo>
                    <a:close/>
                    <a:moveTo>
                      <a:pt x="55760" y="75003"/>
                    </a:moveTo>
                    <a:lnTo>
                      <a:pt x="56517" y="74396"/>
                    </a:lnTo>
                    <a:lnTo>
                      <a:pt x="56820" y="73639"/>
                    </a:lnTo>
                    <a:lnTo>
                      <a:pt x="56820" y="72881"/>
                    </a:lnTo>
                    <a:lnTo>
                      <a:pt x="56366" y="72427"/>
                    </a:lnTo>
                    <a:lnTo>
                      <a:pt x="55760" y="72124"/>
                    </a:lnTo>
                    <a:lnTo>
                      <a:pt x="54850" y="72275"/>
                    </a:lnTo>
                    <a:lnTo>
                      <a:pt x="54548" y="73336"/>
                    </a:lnTo>
                    <a:lnTo>
                      <a:pt x="54396" y="74851"/>
                    </a:lnTo>
                    <a:lnTo>
                      <a:pt x="55002" y="75306"/>
                    </a:lnTo>
                    <a:lnTo>
                      <a:pt x="55760" y="75003"/>
                    </a:lnTo>
                    <a:close/>
                    <a:moveTo>
                      <a:pt x="87882" y="152127"/>
                    </a:moveTo>
                    <a:lnTo>
                      <a:pt x="87124" y="151369"/>
                    </a:lnTo>
                    <a:lnTo>
                      <a:pt x="86518" y="146066"/>
                    </a:lnTo>
                    <a:lnTo>
                      <a:pt x="82276" y="140308"/>
                    </a:lnTo>
                    <a:lnTo>
                      <a:pt x="76821" y="133035"/>
                    </a:lnTo>
                    <a:lnTo>
                      <a:pt x="73791" y="129095"/>
                    </a:lnTo>
                    <a:lnTo>
                      <a:pt x="70305" y="124550"/>
                    </a:lnTo>
                    <a:lnTo>
                      <a:pt x="63942" y="117580"/>
                    </a:lnTo>
                    <a:lnTo>
                      <a:pt x="61063" y="115004"/>
                    </a:lnTo>
                    <a:lnTo>
                      <a:pt x="59851" y="114246"/>
                    </a:lnTo>
                    <a:lnTo>
                      <a:pt x="59851" y="116822"/>
                    </a:lnTo>
                    <a:lnTo>
                      <a:pt x="60154" y="119247"/>
                    </a:lnTo>
                    <a:lnTo>
                      <a:pt x="60760" y="119701"/>
                    </a:lnTo>
                    <a:lnTo>
                      <a:pt x="64699" y="120004"/>
                    </a:lnTo>
                    <a:lnTo>
                      <a:pt x="65457" y="120307"/>
                    </a:lnTo>
                    <a:lnTo>
                      <a:pt x="66517" y="122580"/>
                    </a:lnTo>
                    <a:lnTo>
                      <a:pt x="68791" y="129247"/>
                    </a:lnTo>
                    <a:lnTo>
                      <a:pt x="68791" y="129853"/>
                    </a:lnTo>
                    <a:lnTo>
                      <a:pt x="71063" y="135156"/>
                    </a:lnTo>
                    <a:lnTo>
                      <a:pt x="71669" y="137581"/>
                    </a:lnTo>
                    <a:lnTo>
                      <a:pt x="71366" y="138338"/>
                    </a:lnTo>
                    <a:lnTo>
                      <a:pt x="70912" y="138641"/>
                    </a:lnTo>
                    <a:lnTo>
                      <a:pt x="70305" y="138641"/>
                    </a:lnTo>
                    <a:lnTo>
                      <a:pt x="69093" y="137278"/>
                    </a:lnTo>
                    <a:lnTo>
                      <a:pt x="67427" y="135459"/>
                    </a:lnTo>
                    <a:lnTo>
                      <a:pt x="65154" y="132277"/>
                    </a:lnTo>
                    <a:lnTo>
                      <a:pt x="64245" y="131671"/>
                    </a:lnTo>
                    <a:lnTo>
                      <a:pt x="62729" y="131368"/>
                    </a:lnTo>
                    <a:lnTo>
                      <a:pt x="62426" y="130914"/>
                    </a:lnTo>
                    <a:lnTo>
                      <a:pt x="62275" y="129095"/>
                    </a:lnTo>
                    <a:lnTo>
                      <a:pt x="61972" y="128338"/>
                    </a:lnTo>
                    <a:lnTo>
                      <a:pt x="61366" y="127732"/>
                    </a:lnTo>
                    <a:lnTo>
                      <a:pt x="60760" y="127429"/>
                    </a:lnTo>
                    <a:lnTo>
                      <a:pt x="60154" y="127429"/>
                    </a:lnTo>
                    <a:lnTo>
                      <a:pt x="60002" y="128035"/>
                    </a:lnTo>
                    <a:lnTo>
                      <a:pt x="60305" y="129095"/>
                    </a:lnTo>
                    <a:lnTo>
                      <a:pt x="60154" y="130156"/>
                    </a:lnTo>
                    <a:lnTo>
                      <a:pt x="59396" y="131217"/>
                    </a:lnTo>
                    <a:lnTo>
                      <a:pt x="59093" y="131974"/>
                    </a:lnTo>
                    <a:lnTo>
                      <a:pt x="59396" y="132429"/>
                    </a:lnTo>
                    <a:lnTo>
                      <a:pt x="59245" y="133035"/>
                    </a:lnTo>
                    <a:lnTo>
                      <a:pt x="57881" y="134096"/>
                    </a:lnTo>
                    <a:lnTo>
                      <a:pt x="56820" y="134399"/>
                    </a:lnTo>
                    <a:lnTo>
                      <a:pt x="56214" y="134247"/>
                    </a:lnTo>
                    <a:lnTo>
                      <a:pt x="56063" y="133490"/>
                    </a:lnTo>
                    <a:lnTo>
                      <a:pt x="55457" y="132883"/>
                    </a:lnTo>
                    <a:lnTo>
                      <a:pt x="54396" y="132277"/>
                    </a:lnTo>
                    <a:lnTo>
                      <a:pt x="53335" y="131217"/>
                    </a:lnTo>
                    <a:lnTo>
                      <a:pt x="52426" y="129702"/>
                    </a:lnTo>
                    <a:lnTo>
                      <a:pt x="51820" y="128035"/>
                    </a:lnTo>
                    <a:lnTo>
                      <a:pt x="51517" y="126217"/>
                    </a:lnTo>
                    <a:lnTo>
                      <a:pt x="51669" y="124853"/>
                    </a:lnTo>
                    <a:lnTo>
                      <a:pt x="52275" y="124095"/>
                    </a:lnTo>
                    <a:lnTo>
                      <a:pt x="53032" y="122429"/>
                    </a:lnTo>
                    <a:lnTo>
                      <a:pt x="53790" y="119853"/>
                    </a:lnTo>
                    <a:lnTo>
                      <a:pt x="53335" y="117580"/>
                    </a:lnTo>
                    <a:lnTo>
                      <a:pt x="51669" y="115610"/>
                    </a:lnTo>
                    <a:lnTo>
                      <a:pt x="50305" y="114701"/>
                    </a:lnTo>
                    <a:lnTo>
                      <a:pt x="49244" y="114853"/>
                    </a:lnTo>
                    <a:lnTo>
                      <a:pt x="47881" y="113641"/>
                    </a:lnTo>
                    <a:lnTo>
                      <a:pt x="45456" y="109549"/>
                    </a:lnTo>
                    <a:lnTo>
                      <a:pt x="45305" y="108640"/>
                    </a:lnTo>
                    <a:lnTo>
                      <a:pt x="45456" y="107580"/>
                    </a:lnTo>
                    <a:lnTo>
                      <a:pt x="46062" y="106367"/>
                    </a:lnTo>
                    <a:lnTo>
                      <a:pt x="46214" y="103337"/>
                    </a:lnTo>
                    <a:lnTo>
                      <a:pt x="45759" y="97428"/>
                    </a:lnTo>
                    <a:lnTo>
                      <a:pt x="45456" y="96822"/>
                    </a:lnTo>
                    <a:lnTo>
                      <a:pt x="44850" y="95003"/>
                    </a:lnTo>
                    <a:lnTo>
                      <a:pt x="44244" y="94094"/>
                    </a:lnTo>
                    <a:lnTo>
                      <a:pt x="43941" y="93185"/>
                    </a:lnTo>
                    <a:lnTo>
                      <a:pt x="44093" y="92276"/>
                    </a:lnTo>
                    <a:lnTo>
                      <a:pt x="43789" y="91518"/>
                    </a:lnTo>
                    <a:lnTo>
                      <a:pt x="43032" y="91064"/>
                    </a:lnTo>
                    <a:lnTo>
                      <a:pt x="42426" y="90306"/>
                    </a:lnTo>
                    <a:lnTo>
                      <a:pt x="41971" y="89094"/>
                    </a:lnTo>
                    <a:lnTo>
                      <a:pt x="41971" y="84700"/>
                    </a:lnTo>
                    <a:lnTo>
                      <a:pt x="41517" y="83185"/>
                    </a:lnTo>
                    <a:lnTo>
                      <a:pt x="40759" y="82276"/>
                    </a:lnTo>
                    <a:lnTo>
                      <a:pt x="39547" y="81973"/>
                    </a:lnTo>
                    <a:lnTo>
                      <a:pt x="38638" y="81063"/>
                    </a:lnTo>
                    <a:lnTo>
                      <a:pt x="37577" y="78184"/>
                    </a:lnTo>
                    <a:lnTo>
                      <a:pt x="37426" y="76973"/>
                    </a:lnTo>
                    <a:lnTo>
                      <a:pt x="38183" y="72578"/>
                    </a:lnTo>
                    <a:lnTo>
                      <a:pt x="39244" y="70608"/>
                    </a:lnTo>
                    <a:lnTo>
                      <a:pt x="40911" y="69245"/>
                    </a:lnTo>
                    <a:lnTo>
                      <a:pt x="41668" y="68033"/>
                    </a:lnTo>
                    <a:lnTo>
                      <a:pt x="41668" y="66972"/>
                    </a:lnTo>
                    <a:lnTo>
                      <a:pt x="42426" y="65608"/>
                    </a:lnTo>
                    <a:lnTo>
                      <a:pt x="45002" y="62578"/>
                    </a:lnTo>
                    <a:lnTo>
                      <a:pt x="45153" y="61820"/>
                    </a:lnTo>
                    <a:lnTo>
                      <a:pt x="44244" y="55608"/>
                    </a:lnTo>
                    <a:lnTo>
                      <a:pt x="43486" y="52426"/>
                    </a:lnTo>
                    <a:lnTo>
                      <a:pt x="42577" y="50153"/>
                    </a:lnTo>
                    <a:lnTo>
                      <a:pt x="42426" y="48487"/>
                    </a:lnTo>
                    <a:lnTo>
                      <a:pt x="42880" y="47426"/>
                    </a:lnTo>
                    <a:lnTo>
                      <a:pt x="43032" y="46517"/>
                    </a:lnTo>
                    <a:lnTo>
                      <a:pt x="42729" y="45759"/>
                    </a:lnTo>
                    <a:lnTo>
                      <a:pt x="41820" y="33183"/>
                    </a:lnTo>
                    <a:lnTo>
                      <a:pt x="41517" y="32577"/>
                    </a:lnTo>
                    <a:lnTo>
                      <a:pt x="41668" y="31971"/>
                    </a:lnTo>
                    <a:lnTo>
                      <a:pt x="42274" y="31365"/>
                    </a:lnTo>
                    <a:lnTo>
                      <a:pt x="42577" y="30607"/>
                    </a:lnTo>
                    <a:lnTo>
                      <a:pt x="42577" y="29698"/>
                    </a:lnTo>
                    <a:lnTo>
                      <a:pt x="42880" y="29092"/>
                    </a:lnTo>
                    <a:lnTo>
                      <a:pt x="43486" y="28637"/>
                    </a:lnTo>
                    <a:lnTo>
                      <a:pt x="43184" y="27274"/>
                    </a:lnTo>
                    <a:lnTo>
                      <a:pt x="41971" y="25001"/>
                    </a:lnTo>
                    <a:lnTo>
                      <a:pt x="40607" y="23183"/>
                    </a:lnTo>
                    <a:lnTo>
                      <a:pt x="37880" y="20455"/>
                    </a:lnTo>
                    <a:lnTo>
                      <a:pt x="36819" y="18788"/>
                    </a:lnTo>
                    <a:lnTo>
                      <a:pt x="35910" y="16819"/>
                    </a:lnTo>
                    <a:lnTo>
                      <a:pt x="34698" y="12728"/>
                    </a:lnTo>
                    <a:lnTo>
                      <a:pt x="34092" y="11819"/>
                    </a:lnTo>
                    <a:lnTo>
                      <a:pt x="33789" y="10758"/>
                    </a:lnTo>
                    <a:lnTo>
                      <a:pt x="33789" y="9394"/>
                    </a:lnTo>
                    <a:lnTo>
                      <a:pt x="34092" y="8333"/>
                    </a:lnTo>
                    <a:lnTo>
                      <a:pt x="35153" y="6818"/>
                    </a:lnTo>
                    <a:lnTo>
                      <a:pt x="34850" y="7273"/>
                    </a:lnTo>
                    <a:lnTo>
                      <a:pt x="33335" y="7273"/>
                    </a:lnTo>
                    <a:lnTo>
                      <a:pt x="32425" y="7121"/>
                    </a:lnTo>
                    <a:lnTo>
                      <a:pt x="30001" y="5758"/>
                    </a:lnTo>
                    <a:lnTo>
                      <a:pt x="28183" y="5455"/>
                    </a:lnTo>
                    <a:lnTo>
                      <a:pt x="23486" y="5758"/>
                    </a:lnTo>
                    <a:lnTo>
                      <a:pt x="21819" y="6061"/>
                    </a:lnTo>
                    <a:lnTo>
                      <a:pt x="20607" y="5758"/>
                    </a:lnTo>
                    <a:lnTo>
                      <a:pt x="18183" y="3333"/>
                    </a:lnTo>
                    <a:lnTo>
                      <a:pt x="15304" y="2879"/>
                    </a:lnTo>
                    <a:lnTo>
                      <a:pt x="12728" y="2727"/>
                    </a:lnTo>
                    <a:lnTo>
                      <a:pt x="8485" y="0"/>
                    </a:lnTo>
                    <a:lnTo>
                      <a:pt x="7424" y="151"/>
                    </a:lnTo>
                    <a:lnTo>
                      <a:pt x="6970" y="303"/>
                    </a:lnTo>
                    <a:lnTo>
                      <a:pt x="7121" y="1061"/>
                    </a:lnTo>
                    <a:lnTo>
                      <a:pt x="7879" y="2424"/>
                    </a:lnTo>
                    <a:lnTo>
                      <a:pt x="8637" y="3485"/>
                    </a:lnTo>
                    <a:lnTo>
                      <a:pt x="8637" y="5000"/>
                    </a:lnTo>
                    <a:lnTo>
                      <a:pt x="8940" y="6364"/>
                    </a:lnTo>
                    <a:lnTo>
                      <a:pt x="10152" y="6667"/>
                    </a:lnTo>
                    <a:lnTo>
                      <a:pt x="11061" y="6818"/>
                    </a:lnTo>
                    <a:lnTo>
                      <a:pt x="11970" y="5909"/>
                    </a:lnTo>
                    <a:lnTo>
                      <a:pt x="13182" y="5909"/>
                    </a:lnTo>
                    <a:lnTo>
                      <a:pt x="14546" y="6515"/>
                    </a:lnTo>
                    <a:lnTo>
                      <a:pt x="15000" y="8031"/>
                    </a:lnTo>
                    <a:lnTo>
                      <a:pt x="16061" y="10152"/>
                    </a:lnTo>
                    <a:lnTo>
                      <a:pt x="17728" y="11515"/>
                    </a:lnTo>
                    <a:lnTo>
                      <a:pt x="18788" y="12879"/>
                    </a:lnTo>
                    <a:lnTo>
                      <a:pt x="18334" y="15455"/>
                    </a:lnTo>
                    <a:lnTo>
                      <a:pt x="17576" y="17728"/>
                    </a:lnTo>
                    <a:lnTo>
                      <a:pt x="19849" y="20001"/>
                    </a:lnTo>
                    <a:lnTo>
                      <a:pt x="22728" y="22122"/>
                    </a:lnTo>
                    <a:lnTo>
                      <a:pt x="23486" y="23031"/>
                    </a:lnTo>
                    <a:lnTo>
                      <a:pt x="23789" y="26213"/>
                    </a:lnTo>
                    <a:lnTo>
                      <a:pt x="24243" y="27274"/>
                    </a:lnTo>
                    <a:lnTo>
                      <a:pt x="26213" y="30001"/>
                    </a:lnTo>
                    <a:lnTo>
                      <a:pt x="27122" y="31819"/>
                    </a:lnTo>
                    <a:lnTo>
                      <a:pt x="27122" y="32880"/>
                    </a:lnTo>
                    <a:lnTo>
                      <a:pt x="21819" y="38183"/>
                    </a:lnTo>
                    <a:lnTo>
                      <a:pt x="20152" y="38638"/>
                    </a:lnTo>
                    <a:lnTo>
                      <a:pt x="18486" y="38941"/>
                    </a:lnTo>
                    <a:lnTo>
                      <a:pt x="17122" y="40001"/>
                    </a:lnTo>
                    <a:lnTo>
                      <a:pt x="16213" y="41062"/>
                    </a:lnTo>
                    <a:lnTo>
                      <a:pt x="16516" y="41668"/>
                    </a:lnTo>
                    <a:lnTo>
                      <a:pt x="17122" y="43486"/>
                    </a:lnTo>
                    <a:lnTo>
                      <a:pt x="18334" y="46365"/>
                    </a:lnTo>
                    <a:lnTo>
                      <a:pt x="19395" y="48335"/>
                    </a:lnTo>
                    <a:lnTo>
                      <a:pt x="18486" y="50911"/>
                    </a:lnTo>
                    <a:lnTo>
                      <a:pt x="16364" y="55154"/>
                    </a:lnTo>
                    <a:lnTo>
                      <a:pt x="15455" y="55608"/>
                    </a:lnTo>
                    <a:lnTo>
                      <a:pt x="15304" y="58790"/>
                    </a:lnTo>
                    <a:lnTo>
                      <a:pt x="15909" y="60002"/>
                    </a:lnTo>
                    <a:lnTo>
                      <a:pt x="16970" y="60911"/>
                    </a:lnTo>
                    <a:lnTo>
                      <a:pt x="17425" y="63032"/>
                    </a:lnTo>
                    <a:lnTo>
                      <a:pt x="17425" y="66063"/>
                    </a:lnTo>
                    <a:lnTo>
                      <a:pt x="17273" y="68487"/>
                    </a:lnTo>
                    <a:lnTo>
                      <a:pt x="15909" y="74700"/>
                    </a:lnTo>
                    <a:lnTo>
                      <a:pt x="18334" y="80154"/>
                    </a:lnTo>
                    <a:lnTo>
                      <a:pt x="19092" y="80761"/>
                    </a:lnTo>
                    <a:lnTo>
                      <a:pt x="22425" y="80761"/>
                    </a:lnTo>
                    <a:lnTo>
                      <a:pt x="23031" y="81215"/>
                    </a:lnTo>
                    <a:lnTo>
                      <a:pt x="22274" y="82730"/>
                    </a:lnTo>
                    <a:lnTo>
                      <a:pt x="20910" y="84245"/>
                    </a:lnTo>
                    <a:lnTo>
                      <a:pt x="20001" y="85003"/>
                    </a:lnTo>
                    <a:lnTo>
                      <a:pt x="15758" y="86821"/>
                    </a:lnTo>
                    <a:lnTo>
                      <a:pt x="9697" y="88791"/>
                    </a:lnTo>
                    <a:lnTo>
                      <a:pt x="8485" y="90761"/>
                    </a:lnTo>
                    <a:lnTo>
                      <a:pt x="7728" y="93640"/>
                    </a:lnTo>
                    <a:lnTo>
                      <a:pt x="8333" y="95306"/>
                    </a:lnTo>
                    <a:lnTo>
                      <a:pt x="9091" y="96215"/>
                    </a:lnTo>
                    <a:lnTo>
                      <a:pt x="8788" y="98640"/>
                    </a:lnTo>
                    <a:lnTo>
                      <a:pt x="8333" y="101216"/>
                    </a:lnTo>
                    <a:lnTo>
                      <a:pt x="8485" y="103337"/>
                    </a:lnTo>
                    <a:lnTo>
                      <a:pt x="8182" y="105155"/>
                    </a:lnTo>
                    <a:lnTo>
                      <a:pt x="7424" y="106064"/>
                    </a:lnTo>
                    <a:lnTo>
                      <a:pt x="6364" y="108792"/>
                    </a:lnTo>
                    <a:lnTo>
                      <a:pt x="5000" y="111519"/>
                    </a:lnTo>
                    <a:lnTo>
                      <a:pt x="3940" y="112731"/>
                    </a:lnTo>
                    <a:lnTo>
                      <a:pt x="2424" y="114095"/>
                    </a:lnTo>
                    <a:lnTo>
                      <a:pt x="0" y="115156"/>
                    </a:lnTo>
                    <a:lnTo>
                      <a:pt x="0" y="115762"/>
                    </a:lnTo>
                    <a:lnTo>
                      <a:pt x="2727" y="116974"/>
                    </a:lnTo>
                    <a:lnTo>
                      <a:pt x="3485" y="117883"/>
                    </a:lnTo>
                    <a:lnTo>
                      <a:pt x="3788" y="118489"/>
                    </a:lnTo>
                    <a:lnTo>
                      <a:pt x="3182" y="119095"/>
                    </a:lnTo>
                    <a:lnTo>
                      <a:pt x="2576" y="119853"/>
                    </a:lnTo>
                    <a:lnTo>
                      <a:pt x="3788" y="120762"/>
                    </a:lnTo>
                    <a:lnTo>
                      <a:pt x="5303" y="121519"/>
                    </a:lnTo>
                    <a:lnTo>
                      <a:pt x="6819" y="123338"/>
                    </a:lnTo>
                    <a:lnTo>
                      <a:pt x="8182" y="125914"/>
                    </a:lnTo>
                    <a:lnTo>
                      <a:pt x="8485" y="126823"/>
                    </a:lnTo>
                    <a:lnTo>
                      <a:pt x="8788" y="127126"/>
                    </a:lnTo>
                    <a:lnTo>
                      <a:pt x="9243" y="127126"/>
                    </a:lnTo>
                    <a:lnTo>
                      <a:pt x="10152" y="126671"/>
                    </a:lnTo>
                    <a:lnTo>
                      <a:pt x="11819" y="125307"/>
                    </a:lnTo>
                    <a:lnTo>
                      <a:pt x="13031" y="124853"/>
                    </a:lnTo>
                    <a:lnTo>
                      <a:pt x="14546" y="126823"/>
                    </a:lnTo>
                    <a:lnTo>
                      <a:pt x="15758" y="127580"/>
                    </a:lnTo>
                    <a:lnTo>
                      <a:pt x="19698" y="134399"/>
                    </a:lnTo>
                    <a:lnTo>
                      <a:pt x="22880" y="138338"/>
                    </a:lnTo>
                    <a:lnTo>
                      <a:pt x="26516" y="142126"/>
                    </a:lnTo>
                    <a:lnTo>
                      <a:pt x="27122" y="141975"/>
                    </a:lnTo>
                    <a:lnTo>
                      <a:pt x="28183" y="141066"/>
                    </a:lnTo>
                    <a:lnTo>
                      <a:pt x="30001" y="140763"/>
                    </a:lnTo>
                    <a:lnTo>
                      <a:pt x="35759" y="139854"/>
                    </a:lnTo>
                    <a:lnTo>
                      <a:pt x="37880" y="139854"/>
                    </a:lnTo>
                    <a:lnTo>
                      <a:pt x="39244" y="138793"/>
                    </a:lnTo>
                    <a:lnTo>
                      <a:pt x="42123" y="138035"/>
                    </a:lnTo>
                    <a:lnTo>
                      <a:pt x="45456" y="137581"/>
                    </a:lnTo>
                    <a:lnTo>
                      <a:pt x="46668" y="138035"/>
                    </a:lnTo>
                    <a:lnTo>
                      <a:pt x="50305" y="142884"/>
                    </a:lnTo>
                    <a:lnTo>
                      <a:pt x="50760" y="146520"/>
                    </a:lnTo>
                    <a:lnTo>
                      <a:pt x="51517" y="151824"/>
                    </a:lnTo>
                    <a:lnTo>
                      <a:pt x="51669" y="154399"/>
                    </a:lnTo>
                    <a:lnTo>
                      <a:pt x="51669" y="157885"/>
                    </a:lnTo>
                    <a:lnTo>
                      <a:pt x="51214" y="162279"/>
                    </a:lnTo>
                    <a:lnTo>
                      <a:pt x="48335" y="167279"/>
                    </a:lnTo>
                    <a:lnTo>
                      <a:pt x="47729" y="169703"/>
                    </a:lnTo>
                    <a:lnTo>
                      <a:pt x="46214" y="173491"/>
                    </a:lnTo>
                    <a:lnTo>
                      <a:pt x="44093" y="175461"/>
                    </a:lnTo>
                    <a:lnTo>
                      <a:pt x="43032" y="176976"/>
                    </a:lnTo>
                    <a:lnTo>
                      <a:pt x="43032" y="178643"/>
                    </a:lnTo>
                    <a:lnTo>
                      <a:pt x="44093" y="180006"/>
                    </a:lnTo>
                    <a:lnTo>
                      <a:pt x="46517" y="182431"/>
                    </a:lnTo>
                    <a:lnTo>
                      <a:pt x="47274" y="183946"/>
                    </a:lnTo>
                    <a:lnTo>
                      <a:pt x="47123" y="185310"/>
                    </a:lnTo>
                    <a:lnTo>
                      <a:pt x="47123" y="187280"/>
                    </a:lnTo>
                    <a:lnTo>
                      <a:pt x="47729" y="188643"/>
                    </a:lnTo>
                    <a:lnTo>
                      <a:pt x="48335" y="189401"/>
                    </a:lnTo>
                    <a:lnTo>
                      <a:pt x="50760" y="190613"/>
                    </a:lnTo>
                    <a:lnTo>
                      <a:pt x="53032" y="193795"/>
                    </a:lnTo>
                    <a:lnTo>
                      <a:pt x="56972" y="197583"/>
                    </a:lnTo>
                    <a:lnTo>
                      <a:pt x="61820" y="203038"/>
                    </a:lnTo>
                    <a:lnTo>
                      <a:pt x="64093" y="204704"/>
                    </a:lnTo>
                    <a:lnTo>
                      <a:pt x="65912" y="205159"/>
                    </a:lnTo>
                    <a:lnTo>
                      <a:pt x="66821" y="206977"/>
                    </a:lnTo>
                    <a:lnTo>
                      <a:pt x="66366" y="209098"/>
                    </a:lnTo>
                    <a:lnTo>
                      <a:pt x="65003" y="210311"/>
                    </a:lnTo>
                    <a:lnTo>
                      <a:pt x="65608" y="211977"/>
                    </a:lnTo>
                    <a:lnTo>
                      <a:pt x="66366" y="212886"/>
                    </a:lnTo>
                    <a:lnTo>
                      <a:pt x="67275" y="213341"/>
                    </a:lnTo>
                    <a:lnTo>
                      <a:pt x="69396" y="213493"/>
                    </a:lnTo>
                    <a:lnTo>
                      <a:pt x="71366" y="213189"/>
                    </a:lnTo>
                    <a:lnTo>
                      <a:pt x="71821" y="212583"/>
                    </a:lnTo>
                    <a:lnTo>
                      <a:pt x="71518" y="204553"/>
                    </a:lnTo>
                    <a:lnTo>
                      <a:pt x="70154" y="199856"/>
                    </a:lnTo>
                    <a:lnTo>
                      <a:pt x="68791" y="198037"/>
                    </a:lnTo>
                    <a:lnTo>
                      <a:pt x="68487" y="197734"/>
                    </a:lnTo>
                    <a:lnTo>
                      <a:pt x="68942" y="196219"/>
                    </a:lnTo>
                    <a:lnTo>
                      <a:pt x="70457" y="192583"/>
                    </a:lnTo>
                    <a:lnTo>
                      <a:pt x="71821" y="188946"/>
                    </a:lnTo>
                    <a:lnTo>
                      <a:pt x="72730" y="187431"/>
                    </a:lnTo>
                    <a:lnTo>
                      <a:pt x="73791" y="186522"/>
                    </a:lnTo>
                    <a:lnTo>
                      <a:pt x="80306" y="185613"/>
                    </a:lnTo>
                    <a:lnTo>
                      <a:pt x="83336" y="184704"/>
                    </a:lnTo>
                    <a:lnTo>
                      <a:pt x="84548" y="183643"/>
                    </a:lnTo>
                    <a:lnTo>
                      <a:pt x="85457" y="180916"/>
                    </a:lnTo>
                    <a:lnTo>
                      <a:pt x="86215" y="173188"/>
                    </a:lnTo>
                    <a:lnTo>
                      <a:pt x="86518" y="165915"/>
                    </a:lnTo>
                    <a:lnTo>
                      <a:pt x="85912" y="161673"/>
                    </a:lnTo>
                    <a:lnTo>
                      <a:pt x="86822" y="155309"/>
                    </a:lnTo>
                    <a:lnTo>
                      <a:pt x="87882" y="152127"/>
                    </a:lnTo>
                    <a:close/>
                    <a:moveTo>
                      <a:pt x="53184" y="73790"/>
                    </a:moveTo>
                    <a:lnTo>
                      <a:pt x="53790" y="72275"/>
                    </a:lnTo>
                    <a:lnTo>
                      <a:pt x="53335" y="71518"/>
                    </a:lnTo>
                    <a:lnTo>
                      <a:pt x="52426" y="71215"/>
                    </a:lnTo>
                    <a:lnTo>
                      <a:pt x="51365" y="71518"/>
                    </a:lnTo>
                    <a:lnTo>
                      <a:pt x="51062" y="72578"/>
                    </a:lnTo>
                    <a:lnTo>
                      <a:pt x="52123" y="73942"/>
                    </a:lnTo>
                    <a:lnTo>
                      <a:pt x="53184" y="7379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1" name="Freeform: Shape 3210">
                <a:extLst>
                  <a:ext uri="{FF2B5EF4-FFF2-40B4-BE49-F238E27FC236}">
                    <a16:creationId xmlns:a16="http://schemas.microsoft.com/office/drawing/2014/main" id="{AF292C4A-FA17-43B0-8F3A-72381BD893BD}"/>
                  </a:ext>
                </a:extLst>
              </p:cNvPr>
              <p:cNvSpPr/>
              <p:nvPr/>
            </p:nvSpPr>
            <p:spPr>
              <a:xfrm>
                <a:off x="7784850" y="4446534"/>
                <a:ext cx="4242" cy="27576"/>
              </a:xfrm>
              <a:custGeom>
                <a:avLst/>
                <a:gdLst>
                  <a:gd name="connsiteX0" fmla="*/ 606 w 4242"/>
                  <a:gd name="connsiteY0" fmla="*/ 26062 h 27576"/>
                  <a:gd name="connsiteX1" fmla="*/ 152 w 4242"/>
                  <a:gd name="connsiteY1" fmla="*/ 26516 h 27576"/>
                  <a:gd name="connsiteX2" fmla="*/ 0 w 4242"/>
                  <a:gd name="connsiteY2" fmla="*/ 27122 h 27576"/>
                  <a:gd name="connsiteX3" fmla="*/ 303 w 4242"/>
                  <a:gd name="connsiteY3" fmla="*/ 27577 h 27576"/>
                  <a:gd name="connsiteX4" fmla="*/ 909 w 4242"/>
                  <a:gd name="connsiteY4" fmla="*/ 27577 h 27576"/>
                  <a:gd name="connsiteX5" fmla="*/ 1364 w 4242"/>
                  <a:gd name="connsiteY5" fmla="*/ 27122 h 27576"/>
                  <a:gd name="connsiteX6" fmla="*/ 1515 w 4242"/>
                  <a:gd name="connsiteY6" fmla="*/ 26516 h 27576"/>
                  <a:gd name="connsiteX7" fmla="*/ 1061 w 4242"/>
                  <a:gd name="connsiteY7" fmla="*/ 26062 h 27576"/>
                  <a:gd name="connsiteX8" fmla="*/ 606 w 4242"/>
                  <a:gd name="connsiteY8" fmla="*/ 26062 h 27576"/>
                  <a:gd name="connsiteX9" fmla="*/ 3788 w 4242"/>
                  <a:gd name="connsiteY9" fmla="*/ 0 h 27576"/>
                  <a:gd name="connsiteX10" fmla="*/ 3485 w 4242"/>
                  <a:gd name="connsiteY10" fmla="*/ 303 h 27576"/>
                  <a:gd name="connsiteX11" fmla="*/ 3182 w 4242"/>
                  <a:gd name="connsiteY11" fmla="*/ 909 h 27576"/>
                  <a:gd name="connsiteX12" fmla="*/ 2879 w 4242"/>
                  <a:gd name="connsiteY12" fmla="*/ 1515 h 27576"/>
                  <a:gd name="connsiteX13" fmla="*/ 2728 w 4242"/>
                  <a:gd name="connsiteY13" fmla="*/ 1970 h 27576"/>
                  <a:gd name="connsiteX14" fmla="*/ 2879 w 4242"/>
                  <a:gd name="connsiteY14" fmla="*/ 2273 h 27576"/>
                  <a:gd name="connsiteX15" fmla="*/ 3333 w 4242"/>
                  <a:gd name="connsiteY15" fmla="*/ 2424 h 27576"/>
                  <a:gd name="connsiteX16" fmla="*/ 3788 w 4242"/>
                  <a:gd name="connsiteY16" fmla="*/ 2121 h 27576"/>
                  <a:gd name="connsiteX17" fmla="*/ 3940 w 4242"/>
                  <a:gd name="connsiteY17" fmla="*/ 1515 h 27576"/>
                  <a:gd name="connsiteX18" fmla="*/ 4091 w 4242"/>
                  <a:gd name="connsiteY18" fmla="*/ 909 h 27576"/>
                  <a:gd name="connsiteX19" fmla="*/ 4243 w 4242"/>
                  <a:gd name="connsiteY19" fmla="*/ 455 h 27576"/>
                  <a:gd name="connsiteX20" fmla="*/ 4243 w 4242"/>
                  <a:gd name="connsiteY20" fmla="*/ 151 h 27576"/>
                  <a:gd name="connsiteX21" fmla="*/ 3788 w 4242"/>
                  <a:gd name="connsiteY21" fmla="*/ 0 h 2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42" h="27576">
                    <a:moveTo>
                      <a:pt x="606" y="26062"/>
                    </a:moveTo>
                    <a:lnTo>
                      <a:pt x="152" y="26516"/>
                    </a:lnTo>
                    <a:lnTo>
                      <a:pt x="0" y="27122"/>
                    </a:lnTo>
                    <a:lnTo>
                      <a:pt x="303" y="27577"/>
                    </a:lnTo>
                    <a:lnTo>
                      <a:pt x="909" y="27577"/>
                    </a:lnTo>
                    <a:lnTo>
                      <a:pt x="1364" y="27122"/>
                    </a:lnTo>
                    <a:lnTo>
                      <a:pt x="1515" y="26516"/>
                    </a:lnTo>
                    <a:lnTo>
                      <a:pt x="1061" y="26062"/>
                    </a:lnTo>
                    <a:lnTo>
                      <a:pt x="606" y="26062"/>
                    </a:lnTo>
                    <a:close/>
                    <a:moveTo>
                      <a:pt x="3788" y="0"/>
                    </a:moveTo>
                    <a:lnTo>
                      <a:pt x="3485" y="303"/>
                    </a:lnTo>
                    <a:lnTo>
                      <a:pt x="3182" y="909"/>
                    </a:lnTo>
                    <a:lnTo>
                      <a:pt x="2879" y="1515"/>
                    </a:lnTo>
                    <a:lnTo>
                      <a:pt x="2728" y="1970"/>
                    </a:lnTo>
                    <a:lnTo>
                      <a:pt x="2879" y="2273"/>
                    </a:lnTo>
                    <a:lnTo>
                      <a:pt x="3333" y="2424"/>
                    </a:lnTo>
                    <a:lnTo>
                      <a:pt x="3788" y="2121"/>
                    </a:lnTo>
                    <a:lnTo>
                      <a:pt x="3940" y="1515"/>
                    </a:lnTo>
                    <a:lnTo>
                      <a:pt x="4091" y="909"/>
                    </a:lnTo>
                    <a:lnTo>
                      <a:pt x="4243" y="455"/>
                    </a:lnTo>
                    <a:lnTo>
                      <a:pt x="4243" y="151"/>
                    </a:lnTo>
                    <a:lnTo>
                      <a:pt x="378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2" name="Freeform: Shape 3211">
                <a:extLst>
                  <a:ext uri="{FF2B5EF4-FFF2-40B4-BE49-F238E27FC236}">
                    <a16:creationId xmlns:a16="http://schemas.microsoft.com/office/drawing/2014/main" id="{CD723980-2CCB-44A2-899F-7226B2BF4C06}"/>
                  </a:ext>
                </a:extLst>
              </p:cNvPr>
              <p:cNvSpPr/>
              <p:nvPr/>
            </p:nvSpPr>
            <p:spPr>
              <a:xfrm>
                <a:off x="7345440" y="5112771"/>
                <a:ext cx="13031" cy="14848"/>
              </a:xfrm>
              <a:custGeom>
                <a:avLst/>
                <a:gdLst>
                  <a:gd name="connsiteX0" fmla="*/ 11516 w 13031"/>
                  <a:gd name="connsiteY0" fmla="*/ 3030 h 14848"/>
                  <a:gd name="connsiteX1" fmla="*/ 9243 w 13031"/>
                  <a:gd name="connsiteY1" fmla="*/ 0 h 14848"/>
                  <a:gd name="connsiteX2" fmla="*/ 7121 w 13031"/>
                  <a:gd name="connsiteY2" fmla="*/ 151 h 14848"/>
                  <a:gd name="connsiteX3" fmla="*/ 5455 w 13031"/>
                  <a:gd name="connsiteY3" fmla="*/ 1818 h 14848"/>
                  <a:gd name="connsiteX4" fmla="*/ 4546 w 13031"/>
                  <a:gd name="connsiteY4" fmla="*/ 4394 h 14848"/>
                  <a:gd name="connsiteX5" fmla="*/ 2728 w 13031"/>
                  <a:gd name="connsiteY5" fmla="*/ 5455 h 14848"/>
                  <a:gd name="connsiteX6" fmla="*/ 1818 w 13031"/>
                  <a:gd name="connsiteY6" fmla="*/ 6667 h 14848"/>
                  <a:gd name="connsiteX7" fmla="*/ 1212 w 13031"/>
                  <a:gd name="connsiteY7" fmla="*/ 9849 h 14848"/>
                  <a:gd name="connsiteX8" fmla="*/ 1364 w 13031"/>
                  <a:gd name="connsiteY8" fmla="*/ 11819 h 14848"/>
                  <a:gd name="connsiteX9" fmla="*/ 0 w 13031"/>
                  <a:gd name="connsiteY9" fmla="*/ 12425 h 14848"/>
                  <a:gd name="connsiteX10" fmla="*/ 303 w 13031"/>
                  <a:gd name="connsiteY10" fmla="*/ 13031 h 14848"/>
                  <a:gd name="connsiteX11" fmla="*/ 1818 w 13031"/>
                  <a:gd name="connsiteY11" fmla="*/ 14546 h 14848"/>
                  <a:gd name="connsiteX12" fmla="*/ 5606 w 13031"/>
                  <a:gd name="connsiteY12" fmla="*/ 14849 h 14848"/>
                  <a:gd name="connsiteX13" fmla="*/ 9091 w 13031"/>
                  <a:gd name="connsiteY13" fmla="*/ 13940 h 14848"/>
                  <a:gd name="connsiteX14" fmla="*/ 10607 w 13031"/>
                  <a:gd name="connsiteY14" fmla="*/ 12576 h 14848"/>
                  <a:gd name="connsiteX15" fmla="*/ 11213 w 13031"/>
                  <a:gd name="connsiteY15" fmla="*/ 10758 h 14848"/>
                  <a:gd name="connsiteX16" fmla="*/ 12728 w 13031"/>
                  <a:gd name="connsiteY16" fmla="*/ 9546 h 14848"/>
                  <a:gd name="connsiteX17" fmla="*/ 13031 w 13031"/>
                  <a:gd name="connsiteY17" fmla="*/ 6212 h 1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31" h="14848">
                    <a:moveTo>
                      <a:pt x="11516" y="3030"/>
                    </a:moveTo>
                    <a:lnTo>
                      <a:pt x="9243" y="0"/>
                    </a:lnTo>
                    <a:lnTo>
                      <a:pt x="7121" y="151"/>
                    </a:lnTo>
                    <a:lnTo>
                      <a:pt x="5455" y="1818"/>
                    </a:lnTo>
                    <a:lnTo>
                      <a:pt x="4546" y="4394"/>
                    </a:lnTo>
                    <a:lnTo>
                      <a:pt x="2728" y="5455"/>
                    </a:lnTo>
                    <a:lnTo>
                      <a:pt x="1818" y="6667"/>
                    </a:lnTo>
                    <a:lnTo>
                      <a:pt x="1212" y="9849"/>
                    </a:lnTo>
                    <a:lnTo>
                      <a:pt x="1364" y="11819"/>
                    </a:lnTo>
                    <a:lnTo>
                      <a:pt x="0" y="12425"/>
                    </a:lnTo>
                    <a:lnTo>
                      <a:pt x="303" y="13031"/>
                    </a:lnTo>
                    <a:lnTo>
                      <a:pt x="1818" y="14546"/>
                    </a:lnTo>
                    <a:lnTo>
                      <a:pt x="5606" y="14849"/>
                    </a:lnTo>
                    <a:lnTo>
                      <a:pt x="9091" y="13940"/>
                    </a:lnTo>
                    <a:lnTo>
                      <a:pt x="10607" y="12576"/>
                    </a:lnTo>
                    <a:lnTo>
                      <a:pt x="11213" y="10758"/>
                    </a:lnTo>
                    <a:lnTo>
                      <a:pt x="12728" y="9546"/>
                    </a:lnTo>
                    <a:lnTo>
                      <a:pt x="13031"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3" name="Freeform: Shape 3212">
                <a:extLst>
                  <a:ext uri="{FF2B5EF4-FFF2-40B4-BE49-F238E27FC236}">
                    <a16:creationId xmlns:a16="http://schemas.microsoft.com/office/drawing/2014/main" id="{BB05E1D2-F0AA-4E2C-8504-0D16CBC08672}"/>
                  </a:ext>
                </a:extLst>
              </p:cNvPr>
              <p:cNvSpPr/>
              <p:nvPr/>
            </p:nvSpPr>
            <p:spPr>
              <a:xfrm>
                <a:off x="6165245" y="3536198"/>
                <a:ext cx="10303" cy="7727"/>
              </a:xfrm>
              <a:custGeom>
                <a:avLst/>
                <a:gdLst>
                  <a:gd name="connsiteX0" fmla="*/ 2273 w 10303"/>
                  <a:gd name="connsiteY0" fmla="*/ 0 h 7727"/>
                  <a:gd name="connsiteX1" fmla="*/ 0 w 10303"/>
                  <a:gd name="connsiteY1" fmla="*/ 455 h 7727"/>
                  <a:gd name="connsiteX2" fmla="*/ 455 w 10303"/>
                  <a:gd name="connsiteY2" fmla="*/ 1061 h 7727"/>
                  <a:gd name="connsiteX3" fmla="*/ 2121 w 10303"/>
                  <a:gd name="connsiteY3" fmla="*/ 1970 h 7727"/>
                  <a:gd name="connsiteX4" fmla="*/ 3788 w 10303"/>
                  <a:gd name="connsiteY4" fmla="*/ 1515 h 7727"/>
                  <a:gd name="connsiteX5" fmla="*/ 3939 w 10303"/>
                  <a:gd name="connsiteY5" fmla="*/ 1212 h 7727"/>
                  <a:gd name="connsiteX6" fmla="*/ 3485 w 10303"/>
                  <a:gd name="connsiteY6" fmla="*/ 455 h 7727"/>
                  <a:gd name="connsiteX7" fmla="*/ 2273 w 10303"/>
                  <a:gd name="connsiteY7" fmla="*/ 0 h 7727"/>
                  <a:gd name="connsiteX8" fmla="*/ 9697 w 10303"/>
                  <a:gd name="connsiteY8" fmla="*/ 5758 h 7727"/>
                  <a:gd name="connsiteX9" fmla="*/ 7273 w 10303"/>
                  <a:gd name="connsiteY9" fmla="*/ 3485 h 7727"/>
                  <a:gd name="connsiteX10" fmla="*/ 4545 w 10303"/>
                  <a:gd name="connsiteY10" fmla="*/ 2879 h 7727"/>
                  <a:gd name="connsiteX11" fmla="*/ 4545 w 10303"/>
                  <a:gd name="connsiteY11" fmla="*/ 6212 h 7727"/>
                  <a:gd name="connsiteX12" fmla="*/ 6818 w 10303"/>
                  <a:gd name="connsiteY12" fmla="*/ 7727 h 7727"/>
                  <a:gd name="connsiteX13" fmla="*/ 9394 w 10303"/>
                  <a:gd name="connsiteY13" fmla="*/ 7727 h 7727"/>
                  <a:gd name="connsiteX14" fmla="*/ 10303 w 10303"/>
                  <a:gd name="connsiteY14" fmla="*/ 6667 h 7727"/>
                  <a:gd name="connsiteX15" fmla="*/ 9697 w 10303"/>
                  <a:gd name="connsiteY15" fmla="*/ 5758 h 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03" h="7727">
                    <a:moveTo>
                      <a:pt x="2273" y="0"/>
                    </a:moveTo>
                    <a:lnTo>
                      <a:pt x="0" y="455"/>
                    </a:lnTo>
                    <a:lnTo>
                      <a:pt x="455" y="1061"/>
                    </a:lnTo>
                    <a:lnTo>
                      <a:pt x="2121" y="1970"/>
                    </a:lnTo>
                    <a:lnTo>
                      <a:pt x="3788" y="1515"/>
                    </a:lnTo>
                    <a:lnTo>
                      <a:pt x="3939" y="1212"/>
                    </a:lnTo>
                    <a:lnTo>
                      <a:pt x="3485" y="455"/>
                    </a:lnTo>
                    <a:lnTo>
                      <a:pt x="2273" y="0"/>
                    </a:lnTo>
                    <a:close/>
                    <a:moveTo>
                      <a:pt x="9697" y="5758"/>
                    </a:moveTo>
                    <a:lnTo>
                      <a:pt x="7273" y="3485"/>
                    </a:lnTo>
                    <a:lnTo>
                      <a:pt x="4545" y="2879"/>
                    </a:lnTo>
                    <a:lnTo>
                      <a:pt x="4545" y="6212"/>
                    </a:lnTo>
                    <a:lnTo>
                      <a:pt x="6818" y="7727"/>
                    </a:lnTo>
                    <a:lnTo>
                      <a:pt x="9394" y="7727"/>
                    </a:lnTo>
                    <a:lnTo>
                      <a:pt x="10303" y="6667"/>
                    </a:lnTo>
                    <a:lnTo>
                      <a:pt x="9697"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4" name="Freeform: Shape 3213">
                <a:extLst>
                  <a:ext uri="{FF2B5EF4-FFF2-40B4-BE49-F238E27FC236}">
                    <a16:creationId xmlns:a16="http://schemas.microsoft.com/office/drawing/2014/main" id="{303CE29B-CDEC-40F6-A9D5-114AF9306942}"/>
                  </a:ext>
                </a:extLst>
              </p:cNvPr>
              <p:cNvSpPr/>
              <p:nvPr/>
            </p:nvSpPr>
            <p:spPr>
              <a:xfrm>
                <a:off x="4074713" y="4100916"/>
                <a:ext cx="2121" cy="3485"/>
              </a:xfrm>
              <a:custGeom>
                <a:avLst/>
                <a:gdLst>
                  <a:gd name="connsiteX0" fmla="*/ 1364 w 2121"/>
                  <a:gd name="connsiteY0" fmla="*/ 0 h 3485"/>
                  <a:gd name="connsiteX1" fmla="*/ 909 w 2121"/>
                  <a:gd name="connsiteY1" fmla="*/ 152 h 3485"/>
                  <a:gd name="connsiteX2" fmla="*/ 0 w 2121"/>
                  <a:gd name="connsiteY2" fmla="*/ 1515 h 3485"/>
                  <a:gd name="connsiteX3" fmla="*/ 0 w 2121"/>
                  <a:gd name="connsiteY3" fmla="*/ 3031 h 3485"/>
                  <a:gd name="connsiteX4" fmla="*/ 1818 w 2121"/>
                  <a:gd name="connsiteY4" fmla="*/ 3485 h 3485"/>
                  <a:gd name="connsiteX5" fmla="*/ 2121 w 2121"/>
                  <a:gd name="connsiteY5" fmla="*/ 1818 h 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1" h="3485">
                    <a:moveTo>
                      <a:pt x="1364" y="0"/>
                    </a:moveTo>
                    <a:lnTo>
                      <a:pt x="909" y="152"/>
                    </a:lnTo>
                    <a:lnTo>
                      <a:pt x="0" y="1515"/>
                    </a:lnTo>
                    <a:lnTo>
                      <a:pt x="0" y="3031"/>
                    </a:lnTo>
                    <a:lnTo>
                      <a:pt x="1818" y="3485"/>
                    </a:lnTo>
                    <a:lnTo>
                      <a:pt x="2121" y="18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5" name="Freeform: Shape 3214">
                <a:extLst>
                  <a:ext uri="{FF2B5EF4-FFF2-40B4-BE49-F238E27FC236}">
                    <a16:creationId xmlns:a16="http://schemas.microsoft.com/office/drawing/2014/main" id="{15C67D62-5223-4861-8236-86706ECF1A45}"/>
                  </a:ext>
                </a:extLst>
              </p:cNvPr>
              <p:cNvSpPr/>
              <p:nvPr/>
            </p:nvSpPr>
            <p:spPr>
              <a:xfrm>
                <a:off x="5310668" y="3802117"/>
                <a:ext cx="334557" cy="356831"/>
              </a:xfrm>
              <a:custGeom>
                <a:avLst/>
                <a:gdLst>
                  <a:gd name="connsiteX0" fmla="*/ 303496 w 334557"/>
                  <a:gd name="connsiteY0" fmla="*/ 66063 h 356831"/>
                  <a:gd name="connsiteX1" fmla="*/ 312284 w 334557"/>
                  <a:gd name="connsiteY1" fmla="*/ 66063 h 356831"/>
                  <a:gd name="connsiteX2" fmla="*/ 325012 w 334557"/>
                  <a:gd name="connsiteY2" fmla="*/ 66063 h 356831"/>
                  <a:gd name="connsiteX3" fmla="*/ 334558 w 334557"/>
                  <a:gd name="connsiteY3" fmla="*/ 66063 h 356831"/>
                  <a:gd name="connsiteX4" fmla="*/ 328345 w 334557"/>
                  <a:gd name="connsiteY4" fmla="*/ 61972 h 356831"/>
                  <a:gd name="connsiteX5" fmla="*/ 322133 w 334557"/>
                  <a:gd name="connsiteY5" fmla="*/ 57881 h 356831"/>
                  <a:gd name="connsiteX6" fmla="*/ 315618 w 334557"/>
                  <a:gd name="connsiteY6" fmla="*/ 53638 h 356831"/>
                  <a:gd name="connsiteX7" fmla="*/ 311375 w 334557"/>
                  <a:gd name="connsiteY7" fmla="*/ 50911 h 356831"/>
                  <a:gd name="connsiteX8" fmla="*/ 306223 w 334557"/>
                  <a:gd name="connsiteY8" fmla="*/ 47729 h 356831"/>
                  <a:gd name="connsiteX9" fmla="*/ 301072 w 334557"/>
                  <a:gd name="connsiteY9" fmla="*/ 44547 h 356831"/>
                  <a:gd name="connsiteX10" fmla="*/ 295920 w 334557"/>
                  <a:gd name="connsiteY10" fmla="*/ 41365 h 356831"/>
                  <a:gd name="connsiteX11" fmla="*/ 290768 w 334557"/>
                  <a:gd name="connsiteY11" fmla="*/ 38183 h 356831"/>
                  <a:gd name="connsiteX12" fmla="*/ 285616 w 334557"/>
                  <a:gd name="connsiteY12" fmla="*/ 35001 h 356831"/>
                  <a:gd name="connsiteX13" fmla="*/ 280465 w 334557"/>
                  <a:gd name="connsiteY13" fmla="*/ 31819 h 356831"/>
                  <a:gd name="connsiteX14" fmla="*/ 275313 w 334557"/>
                  <a:gd name="connsiteY14" fmla="*/ 28637 h 356831"/>
                  <a:gd name="connsiteX15" fmla="*/ 270161 w 334557"/>
                  <a:gd name="connsiteY15" fmla="*/ 25455 h 356831"/>
                  <a:gd name="connsiteX16" fmla="*/ 265010 w 334557"/>
                  <a:gd name="connsiteY16" fmla="*/ 22273 h 356831"/>
                  <a:gd name="connsiteX17" fmla="*/ 259858 w 334557"/>
                  <a:gd name="connsiteY17" fmla="*/ 19092 h 356831"/>
                  <a:gd name="connsiteX18" fmla="*/ 254706 w 334557"/>
                  <a:gd name="connsiteY18" fmla="*/ 15909 h 356831"/>
                  <a:gd name="connsiteX19" fmla="*/ 249555 w 334557"/>
                  <a:gd name="connsiteY19" fmla="*/ 12728 h 356831"/>
                  <a:gd name="connsiteX20" fmla="*/ 244403 w 334557"/>
                  <a:gd name="connsiteY20" fmla="*/ 9546 h 356831"/>
                  <a:gd name="connsiteX21" fmla="*/ 239251 w 334557"/>
                  <a:gd name="connsiteY21" fmla="*/ 6364 h 356831"/>
                  <a:gd name="connsiteX22" fmla="*/ 234099 w 334557"/>
                  <a:gd name="connsiteY22" fmla="*/ 3182 h 356831"/>
                  <a:gd name="connsiteX23" fmla="*/ 228948 w 334557"/>
                  <a:gd name="connsiteY23" fmla="*/ 0 h 356831"/>
                  <a:gd name="connsiteX24" fmla="*/ 228948 w 334557"/>
                  <a:gd name="connsiteY24" fmla="*/ 4849 h 356831"/>
                  <a:gd name="connsiteX25" fmla="*/ 228948 w 334557"/>
                  <a:gd name="connsiteY25" fmla="*/ 10606 h 356831"/>
                  <a:gd name="connsiteX26" fmla="*/ 228948 w 334557"/>
                  <a:gd name="connsiteY26" fmla="*/ 16364 h 356831"/>
                  <a:gd name="connsiteX27" fmla="*/ 228948 w 334557"/>
                  <a:gd name="connsiteY27" fmla="*/ 22880 h 356831"/>
                  <a:gd name="connsiteX28" fmla="*/ 228948 w 334557"/>
                  <a:gd name="connsiteY28" fmla="*/ 29395 h 356831"/>
                  <a:gd name="connsiteX29" fmla="*/ 228948 w 334557"/>
                  <a:gd name="connsiteY29" fmla="*/ 34244 h 356831"/>
                  <a:gd name="connsiteX30" fmla="*/ 228948 w 334557"/>
                  <a:gd name="connsiteY30" fmla="*/ 37577 h 356831"/>
                  <a:gd name="connsiteX31" fmla="*/ 223341 w 334557"/>
                  <a:gd name="connsiteY31" fmla="*/ 37577 h 356831"/>
                  <a:gd name="connsiteX32" fmla="*/ 218190 w 334557"/>
                  <a:gd name="connsiteY32" fmla="*/ 37577 h 356831"/>
                  <a:gd name="connsiteX33" fmla="*/ 213038 w 334557"/>
                  <a:gd name="connsiteY33" fmla="*/ 37577 h 356831"/>
                  <a:gd name="connsiteX34" fmla="*/ 207887 w 334557"/>
                  <a:gd name="connsiteY34" fmla="*/ 37577 h 356831"/>
                  <a:gd name="connsiteX35" fmla="*/ 202734 w 334557"/>
                  <a:gd name="connsiteY35" fmla="*/ 37577 h 356831"/>
                  <a:gd name="connsiteX36" fmla="*/ 197583 w 334557"/>
                  <a:gd name="connsiteY36" fmla="*/ 37577 h 356831"/>
                  <a:gd name="connsiteX37" fmla="*/ 192431 w 334557"/>
                  <a:gd name="connsiteY37" fmla="*/ 37577 h 356831"/>
                  <a:gd name="connsiteX38" fmla="*/ 187279 w 334557"/>
                  <a:gd name="connsiteY38" fmla="*/ 37577 h 356831"/>
                  <a:gd name="connsiteX39" fmla="*/ 182128 w 334557"/>
                  <a:gd name="connsiteY39" fmla="*/ 37577 h 356831"/>
                  <a:gd name="connsiteX40" fmla="*/ 176976 w 334557"/>
                  <a:gd name="connsiteY40" fmla="*/ 37577 h 356831"/>
                  <a:gd name="connsiteX41" fmla="*/ 171825 w 334557"/>
                  <a:gd name="connsiteY41" fmla="*/ 37577 h 356831"/>
                  <a:gd name="connsiteX42" fmla="*/ 166673 w 334557"/>
                  <a:gd name="connsiteY42" fmla="*/ 37577 h 356831"/>
                  <a:gd name="connsiteX43" fmla="*/ 161521 w 334557"/>
                  <a:gd name="connsiteY43" fmla="*/ 37577 h 356831"/>
                  <a:gd name="connsiteX44" fmla="*/ 156369 w 334557"/>
                  <a:gd name="connsiteY44" fmla="*/ 37577 h 356831"/>
                  <a:gd name="connsiteX45" fmla="*/ 151217 w 334557"/>
                  <a:gd name="connsiteY45" fmla="*/ 37577 h 356831"/>
                  <a:gd name="connsiteX46" fmla="*/ 146066 w 334557"/>
                  <a:gd name="connsiteY46" fmla="*/ 37577 h 356831"/>
                  <a:gd name="connsiteX47" fmla="*/ 140914 w 334557"/>
                  <a:gd name="connsiteY47" fmla="*/ 37577 h 356831"/>
                  <a:gd name="connsiteX48" fmla="*/ 136823 w 334557"/>
                  <a:gd name="connsiteY48" fmla="*/ 37577 h 356831"/>
                  <a:gd name="connsiteX49" fmla="*/ 136823 w 334557"/>
                  <a:gd name="connsiteY49" fmla="*/ 41062 h 356831"/>
                  <a:gd name="connsiteX50" fmla="*/ 136823 w 334557"/>
                  <a:gd name="connsiteY50" fmla="*/ 45001 h 356831"/>
                  <a:gd name="connsiteX51" fmla="*/ 136823 w 334557"/>
                  <a:gd name="connsiteY51" fmla="*/ 48941 h 356831"/>
                  <a:gd name="connsiteX52" fmla="*/ 136823 w 334557"/>
                  <a:gd name="connsiteY52" fmla="*/ 52881 h 356831"/>
                  <a:gd name="connsiteX53" fmla="*/ 136823 w 334557"/>
                  <a:gd name="connsiteY53" fmla="*/ 56820 h 356831"/>
                  <a:gd name="connsiteX54" fmla="*/ 136823 w 334557"/>
                  <a:gd name="connsiteY54" fmla="*/ 60760 h 356831"/>
                  <a:gd name="connsiteX55" fmla="*/ 136823 w 334557"/>
                  <a:gd name="connsiteY55" fmla="*/ 64699 h 356831"/>
                  <a:gd name="connsiteX56" fmla="*/ 136823 w 334557"/>
                  <a:gd name="connsiteY56" fmla="*/ 68639 h 356831"/>
                  <a:gd name="connsiteX57" fmla="*/ 136823 w 334557"/>
                  <a:gd name="connsiteY57" fmla="*/ 72578 h 356831"/>
                  <a:gd name="connsiteX58" fmla="*/ 136823 w 334557"/>
                  <a:gd name="connsiteY58" fmla="*/ 76518 h 356831"/>
                  <a:gd name="connsiteX59" fmla="*/ 136823 w 334557"/>
                  <a:gd name="connsiteY59" fmla="*/ 80457 h 356831"/>
                  <a:gd name="connsiteX60" fmla="*/ 136823 w 334557"/>
                  <a:gd name="connsiteY60" fmla="*/ 84397 h 356831"/>
                  <a:gd name="connsiteX61" fmla="*/ 136823 w 334557"/>
                  <a:gd name="connsiteY61" fmla="*/ 88336 h 356831"/>
                  <a:gd name="connsiteX62" fmla="*/ 136823 w 334557"/>
                  <a:gd name="connsiteY62" fmla="*/ 92276 h 356831"/>
                  <a:gd name="connsiteX63" fmla="*/ 136823 w 334557"/>
                  <a:gd name="connsiteY63" fmla="*/ 96215 h 356831"/>
                  <a:gd name="connsiteX64" fmla="*/ 136823 w 334557"/>
                  <a:gd name="connsiteY64" fmla="*/ 100155 h 356831"/>
                  <a:gd name="connsiteX65" fmla="*/ 136823 w 334557"/>
                  <a:gd name="connsiteY65" fmla="*/ 104095 h 356831"/>
                  <a:gd name="connsiteX66" fmla="*/ 136823 w 334557"/>
                  <a:gd name="connsiteY66" fmla="*/ 107580 h 356831"/>
                  <a:gd name="connsiteX67" fmla="*/ 136672 w 334557"/>
                  <a:gd name="connsiteY67" fmla="*/ 110762 h 356831"/>
                  <a:gd name="connsiteX68" fmla="*/ 135005 w 334557"/>
                  <a:gd name="connsiteY68" fmla="*/ 111671 h 356831"/>
                  <a:gd name="connsiteX69" fmla="*/ 131065 w 334557"/>
                  <a:gd name="connsiteY69" fmla="*/ 113337 h 356831"/>
                  <a:gd name="connsiteX70" fmla="*/ 127126 w 334557"/>
                  <a:gd name="connsiteY70" fmla="*/ 115004 h 356831"/>
                  <a:gd name="connsiteX71" fmla="*/ 121974 w 334557"/>
                  <a:gd name="connsiteY71" fmla="*/ 115762 h 356831"/>
                  <a:gd name="connsiteX72" fmla="*/ 120307 w 334557"/>
                  <a:gd name="connsiteY72" fmla="*/ 116368 h 356831"/>
                  <a:gd name="connsiteX73" fmla="*/ 116974 w 334557"/>
                  <a:gd name="connsiteY73" fmla="*/ 118640 h 356831"/>
                  <a:gd name="connsiteX74" fmla="*/ 112731 w 334557"/>
                  <a:gd name="connsiteY74" fmla="*/ 121671 h 356831"/>
                  <a:gd name="connsiteX75" fmla="*/ 109095 w 334557"/>
                  <a:gd name="connsiteY75" fmla="*/ 124247 h 356831"/>
                  <a:gd name="connsiteX76" fmla="*/ 106670 w 334557"/>
                  <a:gd name="connsiteY76" fmla="*/ 127580 h 356831"/>
                  <a:gd name="connsiteX77" fmla="*/ 105761 w 334557"/>
                  <a:gd name="connsiteY77" fmla="*/ 129399 h 356831"/>
                  <a:gd name="connsiteX78" fmla="*/ 105458 w 334557"/>
                  <a:gd name="connsiteY78" fmla="*/ 131368 h 356831"/>
                  <a:gd name="connsiteX79" fmla="*/ 105761 w 334557"/>
                  <a:gd name="connsiteY79" fmla="*/ 133187 h 356831"/>
                  <a:gd name="connsiteX80" fmla="*/ 107125 w 334557"/>
                  <a:gd name="connsiteY80" fmla="*/ 136823 h 356831"/>
                  <a:gd name="connsiteX81" fmla="*/ 107428 w 334557"/>
                  <a:gd name="connsiteY81" fmla="*/ 138641 h 356831"/>
                  <a:gd name="connsiteX82" fmla="*/ 107579 w 334557"/>
                  <a:gd name="connsiteY82" fmla="*/ 141823 h 356831"/>
                  <a:gd name="connsiteX83" fmla="*/ 107731 w 334557"/>
                  <a:gd name="connsiteY83" fmla="*/ 145308 h 356831"/>
                  <a:gd name="connsiteX84" fmla="*/ 108034 w 334557"/>
                  <a:gd name="connsiteY84" fmla="*/ 149096 h 356831"/>
                  <a:gd name="connsiteX85" fmla="*/ 108337 w 334557"/>
                  <a:gd name="connsiteY85" fmla="*/ 152884 h 356831"/>
                  <a:gd name="connsiteX86" fmla="*/ 108640 w 334557"/>
                  <a:gd name="connsiteY86" fmla="*/ 156975 h 356831"/>
                  <a:gd name="connsiteX87" fmla="*/ 108943 w 334557"/>
                  <a:gd name="connsiteY87" fmla="*/ 161066 h 356831"/>
                  <a:gd name="connsiteX88" fmla="*/ 109246 w 334557"/>
                  <a:gd name="connsiteY88" fmla="*/ 165157 h 356831"/>
                  <a:gd name="connsiteX89" fmla="*/ 109398 w 334557"/>
                  <a:gd name="connsiteY89" fmla="*/ 168188 h 356831"/>
                  <a:gd name="connsiteX90" fmla="*/ 109701 w 334557"/>
                  <a:gd name="connsiteY90" fmla="*/ 171976 h 356831"/>
                  <a:gd name="connsiteX91" fmla="*/ 105610 w 334557"/>
                  <a:gd name="connsiteY91" fmla="*/ 171976 h 356831"/>
                  <a:gd name="connsiteX92" fmla="*/ 99398 w 334557"/>
                  <a:gd name="connsiteY92" fmla="*/ 171976 h 356831"/>
                  <a:gd name="connsiteX93" fmla="*/ 93185 w 334557"/>
                  <a:gd name="connsiteY93" fmla="*/ 171976 h 356831"/>
                  <a:gd name="connsiteX94" fmla="*/ 86973 w 334557"/>
                  <a:gd name="connsiteY94" fmla="*/ 171976 h 356831"/>
                  <a:gd name="connsiteX95" fmla="*/ 80760 w 334557"/>
                  <a:gd name="connsiteY95" fmla="*/ 171976 h 356831"/>
                  <a:gd name="connsiteX96" fmla="*/ 74548 w 334557"/>
                  <a:gd name="connsiteY96" fmla="*/ 171976 h 356831"/>
                  <a:gd name="connsiteX97" fmla="*/ 68336 w 334557"/>
                  <a:gd name="connsiteY97" fmla="*/ 171976 h 356831"/>
                  <a:gd name="connsiteX98" fmla="*/ 62123 w 334557"/>
                  <a:gd name="connsiteY98" fmla="*/ 171976 h 356831"/>
                  <a:gd name="connsiteX99" fmla="*/ 55911 w 334557"/>
                  <a:gd name="connsiteY99" fmla="*/ 171976 h 356831"/>
                  <a:gd name="connsiteX100" fmla="*/ 49699 w 334557"/>
                  <a:gd name="connsiteY100" fmla="*/ 171976 h 356831"/>
                  <a:gd name="connsiteX101" fmla="*/ 43486 w 334557"/>
                  <a:gd name="connsiteY101" fmla="*/ 171976 h 356831"/>
                  <a:gd name="connsiteX102" fmla="*/ 37274 w 334557"/>
                  <a:gd name="connsiteY102" fmla="*/ 171976 h 356831"/>
                  <a:gd name="connsiteX103" fmla="*/ 31062 w 334557"/>
                  <a:gd name="connsiteY103" fmla="*/ 171976 h 356831"/>
                  <a:gd name="connsiteX104" fmla="*/ 24849 w 334557"/>
                  <a:gd name="connsiteY104" fmla="*/ 171976 h 356831"/>
                  <a:gd name="connsiteX105" fmla="*/ 18637 w 334557"/>
                  <a:gd name="connsiteY105" fmla="*/ 171976 h 356831"/>
                  <a:gd name="connsiteX106" fmla="*/ 12424 w 334557"/>
                  <a:gd name="connsiteY106" fmla="*/ 171976 h 356831"/>
                  <a:gd name="connsiteX107" fmla="*/ 6212 w 334557"/>
                  <a:gd name="connsiteY107" fmla="*/ 171976 h 356831"/>
                  <a:gd name="connsiteX108" fmla="*/ 2727 w 334557"/>
                  <a:gd name="connsiteY108" fmla="*/ 171976 h 356831"/>
                  <a:gd name="connsiteX109" fmla="*/ 1667 w 334557"/>
                  <a:gd name="connsiteY109" fmla="*/ 177279 h 356831"/>
                  <a:gd name="connsiteX110" fmla="*/ 606 w 334557"/>
                  <a:gd name="connsiteY110" fmla="*/ 181067 h 356831"/>
                  <a:gd name="connsiteX111" fmla="*/ 0 w 334557"/>
                  <a:gd name="connsiteY111" fmla="*/ 184098 h 356831"/>
                  <a:gd name="connsiteX112" fmla="*/ 455 w 334557"/>
                  <a:gd name="connsiteY112" fmla="*/ 186673 h 356831"/>
                  <a:gd name="connsiteX113" fmla="*/ 1818 w 334557"/>
                  <a:gd name="connsiteY113" fmla="*/ 180006 h 356831"/>
                  <a:gd name="connsiteX114" fmla="*/ 2576 w 334557"/>
                  <a:gd name="connsiteY114" fmla="*/ 178946 h 356831"/>
                  <a:gd name="connsiteX115" fmla="*/ 3788 w 334557"/>
                  <a:gd name="connsiteY115" fmla="*/ 177885 h 356831"/>
                  <a:gd name="connsiteX116" fmla="*/ 5152 w 334557"/>
                  <a:gd name="connsiteY116" fmla="*/ 178643 h 356831"/>
                  <a:gd name="connsiteX117" fmla="*/ 9243 w 334557"/>
                  <a:gd name="connsiteY117" fmla="*/ 186673 h 356831"/>
                  <a:gd name="connsiteX118" fmla="*/ 12121 w 334557"/>
                  <a:gd name="connsiteY118" fmla="*/ 191522 h 356831"/>
                  <a:gd name="connsiteX119" fmla="*/ 13788 w 334557"/>
                  <a:gd name="connsiteY119" fmla="*/ 192431 h 356831"/>
                  <a:gd name="connsiteX120" fmla="*/ 14546 w 334557"/>
                  <a:gd name="connsiteY120" fmla="*/ 191068 h 356831"/>
                  <a:gd name="connsiteX121" fmla="*/ 14698 w 334557"/>
                  <a:gd name="connsiteY121" fmla="*/ 189552 h 356831"/>
                  <a:gd name="connsiteX122" fmla="*/ 16061 w 334557"/>
                  <a:gd name="connsiteY122" fmla="*/ 190158 h 356831"/>
                  <a:gd name="connsiteX123" fmla="*/ 17425 w 334557"/>
                  <a:gd name="connsiteY123" fmla="*/ 191219 h 356831"/>
                  <a:gd name="connsiteX124" fmla="*/ 20000 w 334557"/>
                  <a:gd name="connsiteY124" fmla="*/ 197886 h 356831"/>
                  <a:gd name="connsiteX125" fmla="*/ 23334 w 334557"/>
                  <a:gd name="connsiteY125" fmla="*/ 203189 h 356831"/>
                  <a:gd name="connsiteX126" fmla="*/ 22425 w 334557"/>
                  <a:gd name="connsiteY126" fmla="*/ 205613 h 356831"/>
                  <a:gd name="connsiteX127" fmla="*/ 22576 w 334557"/>
                  <a:gd name="connsiteY127" fmla="*/ 209553 h 356831"/>
                  <a:gd name="connsiteX128" fmla="*/ 21213 w 334557"/>
                  <a:gd name="connsiteY128" fmla="*/ 215614 h 356831"/>
                  <a:gd name="connsiteX129" fmla="*/ 16819 w 334557"/>
                  <a:gd name="connsiteY129" fmla="*/ 224554 h 356831"/>
                  <a:gd name="connsiteX130" fmla="*/ 20607 w 334557"/>
                  <a:gd name="connsiteY130" fmla="*/ 223493 h 356831"/>
                  <a:gd name="connsiteX131" fmla="*/ 18788 w 334557"/>
                  <a:gd name="connsiteY131" fmla="*/ 226372 h 356831"/>
                  <a:gd name="connsiteX132" fmla="*/ 15909 w 334557"/>
                  <a:gd name="connsiteY132" fmla="*/ 226978 h 356831"/>
                  <a:gd name="connsiteX133" fmla="*/ 14849 w 334557"/>
                  <a:gd name="connsiteY133" fmla="*/ 227736 h 356831"/>
                  <a:gd name="connsiteX134" fmla="*/ 15909 w 334557"/>
                  <a:gd name="connsiteY134" fmla="*/ 229857 h 356831"/>
                  <a:gd name="connsiteX135" fmla="*/ 20607 w 334557"/>
                  <a:gd name="connsiteY135" fmla="*/ 233493 h 356831"/>
                  <a:gd name="connsiteX136" fmla="*/ 23183 w 334557"/>
                  <a:gd name="connsiteY136" fmla="*/ 237736 h 356831"/>
                  <a:gd name="connsiteX137" fmla="*/ 24849 w 334557"/>
                  <a:gd name="connsiteY137" fmla="*/ 245766 h 356831"/>
                  <a:gd name="connsiteX138" fmla="*/ 26667 w 334557"/>
                  <a:gd name="connsiteY138" fmla="*/ 251373 h 356831"/>
                  <a:gd name="connsiteX139" fmla="*/ 27728 w 334557"/>
                  <a:gd name="connsiteY139" fmla="*/ 259706 h 356831"/>
                  <a:gd name="connsiteX140" fmla="*/ 28183 w 334557"/>
                  <a:gd name="connsiteY140" fmla="*/ 269101 h 356831"/>
                  <a:gd name="connsiteX141" fmla="*/ 26819 w 334557"/>
                  <a:gd name="connsiteY141" fmla="*/ 278647 h 356831"/>
                  <a:gd name="connsiteX142" fmla="*/ 23334 w 334557"/>
                  <a:gd name="connsiteY142" fmla="*/ 288495 h 356831"/>
                  <a:gd name="connsiteX143" fmla="*/ 19546 w 334557"/>
                  <a:gd name="connsiteY143" fmla="*/ 295920 h 356831"/>
                  <a:gd name="connsiteX144" fmla="*/ 16364 w 334557"/>
                  <a:gd name="connsiteY144" fmla="*/ 305011 h 356831"/>
                  <a:gd name="connsiteX145" fmla="*/ 15909 w 334557"/>
                  <a:gd name="connsiteY145" fmla="*/ 309102 h 356831"/>
                  <a:gd name="connsiteX146" fmla="*/ 14394 w 334557"/>
                  <a:gd name="connsiteY146" fmla="*/ 313799 h 356831"/>
                  <a:gd name="connsiteX147" fmla="*/ 14394 w 334557"/>
                  <a:gd name="connsiteY147" fmla="*/ 326375 h 356831"/>
                  <a:gd name="connsiteX148" fmla="*/ 15303 w 334557"/>
                  <a:gd name="connsiteY148" fmla="*/ 324103 h 356831"/>
                  <a:gd name="connsiteX149" fmla="*/ 15909 w 334557"/>
                  <a:gd name="connsiteY149" fmla="*/ 319103 h 356831"/>
                  <a:gd name="connsiteX150" fmla="*/ 16970 w 334557"/>
                  <a:gd name="connsiteY150" fmla="*/ 316072 h 356831"/>
                  <a:gd name="connsiteX151" fmla="*/ 18031 w 334557"/>
                  <a:gd name="connsiteY151" fmla="*/ 315466 h 356831"/>
                  <a:gd name="connsiteX152" fmla="*/ 19243 w 334557"/>
                  <a:gd name="connsiteY152" fmla="*/ 313193 h 356831"/>
                  <a:gd name="connsiteX153" fmla="*/ 20758 w 334557"/>
                  <a:gd name="connsiteY153" fmla="*/ 309102 h 356831"/>
                  <a:gd name="connsiteX154" fmla="*/ 22425 w 334557"/>
                  <a:gd name="connsiteY154" fmla="*/ 306829 h 356831"/>
                  <a:gd name="connsiteX155" fmla="*/ 24395 w 334557"/>
                  <a:gd name="connsiteY155" fmla="*/ 306375 h 356831"/>
                  <a:gd name="connsiteX156" fmla="*/ 25910 w 334557"/>
                  <a:gd name="connsiteY156" fmla="*/ 306526 h 356831"/>
                  <a:gd name="connsiteX157" fmla="*/ 26971 w 334557"/>
                  <a:gd name="connsiteY157" fmla="*/ 307284 h 356831"/>
                  <a:gd name="connsiteX158" fmla="*/ 30152 w 334557"/>
                  <a:gd name="connsiteY158" fmla="*/ 307738 h 356831"/>
                  <a:gd name="connsiteX159" fmla="*/ 35304 w 334557"/>
                  <a:gd name="connsiteY159" fmla="*/ 307890 h 356831"/>
                  <a:gd name="connsiteX160" fmla="*/ 39395 w 334557"/>
                  <a:gd name="connsiteY160" fmla="*/ 307284 h 356831"/>
                  <a:gd name="connsiteX161" fmla="*/ 42274 w 334557"/>
                  <a:gd name="connsiteY161" fmla="*/ 305920 h 356831"/>
                  <a:gd name="connsiteX162" fmla="*/ 46062 w 334557"/>
                  <a:gd name="connsiteY162" fmla="*/ 305163 h 356831"/>
                  <a:gd name="connsiteX163" fmla="*/ 50759 w 334557"/>
                  <a:gd name="connsiteY163" fmla="*/ 305163 h 356831"/>
                  <a:gd name="connsiteX164" fmla="*/ 53183 w 334557"/>
                  <a:gd name="connsiteY164" fmla="*/ 304556 h 356831"/>
                  <a:gd name="connsiteX165" fmla="*/ 53487 w 334557"/>
                  <a:gd name="connsiteY165" fmla="*/ 303344 h 356831"/>
                  <a:gd name="connsiteX166" fmla="*/ 54093 w 334557"/>
                  <a:gd name="connsiteY166" fmla="*/ 303041 h 356831"/>
                  <a:gd name="connsiteX167" fmla="*/ 55002 w 334557"/>
                  <a:gd name="connsiteY167" fmla="*/ 303496 h 356831"/>
                  <a:gd name="connsiteX168" fmla="*/ 55911 w 334557"/>
                  <a:gd name="connsiteY168" fmla="*/ 303344 h 356831"/>
                  <a:gd name="connsiteX169" fmla="*/ 56820 w 334557"/>
                  <a:gd name="connsiteY169" fmla="*/ 302587 h 356831"/>
                  <a:gd name="connsiteX170" fmla="*/ 57729 w 334557"/>
                  <a:gd name="connsiteY170" fmla="*/ 302587 h 356831"/>
                  <a:gd name="connsiteX171" fmla="*/ 58638 w 334557"/>
                  <a:gd name="connsiteY171" fmla="*/ 303344 h 356831"/>
                  <a:gd name="connsiteX172" fmla="*/ 62578 w 334557"/>
                  <a:gd name="connsiteY172" fmla="*/ 303496 h 356831"/>
                  <a:gd name="connsiteX173" fmla="*/ 69548 w 334557"/>
                  <a:gd name="connsiteY173" fmla="*/ 303193 h 356831"/>
                  <a:gd name="connsiteX174" fmla="*/ 75912 w 334557"/>
                  <a:gd name="connsiteY174" fmla="*/ 305314 h 356831"/>
                  <a:gd name="connsiteX175" fmla="*/ 81821 w 334557"/>
                  <a:gd name="connsiteY175" fmla="*/ 309860 h 356831"/>
                  <a:gd name="connsiteX176" fmla="*/ 84851 w 334557"/>
                  <a:gd name="connsiteY176" fmla="*/ 312890 h 356831"/>
                  <a:gd name="connsiteX177" fmla="*/ 85003 w 334557"/>
                  <a:gd name="connsiteY177" fmla="*/ 314405 h 356831"/>
                  <a:gd name="connsiteX178" fmla="*/ 85912 w 334557"/>
                  <a:gd name="connsiteY178" fmla="*/ 315920 h 356831"/>
                  <a:gd name="connsiteX179" fmla="*/ 87730 w 334557"/>
                  <a:gd name="connsiteY179" fmla="*/ 317436 h 356831"/>
                  <a:gd name="connsiteX180" fmla="*/ 89397 w 334557"/>
                  <a:gd name="connsiteY180" fmla="*/ 317739 h 356831"/>
                  <a:gd name="connsiteX181" fmla="*/ 90912 w 334557"/>
                  <a:gd name="connsiteY181" fmla="*/ 316830 h 356831"/>
                  <a:gd name="connsiteX182" fmla="*/ 92124 w 334557"/>
                  <a:gd name="connsiteY182" fmla="*/ 316981 h 356831"/>
                  <a:gd name="connsiteX183" fmla="*/ 92882 w 334557"/>
                  <a:gd name="connsiteY183" fmla="*/ 318193 h 356831"/>
                  <a:gd name="connsiteX184" fmla="*/ 94549 w 334557"/>
                  <a:gd name="connsiteY184" fmla="*/ 318496 h 356831"/>
                  <a:gd name="connsiteX185" fmla="*/ 96367 w 334557"/>
                  <a:gd name="connsiteY185" fmla="*/ 317739 h 356831"/>
                  <a:gd name="connsiteX186" fmla="*/ 97731 w 334557"/>
                  <a:gd name="connsiteY186" fmla="*/ 318042 h 356831"/>
                  <a:gd name="connsiteX187" fmla="*/ 98034 w 334557"/>
                  <a:gd name="connsiteY187" fmla="*/ 318799 h 356831"/>
                  <a:gd name="connsiteX188" fmla="*/ 98337 w 334557"/>
                  <a:gd name="connsiteY188" fmla="*/ 319103 h 356831"/>
                  <a:gd name="connsiteX189" fmla="*/ 99246 w 334557"/>
                  <a:gd name="connsiteY189" fmla="*/ 319254 h 356831"/>
                  <a:gd name="connsiteX190" fmla="*/ 100458 w 334557"/>
                  <a:gd name="connsiteY190" fmla="*/ 320163 h 356831"/>
                  <a:gd name="connsiteX191" fmla="*/ 102125 w 334557"/>
                  <a:gd name="connsiteY191" fmla="*/ 322587 h 356831"/>
                  <a:gd name="connsiteX192" fmla="*/ 103488 w 334557"/>
                  <a:gd name="connsiteY192" fmla="*/ 325921 h 356831"/>
                  <a:gd name="connsiteX193" fmla="*/ 104549 w 334557"/>
                  <a:gd name="connsiteY193" fmla="*/ 330163 h 356831"/>
                  <a:gd name="connsiteX194" fmla="*/ 105913 w 334557"/>
                  <a:gd name="connsiteY194" fmla="*/ 332436 h 356831"/>
                  <a:gd name="connsiteX195" fmla="*/ 107731 w 334557"/>
                  <a:gd name="connsiteY195" fmla="*/ 332739 h 356831"/>
                  <a:gd name="connsiteX196" fmla="*/ 108792 w 334557"/>
                  <a:gd name="connsiteY196" fmla="*/ 333648 h 356831"/>
                  <a:gd name="connsiteX197" fmla="*/ 108943 w 334557"/>
                  <a:gd name="connsiteY197" fmla="*/ 334709 h 356831"/>
                  <a:gd name="connsiteX198" fmla="*/ 109398 w 334557"/>
                  <a:gd name="connsiteY198" fmla="*/ 335467 h 356831"/>
                  <a:gd name="connsiteX199" fmla="*/ 110307 w 334557"/>
                  <a:gd name="connsiteY199" fmla="*/ 335921 h 356831"/>
                  <a:gd name="connsiteX200" fmla="*/ 111822 w 334557"/>
                  <a:gd name="connsiteY200" fmla="*/ 335618 h 356831"/>
                  <a:gd name="connsiteX201" fmla="*/ 113489 w 334557"/>
                  <a:gd name="connsiteY201" fmla="*/ 337134 h 356831"/>
                  <a:gd name="connsiteX202" fmla="*/ 115307 w 334557"/>
                  <a:gd name="connsiteY202" fmla="*/ 340315 h 356831"/>
                  <a:gd name="connsiteX203" fmla="*/ 115610 w 334557"/>
                  <a:gd name="connsiteY203" fmla="*/ 341679 h 356831"/>
                  <a:gd name="connsiteX204" fmla="*/ 115307 w 334557"/>
                  <a:gd name="connsiteY204" fmla="*/ 342437 h 356831"/>
                  <a:gd name="connsiteX205" fmla="*/ 115459 w 334557"/>
                  <a:gd name="connsiteY205" fmla="*/ 343043 h 356831"/>
                  <a:gd name="connsiteX206" fmla="*/ 116671 w 334557"/>
                  <a:gd name="connsiteY206" fmla="*/ 343497 h 356831"/>
                  <a:gd name="connsiteX207" fmla="*/ 117883 w 334557"/>
                  <a:gd name="connsiteY207" fmla="*/ 344558 h 356831"/>
                  <a:gd name="connsiteX208" fmla="*/ 118792 w 334557"/>
                  <a:gd name="connsiteY208" fmla="*/ 346073 h 356831"/>
                  <a:gd name="connsiteX209" fmla="*/ 120913 w 334557"/>
                  <a:gd name="connsiteY209" fmla="*/ 347437 h 356831"/>
                  <a:gd name="connsiteX210" fmla="*/ 124095 w 334557"/>
                  <a:gd name="connsiteY210" fmla="*/ 348649 h 356831"/>
                  <a:gd name="connsiteX211" fmla="*/ 126368 w 334557"/>
                  <a:gd name="connsiteY211" fmla="*/ 350467 h 356831"/>
                  <a:gd name="connsiteX212" fmla="*/ 127732 w 334557"/>
                  <a:gd name="connsiteY212" fmla="*/ 352892 h 356831"/>
                  <a:gd name="connsiteX213" fmla="*/ 130611 w 334557"/>
                  <a:gd name="connsiteY213" fmla="*/ 354861 h 356831"/>
                  <a:gd name="connsiteX214" fmla="*/ 131217 w 334557"/>
                  <a:gd name="connsiteY214" fmla="*/ 355013 h 356831"/>
                  <a:gd name="connsiteX215" fmla="*/ 136065 w 334557"/>
                  <a:gd name="connsiteY215" fmla="*/ 356831 h 356831"/>
                  <a:gd name="connsiteX216" fmla="*/ 136672 w 334557"/>
                  <a:gd name="connsiteY216" fmla="*/ 356225 h 356831"/>
                  <a:gd name="connsiteX217" fmla="*/ 138338 w 334557"/>
                  <a:gd name="connsiteY217" fmla="*/ 355164 h 356831"/>
                  <a:gd name="connsiteX218" fmla="*/ 140611 w 334557"/>
                  <a:gd name="connsiteY218" fmla="*/ 352892 h 356831"/>
                  <a:gd name="connsiteX219" fmla="*/ 142429 w 334557"/>
                  <a:gd name="connsiteY219" fmla="*/ 349861 h 356831"/>
                  <a:gd name="connsiteX220" fmla="*/ 143339 w 334557"/>
                  <a:gd name="connsiteY220" fmla="*/ 346073 h 356831"/>
                  <a:gd name="connsiteX221" fmla="*/ 143641 w 334557"/>
                  <a:gd name="connsiteY221" fmla="*/ 342891 h 356831"/>
                  <a:gd name="connsiteX222" fmla="*/ 144399 w 334557"/>
                  <a:gd name="connsiteY222" fmla="*/ 340164 h 356831"/>
                  <a:gd name="connsiteX223" fmla="*/ 145460 w 334557"/>
                  <a:gd name="connsiteY223" fmla="*/ 337891 h 356831"/>
                  <a:gd name="connsiteX224" fmla="*/ 147733 w 334557"/>
                  <a:gd name="connsiteY224" fmla="*/ 335467 h 356831"/>
                  <a:gd name="connsiteX225" fmla="*/ 149854 w 334557"/>
                  <a:gd name="connsiteY225" fmla="*/ 333800 h 356831"/>
                  <a:gd name="connsiteX226" fmla="*/ 152430 w 334557"/>
                  <a:gd name="connsiteY226" fmla="*/ 331982 h 356831"/>
                  <a:gd name="connsiteX227" fmla="*/ 153793 w 334557"/>
                  <a:gd name="connsiteY227" fmla="*/ 332285 h 356831"/>
                  <a:gd name="connsiteX228" fmla="*/ 156218 w 334557"/>
                  <a:gd name="connsiteY228" fmla="*/ 334709 h 356831"/>
                  <a:gd name="connsiteX229" fmla="*/ 161521 w 334557"/>
                  <a:gd name="connsiteY229" fmla="*/ 339709 h 356831"/>
                  <a:gd name="connsiteX230" fmla="*/ 165915 w 334557"/>
                  <a:gd name="connsiteY230" fmla="*/ 343497 h 356831"/>
                  <a:gd name="connsiteX231" fmla="*/ 167582 w 334557"/>
                  <a:gd name="connsiteY231" fmla="*/ 345467 h 356831"/>
                  <a:gd name="connsiteX232" fmla="*/ 169097 w 334557"/>
                  <a:gd name="connsiteY232" fmla="*/ 345467 h 356831"/>
                  <a:gd name="connsiteX233" fmla="*/ 171370 w 334557"/>
                  <a:gd name="connsiteY233" fmla="*/ 341831 h 356831"/>
                  <a:gd name="connsiteX234" fmla="*/ 173643 w 334557"/>
                  <a:gd name="connsiteY234" fmla="*/ 338649 h 356831"/>
                  <a:gd name="connsiteX235" fmla="*/ 174552 w 334557"/>
                  <a:gd name="connsiteY235" fmla="*/ 337891 h 356831"/>
                  <a:gd name="connsiteX236" fmla="*/ 177582 w 334557"/>
                  <a:gd name="connsiteY236" fmla="*/ 337588 h 356831"/>
                  <a:gd name="connsiteX237" fmla="*/ 180158 w 334557"/>
                  <a:gd name="connsiteY237" fmla="*/ 337436 h 356831"/>
                  <a:gd name="connsiteX238" fmla="*/ 182431 w 334557"/>
                  <a:gd name="connsiteY238" fmla="*/ 337436 h 356831"/>
                  <a:gd name="connsiteX239" fmla="*/ 186522 w 334557"/>
                  <a:gd name="connsiteY239" fmla="*/ 338043 h 356831"/>
                  <a:gd name="connsiteX240" fmla="*/ 188340 w 334557"/>
                  <a:gd name="connsiteY240" fmla="*/ 338649 h 356831"/>
                  <a:gd name="connsiteX241" fmla="*/ 190158 w 334557"/>
                  <a:gd name="connsiteY241" fmla="*/ 338952 h 356831"/>
                  <a:gd name="connsiteX242" fmla="*/ 195310 w 334557"/>
                  <a:gd name="connsiteY242" fmla="*/ 339255 h 356831"/>
                  <a:gd name="connsiteX243" fmla="*/ 200462 w 334557"/>
                  <a:gd name="connsiteY243" fmla="*/ 338497 h 356831"/>
                  <a:gd name="connsiteX244" fmla="*/ 205310 w 334557"/>
                  <a:gd name="connsiteY244" fmla="*/ 337436 h 356831"/>
                  <a:gd name="connsiteX245" fmla="*/ 208947 w 334557"/>
                  <a:gd name="connsiteY245" fmla="*/ 336830 h 356831"/>
                  <a:gd name="connsiteX246" fmla="*/ 209098 w 334557"/>
                  <a:gd name="connsiteY246" fmla="*/ 335315 h 356831"/>
                  <a:gd name="connsiteX247" fmla="*/ 208947 w 334557"/>
                  <a:gd name="connsiteY247" fmla="*/ 333497 h 356831"/>
                  <a:gd name="connsiteX248" fmla="*/ 209553 w 334557"/>
                  <a:gd name="connsiteY248" fmla="*/ 332133 h 356831"/>
                  <a:gd name="connsiteX249" fmla="*/ 210614 w 334557"/>
                  <a:gd name="connsiteY249" fmla="*/ 330921 h 356831"/>
                  <a:gd name="connsiteX250" fmla="*/ 211523 w 334557"/>
                  <a:gd name="connsiteY250" fmla="*/ 330618 h 356831"/>
                  <a:gd name="connsiteX251" fmla="*/ 211977 w 334557"/>
                  <a:gd name="connsiteY251" fmla="*/ 334861 h 356831"/>
                  <a:gd name="connsiteX252" fmla="*/ 213189 w 334557"/>
                  <a:gd name="connsiteY252" fmla="*/ 335467 h 356831"/>
                  <a:gd name="connsiteX253" fmla="*/ 216372 w 334557"/>
                  <a:gd name="connsiteY253" fmla="*/ 335618 h 356831"/>
                  <a:gd name="connsiteX254" fmla="*/ 221523 w 334557"/>
                  <a:gd name="connsiteY254" fmla="*/ 335618 h 356831"/>
                  <a:gd name="connsiteX255" fmla="*/ 227129 w 334557"/>
                  <a:gd name="connsiteY255" fmla="*/ 335618 h 356831"/>
                  <a:gd name="connsiteX256" fmla="*/ 232736 w 334557"/>
                  <a:gd name="connsiteY256" fmla="*/ 335618 h 356831"/>
                  <a:gd name="connsiteX257" fmla="*/ 238342 w 334557"/>
                  <a:gd name="connsiteY257" fmla="*/ 335618 h 356831"/>
                  <a:gd name="connsiteX258" fmla="*/ 243948 w 334557"/>
                  <a:gd name="connsiteY258" fmla="*/ 335618 h 356831"/>
                  <a:gd name="connsiteX259" fmla="*/ 249555 w 334557"/>
                  <a:gd name="connsiteY259" fmla="*/ 335618 h 356831"/>
                  <a:gd name="connsiteX260" fmla="*/ 255161 w 334557"/>
                  <a:gd name="connsiteY260" fmla="*/ 335618 h 356831"/>
                  <a:gd name="connsiteX261" fmla="*/ 260767 w 334557"/>
                  <a:gd name="connsiteY261" fmla="*/ 335618 h 356831"/>
                  <a:gd name="connsiteX262" fmla="*/ 266373 w 334557"/>
                  <a:gd name="connsiteY262" fmla="*/ 335618 h 356831"/>
                  <a:gd name="connsiteX263" fmla="*/ 271980 w 334557"/>
                  <a:gd name="connsiteY263" fmla="*/ 335618 h 356831"/>
                  <a:gd name="connsiteX264" fmla="*/ 277586 w 334557"/>
                  <a:gd name="connsiteY264" fmla="*/ 335618 h 356831"/>
                  <a:gd name="connsiteX265" fmla="*/ 283192 w 334557"/>
                  <a:gd name="connsiteY265" fmla="*/ 335618 h 356831"/>
                  <a:gd name="connsiteX266" fmla="*/ 288799 w 334557"/>
                  <a:gd name="connsiteY266" fmla="*/ 335618 h 356831"/>
                  <a:gd name="connsiteX267" fmla="*/ 294405 w 334557"/>
                  <a:gd name="connsiteY267" fmla="*/ 335618 h 356831"/>
                  <a:gd name="connsiteX268" fmla="*/ 300011 w 334557"/>
                  <a:gd name="connsiteY268" fmla="*/ 335618 h 356831"/>
                  <a:gd name="connsiteX269" fmla="*/ 305617 w 334557"/>
                  <a:gd name="connsiteY269" fmla="*/ 335618 h 356831"/>
                  <a:gd name="connsiteX270" fmla="*/ 311223 w 334557"/>
                  <a:gd name="connsiteY270" fmla="*/ 335618 h 356831"/>
                  <a:gd name="connsiteX271" fmla="*/ 316981 w 334557"/>
                  <a:gd name="connsiteY271" fmla="*/ 335618 h 356831"/>
                  <a:gd name="connsiteX272" fmla="*/ 318497 w 334557"/>
                  <a:gd name="connsiteY272" fmla="*/ 327436 h 356831"/>
                  <a:gd name="connsiteX273" fmla="*/ 319860 w 334557"/>
                  <a:gd name="connsiteY273" fmla="*/ 320012 h 356831"/>
                  <a:gd name="connsiteX274" fmla="*/ 321072 w 334557"/>
                  <a:gd name="connsiteY274" fmla="*/ 313799 h 356831"/>
                  <a:gd name="connsiteX275" fmla="*/ 316981 w 334557"/>
                  <a:gd name="connsiteY275" fmla="*/ 309405 h 356831"/>
                  <a:gd name="connsiteX276" fmla="*/ 313799 w 334557"/>
                  <a:gd name="connsiteY276" fmla="*/ 305920 h 356831"/>
                  <a:gd name="connsiteX277" fmla="*/ 313042 w 334557"/>
                  <a:gd name="connsiteY277" fmla="*/ 299253 h 356831"/>
                  <a:gd name="connsiteX278" fmla="*/ 312284 w 334557"/>
                  <a:gd name="connsiteY278" fmla="*/ 292283 h 356831"/>
                  <a:gd name="connsiteX279" fmla="*/ 311527 w 334557"/>
                  <a:gd name="connsiteY279" fmla="*/ 285313 h 356831"/>
                  <a:gd name="connsiteX280" fmla="*/ 310769 w 334557"/>
                  <a:gd name="connsiteY280" fmla="*/ 278343 h 356831"/>
                  <a:gd name="connsiteX281" fmla="*/ 310011 w 334557"/>
                  <a:gd name="connsiteY281" fmla="*/ 271373 h 356831"/>
                  <a:gd name="connsiteX282" fmla="*/ 309253 w 334557"/>
                  <a:gd name="connsiteY282" fmla="*/ 264404 h 356831"/>
                  <a:gd name="connsiteX283" fmla="*/ 308496 w 334557"/>
                  <a:gd name="connsiteY283" fmla="*/ 257433 h 356831"/>
                  <a:gd name="connsiteX284" fmla="*/ 307739 w 334557"/>
                  <a:gd name="connsiteY284" fmla="*/ 250464 h 356831"/>
                  <a:gd name="connsiteX285" fmla="*/ 306981 w 334557"/>
                  <a:gd name="connsiteY285" fmla="*/ 243494 h 356831"/>
                  <a:gd name="connsiteX286" fmla="*/ 306223 w 334557"/>
                  <a:gd name="connsiteY286" fmla="*/ 236524 h 356831"/>
                  <a:gd name="connsiteX287" fmla="*/ 305465 w 334557"/>
                  <a:gd name="connsiteY287" fmla="*/ 229554 h 356831"/>
                  <a:gd name="connsiteX288" fmla="*/ 304708 w 334557"/>
                  <a:gd name="connsiteY288" fmla="*/ 222584 h 356831"/>
                  <a:gd name="connsiteX289" fmla="*/ 303951 w 334557"/>
                  <a:gd name="connsiteY289" fmla="*/ 215614 h 356831"/>
                  <a:gd name="connsiteX290" fmla="*/ 303193 w 334557"/>
                  <a:gd name="connsiteY290" fmla="*/ 208644 h 356831"/>
                  <a:gd name="connsiteX291" fmla="*/ 302435 w 334557"/>
                  <a:gd name="connsiteY291" fmla="*/ 201674 h 356831"/>
                  <a:gd name="connsiteX292" fmla="*/ 301677 w 334557"/>
                  <a:gd name="connsiteY292" fmla="*/ 194553 h 356831"/>
                  <a:gd name="connsiteX293" fmla="*/ 300920 w 334557"/>
                  <a:gd name="connsiteY293" fmla="*/ 187431 h 356831"/>
                  <a:gd name="connsiteX294" fmla="*/ 300163 w 334557"/>
                  <a:gd name="connsiteY294" fmla="*/ 180310 h 356831"/>
                  <a:gd name="connsiteX295" fmla="*/ 299405 w 334557"/>
                  <a:gd name="connsiteY295" fmla="*/ 173188 h 356831"/>
                  <a:gd name="connsiteX296" fmla="*/ 298647 w 334557"/>
                  <a:gd name="connsiteY296" fmla="*/ 166067 h 356831"/>
                  <a:gd name="connsiteX297" fmla="*/ 297889 w 334557"/>
                  <a:gd name="connsiteY297" fmla="*/ 158945 h 356831"/>
                  <a:gd name="connsiteX298" fmla="*/ 297132 w 334557"/>
                  <a:gd name="connsiteY298" fmla="*/ 151824 h 356831"/>
                  <a:gd name="connsiteX299" fmla="*/ 296375 w 334557"/>
                  <a:gd name="connsiteY299" fmla="*/ 144702 h 356831"/>
                  <a:gd name="connsiteX300" fmla="*/ 295617 w 334557"/>
                  <a:gd name="connsiteY300" fmla="*/ 137581 h 356831"/>
                  <a:gd name="connsiteX301" fmla="*/ 294859 w 334557"/>
                  <a:gd name="connsiteY301" fmla="*/ 130459 h 356831"/>
                  <a:gd name="connsiteX302" fmla="*/ 294101 w 334557"/>
                  <a:gd name="connsiteY302" fmla="*/ 123338 h 356831"/>
                  <a:gd name="connsiteX303" fmla="*/ 293344 w 334557"/>
                  <a:gd name="connsiteY303" fmla="*/ 116216 h 356831"/>
                  <a:gd name="connsiteX304" fmla="*/ 292587 w 334557"/>
                  <a:gd name="connsiteY304" fmla="*/ 109095 h 356831"/>
                  <a:gd name="connsiteX305" fmla="*/ 291829 w 334557"/>
                  <a:gd name="connsiteY305" fmla="*/ 101973 h 356831"/>
                  <a:gd name="connsiteX306" fmla="*/ 291071 w 334557"/>
                  <a:gd name="connsiteY306" fmla="*/ 94852 h 356831"/>
                  <a:gd name="connsiteX307" fmla="*/ 290313 w 334557"/>
                  <a:gd name="connsiteY307" fmla="*/ 87730 h 356831"/>
                  <a:gd name="connsiteX308" fmla="*/ 289556 w 334557"/>
                  <a:gd name="connsiteY308" fmla="*/ 80609 h 356831"/>
                  <a:gd name="connsiteX309" fmla="*/ 288799 w 334557"/>
                  <a:gd name="connsiteY309" fmla="*/ 73487 h 356831"/>
                  <a:gd name="connsiteX310" fmla="*/ 288041 w 334557"/>
                  <a:gd name="connsiteY310" fmla="*/ 66820 h 356831"/>
                  <a:gd name="connsiteX311" fmla="*/ 296375 w 334557"/>
                  <a:gd name="connsiteY311" fmla="*/ 66820 h 356831"/>
                  <a:gd name="connsiteX312" fmla="*/ 303496 w 334557"/>
                  <a:gd name="connsiteY312" fmla="*/ 66063 h 356831"/>
                  <a:gd name="connsiteX313" fmla="*/ 16819 w 334557"/>
                  <a:gd name="connsiteY313" fmla="*/ 220008 h 356831"/>
                  <a:gd name="connsiteX314" fmla="*/ 18637 w 334557"/>
                  <a:gd name="connsiteY314" fmla="*/ 217281 h 356831"/>
                  <a:gd name="connsiteX315" fmla="*/ 19395 w 334557"/>
                  <a:gd name="connsiteY315" fmla="*/ 212735 h 356831"/>
                  <a:gd name="connsiteX316" fmla="*/ 18031 w 334557"/>
                  <a:gd name="connsiteY316" fmla="*/ 213189 h 356831"/>
                  <a:gd name="connsiteX317" fmla="*/ 17273 w 334557"/>
                  <a:gd name="connsiteY317" fmla="*/ 214553 h 356831"/>
                  <a:gd name="connsiteX318" fmla="*/ 15758 w 334557"/>
                  <a:gd name="connsiteY318" fmla="*/ 217129 h 356831"/>
                  <a:gd name="connsiteX319" fmla="*/ 16061 w 334557"/>
                  <a:gd name="connsiteY319" fmla="*/ 218947 h 356831"/>
                  <a:gd name="connsiteX320" fmla="*/ 16819 w 334557"/>
                  <a:gd name="connsiteY320" fmla="*/ 220008 h 35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Lst>
                <a:rect l="l" t="t" r="r" b="b"/>
                <a:pathLst>
                  <a:path w="334557" h="356831">
                    <a:moveTo>
                      <a:pt x="303496" y="66063"/>
                    </a:moveTo>
                    <a:lnTo>
                      <a:pt x="312284" y="66063"/>
                    </a:lnTo>
                    <a:lnTo>
                      <a:pt x="325012" y="66063"/>
                    </a:lnTo>
                    <a:lnTo>
                      <a:pt x="334558" y="66063"/>
                    </a:lnTo>
                    <a:lnTo>
                      <a:pt x="328345" y="61972"/>
                    </a:lnTo>
                    <a:lnTo>
                      <a:pt x="322133" y="57881"/>
                    </a:lnTo>
                    <a:lnTo>
                      <a:pt x="315618" y="53638"/>
                    </a:lnTo>
                    <a:lnTo>
                      <a:pt x="311375" y="50911"/>
                    </a:lnTo>
                    <a:lnTo>
                      <a:pt x="306223" y="47729"/>
                    </a:lnTo>
                    <a:lnTo>
                      <a:pt x="301072" y="44547"/>
                    </a:lnTo>
                    <a:lnTo>
                      <a:pt x="295920" y="41365"/>
                    </a:lnTo>
                    <a:lnTo>
                      <a:pt x="290768" y="38183"/>
                    </a:lnTo>
                    <a:lnTo>
                      <a:pt x="285616" y="35001"/>
                    </a:lnTo>
                    <a:lnTo>
                      <a:pt x="280465" y="31819"/>
                    </a:lnTo>
                    <a:lnTo>
                      <a:pt x="275313" y="28637"/>
                    </a:lnTo>
                    <a:lnTo>
                      <a:pt x="270161" y="25455"/>
                    </a:lnTo>
                    <a:lnTo>
                      <a:pt x="265010" y="22273"/>
                    </a:lnTo>
                    <a:lnTo>
                      <a:pt x="259858" y="19092"/>
                    </a:lnTo>
                    <a:lnTo>
                      <a:pt x="254706" y="15909"/>
                    </a:lnTo>
                    <a:lnTo>
                      <a:pt x="249555" y="12728"/>
                    </a:lnTo>
                    <a:lnTo>
                      <a:pt x="244403" y="9546"/>
                    </a:lnTo>
                    <a:lnTo>
                      <a:pt x="239251" y="6364"/>
                    </a:lnTo>
                    <a:lnTo>
                      <a:pt x="234099" y="3182"/>
                    </a:lnTo>
                    <a:lnTo>
                      <a:pt x="228948" y="0"/>
                    </a:lnTo>
                    <a:lnTo>
                      <a:pt x="228948" y="4849"/>
                    </a:lnTo>
                    <a:lnTo>
                      <a:pt x="228948" y="10606"/>
                    </a:lnTo>
                    <a:lnTo>
                      <a:pt x="228948" y="16364"/>
                    </a:lnTo>
                    <a:lnTo>
                      <a:pt x="228948" y="22880"/>
                    </a:lnTo>
                    <a:lnTo>
                      <a:pt x="228948" y="29395"/>
                    </a:lnTo>
                    <a:lnTo>
                      <a:pt x="228948" y="34244"/>
                    </a:lnTo>
                    <a:lnTo>
                      <a:pt x="228948" y="37577"/>
                    </a:lnTo>
                    <a:lnTo>
                      <a:pt x="223341" y="37577"/>
                    </a:lnTo>
                    <a:lnTo>
                      <a:pt x="218190" y="37577"/>
                    </a:lnTo>
                    <a:lnTo>
                      <a:pt x="213038" y="37577"/>
                    </a:lnTo>
                    <a:lnTo>
                      <a:pt x="207887" y="37577"/>
                    </a:lnTo>
                    <a:lnTo>
                      <a:pt x="202734" y="37577"/>
                    </a:lnTo>
                    <a:lnTo>
                      <a:pt x="197583" y="37577"/>
                    </a:lnTo>
                    <a:lnTo>
                      <a:pt x="192431" y="37577"/>
                    </a:lnTo>
                    <a:lnTo>
                      <a:pt x="187279" y="37577"/>
                    </a:lnTo>
                    <a:lnTo>
                      <a:pt x="182128" y="37577"/>
                    </a:lnTo>
                    <a:lnTo>
                      <a:pt x="176976" y="37577"/>
                    </a:lnTo>
                    <a:lnTo>
                      <a:pt x="171825" y="37577"/>
                    </a:lnTo>
                    <a:lnTo>
                      <a:pt x="166673" y="37577"/>
                    </a:lnTo>
                    <a:lnTo>
                      <a:pt x="161521" y="37577"/>
                    </a:lnTo>
                    <a:lnTo>
                      <a:pt x="156369" y="37577"/>
                    </a:lnTo>
                    <a:lnTo>
                      <a:pt x="151217" y="37577"/>
                    </a:lnTo>
                    <a:lnTo>
                      <a:pt x="146066" y="37577"/>
                    </a:lnTo>
                    <a:lnTo>
                      <a:pt x="140914" y="37577"/>
                    </a:lnTo>
                    <a:lnTo>
                      <a:pt x="136823" y="37577"/>
                    </a:lnTo>
                    <a:lnTo>
                      <a:pt x="136823" y="41062"/>
                    </a:lnTo>
                    <a:lnTo>
                      <a:pt x="136823" y="45001"/>
                    </a:lnTo>
                    <a:lnTo>
                      <a:pt x="136823" y="48941"/>
                    </a:lnTo>
                    <a:lnTo>
                      <a:pt x="136823" y="52881"/>
                    </a:lnTo>
                    <a:lnTo>
                      <a:pt x="136823" y="56820"/>
                    </a:lnTo>
                    <a:lnTo>
                      <a:pt x="136823" y="60760"/>
                    </a:lnTo>
                    <a:lnTo>
                      <a:pt x="136823" y="64699"/>
                    </a:lnTo>
                    <a:lnTo>
                      <a:pt x="136823" y="68639"/>
                    </a:lnTo>
                    <a:lnTo>
                      <a:pt x="136823" y="72578"/>
                    </a:lnTo>
                    <a:lnTo>
                      <a:pt x="136823" y="76518"/>
                    </a:lnTo>
                    <a:lnTo>
                      <a:pt x="136823" y="80457"/>
                    </a:lnTo>
                    <a:lnTo>
                      <a:pt x="136823" y="84397"/>
                    </a:lnTo>
                    <a:lnTo>
                      <a:pt x="136823" y="88336"/>
                    </a:lnTo>
                    <a:lnTo>
                      <a:pt x="136823" y="92276"/>
                    </a:lnTo>
                    <a:lnTo>
                      <a:pt x="136823" y="96215"/>
                    </a:lnTo>
                    <a:lnTo>
                      <a:pt x="136823" y="100155"/>
                    </a:lnTo>
                    <a:lnTo>
                      <a:pt x="136823" y="104095"/>
                    </a:lnTo>
                    <a:lnTo>
                      <a:pt x="136823" y="107580"/>
                    </a:lnTo>
                    <a:lnTo>
                      <a:pt x="136672" y="110762"/>
                    </a:lnTo>
                    <a:lnTo>
                      <a:pt x="135005" y="111671"/>
                    </a:lnTo>
                    <a:lnTo>
                      <a:pt x="131065" y="113337"/>
                    </a:lnTo>
                    <a:lnTo>
                      <a:pt x="127126" y="115004"/>
                    </a:lnTo>
                    <a:lnTo>
                      <a:pt x="121974" y="115762"/>
                    </a:lnTo>
                    <a:lnTo>
                      <a:pt x="120307" y="116368"/>
                    </a:lnTo>
                    <a:lnTo>
                      <a:pt x="116974" y="118640"/>
                    </a:lnTo>
                    <a:lnTo>
                      <a:pt x="112731" y="121671"/>
                    </a:lnTo>
                    <a:lnTo>
                      <a:pt x="109095" y="124247"/>
                    </a:lnTo>
                    <a:lnTo>
                      <a:pt x="106670" y="127580"/>
                    </a:lnTo>
                    <a:lnTo>
                      <a:pt x="105761" y="129399"/>
                    </a:lnTo>
                    <a:lnTo>
                      <a:pt x="105458" y="131368"/>
                    </a:lnTo>
                    <a:lnTo>
                      <a:pt x="105761" y="133187"/>
                    </a:lnTo>
                    <a:lnTo>
                      <a:pt x="107125" y="136823"/>
                    </a:lnTo>
                    <a:lnTo>
                      <a:pt x="107428" y="138641"/>
                    </a:lnTo>
                    <a:lnTo>
                      <a:pt x="107579" y="141823"/>
                    </a:lnTo>
                    <a:lnTo>
                      <a:pt x="107731" y="145308"/>
                    </a:lnTo>
                    <a:lnTo>
                      <a:pt x="108034" y="149096"/>
                    </a:lnTo>
                    <a:lnTo>
                      <a:pt x="108337" y="152884"/>
                    </a:lnTo>
                    <a:lnTo>
                      <a:pt x="108640" y="156975"/>
                    </a:lnTo>
                    <a:lnTo>
                      <a:pt x="108943" y="161066"/>
                    </a:lnTo>
                    <a:lnTo>
                      <a:pt x="109246" y="165157"/>
                    </a:lnTo>
                    <a:lnTo>
                      <a:pt x="109398" y="168188"/>
                    </a:lnTo>
                    <a:lnTo>
                      <a:pt x="109701" y="171976"/>
                    </a:lnTo>
                    <a:lnTo>
                      <a:pt x="105610" y="171976"/>
                    </a:lnTo>
                    <a:lnTo>
                      <a:pt x="99398" y="171976"/>
                    </a:lnTo>
                    <a:lnTo>
                      <a:pt x="93185" y="171976"/>
                    </a:lnTo>
                    <a:lnTo>
                      <a:pt x="86973" y="171976"/>
                    </a:lnTo>
                    <a:lnTo>
                      <a:pt x="80760" y="171976"/>
                    </a:lnTo>
                    <a:lnTo>
                      <a:pt x="74548" y="171976"/>
                    </a:lnTo>
                    <a:lnTo>
                      <a:pt x="68336" y="171976"/>
                    </a:lnTo>
                    <a:lnTo>
                      <a:pt x="62123" y="171976"/>
                    </a:lnTo>
                    <a:lnTo>
                      <a:pt x="55911" y="171976"/>
                    </a:lnTo>
                    <a:lnTo>
                      <a:pt x="49699" y="171976"/>
                    </a:lnTo>
                    <a:lnTo>
                      <a:pt x="43486" y="171976"/>
                    </a:lnTo>
                    <a:lnTo>
                      <a:pt x="37274" y="171976"/>
                    </a:lnTo>
                    <a:lnTo>
                      <a:pt x="31062" y="171976"/>
                    </a:lnTo>
                    <a:lnTo>
                      <a:pt x="24849" y="171976"/>
                    </a:lnTo>
                    <a:lnTo>
                      <a:pt x="18637" y="171976"/>
                    </a:lnTo>
                    <a:lnTo>
                      <a:pt x="12424" y="171976"/>
                    </a:lnTo>
                    <a:lnTo>
                      <a:pt x="6212" y="171976"/>
                    </a:lnTo>
                    <a:lnTo>
                      <a:pt x="2727" y="171976"/>
                    </a:lnTo>
                    <a:lnTo>
                      <a:pt x="1667" y="177279"/>
                    </a:lnTo>
                    <a:lnTo>
                      <a:pt x="606" y="181067"/>
                    </a:lnTo>
                    <a:lnTo>
                      <a:pt x="0" y="184098"/>
                    </a:lnTo>
                    <a:lnTo>
                      <a:pt x="455" y="186673"/>
                    </a:lnTo>
                    <a:lnTo>
                      <a:pt x="1818" y="180006"/>
                    </a:lnTo>
                    <a:lnTo>
                      <a:pt x="2576" y="178946"/>
                    </a:lnTo>
                    <a:lnTo>
                      <a:pt x="3788" y="177885"/>
                    </a:lnTo>
                    <a:lnTo>
                      <a:pt x="5152" y="178643"/>
                    </a:lnTo>
                    <a:lnTo>
                      <a:pt x="9243" y="186673"/>
                    </a:lnTo>
                    <a:lnTo>
                      <a:pt x="12121" y="191522"/>
                    </a:lnTo>
                    <a:lnTo>
                      <a:pt x="13788" y="192431"/>
                    </a:lnTo>
                    <a:lnTo>
                      <a:pt x="14546" y="191068"/>
                    </a:lnTo>
                    <a:lnTo>
                      <a:pt x="14698" y="189552"/>
                    </a:lnTo>
                    <a:lnTo>
                      <a:pt x="16061" y="190158"/>
                    </a:lnTo>
                    <a:lnTo>
                      <a:pt x="17425" y="191219"/>
                    </a:lnTo>
                    <a:lnTo>
                      <a:pt x="20000" y="197886"/>
                    </a:lnTo>
                    <a:lnTo>
                      <a:pt x="23334" y="203189"/>
                    </a:lnTo>
                    <a:lnTo>
                      <a:pt x="22425" y="205613"/>
                    </a:lnTo>
                    <a:lnTo>
                      <a:pt x="22576" y="209553"/>
                    </a:lnTo>
                    <a:lnTo>
                      <a:pt x="21213" y="215614"/>
                    </a:lnTo>
                    <a:lnTo>
                      <a:pt x="16819" y="224554"/>
                    </a:lnTo>
                    <a:lnTo>
                      <a:pt x="20607" y="223493"/>
                    </a:lnTo>
                    <a:lnTo>
                      <a:pt x="18788" y="226372"/>
                    </a:lnTo>
                    <a:lnTo>
                      <a:pt x="15909" y="226978"/>
                    </a:lnTo>
                    <a:lnTo>
                      <a:pt x="14849" y="227736"/>
                    </a:lnTo>
                    <a:lnTo>
                      <a:pt x="15909" y="229857"/>
                    </a:lnTo>
                    <a:lnTo>
                      <a:pt x="20607" y="233493"/>
                    </a:lnTo>
                    <a:lnTo>
                      <a:pt x="23183" y="237736"/>
                    </a:lnTo>
                    <a:lnTo>
                      <a:pt x="24849" y="245766"/>
                    </a:lnTo>
                    <a:lnTo>
                      <a:pt x="26667" y="251373"/>
                    </a:lnTo>
                    <a:lnTo>
                      <a:pt x="27728" y="259706"/>
                    </a:lnTo>
                    <a:lnTo>
                      <a:pt x="28183" y="269101"/>
                    </a:lnTo>
                    <a:lnTo>
                      <a:pt x="26819" y="278647"/>
                    </a:lnTo>
                    <a:lnTo>
                      <a:pt x="23334" y="288495"/>
                    </a:lnTo>
                    <a:lnTo>
                      <a:pt x="19546" y="295920"/>
                    </a:lnTo>
                    <a:lnTo>
                      <a:pt x="16364" y="305011"/>
                    </a:lnTo>
                    <a:lnTo>
                      <a:pt x="15909" y="309102"/>
                    </a:lnTo>
                    <a:lnTo>
                      <a:pt x="14394" y="313799"/>
                    </a:lnTo>
                    <a:lnTo>
                      <a:pt x="14394" y="326375"/>
                    </a:lnTo>
                    <a:lnTo>
                      <a:pt x="15303" y="324103"/>
                    </a:lnTo>
                    <a:lnTo>
                      <a:pt x="15909" y="319103"/>
                    </a:lnTo>
                    <a:lnTo>
                      <a:pt x="16970" y="316072"/>
                    </a:lnTo>
                    <a:lnTo>
                      <a:pt x="18031" y="315466"/>
                    </a:lnTo>
                    <a:lnTo>
                      <a:pt x="19243" y="313193"/>
                    </a:lnTo>
                    <a:lnTo>
                      <a:pt x="20758" y="309102"/>
                    </a:lnTo>
                    <a:lnTo>
                      <a:pt x="22425" y="306829"/>
                    </a:lnTo>
                    <a:lnTo>
                      <a:pt x="24395" y="306375"/>
                    </a:lnTo>
                    <a:lnTo>
                      <a:pt x="25910" y="306526"/>
                    </a:lnTo>
                    <a:lnTo>
                      <a:pt x="26971" y="307284"/>
                    </a:lnTo>
                    <a:lnTo>
                      <a:pt x="30152" y="307738"/>
                    </a:lnTo>
                    <a:lnTo>
                      <a:pt x="35304" y="307890"/>
                    </a:lnTo>
                    <a:lnTo>
                      <a:pt x="39395" y="307284"/>
                    </a:lnTo>
                    <a:lnTo>
                      <a:pt x="42274" y="305920"/>
                    </a:lnTo>
                    <a:lnTo>
                      <a:pt x="46062" y="305163"/>
                    </a:lnTo>
                    <a:lnTo>
                      <a:pt x="50759" y="305163"/>
                    </a:lnTo>
                    <a:lnTo>
                      <a:pt x="53183" y="304556"/>
                    </a:lnTo>
                    <a:lnTo>
                      <a:pt x="53487" y="303344"/>
                    </a:lnTo>
                    <a:lnTo>
                      <a:pt x="54093" y="303041"/>
                    </a:lnTo>
                    <a:lnTo>
                      <a:pt x="55002" y="303496"/>
                    </a:lnTo>
                    <a:lnTo>
                      <a:pt x="55911" y="303344"/>
                    </a:lnTo>
                    <a:lnTo>
                      <a:pt x="56820" y="302587"/>
                    </a:lnTo>
                    <a:lnTo>
                      <a:pt x="57729" y="302587"/>
                    </a:lnTo>
                    <a:lnTo>
                      <a:pt x="58638" y="303344"/>
                    </a:lnTo>
                    <a:lnTo>
                      <a:pt x="62578" y="303496"/>
                    </a:lnTo>
                    <a:lnTo>
                      <a:pt x="69548" y="303193"/>
                    </a:lnTo>
                    <a:lnTo>
                      <a:pt x="75912" y="305314"/>
                    </a:lnTo>
                    <a:lnTo>
                      <a:pt x="81821" y="309860"/>
                    </a:lnTo>
                    <a:lnTo>
                      <a:pt x="84851" y="312890"/>
                    </a:lnTo>
                    <a:lnTo>
                      <a:pt x="85003" y="314405"/>
                    </a:lnTo>
                    <a:lnTo>
                      <a:pt x="85912" y="315920"/>
                    </a:lnTo>
                    <a:lnTo>
                      <a:pt x="87730" y="317436"/>
                    </a:lnTo>
                    <a:lnTo>
                      <a:pt x="89397" y="317739"/>
                    </a:lnTo>
                    <a:lnTo>
                      <a:pt x="90912" y="316830"/>
                    </a:lnTo>
                    <a:lnTo>
                      <a:pt x="92124" y="316981"/>
                    </a:lnTo>
                    <a:lnTo>
                      <a:pt x="92882" y="318193"/>
                    </a:lnTo>
                    <a:lnTo>
                      <a:pt x="94549" y="318496"/>
                    </a:lnTo>
                    <a:lnTo>
                      <a:pt x="96367" y="317739"/>
                    </a:lnTo>
                    <a:lnTo>
                      <a:pt x="97731" y="318042"/>
                    </a:lnTo>
                    <a:lnTo>
                      <a:pt x="98034" y="318799"/>
                    </a:lnTo>
                    <a:lnTo>
                      <a:pt x="98337" y="319103"/>
                    </a:lnTo>
                    <a:lnTo>
                      <a:pt x="99246" y="319254"/>
                    </a:lnTo>
                    <a:lnTo>
                      <a:pt x="100458" y="320163"/>
                    </a:lnTo>
                    <a:lnTo>
                      <a:pt x="102125" y="322587"/>
                    </a:lnTo>
                    <a:lnTo>
                      <a:pt x="103488" y="325921"/>
                    </a:lnTo>
                    <a:lnTo>
                      <a:pt x="104549" y="330163"/>
                    </a:lnTo>
                    <a:lnTo>
                      <a:pt x="105913" y="332436"/>
                    </a:lnTo>
                    <a:lnTo>
                      <a:pt x="107731" y="332739"/>
                    </a:lnTo>
                    <a:lnTo>
                      <a:pt x="108792" y="333648"/>
                    </a:lnTo>
                    <a:lnTo>
                      <a:pt x="108943" y="334709"/>
                    </a:lnTo>
                    <a:lnTo>
                      <a:pt x="109398" y="335467"/>
                    </a:lnTo>
                    <a:lnTo>
                      <a:pt x="110307" y="335921"/>
                    </a:lnTo>
                    <a:lnTo>
                      <a:pt x="111822" y="335618"/>
                    </a:lnTo>
                    <a:lnTo>
                      <a:pt x="113489" y="337134"/>
                    </a:lnTo>
                    <a:lnTo>
                      <a:pt x="115307" y="340315"/>
                    </a:lnTo>
                    <a:lnTo>
                      <a:pt x="115610" y="341679"/>
                    </a:lnTo>
                    <a:lnTo>
                      <a:pt x="115307" y="342437"/>
                    </a:lnTo>
                    <a:lnTo>
                      <a:pt x="115459" y="343043"/>
                    </a:lnTo>
                    <a:lnTo>
                      <a:pt x="116671" y="343497"/>
                    </a:lnTo>
                    <a:lnTo>
                      <a:pt x="117883" y="344558"/>
                    </a:lnTo>
                    <a:lnTo>
                      <a:pt x="118792" y="346073"/>
                    </a:lnTo>
                    <a:lnTo>
                      <a:pt x="120913" y="347437"/>
                    </a:lnTo>
                    <a:lnTo>
                      <a:pt x="124095" y="348649"/>
                    </a:lnTo>
                    <a:lnTo>
                      <a:pt x="126368" y="350467"/>
                    </a:lnTo>
                    <a:lnTo>
                      <a:pt x="127732" y="352892"/>
                    </a:lnTo>
                    <a:lnTo>
                      <a:pt x="130611" y="354861"/>
                    </a:lnTo>
                    <a:lnTo>
                      <a:pt x="131217" y="355013"/>
                    </a:lnTo>
                    <a:lnTo>
                      <a:pt x="136065" y="356831"/>
                    </a:lnTo>
                    <a:lnTo>
                      <a:pt x="136672" y="356225"/>
                    </a:lnTo>
                    <a:lnTo>
                      <a:pt x="138338" y="355164"/>
                    </a:lnTo>
                    <a:lnTo>
                      <a:pt x="140611" y="352892"/>
                    </a:lnTo>
                    <a:lnTo>
                      <a:pt x="142429" y="349861"/>
                    </a:lnTo>
                    <a:lnTo>
                      <a:pt x="143339" y="346073"/>
                    </a:lnTo>
                    <a:lnTo>
                      <a:pt x="143641" y="342891"/>
                    </a:lnTo>
                    <a:lnTo>
                      <a:pt x="144399" y="340164"/>
                    </a:lnTo>
                    <a:lnTo>
                      <a:pt x="145460" y="337891"/>
                    </a:lnTo>
                    <a:lnTo>
                      <a:pt x="147733" y="335467"/>
                    </a:lnTo>
                    <a:lnTo>
                      <a:pt x="149854" y="333800"/>
                    </a:lnTo>
                    <a:lnTo>
                      <a:pt x="152430" y="331982"/>
                    </a:lnTo>
                    <a:lnTo>
                      <a:pt x="153793" y="332285"/>
                    </a:lnTo>
                    <a:lnTo>
                      <a:pt x="156218" y="334709"/>
                    </a:lnTo>
                    <a:lnTo>
                      <a:pt x="161521" y="339709"/>
                    </a:lnTo>
                    <a:lnTo>
                      <a:pt x="165915" y="343497"/>
                    </a:lnTo>
                    <a:lnTo>
                      <a:pt x="167582" y="345467"/>
                    </a:lnTo>
                    <a:lnTo>
                      <a:pt x="169097" y="345467"/>
                    </a:lnTo>
                    <a:lnTo>
                      <a:pt x="171370" y="341831"/>
                    </a:lnTo>
                    <a:lnTo>
                      <a:pt x="173643" y="338649"/>
                    </a:lnTo>
                    <a:lnTo>
                      <a:pt x="174552" y="337891"/>
                    </a:lnTo>
                    <a:lnTo>
                      <a:pt x="177582" y="337588"/>
                    </a:lnTo>
                    <a:lnTo>
                      <a:pt x="180158" y="337436"/>
                    </a:lnTo>
                    <a:lnTo>
                      <a:pt x="182431" y="337436"/>
                    </a:lnTo>
                    <a:lnTo>
                      <a:pt x="186522" y="338043"/>
                    </a:lnTo>
                    <a:lnTo>
                      <a:pt x="188340" y="338649"/>
                    </a:lnTo>
                    <a:lnTo>
                      <a:pt x="190158" y="338952"/>
                    </a:lnTo>
                    <a:lnTo>
                      <a:pt x="195310" y="339255"/>
                    </a:lnTo>
                    <a:lnTo>
                      <a:pt x="200462" y="338497"/>
                    </a:lnTo>
                    <a:lnTo>
                      <a:pt x="205310" y="337436"/>
                    </a:lnTo>
                    <a:lnTo>
                      <a:pt x="208947" y="336830"/>
                    </a:lnTo>
                    <a:lnTo>
                      <a:pt x="209098" y="335315"/>
                    </a:lnTo>
                    <a:lnTo>
                      <a:pt x="208947" y="333497"/>
                    </a:lnTo>
                    <a:lnTo>
                      <a:pt x="209553" y="332133"/>
                    </a:lnTo>
                    <a:lnTo>
                      <a:pt x="210614" y="330921"/>
                    </a:lnTo>
                    <a:lnTo>
                      <a:pt x="211523" y="330618"/>
                    </a:lnTo>
                    <a:lnTo>
                      <a:pt x="211977" y="334861"/>
                    </a:lnTo>
                    <a:lnTo>
                      <a:pt x="213189" y="335467"/>
                    </a:lnTo>
                    <a:lnTo>
                      <a:pt x="216372" y="335618"/>
                    </a:lnTo>
                    <a:lnTo>
                      <a:pt x="221523" y="335618"/>
                    </a:lnTo>
                    <a:lnTo>
                      <a:pt x="227129" y="335618"/>
                    </a:lnTo>
                    <a:lnTo>
                      <a:pt x="232736" y="335618"/>
                    </a:lnTo>
                    <a:lnTo>
                      <a:pt x="238342" y="335618"/>
                    </a:lnTo>
                    <a:lnTo>
                      <a:pt x="243948" y="335618"/>
                    </a:lnTo>
                    <a:lnTo>
                      <a:pt x="249555" y="335618"/>
                    </a:lnTo>
                    <a:lnTo>
                      <a:pt x="255161" y="335618"/>
                    </a:lnTo>
                    <a:lnTo>
                      <a:pt x="260767" y="335618"/>
                    </a:lnTo>
                    <a:lnTo>
                      <a:pt x="266373" y="335618"/>
                    </a:lnTo>
                    <a:lnTo>
                      <a:pt x="271980" y="335618"/>
                    </a:lnTo>
                    <a:lnTo>
                      <a:pt x="277586" y="335618"/>
                    </a:lnTo>
                    <a:lnTo>
                      <a:pt x="283192" y="335618"/>
                    </a:lnTo>
                    <a:lnTo>
                      <a:pt x="288799" y="335618"/>
                    </a:lnTo>
                    <a:lnTo>
                      <a:pt x="294405" y="335618"/>
                    </a:lnTo>
                    <a:lnTo>
                      <a:pt x="300011" y="335618"/>
                    </a:lnTo>
                    <a:lnTo>
                      <a:pt x="305617" y="335618"/>
                    </a:lnTo>
                    <a:lnTo>
                      <a:pt x="311223" y="335618"/>
                    </a:lnTo>
                    <a:lnTo>
                      <a:pt x="316981" y="335618"/>
                    </a:lnTo>
                    <a:lnTo>
                      <a:pt x="318497" y="327436"/>
                    </a:lnTo>
                    <a:lnTo>
                      <a:pt x="319860" y="320012"/>
                    </a:lnTo>
                    <a:lnTo>
                      <a:pt x="321072" y="313799"/>
                    </a:lnTo>
                    <a:lnTo>
                      <a:pt x="316981" y="309405"/>
                    </a:lnTo>
                    <a:lnTo>
                      <a:pt x="313799" y="305920"/>
                    </a:lnTo>
                    <a:lnTo>
                      <a:pt x="313042" y="299253"/>
                    </a:lnTo>
                    <a:lnTo>
                      <a:pt x="312284" y="292283"/>
                    </a:lnTo>
                    <a:lnTo>
                      <a:pt x="311527" y="285313"/>
                    </a:lnTo>
                    <a:lnTo>
                      <a:pt x="310769" y="278343"/>
                    </a:lnTo>
                    <a:lnTo>
                      <a:pt x="310011" y="271373"/>
                    </a:lnTo>
                    <a:lnTo>
                      <a:pt x="309253" y="264404"/>
                    </a:lnTo>
                    <a:lnTo>
                      <a:pt x="308496" y="257433"/>
                    </a:lnTo>
                    <a:lnTo>
                      <a:pt x="307739" y="250464"/>
                    </a:lnTo>
                    <a:lnTo>
                      <a:pt x="306981" y="243494"/>
                    </a:lnTo>
                    <a:lnTo>
                      <a:pt x="306223" y="236524"/>
                    </a:lnTo>
                    <a:lnTo>
                      <a:pt x="305465" y="229554"/>
                    </a:lnTo>
                    <a:lnTo>
                      <a:pt x="304708" y="222584"/>
                    </a:lnTo>
                    <a:lnTo>
                      <a:pt x="303951" y="215614"/>
                    </a:lnTo>
                    <a:lnTo>
                      <a:pt x="303193" y="208644"/>
                    </a:lnTo>
                    <a:lnTo>
                      <a:pt x="302435" y="201674"/>
                    </a:lnTo>
                    <a:lnTo>
                      <a:pt x="301677" y="194553"/>
                    </a:lnTo>
                    <a:lnTo>
                      <a:pt x="300920" y="187431"/>
                    </a:lnTo>
                    <a:lnTo>
                      <a:pt x="300163" y="180310"/>
                    </a:lnTo>
                    <a:lnTo>
                      <a:pt x="299405" y="173188"/>
                    </a:lnTo>
                    <a:lnTo>
                      <a:pt x="298647" y="166067"/>
                    </a:lnTo>
                    <a:lnTo>
                      <a:pt x="297889" y="158945"/>
                    </a:lnTo>
                    <a:lnTo>
                      <a:pt x="297132" y="151824"/>
                    </a:lnTo>
                    <a:lnTo>
                      <a:pt x="296375" y="144702"/>
                    </a:lnTo>
                    <a:lnTo>
                      <a:pt x="295617" y="137581"/>
                    </a:lnTo>
                    <a:lnTo>
                      <a:pt x="294859" y="130459"/>
                    </a:lnTo>
                    <a:lnTo>
                      <a:pt x="294101" y="123338"/>
                    </a:lnTo>
                    <a:lnTo>
                      <a:pt x="293344" y="116216"/>
                    </a:lnTo>
                    <a:lnTo>
                      <a:pt x="292587" y="109095"/>
                    </a:lnTo>
                    <a:lnTo>
                      <a:pt x="291829" y="101973"/>
                    </a:lnTo>
                    <a:lnTo>
                      <a:pt x="291071" y="94852"/>
                    </a:lnTo>
                    <a:lnTo>
                      <a:pt x="290313" y="87730"/>
                    </a:lnTo>
                    <a:lnTo>
                      <a:pt x="289556" y="80609"/>
                    </a:lnTo>
                    <a:lnTo>
                      <a:pt x="288799" y="73487"/>
                    </a:lnTo>
                    <a:lnTo>
                      <a:pt x="288041" y="66820"/>
                    </a:lnTo>
                    <a:lnTo>
                      <a:pt x="296375" y="66820"/>
                    </a:lnTo>
                    <a:lnTo>
                      <a:pt x="303496" y="66063"/>
                    </a:lnTo>
                    <a:close/>
                    <a:moveTo>
                      <a:pt x="16819" y="220008"/>
                    </a:moveTo>
                    <a:lnTo>
                      <a:pt x="18637" y="217281"/>
                    </a:lnTo>
                    <a:lnTo>
                      <a:pt x="19395" y="212735"/>
                    </a:lnTo>
                    <a:lnTo>
                      <a:pt x="18031" y="213189"/>
                    </a:lnTo>
                    <a:lnTo>
                      <a:pt x="17273" y="214553"/>
                    </a:lnTo>
                    <a:lnTo>
                      <a:pt x="15758" y="217129"/>
                    </a:lnTo>
                    <a:lnTo>
                      <a:pt x="16061" y="218947"/>
                    </a:lnTo>
                    <a:lnTo>
                      <a:pt x="16819" y="22000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6" name="Freeform: Shape 3215">
                <a:extLst>
                  <a:ext uri="{FF2B5EF4-FFF2-40B4-BE49-F238E27FC236}">
                    <a16:creationId xmlns:a16="http://schemas.microsoft.com/office/drawing/2014/main" id="{01BDDE99-9189-41E0-BFCC-FD61383473F4}"/>
                  </a:ext>
                </a:extLst>
              </p:cNvPr>
              <p:cNvSpPr/>
              <p:nvPr/>
            </p:nvSpPr>
            <p:spPr>
              <a:xfrm>
                <a:off x="4102138" y="4154705"/>
                <a:ext cx="10757" cy="12576"/>
              </a:xfrm>
              <a:custGeom>
                <a:avLst/>
                <a:gdLst>
                  <a:gd name="connsiteX0" fmla="*/ 9091 w 10757"/>
                  <a:gd name="connsiteY0" fmla="*/ 6516 h 12576"/>
                  <a:gd name="connsiteX1" fmla="*/ 7879 w 10757"/>
                  <a:gd name="connsiteY1" fmla="*/ 5303 h 12576"/>
                  <a:gd name="connsiteX2" fmla="*/ 8334 w 10757"/>
                  <a:gd name="connsiteY2" fmla="*/ 3940 h 12576"/>
                  <a:gd name="connsiteX3" fmla="*/ 8031 w 10757"/>
                  <a:gd name="connsiteY3" fmla="*/ 3485 h 12576"/>
                  <a:gd name="connsiteX4" fmla="*/ 7273 w 10757"/>
                  <a:gd name="connsiteY4" fmla="*/ 3333 h 12576"/>
                  <a:gd name="connsiteX5" fmla="*/ 5303 w 10757"/>
                  <a:gd name="connsiteY5" fmla="*/ 1364 h 12576"/>
                  <a:gd name="connsiteX6" fmla="*/ 2576 w 10757"/>
                  <a:gd name="connsiteY6" fmla="*/ 0 h 12576"/>
                  <a:gd name="connsiteX7" fmla="*/ 1061 w 10757"/>
                  <a:gd name="connsiteY7" fmla="*/ 152 h 12576"/>
                  <a:gd name="connsiteX8" fmla="*/ 151 w 10757"/>
                  <a:gd name="connsiteY8" fmla="*/ 758 h 12576"/>
                  <a:gd name="connsiteX9" fmla="*/ 0 w 10757"/>
                  <a:gd name="connsiteY9" fmla="*/ 1970 h 12576"/>
                  <a:gd name="connsiteX10" fmla="*/ 2121 w 10757"/>
                  <a:gd name="connsiteY10" fmla="*/ 6212 h 12576"/>
                  <a:gd name="connsiteX11" fmla="*/ 3182 w 10757"/>
                  <a:gd name="connsiteY11" fmla="*/ 7121 h 12576"/>
                  <a:gd name="connsiteX12" fmla="*/ 5758 w 10757"/>
                  <a:gd name="connsiteY12" fmla="*/ 7728 h 12576"/>
                  <a:gd name="connsiteX13" fmla="*/ 3636 w 10757"/>
                  <a:gd name="connsiteY13" fmla="*/ 9697 h 12576"/>
                  <a:gd name="connsiteX14" fmla="*/ 3636 w 10757"/>
                  <a:gd name="connsiteY14" fmla="*/ 10304 h 12576"/>
                  <a:gd name="connsiteX15" fmla="*/ 4243 w 10757"/>
                  <a:gd name="connsiteY15" fmla="*/ 11364 h 12576"/>
                  <a:gd name="connsiteX16" fmla="*/ 8788 w 10757"/>
                  <a:gd name="connsiteY16" fmla="*/ 11213 h 12576"/>
                  <a:gd name="connsiteX17" fmla="*/ 9849 w 10757"/>
                  <a:gd name="connsiteY17" fmla="*/ 12576 h 12576"/>
                  <a:gd name="connsiteX18" fmla="*/ 10455 w 10757"/>
                  <a:gd name="connsiteY18" fmla="*/ 12273 h 12576"/>
                  <a:gd name="connsiteX19" fmla="*/ 10758 w 10757"/>
                  <a:gd name="connsiteY19" fmla="*/ 10606 h 12576"/>
                  <a:gd name="connsiteX20" fmla="*/ 9546 w 10757"/>
                  <a:gd name="connsiteY20" fmla="*/ 7273 h 1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57" h="12576">
                    <a:moveTo>
                      <a:pt x="9091" y="6516"/>
                    </a:moveTo>
                    <a:lnTo>
                      <a:pt x="7879" y="5303"/>
                    </a:lnTo>
                    <a:lnTo>
                      <a:pt x="8334" y="3940"/>
                    </a:lnTo>
                    <a:lnTo>
                      <a:pt x="8031" y="3485"/>
                    </a:lnTo>
                    <a:lnTo>
                      <a:pt x="7273" y="3333"/>
                    </a:lnTo>
                    <a:lnTo>
                      <a:pt x="5303" y="1364"/>
                    </a:lnTo>
                    <a:lnTo>
                      <a:pt x="2576" y="0"/>
                    </a:lnTo>
                    <a:lnTo>
                      <a:pt x="1061" y="152"/>
                    </a:lnTo>
                    <a:lnTo>
                      <a:pt x="151" y="758"/>
                    </a:lnTo>
                    <a:lnTo>
                      <a:pt x="0" y="1970"/>
                    </a:lnTo>
                    <a:lnTo>
                      <a:pt x="2121" y="6212"/>
                    </a:lnTo>
                    <a:lnTo>
                      <a:pt x="3182" y="7121"/>
                    </a:lnTo>
                    <a:lnTo>
                      <a:pt x="5758" y="7728"/>
                    </a:lnTo>
                    <a:lnTo>
                      <a:pt x="3636" y="9697"/>
                    </a:lnTo>
                    <a:lnTo>
                      <a:pt x="3636" y="10304"/>
                    </a:lnTo>
                    <a:lnTo>
                      <a:pt x="4243" y="11364"/>
                    </a:lnTo>
                    <a:lnTo>
                      <a:pt x="8788" y="11213"/>
                    </a:lnTo>
                    <a:lnTo>
                      <a:pt x="9849" y="12576"/>
                    </a:lnTo>
                    <a:lnTo>
                      <a:pt x="10455" y="12273"/>
                    </a:lnTo>
                    <a:lnTo>
                      <a:pt x="10758" y="10606"/>
                    </a:lnTo>
                    <a:lnTo>
                      <a:pt x="9546" y="7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7" name="Freeform: Shape 3216">
                <a:extLst>
                  <a:ext uri="{FF2B5EF4-FFF2-40B4-BE49-F238E27FC236}">
                    <a16:creationId xmlns:a16="http://schemas.microsoft.com/office/drawing/2014/main" id="{43AED92C-DFA4-4EE9-BB0C-78B86FCF7174}"/>
                  </a:ext>
                </a:extLst>
              </p:cNvPr>
              <p:cNvSpPr/>
              <p:nvPr/>
            </p:nvSpPr>
            <p:spPr>
              <a:xfrm>
                <a:off x="9748711" y="4044853"/>
                <a:ext cx="18636" cy="131216"/>
              </a:xfrm>
              <a:custGeom>
                <a:avLst/>
                <a:gdLst>
                  <a:gd name="connsiteX0" fmla="*/ 14395 w 18636"/>
                  <a:gd name="connsiteY0" fmla="*/ 2273 h 131216"/>
                  <a:gd name="connsiteX1" fmla="*/ 15152 w 18636"/>
                  <a:gd name="connsiteY1" fmla="*/ 1212 h 131216"/>
                  <a:gd name="connsiteX2" fmla="*/ 15152 w 18636"/>
                  <a:gd name="connsiteY2" fmla="*/ 455 h 131216"/>
                  <a:gd name="connsiteX3" fmla="*/ 14697 w 18636"/>
                  <a:gd name="connsiteY3" fmla="*/ 152 h 131216"/>
                  <a:gd name="connsiteX4" fmla="*/ 13486 w 18636"/>
                  <a:gd name="connsiteY4" fmla="*/ 0 h 131216"/>
                  <a:gd name="connsiteX5" fmla="*/ 13636 w 18636"/>
                  <a:gd name="connsiteY5" fmla="*/ 1515 h 131216"/>
                  <a:gd name="connsiteX6" fmla="*/ 14395 w 18636"/>
                  <a:gd name="connsiteY6" fmla="*/ 2273 h 131216"/>
                  <a:gd name="connsiteX7" fmla="*/ 13788 w 18636"/>
                  <a:gd name="connsiteY7" fmla="*/ 69245 h 131216"/>
                  <a:gd name="connsiteX8" fmla="*/ 14697 w 18636"/>
                  <a:gd name="connsiteY8" fmla="*/ 69397 h 131216"/>
                  <a:gd name="connsiteX9" fmla="*/ 15304 w 18636"/>
                  <a:gd name="connsiteY9" fmla="*/ 69245 h 131216"/>
                  <a:gd name="connsiteX10" fmla="*/ 15455 w 18636"/>
                  <a:gd name="connsiteY10" fmla="*/ 68639 h 131216"/>
                  <a:gd name="connsiteX11" fmla="*/ 14849 w 18636"/>
                  <a:gd name="connsiteY11" fmla="*/ 68033 h 131216"/>
                  <a:gd name="connsiteX12" fmla="*/ 13031 w 18636"/>
                  <a:gd name="connsiteY12" fmla="*/ 68033 h 131216"/>
                  <a:gd name="connsiteX13" fmla="*/ 13182 w 18636"/>
                  <a:gd name="connsiteY13" fmla="*/ 68791 h 131216"/>
                  <a:gd name="connsiteX14" fmla="*/ 13788 w 18636"/>
                  <a:gd name="connsiteY14" fmla="*/ 69245 h 131216"/>
                  <a:gd name="connsiteX15" fmla="*/ 18637 w 18636"/>
                  <a:gd name="connsiteY15" fmla="*/ 18789 h 131216"/>
                  <a:gd name="connsiteX16" fmla="*/ 17879 w 18636"/>
                  <a:gd name="connsiteY16" fmla="*/ 17728 h 131216"/>
                  <a:gd name="connsiteX17" fmla="*/ 17424 w 18636"/>
                  <a:gd name="connsiteY17" fmla="*/ 18182 h 131216"/>
                  <a:gd name="connsiteX18" fmla="*/ 15758 w 18636"/>
                  <a:gd name="connsiteY18" fmla="*/ 20910 h 131216"/>
                  <a:gd name="connsiteX19" fmla="*/ 17122 w 18636"/>
                  <a:gd name="connsiteY19" fmla="*/ 20304 h 131216"/>
                  <a:gd name="connsiteX20" fmla="*/ 18637 w 18636"/>
                  <a:gd name="connsiteY20" fmla="*/ 18789 h 131216"/>
                  <a:gd name="connsiteX21" fmla="*/ 0 w 18636"/>
                  <a:gd name="connsiteY21" fmla="*/ 129702 h 131216"/>
                  <a:gd name="connsiteX22" fmla="*/ 152 w 18636"/>
                  <a:gd name="connsiteY22" fmla="*/ 130459 h 131216"/>
                  <a:gd name="connsiteX23" fmla="*/ 757 w 18636"/>
                  <a:gd name="connsiteY23" fmla="*/ 130914 h 131216"/>
                  <a:gd name="connsiteX24" fmla="*/ 1667 w 18636"/>
                  <a:gd name="connsiteY24" fmla="*/ 131217 h 131216"/>
                  <a:gd name="connsiteX25" fmla="*/ 3031 w 18636"/>
                  <a:gd name="connsiteY25" fmla="*/ 129853 h 131216"/>
                  <a:gd name="connsiteX26" fmla="*/ 3031 w 18636"/>
                  <a:gd name="connsiteY26" fmla="*/ 129247 h 131216"/>
                  <a:gd name="connsiteX27" fmla="*/ 2122 w 18636"/>
                  <a:gd name="connsiteY27" fmla="*/ 128944 h 131216"/>
                  <a:gd name="connsiteX28" fmla="*/ 0 w 18636"/>
                  <a:gd name="connsiteY28" fmla="*/ 129702 h 131216"/>
                  <a:gd name="connsiteX29" fmla="*/ 15304 w 18636"/>
                  <a:gd name="connsiteY29" fmla="*/ 100458 h 131216"/>
                  <a:gd name="connsiteX30" fmla="*/ 14546 w 18636"/>
                  <a:gd name="connsiteY30" fmla="*/ 103034 h 131216"/>
                  <a:gd name="connsiteX31" fmla="*/ 15000 w 18636"/>
                  <a:gd name="connsiteY31" fmla="*/ 103337 h 131216"/>
                  <a:gd name="connsiteX32" fmla="*/ 16365 w 18636"/>
                  <a:gd name="connsiteY32" fmla="*/ 103489 h 131216"/>
                  <a:gd name="connsiteX33" fmla="*/ 16515 w 18636"/>
                  <a:gd name="connsiteY33" fmla="*/ 102731 h 131216"/>
                  <a:gd name="connsiteX34" fmla="*/ 17274 w 18636"/>
                  <a:gd name="connsiteY34" fmla="*/ 101519 h 131216"/>
                  <a:gd name="connsiteX35" fmla="*/ 17424 w 18636"/>
                  <a:gd name="connsiteY35" fmla="*/ 100155 h 131216"/>
                  <a:gd name="connsiteX36" fmla="*/ 18334 w 18636"/>
                  <a:gd name="connsiteY36" fmla="*/ 98943 h 131216"/>
                  <a:gd name="connsiteX37" fmla="*/ 17424 w 18636"/>
                  <a:gd name="connsiteY37" fmla="*/ 99246 h 131216"/>
                  <a:gd name="connsiteX38" fmla="*/ 15304 w 18636"/>
                  <a:gd name="connsiteY38" fmla="*/ 100458 h 131216"/>
                  <a:gd name="connsiteX39" fmla="*/ 12879 w 18636"/>
                  <a:gd name="connsiteY39" fmla="*/ 104852 h 131216"/>
                  <a:gd name="connsiteX40" fmla="*/ 11818 w 18636"/>
                  <a:gd name="connsiteY40" fmla="*/ 105610 h 131216"/>
                  <a:gd name="connsiteX41" fmla="*/ 11970 w 18636"/>
                  <a:gd name="connsiteY41" fmla="*/ 106519 h 131216"/>
                  <a:gd name="connsiteX42" fmla="*/ 12727 w 18636"/>
                  <a:gd name="connsiteY42" fmla="*/ 108792 h 131216"/>
                  <a:gd name="connsiteX43" fmla="*/ 13788 w 18636"/>
                  <a:gd name="connsiteY43" fmla="*/ 107428 h 131216"/>
                  <a:gd name="connsiteX44" fmla="*/ 13334 w 18636"/>
                  <a:gd name="connsiteY44" fmla="*/ 105004 h 131216"/>
                  <a:gd name="connsiteX45" fmla="*/ 12879 w 18636"/>
                  <a:gd name="connsiteY45" fmla="*/ 104852 h 1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8636" h="131216">
                    <a:moveTo>
                      <a:pt x="14395" y="2273"/>
                    </a:moveTo>
                    <a:lnTo>
                      <a:pt x="15152" y="1212"/>
                    </a:lnTo>
                    <a:lnTo>
                      <a:pt x="15152" y="455"/>
                    </a:lnTo>
                    <a:lnTo>
                      <a:pt x="14697" y="152"/>
                    </a:lnTo>
                    <a:lnTo>
                      <a:pt x="13486" y="0"/>
                    </a:lnTo>
                    <a:lnTo>
                      <a:pt x="13636" y="1515"/>
                    </a:lnTo>
                    <a:lnTo>
                      <a:pt x="14395" y="2273"/>
                    </a:lnTo>
                    <a:close/>
                    <a:moveTo>
                      <a:pt x="13788" y="69245"/>
                    </a:moveTo>
                    <a:lnTo>
                      <a:pt x="14697" y="69397"/>
                    </a:lnTo>
                    <a:lnTo>
                      <a:pt x="15304" y="69245"/>
                    </a:lnTo>
                    <a:lnTo>
                      <a:pt x="15455" y="68639"/>
                    </a:lnTo>
                    <a:lnTo>
                      <a:pt x="14849" y="68033"/>
                    </a:lnTo>
                    <a:lnTo>
                      <a:pt x="13031" y="68033"/>
                    </a:lnTo>
                    <a:lnTo>
                      <a:pt x="13182" y="68791"/>
                    </a:lnTo>
                    <a:lnTo>
                      <a:pt x="13788" y="69245"/>
                    </a:lnTo>
                    <a:close/>
                    <a:moveTo>
                      <a:pt x="18637" y="18789"/>
                    </a:moveTo>
                    <a:lnTo>
                      <a:pt x="17879" y="17728"/>
                    </a:lnTo>
                    <a:lnTo>
                      <a:pt x="17424" y="18182"/>
                    </a:lnTo>
                    <a:lnTo>
                      <a:pt x="15758" y="20910"/>
                    </a:lnTo>
                    <a:lnTo>
                      <a:pt x="17122" y="20304"/>
                    </a:lnTo>
                    <a:lnTo>
                      <a:pt x="18637" y="18789"/>
                    </a:lnTo>
                    <a:close/>
                    <a:moveTo>
                      <a:pt x="0" y="129702"/>
                    </a:moveTo>
                    <a:lnTo>
                      <a:pt x="152" y="130459"/>
                    </a:lnTo>
                    <a:lnTo>
                      <a:pt x="757" y="130914"/>
                    </a:lnTo>
                    <a:lnTo>
                      <a:pt x="1667" y="131217"/>
                    </a:lnTo>
                    <a:lnTo>
                      <a:pt x="3031" y="129853"/>
                    </a:lnTo>
                    <a:lnTo>
                      <a:pt x="3031" y="129247"/>
                    </a:lnTo>
                    <a:lnTo>
                      <a:pt x="2122" y="128944"/>
                    </a:lnTo>
                    <a:lnTo>
                      <a:pt x="0" y="129702"/>
                    </a:lnTo>
                    <a:close/>
                    <a:moveTo>
                      <a:pt x="15304" y="100458"/>
                    </a:moveTo>
                    <a:lnTo>
                      <a:pt x="14546" y="103034"/>
                    </a:lnTo>
                    <a:lnTo>
                      <a:pt x="15000" y="103337"/>
                    </a:lnTo>
                    <a:lnTo>
                      <a:pt x="16365" y="103489"/>
                    </a:lnTo>
                    <a:lnTo>
                      <a:pt x="16515" y="102731"/>
                    </a:lnTo>
                    <a:lnTo>
                      <a:pt x="17274" y="101519"/>
                    </a:lnTo>
                    <a:lnTo>
                      <a:pt x="17424" y="100155"/>
                    </a:lnTo>
                    <a:lnTo>
                      <a:pt x="18334" y="98943"/>
                    </a:lnTo>
                    <a:lnTo>
                      <a:pt x="17424" y="99246"/>
                    </a:lnTo>
                    <a:lnTo>
                      <a:pt x="15304" y="100458"/>
                    </a:lnTo>
                    <a:close/>
                    <a:moveTo>
                      <a:pt x="12879" y="104852"/>
                    </a:moveTo>
                    <a:lnTo>
                      <a:pt x="11818" y="105610"/>
                    </a:lnTo>
                    <a:lnTo>
                      <a:pt x="11970" y="106519"/>
                    </a:lnTo>
                    <a:lnTo>
                      <a:pt x="12727" y="108792"/>
                    </a:lnTo>
                    <a:lnTo>
                      <a:pt x="13788" y="107428"/>
                    </a:lnTo>
                    <a:lnTo>
                      <a:pt x="13334" y="105004"/>
                    </a:lnTo>
                    <a:lnTo>
                      <a:pt x="12879" y="1048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8" name="Freeform: Shape 3217">
                <a:extLst>
                  <a:ext uri="{FF2B5EF4-FFF2-40B4-BE49-F238E27FC236}">
                    <a16:creationId xmlns:a16="http://schemas.microsoft.com/office/drawing/2014/main" id="{E5604035-3F5F-47D0-B6DD-6C258A57269F}"/>
                  </a:ext>
                </a:extLst>
              </p:cNvPr>
              <p:cNvSpPr/>
              <p:nvPr/>
            </p:nvSpPr>
            <p:spPr>
              <a:xfrm>
                <a:off x="8882012" y="3947274"/>
                <a:ext cx="1969" cy="1363"/>
              </a:xfrm>
              <a:custGeom>
                <a:avLst/>
                <a:gdLst>
                  <a:gd name="connsiteX0" fmla="*/ 1364 w 1969"/>
                  <a:gd name="connsiteY0" fmla="*/ 0 h 1363"/>
                  <a:gd name="connsiteX1" fmla="*/ 455 w 1969"/>
                  <a:gd name="connsiteY1" fmla="*/ 152 h 1363"/>
                  <a:gd name="connsiteX2" fmla="*/ 152 w 1969"/>
                  <a:gd name="connsiteY2" fmla="*/ 758 h 1363"/>
                  <a:gd name="connsiteX3" fmla="*/ 0 w 1969"/>
                  <a:gd name="connsiteY3" fmla="*/ 1364 h 1363"/>
                  <a:gd name="connsiteX4" fmla="*/ 152 w 1969"/>
                  <a:gd name="connsiteY4" fmla="*/ 1364 h 1363"/>
                  <a:gd name="connsiteX5" fmla="*/ 606 w 1969"/>
                  <a:gd name="connsiteY5" fmla="*/ 1212 h 1363"/>
                  <a:gd name="connsiteX6" fmla="*/ 1818 w 1969"/>
                  <a:gd name="connsiteY6" fmla="*/ 606 h 1363"/>
                  <a:gd name="connsiteX7" fmla="*/ 1970 w 1969"/>
                  <a:gd name="connsiteY7" fmla="*/ 606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 h="1363">
                    <a:moveTo>
                      <a:pt x="1364" y="0"/>
                    </a:moveTo>
                    <a:lnTo>
                      <a:pt x="455" y="152"/>
                    </a:lnTo>
                    <a:lnTo>
                      <a:pt x="152" y="758"/>
                    </a:lnTo>
                    <a:lnTo>
                      <a:pt x="0" y="1364"/>
                    </a:lnTo>
                    <a:lnTo>
                      <a:pt x="152" y="1364"/>
                    </a:lnTo>
                    <a:lnTo>
                      <a:pt x="606" y="1212"/>
                    </a:lnTo>
                    <a:lnTo>
                      <a:pt x="1818" y="606"/>
                    </a:lnTo>
                    <a:lnTo>
                      <a:pt x="1970"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9" name="Freeform: Shape 3218">
                <a:extLst>
                  <a:ext uri="{FF2B5EF4-FFF2-40B4-BE49-F238E27FC236}">
                    <a16:creationId xmlns:a16="http://schemas.microsoft.com/office/drawing/2014/main" id="{85BAEF38-BEBB-4595-B67A-8E874071EFF4}"/>
                  </a:ext>
                </a:extLst>
              </p:cNvPr>
              <p:cNvSpPr/>
              <p:nvPr/>
            </p:nvSpPr>
            <p:spPr>
              <a:xfrm>
                <a:off x="8177895" y="2997391"/>
                <a:ext cx="879730" cy="362892"/>
              </a:xfrm>
              <a:custGeom>
                <a:avLst/>
                <a:gdLst>
                  <a:gd name="connsiteX0" fmla="*/ 879730 w 879730"/>
                  <a:gd name="connsiteY0" fmla="*/ 186522 h 362892"/>
                  <a:gd name="connsiteX1" fmla="*/ 878821 w 879730"/>
                  <a:gd name="connsiteY1" fmla="*/ 184855 h 362892"/>
                  <a:gd name="connsiteX2" fmla="*/ 876851 w 879730"/>
                  <a:gd name="connsiteY2" fmla="*/ 182431 h 362892"/>
                  <a:gd name="connsiteX3" fmla="*/ 875942 w 879730"/>
                  <a:gd name="connsiteY3" fmla="*/ 180764 h 362892"/>
                  <a:gd name="connsiteX4" fmla="*/ 875942 w 879730"/>
                  <a:gd name="connsiteY4" fmla="*/ 178491 h 362892"/>
                  <a:gd name="connsiteX5" fmla="*/ 874730 w 879730"/>
                  <a:gd name="connsiteY5" fmla="*/ 176522 h 362892"/>
                  <a:gd name="connsiteX6" fmla="*/ 871699 w 879730"/>
                  <a:gd name="connsiteY6" fmla="*/ 173946 h 362892"/>
                  <a:gd name="connsiteX7" fmla="*/ 869577 w 879730"/>
                  <a:gd name="connsiteY7" fmla="*/ 172885 h 362892"/>
                  <a:gd name="connsiteX8" fmla="*/ 865487 w 879730"/>
                  <a:gd name="connsiteY8" fmla="*/ 168491 h 362892"/>
                  <a:gd name="connsiteX9" fmla="*/ 864123 w 879730"/>
                  <a:gd name="connsiteY9" fmla="*/ 167430 h 362892"/>
                  <a:gd name="connsiteX10" fmla="*/ 863669 w 879730"/>
                  <a:gd name="connsiteY10" fmla="*/ 166824 h 362892"/>
                  <a:gd name="connsiteX11" fmla="*/ 863214 w 879730"/>
                  <a:gd name="connsiteY11" fmla="*/ 165309 h 362892"/>
                  <a:gd name="connsiteX12" fmla="*/ 861699 w 879730"/>
                  <a:gd name="connsiteY12" fmla="*/ 164703 h 362892"/>
                  <a:gd name="connsiteX13" fmla="*/ 859729 w 879730"/>
                  <a:gd name="connsiteY13" fmla="*/ 163491 h 362892"/>
                  <a:gd name="connsiteX14" fmla="*/ 858517 w 879730"/>
                  <a:gd name="connsiteY14" fmla="*/ 162430 h 362892"/>
                  <a:gd name="connsiteX15" fmla="*/ 857911 w 879730"/>
                  <a:gd name="connsiteY15" fmla="*/ 160309 h 362892"/>
                  <a:gd name="connsiteX16" fmla="*/ 857456 w 879730"/>
                  <a:gd name="connsiteY16" fmla="*/ 159097 h 362892"/>
                  <a:gd name="connsiteX17" fmla="*/ 855638 w 879730"/>
                  <a:gd name="connsiteY17" fmla="*/ 157885 h 362892"/>
                  <a:gd name="connsiteX18" fmla="*/ 853971 w 879730"/>
                  <a:gd name="connsiteY18" fmla="*/ 157279 h 362892"/>
                  <a:gd name="connsiteX19" fmla="*/ 852001 w 879730"/>
                  <a:gd name="connsiteY19" fmla="*/ 156521 h 362892"/>
                  <a:gd name="connsiteX20" fmla="*/ 848668 w 879730"/>
                  <a:gd name="connsiteY20" fmla="*/ 155460 h 362892"/>
                  <a:gd name="connsiteX21" fmla="*/ 846699 w 879730"/>
                  <a:gd name="connsiteY21" fmla="*/ 153187 h 362892"/>
                  <a:gd name="connsiteX22" fmla="*/ 843365 w 879730"/>
                  <a:gd name="connsiteY22" fmla="*/ 148945 h 362892"/>
                  <a:gd name="connsiteX23" fmla="*/ 841547 w 879730"/>
                  <a:gd name="connsiteY23" fmla="*/ 147581 h 362892"/>
                  <a:gd name="connsiteX24" fmla="*/ 834425 w 879730"/>
                  <a:gd name="connsiteY24" fmla="*/ 146975 h 362892"/>
                  <a:gd name="connsiteX25" fmla="*/ 831849 w 879730"/>
                  <a:gd name="connsiteY25" fmla="*/ 146066 h 362892"/>
                  <a:gd name="connsiteX26" fmla="*/ 828970 w 879730"/>
                  <a:gd name="connsiteY26" fmla="*/ 146369 h 362892"/>
                  <a:gd name="connsiteX27" fmla="*/ 827304 w 879730"/>
                  <a:gd name="connsiteY27" fmla="*/ 146975 h 362892"/>
                  <a:gd name="connsiteX28" fmla="*/ 823516 w 879730"/>
                  <a:gd name="connsiteY28" fmla="*/ 146975 h 362892"/>
                  <a:gd name="connsiteX29" fmla="*/ 821546 w 879730"/>
                  <a:gd name="connsiteY29" fmla="*/ 147430 h 362892"/>
                  <a:gd name="connsiteX30" fmla="*/ 818970 w 879730"/>
                  <a:gd name="connsiteY30" fmla="*/ 150157 h 362892"/>
                  <a:gd name="connsiteX31" fmla="*/ 815636 w 879730"/>
                  <a:gd name="connsiteY31" fmla="*/ 153794 h 362892"/>
                  <a:gd name="connsiteX32" fmla="*/ 812909 w 879730"/>
                  <a:gd name="connsiteY32" fmla="*/ 156066 h 362892"/>
                  <a:gd name="connsiteX33" fmla="*/ 810939 w 879730"/>
                  <a:gd name="connsiteY33" fmla="*/ 158339 h 362892"/>
                  <a:gd name="connsiteX34" fmla="*/ 810030 w 879730"/>
                  <a:gd name="connsiteY34" fmla="*/ 159097 h 362892"/>
                  <a:gd name="connsiteX35" fmla="*/ 808363 w 879730"/>
                  <a:gd name="connsiteY35" fmla="*/ 158642 h 362892"/>
                  <a:gd name="connsiteX36" fmla="*/ 805940 w 879730"/>
                  <a:gd name="connsiteY36" fmla="*/ 156066 h 362892"/>
                  <a:gd name="connsiteX37" fmla="*/ 802454 w 879730"/>
                  <a:gd name="connsiteY37" fmla="*/ 153794 h 362892"/>
                  <a:gd name="connsiteX38" fmla="*/ 799121 w 879730"/>
                  <a:gd name="connsiteY38" fmla="*/ 152733 h 362892"/>
                  <a:gd name="connsiteX39" fmla="*/ 797757 w 879730"/>
                  <a:gd name="connsiteY39" fmla="*/ 152127 h 362892"/>
                  <a:gd name="connsiteX40" fmla="*/ 793969 w 879730"/>
                  <a:gd name="connsiteY40" fmla="*/ 151521 h 362892"/>
                  <a:gd name="connsiteX41" fmla="*/ 790938 w 879730"/>
                  <a:gd name="connsiteY41" fmla="*/ 151672 h 362892"/>
                  <a:gd name="connsiteX42" fmla="*/ 787150 w 879730"/>
                  <a:gd name="connsiteY42" fmla="*/ 152581 h 362892"/>
                  <a:gd name="connsiteX43" fmla="*/ 783514 w 879730"/>
                  <a:gd name="connsiteY43" fmla="*/ 152430 h 362892"/>
                  <a:gd name="connsiteX44" fmla="*/ 781847 w 879730"/>
                  <a:gd name="connsiteY44" fmla="*/ 151824 h 362892"/>
                  <a:gd name="connsiteX45" fmla="*/ 779423 w 879730"/>
                  <a:gd name="connsiteY45" fmla="*/ 151975 h 362892"/>
                  <a:gd name="connsiteX46" fmla="*/ 775180 w 879730"/>
                  <a:gd name="connsiteY46" fmla="*/ 154400 h 362892"/>
                  <a:gd name="connsiteX47" fmla="*/ 772907 w 879730"/>
                  <a:gd name="connsiteY47" fmla="*/ 157127 h 362892"/>
                  <a:gd name="connsiteX48" fmla="*/ 770332 w 879730"/>
                  <a:gd name="connsiteY48" fmla="*/ 157885 h 362892"/>
                  <a:gd name="connsiteX49" fmla="*/ 768059 w 879730"/>
                  <a:gd name="connsiteY49" fmla="*/ 156066 h 362892"/>
                  <a:gd name="connsiteX50" fmla="*/ 765180 w 879730"/>
                  <a:gd name="connsiteY50" fmla="*/ 153945 h 362892"/>
                  <a:gd name="connsiteX51" fmla="*/ 762604 w 879730"/>
                  <a:gd name="connsiteY51" fmla="*/ 151369 h 362892"/>
                  <a:gd name="connsiteX52" fmla="*/ 761089 w 879730"/>
                  <a:gd name="connsiteY52" fmla="*/ 148945 h 362892"/>
                  <a:gd name="connsiteX53" fmla="*/ 760180 w 879730"/>
                  <a:gd name="connsiteY53" fmla="*/ 142429 h 362892"/>
                  <a:gd name="connsiteX54" fmla="*/ 763211 w 879730"/>
                  <a:gd name="connsiteY54" fmla="*/ 140460 h 362892"/>
                  <a:gd name="connsiteX55" fmla="*/ 767301 w 879730"/>
                  <a:gd name="connsiteY55" fmla="*/ 138338 h 362892"/>
                  <a:gd name="connsiteX56" fmla="*/ 767604 w 879730"/>
                  <a:gd name="connsiteY56" fmla="*/ 134853 h 362892"/>
                  <a:gd name="connsiteX57" fmla="*/ 767453 w 879730"/>
                  <a:gd name="connsiteY57" fmla="*/ 131065 h 362892"/>
                  <a:gd name="connsiteX58" fmla="*/ 768210 w 879730"/>
                  <a:gd name="connsiteY58" fmla="*/ 126823 h 362892"/>
                  <a:gd name="connsiteX59" fmla="*/ 771847 w 879730"/>
                  <a:gd name="connsiteY59" fmla="*/ 122883 h 362892"/>
                  <a:gd name="connsiteX60" fmla="*/ 773816 w 879730"/>
                  <a:gd name="connsiteY60" fmla="*/ 119550 h 362892"/>
                  <a:gd name="connsiteX61" fmla="*/ 774120 w 879730"/>
                  <a:gd name="connsiteY61" fmla="*/ 117580 h 362892"/>
                  <a:gd name="connsiteX62" fmla="*/ 775786 w 879730"/>
                  <a:gd name="connsiteY62" fmla="*/ 114247 h 362892"/>
                  <a:gd name="connsiteX63" fmla="*/ 777454 w 879730"/>
                  <a:gd name="connsiteY63" fmla="*/ 110610 h 362892"/>
                  <a:gd name="connsiteX64" fmla="*/ 779726 w 879730"/>
                  <a:gd name="connsiteY64" fmla="*/ 105913 h 362892"/>
                  <a:gd name="connsiteX65" fmla="*/ 784120 w 879730"/>
                  <a:gd name="connsiteY65" fmla="*/ 97579 h 362892"/>
                  <a:gd name="connsiteX66" fmla="*/ 789272 w 879730"/>
                  <a:gd name="connsiteY66" fmla="*/ 87730 h 362892"/>
                  <a:gd name="connsiteX67" fmla="*/ 791847 w 879730"/>
                  <a:gd name="connsiteY67" fmla="*/ 82730 h 362892"/>
                  <a:gd name="connsiteX68" fmla="*/ 790484 w 879730"/>
                  <a:gd name="connsiteY68" fmla="*/ 80912 h 362892"/>
                  <a:gd name="connsiteX69" fmla="*/ 788211 w 879730"/>
                  <a:gd name="connsiteY69" fmla="*/ 79245 h 362892"/>
                  <a:gd name="connsiteX70" fmla="*/ 782756 w 879730"/>
                  <a:gd name="connsiteY70" fmla="*/ 77276 h 362892"/>
                  <a:gd name="connsiteX71" fmla="*/ 779120 w 879730"/>
                  <a:gd name="connsiteY71" fmla="*/ 76215 h 362892"/>
                  <a:gd name="connsiteX72" fmla="*/ 776847 w 879730"/>
                  <a:gd name="connsiteY72" fmla="*/ 76063 h 362892"/>
                  <a:gd name="connsiteX73" fmla="*/ 771089 w 879730"/>
                  <a:gd name="connsiteY73" fmla="*/ 78185 h 362892"/>
                  <a:gd name="connsiteX74" fmla="*/ 767604 w 879730"/>
                  <a:gd name="connsiteY74" fmla="*/ 79851 h 362892"/>
                  <a:gd name="connsiteX75" fmla="*/ 765483 w 879730"/>
                  <a:gd name="connsiteY75" fmla="*/ 80761 h 362892"/>
                  <a:gd name="connsiteX76" fmla="*/ 761846 w 879730"/>
                  <a:gd name="connsiteY76" fmla="*/ 80609 h 362892"/>
                  <a:gd name="connsiteX77" fmla="*/ 757453 w 879730"/>
                  <a:gd name="connsiteY77" fmla="*/ 80154 h 362892"/>
                  <a:gd name="connsiteX78" fmla="*/ 755786 w 879730"/>
                  <a:gd name="connsiteY78" fmla="*/ 79548 h 362892"/>
                  <a:gd name="connsiteX79" fmla="*/ 753361 w 879730"/>
                  <a:gd name="connsiteY79" fmla="*/ 78336 h 362892"/>
                  <a:gd name="connsiteX80" fmla="*/ 748513 w 879730"/>
                  <a:gd name="connsiteY80" fmla="*/ 74397 h 362892"/>
                  <a:gd name="connsiteX81" fmla="*/ 745937 w 879730"/>
                  <a:gd name="connsiteY81" fmla="*/ 71518 h 362892"/>
                  <a:gd name="connsiteX82" fmla="*/ 742452 w 879730"/>
                  <a:gd name="connsiteY82" fmla="*/ 70003 h 362892"/>
                  <a:gd name="connsiteX83" fmla="*/ 738815 w 879730"/>
                  <a:gd name="connsiteY83" fmla="*/ 68184 h 362892"/>
                  <a:gd name="connsiteX84" fmla="*/ 736846 w 879730"/>
                  <a:gd name="connsiteY84" fmla="*/ 67730 h 362892"/>
                  <a:gd name="connsiteX85" fmla="*/ 733512 w 879730"/>
                  <a:gd name="connsiteY85" fmla="*/ 67881 h 362892"/>
                  <a:gd name="connsiteX86" fmla="*/ 728967 w 879730"/>
                  <a:gd name="connsiteY86" fmla="*/ 67275 h 362892"/>
                  <a:gd name="connsiteX87" fmla="*/ 726542 w 879730"/>
                  <a:gd name="connsiteY87" fmla="*/ 66669 h 362892"/>
                  <a:gd name="connsiteX88" fmla="*/ 724421 w 879730"/>
                  <a:gd name="connsiteY88" fmla="*/ 67275 h 362892"/>
                  <a:gd name="connsiteX89" fmla="*/ 720330 w 879730"/>
                  <a:gd name="connsiteY89" fmla="*/ 69094 h 362892"/>
                  <a:gd name="connsiteX90" fmla="*/ 715178 w 879730"/>
                  <a:gd name="connsiteY90" fmla="*/ 72882 h 362892"/>
                  <a:gd name="connsiteX91" fmla="*/ 711087 w 879730"/>
                  <a:gd name="connsiteY91" fmla="*/ 74245 h 362892"/>
                  <a:gd name="connsiteX92" fmla="*/ 706844 w 879730"/>
                  <a:gd name="connsiteY92" fmla="*/ 76215 h 362892"/>
                  <a:gd name="connsiteX93" fmla="*/ 703208 w 879730"/>
                  <a:gd name="connsiteY93" fmla="*/ 78488 h 362892"/>
                  <a:gd name="connsiteX94" fmla="*/ 699723 w 879730"/>
                  <a:gd name="connsiteY94" fmla="*/ 80912 h 362892"/>
                  <a:gd name="connsiteX95" fmla="*/ 695480 w 879730"/>
                  <a:gd name="connsiteY95" fmla="*/ 83639 h 362892"/>
                  <a:gd name="connsiteX96" fmla="*/ 693511 w 879730"/>
                  <a:gd name="connsiteY96" fmla="*/ 87427 h 362892"/>
                  <a:gd name="connsiteX97" fmla="*/ 692601 w 879730"/>
                  <a:gd name="connsiteY97" fmla="*/ 90155 h 362892"/>
                  <a:gd name="connsiteX98" fmla="*/ 688662 w 879730"/>
                  <a:gd name="connsiteY98" fmla="*/ 91822 h 362892"/>
                  <a:gd name="connsiteX99" fmla="*/ 685783 w 879730"/>
                  <a:gd name="connsiteY99" fmla="*/ 93488 h 362892"/>
                  <a:gd name="connsiteX100" fmla="*/ 682753 w 879730"/>
                  <a:gd name="connsiteY100" fmla="*/ 93943 h 362892"/>
                  <a:gd name="connsiteX101" fmla="*/ 677298 w 879730"/>
                  <a:gd name="connsiteY101" fmla="*/ 93185 h 362892"/>
                  <a:gd name="connsiteX102" fmla="*/ 673965 w 879730"/>
                  <a:gd name="connsiteY102" fmla="*/ 93791 h 362892"/>
                  <a:gd name="connsiteX103" fmla="*/ 665934 w 879730"/>
                  <a:gd name="connsiteY103" fmla="*/ 96973 h 362892"/>
                  <a:gd name="connsiteX104" fmla="*/ 661843 w 879730"/>
                  <a:gd name="connsiteY104" fmla="*/ 97276 h 362892"/>
                  <a:gd name="connsiteX105" fmla="*/ 659115 w 879730"/>
                  <a:gd name="connsiteY105" fmla="*/ 97731 h 362892"/>
                  <a:gd name="connsiteX106" fmla="*/ 656388 w 879730"/>
                  <a:gd name="connsiteY106" fmla="*/ 97882 h 362892"/>
                  <a:gd name="connsiteX107" fmla="*/ 651994 w 879730"/>
                  <a:gd name="connsiteY107" fmla="*/ 98640 h 362892"/>
                  <a:gd name="connsiteX108" fmla="*/ 650327 w 879730"/>
                  <a:gd name="connsiteY108" fmla="*/ 99246 h 362892"/>
                  <a:gd name="connsiteX109" fmla="*/ 648055 w 879730"/>
                  <a:gd name="connsiteY109" fmla="*/ 99852 h 362892"/>
                  <a:gd name="connsiteX110" fmla="*/ 645479 w 879730"/>
                  <a:gd name="connsiteY110" fmla="*/ 99398 h 362892"/>
                  <a:gd name="connsiteX111" fmla="*/ 641993 w 879730"/>
                  <a:gd name="connsiteY111" fmla="*/ 101216 h 362892"/>
                  <a:gd name="connsiteX112" fmla="*/ 631690 w 879730"/>
                  <a:gd name="connsiteY112" fmla="*/ 106064 h 362892"/>
                  <a:gd name="connsiteX113" fmla="*/ 628357 w 879730"/>
                  <a:gd name="connsiteY113" fmla="*/ 106822 h 362892"/>
                  <a:gd name="connsiteX114" fmla="*/ 626236 w 879730"/>
                  <a:gd name="connsiteY114" fmla="*/ 107125 h 362892"/>
                  <a:gd name="connsiteX115" fmla="*/ 623508 w 879730"/>
                  <a:gd name="connsiteY115" fmla="*/ 105307 h 362892"/>
                  <a:gd name="connsiteX116" fmla="*/ 620629 w 879730"/>
                  <a:gd name="connsiteY116" fmla="*/ 104246 h 362892"/>
                  <a:gd name="connsiteX117" fmla="*/ 617751 w 879730"/>
                  <a:gd name="connsiteY117" fmla="*/ 104246 h 362892"/>
                  <a:gd name="connsiteX118" fmla="*/ 614417 w 879730"/>
                  <a:gd name="connsiteY118" fmla="*/ 105913 h 362892"/>
                  <a:gd name="connsiteX119" fmla="*/ 608810 w 879730"/>
                  <a:gd name="connsiteY119" fmla="*/ 104701 h 362892"/>
                  <a:gd name="connsiteX120" fmla="*/ 602144 w 879730"/>
                  <a:gd name="connsiteY120" fmla="*/ 103489 h 362892"/>
                  <a:gd name="connsiteX121" fmla="*/ 596083 w 879730"/>
                  <a:gd name="connsiteY121" fmla="*/ 102428 h 362892"/>
                  <a:gd name="connsiteX122" fmla="*/ 593962 w 879730"/>
                  <a:gd name="connsiteY122" fmla="*/ 101519 h 362892"/>
                  <a:gd name="connsiteX123" fmla="*/ 588052 w 879730"/>
                  <a:gd name="connsiteY123" fmla="*/ 100155 h 362892"/>
                  <a:gd name="connsiteX124" fmla="*/ 579416 w 879730"/>
                  <a:gd name="connsiteY124" fmla="*/ 100155 h 362892"/>
                  <a:gd name="connsiteX125" fmla="*/ 574264 w 879730"/>
                  <a:gd name="connsiteY125" fmla="*/ 100155 h 362892"/>
                  <a:gd name="connsiteX126" fmla="*/ 571082 w 879730"/>
                  <a:gd name="connsiteY126" fmla="*/ 100610 h 362892"/>
                  <a:gd name="connsiteX127" fmla="*/ 568506 w 879730"/>
                  <a:gd name="connsiteY127" fmla="*/ 99852 h 362892"/>
                  <a:gd name="connsiteX128" fmla="*/ 565324 w 879730"/>
                  <a:gd name="connsiteY128" fmla="*/ 97882 h 362892"/>
                  <a:gd name="connsiteX129" fmla="*/ 560021 w 879730"/>
                  <a:gd name="connsiteY129" fmla="*/ 93337 h 362892"/>
                  <a:gd name="connsiteX130" fmla="*/ 556991 w 879730"/>
                  <a:gd name="connsiteY130" fmla="*/ 91973 h 362892"/>
                  <a:gd name="connsiteX131" fmla="*/ 555172 w 879730"/>
                  <a:gd name="connsiteY131" fmla="*/ 90912 h 362892"/>
                  <a:gd name="connsiteX132" fmla="*/ 554566 w 879730"/>
                  <a:gd name="connsiteY132" fmla="*/ 89094 h 362892"/>
                  <a:gd name="connsiteX133" fmla="*/ 553354 w 879730"/>
                  <a:gd name="connsiteY133" fmla="*/ 88791 h 362892"/>
                  <a:gd name="connsiteX134" fmla="*/ 552596 w 879730"/>
                  <a:gd name="connsiteY134" fmla="*/ 87427 h 362892"/>
                  <a:gd name="connsiteX135" fmla="*/ 552596 w 879730"/>
                  <a:gd name="connsiteY135" fmla="*/ 85761 h 362892"/>
                  <a:gd name="connsiteX136" fmla="*/ 552445 w 879730"/>
                  <a:gd name="connsiteY136" fmla="*/ 81821 h 362892"/>
                  <a:gd name="connsiteX137" fmla="*/ 552900 w 879730"/>
                  <a:gd name="connsiteY137" fmla="*/ 79094 h 362892"/>
                  <a:gd name="connsiteX138" fmla="*/ 551990 w 879730"/>
                  <a:gd name="connsiteY138" fmla="*/ 78336 h 362892"/>
                  <a:gd name="connsiteX139" fmla="*/ 548354 w 879730"/>
                  <a:gd name="connsiteY139" fmla="*/ 77882 h 362892"/>
                  <a:gd name="connsiteX140" fmla="*/ 544111 w 879730"/>
                  <a:gd name="connsiteY140" fmla="*/ 77124 h 362892"/>
                  <a:gd name="connsiteX141" fmla="*/ 536383 w 879730"/>
                  <a:gd name="connsiteY141" fmla="*/ 76973 h 362892"/>
                  <a:gd name="connsiteX142" fmla="*/ 533202 w 879730"/>
                  <a:gd name="connsiteY142" fmla="*/ 76821 h 362892"/>
                  <a:gd name="connsiteX143" fmla="*/ 530777 w 879730"/>
                  <a:gd name="connsiteY143" fmla="*/ 75306 h 362892"/>
                  <a:gd name="connsiteX144" fmla="*/ 528050 w 879730"/>
                  <a:gd name="connsiteY144" fmla="*/ 73336 h 362892"/>
                  <a:gd name="connsiteX145" fmla="*/ 525323 w 879730"/>
                  <a:gd name="connsiteY145" fmla="*/ 69397 h 362892"/>
                  <a:gd name="connsiteX146" fmla="*/ 522898 w 879730"/>
                  <a:gd name="connsiteY146" fmla="*/ 67578 h 362892"/>
                  <a:gd name="connsiteX147" fmla="*/ 518959 w 879730"/>
                  <a:gd name="connsiteY147" fmla="*/ 65305 h 362892"/>
                  <a:gd name="connsiteX148" fmla="*/ 515322 w 879730"/>
                  <a:gd name="connsiteY148" fmla="*/ 64699 h 362892"/>
                  <a:gd name="connsiteX149" fmla="*/ 509564 w 879730"/>
                  <a:gd name="connsiteY149" fmla="*/ 65154 h 362892"/>
                  <a:gd name="connsiteX150" fmla="*/ 505474 w 879730"/>
                  <a:gd name="connsiteY150" fmla="*/ 65608 h 362892"/>
                  <a:gd name="connsiteX151" fmla="*/ 501837 w 879730"/>
                  <a:gd name="connsiteY151" fmla="*/ 64548 h 362892"/>
                  <a:gd name="connsiteX152" fmla="*/ 499412 w 879730"/>
                  <a:gd name="connsiteY152" fmla="*/ 63336 h 362892"/>
                  <a:gd name="connsiteX153" fmla="*/ 496079 w 879730"/>
                  <a:gd name="connsiteY153" fmla="*/ 61972 h 362892"/>
                  <a:gd name="connsiteX154" fmla="*/ 491079 w 879730"/>
                  <a:gd name="connsiteY154" fmla="*/ 61669 h 362892"/>
                  <a:gd name="connsiteX155" fmla="*/ 486988 w 879730"/>
                  <a:gd name="connsiteY155" fmla="*/ 60760 h 362892"/>
                  <a:gd name="connsiteX156" fmla="*/ 482594 w 879730"/>
                  <a:gd name="connsiteY156" fmla="*/ 59548 h 362892"/>
                  <a:gd name="connsiteX157" fmla="*/ 479412 w 879730"/>
                  <a:gd name="connsiteY157" fmla="*/ 60002 h 362892"/>
                  <a:gd name="connsiteX158" fmla="*/ 477290 w 879730"/>
                  <a:gd name="connsiteY158" fmla="*/ 61063 h 362892"/>
                  <a:gd name="connsiteX159" fmla="*/ 474715 w 879730"/>
                  <a:gd name="connsiteY159" fmla="*/ 62578 h 362892"/>
                  <a:gd name="connsiteX160" fmla="*/ 471533 w 879730"/>
                  <a:gd name="connsiteY160" fmla="*/ 62730 h 362892"/>
                  <a:gd name="connsiteX161" fmla="*/ 463502 w 879730"/>
                  <a:gd name="connsiteY161" fmla="*/ 64245 h 362892"/>
                  <a:gd name="connsiteX162" fmla="*/ 461078 w 879730"/>
                  <a:gd name="connsiteY162" fmla="*/ 65154 h 362892"/>
                  <a:gd name="connsiteX163" fmla="*/ 457593 w 879730"/>
                  <a:gd name="connsiteY163" fmla="*/ 65457 h 362892"/>
                  <a:gd name="connsiteX164" fmla="*/ 454562 w 879730"/>
                  <a:gd name="connsiteY164" fmla="*/ 66669 h 362892"/>
                  <a:gd name="connsiteX165" fmla="*/ 451987 w 879730"/>
                  <a:gd name="connsiteY165" fmla="*/ 68790 h 362892"/>
                  <a:gd name="connsiteX166" fmla="*/ 449714 w 879730"/>
                  <a:gd name="connsiteY166" fmla="*/ 70457 h 362892"/>
                  <a:gd name="connsiteX167" fmla="*/ 446986 w 879730"/>
                  <a:gd name="connsiteY167" fmla="*/ 70912 h 362892"/>
                  <a:gd name="connsiteX168" fmla="*/ 443653 w 879730"/>
                  <a:gd name="connsiteY168" fmla="*/ 70912 h 362892"/>
                  <a:gd name="connsiteX169" fmla="*/ 440926 w 879730"/>
                  <a:gd name="connsiteY169" fmla="*/ 70306 h 362892"/>
                  <a:gd name="connsiteX170" fmla="*/ 439410 w 879730"/>
                  <a:gd name="connsiteY170" fmla="*/ 70154 h 362892"/>
                  <a:gd name="connsiteX171" fmla="*/ 437289 w 879730"/>
                  <a:gd name="connsiteY171" fmla="*/ 70912 h 362892"/>
                  <a:gd name="connsiteX172" fmla="*/ 434713 w 879730"/>
                  <a:gd name="connsiteY172" fmla="*/ 71518 h 362892"/>
                  <a:gd name="connsiteX173" fmla="*/ 431077 w 879730"/>
                  <a:gd name="connsiteY173" fmla="*/ 70609 h 362892"/>
                  <a:gd name="connsiteX174" fmla="*/ 428955 w 879730"/>
                  <a:gd name="connsiteY174" fmla="*/ 69851 h 362892"/>
                  <a:gd name="connsiteX175" fmla="*/ 425773 w 879730"/>
                  <a:gd name="connsiteY175" fmla="*/ 69245 h 362892"/>
                  <a:gd name="connsiteX176" fmla="*/ 423804 w 879730"/>
                  <a:gd name="connsiteY176" fmla="*/ 66972 h 362892"/>
                  <a:gd name="connsiteX177" fmla="*/ 421834 w 879730"/>
                  <a:gd name="connsiteY177" fmla="*/ 66063 h 362892"/>
                  <a:gd name="connsiteX178" fmla="*/ 418500 w 879730"/>
                  <a:gd name="connsiteY178" fmla="*/ 65760 h 362892"/>
                  <a:gd name="connsiteX179" fmla="*/ 413652 w 879730"/>
                  <a:gd name="connsiteY179" fmla="*/ 64548 h 362892"/>
                  <a:gd name="connsiteX180" fmla="*/ 411076 w 879730"/>
                  <a:gd name="connsiteY180" fmla="*/ 63336 h 362892"/>
                  <a:gd name="connsiteX181" fmla="*/ 408803 w 879730"/>
                  <a:gd name="connsiteY181" fmla="*/ 62578 h 362892"/>
                  <a:gd name="connsiteX182" fmla="*/ 405015 w 879730"/>
                  <a:gd name="connsiteY182" fmla="*/ 60002 h 362892"/>
                  <a:gd name="connsiteX183" fmla="*/ 402894 w 879730"/>
                  <a:gd name="connsiteY183" fmla="*/ 57729 h 362892"/>
                  <a:gd name="connsiteX184" fmla="*/ 401227 w 879730"/>
                  <a:gd name="connsiteY184" fmla="*/ 57275 h 362892"/>
                  <a:gd name="connsiteX185" fmla="*/ 399257 w 879730"/>
                  <a:gd name="connsiteY185" fmla="*/ 56972 h 362892"/>
                  <a:gd name="connsiteX186" fmla="*/ 398045 w 879730"/>
                  <a:gd name="connsiteY186" fmla="*/ 55457 h 362892"/>
                  <a:gd name="connsiteX187" fmla="*/ 397894 w 879730"/>
                  <a:gd name="connsiteY187" fmla="*/ 53790 h 362892"/>
                  <a:gd name="connsiteX188" fmla="*/ 398348 w 879730"/>
                  <a:gd name="connsiteY188" fmla="*/ 52578 h 362892"/>
                  <a:gd name="connsiteX189" fmla="*/ 398803 w 879730"/>
                  <a:gd name="connsiteY189" fmla="*/ 50759 h 362892"/>
                  <a:gd name="connsiteX190" fmla="*/ 397591 w 879730"/>
                  <a:gd name="connsiteY190" fmla="*/ 48941 h 362892"/>
                  <a:gd name="connsiteX191" fmla="*/ 396530 w 879730"/>
                  <a:gd name="connsiteY191" fmla="*/ 48184 h 362892"/>
                  <a:gd name="connsiteX192" fmla="*/ 395924 w 879730"/>
                  <a:gd name="connsiteY192" fmla="*/ 46668 h 362892"/>
                  <a:gd name="connsiteX193" fmla="*/ 396227 w 879730"/>
                  <a:gd name="connsiteY193" fmla="*/ 44093 h 362892"/>
                  <a:gd name="connsiteX194" fmla="*/ 395772 w 879730"/>
                  <a:gd name="connsiteY194" fmla="*/ 41517 h 362892"/>
                  <a:gd name="connsiteX195" fmla="*/ 395469 w 879730"/>
                  <a:gd name="connsiteY195" fmla="*/ 38789 h 362892"/>
                  <a:gd name="connsiteX196" fmla="*/ 394257 w 879730"/>
                  <a:gd name="connsiteY196" fmla="*/ 36668 h 362892"/>
                  <a:gd name="connsiteX197" fmla="*/ 393954 w 879730"/>
                  <a:gd name="connsiteY197" fmla="*/ 32729 h 362892"/>
                  <a:gd name="connsiteX198" fmla="*/ 394409 w 879730"/>
                  <a:gd name="connsiteY198" fmla="*/ 31213 h 362892"/>
                  <a:gd name="connsiteX199" fmla="*/ 394409 w 879730"/>
                  <a:gd name="connsiteY199" fmla="*/ 29243 h 362892"/>
                  <a:gd name="connsiteX200" fmla="*/ 393197 w 879730"/>
                  <a:gd name="connsiteY200" fmla="*/ 27728 h 362892"/>
                  <a:gd name="connsiteX201" fmla="*/ 389560 w 879730"/>
                  <a:gd name="connsiteY201" fmla="*/ 26819 h 362892"/>
                  <a:gd name="connsiteX202" fmla="*/ 385166 w 879730"/>
                  <a:gd name="connsiteY202" fmla="*/ 25304 h 362892"/>
                  <a:gd name="connsiteX203" fmla="*/ 378347 w 879730"/>
                  <a:gd name="connsiteY203" fmla="*/ 23637 h 362892"/>
                  <a:gd name="connsiteX204" fmla="*/ 375468 w 879730"/>
                  <a:gd name="connsiteY204" fmla="*/ 23486 h 362892"/>
                  <a:gd name="connsiteX205" fmla="*/ 373196 w 879730"/>
                  <a:gd name="connsiteY205" fmla="*/ 24243 h 362892"/>
                  <a:gd name="connsiteX206" fmla="*/ 371075 w 879730"/>
                  <a:gd name="connsiteY206" fmla="*/ 23334 h 362892"/>
                  <a:gd name="connsiteX207" fmla="*/ 368802 w 879730"/>
                  <a:gd name="connsiteY207" fmla="*/ 21971 h 362892"/>
                  <a:gd name="connsiteX208" fmla="*/ 365013 w 879730"/>
                  <a:gd name="connsiteY208" fmla="*/ 20607 h 362892"/>
                  <a:gd name="connsiteX209" fmla="*/ 360165 w 879730"/>
                  <a:gd name="connsiteY209" fmla="*/ 18637 h 362892"/>
                  <a:gd name="connsiteX210" fmla="*/ 354862 w 879730"/>
                  <a:gd name="connsiteY210" fmla="*/ 16516 h 362892"/>
                  <a:gd name="connsiteX211" fmla="*/ 350013 w 879730"/>
                  <a:gd name="connsiteY211" fmla="*/ 14698 h 362892"/>
                  <a:gd name="connsiteX212" fmla="*/ 348195 w 879730"/>
                  <a:gd name="connsiteY212" fmla="*/ 14243 h 362892"/>
                  <a:gd name="connsiteX213" fmla="*/ 341680 w 879730"/>
                  <a:gd name="connsiteY213" fmla="*/ 14091 h 362892"/>
                  <a:gd name="connsiteX214" fmla="*/ 336376 w 879730"/>
                  <a:gd name="connsiteY214" fmla="*/ 13788 h 362892"/>
                  <a:gd name="connsiteX215" fmla="*/ 333195 w 879730"/>
                  <a:gd name="connsiteY215" fmla="*/ 13182 h 362892"/>
                  <a:gd name="connsiteX216" fmla="*/ 329558 w 879730"/>
                  <a:gd name="connsiteY216" fmla="*/ 10607 h 362892"/>
                  <a:gd name="connsiteX217" fmla="*/ 327740 w 879730"/>
                  <a:gd name="connsiteY217" fmla="*/ 8940 h 362892"/>
                  <a:gd name="connsiteX218" fmla="*/ 324709 w 879730"/>
                  <a:gd name="connsiteY218" fmla="*/ 8182 h 362892"/>
                  <a:gd name="connsiteX219" fmla="*/ 322588 w 879730"/>
                  <a:gd name="connsiteY219" fmla="*/ 7879 h 362892"/>
                  <a:gd name="connsiteX220" fmla="*/ 319103 w 879730"/>
                  <a:gd name="connsiteY220" fmla="*/ 6970 h 362892"/>
                  <a:gd name="connsiteX221" fmla="*/ 312890 w 879730"/>
                  <a:gd name="connsiteY221" fmla="*/ 4243 h 362892"/>
                  <a:gd name="connsiteX222" fmla="*/ 310466 w 879730"/>
                  <a:gd name="connsiteY222" fmla="*/ 3030 h 362892"/>
                  <a:gd name="connsiteX223" fmla="*/ 308951 w 879730"/>
                  <a:gd name="connsiteY223" fmla="*/ 2879 h 362892"/>
                  <a:gd name="connsiteX224" fmla="*/ 306830 w 879730"/>
                  <a:gd name="connsiteY224" fmla="*/ 455 h 362892"/>
                  <a:gd name="connsiteX225" fmla="*/ 305011 w 879730"/>
                  <a:gd name="connsiteY225" fmla="*/ 0 h 362892"/>
                  <a:gd name="connsiteX226" fmla="*/ 303799 w 879730"/>
                  <a:gd name="connsiteY226" fmla="*/ 1667 h 362892"/>
                  <a:gd name="connsiteX227" fmla="*/ 302587 w 879730"/>
                  <a:gd name="connsiteY227" fmla="*/ 5758 h 362892"/>
                  <a:gd name="connsiteX228" fmla="*/ 301375 w 879730"/>
                  <a:gd name="connsiteY228" fmla="*/ 7728 h 362892"/>
                  <a:gd name="connsiteX229" fmla="*/ 298193 w 879730"/>
                  <a:gd name="connsiteY229" fmla="*/ 11516 h 362892"/>
                  <a:gd name="connsiteX230" fmla="*/ 290314 w 879730"/>
                  <a:gd name="connsiteY230" fmla="*/ 14546 h 362892"/>
                  <a:gd name="connsiteX231" fmla="*/ 288950 w 879730"/>
                  <a:gd name="connsiteY231" fmla="*/ 16061 h 362892"/>
                  <a:gd name="connsiteX232" fmla="*/ 288193 w 879730"/>
                  <a:gd name="connsiteY232" fmla="*/ 17576 h 362892"/>
                  <a:gd name="connsiteX233" fmla="*/ 287132 w 879730"/>
                  <a:gd name="connsiteY233" fmla="*/ 19546 h 362892"/>
                  <a:gd name="connsiteX234" fmla="*/ 286678 w 879730"/>
                  <a:gd name="connsiteY234" fmla="*/ 22274 h 362892"/>
                  <a:gd name="connsiteX235" fmla="*/ 285768 w 879730"/>
                  <a:gd name="connsiteY235" fmla="*/ 23031 h 362892"/>
                  <a:gd name="connsiteX236" fmla="*/ 283495 w 879730"/>
                  <a:gd name="connsiteY236" fmla="*/ 23031 h 362892"/>
                  <a:gd name="connsiteX237" fmla="*/ 281677 w 879730"/>
                  <a:gd name="connsiteY237" fmla="*/ 24243 h 362892"/>
                  <a:gd name="connsiteX238" fmla="*/ 280313 w 879730"/>
                  <a:gd name="connsiteY238" fmla="*/ 26971 h 362892"/>
                  <a:gd name="connsiteX239" fmla="*/ 279253 w 879730"/>
                  <a:gd name="connsiteY239" fmla="*/ 28031 h 362892"/>
                  <a:gd name="connsiteX240" fmla="*/ 278495 w 879730"/>
                  <a:gd name="connsiteY240" fmla="*/ 30456 h 362892"/>
                  <a:gd name="connsiteX241" fmla="*/ 278647 w 879730"/>
                  <a:gd name="connsiteY241" fmla="*/ 31516 h 362892"/>
                  <a:gd name="connsiteX242" fmla="*/ 278344 w 879730"/>
                  <a:gd name="connsiteY242" fmla="*/ 32729 h 362892"/>
                  <a:gd name="connsiteX243" fmla="*/ 278192 w 879730"/>
                  <a:gd name="connsiteY243" fmla="*/ 34547 h 362892"/>
                  <a:gd name="connsiteX244" fmla="*/ 276223 w 879730"/>
                  <a:gd name="connsiteY244" fmla="*/ 38638 h 362892"/>
                  <a:gd name="connsiteX245" fmla="*/ 275919 w 879730"/>
                  <a:gd name="connsiteY245" fmla="*/ 41062 h 362892"/>
                  <a:gd name="connsiteX246" fmla="*/ 276677 w 879730"/>
                  <a:gd name="connsiteY246" fmla="*/ 42577 h 362892"/>
                  <a:gd name="connsiteX247" fmla="*/ 278495 w 879730"/>
                  <a:gd name="connsiteY247" fmla="*/ 44699 h 362892"/>
                  <a:gd name="connsiteX248" fmla="*/ 279404 w 879730"/>
                  <a:gd name="connsiteY248" fmla="*/ 45759 h 362892"/>
                  <a:gd name="connsiteX249" fmla="*/ 279707 w 879730"/>
                  <a:gd name="connsiteY249" fmla="*/ 47123 h 362892"/>
                  <a:gd name="connsiteX250" fmla="*/ 279556 w 879730"/>
                  <a:gd name="connsiteY250" fmla="*/ 48941 h 362892"/>
                  <a:gd name="connsiteX251" fmla="*/ 280617 w 879730"/>
                  <a:gd name="connsiteY251" fmla="*/ 51366 h 362892"/>
                  <a:gd name="connsiteX252" fmla="*/ 281526 w 879730"/>
                  <a:gd name="connsiteY252" fmla="*/ 53335 h 362892"/>
                  <a:gd name="connsiteX253" fmla="*/ 282738 w 879730"/>
                  <a:gd name="connsiteY253" fmla="*/ 54851 h 362892"/>
                  <a:gd name="connsiteX254" fmla="*/ 284556 w 879730"/>
                  <a:gd name="connsiteY254" fmla="*/ 56063 h 362892"/>
                  <a:gd name="connsiteX255" fmla="*/ 286678 w 879730"/>
                  <a:gd name="connsiteY255" fmla="*/ 56517 h 362892"/>
                  <a:gd name="connsiteX256" fmla="*/ 288344 w 879730"/>
                  <a:gd name="connsiteY256" fmla="*/ 57426 h 362892"/>
                  <a:gd name="connsiteX257" fmla="*/ 288647 w 879730"/>
                  <a:gd name="connsiteY257" fmla="*/ 59093 h 362892"/>
                  <a:gd name="connsiteX258" fmla="*/ 288193 w 879730"/>
                  <a:gd name="connsiteY258" fmla="*/ 61366 h 362892"/>
                  <a:gd name="connsiteX259" fmla="*/ 287435 w 879730"/>
                  <a:gd name="connsiteY259" fmla="*/ 65608 h 362892"/>
                  <a:gd name="connsiteX260" fmla="*/ 286071 w 879730"/>
                  <a:gd name="connsiteY260" fmla="*/ 68336 h 362892"/>
                  <a:gd name="connsiteX261" fmla="*/ 285314 w 879730"/>
                  <a:gd name="connsiteY261" fmla="*/ 70003 h 362892"/>
                  <a:gd name="connsiteX262" fmla="*/ 283950 w 879730"/>
                  <a:gd name="connsiteY262" fmla="*/ 72730 h 362892"/>
                  <a:gd name="connsiteX263" fmla="*/ 283495 w 879730"/>
                  <a:gd name="connsiteY263" fmla="*/ 73639 h 362892"/>
                  <a:gd name="connsiteX264" fmla="*/ 280768 w 879730"/>
                  <a:gd name="connsiteY264" fmla="*/ 75912 h 362892"/>
                  <a:gd name="connsiteX265" fmla="*/ 278950 w 879730"/>
                  <a:gd name="connsiteY265" fmla="*/ 76518 h 362892"/>
                  <a:gd name="connsiteX266" fmla="*/ 276677 w 879730"/>
                  <a:gd name="connsiteY266" fmla="*/ 78336 h 362892"/>
                  <a:gd name="connsiteX267" fmla="*/ 274707 w 879730"/>
                  <a:gd name="connsiteY267" fmla="*/ 78488 h 362892"/>
                  <a:gd name="connsiteX268" fmla="*/ 273041 w 879730"/>
                  <a:gd name="connsiteY268" fmla="*/ 78488 h 362892"/>
                  <a:gd name="connsiteX269" fmla="*/ 271071 w 879730"/>
                  <a:gd name="connsiteY269" fmla="*/ 78791 h 362892"/>
                  <a:gd name="connsiteX270" fmla="*/ 269404 w 879730"/>
                  <a:gd name="connsiteY270" fmla="*/ 79700 h 362892"/>
                  <a:gd name="connsiteX271" fmla="*/ 268040 w 879730"/>
                  <a:gd name="connsiteY271" fmla="*/ 82124 h 362892"/>
                  <a:gd name="connsiteX272" fmla="*/ 264707 w 879730"/>
                  <a:gd name="connsiteY272" fmla="*/ 84549 h 362892"/>
                  <a:gd name="connsiteX273" fmla="*/ 263192 w 879730"/>
                  <a:gd name="connsiteY273" fmla="*/ 85609 h 362892"/>
                  <a:gd name="connsiteX274" fmla="*/ 258949 w 879730"/>
                  <a:gd name="connsiteY274" fmla="*/ 86064 h 362892"/>
                  <a:gd name="connsiteX275" fmla="*/ 256979 w 879730"/>
                  <a:gd name="connsiteY275" fmla="*/ 85003 h 362892"/>
                  <a:gd name="connsiteX276" fmla="*/ 255919 w 879730"/>
                  <a:gd name="connsiteY276" fmla="*/ 83488 h 362892"/>
                  <a:gd name="connsiteX277" fmla="*/ 254555 w 879730"/>
                  <a:gd name="connsiteY277" fmla="*/ 82579 h 362892"/>
                  <a:gd name="connsiteX278" fmla="*/ 252888 w 879730"/>
                  <a:gd name="connsiteY278" fmla="*/ 80609 h 362892"/>
                  <a:gd name="connsiteX279" fmla="*/ 245464 w 879730"/>
                  <a:gd name="connsiteY279" fmla="*/ 79700 h 362892"/>
                  <a:gd name="connsiteX280" fmla="*/ 243494 w 879730"/>
                  <a:gd name="connsiteY280" fmla="*/ 80154 h 362892"/>
                  <a:gd name="connsiteX281" fmla="*/ 242282 w 879730"/>
                  <a:gd name="connsiteY281" fmla="*/ 80761 h 362892"/>
                  <a:gd name="connsiteX282" fmla="*/ 240767 w 879730"/>
                  <a:gd name="connsiteY282" fmla="*/ 80306 h 362892"/>
                  <a:gd name="connsiteX283" fmla="*/ 239706 w 879730"/>
                  <a:gd name="connsiteY283" fmla="*/ 79397 h 362892"/>
                  <a:gd name="connsiteX284" fmla="*/ 238645 w 879730"/>
                  <a:gd name="connsiteY284" fmla="*/ 79700 h 362892"/>
                  <a:gd name="connsiteX285" fmla="*/ 236373 w 879730"/>
                  <a:gd name="connsiteY285" fmla="*/ 80154 h 362892"/>
                  <a:gd name="connsiteX286" fmla="*/ 234554 w 879730"/>
                  <a:gd name="connsiteY286" fmla="*/ 80003 h 362892"/>
                  <a:gd name="connsiteX287" fmla="*/ 232282 w 879730"/>
                  <a:gd name="connsiteY287" fmla="*/ 78185 h 362892"/>
                  <a:gd name="connsiteX288" fmla="*/ 228948 w 879730"/>
                  <a:gd name="connsiteY288" fmla="*/ 77124 h 362892"/>
                  <a:gd name="connsiteX289" fmla="*/ 227736 w 879730"/>
                  <a:gd name="connsiteY289" fmla="*/ 76518 h 362892"/>
                  <a:gd name="connsiteX290" fmla="*/ 226372 w 879730"/>
                  <a:gd name="connsiteY290" fmla="*/ 76518 h 362892"/>
                  <a:gd name="connsiteX291" fmla="*/ 225615 w 879730"/>
                  <a:gd name="connsiteY291" fmla="*/ 77427 h 362892"/>
                  <a:gd name="connsiteX292" fmla="*/ 224099 w 879730"/>
                  <a:gd name="connsiteY292" fmla="*/ 77882 h 362892"/>
                  <a:gd name="connsiteX293" fmla="*/ 223190 w 879730"/>
                  <a:gd name="connsiteY293" fmla="*/ 76821 h 362892"/>
                  <a:gd name="connsiteX294" fmla="*/ 221827 w 879730"/>
                  <a:gd name="connsiteY294" fmla="*/ 76063 h 362892"/>
                  <a:gd name="connsiteX295" fmla="*/ 220160 w 879730"/>
                  <a:gd name="connsiteY295" fmla="*/ 76063 h 362892"/>
                  <a:gd name="connsiteX296" fmla="*/ 217887 w 879730"/>
                  <a:gd name="connsiteY296" fmla="*/ 77730 h 362892"/>
                  <a:gd name="connsiteX297" fmla="*/ 214099 w 879730"/>
                  <a:gd name="connsiteY297" fmla="*/ 78488 h 362892"/>
                  <a:gd name="connsiteX298" fmla="*/ 212887 w 879730"/>
                  <a:gd name="connsiteY298" fmla="*/ 79700 h 362892"/>
                  <a:gd name="connsiteX299" fmla="*/ 210614 w 879730"/>
                  <a:gd name="connsiteY299" fmla="*/ 79548 h 362892"/>
                  <a:gd name="connsiteX300" fmla="*/ 209099 w 879730"/>
                  <a:gd name="connsiteY300" fmla="*/ 78639 h 362892"/>
                  <a:gd name="connsiteX301" fmla="*/ 207584 w 879730"/>
                  <a:gd name="connsiteY301" fmla="*/ 78488 h 362892"/>
                  <a:gd name="connsiteX302" fmla="*/ 203038 w 879730"/>
                  <a:gd name="connsiteY302" fmla="*/ 78488 h 362892"/>
                  <a:gd name="connsiteX303" fmla="*/ 201674 w 879730"/>
                  <a:gd name="connsiteY303" fmla="*/ 78791 h 362892"/>
                  <a:gd name="connsiteX304" fmla="*/ 199704 w 879730"/>
                  <a:gd name="connsiteY304" fmla="*/ 77882 h 362892"/>
                  <a:gd name="connsiteX305" fmla="*/ 198947 w 879730"/>
                  <a:gd name="connsiteY305" fmla="*/ 76215 h 362892"/>
                  <a:gd name="connsiteX306" fmla="*/ 196674 w 879730"/>
                  <a:gd name="connsiteY306" fmla="*/ 74851 h 362892"/>
                  <a:gd name="connsiteX307" fmla="*/ 193341 w 879730"/>
                  <a:gd name="connsiteY307" fmla="*/ 74700 h 362892"/>
                  <a:gd name="connsiteX308" fmla="*/ 190916 w 879730"/>
                  <a:gd name="connsiteY308" fmla="*/ 75003 h 362892"/>
                  <a:gd name="connsiteX309" fmla="*/ 189704 w 879730"/>
                  <a:gd name="connsiteY309" fmla="*/ 75457 h 362892"/>
                  <a:gd name="connsiteX310" fmla="*/ 188037 w 879730"/>
                  <a:gd name="connsiteY310" fmla="*/ 75609 h 362892"/>
                  <a:gd name="connsiteX311" fmla="*/ 186674 w 879730"/>
                  <a:gd name="connsiteY311" fmla="*/ 73336 h 362892"/>
                  <a:gd name="connsiteX312" fmla="*/ 184856 w 879730"/>
                  <a:gd name="connsiteY312" fmla="*/ 71669 h 362892"/>
                  <a:gd name="connsiteX313" fmla="*/ 183795 w 879730"/>
                  <a:gd name="connsiteY313" fmla="*/ 70609 h 362892"/>
                  <a:gd name="connsiteX314" fmla="*/ 182128 w 879730"/>
                  <a:gd name="connsiteY314" fmla="*/ 70003 h 362892"/>
                  <a:gd name="connsiteX315" fmla="*/ 180916 w 879730"/>
                  <a:gd name="connsiteY315" fmla="*/ 68487 h 362892"/>
                  <a:gd name="connsiteX316" fmla="*/ 180764 w 879730"/>
                  <a:gd name="connsiteY316" fmla="*/ 65608 h 362892"/>
                  <a:gd name="connsiteX317" fmla="*/ 180007 w 879730"/>
                  <a:gd name="connsiteY317" fmla="*/ 61972 h 362892"/>
                  <a:gd name="connsiteX318" fmla="*/ 179098 w 879730"/>
                  <a:gd name="connsiteY318" fmla="*/ 58184 h 362892"/>
                  <a:gd name="connsiteX319" fmla="*/ 178037 w 879730"/>
                  <a:gd name="connsiteY319" fmla="*/ 56517 h 362892"/>
                  <a:gd name="connsiteX320" fmla="*/ 173340 w 879730"/>
                  <a:gd name="connsiteY320" fmla="*/ 55911 h 362892"/>
                  <a:gd name="connsiteX321" fmla="*/ 170915 w 879730"/>
                  <a:gd name="connsiteY321" fmla="*/ 56063 h 362892"/>
                  <a:gd name="connsiteX322" fmla="*/ 165612 w 879730"/>
                  <a:gd name="connsiteY322" fmla="*/ 55760 h 362892"/>
                  <a:gd name="connsiteX323" fmla="*/ 161976 w 879730"/>
                  <a:gd name="connsiteY323" fmla="*/ 55608 h 362892"/>
                  <a:gd name="connsiteX324" fmla="*/ 160915 w 879730"/>
                  <a:gd name="connsiteY324" fmla="*/ 55457 h 362892"/>
                  <a:gd name="connsiteX325" fmla="*/ 157582 w 879730"/>
                  <a:gd name="connsiteY325" fmla="*/ 55154 h 362892"/>
                  <a:gd name="connsiteX326" fmla="*/ 154400 w 879730"/>
                  <a:gd name="connsiteY326" fmla="*/ 54699 h 362892"/>
                  <a:gd name="connsiteX327" fmla="*/ 151218 w 879730"/>
                  <a:gd name="connsiteY327" fmla="*/ 54396 h 362892"/>
                  <a:gd name="connsiteX328" fmla="*/ 150005 w 879730"/>
                  <a:gd name="connsiteY328" fmla="*/ 54699 h 362892"/>
                  <a:gd name="connsiteX329" fmla="*/ 146672 w 879730"/>
                  <a:gd name="connsiteY329" fmla="*/ 54851 h 362892"/>
                  <a:gd name="connsiteX330" fmla="*/ 144096 w 879730"/>
                  <a:gd name="connsiteY330" fmla="*/ 53032 h 362892"/>
                  <a:gd name="connsiteX331" fmla="*/ 143036 w 879730"/>
                  <a:gd name="connsiteY331" fmla="*/ 50911 h 362892"/>
                  <a:gd name="connsiteX332" fmla="*/ 142884 w 879730"/>
                  <a:gd name="connsiteY332" fmla="*/ 49850 h 362892"/>
                  <a:gd name="connsiteX333" fmla="*/ 142278 w 879730"/>
                  <a:gd name="connsiteY333" fmla="*/ 48638 h 362892"/>
                  <a:gd name="connsiteX334" fmla="*/ 139854 w 879730"/>
                  <a:gd name="connsiteY334" fmla="*/ 48184 h 362892"/>
                  <a:gd name="connsiteX335" fmla="*/ 137732 w 879730"/>
                  <a:gd name="connsiteY335" fmla="*/ 48487 h 362892"/>
                  <a:gd name="connsiteX336" fmla="*/ 136672 w 879730"/>
                  <a:gd name="connsiteY336" fmla="*/ 51063 h 362892"/>
                  <a:gd name="connsiteX337" fmla="*/ 135157 w 879730"/>
                  <a:gd name="connsiteY337" fmla="*/ 51972 h 362892"/>
                  <a:gd name="connsiteX338" fmla="*/ 133641 w 879730"/>
                  <a:gd name="connsiteY338" fmla="*/ 51820 h 362892"/>
                  <a:gd name="connsiteX339" fmla="*/ 132278 w 879730"/>
                  <a:gd name="connsiteY339" fmla="*/ 50456 h 362892"/>
                  <a:gd name="connsiteX340" fmla="*/ 129853 w 879730"/>
                  <a:gd name="connsiteY340" fmla="*/ 49093 h 362892"/>
                  <a:gd name="connsiteX341" fmla="*/ 128186 w 879730"/>
                  <a:gd name="connsiteY341" fmla="*/ 47729 h 362892"/>
                  <a:gd name="connsiteX342" fmla="*/ 126217 w 879730"/>
                  <a:gd name="connsiteY342" fmla="*/ 45456 h 362892"/>
                  <a:gd name="connsiteX343" fmla="*/ 124550 w 879730"/>
                  <a:gd name="connsiteY343" fmla="*/ 46062 h 362892"/>
                  <a:gd name="connsiteX344" fmla="*/ 124096 w 879730"/>
                  <a:gd name="connsiteY344" fmla="*/ 47426 h 362892"/>
                  <a:gd name="connsiteX345" fmla="*/ 123793 w 879730"/>
                  <a:gd name="connsiteY345" fmla="*/ 48638 h 362892"/>
                  <a:gd name="connsiteX346" fmla="*/ 121671 w 879730"/>
                  <a:gd name="connsiteY346" fmla="*/ 51366 h 362892"/>
                  <a:gd name="connsiteX347" fmla="*/ 119398 w 879730"/>
                  <a:gd name="connsiteY347" fmla="*/ 51669 h 362892"/>
                  <a:gd name="connsiteX348" fmla="*/ 115308 w 879730"/>
                  <a:gd name="connsiteY348" fmla="*/ 51517 h 362892"/>
                  <a:gd name="connsiteX349" fmla="*/ 111065 w 879730"/>
                  <a:gd name="connsiteY349" fmla="*/ 51669 h 362892"/>
                  <a:gd name="connsiteX350" fmla="*/ 108489 w 879730"/>
                  <a:gd name="connsiteY350" fmla="*/ 52578 h 362892"/>
                  <a:gd name="connsiteX351" fmla="*/ 106519 w 879730"/>
                  <a:gd name="connsiteY351" fmla="*/ 54396 h 362892"/>
                  <a:gd name="connsiteX352" fmla="*/ 105458 w 879730"/>
                  <a:gd name="connsiteY352" fmla="*/ 55911 h 362892"/>
                  <a:gd name="connsiteX353" fmla="*/ 103337 w 879730"/>
                  <a:gd name="connsiteY353" fmla="*/ 56366 h 362892"/>
                  <a:gd name="connsiteX354" fmla="*/ 101367 w 879730"/>
                  <a:gd name="connsiteY354" fmla="*/ 57729 h 362892"/>
                  <a:gd name="connsiteX355" fmla="*/ 100458 w 879730"/>
                  <a:gd name="connsiteY355" fmla="*/ 59699 h 362892"/>
                  <a:gd name="connsiteX356" fmla="*/ 98489 w 879730"/>
                  <a:gd name="connsiteY356" fmla="*/ 59699 h 362892"/>
                  <a:gd name="connsiteX357" fmla="*/ 97277 w 879730"/>
                  <a:gd name="connsiteY357" fmla="*/ 59851 h 362892"/>
                  <a:gd name="connsiteX358" fmla="*/ 95458 w 879730"/>
                  <a:gd name="connsiteY358" fmla="*/ 60305 h 362892"/>
                  <a:gd name="connsiteX359" fmla="*/ 90912 w 879730"/>
                  <a:gd name="connsiteY359" fmla="*/ 61366 h 362892"/>
                  <a:gd name="connsiteX360" fmla="*/ 89701 w 879730"/>
                  <a:gd name="connsiteY360" fmla="*/ 61669 h 362892"/>
                  <a:gd name="connsiteX361" fmla="*/ 86822 w 879730"/>
                  <a:gd name="connsiteY361" fmla="*/ 63487 h 362892"/>
                  <a:gd name="connsiteX362" fmla="*/ 84700 w 879730"/>
                  <a:gd name="connsiteY362" fmla="*/ 64851 h 362892"/>
                  <a:gd name="connsiteX363" fmla="*/ 82579 w 879730"/>
                  <a:gd name="connsiteY363" fmla="*/ 65608 h 362892"/>
                  <a:gd name="connsiteX364" fmla="*/ 81367 w 879730"/>
                  <a:gd name="connsiteY364" fmla="*/ 67275 h 362892"/>
                  <a:gd name="connsiteX365" fmla="*/ 79700 w 879730"/>
                  <a:gd name="connsiteY365" fmla="*/ 68487 h 362892"/>
                  <a:gd name="connsiteX366" fmla="*/ 75912 w 879730"/>
                  <a:gd name="connsiteY366" fmla="*/ 68790 h 362892"/>
                  <a:gd name="connsiteX367" fmla="*/ 71669 w 879730"/>
                  <a:gd name="connsiteY367" fmla="*/ 70457 h 362892"/>
                  <a:gd name="connsiteX368" fmla="*/ 70306 w 879730"/>
                  <a:gd name="connsiteY368" fmla="*/ 71063 h 362892"/>
                  <a:gd name="connsiteX369" fmla="*/ 67881 w 879730"/>
                  <a:gd name="connsiteY369" fmla="*/ 72275 h 362892"/>
                  <a:gd name="connsiteX370" fmla="*/ 64548 w 879730"/>
                  <a:gd name="connsiteY370" fmla="*/ 72730 h 362892"/>
                  <a:gd name="connsiteX371" fmla="*/ 63184 w 879730"/>
                  <a:gd name="connsiteY371" fmla="*/ 73185 h 362892"/>
                  <a:gd name="connsiteX372" fmla="*/ 61972 w 879730"/>
                  <a:gd name="connsiteY372" fmla="*/ 73942 h 362892"/>
                  <a:gd name="connsiteX373" fmla="*/ 61215 w 879730"/>
                  <a:gd name="connsiteY373" fmla="*/ 76973 h 362892"/>
                  <a:gd name="connsiteX374" fmla="*/ 58487 w 879730"/>
                  <a:gd name="connsiteY374" fmla="*/ 78185 h 362892"/>
                  <a:gd name="connsiteX375" fmla="*/ 54699 w 879730"/>
                  <a:gd name="connsiteY375" fmla="*/ 78336 h 362892"/>
                  <a:gd name="connsiteX376" fmla="*/ 51972 w 879730"/>
                  <a:gd name="connsiteY376" fmla="*/ 80003 h 362892"/>
                  <a:gd name="connsiteX377" fmla="*/ 51820 w 879730"/>
                  <a:gd name="connsiteY377" fmla="*/ 82730 h 362892"/>
                  <a:gd name="connsiteX378" fmla="*/ 52729 w 879730"/>
                  <a:gd name="connsiteY378" fmla="*/ 85306 h 362892"/>
                  <a:gd name="connsiteX379" fmla="*/ 52275 w 879730"/>
                  <a:gd name="connsiteY379" fmla="*/ 86518 h 362892"/>
                  <a:gd name="connsiteX380" fmla="*/ 50305 w 879730"/>
                  <a:gd name="connsiteY380" fmla="*/ 87124 h 362892"/>
                  <a:gd name="connsiteX381" fmla="*/ 47426 w 879730"/>
                  <a:gd name="connsiteY381" fmla="*/ 88488 h 362892"/>
                  <a:gd name="connsiteX382" fmla="*/ 45153 w 879730"/>
                  <a:gd name="connsiteY382" fmla="*/ 90306 h 362892"/>
                  <a:gd name="connsiteX383" fmla="*/ 42577 w 879730"/>
                  <a:gd name="connsiteY383" fmla="*/ 90306 h 362892"/>
                  <a:gd name="connsiteX384" fmla="*/ 41062 w 879730"/>
                  <a:gd name="connsiteY384" fmla="*/ 89700 h 362892"/>
                  <a:gd name="connsiteX385" fmla="*/ 40002 w 879730"/>
                  <a:gd name="connsiteY385" fmla="*/ 90912 h 362892"/>
                  <a:gd name="connsiteX386" fmla="*/ 39395 w 879730"/>
                  <a:gd name="connsiteY386" fmla="*/ 93185 h 362892"/>
                  <a:gd name="connsiteX387" fmla="*/ 37426 w 879730"/>
                  <a:gd name="connsiteY387" fmla="*/ 94246 h 362892"/>
                  <a:gd name="connsiteX388" fmla="*/ 34698 w 879730"/>
                  <a:gd name="connsiteY388" fmla="*/ 95155 h 362892"/>
                  <a:gd name="connsiteX389" fmla="*/ 33638 w 879730"/>
                  <a:gd name="connsiteY389" fmla="*/ 94852 h 362892"/>
                  <a:gd name="connsiteX390" fmla="*/ 32880 w 879730"/>
                  <a:gd name="connsiteY390" fmla="*/ 93943 h 362892"/>
                  <a:gd name="connsiteX391" fmla="*/ 31668 w 879730"/>
                  <a:gd name="connsiteY391" fmla="*/ 92882 h 362892"/>
                  <a:gd name="connsiteX392" fmla="*/ 30607 w 879730"/>
                  <a:gd name="connsiteY392" fmla="*/ 93337 h 362892"/>
                  <a:gd name="connsiteX393" fmla="*/ 30607 w 879730"/>
                  <a:gd name="connsiteY393" fmla="*/ 94852 h 362892"/>
                  <a:gd name="connsiteX394" fmla="*/ 29850 w 879730"/>
                  <a:gd name="connsiteY394" fmla="*/ 96064 h 362892"/>
                  <a:gd name="connsiteX395" fmla="*/ 27577 w 879730"/>
                  <a:gd name="connsiteY395" fmla="*/ 96216 h 362892"/>
                  <a:gd name="connsiteX396" fmla="*/ 25759 w 879730"/>
                  <a:gd name="connsiteY396" fmla="*/ 95458 h 362892"/>
                  <a:gd name="connsiteX397" fmla="*/ 24395 w 879730"/>
                  <a:gd name="connsiteY397" fmla="*/ 94700 h 362892"/>
                  <a:gd name="connsiteX398" fmla="*/ 21971 w 879730"/>
                  <a:gd name="connsiteY398" fmla="*/ 94852 h 362892"/>
                  <a:gd name="connsiteX399" fmla="*/ 19395 w 879730"/>
                  <a:gd name="connsiteY399" fmla="*/ 95155 h 362892"/>
                  <a:gd name="connsiteX400" fmla="*/ 17728 w 879730"/>
                  <a:gd name="connsiteY400" fmla="*/ 94852 h 362892"/>
                  <a:gd name="connsiteX401" fmla="*/ 16213 w 879730"/>
                  <a:gd name="connsiteY401" fmla="*/ 95307 h 362892"/>
                  <a:gd name="connsiteX402" fmla="*/ 12273 w 879730"/>
                  <a:gd name="connsiteY402" fmla="*/ 95913 h 362892"/>
                  <a:gd name="connsiteX403" fmla="*/ 10758 w 879730"/>
                  <a:gd name="connsiteY403" fmla="*/ 98488 h 362892"/>
                  <a:gd name="connsiteX404" fmla="*/ 10758 w 879730"/>
                  <a:gd name="connsiteY404" fmla="*/ 101367 h 362892"/>
                  <a:gd name="connsiteX405" fmla="*/ 10152 w 879730"/>
                  <a:gd name="connsiteY405" fmla="*/ 102883 h 362892"/>
                  <a:gd name="connsiteX406" fmla="*/ 7879 w 879730"/>
                  <a:gd name="connsiteY406" fmla="*/ 104246 h 362892"/>
                  <a:gd name="connsiteX407" fmla="*/ 6667 w 879730"/>
                  <a:gd name="connsiteY407" fmla="*/ 105307 h 362892"/>
                  <a:gd name="connsiteX408" fmla="*/ 5303 w 879730"/>
                  <a:gd name="connsiteY408" fmla="*/ 106064 h 362892"/>
                  <a:gd name="connsiteX409" fmla="*/ 2122 w 879730"/>
                  <a:gd name="connsiteY409" fmla="*/ 106216 h 362892"/>
                  <a:gd name="connsiteX410" fmla="*/ 1970 w 879730"/>
                  <a:gd name="connsiteY410" fmla="*/ 106216 h 362892"/>
                  <a:gd name="connsiteX411" fmla="*/ 2273 w 879730"/>
                  <a:gd name="connsiteY411" fmla="*/ 107883 h 362892"/>
                  <a:gd name="connsiteX412" fmla="*/ 1970 w 879730"/>
                  <a:gd name="connsiteY412" fmla="*/ 109095 h 362892"/>
                  <a:gd name="connsiteX413" fmla="*/ 2576 w 879730"/>
                  <a:gd name="connsiteY413" fmla="*/ 110762 h 362892"/>
                  <a:gd name="connsiteX414" fmla="*/ 3485 w 879730"/>
                  <a:gd name="connsiteY414" fmla="*/ 111974 h 362892"/>
                  <a:gd name="connsiteX415" fmla="*/ 3182 w 879730"/>
                  <a:gd name="connsiteY415" fmla="*/ 113186 h 362892"/>
                  <a:gd name="connsiteX416" fmla="*/ 1818 w 879730"/>
                  <a:gd name="connsiteY416" fmla="*/ 113792 h 362892"/>
                  <a:gd name="connsiteX417" fmla="*/ 303 w 879730"/>
                  <a:gd name="connsiteY417" fmla="*/ 114853 h 362892"/>
                  <a:gd name="connsiteX418" fmla="*/ 0 w 879730"/>
                  <a:gd name="connsiteY418" fmla="*/ 116065 h 362892"/>
                  <a:gd name="connsiteX419" fmla="*/ 1818 w 879730"/>
                  <a:gd name="connsiteY419" fmla="*/ 117732 h 362892"/>
                  <a:gd name="connsiteX420" fmla="*/ 2424 w 879730"/>
                  <a:gd name="connsiteY420" fmla="*/ 119247 h 362892"/>
                  <a:gd name="connsiteX421" fmla="*/ 5455 w 879730"/>
                  <a:gd name="connsiteY421" fmla="*/ 120156 h 362892"/>
                  <a:gd name="connsiteX422" fmla="*/ 7879 w 879730"/>
                  <a:gd name="connsiteY422" fmla="*/ 121217 h 362892"/>
                  <a:gd name="connsiteX423" fmla="*/ 8637 w 879730"/>
                  <a:gd name="connsiteY423" fmla="*/ 122277 h 362892"/>
                  <a:gd name="connsiteX424" fmla="*/ 8485 w 879730"/>
                  <a:gd name="connsiteY424" fmla="*/ 123338 h 362892"/>
                  <a:gd name="connsiteX425" fmla="*/ 7273 w 879730"/>
                  <a:gd name="connsiteY425" fmla="*/ 124550 h 362892"/>
                  <a:gd name="connsiteX426" fmla="*/ 6212 w 879730"/>
                  <a:gd name="connsiteY426" fmla="*/ 125914 h 362892"/>
                  <a:gd name="connsiteX427" fmla="*/ 6212 w 879730"/>
                  <a:gd name="connsiteY427" fmla="*/ 126671 h 362892"/>
                  <a:gd name="connsiteX428" fmla="*/ 6515 w 879730"/>
                  <a:gd name="connsiteY428" fmla="*/ 127580 h 362892"/>
                  <a:gd name="connsiteX429" fmla="*/ 8788 w 879730"/>
                  <a:gd name="connsiteY429" fmla="*/ 128186 h 362892"/>
                  <a:gd name="connsiteX430" fmla="*/ 11364 w 879730"/>
                  <a:gd name="connsiteY430" fmla="*/ 129247 h 362892"/>
                  <a:gd name="connsiteX431" fmla="*/ 15455 w 879730"/>
                  <a:gd name="connsiteY431" fmla="*/ 130459 h 362892"/>
                  <a:gd name="connsiteX432" fmla="*/ 18334 w 879730"/>
                  <a:gd name="connsiteY432" fmla="*/ 132884 h 362892"/>
                  <a:gd name="connsiteX433" fmla="*/ 21213 w 879730"/>
                  <a:gd name="connsiteY433" fmla="*/ 133641 h 362892"/>
                  <a:gd name="connsiteX434" fmla="*/ 22577 w 879730"/>
                  <a:gd name="connsiteY434" fmla="*/ 135914 h 362892"/>
                  <a:gd name="connsiteX435" fmla="*/ 22728 w 879730"/>
                  <a:gd name="connsiteY435" fmla="*/ 139248 h 362892"/>
                  <a:gd name="connsiteX436" fmla="*/ 25759 w 879730"/>
                  <a:gd name="connsiteY436" fmla="*/ 141066 h 362892"/>
                  <a:gd name="connsiteX437" fmla="*/ 30001 w 879730"/>
                  <a:gd name="connsiteY437" fmla="*/ 143490 h 362892"/>
                  <a:gd name="connsiteX438" fmla="*/ 32122 w 879730"/>
                  <a:gd name="connsiteY438" fmla="*/ 143945 h 362892"/>
                  <a:gd name="connsiteX439" fmla="*/ 33638 w 879730"/>
                  <a:gd name="connsiteY439" fmla="*/ 145308 h 362892"/>
                  <a:gd name="connsiteX440" fmla="*/ 35759 w 879730"/>
                  <a:gd name="connsiteY440" fmla="*/ 146975 h 362892"/>
                  <a:gd name="connsiteX441" fmla="*/ 37577 w 879730"/>
                  <a:gd name="connsiteY441" fmla="*/ 147430 h 362892"/>
                  <a:gd name="connsiteX442" fmla="*/ 39698 w 879730"/>
                  <a:gd name="connsiteY442" fmla="*/ 147733 h 362892"/>
                  <a:gd name="connsiteX443" fmla="*/ 43486 w 879730"/>
                  <a:gd name="connsiteY443" fmla="*/ 146066 h 362892"/>
                  <a:gd name="connsiteX444" fmla="*/ 47578 w 879730"/>
                  <a:gd name="connsiteY444" fmla="*/ 146066 h 362892"/>
                  <a:gd name="connsiteX445" fmla="*/ 49699 w 879730"/>
                  <a:gd name="connsiteY445" fmla="*/ 146824 h 362892"/>
                  <a:gd name="connsiteX446" fmla="*/ 51820 w 879730"/>
                  <a:gd name="connsiteY446" fmla="*/ 150157 h 362892"/>
                  <a:gd name="connsiteX447" fmla="*/ 53336 w 879730"/>
                  <a:gd name="connsiteY447" fmla="*/ 151218 h 362892"/>
                  <a:gd name="connsiteX448" fmla="*/ 54245 w 879730"/>
                  <a:gd name="connsiteY448" fmla="*/ 152127 h 362892"/>
                  <a:gd name="connsiteX449" fmla="*/ 55760 w 879730"/>
                  <a:gd name="connsiteY449" fmla="*/ 153036 h 362892"/>
                  <a:gd name="connsiteX450" fmla="*/ 57124 w 879730"/>
                  <a:gd name="connsiteY450" fmla="*/ 153187 h 362892"/>
                  <a:gd name="connsiteX451" fmla="*/ 59245 w 879730"/>
                  <a:gd name="connsiteY451" fmla="*/ 152430 h 362892"/>
                  <a:gd name="connsiteX452" fmla="*/ 60608 w 879730"/>
                  <a:gd name="connsiteY452" fmla="*/ 150915 h 362892"/>
                  <a:gd name="connsiteX453" fmla="*/ 62578 w 879730"/>
                  <a:gd name="connsiteY453" fmla="*/ 151218 h 362892"/>
                  <a:gd name="connsiteX454" fmla="*/ 63184 w 879730"/>
                  <a:gd name="connsiteY454" fmla="*/ 152278 h 362892"/>
                  <a:gd name="connsiteX455" fmla="*/ 63639 w 879730"/>
                  <a:gd name="connsiteY455" fmla="*/ 153794 h 362892"/>
                  <a:gd name="connsiteX456" fmla="*/ 64548 w 879730"/>
                  <a:gd name="connsiteY456" fmla="*/ 155915 h 362892"/>
                  <a:gd name="connsiteX457" fmla="*/ 66972 w 879730"/>
                  <a:gd name="connsiteY457" fmla="*/ 157430 h 362892"/>
                  <a:gd name="connsiteX458" fmla="*/ 70306 w 879730"/>
                  <a:gd name="connsiteY458" fmla="*/ 158339 h 362892"/>
                  <a:gd name="connsiteX459" fmla="*/ 70760 w 879730"/>
                  <a:gd name="connsiteY459" fmla="*/ 158945 h 362892"/>
                  <a:gd name="connsiteX460" fmla="*/ 71215 w 879730"/>
                  <a:gd name="connsiteY460" fmla="*/ 161067 h 362892"/>
                  <a:gd name="connsiteX461" fmla="*/ 72124 w 879730"/>
                  <a:gd name="connsiteY461" fmla="*/ 162430 h 362892"/>
                  <a:gd name="connsiteX462" fmla="*/ 73336 w 879730"/>
                  <a:gd name="connsiteY462" fmla="*/ 164248 h 362892"/>
                  <a:gd name="connsiteX463" fmla="*/ 74548 w 879730"/>
                  <a:gd name="connsiteY463" fmla="*/ 167582 h 362892"/>
                  <a:gd name="connsiteX464" fmla="*/ 74851 w 879730"/>
                  <a:gd name="connsiteY464" fmla="*/ 170309 h 362892"/>
                  <a:gd name="connsiteX465" fmla="*/ 75306 w 879730"/>
                  <a:gd name="connsiteY465" fmla="*/ 171825 h 362892"/>
                  <a:gd name="connsiteX466" fmla="*/ 76821 w 879730"/>
                  <a:gd name="connsiteY466" fmla="*/ 174249 h 362892"/>
                  <a:gd name="connsiteX467" fmla="*/ 79397 w 879730"/>
                  <a:gd name="connsiteY467" fmla="*/ 178188 h 362892"/>
                  <a:gd name="connsiteX468" fmla="*/ 81367 w 879730"/>
                  <a:gd name="connsiteY468" fmla="*/ 181522 h 362892"/>
                  <a:gd name="connsiteX469" fmla="*/ 83640 w 879730"/>
                  <a:gd name="connsiteY469" fmla="*/ 182128 h 362892"/>
                  <a:gd name="connsiteX470" fmla="*/ 85609 w 879730"/>
                  <a:gd name="connsiteY470" fmla="*/ 183189 h 362892"/>
                  <a:gd name="connsiteX471" fmla="*/ 86670 w 879730"/>
                  <a:gd name="connsiteY471" fmla="*/ 185764 h 362892"/>
                  <a:gd name="connsiteX472" fmla="*/ 88791 w 879730"/>
                  <a:gd name="connsiteY472" fmla="*/ 190310 h 362892"/>
                  <a:gd name="connsiteX473" fmla="*/ 89094 w 879730"/>
                  <a:gd name="connsiteY473" fmla="*/ 193340 h 362892"/>
                  <a:gd name="connsiteX474" fmla="*/ 89246 w 879730"/>
                  <a:gd name="connsiteY474" fmla="*/ 195613 h 362892"/>
                  <a:gd name="connsiteX475" fmla="*/ 89852 w 879730"/>
                  <a:gd name="connsiteY475" fmla="*/ 196522 h 362892"/>
                  <a:gd name="connsiteX476" fmla="*/ 90003 w 879730"/>
                  <a:gd name="connsiteY476" fmla="*/ 197886 h 362892"/>
                  <a:gd name="connsiteX477" fmla="*/ 88337 w 879730"/>
                  <a:gd name="connsiteY477" fmla="*/ 202735 h 362892"/>
                  <a:gd name="connsiteX478" fmla="*/ 86822 w 879730"/>
                  <a:gd name="connsiteY478" fmla="*/ 204856 h 362892"/>
                  <a:gd name="connsiteX479" fmla="*/ 86670 w 879730"/>
                  <a:gd name="connsiteY479" fmla="*/ 206674 h 362892"/>
                  <a:gd name="connsiteX480" fmla="*/ 87731 w 879730"/>
                  <a:gd name="connsiteY480" fmla="*/ 209856 h 362892"/>
                  <a:gd name="connsiteX481" fmla="*/ 89094 w 879730"/>
                  <a:gd name="connsiteY481" fmla="*/ 212432 h 362892"/>
                  <a:gd name="connsiteX482" fmla="*/ 89246 w 879730"/>
                  <a:gd name="connsiteY482" fmla="*/ 214705 h 362892"/>
                  <a:gd name="connsiteX483" fmla="*/ 88034 w 879730"/>
                  <a:gd name="connsiteY483" fmla="*/ 216523 h 362892"/>
                  <a:gd name="connsiteX484" fmla="*/ 86064 w 879730"/>
                  <a:gd name="connsiteY484" fmla="*/ 218644 h 362892"/>
                  <a:gd name="connsiteX485" fmla="*/ 85155 w 879730"/>
                  <a:gd name="connsiteY485" fmla="*/ 219857 h 362892"/>
                  <a:gd name="connsiteX486" fmla="*/ 83488 w 879730"/>
                  <a:gd name="connsiteY486" fmla="*/ 220917 h 362892"/>
                  <a:gd name="connsiteX487" fmla="*/ 81215 w 879730"/>
                  <a:gd name="connsiteY487" fmla="*/ 225160 h 362892"/>
                  <a:gd name="connsiteX488" fmla="*/ 80155 w 879730"/>
                  <a:gd name="connsiteY488" fmla="*/ 229705 h 362892"/>
                  <a:gd name="connsiteX489" fmla="*/ 79852 w 879730"/>
                  <a:gd name="connsiteY489" fmla="*/ 232130 h 362892"/>
                  <a:gd name="connsiteX490" fmla="*/ 80761 w 879730"/>
                  <a:gd name="connsiteY490" fmla="*/ 233796 h 362892"/>
                  <a:gd name="connsiteX491" fmla="*/ 82276 w 879730"/>
                  <a:gd name="connsiteY491" fmla="*/ 235766 h 362892"/>
                  <a:gd name="connsiteX492" fmla="*/ 82579 w 879730"/>
                  <a:gd name="connsiteY492" fmla="*/ 237433 h 362892"/>
                  <a:gd name="connsiteX493" fmla="*/ 85155 w 879730"/>
                  <a:gd name="connsiteY493" fmla="*/ 241069 h 362892"/>
                  <a:gd name="connsiteX494" fmla="*/ 85761 w 879730"/>
                  <a:gd name="connsiteY494" fmla="*/ 243342 h 362892"/>
                  <a:gd name="connsiteX495" fmla="*/ 86822 w 879730"/>
                  <a:gd name="connsiteY495" fmla="*/ 243342 h 362892"/>
                  <a:gd name="connsiteX496" fmla="*/ 87882 w 879730"/>
                  <a:gd name="connsiteY496" fmla="*/ 242585 h 362892"/>
                  <a:gd name="connsiteX497" fmla="*/ 90458 w 879730"/>
                  <a:gd name="connsiteY497" fmla="*/ 242585 h 362892"/>
                  <a:gd name="connsiteX498" fmla="*/ 92882 w 879730"/>
                  <a:gd name="connsiteY498" fmla="*/ 243342 h 362892"/>
                  <a:gd name="connsiteX499" fmla="*/ 95155 w 879730"/>
                  <a:gd name="connsiteY499" fmla="*/ 245009 h 362892"/>
                  <a:gd name="connsiteX500" fmla="*/ 97731 w 879730"/>
                  <a:gd name="connsiteY500" fmla="*/ 245918 h 362892"/>
                  <a:gd name="connsiteX501" fmla="*/ 101216 w 879730"/>
                  <a:gd name="connsiteY501" fmla="*/ 245615 h 362892"/>
                  <a:gd name="connsiteX502" fmla="*/ 103034 w 879730"/>
                  <a:gd name="connsiteY502" fmla="*/ 246524 h 362892"/>
                  <a:gd name="connsiteX503" fmla="*/ 105155 w 879730"/>
                  <a:gd name="connsiteY503" fmla="*/ 247282 h 362892"/>
                  <a:gd name="connsiteX504" fmla="*/ 109246 w 879730"/>
                  <a:gd name="connsiteY504" fmla="*/ 247585 h 362892"/>
                  <a:gd name="connsiteX505" fmla="*/ 112429 w 879730"/>
                  <a:gd name="connsiteY505" fmla="*/ 247585 h 362892"/>
                  <a:gd name="connsiteX506" fmla="*/ 117277 w 879730"/>
                  <a:gd name="connsiteY506" fmla="*/ 247585 h 362892"/>
                  <a:gd name="connsiteX507" fmla="*/ 121217 w 879730"/>
                  <a:gd name="connsiteY507" fmla="*/ 248645 h 362892"/>
                  <a:gd name="connsiteX508" fmla="*/ 128035 w 879730"/>
                  <a:gd name="connsiteY508" fmla="*/ 249555 h 362892"/>
                  <a:gd name="connsiteX509" fmla="*/ 132278 w 879730"/>
                  <a:gd name="connsiteY509" fmla="*/ 249555 h 362892"/>
                  <a:gd name="connsiteX510" fmla="*/ 138036 w 879730"/>
                  <a:gd name="connsiteY510" fmla="*/ 248645 h 362892"/>
                  <a:gd name="connsiteX511" fmla="*/ 141520 w 879730"/>
                  <a:gd name="connsiteY511" fmla="*/ 249252 h 362892"/>
                  <a:gd name="connsiteX512" fmla="*/ 151824 w 879730"/>
                  <a:gd name="connsiteY512" fmla="*/ 250464 h 362892"/>
                  <a:gd name="connsiteX513" fmla="*/ 158036 w 879730"/>
                  <a:gd name="connsiteY513" fmla="*/ 251827 h 362892"/>
                  <a:gd name="connsiteX514" fmla="*/ 161824 w 879730"/>
                  <a:gd name="connsiteY514" fmla="*/ 253191 h 362892"/>
                  <a:gd name="connsiteX515" fmla="*/ 164552 w 879730"/>
                  <a:gd name="connsiteY515" fmla="*/ 255615 h 362892"/>
                  <a:gd name="connsiteX516" fmla="*/ 167582 w 879730"/>
                  <a:gd name="connsiteY516" fmla="*/ 259252 h 362892"/>
                  <a:gd name="connsiteX517" fmla="*/ 170006 w 879730"/>
                  <a:gd name="connsiteY517" fmla="*/ 260919 h 362892"/>
                  <a:gd name="connsiteX518" fmla="*/ 176673 w 879730"/>
                  <a:gd name="connsiteY518" fmla="*/ 261828 h 362892"/>
                  <a:gd name="connsiteX519" fmla="*/ 181219 w 879730"/>
                  <a:gd name="connsiteY519" fmla="*/ 266070 h 362892"/>
                  <a:gd name="connsiteX520" fmla="*/ 184704 w 879730"/>
                  <a:gd name="connsiteY520" fmla="*/ 267586 h 362892"/>
                  <a:gd name="connsiteX521" fmla="*/ 190613 w 879730"/>
                  <a:gd name="connsiteY521" fmla="*/ 271677 h 362892"/>
                  <a:gd name="connsiteX522" fmla="*/ 194856 w 879730"/>
                  <a:gd name="connsiteY522" fmla="*/ 273343 h 362892"/>
                  <a:gd name="connsiteX523" fmla="*/ 199856 w 879730"/>
                  <a:gd name="connsiteY523" fmla="*/ 274859 h 362892"/>
                  <a:gd name="connsiteX524" fmla="*/ 208190 w 879730"/>
                  <a:gd name="connsiteY524" fmla="*/ 274101 h 362892"/>
                  <a:gd name="connsiteX525" fmla="*/ 208644 w 879730"/>
                  <a:gd name="connsiteY525" fmla="*/ 274707 h 362892"/>
                  <a:gd name="connsiteX526" fmla="*/ 208038 w 879730"/>
                  <a:gd name="connsiteY526" fmla="*/ 276980 h 362892"/>
                  <a:gd name="connsiteX527" fmla="*/ 207432 w 879730"/>
                  <a:gd name="connsiteY527" fmla="*/ 280010 h 362892"/>
                  <a:gd name="connsiteX528" fmla="*/ 207432 w 879730"/>
                  <a:gd name="connsiteY528" fmla="*/ 282132 h 362892"/>
                  <a:gd name="connsiteX529" fmla="*/ 208341 w 879730"/>
                  <a:gd name="connsiteY529" fmla="*/ 283344 h 362892"/>
                  <a:gd name="connsiteX530" fmla="*/ 211523 w 879730"/>
                  <a:gd name="connsiteY530" fmla="*/ 283950 h 362892"/>
                  <a:gd name="connsiteX531" fmla="*/ 212887 w 879730"/>
                  <a:gd name="connsiteY531" fmla="*/ 285010 h 362892"/>
                  <a:gd name="connsiteX532" fmla="*/ 214099 w 879730"/>
                  <a:gd name="connsiteY532" fmla="*/ 287132 h 362892"/>
                  <a:gd name="connsiteX533" fmla="*/ 214705 w 879730"/>
                  <a:gd name="connsiteY533" fmla="*/ 288344 h 362892"/>
                  <a:gd name="connsiteX534" fmla="*/ 217432 w 879730"/>
                  <a:gd name="connsiteY534" fmla="*/ 294708 h 362892"/>
                  <a:gd name="connsiteX535" fmla="*/ 221675 w 879730"/>
                  <a:gd name="connsiteY535" fmla="*/ 303951 h 362892"/>
                  <a:gd name="connsiteX536" fmla="*/ 222130 w 879730"/>
                  <a:gd name="connsiteY536" fmla="*/ 307587 h 362892"/>
                  <a:gd name="connsiteX537" fmla="*/ 223493 w 879730"/>
                  <a:gd name="connsiteY537" fmla="*/ 309860 h 362892"/>
                  <a:gd name="connsiteX538" fmla="*/ 228190 w 879730"/>
                  <a:gd name="connsiteY538" fmla="*/ 313496 h 362892"/>
                  <a:gd name="connsiteX539" fmla="*/ 230463 w 879730"/>
                  <a:gd name="connsiteY539" fmla="*/ 316224 h 362892"/>
                  <a:gd name="connsiteX540" fmla="*/ 234100 w 879730"/>
                  <a:gd name="connsiteY540" fmla="*/ 319103 h 362892"/>
                  <a:gd name="connsiteX541" fmla="*/ 235312 w 879730"/>
                  <a:gd name="connsiteY541" fmla="*/ 321678 h 362892"/>
                  <a:gd name="connsiteX542" fmla="*/ 235615 w 879730"/>
                  <a:gd name="connsiteY542" fmla="*/ 325163 h 362892"/>
                  <a:gd name="connsiteX543" fmla="*/ 236524 w 879730"/>
                  <a:gd name="connsiteY543" fmla="*/ 325921 h 362892"/>
                  <a:gd name="connsiteX544" fmla="*/ 243039 w 879730"/>
                  <a:gd name="connsiteY544" fmla="*/ 325163 h 362892"/>
                  <a:gd name="connsiteX545" fmla="*/ 248646 w 879730"/>
                  <a:gd name="connsiteY545" fmla="*/ 324709 h 362892"/>
                  <a:gd name="connsiteX546" fmla="*/ 258949 w 879730"/>
                  <a:gd name="connsiteY546" fmla="*/ 323648 h 362892"/>
                  <a:gd name="connsiteX547" fmla="*/ 272889 w 879730"/>
                  <a:gd name="connsiteY547" fmla="*/ 325466 h 362892"/>
                  <a:gd name="connsiteX548" fmla="*/ 287435 w 879730"/>
                  <a:gd name="connsiteY548" fmla="*/ 327133 h 362892"/>
                  <a:gd name="connsiteX549" fmla="*/ 300314 w 879730"/>
                  <a:gd name="connsiteY549" fmla="*/ 328648 h 362892"/>
                  <a:gd name="connsiteX550" fmla="*/ 306527 w 879730"/>
                  <a:gd name="connsiteY550" fmla="*/ 329406 h 362892"/>
                  <a:gd name="connsiteX551" fmla="*/ 320770 w 879730"/>
                  <a:gd name="connsiteY551" fmla="*/ 330921 h 362892"/>
                  <a:gd name="connsiteX552" fmla="*/ 328800 w 879730"/>
                  <a:gd name="connsiteY552" fmla="*/ 328951 h 362892"/>
                  <a:gd name="connsiteX553" fmla="*/ 334861 w 879730"/>
                  <a:gd name="connsiteY553" fmla="*/ 327436 h 362892"/>
                  <a:gd name="connsiteX554" fmla="*/ 337740 w 879730"/>
                  <a:gd name="connsiteY554" fmla="*/ 327588 h 362892"/>
                  <a:gd name="connsiteX555" fmla="*/ 349559 w 879730"/>
                  <a:gd name="connsiteY555" fmla="*/ 329406 h 362892"/>
                  <a:gd name="connsiteX556" fmla="*/ 356528 w 879730"/>
                  <a:gd name="connsiteY556" fmla="*/ 330315 h 362892"/>
                  <a:gd name="connsiteX557" fmla="*/ 365317 w 879730"/>
                  <a:gd name="connsiteY557" fmla="*/ 331527 h 362892"/>
                  <a:gd name="connsiteX558" fmla="*/ 371378 w 879730"/>
                  <a:gd name="connsiteY558" fmla="*/ 331982 h 362892"/>
                  <a:gd name="connsiteX559" fmla="*/ 376226 w 879730"/>
                  <a:gd name="connsiteY559" fmla="*/ 331982 h 362892"/>
                  <a:gd name="connsiteX560" fmla="*/ 378499 w 879730"/>
                  <a:gd name="connsiteY560" fmla="*/ 332436 h 362892"/>
                  <a:gd name="connsiteX561" fmla="*/ 380772 w 879730"/>
                  <a:gd name="connsiteY561" fmla="*/ 333194 h 362892"/>
                  <a:gd name="connsiteX562" fmla="*/ 382287 w 879730"/>
                  <a:gd name="connsiteY562" fmla="*/ 334406 h 362892"/>
                  <a:gd name="connsiteX563" fmla="*/ 386833 w 879730"/>
                  <a:gd name="connsiteY563" fmla="*/ 340012 h 362892"/>
                  <a:gd name="connsiteX564" fmla="*/ 389409 w 879730"/>
                  <a:gd name="connsiteY564" fmla="*/ 342588 h 362892"/>
                  <a:gd name="connsiteX565" fmla="*/ 394409 w 879730"/>
                  <a:gd name="connsiteY565" fmla="*/ 344407 h 362892"/>
                  <a:gd name="connsiteX566" fmla="*/ 405773 w 879730"/>
                  <a:gd name="connsiteY566" fmla="*/ 346679 h 362892"/>
                  <a:gd name="connsiteX567" fmla="*/ 412137 w 879730"/>
                  <a:gd name="connsiteY567" fmla="*/ 347891 h 362892"/>
                  <a:gd name="connsiteX568" fmla="*/ 419409 w 879730"/>
                  <a:gd name="connsiteY568" fmla="*/ 349407 h 362892"/>
                  <a:gd name="connsiteX569" fmla="*/ 424258 w 879730"/>
                  <a:gd name="connsiteY569" fmla="*/ 351679 h 362892"/>
                  <a:gd name="connsiteX570" fmla="*/ 429713 w 879730"/>
                  <a:gd name="connsiteY570" fmla="*/ 354407 h 362892"/>
                  <a:gd name="connsiteX571" fmla="*/ 436835 w 879730"/>
                  <a:gd name="connsiteY571" fmla="*/ 357740 h 362892"/>
                  <a:gd name="connsiteX572" fmla="*/ 444714 w 879730"/>
                  <a:gd name="connsiteY572" fmla="*/ 356225 h 362892"/>
                  <a:gd name="connsiteX573" fmla="*/ 453199 w 879730"/>
                  <a:gd name="connsiteY573" fmla="*/ 354710 h 362892"/>
                  <a:gd name="connsiteX574" fmla="*/ 458502 w 879730"/>
                  <a:gd name="connsiteY574" fmla="*/ 353649 h 362892"/>
                  <a:gd name="connsiteX575" fmla="*/ 458502 w 879730"/>
                  <a:gd name="connsiteY575" fmla="*/ 360771 h 362892"/>
                  <a:gd name="connsiteX576" fmla="*/ 465926 w 879730"/>
                  <a:gd name="connsiteY576" fmla="*/ 361377 h 362892"/>
                  <a:gd name="connsiteX577" fmla="*/ 468351 w 879730"/>
                  <a:gd name="connsiteY577" fmla="*/ 361225 h 362892"/>
                  <a:gd name="connsiteX578" fmla="*/ 471684 w 879730"/>
                  <a:gd name="connsiteY578" fmla="*/ 362892 h 362892"/>
                  <a:gd name="connsiteX579" fmla="*/ 473502 w 879730"/>
                  <a:gd name="connsiteY579" fmla="*/ 362134 h 362892"/>
                  <a:gd name="connsiteX580" fmla="*/ 475321 w 879730"/>
                  <a:gd name="connsiteY580" fmla="*/ 360619 h 362892"/>
                  <a:gd name="connsiteX581" fmla="*/ 477594 w 879730"/>
                  <a:gd name="connsiteY581" fmla="*/ 358195 h 362892"/>
                  <a:gd name="connsiteX582" fmla="*/ 480776 w 879730"/>
                  <a:gd name="connsiteY582" fmla="*/ 357134 h 362892"/>
                  <a:gd name="connsiteX583" fmla="*/ 486382 w 879730"/>
                  <a:gd name="connsiteY583" fmla="*/ 354407 h 362892"/>
                  <a:gd name="connsiteX584" fmla="*/ 487745 w 879730"/>
                  <a:gd name="connsiteY584" fmla="*/ 353801 h 362892"/>
                  <a:gd name="connsiteX585" fmla="*/ 495928 w 879730"/>
                  <a:gd name="connsiteY585" fmla="*/ 349861 h 362892"/>
                  <a:gd name="connsiteX586" fmla="*/ 508201 w 879730"/>
                  <a:gd name="connsiteY586" fmla="*/ 345013 h 362892"/>
                  <a:gd name="connsiteX587" fmla="*/ 513655 w 879730"/>
                  <a:gd name="connsiteY587" fmla="*/ 342740 h 362892"/>
                  <a:gd name="connsiteX588" fmla="*/ 515322 w 879730"/>
                  <a:gd name="connsiteY588" fmla="*/ 342134 h 362892"/>
                  <a:gd name="connsiteX589" fmla="*/ 518504 w 879730"/>
                  <a:gd name="connsiteY589" fmla="*/ 341073 h 362892"/>
                  <a:gd name="connsiteX590" fmla="*/ 520626 w 879730"/>
                  <a:gd name="connsiteY590" fmla="*/ 340164 h 362892"/>
                  <a:gd name="connsiteX591" fmla="*/ 524262 w 879730"/>
                  <a:gd name="connsiteY591" fmla="*/ 339558 h 362892"/>
                  <a:gd name="connsiteX592" fmla="*/ 529414 w 879730"/>
                  <a:gd name="connsiteY592" fmla="*/ 339103 h 362892"/>
                  <a:gd name="connsiteX593" fmla="*/ 534869 w 879730"/>
                  <a:gd name="connsiteY593" fmla="*/ 338194 h 362892"/>
                  <a:gd name="connsiteX594" fmla="*/ 547445 w 879730"/>
                  <a:gd name="connsiteY594" fmla="*/ 336527 h 362892"/>
                  <a:gd name="connsiteX595" fmla="*/ 548960 w 879730"/>
                  <a:gd name="connsiteY595" fmla="*/ 336376 h 362892"/>
                  <a:gd name="connsiteX596" fmla="*/ 555930 w 879730"/>
                  <a:gd name="connsiteY596" fmla="*/ 335618 h 362892"/>
                  <a:gd name="connsiteX597" fmla="*/ 558960 w 879730"/>
                  <a:gd name="connsiteY597" fmla="*/ 335012 h 362892"/>
                  <a:gd name="connsiteX598" fmla="*/ 563354 w 879730"/>
                  <a:gd name="connsiteY598" fmla="*/ 335315 h 362892"/>
                  <a:gd name="connsiteX599" fmla="*/ 569264 w 879730"/>
                  <a:gd name="connsiteY599" fmla="*/ 335618 h 362892"/>
                  <a:gd name="connsiteX600" fmla="*/ 573052 w 879730"/>
                  <a:gd name="connsiteY600" fmla="*/ 335921 h 362892"/>
                  <a:gd name="connsiteX601" fmla="*/ 578203 w 879730"/>
                  <a:gd name="connsiteY601" fmla="*/ 335618 h 362892"/>
                  <a:gd name="connsiteX602" fmla="*/ 585173 w 879730"/>
                  <a:gd name="connsiteY602" fmla="*/ 335164 h 362892"/>
                  <a:gd name="connsiteX603" fmla="*/ 590931 w 879730"/>
                  <a:gd name="connsiteY603" fmla="*/ 335315 h 362892"/>
                  <a:gd name="connsiteX604" fmla="*/ 593810 w 879730"/>
                  <a:gd name="connsiteY604" fmla="*/ 334709 h 362892"/>
                  <a:gd name="connsiteX605" fmla="*/ 597901 w 879730"/>
                  <a:gd name="connsiteY605" fmla="*/ 332891 h 362892"/>
                  <a:gd name="connsiteX606" fmla="*/ 600780 w 879730"/>
                  <a:gd name="connsiteY606" fmla="*/ 331527 h 362892"/>
                  <a:gd name="connsiteX607" fmla="*/ 605174 w 879730"/>
                  <a:gd name="connsiteY607" fmla="*/ 329709 h 362892"/>
                  <a:gd name="connsiteX608" fmla="*/ 610629 w 879730"/>
                  <a:gd name="connsiteY608" fmla="*/ 327891 h 362892"/>
                  <a:gd name="connsiteX609" fmla="*/ 614417 w 879730"/>
                  <a:gd name="connsiteY609" fmla="*/ 326376 h 362892"/>
                  <a:gd name="connsiteX610" fmla="*/ 616841 w 879730"/>
                  <a:gd name="connsiteY610" fmla="*/ 325163 h 362892"/>
                  <a:gd name="connsiteX611" fmla="*/ 619872 w 879730"/>
                  <a:gd name="connsiteY611" fmla="*/ 324254 h 362892"/>
                  <a:gd name="connsiteX612" fmla="*/ 620781 w 879730"/>
                  <a:gd name="connsiteY612" fmla="*/ 322891 h 362892"/>
                  <a:gd name="connsiteX613" fmla="*/ 621539 w 879730"/>
                  <a:gd name="connsiteY613" fmla="*/ 321830 h 362892"/>
                  <a:gd name="connsiteX614" fmla="*/ 623205 w 879730"/>
                  <a:gd name="connsiteY614" fmla="*/ 320163 h 362892"/>
                  <a:gd name="connsiteX615" fmla="*/ 626084 w 879730"/>
                  <a:gd name="connsiteY615" fmla="*/ 316981 h 362892"/>
                  <a:gd name="connsiteX616" fmla="*/ 628357 w 879730"/>
                  <a:gd name="connsiteY616" fmla="*/ 314254 h 362892"/>
                  <a:gd name="connsiteX617" fmla="*/ 629417 w 879730"/>
                  <a:gd name="connsiteY617" fmla="*/ 313042 h 362892"/>
                  <a:gd name="connsiteX618" fmla="*/ 631993 w 879730"/>
                  <a:gd name="connsiteY618" fmla="*/ 310314 h 362892"/>
                  <a:gd name="connsiteX619" fmla="*/ 633963 w 879730"/>
                  <a:gd name="connsiteY619" fmla="*/ 308193 h 362892"/>
                  <a:gd name="connsiteX620" fmla="*/ 636539 w 879730"/>
                  <a:gd name="connsiteY620" fmla="*/ 305466 h 362892"/>
                  <a:gd name="connsiteX621" fmla="*/ 638660 w 879730"/>
                  <a:gd name="connsiteY621" fmla="*/ 304557 h 362892"/>
                  <a:gd name="connsiteX622" fmla="*/ 641388 w 879730"/>
                  <a:gd name="connsiteY622" fmla="*/ 303799 h 362892"/>
                  <a:gd name="connsiteX623" fmla="*/ 648660 w 879730"/>
                  <a:gd name="connsiteY623" fmla="*/ 300920 h 362892"/>
                  <a:gd name="connsiteX624" fmla="*/ 650176 w 879730"/>
                  <a:gd name="connsiteY624" fmla="*/ 300314 h 362892"/>
                  <a:gd name="connsiteX625" fmla="*/ 651388 w 879730"/>
                  <a:gd name="connsiteY625" fmla="*/ 300314 h 362892"/>
                  <a:gd name="connsiteX626" fmla="*/ 653812 w 879730"/>
                  <a:gd name="connsiteY626" fmla="*/ 298041 h 362892"/>
                  <a:gd name="connsiteX627" fmla="*/ 656085 w 879730"/>
                  <a:gd name="connsiteY627" fmla="*/ 296071 h 362892"/>
                  <a:gd name="connsiteX628" fmla="*/ 657449 w 879730"/>
                  <a:gd name="connsiteY628" fmla="*/ 294708 h 362892"/>
                  <a:gd name="connsiteX629" fmla="*/ 660328 w 879730"/>
                  <a:gd name="connsiteY629" fmla="*/ 294102 h 362892"/>
                  <a:gd name="connsiteX630" fmla="*/ 661843 w 879730"/>
                  <a:gd name="connsiteY630" fmla="*/ 293041 h 362892"/>
                  <a:gd name="connsiteX631" fmla="*/ 662146 w 879730"/>
                  <a:gd name="connsiteY631" fmla="*/ 291677 h 362892"/>
                  <a:gd name="connsiteX632" fmla="*/ 661843 w 879730"/>
                  <a:gd name="connsiteY632" fmla="*/ 289708 h 362892"/>
                  <a:gd name="connsiteX633" fmla="*/ 660479 w 879730"/>
                  <a:gd name="connsiteY633" fmla="*/ 287586 h 362892"/>
                  <a:gd name="connsiteX634" fmla="*/ 659267 w 879730"/>
                  <a:gd name="connsiteY634" fmla="*/ 285616 h 362892"/>
                  <a:gd name="connsiteX635" fmla="*/ 655024 w 879730"/>
                  <a:gd name="connsiteY635" fmla="*/ 282132 h 362892"/>
                  <a:gd name="connsiteX636" fmla="*/ 652752 w 879730"/>
                  <a:gd name="connsiteY636" fmla="*/ 279859 h 362892"/>
                  <a:gd name="connsiteX637" fmla="*/ 650630 w 879730"/>
                  <a:gd name="connsiteY637" fmla="*/ 277131 h 362892"/>
                  <a:gd name="connsiteX638" fmla="*/ 649569 w 879730"/>
                  <a:gd name="connsiteY638" fmla="*/ 274404 h 362892"/>
                  <a:gd name="connsiteX639" fmla="*/ 648055 w 879730"/>
                  <a:gd name="connsiteY639" fmla="*/ 272737 h 362892"/>
                  <a:gd name="connsiteX640" fmla="*/ 647297 w 879730"/>
                  <a:gd name="connsiteY640" fmla="*/ 271222 h 362892"/>
                  <a:gd name="connsiteX641" fmla="*/ 647600 w 879730"/>
                  <a:gd name="connsiteY641" fmla="*/ 269404 h 362892"/>
                  <a:gd name="connsiteX642" fmla="*/ 649721 w 879730"/>
                  <a:gd name="connsiteY642" fmla="*/ 266373 h 362892"/>
                  <a:gd name="connsiteX643" fmla="*/ 650479 w 879730"/>
                  <a:gd name="connsiteY643" fmla="*/ 264404 h 362892"/>
                  <a:gd name="connsiteX644" fmla="*/ 651388 w 879730"/>
                  <a:gd name="connsiteY644" fmla="*/ 260919 h 362892"/>
                  <a:gd name="connsiteX645" fmla="*/ 653358 w 879730"/>
                  <a:gd name="connsiteY645" fmla="*/ 255767 h 362892"/>
                  <a:gd name="connsiteX646" fmla="*/ 655024 w 879730"/>
                  <a:gd name="connsiteY646" fmla="*/ 253343 h 362892"/>
                  <a:gd name="connsiteX647" fmla="*/ 656843 w 879730"/>
                  <a:gd name="connsiteY647" fmla="*/ 250918 h 362892"/>
                  <a:gd name="connsiteX648" fmla="*/ 660934 w 879730"/>
                  <a:gd name="connsiteY648" fmla="*/ 247736 h 362892"/>
                  <a:gd name="connsiteX649" fmla="*/ 664570 w 879730"/>
                  <a:gd name="connsiteY649" fmla="*/ 247130 h 362892"/>
                  <a:gd name="connsiteX650" fmla="*/ 666843 w 879730"/>
                  <a:gd name="connsiteY650" fmla="*/ 247736 h 362892"/>
                  <a:gd name="connsiteX651" fmla="*/ 671692 w 879730"/>
                  <a:gd name="connsiteY651" fmla="*/ 247736 h 362892"/>
                  <a:gd name="connsiteX652" fmla="*/ 675025 w 879730"/>
                  <a:gd name="connsiteY652" fmla="*/ 247888 h 362892"/>
                  <a:gd name="connsiteX653" fmla="*/ 677298 w 879730"/>
                  <a:gd name="connsiteY653" fmla="*/ 249555 h 362892"/>
                  <a:gd name="connsiteX654" fmla="*/ 680025 w 879730"/>
                  <a:gd name="connsiteY654" fmla="*/ 252737 h 362892"/>
                  <a:gd name="connsiteX655" fmla="*/ 683056 w 879730"/>
                  <a:gd name="connsiteY655" fmla="*/ 253797 h 362892"/>
                  <a:gd name="connsiteX656" fmla="*/ 692450 w 879730"/>
                  <a:gd name="connsiteY656" fmla="*/ 256222 h 362892"/>
                  <a:gd name="connsiteX657" fmla="*/ 696389 w 879730"/>
                  <a:gd name="connsiteY657" fmla="*/ 256828 h 362892"/>
                  <a:gd name="connsiteX658" fmla="*/ 699268 w 879730"/>
                  <a:gd name="connsiteY658" fmla="*/ 256979 h 362892"/>
                  <a:gd name="connsiteX659" fmla="*/ 703511 w 879730"/>
                  <a:gd name="connsiteY659" fmla="*/ 257737 h 362892"/>
                  <a:gd name="connsiteX660" fmla="*/ 705026 w 879730"/>
                  <a:gd name="connsiteY660" fmla="*/ 257888 h 362892"/>
                  <a:gd name="connsiteX661" fmla="*/ 707148 w 879730"/>
                  <a:gd name="connsiteY661" fmla="*/ 258494 h 362892"/>
                  <a:gd name="connsiteX662" fmla="*/ 708966 w 879730"/>
                  <a:gd name="connsiteY662" fmla="*/ 257888 h 362892"/>
                  <a:gd name="connsiteX663" fmla="*/ 711693 w 879730"/>
                  <a:gd name="connsiteY663" fmla="*/ 255767 h 362892"/>
                  <a:gd name="connsiteX664" fmla="*/ 715027 w 879730"/>
                  <a:gd name="connsiteY664" fmla="*/ 253343 h 362892"/>
                  <a:gd name="connsiteX665" fmla="*/ 716542 w 879730"/>
                  <a:gd name="connsiteY665" fmla="*/ 252888 h 362892"/>
                  <a:gd name="connsiteX666" fmla="*/ 719269 w 879730"/>
                  <a:gd name="connsiteY666" fmla="*/ 251827 h 362892"/>
                  <a:gd name="connsiteX667" fmla="*/ 720633 w 879730"/>
                  <a:gd name="connsiteY667" fmla="*/ 250918 h 362892"/>
                  <a:gd name="connsiteX668" fmla="*/ 723057 w 879730"/>
                  <a:gd name="connsiteY668" fmla="*/ 248191 h 362892"/>
                  <a:gd name="connsiteX669" fmla="*/ 726088 w 879730"/>
                  <a:gd name="connsiteY669" fmla="*/ 246221 h 362892"/>
                  <a:gd name="connsiteX670" fmla="*/ 729876 w 879730"/>
                  <a:gd name="connsiteY670" fmla="*/ 243039 h 362892"/>
                  <a:gd name="connsiteX671" fmla="*/ 731694 w 879730"/>
                  <a:gd name="connsiteY671" fmla="*/ 240766 h 362892"/>
                  <a:gd name="connsiteX672" fmla="*/ 732148 w 879730"/>
                  <a:gd name="connsiteY672" fmla="*/ 239251 h 362892"/>
                  <a:gd name="connsiteX673" fmla="*/ 732603 w 879730"/>
                  <a:gd name="connsiteY673" fmla="*/ 237584 h 362892"/>
                  <a:gd name="connsiteX674" fmla="*/ 733815 w 879730"/>
                  <a:gd name="connsiteY674" fmla="*/ 236675 h 362892"/>
                  <a:gd name="connsiteX675" fmla="*/ 736088 w 879730"/>
                  <a:gd name="connsiteY675" fmla="*/ 235918 h 362892"/>
                  <a:gd name="connsiteX676" fmla="*/ 738664 w 879730"/>
                  <a:gd name="connsiteY676" fmla="*/ 235766 h 362892"/>
                  <a:gd name="connsiteX677" fmla="*/ 743513 w 879730"/>
                  <a:gd name="connsiteY677" fmla="*/ 237130 h 362892"/>
                  <a:gd name="connsiteX678" fmla="*/ 750180 w 879730"/>
                  <a:gd name="connsiteY678" fmla="*/ 236675 h 362892"/>
                  <a:gd name="connsiteX679" fmla="*/ 751695 w 879730"/>
                  <a:gd name="connsiteY679" fmla="*/ 236524 h 362892"/>
                  <a:gd name="connsiteX680" fmla="*/ 757755 w 879730"/>
                  <a:gd name="connsiteY680" fmla="*/ 235615 h 362892"/>
                  <a:gd name="connsiteX681" fmla="*/ 760483 w 879730"/>
                  <a:gd name="connsiteY681" fmla="*/ 235009 h 362892"/>
                  <a:gd name="connsiteX682" fmla="*/ 764422 w 879730"/>
                  <a:gd name="connsiteY682" fmla="*/ 234403 h 362892"/>
                  <a:gd name="connsiteX683" fmla="*/ 767301 w 879730"/>
                  <a:gd name="connsiteY683" fmla="*/ 231827 h 362892"/>
                  <a:gd name="connsiteX684" fmla="*/ 771392 w 879730"/>
                  <a:gd name="connsiteY684" fmla="*/ 228645 h 362892"/>
                  <a:gd name="connsiteX685" fmla="*/ 774271 w 879730"/>
                  <a:gd name="connsiteY685" fmla="*/ 226978 h 362892"/>
                  <a:gd name="connsiteX686" fmla="*/ 776089 w 879730"/>
                  <a:gd name="connsiteY686" fmla="*/ 226675 h 362892"/>
                  <a:gd name="connsiteX687" fmla="*/ 778514 w 879730"/>
                  <a:gd name="connsiteY687" fmla="*/ 224857 h 362892"/>
                  <a:gd name="connsiteX688" fmla="*/ 779726 w 879730"/>
                  <a:gd name="connsiteY688" fmla="*/ 222887 h 362892"/>
                  <a:gd name="connsiteX689" fmla="*/ 779423 w 879730"/>
                  <a:gd name="connsiteY689" fmla="*/ 221220 h 362892"/>
                  <a:gd name="connsiteX690" fmla="*/ 778968 w 879730"/>
                  <a:gd name="connsiteY690" fmla="*/ 219857 h 362892"/>
                  <a:gd name="connsiteX691" fmla="*/ 780332 w 879730"/>
                  <a:gd name="connsiteY691" fmla="*/ 217281 h 362892"/>
                  <a:gd name="connsiteX692" fmla="*/ 782908 w 879730"/>
                  <a:gd name="connsiteY692" fmla="*/ 212735 h 362892"/>
                  <a:gd name="connsiteX693" fmla="*/ 785332 w 879730"/>
                  <a:gd name="connsiteY693" fmla="*/ 210614 h 362892"/>
                  <a:gd name="connsiteX694" fmla="*/ 787302 w 879730"/>
                  <a:gd name="connsiteY694" fmla="*/ 208795 h 362892"/>
                  <a:gd name="connsiteX695" fmla="*/ 788514 w 879730"/>
                  <a:gd name="connsiteY695" fmla="*/ 206068 h 362892"/>
                  <a:gd name="connsiteX696" fmla="*/ 790029 w 879730"/>
                  <a:gd name="connsiteY696" fmla="*/ 205311 h 362892"/>
                  <a:gd name="connsiteX697" fmla="*/ 791999 w 879730"/>
                  <a:gd name="connsiteY697" fmla="*/ 205007 h 362892"/>
                  <a:gd name="connsiteX698" fmla="*/ 794726 w 879730"/>
                  <a:gd name="connsiteY698" fmla="*/ 203038 h 362892"/>
                  <a:gd name="connsiteX699" fmla="*/ 796696 w 879730"/>
                  <a:gd name="connsiteY699" fmla="*/ 202735 h 362892"/>
                  <a:gd name="connsiteX700" fmla="*/ 799878 w 879730"/>
                  <a:gd name="connsiteY700" fmla="*/ 203644 h 362892"/>
                  <a:gd name="connsiteX701" fmla="*/ 804727 w 879730"/>
                  <a:gd name="connsiteY701" fmla="*/ 203795 h 362892"/>
                  <a:gd name="connsiteX702" fmla="*/ 807908 w 879730"/>
                  <a:gd name="connsiteY702" fmla="*/ 203947 h 362892"/>
                  <a:gd name="connsiteX703" fmla="*/ 809576 w 879730"/>
                  <a:gd name="connsiteY703" fmla="*/ 203644 h 362892"/>
                  <a:gd name="connsiteX704" fmla="*/ 810333 w 879730"/>
                  <a:gd name="connsiteY704" fmla="*/ 202583 h 362892"/>
                  <a:gd name="connsiteX705" fmla="*/ 810182 w 879730"/>
                  <a:gd name="connsiteY705" fmla="*/ 201068 h 362892"/>
                  <a:gd name="connsiteX706" fmla="*/ 811242 w 879730"/>
                  <a:gd name="connsiteY706" fmla="*/ 197583 h 362892"/>
                  <a:gd name="connsiteX707" fmla="*/ 811546 w 879730"/>
                  <a:gd name="connsiteY707" fmla="*/ 196371 h 362892"/>
                  <a:gd name="connsiteX708" fmla="*/ 812455 w 879730"/>
                  <a:gd name="connsiteY708" fmla="*/ 195916 h 362892"/>
                  <a:gd name="connsiteX709" fmla="*/ 815484 w 879730"/>
                  <a:gd name="connsiteY709" fmla="*/ 195765 h 362892"/>
                  <a:gd name="connsiteX710" fmla="*/ 817454 w 879730"/>
                  <a:gd name="connsiteY710" fmla="*/ 197128 h 362892"/>
                  <a:gd name="connsiteX711" fmla="*/ 818818 w 879730"/>
                  <a:gd name="connsiteY711" fmla="*/ 198038 h 362892"/>
                  <a:gd name="connsiteX712" fmla="*/ 820788 w 879730"/>
                  <a:gd name="connsiteY712" fmla="*/ 198189 h 362892"/>
                  <a:gd name="connsiteX713" fmla="*/ 822758 w 879730"/>
                  <a:gd name="connsiteY713" fmla="*/ 197583 h 362892"/>
                  <a:gd name="connsiteX714" fmla="*/ 825485 w 879730"/>
                  <a:gd name="connsiteY714" fmla="*/ 194704 h 362892"/>
                  <a:gd name="connsiteX715" fmla="*/ 829879 w 879730"/>
                  <a:gd name="connsiteY715" fmla="*/ 193189 h 362892"/>
                  <a:gd name="connsiteX716" fmla="*/ 832152 w 879730"/>
                  <a:gd name="connsiteY716" fmla="*/ 192734 h 362892"/>
                  <a:gd name="connsiteX717" fmla="*/ 836244 w 879730"/>
                  <a:gd name="connsiteY717" fmla="*/ 191371 h 362892"/>
                  <a:gd name="connsiteX718" fmla="*/ 838971 w 879730"/>
                  <a:gd name="connsiteY718" fmla="*/ 191825 h 362892"/>
                  <a:gd name="connsiteX719" fmla="*/ 843820 w 879730"/>
                  <a:gd name="connsiteY719" fmla="*/ 192280 h 362892"/>
                  <a:gd name="connsiteX720" fmla="*/ 845638 w 879730"/>
                  <a:gd name="connsiteY720" fmla="*/ 191977 h 362892"/>
                  <a:gd name="connsiteX721" fmla="*/ 847608 w 879730"/>
                  <a:gd name="connsiteY721" fmla="*/ 192280 h 362892"/>
                  <a:gd name="connsiteX722" fmla="*/ 849426 w 879730"/>
                  <a:gd name="connsiteY722" fmla="*/ 190310 h 362892"/>
                  <a:gd name="connsiteX723" fmla="*/ 850941 w 879730"/>
                  <a:gd name="connsiteY723" fmla="*/ 189855 h 362892"/>
                  <a:gd name="connsiteX724" fmla="*/ 854123 w 879730"/>
                  <a:gd name="connsiteY724" fmla="*/ 190765 h 362892"/>
                  <a:gd name="connsiteX725" fmla="*/ 855941 w 879730"/>
                  <a:gd name="connsiteY725" fmla="*/ 192280 h 362892"/>
                  <a:gd name="connsiteX726" fmla="*/ 859729 w 879730"/>
                  <a:gd name="connsiteY726" fmla="*/ 194098 h 362892"/>
                  <a:gd name="connsiteX727" fmla="*/ 864275 w 879730"/>
                  <a:gd name="connsiteY727" fmla="*/ 195007 h 362892"/>
                  <a:gd name="connsiteX728" fmla="*/ 868214 w 879730"/>
                  <a:gd name="connsiteY728" fmla="*/ 194553 h 362892"/>
                  <a:gd name="connsiteX729" fmla="*/ 872154 w 879730"/>
                  <a:gd name="connsiteY729" fmla="*/ 195310 h 362892"/>
                  <a:gd name="connsiteX730" fmla="*/ 874578 w 879730"/>
                  <a:gd name="connsiteY730" fmla="*/ 195159 h 362892"/>
                  <a:gd name="connsiteX731" fmla="*/ 875639 w 879730"/>
                  <a:gd name="connsiteY731" fmla="*/ 194553 h 362892"/>
                  <a:gd name="connsiteX732" fmla="*/ 878972 w 879730"/>
                  <a:gd name="connsiteY732" fmla="*/ 192886 h 362892"/>
                  <a:gd name="connsiteX733" fmla="*/ 879730 w 879730"/>
                  <a:gd name="connsiteY733" fmla="*/ 190916 h 362892"/>
                  <a:gd name="connsiteX734" fmla="*/ 879427 w 879730"/>
                  <a:gd name="connsiteY734" fmla="*/ 188795 h 36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Lst>
                <a:rect l="l" t="t" r="r" b="b"/>
                <a:pathLst>
                  <a:path w="879730" h="362892">
                    <a:moveTo>
                      <a:pt x="879730" y="186522"/>
                    </a:moveTo>
                    <a:lnTo>
                      <a:pt x="878821" y="184855"/>
                    </a:lnTo>
                    <a:lnTo>
                      <a:pt x="876851" y="182431"/>
                    </a:lnTo>
                    <a:lnTo>
                      <a:pt x="875942" y="180764"/>
                    </a:lnTo>
                    <a:lnTo>
                      <a:pt x="875942" y="178491"/>
                    </a:lnTo>
                    <a:lnTo>
                      <a:pt x="874730" y="176522"/>
                    </a:lnTo>
                    <a:lnTo>
                      <a:pt x="871699" y="173946"/>
                    </a:lnTo>
                    <a:lnTo>
                      <a:pt x="869577" y="172885"/>
                    </a:lnTo>
                    <a:lnTo>
                      <a:pt x="865487" y="168491"/>
                    </a:lnTo>
                    <a:lnTo>
                      <a:pt x="864123" y="167430"/>
                    </a:lnTo>
                    <a:lnTo>
                      <a:pt x="863669" y="166824"/>
                    </a:lnTo>
                    <a:lnTo>
                      <a:pt x="863214" y="165309"/>
                    </a:lnTo>
                    <a:lnTo>
                      <a:pt x="861699" y="164703"/>
                    </a:lnTo>
                    <a:lnTo>
                      <a:pt x="859729" y="163491"/>
                    </a:lnTo>
                    <a:lnTo>
                      <a:pt x="858517" y="162430"/>
                    </a:lnTo>
                    <a:lnTo>
                      <a:pt x="857911" y="160309"/>
                    </a:lnTo>
                    <a:lnTo>
                      <a:pt x="857456" y="159097"/>
                    </a:lnTo>
                    <a:lnTo>
                      <a:pt x="855638" y="157885"/>
                    </a:lnTo>
                    <a:lnTo>
                      <a:pt x="853971" y="157279"/>
                    </a:lnTo>
                    <a:lnTo>
                      <a:pt x="852001" y="156521"/>
                    </a:lnTo>
                    <a:lnTo>
                      <a:pt x="848668" y="155460"/>
                    </a:lnTo>
                    <a:lnTo>
                      <a:pt x="846699" y="153187"/>
                    </a:lnTo>
                    <a:lnTo>
                      <a:pt x="843365" y="148945"/>
                    </a:lnTo>
                    <a:lnTo>
                      <a:pt x="841547" y="147581"/>
                    </a:lnTo>
                    <a:lnTo>
                      <a:pt x="834425" y="146975"/>
                    </a:lnTo>
                    <a:lnTo>
                      <a:pt x="831849" y="146066"/>
                    </a:lnTo>
                    <a:lnTo>
                      <a:pt x="828970" y="146369"/>
                    </a:lnTo>
                    <a:lnTo>
                      <a:pt x="827304" y="146975"/>
                    </a:lnTo>
                    <a:lnTo>
                      <a:pt x="823516" y="146975"/>
                    </a:lnTo>
                    <a:lnTo>
                      <a:pt x="821546" y="147430"/>
                    </a:lnTo>
                    <a:lnTo>
                      <a:pt x="818970" y="150157"/>
                    </a:lnTo>
                    <a:lnTo>
                      <a:pt x="815636" y="153794"/>
                    </a:lnTo>
                    <a:lnTo>
                      <a:pt x="812909" y="156066"/>
                    </a:lnTo>
                    <a:lnTo>
                      <a:pt x="810939" y="158339"/>
                    </a:lnTo>
                    <a:lnTo>
                      <a:pt x="810030" y="159097"/>
                    </a:lnTo>
                    <a:lnTo>
                      <a:pt x="808363" y="158642"/>
                    </a:lnTo>
                    <a:lnTo>
                      <a:pt x="805940" y="156066"/>
                    </a:lnTo>
                    <a:lnTo>
                      <a:pt x="802454" y="153794"/>
                    </a:lnTo>
                    <a:lnTo>
                      <a:pt x="799121" y="152733"/>
                    </a:lnTo>
                    <a:lnTo>
                      <a:pt x="797757" y="152127"/>
                    </a:lnTo>
                    <a:lnTo>
                      <a:pt x="793969" y="151521"/>
                    </a:lnTo>
                    <a:lnTo>
                      <a:pt x="790938" y="151672"/>
                    </a:lnTo>
                    <a:lnTo>
                      <a:pt x="787150" y="152581"/>
                    </a:lnTo>
                    <a:lnTo>
                      <a:pt x="783514" y="152430"/>
                    </a:lnTo>
                    <a:lnTo>
                      <a:pt x="781847" y="151824"/>
                    </a:lnTo>
                    <a:lnTo>
                      <a:pt x="779423" y="151975"/>
                    </a:lnTo>
                    <a:lnTo>
                      <a:pt x="775180" y="154400"/>
                    </a:lnTo>
                    <a:lnTo>
                      <a:pt x="772907" y="157127"/>
                    </a:lnTo>
                    <a:lnTo>
                      <a:pt x="770332" y="157885"/>
                    </a:lnTo>
                    <a:lnTo>
                      <a:pt x="768059" y="156066"/>
                    </a:lnTo>
                    <a:lnTo>
                      <a:pt x="765180" y="153945"/>
                    </a:lnTo>
                    <a:lnTo>
                      <a:pt x="762604" y="151369"/>
                    </a:lnTo>
                    <a:lnTo>
                      <a:pt x="761089" y="148945"/>
                    </a:lnTo>
                    <a:lnTo>
                      <a:pt x="760180" y="142429"/>
                    </a:lnTo>
                    <a:lnTo>
                      <a:pt x="763211" y="140460"/>
                    </a:lnTo>
                    <a:lnTo>
                      <a:pt x="767301" y="138338"/>
                    </a:lnTo>
                    <a:lnTo>
                      <a:pt x="767604" y="134853"/>
                    </a:lnTo>
                    <a:lnTo>
                      <a:pt x="767453" y="131065"/>
                    </a:lnTo>
                    <a:lnTo>
                      <a:pt x="768210" y="126823"/>
                    </a:lnTo>
                    <a:lnTo>
                      <a:pt x="771847" y="122883"/>
                    </a:lnTo>
                    <a:lnTo>
                      <a:pt x="773816" y="119550"/>
                    </a:lnTo>
                    <a:lnTo>
                      <a:pt x="774120" y="117580"/>
                    </a:lnTo>
                    <a:lnTo>
                      <a:pt x="775786" y="114247"/>
                    </a:lnTo>
                    <a:lnTo>
                      <a:pt x="777454" y="110610"/>
                    </a:lnTo>
                    <a:lnTo>
                      <a:pt x="779726" y="105913"/>
                    </a:lnTo>
                    <a:lnTo>
                      <a:pt x="784120" y="97579"/>
                    </a:lnTo>
                    <a:lnTo>
                      <a:pt x="789272" y="87730"/>
                    </a:lnTo>
                    <a:lnTo>
                      <a:pt x="791847" y="82730"/>
                    </a:lnTo>
                    <a:lnTo>
                      <a:pt x="790484" y="80912"/>
                    </a:lnTo>
                    <a:lnTo>
                      <a:pt x="788211" y="79245"/>
                    </a:lnTo>
                    <a:lnTo>
                      <a:pt x="782756" y="77276"/>
                    </a:lnTo>
                    <a:lnTo>
                      <a:pt x="779120" y="76215"/>
                    </a:lnTo>
                    <a:lnTo>
                      <a:pt x="776847" y="76063"/>
                    </a:lnTo>
                    <a:lnTo>
                      <a:pt x="771089" y="78185"/>
                    </a:lnTo>
                    <a:lnTo>
                      <a:pt x="767604" y="79851"/>
                    </a:lnTo>
                    <a:lnTo>
                      <a:pt x="765483" y="80761"/>
                    </a:lnTo>
                    <a:lnTo>
                      <a:pt x="761846" y="80609"/>
                    </a:lnTo>
                    <a:lnTo>
                      <a:pt x="757453" y="80154"/>
                    </a:lnTo>
                    <a:lnTo>
                      <a:pt x="755786" y="79548"/>
                    </a:lnTo>
                    <a:lnTo>
                      <a:pt x="753361" y="78336"/>
                    </a:lnTo>
                    <a:lnTo>
                      <a:pt x="748513" y="74397"/>
                    </a:lnTo>
                    <a:lnTo>
                      <a:pt x="745937" y="71518"/>
                    </a:lnTo>
                    <a:lnTo>
                      <a:pt x="742452" y="70003"/>
                    </a:lnTo>
                    <a:lnTo>
                      <a:pt x="738815" y="68184"/>
                    </a:lnTo>
                    <a:lnTo>
                      <a:pt x="736846" y="67730"/>
                    </a:lnTo>
                    <a:lnTo>
                      <a:pt x="733512" y="67881"/>
                    </a:lnTo>
                    <a:lnTo>
                      <a:pt x="728967" y="67275"/>
                    </a:lnTo>
                    <a:lnTo>
                      <a:pt x="726542" y="66669"/>
                    </a:lnTo>
                    <a:lnTo>
                      <a:pt x="724421" y="67275"/>
                    </a:lnTo>
                    <a:lnTo>
                      <a:pt x="720330" y="69094"/>
                    </a:lnTo>
                    <a:lnTo>
                      <a:pt x="715178" y="72882"/>
                    </a:lnTo>
                    <a:lnTo>
                      <a:pt x="711087" y="74245"/>
                    </a:lnTo>
                    <a:lnTo>
                      <a:pt x="706844" y="76215"/>
                    </a:lnTo>
                    <a:lnTo>
                      <a:pt x="703208" y="78488"/>
                    </a:lnTo>
                    <a:lnTo>
                      <a:pt x="699723" y="80912"/>
                    </a:lnTo>
                    <a:lnTo>
                      <a:pt x="695480" y="83639"/>
                    </a:lnTo>
                    <a:lnTo>
                      <a:pt x="693511" y="87427"/>
                    </a:lnTo>
                    <a:lnTo>
                      <a:pt x="692601" y="90155"/>
                    </a:lnTo>
                    <a:lnTo>
                      <a:pt x="688662" y="91822"/>
                    </a:lnTo>
                    <a:lnTo>
                      <a:pt x="685783" y="93488"/>
                    </a:lnTo>
                    <a:lnTo>
                      <a:pt x="682753" y="93943"/>
                    </a:lnTo>
                    <a:lnTo>
                      <a:pt x="677298" y="93185"/>
                    </a:lnTo>
                    <a:lnTo>
                      <a:pt x="673965" y="93791"/>
                    </a:lnTo>
                    <a:lnTo>
                      <a:pt x="665934" y="96973"/>
                    </a:lnTo>
                    <a:lnTo>
                      <a:pt x="661843" y="97276"/>
                    </a:lnTo>
                    <a:lnTo>
                      <a:pt x="659115" y="97731"/>
                    </a:lnTo>
                    <a:lnTo>
                      <a:pt x="656388" y="97882"/>
                    </a:lnTo>
                    <a:lnTo>
                      <a:pt x="651994" y="98640"/>
                    </a:lnTo>
                    <a:lnTo>
                      <a:pt x="650327" y="99246"/>
                    </a:lnTo>
                    <a:lnTo>
                      <a:pt x="648055" y="99852"/>
                    </a:lnTo>
                    <a:lnTo>
                      <a:pt x="645479" y="99398"/>
                    </a:lnTo>
                    <a:lnTo>
                      <a:pt x="641993" y="101216"/>
                    </a:lnTo>
                    <a:lnTo>
                      <a:pt x="631690" y="106064"/>
                    </a:lnTo>
                    <a:lnTo>
                      <a:pt x="628357" y="106822"/>
                    </a:lnTo>
                    <a:lnTo>
                      <a:pt x="626236" y="107125"/>
                    </a:lnTo>
                    <a:lnTo>
                      <a:pt x="623508" y="105307"/>
                    </a:lnTo>
                    <a:lnTo>
                      <a:pt x="620629" y="104246"/>
                    </a:lnTo>
                    <a:lnTo>
                      <a:pt x="617751" y="104246"/>
                    </a:lnTo>
                    <a:lnTo>
                      <a:pt x="614417" y="105913"/>
                    </a:lnTo>
                    <a:lnTo>
                      <a:pt x="608810" y="104701"/>
                    </a:lnTo>
                    <a:lnTo>
                      <a:pt x="602144" y="103489"/>
                    </a:lnTo>
                    <a:lnTo>
                      <a:pt x="596083" y="102428"/>
                    </a:lnTo>
                    <a:lnTo>
                      <a:pt x="593962" y="101519"/>
                    </a:lnTo>
                    <a:lnTo>
                      <a:pt x="588052" y="100155"/>
                    </a:lnTo>
                    <a:lnTo>
                      <a:pt x="579416" y="100155"/>
                    </a:lnTo>
                    <a:lnTo>
                      <a:pt x="574264" y="100155"/>
                    </a:lnTo>
                    <a:lnTo>
                      <a:pt x="571082" y="100610"/>
                    </a:lnTo>
                    <a:lnTo>
                      <a:pt x="568506" y="99852"/>
                    </a:lnTo>
                    <a:lnTo>
                      <a:pt x="565324" y="97882"/>
                    </a:lnTo>
                    <a:lnTo>
                      <a:pt x="560021" y="93337"/>
                    </a:lnTo>
                    <a:lnTo>
                      <a:pt x="556991" y="91973"/>
                    </a:lnTo>
                    <a:lnTo>
                      <a:pt x="555172" y="90912"/>
                    </a:lnTo>
                    <a:lnTo>
                      <a:pt x="554566" y="89094"/>
                    </a:lnTo>
                    <a:lnTo>
                      <a:pt x="553354" y="88791"/>
                    </a:lnTo>
                    <a:lnTo>
                      <a:pt x="552596" y="87427"/>
                    </a:lnTo>
                    <a:lnTo>
                      <a:pt x="552596" y="85761"/>
                    </a:lnTo>
                    <a:lnTo>
                      <a:pt x="552445" y="81821"/>
                    </a:lnTo>
                    <a:lnTo>
                      <a:pt x="552900" y="79094"/>
                    </a:lnTo>
                    <a:lnTo>
                      <a:pt x="551990" y="78336"/>
                    </a:lnTo>
                    <a:lnTo>
                      <a:pt x="548354" y="77882"/>
                    </a:lnTo>
                    <a:lnTo>
                      <a:pt x="544111" y="77124"/>
                    </a:lnTo>
                    <a:lnTo>
                      <a:pt x="536383" y="76973"/>
                    </a:lnTo>
                    <a:lnTo>
                      <a:pt x="533202" y="76821"/>
                    </a:lnTo>
                    <a:lnTo>
                      <a:pt x="530777" y="75306"/>
                    </a:lnTo>
                    <a:lnTo>
                      <a:pt x="528050" y="73336"/>
                    </a:lnTo>
                    <a:lnTo>
                      <a:pt x="525323" y="69397"/>
                    </a:lnTo>
                    <a:lnTo>
                      <a:pt x="522898" y="67578"/>
                    </a:lnTo>
                    <a:lnTo>
                      <a:pt x="518959" y="65305"/>
                    </a:lnTo>
                    <a:lnTo>
                      <a:pt x="515322" y="64699"/>
                    </a:lnTo>
                    <a:lnTo>
                      <a:pt x="509564" y="65154"/>
                    </a:lnTo>
                    <a:lnTo>
                      <a:pt x="505474" y="65608"/>
                    </a:lnTo>
                    <a:lnTo>
                      <a:pt x="501837" y="64548"/>
                    </a:lnTo>
                    <a:lnTo>
                      <a:pt x="499412" y="63336"/>
                    </a:lnTo>
                    <a:lnTo>
                      <a:pt x="496079" y="61972"/>
                    </a:lnTo>
                    <a:lnTo>
                      <a:pt x="491079" y="61669"/>
                    </a:lnTo>
                    <a:lnTo>
                      <a:pt x="486988" y="60760"/>
                    </a:lnTo>
                    <a:lnTo>
                      <a:pt x="482594" y="59548"/>
                    </a:lnTo>
                    <a:lnTo>
                      <a:pt x="479412" y="60002"/>
                    </a:lnTo>
                    <a:lnTo>
                      <a:pt x="477290" y="61063"/>
                    </a:lnTo>
                    <a:lnTo>
                      <a:pt x="474715" y="62578"/>
                    </a:lnTo>
                    <a:lnTo>
                      <a:pt x="471533" y="62730"/>
                    </a:lnTo>
                    <a:lnTo>
                      <a:pt x="463502" y="64245"/>
                    </a:lnTo>
                    <a:lnTo>
                      <a:pt x="461078" y="65154"/>
                    </a:lnTo>
                    <a:lnTo>
                      <a:pt x="457593" y="65457"/>
                    </a:lnTo>
                    <a:lnTo>
                      <a:pt x="454562" y="66669"/>
                    </a:lnTo>
                    <a:lnTo>
                      <a:pt x="451987" y="68790"/>
                    </a:lnTo>
                    <a:lnTo>
                      <a:pt x="449714" y="70457"/>
                    </a:lnTo>
                    <a:lnTo>
                      <a:pt x="446986" y="70912"/>
                    </a:lnTo>
                    <a:lnTo>
                      <a:pt x="443653" y="70912"/>
                    </a:lnTo>
                    <a:lnTo>
                      <a:pt x="440926" y="70306"/>
                    </a:lnTo>
                    <a:lnTo>
                      <a:pt x="439410" y="70154"/>
                    </a:lnTo>
                    <a:lnTo>
                      <a:pt x="437289" y="70912"/>
                    </a:lnTo>
                    <a:lnTo>
                      <a:pt x="434713" y="71518"/>
                    </a:lnTo>
                    <a:lnTo>
                      <a:pt x="431077" y="70609"/>
                    </a:lnTo>
                    <a:lnTo>
                      <a:pt x="428955" y="69851"/>
                    </a:lnTo>
                    <a:lnTo>
                      <a:pt x="425773" y="69245"/>
                    </a:lnTo>
                    <a:lnTo>
                      <a:pt x="423804" y="66972"/>
                    </a:lnTo>
                    <a:lnTo>
                      <a:pt x="421834" y="66063"/>
                    </a:lnTo>
                    <a:lnTo>
                      <a:pt x="418500" y="65760"/>
                    </a:lnTo>
                    <a:lnTo>
                      <a:pt x="413652" y="64548"/>
                    </a:lnTo>
                    <a:lnTo>
                      <a:pt x="411076" y="63336"/>
                    </a:lnTo>
                    <a:lnTo>
                      <a:pt x="408803" y="62578"/>
                    </a:lnTo>
                    <a:lnTo>
                      <a:pt x="405015" y="60002"/>
                    </a:lnTo>
                    <a:lnTo>
                      <a:pt x="402894" y="57729"/>
                    </a:lnTo>
                    <a:lnTo>
                      <a:pt x="401227" y="57275"/>
                    </a:lnTo>
                    <a:lnTo>
                      <a:pt x="399257" y="56972"/>
                    </a:lnTo>
                    <a:lnTo>
                      <a:pt x="398045" y="55457"/>
                    </a:lnTo>
                    <a:lnTo>
                      <a:pt x="397894" y="53790"/>
                    </a:lnTo>
                    <a:lnTo>
                      <a:pt x="398348" y="52578"/>
                    </a:lnTo>
                    <a:lnTo>
                      <a:pt x="398803" y="50759"/>
                    </a:lnTo>
                    <a:lnTo>
                      <a:pt x="397591" y="48941"/>
                    </a:lnTo>
                    <a:lnTo>
                      <a:pt x="396530" y="48184"/>
                    </a:lnTo>
                    <a:lnTo>
                      <a:pt x="395924" y="46668"/>
                    </a:lnTo>
                    <a:lnTo>
                      <a:pt x="396227" y="44093"/>
                    </a:lnTo>
                    <a:lnTo>
                      <a:pt x="395772" y="41517"/>
                    </a:lnTo>
                    <a:lnTo>
                      <a:pt x="395469" y="38789"/>
                    </a:lnTo>
                    <a:lnTo>
                      <a:pt x="394257" y="36668"/>
                    </a:lnTo>
                    <a:lnTo>
                      <a:pt x="393954" y="32729"/>
                    </a:lnTo>
                    <a:lnTo>
                      <a:pt x="394409" y="31213"/>
                    </a:lnTo>
                    <a:lnTo>
                      <a:pt x="394409" y="29243"/>
                    </a:lnTo>
                    <a:lnTo>
                      <a:pt x="393197" y="27728"/>
                    </a:lnTo>
                    <a:lnTo>
                      <a:pt x="389560" y="26819"/>
                    </a:lnTo>
                    <a:lnTo>
                      <a:pt x="385166" y="25304"/>
                    </a:lnTo>
                    <a:lnTo>
                      <a:pt x="378347" y="23637"/>
                    </a:lnTo>
                    <a:lnTo>
                      <a:pt x="375468" y="23486"/>
                    </a:lnTo>
                    <a:lnTo>
                      <a:pt x="373196" y="24243"/>
                    </a:lnTo>
                    <a:lnTo>
                      <a:pt x="371075" y="23334"/>
                    </a:lnTo>
                    <a:lnTo>
                      <a:pt x="368802" y="21971"/>
                    </a:lnTo>
                    <a:lnTo>
                      <a:pt x="365013" y="20607"/>
                    </a:lnTo>
                    <a:lnTo>
                      <a:pt x="360165" y="18637"/>
                    </a:lnTo>
                    <a:lnTo>
                      <a:pt x="354862" y="16516"/>
                    </a:lnTo>
                    <a:lnTo>
                      <a:pt x="350013" y="14698"/>
                    </a:lnTo>
                    <a:lnTo>
                      <a:pt x="348195" y="14243"/>
                    </a:lnTo>
                    <a:lnTo>
                      <a:pt x="341680" y="14091"/>
                    </a:lnTo>
                    <a:lnTo>
                      <a:pt x="336376" y="13788"/>
                    </a:lnTo>
                    <a:lnTo>
                      <a:pt x="333195" y="13182"/>
                    </a:lnTo>
                    <a:lnTo>
                      <a:pt x="329558" y="10607"/>
                    </a:lnTo>
                    <a:lnTo>
                      <a:pt x="327740" y="8940"/>
                    </a:lnTo>
                    <a:lnTo>
                      <a:pt x="324709" y="8182"/>
                    </a:lnTo>
                    <a:lnTo>
                      <a:pt x="322588" y="7879"/>
                    </a:lnTo>
                    <a:lnTo>
                      <a:pt x="319103" y="6970"/>
                    </a:lnTo>
                    <a:lnTo>
                      <a:pt x="312890" y="4243"/>
                    </a:lnTo>
                    <a:lnTo>
                      <a:pt x="310466" y="3030"/>
                    </a:lnTo>
                    <a:lnTo>
                      <a:pt x="308951" y="2879"/>
                    </a:lnTo>
                    <a:lnTo>
                      <a:pt x="306830" y="455"/>
                    </a:lnTo>
                    <a:lnTo>
                      <a:pt x="305011" y="0"/>
                    </a:lnTo>
                    <a:lnTo>
                      <a:pt x="303799" y="1667"/>
                    </a:lnTo>
                    <a:lnTo>
                      <a:pt x="302587" y="5758"/>
                    </a:lnTo>
                    <a:lnTo>
                      <a:pt x="301375" y="7728"/>
                    </a:lnTo>
                    <a:lnTo>
                      <a:pt x="298193" y="11516"/>
                    </a:lnTo>
                    <a:lnTo>
                      <a:pt x="290314" y="14546"/>
                    </a:lnTo>
                    <a:lnTo>
                      <a:pt x="288950" y="16061"/>
                    </a:lnTo>
                    <a:lnTo>
                      <a:pt x="288193" y="17576"/>
                    </a:lnTo>
                    <a:lnTo>
                      <a:pt x="287132" y="19546"/>
                    </a:lnTo>
                    <a:lnTo>
                      <a:pt x="286678" y="22274"/>
                    </a:lnTo>
                    <a:lnTo>
                      <a:pt x="285768" y="23031"/>
                    </a:lnTo>
                    <a:lnTo>
                      <a:pt x="283495" y="23031"/>
                    </a:lnTo>
                    <a:lnTo>
                      <a:pt x="281677" y="24243"/>
                    </a:lnTo>
                    <a:lnTo>
                      <a:pt x="280313" y="26971"/>
                    </a:lnTo>
                    <a:lnTo>
                      <a:pt x="279253" y="28031"/>
                    </a:lnTo>
                    <a:lnTo>
                      <a:pt x="278495" y="30456"/>
                    </a:lnTo>
                    <a:lnTo>
                      <a:pt x="278647" y="31516"/>
                    </a:lnTo>
                    <a:lnTo>
                      <a:pt x="278344" y="32729"/>
                    </a:lnTo>
                    <a:lnTo>
                      <a:pt x="278192" y="34547"/>
                    </a:lnTo>
                    <a:lnTo>
                      <a:pt x="276223" y="38638"/>
                    </a:lnTo>
                    <a:lnTo>
                      <a:pt x="275919" y="41062"/>
                    </a:lnTo>
                    <a:lnTo>
                      <a:pt x="276677" y="42577"/>
                    </a:lnTo>
                    <a:lnTo>
                      <a:pt x="278495" y="44699"/>
                    </a:lnTo>
                    <a:lnTo>
                      <a:pt x="279404" y="45759"/>
                    </a:lnTo>
                    <a:lnTo>
                      <a:pt x="279707" y="47123"/>
                    </a:lnTo>
                    <a:lnTo>
                      <a:pt x="279556" y="48941"/>
                    </a:lnTo>
                    <a:lnTo>
                      <a:pt x="280617" y="51366"/>
                    </a:lnTo>
                    <a:lnTo>
                      <a:pt x="281526" y="53335"/>
                    </a:lnTo>
                    <a:lnTo>
                      <a:pt x="282738" y="54851"/>
                    </a:lnTo>
                    <a:lnTo>
                      <a:pt x="284556" y="56063"/>
                    </a:lnTo>
                    <a:lnTo>
                      <a:pt x="286678" y="56517"/>
                    </a:lnTo>
                    <a:lnTo>
                      <a:pt x="288344" y="57426"/>
                    </a:lnTo>
                    <a:lnTo>
                      <a:pt x="288647" y="59093"/>
                    </a:lnTo>
                    <a:lnTo>
                      <a:pt x="288193" y="61366"/>
                    </a:lnTo>
                    <a:lnTo>
                      <a:pt x="287435" y="65608"/>
                    </a:lnTo>
                    <a:lnTo>
                      <a:pt x="286071" y="68336"/>
                    </a:lnTo>
                    <a:lnTo>
                      <a:pt x="285314" y="70003"/>
                    </a:lnTo>
                    <a:lnTo>
                      <a:pt x="283950" y="72730"/>
                    </a:lnTo>
                    <a:lnTo>
                      <a:pt x="283495" y="73639"/>
                    </a:lnTo>
                    <a:lnTo>
                      <a:pt x="280768" y="75912"/>
                    </a:lnTo>
                    <a:lnTo>
                      <a:pt x="278950" y="76518"/>
                    </a:lnTo>
                    <a:lnTo>
                      <a:pt x="276677" y="78336"/>
                    </a:lnTo>
                    <a:lnTo>
                      <a:pt x="274707" y="78488"/>
                    </a:lnTo>
                    <a:lnTo>
                      <a:pt x="273041" y="78488"/>
                    </a:lnTo>
                    <a:lnTo>
                      <a:pt x="271071" y="78791"/>
                    </a:lnTo>
                    <a:lnTo>
                      <a:pt x="269404" y="79700"/>
                    </a:lnTo>
                    <a:lnTo>
                      <a:pt x="268040" y="82124"/>
                    </a:lnTo>
                    <a:lnTo>
                      <a:pt x="264707" y="84549"/>
                    </a:lnTo>
                    <a:lnTo>
                      <a:pt x="263192" y="85609"/>
                    </a:lnTo>
                    <a:lnTo>
                      <a:pt x="258949" y="86064"/>
                    </a:lnTo>
                    <a:lnTo>
                      <a:pt x="256979" y="85003"/>
                    </a:lnTo>
                    <a:lnTo>
                      <a:pt x="255919" y="83488"/>
                    </a:lnTo>
                    <a:lnTo>
                      <a:pt x="254555" y="82579"/>
                    </a:lnTo>
                    <a:lnTo>
                      <a:pt x="252888" y="80609"/>
                    </a:lnTo>
                    <a:lnTo>
                      <a:pt x="245464" y="79700"/>
                    </a:lnTo>
                    <a:lnTo>
                      <a:pt x="243494" y="80154"/>
                    </a:lnTo>
                    <a:lnTo>
                      <a:pt x="242282" y="80761"/>
                    </a:lnTo>
                    <a:lnTo>
                      <a:pt x="240767" y="80306"/>
                    </a:lnTo>
                    <a:lnTo>
                      <a:pt x="239706" y="79397"/>
                    </a:lnTo>
                    <a:lnTo>
                      <a:pt x="238645" y="79700"/>
                    </a:lnTo>
                    <a:lnTo>
                      <a:pt x="236373" y="80154"/>
                    </a:lnTo>
                    <a:lnTo>
                      <a:pt x="234554" y="80003"/>
                    </a:lnTo>
                    <a:lnTo>
                      <a:pt x="232282" y="78185"/>
                    </a:lnTo>
                    <a:lnTo>
                      <a:pt x="228948" y="77124"/>
                    </a:lnTo>
                    <a:lnTo>
                      <a:pt x="227736" y="76518"/>
                    </a:lnTo>
                    <a:lnTo>
                      <a:pt x="226372" y="76518"/>
                    </a:lnTo>
                    <a:lnTo>
                      <a:pt x="225615" y="77427"/>
                    </a:lnTo>
                    <a:lnTo>
                      <a:pt x="224099" y="77882"/>
                    </a:lnTo>
                    <a:lnTo>
                      <a:pt x="223190" y="76821"/>
                    </a:lnTo>
                    <a:lnTo>
                      <a:pt x="221827" y="76063"/>
                    </a:lnTo>
                    <a:lnTo>
                      <a:pt x="220160" y="76063"/>
                    </a:lnTo>
                    <a:lnTo>
                      <a:pt x="217887" y="77730"/>
                    </a:lnTo>
                    <a:lnTo>
                      <a:pt x="214099" y="78488"/>
                    </a:lnTo>
                    <a:lnTo>
                      <a:pt x="212887" y="79700"/>
                    </a:lnTo>
                    <a:lnTo>
                      <a:pt x="210614" y="79548"/>
                    </a:lnTo>
                    <a:lnTo>
                      <a:pt x="209099" y="78639"/>
                    </a:lnTo>
                    <a:lnTo>
                      <a:pt x="207584" y="78488"/>
                    </a:lnTo>
                    <a:lnTo>
                      <a:pt x="203038" y="78488"/>
                    </a:lnTo>
                    <a:lnTo>
                      <a:pt x="201674" y="78791"/>
                    </a:lnTo>
                    <a:lnTo>
                      <a:pt x="199704" y="77882"/>
                    </a:lnTo>
                    <a:lnTo>
                      <a:pt x="198947" y="76215"/>
                    </a:lnTo>
                    <a:lnTo>
                      <a:pt x="196674" y="74851"/>
                    </a:lnTo>
                    <a:lnTo>
                      <a:pt x="193341" y="74700"/>
                    </a:lnTo>
                    <a:lnTo>
                      <a:pt x="190916" y="75003"/>
                    </a:lnTo>
                    <a:lnTo>
                      <a:pt x="189704" y="75457"/>
                    </a:lnTo>
                    <a:lnTo>
                      <a:pt x="188037" y="75609"/>
                    </a:lnTo>
                    <a:lnTo>
                      <a:pt x="186674" y="73336"/>
                    </a:lnTo>
                    <a:lnTo>
                      <a:pt x="184856" y="71669"/>
                    </a:lnTo>
                    <a:lnTo>
                      <a:pt x="183795" y="70609"/>
                    </a:lnTo>
                    <a:lnTo>
                      <a:pt x="182128" y="70003"/>
                    </a:lnTo>
                    <a:lnTo>
                      <a:pt x="180916" y="68487"/>
                    </a:lnTo>
                    <a:lnTo>
                      <a:pt x="180764" y="65608"/>
                    </a:lnTo>
                    <a:lnTo>
                      <a:pt x="180007" y="61972"/>
                    </a:lnTo>
                    <a:lnTo>
                      <a:pt x="179098" y="58184"/>
                    </a:lnTo>
                    <a:lnTo>
                      <a:pt x="178037" y="56517"/>
                    </a:lnTo>
                    <a:lnTo>
                      <a:pt x="173340" y="55911"/>
                    </a:lnTo>
                    <a:lnTo>
                      <a:pt x="170915" y="56063"/>
                    </a:lnTo>
                    <a:lnTo>
                      <a:pt x="165612" y="55760"/>
                    </a:lnTo>
                    <a:lnTo>
                      <a:pt x="161976" y="55608"/>
                    </a:lnTo>
                    <a:lnTo>
                      <a:pt x="160915" y="55457"/>
                    </a:lnTo>
                    <a:lnTo>
                      <a:pt x="157582" y="55154"/>
                    </a:lnTo>
                    <a:lnTo>
                      <a:pt x="154400" y="54699"/>
                    </a:lnTo>
                    <a:lnTo>
                      <a:pt x="151218" y="54396"/>
                    </a:lnTo>
                    <a:lnTo>
                      <a:pt x="150005" y="54699"/>
                    </a:lnTo>
                    <a:lnTo>
                      <a:pt x="146672" y="54851"/>
                    </a:lnTo>
                    <a:lnTo>
                      <a:pt x="144096" y="53032"/>
                    </a:lnTo>
                    <a:lnTo>
                      <a:pt x="143036" y="50911"/>
                    </a:lnTo>
                    <a:lnTo>
                      <a:pt x="142884" y="49850"/>
                    </a:lnTo>
                    <a:lnTo>
                      <a:pt x="142278" y="48638"/>
                    </a:lnTo>
                    <a:lnTo>
                      <a:pt x="139854" y="48184"/>
                    </a:lnTo>
                    <a:lnTo>
                      <a:pt x="137732" y="48487"/>
                    </a:lnTo>
                    <a:lnTo>
                      <a:pt x="136672" y="51063"/>
                    </a:lnTo>
                    <a:lnTo>
                      <a:pt x="135157" y="51972"/>
                    </a:lnTo>
                    <a:lnTo>
                      <a:pt x="133641" y="51820"/>
                    </a:lnTo>
                    <a:lnTo>
                      <a:pt x="132278" y="50456"/>
                    </a:lnTo>
                    <a:lnTo>
                      <a:pt x="129853" y="49093"/>
                    </a:lnTo>
                    <a:lnTo>
                      <a:pt x="128186" y="47729"/>
                    </a:lnTo>
                    <a:lnTo>
                      <a:pt x="126217" y="45456"/>
                    </a:lnTo>
                    <a:lnTo>
                      <a:pt x="124550" y="46062"/>
                    </a:lnTo>
                    <a:lnTo>
                      <a:pt x="124096" y="47426"/>
                    </a:lnTo>
                    <a:lnTo>
                      <a:pt x="123793" y="48638"/>
                    </a:lnTo>
                    <a:lnTo>
                      <a:pt x="121671" y="51366"/>
                    </a:lnTo>
                    <a:lnTo>
                      <a:pt x="119398" y="51669"/>
                    </a:lnTo>
                    <a:lnTo>
                      <a:pt x="115308" y="51517"/>
                    </a:lnTo>
                    <a:lnTo>
                      <a:pt x="111065" y="51669"/>
                    </a:lnTo>
                    <a:lnTo>
                      <a:pt x="108489" y="52578"/>
                    </a:lnTo>
                    <a:lnTo>
                      <a:pt x="106519" y="54396"/>
                    </a:lnTo>
                    <a:lnTo>
                      <a:pt x="105458" y="55911"/>
                    </a:lnTo>
                    <a:lnTo>
                      <a:pt x="103337" y="56366"/>
                    </a:lnTo>
                    <a:lnTo>
                      <a:pt x="101367" y="57729"/>
                    </a:lnTo>
                    <a:lnTo>
                      <a:pt x="100458" y="59699"/>
                    </a:lnTo>
                    <a:lnTo>
                      <a:pt x="98489" y="59699"/>
                    </a:lnTo>
                    <a:lnTo>
                      <a:pt x="97277" y="59851"/>
                    </a:lnTo>
                    <a:lnTo>
                      <a:pt x="95458" y="60305"/>
                    </a:lnTo>
                    <a:lnTo>
                      <a:pt x="90912" y="61366"/>
                    </a:lnTo>
                    <a:lnTo>
                      <a:pt x="89701" y="61669"/>
                    </a:lnTo>
                    <a:lnTo>
                      <a:pt x="86822" y="63487"/>
                    </a:lnTo>
                    <a:lnTo>
                      <a:pt x="84700" y="64851"/>
                    </a:lnTo>
                    <a:lnTo>
                      <a:pt x="82579" y="65608"/>
                    </a:lnTo>
                    <a:lnTo>
                      <a:pt x="81367" y="67275"/>
                    </a:lnTo>
                    <a:lnTo>
                      <a:pt x="79700" y="68487"/>
                    </a:lnTo>
                    <a:lnTo>
                      <a:pt x="75912" y="68790"/>
                    </a:lnTo>
                    <a:lnTo>
                      <a:pt x="71669" y="70457"/>
                    </a:lnTo>
                    <a:lnTo>
                      <a:pt x="70306" y="71063"/>
                    </a:lnTo>
                    <a:lnTo>
                      <a:pt x="67881" y="72275"/>
                    </a:lnTo>
                    <a:lnTo>
                      <a:pt x="64548" y="72730"/>
                    </a:lnTo>
                    <a:lnTo>
                      <a:pt x="63184" y="73185"/>
                    </a:lnTo>
                    <a:lnTo>
                      <a:pt x="61972" y="73942"/>
                    </a:lnTo>
                    <a:lnTo>
                      <a:pt x="61215" y="76973"/>
                    </a:lnTo>
                    <a:lnTo>
                      <a:pt x="58487" y="78185"/>
                    </a:lnTo>
                    <a:lnTo>
                      <a:pt x="54699" y="78336"/>
                    </a:lnTo>
                    <a:lnTo>
                      <a:pt x="51972" y="80003"/>
                    </a:lnTo>
                    <a:lnTo>
                      <a:pt x="51820" y="82730"/>
                    </a:lnTo>
                    <a:lnTo>
                      <a:pt x="52729" y="85306"/>
                    </a:lnTo>
                    <a:lnTo>
                      <a:pt x="52275" y="86518"/>
                    </a:lnTo>
                    <a:lnTo>
                      <a:pt x="50305" y="87124"/>
                    </a:lnTo>
                    <a:lnTo>
                      <a:pt x="47426" y="88488"/>
                    </a:lnTo>
                    <a:lnTo>
                      <a:pt x="45153" y="90306"/>
                    </a:lnTo>
                    <a:lnTo>
                      <a:pt x="42577" y="90306"/>
                    </a:lnTo>
                    <a:lnTo>
                      <a:pt x="41062" y="89700"/>
                    </a:lnTo>
                    <a:lnTo>
                      <a:pt x="40002" y="90912"/>
                    </a:lnTo>
                    <a:lnTo>
                      <a:pt x="39395" y="93185"/>
                    </a:lnTo>
                    <a:lnTo>
                      <a:pt x="37426" y="94246"/>
                    </a:lnTo>
                    <a:lnTo>
                      <a:pt x="34698" y="95155"/>
                    </a:lnTo>
                    <a:lnTo>
                      <a:pt x="33638" y="94852"/>
                    </a:lnTo>
                    <a:lnTo>
                      <a:pt x="32880" y="93943"/>
                    </a:lnTo>
                    <a:lnTo>
                      <a:pt x="31668" y="92882"/>
                    </a:lnTo>
                    <a:lnTo>
                      <a:pt x="30607" y="93337"/>
                    </a:lnTo>
                    <a:lnTo>
                      <a:pt x="30607" y="94852"/>
                    </a:lnTo>
                    <a:lnTo>
                      <a:pt x="29850" y="96064"/>
                    </a:lnTo>
                    <a:lnTo>
                      <a:pt x="27577" y="96216"/>
                    </a:lnTo>
                    <a:lnTo>
                      <a:pt x="25759" y="95458"/>
                    </a:lnTo>
                    <a:lnTo>
                      <a:pt x="24395" y="94700"/>
                    </a:lnTo>
                    <a:lnTo>
                      <a:pt x="21971" y="94852"/>
                    </a:lnTo>
                    <a:lnTo>
                      <a:pt x="19395" y="95155"/>
                    </a:lnTo>
                    <a:lnTo>
                      <a:pt x="17728" y="94852"/>
                    </a:lnTo>
                    <a:lnTo>
                      <a:pt x="16213" y="95307"/>
                    </a:lnTo>
                    <a:lnTo>
                      <a:pt x="12273" y="95913"/>
                    </a:lnTo>
                    <a:lnTo>
                      <a:pt x="10758" y="98488"/>
                    </a:lnTo>
                    <a:lnTo>
                      <a:pt x="10758" y="101367"/>
                    </a:lnTo>
                    <a:lnTo>
                      <a:pt x="10152" y="102883"/>
                    </a:lnTo>
                    <a:lnTo>
                      <a:pt x="7879" y="104246"/>
                    </a:lnTo>
                    <a:lnTo>
                      <a:pt x="6667" y="105307"/>
                    </a:lnTo>
                    <a:lnTo>
                      <a:pt x="5303" y="106064"/>
                    </a:lnTo>
                    <a:lnTo>
                      <a:pt x="2122" y="106216"/>
                    </a:lnTo>
                    <a:lnTo>
                      <a:pt x="1970" y="106216"/>
                    </a:lnTo>
                    <a:lnTo>
                      <a:pt x="2273" y="107883"/>
                    </a:lnTo>
                    <a:lnTo>
                      <a:pt x="1970" y="109095"/>
                    </a:lnTo>
                    <a:lnTo>
                      <a:pt x="2576" y="110762"/>
                    </a:lnTo>
                    <a:lnTo>
                      <a:pt x="3485" y="111974"/>
                    </a:lnTo>
                    <a:lnTo>
                      <a:pt x="3182" y="113186"/>
                    </a:lnTo>
                    <a:lnTo>
                      <a:pt x="1818" y="113792"/>
                    </a:lnTo>
                    <a:lnTo>
                      <a:pt x="303" y="114853"/>
                    </a:lnTo>
                    <a:lnTo>
                      <a:pt x="0" y="116065"/>
                    </a:lnTo>
                    <a:lnTo>
                      <a:pt x="1818" y="117732"/>
                    </a:lnTo>
                    <a:lnTo>
                      <a:pt x="2424" y="119247"/>
                    </a:lnTo>
                    <a:lnTo>
                      <a:pt x="5455" y="120156"/>
                    </a:lnTo>
                    <a:lnTo>
                      <a:pt x="7879" y="121217"/>
                    </a:lnTo>
                    <a:lnTo>
                      <a:pt x="8637" y="122277"/>
                    </a:lnTo>
                    <a:lnTo>
                      <a:pt x="8485" y="123338"/>
                    </a:lnTo>
                    <a:lnTo>
                      <a:pt x="7273" y="124550"/>
                    </a:lnTo>
                    <a:lnTo>
                      <a:pt x="6212" y="125914"/>
                    </a:lnTo>
                    <a:lnTo>
                      <a:pt x="6212" y="126671"/>
                    </a:lnTo>
                    <a:lnTo>
                      <a:pt x="6515" y="127580"/>
                    </a:lnTo>
                    <a:lnTo>
                      <a:pt x="8788" y="128186"/>
                    </a:lnTo>
                    <a:lnTo>
                      <a:pt x="11364" y="129247"/>
                    </a:lnTo>
                    <a:lnTo>
                      <a:pt x="15455" y="130459"/>
                    </a:lnTo>
                    <a:lnTo>
                      <a:pt x="18334" y="132884"/>
                    </a:lnTo>
                    <a:lnTo>
                      <a:pt x="21213" y="133641"/>
                    </a:lnTo>
                    <a:lnTo>
                      <a:pt x="22577" y="135914"/>
                    </a:lnTo>
                    <a:lnTo>
                      <a:pt x="22728" y="139248"/>
                    </a:lnTo>
                    <a:lnTo>
                      <a:pt x="25759" y="141066"/>
                    </a:lnTo>
                    <a:lnTo>
                      <a:pt x="30001" y="143490"/>
                    </a:lnTo>
                    <a:lnTo>
                      <a:pt x="32122" y="143945"/>
                    </a:lnTo>
                    <a:lnTo>
                      <a:pt x="33638" y="145308"/>
                    </a:lnTo>
                    <a:lnTo>
                      <a:pt x="35759" y="146975"/>
                    </a:lnTo>
                    <a:lnTo>
                      <a:pt x="37577" y="147430"/>
                    </a:lnTo>
                    <a:lnTo>
                      <a:pt x="39698" y="147733"/>
                    </a:lnTo>
                    <a:lnTo>
                      <a:pt x="43486" y="146066"/>
                    </a:lnTo>
                    <a:lnTo>
                      <a:pt x="47578" y="146066"/>
                    </a:lnTo>
                    <a:lnTo>
                      <a:pt x="49699" y="146824"/>
                    </a:lnTo>
                    <a:lnTo>
                      <a:pt x="51820" y="150157"/>
                    </a:lnTo>
                    <a:lnTo>
                      <a:pt x="53336" y="151218"/>
                    </a:lnTo>
                    <a:lnTo>
                      <a:pt x="54245" y="152127"/>
                    </a:lnTo>
                    <a:lnTo>
                      <a:pt x="55760" y="153036"/>
                    </a:lnTo>
                    <a:lnTo>
                      <a:pt x="57124" y="153187"/>
                    </a:lnTo>
                    <a:lnTo>
                      <a:pt x="59245" y="152430"/>
                    </a:lnTo>
                    <a:lnTo>
                      <a:pt x="60608" y="150915"/>
                    </a:lnTo>
                    <a:lnTo>
                      <a:pt x="62578" y="151218"/>
                    </a:lnTo>
                    <a:lnTo>
                      <a:pt x="63184" y="152278"/>
                    </a:lnTo>
                    <a:lnTo>
                      <a:pt x="63639" y="153794"/>
                    </a:lnTo>
                    <a:lnTo>
                      <a:pt x="64548" y="155915"/>
                    </a:lnTo>
                    <a:lnTo>
                      <a:pt x="66972" y="157430"/>
                    </a:lnTo>
                    <a:lnTo>
                      <a:pt x="70306" y="158339"/>
                    </a:lnTo>
                    <a:lnTo>
                      <a:pt x="70760" y="158945"/>
                    </a:lnTo>
                    <a:lnTo>
                      <a:pt x="71215" y="161067"/>
                    </a:lnTo>
                    <a:lnTo>
                      <a:pt x="72124" y="162430"/>
                    </a:lnTo>
                    <a:lnTo>
                      <a:pt x="73336" y="164248"/>
                    </a:lnTo>
                    <a:lnTo>
                      <a:pt x="74548" y="167582"/>
                    </a:lnTo>
                    <a:lnTo>
                      <a:pt x="74851" y="170309"/>
                    </a:lnTo>
                    <a:lnTo>
                      <a:pt x="75306" y="171825"/>
                    </a:lnTo>
                    <a:lnTo>
                      <a:pt x="76821" y="174249"/>
                    </a:lnTo>
                    <a:lnTo>
                      <a:pt x="79397" y="178188"/>
                    </a:lnTo>
                    <a:lnTo>
                      <a:pt x="81367" y="181522"/>
                    </a:lnTo>
                    <a:lnTo>
                      <a:pt x="83640" y="182128"/>
                    </a:lnTo>
                    <a:lnTo>
                      <a:pt x="85609" y="183189"/>
                    </a:lnTo>
                    <a:lnTo>
                      <a:pt x="86670" y="185764"/>
                    </a:lnTo>
                    <a:lnTo>
                      <a:pt x="88791" y="190310"/>
                    </a:lnTo>
                    <a:lnTo>
                      <a:pt x="89094" y="193340"/>
                    </a:lnTo>
                    <a:lnTo>
                      <a:pt x="89246" y="195613"/>
                    </a:lnTo>
                    <a:lnTo>
                      <a:pt x="89852" y="196522"/>
                    </a:lnTo>
                    <a:lnTo>
                      <a:pt x="90003" y="197886"/>
                    </a:lnTo>
                    <a:lnTo>
                      <a:pt x="88337" y="202735"/>
                    </a:lnTo>
                    <a:lnTo>
                      <a:pt x="86822" y="204856"/>
                    </a:lnTo>
                    <a:lnTo>
                      <a:pt x="86670" y="206674"/>
                    </a:lnTo>
                    <a:lnTo>
                      <a:pt x="87731" y="209856"/>
                    </a:lnTo>
                    <a:lnTo>
                      <a:pt x="89094" y="212432"/>
                    </a:lnTo>
                    <a:lnTo>
                      <a:pt x="89246" y="214705"/>
                    </a:lnTo>
                    <a:lnTo>
                      <a:pt x="88034" y="216523"/>
                    </a:lnTo>
                    <a:lnTo>
                      <a:pt x="86064" y="218644"/>
                    </a:lnTo>
                    <a:lnTo>
                      <a:pt x="85155" y="219857"/>
                    </a:lnTo>
                    <a:lnTo>
                      <a:pt x="83488" y="220917"/>
                    </a:lnTo>
                    <a:lnTo>
                      <a:pt x="81215" y="225160"/>
                    </a:lnTo>
                    <a:lnTo>
                      <a:pt x="80155" y="229705"/>
                    </a:lnTo>
                    <a:lnTo>
                      <a:pt x="79852" y="232130"/>
                    </a:lnTo>
                    <a:lnTo>
                      <a:pt x="80761" y="233796"/>
                    </a:lnTo>
                    <a:lnTo>
                      <a:pt x="82276" y="235766"/>
                    </a:lnTo>
                    <a:lnTo>
                      <a:pt x="82579" y="237433"/>
                    </a:lnTo>
                    <a:lnTo>
                      <a:pt x="85155" y="241069"/>
                    </a:lnTo>
                    <a:lnTo>
                      <a:pt x="85761" y="243342"/>
                    </a:lnTo>
                    <a:lnTo>
                      <a:pt x="86822" y="243342"/>
                    </a:lnTo>
                    <a:lnTo>
                      <a:pt x="87882" y="242585"/>
                    </a:lnTo>
                    <a:lnTo>
                      <a:pt x="90458" y="242585"/>
                    </a:lnTo>
                    <a:lnTo>
                      <a:pt x="92882" y="243342"/>
                    </a:lnTo>
                    <a:lnTo>
                      <a:pt x="95155" y="245009"/>
                    </a:lnTo>
                    <a:lnTo>
                      <a:pt x="97731" y="245918"/>
                    </a:lnTo>
                    <a:lnTo>
                      <a:pt x="101216" y="245615"/>
                    </a:lnTo>
                    <a:lnTo>
                      <a:pt x="103034" y="246524"/>
                    </a:lnTo>
                    <a:lnTo>
                      <a:pt x="105155" y="247282"/>
                    </a:lnTo>
                    <a:lnTo>
                      <a:pt x="109246" y="247585"/>
                    </a:lnTo>
                    <a:lnTo>
                      <a:pt x="112429" y="247585"/>
                    </a:lnTo>
                    <a:lnTo>
                      <a:pt x="117277" y="247585"/>
                    </a:lnTo>
                    <a:lnTo>
                      <a:pt x="121217" y="248645"/>
                    </a:lnTo>
                    <a:lnTo>
                      <a:pt x="128035" y="249555"/>
                    </a:lnTo>
                    <a:lnTo>
                      <a:pt x="132278" y="249555"/>
                    </a:lnTo>
                    <a:lnTo>
                      <a:pt x="138036" y="248645"/>
                    </a:lnTo>
                    <a:lnTo>
                      <a:pt x="141520" y="249252"/>
                    </a:lnTo>
                    <a:lnTo>
                      <a:pt x="151824" y="250464"/>
                    </a:lnTo>
                    <a:lnTo>
                      <a:pt x="158036" y="251827"/>
                    </a:lnTo>
                    <a:lnTo>
                      <a:pt x="161824" y="253191"/>
                    </a:lnTo>
                    <a:lnTo>
                      <a:pt x="164552" y="255615"/>
                    </a:lnTo>
                    <a:lnTo>
                      <a:pt x="167582" y="259252"/>
                    </a:lnTo>
                    <a:lnTo>
                      <a:pt x="170006" y="260919"/>
                    </a:lnTo>
                    <a:lnTo>
                      <a:pt x="176673" y="261828"/>
                    </a:lnTo>
                    <a:lnTo>
                      <a:pt x="181219" y="266070"/>
                    </a:lnTo>
                    <a:lnTo>
                      <a:pt x="184704" y="267586"/>
                    </a:lnTo>
                    <a:lnTo>
                      <a:pt x="190613" y="271677"/>
                    </a:lnTo>
                    <a:lnTo>
                      <a:pt x="194856" y="273343"/>
                    </a:lnTo>
                    <a:lnTo>
                      <a:pt x="199856" y="274859"/>
                    </a:lnTo>
                    <a:lnTo>
                      <a:pt x="208190" y="274101"/>
                    </a:lnTo>
                    <a:lnTo>
                      <a:pt x="208644" y="274707"/>
                    </a:lnTo>
                    <a:lnTo>
                      <a:pt x="208038" y="276980"/>
                    </a:lnTo>
                    <a:lnTo>
                      <a:pt x="207432" y="280010"/>
                    </a:lnTo>
                    <a:lnTo>
                      <a:pt x="207432" y="282132"/>
                    </a:lnTo>
                    <a:lnTo>
                      <a:pt x="208341" y="283344"/>
                    </a:lnTo>
                    <a:lnTo>
                      <a:pt x="211523" y="283950"/>
                    </a:lnTo>
                    <a:lnTo>
                      <a:pt x="212887" y="285010"/>
                    </a:lnTo>
                    <a:lnTo>
                      <a:pt x="214099" y="287132"/>
                    </a:lnTo>
                    <a:lnTo>
                      <a:pt x="214705" y="288344"/>
                    </a:lnTo>
                    <a:lnTo>
                      <a:pt x="217432" y="294708"/>
                    </a:lnTo>
                    <a:lnTo>
                      <a:pt x="221675" y="303951"/>
                    </a:lnTo>
                    <a:lnTo>
                      <a:pt x="222130" y="307587"/>
                    </a:lnTo>
                    <a:lnTo>
                      <a:pt x="223493" y="309860"/>
                    </a:lnTo>
                    <a:lnTo>
                      <a:pt x="228190" y="313496"/>
                    </a:lnTo>
                    <a:lnTo>
                      <a:pt x="230463" y="316224"/>
                    </a:lnTo>
                    <a:lnTo>
                      <a:pt x="234100" y="319103"/>
                    </a:lnTo>
                    <a:lnTo>
                      <a:pt x="235312" y="321678"/>
                    </a:lnTo>
                    <a:lnTo>
                      <a:pt x="235615" y="325163"/>
                    </a:lnTo>
                    <a:lnTo>
                      <a:pt x="236524" y="325921"/>
                    </a:lnTo>
                    <a:lnTo>
                      <a:pt x="243039" y="325163"/>
                    </a:lnTo>
                    <a:lnTo>
                      <a:pt x="248646" y="324709"/>
                    </a:lnTo>
                    <a:lnTo>
                      <a:pt x="258949" y="323648"/>
                    </a:lnTo>
                    <a:lnTo>
                      <a:pt x="272889" y="325466"/>
                    </a:lnTo>
                    <a:lnTo>
                      <a:pt x="287435" y="327133"/>
                    </a:lnTo>
                    <a:lnTo>
                      <a:pt x="300314" y="328648"/>
                    </a:lnTo>
                    <a:lnTo>
                      <a:pt x="306527" y="329406"/>
                    </a:lnTo>
                    <a:lnTo>
                      <a:pt x="320770" y="330921"/>
                    </a:lnTo>
                    <a:lnTo>
                      <a:pt x="328800" y="328951"/>
                    </a:lnTo>
                    <a:lnTo>
                      <a:pt x="334861" y="327436"/>
                    </a:lnTo>
                    <a:lnTo>
                      <a:pt x="337740" y="327588"/>
                    </a:lnTo>
                    <a:lnTo>
                      <a:pt x="349559" y="329406"/>
                    </a:lnTo>
                    <a:lnTo>
                      <a:pt x="356528" y="330315"/>
                    </a:lnTo>
                    <a:lnTo>
                      <a:pt x="365317" y="331527"/>
                    </a:lnTo>
                    <a:lnTo>
                      <a:pt x="371378" y="331982"/>
                    </a:lnTo>
                    <a:lnTo>
                      <a:pt x="376226" y="331982"/>
                    </a:lnTo>
                    <a:lnTo>
                      <a:pt x="378499" y="332436"/>
                    </a:lnTo>
                    <a:lnTo>
                      <a:pt x="380772" y="333194"/>
                    </a:lnTo>
                    <a:lnTo>
                      <a:pt x="382287" y="334406"/>
                    </a:lnTo>
                    <a:lnTo>
                      <a:pt x="386833" y="340012"/>
                    </a:lnTo>
                    <a:lnTo>
                      <a:pt x="389409" y="342588"/>
                    </a:lnTo>
                    <a:lnTo>
                      <a:pt x="394409" y="344407"/>
                    </a:lnTo>
                    <a:lnTo>
                      <a:pt x="405773" y="346679"/>
                    </a:lnTo>
                    <a:lnTo>
                      <a:pt x="412137" y="347891"/>
                    </a:lnTo>
                    <a:lnTo>
                      <a:pt x="419409" y="349407"/>
                    </a:lnTo>
                    <a:lnTo>
                      <a:pt x="424258" y="351679"/>
                    </a:lnTo>
                    <a:lnTo>
                      <a:pt x="429713" y="354407"/>
                    </a:lnTo>
                    <a:lnTo>
                      <a:pt x="436835" y="357740"/>
                    </a:lnTo>
                    <a:lnTo>
                      <a:pt x="444714" y="356225"/>
                    </a:lnTo>
                    <a:lnTo>
                      <a:pt x="453199" y="354710"/>
                    </a:lnTo>
                    <a:lnTo>
                      <a:pt x="458502" y="353649"/>
                    </a:lnTo>
                    <a:lnTo>
                      <a:pt x="458502" y="360771"/>
                    </a:lnTo>
                    <a:lnTo>
                      <a:pt x="465926" y="361377"/>
                    </a:lnTo>
                    <a:lnTo>
                      <a:pt x="468351" y="361225"/>
                    </a:lnTo>
                    <a:lnTo>
                      <a:pt x="471684" y="362892"/>
                    </a:lnTo>
                    <a:lnTo>
                      <a:pt x="473502" y="362134"/>
                    </a:lnTo>
                    <a:lnTo>
                      <a:pt x="475321" y="360619"/>
                    </a:lnTo>
                    <a:lnTo>
                      <a:pt x="477594" y="358195"/>
                    </a:lnTo>
                    <a:lnTo>
                      <a:pt x="480776" y="357134"/>
                    </a:lnTo>
                    <a:lnTo>
                      <a:pt x="486382" y="354407"/>
                    </a:lnTo>
                    <a:lnTo>
                      <a:pt x="487745" y="353801"/>
                    </a:lnTo>
                    <a:lnTo>
                      <a:pt x="495928" y="349861"/>
                    </a:lnTo>
                    <a:lnTo>
                      <a:pt x="508201" y="345013"/>
                    </a:lnTo>
                    <a:lnTo>
                      <a:pt x="513655" y="342740"/>
                    </a:lnTo>
                    <a:lnTo>
                      <a:pt x="515322" y="342134"/>
                    </a:lnTo>
                    <a:lnTo>
                      <a:pt x="518504" y="341073"/>
                    </a:lnTo>
                    <a:lnTo>
                      <a:pt x="520626" y="340164"/>
                    </a:lnTo>
                    <a:lnTo>
                      <a:pt x="524262" y="339558"/>
                    </a:lnTo>
                    <a:lnTo>
                      <a:pt x="529414" y="339103"/>
                    </a:lnTo>
                    <a:lnTo>
                      <a:pt x="534869" y="338194"/>
                    </a:lnTo>
                    <a:lnTo>
                      <a:pt x="547445" y="336527"/>
                    </a:lnTo>
                    <a:lnTo>
                      <a:pt x="548960" y="336376"/>
                    </a:lnTo>
                    <a:lnTo>
                      <a:pt x="555930" y="335618"/>
                    </a:lnTo>
                    <a:lnTo>
                      <a:pt x="558960" y="335012"/>
                    </a:lnTo>
                    <a:lnTo>
                      <a:pt x="563354" y="335315"/>
                    </a:lnTo>
                    <a:lnTo>
                      <a:pt x="569264" y="335618"/>
                    </a:lnTo>
                    <a:lnTo>
                      <a:pt x="573052" y="335921"/>
                    </a:lnTo>
                    <a:lnTo>
                      <a:pt x="578203" y="335618"/>
                    </a:lnTo>
                    <a:lnTo>
                      <a:pt x="585173" y="335164"/>
                    </a:lnTo>
                    <a:lnTo>
                      <a:pt x="590931" y="335315"/>
                    </a:lnTo>
                    <a:lnTo>
                      <a:pt x="593810" y="334709"/>
                    </a:lnTo>
                    <a:lnTo>
                      <a:pt x="597901" y="332891"/>
                    </a:lnTo>
                    <a:lnTo>
                      <a:pt x="600780" y="331527"/>
                    </a:lnTo>
                    <a:lnTo>
                      <a:pt x="605174" y="329709"/>
                    </a:lnTo>
                    <a:lnTo>
                      <a:pt x="610629" y="327891"/>
                    </a:lnTo>
                    <a:lnTo>
                      <a:pt x="614417" y="326376"/>
                    </a:lnTo>
                    <a:lnTo>
                      <a:pt x="616841" y="325163"/>
                    </a:lnTo>
                    <a:lnTo>
                      <a:pt x="619872" y="324254"/>
                    </a:lnTo>
                    <a:lnTo>
                      <a:pt x="620781" y="322891"/>
                    </a:lnTo>
                    <a:lnTo>
                      <a:pt x="621539" y="321830"/>
                    </a:lnTo>
                    <a:lnTo>
                      <a:pt x="623205" y="320163"/>
                    </a:lnTo>
                    <a:lnTo>
                      <a:pt x="626084" y="316981"/>
                    </a:lnTo>
                    <a:lnTo>
                      <a:pt x="628357" y="314254"/>
                    </a:lnTo>
                    <a:lnTo>
                      <a:pt x="629417" y="313042"/>
                    </a:lnTo>
                    <a:lnTo>
                      <a:pt x="631993" y="310314"/>
                    </a:lnTo>
                    <a:lnTo>
                      <a:pt x="633963" y="308193"/>
                    </a:lnTo>
                    <a:lnTo>
                      <a:pt x="636539" y="305466"/>
                    </a:lnTo>
                    <a:lnTo>
                      <a:pt x="638660" y="304557"/>
                    </a:lnTo>
                    <a:lnTo>
                      <a:pt x="641388" y="303799"/>
                    </a:lnTo>
                    <a:lnTo>
                      <a:pt x="648660" y="300920"/>
                    </a:lnTo>
                    <a:lnTo>
                      <a:pt x="650176" y="300314"/>
                    </a:lnTo>
                    <a:lnTo>
                      <a:pt x="651388" y="300314"/>
                    </a:lnTo>
                    <a:lnTo>
                      <a:pt x="653812" y="298041"/>
                    </a:lnTo>
                    <a:lnTo>
                      <a:pt x="656085" y="296071"/>
                    </a:lnTo>
                    <a:lnTo>
                      <a:pt x="657449" y="294708"/>
                    </a:lnTo>
                    <a:lnTo>
                      <a:pt x="660328" y="294102"/>
                    </a:lnTo>
                    <a:lnTo>
                      <a:pt x="661843" y="293041"/>
                    </a:lnTo>
                    <a:lnTo>
                      <a:pt x="662146" y="291677"/>
                    </a:lnTo>
                    <a:lnTo>
                      <a:pt x="661843" y="289708"/>
                    </a:lnTo>
                    <a:lnTo>
                      <a:pt x="660479" y="287586"/>
                    </a:lnTo>
                    <a:lnTo>
                      <a:pt x="659267" y="285616"/>
                    </a:lnTo>
                    <a:lnTo>
                      <a:pt x="655024" y="282132"/>
                    </a:lnTo>
                    <a:lnTo>
                      <a:pt x="652752" y="279859"/>
                    </a:lnTo>
                    <a:lnTo>
                      <a:pt x="650630" y="277131"/>
                    </a:lnTo>
                    <a:lnTo>
                      <a:pt x="649569" y="274404"/>
                    </a:lnTo>
                    <a:lnTo>
                      <a:pt x="648055" y="272737"/>
                    </a:lnTo>
                    <a:lnTo>
                      <a:pt x="647297" y="271222"/>
                    </a:lnTo>
                    <a:lnTo>
                      <a:pt x="647600" y="269404"/>
                    </a:lnTo>
                    <a:lnTo>
                      <a:pt x="649721" y="266373"/>
                    </a:lnTo>
                    <a:lnTo>
                      <a:pt x="650479" y="264404"/>
                    </a:lnTo>
                    <a:lnTo>
                      <a:pt x="651388" y="260919"/>
                    </a:lnTo>
                    <a:lnTo>
                      <a:pt x="653358" y="255767"/>
                    </a:lnTo>
                    <a:lnTo>
                      <a:pt x="655024" y="253343"/>
                    </a:lnTo>
                    <a:lnTo>
                      <a:pt x="656843" y="250918"/>
                    </a:lnTo>
                    <a:lnTo>
                      <a:pt x="660934" y="247736"/>
                    </a:lnTo>
                    <a:lnTo>
                      <a:pt x="664570" y="247130"/>
                    </a:lnTo>
                    <a:lnTo>
                      <a:pt x="666843" y="247736"/>
                    </a:lnTo>
                    <a:lnTo>
                      <a:pt x="671692" y="247736"/>
                    </a:lnTo>
                    <a:lnTo>
                      <a:pt x="675025" y="247888"/>
                    </a:lnTo>
                    <a:lnTo>
                      <a:pt x="677298" y="249555"/>
                    </a:lnTo>
                    <a:lnTo>
                      <a:pt x="680025" y="252737"/>
                    </a:lnTo>
                    <a:lnTo>
                      <a:pt x="683056" y="253797"/>
                    </a:lnTo>
                    <a:lnTo>
                      <a:pt x="692450" y="256222"/>
                    </a:lnTo>
                    <a:lnTo>
                      <a:pt x="696389" y="256828"/>
                    </a:lnTo>
                    <a:lnTo>
                      <a:pt x="699268" y="256979"/>
                    </a:lnTo>
                    <a:lnTo>
                      <a:pt x="703511" y="257737"/>
                    </a:lnTo>
                    <a:lnTo>
                      <a:pt x="705026" y="257888"/>
                    </a:lnTo>
                    <a:lnTo>
                      <a:pt x="707148" y="258494"/>
                    </a:lnTo>
                    <a:lnTo>
                      <a:pt x="708966" y="257888"/>
                    </a:lnTo>
                    <a:lnTo>
                      <a:pt x="711693" y="255767"/>
                    </a:lnTo>
                    <a:lnTo>
                      <a:pt x="715027" y="253343"/>
                    </a:lnTo>
                    <a:lnTo>
                      <a:pt x="716542" y="252888"/>
                    </a:lnTo>
                    <a:lnTo>
                      <a:pt x="719269" y="251827"/>
                    </a:lnTo>
                    <a:lnTo>
                      <a:pt x="720633" y="250918"/>
                    </a:lnTo>
                    <a:lnTo>
                      <a:pt x="723057" y="248191"/>
                    </a:lnTo>
                    <a:lnTo>
                      <a:pt x="726088" y="246221"/>
                    </a:lnTo>
                    <a:lnTo>
                      <a:pt x="729876" y="243039"/>
                    </a:lnTo>
                    <a:lnTo>
                      <a:pt x="731694" y="240766"/>
                    </a:lnTo>
                    <a:lnTo>
                      <a:pt x="732148" y="239251"/>
                    </a:lnTo>
                    <a:lnTo>
                      <a:pt x="732603" y="237584"/>
                    </a:lnTo>
                    <a:lnTo>
                      <a:pt x="733815" y="236675"/>
                    </a:lnTo>
                    <a:lnTo>
                      <a:pt x="736088" y="235918"/>
                    </a:lnTo>
                    <a:lnTo>
                      <a:pt x="738664" y="235766"/>
                    </a:lnTo>
                    <a:lnTo>
                      <a:pt x="743513" y="237130"/>
                    </a:lnTo>
                    <a:lnTo>
                      <a:pt x="750180" y="236675"/>
                    </a:lnTo>
                    <a:lnTo>
                      <a:pt x="751695" y="236524"/>
                    </a:lnTo>
                    <a:lnTo>
                      <a:pt x="757755" y="235615"/>
                    </a:lnTo>
                    <a:lnTo>
                      <a:pt x="760483" y="235009"/>
                    </a:lnTo>
                    <a:lnTo>
                      <a:pt x="764422" y="234403"/>
                    </a:lnTo>
                    <a:lnTo>
                      <a:pt x="767301" y="231827"/>
                    </a:lnTo>
                    <a:lnTo>
                      <a:pt x="771392" y="228645"/>
                    </a:lnTo>
                    <a:lnTo>
                      <a:pt x="774271" y="226978"/>
                    </a:lnTo>
                    <a:lnTo>
                      <a:pt x="776089" y="226675"/>
                    </a:lnTo>
                    <a:lnTo>
                      <a:pt x="778514" y="224857"/>
                    </a:lnTo>
                    <a:lnTo>
                      <a:pt x="779726" y="222887"/>
                    </a:lnTo>
                    <a:lnTo>
                      <a:pt x="779423" y="221220"/>
                    </a:lnTo>
                    <a:lnTo>
                      <a:pt x="778968" y="219857"/>
                    </a:lnTo>
                    <a:lnTo>
                      <a:pt x="780332" y="217281"/>
                    </a:lnTo>
                    <a:lnTo>
                      <a:pt x="782908" y="212735"/>
                    </a:lnTo>
                    <a:lnTo>
                      <a:pt x="785332" y="210614"/>
                    </a:lnTo>
                    <a:lnTo>
                      <a:pt x="787302" y="208795"/>
                    </a:lnTo>
                    <a:lnTo>
                      <a:pt x="788514" y="206068"/>
                    </a:lnTo>
                    <a:lnTo>
                      <a:pt x="790029" y="205311"/>
                    </a:lnTo>
                    <a:lnTo>
                      <a:pt x="791999" y="205007"/>
                    </a:lnTo>
                    <a:lnTo>
                      <a:pt x="794726" y="203038"/>
                    </a:lnTo>
                    <a:lnTo>
                      <a:pt x="796696" y="202735"/>
                    </a:lnTo>
                    <a:lnTo>
                      <a:pt x="799878" y="203644"/>
                    </a:lnTo>
                    <a:lnTo>
                      <a:pt x="804727" y="203795"/>
                    </a:lnTo>
                    <a:lnTo>
                      <a:pt x="807908" y="203947"/>
                    </a:lnTo>
                    <a:lnTo>
                      <a:pt x="809576" y="203644"/>
                    </a:lnTo>
                    <a:lnTo>
                      <a:pt x="810333" y="202583"/>
                    </a:lnTo>
                    <a:lnTo>
                      <a:pt x="810182" y="201068"/>
                    </a:lnTo>
                    <a:lnTo>
                      <a:pt x="811242" y="197583"/>
                    </a:lnTo>
                    <a:lnTo>
                      <a:pt x="811546" y="196371"/>
                    </a:lnTo>
                    <a:lnTo>
                      <a:pt x="812455" y="195916"/>
                    </a:lnTo>
                    <a:lnTo>
                      <a:pt x="815484" y="195765"/>
                    </a:lnTo>
                    <a:lnTo>
                      <a:pt x="817454" y="197128"/>
                    </a:lnTo>
                    <a:lnTo>
                      <a:pt x="818818" y="198038"/>
                    </a:lnTo>
                    <a:lnTo>
                      <a:pt x="820788" y="198189"/>
                    </a:lnTo>
                    <a:lnTo>
                      <a:pt x="822758" y="197583"/>
                    </a:lnTo>
                    <a:lnTo>
                      <a:pt x="825485" y="194704"/>
                    </a:lnTo>
                    <a:lnTo>
                      <a:pt x="829879" y="193189"/>
                    </a:lnTo>
                    <a:lnTo>
                      <a:pt x="832152" y="192734"/>
                    </a:lnTo>
                    <a:lnTo>
                      <a:pt x="836244" y="191371"/>
                    </a:lnTo>
                    <a:lnTo>
                      <a:pt x="838971" y="191825"/>
                    </a:lnTo>
                    <a:lnTo>
                      <a:pt x="843820" y="192280"/>
                    </a:lnTo>
                    <a:lnTo>
                      <a:pt x="845638" y="191977"/>
                    </a:lnTo>
                    <a:lnTo>
                      <a:pt x="847608" y="192280"/>
                    </a:lnTo>
                    <a:lnTo>
                      <a:pt x="849426" y="190310"/>
                    </a:lnTo>
                    <a:lnTo>
                      <a:pt x="850941" y="189855"/>
                    </a:lnTo>
                    <a:lnTo>
                      <a:pt x="854123" y="190765"/>
                    </a:lnTo>
                    <a:lnTo>
                      <a:pt x="855941" y="192280"/>
                    </a:lnTo>
                    <a:lnTo>
                      <a:pt x="859729" y="194098"/>
                    </a:lnTo>
                    <a:lnTo>
                      <a:pt x="864275" y="195007"/>
                    </a:lnTo>
                    <a:lnTo>
                      <a:pt x="868214" y="194553"/>
                    </a:lnTo>
                    <a:lnTo>
                      <a:pt x="872154" y="195310"/>
                    </a:lnTo>
                    <a:lnTo>
                      <a:pt x="874578" y="195159"/>
                    </a:lnTo>
                    <a:lnTo>
                      <a:pt x="875639" y="194553"/>
                    </a:lnTo>
                    <a:lnTo>
                      <a:pt x="878972" y="192886"/>
                    </a:lnTo>
                    <a:lnTo>
                      <a:pt x="879730" y="190916"/>
                    </a:lnTo>
                    <a:lnTo>
                      <a:pt x="879427" y="188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0" name="Freeform: Shape 3219">
                <a:extLst>
                  <a:ext uri="{FF2B5EF4-FFF2-40B4-BE49-F238E27FC236}">
                    <a16:creationId xmlns:a16="http://schemas.microsoft.com/office/drawing/2014/main" id="{62287995-C0E5-4FB2-B228-6B5E879C713F}"/>
                  </a:ext>
                </a:extLst>
              </p:cNvPr>
              <p:cNvSpPr/>
              <p:nvPr/>
            </p:nvSpPr>
            <p:spPr>
              <a:xfrm>
                <a:off x="5441127" y="3868180"/>
                <a:ext cx="451986" cy="417287"/>
              </a:xfrm>
              <a:custGeom>
                <a:avLst/>
                <a:gdLst>
                  <a:gd name="connsiteX0" fmla="*/ 451835 w 451986"/>
                  <a:gd name="connsiteY0" fmla="*/ 219250 h 417287"/>
                  <a:gd name="connsiteX1" fmla="*/ 451835 w 451986"/>
                  <a:gd name="connsiteY1" fmla="*/ 211068 h 417287"/>
                  <a:gd name="connsiteX2" fmla="*/ 451835 w 451986"/>
                  <a:gd name="connsiteY2" fmla="*/ 204098 h 417287"/>
                  <a:gd name="connsiteX3" fmla="*/ 451835 w 451986"/>
                  <a:gd name="connsiteY3" fmla="*/ 195462 h 417287"/>
                  <a:gd name="connsiteX4" fmla="*/ 451835 w 451986"/>
                  <a:gd name="connsiteY4" fmla="*/ 187734 h 417287"/>
                  <a:gd name="connsiteX5" fmla="*/ 451835 w 451986"/>
                  <a:gd name="connsiteY5" fmla="*/ 179552 h 417287"/>
                  <a:gd name="connsiteX6" fmla="*/ 451683 w 451986"/>
                  <a:gd name="connsiteY6" fmla="*/ 172127 h 417287"/>
                  <a:gd name="connsiteX7" fmla="*/ 451683 w 451986"/>
                  <a:gd name="connsiteY7" fmla="*/ 167127 h 417287"/>
                  <a:gd name="connsiteX8" fmla="*/ 443047 w 451986"/>
                  <a:gd name="connsiteY8" fmla="*/ 168794 h 417287"/>
                  <a:gd name="connsiteX9" fmla="*/ 436834 w 451986"/>
                  <a:gd name="connsiteY9" fmla="*/ 170006 h 417287"/>
                  <a:gd name="connsiteX10" fmla="*/ 430168 w 451986"/>
                  <a:gd name="connsiteY10" fmla="*/ 171218 h 417287"/>
                  <a:gd name="connsiteX11" fmla="*/ 429107 w 451986"/>
                  <a:gd name="connsiteY11" fmla="*/ 171521 h 417287"/>
                  <a:gd name="connsiteX12" fmla="*/ 427895 w 451986"/>
                  <a:gd name="connsiteY12" fmla="*/ 171521 h 417287"/>
                  <a:gd name="connsiteX13" fmla="*/ 426985 w 451986"/>
                  <a:gd name="connsiteY13" fmla="*/ 171521 h 417287"/>
                  <a:gd name="connsiteX14" fmla="*/ 425167 w 451986"/>
                  <a:gd name="connsiteY14" fmla="*/ 170764 h 417287"/>
                  <a:gd name="connsiteX15" fmla="*/ 422895 w 451986"/>
                  <a:gd name="connsiteY15" fmla="*/ 169097 h 417287"/>
                  <a:gd name="connsiteX16" fmla="*/ 421379 w 451986"/>
                  <a:gd name="connsiteY16" fmla="*/ 168339 h 417287"/>
                  <a:gd name="connsiteX17" fmla="*/ 421076 w 451986"/>
                  <a:gd name="connsiteY17" fmla="*/ 166976 h 417287"/>
                  <a:gd name="connsiteX18" fmla="*/ 421985 w 451986"/>
                  <a:gd name="connsiteY18" fmla="*/ 165157 h 417287"/>
                  <a:gd name="connsiteX19" fmla="*/ 423046 w 451986"/>
                  <a:gd name="connsiteY19" fmla="*/ 163642 h 417287"/>
                  <a:gd name="connsiteX20" fmla="*/ 423349 w 451986"/>
                  <a:gd name="connsiteY20" fmla="*/ 162430 h 417287"/>
                  <a:gd name="connsiteX21" fmla="*/ 424107 w 451986"/>
                  <a:gd name="connsiteY21" fmla="*/ 161369 h 417287"/>
                  <a:gd name="connsiteX22" fmla="*/ 425167 w 451986"/>
                  <a:gd name="connsiteY22" fmla="*/ 160612 h 417287"/>
                  <a:gd name="connsiteX23" fmla="*/ 425167 w 451986"/>
                  <a:gd name="connsiteY23" fmla="*/ 159551 h 417287"/>
                  <a:gd name="connsiteX24" fmla="*/ 424410 w 451986"/>
                  <a:gd name="connsiteY24" fmla="*/ 157885 h 417287"/>
                  <a:gd name="connsiteX25" fmla="*/ 423652 w 451986"/>
                  <a:gd name="connsiteY25" fmla="*/ 155309 h 417287"/>
                  <a:gd name="connsiteX26" fmla="*/ 423652 w 451986"/>
                  <a:gd name="connsiteY26" fmla="*/ 150914 h 417287"/>
                  <a:gd name="connsiteX27" fmla="*/ 423652 w 451986"/>
                  <a:gd name="connsiteY27" fmla="*/ 149399 h 417287"/>
                  <a:gd name="connsiteX28" fmla="*/ 423652 w 451986"/>
                  <a:gd name="connsiteY28" fmla="*/ 148945 h 417287"/>
                  <a:gd name="connsiteX29" fmla="*/ 421682 w 451986"/>
                  <a:gd name="connsiteY29" fmla="*/ 147126 h 417287"/>
                  <a:gd name="connsiteX30" fmla="*/ 417894 w 451986"/>
                  <a:gd name="connsiteY30" fmla="*/ 145308 h 417287"/>
                  <a:gd name="connsiteX31" fmla="*/ 414409 w 451986"/>
                  <a:gd name="connsiteY31" fmla="*/ 144248 h 417287"/>
                  <a:gd name="connsiteX32" fmla="*/ 412894 w 451986"/>
                  <a:gd name="connsiteY32" fmla="*/ 143793 h 417287"/>
                  <a:gd name="connsiteX33" fmla="*/ 409106 w 451986"/>
                  <a:gd name="connsiteY33" fmla="*/ 143187 h 417287"/>
                  <a:gd name="connsiteX34" fmla="*/ 403803 w 451986"/>
                  <a:gd name="connsiteY34" fmla="*/ 141975 h 417287"/>
                  <a:gd name="connsiteX35" fmla="*/ 401833 w 451986"/>
                  <a:gd name="connsiteY35" fmla="*/ 141066 h 417287"/>
                  <a:gd name="connsiteX36" fmla="*/ 398499 w 451986"/>
                  <a:gd name="connsiteY36" fmla="*/ 136975 h 417287"/>
                  <a:gd name="connsiteX37" fmla="*/ 396833 w 451986"/>
                  <a:gd name="connsiteY37" fmla="*/ 135914 h 417287"/>
                  <a:gd name="connsiteX38" fmla="*/ 388802 w 451986"/>
                  <a:gd name="connsiteY38" fmla="*/ 135156 h 417287"/>
                  <a:gd name="connsiteX39" fmla="*/ 386226 w 451986"/>
                  <a:gd name="connsiteY39" fmla="*/ 134550 h 417287"/>
                  <a:gd name="connsiteX40" fmla="*/ 384105 w 451986"/>
                  <a:gd name="connsiteY40" fmla="*/ 133490 h 417287"/>
                  <a:gd name="connsiteX41" fmla="*/ 382135 w 451986"/>
                  <a:gd name="connsiteY41" fmla="*/ 132277 h 417287"/>
                  <a:gd name="connsiteX42" fmla="*/ 381075 w 451986"/>
                  <a:gd name="connsiteY42" fmla="*/ 130005 h 417287"/>
                  <a:gd name="connsiteX43" fmla="*/ 380772 w 451986"/>
                  <a:gd name="connsiteY43" fmla="*/ 128035 h 417287"/>
                  <a:gd name="connsiteX44" fmla="*/ 380166 w 451986"/>
                  <a:gd name="connsiteY44" fmla="*/ 127126 h 417287"/>
                  <a:gd name="connsiteX45" fmla="*/ 371378 w 451986"/>
                  <a:gd name="connsiteY45" fmla="*/ 122732 h 417287"/>
                  <a:gd name="connsiteX46" fmla="*/ 369105 w 451986"/>
                  <a:gd name="connsiteY46" fmla="*/ 121217 h 417287"/>
                  <a:gd name="connsiteX47" fmla="*/ 367892 w 451986"/>
                  <a:gd name="connsiteY47" fmla="*/ 119701 h 417287"/>
                  <a:gd name="connsiteX48" fmla="*/ 367892 w 451986"/>
                  <a:gd name="connsiteY48" fmla="*/ 117731 h 417287"/>
                  <a:gd name="connsiteX49" fmla="*/ 368195 w 451986"/>
                  <a:gd name="connsiteY49" fmla="*/ 115156 h 417287"/>
                  <a:gd name="connsiteX50" fmla="*/ 367741 w 451986"/>
                  <a:gd name="connsiteY50" fmla="*/ 112731 h 417287"/>
                  <a:gd name="connsiteX51" fmla="*/ 367438 w 451986"/>
                  <a:gd name="connsiteY51" fmla="*/ 111671 h 417287"/>
                  <a:gd name="connsiteX52" fmla="*/ 363347 w 451986"/>
                  <a:gd name="connsiteY52" fmla="*/ 108943 h 417287"/>
                  <a:gd name="connsiteX53" fmla="*/ 354407 w 451986"/>
                  <a:gd name="connsiteY53" fmla="*/ 102882 h 417287"/>
                  <a:gd name="connsiteX54" fmla="*/ 345467 w 451986"/>
                  <a:gd name="connsiteY54" fmla="*/ 96822 h 417287"/>
                  <a:gd name="connsiteX55" fmla="*/ 336528 w 451986"/>
                  <a:gd name="connsiteY55" fmla="*/ 90609 h 417287"/>
                  <a:gd name="connsiteX56" fmla="*/ 327588 w 451986"/>
                  <a:gd name="connsiteY56" fmla="*/ 84548 h 417287"/>
                  <a:gd name="connsiteX57" fmla="*/ 318648 w 451986"/>
                  <a:gd name="connsiteY57" fmla="*/ 78488 h 417287"/>
                  <a:gd name="connsiteX58" fmla="*/ 309709 w 451986"/>
                  <a:gd name="connsiteY58" fmla="*/ 72275 h 417287"/>
                  <a:gd name="connsiteX59" fmla="*/ 300617 w 451986"/>
                  <a:gd name="connsiteY59" fmla="*/ 66214 h 417287"/>
                  <a:gd name="connsiteX60" fmla="*/ 291677 w 451986"/>
                  <a:gd name="connsiteY60" fmla="*/ 60002 h 417287"/>
                  <a:gd name="connsiteX61" fmla="*/ 282738 w 451986"/>
                  <a:gd name="connsiteY61" fmla="*/ 53941 h 417287"/>
                  <a:gd name="connsiteX62" fmla="*/ 273798 w 451986"/>
                  <a:gd name="connsiteY62" fmla="*/ 47729 h 417287"/>
                  <a:gd name="connsiteX63" fmla="*/ 264858 w 451986"/>
                  <a:gd name="connsiteY63" fmla="*/ 41517 h 417287"/>
                  <a:gd name="connsiteX64" fmla="*/ 255919 w 451986"/>
                  <a:gd name="connsiteY64" fmla="*/ 35456 h 417287"/>
                  <a:gd name="connsiteX65" fmla="*/ 246979 w 451986"/>
                  <a:gd name="connsiteY65" fmla="*/ 29243 h 417287"/>
                  <a:gd name="connsiteX66" fmla="*/ 238039 w 451986"/>
                  <a:gd name="connsiteY66" fmla="*/ 23031 h 417287"/>
                  <a:gd name="connsiteX67" fmla="*/ 228948 w 451986"/>
                  <a:gd name="connsiteY67" fmla="*/ 16970 h 417287"/>
                  <a:gd name="connsiteX68" fmla="*/ 220008 w 451986"/>
                  <a:gd name="connsiteY68" fmla="*/ 10758 h 417287"/>
                  <a:gd name="connsiteX69" fmla="*/ 212432 w 451986"/>
                  <a:gd name="connsiteY69" fmla="*/ 5455 h 417287"/>
                  <a:gd name="connsiteX70" fmla="*/ 204099 w 451986"/>
                  <a:gd name="connsiteY70" fmla="*/ 0 h 417287"/>
                  <a:gd name="connsiteX71" fmla="*/ 194553 w 451986"/>
                  <a:gd name="connsiteY71" fmla="*/ 0 h 417287"/>
                  <a:gd name="connsiteX72" fmla="*/ 181673 w 451986"/>
                  <a:gd name="connsiteY72" fmla="*/ 0 h 417287"/>
                  <a:gd name="connsiteX73" fmla="*/ 173037 w 451986"/>
                  <a:gd name="connsiteY73" fmla="*/ 0 h 417287"/>
                  <a:gd name="connsiteX74" fmla="*/ 164097 w 451986"/>
                  <a:gd name="connsiteY74" fmla="*/ 0 h 417287"/>
                  <a:gd name="connsiteX75" fmla="*/ 155612 w 451986"/>
                  <a:gd name="connsiteY75" fmla="*/ 0 h 417287"/>
                  <a:gd name="connsiteX76" fmla="*/ 156370 w 451986"/>
                  <a:gd name="connsiteY76" fmla="*/ 6515 h 417287"/>
                  <a:gd name="connsiteX77" fmla="*/ 157127 w 451986"/>
                  <a:gd name="connsiteY77" fmla="*/ 13788 h 417287"/>
                  <a:gd name="connsiteX78" fmla="*/ 157885 w 451986"/>
                  <a:gd name="connsiteY78" fmla="*/ 20910 h 417287"/>
                  <a:gd name="connsiteX79" fmla="*/ 158642 w 451986"/>
                  <a:gd name="connsiteY79" fmla="*/ 28183 h 417287"/>
                  <a:gd name="connsiteX80" fmla="*/ 159551 w 451986"/>
                  <a:gd name="connsiteY80" fmla="*/ 35304 h 417287"/>
                  <a:gd name="connsiteX81" fmla="*/ 160309 w 451986"/>
                  <a:gd name="connsiteY81" fmla="*/ 42426 h 417287"/>
                  <a:gd name="connsiteX82" fmla="*/ 161067 w 451986"/>
                  <a:gd name="connsiteY82" fmla="*/ 49547 h 417287"/>
                  <a:gd name="connsiteX83" fmla="*/ 161824 w 451986"/>
                  <a:gd name="connsiteY83" fmla="*/ 56669 h 417287"/>
                  <a:gd name="connsiteX84" fmla="*/ 162582 w 451986"/>
                  <a:gd name="connsiteY84" fmla="*/ 63790 h 417287"/>
                  <a:gd name="connsiteX85" fmla="*/ 163339 w 451986"/>
                  <a:gd name="connsiteY85" fmla="*/ 70912 h 417287"/>
                  <a:gd name="connsiteX86" fmla="*/ 164097 w 451986"/>
                  <a:gd name="connsiteY86" fmla="*/ 78033 h 417287"/>
                  <a:gd name="connsiteX87" fmla="*/ 165006 w 451986"/>
                  <a:gd name="connsiteY87" fmla="*/ 85155 h 417287"/>
                  <a:gd name="connsiteX88" fmla="*/ 165764 w 451986"/>
                  <a:gd name="connsiteY88" fmla="*/ 92276 h 417287"/>
                  <a:gd name="connsiteX89" fmla="*/ 166521 w 451986"/>
                  <a:gd name="connsiteY89" fmla="*/ 99398 h 417287"/>
                  <a:gd name="connsiteX90" fmla="*/ 167279 w 451986"/>
                  <a:gd name="connsiteY90" fmla="*/ 106519 h 417287"/>
                  <a:gd name="connsiteX91" fmla="*/ 168036 w 451986"/>
                  <a:gd name="connsiteY91" fmla="*/ 113489 h 417287"/>
                  <a:gd name="connsiteX92" fmla="*/ 168794 w 451986"/>
                  <a:gd name="connsiteY92" fmla="*/ 120610 h 417287"/>
                  <a:gd name="connsiteX93" fmla="*/ 169552 w 451986"/>
                  <a:gd name="connsiteY93" fmla="*/ 127580 h 417287"/>
                  <a:gd name="connsiteX94" fmla="*/ 170461 w 451986"/>
                  <a:gd name="connsiteY94" fmla="*/ 134702 h 417287"/>
                  <a:gd name="connsiteX95" fmla="*/ 171218 w 451986"/>
                  <a:gd name="connsiteY95" fmla="*/ 141672 h 417287"/>
                  <a:gd name="connsiteX96" fmla="*/ 171976 w 451986"/>
                  <a:gd name="connsiteY96" fmla="*/ 148793 h 417287"/>
                  <a:gd name="connsiteX97" fmla="*/ 172734 w 451986"/>
                  <a:gd name="connsiteY97" fmla="*/ 155763 h 417287"/>
                  <a:gd name="connsiteX98" fmla="*/ 173491 w 451986"/>
                  <a:gd name="connsiteY98" fmla="*/ 162885 h 417287"/>
                  <a:gd name="connsiteX99" fmla="*/ 174249 w 451986"/>
                  <a:gd name="connsiteY99" fmla="*/ 169855 h 417287"/>
                  <a:gd name="connsiteX100" fmla="*/ 175006 w 451986"/>
                  <a:gd name="connsiteY100" fmla="*/ 176825 h 417287"/>
                  <a:gd name="connsiteX101" fmla="*/ 175916 w 451986"/>
                  <a:gd name="connsiteY101" fmla="*/ 183794 h 417287"/>
                  <a:gd name="connsiteX102" fmla="*/ 176673 w 451986"/>
                  <a:gd name="connsiteY102" fmla="*/ 190916 h 417287"/>
                  <a:gd name="connsiteX103" fmla="*/ 177431 w 451986"/>
                  <a:gd name="connsiteY103" fmla="*/ 197886 h 417287"/>
                  <a:gd name="connsiteX104" fmla="*/ 178189 w 451986"/>
                  <a:gd name="connsiteY104" fmla="*/ 204856 h 417287"/>
                  <a:gd name="connsiteX105" fmla="*/ 178946 w 451986"/>
                  <a:gd name="connsiteY105" fmla="*/ 211826 h 417287"/>
                  <a:gd name="connsiteX106" fmla="*/ 179704 w 451986"/>
                  <a:gd name="connsiteY106" fmla="*/ 218796 h 417287"/>
                  <a:gd name="connsiteX107" fmla="*/ 180461 w 451986"/>
                  <a:gd name="connsiteY107" fmla="*/ 225766 h 417287"/>
                  <a:gd name="connsiteX108" fmla="*/ 181370 w 451986"/>
                  <a:gd name="connsiteY108" fmla="*/ 232736 h 417287"/>
                  <a:gd name="connsiteX109" fmla="*/ 182128 w 451986"/>
                  <a:gd name="connsiteY109" fmla="*/ 239402 h 417287"/>
                  <a:gd name="connsiteX110" fmla="*/ 185310 w 451986"/>
                  <a:gd name="connsiteY110" fmla="*/ 242888 h 417287"/>
                  <a:gd name="connsiteX111" fmla="*/ 189401 w 451986"/>
                  <a:gd name="connsiteY111" fmla="*/ 247433 h 417287"/>
                  <a:gd name="connsiteX112" fmla="*/ 188189 w 451986"/>
                  <a:gd name="connsiteY112" fmla="*/ 253645 h 417287"/>
                  <a:gd name="connsiteX113" fmla="*/ 186825 w 451986"/>
                  <a:gd name="connsiteY113" fmla="*/ 261222 h 417287"/>
                  <a:gd name="connsiteX114" fmla="*/ 185310 w 451986"/>
                  <a:gd name="connsiteY114" fmla="*/ 269252 h 417287"/>
                  <a:gd name="connsiteX115" fmla="*/ 179401 w 451986"/>
                  <a:gd name="connsiteY115" fmla="*/ 269252 h 417287"/>
                  <a:gd name="connsiteX116" fmla="*/ 173946 w 451986"/>
                  <a:gd name="connsiteY116" fmla="*/ 269252 h 417287"/>
                  <a:gd name="connsiteX117" fmla="*/ 168340 w 451986"/>
                  <a:gd name="connsiteY117" fmla="*/ 269252 h 417287"/>
                  <a:gd name="connsiteX118" fmla="*/ 162733 w 451986"/>
                  <a:gd name="connsiteY118" fmla="*/ 269252 h 417287"/>
                  <a:gd name="connsiteX119" fmla="*/ 157127 w 451986"/>
                  <a:gd name="connsiteY119" fmla="*/ 269252 h 417287"/>
                  <a:gd name="connsiteX120" fmla="*/ 151521 w 451986"/>
                  <a:gd name="connsiteY120" fmla="*/ 269252 h 417287"/>
                  <a:gd name="connsiteX121" fmla="*/ 145915 w 451986"/>
                  <a:gd name="connsiteY121" fmla="*/ 269252 h 417287"/>
                  <a:gd name="connsiteX122" fmla="*/ 140460 w 451986"/>
                  <a:gd name="connsiteY122" fmla="*/ 269252 h 417287"/>
                  <a:gd name="connsiteX123" fmla="*/ 134853 w 451986"/>
                  <a:gd name="connsiteY123" fmla="*/ 269252 h 417287"/>
                  <a:gd name="connsiteX124" fmla="*/ 129247 w 451986"/>
                  <a:gd name="connsiteY124" fmla="*/ 269252 h 417287"/>
                  <a:gd name="connsiteX125" fmla="*/ 123641 w 451986"/>
                  <a:gd name="connsiteY125" fmla="*/ 269252 h 417287"/>
                  <a:gd name="connsiteX126" fmla="*/ 118035 w 451986"/>
                  <a:gd name="connsiteY126" fmla="*/ 269252 h 417287"/>
                  <a:gd name="connsiteX127" fmla="*/ 112429 w 451986"/>
                  <a:gd name="connsiteY127" fmla="*/ 269252 h 417287"/>
                  <a:gd name="connsiteX128" fmla="*/ 106974 w 451986"/>
                  <a:gd name="connsiteY128" fmla="*/ 269252 h 417287"/>
                  <a:gd name="connsiteX129" fmla="*/ 101367 w 451986"/>
                  <a:gd name="connsiteY129" fmla="*/ 269252 h 417287"/>
                  <a:gd name="connsiteX130" fmla="*/ 95761 w 451986"/>
                  <a:gd name="connsiteY130" fmla="*/ 269404 h 417287"/>
                  <a:gd name="connsiteX131" fmla="*/ 90155 w 451986"/>
                  <a:gd name="connsiteY131" fmla="*/ 269404 h 417287"/>
                  <a:gd name="connsiteX132" fmla="*/ 85003 w 451986"/>
                  <a:gd name="connsiteY132" fmla="*/ 269404 h 417287"/>
                  <a:gd name="connsiteX133" fmla="*/ 81821 w 451986"/>
                  <a:gd name="connsiteY133" fmla="*/ 269101 h 417287"/>
                  <a:gd name="connsiteX134" fmla="*/ 80609 w 451986"/>
                  <a:gd name="connsiteY134" fmla="*/ 268494 h 417287"/>
                  <a:gd name="connsiteX135" fmla="*/ 80155 w 451986"/>
                  <a:gd name="connsiteY135" fmla="*/ 264252 h 417287"/>
                  <a:gd name="connsiteX136" fmla="*/ 79246 w 451986"/>
                  <a:gd name="connsiteY136" fmla="*/ 264555 h 417287"/>
                  <a:gd name="connsiteX137" fmla="*/ 78185 w 451986"/>
                  <a:gd name="connsiteY137" fmla="*/ 265767 h 417287"/>
                  <a:gd name="connsiteX138" fmla="*/ 77579 w 451986"/>
                  <a:gd name="connsiteY138" fmla="*/ 267131 h 417287"/>
                  <a:gd name="connsiteX139" fmla="*/ 77730 w 451986"/>
                  <a:gd name="connsiteY139" fmla="*/ 268949 h 417287"/>
                  <a:gd name="connsiteX140" fmla="*/ 77579 w 451986"/>
                  <a:gd name="connsiteY140" fmla="*/ 270313 h 417287"/>
                  <a:gd name="connsiteX141" fmla="*/ 73942 w 451986"/>
                  <a:gd name="connsiteY141" fmla="*/ 270919 h 417287"/>
                  <a:gd name="connsiteX142" fmla="*/ 69093 w 451986"/>
                  <a:gd name="connsiteY142" fmla="*/ 271980 h 417287"/>
                  <a:gd name="connsiteX143" fmla="*/ 64093 w 451986"/>
                  <a:gd name="connsiteY143" fmla="*/ 272737 h 417287"/>
                  <a:gd name="connsiteX144" fmla="*/ 58942 w 451986"/>
                  <a:gd name="connsiteY144" fmla="*/ 272434 h 417287"/>
                  <a:gd name="connsiteX145" fmla="*/ 57123 w 451986"/>
                  <a:gd name="connsiteY145" fmla="*/ 272131 h 417287"/>
                  <a:gd name="connsiteX146" fmla="*/ 55305 w 451986"/>
                  <a:gd name="connsiteY146" fmla="*/ 271525 h 417287"/>
                  <a:gd name="connsiteX147" fmla="*/ 51214 w 451986"/>
                  <a:gd name="connsiteY147" fmla="*/ 270919 h 417287"/>
                  <a:gd name="connsiteX148" fmla="*/ 48941 w 451986"/>
                  <a:gd name="connsiteY148" fmla="*/ 270919 h 417287"/>
                  <a:gd name="connsiteX149" fmla="*/ 46365 w 451986"/>
                  <a:gd name="connsiteY149" fmla="*/ 271070 h 417287"/>
                  <a:gd name="connsiteX150" fmla="*/ 43335 w 451986"/>
                  <a:gd name="connsiteY150" fmla="*/ 271373 h 417287"/>
                  <a:gd name="connsiteX151" fmla="*/ 42426 w 451986"/>
                  <a:gd name="connsiteY151" fmla="*/ 272131 h 417287"/>
                  <a:gd name="connsiteX152" fmla="*/ 40153 w 451986"/>
                  <a:gd name="connsiteY152" fmla="*/ 275313 h 417287"/>
                  <a:gd name="connsiteX153" fmla="*/ 37880 w 451986"/>
                  <a:gd name="connsiteY153" fmla="*/ 278949 h 417287"/>
                  <a:gd name="connsiteX154" fmla="*/ 36517 w 451986"/>
                  <a:gd name="connsiteY154" fmla="*/ 278949 h 417287"/>
                  <a:gd name="connsiteX155" fmla="*/ 34850 w 451986"/>
                  <a:gd name="connsiteY155" fmla="*/ 276980 h 417287"/>
                  <a:gd name="connsiteX156" fmla="*/ 30456 w 451986"/>
                  <a:gd name="connsiteY156" fmla="*/ 273192 h 417287"/>
                  <a:gd name="connsiteX157" fmla="*/ 25153 w 451986"/>
                  <a:gd name="connsiteY157" fmla="*/ 268192 h 417287"/>
                  <a:gd name="connsiteX158" fmla="*/ 22576 w 451986"/>
                  <a:gd name="connsiteY158" fmla="*/ 265767 h 417287"/>
                  <a:gd name="connsiteX159" fmla="*/ 21364 w 451986"/>
                  <a:gd name="connsiteY159" fmla="*/ 265464 h 417287"/>
                  <a:gd name="connsiteX160" fmla="*/ 18788 w 451986"/>
                  <a:gd name="connsiteY160" fmla="*/ 267131 h 417287"/>
                  <a:gd name="connsiteX161" fmla="*/ 16667 w 451986"/>
                  <a:gd name="connsiteY161" fmla="*/ 268949 h 417287"/>
                  <a:gd name="connsiteX162" fmla="*/ 14243 w 451986"/>
                  <a:gd name="connsiteY162" fmla="*/ 271222 h 417287"/>
                  <a:gd name="connsiteX163" fmla="*/ 13182 w 451986"/>
                  <a:gd name="connsiteY163" fmla="*/ 273646 h 417287"/>
                  <a:gd name="connsiteX164" fmla="*/ 12425 w 451986"/>
                  <a:gd name="connsiteY164" fmla="*/ 276374 h 417287"/>
                  <a:gd name="connsiteX165" fmla="*/ 12121 w 451986"/>
                  <a:gd name="connsiteY165" fmla="*/ 279556 h 417287"/>
                  <a:gd name="connsiteX166" fmla="*/ 11212 w 451986"/>
                  <a:gd name="connsiteY166" fmla="*/ 283192 h 417287"/>
                  <a:gd name="connsiteX167" fmla="*/ 9394 w 451986"/>
                  <a:gd name="connsiteY167" fmla="*/ 286223 h 417287"/>
                  <a:gd name="connsiteX168" fmla="*/ 7121 w 451986"/>
                  <a:gd name="connsiteY168" fmla="*/ 288495 h 417287"/>
                  <a:gd name="connsiteX169" fmla="*/ 5455 w 451986"/>
                  <a:gd name="connsiteY169" fmla="*/ 289556 h 417287"/>
                  <a:gd name="connsiteX170" fmla="*/ 4849 w 451986"/>
                  <a:gd name="connsiteY170" fmla="*/ 290162 h 417287"/>
                  <a:gd name="connsiteX171" fmla="*/ 0 w 451986"/>
                  <a:gd name="connsiteY171" fmla="*/ 288495 h 417287"/>
                  <a:gd name="connsiteX172" fmla="*/ 2576 w 451986"/>
                  <a:gd name="connsiteY172" fmla="*/ 292889 h 417287"/>
                  <a:gd name="connsiteX173" fmla="*/ 2122 w 451986"/>
                  <a:gd name="connsiteY173" fmla="*/ 295011 h 417287"/>
                  <a:gd name="connsiteX174" fmla="*/ 1515 w 451986"/>
                  <a:gd name="connsiteY174" fmla="*/ 298193 h 417287"/>
                  <a:gd name="connsiteX175" fmla="*/ 2879 w 451986"/>
                  <a:gd name="connsiteY175" fmla="*/ 300465 h 417287"/>
                  <a:gd name="connsiteX176" fmla="*/ 4697 w 451986"/>
                  <a:gd name="connsiteY176" fmla="*/ 301981 h 417287"/>
                  <a:gd name="connsiteX177" fmla="*/ 5910 w 451986"/>
                  <a:gd name="connsiteY177" fmla="*/ 303344 h 417287"/>
                  <a:gd name="connsiteX178" fmla="*/ 7273 w 451986"/>
                  <a:gd name="connsiteY178" fmla="*/ 305163 h 417287"/>
                  <a:gd name="connsiteX179" fmla="*/ 7424 w 451986"/>
                  <a:gd name="connsiteY179" fmla="*/ 308951 h 417287"/>
                  <a:gd name="connsiteX180" fmla="*/ 7121 w 451986"/>
                  <a:gd name="connsiteY180" fmla="*/ 311526 h 417287"/>
                  <a:gd name="connsiteX181" fmla="*/ 8031 w 451986"/>
                  <a:gd name="connsiteY181" fmla="*/ 312739 h 417287"/>
                  <a:gd name="connsiteX182" fmla="*/ 8788 w 451986"/>
                  <a:gd name="connsiteY182" fmla="*/ 314405 h 417287"/>
                  <a:gd name="connsiteX183" fmla="*/ 8637 w 451986"/>
                  <a:gd name="connsiteY183" fmla="*/ 315617 h 417287"/>
                  <a:gd name="connsiteX184" fmla="*/ 8182 w 451986"/>
                  <a:gd name="connsiteY184" fmla="*/ 316830 h 417287"/>
                  <a:gd name="connsiteX185" fmla="*/ 6515 w 451986"/>
                  <a:gd name="connsiteY185" fmla="*/ 318193 h 417287"/>
                  <a:gd name="connsiteX186" fmla="*/ 6212 w 451986"/>
                  <a:gd name="connsiteY186" fmla="*/ 321072 h 417287"/>
                  <a:gd name="connsiteX187" fmla="*/ 8940 w 451986"/>
                  <a:gd name="connsiteY187" fmla="*/ 324406 h 417287"/>
                  <a:gd name="connsiteX188" fmla="*/ 10607 w 451986"/>
                  <a:gd name="connsiteY188" fmla="*/ 326224 h 417287"/>
                  <a:gd name="connsiteX189" fmla="*/ 10607 w 451986"/>
                  <a:gd name="connsiteY189" fmla="*/ 327285 h 417287"/>
                  <a:gd name="connsiteX190" fmla="*/ 11061 w 451986"/>
                  <a:gd name="connsiteY190" fmla="*/ 328497 h 417287"/>
                  <a:gd name="connsiteX191" fmla="*/ 12273 w 451986"/>
                  <a:gd name="connsiteY191" fmla="*/ 329860 h 417287"/>
                  <a:gd name="connsiteX192" fmla="*/ 13182 w 451986"/>
                  <a:gd name="connsiteY192" fmla="*/ 329557 h 417287"/>
                  <a:gd name="connsiteX193" fmla="*/ 13940 w 451986"/>
                  <a:gd name="connsiteY193" fmla="*/ 328345 h 417287"/>
                  <a:gd name="connsiteX194" fmla="*/ 14395 w 451986"/>
                  <a:gd name="connsiteY194" fmla="*/ 327588 h 417287"/>
                  <a:gd name="connsiteX195" fmla="*/ 16667 w 451986"/>
                  <a:gd name="connsiteY195" fmla="*/ 328042 h 417287"/>
                  <a:gd name="connsiteX196" fmla="*/ 17728 w 451986"/>
                  <a:gd name="connsiteY196" fmla="*/ 328345 h 417287"/>
                  <a:gd name="connsiteX197" fmla="*/ 19243 w 451986"/>
                  <a:gd name="connsiteY197" fmla="*/ 330618 h 417287"/>
                  <a:gd name="connsiteX198" fmla="*/ 19698 w 451986"/>
                  <a:gd name="connsiteY198" fmla="*/ 331982 h 417287"/>
                  <a:gd name="connsiteX199" fmla="*/ 20152 w 451986"/>
                  <a:gd name="connsiteY199" fmla="*/ 333800 h 417287"/>
                  <a:gd name="connsiteX200" fmla="*/ 21667 w 451986"/>
                  <a:gd name="connsiteY200" fmla="*/ 336224 h 417287"/>
                  <a:gd name="connsiteX201" fmla="*/ 22880 w 451986"/>
                  <a:gd name="connsiteY201" fmla="*/ 337740 h 417287"/>
                  <a:gd name="connsiteX202" fmla="*/ 23183 w 451986"/>
                  <a:gd name="connsiteY202" fmla="*/ 338800 h 417287"/>
                  <a:gd name="connsiteX203" fmla="*/ 24395 w 451986"/>
                  <a:gd name="connsiteY203" fmla="*/ 340164 h 417287"/>
                  <a:gd name="connsiteX204" fmla="*/ 23637 w 451986"/>
                  <a:gd name="connsiteY204" fmla="*/ 343194 h 417287"/>
                  <a:gd name="connsiteX205" fmla="*/ 23789 w 451986"/>
                  <a:gd name="connsiteY205" fmla="*/ 344710 h 417287"/>
                  <a:gd name="connsiteX206" fmla="*/ 22880 w 451986"/>
                  <a:gd name="connsiteY206" fmla="*/ 348800 h 417287"/>
                  <a:gd name="connsiteX207" fmla="*/ 22728 w 451986"/>
                  <a:gd name="connsiteY207" fmla="*/ 350770 h 417287"/>
                  <a:gd name="connsiteX208" fmla="*/ 22880 w 451986"/>
                  <a:gd name="connsiteY208" fmla="*/ 351528 h 417287"/>
                  <a:gd name="connsiteX209" fmla="*/ 24698 w 451986"/>
                  <a:gd name="connsiteY209" fmla="*/ 352892 h 417287"/>
                  <a:gd name="connsiteX210" fmla="*/ 24395 w 451986"/>
                  <a:gd name="connsiteY210" fmla="*/ 355013 h 417287"/>
                  <a:gd name="connsiteX211" fmla="*/ 23637 w 451986"/>
                  <a:gd name="connsiteY211" fmla="*/ 355771 h 417287"/>
                  <a:gd name="connsiteX212" fmla="*/ 22880 w 451986"/>
                  <a:gd name="connsiteY212" fmla="*/ 357437 h 417287"/>
                  <a:gd name="connsiteX213" fmla="*/ 22122 w 451986"/>
                  <a:gd name="connsiteY213" fmla="*/ 359407 h 417287"/>
                  <a:gd name="connsiteX214" fmla="*/ 21364 w 451986"/>
                  <a:gd name="connsiteY214" fmla="*/ 360771 h 417287"/>
                  <a:gd name="connsiteX215" fmla="*/ 21667 w 451986"/>
                  <a:gd name="connsiteY215" fmla="*/ 361528 h 417287"/>
                  <a:gd name="connsiteX216" fmla="*/ 23789 w 451986"/>
                  <a:gd name="connsiteY216" fmla="*/ 363347 h 417287"/>
                  <a:gd name="connsiteX217" fmla="*/ 26819 w 451986"/>
                  <a:gd name="connsiteY217" fmla="*/ 365771 h 417287"/>
                  <a:gd name="connsiteX218" fmla="*/ 28031 w 451986"/>
                  <a:gd name="connsiteY218" fmla="*/ 366074 h 417287"/>
                  <a:gd name="connsiteX219" fmla="*/ 29395 w 451986"/>
                  <a:gd name="connsiteY219" fmla="*/ 365468 h 417287"/>
                  <a:gd name="connsiteX220" fmla="*/ 31516 w 451986"/>
                  <a:gd name="connsiteY220" fmla="*/ 363498 h 417287"/>
                  <a:gd name="connsiteX221" fmla="*/ 33335 w 451986"/>
                  <a:gd name="connsiteY221" fmla="*/ 361528 h 417287"/>
                  <a:gd name="connsiteX222" fmla="*/ 35001 w 451986"/>
                  <a:gd name="connsiteY222" fmla="*/ 360468 h 417287"/>
                  <a:gd name="connsiteX223" fmla="*/ 36971 w 451986"/>
                  <a:gd name="connsiteY223" fmla="*/ 360468 h 417287"/>
                  <a:gd name="connsiteX224" fmla="*/ 38486 w 451986"/>
                  <a:gd name="connsiteY224" fmla="*/ 361983 h 417287"/>
                  <a:gd name="connsiteX225" fmla="*/ 40456 w 451986"/>
                  <a:gd name="connsiteY225" fmla="*/ 365165 h 417287"/>
                  <a:gd name="connsiteX226" fmla="*/ 42123 w 451986"/>
                  <a:gd name="connsiteY226" fmla="*/ 368195 h 417287"/>
                  <a:gd name="connsiteX227" fmla="*/ 42274 w 451986"/>
                  <a:gd name="connsiteY227" fmla="*/ 368498 h 417287"/>
                  <a:gd name="connsiteX228" fmla="*/ 43032 w 451986"/>
                  <a:gd name="connsiteY228" fmla="*/ 368953 h 417287"/>
                  <a:gd name="connsiteX229" fmla="*/ 43941 w 451986"/>
                  <a:gd name="connsiteY229" fmla="*/ 368953 h 417287"/>
                  <a:gd name="connsiteX230" fmla="*/ 44850 w 451986"/>
                  <a:gd name="connsiteY230" fmla="*/ 368195 h 417287"/>
                  <a:gd name="connsiteX231" fmla="*/ 45456 w 451986"/>
                  <a:gd name="connsiteY231" fmla="*/ 367741 h 417287"/>
                  <a:gd name="connsiteX232" fmla="*/ 46365 w 451986"/>
                  <a:gd name="connsiteY232" fmla="*/ 366377 h 417287"/>
                  <a:gd name="connsiteX233" fmla="*/ 49699 w 451986"/>
                  <a:gd name="connsiteY233" fmla="*/ 362286 h 417287"/>
                  <a:gd name="connsiteX234" fmla="*/ 52275 w 451986"/>
                  <a:gd name="connsiteY234" fmla="*/ 361225 h 417287"/>
                  <a:gd name="connsiteX235" fmla="*/ 53184 w 451986"/>
                  <a:gd name="connsiteY235" fmla="*/ 360922 h 417287"/>
                  <a:gd name="connsiteX236" fmla="*/ 55002 w 451986"/>
                  <a:gd name="connsiteY236" fmla="*/ 360316 h 417287"/>
                  <a:gd name="connsiteX237" fmla="*/ 57881 w 451986"/>
                  <a:gd name="connsiteY237" fmla="*/ 361225 h 417287"/>
                  <a:gd name="connsiteX238" fmla="*/ 62124 w 451986"/>
                  <a:gd name="connsiteY238" fmla="*/ 363043 h 417287"/>
                  <a:gd name="connsiteX239" fmla="*/ 67427 w 451986"/>
                  <a:gd name="connsiteY239" fmla="*/ 365013 h 417287"/>
                  <a:gd name="connsiteX240" fmla="*/ 69245 w 451986"/>
                  <a:gd name="connsiteY240" fmla="*/ 365316 h 417287"/>
                  <a:gd name="connsiteX241" fmla="*/ 70306 w 451986"/>
                  <a:gd name="connsiteY241" fmla="*/ 365013 h 417287"/>
                  <a:gd name="connsiteX242" fmla="*/ 71821 w 451986"/>
                  <a:gd name="connsiteY242" fmla="*/ 362286 h 417287"/>
                  <a:gd name="connsiteX243" fmla="*/ 73791 w 451986"/>
                  <a:gd name="connsiteY243" fmla="*/ 361225 h 417287"/>
                  <a:gd name="connsiteX244" fmla="*/ 76518 w 451986"/>
                  <a:gd name="connsiteY244" fmla="*/ 359862 h 417287"/>
                  <a:gd name="connsiteX245" fmla="*/ 78791 w 451986"/>
                  <a:gd name="connsiteY245" fmla="*/ 359255 h 417287"/>
                  <a:gd name="connsiteX246" fmla="*/ 80003 w 451986"/>
                  <a:gd name="connsiteY246" fmla="*/ 359104 h 417287"/>
                  <a:gd name="connsiteX247" fmla="*/ 80457 w 451986"/>
                  <a:gd name="connsiteY247" fmla="*/ 358346 h 417287"/>
                  <a:gd name="connsiteX248" fmla="*/ 80760 w 451986"/>
                  <a:gd name="connsiteY248" fmla="*/ 357286 h 417287"/>
                  <a:gd name="connsiteX249" fmla="*/ 80457 w 451986"/>
                  <a:gd name="connsiteY249" fmla="*/ 356074 h 417287"/>
                  <a:gd name="connsiteX250" fmla="*/ 79094 w 451986"/>
                  <a:gd name="connsiteY250" fmla="*/ 353952 h 417287"/>
                  <a:gd name="connsiteX251" fmla="*/ 78942 w 451986"/>
                  <a:gd name="connsiteY251" fmla="*/ 353346 h 417287"/>
                  <a:gd name="connsiteX252" fmla="*/ 79851 w 451986"/>
                  <a:gd name="connsiteY252" fmla="*/ 352892 h 417287"/>
                  <a:gd name="connsiteX253" fmla="*/ 81670 w 451986"/>
                  <a:gd name="connsiteY253" fmla="*/ 352588 h 417287"/>
                  <a:gd name="connsiteX254" fmla="*/ 83943 w 451986"/>
                  <a:gd name="connsiteY254" fmla="*/ 352892 h 417287"/>
                  <a:gd name="connsiteX255" fmla="*/ 86518 w 451986"/>
                  <a:gd name="connsiteY255" fmla="*/ 353801 h 417287"/>
                  <a:gd name="connsiteX256" fmla="*/ 88640 w 451986"/>
                  <a:gd name="connsiteY256" fmla="*/ 355013 h 417287"/>
                  <a:gd name="connsiteX257" fmla="*/ 89852 w 451986"/>
                  <a:gd name="connsiteY257" fmla="*/ 356680 h 417287"/>
                  <a:gd name="connsiteX258" fmla="*/ 91215 w 451986"/>
                  <a:gd name="connsiteY258" fmla="*/ 360013 h 417287"/>
                  <a:gd name="connsiteX259" fmla="*/ 92124 w 451986"/>
                  <a:gd name="connsiteY259" fmla="*/ 363195 h 417287"/>
                  <a:gd name="connsiteX260" fmla="*/ 94852 w 451986"/>
                  <a:gd name="connsiteY260" fmla="*/ 368347 h 417287"/>
                  <a:gd name="connsiteX261" fmla="*/ 94700 w 451986"/>
                  <a:gd name="connsiteY261" fmla="*/ 371529 h 417287"/>
                  <a:gd name="connsiteX262" fmla="*/ 94700 w 451986"/>
                  <a:gd name="connsiteY262" fmla="*/ 375165 h 417287"/>
                  <a:gd name="connsiteX263" fmla="*/ 95912 w 451986"/>
                  <a:gd name="connsiteY263" fmla="*/ 375923 h 417287"/>
                  <a:gd name="connsiteX264" fmla="*/ 97125 w 451986"/>
                  <a:gd name="connsiteY264" fmla="*/ 376226 h 417287"/>
                  <a:gd name="connsiteX265" fmla="*/ 97731 w 451986"/>
                  <a:gd name="connsiteY265" fmla="*/ 376680 h 417287"/>
                  <a:gd name="connsiteX266" fmla="*/ 98943 w 451986"/>
                  <a:gd name="connsiteY266" fmla="*/ 379559 h 417287"/>
                  <a:gd name="connsiteX267" fmla="*/ 100155 w 451986"/>
                  <a:gd name="connsiteY267" fmla="*/ 380317 h 417287"/>
                  <a:gd name="connsiteX268" fmla="*/ 101670 w 451986"/>
                  <a:gd name="connsiteY268" fmla="*/ 380620 h 417287"/>
                  <a:gd name="connsiteX269" fmla="*/ 104246 w 451986"/>
                  <a:gd name="connsiteY269" fmla="*/ 382438 h 417287"/>
                  <a:gd name="connsiteX270" fmla="*/ 106065 w 451986"/>
                  <a:gd name="connsiteY270" fmla="*/ 383044 h 417287"/>
                  <a:gd name="connsiteX271" fmla="*/ 106216 w 451986"/>
                  <a:gd name="connsiteY271" fmla="*/ 383650 h 417287"/>
                  <a:gd name="connsiteX272" fmla="*/ 106216 w 451986"/>
                  <a:gd name="connsiteY272" fmla="*/ 384408 h 417287"/>
                  <a:gd name="connsiteX273" fmla="*/ 105610 w 451986"/>
                  <a:gd name="connsiteY273" fmla="*/ 385317 h 417287"/>
                  <a:gd name="connsiteX274" fmla="*/ 104549 w 451986"/>
                  <a:gd name="connsiteY274" fmla="*/ 385923 h 417287"/>
                  <a:gd name="connsiteX275" fmla="*/ 102883 w 451986"/>
                  <a:gd name="connsiteY275" fmla="*/ 387287 h 417287"/>
                  <a:gd name="connsiteX276" fmla="*/ 101670 w 451986"/>
                  <a:gd name="connsiteY276" fmla="*/ 388802 h 417287"/>
                  <a:gd name="connsiteX277" fmla="*/ 98943 w 451986"/>
                  <a:gd name="connsiteY277" fmla="*/ 392742 h 417287"/>
                  <a:gd name="connsiteX278" fmla="*/ 98943 w 451986"/>
                  <a:gd name="connsiteY278" fmla="*/ 393499 h 417287"/>
                  <a:gd name="connsiteX279" fmla="*/ 99549 w 451986"/>
                  <a:gd name="connsiteY279" fmla="*/ 393954 h 417287"/>
                  <a:gd name="connsiteX280" fmla="*/ 100610 w 451986"/>
                  <a:gd name="connsiteY280" fmla="*/ 394105 h 417287"/>
                  <a:gd name="connsiteX281" fmla="*/ 101822 w 451986"/>
                  <a:gd name="connsiteY281" fmla="*/ 393802 h 417287"/>
                  <a:gd name="connsiteX282" fmla="*/ 104246 w 451986"/>
                  <a:gd name="connsiteY282" fmla="*/ 392438 h 417287"/>
                  <a:gd name="connsiteX283" fmla="*/ 106065 w 451986"/>
                  <a:gd name="connsiteY283" fmla="*/ 392893 h 417287"/>
                  <a:gd name="connsiteX284" fmla="*/ 107883 w 451986"/>
                  <a:gd name="connsiteY284" fmla="*/ 393954 h 417287"/>
                  <a:gd name="connsiteX285" fmla="*/ 108641 w 451986"/>
                  <a:gd name="connsiteY285" fmla="*/ 395166 h 417287"/>
                  <a:gd name="connsiteX286" fmla="*/ 108792 w 451986"/>
                  <a:gd name="connsiteY286" fmla="*/ 396530 h 417287"/>
                  <a:gd name="connsiteX287" fmla="*/ 108337 w 451986"/>
                  <a:gd name="connsiteY287" fmla="*/ 398499 h 417287"/>
                  <a:gd name="connsiteX288" fmla="*/ 108337 w 451986"/>
                  <a:gd name="connsiteY288" fmla="*/ 400620 h 417287"/>
                  <a:gd name="connsiteX289" fmla="*/ 108943 w 451986"/>
                  <a:gd name="connsiteY289" fmla="*/ 404257 h 417287"/>
                  <a:gd name="connsiteX290" fmla="*/ 109853 w 451986"/>
                  <a:gd name="connsiteY290" fmla="*/ 407894 h 417287"/>
                  <a:gd name="connsiteX291" fmla="*/ 110913 w 451986"/>
                  <a:gd name="connsiteY291" fmla="*/ 409106 h 417287"/>
                  <a:gd name="connsiteX292" fmla="*/ 116974 w 451986"/>
                  <a:gd name="connsiteY292" fmla="*/ 412439 h 417287"/>
                  <a:gd name="connsiteX293" fmla="*/ 117580 w 451986"/>
                  <a:gd name="connsiteY293" fmla="*/ 413500 h 417287"/>
                  <a:gd name="connsiteX294" fmla="*/ 117883 w 451986"/>
                  <a:gd name="connsiteY294" fmla="*/ 414863 h 417287"/>
                  <a:gd name="connsiteX295" fmla="*/ 117429 w 451986"/>
                  <a:gd name="connsiteY295" fmla="*/ 416682 h 417287"/>
                  <a:gd name="connsiteX296" fmla="*/ 118186 w 451986"/>
                  <a:gd name="connsiteY296" fmla="*/ 416682 h 417287"/>
                  <a:gd name="connsiteX297" fmla="*/ 120308 w 451986"/>
                  <a:gd name="connsiteY297" fmla="*/ 416076 h 417287"/>
                  <a:gd name="connsiteX298" fmla="*/ 122277 w 451986"/>
                  <a:gd name="connsiteY298" fmla="*/ 414712 h 417287"/>
                  <a:gd name="connsiteX299" fmla="*/ 124096 w 451986"/>
                  <a:gd name="connsiteY299" fmla="*/ 411833 h 417287"/>
                  <a:gd name="connsiteX300" fmla="*/ 126520 w 451986"/>
                  <a:gd name="connsiteY300" fmla="*/ 409409 h 417287"/>
                  <a:gd name="connsiteX301" fmla="*/ 129096 w 451986"/>
                  <a:gd name="connsiteY301" fmla="*/ 409560 h 417287"/>
                  <a:gd name="connsiteX302" fmla="*/ 130005 w 451986"/>
                  <a:gd name="connsiteY302" fmla="*/ 409257 h 417287"/>
                  <a:gd name="connsiteX303" fmla="*/ 130914 w 451986"/>
                  <a:gd name="connsiteY303" fmla="*/ 409106 h 417287"/>
                  <a:gd name="connsiteX304" fmla="*/ 131974 w 451986"/>
                  <a:gd name="connsiteY304" fmla="*/ 410621 h 417287"/>
                  <a:gd name="connsiteX305" fmla="*/ 133187 w 451986"/>
                  <a:gd name="connsiteY305" fmla="*/ 411833 h 417287"/>
                  <a:gd name="connsiteX306" fmla="*/ 133944 w 451986"/>
                  <a:gd name="connsiteY306" fmla="*/ 411833 h 417287"/>
                  <a:gd name="connsiteX307" fmla="*/ 134551 w 451986"/>
                  <a:gd name="connsiteY307" fmla="*/ 414106 h 417287"/>
                  <a:gd name="connsiteX308" fmla="*/ 139551 w 451986"/>
                  <a:gd name="connsiteY308" fmla="*/ 415015 h 417287"/>
                  <a:gd name="connsiteX309" fmla="*/ 141672 w 451986"/>
                  <a:gd name="connsiteY309" fmla="*/ 415621 h 417287"/>
                  <a:gd name="connsiteX310" fmla="*/ 143490 w 451986"/>
                  <a:gd name="connsiteY310" fmla="*/ 417288 h 417287"/>
                  <a:gd name="connsiteX311" fmla="*/ 144096 w 451986"/>
                  <a:gd name="connsiteY311" fmla="*/ 417288 h 417287"/>
                  <a:gd name="connsiteX312" fmla="*/ 144854 w 451986"/>
                  <a:gd name="connsiteY312" fmla="*/ 416985 h 417287"/>
                  <a:gd name="connsiteX313" fmla="*/ 145460 w 451986"/>
                  <a:gd name="connsiteY313" fmla="*/ 416379 h 417287"/>
                  <a:gd name="connsiteX314" fmla="*/ 145460 w 451986"/>
                  <a:gd name="connsiteY314" fmla="*/ 415773 h 417287"/>
                  <a:gd name="connsiteX315" fmla="*/ 144702 w 451986"/>
                  <a:gd name="connsiteY315" fmla="*/ 414257 h 417287"/>
                  <a:gd name="connsiteX316" fmla="*/ 145157 w 451986"/>
                  <a:gd name="connsiteY316" fmla="*/ 413045 h 417287"/>
                  <a:gd name="connsiteX317" fmla="*/ 145915 w 451986"/>
                  <a:gd name="connsiteY317" fmla="*/ 411833 h 417287"/>
                  <a:gd name="connsiteX318" fmla="*/ 147127 w 451986"/>
                  <a:gd name="connsiteY318" fmla="*/ 411682 h 417287"/>
                  <a:gd name="connsiteX319" fmla="*/ 149096 w 451986"/>
                  <a:gd name="connsiteY319" fmla="*/ 411379 h 417287"/>
                  <a:gd name="connsiteX320" fmla="*/ 151218 w 451986"/>
                  <a:gd name="connsiteY320" fmla="*/ 411379 h 417287"/>
                  <a:gd name="connsiteX321" fmla="*/ 152884 w 451986"/>
                  <a:gd name="connsiteY321" fmla="*/ 411682 h 417287"/>
                  <a:gd name="connsiteX322" fmla="*/ 153642 w 451986"/>
                  <a:gd name="connsiteY322" fmla="*/ 410469 h 417287"/>
                  <a:gd name="connsiteX323" fmla="*/ 153036 w 451986"/>
                  <a:gd name="connsiteY323" fmla="*/ 407136 h 417287"/>
                  <a:gd name="connsiteX324" fmla="*/ 153188 w 451986"/>
                  <a:gd name="connsiteY324" fmla="*/ 405318 h 417287"/>
                  <a:gd name="connsiteX325" fmla="*/ 153339 w 451986"/>
                  <a:gd name="connsiteY325" fmla="*/ 403803 h 417287"/>
                  <a:gd name="connsiteX326" fmla="*/ 153945 w 451986"/>
                  <a:gd name="connsiteY326" fmla="*/ 403196 h 417287"/>
                  <a:gd name="connsiteX327" fmla="*/ 156521 w 451986"/>
                  <a:gd name="connsiteY327" fmla="*/ 405166 h 417287"/>
                  <a:gd name="connsiteX328" fmla="*/ 158642 w 451986"/>
                  <a:gd name="connsiteY328" fmla="*/ 405772 h 417287"/>
                  <a:gd name="connsiteX329" fmla="*/ 160309 w 451986"/>
                  <a:gd name="connsiteY329" fmla="*/ 405772 h 417287"/>
                  <a:gd name="connsiteX330" fmla="*/ 160764 w 451986"/>
                  <a:gd name="connsiteY330" fmla="*/ 405469 h 417287"/>
                  <a:gd name="connsiteX331" fmla="*/ 160006 w 451986"/>
                  <a:gd name="connsiteY331" fmla="*/ 403348 h 417287"/>
                  <a:gd name="connsiteX332" fmla="*/ 160309 w 451986"/>
                  <a:gd name="connsiteY332" fmla="*/ 402742 h 417287"/>
                  <a:gd name="connsiteX333" fmla="*/ 160915 w 451986"/>
                  <a:gd name="connsiteY333" fmla="*/ 402439 h 417287"/>
                  <a:gd name="connsiteX334" fmla="*/ 161824 w 451986"/>
                  <a:gd name="connsiteY334" fmla="*/ 402136 h 417287"/>
                  <a:gd name="connsiteX335" fmla="*/ 164703 w 451986"/>
                  <a:gd name="connsiteY335" fmla="*/ 401378 h 417287"/>
                  <a:gd name="connsiteX336" fmla="*/ 165006 w 451986"/>
                  <a:gd name="connsiteY336" fmla="*/ 401530 h 417287"/>
                  <a:gd name="connsiteX337" fmla="*/ 165612 w 451986"/>
                  <a:gd name="connsiteY337" fmla="*/ 404863 h 417287"/>
                  <a:gd name="connsiteX338" fmla="*/ 165309 w 451986"/>
                  <a:gd name="connsiteY338" fmla="*/ 405924 h 417287"/>
                  <a:gd name="connsiteX339" fmla="*/ 165915 w 451986"/>
                  <a:gd name="connsiteY339" fmla="*/ 408197 h 417287"/>
                  <a:gd name="connsiteX340" fmla="*/ 166673 w 451986"/>
                  <a:gd name="connsiteY340" fmla="*/ 410166 h 417287"/>
                  <a:gd name="connsiteX341" fmla="*/ 166673 w 451986"/>
                  <a:gd name="connsiteY341" fmla="*/ 411075 h 417287"/>
                  <a:gd name="connsiteX342" fmla="*/ 166067 w 451986"/>
                  <a:gd name="connsiteY342" fmla="*/ 412288 h 417287"/>
                  <a:gd name="connsiteX343" fmla="*/ 165309 w 451986"/>
                  <a:gd name="connsiteY343" fmla="*/ 413500 h 417287"/>
                  <a:gd name="connsiteX344" fmla="*/ 165309 w 451986"/>
                  <a:gd name="connsiteY344" fmla="*/ 413954 h 417287"/>
                  <a:gd name="connsiteX345" fmla="*/ 166521 w 451986"/>
                  <a:gd name="connsiteY345" fmla="*/ 414863 h 417287"/>
                  <a:gd name="connsiteX346" fmla="*/ 168643 w 451986"/>
                  <a:gd name="connsiteY346" fmla="*/ 415621 h 417287"/>
                  <a:gd name="connsiteX347" fmla="*/ 170915 w 451986"/>
                  <a:gd name="connsiteY347" fmla="*/ 415924 h 417287"/>
                  <a:gd name="connsiteX348" fmla="*/ 172279 w 451986"/>
                  <a:gd name="connsiteY348" fmla="*/ 414712 h 417287"/>
                  <a:gd name="connsiteX349" fmla="*/ 173491 w 451986"/>
                  <a:gd name="connsiteY349" fmla="*/ 413651 h 417287"/>
                  <a:gd name="connsiteX350" fmla="*/ 174401 w 451986"/>
                  <a:gd name="connsiteY350" fmla="*/ 412742 h 417287"/>
                  <a:gd name="connsiteX351" fmla="*/ 174703 w 451986"/>
                  <a:gd name="connsiteY351" fmla="*/ 411530 h 417287"/>
                  <a:gd name="connsiteX352" fmla="*/ 176219 w 451986"/>
                  <a:gd name="connsiteY352" fmla="*/ 410469 h 417287"/>
                  <a:gd name="connsiteX353" fmla="*/ 180310 w 451986"/>
                  <a:gd name="connsiteY353" fmla="*/ 409257 h 417287"/>
                  <a:gd name="connsiteX354" fmla="*/ 184098 w 451986"/>
                  <a:gd name="connsiteY354" fmla="*/ 409106 h 417287"/>
                  <a:gd name="connsiteX355" fmla="*/ 185007 w 451986"/>
                  <a:gd name="connsiteY355" fmla="*/ 409560 h 417287"/>
                  <a:gd name="connsiteX356" fmla="*/ 185461 w 451986"/>
                  <a:gd name="connsiteY356" fmla="*/ 407894 h 417287"/>
                  <a:gd name="connsiteX357" fmla="*/ 186219 w 451986"/>
                  <a:gd name="connsiteY357" fmla="*/ 405621 h 417287"/>
                  <a:gd name="connsiteX358" fmla="*/ 186219 w 451986"/>
                  <a:gd name="connsiteY358" fmla="*/ 403499 h 417287"/>
                  <a:gd name="connsiteX359" fmla="*/ 186825 w 451986"/>
                  <a:gd name="connsiteY359" fmla="*/ 400015 h 417287"/>
                  <a:gd name="connsiteX360" fmla="*/ 186370 w 451986"/>
                  <a:gd name="connsiteY360" fmla="*/ 395620 h 417287"/>
                  <a:gd name="connsiteX361" fmla="*/ 185765 w 451986"/>
                  <a:gd name="connsiteY361" fmla="*/ 392590 h 417287"/>
                  <a:gd name="connsiteX362" fmla="*/ 187583 w 451986"/>
                  <a:gd name="connsiteY362" fmla="*/ 391226 h 417287"/>
                  <a:gd name="connsiteX363" fmla="*/ 189704 w 451986"/>
                  <a:gd name="connsiteY363" fmla="*/ 390166 h 417287"/>
                  <a:gd name="connsiteX364" fmla="*/ 191068 w 451986"/>
                  <a:gd name="connsiteY364" fmla="*/ 388044 h 417287"/>
                  <a:gd name="connsiteX365" fmla="*/ 192432 w 451986"/>
                  <a:gd name="connsiteY365" fmla="*/ 383347 h 417287"/>
                  <a:gd name="connsiteX366" fmla="*/ 193037 w 451986"/>
                  <a:gd name="connsiteY366" fmla="*/ 379408 h 417287"/>
                  <a:gd name="connsiteX367" fmla="*/ 192583 w 451986"/>
                  <a:gd name="connsiteY367" fmla="*/ 377892 h 417287"/>
                  <a:gd name="connsiteX368" fmla="*/ 191825 w 451986"/>
                  <a:gd name="connsiteY368" fmla="*/ 376680 h 417287"/>
                  <a:gd name="connsiteX369" fmla="*/ 191371 w 451986"/>
                  <a:gd name="connsiteY369" fmla="*/ 374862 h 417287"/>
                  <a:gd name="connsiteX370" fmla="*/ 191068 w 451986"/>
                  <a:gd name="connsiteY370" fmla="*/ 372741 h 417287"/>
                  <a:gd name="connsiteX371" fmla="*/ 191371 w 451986"/>
                  <a:gd name="connsiteY371" fmla="*/ 370923 h 417287"/>
                  <a:gd name="connsiteX372" fmla="*/ 192886 w 451986"/>
                  <a:gd name="connsiteY372" fmla="*/ 369256 h 417287"/>
                  <a:gd name="connsiteX373" fmla="*/ 195007 w 451986"/>
                  <a:gd name="connsiteY373" fmla="*/ 367741 h 417287"/>
                  <a:gd name="connsiteX374" fmla="*/ 196371 w 451986"/>
                  <a:gd name="connsiteY374" fmla="*/ 367135 h 417287"/>
                  <a:gd name="connsiteX375" fmla="*/ 200159 w 451986"/>
                  <a:gd name="connsiteY375" fmla="*/ 366377 h 417287"/>
                  <a:gd name="connsiteX376" fmla="*/ 204856 w 451986"/>
                  <a:gd name="connsiteY376" fmla="*/ 365316 h 417287"/>
                  <a:gd name="connsiteX377" fmla="*/ 207432 w 451986"/>
                  <a:gd name="connsiteY377" fmla="*/ 364104 h 417287"/>
                  <a:gd name="connsiteX378" fmla="*/ 209402 w 451986"/>
                  <a:gd name="connsiteY378" fmla="*/ 362892 h 417287"/>
                  <a:gd name="connsiteX379" fmla="*/ 210614 w 451986"/>
                  <a:gd name="connsiteY379" fmla="*/ 361831 h 417287"/>
                  <a:gd name="connsiteX380" fmla="*/ 211675 w 451986"/>
                  <a:gd name="connsiteY380" fmla="*/ 359862 h 417287"/>
                  <a:gd name="connsiteX381" fmla="*/ 213493 w 451986"/>
                  <a:gd name="connsiteY381" fmla="*/ 358346 h 417287"/>
                  <a:gd name="connsiteX382" fmla="*/ 214856 w 451986"/>
                  <a:gd name="connsiteY382" fmla="*/ 356831 h 417287"/>
                  <a:gd name="connsiteX383" fmla="*/ 215160 w 451986"/>
                  <a:gd name="connsiteY383" fmla="*/ 352588 h 417287"/>
                  <a:gd name="connsiteX384" fmla="*/ 215008 w 451986"/>
                  <a:gd name="connsiteY384" fmla="*/ 350164 h 417287"/>
                  <a:gd name="connsiteX385" fmla="*/ 214099 w 451986"/>
                  <a:gd name="connsiteY385" fmla="*/ 348800 h 417287"/>
                  <a:gd name="connsiteX386" fmla="*/ 213493 w 451986"/>
                  <a:gd name="connsiteY386" fmla="*/ 347588 h 417287"/>
                  <a:gd name="connsiteX387" fmla="*/ 220463 w 451986"/>
                  <a:gd name="connsiteY387" fmla="*/ 344255 h 417287"/>
                  <a:gd name="connsiteX388" fmla="*/ 220463 w 451986"/>
                  <a:gd name="connsiteY388" fmla="*/ 341831 h 417287"/>
                  <a:gd name="connsiteX389" fmla="*/ 219553 w 451986"/>
                  <a:gd name="connsiteY389" fmla="*/ 339255 h 417287"/>
                  <a:gd name="connsiteX390" fmla="*/ 218190 w 451986"/>
                  <a:gd name="connsiteY390" fmla="*/ 337134 h 417287"/>
                  <a:gd name="connsiteX391" fmla="*/ 217584 w 451986"/>
                  <a:gd name="connsiteY391" fmla="*/ 335315 h 417287"/>
                  <a:gd name="connsiteX392" fmla="*/ 219553 w 451986"/>
                  <a:gd name="connsiteY392" fmla="*/ 333042 h 417287"/>
                  <a:gd name="connsiteX393" fmla="*/ 221220 w 451986"/>
                  <a:gd name="connsiteY393" fmla="*/ 331527 h 417287"/>
                  <a:gd name="connsiteX394" fmla="*/ 222432 w 451986"/>
                  <a:gd name="connsiteY394" fmla="*/ 330163 h 417287"/>
                  <a:gd name="connsiteX395" fmla="*/ 225160 w 451986"/>
                  <a:gd name="connsiteY395" fmla="*/ 328042 h 417287"/>
                  <a:gd name="connsiteX396" fmla="*/ 228039 w 451986"/>
                  <a:gd name="connsiteY396" fmla="*/ 327436 h 417287"/>
                  <a:gd name="connsiteX397" fmla="*/ 230615 w 451986"/>
                  <a:gd name="connsiteY397" fmla="*/ 328194 h 417287"/>
                  <a:gd name="connsiteX398" fmla="*/ 238191 w 451986"/>
                  <a:gd name="connsiteY398" fmla="*/ 333194 h 417287"/>
                  <a:gd name="connsiteX399" fmla="*/ 239554 w 451986"/>
                  <a:gd name="connsiteY399" fmla="*/ 333497 h 417287"/>
                  <a:gd name="connsiteX400" fmla="*/ 241070 w 451986"/>
                  <a:gd name="connsiteY400" fmla="*/ 333194 h 417287"/>
                  <a:gd name="connsiteX401" fmla="*/ 243191 w 451986"/>
                  <a:gd name="connsiteY401" fmla="*/ 331830 h 417287"/>
                  <a:gd name="connsiteX402" fmla="*/ 245767 w 451986"/>
                  <a:gd name="connsiteY402" fmla="*/ 330769 h 417287"/>
                  <a:gd name="connsiteX403" fmla="*/ 246676 w 451986"/>
                  <a:gd name="connsiteY403" fmla="*/ 327436 h 417287"/>
                  <a:gd name="connsiteX404" fmla="*/ 246524 w 451986"/>
                  <a:gd name="connsiteY404" fmla="*/ 322587 h 417287"/>
                  <a:gd name="connsiteX405" fmla="*/ 247130 w 451986"/>
                  <a:gd name="connsiteY405" fmla="*/ 320315 h 417287"/>
                  <a:gd name="connsiteX406" fmla="*/ 248494 w 451986"/>
                  <a:gd name="connsiteY406" fmla="*/ 320012 h 417287"/>
                  <a:gd name="connsiteX407" fmla="*/ 252888 w 451986"/>
                  <a:gd name="connsiteY407" fmla="*/ 320921 h 417287"/>
                  <a:gd name="connsiteX408" fmla="*/ 254100 w 451986"/>
                  <a:gd name="connsiteY408" fmla="*/ 320921 h 417287"/>
                  <a:gd name="connsiteX409" fmla="*/ 255313 w 451986"/>
                  <a:gd name="connsiteY409" fmla="*/ 320618 h 417287"/>
                  <a:gd name="connsiteX410" fmla="*/ 256222 w 451986"/>
                  <a:gd name="connsiteY410" fmla="*/ 319709 h 417287"/>
                  <a:gd name="connsiteX411" fmla="*/ 256222 w 451986"/>
                  <a:gd name="connsiteY411" fmla="*/ 318193 h 417287"/>
                  <a:gd name="connsiteX412" fmla="*/ 256070 w 451986"/>
                  <a:gd name="connsiteY412" fmla="*/ 316830 h 417287"/>
                  <a:gd name="connsiteX413" fmla="*/ 257434 w 451986"/>
                  <a:gd name="connsiteY413" fmla="*/ 312284 h 417287"/>
                  <a:gd name="connsiteX414" fmla="*/ 260010 w 451986"/>
                  <a:gd name="connsiteY414" fmla="*/ 308799 h 417287"/>
                  <a:gd name="connsiteX415" fmla="*/ 265313 w 451986"/>
                  <a:gd name="connsiteY415" fmla="*/ 304556 h 417287"/>
                  <a:gd name="connsiteX416" fmla="*/ 266980 w 451986"/>
                  <a:gd name="connsiteY416" fmla="*/ 303799 h 417287"/>
                  <a:gd name="connsiteX417" fmla="*/ 268798 w 451986"/>
                  <a:gd name="connsiteY417" fmla="*/ 303344 h 417287"/>
                  <a:gd name="connsiteX418" fmla="*/ 278192 w 451986"/>
                  <a:gd name="connsiteY418" fmla="*/ 306223 h 417287"/>
                  <a:gd name="connsiteX419" fmla="*/ 279707 w 451986"/>
                  <a:gd name="connsiteY419" fmla="*/ 305466 h 417287"/>
                  <a:gd name="connsiteX420" fmla="*/ 282132 w 451986"/>
                  <a:gd name="connsiteY420" fmla="*/ 298193 h 417287"/>
                  <a:gd name="connsiteX421" fmla="*/ 284556 w 451986"/>
                  <a:gd name="connsiteY421" fmla="*/ 297587 h 417287"/>
                  <a:gd name="connsiteX422" fmla="*/ 287738 w 451986"/>
                  <a:gd name="connsiteY422" fmla="*/ 297435 h 417287"/>
                  <a:gd name="connsiteX423" fmla="*/ 289708 w 451986"/>
                  <a:gd name="connsiteY423" fmla="*/ 296829 h 417287"/>
                  <a:gd name="connsiteX424" fmla="*/ 290768 w 451986"/>
                  <a:gd name="connsiteY424" fmla="*/ 296223 h 417287"/>
                  <a:gd name="connsiteX425" fmla="*/ 295163 w 451986"/>
                  <a:gd name="connsiteY425" fmla="*/ 293495 h 417287"/>
                  <a:gd name="connsiteX426" fmla="*/ 303042 w 451986"/>
                  <a:gd name="connsiteY426" fmla="*/ 289707 h 417287"/>
                  <a:gd name="connsiteX427" fmla="*/ 307284 w 451986"/>
                  <a:gd name="connsiteY427" fmla="*/ 288192 h 417287"/>
                  <a:gd name="connsiteX428" fmla="*/ 308193 w 451986"/>
                  <a:gd name="connsiteY428" fmla="*/ 287586 h 417287"/>
                  <a:gd name="connsiteX429" fmla="*/ 311224 w 451986"/>
                  <a:gd name="connsiteY429" fmla="*/ 284859 h 417287"/>
                  <a:gd name="connsiteX430" fmla="*/ 315315 w 451986"/>
                  <a:gd name="connsiteY430" fmla="*/ 281828 h 417287"/>
                  <a:gd name="connsiteX431" fmla="*/ 317891 w 451986"/>
                  <a:gd name="connsiteY431" fmla="*/ 281222 h 417287"/>
                  <a:gd name="connsiteX432" fmla="*/ 321375 w 451986"/>
                  <a:gd name="connsiteY432" fmla="*/ 280919 h 417287"/>
                  <a:gd name="connsiteX433" fmla="*/ 323649 w 451986"/>
                  <a:gd name="connsiteY433" fmla="*/ 281525 h 417287"/>
                  <a:gd name="connsiteX434" fmla="*/ 324254 w 451986"/>
                  <a:gd name="connsiteY434" fmla="*/ 282283 h 417287"/>
                  <a:gd name="connsiteX435" fmla="*/ 325012 w 451986"/>
                  <a:gd name="connsiteY435" fmla="*/ 282737 h 417287"/>
                  <a:gd name="connsiteX436" fmla="*/ 329558 w 451986"/>
                  <a:gd name="connsiteY436" fmla="*/ 281525 h 417287"/>
                  <a:gd name="connsiteX437" fmla="*/ 336225 w 451986"/>
                  <a:gd name="connsiteY437" fmla="*/ 283495 h 417287"/>
                  <a:gd name="connsiteX438" fmla="*/ 341983 w 451986"/>
                  <a:gd name="connsiteY438" fmla="*/ 285616 h 417287"/>
                  <a:gd name="connsiteX439" fmla="*/ 342285 w 451986"/>
                  <a:gd name="connsiteY439" fmla="*/ 284101 h 417287"/>
                  <a:gd name="connsiteX440" fmla="*/ 343952 w 451986"/>
                  <a:gd name="connsiteY440" fmla="*/ 283647 h 417287"/>
                  <a:gd name="connsiteX441" fmla="*/ 347892 w 451986"/>
                  <a:gd name="connsiteY441" fmla="*/ 283647 h 417287"/>
                  <a:gd name="connsiteX442" fmla="*/ 355771 w 451986"/>
                  <a:gd name="connsiteY442" fmla="*/ 284404 h 417287"/>
                  <a:gd name="connsiteX443" fmla="*/ 361983 w 451986"/>
                  <a:gd name="connsiteY443" fmla="*/ 283647 h 417287"/>
                  <a:gd name="connsiteX444" fmla="*/ 362286 w 451986"/>
                  <a:gd name="connsiteY444" fmla="*/ 283495 h 417287"/>
                  <a:gd name="connsiteX445" fmla="*/ 366680 w 451986"/>
                  <a:gd name="connsiteY445" fmla="*/ 279556 h 417287"/>
                  <a:gd name="connsiteX446" fmla="*/ 371680 w 451986"/>
                  <a:gd name="connsiteY446" fmla="*/ 275616 h 417287"/>
                  <a:gd name="connsiteX447" fmla="*/ 378954 w 451986"/>
                  <a:gd name="connsiteY447" fmla="*/ 275161 h 417287"/>
                  <a:gd name="connsiteX448" fmla="*/ 386984 w 451986"/>
                  <a:gd name="connsiteY448" fmla="*/ 274707 h 417287"/>
                  <a:gd name="connsiteX449" fmla="*/ 393197 w 451986"/>
                  <a:gd name="connsiteY449" fmla="*/ 274555 h 417287"/>
                  <a:gd name="connsiteX450" fmla="*/ 402287 w 451986"/>
                  <a:gd name="connsiteY450" fmla="*/ 274252 h 417287"/>
                  <a:gd name="connsiteX451" fmla="*/ 409712 w 451986"/>
                  <a:gd name="connsiteY451" fmla="*/ 273949 h 417287"/>
                  <a:gd name="connsiteX452" fmla="*/ 418197 w 451986"/>
                  <a:gd name="connsiteY452" fmla="*/ 273646 h 417287"/>
                  <a:gd name="connsiteX453" fmla="*/ 418500 w 451986"/>
                  <a:gd name="connsiteY453" fmla="*/ 271828 h 417287"/>
                  <a:gd name="connsiteX454" fmla="*/ 418955 w 451986"/>
                  <a:gd name="connsiteY454" fmla="*/ 271373 h 417287"/>
                  <a:gd name="connsiteX455" fmla="*/ 419864 w 451986"/>
                  <a:gd name="connsiteY455" fmla="*/ 271222 h 417287"/>
                  <a:gd name="connsiteX456" fmla="*/ 426076 w 451986"/>
                  <a:gd name="connsiteY456" fmla="*/ 272282 h 417287"/>
                  <a:gd name="connsiteX457" fmla="*/ 431986 w 451986"/>
                  <a:gd name="connsiteY457" fmla="*/ 273192 h 417287"/>
                  <a:gd name="connsiteX458" fmla="*/ 432440 w 451986"/>
                  <a:gd name="connsiteY458" fmla="*/ 269707 h 417287"/>
                  <a:gd name="connsiteX459" fmla="*/ 437592 w 451986"/>
                  <a:gd name="connsiteY459" fmla="*/ 265313 h 417287"/>
                  <a:gd name="connsiteX460" fmla="*/ 440471 w 451986"/>
                  <a:gd name="connsiteY460" fmla="*/ 264404 h 417287"/>
                  <a:gd name="connsiteX461" fmla="*/ 441228 w 451986"/>
                  <a:gd name="connsiteY461" fmla="*/ 263646 h 417287"/>
                  <a:gd name="connsiteX462" fmla="*/ 442138 w 451986"/>
                  <a:gd name="connsiteY462" fmla="*/ 262131 h 417287"/>
                  <a:gd name="connsiteX463" fmla="*/ 442744 w 451986"/>
                  <a:gd name="connsiteY463" fmla="*/ 259858 h 417287"/>
                  <a:gd name="connsiteX464" fmla="*/ 442895 w 451986"/>
                  <a:gd name="connsiteY464" fmla="*/ 258191 h 417287"/>
                  <a:gd name="connsiteX465" fmla="*/ 444107 w 451986"/>
                  <a:gd name="connsiteY465" fmla="*/ 256828 h 417287"/>
                  <a:gd name="connsiteX466" fmla="*/ 444865 w 451986"/>
                  <a:gd name="connsiteY466" fmla="*/ 254252 h 417287"/>
                  <a:gd name="connsiteX467" fmla="*/ 445926 w 451986"/>
                  <a:gd name="connsiteY467" fmla="*/ 249857 h 417287"/>
                  <a:gd name="connsiteX468" fmla="*/ 448804 w 451986"/>
                  <a:gd name="connsiteY468" fmla="*/ 245312 h 417287"/>
                  <a:gd name="connsiteX469" fmla="*/ 450471 w 451986"/>
                  <a:gd name="connsiteY469" fmla="*/ 239100 h 417287"/>
                  <a:gd name="connsiteX470" fmla="*/ 450774 w 451986"/>
                  <a:gd name="connsiteY470" fmla="*/ 233039 h 417287"/>
                  <a:gd name="connsiteX471" fmla="*/ 451077 w 451986"/>
                  <a:gd name="connsiteY471" fmla="*/ 228342 h 417287"/>
                  <a:gd name="connsiteX472" fmla="*/ 451986 w 451986"/>
                  <a:gd name="connsiteY472" fmla="*/ 227432 h 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Lst>
                <a:rect l="l" t="t" r="r" b="b"/>
                <a:pathLst>
                  <a:path w="451986" h="417287">
                    <a:moveTo>
                      <a:pt x="451835" y="219250"/>
                    </a:moveTo>
                    <a:lnTo>
                      <a:pt x="451835" y="211068"/>
                    </a:lnTo>
                    <a:lnTo>
                      <a:pt x="451835" y="204098"/>
                    </a:lnTo>
                    <a:lnTo>
                      <a:pt x="451835" y="195462"/>
                    </a:lnTo>
                    <a:lnTo>
                      <a:pt x="451835" y="187734"/>
                    </a:lnTo>
                    <a:lnTo>
                      <a:pt x="451835" y="179552"/>
                    </a:lnTo>
                    <a:lnTo>
                      <a:pt x="451683" y="172127"/>
                    </a:lnTo>
                    <a:lnTo>
                      <a:pt x="451683" y="167127"/>
                    </a:lnTo>
                    <a:lnTo>
                      <a:pt x="443047" y="168794"/>
                    </a:lnTo>
                    <a:lnTo>
                      <a:pt x="436834" y="170006"/>
                    </a:lnTo>
                    <a:lnTo>
                      <a:pt x="430168" y="171218"/>
                    </a:lnTo>
                    <a:lnTo>
                      <a:pt x="429107" y="171521"/>
                    </a:lnTo>
                    <a:lnTo>
                      <a:pt x="427895" y="171521"/>
                    </a:lnTo>
                    <a:lnTo>
                      <a:pt x="426985" y="171521"/>
                    </a:lnTo>
                    <a:lnTo>
                      <a:pt x="425167" y="170764"/>
                    </a:lnTo>
                    <a:lnTo>
                      <a:pt x="422895" y="169097"/>
                    </a:lnTo>
                    <a:lnTo>
                      <a:pt x="421379" y="168339"/>
                    </a:lnTo>
                    <a:lnTo>
                      <a:pt x="421076" y="166976"/>
                    </a:lnTo>
                    <a:lnTo>
                      <a:pt x="421985" y="165157"/>
                    </a:lnTo>
                    <a:lnTo>
                      <a:pt x="423046" y="163642"/>
                    </a:lnTo>
                    <a:lnTo>
                      <a:pt x="423349" y="162430"/>
                    </a:lnTo>
                    <a:lnTo>
                      <a:pt x="424107" y="161369"/>
                    </a:lnTo>
                    <a:lnTo>
                      <a:pt x="425167" y="160612"/>
                    </a:lnTo>
                    <a:lnTo>
                      <a:pt x="425167" y="159551"/>
                    </a:lnTo>
                    <a:lnTo>
                      <a:pt x="424410" y="157885"/>
                    </a:lnTo>
                    <a:lnTo>
                      <a:pt x="423652" y="155309"/>
                    </a:lnTo>
                    <a:lnTo>
                      <a:pt x="423652" y="150914"/>
                    </a:lnTo>
                    <a:lnTo>
                      <a:pt x="423652" y="149399"/>
                    </a:lnTo>
                    <a:lnTo>
                      <a:pt x="423652" y="148945"/>
                    </a:lnTo>
                    <a:lnTo>
                      <a:pt x="421682" y="147126"/>
                    </a:lnTo>
                    <a:lnTo>
                      <a:pt x="417894" y="145308"/>
                    </a:lnTo>
                    <a:lnTo>
                      <a:pt x="414409" y="144248"/>
                    </a:lnTo>
                    <a:lnTo>
                      <a:pt x="412894" y="143793"/>
                    </a:lnTo>
                    <a:lnTo>
                      <a:pt x="409106" y="143187"/>
                    </a:lnTo>
                    <a:lnTo>
                      <a:pt x="403803" y="141975"/>
                    </a:lnTo>
                    <a:lnTo>
                      <a:pt x="401833" y="141066"/>
                    </a:lnTo>
                    <a:lnTo>
                      <a:pt x="398499" y="136975"/>
                    </a:lnTo>
                    <a:lnTo>
                      <a:pt x="396833" y="135914"/>
                    </a:lnTo>
                    <a:lnTo>
                      <a:pt x="388802" y="135156"/>
                    </a:lnTo>
                    <a:lnTo>
                      <a:pt x="386226" y="134550"/>
                    </a:lnTo>
                    <a:lnTo>
                      <a:pt x="384105" y="133490"/>
                    </a:lnTo>
                    <a:lnTo>
                      <a:pt x="382135" y="132277"/>
                    </a:lnTo>
                    <a:lnTo>
                      <a:pt x="381075" y="130005"/>
                    </a:lnTo>
                    <a:lnTo>
                      <a:pt x="380772" y="128035"/>
                    </a:lnTo>
                    <a:lnTo>
                      <a:pt x="380166" y="127126"/>
                    </a:lnTo>
                    <a:lnTo>
                      <a:pt x="371378" y="122732"/>
                    </a:lnTo>
                    <a:lnTo>
                      <a:pt x="369105" y="121217"/>
                    </a:lnTo>
                    <a:lnTo>
                      <a:pt x="367892" y="119701"/>
                    </a:lnTo>
                    <a:lnTo>
                      <a:pt x="367892" y="117731"/>
                    </a:lnTo>
                    <a:lnTo>
                      <a:pt x="368195" y="115156"/>
                    </a:lnTo>
                    <a:lnTo>
                      <a:pt x="367741" y="112731"/>
                    </a:lnTo>
                    <a:lnTo>
                      <a:pt x="367438" y="111671"/>
                    </a:lnTo>
                    <a:lnTo>
                      <a:pt x="363347" y="108943"/>
                    </a:lnTo>
                    <a:lnTo>
                      <a:pt x="354407" y="102882"/>
                    </a:lnTo>
                    <a:lnTo>
                      <a:pt x="345467" y="96822"/>
                    </a:lnTo>
                    <a:lnTo>
                      <a:pt x="336528" y="90609"/>
                    </a:lnTo>
                    <a:lnTo>
                      <a:pt x="327588" y="84548"/>
                    </a:lnTo>
                    <a:lnTo>
                      <a:pt x="318648" y="78488"/>
                    </a:lnTo>
                    <a:lnTo>
                      <a:pt x="309709" y="72275"/>
                    </a:lnTo>
                    <a:lnTo>
                      <a:pt x="300617" y="66214"/>
                    </a:lnTo>
                    <a:lnTo>
                      <a:pt x="291677" y="60002"/>
                    </a:lnTo>
                    <a:lnTo>
                      <a:pt x="282738" y="53941"/>
                    </a:lnTo>
                    <a:lnTo>
                      <a:pt x="273798" y="47729"/>
                    </a:lnTo>
                    <a:lnTo>
                      <a:pt x="264858" y="41517"/>
                    </a:lnTo>
                    <a:lnTo>
                      <a:pt x="255919" y="35456"/>
                    </a:lnTo>
                    <a:lnTo>
                      <a:pt x="246979" y="29243"/>
                    </a:lnTo>
                    <a:lnTo>
                      <a:pt x="238039" y="23031"/>
                    </a:lnTo>
                    <a:lnTo>
                      <a:pt x="228948" y="16970"/>
                    </a:lnTo>
                    <a:lnTo>
                      <a:pt x="220008" y="10758"/>
                    </a:lnTo>
                    <a:lnTo>
                      <a:pt x="212432" y="5455"/>
                    </a:lnTo>
                    <a:lnTo>
                      <a:pt x="204099" y="0"/>
                    </a:lnTo>
                    <a:lnTo>
                      <a:pt x="194553" y="0"/>
                    </a:lnTo>
                    <a:lnTo>
                      <a:pt x="181673" y="0"/>
                    </a:lnTo>
                    <a:lnTo>
                      <a:pt x="173037" y="0"/>
                    </a:lnTo>
                    <a:lnTo>
                      <a:pt x="164097" y="0"/>
                    </a:lnTo>
                    <a:lnTo>
                      <a:pt x="155612" y="0"/>
                    </a:lnTo>
                    <a:lnTo>
                      <a:pt x="156370" y="6515"/>
                    </a:lnTo>
                    <a:lnTo>
                      <a:pt x="157127" y="13788"/>
                    </a:lnTo>
                    <a:lnTo>
                      <a:pt x="157885" y="20910"/>
                    </a:lnTo>
                    <a:lnTo>
                      <a:pt x="158642" y="28183"/>
                    </a:lnTo>
                    <a:lnTo>
                      <a:pt x="159551" y="35304"/>
                    </a:lnTo>
                    <a:lnTo>
                      <a:pt x="160309" y="42426"/>
                    </a:lnTo>
                    <a:lnTo>
                      <a:pt x="161067" y="49547"/>
                    </a:lnTo>
                    <a:lnTo>
                      <a:pt x="161824" y="56669"/>
                    </a:lnTo>
                    <a:lnTo>
                      <a:pt x="162582" y="63790"/>
                    </a:lnTo>
                    <a:lnTo>
                      <a:pt x="163339" y="70912"/>
                    </a:lnTo>
                    <a:lnTo>
                      <a:pt x="164097" y="78033"/>
                    </a:lnTo>
                    <a:lnTo>
                      <a:pt x="165006" y="85155"/>
                    </a:lnTo>
                    <a:lnTo>
                      <a:pt x="165764" y="92276"/>
                    </a:lnTo>
                    <a:lnTo>
                      <a:pt x="166521" y="99398"/>
                    </a:lnTo>
                    <a:lnTo>
                      <a:pt x="167279" y="106519"/>
                    </a:lnTo>
                    <a:lnTo>
                      <a:pt x="168036" y="113489"/>
                    </a:lnTo>
                    <a:lnTo>
                      <a:pt x="168794" y="120610"/>
                    </a:lnTo>
                    <a:lnTo>
                      <a:pt x="169552" y="127580"/>
                    </a:lnTo>
                    <a:lnTo>
                      <a:pt x="170461" y="134702"/>
                    </a:lnTo>
                    <a:lnTo>
                      <a:pt x="171218" y="141672"/>
                    </a:lnTo>
                    <a:lnTo>
                      <a:pt x="171976" y="148793"/>
                    </a:lnTo>
                    <a:lnTo>
                      <a:pt x="172734" y="155763"/>
                    </a:lnTo>
                    <a:lnTo>
                      <a:pt x="173491" y="162885"/>
                    </a:lnTo>
                    <a:lnTo>
                      <a:pt x="174249" y="169855"/>
                    </a:lnTo>
                    <a:lnTo>
                      <a:pt x="175006" y="176825"/>
                    </a:lnTo>
                    <a:lnTo>
                      <a:pt x="175916" y="183794"/>
                    </a:lnTo>
                    <a:lnTo>
                      <a:pt x="176673" y="190916"/>
                    </a:lnTo>
                    <a:lnTo>
                      <a:pt x="177431" y="197886"/>
                    </a:lnTo>
                    <a:lnTo>
                      <a:pt x="178189" y="204856"/>
                    </a:lnTo>
                    <a:lnTo>
                      <a:pt x="178946" y="211826"/>
                    </a:lnTo>
                    <a:lnTo>
                      <a:pt x="179704" y="218796"/>
                    </a:lnTo>
                    <a:lnTo>
                      <a:pt x="180461" y="225766"/>
                    </a:lnTo>
                    <a:lnTo>
                      <a:pt x="181370" y="232736"/>
                    </a:lnTo>
                    <a:lnTo>
                      <a:pt x="182128" y="239402"/>
                    </a:lnTo>
                    <a:lnTo>
                      <a:pt x="185310" y="242888"/>
                    </a:lnTo>
                    <a:lnTo>
                      <a:pt x="189401" y="247433"/>
                    </a:lnTo>
                    <a:lnTo>
                      <a:pt x="188189" y="253645"/>
                    </a:lnTo>
                    <a:lnTo>
                      <a:pt x="186825" y="261222"/>
                    </a:lnTo>
                    <a:lnTo>
                      <a:pt x="185310" y="269252"/>
                    </a:lnTo>
                    <a:lnTo>
                      <a:pt x="179401" y="269252"/>
                    </a:lnTo>
                    <a:lnTo>
                      <a:pt x="173946" y="269252"/>
                    </a:lnTo>
                    <a:lnTo>
                      <a:pt x="168340" y="269252"/>
                    </a:lnTo>
                    <a:lnTo>
                      <a:pt x="162733" y="269252"/>
                    </a:lnTo>
                    <a:lnTo>
                      <a:pt x="157127" y="269252"/>
                    </a:lnTo>
                    <a:lnTo>
                      <a:pt x="151521" y="269252"/>
                    </a:lnTo>
                    <a:lnTo>
                      <a:pt x="145915" y="269252"/>
                    </a:lnTo>
                    <a:lnTo>
                      <a:pt x="140460" y="269252"/>
                    </a:lnTo>
                    <a:lnTo>
                      <a:pt x="134853" y="269252"/>
                    </a:lnTo>
                    <a:lnTo>
                      <a:pt x="129247" y="269252"/>
                    </a:lnTo>
                    <a:lnTo>
                      <a:pt x="123641" y="269252"/>
                    </a:lnTo>
                    <a:lnTo>
                      <a:pt x="118035" y="269252"/>
                    </a:lnTo>
                    <a:lnTo>
                      <a:pt x="112429" y="269252"/>
                    </a:lnTo>
                    <a:lnTo>
                      <a:pt x="106974" y="269252"/>
                    </a:lnTo>
                    <a:lnTo>
                      <a:pt x="101367" y="269252"/>
                    </a:lnTo>
                    <a:lnTo>
                      <a:pt x="95761" y="269404"/>
                    </a:lnTo>
                    <a:lnTo>
                      <a:pt x="90155" y="269404"/>
                    </a:lnTo>
                    <a:lnTo>
                      <a:pt x="85003" y="269404"/>
                    </a:lnTo>
                    <a:lnTo>
                      <a:pt x="81821" y="269101"/>
                    </a:lnTo>
                    <a:lnTo>
                      <a:pt x="80609" y="268494"/>
                    </a:lnTo>
                    <a:lnTo>
                      <a:pt x="80155" y="264252"/>
                    </a:lnTo>
                    <a:lnTo>
                      <a:pt x="79246" y="264555"/>
                    </a:lnTo>
                    <a:lnTo>
                      <a:pt x="78185" y="265767"/>
                    </a:lnTo>
                    <a:lnTo>
                      <a:pt x="77579" y="267131"/>
                    </a:lnTo>
                    <a:lnTo>
                      <a:pt x="77730" y="268949"/>
                    </a:lnTo>
                    <a:lnTo>
                      <a:pt x="77579" y="270313"/>
                    </a:lnTo>
                    <a:lnTo>
                      <a:pt x="73942" y="270919"/>
                    </a:lnTo>
                    <a:lnTo>
                      <a:pt x="69093" y="271980"/>
                    </a:lnTo>
                    <a:lnTo>
                      <a:pt x="64093" y="272737"/>
                    </a:lnTo>
                    <a:lnTo>
                      <a:pt x="58942" y="272434"/>
                    </a:lnTo>
                    <a:lnTo>
                      <a:pt x="57123" y="272131"/>
                    </a:lnTo>
                    <a:lnTo>
                      <a:pt x="55305" y="271525"/>
                    </a:lnTo>
                    <a:lnTo>
                      <a:pt x="51214" y="270919"/>
                    </a:lnTo>
                    <a:lnTo>
                      <a:pt x="48941" y="270919"/>
                    </a:lnTo>
                    <a:lnTo>
                      <a:pt x="46365" y="271070"/>
                    </a:lnTo>
                    <a:lnTo>
                      <a:pt x="43335" y="271373"/>
                    </a:lnTo>
                    <a:lnTo>
                      <a:pt x="42426" y="272131"/>
                    </a:lnTo>
                    <a:lnTo>
                      <a:pt x="40153" y="275313"/>
                    </a:lnTo>
                    <a:lnTo>
                      <a:pt x="37880" y="278949"/>
                    </a:lnTo>
                    <a:lnTo>
                      <a:pt x="36517" y="278949"/>
                    </a:lnTo>
                    <a:lnTo>
                      <a:pt x="34850" y="276980"/>
                    </a:lnTo>
                    <a:lnTo>
                      <a:pt x="30456" y="273192"/>
                    </a:lnTo>
                    <a:lnTo>
                      <a:pt x="25153" y="268192"/>
                    </a:lnTo>
                    <a:lnTo>
                      <a:pt x="22576" y="265767"/>
                    </a:lnTo>
                    <a:lnTo>
                      <a:pt x="21364" y="265464"/>
                    </a:lnTo>
                    <a:lnTo>
                      <a:pt x="18788" y="267131"/>
                    </a:lnTo>
                    <a:lnTo>
                      <a:pt x="16667" y="268949"/>
                    </a:lnTo>
                    <a:lnTo>
                      <a:pt x="14243" y="271222"/>
                    </a:lnTo>
                    <a:lnTo>
                      <a:pt x="13182" y="273646"/>
                    </a:lnTo>
                    <a:lnTo>
                      <a:pt x="12425" y="276374"/>
                    </a:lnTo>
                    <a:lnTo>
                      <a:pt x="12121" y="279556"/>
                    </a:lnTo>
                    <a:lnTo>
                      <a:pt x="11212" y="283192"/>
                    </a:lnTo>
                    <a:lnTo>
                      <a:pt x="9394" y="286223"/>
                    </a:lnTo>
                    <a:lnTo>
                      <a:pt x="7121" y="288495"/>
                    </a:lnTo>
                    <a:lnTo>
                      <a:pt x="5455" y="289556"/>
                    </a:lnTo>
                    <a:lnTo>
                      <a:pt x="4849" y="290162"/>
                    </a:lnTo>
                    <a:lnTo>
                      <a:pt x="0" y="288495"/>
                    </a:lnTo>
                    <a:lnTo>
                      <a:pt x="2576" y="292889"/>
                    </a:lnTo>
                    <a:lnTo>
                      <a:pt x="2122" y="295011"/>
                    </a:lnTo>
                    <a:lnTo>
                      <a:pt x="1515" y="298193"/>
                    </a:lnTo>
                    <a:lnTo>
                      <a:pt x="2879" y="300465"/>
                    </a:lnTo>
                    <a:lnTo>
                      <a:pt x="4697" y="301981"/>
                    </a:lnTo>
                    <a:lnTo>
                      <a:pt x="5910" y="303344"/>
                    </a:lnTo>
                    <a:lnTo>
                      <a:pt x="7273" y="305163"/>
                    </a:lnTo>
                    <a:lnTo>
                      <a:pt x="7424" y="308951"/>
                    </a:lnTo>
                    <a:lnTo>
                      <a:pt x="7121" y="311526"/>
                    </a:lnTo>
                    <a:lnTo>
                      <a:pt x="8031" y="312739"/>
                    </a:lnTo>
                    <a:lnTo>
                      <a:pt x="8788" y="314405"/>
                    </a:lnTo>
                    <a:lnTo>
                      <a:pt x="8637" y="315617"/>
                    </a:lnTo>
                    <a:lnTo>
                      <a:pt x="8182" y="316830"/>
                    </a:lnTo>
                    <a:lnTo>
                      <a:pt x="6515" y="318193"/>
                    </a:lnTo>
                    <a:lnTo>
                      <a:pt x="6212" y="321072"/>
                    </a:lnTo>
                    <a:lnTo>
                      <a:pt x="8940" y="324406"/>
                    </a:lnTo>
                    <a:lnTo>
                      <a:pt x="10607" y="326224"/>
                    </a:lnTo>
                    <a:lnTo>
                      <a:pt x="10607" y="327285"/>
                    </a:lnTo>
                    <a:lnTo>
                      <a:pt x="11061" y="328497"/>
                    </a:lnTo>
                    <a:lnTo>
                      <a:pt x="12273" y="329860"/>
                    </a:lnTo>
                    <a:lnTo>
                      <a:pt x="13182" y="329557"/>
                    </a:lnTo>
                    <a:lnTo>
                      <a:pt x="13940" y="328345"/>
                    </a:lnTo>
                    <a:lnTo>
                      <a:pt x="14395" y="327588"/>
                    </a:lnTo>
                    <a:lnTo>
                      <a:pt x="16667" y="328042"/>
                    </a:lnTo>
                    <a:lnTo>
                      <a:pt x="17728" y="328345"/>
                    </a:lnTo>
                    <a:lnTo>
                      <a:pt x="19243" y="330618"/>
                    </a:lnTo>
                    <a:lnTo>
                      <a:pt x="19698" y="331982"/>
                    </a:lnTo>
                    <a:lnTo>
                      <a:pt x="20152" y="333800"/>
                    </a:lnTo>
                    <a:lnTo>
                      <a:pt x="21667" y="336224"/>
                    </a:lnTo>
                    <a:lnTo>
                      <a:pt x="22880" y="337740"/>
                    </a:lnTo>
                    <a:lnTo>
                      <a:pt x="23183" y="338800"/>
                    </a:lnTo>
                    <a:lnTo>
                      <a:pt x="24395" y="340164"/>
                    </a:lnTo>
                    <a:lnTo>
                      <a:pt x="23637" y="343194"/>
                    </a:lnTo>
                    <a:lnTo>
                      <a:pt x="23789" y="344710"/>
                    </a:lnTo>
                    <a:lnTo>
                      <a:pt x="22880" y="348800"/>
                    </a:lnTo>
                    <a:lnTo>
                      <a:pt x="22728" y="350770"/>
                    </a:lnTo>
                    <a:lnTo>
                      <a:pt x="22880" y="351528"/>
                    </a:lnTo>
                    <a:lnTo>
                      <a:pt x="24698" y="352892"/>
                    </a:lnTo>
                    <a:lnTo>
                      <a:pt x="24395" y="355013"/>
                    </a:lnTo>
                    <a:lnTo>
                      <a:pt x="23637" y="355771"/>
                    </a:lnTo>
                    <a:lnTo>
                      <a:pt x="22880" y="357437"/>
                    </a:lnTo>
                    <a:lnTo>
                      <a:pt x="22122" y="359407"/>
                    </a:lnTo>
                    <a:lnTo>
                      <a:pt x="21364" y="360771"/>
                    </a:lnTo>
                    <a:lnTo>
                      <a:pt x="21667" y="361528"/>
                    </a:lnTo>
                    <a:lnTo>
                      <a:pt x="23789" y="363347"/>
                    </a:lnTo>
                    <a:lnTo>
                      <a:pt x="26819" y="365771"/>
                    </a:lnTo>
                    <a:lnTo>
                      <a:pt x="28031" y="366074"/>
                    </a:lnTo>
                    <a:lnTo>
                      <a:pt x="29395" y="365468"/>
                    </a:lnTo>
                    <a:lnTo>
                      <a:pt x="31516" y="363498"/>
                    </a:lnTo>
                    <a:lnTo>
                      <a:pt x="33335" y="361528"/>
                    </a:lnTo>
                    <a:lnTo>
                      <a:pt x="35001" y="360468"/>
                    </a:lnTo>
                    <a:lnTo>
                      <a:pt x="36971" y="360468"/>
                    </a:lnTo>
                    <a:lnTo>
                      <a:pt x="38486" y="361983"/>
                    </a:lnTo>
                    <a:lnTo>
                      <a:pt x="40456" y="365165"/>
                    </a:lnTo>
                    <a:lnTo>
                      <a:pt x="42123" y="368195"/>
                    </a:lnTo>
                    <a:lnTo>
                      <a:pt x="42274" y="368498"/>
                    </a:lnTo>
                    <a:lnTo>
                      <a:pt x="43032" y="368953"/>
                    </a:lnTo>
                    <a:lnTo>
                      <a:pt x="43941" y="368953"/>
                    </a:lnTo>
                    <a:lnTo>
                      <a:pt x="44850" y="368195"/>
                    </a:lnTo>
                    <a:lnTo>
                      <a:pt x="45456" y="367741"/>
                    </a:lnTo>
                    <a:lnTo>
                      <a:pt x="46365" y="366377"/>
                    </a:lnTo>
                    <a:lnTo>
                      <a:pt x="49699" y="362286"/>
                    </a:lnTo>
                    <a:lnTo>
                      <a:pt x="52275" y="361225"/>
                    </a:lnTo>
                    <a:lnTo>
                      <a:pt x="53184" y="360922"/>
                    </a:lnTo>
                    <a:lnTo>
                      <a:pt x="55002" y="360316"/>
                    </a:lnTo>
                    <a:lnTo>
                      <a:pt x="57881" y="361225"/>
                    </a:lnTo>
                    <a:lnTo>
                      <a:pt x="62124" y="363043"/>
                    </a:lnTo>
                    <a:lnTo>
                      <a:pt x="67427" y="365013"/>
                    </a:lnTo>
                    <a:lnTo>
                      <a:pt x="69245" y="365316"/>
                    </a:lnTo>
                    <a:lnTo>
                      <a:pt x="70306" y="365013"/>
                    </a:lnTo>
                    <a:lnTo>
                      <a:pt x="71821" y="362286"/>
                    </a:lnTo>
                    <a:lnTo>
                      <a:pt x="73791" y="361225"/>
                    </a:lnTo>
                    <a:lnTo>
                      <a:pt x="76518" y="359862"/>
                    </a:lnTo>
                    <a:lnTo>
                      <a:pt x="78791" y="359255"/>
                    </a:lnTo>
                    <a:lnTo>
                      <a:pt x="80003" y="359104"/>
                    </a:lnTo>
                    <a:lnTo>
                      <a:pt x="80457" y="358346"/>
                    </a:lnTo>
                    <a:lnTo>
                      <a:pt x="80760" y="357286"/>
                    </a:lnTo>
                    <a:lnTo>
                      <a:pt x="80457" y="356074"/>
                    </a:lnTo>
                    <a:lnTo>
                      <a:pt x="79094" y="353952"/>
                    </a:lnTo>
                    <a:lnTo>
                      <a:pt x="78942" y="353346"/>
                    </a:lnTo>
                    <a:lnTo>
                      <a:pt x="79851" y="352892"/>
                    </a:lnTo>
                    <a:lnTo>
                      <a:pt x="81670" y="352588"/>
                    </a:lnTo>
                    <a:lnTo>
                      <a:pt x="83943" y="352892"/>
                    </a:lnTo>
                    <a:lnTo>
                      <a:pt x="86518" y="353801"/>
                    </a:lnTo>
                    <a:lnTo>
                      <a:pt x="88640" y="355013"/>
                    </a:lnTo>
                    <a:lnTo>
                      <a:pt x="89852" y="356680"/>
                    </a:lnTo>
                    <a:lnTo>
                      <a:pt x="91215" y="360013"/>
                    </a:lnTo>
                    <a:lnTo>
                      <a:pt x="92124" y="363195"/>
                    </a:lnTo>
                    <a:lnTo>
                      <a:pt x="94852" y="368347"/>
                    </a:lnTo>
                    <a:lnTo>
                      <a:pt x="94700" y="371529"/>
                    </a:lnTo>
                    <a:lnTo>
                      <a:pt x="94700" y="375165"/>
                    </a:lnTo>
                    <a:lnTo>
                      <a:pt x="95912" y="375923"/>
                    </a:lnTo>
                    <a:lnTo>
                      <a:pt x="97125" y="376226"/>
                    </a:lnTo>
                    <a:lnTo>
                      <a:pt x="97731" y="376680"/>
                    </a:lnTo>
                    <a:lnTo>
                      <a:pt x="98943" y="379559"/>
                    </a:lnTo>
                    <a:lnTo>
                      <a:pt x="100155" y="380317"/>
                    </a:lnTo>
                    <a:lnTo>
                      <a:pt x="101670" y="380620"/>
                    </a:lnTo>
                    <a:lnTo>
                      <a:pt x="104246" y="382438"/>
                    </a:lnTo>
                    <a:lnTo>
                      <a:pt x="106065" y="383044"/>
                    </a:lnTo>
                    <a:lnTo>
                      <a:pt x="106216" y="383650"/>
                    </a:lnTo>
                    <a:lnTo>
                      <a:pt x="106216" y="384408"/>
                    </a:lnTo>
                    <a:lnTo>
                      <a:pt x="105610" y="385317"/>
                    </a:lnTo>
                    <a:lnTo>
                      <a:pt x="104549" y="385923"/>
                    </a:lnTo>
                    <a:lnTo>
                      <a:pt x="102883" y="387287"/>
                    </a:lnTo>
                    <a:lnTo>
                      <a:pt x="101670" y="388802"/>
                    </a:lnTo>
                    <a:lnTo>
                      <a:pt x="98943" y="392742"/>
                    </a:lnTo>
                    <a:lnTo>
                      <a:pt x="98943" y="393499"/>
                    </a:lnTo>
                    <a:lnTo>
                      <a:pt x="99549" y="393954"/>
                    </a:lnTo>
                    <a:lnTo>
                      <a:pt x="100610" y="394105"/>
                    </a:lnTo>
                    <a:lnTo>
                      <a:pt x="101822" y="393802"/>
                    </a:lnTo>
                    <a:lnTo>
                      <a:pt x="104246" y="392438"/>
                    </a:lnTo>
                    <a:lnTo>
                      <a:pt x="106065" y="392893"/>
                    </a:lnTo>
                    <a:lnTo>
                      <a:pt x="107883" y="393954"/>
                    </a:lnTo>
                    <a:lnTo>
                      <a:pt x="108641" y="395166"/>
                    </a:lnTo>
                    <a:lnTo>
                      <a:pt x="108792" y="396530"/>
                    </a:lnTo>
                    <a:lnTo>
                      <a:pt x="108337" y="398499"/>
                    </a:lnTo>
                    <a:lnTo>
                      <a:pt x="108337" y="400620"/>
                    </a:lnTo>
                    <a:lnTo>
                      <a:pt x="108943" y="404257"/>
                    </a:lnTo>
                    <a:lnTo>
                      <a:pt x="109853" y="407894"/>
                    </a:lnTo>
                    <a:lnTo>
                      <a:pt x="110913" y="409106"/>
                    </a:lnTo>
                    <a:lnTo>
                      <a:pt x="116974" y="412439"/>
                    </a:lnTo>
                    <a:lnTo>
                      <a:pt x="117580" y="413500"/>
                    </a:lnTo>
                    <a:lnTo>
                      <a:pt x="117883" y="414863"/>
                    </a:lnTo>
                    <a:lnTo>
                      <a:pt x="117429" y="416682"/>
                    </a:lnTo>
                    <a:lnTo>
                      <a:pt x="118186" y="416682"/>
                    </a:lnTo>
                    <a:lnTo>
                      <a:pt x="120308" y="416076"/>
                    </a:lnTo>
                    <a:lnTo>
                      <a:pt x="122277" y="414712"/>
                    </a:lnTo>
                    <a:lnTo>
                      <a:pt x="124096" y="411833"/>
                    </a:lnTo>
                    <a:lnTo>
                      <a:pt x="126520" y="409409"/>
                    </a:lnTo>
                    <a:lnTo>
                      <a:pt x="129096" y="409560"/>
                    </a:lnTo>
                    <a:lnTo>
                      <a:pt x="130005" y="409257"/>
                    </a:lnTo>
                    <a:lnTo>
                      <a:pt x="130914" y="409106"/>
                    </a:lnTo>
                    <a:lnTo>
                      <a:pt x="131974" y="410621"/>
                    </a:lnTo>
                    <a:lnTo>
                      <a:pt x="133187" y="411833"/>
                    </a:lnTo>
                    <a:lnTo>
                      <a:pt x="133944" y="411833"/>
                    </a:lnTo>
                    <a:lnTo>
                      <a:pt x="134551" y="414106"/>
                    </a:lnTo>
                    <a:lnTo>
                      <a:pt x="139551" y="415015"/>
                    </a:lnTo>
                    <a:lnTo>
                      <a:pt x="141672" y="415621"/>
                    </a:lnTo>
                    <a:lnTo>
                      <a:pt x="143490" y="417288"/>
                    </a:lnTo>
                    <a:lnTo>
                      <a:pt x="144096" y="417288"/>
                    </a:lnTo>
                    <a:lnTo>
                      <a:pt x="144854" y="416985"/>
                    </a:lnTo>
                    <a:lnTo>
                      <a:pt x="145460" y="416379"/>
                    </a:lnTo>
                    <a:lnTo>
                      <a:pt x="145460" y="415773"/>
                    </a:lnTo>
                    <a:lnTo>
                      <a:pt x="144702" y="414257"/>
                    </a:lnTo>
                    <a:lnTo>
                      <a:pt x="145157" y="413045"/>
                    </a:lnTo>
                    <a:lnTo>
                      <a:pt x="145915" y="411833"/>
                    </a:lnTo>
                    <a:lnTo>
                      <a:pt x="147127" y="411682"/>
                    </a:lnTo>
                    <a:lnTo>
                      <a:pt x="149096" y="411379"/>
                    </a:lnTo>
                    <a:lnTo>
                      <a:pt x="151218" y="411379"/>
                    </a:lnTo>
                    <a:lnTo>
                      <a:pt x="152884" y="411682"/>
                    </a:lnTo>
                    <a:lnTo>
                      <a:pt x="153642" y="410469"/>
                    </a:lnTo>
                    <a:lnTo>
                      <a:pt x="153036" y="407136"/>
                    </a:lnTo>
                    <a:lnTo>
                      <a:pt x="153188" y="405318"/>
                    </a:lnTo>
                    <a:lnTo>
                      <a:pt x="153339" y="403803"/>
                    </a:lnTo>
                    <a:lnTo>
                      <a:pt x="153945" y="403196"/>
                    </a:lnTo>
                    <a:lnTo>
                      <a:pt x="156521" y="405166"/>
                    </a:lnTo>
                    <a:lnTo>
                      <a:pt x="158642" y="405772"/>
                    </a:lnTo>
                    <a:lnTo>
                      <a:pt x="160309" y="405772"/>
                    </a:lnTo>
                    <a:lnTo>
                      <a:pt x="160764" y="405469"/>
                    </a:lnTo>
                    <a:lnTo>
                      <a:pt x="160006" y="403348"/>
                    </a:lnTo>
                    <a:lnTo>
                      <a:pt x="160309" y="402742"/>
                    </a:lnTo>
                    <a:lnTo>
                      <a:pt x="160915" y="402439"/>
                    </a:lnTo>
                    <a:lnTo>
                      <a:pt x="161824" y="402136"/>
                    </a:lnTo>
                    <a:lnTo>
                      <a:pt x="164703" y="401378"/>
                    </a:lnTo>
                    <a:lnTo>
                      <a:pt x="165006" y="401530"/>
                    </a:lnTo>
                    <a:lnTo>
                      <a:pt x="165612" y="404863"/>
                    </a:lnTo>
                    <a:lnTo>
                      <a:pt x="165309" y="405924"/>
                    </a:lnTo>
                    <a:lnTo>
                      <a:pt x="165915" y="408197"/>
                    </a:lnTo>
                    <a:lnTo>
                      <a:pt x="166673" y="410166"/>
                    </a:lnTo>
                    <a:lnTo>
                      <a:pt x="166673" y="411075"/>
                    </a:lnTo>
                    <a:lnTo>
                      <a:pt x="166067" y="412288"/>
                    </a:lnTo>
                    <a:lnTo>
                      <a:pt x="165309" y="413500"/>
                    </a:lnTo>
                    <a:lnTo>
                      <a:pt x="165309" y="413954"/>
                    </a:lnTo>
                    <a:lnTo>
                      <a:pt x="166521" y="414863"/>
                    </a:lnTo>
                    <a:lnTo>
                      <a:pt x="168643" y="415621"/>
                    </a:lnTo>
                    <a:lnTo>
                      <a:pt x="170915" y="415924"/>
                    </a:lnTo>
                    <a:lnTo>
                      <a:pt x="172279" y="414712"/>
                    </a:lnTo>
                    <a:lnTo>
                      <a:pt x="173491" y="413651"/>
                    </a:lnTo>
                    <a:lnTo>
                      <a:pt x="174401" y="412742"/>
                    </a:lnTo>
                    <a:lnTo>
                      <a:pt x="174703" y="411530"/>
                    </a:lnTo>
                    <a:lnTo>
                      <a:pt x="176219" y="410469"/>
                    </a:lnTo>
                    <a:lnTo>
                      <a:pt x="180310" y="409257"/>
                    </a:lnTo>
                    <a:lnTo>
                      <a:pt x="184098" y="409106"/>
                    </a:lnTo>
                    <a:lnTo>
                      <a:pt x="185007" y="409560"/>
                    </a:lnTo>
                    <a:lnTo>
                      <a:pt x="185461" y="407894"/>
                    </a:lnTo>
                    <a:lnTo>
                      <a:pt x="186219" y="405621"/>
                    </a:lnTo>
                    <a:lnTo>
                      <a:pt x="186219" y="403499"/>
                    </a:lnTo>
                    <a:lnTo>
                      <a:pt x="186825" y="400015"/>
                    </a:lnTo>
                    <a:lnTo>
                      <a:pt x="186370" y="395620"/>
                    </a:lnTo>
                    <a:lnTo>
                      <a:pt x="185765" y="392590"/>
                    </a:lnTo>
                    <a:lnTo>
                      <a:pt x="187583" y="391226"/>
                    </a:lnTo>
                    <a:lnTo>
                      <a:pt x="189704" y="390166"/>
                    </a:lnTo>
                    <a:lnTo>
                      <a:pt x="191068" y="388044"/>
                    </a:lnTo>
                    <a:lnTo>
                      <a:pt x="192432" y="383347"/>
                    </a:lnTo>
                    <a:lnTo>
                      <a:pt x="193037" y="379408"/>
                    </a:lnTo>
                    <a:lnTo>
                      <a:pt x="192583" y="377892"/>
                    </a:lnTo>
                    <a:lnTo>
                      <a:pt x="191825" y="376680"/>
                    </a:lnTo>
                    <a:lnTo>
                      <a:pt x="191371" y="374862"/>
                    </a:lnTo>
                    <a:lnTo>
                      <a:pt x="191068" y="372741"/>
                    </a:lnTo>
                    <a:lnTo>
                      <a:pt x="191371" y="370923"/>
                    </a:lnTo>
                    <a:lnTo>
                      <a:pt x="192886" y="369256"/>
                    </a:lnTo>
                    <a:lnTo>
                      <a:pt x="195007" y="367741"/>
                    </a:lnTo>
                    <a:lnTo>
                      <a:pt x="196371" y="367135"/>
                    </a:lnTo>
                    <a:lnTo>
                      <a:pt x="200159" y="366377"/>
                    </a:lnTo>
                    <a:lnTo>
                      <a:pt x="204856" y="365316"/>
                    </a:lnTo>
                    <a:lnTo>
                      <a:pt x="207432" y="364104"/>
                    </a:lnTo>
                    <a:lnTo>
                      <a:pt x="209402" y="362892"/>
                    </a:lnTo>
                    <a:lnTo>
                      <a:pt x="210614" y="361831"/>
                    </a:lnTo>
                    <a:lnTo>
                      <a:pt x="211675" y="359862"/>
                    </a:lnTo>
                    <a:lnTo>
                      <a:pt x="213493" y="358346"/>
                    </a:lnTo>
                    <a:lnTo>
                      <a:pt x="214856" y="356831"/>
                    </a:lnTo>
                    <a:lnTo>
                      <a:pt x="215160" y="352588"/>
                    </a:lnTo>
                    <a:lnTo>
                      <a:pt x="215008" y="350164"/>
                    </a:lnTo>
                    <a:lnTo>
                      <a:pt x="214099" y="348800"/>
                    </a:lnTo>
                    <a:lnTo>
                      <a:pt x="213493" y="347588"/>
                    </a:lnTo>
                    <a:lnTo>
                      <a:pt x="220463" y="344255"/>
                    </a:lnTo>
                    <a:lnTo>
                      <a:pt x="220463" y="341831"/>
                    </a:lnTo>
                    <a:lnTo>
                      <a:pt x="219553" y="339255"/>
                    </a:lnTo>
                    <a:lnTo>
                      <a:pt x="218190" y="337134"/>
                    </a:lnTo>
                    <a:lnTo>
                      <a:pt x="217584" y="335315"/>
                    </a:lnTo>
                    <a:lnTo>
                      <a:pt x="219553" y="333042"/>
                    </a:lnTo>
                    <a:lnTo>
                      <a:pt x="221220" y="331527"/>
                    </a:lnTo>
                    <a:lnTo>
                      <a:pt x="222432" y="330163"/>
                    </a:lnTo>
                    <a:lnTo>
                      <a:pt x="225160" y="328042"/>
                    </a:lnTo>
                    <a:lnTo>
                      <a:pt x="228039" y="327436"/>
                    </a:lnTo>
                    <a:lnTo>
                      <a:pt x="230615" y="328194"/>
                    </a:lnTo>
                    <a:lnTo>
                      <a:pt x="238191" y="333194"/>
                    </a:lnTo>
                    <a:lnTo>
                      <a:pt x="239554" y="333497"/>
                    </a:lnTo>
                    <a:lnTo>
                      <a:pt x="241070" y="333194"/>
                    </a:lnTo>
                    <a:lnTo>
                      <a:pt x="243191" y="331830"/>
                    </a:lnTo>
                    <a:lnTo>
                      <a:pt x="245767" y="330769"/>
                    </a:lnTo>
                    <a:lnTo>
                      <a:pt x="246676" y="327436"/>
                    </a:lnTo>
                    <a:lnTo>
                      <a:pt x="246524" y="322587"/>
                    </a:lnTo>
                    <a:lnTo>
                      <a:pt x="247130" y="320315"/>
                    </a:lnTo>
                    <a:lnTo>
                      <a:pt x="248494" y="320012"/>
                    </a:lnTo>
                    <a:lnTo>
                      <a:pt x="252888" y="320921"/>
                    </a:lnTo>
                    <a:lnTo>
                      <a:pt x="254100" y="320921"/>
                    </a:lnTo>
                    <a:lnTo>
                      <a:pt x="255313" y="320618"/>
                    </a:lnTo>
                    <a:lnTo>
                      <a:pt x="256222" y="319709"/>
                    </a:lnTo>
                    <a:lnTo>
                      <a:pt x="256222" y="318193"/>
                    </a:lnTo>
                    <a:lnTo>
                      <a:pt x="256070" y="316830"/>
                    </a:lnTo>
                    <a:lnTo>
                      <a:pt x="257434" y="312284"/>
                    </a:lnTo>
                    <a:lnTo>
                      <a:pt x="260010" y="308799"/>
                    </a:lnTo>
                    <a:lnTo>
                      <a:pt x="265313" y="304556"/>
                    </a:lnTo>
                    <a:lnTo>
                      <a:pt x="266980" y="303799"/>
                    </a:lnTo>
                    <a:lnTo>
                      <a:pt x="268798" y="303344"/>
                    </a:lnTo>
                    <a:lnTo>
                      <a:pt x="278192" y="306223"/>
                    </a:lnTo>
                    <a:lnTo>
                      <a:pt x="279707" y="305466"/>
                    </a:lnTo>
                    <a:lnTo>
                      <a:pt x="282132" y="298193"/>
                    </a:lnTo>
                    <a:lnTo>
                      <a:pt x="284556" y="297587"/>
                    </a:lnTo>
                    <a:lnTo>
                      <a:pt x="287738" y="297435"/>
                    </a:lnTo>
                    <a:lnTo>
                      <a:pt x="289708" y="296829"/>
                    </a:lnTo>
                    <a:lnTo>
                      <a:pt x="290768" y="296223"/>
                    </a:lnTo>
                    <a:lnTo>
                      <a:pt x="295163" y="293495"/>
                    </a:lnTo>
                    <a:lnTo>
                      <a:pt x="303042" y="289707"/>
                    </a:lnTo>
                    <a:lnTo>
                      <a:pt x="307284" y="288192"/>
                    </a:lnTo>
                    <a:lnTo>
                      <a:pt x="308193" y="287586"/>
                    </a:lnTo>
                    <a:lnTo>
                      <a:pt x="311224" y="284859"/>
                    </a:lnTo>
                    <a:lnTo>
                      <a:pt x="315315" y="281828"/>
                    </a:lnTo>
                    <a:lnTo>
                      <a:pt x="317891" y="281222"/>
                    </a:lnTo>
                    <a:lnTo>
                      <a:pt x="321375" y="280919"/>
                    </a:lnTo>
                    <a:lnTo>
                      <a:pt x="323649" y="281525"/>
                    </a:lnTo>
                    <a:lnTo>
                      <a:pt x="324254" y="282283"/>
                    </a:lnTo>
                    <a:lnTo>
                      <a:pt x="325012" y="282737"/>
                    </a:lnTo>
                    <a:lnTo>
                      <a:pt x="329558" y="281525"/>
                    </a:lnTo>
                    <a:lnTo>
                      <a:pt x="336225" y="283495"/>
                    </a:lnTo>
                    <a:lnTo>
                      <a:pt x="341983" y="285616"/>
                    </a:lnTo>
                    <a:lnTo>
                      <a:pt x="342285" y="284101"/>
                    </a:lnTo>
                    <a:lnTo>
                      <a:pt x="343952" y="283647"/>
                    </a:lnTo>
                    <a:lnTo>
                      <a:pt x="347892" y="283647"/>
                    </a:lnTo>
                    <a:lnTo>
                      <a:pt x="355771" y="284404"/>
                    </a:lnTo>
                    <a:lnTo>
                      <a:pt x="361983" y="283647"/>
                    </a:lnTo>
                    <a:lnTo>
                      <a:pt x="362286" y="283495"/>
                    </a:lnTo>
                    <a:lnTo>
                      <a:pt x="366680" y="279556"/>
                    </a:lnTo>
                    <a:lnTo>
                      <a:pt x="371680" y="275616"/>
                    </a:lnTo>
                    <a:lnTo>
                      <a:pt x="378954" y="275161"/>
                    </a:lnTo>
                    <a:lnTo>
                      <a:pt x="386984" y="274707"/>
                    </a:lnTo>
                    <a:lnTo>
                      <a:pt x="393197" y="274555"/>
                    </a:lnTo>
                    <a:lnTo>
                      <a:pt x="402287" y="274252"/>
                    </a:lnTo>
                    <a:lnTo>
                      <a:pt x="409712" y="273949"/>
                    </a:lnTo>
                    <a:lnTo>
                      <a:pt x="418197" y="273646"/>
                    </a:lnTo>
                    <a:lnTo>
                      <a:pt x="418500" y="271828"/>
                    </a:lnTo>
                    <a:lnTo>
                      <a:pt x="418955" y="271373"/>
                    </a:lnTo>
                    <a:lnTo>
                      <a:pt x="419864" y="271222"/>
                    </a:lnTo>
                    <a:lnTo>
                      <a:pt x="426076" y="272282"/>
                    </a:lnTo>
                    <a:lnTo>
                      <a:pt x="431986" y="273192"/>
                    </a:lnTo>
                    <a:lnTo>
                      <a:pt x="432440" y="269707"/>
                    </a:lnTo>
                    <a:lnTo>
                      <a:pt x="437592" y="265313"/>
                    </a:lnTo>
                    <a:lnTo>
                      <a:pt x="440471" y="264404"/>
                    </a:lnTo>
                    <a:lnTo>
                      <a:pt x="441228" y="263646"/>
                    </a:lnTo>
                    <a:lnTo>
                      <a:pt x="442138" y="262131"/>
                    </a:lnTo>
                    <a:lnTo>
                      <a:pt x="442744" y="259858"/>
                    </a:lnTo>
                    <a:lnTo>
                      <a:pt x="442895" y="258191"/>
                    </a:lnTo>
                    <a:lnTo>
                      <a:pt x="444107" y="256828"/>
                    </a:lnTo>
                    <a:lnTo>
                      <a:pt x="444865" y="254252"/>
                    </a:lnTo>
                    <a:lnTo>
                      <a:pt x="445926" y="249857"/>
                    </a:lnTo>
                    <a:lnTo>
                      <a:pt x="448804" y="245312"/>
                    </a:lnTo>
                    <a:lnTo>
                      <a:pt x="450471" y="239100"/>
                    </a:lnTo>
                    <a:lnTo>
                      <a:pt x="450774" y="233039"/>
                    </a:lnTo>
                    <a:lnTo>
                      <a:pt x="451077" y="228342"/>
                    </a:lnTo>
                    <a:lnTo>
                      <a:pt x="451986" y="22743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1" name="Freeform: Shape 3220">
                <a:extLst>
                  <a:ext uri="{FF2B5EF4-FFF2-40B4-BE49-F238E27FC236}">
                    <a16:creationId xmlns:a16="http://schemas.microsoft.com/office/drawing/2014/main" id="{8782DC95-86B6-41A6-B3DB-F8D17BF20FEC}"/>
                  </a:ext>
                </a:extLst>
              </p:cNvPr>
              <p:cNvSpPr/>
              <p:nvPr/>
            </p:nvSpPr>
            <p:spPr>
              <a:xfrm>
                <a:off x="6336615" y="3335282"/>
                <a:ext cx="70002" cy="49244"/>
              </a:xfrm>
              <a:custGeom>
                <a:avLst/>
                <a:gdLst>
                  <a:gd name="connsiteX0" fmla="*/ 70003 w 70002"/>
                  <a:gd name="connsiteY0" fmla="*/ 20304 h 49244"/>
                  <a:gd name="connsiteX1" fmla="*/ 69700 w 70002"/>
                  <a:gd name="connsiteY1" fmla="*/ 19698 h 49244"/>
                  <a:gd name="connsiteX2" fmla="*/ 68336 w 70002"/>
                  <a:gd name="connsiteY2" fmla="*/ 19092 h 49244"/>
                  <a:gd name="connsiteX3" fmla="*/ 67426 w 70002"/>
                  <a:gd name="connsiteY3" fmla="*/ 17122 h 49244"/>
                  <a:gd name="connsiteX4" fmla="*/ 65457 w 70002"/>
                  <a:gd name="connsiteY4" fmla="*/ 11970 h 49244"/>
                  <a:gd name="connsiteX5" fmla="*/ 64245 w 70002"/>
                  <a:gd name="connsiteY5" fmla="*/ 10910 h 49244"/>
                  <a:gd name="connsiteX6" fmla="*/ 61215 w 70002"/>
                  <a:gd name="connsiteY6" fmla="*/ 9849 h 49244"/>
                  <a:gd name="connsiteX7" fmla="*/ 58487 w 70002"/>
                  <a:gd name="connsiteY7" fmla="*/ 8334 h 49244"/>
                  <a:gd name="connsiteX8" fmla="*/ 56214 w 70002"/>
                  <a:gd name="connsiteY8" fmla="*/ 6364 h 49244"/>
                  <a:gd name="connsiteX9" fmla="*/ 51972 w 70002"/>
                  <a:gd name="connsiteY9" fmla="*/ 1515 h 49244"/>
                  <a:gd name="connsiteX10" fmla="*/ 51214 w 70002"/>
                  <a:gd name="connsiteY10" fmla="*/ 1212 h 49244"/>
                  <a:gd name="connsiteX11" fmla="*/ 50153 w 70002"/>
                  <a:gd name="connsiteY11" fmla="*/ 303 h 49244"/>
                  <a:gd name="connsiteX12" fmla="*/ 49093 w 70002"/>
                  <a:gd name="connsiteY12" fmla="*/ 0 h 49244"/>
                  <a:gd name="connsiteX13" fmla="*/ 46517 w 70002"/>
                  <a:gd name="connsiteY13" fmla="*/ 1061 h 49244"/>
                  <a:gd name="connsiteX14" fmla="*/ 43941 w 70002"/>
                  <a:gd name="connsiteY14" fmla="*/ 1818 h 49244"/>
                  <a:gd name="connsiteX15" fmla="*/ 41971 w 70002"/>
                  <a:gd name="connsiteY15" fmla="*/ 1212 h 49244"/>
                  <a:gd name="connsiteX16" fmla="*/ 39850 w 70002"/>
                  <a:gd name="connsiteY16" fmla="*/ 1212 h 49244"/>
                  <a:gd name="connsiteX17" fmla="*/ 38486 w 70002"/>
                  <a:gd name="connsiteY17" fmla="*/ 1667 h 49244"/>
                  <a:gd name="connsiteX18" fmla="*/ 37426 w 70002"/>
                  <a:gd name="connsiteY18" fmla="*/ 1818 h 49244"/>
                  <a:gd name="connsiteX19" fmla="*/ 35304 w 70002"/>
                  <a:gd name="connsiteY19" fmla="*/ 3030 h 49244"/>
                  <a:gd name="connsiteX20" fmla="*/ 32122 w 70002"/>
                  <a:gd name="connsiteY20" fmla="*/ 3788 h 49244"/>
                  <a:gd name="connsiteX21" fmla="*/ 30607 w 70002"/>
                  <a:gd name="connsiteY21" fmla="*/ 3636 h 49244"/>
                  <a:gd name="connsiteX22" fmla="*/ 30456 w 70002"/>
                  <a:gd name="connsiteY22" fmla="*/ 3636 h 49244"/>
                  <a:gd name="connsiteX23" fmla="*/ 25758 w 70002"/>
                  <a:gd name="connsiteY23" fmla="*/ 4546 h 49244"/>
                  <a:gd name="connsiteX24" fmla="*/ 24243 w 70002"/>
                  <a:gd name="connsiteY24" fmla="*/ 5606 h 49244"/>
                  <a:gd name="connsiteX25" fmla="*/ 23334 w 70002"/>
                  <a:gd name="connsiteY25" fmla="*/ 7424 h 49244"/>
                  <a:gd name="connsiteX26" fmla="*/ 23031 w 70002"/>
                  <a:gd name="connsiteY26" fmla="*/ 8485 h 49244"/>
                  <a:gd name="connsiteX27" fmla="*/ 22122 w 70002"/>
                  <a:gd name="connsiteY27" fmla="*/ 8485 h 49244"/>
                  <a:gd name="connsiteX28" fmla="*/ 20758 w 70002"/>
                  <a:gd name="connsiteY28" fmla="*/ 7576 h 49244"/>
                  <a:gd name="connsiteX29" fmla="*/ 19092 w 70002"/>
                  <a:gd name="connsiteY29" fmla="*/ 6061 h 49244"/>
                  <a:gd name="connsiteX30" fmla="*/ 16819 w 70002"/>
                  <a:gd name="connsiteY30" fmla="*/ 6212 h 49244"/>
                  <a:gd name="connsiteX31" fmla="*/ 9091 w 70002"/>
                  <a:gd name="connsiteY31" fmla="*/ 9394 h 49244"/>
                  <a:gd name="connsiteX32" fmla="*/ 8333 w 70002"/>
                  <a:gd name="connsiteY32" fmla="*/ 11212 h 49244"/>
                  <a:gd name="connsiteX33" fmla="*/ 8182 w 70002"/>
                  <a:gd name="connsiteY33" fmla="*/ 14849 h 49244"/>
                  <a:gd name="connsiteX34" fmla="*/ 7576 w 70002"/>
                  <a:gd name="connsiteY34" fmla="*/ 15910 h 49244"/>
                  <a:gd name="connsiteX35" fmla="*/ 6818 w 70002"/>
                  <a:gd name="connsiteY35" fmla="*/ 16516 h 49244"/>
                  <a:gd name="connsiteX36" fmla="*/ 3636 w 70002"/>
                  <a:gd name="connsiteY36" fmla="*/ 16061 h 49244"/>
                  <a:gd name="connsiteX37" fmla="*/ 3333 w 70002"/>
                  <a:gd name="connsiteY37" fmla="*/ 15910 h 49244"/>
                  <a:gd name="connsiteX38" fmla="*/ 2879 w 70002"/>
                  <a:gd name="connsiteY38" fmla="*/ 16213 h 49244"/>
                  <a:gd name="connsiteX39" fmla="*/ 1667 w 70002"/>
                  <a:gd name="connsiteY39" fmla="*/ 21364 h 49244"/>
                  <a:gd name="connsiteX40" fmla="*/ 1970 w 70002"/>
                  <a:gd name="connsiteY40" fmla="*/ 23940 h 49244"/>
                  <a:gd name="connsiteX41" fmla="*/ 1970 w 70002"/>
                  <a:gd name="connsiteY41" fmla="*/ 25607 h 49244"/>
                  <a:gd name="connsiteX42" fmla="*/ 757 w 70002"/>
                  <a:gd name="connsiteY42" fmla="*/ 26365 h 49244"/>
                  <a:gd name="connsiteX43" fmla="*/ 0 w 70002"/>
                  <a:gd name="connsiteY43" fmla="*/ 27425 h 49244"/>
                  <a:gd name="connsiteX44" fmla="*/ 1212 w 70002"/>
                  <a:gd name="connsiteY44" fmla="*/ 31668 h 49244"/>
                  <a:gd name="connsiteX45" fmla="*/ 1061 w 70002"/>
                  <a:gd name="connsiteY45" fmla="*/ 33486 h 49244"/>
                  <a:gd name="connsiteX46" fmla="*/ 1212 w 70002"/>
                  <a:gd name="connsiteY46" fmla="*/ 35456 h 49244"/>
                  <a:gd name="connsiteX47" fmla="*/ 3333 w 70002"/>
                  <a:gd name="connsiteY47" fmla="*/ 40153 h 49244"/>
                  <a:gd name="connsiteX48" fmla="*/ 4545 w 70002"/>
                  <a:gd name="connsiteY48" fmla="*/ 41668 h 49244"/>
                  <a:gd name="connsiteX49" fmla="*/ 5758 w 70002"/>
                  <a:gd name="connsiteY49" fmla="*/ 42426 h 49244"/>
                  <a:gd name="connsiteX50" fmla="*/ 7121 w 70002"/>
                  <a:gd name="connsiteY50" fmla="*/ 46668 h 49244"/>
                  <a:gd name="connsiteX51" fmla="*/ 8031 w 70002"/>
                  <a:gd name="connsiteY51" fmla="*/ 47426 h 49244"/>
                  <a:gd name="connsiteX52" fmla="*/ 11667 w 70002"/>
                  <a:gd name="connsiteY52" fmla="*/ 46971 h 49244"/>
                  <a:gd name="connsiteX53" fmla="*/ 13334 w 70002"/>
                  <a:gd name="connsiteY53" fmla="*/ 47577 h 49244"/>
                  <a:gd name="connsiteX54" fmla="*/ 14091 w 70002"/>
                  <a:gd name="connsiteY54" fmla="*/ 48487 h 49244"/>
                  <a:gd name="connsiteX55" fmla="*/ 14243 w 70002"/>
                  <a:gd name="connsiteY55" fmla="*/ 49244 h 49244"/>
                  <a:gd name="connsiteX56" fmla="*/ 17879 w 70002"/>
                  <a:gd name="connsiteY56" fmla="*/ 49093 h 49244"/>
                  <a:gd name="connsiteX57" fmla="*/ 19243 w 70002"/>
                  <a:gd name="connsiteY57" fmla="*/ 48790 h 49244"/>
                  <a:gd name="connsiteX58" fmla="*/ 23940 w 70002"/>
                  <a:gd name="connsiteY58" fmla="*/ 48638 h 49244"/>
                  <a:gd name="connsiteX59" fmla="*/ 26213 w 70002"/>
                  <a:gd name="connsiteY59" fmla="*/ 47426 h 49244"/>
                  <a:gd name="connsiteX60" fmla="*/ 27728 w 70002"/>
                  <a:gd name="connsiteY60" fmla="*/ 47426 h 49244"/>
                  <a:gd name="connsiteX61" fmla="*/ 30910 w 70002"/>
                  <a:gd name="connsiteY61" fmla="*/ 48638 h 49244"/>
                  <a:gd name="connsiteX62" fmla="*/ 32274 w 70002"/>
                  <a:gd name="connsiteY62" fmla="*/ 47729 h 49244"/>
                  <a:gd name="connsiteX63" fmla="*/ 36517 w 70002"/>
                  <a:gd name="connsiteY63" fmla="*/ 45911 h 49244"/>
                  <a:gd name="connsiteX64" fmla="*/ 40607 w 70002"/>
                  <a:gd name="connsiteY64" fmla="*/ 40911 h 49244"/>
                  <a:gd name="connsiteX65" fmla="*/ 42274 w 70002"/>
                  <a:gd name="connsiteY65" fmla="*/ 40153 h 49244"/>
                  <a:gd name="connsiteX66" fmla="*/ 46365 w 70002"/>
                  <a:gd name="connsiteY66" fmla="*/ 39850 h 49244"/>
                  <a:gd name="connsiteX67" fmla="*/ 47577 w 70002"/>
                  <a:gd name="connsiteY67" fmla="*/ 39244 h 49244"/>
                  <a:gd name="connsiteX68" fmla="*/ 48941 w 70002"/>
                  <a:gd name="connsiteY68" fmla="*/ 39395 h 49244"/>
                  <a:gd name="connsiteX69" fmla="*/ 53487 w 70002"/>
                  <a:gd name="connsiteY69" fmla="*/ 40304 h 49244"/>
                  <a:gd name="connsiteX70" fmla="*/ 56062 w 70002"/>
                  <a:gd name="connsiteY70" fmla="*/ 40456 h 49244"/>
                  <a:gd name="connsiteX71" fmla="*/ 59093 w 70002"/>
                  <a:gd name="connsiteY71" fmla="*/ 39850 h 49244"/>
                  <a:gd name="connsiteX72" fmla="*/ 62275 w 70002"/>
                  <a:gd name="connsiteY72" fmla="*/ 38638 h 49244"/>
                  <a:gd name="connsiteX73" fmla="*/ 63184 w 70002"/>
                  <a:gd name="connsiteY73" fmla="*/ 34244 h 49244"/>
                  <a:gd name="connsiteX74" fmla="*/ 63942 w 70002"/>
                  <a:gd name="connsiteY74" fmla="*/ 33638 h 49244"/>
                  <a:gd name="connsiteX75" fmla="*/ 66063 w 70002"/>
                  <a:gd name="connsiteY75" fmla="*/ 33335 h 49244"/>
                  <a:gd name="connsiteX76" fmla="*/ 67578 w 70002"/>
                  <a:gd name="connsiteY76" fmla="*/ 33486 h 49244"/>
                  <a:gd name="connsiteX77" fmla="*/ 67881 w 70002"/>
                  <a:gd name="connsiteY77" fmla="*/ 32728 h 49244"/>
                  <a:gd name="connsiteX78" fmla="*/ 68487 w 70002"/>
                  <a:gd name="connsiteY78" fmla="*/ 24698 h 49244"/>
                  <a:gd name="connsiteX79" fmla="*/ 70003 w 70002"/>
                  <a:gd name="connsiteY79" fmla="*/ 21061 h 4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0002" h="49244">
                    <a:moveTo>
                      <a:pt x="70003" y="20304"/>
                    </a:moveTo>
                    <a:lnTo>
                      <a:pt x="69700" y="19698"/>
                    </a:lnTo>
                    <a:lnTo>
                      <a:pt x="68336" y="19092"/>
                    </a:lnTo>
                    <a:lnTo>
                      <a:pt x="67426" y="17122"/>
                    </a:lnTo>
                    <a:lnTo>
                      <a:pt x="65457" y="11970"/>
                    </a:lnTo>
                    <a:lnTo>
                      <a:pt x="64245" y="10910"/>
                    </a:lnTo>
                    <a:lnTo>
                      <a:pt x="61215" y="9849"/>
                    </a:lnTo>
                    <a:lnTo>
                      <a:pt x="58487" y="8334"/>
                    </a:lnTo>
                    <a:lnTo>
                      <a:pt x="56214" y="6364"/>
                    </a:lnTo>
                    <a:lnTo>
                      <a:pt x="51972" y="1515"/>
                    </a:lnTo>
                    <a:lnTo>
                      <a:pt x="51214" y="1212"/>
                    </a:lnTo>
                    <a:lnTo>
                      <a:pt x="50153" y="303"/>
                    </a:lnTo>
                    <a:lnTo>
                      <a:pt x="49093" y="0"/>
                    </a:lnTo>
                    <a:lnTo>
                      <a:pt x="46517" y="1061"/>
                    </a:lnTo>
                    <a:lnTo>
                      <a:pt x="43941" y="1818"/>
                    </a:lnTo>
                    <a:lnTo>
                      <a:pt x="41971" y="1212"/>
                    </a:lnTo>
                    <a:lnTo>
                      <a:pt x="39850" y="1212"/>
                    </a:lnTo>
                    <a:lnTo>
                      <a:pt x="38486" y="1667"/>
                    </a:lnTo>
                    <a:lnTo>
                      <a:pt x="37426" y="1818"/>
                    </a:lnTo>
                    <a:lnTo>
                      <a:pt x="35304" y="3030"/>
                    </a:lnTo>
                    <a:lnTo>
                      <a:pt x="32122" y="3788"/>
                    </a:lnTo>
                    <a:lnTo>
                      <a:pt x="30607" y="3636"/>
                    </a:lnTo>
                    <a:lnTo>
                      <a:pt x="30456" y="3636"/>
                    </a:lnTo>
                    <a:lnTo>
                      <a:pt x="25758" y="4546"/>
                    </a:lnTo>
                    <a:lnTo>
                      <a:pt x="24243" y="5606"/>
                    </a:lnTo>
                    <a:lnTo>
                      <a:pt x="23334" y="7424"/>
                    </a:lnTo>
                    <a:lnTo>
                      <a:pt x="23031" y="8485"/>
                    </a:lnTo>
                    <a:lnTo>
                      <a:pt x="22122" y="8485"/>
                    </a:lnTo>
                    <a:lnTo>
                      <a:pt x="20758" y="7576"/>
                    </a:lnTo>
                    <a:lnTo>
                      <a:pt x="19092" y="6061"/>
                    </a:lnTo>
                    <a:lnTo>
                      <a:pt x="16819" y="6212"/>
                    </a:lnTo>
                    <a:lnTo>
                      <a:pt x="9091" y="9394"/>
                    </a:lnTo>
                    <a:lnTo>
                      <a:pt x="8333" y="11212"/>
                    </a:lnTo>
                    <a:lnTo>
                      <a:pt x="8182" y="14849"/>
                    </a:lnTo>
                    <a:lnTo>
                      <a:pt x="7576" y="15910"/>
                    </a:lnTo>
                    <a:lnTo>
                      <a:pt x="6818" y="16516"/>
                    </a:lnTo>
                    <a:lnTo>
                      <a:pt x="3636" y="16061"/>
                    </a:lnTo>
                    <a:lnTo>
                      <a:pt x="3333" y="15910"/>
                    </a:lnTo>
                    <a:lnTo>
                      <a:pt x="2879" y="16213"/>
                    </a:lnTo>
                    <a:lnTo>
                      <a:pt x="1667" y="21364"/>
                    </a:lnTo>
                    <a:lnTo>
                      <a:pt x="1970" y="23940"/>
                    </a:lnTo>
                    <a:lnTo>
                      <a:pt x="1970" y="25607"/>
                    </a:lnTo>
                    <a:lnTo>
                      <a:pt x="757" y="26365"/>
                    </a:lnTo>
                    <a:lnTo>
                      <a:pt x="0" y="27425"/>
                    </a:lnTo>
                    <a:lnTo>
                      <a:pt x="1212" y="31668"/>
                    </a:lnTo>
                    <a:lnTo>
                      <a:pt x="1061" y="33486"/>
                    </a:lnTo>
                    <a:lnTo>
                      <a:pt x="1212" y="35456"/>
                    </a:lnTo>
                    <a:lnTo>
                      <a:pt x="3333" y="40153"/>
                    </a:lnTo>
                    <a:lnTo>
                      <a:pt x="4545" y="41668"/>
                    </a:lnTo>
                    <a:lnTo>
                      <a:pt x="5758" y="42426"/>
                    </a:lnTo>
                    <a:lnTo>
                      <a:pt x="7121" y="46668"/>
                    </a:lnTo>
                    <a:lnTo>
                      <a:pt x="8031" y="47426"/>
                    </a:lnTo>
                    <a:lnTo>
                      <a:pt x="11667" y="46971"/>
                    </a:lnTo>
                    <a:lnTo>
                      <a:pt x="13334" y="47577"/>
                    </a:lnTo>
                    <a:lnTo>
                      <a:pt x="14091" y="48487"/>
                    </a:lnTo>
                    <a:lnTo>
                      <a:pt x="14243" y="49244"/>
                    </a:lnTo>
                    <a:lnTo>
                      <a:pt x="17879" y="49093"/>
                    </a:lnTo>
                    <a:lnTo>
                      <a:pt x="19243" y="48790"/>
                    </a:lnTo>
                    <a:lnTo>
                      <a:pt x="23940" y="48638"/>
                    </a:lnTo>
                    <a:lnTo>
                      <a:pt x="26213" y="47426"/>
                    </a:lnTo>
                    <a:lnTo>
                      <a:pt x="27728" y="47426"/>
                    </a:lnTo>
                    <a:lnTo>
                      <a:pt x="30910" y="48638"/>
                    </a:lnTo>
                    <a:lnTo>
                      <a:pt x="32274" y="47729"/>
                    </a:lnTo>
                    <a:lnTo>
                      <a:pt x="36517" y="45911"/>
                    </a:lnTo>
                    <a:lnTo>
                      <a:pt x="40607" y="40911"/>
                    </a:lnTo>
                    <a:lnTo>
                      <a:pt x="42274" y="40153"/>
                    </a:lnTo>
                    <a:lnTo>
                      <a:pt x="46365" y="39850"/>
                    </a:lnTo>
                    <a:lnTo>
                      <a:pt x="47577" y="39244"/>
                    </a:lnTo>
                    <a:lnTo>
                      <a:pt x="48941" y="39395"/>
                    </a:lnTo>
                    <a:lnTo>
                      <a:pt x="53487" y="40304"/>
                    </a:lnTo>
                    <a:lnTo>
                      <a:pt x="56062" y="40456"/>
                    </a:lnTo>
                    <a:lnTo>
                      <a:pt x="59093" y="39850"/>
                    </a:lnTo>
                    <a:lnTo>
                      <a:pt x="62275" y="38638"/>
                    </a:lnTo>
                    <a:lnTo>
                      <a:pt x="63184" y="34244"/>
                    </a:lnTo>
                    <a:lnTo>
                      <a:pt x="63942" y="33638"/>
                    </a:lnTo>
                    <a:lnTo>
                      <a:pt x="66063" y="33335"/>
                    </a:lnTo>
                    <a:lnTo>
                      <a:pt x="67578" y="33486"/>
                    </a:lnTo>
                    <a:lnTo>
                      <a:pt x="67881" y="32728"/>
                    </a:lnTo>
                    <a:lnTo>
                      <a:pt x="68487" y="24698"/>
                    </a:lnTo>
                    <a:lnTo>
                      <a:pt x="70003" y="2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2" name="Freeform: Shape 3221">
                <a:extLst>
                  <a:ext uri="{FF2B5EF4-FFF2-40B4-BE49-F238E27FC236}">
                    <a16:creationId xmlns:a16="http://schemas.microsoft.com/office/drawing/2014/main" id="{E743243E-C57F-410A-ACA2-9678E380A5CB}"/>
                  </a:ext>
                </a:extLst>
              </p:cNvPr>
              <p:cNvSpPr/>
              <p:nvPr/>
            </p:nvSpPr>
            <p:spPr>
              <a:xfrm>
                <a:off x="10342066" y="4257134"/>
                <a:ext cx="134550" cy="147126"/>
              </a:xfrm>
              <a:custGeom>
                <a:avLst/>
                <a:gdLst>
                  <a:gd name="connsiteX0" fmla="*/ 50305 w 134550"/>
                  <a:gd name="connsiteY0" fmla="*/ 105155 h 147126"/>
                  <a:gd name="connsiteX1" fmla="*/ 50153 w 134550"/>
                  <a:gd name="connsiteY1" fmla="*/ 105610 h 147126"/>
                  <a:gd name="connsiteX2" fmla="*/ 51366 w 134550"/>
                  <a:gd name="connsiteY2" fmla="*/ 106064 h 147126"/>
                  <a:gd name="connsiteX3" fmla="*/ 53941 w 134550"/>
                  <a:gd name="connsiteY3" fmla="*/ 106367 h 147126"/>
                  <a:gd name="connsiteX4" fmla="*/ 54396 w 134550"/>
                  <a:gd name="connsiteY4" fmla="*/ 105913 h 147126"/>
                  <a:gd name="connsiteX5" fmla="*/ 52275 w 134550"/>
                  <a:gd name="connsiteY5" fmla="*/ 105610 h 147126"/>
                  <a:gd name="connsiteX6" fmla="*/ 50305 w 134550"/>
                  <a:gd name="connsiteY6" fmla="*/ 105155 h 147126"/>
                  <a:gd name="connsiteX7" fmla="*/ 455 w 134550"/>
                  <a:gd name="connsiteY7" fmla="*/ 151 h 147126"/>
                  <a:gd name="connsiteX8" fmla="*/ 0 w 134550"/>
                  <a:gd name="connsiteY8" fmla="*/ 455 h 147126"/>
                  <a:gd name="connsiteX9" fmla="*/ 607 w 134550"/>
                  <a:gd name="connsiteY9" fmla="*/ 606 h 147126"/>
                  <a:gd name="connsiteX10" fmla="*/ 1364 w 134550"/>
                  <a:gd name="connsiteY10" fmla="*/ 455 h 147126"/>
                  <a:gd name="connsiteX11" fmla="*/ 1667 w 134550"/>
                  <a:gd name="connsiteY11" fmla="*/ 151 h 147126"/>
                  <a:gd name="connsiteX12" fmla="*/ 1364 w 134550"/>
                  <a:gd name="connsiteY12" fmla="*/ 0 h 147126"/>
                  <a:gd name="connsiteX13" fmla="*/ 455 w 134550"/>
                  <a:gd name="connsiteY13" fmla="*/ 151 h 147126"/>
                  <a:gd name="connsiteX14" fmla="*/ 76973 w 134550"/>
                  <a:gd name="connsiteY14" fmla="*/ 143187 h 147126"/>
                  <a:gd name="connsiteX15" fmla="*/ 76367 w 134550"/>
                  <a:gd name="connsiteY15" fmla="*/ 145611 h 147126"/>
                  <a:gd name="connsiteX16" fmla="*/ 75912 w 134550"/>
                  <a:gd name="connsiteY16" fmla="*/ 146520 h 147126"/>
                  <a:gd name="connsiteX17" fmla="*/ 75306 w 134550"/>
                  <a:gd name="connsiteY17" fmla="*/ 147126 h 147126"/>
                  <a:gd name="connsiteX18" fmla="*/ 75912 w 134550"/>
                  <a:gd name="connsiteY18" fmla="*/ 147126 h 147126"/>
                  <a:gd name="connsiteX19" fmla="*/ 76519 w 134550"/>
                  <a:gd name="connsiteY19" fmla="*/ 146369 h 147126"/>
                  <a:gd name="connsiteX20" fmla="*/ 77579 w 134550"/>
                  <a:gd name="connsiteY20" fmla="*/ 143490 h 147126"/>
                  <a:gd name="connsiteX21" fmla="*/ 79094 w 134550"/>
                  <a:gd name="connsiteY21" fmla="*/ 142429 h 147126"/>
                  <a:gd name="connsiteX22" fmla="*/ 79246 w 134550"/>
                  <a:gd name="connsiteY22" fmla="*/ 141369 h 147126"/>
                  <a:gd name="connsiteX23" fmla="*/ 78337 w 134550"/>
                  <a:gd name="connsiteY23" fmla="*/ 142429 h 147126"/>
                  <a:gd name="connsiteX24" fmla="*/ 76973 w 134550"/>
                  <a:gd name="connsiteY24" fmla="*/ 143187 h 147126"/>
                  <a:gd name="connsiteX25" fmla="*/ 132581 w 134550"/>
                  <a:gd name="connsiteY25" fmla="*/ 113641 h 147126"/>
                  <a:gd name="connsiteX26" fmla="*/ 130611 w 134550"/>
                  <a:gd name="connsiteY26" fmla="*/ 113641 h 147126"/>
                  <a:gd name="connsiteX27" fmla="*/ 129551 w 134550"/>
                  <a:gd name="connsiteY27" fmla="*/ 113034 h 147126"/>
                  <a:gd name="connsiteX28" fmla="*/ 130005 w 134550"/>
                  <a:gd name="connsiteY28" fmla="*/ 113943 h 147126"/>
                  <a:gd name="connsiteX29" fmla="*/ 130611 w 134550"/>
                  <a:gd name="connsiteY29" fmla="*/ 114246 h 147126"/>
                  <a:gd name="connsiteX30" fmla="*/ 131823 w 134550"/>
                  <a:gd name="connsiteY30" fmla="*/ 114095 h 147126"/>
                  <a:gd name="connsiteX31" fmla="*/ 132732 w 134550"/>
                  <a:gd name="connsiteY31" fmla="*/ 114398 h 147126"/>
                  <a:gd name="connsiteX32" fmla="*/ 133793 w 134550"/>
                  <a:gd name="connsiteY32" fmla="*/ 115004 h 147126"/>
                  <a:gd name="connsiteX33" fmla="*/ 134551 w 134550"/>
                  <a:gd name="connsiteY33" fmla="*/ 115156 h 147126"/>
                  <a:gd name="connsiteX34" fmla="*/ 132581 w 134550"/>
                  <a:gd name="connsiteY34" fmla="*/ 113641 h 147126"/>
                  <a:gd name="connsiteX35" fmla="*/ 116671 w 134550"/>
                  <a:gd name="connsiteY35" fmla="*/ 110610 h 147126"/>
                  <a:gd name="connsiteX36" fmla="*/ 115308 w 134550"/>
                  <a:gd name="connsiteY36" fmla="*/ 109701 h 147126"/>
                  <a:gd name="connsiteX37" fmla="*/ 114853 w 134550"/>
                  <a:gd name="connsiteY37" fmla="*/ 110155 h 147126"/>
                  <a:gd name="connsiteX38" fmla="*/ 116520 w 134550"/>
                  <a:gd name="connsiteY38" fmla="*/ 111368 h 147126"/>
                  <a:gd name="connsiteX39" fmla="*/ 119398 w 134550"/>
                  <a:gd name="connsiteY39" fmla="*/ 112277 h 147126"/>
                  <a:gd name="connsiteX40" fmla="*/ 120308 w 134550"/>
                  <a:gd name="connsiteY40" fmla="*/ 112428 h 147126"/>
                  <a:gd name="connsiteX41" fmla="*/ 121065 w 134550"/>
                  <a:gd name="connsiteY41" fmla="*/ 112428 h 147126"/>
                  <a:gd name="connsiteX42" fmla="*/ 122126 w 134550"/>
                  <a:gd name="connsiteY42" fmla="*/ 112125 h 147126"/>
                  <a:gd name="connsiteX43" fmla="*/ 123793 w 134550"/>
                  <a:gd name="connsiteY43" fmla="*/ 111671 h 147126"/>
                  <a:gd name="connsiteX44" fmla="*/ 124551 w 134550"/>
                  <a:gd name="connsiteY44" fmla="*/ 111216 h 147126"/>
                  <a:gd name="connsiteX45" fmla="*/ 120005 w 134550"/>
                  <a:gd name="connsiteY45" fmla="*/ 111822 h 147126"/>
                  <a:gd name="connsiteX46" fmla="*/ 116671 w 134550"/>
                  <a:gd name="connsiteY46" fmla="*/ 110610 h 14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4550" h="147126">
                    <a:moveTo>
                      <a:pt x="50305" y="105155"/>
                    </a:moveTo>
                    <a:lnTo>
                      <a:pt x="50153" y="105610"/>
                    </a:lnTo>
                    <a:lnTo>
                      <a:pt x="51366" y="106064"/>
                    </a:lnTo>
                    <a:lnTo>
                      <a:pt x="53941" y="106367"/>
                    </a:lnTo>
                    <a:lnTo>
                      <a:pt x="54396" y="105913"/>
                    </a:lnTo>
                    <a:lnTo>
                      <a:pt x="52275" y="105610"/>
                    </a:lnTo>
                    <a:lnTo>
                      <a:pt x="50305" y="105155"/>
                    </a:lnTo>
                    <a:close/>
                    <a:moveTo>
                      <a:pt x="455" y="151"/>
                    </a:moveTo>
                    <a:lnTo>
                      <a:pt x="0" y="455"/>
                    </a:lnTo>
                    <a:lnTo>
                      <a:pt x="607" y="606"/>
                    </a:lnTo>
                    <a:lnTo>
                      <a:pt x="1364" y="455"/>
                    </a:lnTo>
                    <a:lnTo>
                      <a:pt x="1667" y="151"/>
                    </a:lnTo>
                    <a:lnTo>
                      <a:pt x="1364" y="0"/>
                    </a:lnTo>
                    <a:lnTo>
                      <a:pt x="455" y="151"/>
                    </a:lnTo>
                    <a:close/>
                    <a:moveTo>
                      <a:pt x="76973" y="143187"/>
                    </a:moveTo>
                    <a:lnTo>
                      <a:pt x="76367" y="145611"/>
                    </a:lnTo>
                    <a:lnTo>
                      <a:pt x="75912" y="146520"/>
                    </a:lnTo>
                    <a:lnTo>
                      <a:pt x="75306" y="147126"/>
                    </a:lnTo>
                    <a:lnTo>
                      <a:pt x="75912" y="147126"/>
                    </a:lnTo>
                    <a:lnTo>
                      <a:pt x="76519" y="146369"/>
                    </a:lnTo>
                    <a:lnTo>
                      <a:pt x="77579" y="143490"/>
                    </a:lnTo>
                    <a:lnTo>
                      <a:pt x="79094" y="142429"/>
                    </a:lnTo>
                    <a:lnTo>
                      <a:pt x="79246" y="141369"/>
                    </a:lnTo>
                    <a:lnTo>
                      <a:pt x="78337" y="142429"/>
                    </a:lnTo>
                    <a:lnTo>
                      <a:pt x="76973" y="143187"/>
                    </a:lnTo>
                    <a:close/>
                    <a:moveTo>
                      <a:pt x="132581" y="113641"/>
                    </a:moveTo>
                    <a:lnTo>
                      <a:pt x="130611" y="113641"/>
                    </a:lnTo>
                    <a:lnTo>
                      <a:pt x="129551" y="113034"/>
                    </a:lnTo>
                    <a:lnTo>
                      <a:pt x="130005" y="113943"/>
                    </a:lnTo>
                    <a:lnTo>
                      <a:pt x="130611" y="114246"/>
                    </a:lnTo>
                    <a:lnTo>
                      <a:pt x="131823" y="114095"/>
                    </a:lnTo>
                    <a:lnTo>
                      <a:pt x="132732" y="114398"/>
                    </a:lnTo>
                    <a:lnTo>
                      <a:pt x="133793" y="115004"/>
                    </a:lnTo>
                    <a:lnTo>
                      <a:pt x="134551" y="115156"/>
                    </a:lnTo>
                    <a:lnTo>
                      <a:pt x="132581" y="113641"/>
                    </a:lnTo>
                    <a:close/>
                    <a:moveTo>
                      <a:pt x="116671" y="110610"/>
                    </a:moveTo>
                    <a:lnTo>
                      <a:pt x="115308" y="109701"/>
                    </a:lnTo>
                    <a:lnTo>
                      <a:pt x="114853" y="110155"/>
                    </a:lnTo>
                    <a:lnTo>
                      <a:pt x="116520" y="111368"/>
                    </a:lnTo>
                    <a:lnTo>
                      <a:pt x="119398" y="112277"/>
                    </a:lnTo>
                    <a:lnTo>
                      <a:pt x="120308" y="112428"/>
                    </a:lnTo>
                    <a:lnTo>
                      <a:pt x="121065" y="112428"/>
                    </a:lnTo>
                    <a:lnTo>
                      <a:pt x="122126" y="112125"/>
                    </a:lnTo>
                    <a:lnTo>
                      <a:pt x="123793" y="111671"/>
                    </a:lnTo>
                    <a:lnTo>
                      <a:pt x="124551" y="111216"/>
                    </a:lnTo>
                    <a:lnTo>
                      <a:pt x="120005" y="111822"/>
                    </a:lnTo>
                    <a:lnTo>
                      <a:pt x="116671" y="1106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3" name="Freeform: Shape 3222">
                <a:extLst>
                  <a:ext uri="{FF2B5EF4-FFF2-40B4-BE49-F238E27FC236}">
                    <a16:creationId xmlns:a16="http://schemas.microsoft.com/office/drawing/2014/main" id="{4D6534AC-812E-4020-8FD6-7A5773C0F931}"/>
                  </a:ext>
                </a:extLst>
              </p:cNvPr>
              <p:cNvSpPr/>
              <p:nvPr/>
            </p:nvSpPr>
            <p:spPr>
              <a:xfrm>
                <a:off x="6960425" y="4892005"/>
                <a:ext cx="198037" cy="380771"/>
              </a:xfrm>
              <a:custGeom>
                <a:avLst/>
                <a:gdLst>
                  <a:gd name="connsiteX0" fmla="*/ 180916 w 198037"/>
                  <a:gd name="connsiteY0" fmla="*/ 134702 h 380771"/>
                  <a:gd name="connsiteX1" fmla="*/ 180007 w 198037"/>
                  <a:gd name="connsiteY1" fmla="*/ 138944 h 380771"/>
                  <a:gd name="connsiteX2" fmla="*/ 183037 w 198037"/>
                  <a:gd name="connsiteY2" fmla="*/ 133793 h 380771"/>
                  <a:gd name="connsiteX3" fmla="*/ 185462 w 198037"/>
                  <a:gd name="connsiteY3" fmla="*/ 128035 h 380771"/>
                  <a:gd name="connsiteX4" fmla="*/ 184401 w 198037"/>
                  <a:gd name="connsiteY4" fmla="*/ 128489 h 380771"/>
                  <a:gd name="connsiteX5" fmla="*/ 180916 w 198037"/>
                  <a:gd name="connsiteY5" fmla="*/ 134702 h 380771"/>
                  <a:gd name="connsiteX6" fmla="*/ 139551 w 198037"/>
                  <a:gd name="connsiteY6" fmla="*/ 36517 h 380771"/>
                  <a:gd name="connsiteX7" fmla="*/ 139551 w 198037"/>
                  <a:gd name="connsiteY7" fmla="*/ 35456 h 380771"/>
                  <a:gd name="connsiteX8" fmla="*/ 139854 w 198037"/>
                  <a:gd name="connsiteY8" fmla="*/ 33941 h 380771"/>
                  <a:gd name="connsiteX9" fmla="*/ 138642 w 198037"/>
                  <a:gd name="connsiteY9" fmla="*/ 30910 h 380771"/>
                  <a:gd name="connsiteX10" fmla="*/ 137581 w 198037"/>
                  <a:gd name="connsiteY10" fmla="*/ 31062 h 380771"/>
                  <a:gd name="connsiteX11" fmla="*/ 137127 w 198037"/>
                  <a:gd name="connsiteY11" fmla="*/ 32425 h 380771"/>
                  <a:gd name="connsiteX12" fmla="*/ 135308 w 198037"/>
                  <a:gd name="connsiteY12" fmla="*/ 32577 h 380771"/>
                  <a:gd name="connsiteX13" fmla="*/ 135914 w 198037"/>
                  <a:gd name="connsiteY13" fmla="*/ 36062 h 380771"/>
                  <a:gd name="connsiteX14" fmla="*/ 139551 w 198037"/>
                  <a:gd name="connsiteY14" fmla="*/ 36517 h 380771"/>
                  <a:gd name="connsiteX15" fmla="*/ 196826 w 198037"/>
                  <a:gd name="connsiteY15" fmla="*/ 85003 h 380771"/>
                  <a:gd name="connsiteX16" fmla="*/ 193341 w 198037"/>
                  <a:gd name="connsiteY16" fmla="*/ 79094 h 380771"/>
                  <a:gd name="connsiteX17" fmla="*/ 191220 w 198037"/>
                  <a:gd name="connsiteY17" fmla="*/ 73336 h 380771"/>
                  <a:gd name="connsiteX18" fmla="*/ 190310 w 198037"/>
                  <a:gd name="connsiteY18" fmla="*/ 67275 h 380771"/>
                  <a:gd name="connsiteX19" fmla="*/ 189401 w 198037"/>
                  <a:gd name="connsiteY19" fmla="*/ 54093 h 380771"/>
                  <a:gd name="connsiteX20" fmla="*/ 186674 w 198037"/>
                  <a:gd name="connsiteY20" fmla="*/ 41214 h 380771"/>
                  <a:gd name="connsiteX21" fmla="*/ 183795 w 198037"/>
                  <a:gd name="connsiteY21" fmla="*/ 32729 h 380771"/>
                  <a:gd name="connsiteX22" fmla="*/ 183037 w 198037"/>
                  <a:gd name="connsiteY22" fmla="*/ 27274 h 380771"/>
                  <a:gd name="connsiteX23" fmla="*/ 181370 w 198037"/>
                  <a:gd name="connsiteY23" fmla="*/ 24546 h 380771"/>
                  <a:gd name="connsiteX24" fmla="*/ 179401 w 198037"/>
                  <a:gd name="connsiteY24" fmla="*/ 21970 h 380771"/>
                  <a:gd name="connsiteX25" fmla="*/ 174855 w 198037"/>
                  <a:gd name="connsiteY25" fmla="*/ 15304 h 380771"/>
                  <a:gd name="connsiteX26" fmla="*/ 173340 w 198037"/>
                  <a:gd name="connsiteY26" fmla="*/ 12576 h 380771"/>
                  <a:gd name="connsiteX27" fmla="*/ 172128 w 198037"/>
                  <a:gd name="connsiteY27" fmla="*/ 9697 h 380771"/>
                  <a:gd name="connsiteX28" fmla="*/ 170461 w 198037"/>
                  <a:gd name="connsiteY28" fmla="*/ 7425 h 380771"/>
                  <a:gd name="connsiteX29" fmla="*/ 167279 w 198037"/>
                  <a:gd name="connsiteY29" fmla="*/ 4394 h 380771"/>
                  <a:gd name="connsiteX30" fmla="*/ 166370 w 198037"/>
                  <a:gd name="connsiteY30" fmla="*/ 3030 h 380771"/>
                  <a:gd name="connsiteX31" fmla="*/ 165915 w 198037"/>
                  <a:gd name="connsiteY31" fmla="*/ 1212 h 380771"/>
                  <a:gd name="connsiteX32" fmla="*/ 164552 w 198037"/>
                  <a:gd name="connsiteY32" fmla="*/ 0 h 380771"/>
                  <a:gd name="connsiteX33" fmla="*/ 163037 w 198037"/>
                  <a:gd name="connsiteY33" fmla="*/ 0 h 380771"/>
                  <a:gd name="connsiteX34" fmla="*/ 158339 w 198037"/>
                  <a:gd name="connsiteY34" fmla="*/ 6516 h 380771"/>
                  <a:gd name="connsiteX35" fmla="*/ 155460 w 198037"/>
                  <a:gd name="connsiteY35" fmla="*/ 9849 h 380771"/>
                  <a:gd name="connsiteX36" fmla="*/ 154551 w 198037"/>
                  <a:gd name="connsiteY36" fmla="*/ 10455 h 380771"/>
                  <a:gd name="connsiteX37" fmla="*/ 151975 w 198037"/>
                  <a:gd name="connsiteY37" fmla="*/ 10000 h 380771"/>
                  <a:gd name="connsiteX38" fmla="*/ 151521 w 198037"/>
                  <a:gd name="connsiteY38" fmla="*/ 10910 h 380771"/>
                  <a:gd name="connsiteX39" fmla="*/ 153339 w 198037"/>
                  <a:gd name="connsiteY39" fmla="*/ 14698 h 380771"/>
                  <a:gd name="connsiteX40" fmla="*/ 154400 w 198037"/>
                  <a:gd name="connsiteY40" fmla="*/ 17728 h 380771"/>
                  <a:gd name="connsiteX41" fmla="*/ 155158 w 198037"/>
                  <a:gd name="connsiteY41" fmla="*/ 20910 h 380771"/>
                  <a:gd name="connsiteX42" fmla="*/ 154854 w 198037"/>
                  <a:gd name="connsiteY42" fmla="*/ 23637 h 380771"/>
                  <a:gd name="connsiteX43" fmla="*/ 151672 w 198037"/>
                  <a:gd name="connsiteY43" fmla="*/ 32880 h 380771"/>
                  <a:gd name="connsiteX44" fmla="*/ 146824 w 198037"/>
                  <a:gd name="connsiteY44" fmla="*/ 37274 h 380771"/>
                  <a:gd name="connsiteX45" fmla="*/ 143642 w 198037"/>
                  <a:gd name="connsiteY45" fmla="*/ 38486 h 380771"/>
                  <a:gd name="connsiteX46" fmla="*/ 140915 w 198037"/>
                  <a:gd name="connsiteY46" fmla="*/ 40456 h 380771"/>
                  <a:gd name="connsiteX47" fmla="*/ 139096 w 198037"/>
                  <a:gd name="connsiteY47" fmla="*/ 43183 h 380771"/>
                  <a:gd name="connsiteX48" fmla="*/ 136823 w 198037"/>
                  <a:gd name="connsiteY48" fmla="*/ 45456 h 380771"/>
                  <a:gd name="connsiteX49" fmla="*/ 135005 w 198037"/>
                  <a:gd name="connsiteY49" fmla="*/ 45153 h 380771"/>
                  <a:gd name="connsiteX50" fmla="*/ 132278 w 198037"/>
                  <a:gd name="connsiteY50" fmla="*/ 42880 h 380771"/>
                  <a:gd name="connsiteX51" fmla="*/ 131066 w 198037"/>
                  <a:gd name="connsiteY51" fmla="*/ 42123 h 380771"/>
                  <a:gd name="connsiteX52" fmla="*/ 129551 w 198037"/>
                  <a:gd name="connsiteY52" fmla="*/ 42577 h 380771"/>
                  <a:gd name="connsiteX53" fmla="*/ 128490 w 198037"/>
                  <a:gd name="connsiteY53" fmla="*/ 43941 h 380771"/>
                  <a:gd name="connsiteX54" fmla="*/ 127278 w 198037"/>
                  <a:gd name="connsiteY54" fmla="*/ 45759 h 380771"/>
                  <a:gd name="connsiteX55" fmla="*/ 126974 w 198037"/>
                  <a:gd name="connsiteY55" fmla="*/ 47881 h 380771"/>
                  <a:gd name="connsiteX56" fmla="*/ 127429 w 198037"/>
                  <a:gd name="connsiteY56" fmla="*/ 49244 h 380771"/>
                  <a:gd name="connsiteX57" fmla="*/ 130005 w 198037"/>
                  <a:gd name="connsiteY57" fmla="*/ 52123 h 380771"/>
                  <a:gd name="connsiteX58" fmla="*/ 129702 w 198037"/>
                  <a:gd name="connsiteY58" fmla="*/ 52729 h 380771"/>
                  <a:gd name="connsiteX59" fmla="*/ 128944 w 198037"/>
                  <a:gd name="connsiteY59" fmla="*/ 53335 h 380771"/>
                  <a:gd name="connsiteX60" fmla="*/ 128944 w 198037"/>
                  <a:gd name="connsiteY60" fmla="*/ 55154 h 380771"/>
                  <a:gd name="connsiteX61" fmla="*/ 123944 w 198037"/>
                  <a:gd name="connsiteY61" fmla="*/ 63487 h 380771"/>
                  <a:gd name="connsiteX62" fmla="*/ 125005 w 198037"/>
                  <a:gd name="connsiteY62" fmla="*/ 68336 h 380771"/>
                  <a:gd name="connsiteX63" fmla="*/ 129247 w 198037"/>
                  <a:gd name="connsiteY63" fmla="*/ 71821 h 380771"/>
                  <a:gd name="connsiteX64" fmla="*/ 126672 w 198037"/>
                  <a:gd name="connsiteY64" fmla="*/ 71063 h 380771"/>
                  <a:gd name="connsiteX65" fmla="*/ 124096 w 198037"/>
                  <a:gd name="connsiteY65" fmla="*/ 70760 h 380771"/>
                  <a:gd name="connsiteX66" fmla="*/ 122581 w 198037"/>
                  <a:gd name="connsiteY66" fmla="*/ 71972 h 380771"/>
                  <a:gd name="connsiteX67" fmla="*/ 121368 w 198037"/>
                  <a:gd name="connsiteY67" fmla="*/ 73790 h 380771"/>
                  <a:gd name="connsiteX68" fmla="*/ 119247 w 198037"/>
                  <a:gd name="connsiteY68" fmla="*/ 77124 h 380771"/>
                  <a:gd name="connsiteX69" fmla="*/ 117429 w 198037"/>
                  <a:gd name="connsiteY69" fmla="*/ 80609 h 380771"/>
                  <a:gd name="connsiteX70" fmla="*/ 116217 w 198037"/>
                  <a:gd name="connsiteY70" fmla="*/ 81064 h 380771"/>
                  <a:gd name="connsiteX71" fmla="*/ 114853 w 198037"/>
                  <a:gd name="connsiteY71" fmla="*/ 80609 h 380771"/>
                  <a:gd name="connsiteX72" fmla="*/ 115156 w 198037"/>
                  <a:gd name="connsiteY72" fmla="*/ 78639 h 380771"/>
                  <a:gd name="connsiteX73" fmla="*/ 116065 w 198037"/>
                  <a:gd name="connsiteY73" fmla="*/ 77124 h 380771"/>
                  <a:gd name="connsiteX74" fmla="*/ 116671 w 198037"/>
                  <a:gd name="connsiteY74" fmla="*/ 75609 h 380771"/>
                  <a:gd name="connsiteX75" fmla="*/ 116368 w 198037"/>
                  <a:gd name="connsiteY75" fmla="*/ 74094 h 380771"/>
                  <a:gd name="connsiteX76" fmla="*/ 115762 w 198037"/>
                  <a:gd name="connsiteY76" fmla="*/ 72730 h 380771"/>
                  <a:gd name="connsiteX77" fmla="*/ 115005 w 198037"/>
                  <a:gd name="connsiteY77" fmla="*/ 72427 h 380771"/>
                  <a:gd name="connsiteX78" fmla="*/ 112580 w 198037"/>
                  <a:gd name="connsiteY78" fmla="*/ 74245 h 380771"/>
                  <a:gd name="connsiteX79" fmla="*/ 111671 w 198037"/>
                  <a:gd name="connsiteY79" fmla="*/ 75760 h 380771"/>
                  <a:gd name="connsiteX80" fmla="*/ 110610 w 198037"/>
                  <a:gd name="connsiteY80" fmla="*/ 79094 h 380771"/>
                  <a:gd name="connsiteX81" fmla="*/ 108338 w 198037"/>
                  <a:gd name="connsiteY81" fmla="*/ 81973 h 380771"/>
                  <a:gd name="connsiteX82" fmla="*/ 105307 w 198037"/>
                  <a:gd name="connsiteY82" fmla="*/ 85003 h 380771"/>
                  <a:gd name="connsiteX83" fmla="*/ 105307 w 198037"/>
                  <a:gd name="connsiteY83" fmla="*/ 86215 h 380771"/>
                  <a:gd name="connsiteX84" fmla="*/ 105610 w 198037"/>
                  <a:gd name="connsiteY84" fmla="*/ 87579 h 380771"/>
                  <a:gd name="connsiteX85" fmla="*/ 106368 w 198037"/>
                  <a:gd name="connsiteY85" fmla="*/ 89246 h 380771"/>
                  <a:gd name="connsiteX86" fmla="*/ 106368 w 198037"/>
                  <a:gd name="connsiteY86" fmla="*/ 90912 h 380771"/>
                  <a:gd name="connsiteX87" fmla="*/ 105459 w 198037"/>
                  <a:gd name="connsiteY87" fmla="*/ 92882 h 380771"/>
                  <a:gd name="connsiteX88" fmla="*/ 104398 w 198037"/>
                  <a:gd name="connsiteY88" fmla="*/ 93488 h 380771"/>
                  <a:gd name="connsiteX89" fmla="*/ 103489 w 198037"/>
                  <a:gd name="connsiteY89" fmla="*/ 93337 h 380771"/>
                  <a:gd name="connsiteX90" fmla="*/ 103641 w 198037"/>
                  <a:gd name="connsiteY90" fmla="*/ 92579 h 380771"/>
                  <a:gd name="connsiteX91" fmla="*/ 102580 w 198037"/>
                  <a:gd name="connsiteY91" fmla="*/ 87579 h 380771"/>
                  <a:gd name="connsiteX92" fmla="*/ 101216 w 198037"/>
                  <a:gd name="connsiteY92" fmla="*/ 86973 h 380771"/>
                  <a:gd name="connsiteX93" fmla="*/ 99549 w 198037"/>
                  <a:gd name="connsiteY93" fmla="*/ 87276 h 380771"/>
                  <a:gd name="connsiteX94" fmla="*/ 93943 w 198037"/>
                  <a:gd name="connsiteY94" fmla="*/ 91518 h 380771"/>
                  <a:gd name="connsiteX95" fmla="*/ 88489 w 198037"/>
                  <a:gd name="connsiteY95" fmla="*/ 95155 h 380771"/>
                  <a:gd name="connsiteX96" fmla="*/ 86064 w 198037"/>
                  <a:gd name="connsiteY96" fmla="*/ 97579 h 380771"/>
                  <a:gd name="connsiteX97" fmla="*/ 84549 w 198037"/>
                  <a:gd name="connsiteY97" fmla="*/ 100761 h 380771"/>
                  <a:gd name="connsiteX98" fmla="*/ 84397 w 198037"/>
                  <a:gd name="connsiteY98" fmla="*/ 102276 h 380771"/>
                  <a:gd name="connsiteX99" fmla="*/ 84852 w 198037"/>
                  <a:gd name="connsiteY99" fmla="*/ 103640 h 380771"/>
                  <a:gd name="connsiteX100" fmla="*/ 87579 w 198037"/>
                  <a:gd name="connsiteY100" fmla="*/ 105913 h 380771"/>
                  <a:gd name="connsiteX101" fmla="*/ 86367 w 198037"/>
                  <a:gd name="connsiteY101" fmla="*/ 106670 h 380771"/>
                  <a:gd name="connsiteX102" fmla="*/ 85003 w 198037"/>
                  <a:gd name="connsiteY102" fmla="*/ 106519 h 380771"/>
                  <a:gd name="connsiteX103" fmla="*/ 83943 w 198037"/>
                  <a:gd name="connsiteY103" fmla="*/ 106064 h 380771"/>
                  <a:gd name="connsiteX104" fmla="*/ 80609 w 198037"/>
                  <a:gd name="connsiteY104" fmla="*/ 101670 h 380771"/>
                  <a:gd name="connsiteX105" fmla="*/ 79700 w 198037"/>
                  <a:gd name="connsiteY105" fmla="*/ 101367 h 380771"/>
                  <a:gd name="connsiteX106" fmla="*/ 75458 w 198037"/>
                  <a:gd name="connsiteY106" fmla="*/ 102580 h 380771"/>
                  <a:gd name="connsiteX107" fmla="*/ 72276 w 198037"/>
                  <a:gd name="connsiteY107" fmla="*/ 103034 h 380771"/>
                  <a:gd name="connsiteX108" fmla="*/ 67124 w 198037"/>
                  <a:gd name="connsiteY108" fmla="*/ 103489 h 380771"/>
                  <a:gd name="connsiteX109" fmla="*/ 66063 w 198037"/>
                  <a:gd name="connsiteY109" fmla="*/ 104246 h 380771"/>
                  <a:gd name="connsiteX110" fmla="*/ 65457 w 198037"/>
                  <a:gd name="connsiteY110" fmla="*/ 105458 h 380771"/>
                  <a:gd name="connsiteX111" fmla="*/ 65003 w 198037"/>
                  <a:gd name="connsiteY111" fmla="*/ 107277 h 380771"/>
                  <a:gd name="connsiteX112" fmla="*/ 64245 w 198037"/>
                  <a:gd name="connsiteY112" fmla="*/ 108640 h 380771"/>
                  <a:gd name="connsiteX113" fmla="*/ 62730 w 198037"/>
                  <a:gd name="connsiteY113" fmla="*/ 108337 h 380771"/>
                  <a:gd name="connsiteX114" fmla="*/ 61215 w 198037"/>
                  <a:gd name="connsiteY114" fmla="*/ 108337 h 380771"/>
                  <a:gd name="connsiteX115" fmla="*/ 57275 w 198037"/>
                  <a:gd name="connsiteY115" fmla="*/ 109701 h 380771"/>
                  <a:gd name="connsiteX116" fmla="*/ 56215 w 198037"/>
                  <a:gd name="connsiteY116" fmla="*/ 108943 h 380771"/>
                  <a:gd name="connsiteX117" fmla="*/ 55305 w 198037"/>
                  <a:gd name="connsiteY117" fmla="*/ 107580 h 380771"/>
                  <a:gd name="connsiteX118" fmla="*/ 53941 w 198037"/>
                  <a:gd name="connsiteY118" fmla="*/ 107277 h 380771"/>
                  <a:gd name="connsiteX119" fmla="*/ 52427 w 198037"/>
                  <a:gd name="connsiteY119" fmla="*/ 108186 h 380771"/>
                  <a:gd name="connsiteX120" fmla="*/ 49093 w 198037"/>
                  <a:gd name="connsiteY120" fmla="*/ 111368 h 380771"/>
                  <a:gd name="connsiteX121" fmla="*/ 46669 w 198037"/>
                  <a:gd name="connsiteY121" fmla="*/ 113035 h 380771"/>
                  <a:gd name="connsiteX122" fmla="*/ 45456 w 198037"/>
                  <a:gd name="connsiteY122" fmla="*/ 113641 h 380771"/>
                  <a:gd name="connsiteX123" fmla="*/ 35607 w 198037"/>
                  <a:gd name="connsiteY123" fmla="*/ 114550 h 380771"/>
                  <a:gd name="connsiteX124" fmla="*/ 33486 w 198037"/>
                  <a:gd name="connsiteY124" fmla="*/ 114853 h 380771"/>
                  <a:gd name="connsiteX125" fmla="*/ 32577 w 198037"/>
                  <a:gd name="connsiteY125" fmla="*/ 115610 h 380771"/>
                  <a:gd name="connsiteX126" fmla="*/ 32123 w 198037"/>
                  <a:gd name="connsiteY126" fmla="*/ 116823 h 380771"/>
                  <a:gd name="connsiteX127" fmla="*/ 31819 w 198037"/>
                  <a:gd name="connsiteY127" fmla="*/ 120307 h 380771"/>
                  <a:gd name="connsiteX128" fmla="*/ 32274 w 198037"/>
                  <a:gd name="connsiteY128" fmla="*/ 126217 h 380771"/>
                  <a:gd name="connsiteX129" fmla="*/ 31819 w 198037"/>
                  <a:gd name="connsiteY129" fmla="*/ 128489 h 380771"/>
                  <a:gd name="connsiteX130" fmla="*/ 19698 w 198037"/>
                  <a:gd name="connsiteY130" fmla="*/ 147733 h 380771"/>
                  <a:gd name="connsiteX131" fmla="*/ 18789 w 198037"/>
                  <a:gd name="connsiteY131" fmla="*/ 153036 h 380771"/>
                  <a:gd name="connsiteX132" fmla="*/ 20153 w 198037"/>
                  <a:gd name="connsiteY132" fmla="*/ 156066 h 380771"/>
                  <a:gd name="connsiteX133" fmla="*/ 20759 w 198037"/>
                  <a:gd name="connsiteY133" fmla="*/ 159248 h 380771"/>
                  <a:gd name="connsiteX134" fmla="*/ 20607 w 198037"/>
                  <a:gd name="connsiteY134" fmla="*/ 162885 h 380771"/>
                  <a:gd name="connsiteX135" fmla="*/ 21516 w 198037"/>
                  <a:gd name="connsiteY135" fmla="*/ 172885 h 380771"/>
                  <a:gd name="connsiteX136" fmla="*/ 23334 w 198037"/>
                  <a:gd name="connsiteY136" fmla="*/ 178946 h 380771"/>
                  <a:gd name="connsiteX137" fmla="*/ 25304 w 198037"/>
                  <a:gd name="connsiteY137" fmla="*/ 182128 h 380771"/>
                  <a:gd name="connsiteX138" fmla="*/ 26819 w 198037"/>
                  <a:gd name="connsiteY138" fmla="*/ 185613 h 380771"/>
                  <a:gd name="connsiteX139" fmla="*/ 27122 w 198037"/>
                  <a:gd name="connsiteY139" fmla="*/ 189098 h 380771"/>
                  <a:gd name="connsiteX140" fmla="*/ 26819 w 198037"/>
                  <a:gd name="connsiteY140" fmla="*/ 193947 h 380771"/>
                  <a:gd name="connsiteX141" fmla="*/ 26971 w 198037"/>
                  <a:gd name="connsiteY141" fmla="*/ 195159 h 380771"/>
                  <a:gd name="connsiteX142" fmla="*/ 31062 w 198037"/>
                  <a:gd name="connsiteY142" fmla="*/ 201523 h 380771"/>
                  <a:gd name="connsiteX143" fmla="*/ 32729 w 198037"/>
                  <a:gd name="connsiteY143" fmla="*/ 205007 h 380771"/>
                  <a:gd name="connsiteX144" fmla="*/ 32880 w 198037"/>
                  <a:gd name="connsiteY144" fmla="*/ 208492 h 380771"/>
                  <a:gd name="connsiteX145" fmla="*/ 32274 w 198037"/>
                  <a:gd name="connsiteY145" fmla="*/ 211978 h 380771"/>
                  <a:gd name="connsiteX146" fmla="*/ 31517 w 198037"/>
                  <a:gd name="connsiteY146" fmla="*/ 218947 h 380771"/>
                  <a:gd name="connsiteX147" fmla="*/ 30910 w 198037"/>
                  <a:gd name="connsiteY147" fmla="*/ 222129 h 380771"/>
                  <a:gd name="connsiteX148" fmla="*/ 30001 w 198037"/>
                  <a:gd name="connsiteY148" fmla="*/ 225311 h 380771"/>
                  <a:gd name="connsiteX149" fmla="*/ 26971 w 198037"/>
                  <a:gd name="connsiteY149" fmla="*/ 231978 h 380771"/>
                  <a:gd name="connsiteX150" fmla="*/ 23637 w 198037"/>
                  <a:gd name="connsiteY150" fmla="*/ 236675 h 380771"/>
                  <a:gd name="connsiteX151" fmla="*/ 22122 w 198037"/>
                  <a:gd name="connsiteY151" fmla="*/ 239857 h 380771"/>
                  <a:gd name="connsiteX152" fmla="*/ 18031 w 198037"/>
                  <a:gd name="connsiteY152" fmla="*/ 245767 h 380771"/>
                  <a:gd name="connsiteX153" fmla="*/ 16516 w 198037"/>
                  <a:gd name="connsiteY153" fmla="*/ 251827 h 380771"/>
                  <a:gd name="connsiteX154" fmla="*/ 15001 w 198037"/>
                  <a:gd name="connsiteY154" fmla="*/ 254706 h 380771"/>
                  <a:gd name="connsiteX155" fmla="*/ 12425 w 198037"/>
                  <a:gd name="connsiteY155" fmla="*/ 256828 h 380771"/>
                  <a:gd name="connsiteX156" fmla="*/ 9091 w 198037"/>
                  <a:gd name="connsiteY156" fmla="*/ 257888 h 380771"/>
                  <a:gd name="connsiteX157" fmla="*/ 6819 w 198037"/>
                  <a:gd name="connsiteY157" fmla="*/ 259706 h 380771"/>
                  <a:gd name="connsiteX158" fmla="*/ 5000 w 198037"/>
                  <a:gd name="connsiteY158" fmla="*/ 268040 h 380771"/>
                  <a:gd name="connsiteX159" fmla="*/ 4243 w 198037"/>
                  <a:gd name="connsiteY159" fmla="*/ 269404 h 380771"/>
                  <a:gd name="connsiteX160" fmla="*/ 3182 w 198037"/>
                  <a:gd name="connsiteY160" fmla="*/ 270616 h 380771"/>
                  <a:gd name="connsiteX161" fmla="*/ 2424 w 198037"/>
                  <a:gd name="connsiteY161" fmla="*/ 272131 h 380771"/>
                  <a:gd name="connsiteX162" fmla="*/ 2122 w 198037"/>
                  <a:gd name="connsiteY162" fmla="*/ 273798 h 380771"/>
                  <a:gd name="connsiteX163" fmla="*/ 909 w 198037"/>
                  <a:gd name="connsiteY163" fmla="*/ 276071 h 380771"/>
                  <a:gd name="connsiteX164" fmla="*/ 303 w 198037"/>
                  <a:gd name="connsiteY164" fmla="*/ 279404 h 380771"/>
                  <a:gd name="connsiteX165" fmla="*/ 0 w 198037"/>
                  <a:gd name="connsiteY165" fmla="*/ 285919 h 380771"/>
                  <a:gd name="connsiteX166" fmla="*/ 152 w 198037"/>
                  <a:gd name="connsiteY166" fmla="*/ 288950 h 380771"/>
                  <a:gd name="connsiteX167" fmla="*/ 1970 w 198037"/>
                  <a:gd name="connsiteY167" fmla="*/ 297738 h 380771"/>
                  <a:gd name="connsiteX168" fmla="*/ 2728 w 198037"/>
                  <a:gd name="connsiteY168" fmla="*/ 300617 h 380771"/>
                  <a:gd name="connsiteX169" fmla="*/ 3788 w 198037"/>
                  <a:gd name="connsiteY169" fmla="*/ 303344 h 380771"/>
                  <a:gd name="connsiteX170" fmla="*/ 8485 w 198037"/>
                  <a:gd name="connsiteY170" fmla="*/ 308951 h 380771"/>
                  <a:gd name="connsiteX171" fmla="*/ 9698 w 198037"/>
                  <a:gd name="connsiteY171" fmla="*/ 311981 h 380771"/>
                  <a:gd name="connsiteX172" fmla="*/ 10304 w 198037"/>
                  <a:gd name="connsiteY172" fmla="*/ 315315 h 380771"/>
                  <a:gd name="connsiteX173" fmla="*/ 11970 w 198037"/>
                  <a:gd name="connsiteY173" fmla="*/ 318648 h 380771"/>
                  <a:gd name="connsiteX174" fmla="*/ 12576 w 198037"/>
                  <a:gd name="connsiteY174" fmla="*/ 321830 h 380771"/>
                  <a:gd name="connsiteX175" fmla="*/ 11061 w 198037"/>
                  <a:gd name="connsiteY175" fmla="*/ 324709 h 380771"/>
                  <a:gd name="connsiteX176" fmla="*/ 10607 w 198037"/>
                  <a:gd name="connsiteY176" fmla="*/ 327891 h 380771"/>
                  <a:gd name="connsiteX177" fmla="*/ 11061 w 198037"/>
                  <a:gd name="connsiteY177" fmla="*/ 334709 h 380771"/>
                  <a:gd name="connsiteX178" fmla="*/ 10910 w 198037"/>
                  <a:gd name="connsiteY178" fmla="*/ 338497 h 380771"/>
                  <a:gd name="connsiteX179" fmla="*/ 11213 w 198037"/>
                  <a:gd name="connsiteY179" fmla="*/ 343952 h 380771"/>
                  <a:gd name="connsiteX180" fmla="*/ 11667 w 198037"/>
                  <a:gd name="connsiteY180" fmla="*/ 345619 h 380771"/>
                  <a:gd name="connsiteX181" fmla="*/ 16213 w 198037"/>
                  <a:gd name="connsiteY181" fmla="*/ 350770 h 380771"/>
                  <a:gd name="connsiteX182" fmla="*/ 17728 w 198037"/>
                  <a:gd name="connsiteY182" fmla="*/ 353801 h 380771"/>
                  <a:gd name="connsiteX183" fmla="*/ 18637 w 198037"/>
                  <a:gd name="connsiteY183" fmla="*/ 358043 h 380771"/>
                  <a:gd name="connsiteX184" fmla="*/ 19849 w 198037"/>
                  <a:gd name="connsiteY184" fmla="*/ 360316 h 380771"/>
                  <a:gd name="connsiteX185" fmla="*/ 20304 w 198037"/>
                  <a:gd name="connsiteY185" fmla="*/ 362286 h 380771"/>
                  <a:gd name="connsiteX186" fmla="*/ 21062 w 198037"/>
                  <a:gd name="connsiteY186" fmla="*/ 364104 h 380771"/>
                  <a:gd name="connsiteX187" fmla="*/ 22274 w 198037"/>
                  <a:gd name="connsiteY187" fmla="*/ 365013 h 380771"/>
                  <a:gd name="connsiteX188" fmla="*/ 27122 w 198037"/>
                  <a:gd name="connsiteY188" fmla="*/ 367741 h 380771"/>
                  <a:gd name="connsiteX189" fmla="*/ 29547 w 198037"/>
                  <a:gd name="connsiteY189" fmla="*/ 370923 h 380771"/>
                  <a:gd name="connsiteX190" fmla="*/ 31213 w 198037"/>
                  <a:gd name="connsiteY190" fmla="*/ 371680 h 380771"/>
                  <a:gd name="connsiteX191" fmla="*/ 33032 w 198037"/>
                  <a:gd name="connsiteY191" fmla="*/ 372135 h 380771"/>
                  <a:gd name="connsiteX192" fmla="*/ 39093 w 198037"/>
                  <a:gd name="connsiteY192" fmla="*/ 372892 h 380771"/>
                  <a:gd name="connsiteX193" fmla="*/ 42274 w 198037"/>
                  <a:gd name="connsiteY193" fmla="*/ 373953 h 380771"/>
                  <a:gd name="connsiteX194" fmla="*/ 50608 w 198037"/>
                  <a:gd name="connsiteY194" fmla="*/ 380014 h 380771"/>
                  <a:gd name="connsiteX195" fmla="*/ 53032 w 198037"/>
                  <a:gd name="connsiteY195" fmla="*/ 380772 h 380771"/>
                  <a:gd name="connsiteX196" fmla="*/ 61366 w 198037"/>
                  <a:gd name="connsiteY196" fmla="*/ 380620 h 380771"/>
                  <a:gd name="connsiteX197" fmla="*/ 63942 w 198037"/>
                  <a:gd name="connsiteY197" fmla="*/ 379559 h 380771"/>
                  <a:gd name="connsiteX198" fmla="*/ 66366 w 198037"/>
                  <a:gd name="connsiteY198" fmla="*/ 377741 h 380771"/>
                  <a:gd name="connsiteX199" fmla="*/ 72579 w 198037"/>
                  <a:gd name="connsiteY199" fmla="*/ 374105 h 380771"/>
                  <a:gd name="connsiteX200" fmla="*/ 79094 w 198037"/>
                  <a:gd name="connsiteY200" fmla="*/ 370923 h 380771"/>
                  <a:gd name="connsiteX201" fmla="*/ 85306 w 198037"/>
                  <a:gd name="connsiteY201" fmla="*/ 369256 h 380771"/>
                  <a:gd name="connsiteX202" fmla="*/ 91822 w 198037"/>
                  <a:gd name="connsiteY202" fmla="*/ 369256 h 380771"/>
                  <a:gd name="connsiteX203" fmla="*/ 94700 w 198037"/>
                  <a:gd name="connsiteY203" fmla="*/ 368650 h 380771"/>
                  <a:gd name="connsiteX204" fmla="*/ 100458 w 198037"/>
                  <a:gd name="connsiteY204" fmla="*/ 365771 h 380771"/>
                  <a:gd name="connsiteX205" fmla="*/ 103034 w 198037"/>
                  <a:gd name="connsiteY205" fmla="*/ 363801 h 380771"/>
                  <a:gd name="connsiteX206" fmla="*/ 106974 w 198037"/>
                  <a:gd name="connsiteY206" fmla="*/ 358195 h 380771"/>
                  <a:gd name="connsiteX207" fmla="*/ 109550 w 198037"/>
                  <a:gd name="connsiteY207" fmla="*/ 351680 h 380771"/>
                  <a:gd name="connsiteX208" fmla="*/ 110610 w 198037"/>
                  <a:gd name="connsiteY208" fmla="*/ 348194 h 380771"/>
                  <a:gd name="connsiteX209" fmla="*/ 111217 w 198037"/>
                  <a:gd name="connsiteY209" fmla="*/ 344558 h 380771"/>
                  <a:gd name="connsiteX210" fmla="*/ 112277 w 198037"/>
                  <a:gd name="connsiteY210" fmla="*/ 341679 h 380771"/>
                  <a:gd name="connsiteX211" fmla="*/ 113792 w 198037"/>
                  <a:gd name="connsiteY211" fmla="*/ 338952 h 380771"/>
                  <a:gd name="connsiteX212" fmla="*/ 117429 w 198037"/>
                  <a:gd name="connsiteY212" fmla="*/ 331679 h 380771"/>
                  <a:gd name="connsiteX213" fmla="*/ 118338 w 198037"/>
                  <a:gd name="connsiteY213" fmla="*/ 328345 h 380771"/>
                  <a:gd name="connsiteX214" fmla="*/ 118793 w 198037"/>
                  <a:gd name="connsiteY214" fmla="*/ 324860 h 380771"/>
                  <a:gd name="connsiteX215" fmla="*/ 122429 w 198037"/>
                  <a:gd name="connsiteY215" fmla="*/ 313345 h 380771"/>
                  <a:gd name="connsiteX216" fmla="*/ 124247 w 198037"/>
                  <a:gd name="connsiteY216" fmla="*/ 306375 h 380771"/>
                  <a:gd name="connsiteX217" fmla="*/ 125763 w 198037"/>
                  <a:gd name="connsiteY217" fmla="*/ 299405 h 380771"/>
                  <a:gd name="connsiteX218" fmla="*/ 127126 w 198037"/>
                  <a:gd name="connsiteY218" fmla="*/ 291374 h 380771"/>
                  <a:gd name="connsiteX219" fmla="*/ 127884 w 198037"/>
                  <a:gd name="connsiteY219" fmla="*/ 289253 h 380771"/>
                  <a:gd name="connsiteX220" fmla="*/ 134551 w 198037"/>
                  <a:gd name="connsiteY220" fmla="*/ 273495 h 380771"/>
                  <a:gd name="connsiteX221" fmla="*/ 139399 w 198037"/>
                  <a:gd name="connsiteY221" fmla="*/ 259403 h 380771"/>
                  <a:gd name="connsiteX222" fmla="*/ 142581 w 198037"/>
                  <a:gd name="connsiteY222" fmla="*/ 246676 h 380771"/>
                  <a:gd name="connsiteX223" fmla="*/ 146369 w 198037"/>
                  <a:gd name="connsiteY223" fmla="*/ 234099 h 380771"/>
                  <a:gd name="connsiteX224" fmla="*/ 149097 w 198037"/>
                  <a:gd name="connsiteY224" fmla="*/ 226978 h 380771"/>
                  <a:gd name="connsiteX225" fmla="*/ 151521 w 198037"/>
                  <a:gd name="connsiteY225" fmla="*/ 219856 h 380771"/>
                  <a:gd name="connsiteX226" fmla="*/ 154854 w 198037"/>
                  <a:gd name="connsiteY226" fmla="*/ 207886 h 380771"/>
                  <a:gd name="connsiteX227" fmla="*/ 158794 w 198037"/>
                  <a:gd name="connsiteY227" fmla="*/ 196219 h 380771"/>
                  <a:gd name="connsiteX228" fmla="*/ 162734 w 198037"/>
                  <a:gd name="connsiteY228" fmla="*/ 186976 h 380771"/>
                  <a:gd name="connsiteX229" fmla="*/ 165309 w 198037"/>
                  <a:gd name="connsiteY229" fmla="*/ 180007 h 380771"/>
                  <a:gd name="connsiteX230" fmla="*/ 167127 w 198037"/>
                  <a:gd name="connsiteY230" fmla="*/ 174097 h 380771"/>
                  <a:gd name="connsiteX231" fmla="*/ 170310 w 198037"/>
                  <a:gd name="connsiteY231" fmla="*/ 161824 h 380771"/>
                  <a:gd name="connsiteX232" fmla="*/ 170764 w 198037"/>
                  <a:gd name="connsiteY232" fmla="*/ 155460 h 380771"/>
                  <a:gd name="connsiteX233" fmla="*/ 169249 w 198037"/>
                  <a:gd name="connsiteY233" fmla="*/ 146369 h 380771"/>
                  <a:gd name="connsiteX234" fmla="*/ 169552 w 198037"/>
                  <a:gd name="connsiteY234" fmla="*/ 143339 h 380771"/>
                  <a:gd name="connsiteX235" fmla="*/ 171976 w 198037"/>
                  <a:gd name="connsiteY235" fmla="*/ 137581 h 380771"/>
                  <a:gd name="connsiteX236" fmla="*/ 173491 w 198037"/>
                  <a:gd name="connsiteY236" fmla="*/ 134702 h 380771"/>
                  <a:gd name="connsiteX237" fmla="*/ 174703 w 198037"/>
                  <a:gd name="connsiteY237" fmla="*/ 133641 h 380771"/>
                  <a:gd name="connsiteX238" fmla="*/ 177582 w 198037"/>
                  <a:gd name="connsiteY238" fmla="*/ 132429 h 380771"/>
                  <a:gd name="connsiteX239" fmla="*/ 178340 w 198037"/>
                  <a:gd name="connsiteY239" fmla="*/ 131520 h 380771"/>
                  <a:gd name="connsiteX240" fmla="*/ 177582 w 198037"/>
                  <a:gd name="connsiteY240" fmla="*/ 130005 h 380771"/>
                  <a:gd name="connsiteX241" fmla="*/ 177431 w 198037"/>
                  <a:gd name="connsiteY241" fmla="*/ 128489 h 380771"/>
                  <a:gd name="connsiteX242" fmla="*/ 179552 w 198037"/>
                  <a:gd name="connsiteY242" fmla="*/ 125762 h 380771"/>
                  <a:gd name="connsiteX243" fmla="*/ 180310 w 198037"/>
                  <a:gd name="connsiteY243" fmla="*/ 122580 h 380771"/>
                  <a:gd name="connsiteX244" fmla="*/ 180158 w 198037"/>
                  <a:gd name="connsiteY244" fmla="*/ 116065 h 380771"/>
                  <a:gd name="connsiteX245" fmla="*/ 178946 w 198037"/>
                  <a:gd name="connsiteY245" fmla="*/ 113337 h 380771"/>
                  <a:gd name="connsiteX246" fmla="*/ 177734 w 198037"/>
                  <a:gd name="connsiteY246" fmla="*/ 112277 h 380771"/>
                  <a:gd name="connsiteX247" fmla="*/ 176977 w 198037"/>
                  <a:gd name="connsiteY247" fmla="*/ 111065 h 380771"/>
                  <a:gd name="connsiteX248" fmla="*/ 176977 w 198037"/>
                  <a:gd name="connsiteY248" fmla="*/ 106974 h 380771"/>
                  <a:gd name="connsiteX249" fmla="*/ 176673 w 198037"/>
                  <a:gd name="connsiteY249" fmla="*/ 103640 h 380771"/>
                  <a:gd name="connsiteX250" fmla="*/ 175916 w 198037"/>
                  <a:gd name="connsiteY250" fmla="*/ 100458 h 380771"/>
                  <a:gd name="connsiteX251" fmla="*/ 175461 w 198037"/>
                  <a:gd name="connsiteY251" fmla="*/ 96822 h 380771"/>
                  <a:gd name="connsiteX252" fmla="*/ 175916 w 198037"/>
                  <a:gd name="connsiteY252" fmla="*/ 95610 h 380771"/>
                  <a:gd name="connsiteX253" fmla="*/ 178037 w 198037"/>
                  <a:gd name="connsiteY253" fmla="*/ 93640 h 380771"/>
                  <a:gd name="connsiteX254" fmla="*/ 181068 w 198037"/>
                  <a:gd name="connsiteY254" fmla="*/ 93337 h 380771"/>
                  <a:gd name="connsiteX255" fmla="*/ 182128 w 198037"/>
                  <a:gd name="connsiteY255" fmla="*/ 93791 h 380771"/>
                  <a:gd name="connsiteX256" fmla="*/ 183037 w 198037"/>
                  <a:gd name="connsiteY256" fmla="*/ 96973 h 380771"/>
                  <a:gd name="connsiteX257" fmla="*/ 185613 w 198037"/>
                  <a:gd name="connsiteY257" fmla="*/ 103337 h 380771"/>
                  <a:gd name="connsiteX258" fmla="*/ 187583 w 198037"/>
                  <a:gd name="connsiteY258" fmla="*/ 106064 h 380771"/>
                  <a:gd name="connsiteX259" fmla="*/ 190007 w 198037"/>
                  <a:gd name="connsiteY259" fmla="*/ 107731 h 380771"/>
                  <a:gd name="connsiteX260" fmla="*/ 190613 w 198037"/>
                  <a:gd name="connsiteY260" fmla="*/ 107731 h 380771"/>
                  <a:gd name="connsiteX261" fmla="*/ 192129 w 198037"/>
                  <a:gd name="connsiteY261" fmla="*/ 106064 h 380771"/>
                  <a:gd name="connsiteX262" fmla="*/ 192886 w 198037"/>
                  <a:gd name="connsiteY262" fmla="*/ 104852 h 380771"/>
                  <a:gd name="connsiteX263" fmla="*/ 195917 w 198037"/>
                  <a:gd name="connsiteY263" fmla="*/ 98488 h 380771"/>
                  <a:gd name="connsiteX264" fmla="*/ 198038 w 198037"/>
                  <a:gd name="connsiteY264" fmla="*/ 91670 h 380771"/>
                  <a:gd name="connsiteX265" fmla="*/ 196826 w 198037"/>
                  <a:gd name="connsiteY265" fmla="*/ 85003 h 380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98037" h="380771">
                    <a:moveTo>
                      <a:pt x="180916" y="134702"/>
                    </a:moveTo>
                    <a:lnTo>
                      <a:pt x="180007" y="138944"/>
                    </a:lnTo>
                    <a:lnTo>
                      <a:pt x="183037" y="133793"/>
                    </a:lnTo>
                    <a:lnTo>
                      <a:pt x="185462" y="128035"/>
                    </a:lnTo>
                    <a:lnTo>
                      <a:pt x="184401" y="128489"/>
                    </a:lnTo>
                    <a:lnTo>
                      <a:pt x="180916" y="134702"/>
                    </a:lnTo>
                    <a:close/>
                    <a:moveTo>
                      <a:pt x="139551" y="36517"/>
                    </a:moveTo>
                    <a:lnTo>
                      <a:pt x="139551" y="35456"/>
                    </a:lnTo>
                    <a:lnTo>
                      <a:pt x="139854" y="33941"/>
                    </a:lnTo>
                    <a:lnTo>
                      <a:pt x="138642" y="30910"/>
                    </a:lnTo>
                    <a:lnTo>
                      <a:pt x="137581" y="31062"/>
                    </a:lnTo>
                    <a:lnTo>
                      <a:pt x="137127" y="32425"/>
                    </a:lnTo>
                    <a:lnTo>
                      <a:pt x="135308" y="32577"/>
                    </a:lnTo>
                    <a:lnTo>
                      <a:pt x="135914" y="36062"/>
                    </a:lnTo>
                    <a:lnTo>
                      <a:pt x="139551" y="36517"/>
                    </a:lnTo>
                    <a:close/>
                    <a:moveTo>
                      <a:pt x="196826" y="85003"/>
                    </a:moveTo>
                    <a:lnTo>
                      <a:pt x="193341" y="79094"/>
                    </a:lnTo>
                    <a:lnTo>
                      <a:pt x="191220" y="73336"/>
                    </a:lnTo>
                    <a:lnTo>
                      <a:pt x="190310" y="67275"/>
                    </a:lnTo>
                    <a:lnTo>
                      <a:pt x="189401" y="54093"/>
                    </a:lnTo>
                    <a:lnTo>
                      <a:pt x="186674" y="41214"/>
                    </a:lnTo>
                    <a:lnTo>
                      <a:pt x="183795" y="32729"/>
                    </a:lnTo>
                    <a:lnTo>
                      <a:pt x="183037" y="27274"/>
                    </a:lnTo>
                    <a:lnTo>
                      <a:pt x="181370" y="24546"/>
                    </a:lnTo>
                    <a:lnTo>
                      <a:pt x="179401" y="21970"/>
                    </a:lnTo>
                    <a:lnTo>
                      <a:pt x="174855" y="15304"/>
                    </a:lnTo>
                    <a:lnTo>
                      <a:pt x="173340" y="12576"/>
                    </a:lnTo>
                    <a:lnTo>
                      <a:pt x="172128" y="9697"/>
                    </a:lnTo>
                    <a:lnTo>
                      <a:pt x="170461" y="7425"/>
                    </a:lnTo>
                    <a:lnTo>
                      <a:pt x="167279" y="4394"/>
                    </a:lnTo>
                    <a:lnTo>
                      <a:pt x="166370" y="3030"/>
                    </a:lnTo>
                    <a:lnTo>
                      <a:pt x="165915" y="1212"/>
                    </a:lnTo>
                    <a:lnTo>
                      <a:pt x="164552" y="0"/>
                    </a:lnTo>
                    <a:lnTo>
                      <a:pt x="163037" y="0"/>
                    </a:lnTo>
                    <a:lnTo>
                      <a:pt x="158339" y="6516"/>
                    </a:lnTo>
                    <a:lnTo>
                      <a:pt x="155460" y="9849"/>
                    </a:lnTo>
                    <a:lnTo>
                      <a:pt x="154551" y="10455"/>
                    </a:lnTo>
                    <a:lnTo>
                      <a:pt x="151975" y="10000"/>
                    </a:lnTo>
                    <a:lnTo>
                      <a:pt x="151521" y="10910"/>
                    </a:lnTo>
                    <a:lnTo>
                      <a:pt x="153339" y="14698"/>
                    </a:lnTo>
                    <a:lnTo>
                      <a:pt x="154400" y="17728"/>
                    </a:lnTo>
                    <a:lnTo>
                      <a:pt x="155158" y="20910"/>
                    </a:lnTo>
                    <a:lnTo>
                      <a:pt x="154854" y="23637"/>
                    </a:lnTo>
                    <a:lnTo>
                      <a:pt x="151672" y="32880"/>
                    </a:lnTo>
                    <a:lnTo>
                      <a:pt x="146824" y="37274"/>
                    </a:lnTo>
                    <a:lnTo>
                      <a:pt x="143642" y="38486"/>
                    </a:lnTo>
                    <a:lnTo>
                      <a:pt x="140915" y="40456"/>
                    </a:lnTo>
                    <a:lnTo>
                      <a:pt x="139096" y="43183"/>
                    </a:lnTo>
                    <a:lnTo>
                      <a:pt x="136823" y="45456"/>
                    </a:lnTo>
                    <a:lnTo>
                      <a:pt x="135005" y="45153"/>
                    </a:lnTo>
                    <a:lnTo>
                      <a:pt x="132278" y="42880"/>
                    </a:lnTo>
                    <a:lnTo>
                      <a:pt x="131066" y="42123"/>
                    </a:lnTo>
                    <a:lnTo>
                      <a:pt x="129551" y="42577"/>
                    </a:lnTo>
                    <a:lnTo>
                      <a:pt x="128490" y="43941"/>
                    </a:lnTo>
                    <a:lnTo>
                      <a:pt x="127278" y="45759"/>
                    </a:lnTo>
                    <a:lnTo>
                      <a:pt x="126974" y="47881"/>
                    </a:lnTo>
                    <a:lnTo>
                      <a:pt x="127429" y="49244"/>
                    </a:lnTo>
                    <a:lnTo>
                      <a:pt x="130005" y="52123"/>
                    </a:lnTo>
                    <a:lnTo>
                      <a:pt x="129702" y="52729"/>
                    </a:lnTo>
                    <a:lnTo>
                      <a:pt x="128944" y="53335"/>
                    </a:lnTo>
                    <a:lnTo>
                      <a:pt x="128944" y="55154"/>
                    </a:lnTo>
                    <a:lnTo>
                      <a:pt x="123944" y="63487"/>
                    </a:lnTo>
                    <a:lnTo>
                      <a:pt x="125005" y="68336"/>
                    </a:lnTo>
                    <a:lnTo>
                      <a:pt x="129247" y="71821"/>
                    </a:lnTo>
                    <a:lnTo>
                      <a:pt x="126672" y="71063"/>
                    </a:lnTo>
                    <a:lnTo>
                      <a:pt x="124096" y="70760"/>
                    </a:lnTo>
                    <a:lnTo>
                      <a:pt x="122581" y="71972"/>
                    </a:lnTo>
                    <a:lnTo>
                      <a:pt x="121368" y="73790"/>
                    </a:lnTo>
                    <a:lnTo>
                      <a:pt x="119247" y="77124"/>
                    </a:lnTo>
                    <a:lnTo>
                      <a:pt x="117429" y="80609"/>
                    </a:lnTo>
                    <a:lnTo>
                      <a:pt x="116217" y="81064"/>
                    </a:lnTo>
                    <a:lnTo>
                      <a:pt x="114853" y="80609"/>
                    </a:lnTo>
                    <a:lnTo>
                      <a:pt x="115156" y="78639"/>
                    </a:lnTo>
                    <a:lnTo>
                      <a:pt x="116065" y="77124"/>
                    </a:lnTo>
                    <a:lnTo>
                      <a:pt x="116671" y="75609"/>
                    </a:lnTo>
                    <a:lnTo>
                      <a:pt x="116368" y="74094"/>
                    </a:lnTo>
                    <a:lnTo>
                      <a:pt x="115762" y="72730"/>
                    </a:lnTo>
                    <a:lnTo>
                      <a:pt x="115005" y="72427"/>
                    </a:lnTo>
                    <a:lnTo>
                      <a:pt x="112580" y="74245"/>
                    </a:lnTo>
                    <a:lnTo>
                      <a:pt x="111671" y="75760"/>
                    </a:lnTo>
                    <a:lnTo>
                      <a:pt x="110610" y="79094"/>
                    </a:lnTo>
                    <a:lnTo>
                      <a:pt x="108338" y="81973"/>
                    </a:lnTo>
                    <a:lnTo>
                      <a:pt x="105307" y="85003"/>
                    </a:lnTo>
                    <a:lnTo>
                      <a:pt x="105307" y="86215"/>
                    </a:lnTo>
                    <a:lnTo>
                      <a:pt x="105610" y="87579"/>
                    </a:lnTo>
                    <a:lnTo>
                      <a:pt x="106368" y="89246"/>
                    </a:lnTo>
                    <a:lnTo>
                      <a:pt x="106368" y="90912"/>
                    </a:lnTo>
                    <a:lnTo>
                      <a:pt x="105459" y="92882"/>
                    </a:lnTo>
                    <a:lnTo>
                      <a:pt x="104398" y="93488"/>
                    </a:lnTo>
                    <a:lnTo>
                      <a:pt x="103489" y="93337"/>
                    </a:lnTo>
                    <a:lnTo>
                      <a:pt x="103641" y="92579"/>
                    </a:lnTo>
                    <a:lnTo>
                      <a:pt x="102580" y="87579"/>
                    </a:lnTo>
                    <a:lnTo>
                      <a:pt x="101216" y="86973"/>
                    </a:lnTo>
                    <a:lnTo>
                      <a:pt x="99549" y="87276"/>
                    </a:lnTo>
                    <a:lnTo>
                      <a:pt x="93943" y="91518"/>
                    </a:lnTo>
                    <a:lnTo>
                      <a:pt x="88489" y="95155"/>
                    </a:lnTo>
                    <a:lnTo>
                      <a:pt x="86064" y="97579"/>
                    </a:lnTo>
                    <a:lnTo>
                      <a:pt x="84549" y="100761"/>
                    </a:lnTo>
                    <a:lnTo>
                      <a:pt x="84397" y="102276"/>
                    </a:lnTo>
                    <a:lnTo>
                      <a:pt x="84852" y="103640"/>
                    </a:lnTo>
                    <a:lnTo>
                      <a:pt x="87579" y="105913"/>
                    </a:lnTo>
                    <a:lnTo>
                      <a:pt x="86367" y="106670"/>
                    </a:lnTo>
                    <a:lnTo>
                      <a:pt x="85003" y="106519"/>
                    </a:lnTo>
                    <a:lnTo>
                      <a:pt x="83943" y="106064"/>
                    </a:lnTo>
                    <a:lnTo>
                      <a:pt x="80609" y="101670"/>
                    </a:lnTo>
                    <a:lnTo>
                      <a:pt x="79700" y="101367"/>
                    </a:lnTo>
                    <a:lnTo>
                      <a:pt x="75458" y="102580"/>
                    </a:lnTo>
                    <a:lnTo>
                      <a:pt x="72276" y="103034"/>
                    </a:lnTo>
                    <a:lnTo>
                      <a:pt x="67124" y="103489"/>
                    </a:lnTo>
                    <a:lnTo>
                      <a:pt x="66063" y="104246"/>
                    </a:lnTo>
                    <a:lnTo>
                      <a:pt x="65457" y="105458"/>
                    </a:lnTo>
                    <a:lnTo>
                      <a:pt x="65003" y="107277"/>
                    </a:lnTo>
                    <a:lnTo>
                      <a:pt x="64245" y="108640"/>
                    </a:lnTo>
                    <a:lnTo>
                      <a:pt x="62730" y="108337"/>
                    </a:lnTo>
                    <a:lnTo>
                      <a:pt x="61215" y="108337"/>
                    </a:lnTo>
                    <a:lnTo>
                      <a:pt x="57275" y="109701"/>
                    </a:lnTo>
                    <a:lnTo>
                      <a:pt x="56215" y="108943"/>
                    </a:lnTo>
                    <a:lnTo>
                      <a:pt x="55305" y="107580"/>
                    </a:lnTo>
                    <a:lnTo>
                      <a:pt x="53941" y="107277"/>
                    </a:lnTo>
                    <a:lnTo>
                      <a:pt x="52427" y="108186"/>
                    </a:lnTo>
                    <a:lnTo>
                      <a:pt x="49093" y="111368"/>
                    </a:lnTo>
                    <a:lnTo>
                      <a:pt x="46669" y="113035"/>
                    </a:lnTo>
                    <a:lnTo>
                      <a:pt x="45456" y="113641"/>
                    </a:lnTo>
                    <a:lnTo>
                      <a:pt x="35607" y="114550"/>
                    </a:lnTo>
                    <a:lnTo>
                      <a:pt x="33486" y="114853"/>
                    </a:lnTo>
                    <a:lnTo>
                      <a:pt x="32577" y="115610"/>
                    </a:lnTo>
                    <a:lnTo>
                      <a:pt x="32123" y="116823"/>
                    </a:lnTo>
                    <a:lnTo>
                      <a:pt x="31819" y="120307"/>
                    </a:lnTo>
                    <a:lnTo>
                      <a:pt x="32274" y="126217"/>
                    </a:lnTo>
                    <a:lnTo>
                      <a:pt x="31819" y="128489"/>
                    </a:lnTo>
                    <a:lnTo>
                      <a:pt x="19698" y="147733"/>
                    </a:lnTo>
                    <a:lnTo>
                      <a:pt x="18789" y="153036"/>
                    </a:lnTo>
                    <a:lnTo>
                      <a:pt x="20153" y="156066"/>
                    </a:lnTo>
                    <a:lnTo>
                      <a:pt x="20759" y="159248"/>
                    </a:lnTo>
                    <a:lnTo>
                      <a:pt x="20607" y="162885"/>
                    </a:lnTo>
                    <a:lnTo>
                      <a:pt x="21516" y="172885"/>
                    </a:lnTo>
                    <a:lnTo>
                      <a:pt x="23334" y="178946"/>
                    </a:lnTo>
                    <a:lnTo>
                      <a:pt x="25304" y="182128"/>
                    </a:lnTo>
                    <a:lnTo>
                      <a:pt x="26819" y="185613"/>
                    </a:lnTo>
                    <a:lnTo>
                      <a:pt x="27122" y="189098"/>
                    </a:lnTo>
                    <a:lnTo>
                      <a:pt x="26819" y="193947"/>
                    </a:lnTo>
                    <a:lnTo>
                      <a:pt x="26971" y="195159"/>
                    </a:lnTo>
                    <a:lnTo>
                      <a:pt x="31062" y="201523"/>
                    </a:lnTo>
                    <a:lnTo>
                      <a:pt x="32729" y="205007"/>
                    </a:lnTo>
                    <a:lnTo>
                      <a:pt x="32880" y="208492"/>
                    </a:lnTo>
                    <a:lnTo>
                      <a:pt x="32274" y="211978"/>
                    </a:lnTo>
                    <a:lnTo>
                      <a:pt x="31517" y="218947"/>
                    </a:lnTo>
                    <a:lnTo>
                      <a:pt x="30910" y="222129"/>
                    </a:lnTo>
                    <a:lnTo>
                      <a:pt x="30001" y="225311"/>
                    </a:lnTo>
                    <a:lnTo>
                      <a:pt x="26971" y="231978"/>
                    </a:lnTo>
                    <a:lnTo>
                      <a:pt x="23637" y="236675"/>
                    </a:lnTo>
                    <a:lnTo>
                      <a:pt x="22122" y="239857"/>
                    </a:lnTo>
                    <a:lnTo>
                      <a:pt x="18031" y="245767"/>
                    </a:lnTo>
                    <a:lnTo>
                      <a:pt x="16516" y="251827"/>
                    </a:lnTo>
                    <a:lnTo>
                      <a:pt x="15001" y="254706"/>
                    </a:lnTo>
                    <a:lnTo>
                      <a:pt x="12425" y="256828"/>
                    </a:lnTo>
                    <a:lnTo>
                      <a:pt x="9091" y="257888"/>
                    </a:lnTo>
                    <a:lnTo>
                      <a:pt x="6819" y="259706"/>
                    </a:lnTo>
                    <a:lnTo>
                      <a:pt x="5000" y="268040"/>
                    </a:lnTo>
                    <a:lnTo>
                      <a:pt x="4243" y="269404"/>
                    </a:lnTo>
                    <a:lnTo>
                      <a:pt x="3182" y="270616"/>
                    </a:lnTo>
                    <a:lnTo>
                      <a:pt x="2424" y="272131"/>
                    </a:lnTo>
                    <a:lnTo>
                      <a:pt x="2122" y="273798"/>
                    </a:lnTo>
                    <a:lnTo>
                      <a:pt x="909" y="276071"/>
                    </a:lnTo>
                    <a:lnTo>
                      <a:pt x="303" y="279404"/>
                    </a:lnTo>
                    <a:lnTo>
                      <a:pt x="0" y="285919"/>
                    </a:lnTo>
                    <a:lnTo>
                      <a:pt x="152" y="288950"/>
                    </a:lnTo>
                    <a:lnTo>
                      <a:pt x="1970" y="297738"/>
                    </a:lnTo>
                    <a:lnTo>
                      <a:pt x="2728" y="300617"/>
                    </a:lnTo>
                    <a:lnTo>
                      <a:pt x="3788" y="303344"/>
                    </a:lnTo>
                    <a:lnTo>
                      <a:pt x="8485" y="308951"/>
                    </a:lnTo>
                    <a:lnTo>
                      <a:pt x="9698" y="311981"/>
                    </a:lnTo>
                    <a:lnTo>
                      <a:pt x="10304" y="315315"/>
                    </a:lnTo>
                    <a:lnTo>
                      <a:pt x="11970" y="318648"/>
                    </a:lnTo>
                    <a:lnTo>
                      <a:pt x="12576" y="321830"/>
                    </a:lnTo>
                    <a:lnTo>
                      <a:pt x="11061" y="324709"/>
                    </a:lnTo>
                    <a:lnTo>
                      <a:pt x="10607" y="327891"/>
                    </a:lnTo>
                    <a:lnTo>
                      <a:pt x="11061" y="334709"/>
                    </a:lnTo>
                    <a:lnTo>
                      <a:pt x="10910" y="338497"/>
                    </a:lnTo>
                    <a:lnTo>
                      <a:pt x="11213" y="343952"/>
                    </a:lnTo>
                    <a:lnTo>
                      <a:pt x="11667" y="345619"/>
                    </a:lnTo>
                    <a:lnTo>
                      <a:pt x="16213" y="350770"/>
                    </a:lnTo>
                    <a:lnTo>
                      <a:pt x="17728" y="353801"/>
                    </a:lnTo>
                    <a:lnTo>
                      <a:pt x="18637" y="358043"/>
                    </a:lnTo>
                    <a:lnTo>
                      <a:pt x="19849" y="360316"/>
                    </a:lnTo>
                    <a:lnTo>
                      <a:pt x="20304" y="362286"/>
                    </a:lnTo>
                    <a:lnTo>
                      <a:pt x="21062" y="364104"/>
                    </a:lnTo>
                    <a:lnTo>
                      <a:pt x="22274" y="365013"/>
                    </a:lnTo>
                    <a:lnTo>
                      <a:pt x="27122" y="367741"/>
                    </a:lnTo>
                    <a:lnTo>
                      <a:pt x="29547" y="370923"/>
                    </a:lnTo>
                    <a:lnTo>
                      <a:pt x="31213" y="371680"/>
                    </a:lnTo>
                    <a:lnTo>
                      <a:pt x="33032" y="372135"/>
                    </a:lnTo>
                    <a:lnTo>
                      <a:pt x="39093" y="372892"/>
                    </a:lnTo>
                    <a:lnTo>
                      <a:pt x="42274" y="373953"/>
                    </a:lnTo>
                    <a:lnTo>
                      <a:pt x="50608" y="380014"/>
                    </a:lnTo>
                    <a:lnTo>
                      <a:pt x="53032" y="380772"/>
                    </a:lnTo>
                    <a:lnTo>
                      <a:pt x="61366" y="380620"/>
                    </a:lnTo>
                    <a:lnTo>
                      <a:pt x="63942" y="379559"/>
                    </a:lnTo>
                    <a:lnTo>
                      <a:pt x="66366" y="377741"/>
                    </a:lnTo>
                    <a:lnTo>
                      <a:pt x="72579" y="374105"/>
                    </a:lnTo>
                    <a:lnTo>
                      <a:pt x="79094" y="370923"/>
                    </a:lnTo>
                    <a:lnTo>
                      <a:pt x="85306" y="369256"/>
                    </a:lnTo>
                    <a:lnTo>
                      <a:pt x="91822" y="369256"/>
                    </a:lnTo>
                    <a:lnTo>
                      <a:pt x="94700" y="368650"/>
                    </a:lnTo>
                    <a:lnTo>
                      <a:pt x="100458" y="365771"/>
                    </a:lnTo>
                    <a:lnTo>
                      <a:pt x="103034" y="363801"/>
                    </a:lnTo>
                    <a:lnTo>
                      <a:pt x="106974" y="358195"/>
                    </a:lnTo>
                    <a:lnTo>
                      <a:pt x="109550" y="351680"/>
                    </a:lnTo>
                    <a:lnTo>
                      <a:pt x="110610" y="348194"/>
                    </a:lnTo>
                    <a:lnTo>
                      <a:pt x="111217" y="344558"/>
                    </a:lnTo>
                    <a:lnTo>
                      <a:pt x="112277" y="341679"/>
                    </a:lnTo>
                    <a:lnTo>
                      <a:pt x="113792" y="338952"/>
                    </a:lnTo>
                    <a:lnTo>
                      <a:pt x="117429" y="331679"/>
                    </a:lnTo>
                    <a:lnTo>
                      <a:pt x="118338" y="328345"/>
                    </a:lnTo>
                    <a:lnTo>
                      <a:pt x="118793" y="324860"/>
                    </a:lnTo>
                    <a:lnTo>
                      <a:pt x="122429" y="313345"/>
                    </a:lnTo>
                    <a:lnTo>
                      <a:pt x="124247" y="306375"/>
                    </a:lnTo>
                    <a:lnTo>
                      <a:pt x="125763" y="299405"/>
                    </a:lnTo>
                    <a:lnTo>
                      <a:pt x="127126" y="291374"/>
                    </a:lnTo>
                    <a:lnTo>
                      <a:pt x="127884" y="289253"/>
                    </a:lnTo>
                    <a:lnTo>
                      <a:pt x="134551" y="273495"/>
                    </a:lnTo>
                    <a:lnTo>
                      <a:pt x="139399" y="259403"/>
                    </a:lnTo>
                    <a:lnTo>
                      <a:pt x="142581" y="246676"/>
                    </a:lnTo>
                    <a:lnTo>
                      <a:pt x="146369" y="234099"/>
                    </a:lnTo>
                    <a:lnTo>
                      <a:pt x="149097" y="226978"/>
                    </a:lnTo>
                    <a:lnTo>
                      <a:pt x="151521" y="219856"/>
                    </a:lnTo>
                    <a:lnTo>
                      <a:pt x="154854" y="207886"/>
                    </a:lnTo>
                    <a:lnTo>
                      <a:pt x="158794" y="196219"/>
                    </a:lnTo>
                    <a:lnTo>
                      <a:pt x="162734" y="186976"/>
                    </a:lnTo>
                    <a:lnTo>
                      <a:pt x="165309" y="180007"/>
                    </a:lnTo>
                    <a:lnTo>
                      <a:pt x="167127" y="174097"/>
                    </a:lnTo>
                    <a:lnTo>
                      <a:pt x="170310" y="161824"/>
                    </a:lnTo>
                    <a:lnTo>
                      <a:pt x="170764" y="155460"/>
                    </a:lnTo>
                    <a:lnTo>
                      <a:pt x="169249" y="146369"/>
                    </a:lnTo>
                    <a:lnTo>
                      <a:pt x="169552" y="143339"/>
                    </a:lnTo>
                    <a:lnTo>
                      <a:pt x="171976" y="137581"/>
                    </a:lnTo>
                    <a:lnTo>
                      <a:pt x="173491" y="134702"/>
                    </a:lnTo>
                    <a:lnTo>
                      <a:pt x="174703" y="133641"/>
                    </a:lnTo>
                    <a:lnTo>
                      <a:pt x="177582" y="132429"/>
                    </a:lnTo>
                    <a:lnTo>
                      <a:pt x="178340" y="131520"/>
                    </a:lnTo>
                    <a:lnTo>
                      <a:pt x="177582" y="130005"/>
                    </a:lnTo>
                    <a:lnTo>
                      <a:pt x="177431" y="128489"/>
                    </a:lnTo>
                    <a:lnTo>
                      <a:pt x="179552" y="125762"/>
                    </a:lnTo>
                    <a:lnTo>
                      <a:pt x="180310" y="122580"/>
                    </a:lnTo>
                    <a:lnTo>
                      <a:pt x="180158" y="116065"/>
                    </a:lnTo>
                    <a:lnTo>
                      <a:pt x="178946" y="113337"/>
                    </a:lnTo>
                    <a:lnTo>
                      <a:pt x="177734" y="112277"/>
                    </a:lnTo>
                    <a:lnTo>
                      <a:pt x="176977" y="111065"/>
                    </a:lnTo>
                    <a:lnTo>
                      <a:pt x="176977" y="106974"/>
                    </a:lnTo>
                    <a:lnTo>
                      <a:pt x="176673" y="103640"/>
                    </a:lnTo>
                    <a:lnTo>
                      <a:pt x="175916" y="100458"/>
                    </a:lnTo>
                    <a:lnTo>
                      <a:pt x="175461" y="96822"/>
                    </a:lnTo>
                    <a:lnTo>
                      <a:pt x="175916" y="95610"/>
                    </a:lnTo>
                    <a:lnTo>
                      <a:pt x="178037" y="93640"/>
                    </a:lnTo>
                    <a:lnTo>
                      <a:pt x="181068" y="93337"/>
                    </a:lnTo>
                    <a:lnTo>
                      <a:pt x="182128" y="93791"/>
                    </a:lnTo>
                    <a:lnTo>
                      <a:pt x="183037" y="96973"/>
                    </a:lnTo>
                    <a:lnTo>
                      <a:pt x="185613" y="103337"/>
                    </a:lnTo>
                    <a:lnTo>
                      <a:pt x="187583" y="106064"/>
                    </a:lnTo>
                    <a:lnTo>
                      <a:pt x="190007" y="107731"/>
                    </a:lnTo>
                    <a:lnTo>
                      <a:pt x="190613" y="107731"/>
                    </a:lnTo>
                    <a:lnTo>
                      <a:pt x="192129" y="106064"/>
                    </a:lnTo>
                    <a:lnTo>
                      <a:pt x="192886" y="104852"/>
                    </a:lnTo>
                    <a:lnTo>
                      <a:pt x="195917" y="98488"/>
                    </a:lnTo>
                    <a:lnTo>
                      <a:pt x="198038" y="91670"/>
                    </a:lnTo>
                    <a:lnTo>
                      <a:pt x="196826" y="850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4" name="Freeform: Shape 3223">
                <a:extLst>
                  <a:ext uri="{FF2B5EF4-FFF2-40B4-BE49-F238E27FC236}">
                    <a16:creationId xmlns:a16="http://schemas.microsoft.com/office/drawing/2014/main" id="{84BAD64E-53FA-4FB4-A883-E0BD609AE036}"/>
                  </a:ext>
                </a:extLst>
              </p:cNvPr>
              <p:cNvSpPr/>
              <p:nvPr/>
            </p:nvSpPr>
            <p:spPr>
              <a:xfrm>
                <a:off x="4050166" y="4064248"/>
                <a:ext cx="3030" cy="1363"/>
              </a:xfrm>
              <a:custGeom>
                <a:avLst/>
                <a:gdLst>
                  <a:gd name="connsiteX0" fmla="*/ 2576 w 3030"/>
                  <a:gd name="connsiteY0" fmla="*/ 0 h 1363"/>
                  <a:gd name="connsiteX1" fmla="*/ 1515 w 3030"/>
                  <a:gd name="connsiteY1" fmla="*/ 0 h 1363"/>
                  <a:gd name="connsiteX2" fmla="*/ 152 w 3030"/>
                  <a:gd name="connsiteY2" fmla="*/ 758 h 1363"/>
                  <a:gd name="connsiteX3" fmla="*/ 0 w 3030"/>
                  <a:gd name="connsiteY3" fmla="*/ 1364 h 1363"/>
                  <a:gd name="connsiteX4" fmla="*/ 3030 w 3030"/>
                  <a:gd name="connsiteY4" fmla="*/ 1364 h 1363"/>
                  <a:gd name="connsiteX5" fmla="*/ 3030 w 3030"/>
                  <a:gd name="connsiteY5" fmla="*/ 303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0" h="1363">
                    <a:moveTo>
                      <a:pt x="2576" y="0"/>
                    </a:moveTo>
                    <a:lnTo>
                      <a:pt x="1515" y="0"/>
                    </a:lnTo>
                    <a:lnTo>
                      <a:pt x="152" y="758"/>
                    </a:lnTo>
                    <a:lnTo>
                      <a:pt x="0" y="1364"/>
                    </a:lnTo>
                    <a:lnTo>
                      <a:pt x="3030" y="1364"/>
                    </a:lnTo>
                    <a:lnTo>
                      <a:pt x="3030"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5" name="Freeform: Shape 3224">
                <a:extLst>
                  <a:ext uri="{FF2B5EF4-FFF2-40B4-BE49-F238E27FC236}">
                    <a16:creationId xmlns:a16="http://schemas.microsoft.com/office/drawing/2014/main" id="{FE2F8F89-C0AB-4CCE-BA85-FA819EEC51CA}"/>
                  </a:ext>
                </a:extLst>
              </p:cNvPr>
              <p:cNvSpPr/>
              <p:nvPr/>
            </p:nvSpPr>
            <p:spPr>
              <a:xfrm>
                <a:off x="6281612" y="3296189"/>
                <a:ext cx="52274" cy="55153"/>
              </a:xfrm>
              <a:custGeom>
                <a:avLst/>
                <a:gdLst>
                  <a:gd name="connsiteX0" fmla="*/ 52123 w 52274"/>
                  <a:gd name="connsiteY0" fmla="*/ 21516 h 55153"/>
                  <a:gd name="connsiteX1" fmla="*/ 50153 w 52274"/>
                  <a:gd name="connsiteY1" fmla="*/ 20001 h 55153"/>
                  <a:gd name="connsiteX2" fmla="*/ 47426 w 52274"/>
                  <a:gd name="connsiteY2" fmla="*/ 18940 h 55153"/>
                  <a:gd name="connsiteX3" fmla="*/ 41214 w 52274"/>
                  <a:gd name="connsiteY3" fmla="*/ 15152 h 55153"/>
                  <a:gd name="connsiteX4" fmla="*/ 38941 w 52274"/>
                  <a:gd name="connsiteY4" fmla="*/ 14698 h 55153"/>
                  <a:gd name="connsiteX5" fmla="*/ 36819 w 52274"/>
                  <a:gd name="connsiteY5" fmla="*/ 14243 h 55153"/>
                  <a:gd name="connsiteX6" fmla="*/ 33789 w 52274"/>
                  <a:gd name="connsiteY6" fmla="*/ 12425 h 55153"/>
                  <a:gd name="connsiteX7" fmla="*/ 32274 w 52274"/>
                  <a:gd name="connsiteY7" fmla="*/ 12122 h 55153"/>
                  <a:gd name="connsiteX8" fmla="*/ 30456 w 52274"/>
                  <a:gd name="connsiteY8" fmla="*/ 10910 h 55153"/>
                  <a:gd name="connsiteX9" fmla="*/ 26819 w 52274"/>
                  <a:gd name="connsiteY9" fmla="*/ 6515 h 55153"/>
                  <a:gd name="connsiteX10" fmla="*/ 23637 w 52274"/>
                  <a:gd name="connsiteY10" fmla="*/ 4243 h 55153"/>
                  <a:gd name="connsiteX11" fmla="*/ 21364 w 52274"/>
                  <a:gd name="connsiteY11" fmla="*/ 3030 h 55153"/>
                  <a:gd name="connsiteX12" fmla="*/ 20758 w 52274"/>
                  <a:gd name="connsiteY12" fmla="*/ 1818 h 55153"/>
                  <a:gd name="connsiteX13" fmla="*/ 20607 w 52274"/>
                  <a:gd name="connsiteY13" fmla="*/ 606 h 55153"/>
                  <a:gd name="connsiteX14" fmla="*/ 20758 w 52274"/>
                  <a:gd name="connsiteY14" fmla="*/ 303 h 55153"/>
                  <a:gd name="connsiteX15" fmla="*/ 20001 w 52274"/>
                  <a:gd name="connsiteY15" fmla="*/ 152 h 55153"/>
                  <a:gd name="connsiteX16" fmla="*/ 18486 w 52274"/>
                  <a:gd name="connsiteY16" fmla="*/ 455 h 55153"/>
                  <a:gd name="connsiteX17" fmla="*/ 17576 w 52274"/>
                  <a:gd name="connsiteY17" fmla="*/ 758 h 55153"/>
                  <a:gd name="connsiteX18" fmla="*/ 16213 w 52274"/>
                  <a:gd name="connsiteY18" fmla="*/ 303 h 55153"/>
                  <a:gd name="connsiteX19" fmla="*/ 14698 w 52274"/>
                  <a:gd name="connsiteY19" fmla="*/ 0 h 55153"/>
                  <a:gd name="connsiteX20" fmla="*/ 14091 w 52274"/>
                  <a:gd name="connsiteY20" fmla="*/ 455 h 55153"/>
                  <a:gd name="connsiteX21" fmla="*/ 13788 w 52274"/>
                  <a:gd name="connsiteY21" fmla="*/ 1515 h 55153"/>
                  <a:gd name="connsiteX22" fmla="*/ 14698 w 52274"/>
                  <a:gd name="connsiteY22" fmla="*/ 3182 h 55153"/>
                  <a:gd name="connsiteX23" fmla="*/ 16364 w 52274"/>
                  <a:gd name="connsiteY23" fmla="*/ 6061 h 55153"/>
                  <a:gd name="connsiteX24" fmla="*/ 16213 w 52274"/>
                  <a:gd name="connsiteY24" fmla="*/ 8182 h 55153"/>
                  <a:gd name="connsiteX25" fmla="*/ 14849 w 52274"/>
                  <a:gd name="connsiteY25" fmla="*/ 8485 h 55153"/>
                  <a:gd name="connsiteX26" fmla="*/ 13637 w 52274"/>
                  <a:gd name="connsiteY26" fmla="*/ 6667 h 55153"/>
                  <a:gd name="connsiteX27" fmla="*/ 12576 w 52274"/>
                  <a:gd name="connsiteY27" fmla="*/ 6364 h 55153"/>
                  <a:gd name="connsiteX28" fmla="*/ 11364 w 52274"/>
                  <a:gd name="connsiteY28" fmla="*/ 6515 h 55153"/>
                  <a:gd name="connsiteX29" fmla="*/ 8637 w 52274"/>
                  <a:gd name="connsiteY29" fmla="*/ 8485 h 55153"/>
                  <a:gd name="connsiteX30" fmla="*/ 6515 w 52274"/>
                  <a:gd name="connsiteY30" fmla="*/ 10303 h 55153"/>
                  <a:gd name="connsiteX31" fmla="*/ 6061 w 52274"/>
                  <a:gd name="connsiteY31" fmla="*/ 11516 h 55153"/>
                  <a:gd name="connsiteX32" fmla="*/ 5303 w 52274"/>
                  <a:gd name="connsiteY32" fmla="*/ 12879 h 55153"/>
                  <a:gd name="connsiteX33" fmla="*/ 5152 w 52274"/>
                  <a:gd name="connsiteY33" fmla="*/ 13788 h 55153"/>
                  <a:gd name="connsiteX34" fmla="*/ 5152 w 52274"/>
                  <a:gd name="connsiteY34" fmla="*/ 16970 h 55153"/>
                  <a:gd name="connsiteX35" fmla="*/ 1364 w 52274"/>
                  <a:gd name="connsiteY35" fmla="*/ 17576 h 55153"/>
                  <a:gd name="connsiteX36" fmla="*/ 606 w 52274"/>
                  <a:gd name="connsiteY36" fmla="*/ 18031 h 55153"/>
                  <a:gd name="connsiteX37" fmla="*/ 152 w 52274"/>
                  <a:gd name="connsiteY37" fmla="*/ 18940 h 55153"/>
                  <a:gd name="connsiteX38" fmla="*/ 455 w 52274"/>
                  <a:gd name="connsiteY38" fmla="*/ 23031 h 55153"/>
                  <a:gd name="connsiteX39" fmla="*/ 757 w 52274"/>
                  <a:gd name="connsiteY39" fmla="*/ 25304 h 55153"/>
                  <a:gd name="connsiteX40" fmla="*/ 2879 w 52274"/>
                  <a:gd name="connsiteY40" fmla="*/ 28637 h 55153"/>
                  <a:gd name="connsiteX41" fmla="*/ 3031 w 52274"/>
                  <a:gd name="connsiteY41" fmla="*/ 29698 h 55153"/>
                  <a:gd name="connsiteX42" fmla="*/ 2727 w 52274"/>
                  <a:gd name="connsiteY42" fmla="*/ 30456 h 55153"/>
                  <a:gd name="connsiteX43" fmla="*/ 1212 w 52274"/>
                  <a:gd name="connsiteY43" fmla="*/ 31819 h 55153"/>
                  <a:gd name="connsiteX44" fmla="*/ 455 w 52274"/>
                  <a:gd name="connsiteY44" fmla="*/ 32274 h 55153"/>
                  <a:gd name="connsiteX45" fmla="*/ 0 w 52274"/>
                  <a:gd name="connsiteY45" fmla="*/ 32425 h 55153"/>
                  <a:gd name="connsiteX46" fmla="*/ 0 w 52274"/>
                  <a:gd name="connsiteY46" fmla="*/ 33638 h 55153"/>
                  <a:gd name="connsiteX47" fmla="*/ 1061 w 52274"/>
                  <a:gd name="connsiteY47" fmla="*/ 35001 h 55153"/>
                  <a:gd name="connsiteX48" fmla="*/ 2273 w 52274"/>
                  <a:gd name="connsiteY48" fmla="*/ 36668 h 55153"/>
                  <a:gd name="connsiteX49" fmla="*/ 3182 w 52274"/>
                  <a:gd name="connsiteY49" fmla="*/ 36820 h 55153"/>
                  <a:gd name="connsiteX50" fmla="*/ 4243 w 52274"/>
                  <a:gd name="connsiteY50" fmla="*/ 36213 h 55153"/>
                  <a:gd name="connsiteX51" fmla="*/ 5758 w 52274"/>
                  <a:gd name="connsiteY51" fmla="*/ 36365 h 55153"/>
                  <a:gd name="connsiteX52" fmla="*/ 5455 w 52274"/>
                  <a:gd name="connsiteY52" fmla="*/ 36971 h 55153"/>
                  <a:gd name="connsiteX53" fmla="*/ 5000 w 52274"/>
                  <a:gd name="connsiteY53" fmla="*/ 37729 h 55153"/>
                  <a:gd name="connsiteX54" fmla="*/ 5455 w 52274"/>
                  <a:gd name="connsiteY54" fmla="*/ 38486 h 55153"/>
                  <a:gd name="connsiteX55" fmla="*/ 12576 w 52274"/>
                  <a:gd name="connsiteY55" fmla="*/ 42729 h 55153"/>
                  <a:gd name="connsiteX56" fmla="*/ 18788 w 52274"/>
                  <a:gd name="connsiteY56" fmla="*/ 48790 h 55153"/>
                  <a:gd name="connsiteX57" fmla="*/ 20607 w 52274"/>
                  <a:gd name="connsiteY57" fmla="*/ 52578 h 55153"/>
                  <a:gd name="connsiteX58" fmla="*/ 24850 w 52274"/>
                  <a:gd name="connsiteY58" fmla="*/ 55154 h 55153"/>
                  <a:gd name="connsiteX59" fmla="*/ 24850 w 52274"/>
                  <a:gd name="connsiteY59" fmla="*/ 53487 h 55153"/>
                  <a:gd name="connsiteX60" fmla="*/ 25304 w 52274"/>
                  <a:gd name="connsiteY60" fmla="*/ 50911 h 55153"/>
                  <a:gd name="connsiteX61" fmla="*/ 25001 w 52274"/>
                  <a:gd name="connsiteY61" fmla="*/ 50002 h 55153"/>
                  <a:gd name="connsiteX62" fmla="*/ 25304 w 52274"/>
                  <a:gd name="connsiteY62" fmla="*/ 48638 h 55153"/>
                  <a:gd name="connsiteX63" fmla="*/ 24698 w 52274"/>
                  <a:gd name="connsiteY63" fmla="*/ 47274 h 55153"/>
                  <a:gd name="connsiteX64" fmla="*/ 21364 w 52274"/>
                  <a:gd name="connsiteY64" fmla="*/ 45608 h 55153"/>
                  <a:gd name="connsiteX65" fmla="*/ 18183 w 52274"/>
                  <a:gd name="connsiteY65" fmla="*/ 41668 h 55153"/>
                  <a:gd name="connsiteX66" fmla="*/ 20304 w 52274"/>
                  <a:gd name="connsiteY66" fmla="*/ 41820 h 55153"/>
                  <a:gd name="connsiteX67" fmla="*/ 23486 w 52274"/>
                  <a:gd name="connsiteY67" fmla="*/ 42123 h 55153"/>
                  <a:gd name="connsiteX68" fmla="*/ 25304 w 52274"/>
                  <a:gd name="connsiteY68" fmla="*/ 41365 h 55153"/>
                  <a:gd name="connsiteX69" fmla="*/ 26364 w 52274"/>
                  <a:gd name="connsiteY69" fmla="*/ 39698 h 55153"/>
                  <a:gd name="connsiteX70" fmla="*/ 28183 w 52274"/>
                  <a:gd name="connsiteY70" fmla="*/ 37274 h 55153"/>
                  <a:gd name="connsiteX71" fmla="*/ 30304 w 52274"/>
                  <a:gd name="connsiteY71" fmla="*/ 34698 h 55153"/>
                  <a:gd name="connsiteX72" fmla="*/ 31819 w 52274"/>
                  <a:gd name="connsiteY72" fmla="*/ 32274 h 55153"/>
                  <a:gd name="connsiteX73" fmla="*/ 33335 w 52274"/>
                  <a:gd name="connsiteY73" fmla="*/ 30153 h 55153"/>
                  <a:gd name="connsiteX74" fmla="*/ 34698 w 52274"/>
                  <a:gd name="connsiteY74" fmla="*/ 29546 h 55153"/>
                  <a:gd name="connsiteX75" fmla="*/ 35304 w 52274"/>
                  <a:gd name="connsiteY75" fmla="*/ 30001 h 55153"/>
                  <a:gd name="connsiteX76" fmla="*/ 35759 w 52274"/>
                  <a:gd name="connsiteY76" fmla="*/ 30910 h 55153"/>
                  <a:gd name="connsiteX77" fmla="*/ 35607 w 52274"/>
                  <a:gd name="connsiteY77" fmla="*/ 33638 h 55153"/>
                  <a:gd name="connsiteX78" fmla="*/ 36062 w 52274"/>
                  <a:gd name="connsiteY78" fmla="*/ 34547 h 55153"/>
                  <a:gd name="connsiteX79" fmla="*/ 36971 w 52274"/>
                  <a:gd name="connsiteY79" fmla="*/ 35153 h 55153"/>
                  <a:gd name="connsiteX80" fmla="*/ 38941 w 52274"/>
                  <a:gd name="connsiteY80" fmla="*/ 34850 h 55153"/>
                  <a:gd name="connsiteX81" fmla="*/ 41062 w 52274"/>
                  <a:gd name="connsiteY81" fmla="*/ 34244 h 55153"/>
                  <a:gd name="connsiteX82" fmla="*/ 44093 w 52274"/>
                  <a:gd name="connsiteY82" fmla="*/ 32729 h 55153"/>
                  <a:gd name="connsiteX83" fmla="*/ 44547 w 52274"/>
                  <a:gd name="connsiteY83" fmla="*/ 32880 h 55153"/>
                  <a:gd name="connsiteX84" fmla="*/ 44699 w 52274"/>
                  <a:gd name="connsiteY84" fmla="*/ 32577 h 55153"/>
                  <a:gd name="connsiteX85" fmla="*/ 45305 w 52274"/>
                  <a:gd name="connsiteY85" fmla="*/ 30153 h 55153"/>
                  <a:gd name="connsiteX86" fmla="*/ 44547 w 52274"/>
                  <a:gd name="connsiteY86" fmla="*/ 28334 h 55153"/>
                  <a:gd name="connsiteX87" fmla="*/ 43638 w 52274"/>
                  <a:gd name="connsiteY87" fmla="*/ 26819 h 55153"/>
                  <a:gd name="connsiteX88" fmla="*/ 44244 w 52274"/>
                  <a:gd name="connsiteY88" fmla="*/ 25910 h 55153"/>
                  <a:gd name="connsiteX89" fmla="*/ 46365 w 52274"/>
                  <a:gd name="connsiteY89" fmla="*/ 25910 h 55153"/>
                  <a:gd name="connsiteX90" fmla="*/ 48032 w 52274"/>
                  <a:gd name="connsiteY90" fmla="*/ 26062 h 55153"/>
                  <a:gd name="connsiteX91" fmla="*/ 48638 w 52274"/>
                  <a:gd name="connsiteY91" fmla="*/ 24546 h 55153"/>
                  <a:gd name="connsiteX92" fmla="*/ 52275 w 52274"/>
                  <a:gd name="connsiteY92" fmla="*/ 23637 h 55153"/>
                  <a:gd name="connsiteX93" fmla="*/ 52275 w 52274"/>
                  <a:gd name="connsiteY93" fmla="*/ 22728 h 5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2274" h="55153">
                    <a:moveTo>
                      <a:pt x="52123" y="21516"/>
                    </a:moveTo>
                    <a:lnTo>
                      <a:pt x="50153" y="20001"/>
                    </a:lnTo>
                    <a:lnTo>
                      <a:pt x="47426" y="18940"/>
                    </a:lnTo>
                    <a:lnTo>
                      <a:pt x="41214" y="15152"/>
                    </a:lnTo>
                    <a:lnTo>
                      <a:pt x="38941" y="14698"/>
                    </a:lnTo>
                    <a:lnTo>
                      <a:pt x="36819" y="14243"/>
                    </a:lnTo>
                    <a:lnTo>
                      <a:pt x="33789" y="12425"/>
                    </a:lnTo>
                    <a:lnTo>
                      <a:pt x="32274" y="12122"/>
                    </a:lnTo>
                    <a:lnTo>
                      <a:pt x="30456" y="10910"/>
                    </a:lnTo>
                    <a:lnTo>
                      <a:pt x="26819" y="6515"/>
                    </a:lnTo>
                    <a:lnTo>
                      <a:pt x="23637" y="4243"/>
                    </a:lnTo>
                    <a:lnTo>
                      <a:pt x="21364" y="3030"/>
                    </a:lnTo>
                    <a:lnTo>
                      <a:pt x="20758" y="1818"/>
                    </a:lnTo>
                    <a:lnTo>
                      <a:pt x="20607" y="606"/>
                    </a:lnTo>
                    <a:lnTo>
                      <a:pt x="20758" y="303"/>
                    </a:lnTo>
                    <a:lnTo>
                      <a:pt x="20001" y="152"/>
                    </a:lnTo>
                    <a:lnTo>
                      <a:pt x="18486" y="455"/>
                    </a:lnTo>
                    <a:lnTo>
                      <a:pt x="17576" y="758"/>
                    </a:lnTo>
                    <a:lnTo>
                      <a:pt x="16213" y="303"/>
                    </a:lnTo>
                    <a:lnTo>
                      <a:pt x="14698" y="0"/>
                    </a:lnTo>
                    <a:lnTo>
                      <a:pt x="14091" y="455"/>
                    </a:lnTo>
                    <a:lnTo>
                      <a:pt x="13788" y="1515"/>
                    </a:lnTo>
                    <a:lnTo>
                      <a:pt x="14698" y="3182"/>
                    </a:lnTo>
                    <a:lnTo>
                      <a:pt x="16364" y="6061"/>
                    </a:lnTo>
                    <a:lnTo>
                      <a:pt x="16213" y="8182"/>
                    </a:lnTo>
                    <a:lnTo>
                      <a:pt x="14849" y="8485"/>
                    </a:lnTo>
                    <a:lnTo>
                      <a:pt x="13637" y="6667"/>
                    </a:lnTo>
                    <a:lnTo>
                      <a:pt x="12576" y="6364"/>
                    </a:lnTo>
                    <a:lnTo>
                      <a:pt x="11364" y="6515"/>
                    </a:lnTo>
                    <a:lnTo>
                      <a:pt x="8637" y="8485"/>
                    </a:lnTo>
                    <a:lnTo>
                      <a:pt x="6515" y="10303"/>
                    </a:lnTo>
                    <a:lnTo>
                      <a:pt x="6061" y="11516"/>
                    </a:lnTo>
                    <a:lnTo>
                      <a:pt x="5303" y="12879"/>
                    </a:lnTo>
                    <a:lnTo>
                      <a:pt x="5152" y="13788"/>
                    </a:lnTo>
                    <a:lnTo>
                      <a:pt x="5152" y="16970"/>
                    </a:lnTo>
                    <a:lnTo>
                      <a:pt x="1364" y="17576"/>
                    </a:lnTo>
                    <a:lnTo>
                      <a:pt x="606" y="18031"/>
                    </a:lnTo>
                    <a:lnTo>
                      <a:pt x="152" y="18940"/>
                    </a:lnTo>
                    <a:lnTo>
                      <a:pt x="455" y="23031"/>
                    </a:lnTo>
                    <a:lnTo>
                      <a:pt x="757" y="25304"/>
                    </a:lnTo>
                    <a:lnTo>
                      <a:pt x="2879" y="28637"/>
                    </a:lnTo>
                    <a:lnTo>
                      <a:pt x="3031" y="29698"/>
                    </a:lnTo>
                    <a:lnTo>
                      <a:pt x="2727" y="30456"/>
                    </a:lnTo>
                    <a:lnTo>
                      <a:pt x="1212" y="31819"/>
                    </a:lnTo>
                    <a:lnTo>
                      <a:pt x="455" y="32274"/>
                    </a:lnTo>
                    <a:lnTo>
                      <a:pt x="0" y="32425"/>
                    </a:lnTo>
                    <a:lnTo>
                      <a:pt x="0" y="33638"/>
                    </a:lnTo>
                    <a:lnTo>
                      <a:pt x="1061" y="35001"/>
                    </a:lnTo>
                    <a:lnTo>
                      <a:pt x="2273" y="36668"/>
                    </a:lnTo>
                    <a:lnTo>
                      <a:pt x="3182" y="36820"/>
                    </a:lnTo>
                    <a:lnTo>
                      <a:pt x="4243" y="36213"/>
                    </a:lnTo>
                    <a:lnTo>
                      <a:pt x="5758" y="36365"/>
                    </a:lnTo>
                    <a:lnTo>
                      <a:pt x="5455" y="36971"/>
                    </a:lnTo>
                    <a:lnTo>
                      <a:pt x="5000" y="37729"/>
                    </a:lnTo>
                    <a:lnTo>
                      <a:pt x="5455" y="38486"/>
                    </a:lnTo>
                    <a:lnTo>
                      <a:pt x="12576" y="42729"/>
                    </a:lnTo>
                    <a:lnTo>
                      <a:pt x="18788" y="48790"/>
                    </a:lnTo>
                    <a:lnTo>
                      <a:pt x="20607" y="52578"/>
                    </a:lnTo>
                    <a:lnTo>
                      <a:pt x="24850" y="55154"/>
                    </a:lnTo>
                    <a:lnTo>
                      <a:pt x="24850" y="53487"/>
                    </a:lnTo>
                    <a:lnTo>
                      <a:pt x="25304" y="50911"/>
                    </a:lnTo>
                    <a:lnTo>
                      <a:pt x="25001" y="50002"/>
                    </a:lnTo>
                    <a:lnTo>
                      <a:pt x="25304" y="48638"/>
                    </a:lnTo>
                    <a:lnTo>
                      <a:pt x="24698" y="47274"/>
                    </a:lnTo>
                    <a:lnTo>
                      <a:pt x="21364" y="45608"/>
                    </a:lnTo>
                    <a:lnTo>
                      <a:pt x="18183" y="41668"/>
                    </a:lnTo>
                    <a:lnTo>
                      <a:pt x="20304" y="41820"/>
                    </a:lnTo>
                    <a:lnTo>
                      <a:pt x="23486" y="42123"/>
                    </a:lnTo>
                    <a:lnTo>
                      <a:pt x="25304" y="41365"/>
                    </a:lnTo>
                    <a:lnTo>
                      <a:pt x="26364" y="39698"/>
                    </a:lnTo>
                    <a:lnTo>
                      <a:pt x="28183" y="37274"/>
                    </a:lnTo>
                    <a:lnTo>
                      <a:pt x="30304" y="34698"/>
                    </a:lnTo>
                    <a:lnTo>
                      <a:pt x="31819" y="32274"/>
                    </a:lnTo>
                    <a:lnTo>
                      <a:pt x="33335" y="30153"/>
                    </a:lnTo>
                    <a:lnTo>
                      <a:pt x="34698" y="29546"/>
                    </a:lnTo>
                    <a:lnTo>
                      <a:pt x="35304" y="30001"/>
                    </a:lnTo>
                    <a:lnTo>
                      <a:pt x="35759" y="30910"/>
                    </a:lnTo>
                    <a:lnTo>
                      <a:pt x="35607" y="33638"/>
                    </a:lnTo>
                    <a:lnTo>
                      <a:pt x="36062" y="34547"/>
                    </a:lnTo>
                    <a:lnTo>
                      <a:pt x="36971" y="35153"/>
                    </a:lnTo>
                    <a:lnTo>
                      <a:pt x="38941" y="34850"/>
                    </a:lnTo>
                    <a:lnTo>
                      <a:pt x="41062" y="34244"/>
                    </a:lnTo>
                    <a:lnTo>
                      <a:pt x="44093" y="32729"/>
                    </a:lnTo>
                    <a:lnTo>
                      <a:pt x="44547" y="32880"/>
                    </a:lnTo>
                    <a:lnTo>
                      <a:pt x="44699" y="32577"/>
                    </a:lnTo>
                    <a:lnTo>
                      <a:pt x="45305" y="30153"/>
                    </a:lnTo>
                    <a:lnTo>
                      <a:pt x="44547" y="28334"/>
                    </a:lnTo>
                    <a:lnTo>
                      <a:pt x="43638" y="26819"/>
                    </a:lnTo>
                    <a:lnTo>
                      <a:pt x="44244" y="25910"/>
                    </a:lnTo>
                    <a:lnTo>
                      <a:pt x="46365" y="25910"/>
                    </a:lnTo>
                    <a:lnTo>
                      <a:pt x="48032" y="26062"/>
                    </a:lnTo>
                    <a:lnTo>
                      <a:pt x="48638" y="24546"/>
                    </a:lnTo>
                    <a:lnTo>
                      <a:pt x="52275" y="23637"/>
                    </a:lnTo>
                    <a:lnTo>
                      <a:pt x="52275" y="22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6" name="Freeform: Shape 3225">
                <a:extLst>
                  <a:ext uri="{FF2B5EF4-FFF2-40B4-BE49-F238E27FC236}">
                    <a16:creationId xmlns:a16="http://schemas.microsoft.com/office/drawing/2014/main" id="{B07348B9-8AA3-4F64-9C66-CF1E7154BD11}"/>
                  </a:ext>
                </a:extLst>
              </p:cNvPr>
              <p:cNvSpPr/>
              <p:nvPr/>
            </p:nvSpPr>
            <p:spPr>
              <a:xfrm>
                <a:off x="6505560" y="3127698"/>
                <a:ext cx="96064" cy="104397"/>
              </a:xfrm>
              <a:custGeom>
                <a:avLst/>
                <a:gdLst>
                  <a:gd name="connsiteX0" fmla="*/ 90306 w 96064"/>
                  <a:gd name="connsiteY0" fmla="*/ 67275 h 104397"/>
                  <a:gd name="connsiteX1" fmla="*/ 90610 w 96064"/>
                  <a:gd name="connsiteY1" fmla="*/ 64245 h 104397"/>
                  <a:gd name="connsiteX2" fmla="*/ 90912 w 96064"/>
                  <a:gd name="connsiteY2" fmla="*/ 60911 h 104397"/>
                  <a:gd name="connsiteX3" fmla="*/ 90155 w 96064"/>
                  <a:gd name="connsiteY3" fmla="*/ 58790 h 104397"/>
                  <a:gd name="connsiteX4" fmla="*/ 89094 w 96064"/>
                  <a:gd name="connsiteY4" fmla="*/ 57275 h 104397"/>
                  <a:gd name="connsiteX5" fmla="*/ 84852 w 96064"/>
                  <a:gd name="connsiteY5" fmla="*/ 55457 h 104397"/>
                  <a:gd name="connsiteX6" fmla="*/ 81518 w 96064"/>
                  <a:gd name="connsiteY6" fmla="*/ 53487 h 104397"/>
                  <a:gd name="connsiteX7" fmla="*/ 80760 w 96064"/>
                  <a:gd name="connsiteY7" fmla="*/ 52578 h 104397"/>
                  <a:gd name="connsiteX8" fmla="*/ 80609 w 96064"/>
                  <a:gd name="connsiteY8" fmla="*/ 51517 h 104397"/>
                  <a:gd name="connsiteX9" fmla="*/ 80457 w 96064"/>
                  <a:gd name="connsiteY9" fmla="*/ 49699 h 104397"/>
                  <a:gd name="connsiteX10" fmla="*/ 79246 w 96064"/>
                  <a:gd name="connsiteY10" fmla="*/ 48184 h 104397"/>
                  <a:gd name="connsiteX11" fmla="*/ 79094 w 96064"/>
                  <a:gd name="connsiteY11" fmla="*/ 46972 h 104397"/>
                  <a:gd name="connsiteX12" fmla="*/ 79851 w 96064"/>
                  <a:gd name="connsiteY12" fmla="*/ 45002 h 104397"/>
                  <a:gd name="connsiteX13" fmla="*/ 80155 w 96064"/>
                  <a:gd name="connsiteY13" fmla="*/ 42880 h 104397"/>
                  <a:gd name="connsiteX14" fmla="*/ 79851 w 96064"/>
                  <a:gd name="connsiteY14" fmla="*/ 41971 h 104397"/>
                  <a:gd name="connsiteX15" fmla="*/ 79094 w 96064"/>
                  <a:gd name="connsiteY15" fmla="*/ 41365 h 104397"/>
                  <a:gd name="connsiteX16" fmla="*/ 77579 w 96064"/>
                  <a:gd name="connsiteY16" fmla="*/ 41214 h 104397"/>
                  <a:gd name="connsiteX17" fmla="*/ 75609 w 96064"/>
                  <a:gd name="connsiteY17" fmla="*/ 40001 h 104397"/>
                  <a:gd name="connsiteX18" fmla="*/ 74245 w 96064"/>
                  <a:gd name="connsiteY18" fmla="*/ 38335 h 104397"/>
                  <a:gd name="connsiteX19" fmla="*/ 70609 w 96064"/>
                  <a:gd name="connsiteY19" fmla="*/ 36062 h 104397"/>
                  <a:gd name="connsiteX20" fmla="*/ 69396 w 96064"/>
                  <a:gd name="connsiteY20" fmla="*/ 35607 h 104397"/>
                  <a:gd name="connsiteX21" fmla="*/ 68791 w 96064"/>
                  <a:gd name="connsiteY21" fmla="*/ 34395 h 104397"/>
                  <a:gd name="connsiteX22" fmla="*/ 68487 w 96064"/>
                  <a:gd name="connsiteY22" fmla="*/ 33032 h 104397"/>
                  <a:gd name="connsiteX23" fmla="*/ 69245 w 96064"/>
                  <a:gd name="connsiteY23" fmla="*/ 31213 h 104397"/>
                  <a:gd name="connsiteX24" fmla="*/ 70154 w 96064"/>
                  <a:gd name="connsiteY24" fmla="*/ 28637 h 104397"/>
                  <a:gd name="connsiteX25" fmla="*/ 70912 w 96064"/>
                  <a:gd name="connsiteY25" fmla="*/ 26062 h 104397"/>
                  <a:gd name="connsiteX26" fmla="*/ 70912 w 96064"/>
                  <a:gd name="connsiteY26" fmla="*/ 24546 h 104397"/>
                  <a:gd name="connsiteX27" fmla="*/ 70457 w 96064"/>
                  <a:gd name="connsiteY27" fmla="*/ 20758 h 104397"/>
                  <a:gd name="connsiteX28" fmla="*/ 68487 w 96064"/>
                  <a:gd name="connsiteY28" fmla="*/ 17879 h 104397"/>
                  <a:gd name="connsiteX29" fmla="*/ 67578 w 96064"/>
                  <a:gd name="connsiteY29" fmla="*/ 17576 h 104397"/>
                  <a:gd name="connsiteX30" fmla="*/ 66063 w 96064"/>
                  <a:gd name="connsiteY30" fmla="*/ 18334 h 104397"/>
                  <a:gd name="connsiteX31" fmla="*/ 64396 w 96064"/>
                  <a:gd name="connsiteY31" fmla="*/ 19092 h 104397"/>
                  <a:gd name="connsiteX32" fmla="*/ 63033 w 96064"/>
                  <a:gd name="connsiteY32" fmla="*/ 18334 h 104397"/>
                  <a:gd name="connsiteX33" fmla="*/ 61366 w 96064"/>
                  <a:gd name="connsiteY33" fmla="*/ 16819 h 104397"/>
                  <a:gd name="connsiteX34" fmla="*/ 58942 w 96064"/>
                  <a:gd name="connsiteY34" fmla="*/ 12576 h 104397"/>
                  <a:gd name="connsiteX35" fmla="*/ 54244 w 96064"/>
                  <a:gd name="connsiteY35" fmla="*/ 11667 h 104397"/>
                  <a:gd name="connsiteX36" fmla="*/ 52275 w 96064"/>
                  <a:gd name="connsiteY36" fmla="*/ 11516 h 104397"/>
                  <a:gd name="connsiteX37" fmla="*/ 50456 w 96064"/>
                  <a:gd name="connsiteY37" fmla="*/ 13485 h 104397"/>
                  <a:gd name="connsiteX38" fmla="*/ 49850 w 96064"/>
                  <a:gd name="connsiteY38" fmla="*/ 12879 h 104397"/>
                  <a:gd name="connsiteX39" fmla="*/ 49244 w 96064"/>
                  <a:gd name="connsiteY39" fmla="*/ 11516 h 104397"/>
                  <a:gd name="connsiteX40" fmla="*/ 48335 w 96064"/>
                  <a:gd name="connsiteY40" fmla="*/ 11061 h 104397"/>
                  <a:gd name="connsiteX41" fmla="*/ 46972 w 96064"/>
                  <a:gd name="connsiteY41" fmla="*/ 11667 h 104397"/>
                  <a:gd name="connsiteX42" fmla="*/ 46668 w 96064"/>
                  <a:gd name="connsiteY42" fmla="*/ 11061 h 104397"/>
                  <a:gd name="connsiteX43" fmla="*/ 47274 w 96064"/>
                  <a:gd name="connsiteY43" fmla="*/ 9243 h 104397"/>
                  <a:gd name="connsiteX44" fmla="*/ 45759 w 96064"/>
                  <a:gd name="connsiteY44" fmla="*/ 8334 h 104397"/>
                  <a:gd name="connsiteX45" fmla="*/ 42123 w 96064"/>
                  <a:gd name="connsiteY45" fmla="*/ 8334 h 104397"/>
                  <a:gd name="connsiteX46" fmla="*/ 40153 w 96064"/>
                  <a:gd name="connsiteY46" fmla="*/ 7728 h 104397"/>
                  <a:gd name="connsiteX47" fmla="*/ 39850 w 96064"/>
                  <a:gd name="connsiteY47" fmla="*/ 6364 h 104397"/>
                  <a:gd name="connsiteX48" fmla="*/ 38789 w 96064"/>
                  <a:gd name="connsiteY48" fmla="*/ 5455 h 104397"/>
                  <a:gd name="connsiteX49" fmla="*/ 36668 w 96064"/>
                  <a:gd name="connsiteY49" fmla="*/ 5000 h 104397"/>
                  <a:gd name="connsiteX50" fmla="*/ 34698 w 96064"/>
                  <a:gd name="connsiteY50" fmla="*/ 3940 h 104397"/>
                  <a:gd name="connsiteX51" fmla="*/ 32880 w 96064"/>
                  <a:gd name="connsiteY51" fmla="*/ 2121 h 104397"/>
                  <a:gd name="connsiteX52" fmla="*/ 29850 w 96064"/>
                  <a:gd name="connsiteY52" fmla="*/ 909 h 104397"/>
                  <a:gd name="connsiteX53" fmla="*/ 26062 w 96064"/>
                  <a:gd name="connsiteY53" fmla="*/ 455 h 104397"/>
                  <a:gd name="connsiteX54" fmla="*/ 25759 w 96064"/>
                  <a:gd name="connsiteY54" fmla="*/ 303 h 104397"/>
                  <a:gd name="connsiteX55" fmla="*/ 25455 w 96064"/>
                  <a:gd name="connsiteY55" fmla="*/ 0 h 104397"/>
                  <a:gd name="connsiteX56" fmla="*/ 22880 w 96064"/>
                  <a:gd name="connsiteY56" fmla="*/ 1212 h 104397"/>
                  <a:gd name="connsiteX57" fmla="*/ 21364 w 96064"/>
                  <a:gd name="connsiteY57" fmla="*/ 2121 h 104397"/>
                  <a:gd name="connsiteX58" fmla="*/ 19546 w 96064"/>
                  <a:gd name="connsiteY58" fmla="*/ 1515 h 104397"/>
                  <a:gd name="connsiteX59" fmla="*/ 16667 w 96064"/>
                  <a:gd name="connsiteY59" fmla="*/ 3788 h 104397"/>
                  <a:gd name="connsiteX60" fmla="*/ 10607 w 96064"/>
                  <a:gd name="connsiteY60" fmla="*/ 3788 h 104397"/>
                  <a:gd name="connsiteX61" fmla="*/ 7576 w 96064"/>
                  <a:gd name="connsiteY61" fmla="*/ 3637 h 104397"/>
                  <a:gd name="connsiteX62" fmla="*/ 6212 w 96064"/>
                  <a:gd name="connsiteY62" fmla="*/ 3182 h 104397"/>
                  <a:gd name="connsiteX63" fmla="*/ 606 w 96064"/>
                  <a:gd name="connsiteY63" fmla="*/ 6364 h 104397"/>
                  <a:gd name="connsiteX64" fmla="*/ 0 w 96064"/>
                  <a:gd name="connsiteY64" fmla="*/ 7576 h 104397"/>
                  <a:gd name="connsiteX65" fmla="*/ 2576 w 96064"/>
                  <a:gd name="connsiteY65" fmla="*/ 7425 h 104397"/>
                  <a:gd name="connsiteX66" fmla="*/ 4545 w 96064"/>
                  <a:gd name="connsiteY66" fmla="*/ 7728 h 104397"/>
                  <a:gd name="connsiteX67" fmla="*/ 7728 w 96064"/>
                  <a:gd name="connsiteY67" fmla="*/ 9394 h 104397"/>
                  <a:gd name="connsiteX68" fmla="*/ 9849 w 96064"/>
                  <a:gd name="connsiteY68" fmla="*/ 11213 h 104397"/>
                  <a:gd name="connsiteX69" fmla="*/ 10758 w 96064"/>
                  <a:gd name="connsiteY69" fmla="*/ 12879 h 104397"/>
                  <a:gd name="connsiteX70" fmla="*/ 12576 w 96064"/>
                  <a:gd name="connsiteY70" fmla="*/ 15001 h 104397"/>
                  <a:gd name="connsiteX71" fmla="*/ 14546 w 96064"/>
                  <a:gd name="connsiteY71" fmla="*/ 18183 h 104397"/>
                  <a:gd name="connsiteX72" fmla="*/ 16667 w 96064"/>
                  <a:gd name="connsiteY72" fmla="*/ 22274 h 104397"/>
                  <a:gd name="connsiteX73" fmla="*/ 17122 w 96064"/>
                  <a:gd name="connsiteY73" fmla="*/ 24243 h 104397"/>
                  <a:gd name="connsiteX74" fmla="*/ 18031 w 96064"/>
                  <a:gd name="connsiteY74" fmla="*/ 26516 h 104397"/>
                  <a:gd name="connsiteX75" fmla="*/ 19546 w 96064"/>
                  <a:gd name="connsiteY75" fmla="*/ 29243 h 104397"/>
                  <a:gd name="connsiteX76" fmla="*/ 22728 w 96064"/>
                  <a:gd name="connsiteY76" fmla="*/ 32274 h 104397"/>
                  <a:gd name="connsiteX77" fmla="*/ 23031 w 96064"/>
                  <a:gd name="connsiteY77" fmla="*/ 32880 h 104397"/>
                  <a:gd name="connsiteX78" fmla="*/ 24546 w 96064"/>
                  <a:gd name="connsiteY78" fmla="*/ 34850 h 104397"/>
                  <a:gd name="connsiteX79" fmla="*/ 27122 w 96064"/>
                  <a:gd name="connsiteY79" fmla="*/ 39547 h 104397"/>
                  <a:gd name="connsiteX80" fmla="*/ 29395 w 96064"/>
                  <a:gd name="connsiteY80" fmla="*/ 41517 h 104397"/>
                  <a:gd name="connsiteX81" fmla="*/ 31365 w 96064"/>
                  <a:gd name="connsiteY81" fmla="*/ 43486 h 104397"/>
                  <a:gd name="connsiteX82" fmla="*/ 32274 w 96064"/>
                  <a:gd name="connsiteY82" fmla="*/ 45608 h 104397"/>
                  <a:gd name="connsiteX83" fmla="*/ 33789 w 96064"/>
                  <a:gd name="connsiteY83" fmla="*/ 47426 h 104397"/>
                  <a:gd name="connsiteX84" fmla="*/ 36971 w 96064"/>
                  <a:gd name="connsiteY84" fmla="*/ 49850 h 104397"/>
                  <a:gd name="connsiteX85" fmla="*/ 39698 w 96064"/>
                  <a:gd name="connsiteY85" fmla="*/ 52123 h 104397"/>
                  <a:gd name="connsiteX86" fmla="*/ 41820 w 96064"/>
                  <a:gd name="connsiteY86" fmla="*/ 58487 h 104397"/>
                  <a:gd name="connsiteX87" fmla="*/ 43335 w 96064"/>
                  <a:gd name="connsiteY87" fmla="*/ 61517 h 104397"/>
                  <a:gd name="connsiteX88" fmla="*/ 44244 w 96064"/>
                  <a:gd name="connsiteY88" fmla="*/ 63790 h 104397"/>
                  <a:gd name="connsiteX89" fmla="*/ 43790 w 96064"/>
                  <a:gd name="connsiteY89" fmla="*/ 68336 h 104397"/>
                  <a:gd name="connsiteX90" fmla="*/ 44395 w 96064"/>
                  <a:gd name="connsiteY90" fmla="*/ 70154 h 104397"/>
                  <a:gd name="connsiteX91" fmla="*/ 43184 w 96064"/>
                  <a:gd name="connsiteY91" fmla="*/ 73791 h 104397"/>
                  <a:gd name="connsiteX92" fmla="*/ 41062 w 96064"/>
                  <a:gd name="connsiteY92" fmla="*/ 80912 h 104397"/>
                  <a:gd name="connsiteX93" fmla="*/ 40456 w 96064"/>
                  <a:gd name="connsiteY93" fmla="*/ 86518 h 104397"/>
                  <a:gd name="connsiteX94" fmla="*/ 40911 w 96064"/>
                  <a:gd name="connsiteY94" fmla="*/ 89700 h 104397"/>
                  <a:gd name="connsiteX95" fmla="*/ 40911 w 96064"/>
                  <a:gd name="connsiteY95" fmla="*/ 91670 h 104397"/>
                  <a:gd name="connsiteX96" fmla="*/ 41365 w 96064"/>
                  <a:gd name="connsiteY96" fmla="*/ 92882 h 104397"/>
                  <a:gd name="connsiteX97" fmla="*/ 41971 w 96064"/>
                  <a:gd name="connsiteY97" fmla="*/ 95458 h 104397"/>
                  <a:gd name="connsiteX98" fmla="*/ 42123 w 96064"/>
                  <a:gd name="connsiteY98" fmla="*/ 97731 h 104397"/>
                  <a:gd name="connsiteX99" fmla="*/ 41365 w 96064"/>
                  <a:gd name="connsiteY99" fmla="*/ 98337 h 104397"/>
                  <a:gd name="connsiteX100" fmla="*/ 40153 w 96064"/>
                  <a:gd name="connsiteY100" fmla="*/ 98792 h 104397"/>
                  <a:gd name="connsiteX101" fmla="*/ 39698 w 96064"/>
                  <a:gd name="connsiteY101" fmla="*/ 99246 h 104397"/>
                  <a:gd name="connsiteX102" fmla="*/ 40759 w 96064"/>
                  <a:gd name="connsiteY102" fmla="*/ 100307 h 104397"/>
                  <a:gd name="connsiteX103" fmla="*/ 42123 w 96064"/>
                  <a:gd name="connsiteY103" fmla="*/ 102125 h 104397"/>
                  <a:gd name="connsiteX104" fmla="*/ 43486 w 96064"/>
                  <a:gd name="connsiteY104" fmla="*/ 104398 h 104397"/>
                  <a:gd name="connsiteX105" fmla="*/ 45002 w 96064"/>
                  <a:gd name="connsiteY105" fmla="*/ 103186 h 104397"/>
                  <a:gd name="connsiteX106" fmla="*/ 46214 w 96064"/>
                  <a:gd name="connsiteY106" fmla="*/ 102731 h 104397"/>
                  <a:gd name="connsiteX107" fmla="*/ 50608 w 96064"/>
                  <a:gd name="connsiteY107" fmla="*/ 102428 h 104397"/>
                  <a:gd name="connsiteX108" fmla="*/ 51366 w 96064"/>
                  <a:gd name="connsiteY108" fmla="*/ 102125 h 104397"/>
                  <a:gd name="connsiteX109" fmla="*/ 51517 w 96064"/>
                  <a:gd name="connsiteY109" fmla="*/ 101216 h 104397"/>
                  <a:gd name="connsiteX110" fmla="*/ 51820 w 96064"/>
                  <a:gd name="connsiteY110" fmla="*/ 100155 h 104397"/>
                  <a:gd name="connsiteX111" fmla="*/ 51669 w 96064"/>
                  <a:gd name="connsiteY111" fmla="*/ 98640 h 104397"/>
                  <a:gd name="connsiteX112" fmla="*/ 51214 w 96064"/>
                  <a:gd name="connsiteY112" fmla="*/ 96973 h 104397"/>
                  <a:gd name="connsiteX113" fmla="*/ 53184 w 96064"/>
                  <a:gd name="connsiteY113" fmla="*/ 94700 h 104397"/>
                  <a:gd name="connsiteX114" fmla="*/ 56063 w 96064"/>
                  <a:gd name="connsiteY114" fmla="*/ 92731 h 104397"/>
                  <a:gd name="connsiteX115" fmla="*/ 57729 w 96064"/>
                  <a:gd name="connsiteY115" fmla="*/ 90761 h 104397"/>
                  <a:gd name="connsiteX116" fmla="*/ 57881 w 96064"/>
                  <a:gd name="connsiteY116" fmla="*/ 87730 h 104397"/>
                  <a:gd name="connsiteX117" fmla="*/ 60911 w 96064"/>
                  <a:gd name="connsiteY117" fmla="*/ 86367 h 104397"/>
                  <a:gd name="connsiteX118" fmla="*/ 63639 w 96064"/>
                  <a:gd name="connsiteY118" fmla="*/ 83942 h 104397"/>
                  <a:gd name="connsiteX119" fmla="*/ 64396 w 96064"/>
                  <a:gd name="connsiteY119" fmla="*/ 81367 h 104397"/>
                  <a:gd name="connsiteX120" fmla="*/ 65305 w 96064"/>
                  <a:gd name="connsiteY120" fmla="*/ 79700 h 104397"/>
                  <a:gd name="connsiteX121" fmla="*/ 63487 w 96064"/>
                  <a:gd name="connsiteY121" fmla="*/ 75760 h 104397"/>
                  <a:gd name="connsiteX122" fmla="*/ 63184 w 96064"/>
                  <a:gd name="connsiteY122" fmla="*/ 73336 h 104397"/>
                  <a:gd name="connsiteX123" fmla="*/ 63033 w 96064"/>
                  <a:gd name="connsiteY123" fmla="*/ 71215 h 104397"/>
                  <a:gd name="connsiteX124" fmla="*/ 63942 w 96064"/>
                  <a:gd name="connsiteY124" fmla="*/ 70003 h 104397"/>
                  <a:gd name="connsiteX125" fmla="*/ 66518 w 96064"/>
                  <a:gd name="connsiteY125" fmla="*/ 68639 h 104397"/>
                  <a:gd name="connsiteX126" fmla="*/ 69093 w 96064"/>
                  <a:gd name="connsiteY126" fmla="*/ 67578 h 104397"/>
                  <a:gd name="connsiteX127" fmla="*/ 70154 w 96064"/>
                  <a:gd name="connsiteY127" fmla="*/ 67730 h 104397"/>
                  <a:gd name="connsiteX128" fmla="*/ 70609 w 96064"/>
                  <a:gd name="connsiteY128" fmla="*/ 68336 h 104397"/>
                  <a:gd name="connsiteX129" fmla="*/ 70760 w 96064"/>
                  <a:gd name="connsiteY129" fmla="*/ 72730 h 104397"/>
                  <a:gd name="connsiteX130" fmla="*/ 71215 w 96064"/>
                  <a:gd name="connsiteY130" fmla="*/ 72730 h 104397"/>
                  <a:gd name="connsiteX131" fmla="*/ 72124 w 96064"/>
                  <a:gd name="connsiteY131" fmla="*/ 72275 h 104397"/>
                  <a:gd name="connsiteX132" fmla="*/ 73488 w 96064"/>
                  <a:gd name="connsiteY132" fmla="*/ 69700 h 104397"/>
                  <a:gd name="connsiteX133" fmla="*/ 74397 w 96064"/>
                  <a:gd name="connsiteY133" fmla="*/ 70457 h 104397"/>
                  <a:gd name="connsiteX134" fmla="*/ 75912 w 96064"/>
                  <a:gd name="connsiteY134" fmla="*/ 70760 h 104397"/>
                  <a:gd name="connsiteX135" fmla="*/ 76972 w 96064"/>
                  <a:gd name="connsiteY135" fmla="*/ 70003 h 104397"/>
                  <a:gd name="connsiteX136" fmla="*/ 77579 w 96064"/>
                  <a:gd name="connsiteY136" fmla="*/ 70154 h 104397"/>
                  <a:gd name="connsiteX137" fmla="*/ 78488 w 96064"/>
                  <a:gd name="connsiteY137" fmla="*/ 70760 h 104397"/>
                  <a:gd name="connsiteX138" fmla="*/ 80306 w 96064"/>
                  <a:gd name="connsiteY138" fmla="*/ 71669 h 104397"/>
                  <a:gd name="connsiteX139" fmla="*/ 81973 w 96064"/>
                  <a:gd name="connsiteY139" fmla="*/ 71972 h 104397"/>
                  <a:gd name="connsiteX140" fmla="*/ 83336 w 96064"/>
                  <a:gd name="connsiteY140" fmla="*/ 71366 h 104397"/>
                  <a:gd name="connsiteX141" fmla="*/ 84397 w 96064"/>
                  <a:gd name="connsiteY141" fmla="*/ 70306 h 104397"/>
                  <a:gd name="connsiteX142" fmla="*/ 85609 w 96064"/>
                  <a:gd name="connsiteY142" fmla="*/ 70760 h 104397"/>
                  <a:gd name="connsiteX143" fmla="*/ 88034 w 96064"/>
                  <a:gd name="connsiteY143" fmla="*/ 73639 h 104397"/>
                  <a:gd name="connsiteX144" fmla="*/ 89094 w 96064"/>
                  <a:gd name="connsiteY144" fmla="*/ 73336 h 104397"/>
                  <a:gd name="connsiteX145" fmla="*/ 94549 w 96064"/>
                  <a:gd name="connsiteY145" fmla="*/ 72730 h 104397"/>
                  <a:gd name="connsiteX146" fmla="*/ 95458 w 96064"/>
                  <a:gd name="connsiteY146" fmla="*/ 71972 h 104397"/>
                  <a:gd name="connsiteX147" fmla="*/ 96064 w 96064"/>
                  <a:gd name="connsiteY147" fmla="*/ 71215 h 10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96064" h="104397">
                    <a:moveTo>
                      <a:pt x="90306" y="67275"/>
                    </a:moveTo>
                    <a:lnTo>
                      <a:pt x="90610" y="64245"/>
                    </a:lnTo>
                    <a:lnTo>
                      <a:pt x="90912" y="60911"/>
                    </a:lnTo>
                    <a:lnTo>
                      <a:pt x="90155" y="58790"/>
                    </a:lnTo>
                    <a:lnTo>
                      <a:pt x="89094" y="57275"/>
                    </a:lnTo>
                    <a:lnTo>
                      <a:pt x="84852" y="55457"/>
                    </a:lnTo>
                    <a:lnTo>
                      <a:pt x="81518" y="53487"/>
                    </a:lnTo>
                    <a:lnTo>
                      <a:pt x="80760" y="52578"/>
                    </a:lnTo>
                    <a:lnTo>
                      <a:pt x="80609" y="51517"/>
                    </a:lnTo>
                    <a:lnTo>
                      <a:pt x="80457" y="49699"/>
                    </a:lnTo>
                    <a:lnTo>
                      <a:pt x="79246" y="48184"/>
                    </a:lnTo>
                    <a:lnTo>
                      <a:pt x="79094" y="46972"/>
                    </a:lnTo>
                    <a:lnTo>
                      <a:pt x="79851" y="45002"/>
                    </a:lnTo>
                    <a:lnTo>
                      <a:pt x="80155" y="42880"/>
                    </a:lnTo>
                    <a:lnTo>
                      <a:pt x="79851" y="41971"/>
                    </a:lnTo>
                    <a:lnTo>
                      <a:pt x="79094" y="41365"/>
                    </a:lnTo>
                    <a:lnTo>
                      <a:pt x="77579" y="41214"/>
                    </a:lnTo>
                    <a:lnTo>
                      <a:pt x="75609" y="40001"/>
                    </a:lnTo>
                    <a:lnTo>
                      <a:pt x="74245" y="38335"/>
                    </a:lnTo>
                    <a:lnTo>
                      <a:pt x="70609" y="36062"/>
                    </a:lnTo>
                    <a:lnTo>
                      <a:pt x="69396" y="35607"/>
                    </a:lnTo>
                    <a:lnTo>
                      <a:pt x="68791" y="34395"/>
                    </a:lnTo>
                    <a:lnTo>
                      <a:pt x="68487" y="33032"/>
                    </a:lnTo>
                    <a:lnTo>
                      <a:pt x="69245" y="31213"/>
                    </a:lnTo>
                    <a:lnTo>
                      <a:pt x="70154" y="28637"/>
                    </a:lnTo>
                    <a:lnTo>
                      <a:pt x="70912" y="26062"/>
                    </a:lnTo>
                    <a:lnTo>
                      <a:pt x="70912" y="24546"/>
                    </a:lnTo>
                    <a:lnTo>
                      <a:pt x="70457" y="20758"/>
                    </a:lnTo>
                    <a:lnTo>
                      <a:pt x="68487" y="17879"/>
                    </a:lnTo>
                    <a:lnTo>
                      <a:pt x="67578" y="17576"/>
                    </a:lnTo>
                    <a:lnTo>
                      <a:pt x="66063" y="18334"/>
                    </a:lnTo>
                    <a:lnTo>
                      <a:pt x="64396" y="19092"/>
                    </a:lnTo>
                    <a:lnTo>
                      <a:pt x="63033" y="18334"/>
                    </a:lnTo>
                    <a:lnTo>
                      <a:pt x="61366" y="16819"/>
                    </a:lnTo>
                    <a:lnTo>
                      <a:pt x="58942" y="12576"/>
                    </a:lnTo>
                    <a:lnTo>
                      <a:pt x="54244" y="11667"/>
                    </a:lnTo>
                    <a:lnTo>
                      <a:pt x="52275" y="11516"/>
                    </a:lnTo>
                    <a:lnTo>
                      <a:pt x="50456" y="13485"/>
                    </a:lnTo>
                    <a:lnTo>
                      <a:pt x="49850" y="12879"/>
                    </a:lnTo>
                    <a:lnTo>
                      <a:pt x="49244" y="11516"/>
                    </a:lnTo>
                    <a:lnTo>
                      <a:pt x="48335" y="11061"/>
                    </a:lnTo>
                    <a:lnTo>
                      <a:pt x="46972" y="11667"/>
                    </a:lnTo>
                    <a:lnTo>
                      <a:pt x="46668" y="11061"/>
                    </a:lnTo>
                    <a:lnTo>
                      <a:pt x="47274" y="9243"/>
                    </a:lnTo>
                    <a:lnTo>
                      <a:pt x="45759" y="8334"/>
                    </a:lnTo>
                    <a:lnTo>
                      <a:pt x="42123" y="8334"/>
                    </a:lnTo>
                    <a:lnTo>
                      <a:pt x="40153" y="7728"/>
                    </a:lnTo>
                    <a:lnTo>
                      <a:pt x="39850" y="6364"/>
                    </a:lnTo>
                    <a:lnTo>
                      <a:pt x="38789" y="5455"/>
                    </a:lnTo>
                    <a:lnTo>
                      <a:pt x="36668" y="5000"/>
                    </a:lnTo>
                    <a:lnTo>
                      <a:pt x="34698" y="3940"/>
                    </a:lnTo>
                    <a:lnTo>
                      <a:pt x="32880" y="2121"/>
                    </a:lnTo>
                    <a:lnTo>
                      <a:pt x="29850" y="909"/>
                    </a:lnTo>
                    <a:lnTo>
                      <a:pt x="26062" y="455"/>
                    </a:lnTo>
                    <a:lnTo>
                      <a:pt x="25759" y="303"/>
                    </a:lnTo>
                    <a:lnTo>
                      <a:pt x="25455" y="0"/>
                    </a:lnTo>
                    <a:lnTo>
                      <a:pt x="22880" y="1212"/>
                    </a:lnTo>
                    <a:lnTo>
                      <a:pt x="21364" y="2121"/>
                    </a:lnTo>
                    <a:lnTo>
                      <a:pt x="19546" y="1515"/>
                    </a:lnTo>
                    <a:lnTo>
                      <a:pt x="16667" y="3788"/>
                    </a:lnTo>
                    <a:lnTo>
                      <a:pt x="10607" y="3788"/>
                    </a:lnTo>
                    <a:lnTo>
                      <a:pt x="7576" y="3637"/>
                    </a:lnTo>
                    <a:lnTo>
                      <a:pt x="6212" y="3182"/>
                    </a:lnTo>
                    <a:lnTo>
                      <a:pt x="606" y="6364"/>
                    </a:lnTo>
                    <a:lnTo>
                      <a:pt x="0" y="7576"/>
                    </a:lnTo>
                    <a:lnTo>
                      <a:pt x="2576" y="7425"/>
                    </a:lnTo>
                    <a:lnTo>
                      <a:pt x="4545" y="7728"/>
                    </a:lnTo>
                    <a:lnTo>
                      <a:pt x="7728" y="9394"/>
                    </a:lnTo>
                    <a:lnTo>
                      <a:pt x="9849" y="11213"/>
                    </a:lnTo>
                    <a:lnTo>
                      <a:pt x="10758" y="12879"/>
                    </a:lnTo>
                    <a:lnTo>
                      <a:pt x="12576" y="15001"/>
                    </a:lnTo>
                    <a:lnTo>
                      <a:pt x="14546" y="18183"/>
                    </a:lnTo>
                    <a:lnTo>
                      <a:pt x="16667" y="22274"/>
                    </a:lnTo>
                    <a:lnTo>
                      <a:pt x="17122" y="24243"/>
                    </a:lnTo>
                    <a:lnTo>
                      <a:pt x="18031" y="26516"/>
                    </a:lnTo>
                    <a:lnTo>
                      <a:pt x="19546" y="29243"/>
                    </a:lnTo>
                    <a:lnTo>
                      <a:pt x="22728" y="32274"/>
                    </a:lnTo>
                    <a:lnTo>
                      <a:pt x="23031" y="32880"/>
                    </a:lnTo>
                    <a:lnTo>
                      <a:pt x="24546" y="34850"/>
                    </a:lnTo>
                    <a:lnTo>
                      <a:pt x="27122" y="39547"/>
                    </a:lnTo>
                    <a:lnTo>
                      <a:pt x="29395" y="41517"/>
                    </a:lnTo>
                    <a:lnTo>
                      <a:pt x="31365" y="43486"/>
                    </a:lnTo>
                    <a:lnTo>
                      <a:pt x="32274" y="45608"/>
                    </a:lnTo>
                    <a:lnTo>
                      <a:pt x="33789" y="47426"/>
                    </a:lnTo>
                    <a:lnTo>
                      <a:pt x="36971" y="49850"/>
                    </a:lnTo>
                    <a:lnTo>
                      <a:pt x="39698" y="52123"/>
                    </a:lnTo>
                    <a:lnTo>
                      <a:pt x="41820" y="58487"/>
                    </a:lnTo>
                    <a:lnTo>
                      <a:pt x="43335" y="61517"/>
                    </a:lnTo>
                    <a:lnTo>
                      <a:pt x="44244" y="63790"/>
                    </a:lnTo>
                    <a:lnTo>
                      <a:pt x="43790" y="68336"/>
                    </a:lnTo>
                    <a:lnTo>
                      <a:pt x="44395" y="70154"/>
                    </a:lnTo>
                    <a:lnTo>
                      <a:pt x="43184" y="73791"/>
                    </a:lnTo>
                    <a:lnTo>
                      <a:pt x="41062" y="80912"/>
                    </a:lnTo>
                    <a:lnTo>
                      <a:pt x="40456" y="86518"/>
                    </a:lnTo>
                    <a:lnTo>
                      <a:pt x="40911" y="89700"/>
                    </a:lnTo>
                    <a:lnTo>
                      <a:pt x="40911" y="91670"/>
                    </a:lnTo>
                    <a:lnTo>
                      <a:pt x="41365" y="92882"/>
                    </a:lnTo>
                    <a:lnTo>
                      <a:pt x="41971" y="95458"/>
                    </a:lnTo>
                    <a:lnTo>
                      <a:pt x="42123" y="97731"/>
                    </a:lnTo>
                    <a:lnTo>
                      <a:pt x="41365" y="98337"/>
                    </a:lnTo>
                    <a:lnTo>
                      <a:pt x="40153" y="98792"/>
                    </a:lnTo>
                    <a:lnTo>
                      <a:pt x="39698" y="99246"/>
                    </a:lnTo>
                    <a:lnTo>
                      <a:pt x="40759" y="100307"/>
                    </a:lnTo>
                    <a:lnTo>
                      <a:pt x="42123" y="102125"/>
                    </a:lnTo>
                    <a:lnTo>
                      <a:pt x="43486" y="104398"/>
                    </a:lnTo>
                    <a:lnTo>
                      <a:pt x="45002" y="103186"/>
                    </a:lnTo>
                    <a:lnTo>
                      <a:pt x="46214" y="102731"/>
                    </a:lnTo>
                    <a:lnTo>
                      <a:pt x="50608" y="102428"/>
                    </a:lnTo>
                    <a:lnTo>
                      <a:pt x="51366" y="102125"/>
                    </a:lnTo>
                    <a:lnTo>
                      <a:pt x="51517" y="101216"/>
                    </a:lnTo>
                    <a:lnTo>
                      <a:pt x="51820" y="100155"/>
                    </a:lnTo>
                    <a:lnTo>
                      <a:pt x="51669" y="98640"/>
                    </a:lnTo>
                    <a:lnTo>
                      <a:pt x="51214" y="96973"/>
                    </a:lnTo>
                    <a:lnTo>
                      <a:pt x="53184" y="94700"/>
                    </a:lnTo>
                    <a:lnTo>
                      <a:pt x="56063" y="92731"/>
                    </a:lnTo>
                    <a:lnTo>
                      <a:pt x="57729" y="90761"/>
                    </a:lnTo>
                    <a:lnTo>
                      <a:pt x="57881" y="87730"/>
                    </a:lnTo>
                    <a:lnTo>
                      <a:pt x="60911" y="86367"/>
                    </a:lnTo>
                    <a:lnTo>
                      <a:pt x="63639" y="83942"/>
                    </a:lnTo>
                    <a:lnTo>
                      <a:pt x="64396" y="81367"/>
                    </a:lnTo>
                    <a:lnTo>
                      <a:pt x="65305" y="79700"/>
                    </a:lnTo>
                    <a:lnTo>
                      <a:pt x="63487" y="75760"/>
                    </a:lnTo>
                    <a:lnTo>
                      <a:pt x="63184" y="73336"/>
                    </a:lnTo>
                    <a:lnTo>
                      <a:pt x="63033" y="71215"/>
                    </a:lnTo>
                    <a:lnTo>
                      <a:pt x="63942" y="70003"/>
                    </a:lnTo>
                    <a:lnTo>
                      <a:pt x="66518" y="68639"/>
                    </a:lnTo>
                    <a:lnTo>
                      <a:pt x="69093" y="67578"/>
                    </a:lnTo>
                    <a:lnTo>
                      <a:pt x="70154" y="67730"/>
                    </a:lnTo>
                    <a:lnTo>
                      <a:pt x="70609" y="68336"/>
                    </a:lnTo>
                    <a:lnTo>
                      <a:pt x="70760" y="72730"/>
                    </a:lnTo>
                    <a:lnTo>
                      <a:pt x="71215" y="72730"/>
                    </a:lnTo>
                    <a:lnTo>
                      <a:pt x="72124" y="72275"/>
                    </a:lnTo>
                    <a:lnTo>
                      <a:pt x="73488" y="69700"/>
                    </a:lnTo>
                    <a:lnTo>
                      <a:pt x="74397" y="70457"/>
                    </a:lnTo>
                    <a:lnTo>
                      <a:pt x="75912" y="70760"/>
                    </a:lnTo>
                    <a:lnTo>
                      <a:pt x="76972" y="70003"/>
                    </a:lnTo>
                    <a:lnTo>
                      <a:pt x="77579" y="70154"/>
                    </a:lnTo>
                    <a:lnTo>
                      <a:pt x="78488" y="70760"/>
                    </a:lnTo>
                    <a:lnTo>
                      <a:pt x="80306" y="71669"/>
                    </a:lnTo>
                    <a:lnTo>
                      <a:pt x="81973" y="71972"/>
                    </a:lnTo>
                    <a:lnTo>
                      <a:pt x="83336" y="71366"/>
                    </a:lnTo>
                    <a:lnTo>
                      <a:pt x="84397" y="70306"/>
                    </a:lnTo>
                    <a:lnTo>
                      <a:pt x="85609" y="70760"/>
                    </a:lnTo>
                    <a:lnTo>
                      <a:pt x="88034" y="73639"/>
                    </a:lnTo>
                    <a:lnTo>
                      <a:pt x="89094" y="73336"/>
                    </a:lnTo>
                    <a:lnTo>
                      <a:pt x="94549" y="72730"/>
                    </a:lnTo>
                    <a:lnTo>
                      <a:pt x="95458" y="71972"/>
                    </a:lnTo>
                    <a:lnTo>
                      <a:pt x="96064" y="712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7" name="Freeform: Shape 3226">
                <a:extLst>
                  <a:ext uri="{FF2B5EF4-FFF2-40B4-BE49-F238E27FC236}">
                    <a16:creationId xmlns:a16="http://schemas.microsoft.com/office/drawing/2014/main" id="{34D34570-6FCD-4652-9FCA-B72951D4035D}"/>
                  </a:ext>
                </a:extLst>
              </p:cNvPr>
              <p:cNvSpPr/>
              <p:nvPr/>
            </p:nvSpPr>
            <p:spPr>
              <a:xfrm>
                <a:off x="5979025" y="3288462"/>
                <a:ext cx="1666" cy="1363"/>
              </a:xfrm>
              <a:custGeom>
                <a:avLst/>
                <a:gdLst>
                  <a:gd name="connsiteX0" fmla="*/ 1667 w 1666"/>
                  <a:gd name="connsiteY0" fmla="*/ 303 h 1363"/>
                  <a:gd name="connsiteX1" fmla="*/ 1061 w 1666"/>
                  <a:gd name="connsiteY1" fmla="*/ 0 h 1363"/>
                  <a:gd name="connsiteX2" fmla="*/ 455 w 1666"/>
                  <a:gd name="connsiteY2" fmla="*/ 303 h 1363"/>
                  <a:gd name="connsiteX3" fmla="*/ 152 w 1666"/>
                  <a:gd name="connsiteY3" fmla="*/ 606 h 1363"/>
                  <a:gd name="connsiteX4" fmla="*/ 0 w 1666"/>
                  <a:gd name="connsiteY4" fmla="*/ 1364 h 1363"/>
                  <a:gd name="connsiteX5" fmla="*/ 1667 w 1666"/>
                  <a:gd name="connsiteY5" fmla="*/ 758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 h="1363">
                    <a:moveTo>
                      <a:pt x="1667" y="303"/>
                    </a:moveTo>
                    <a:lnTo>
                      <a:pt x="1061" y="0"/>
                    </a:lnTo>
                    <a:lnTo>
                      <a:pt x="455" y="303"/>
                    </a:lnTo>
                    <a:lnTo>
                      <a:pt x="152" y="606"/>
                    </a:lnTo>
                    <a:lnTo>
                      <a:pt x="0" y="1364"/>
                    </a:lnTo>
                    <a:lnTo>
                      <a:pt x="1667" y="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8" name="Freeform: Shape 3227">
                <a:extLst>
                  <a:ext uri="{FF2B5EF4-FFF2-40B4-BE49-F238E27FC236}">
                    <a16:creationId xmlns:a16="http://schemas.microsoft.com/office/drawing/2014/main" id="{A72D33BC-B3D0-4FC2-9C15-39DF70741C9B}"/>
                  </a:ext>
                </a:extLst>
              </p:cNvPr>
              <p:cNvSpPr/>
              <p:nvPr/>
            </p:nvSpPr>
            <p:spPr>
              <a:xfrm>
                <a:off x="5312031" y="3540592"/>
                <a:ext cx="436076" cy="430167"/>
              </a:xfrm>
              <a:custGeom>
                <a:avLst/>
                <a:gdLst>
                  <a:gd name="connsiteX0" fmla="*/ 433349 w 436076"/>
                  <a:gd name="connsiteY0" fmla="*/ 108489 h 430167"/>
                  <a:gd name="connsiteX1" fmla="*/ 436077 w 436076"/>
                  <a:gd name="connsiteY1" fmla="*/ 106368 h 430167"/>
                  <a:gd name="connsiteX2" fmla="*/ 434713 w 436076"/>
                  <a:gd name="connsiteY2" fmla="*/ 103792 h 430167"/>
                  <a:gd name="connsiteX3" fmla="*/ 432592 w 436076"/>
                  <a:gd name="connsiteY3" fmla="*/ 102125 h 430167"/>
                  <a:gd name="connsiteX4" fmla="*/ 429713 w 436076"/>
                  <a:gd name="connsiteY4" fmla="*/ 100004 h 430167"/>
                  <a:gd name="connsiteX5" fmla="*/ 428197 w 436076"/>
                  <a:gd name="connsiteY5" fmla="*/ 99246 h 430167"/>
                  <a:gd name="connsiteX6" fmla="*/ 425470 w 436076"/>
                  <a:gd name="connsiteY6" fmla="*/ 96670 h 430167"/>
                  <a:gd name="connsiteX7" fmla="*/ 423804 w 436076"/>
                  <a:gd name="connsiteY7" fmla="*/ 93943 h 430167"/>
                  <a:gd name="connsiteX8" fmla="*/ 422743 w 436076"/>
                  <a:gd name="connsiteY8" fmla="*/ 87882 h 430167"/>
                  <a:gd name="connsiteX9" fmla="*/ 420621 w 436076"/>
                  <a:gd name="connsiteY9" fmla="*/ 84549 h 430167"/>
                  <a:gd name="connsiteX10" fmla="*/ 419258 w 436076"/>
                  <a:gd name="connsiteY10" fmla="*/ 80457 h 430167"/>
                  <a:gd name="connsiteX11" fmla="*/ 420470 w 436076"/>
                  <a:gd name="connsiteY11" fmla="*/ 72881 h 430167"/>
                  <a:gd name="connsiteX12" fmla="*/ 418500 w 436076"/>
                  <a:gd name="connsiteY12" fmla="*/ 68336 h 430167"/>
                  <a:gd name="connsiteX13" fmla="*/ 418197 w 436076"/>
                  <a:gd name="connsiteY13" fmla="*/ 66366 h 430167"/>
                  <a:gd name="connsiteX14" fmla="*/ 418197 w 436076"/>
                  <a:gd name="connsiteY14" fmla="*/ 63942 h 430167"/>
                  <a:gd name="connsiteX15" fmla="*/ 418803 w 436076"/>
                  <a:gd name="connsiteY15" fmla="*/ 60002 h 430167"/>
                  <a:gd name="connsiteX16" fmla="*/ 418500 w 436076"/>
                  <a:gd name="connsiteY16" fmla="*/ 54244 h 430167"/>
                  <a:gd name="connsiteX17" fmla="*/ 416076 w 436076"/>
                  <a:gd name="connsiteY17" fmla="*/ 48335 h 430167"/>
                  <a:gd name="connsiteX18" fmla="*/ 417288 w 436076"/>
                  <a:gd name="connsiteY18" fmla="*/ 46365 h 430167"/>
                  <a:gd name="connsiteX19" fmla="*/ 417742 w 436076"/>
                  <a:gd name="connsiteY19" fmla="*/ 45305 h 430167"/>
                  <a:gd name="connsiteX20" fmla="*/ 417591 w 436076"/>
                  <a:gd name="connsiteY20" fmla="*/ 44396 h 430167"/>
                  <a:gd name="connsiteX21" fmla="*/ 415470 w 436076"/>
                  <a:gd name="connsiteY21" fmla="*/ 42577 h 430167"/>
                  <a:gd name="connsiteX22" fmla="*/ 414561 w 436076"/>
                  <a:gd name="connsiteY22" fmla="*/ 41062 h 430167"/>
                  <a:gd name="connsiteX23" fmla="*/ 415015 w 436076"/>
                  <a:gd name="connsiteY23" fmla="*/ 39547 h 430167"/>
                  <a:gd name="connsiteX24" fmla="*/ 416076 w 436076"/>
                  <a:gd name="connsiteY24" fmla="*/ 37426 h 430167"/>
                  <a:gd name="connsiteX25" fmla="*/ 416076 w 436076"/>
                  <a:gd name="connsiteY25" fmla="*/ 36517 h 430167"/>
                  <a:gd name="connsiteX26" fmla="*/ 412591 w 436076"/>
                  <a:gd name="connsiteY26" fmla="*/ 33941 h 430167"/>
                  <a:gd name="connsiteX27" fmla="*/ 406833 w 436076"/>
                  <a:gd name="connsiteY27" fmla="*/ 29850 h 430167"/>
                  <a:gd name="connsiteX28" fmla="*/ 405166 w 436076"/>
                  <a:gd name="connsiteY28" fmla="*/ 28031 h 430167"/>
                  <a:gd name="connsiteX29" fmla="*/ 404409 w 436076"/>
                  <a:gd name="connsiteY29" fmla="*/ 25607 h 430167"/>
                  <a:gd name="connsiteX30" fmla="*/ 398802 w 436076"/>
                  <a:gd name="connsiteY30" fmla="*/ 25001 h 430167"/>
                  <a:gd name="connsiteX31" fmla="*/ 393045 w 436076"/>
                  <a:gd name="connsiteY31" fmla="*/ 25456 h 430167"/>
                  <a:gd name="connsiteX32" fmla="*/ 390469 w 436076"/>
                  <a:gd name="connsiteY32" fmla="*/ 24698 h 430167"/>
                  <a:gd name="connsiteX33" fmla="*/ 387438 w 436076"/>
                  <a:gd name="connsiteY33" fmla="*/ 25001 h 430167"/>
                  <a:gd name="connsiteX34" fmla="*/ 386681 w 436076"/>
                  <a:gd name="connsiteY34" fmla="*/ 23486 h 430167"/>
                  <a:gd name="connsiteX35" fmla="*/ 385166 w 436076"/>
                  <a:gd name="connsiteY35" fmla="*/ 20001 h 430167"/>
                  <a:gd name="connsiteX36" fmla="*/ 384408 w 436076"/>
                  <a:gd name="connsiteY36" fmla="*/ 19092 h 430167"/>
                  <a:gd name="connsiteX37" fmla="*/ 384256 w 436076"/>
                  <a:gd name="connsiteY37" fmla="*/ 17728 h 430167"/>
                  <a:gd name="connsiteX38" fmla="*/ 383802 w 436076"/>
                  <a:gd name="connsiteY38" fmla="*/ 16364 h 430167"/>
                  <a:gd name="connsiteX39" fmla="*/ 381378 w 436076"/>
                  <a:gd name="connsiteY39" fmla="*/ 19092 h 430167"/>
                  <a:gd name="connsiteX40" fmla="*/ 377438 w 436076"/>
                  <a:gd name="connsiteY40" fmla="*/ 21516 h 430167"/>
                  <a:gd name="connsiteX41" fmla="*/ 372286 w 436076"/>
                  <a:gd name="connsiteY41" fmla="*/ 22274 h 430167"/>
                  <a:gd name="connsiteX42" fmla="*/ 366983 w 436076"/>
                  <a:gd name="connsiteY42" fmla="*/ 21819 h 430167"/>
                  <a:gd name="connsiteX43" fmla="*/ 364104 w 436076"/>
                  <a:gd name="connsiteY43" fmla="*/ 20304 h 430167"/>
                  <a:gd name="connsiteX44" fmla="*/ 361528 w 436076"/>
                  <a:gd name="connsiteY44" fmla="*/ 21364 h 430167"/>
                  <a:gd name="connsiteX45" fmla="*/ 356225 w 436076"/>
                  <a:gd name="connsiteY45" fmla="*/ 21364 h 430167"/>
                  <a:gd name="connsiteX46" fmla="*/ 346680 w 436076"/>
                  <a:gd name="connsiteY46" fmla="*/ 23940 h 430167"/>
                  <a:gd name="connsiteX47" fmla="*/ 338497 w 436076"/>
                  <a:gd name="connsiteY47" fmla="*/ 22577 h 430167"/>
                  <a:gd name="connsiteX48" fmla="*/ 332739 w 436076"/>
                  <a:gd name="connsiteY48" fmla="*/ 20152 h 430167"/>
                  <a:gd name="connsiteX49" fmla="*/ 325466 w 436076"/>
                  <a:gd name="connsiteY49" fmla="*/ 14394 h 430167"/>
                  <a:gd name="connsiteX50" fmla="*/ 321375 w 436076"/>
                  <a:gd name="connsiteY50" fmla="*/ 9849 h 430167"/>
                  <a:gd name="connsiteX51" fmla="*/ 319103 w 436076"/>
                  <a:gd name="connsiteY51" fmla="*/ 5758 h 430167"/>
                  <a:gd name="connsiteX52" fmla="*/ 319103 w 436076"/>
                  <a:gd name="connsiteY52" fmla="*/ 2424 h 430167"/>
                  <a:gd name="connsiteX53" fmla="*/ 320769 w 436076"/>
                  <a:gd name="connsiteY53" fmla="*/ 909 h 430167"/>
                  <a:gd name="connsiteX54" fmla="*/ 317436 w 436076"/>
                  <a:gd name="connsiteY54" fmla="*/ 0 h 430167"/>
                  <a:gd name="connsiteX55" fmla="*/ 314102 w 436076"/>
                  <a:gd name="connsiteY55" fmla="*/ 2121 h 430167"/>
                  <a:gd name="connsiteX56" fmla="*/ 311375 w 436076"/>
                  <a:gd name="connsiteY56" fmla="*/ 3182 h 430167"/>
                  <a:gd name="connsiteX57" fmla="*/ 307890 w 436076"/>
                  <a:gd name="connsiteY57" fmla="*/ 3637 h 430167"/>
                  <a:gd name="connsiteX58" fmla="*/ 303042 w 436076"/>
                  <a:gd name="connsiteY58" fmla="*/ 4546 h 430167"/>
                  <a:gd name="connsiteX59" fmla="*/ 302132 w 436076"/>
                  <a:gd name="connsiteY59" fmla="*/ 7728 h 430167"/>
                  <a:gd name="connsiteX60" fmla="*/ 291374 w 436076"/>
                  <a:gd name="connsiteY60" fmla="*/ 35759 h 430167"/>
                  <a:gd name="connsiteX61" fmla="*/ 280313 w 436076"/>
                  <a:gd name="connsiteY61" fmla="*/ 55608 h 430167"/>
                  <a:gd name="connsiteX62" fmla="*/ 276374 w 436076"/>
                  <a:gd name="connsiteY62" fmla="*/ 60608 h 430167"/>
                  <a:gd name="connsiteX63" fmla="*/ 269707 w 436076"/>
                  <a:gd name="connsiteY63" fmla="*/ 64851 h 430167"/>
                  <a:gd name="connsiteX64" fmla="*/ 258191 w 436076"/>
                  <a:gd name="connsiteY64" fmla="*/ 70609 h 430167"/>
                  <a:gd name="connsiteX65" fmla="*/ 238039 w 436076"/>
                  <a:gd name="connsiteY65" fmla="*/ 78791 h 430167"/>
                  <a:gd name="connsiteX66" fmla="*/ 232281 w 436076"/>
                  <a:gd name="connsiteY66" fmla="*/ 82427 h 430167"/>
                  <a:gd name="connsiteX67" fmla="*/ 230008 w 436076"/>
                  <a:gd name="connsiteY67" fmla="*/ 84549 h 430167"/>
                  <a:gd name="connsiteX68" fmla="*/ 223341 w 436076"/>
                  <a:gd name="connsiteY68" fmla="*/ 92579 h 430167"/>
                  <a:gd name="connsiteX69" fmla="*/ 212129 w 436076"/>
                  <a:gd name="connsiteY69" fmla="*/ 103186 h 430167"/>
                  <a:gd name="connsiteX70" fmla="*/ 212129 w 436076"/>
                  <a:gd name="connsiteY70" fmla="*/ 105761 h 430167"/>
                  <a:gd name="connsiteX71" fmla="*/ 211068 w 436076"/>
                  <a:gd name="connsiteY71" fmla="*/ 113186 h 430167"/>
                  <a:gd name="connsiteX72" fmla="*/ 209401 w 436076"/>
                  <a:gd name="connsiteY72" fmla="*/ 117883 h 430167"/>
                  <a:gd name="connsiteX73" fmla="*/ 200462 w 436076"/>
                  <a:gd name="connsiteY73" fmla="*/ 129247 h 430167"/>
                  <a:gd name="connsiteX74" fmla="*/ 196825 w 436076"/>
                  <a:gd name="connsiteY74" fmla="*/ 137884 h 430167"/>
                  <a:gd name="connsiteX75" fmla="*/ 196068 w 436076"/>
                  <a:gd name="connsiteY75" fmla="*/ 148490 h 430167"/>
                  <a:gd name="connsiteX76" fmla="*/ 196068 w 436076"/>
                  <a:gd name="connsiteY76" fmla="*/ 155157 h 430167"/>
                  <a:gd name="connsiteX77" fmla="*/ 195007 w 436076"/>
                  <a:gd name="connsiteY77" fmla="*/ 159097 h 430167"/>
                  <a:gd name="connsiteX78" fmla="*/ 195613 w 436076"/>
                  <a:gd name="connsiteY78" fmla="*/ 161218 h 430167"/>
                  <a:gd name="connsiteX79" fmla="*/ 197734 w 436076"/>
                  <a:gd name="connsiteY79" fmla="*/ 162582 h 430167"/>
                  <a:gd name="connsiteX80" fmla="*/ 201068 w 436076"/>
                  <a:gd name="connsiteY80" fmla="*/ 167127 h 430167"/>
                  <a:gd name="connsiteX81" fmla="*/ 201825 w 436076"/>
                  <a:gd name="connsiteY81" fmla="*/ 170006 h 430167"/>
                  <a:gd name="connsiteX82" fmla="*/ 200613 w 436076"/>
                  <a:gd name="connsiteY82" fmla="*/ 177279 h 430167"/>
                  <a:gd name="connsiteX83" fmla="*/ 198644 w 436076"/>
                  <a:gd name="connsiteY83" fmla="*/ 181825 h 430167"/>
                  <a:gd name="connsiteX84" fmla="*/ 195613 w 436076"/>
                  <a:gd name="connsiteY84" fmla="*/ 186219 h 430167"/>
                  <a:gd name="connsiteX85" fmla="*/ 191219 w 436076"/>
                  <a:gd name="connsiteY85" fmla="*/ 191219 h 430167"/>
                  <a:gd name="connsiteX86" fmla="*/ 186067 w 436076"/>
                  <a:gd name="connsiteY86" fmla="*/ 198947 h 430167"/>
                  <a:gd name="connsiteX87" fmla="*/ 178188 w 436076"/>
                  <a:gd name="connsiteY87" fmla="*/ 208341 h 430167"/>
                  <a:gd name="connsiteX88" fmla="*/ 173188 w 436076"/>
                  <a:gd name="connsiteY88" fmla="*/ 211978 h 430167"/>
                  <a:gd name="connsiteX89" fmla="*/ 161976 w 436076"/>
                  <a:gd name="connsiteY89" fmla="*/ 218796 h 430167"/>
                  <a:gd name="connsiteX90" fmla="*/ 156066 w 436076"/>
                  <a:gd name="connsiteY90" fmla="*/ 224251 h 430167"/>
                  <a:gd name="connsiteX91" fmla="*/ 152430 w 436076"/>
                  <a:gd name="connsiteY91" fmla="*/ 228493 h 430167"/>
                  <a:gd name="connsiteX92" fmla="*/ 149096 w 436076"/>
                  <a:gd name="connsiteY92" fmla="*/ 230614 h 430167"/>
                  <a:gd name="connsiteX93" fmla="*/ 137278 w 436076"/>
                  <a:gd name="connsiteY93" fmla="*/ 235918 h 430167"/>
                  <a:gd name="connsiteX94" fmla="*/ 123944 w 436076"/>
                  <a:gd name="connsiteY94" fmla="*/ 239554 h 430167"/>
                  <a:gd name="connsiteX95" fmla="*/ 115155 w 436076"/>
                  <a:gd name="connsiteY95" fmla="*/ 240463 h 430167"/>
                  <a:gd name="connsiteX96" fmla="*/ 110913 w 436076"/>
                  <a:gd name="connsiteY96" fmla="*/ 242282 h 430167"/>
                  <a:gd name="connsiteX97" fmla="*/ 108337 w 436076"/>
                  <a:gd name="connsiteY97" fmla="*/ 246524 h 430167"/>
                  <a:gd name="connsiteX98" fmla="*/ 104701 w 436076"/>
                  <a:gd name="connsiteY98" fmla="*/ 249858 h 430167"/>
                  <a:gd name="connsiteX99" fmla="*/ 104549 w 436076"/>
                  <a:gd name="connsiteY99" fmla="*/ 250009 h 430167"/>
                  <a:gd name="connsiteX100" fmla="*/ 102428 w 436076"/>
                  <a:gd name="connsiteY100" fmla="*/ 256373 h 430167"/>
                  <a:gd name="connsiteX101" fmla="*/ 98185 w 436076"/>
                  <a:gd name="connsiteY101" fmla="*/ 264858 h 430167"/>
                  <a:gd name="connsiteX102" fmla="*/ 95912 w 436076"/>
                  <a:gd name="connsiteY102" fmla="*/ 272889 h 430167"/>
                  <a:gd name="connsiteX103" fmla="*/ 93640 w 436076"/>
                  <a:gd name="connsiteY103" fmla="*/ 276980 h 430167"/>
                  <a:gd name="connsiteX104" fmla="*/ 90458 w 436076"/>
                  <a:gd name="connsiteY104" fmla="*/ 279556 h 430167"/>
                  <a:gd name="connsiteX105" fmla="*/ 83488 w 436076"/>
                  <a:gd name="connsiteY105" fmla="*/ 284101 h 430167"/>
                  <a:gd name="connsiteX106" fmla="*/ 77427 w 436076"/>
                  <a:gd name="connsiteY106" fmla="*/ 286223 h 430167"/>
                  <a:gd name="connsiteX107" fmla="*/ 73487 w 436076"/>
                  <a:gd name="connsiteY107" fmla="*/ 289708 h 430167"/>
                  <a:gd name="connsiteX108" fmla="*/ 70760 w 436076"/>
                  <a:gd name="connsiteY108" fmla="*/ 290920 h 430167"/>
                  <a:gd name="connsiteX109" fmla="*/ 69245 w 436076"/>
                  <a:gd name="connsiteY109" fmla="*/ 293647 h 430167"/>
                  <a:gd name="connsiteX110" fmla="*/ 67730 w 436076"/>
                  <a:gd name="connsiteY110" fmla="*/ 300617 h 430167"/>
                  <a:gd name="connsiteX111" fmla="*/ 65608 w 436076"/>
                  <a:gd name="connsiteY111" fmla="*/ 303950 h 430167"/>
                  <a:gd name="connsiteX112" fmla="*/ 62729 w 436076"/>
                  <a:gd name="connsiteY112" fmla="*/ 311526 h 430167"/>
                  <a:gd name="connsiteX113" fmla="*/ 60305 w 436076"/>
                  <a:gd name="connsiteY113" fmla="*/ 315769 h 430167"/>
                  <a:gd name="connsiteX114" fmla="*/ 59093 w 436076"/>
                  <a:gd name="connsiteY114" fmla="*/ 321072 h 430167"/>
                  <a:gd name="connsiteX115" fmla="*/ 58638 w 436076"/>
                  <a:gd name="connsiteY115" fmla="*/ 331073 h 430167"/>
                  <a:gd name="connsiteX116" fmla="*/ 57426 w 436076"/>
                  <a:gd name="connsiteY116" fmla="*/ 335467 h 430167"/>
                  <a:gd name="connsiteX117" fmla="*/ 53638 w 436076"/>
                  <a:gd name="connsiteY117" fmla="*/ 340467 h 430167"/>
                  <a:gd name="connsiteX118" fmla="*/ 49547 w 436076"/>
                  <a:gd name="connsiteY118" fmla="*/ 342437 h 430167"/>
                  <a:gd name="connsiteX119" fmla="*/ 38638 w 436076"/>
                  <a:gd name="connsiteY119" fmla="*/ 354255 h 430167"/>
                  <a:gd name="connsiteX120" fmla="*/ 33486 w 436076"/>
                  <a:gd name="connsiteY120" fmla="*/ 357740 h 430167"/>
                  <a:gd name="connsiteX121" fmla="*/ 30152 w 436076"/>
                  <a:gd name="connsiteY121" fmla="*/ 360771 h 430167"/>
                  <a:gd name="connsiteX122" fmla="*/ 28637 w 436076"/>
                  <a:gd name="connsiteY122" fmla="*/ 363801 h 430167"/>
                  <a:gd name="connsiteX123" fmla="*/ 27880 w 436076"/>
                  <a:gd name="connsiteY123" fmla="*/ 365771 h 430167"/>
                  <a:gd name="connsiteX124" fmla="*/ 29850 w 436076"/>
                  <a:gd name="connsiteY124" fmla="*/ 364104 h 430167"/>
                  <a:gd name="connsiteX125" fmla="*/ 31364 w 436076"/>
                  <a:gd name="connsiteY125" fmla="*/ 362135 h 430167"/>
                  <a:gd name="connsiteX126" fmla="*/ 32880 w 436076"/>
                  <a:gd name="connsiteY126" fmla="*/ 360922 h 430167"/>
                  <a:gd name="connsiteX127" fmla="*/ 33183 w 436076"/>
                  <a:gd name="connsiteY127" fmla="*/ 362286 h 430167"/>
                  <a:gd name="connsiteX128" fmla="*/ 32729 w 436076"/>
                  <a:gd name="connsiteY128" fmla="*/ 363498 h 430167"/>
                  <a:gd name="connsiteX129" fmla="*/ 28941 w 436076"/>
                  <a:gd name="connsiteY129" fmla="*/ 369256 h 430167"/>
                  <a:gd name="connsiteX130" fmla="*/ 27425 w 436076"/>
                  <a:gd name="connsiteY130" fmla="*/ 372892 h 430167"/>
                  <a:gd name="connsiteX131" fmla="*/ 24243 w 436076"/>
                  <a:gd name="connsiteY131" fmla="*/ 378499 h 430167"/>
                  <a:gd name="connsiteX132" fmla="*/ 21667 w 436076"/>
                  <a:gd name="connsiteY132" fmla="*/ 382287 h 430167"/>
                  <a:gd name="connsiteX133" fmla="*/ 22728 w 436076"/>
                  <a:gd name="connsiteY133" fmla="*/ 384105 h 430167"/>
                  <a:gd name="connsiteX134" fmla="*/ 21819 w 436076"/>
                  <a:gd name="connsiteY134" fmla="*/ 386681 h 430167"/>
                  <a:gd name="connsiteX135" fmla="*/ 19091 w 436076"/>
                  <a:gd name="connsiteY135" fmla="*/ 389863 h 430167"/>
                  <a:gd name="connsiteX136" fmla="*/ 17576 w 436076"/>
                  <a:gd name="connsiteY136" fmla="*/ 396681 h 430167"/>
                  <a:gd name="connsiteX137" fmla="*/ 13334 w 436076"/>
                  <a:gd name="connsiteY137" fmla="*/ 404106 h 430167"/>
                  <a:gd name="connsiteX138" fmla="*/ 8636 w 436076"/>
                  <a:gd name="connsiteY138" fmla="*/ 405772 h 430167"/>
                  <a:gd name="connsiteX139" fmla="*/ 5606 w 436076"/>
                  <a:gd name="connsiteY139" fmla="*/ 409106 h 430167"/>
                  <a:gd name="connsiteX140" fmla="*/ 1970 w 436076"/>
                  <a:gd name="connsiteY140" fmla="*/ 416530 h 430167"/>
                  <a:gd name="connsiteX141" fmla="*/ 0 w 436076"/>
                  <a:gd name="connsiteY141" fmla="*/ 430167 h 430167"/>
                  <a:gd name="connsiteX142" fmla="*/ 0 w 436076"/>
                  <a:gd name="connsiteY142" fmla="*/ 430167 h 430167"/>
                  <a:gd name="connsiteX143" fmla="*/ 1364 w 436076"/>
                  <a:gd name="connsiteY143" fmla="*/ 429864 h 430167"/>
                  <a:gd name="connsiteX144" fmla="*/ 7424 w 436076"/>
                  <a:gd name="connsiteY144" fmla="*/ 428804 h 430167"/>
                  <a:gd name="connsiteX145" fmla="*/ 11515 w 436076"/>
                  <a:gd name="connsiteY145" fmla="*/ 428500 h 430167"/>
                  <a:gd name="connsiteX146" fmla="*/ 22122 w 436076"/>
                  <a:gd name="connsiteY146" fmla="*/ 428500 h 430167"/>
                  <a:gd name="connsiteX147" fmla="*/ 26213 w 436076"/>
                  <a:gd name="connsiteY147" fmla="*/ 427894 h 430167"/>
                  <a:gd name="connsiteX148" fmla="*/ 29546 w 436076"/>
                  <a:gd name="connsiteY148" fmla="*/ 427894 h 430167"/>
                  <a:gd name="connsiteX149" fmla="*/ 34243 w 436076"/>
                  <a:gd name="connsiteY149" fmla="*/ 428198 h 430167"/>
                  <a:gd name="connsiteX150" fmla="*/ 38031 w 436076"/>
                  <a:gd name="connsiteY150" fmla="*/ 428804 h 430167"/>
                  <a:gd name="connsiteX151" fmla="*/ 42123 w 436076"/>
                  <a:gd name="connsiteY151" fmla="*/ 429410 h 430167"/>
                  <a:gd name="connsiteX152" fmla="*/ 46820 w 436076"/>
                  <a:gd name="connsiteY152" fmla="*/ 429410 h 430167"/>
                  <a:gd name="connsiteX153" fmla="*/ 50608 w 436076"/>
                  <a:gd name="connsiteY153" fmla="*/ 429561 h 430167"/>
                  <a:gd name="connsiteX154" fmla="*/ 55608 w 436076"/>
                  <a:gd name="connsiteY154" fmla="*/ 429561 h 430167"/>
                  <a:gd name="connsiteX155" fmla="*/ 59093 w 436076"/>
                  <a:gd name="connsiteY155" fmla="*/ 429410 h 430167"/>
                  <a:gd name="connsiteX156" fmla="*/ 61517 w 436076"/>
                  <a:gd name="connsiteY156" fmla="*/ 427894 h 430167"/>
                  <a:gd name="connsiteX157" fmla="*/ 63790 w 436076"/>
                  <a:gd name="connsiteY157" fmla="*/ 425016 h 430167"/>
                  <a:gd name="connsiteX158" fmla="*/ 64548 w 436076"/>
                  <a:gd name="connsiteY158" fmla="*/ 422743 h 430167"/>
                  <a:gd name="connsiteX159" fmla="*/ 65457 w 436076"/>
                  <a:gd name="connsiteY159" fmla="*/ 420773 h 430167"/>
                  <a:gd name="connsiteX160" fmla="*/ 65154 w 436076"/>
                  <a:gd name="connsiteY160" fmla="*/ 418803 h 430167"/>
                  <a:gd name="connsiteX161" fmla="*/ 64851 w 436076"/>
                  <a:gd name="connsiteY161" fmla="*/ 417591 h 430167"/>
                  <a:gd name="connsiteX162" fmla="*/ 66215 w 436076"/>
                  <a:gd name="connsiteY162" fmla="*/ 416227 h 430167"/>
                  <a:gd name="connsiteX163" fmla="*/ 67881 w 436076"/>
                  <a:gd name="connsiteY163" fmla="*/ 413955 h 430167"/>
                  <a:gd name="connsiteX164" fmla="*/ 69548 w 436076"/>
                  <a:gd name="connsiteY164" fmla="*/ 412591 h 430167"/>
                  <a:gd name="connsiteX165" fmla="*/ 70003 w 436076"/>
                  <a:gd name="connsiteY165" fmla="*/ 411379 h 430167"/>
                  <a:gd name="connsiteX166" fmla="*/ 71669 w 436076"/>
                  <a:gd name="connsiteY166" fmla="*/ 410167 h 430167"/>
                  <a:gd name="connsiteX167" fmla="*/ 73639 w 436076"/>
                  <a:gd name="connsiteY167" fmla="*/ 408197 h 430167"/>
                  <a:gd name="connsiteX168" fmla="*/ 74700 w 436076"/>
                  <a:gd name="connsiteY168" fmla="*/ 406833 h 430167"/>
                  <a:gd name="connsiteX169" fmla="*/ 76063 w 436076"/>
                  <a:gd name="connsiteY169" fmla="*/ 404863 h 430167"/>
                  <a:gd name="connsiteX170" fmla="*/ 76366 w 436076"/>
                  <a:gd name="connsiteY170" fmla="*/ 403045 h 430167"/>
                  <a:gd name="connsiteX171" fmla="*/ 76821 w 436076"/>
                  <a:gd name="connsiteY171" fmla="*/ 400772 h 430167"/>
                  <a:gd name="connsiteX172" fmla="*/ 76821 w 436076"/>
                  <a:gd name="connsiteY172" fmla="*/ 396833 h 430167"/>
                  <a:gd name="connsiteX173" fmla="*/ 77427 w 436076"/>
                  <a:gd name="connsiteY173" fmla="*/ 391984 h 430167"/>
                  <a:gd name="connsiteX174" fmla="*/ 78185 w 436076"/>
                  <a:gd name="connsiteY174" fmla="*/ 388802 h 430167"/>
                  <a:gd name="connsiteX175" fmla="*/ 78791 w 436076"/>
                  <a:gd name="connsiteY175" fmla="*/ 386226 h 430167"/>
                  <a:gd name="connsiteX176" fmla="*/ 79397 w 436076"/>
                  <a:gd name="connsiteY176" fmla="*/ 382135 h 430167"/>
                  <a:gd name="connsiteX177" fmla="*/ 80912 w 436076"/>
                  <a:gd name="connsiteY177" fmla="*/ 375317 h 430167"/>
                  <a:gd name="connsiteX178" fmla="*/ 81518 w 436076"/>
                  <a:gd name="connsiteY178" fmla="*/ 373196 h 430167"/>
                  <a:gd name="connsiteX179" fmla="*/ 82579 w 436076"/>
                  <a:gd name="connsiteY179" fmla="*/ 370165 h 430167"/>
                  <a:gd name="connsiteX180" fmla="*/ 83942 w 436076"/>
                  <a:gd name="connsiteY180" fmla="*/ 367286 h 430167"/>
                  <a:gd name="connsiteX181" fmla="*/ 85155 w 436076"/>
                  <a:gd name="connsiteY181" fmla="*/ 365165 h 430167"/>
                  <a:gd name="connsiteX182" fmla="*/ 86518 w 436076"/>
                  <a:gd name="connsiteY182" fmla="*/ 363498 h 430167"/>
                  <a:gd name="connsiteX183" fmla="*/ 88336 w 436076"/>
                  <a:gd name="connsiteY183" fmla="*/ 362286 h 430167"/>
                  <a:gd name="connsiteX184" fmla="*/ 91367 w 436076"/>
                  <a:gd name="connsiteY184" fmla="*/ 361225 h 430167"/>
                  <a:gd name="connsiteX185" fmla="*/ 93640 w 436076"/>
                  <a:gd name="connsiteY185" fmla="*/ 360013 h 430167"/>
                  <a:gd name="connsiteX186" fmla="*/ 96367 w 436076"/>
                  <a:gd name="connsiteY186" fmla="*/ 358953 h 430167"/>
                  <a:gd name="connsiteX187" fmla="*/ 98791 w 436076"/>
                  <a:gd name="connsiteY187" fmla="*/ 358043 h 430167"/>
                  <a:gd name="connsiteX188" fmla="*/ 100913 w 436076"/>
                  <a:gd name="connsiteY188" fmla="*/ 356831 h 430167"/>
                  <a:gd name="connsiteX189" fmla="*/ 101822 w 436076"/>
                  <a:gd name="connsiteY189" fmla="*/ 355771 h 430167"/>
                  <a:gd name="connsiteX190" fmla="*/ 103186 w 436076"/>
                  <a:gd name="connsiteY190" fmla="*/ 353649 h 430167"/>
                  <a:gd name="connsiteX191" fmla="*/ 105004 w 436076"/>
                  <a:gd name="connsiteY191" fmla="*/ 350013 h 430167"/>
                  <a:gd name="connsiteX192" fmla="*/ 106216 w 436076"/>
                  <a:gd name="connsiteY192" fmla="*/ 347588 h 430167"/>
                  <a:gd name="connsiteX193" fmla="*/ 107731 w 436076"/>
                  <a:gd name="connsiteY193" fmla="*/ 344710 h 430167"/>
                  <a:gd name="connsiteX194" fmla="*/ 109701 w 436076"/>
                  <a:gd name="connsiteY194" fmla="*/ 342740 h 430167"/>
                  <a:gd name="connsiteX195" fmla="*/ 110913 w 436076"/>
                  <a:gd name="connsiteY195" fmla="*/ 341982 h 430167"/>
                  <a:gd name="connsiteX196" fmla="*/ 111974 w 436076"/>
                  <a:gd name="connsiteY196" fmla="*/ 341225 h 430167"/>
                  <a:gd name="connsiteX197" fmla="*/ 114398 w 436076"/>
                  <a:gd name="connsiteY197" fmla="*/ 339861 h 430167"/>
                  <a:gd name="connsiteX198" fmla="*/ 117429 w 436076"/>
                  <a:gd name="connsiteY198" fmla="*/ 338043 h 430167"/>
                  <a:gd name="connsiteX199" fmla="*/ 119550 w 436076"/>
                  <a:gd name="connsiteY199" fmla="*/ 336679 h 430167"/>
                  <a:gd name="connsiteX200" fmla="*/ 121519 w 436076"/>
                  <a:gd name="connsiteY200" fmla="*/ 335164 h 430167"/>
                  <a:gd name="connsiteX201" fmla="*/ 123186 w 436076"/>
                  <a:gd name="connsiteY201" fmla="*/ 334103 h 430167"/>
                  <a:gd name="connsiteX202" fmla="*/ 125005 w 436076"/>
                  <a:gd name="connsiteY202" fmla="*/ 332285 h 430167"/>
                  <a:gd name="connsiteX203" fmla="*/ 125914 w 436076"/>
                  <a:gd name="connsiteY203" fmla="*/ 330921 h 430167"/>
                  <a:gd name="connsiteX204" fmla="*/ 126974 w 436076"/>
                  <a:gd name="connsiteY204" fmla="*/ 328345 h 430167"/>
                  <a:gd name="connsiteX205" fmla="*/ 128338 w 436076"/>
                  <a:gd name="connsiteY205" fmla="*/ 324254 h 430167"/>
                  <a:gd name="connsiteX206" fmla="*/ 129398 w 436076"/>
                  <a:gd name="connsiteY206" fmla="*/ 319860 h 430167"/>
                  <a:gd name="connsiteX207" fmla="*/ 130459 w 436076"/>
                  <a:gd name="connsiteY207" fmla="*/ 315163 h 430167"/>
                  <a:gd name="connsiteX208" fmla="*/ 131368 w 436076"/>
                  <a:gd name="connsiteY208" fmla="*/ 312284 h 430167"/>
                  <a:gd name="connsiteX209" fmla="*/ 132126 w 436076"/>
                  <a:gd name="connsiteY209" fmla="*/ 308799 h 430167"/>
                  <a:gd name="connsiteX210" fmla="*/ 133186 w 436076"/>
                  <a:gd name="connsiteY210" fmla="*/ 306223 h 430167"/>
                  <a:gd name="connsiteX211" fmla="*/ 134096 w 436076"/>
                  <a:gd name="connsiteY211" fmla="*/ 303344 h 430167"/>
                  <a:gd name="connsiteX212" fmla="*/ 134551 w 436076"/>
                  <a:gd name="connsiteY212" fmla="*/ 302132 h 430167"/>
                  <a:gd name="connsiteX213" fmla="*/ 134551 w 436076"/>
                  <a:gd name="connsiteY213" fmla="*/ 300617 h 430167"/>
                  <a:gd name="connsiteX214" fmla="*/ 135156 w 436076"/>
                  <a:gd name="connsiteY214" fmla="*/ 298647 h 430167"/>
                  <a:gd name="connsiteX215" fmla="*/ 135308 w 436076"/>
                  <a:gd name="connsiteY215" fmla="*/ 298496 h 430167"/>
                  <a:gd name="connsiteX216" fmla="*/ 135914 w 436076"/>
                  <a:gd name="connsiteY216" fmla="*/ 297435 h 430167"/>
                  <a:gd name="connsiteX217" fmla="*/ 137884 w 436076"/>
                  <a:gd name="connsiteY217" fmla="*/ 296829 h 430167"/>
                  <a:gd name="connsiteX218" fmla="*/ 140157 w 436076"/>
                  <a:gd name="connsiteY218" fmla="*/ 296374 h 430167"/>
                  <a:gd name="connsiteX219" fmla="*/ 143490 w 436076"/>
                  <a:gd name="connsiteY219" fmla="*/ 295920 h 430167"/>
                  <a:gd name="connsiteX220" fmla="*/ 144550 w 436076"/>
                  <a:gd name="connsiteY220" fmla="*/ 295314 h 430167"/>
                  <a:gd name="connsiteX221" fmla="*/ 145005 w 436076"/>
                  <a:gd name="connsiteY221" fmla="*/ 293647 h 430167"/>
                  <a:gd name="connsiteX222" fmla="*/ 145460 w 436076"/>
                  <a:gd name="connsiteY222" fmla="*/ 292132 h 430167"/>
                  <a:gd name="connsiteX223" fmla="*/ 146824 w 436076"/>
                  <a:gd name="connsiteY223" fmla="*/ 289708 h 430167"/>
                  <a:gd name="connsiteX224" fmla="*/ 148187 w 436076"/>
                  <a:gd name="connsiteY224" fmla="*/ 287889 h 430167"/>
                  <a:gd name="connsiteX225" fmla="*/ 149096 w 436076"/>
                  <a:gd name="connsiteY225" fmla="*/ 286677 h 430167"/>
                  <a:gd name="connsiteX226" fmla="*/ 150157 w 436076"/>
                  <a:gd name="connsiteY226" fmla="*/ 284707 h 430167"/>
                  <a:gd name="connsiteX227" fmla="*/ 151369 w 436076"/>
                  <a:gd name="connsiteY227" fmla="*/ 283192 h 430167"/>
                  <a:gd name="connsiteX228" fmla="*/ 153187 w 436076"/>
                  <a:gd name="connsiteY228" fmla="*/ 281374 h 430167"/>
                  <a:gd name="connsiteX229" fmla="*/ 155005 w 436076"/>
                  <a:gd name="connsiteY229" fmla="*/ 279859 h 430167"/>
                  <a:gd name="connsiteX230" fmla="*/ 155460 w 436076"/>
                  <a:gd name="connsiteY230" fmla="*/ 278344 h 430167"/>
                  <a:gd name="connsiteX231" fmla="*/ 155460 w 436076"/>
                  <a:gd name="connsiteY231" fmla="*/ 276677 h 430167"/>
                  <a:gd name="connsiteX232" fmla="*/ 154248 w 436076"/>
                  <a:gd name="connsiteY232" fmla="*/ 275162 h 430167"/>
                  <a:gd name="connsiteX233" fmla="*/ 153491 w 436076"/>
                  <a:gd name="connsiteY233" fmla="*/ 272586 h 430167"/>
                  <a:gd name="connsiteX234" fmla="*/ 156975 w 436076"/>
                  <a:gd name="connsiteY234" fmla="*/ 271828 h 430167"/>
                  <a:gd name="connsiteX235" fmla="*/ 160006 w 436076"/>
                  <a:gd name="connsiteY235" fmla="*/ 270919 h 430167"/>
                  <a:gd name="connsiteX236" fmla="*/ 162885 w 436076"/>
                  <a:gd name="connsiteY236" fmla="*/ 270010 h 430167"/>
                  <a:gd name="connsiteX237" fmla="*/ 166370 w 436076"/>
                  <a:gd name="connsiteY237" fmla="*/ 268798 h 430167"/>
                  <a:gd name="connsiteX238" fmla="*/ 168794 w 436076"/>
                  <a:gd name="connsiteY238" fmla="*/ 268798 h 430167"/>
                  <a:gd name="connsiteX239" fmla="*/ 170764 w 436076"/>
                  <a:gd name="connsiteY239" fmla="*/ 268646 h 430167"/>
                  <a:gd name="connsiteX240" fmla="*/ 173643 w 436076"/>
                  <a:gd name="connsiteY240" fmla="*/ 269101 h 430167"/>
                  <a:gd name="connsiteX241" fmla="*/ 176522 w 436076"/>
                  <a:gd name="connsiteY241" fmla="*/ 269404 h 430167"/>
                  <a:gd name="connsiteX242" fmla="*/ 178491 w 436076"/>
                  <a:gd name="connsiteY242" fmla="*/ 270313 h 430167"/>
                  <a:gd name="connsiteX243" fmla="*/ 181825 w 436076"/>
                  <a:gd name="connsiteY243" fmla="*/ 272131 h 430167"/>
                  <a:gd name="connsiteX244" fmla="*/ 184704 w 436076"/>
                  <a:gd name="connsiteY244" fmla="*/ 273192 h 430167"/>
                  <a:gd name="connsiteX245" fmla="*/ 186370 w 436076"/>
                  <a:gd name="connsiteY245" fmla="*/ 273192 h 430167"/>
                  <a:gd name="connsiteX246" fmla="*/ 188189 w 436076"/>
                  <a:gd name="connsiteY246" fmla="*/ 272737 h 430167"/>
                  <a:gd name="connsiteX247" fmla="*/ 189704 w 436076"/>
                  <a:gd name="connsiteY247" fmla="*/ 271828 h 430167"/>
                  <a:gd name="connsiteX248" fmla="*/ 190613 w 436076"/>
                  <a:gd name="connsiteY248" fmla="*/ 271828 h 430167"/>
                  <a:gd name="connsiteX249" fmla="*/ 192128 w 436076"/>
                  <a:gd name="connsiteY249" fmla="*/ 272434 h 430167"/>
                  <a:gd name="connsiteX250" fmla="*/ 194249 w 436076"/>
                  <a:gd name="connsiteY250" fmla="*/ 273495 h 430167"/>
                  <a:gd name="connsiteX251" fmla="*/ 196522 w 436076"/>
                  <a:gd name="connsiteY251" fmla="*/ 273495 h 430167"/>
                  <a:gd name="connsiteX252" fmla="*/ 198795 w 436076"/>
                  <a:gd name="connsiteY252" fmla="*/ 273192 h 430167"/>
                  <a:gd name="connsiteX253" fmla="*/ 200462 w 436076"/>
                  <a:gd name="connsiteY253" fmla="*/ 271828 h 430167"/>
                  <a:gd name="connsiteX254" fmla="*/ 203341 w 436076"/>
                  <a:gd name="connsiteY254" fmla="*/ 269404 h 430167"/>
                  <a:gd name="connsiteX255" fmla="*/ 205613 w 436076"/>
                  <a:gd name="connsiteY255" fmla="*/ 267737 h 430167"/>
                  <a:gd name="connsiteX256" fmla="*/ 207583 w 436076"/>
                  <a:gd name="connsiteY256" fmla="*/ 266525 h 430167"/>
                  <a:gd name="connsiteX257" fmla="*/ 209250 w 436076"/>
                  <a:gd name="connsiteY257" fmla="*/ 266222 h 430167"/>
                  <a:gd name="connsiteX258" fmla="*/ 211068 w 436076"/>
                  <a:gd name="connsiteY258" fmla="*/ 266222 h 430167"/>
                  <a:gd name="connsiteX259" fmla="*/ 213189 w 436076"/>
                  <a:gd name="connsiteY259" fmla="*/ 266222 h 430167"/>
                  <a:gd name="connsiteX260" fmla="*/ 216675 w 436076"/>
                  <a:gd name="connsiteY260" fmla="*/ 266525 h 430167"/>
                  <a:gd name="connsiteX261" fmla="*/ 218796 w 436076"/>
                  <a:gd name="connsiteY261" fmla="*/ 266525 h 430167"/>
                  <a:gd name="connsiteX262" fmla="*/ 221978 w 436076"/>
                  <a:gd name="connsiteY262" fmla="*/ 266070 h 430167"/>
                  <a:gd name="connsiteX263" fmla="*/ 224553 w 436076"/>
                  <a:gd name="connsiteY263" fmla="*/ 265616 h 430167"/>
                  <a:gd name="connsiteX264" fmla="*/ 225614 w 436076"/>
                  <a:gd name="connsiteY264" fmla="*/ 264707 h 430167"/>
                  <a:gd name="connsiteX265" fmla="*/ 225614 w 436076"/>
                  <a:gd name="connsiteY265" fmla="*/ 263494 h 430167"/>
                  <a:gd name="connsiteX266" fmla="*/ 225160 w 436076"/>
                  <a:gd name="connsiteY266" fmla="*/ 261828 h 430167"/>
                  <a:gd name="connsiteX267" fmla="*/ 224402 w 436076"/>
                  <a:gd name="connsiteY267" fmla="*/ 260161 h 430167"/>
                  <a:gd name="connsiteX268" fmla="*/ 224251 w 436076"/>
                  <a:gd name="connsiteY268" fmla="*/ 258646 h 430167"/>
                  <a:gd name="connsiteX269" fmla="*/ 224705 w 436076"/>
                  <a:gd name="connsiteY269" fmla="*/ 256979 h 430167"/>
                  <a:gd name="connsiteX270" fmla="*/ 225160 w 436076"/>
                  <a:gd name="connsiteY270" fmla="*/ 255616 h 430167"/>
                  <a:gd name="connsiteX271" fmla="*/ 224857 w 436076"/>
                  <a:gd name="connsiteY271" fmla="*/ 253646 h 430167"/>
                  <a:gd name="connsiteX272" fmla="*/ 223948 w 436076"/>
                  <a:gd name="connsiteY272" fmla="*/ 251221 h 430167"/>
                  <a:gd name="connsiteX273" fmla="*/ 223948 w 436076"/>
                  <a:gd name="connsiteY273" fmla="*/ 249858 h 430167"/>
                  <a:gd name="connsiteX274" fmla="*/ 223948 w 436076"/>
                  <a:gd name="connsiteY274" fmla="*/ 249858 h 430167"/>
                  <a:gd name="connsiteX275" fmla="*/ 227584 w 436076"/>
                  <a:gd name="connsiteY275" fmla="*/ 249858 h 430167"/>
                  <a:gd name="connsiteX276" fmla="*/ 227584 w 436076"/>
                  <a:gd name="connsiteY276" fmla="*/ 242736 h 430167"/>
                  <a:gd name="connsiteX277" fmla="*/ 227584 w 436076"/>
                  <a:gd name="connsiteY277" fmla="*/ 236524 h 430167"/>
                  <a:gd name="connsiteX278" fmla="*/ 227584 w 436076"/>
                  <a:gd name="connsiteY278" fmla="*/ 230311 h 430167"/>
                  <a:gd name="connsiteX279" fmla="*/ 227584 w 436076"/>
                  <a:gd name="connsiteY279" fmla="*/ 225917 h 430167"/>
                  <a:gd name="connsiteX280" fmla="*/ 227584 w 436076"/>
                  <a:gd name="connsiteY280" fmla="*/ 221523 h 430167"/>
                  <a:gd name="connsiteX281" fmla="*/ 227736 w 436076"/>
                  <a:gd name="connsiteY281" fmla="*/ 219402 h 430167"/>
                  <a:gd name="connsiteX282" fmla="*/ 228190 w 436076"/>
                  <a:gd name="connsiteY282" fmla="*/ 218644 h 430167"/>
                  <a:gd name="connsiteX283" fmla="*/ 231069 w 436076"/>
                  <a:gd name="connsiteY283" fmla="*/ 217129 h 430167"/>
                  <a:gd name="connsiteX284" fmla="*/ 235312 w 436076"/>
                  <a:gd name="connsiteY284" fmla="*/ 213796 h 430167"/>
                  <a:gd name="connsiteX285" fmla="*/ 236978 w 436076"/>
                  <a:gd name="connsiteY285" fmla="*/ 212281 h 430167"/>
                  <a:gd name="connsiteX286" fmla="*/ 238948 w 436076"/>
                  <a:gd name="connsiteY286" fmla="*/ 210765 h 430167"/>
                  <a:gd name="connsiteX287" fmla="*/ 246372 w 436076"/>
                  <a:gd name="connsiteY287" fmla="*/ 206371 h 430167"/>
                  <a:gd name="connsiteX288" fmla="*/ 247736 w 436076"/>
                  <a:gd name="connsiteY288" fmla="*/ 205007 h 430167"/>
                  <a:gd name="connsiteX289" fmla="*/ 254858 w 436076"/>
                  <a:gd name="connsiteY289" fmla="*/ 199856 h 430167"/>
                  <a:gd name="connsiteX290" fmla="*/ 256525 w 436076"/>
                  <a:gd name="connsiteY290" fmla="*/ 199098 h 430167"/>
                  <a:gd name="connsiteX291" fmla="*/ 260313 w 436076"/>
                  <a:gd name="connsiteY291" fmla="*/ 198644 h 430167"/>
                  <a:gd name="connsiteX292" fmla="*/ 261979 w 436076"/>
                  <a:gd name="connsiteY292" fmla="*/ 197583 h 430167"/>
                  <a:gd name="connsiteX293" fmla="*/ 264101 w 436076"/>
                  <a:gd name="connsiteY293" fmla="*/ 195613 h 430167"/>
                  <a:gd name="connsiteX294" fmla="*/ 267131 w 436076"/>
                  <a:gd name="connsiteY294" fmla="*/ 193189 h 430167"/>
                  <a:gd name="connsiteX295" fmla="*/ 269252 w 436076"/>
                  <a:gd name="connsiteY295" fmla="*/ 192128 h 430167"/>
                  <a:gd name="connsiteX296" fmla="*/ 269707 w 436076"/>
                  <a:gd name="connsiteY296" fmla="*/ 191825 h 430167"/>
                  <a:gd name="connsiteX297" fmla="*/ 271070 w 436076"/>
                  <a:gd name="connsiteY297" fmla="*/ 191674 h 430167"/>
                  <a:gd name="connsiteX298" fmla="*/ 277586 w 436076"/>
                  <a:gd name="connsiteY298" fmla="*/ 192431 h 430167"/>
                  <a:gd name="connsiteX299" fmla="*/ 280313 w 436076"/>
                  <a:gd name="connsiteY299" fmla="*/ 192886 h 430167"/>
                  <a:gd name="connsiteX300" fmla="*/ 283647 w 436076"/>
                  <a:gd name="connsiteY300" fmla="*/ 193341 h 430167"/>
                  <a:gd name="connsiteX301" fmla="*/ 284707 w 436076"/>
                  <a:gd name="connsiteY301" fmla="*/ 193037 h 430167"/>
                  <a:gd name="connsiteX302" fmla="*/ 285465 w 436076"/>
                  <a:gd name="connsiteY302" fmla="*/ 192280 h 430167"/>
                  <a:gd name="connsiteX303" fmla="*/ 286677 w 436076"/>
                  <a:gd name="connsiteY303" fmla="*/ 190613 h 430167"/>
                  <a:gd name="connsiteX304" fmla="*/ 286980 w 436076"/>
                  <a:gd name="connsiteY304" fmla="*/ 188643 h 430167"/>
                  <a:gd name="connsiteX305" fmla="*/ 287132 w 436076"/>
                  <a:gd name="connsiteY305" fmla="*/ 186976 h 430167"/>
                  <a:gd name="connsiteX306" fmla="*/ 287283 w 436076"/>
                  <a:gd name="connsiteY306" fmla="*/ 186219 h 430167"/>
                  <a:gd name="connsiteX307" fmla="*/ 287889 w 436076"/>
                  <a:gd name="connsiteY307" fmla="*/ 185916 h 430167"/>
                  <a:gd name="connsiteX308" fmla="*/ 289253 w 436076"/>
                  <a:gd name="connsiteY308" fmla="*/ 186067 h 430167"/>
                  <a:gd name="connsiteX309" fmla="*/ 291223 w 436076"/>
                  <a:gd name="connsiteY309" fmla="*/ 186219 h 430167"/>
                  <a:gd name="connsiteX310" fmla="*/ 295162 w 436076"/>
                  <a:gd name="connsiteY310" fmla="*/ 186219 h 430167"/>
                  <a:gd name="connsiteX311" fmla="*/ 296375 w 436076"/>
                  <a:gd name="connsiteY311" fmla="*/ 185916 h 430167"/>
                  <a:gd name="connsiteX312" fmla="*/ 300920 w 436076"/>
                  <a:gd name="connsiteY312" fmla="*/ 185613 h 430167"/>
                  <a:gd name="connsiteX313" fmla="*/ 307132 w 436076"/>
                  <a:gd name="connsiteY313" fmla="*/ 184401 h 430167"/>
                  <a:gd name="connsiteX314" fmla="*/ 312132 w 436076"/>
                  <a:gd name="connsiteY314" fmla="*/ 183037 h 430167"/>
                  <a:gd name="connsiteX315" fmla="*/ 316072 w 436076"/>
                  <a:gd name="connsiteY315" fmla="*/ 181825 h 430167"/>
                  <a:gd name="connsiteX316" fmla="*/ 320315 w 436076"/>
                  <a:gd name="connsiteY316" fmla="*/ 178794 h 430167"/>
                  <a:gd name="connsiteX317" fmla="*/ 323496 w 436076"/>
                  <a:gd name="connsiteY317" fmla="*/ 175612 h 430167"/>
                  <a:gd name="connsiteX318" fmla="*/ 326679 w 436076"/>
                  <a:gd name="connsiteY318" fmla="*/ 170764 h 430167"/>
                  <a:gd name="connsiteX319" fmla="*/ 329254 w 436076"/>
                  <a:gd name="connsiteY319" fmla="*/ 166673 h 430167"/>
                  <a:gd name="connsiteX320" fmla="*/ 334406 w 436076"/>
                  <a:gd name="connsiteY320" fmla="*/ 164097 h 430167"/>
                  <a:gd name="connsiteX321" fmla="*/ 338800 w 436076"/>
                  <a:gd name="connsiteY321" fmla="*/ 162430 h 430167"/>
                  <a:gd name="connsiteX322" fmla="*/ 341225 w 436076"/>
                  <a:gd name="connsiteY322" fmla="*/ 161824 h 430167"/>
                  <a:gd name="connsiteX323" fmla="*/ 346831 w 436076"/>
                  <a:gd name="connsiteY323" fmla="*/ 159703 h 430167"/>
                  <a:gd name="connsiteX324" fmla="*/ 351680 w 436076"/>
                  <a:gd name="connsiteY324" fmla="*/ 156369 h 430167"/>
                  <a:gd name="connsiteX325" fmla="*/ 356074 w 436076"/>
                  <a:gd name="connsiteY325" fmla="*/ 153187 h 430167"/>
                  <a:gd name="connsiteX326" fmla="*/ 359559 w 436076"/>
                  <a:gd name="connsiteY326" fmla="*/ 152733 h 430167"/>
                  <a:gd name="connsiteX327" fmla="*/ 363801 w 436076"/>
                  <a:gd name="connsiteY327" fmla="*/ 152278 h 430167"/>
                  <a:gd name="connsiteX328" fmla="*/ 364862 w 436076"/>
                  <a:gd name="connsiteY328" fmla="*/ 151672 h 430167"/>
                  <a:gd name="connsiteX329" fmla="*/ 365923 w 436076"/>
                  <a:gd name="connsiteY329" fmla="*/ 150612 h 430167"/>
                  <a:gd name="connsiteX330" fmla="*/ 365923 w 436076"/>
                  <a:gd name="connsiteY330" fmla="*/ 148642 h 430167"/>
                  <a:gd name="connsiteX331" fmla="*/ 364710 w 436076"/>
                  <a:gd name="connsiteY331" fmla="*/ 147278 h 430167"/>
                  <a:gd name="connsiteX332" fmla="*/ 363044 w 436076"/>
                  <a:gd name="connsiteY332" fmla="*/ 146520 h 430167"/>
                  <a:gd name="connsiteX333" fmla="*/ 361983 w 436076"/>
                  <a:gd name="connsiteY333" fmla="*/ 145763 h 430167"/>
                  <a:gd name="connsiteX334" fmla="*/ 360922 w 436076"/>
                  <a:gd name="connsiteY334" fmla="*/ 145611 h 430167"/>
                  <a:gd name="connsiteX335" fmla="*/ 360316 w 436076"/>
                  <a:gd name="connsiteY335" fmla="*/ 144702 h 430167"/>
                  <a:gd name="connsiteX336" fmla="*/ 360619 w 436076"/>
                  <a:gd name="connsiteY336" fmla="*/ 142884 h 430167"/>
                  <a:gd name="connsiteX337" fmla="*/ 360771 w 436076"/>
                  <a:gd name="connsiteY337" fmla="*/ 141369 h 430167"/>
                  <a:gd name="connsiteX338" fmla="*/ 361528 w 436076"/>
                  <a:gd name="connsiteY338" fmla="*/ 139702 h 430167"/>
                  <a:gd name="connsiteX339" fmla="*/ 361225 w 436076"/>
                  <a:gd name="connsiteY339" fmla="*/ 137429 h 430167"/>
                  <a:gd name="connsiteX340" fmla="*/ 360165 w 436076"/>
                  <a:gd name="connsiteY340" fmla="*/ 135156 h 430167"/>
                  <a:gd name="connsiteX341" fmla="*/ 359862 w 436076"/>
                  <a:gd name="connsiteY341" fmla="*/ 133641 h 430167"/>
                  <a:gd name="connsiteX342" fmla="*/ 359862 w 436076"/>
                  <a:gd name="connsiteY342" fmla="*/ 131975 h 430167"/>
                  <a:gd name="connsiteX343" fmla="*/ 360468 w 436076"/>
                  <a:gd name="connsiteY343" fmla="*/ 130762 h 430167"/>
                  <a:gd name="connsiteX344" fmla="*/ 361983 w 436076"/>
                  <a:gd name="connsiteY344" fmla="*/ 129853 h 430167"/>
                  <a:gd name="connsiteX345" fmla="*/ 363953 w 436076"/>
                  <a:gd name="connsiteY345" fmla="*/ 129550 h 430167"/>
                  <a:gd name="connsiteX346" fmla="*/ 366529 w 436076"/>
                  <a:gd name="connsiteY346" fmla="*/ 130005 h 430167"/>
                  <a:gd name="connsiteX347" fmla="*/ 371074 w 436076"/>
                  <a:gd name="connsiteY347" fmla="*/ 129399 h 430167"/>
                  <a:gd name="connsiteX348" fmla="*/ 382590 w 436076"/>
                  <a:gd name="connsiteY348" fmla="*/ 125459 h 430167"/>
                  <a:gd name="connsiteX349" fmla="*/ 383347 w 436076"/>
                  <a:gd name="connsiteY349" fmla="*/ 124247 h 430167"/>
                  <a:gd name="connsiteX350" fmla="*/ 384105 w 436076"/>
                  <a:gd name="connsiteY350" fmla="*/ 121520 h 430167"/>
                  <a:gd name="connsiteX351" fmla="*/ 385014 w 436076"/>
                  <a:gd name="connsiteY351" fmla="*/ 119247 h 430167"/>
                  <a:gd name="connsiteX352" fmla="*/ 386226 w 436076"/>
                  <a:gd name="connsiteY352" fmla="*/ 118489 h 430167"/>
                  <a:gd name="connsiteX353" fmla="*/ 386833 w 436076"/>
                  <a:gd name="connsiteY353" fmla="*/ 118186 h 430167"/>
                  <a:gd name="connsiteX354" fmla="*/ 390621 w 436076"/>
                  <a:gd name="connsiteY354" fmla="*/ 117580 h 430167"/>
                  <a:gd name="connsiteX355" fmla="*/ 396075 w 436076"/>
                  <a:gd name="connsiteY355" fmla="*/ 116671 h 430167"/>
                  <a:gd name="connsiteX356" fmla="*/ 398197 w 436076"/>
                  <a:gd name="connsiteY356" fmla="*/ 116519 h 430167"/>
                  <a:gd name="connsiteX357" fmla="*/ 404106 w 436076"/>
                  <a:gd name="connsiteY357" fmla="*/ 116823 h 430167"/>
                  <a:gd name="connsiteX358" fmla="*/ 408500 w 436076"/>
                  <a:gd name="connsiteY358" fmla="*/ 116974 h 430167"/>
                  <a:gd name="connsiteX359" fmla="*/ 415470 w 436076"/>
                  <a:gd name="connsiteY359" fmla="*/ 117277 h 430167"/>
                  <a:gd name="connsiteX360" fmla="*/ 420470 w 436076"/>
                  <a:gd name="connsiteY360" fmla="*/ 117429 h 430167"/>
                  <a:gd name="connsiteX361" fmla="*/ 424713 w 436076"/>
                  <a:gd name="connsiteY361" fmla="*/ 117580 h 430167"/>
                  <a:gd name="connsiteX362" fmla="*/ 430319 w 436076"/>
                  <a:gd name="connsiteY362" fmla="*/ 117883 h 430167"/>
                  <a:gd name="connsiteX363" fmla="*/ 431683 w 436076"/>
                  <a:gd name="connsiteY363" fmla="*/ 117277 h 430167"/>
                  <a:gd name="connsiteX364" fmla="*/ 431683 w 436076"/>
                  <a:gd name="connsiteY364" fmla="*/ 115459 h 430167"/>
                  <a:gd name="connsiteX365" fmla="*/ 430622 w 436076"/>
                  <a:gd name="connsiteY365" fmla="*/ 112277 h 430167"/>
                  <a:gd name="connsiteX366" fmla="*/ 431228 w 436076"/>
                  <a:gd name="connsiteY366" fmla="*/ 110307 h 43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436076" h="430167">
                    <a:moveTo>
                      <a:pt x="433349" y="108489"/>
                    </a:moveTo>
                    <a:lnTo>
                      <a:pt x="436077" y="106368"/>
                    </a:lnTo>
                    <a:lnTo>
                      <a:pt x="434713" y="103792"/>
                    </a:lnTo>
                    <a:lnTo>
                      <a:pt x="432592" y="102125"/>
                    </a:lnTo>
                    <a:lnTo>
                      <a:pt x="429713" y="100004"/>
                    </a:lnTo>
                    <a:lnTo>
                      <a:pt x="428197" y="99246"/>
                    </a:lnTo>
                    <a:lnTo>
                      <a:pt x="425470" y="96670"/>
                    </a:lnTo>
                    <a:lnTo>
                      <a:pt x="423804" y="93943"/>
                    </a:lnTo>
                    <a:lnTo>
                      <a:pt x="422743" y="87882"/>
                    </a:lnTo>
                    <a:lnTo>
                      <a:pt x="420621" y="84549"/>
                    </a:lnTo>
                    <a:lnTo>
                      <a:pt x="419258" y="80457"/>
                    </a:lnTo>
                    <a:lnTo>
                      <a:pt x="420470" y="72881"/>
                    </a:lnTo>
                    <a:lnTo>
                      <a:pt x="418500" y="68336"/>
                    </a:lnTo>
                    <a:lnTo>
                      <a:pt x="418197" y="66366"/>
                    </a:lnTo>
                    <a:lnTo>
                      <a:pt x="418197" y="63942"/>
                    </a:lnTo>
                    <a:lnTo>
                      <a:pt x="418803" y="60002"/>
                    </a:lnTo>
                    <a:lnTo>
                      <a:pt x="418500" y="54244"/>
                    </a:lnTo>
                    <a:lnTo>
                      <a:pt x="416076" y="48335"/>
                    </a:lnTo>
                    <a:lnTo>
                      <a:pt x="417288" y="46365"/>
                    </a:lnTo>
                    <a:lnTo>
                      <a:pt x="417742" y="45305"/>
                    </a:lnTo>
                    <a:lnTo>
                      <a:pt x="417591" y="44396"/>
                    </a:lnTo>
                    <a:lnTo>
                      <a:pt x="415470" y="42577"/>
                    </a:lnTo>
                    <a:lnTo>
                      <a:pt x="414561" y="41062"/>
                    </a:lnTo>
                    <a:lnTo>
                      <a:pt x="415015" y="39547"/>
                    </a:lnTo>
                    <a:lnTo>
                      <a:pt x="416076" y="37426"/>
                    </a:lnTo>
                    <a:lnTo>
                      <a:pt x="416076" y="36517"/>
                    </a:lnTo>
                    <a:lnTo>
                      <a:pt x="412591" y="33941"/>
                    </a:lnTo>
                    <a:lnTo>
                      <a:pt x="406833" y="29850"/>
                    </a:lnTo>
                    <a:lnTo>
                      <a:pt x="405166" y="28031"/>
                    </a:lnTo>
                    <a:lnTo>
                      <a:pt x="404409" y="25607"/>
                    </a:lnTo>
                    <a:lnTo>
                      <a:pt x="398802" y="25001"/>
                    </a:lnTo>
                    <a:lnTo>
                      <a:pt x="393045" y="25456"/>
                    </a:lnTo>
                    <a:lnTo>
                      <a:pt x="390469" y="24698"/>
                    </a:lnTo>
                    <a:lnTo>
                      <a:pt x="387438" y="25001"/>
                    </a:lnTo>
                    <a:lnTo>
                      <a:pt x="386681" y="23486"/>
                    </a:lnTo>
                    <a:lnTo>
                      <a:pt x="385166" y="20001"/>
                    </a:lnTo>
                    <a:lnTo>
                      <a:pt x="384408" y="19092"/>
                    </a:lnTo>
                    <a:lnTo>
                      <a:pt x="384256" y="17728"/>
                    </a:lnTo>
                    <a:lnTo>
                      <a:pt x="383802" y="16364"/>
                    </a:lnTo>
                    <a:lnTo>
                      <a:pt x="381378" y="19092"/>
                    </a:lnTo>
                    <a:lnTo>
                      <a:pt x="377438" y="21516"/>
                    </a:lnTo>
                    <a:lnTo>
                      <a:pt x="372286" y="22274"/>
                    </a:lnTo>
                    <a:lnTo>
                      <a:pt x="366983" y="21819"/>
                    </a:lnTo>
                    <a:lnTo>
                      <a:pt x="364104" y="20304"/>
                    </a:lnTo>
                    <a:lnTo>
                      <a:pt x="361528" y="21364"/>
                    </a:lnTo>
                    <a:lnTo>
                      <a:pt x="356225" y="21364"/>
                    </a:lnTo>
                    <a:lnTo>
                      <a:pt x="346680" y="23940"/>
                    </a:lnTo>
                    <a:lnTo>
                      <a:pt x="338497" y="22577"/>
                    </a:lnTo>
                    <a:lnTo>
                      <a:pt x="332739" y="20152"/>
                    </a:lnTo>
                    <a:lnTo>
                      <a:pt x="325466" y="14394"/>
                    </a:lnTo>
                    <a:lnTo>
                      <a:pt x="321375" y="9849"/>
                    </a:lnTo>
                    <a:lnTo>
                      <a:pt x="319103" y="5758"/>
                    </a:lnTo>
                    <a:lnTo>
                      <a:pt x="319103" y="2424"/>
                    </a:lnTo>
                    <a:lnTo>
                      <a:pt x="320769" y="909"/>
                    </a:lnTo>
                    <a:lnTo>
                      <a:pt x="317436" y="0"/>
                    </a:lnTo>
                    <a:lnTo>
                      <a:pt x="314102" y="2121"/>
                    </a:lnTo>
                    <a:lnTo>
                      <a:pt x="311375" y="3182"/>
                    </a:lnTo>
                    <a:lnTo>
                      <a:pt x="307890" y="3637"/>
                    </a:lnTo>
                    <a:lnTo>
                      <a:pt x="303042" y="4546"/>
                    </a:lnTo>
                    <a:lnTo>
                      <a:pt x="302132" y="7728"/>
                    </a:lnTo>
                    <a:lnTo>
                      <a:pt x="291374" y="35759"/>
                    </a:lnTo>
                    <a:lnTo>
                      <a:pt x="280313" y="55608"/>
                    </a:lnTo>
                    <a:lnTo>
                      <a:pt x="276374" y="60608"/>
                    </a:lnTo>
                    <a:lnTo>
                      <a:pt x="269707" y="64851"/>
                    </a:lnTo>
                    <a:lnTo>
                      <a:pt x="258191" y="70609"/>
                    </a:lnTo>
                    <a:lnTo>
                      <a:pt x="238039" y="78791"/>
                    </a:lnTo>
                    <a:lnTo>
                      <a:pt x="232281" y="82427"/>
                    </a:lnTo>
                    <a:lnTo>
                      <a:pt x="230008" y="84549"/>
                    </a:lnTo>
                    <a:lnTo>
                      <a:pt x="223341" y="92579"/>
                    </a:lnTo>
                    <a:lnTo>
                      <a:pt x="212129" y="103186"/>
                    </a:lnTo>
                    <a:lnTo>
                      <a:pt x="212129" y="105761"/>
                    </a:lnTo>
                    <a:lnTo>
                      <a:pt x="211068" y="113186"/>
                    </a:lnTo>
                    <a:lnTo>
                      <a:pt x="209401" y="117883"/>
                    </a:lnTo>
                    <a:lnTo>
                      <a:pt x="200462" y="129247"/>
                    </a:lnTo>
                    <a:lnTo>
                      <a:pt x="196825" y="137884"/>
                    </a:lnTo>
                    <a:lnTo>
                      <a:pt x="196068" y="148490"/>
                    </a:lnTo>
                    <a:lnTo>
                      <a:pt x="196068" y="155157"/>
                    </a:lnTo>
                    <a:lnTo>
                      <a:pt x="195007" y="159097"/>
                    </a:lnTo>
                    <a:lnTo>
                      <a:pt x="195613" y="161218"/>
                    </a:lnTo>
                    <a:lnTo>
                      <a:pt x="197734" y="162582"/>
                    </a:lnTo>
                    <a:lnTo>
                      <a:pt x="201068" y="167127"/>
                    </a:lnTo>
                    <a:lnTo>
                      <a:pt x="201825" y="170006"/>
                    </a:lnTo>
                    <a:lnTo>
                      <a:pt x="200613" y="177279"/>
                    </a:lnTo>
                    <a:lnTo>
                      <a:pt x="198644" y="181825"/>
                    </a:lnTo>
                    <a:lnTo>
                      <a:pt x="195613" y="186219"/>
                    </a:lnTo>
                    <a:lnTo>
                      <a:pt x="191219" y="191219"/>
                    </a:lnTo>
                    <a:lnTo>
                      <a:pt x="186067" y="198947"/>
                    </a:lnTo>
                    <a:lnTo>
                      <a:pt x="178188" y="208341"/>
                    </a:lnTo>
                    <a:lnTo>
                      <a:pt x="173188" y="211978"/>
                    </a:lnTo>
                    <a:lnTo>
                      <a:pt x="161976" y="218796"/>
                    </a:lnTo>
                    <a:lnTo>
                      <a:pt x="156066" y="224251"/>
                    </a:lnTo>
                    <a:lnTo>
                      <a:pt x="152430" y="228493"/>
                    </a:lnTo>
                    <a:lnTo>
                      <a:pt x="149096" y="230614"/>
                    </a:lnTo>
                    <a:lnTo>
                      <a:pt x="137278" y="235918"/>
                    </a:lnTo>
                    <a:lnTo>
                      <a:pt x="123944" y="239554"/>
                    </a:lnTo>
                    <a:lnTo>
                      <a:pt x="115155" y="240463"/>
                    </a:lnTo>
                    <a:lnTo>
                      <a:pt x="110913" y="242282"/>
                    </a:lnTo>
                    <a:lnTo>
                      <a:pt x="108337" y="246524"/>
                    </a:lnTo>
                    <a:lnTo>
                      <a:pt x="104701" y="249858"/>
                    </a:lnTo>
                    <a:lnTo>
                      <a:pt x="104549" y="250009"/>
                    </a:lnTo>
                    <a:lnTo>
                      <a:pt x="102428" y="256373"/>
                    </a:lnTo>
                    <a:lnTo>
                      <a:pt x="98185" y="264858"/>
                    </a:lnTo>
                    <a:lnTo>
                      <a:pt x="95912" y="272889"/>
                    </a:lnTo>
                    <a:lnTo>
                      <a:pt x="93640" y="276980"/>
                    </a:lnTo>
                    <a:lnTo>
                      <a:pt x="90458" y="279556"/>
                    </a:lnTo>
                    <a:lnTo>
                      <a:pt x="83488" y="284101"/>
                    </a:lnTo>
                    <a:lnTo>
                      <a:pt x="77427" y="286223"/>
                    </a:lnTo>
                    <a:lnTo>
                      <a:pt x="73487" y="289708"/>
                    </a:lnTo>
                    <a:lnTo>
                      <a:pt x="70760" y="290920"/>
                    </a:lnTo>
                    <a:lnTo>
                      <a:pt x="69245" y="293647"/>
                    </a:lnTo>
                    <a:lnTo>
                      <a:pt x="67730" y="300617"/>
                    </a:lnTo>
                    <a:lnTo>
                      <a:pt x="65608" y="303950"/>
                    </a:lnTo>
                    <a:lnTo>
                      <a:pt x="62729" y="311526"/>
                    </a:lnTo>
                    <a:lnTo>
                      <a:pt x="60305" y="315769"/>
                    </a:lnTo>
                    <a:lnTo>
                      <a:pt x="59093" y="321072"/>
                    </a:lnTo>
                    <a:lnTo>
                      <a:pt x="58638" y="331073"/>
                    </a:lnTo>
                    <a:lnTo>
                      <a:pt x="57426" y="335467"/>
                    </a:lnTo>
                    <a:lnTo>
                      <a:pt x="53638" y="340467"/>
                    </a:lnTo>
                    <a:lnTo>
                      <a:pt x="49547" y="342437"/>
                    </a:lnTo>
                    <a:lnTo>
                      <a:pt x="38638" y="354255"/>
                    </a:lnTo>
                    <a:lnTo>
                      <a:pt x="33486" y="357740"/>
                    </a:lnTo>
                    <a:lnTo>
                      <a:pt x="30152" y="360771"/>
                    </a:lnTo>
                    <a:lnTo>
                      <a:pt x="28637" y="363801"/>
                    </a:lnTo>
                    <a:lnTo>
                      <a:pt x="27880" y="365771"/>
                    </a:lnTo>
                    <a:lnTo>
                      <a:pt x="29850" y="364104"/>
                    </a:lnTo>
                    <a:lnTo>
                      <a:pt x="31364" y="362135"/>
                    </a:lnTo>
                    <a:lnTo>
                      <a:pt x="32880" y="360922"/>
                    </a:lnTo>
                    <a:lnTo>
                      <a:pt x="33183" y="362286"/>
                    </a:lnTo>
                    <a:lnTo>
                      <a:pt x="32729" y="363498"/>
                    </a:lnTo>
                    <a:lnTo>
                      <a:pt x="28941" y="369256"/>
                    </a:lnTo>
                    <a:lnTo>
                      <a:pt x="27425" y="372892"/>
                    </a:lnTo>
                    <a:lnTo>
                      <a:pt x="24243" y="378499"/>
                    </a:lnTo>
                    <a:lnTo>
                      <a:pt x="21667" y="382287"/>
                    </a:lnTo>
                    <a:lnTo>
                      <a:pt x="22728" y="384105"/>
                    </a:lnTo>
                    <a:lnTo>
                      <a:pt x="21819" y="386681"/>
                    </a:lnTo>
                    <a:lnTo>
                      <a:pt x="19091" y="389863"/>
                    </a:lnTo>
                    <a:lnTo>
                      <a:pt x="17576" y="396681"/>
                    </a:lnTo>
                    <a:lnTo>
                      <a:pt x="13334" y="404106"/>
                    </a:lnTo>
                    <a:lnTo>
                      <a:pt x="8636" y="405772"/>
                    </a:lnTo>
                    <a:lnTo>
                      <a:pt x="5606" y="409106"/>
                    </a:lnTo>
                    <a:lnTo>
                      <a:pt x="1970" y="416530"/>
                    </a:lnTo>
                    <a:lnTo>
                      <a:pt x="0" y="430167"/>
                    </a:lnTo>
                    <a:lnTo>
                      <a:pt x="0" y="430167"/>
                    </a:lnTo>
                    <a:lnTo>
                      <a:pt x="1364" y="429864"/>
                    </a:lnTo>
                    <a:lnTo>
                      <a:pt x="7424" y="428804"/>
                    </a:lnTo>
                    <a:lnTo>
                      <a:pt x="11515" y="428500"/>
                    </a:lnTo>
                    <a:lnTo>
                      <a:pt x="22122" y="428500"/>
                    </a:lnTo>
                    <a:lnTo>
                      <a:pt x="26213" y="427894"/>
                    </a:lnTo>
                    <a:lnTo>
                      <a:pt x="29546" y="427894"/>
                    </a:lnTo>
                    <a:lnTo>
                      <a:pt x="34243" y="428198"/>
                    </a:lnTo>
                    <a:lnTo>
                      <a:pt x="38031" y="428804"/>
                    </a:lnTo>
                    <a:lnTo>
                      <a:pt x="42123" y="429410"/>
                    </a:lnTo>
                    <a:lnTo>
                      <a:pt x="46820" y="429410"/>
                    </a:lnTo>
                    <a:lnTo>
                      <a:pt x="50608" y="429561"/>
                    </a:lnTo>
                    <a:lnTo>
                      <a:pt x="55608" y="429561"/>
                    </a:lnTo>
                    <a:lnTo>
                      <a:pt x="59093" y="429410"/>
                    </a:lnTo>
                    <a:lnTo>
                      <a:pt x="61517" y="427894"/>
                    </a:lnTo>
                    <a:lnTo>
                      <a:pt x="63790" y="425016"/>
                    </a:lnTo>
                    <a:lnTo>
                      <a:pt x="64548" y="422743"/>
                    </a:lnTo>
                    <a:lnTo>
                      <a:pt x="65457" y="420773"/>
                    </a:lnTo>
                    <a:lnTo>
                      <a:pt x="65154" y="418803"/>
                    </a:lnTo>
                    <a:lnTo>
                      <a:pt x="64851" y="417591"/>
                    </a:lnTo>
                    <a:lnTo>
                      <a:pt x="66215" y="416227"/>
                    </a:lnTo>
                    <a:lnTo>
                      <a:pt x="67881" y="413955"/>
                    </a:lnTo>
                    <a:lnTo>
                      <a:pt x="69548" y="412591"/>
                    </a:lnTo>
                    <a:lnTo>
                      <a:pt x="70003" y="411379"/>
                    </a:lnTo>
                    <a:lnTo>
                      <a:pt x="71669" y="410167"/>
                    </a:lnTo>
                    <a:lnTo>
                      <a:pt x="73639" y="408197"/>
                    </a:lnTo>
                    <a:lnTo>
                      <a:pt x="74700" y="406833"/>
                    </a:lnTo>
                    <a:lnTo>
                      <a:pt x="76063" y="404863"/>
                    </a:lnTo>
                    <a:lnTo>
                      <a:pt x="76366" y="403045"/>
                    </a:lnTo>
                    <a:lnTo>
                      <a:pt x="76821" y="400772"/>
                    </a:lnTo>
                    <a:lnTo>
                      <a:pt x="76821" y="396833"/>
                    </a:lnTo>
                    <a:lnTo>
                      <a:pt x="77427" y="391984"/>
                    </a:lnTo>
                    <a:lnTo>
                      <a:pt x="78185" y="388802"/>
                    </a:lnTo>
                    <a:lnTo>
                      <a:pt x="78791" y="386226"/>
                    </a:lnTo>
                    <a:lnTo>
                      <a:pt x="79397" y="382135"/>
                    </a:lnTo>
                    <a:lnTo>
                      <a:pt x="80912" y="375317"/>
                    </a:lnTo>
                    <a:lnTo>
                      <a:pt x="81518" y="373196"/>
                    </a:lnTo>
                    <a:lnTo>
                      <a:pt x="82579" y="370165"/>
                    </a:lnTo>
                    <a:lnTo>
                      <a:pt x="83942" y="367286"/>
                    </a:lnTo>
                    <a:lnTo>
                      <a:pt x="85155" y="365165"/>
                    </a:lnTo>
                    <a:lnTo>
                      <a:pt x="86518" y="363498"/>
                    </a:lnTo>
                    <a:lnTo>
                      <a:pt x="88336" y="362286"/>
                    </a:lnTo>
                    <a:lnTo>
                      <a:pt x="91367" y="361225"/>
                    </a:lnTo>
                    <a:lnTo>
                      <a:pt x="93640" y="360013"/>
                    </a:lnTo>
                    <a:lnTo>
                      <a:pt x="96367" y="358953"/>
                    </a:lnTo>
                    <a:lnTo>
                      <a:pt x="98791" y="358043"/>
                    </a:lnTo>
                    <a:lnTo>
                      <a:pt x="100913" y="356831"/>
                    </a:lnTo>
                    <a:lnTo>
                      <a:pt x="101822" y="355771"/>
                    </a:lnTo>
                    <a:lnTo>
                      <a:pt x="103186" y="353649"/>
                    </a:lnTo>
                    <a:lnTo>
                      <a:pt x="105004" y="350013"/>
                    </a:lnTo>
                    <a:lnTo>
                      <a:pt x="106216" y="347588"/>
                    </a:lnTo>
                    <a:lnTo>
                      <a:pt x="107731" y="344710"/>
                    </a:lnTo>
                    <a:lnTo>
                      <a:pt x="109701" y="342740"/>
                    </a:lnTo>
                    <a:lnTo>
                      <a:pt x="110913" y="341982"/>
                    </a:lnTo>
                    <a:lnTo>
                      <a:pt x="111974" y="341225"/>
                    </a:lnTo>
                    <a:lnTo>
                      <a:pt x="114398" y="339861"/>
                    </a:lnTo>
                    <a:lnTo>
                      <a:pt x="117429" y="338043"/>
                    </a:lnTo>
                    <a:lnTo>
                      <a:pt x="119550" y="336679"/>
                    </a:lnTo>
                    <a:lnTo>
                      <a:pt x="121519" y="335164"/>
                    </a:lnTo>
                    <a:lnTo>
                      <a:pt x="123186" y="334103"/>
                    </a:lnTo>
                    <a:lnTo>
                      <a:pt x="125005" y="332285"/>
                    </a:lnTo>
                    <a:lnTo>
                      <a:pt x="125914" y="330921"/>
                    </a:lnTo>
                    <a:lnTo>
                      <a:pt x="126974" y="328345"/>
                    </a:lnTo>
                    <a:lnTo>
                      <a:pt x="128338" y="324254"/>
                    </a:lnTo>
                    <a:lnTo>
                      <a:pt x="129398" y="319860"/>
                    </a:lnTo>
                    <a:lnTo>
                      <a:pt x="130459" y="315163"/>
                    </a:lnTo>
                    <a:lnTo>
                      <a:pt x="131368" y="312284"/>
                    </a:lnTo>
                    <a:lnTo>
                      <a:pt x="132126" y="308799"/>
                    </a:lnTo>
                    <a:lnTo>
                      <a:pt x="133186" y="306223"/>
                    </a:lnTo>
                    <a:lnTo>
                      <a:pt x="134096" y="303344"/>
                    </a:lnTo>
                    <a:lnTo>
                      <a:pt x="134551" y="302132"/>
                    </a:lnTo>
                    <a:lnTo>
                      <a:pt x="134551" y="300617"/>
                    </a:lnTo>
                    <a:lnTo>
                      <a:pt x="135156" y="298647"/>
                    </a:lnTo>
                    <a:lnTo>
                      <a:pt x="135308" y="298496"/>
                    </a:lnTo>
                    <a:lnTo>
                      <a:pt x="135914" y="297435"/>
                    </a:lnTo>
                    <a:lnTo>
                      <a:pt x="137884" y="296829"/>
                    </a:lnTo>
                    <a:lnTo>
                      <a:pt x="140157" y="296374"/>
                    </a:lnTo>
                    <a:lnTo>
                      <a:pt x="143490" y="295920"/>
                    </a:lnTo>
                    <a:lnTo>
                      <a:pt x="144550" y="295314"/>
                    </a:lnTo>
                    <a:lnTo>
                      <a:pt x="145005" y="293647"/>
                    </a:lnTo>
                    <a:lnTo>
                      <a:pt x="145460" y="292132"/>
                    </a:lnTo>
                    <a:lnTo>
                      <a:pt x="146824" y="289708"/>
                    </a:lnTo>
                    <a:lnTo>
                      <a:pt x="148187" y="287889"/>
                    </a:lnTo>
                    <a:lnTo>
                      <a:pt x="149096" y="286677"/>
                    </a:lnTo>
                    <a:lnTo>
                      <a:pt x="150157" y="284707"/>
                    </a:lnTo>
                    <a:lnTo>
                      <a:pt x="151369" y="283192"/>
                    </a:lnTo>
                    <a:lnTo>
                      <a:pt x="153187" y="281374"/>
                    </a:lnTo>
                    <a:lnTo>
                      <a:pt x="155005" y="279859"/>
                    </a:lnTo>
                    <a:lnTo>
                      <a:pt x="155460" y="278344"/>
                    </a:lnTo>
                    <a:lnTo>
                      <a:pt x="155460" y="276677"/>
                    </a:lnTo>
                    <a:lnTo>
                      <a:pt x="154248" y="275162"/>
                    </a:lnTo>
                    <a:lnTo>
                      <a:pt x="153491" y="272586"/>
                    </a:lnTo>
                    <a:lnTo>
                      <a:pt x="156975" y="271828"/>
                    </a:lnTo>
                    <a:lnTo>
                      <a:pt x="160006" y="270919"/>
                    </a:lnTo>
                    <a:lnTo>
                      <a:pt x="162885" y="270010"/>
                    </a:lnTo>
                    <a:lnTo>
                      <a:pt x="166370" y="268798"/>
                    </a:lnTo>
                    <a:lnTo>
                      <a:pt x="168794" y="268798"/>
                    </a:lnTo>
                    <a:lnTo>
                      <a:pt x="170764" y="268646"/>
                    </a:lnTo>
                    <a:lnTo>
                      <a:pt x="173643" y="269101"/>
                    </a:lnTo>
                    <a:lnTo>
                      <a:pt x="176522" y="269404"/>
                    </a:lnTo>
                    <a:lnTo>
                      <a:pt x="178491" y="270313"/>
                    </a:lnTo>
                    <a:lnTo>
                      <a:pt x="181825" y="272131"/>
                    </a:lnTo>
                    <a:lnTo>
                      <a:pt x="184704" y="273192"/>
                    </a:lnTo>
                    <a:lnTo>
                      <a:pt x="186370" y="273192"/>
                    </a:lnTo>
                    <a:lnTo>
                      <a:pt x="188189" y="272737"/>
                    </a:lnTo>
                    <a:lnTo>
                      <a:pt x="189704" y="271828"/>
                    </a:lnTo>
                    <a:lnTo>
                      <a:pt x="190613" y="271828"/>
                    </a:lnTo>
                    <a:lnTo>
                      <a:pt x="192128" y="272434"/>
                    </a:lnTo>
                    <a:lnTo>
                      <a:pt x="194249" y="273495"/>
                    </a:lnTo>
                    <a:lnTo>
                      <a:pt x="196522" y="273495"/>
                    </a:lnTo>
                    <a:lnTo>
                      <a:pt x="198795" y="273192"/>
                    </a:lnTo>
                    <a:lnTo>
                      <a:pt x="200462" y="271828"/>
                    </a:lnTo>
                    <a:lnTo>
                      <a:pt x="203341" y="269404"/>
                    </a:lnTo>
                    <a:lnTo>
                      <a:pt x="205613" y="267737"/>
                    </a:lnTo>
                    <a:lnTo>
                      <a:pt x="207583" y="266525"/>
                    </a:lnTo>
                    <a:lnTo>
                      <a:pt x="209250" y="266222"/>
                    </a:lnTo>
                    <a:lnTo>
                      <a:pt x="211068" y="266222"/>
                    </a:lnTo>
                    <a:lnTo>
                      <a:pt x="213189" y="266222"/>
                    </a:lnTo>
                    <a:lnTo>
                      <a:pt x="216675" y="266525"/>
                    </a:lnTo>
                    <a:lnTo>
                      <a:pt x="218796" y="266525"/>
                    </a:lnTo>
                    <a:lnTo>
                      <a:pt x="221978" y="266070"/>
                    </a:lnTo>
                    <a:lnTo>
                      <a:pt x="224553" y="265616"/>
                    </a:lnTo>
                    <a:lnTo>
                      <a:pt x="225614" y="264707"/>
                    </a:lnTo>
                    <a:lnTo>
                      <a:pt x="225614" y="263494"/>
                    </a:lnTo>
                    <a:lnTo>
                      <a:pt x="225160" y="261828"/>
                    </a:lnTo>
                    <a:lnTo>
                      <a:pt x="224402" y="260161"/>
                    </a:lnTo>
                    <a:lnTo>
                      <a:pt x="224251" y="258646"/>
                    </a:lnTo>
                    <a:lnTo>
                      <a:pt x="224705" y="256979"/>
                    </a:lnTo>
                    <a:lnTo>
                      <a:pt x="225160" y="255616"/>
                    </a:lnTo>
                    <a:lnTo>
                      <a:pt x="224857" y="253646"/>
                    </a:lnTo>
                    <a:lnTo>
                      <a:pt x="223948" y="251221"/>
                    </a:lnTo>
                    <a:lnTo>
                      <a:pt x="223948" y="249858"/>
                    </a:lnTo>
                    <a:lnTo>
                      <a:pt x="223948" y="249858"/>
                    </a:lnTo>
                    <a:lnTo>
                      <a:pt x="227584" y="249858"/>
                    </a:lnTo>
                    <a:lnTo>
                      <a:pt x="227584" y="242736"/>
                    </a:lnTo>
                    <a:lnTo>
                      <a:pt x="227584" y="236524"/>
                    </a:lnTo>
                    <a:lnTo>
                      <a:pt x="227584" y="230311"/>
                    </a:lnTo>
                    <a:lnTo>
                      <a:pt x="227584" y="225917"/>
                    </a:lnTo>
                    <a:lnTo>
                      <a:pt x="227584" y="221523"/>
                    </a:lnTo>
                    <a:lnTo>
                      <a:pt x="227736" y="219402"/>
                    </a:lnTo>
                    <a:lnTo>
                      <a:pt x="228190" y="218644"/>
                    </a:lnTo>
                    <a:lnTo>
                      <a:pt x="231069" y="217129"/>
                    </a:lnTo>
                    <a:lnTo>
                      <a:pt x="235312" y="213796"/>
                    </a:lnTo>
                    <a:lnTo>
                      <a:pt x="236978" y="212281"/>
                    </a:lnTo>
                    <a:lnTo>
                      <a:pt x="238948" y="210765"/>
                    </a:lnTo>
                    <a:lnTo>
                      <a:pt x="246372" y="206371"/>
                    </a:lnTo>
                    <a:lnTo>
                      <a:pt x="247736" y="205007"/>
                    </a:lnTo>
                    <a:lnTo>
                      <a:pt x="254858" y="199856"/>
                    </a:lnTo>
                    <a:lnTo>
                      <a:pt x="256525" y="199098"/>
                    </a:lnTo>
                    <a:lnTo>
                      <a:pt x="260313" y="198644"/>
                    </a:lnTo>
                    <a:lnTo>
                      <a:pt x="261979" y="197583"/>
                    </a:lnTo>
                    <a:lnTo>
                      <a:pt x="264101" y="195613"/>
                    </a:lnTo>
                    <a:lnTo>
                      <a:pt x="267131" y="193189"/>
                    </a:lnTo>
                    <a:lnTo>
                      <a:pt x="269252" y="192128"/>
                    </a:lnTo>
                    <a:lnTo>
                      <a:pt x="269707" y="191825"/>
                    </a:lnTo>
                    <a:lnTo>
                      <a:pt x="271070" y="191674"/>
                    </a:lnTo>
                    <a:lnTo>
                      <a:pt x="277586" y="192431"/>
                    </a:lnTo>
                    <a:lnTo>
                      <a:pt x="280313" y="192886"/>
                    </a:lnTo>
                    <a:lnTo>
                      <a:pt x="283647" y="193341"/>
                    </a:lnTo>
                    <a:lnTo>
                      <a:pt x="284707" y="193037"/>
                    </a:lnTo>
                    <a:lnTo>
                      <a:pt x="285465" y="192280"/>
                    </a:lnTo>
                    <a:lnTo>
                      <a:pt x="286677" y="190613"/>
                    </a:lnTo>
                    <a:lnTo>
                      <a:pt x="286980" y="188643"/>
                    </a:lnTo>
                    <a:lnTo>
                      <a:pt x="287132" y="186976"/>
                    </a:lnTo>
                    <a:lnTo>
                      <a:pt x="287283" y="186219"/>
                    </a:lnTo>
                    <a:lnTo>
                      <a:pt x="287889" y="185916"/>
                    </a:lnTo>
                    <a:lnTo>
                      <a:pt x="289253" y="186067"/>
                    </a:lnTo>
                    <a:lnTo>
                      <a:pt x="291223" y="186219"/>
                    </a:lnTo>
                    <a:lnTo>
                      <a:pt x="295162" y="186219"/>
                    </a:lnTo>
                    <a:lnTo>
                      <a:pt x="296375" y="185916"/>
                    </a:lnTo>
                    <a:lnTo>
                      <a:pt x="300920" y="185613"/>
                    </a:lnTo>
                    <a:lnTo>
                      <a:pt x="307132" y="184401"/>
                    </a:lnTo>
                    <a:lnTo>
                      <a:pt x="312132" y="183037"/>
                    </a:lnTo>
                    <a:lnTo>
                      <a:pt x="316072" y="181825"/>
                    </a:lnTo>
                    <a:lnTo>
                      <a:pt x="320315" y="178794"/>
                    </a:lnTo>
                    <a:lnTo>
                      <a:pt x="323496" y="175612"/>
                    </a:lnTo>
                    <a:lnTo>
                      <a:pt x="326679" y="170764"/>
                    </a:lnTo>
                    <a:lnTo>
                      <a:pt x="329254" y="166673"/>
                    </a:lnTo>
                    <a:lnTo>
                      <a:pt x="334406" y="164097"/>
                    </a:lnTo>
                    <a:lnTo>
                      <a:pt x="338800" y="162430"/>
                    </a:lnTo>
                    <a:lnTo>
                      <a:pt x="341225" y="161824"/>
                    </a:lnTo>
                    <a:lnTo>
                      <a:pt x="346831" y="159703"/>
                    </a:lnTo>
                    <a:lnTo>
                      <a:pt x="351680" y="156369"/>
                    </a:lnTo>
                    <a:lnTo>
                      <a:pt x="356074" y="153187"/>
                    </a:lnTo>
                    <a:lnTo>
                      <a:pt x="359559" y="152733"/>
                    </a:lnTo>
                    <a:lnTo>
                      <a:pt x="363801" y="152278"/>
                    </a:lnTo>
                    <a:lnTo>
                      <a:pt x="364862" y="151672"/>
                    </a:lnTo>
                    <a:lnTo>
                      <a:pt x="365923" y="150612"/>
                    </a:lnTo>
                    <a:lnTo>
                      <a:pt x="365923" y="148642"/>
                    </a:lnTo>
                    <a:lnTo>
                      <a:pt x="364710" y="147278"/>
                    </a:lnTo>
                    <a:lnTo>
                      <a:pt x="363044" y="146520"/>
                    </a:lnTo>
                    <a:lnTo>
                      <a:pt x="361983" y="145763"/>
                    </a:lnTo>
                    <a:lnTo>
                      <a:pt x="360922" y="145611"/>
                    </a:lnTo>
                    <a:lnTo>
                      <a:pt x="360316" y="144702"/>
                    </a:lnTo>
                    <a:lnTo>
                      <a:pt x="360619" y="142884"/>
                    </a:lnTo>
                    <a:lnTo>
                      <a:pt x="360771" y="141369"/>
                    </a:lnTo>
                    <a:lnTo>
                      <a:pt x="361528" y="139702"/>
                    </a:lnTo>
                    <a:lnTo>
                      <a:pt x="361225" y="137429"/>
                    </a:lnTo>
                    <a:lnTo>
                      <a:pt x="360165" y="135156"/>
                    </a:lnTo>
                    <a:lnTo>
                      <a:pt x="359862" y="133641"/>
                    </a:lnTo>
                    <a:lnTo>
                      <a:pt x="359862" y="131975"/>
                    </a:lnTo>
                    <a:lnTo>
                      <a:pt x="360468" y="130762"/>
                    </a:lnTo>
                    <a:lnTo>
                      <a:pt x="361983" y="129853"/>
                    </a:lnTo>
                    <a:lnTo>
                      <a:pt x="363953" y="129550"/>
                    </a:lnTo>
                    <a:lnTo>
                      <a:pt x="366529" y="130005"/>
                    </a:lnTo>
                    <a:lnTo>
                      <a:pt x="371074" y="129399"/>
                    </a:lnTo>
                    <a:lnTo>
                      <a:pt x="382590" y="125459"/>
                    </a:lnTo>
                    <a:lnTo>
                      <a:pt x="383347" y="124247"/>
                    </a:lnTo>
                    <a:lnTo>
                      <a:pt x="384105" y="121520"/>
                    </a:lnTo>
                    <a:lnTo>
                      <a:pt x="385014" y="119247"/>
                    </a:lnTo>
                    <a:lnTo>
                      <a:pt x="386226" y="118489"/>
                    </a:lnTo>
                    <a:lnTo>
                      <a:pt x="386833" y="118186"/>
                    </a:lnTo>
                    <a:lnTo>
                      <a:pt x="390621" y="117580"/>
                    </a:lnTo>
                    <a:lnTo>
                      <a:pt x="396075" y="116671"/>
                    </a:lnTo>
                    <a:lnTo>
                      <a:pt x="398197" y="116519"/>
                    </a:lnTo>
                    <a:lnTo>
                      <a:pt x="404106" y="116823"/>
                    </a:lnTo>
                    <a:lnTo>
                      <a:pt x="408500" y="116974"/>
                    </a:lnTo>
                    <a:lnTo>
                      <a:pt x="415470" y="117277"/>
                    </a:lnTo>
                    <a:lnTo>
                      <a:pt x="420470" y="117429"/>
                    </a:lnTo>
                    <a:lnTo>
                      <a:pt x="424713" y="117580"/>
                    </a:lnTo>
                    <a:lnTo>
                      <a:pt x="430319" y="117883"/>
                    </a:lnTo>
                    <a:lnTo>
                      <a:pt x="431683" y="117277"/>
                    </a:lnTo>
                    <a:lnTo>
                      <a:pt x="431683" y="115459"/>
                    </a:lnTo>
                    <a:lnTo>
                      <a:pt x="430622" y="112277"/>
                    </a:lnTo>
                    <a:lnTo>
                      <a:pt x="431228" y="1103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9" name="Freeform: Shape 3228">
                <a:extLst>
                  <a:ext uri="{FF2B5EF4-FFF2-40B4-BE49-F238E27FC236}">
                    <a16:creationId xmlns:a16="http://schemas.microsoft.com/office/drawing/2014/main" id="{973C7303-313E-4892-8A64-8D9485107FD1}"/>
                  </a:ext>
                </a:extLst>
              </p:cNvPr>
              <p:cNvSpPr/>
              <p:nvPr/>
            </p:nvSpPr>
            <p:spPr>
              <a:xfrm>
                <a:off x="6031906" y="3625292"/>
                <a:ext cx="433349" cy="400014"/>
              </a:xfrm>
              <a:custGeom>
                <a:avLst/>
                <a:gdLst>
                  <a:gd name="connsiteX0" fmla="*/ 432440 w 433349"/>
                  <a:gd name="connsiteY0" fmla="*/ 44547 h 400014"/>
                  <a:gd name="connsiteX1" fmla="*/ 430016 w 433349"/>
                  <a:gd name="connsiteY1" fmla="*/ 39395 h 400014"/>
                  <a:gd name="connsiteX2" fmla="*/ 427895 w 433349"/>
                  <a:gd name="connsiteY2" fmla="*/ 37123 h 400014"/>
                  <a:gd name="connsiteX3" fmla="*/ 425925 w 433349"/>
                  <a:gd name="connsiteY3" fmla="*/ 36213 h 400014"/>
                  <a:gd name="connsiteX4" fmla="*/ 420622 w 433349"/>
                  <a:gd name="connsiteY4" fmla="*/ 35304 h 400014"/>
                  <a:gd name="connsiteX5" fmla="*/ 415016 w 433349"/>
                  <a:gd name="connsiteY5" fmla="*/ 35911 h 400014"/>
                  <a:gd name="connsiteX6" fmla="*/ 405470 w 433349"/>
                  <a:gd name="connsiteY6" fmla="*/ 35456 h 400014"/>
                  <a:gd name="connsiteX7" fmla="*/ 403045 w 433349"/>
                  <a:gd name="connsiteY7" fmla="*/ 34698 h 400014"/>
                  <a:gd name="connsiteX8" fmla="*/ 399106 w 433349"/>
                  <a:gd name="connsiteY8" fmla="*/ 31971 h 400014"/>
                  <a:gd name="connsiteX9" fmla="*/ 396378 w 433349"/>
                  <a:gd name="connsiteY9" fmla="*/ 31062 h 400014"/>
                  <a:gd name="connsiteX10" fmla="*/ 382439 w 433349"/>
                  <a:gd name="connsiteY10" fmla="*/ 29395 h 400014"/>
                  <a:gd name="connsiteX11" fmla="*/ 377438 w 433349"/>
                  <a:gd name="connsiteY11" fmla="*/ 25759 h 400014"/>
                  <a:gd name="connsiteX12" fmla="*/ 377590 w 433349"/>
                  <a:gd name="connsiteY12" fmla="*/ 23789 h 400014"/>
                  <a:gd name="connsiteX13" fmla="*/ 378196 w 433349"/>
                  <a:gd name="connsiteY13" fmla="*/ 22274 h 400014"/>
                  <a:gd name="connsiteX14" fmla="*/ 376984 w 433349"/>
                  <a:gd name="connsiteY14" fmla="*/ 17122 h 400014"/>
                  <a:gd name="connsiteX15" fmla="*/ 372287 w 433349"/>
                  <a:gd name="connsiteY15" fmla="*/ 15001 h 400014"/>
                  <a:gd name="connsiteX16" fmla="*/ 367892 w 433349"/>
                  <a:gd name="connsiteY16" fmla="*/ 13334 h 400014"/>
                  <a:gd name="connsiteX17" fmla="*/ 361529 w 433349"/>
                  <a:gd name="connsiteY17" fmla="*/ 11819 h 400014"/>
                  <a:gd name="connsiteX18" fmla="*/ 356528 w 433349"/>
                  <a:gd name="connsiteY18" fmla="*/ 9091 h 400014"/>
                  <a:gd name="connsiteX19" fmla="*/ 352286 w 433349"/>
                  <a:gd name="connsiteY19" fmla="*/ 8031 h 400014"/>
                  <a:gd name="connsiteX20" fmla="*/ 342892 w 433349"/>
                  <a:gd name="connsiteY20" fmla="*/ 8334 h 400014"/>
                  <a:gd name="connsiteX21" fmla="*/ 339558 w 433349"/>
                  <a:gd name="connsiteY21" fmla="*/ 7273 h 400014"/>
                  <a:gd name="connsiteX22" fmla="*/ 337285 w 433349"/>
                  <a:gd name="connsiteY22" fmla="*/ 7425 h 400014"/>
                  <a:gd name="connsiteX23" fmla="*/ 331528 w 433349"/>
                  <a:gd name="connsiteY23" fmla="*/ 11516 h 400014"/>
                  <a:gd name="connsiteX24" fmla="*/ 328649 w 433349"/>
                  <a:gd name="connsiteY24" fmla="*/ 12273 h 400014"/>
                  <a:gd name="connsiteX25" fmla="*/ 321527 w 433349"/>
                  <a:gd name="connsiteY25" fmla="*/ 12273 h 400014"/>
                  <a:gd name="connsiteX26" fmla="*/ 309557 w 433349"/>
                  <a:gd name="connsiteY26" fmla="*/ 18183 h 400014"/>
                  <a:gd name="connsiteX27" fmla="*/ 302587 w 433349"/>
                  <a:gd name="connsiteY27" fmla="*/ 22728 h 400014"/>
                  <a:gd name="connsiteX28" fmla="*/ 295769 w 433349"/>
                  <a:gd name="connsiteY28" fmla="*/ 29244 h 400014"/>
                  <a:gd name="connsiteX29" fmla="*/ 293344 w 433349"/>
                  <a:gd name="connsiteY29" fmla="*/ 32577 h 400014"/>
                  <a:gd name="connsiteX30" fmla="*/ 291829 w 433349"/>
                  <a:gd name="connsiteY30" fmla="*/ 35759 h 400014"/>
                  <a:gd name="connsiteX31" fmla="*/ 290466 w 433349"/>
                  <a:gd name="connsiteY31" fmla="*/ 41365 h 400014"/>
                  <a:gd name="connsiteX32" fmla="*/ 291375 w 433349"/>
                  <a:gd name="connsiteY32" fmla="*/ 49244 h 400014"/>
                  <a:gd name="connsiteX33" fmla="*/ 293041 w 433349"/>
                  <a:gd name="connsiteY33" fmla="*/ 53638 h 400014"/>
                  <a:gd name="connsiteX34" fmla="*/ 295314 w 433349"/>
                  <a:gd name="connsiteY34" fmla="*/ 56820 h 400014"/>
                  <a:gd name="connsiteX35" fmla="*/ 296375 w 433349"/>
                  <a:gd name="connsiteY35" fmla="*/ 60002 h 400014"/>
                  <a:gd name="connsiteX36" fmla="*/ 296678 w 433349"/>
                  <a:gd name="connsiteY36" fmla="*/ 63487 h 400014"/>
                  <a:gd name="connsiteX37" fmla="*/ 295617 w 433349"/>
                  <a:gd name="connsiteY37" fmla="*/ 66972 h 400014"/>
                  <a:gd name="connsiteX38" fmla="*/ 292890 w 433349"/>
                  <a:gd name="connsiteY38" fmla="*/ 71821 h 400014"/>
                  <a:gd name="connsiteX39" fmla="*/ 284708 w 433349"/>
                  <a:gd name="connsiteY39" fmla="*/ 81215 h 400014"/>
                  <a:gd name="connsiteX40" fmla="*/ 281223 w 433349"/>
                  <a:gd name="connsiteY40" fmla="*/ 83488 h 400014"/>
                  <a:gd name="connsiteX41" fmla="*/ 273192 w 433349"/>
                  <a:gd name="connsiteY41" fmla="*/ 87276 h 400014"/>
                  <a:gd name="connsiteX42" fmla="*/ 268495 w 433349"/>
                  <a:gd name="connsiteY42" fmla="*/ 87882 h 400014"/>
                  <a:gd name="connsiteX43" fmla="*/ 263343 w 433349"/>
                  <a:gd name="connsiteY43" fmla="*/ 87124 h 400014"/>
                  <a:gd name="connsiteX44" fmla="*/ 256070 w 433349"/>
                  <a:gd name="connsiteY44" fmla="*/ 83488 h 400014"/>
                  <a:gd name="connsiteX45" fmla="*/ 243039 w 433349"/>
                  <a:gd name="connsiteY45" fmla="*/ 72579 h 400014"/>
                  <a:gd name="connsiteX46" fmla="*/ 236373 w 433349"/>
                  <a:gd name="connsiteY46" fmla="*/ 70306 h 400014"/>
                  <a:gd name="connsiteX47" fmla="*/ 233191 w 433349"/>
                  <a:gd name="connsiteY47" fmla="*/ 68033 h 400014"/>
                  <a:gd name="connsiteX48" fmla="*/ 220008 w 433349"/>
                  <a:gd name="connsiteY48" fmla="*/ 63487 h 400014"/>
                  <a:gd name="connsiteX49" fmla="*/ 204402 w 433349"/>
                  <a:gd name="connsiteY49" fmla="*/ 59396 h 400014"/>
                  <a:gd name="connsiteX50" fmla="*/ 195462 w 433349"/>
                  <a:gd name="connsiteY50" fmla="*/ 59093 h 400014"/>
                  <a:gd name="connsiteX51" fmla="*/ 186371 w 433349"/>
                  <a:gd name="connsiteY51" fmla="*/ 58032 h 400014"/>
                  <a:gd name="connsiteX52" fmla="*/ 178491 w 433349"/>
                  <a:gd name="connsiteY52" fmla="*/ 55002 h 400014"/>
                  <a:gd name="connsiteX53" fmla="*/ 175007 w 433349"/>
                  <a:gd name="connsiteY53" fmla="*/ 53032 h 400014"/>
                  <a:gd name="connsiteX54" fmla="*/ 171976 w 433349"/>
                  <a:gd name="connsiteY54" fmla="*/ 50002 h 400014"/>
                  <a:gd name="connsiteX55" fmla="*/ 169249 w 433349"/>
                  <a:gd name="connsiteY55" fmla="*/ 46214 h 400014"/>
                  <a:gd name="connsiteX56" fmla="*/ 166976 w 433349"/>
                  <a:gd name="connsiteY56" fmla="*/ 40759 h 400014"/>
                  <a:gd name="connsiteX57" fmla="*/ 165613 w 433349"/>
                  <a:gd name="connsiteY57" fmla="*/ 36668 h 400014"/>
                  <a:gd name="connsiteX58" fmla="*/ 165461 w 433349"/>
                  <a:gd name="connsiteY58" fmla="*/ 30910 h 400014"/>
                  <a:gd name="connsiteX59" fmla="*/ 163037 w 433349"/>
                  <a:gd name="connsiteY59" fmla="*/ 26365 h 400014"/>
                  <a:gd name="connsiteX60" fmla="*/ 160460 w 433349"/>
                  <a:gd name="connsiteY60" fmla="*/ 23940 h 400014"/>
                  <a:gd name="connsiteX61" fmla="*/ 142430 w 433349"/>
                  <a:gd name="connsiteY61" fmla="*/ 20304 h 400014"/>
                  <a:gd name="connsiteX62" fmla="*/ 140006 w 433349"/>
                  <a:gd name="connsiteY62" fmla="*/ 19092 h 400014"/>
                  <a:gd name="connsiteX63" fmla="*/ 134854 w 433349"/>
                  <a:gd name="connsiteY63" fmla="*/ 15152 h 400014"/>
                  <a:gd name="connsiteX64" fmla="*/ 132581 w 433349"/>
                  <a:gd name="connsiteY64" fmla="*/ 14243 h 400014"/>
                  <a:gd name="connsiteX65" fmla="*/ 123793 w 433349"/>
                  <a:gd name="connsiteY65" fmla="*/ 11819 h 400014"/>
                  <a:gd name="connsiteX66" fmla="*/ 118641 w 433349"/>
                  <a:gd name="connsiteY66" fmla="*/ 11667 h 400014"/>
                  <a:gd name="connsiteX67" fmla="*/ 115610 w 433349"/>
                  <a:gd name="connsiteY67" fmla="*/ 10758 h 400014"/>
                  <a:gd name="connsiteX68" fmla="*/ 108792 w 433349"/>
                  <a:gd name="connsiteY68" fmla="*/ 8031 h 400014"/>
                  <a:gd name="connsiteX69" fmla="*/ 104701 w 433349"/>
                  <a:gd name="connsiteY69" fmla="*/ 8637 h 400014"/>
                  <a:gd name="connsiteX70" fmla="*/ 94246 w 433349"/>
                  <a:gd name="connsiteY70" fmla="*/ 11516 h 400014"/>
                  <a:gd name="connsiteX71" fmla="*/ 85306 w 433349"/>
                  <a:gd name="connsiteY71" fmla="*/ 10607 h 400014"/>
                  <a:gd name="connsiteX72" fmla="*/ 81215 w 433349"/>
                  <a:gd name="connsiteY72" fmla="*/ 9849 h 400014"/>
                  <a:gd name="connsiteX73" fmla="*/ 68488 w 433349"/>
                  <a:gd name="connsiteY73" fmla="*/ 2576 h 400014"/>
                  <a:gd name="connsiteX74" fmla="*/ 64245 w 433349"/>
                  <a:gd name="connsiteY74" fmla="*/ 1818 h 400014"/>
                  <a:gd name="connsiteX75" fmla="*/ 60003 w 433349"/>
                  <a:gd name="connsiteY75" fmla="*/ 0 h 400014"/>
                  <a:gd name="connsiteX76" fmla="*/ 60003 w 433349"/>
                  <a:gd name="connsiteY76" fmla="*/ 758 h 400014"/>
                  <a:gd name="connsiteX77" fmla="*/ 59093 w 433349"/>
                  <a:gd name="connsiteY77" fmla="*/ 6516 h 400014"/>
                  <a:gd name="connsiteX78" fmla="*/ 58790 w 433349"/>
                  <a:gd name="connsiteY78" fmla="*/ 8637 h 400014"/>
                  <a:gd name="connsiteX79" fmla="*/ 58639 w 433349"/>
                  <a:gd name="connsiteY79" fmla="*/ 12122 h 400014"/>
                  <a:gd name="connsiteX80" fmla="*/ 58639 w 433349"/>
                  <a:gd name="connsiteY80" fmla="*/ 16364 h 400014"/>
                  <a:gd name="connsiteX81" fmla="*/ 60912 w 433349"/>
                  <a:gd name="connsiteY81" fmla="*/ 19849 h 400014"/>
                  <a:gd name="connsiteX82" fmla="*/ 60912 w 433349"/>
                  <a:gd name="connsiteY82" fmla="*/ 21516 h 400014"/>
                  <a:gd name="connsiteX83" fmla="*/ 60003 w 433349"/>
                  <a:gd name="connsiteY83" fmla="*/ 23334 h 400014"/>
                  <a:gd name="connsiteX84" fmla="*/ 56063 w 433349"/>
                  <a:gd name="connsiteY84" fmla="*/ 25304 h 400014"/>
                  <a:gd name="connsiteX85" fmla="*/ 50911 w 433349"/>
                  <a:gd name="connsiteY85" fmla="*/ 28031 h 400014"/>
                  <a:gd name="connsiteX86" fmla="*/ 46365 w 433349"/>
                  <a:gd name="connsiteY86" fmla="*/ 30607 h 400014"/>
                  <a:gd name="connsiteX87" fmla="*/ 41517 w 433349"/>
                  <a:gd name="connsiteY87" fmla="*/ 33335 h 400014"/>
                  <a:gd name="connsiteX88" fmla="*/ 40002 w 433349"/>
                  <a:gd name="connsiteY88" fmla="*/ 35153 h 400014"/>
                  <a:gd name="connsiteX89" fmla="*/ 37577 w 433349"/>
                  <a:gd name="connsiteY89" fmla="*/ 36517 h 400014"/>
                  <a:gd name="connsiteX90" fmla="*/ 35607 w 433349"/>
                  <a:gd name="connsiteY90" fmla="*/ 37880 h 400014"/>
                  <a:gd name="connsiteX91" fmla="*/ 35153 w 433349"/>
                  <a:gd name="connsiteY91" fmla="*/ 39244 h 400014"/>
                  <a:gd name="connsiteX92" fmla="*/ 33789 w 433349"/>
                  <a:gd name="connsiteY92" fmla="*/ 41820 h 400014"/>
                  <a:gd name="connsiteX93" fmla="*/ 31971 w 433349"/>
                  <a:gd name="connsiteY93" fmla="*/ 43789 h 400014"/>
                  <a:gd name="connsiteX94" fmla="*/ 27274 w 433349"/>
                  <a:gd name="connsiteY94" fmla="*/ 44699 h 400014"/>
                  <a:gd name="connsiteX95" fmla="*/ 26365 w 433349"/>
                  <a:gd name="connsiteY95" fmla="*/ 45305 h 400014"/>
                  <a:gd name="connsiteX96" fmla="*/ 24243 w 433349"/>
                  <a:gd name="connsiteY96" fmla="*/ 48335 h 400014"/>
                  <a:gd name="connsiteX97" fmla="*/ 23334 w 433349"/>
                  <a:gd name="connsiteY97" fmla="*/ 49547 h 400014"/>
                  <a:gd name="connsiteX98" fmla="*/ 21971 w 433349"/>
                  <a:gd name="connsiteY98" fmla="*/ 51972 h 400014"/>
                  <a:gd name="connsiteX99" fmla="*/ 23637 w 433349"/>
                  <a:gd name="connsiteY99" fmla="*/ 58336 h 400014"/>
                  <a:gd name="connsiteX100" fmla="*/ 25607 w 433349"/>
                  <a:gd name="connsiteY100" fmla="*/ 65003 h 400014"/>
                  <a:gd name="connsiteX101" fmla="*/ 25910 w 433349"/>
                  <a:gd name="connsiteY101" fmla="*/ 67730 h 400014"/>
                  <a:gd name="connsiteX102" fmla="*/ 25910 w 433349"/>
                  <a:gd name="connsiteY102" fmla="*/ 70003 h 400014"/>
                  <a:gd name="connsiteX103" fmla="*/ 24850 w 433349"/>
                  <a:gd name="connsiteY103" fmla="*/ 72427 h 400014"/>
                  <a:gd name="connsiteX104" fmla="*/ 22274 w 433349"/>
                  <a:gd name="connsiteY104" fmla="*/ 75912 h 400014"/>
                  <a:gd name="connsiteX105" fmla="*/ 20455 w 433349"/>
                  <a:gd name="connsiteY105" fmla="*/ 78488 h 400014"/>
                  <a:gd name="connsiteX106" fmla="*/ 16971 w 433349"/>
                  <a:gd name="connsiteY106" fmla="*/ 83185 h 400014"/>
                  <a:gd name="connsiteX107" fmla="*/ 16061 w 433349"/>
                  <a:gd name="connsiteY107" fmla="*/ 84246 h 400014"/>
                  <a:gd name="connsiteX108" fmla="*/ 13637 w 433349"/>
                  <a:gd name="connsiteY108" fmla="*/ 85609 h 400014"/>
                  <a:gd name="connsiteX109" fmla="*/ 8940 w 433349"/>
                  <a:gd name="connsiteY109" fmla="*/ 87427 h 400014"/>
                  <a:gd name="connsiteX110" fmla="*/ 5758 w 433349"/>
                  <a:gd name="connsiteY110" fmla="*/ 88943 h 400014"/>
                  <a:gd name="connsiteX111" fmla="*/ 3031 w 433349"/>
                  <a:gd name="connsiteY111" fmla="*/ 90458 h 400014"/>
                  <a:gd name="connsiteX112" fmla="*/ 0 w 433349"/>
                  <a:gd name="connsiteY112" fmla="*/ 92428 h 400014"/>
                  <a:gd name="connsiteX113" fmla="*/ 2273 w 433349"/>
                  <a:gd name="connsiteY113" fmla="*/ 96064 h 400014"/>
                  <a:gd name="connsiteX114" fmla="*/ 6516 w 433349"/>
                  <a:gd name="connsiteY114" fmla="*/ 101974 h 400014"/>
                  <a:gd name="connsiteX115" fmla="*/ 9091 w 433349"/>
                  <a:gd name="connsiteY115" fmla="*/ 106671 h 400014"/>
                  <a:gd name="connsiteX116" fmla="*/ 10000 w 433349"/>
                  <a:gd name="connsiteY116" fmla="*/ 108792 h 400014"/>
                  <a:gd name="connsiteX117" fmla="*/ 11970 w 433349"/>
                  <a:gd name="connsiteY117" fmla="*/ 114550 h 400014"/>
                  <a:gd name="connsiteX118" fmla="*/ 13637 w 433349"/>
                  <a:gd name="connsiteY118" fmla="*/ 120307 h 400014"/>
                  <a:gd name="connsiteX119" fmla="*/ 13940 w 433349"/>
                  <a:gd name="connsiteY119" fmla="*/ 122126 h 400014"/>
                  <a:gd name="connsiteX120" fmla="*/ 14546 w 433349"/>
                  <a:gd name="connsiteY120" fmla="*/ 126520 h 400014"/>
                  <a:gd name="connsiteX121" fmla="*/ 13788 w 433349"/>
                  <a:gd name="connsiteY121" fmla="*/ 138490 h 400014"/>
                  <a:gd name="connsiteX122" fmla="*/ 15001 w 433349"/>
                  <a:gd name="connsiteY122" fmla="*/ 153794 h 400014"/>
                  <a:gd name="connsiteX123" fmla="*/ 16667 w 433349"/>
                  <a:gd name="connsiteY123" fmla="*/ 161370 h 400014"/>
                  <a:gd name="connsiteX124" fmla="*/ 14092 w 433349"/>
                  <a:gd name="connsiteY124" fmla="*/ 168188 h 400014"/>
                  <a:gd name="connsiteX125" fmla="*/ 11970 w 433349"/>
                  <a:gd name="connsiteY125" fmla="*/ 174704 h 400014"/>
                  <a:gd name="connsiteX126" fmla="*/ 12122 w 433349"/>
                  <a:gd name="connsiteY126" fmla="*/ 178037 h 400014"/>
                  <a:gd name="connsiteX127" fmla="*/ 13334 w 433349"/>
                  <a:gd name="connsiteY127" fmla="*/ 183189 h 400014"/>
                  <a:gd name="connsiteX128" fmla="*/ 14395 w 433349"/>
                  <a:gd name="connsiteY128" fmla="*/ 186977 h 400014"/>
                  <a:gd name="connsiteX129" fmla="*/ 16061 w 433349"/>
                  <a:gd name="connsiteY129" fmla="*/ 188946 h 400014"/>
                  <a:gd name="connsiteX130" fmla="*/ 15758 w 433349"/>
                  <a:gd name="connsiteY130" fmla="*/ 195310 h 400014"/>
                  <a:gd name="connsiteX131" fmla="*/ 15001 w 433349"/>
                  <a:gd name="connsiteY131" fmla="*/ 197583 h 400014"/>
                  <a:gd name="connsiteX132" fmla="*/ 10304 w 433349"/>
                  <a:gd name="connsiteY132" fmla="*/ 200917 h 400014"/>
                  <a:gd name="connsiteX133" fmla="*/ 5000 w 433349"/>
                  <a:gd name="connsiteY133" fmla="*/ 203947 h 400014"/>
                  <a:gd name="connsiteX134" fmla="*/ 3485 w 433349"/>
                  <a:gd name="connsiteY134" fmla="*/ 206523 h 400014"/>
                  <a:gd name="connsiteX135" fmla="*/ 3031 w 433349"/>
                  <a:gd name="connsiteY135" fmla="*/ 209402 h 400014"/>
                  <a:gd name="connsiteX136" fmla="*/ 3788 w 433349"/>
                  <a:gd name="connsiteY136" fmla="*/ 211674 h 400014"/>
                  <a:gd name="connsiteX137" fmla="*/ 7425 w 433349"/>
                  <a:gd name="connsiteY137" fmla="*/ 216826 h 400014"/>
                  <a:gd name="connsiteX138" fmla="*/ 12879 w 433349"/>
                  <a:gd name="connsiteY138" fmla="*/ 224554 h 400014"/>
                  <a:gd name="connsiteX139" fmla="*/ 18940 w 433349"/>
                  <a:gd name="connsiteY139" fmla="*/ 233039 h 400014"/>
                  <a:gd name="connsiteX140" fmla="*/ 19395 w 433349"/>
                  <a:gd name="connsiteY140" fmla="*/ 235160 h 400014"/>
                  <a:gd name="connsiteX141" fmla="*/ 19698 w 433349"/>
                  <a:gd name="connsiteY141" fmla="*/ 241221 h 400014"/>
                  <a:gd name="connsiteX142" fmla="*/ 22122 w 433349"/>
                  <a:gd name="connsiteY142" fmla="*/ 248797 h 400014"/>
                  <a:gd name="connsiteX143" fmla="*/ 24850 w 433349"/>
                  <a:gd name="connsiteY143" fmla="*/ 252130 h 400014"/>
                  <a:gd name="connsiteX144" fmla="*/ 25910 w 433349"/>
                  <a:gd name="connsiteY144" fmla="*/ 254555 h 400014"/>
                  <a:gd name="connsiteX145" fmla="*/ 27880 w 433349"/>
                  <a:gd name="connsiteY145" fmla="*/ 256373 h 400014"/>
                  <a:gd name="connsiteX146" fmla="*/ 29698 w 433349"/>
                  <a:gd name="connsiteY146" fmla="*/ 257585 h 400014"/>
                  <a:gd name="connsiteX147" fmla="*/ 30910 w 433349"/>
                  <a:gd name="connsiteY147" fmla="*/ 257737 h 400014"/>
                  <a:gd name="connsiteX148" fmla="*/ 37729 w 433349"/>
                  <a:gd name="connsiteY148" fmla="*/ 255767 h 400014"/>
                  <a:gd name="connsiteX149" fmla="*/ 49244 w 433349"/>
                  <a:gd name="connsiteY149" fmla="*/ 259100 h 400014"/>
                  <a:gd name="connsiteX150" fmla="*/ 60154 w 433349"/>
                  <a:gd name="connsiteY150" fmla="*/ 262585 h 400014"/>
                  <a:gd name="connsiteX151" fmla="*/ 60912 w 433349"/>
                  <a:gd name="connsiteY151" fmla="*/ 263192 h 400014"/>
                  <a:gd name="connsiteX152" fmla="*/ 63336 w 433349"/>
                  <a:gd name="connsiteY152" fmla="*/ 267586 h 400014"/>
                  <a:gd name="connsiteX153" fmla="*/ 67275 w 433349"/>
                  <a:gd name="connsiteY153" fmla="*/ 274707 h 400014"/>
                  <a:gd name="connsiteX154" fmla="*/ 70154 w 433349"/>
                  <a:gd name="connsiteY154" fmla="*/ 280465 h 400014"/>
                  <a:gd name="connsiteX155" fmla="*/ 72730 w 433349"/>
                  <a:gd name="connsiteY155" fmla="*/ 285465 h 400014"/>
                  <a:gd name="connsiteX156" fmla="*/ 86973 w 433349"/>
                  <a:gd name="connsiteY156" fmla="*/ 288799 h 400014"/>
                  <a:gd name="connsiteX157" fmla="*/ 100458 w 433349"/>
                  <a:gd name="connsiteY157" fmla="*/ 291980 h 400014"/>
                  <a:gd name="connsiteX158" fmla="*/ 114095 w 433349"/>
                  <a:gd name="connsiteY158" fmla="*/ 295162 h 400014"/>
                  <a:gd name="connsiteX159" fmla="*/ 117277 w 433349"/>
                  <a:gd name="connsiteY159" fmla="*/ 296981 h 400014"/>
                  <a:gd name="connsiteX160" fmla="*/ 124550 w 433349"/>
                  <a:gd name="connsiteY160" fmla="*/ 303193 h 400014"/>
                  <a:gd name="connsiteX161" fmla="*/ 133793 w 433349"/>
                  <a:gd name="connsiteY161" fmla="*/ 311072 h 400014"/>
                  <a:gd name="connsiteX162" fmla="*/ 134248 w 433349"/>
                  <a:gd name="connsiteY162" fmla="*/ 311224 h 400014"/>
                  <a:gd name="connsiteX163" fmla="*/ 134702 w 433349"/>
                  <a:gd name="connsiteY163" fmla="*/ 311224 h 400014"/>
                  <a:gd name="connsiteX164" fmla="*/ 143490 w 433349"/>
                  <a:gd name="connsiteY164" fmla="*/ 306527 h 400014"/>
                  <a:gd name="connsiteX165" fmla="*/ 155158 w 433349"/>
                  <a:gd name="connsiteY165" fmla="*/ 300466 h 400014"/>
                  <a:gd name="connsiteX166" fmla="*/ 155158 w 433349"/>
                  <a:gd name="connsiteY166" fmla="*/ 300466 h 400014"/>
                  <a:gd name="connsiteX167" fmla="*/ 165158 w 433349"/>
                  <a:gd name="connsiteY167" fmla="*/ 295768 h 400014"/>
                  <a:gd name="connsiteX168" fmla="*/ 172885 w 433349"/>
                  <a:gd name="connsiteY168" fmla="*/ 292132 h 400014"/>
                  <a:gd name="connsiteX169" fmla="*/ 182583 w 433349"/>
                  <a:gd name="connsiteY169" fmla="*/ 287586 h 400014"/>
                  <a:gd name="connsiteX170" fmla="*/ 191674 w 433349"/>
                  <a:gd name="connsiteY170" fmla="*/ 292284 h 400014"/>
                  <a:gd name="connsiteX171" fmla="*/ 204856 w 433349"/>
                  <a:gd name="connsiteY171" fmla="*/ 299102 h 400014"/>
                  <a:gd name="connsiteX172" fmla="*/ 217887 w 433349"/>
                  <a:gd name="connsiteY172" fmla="*/ 305920 h 400014"/>
                  <a:gd name="connsiteX173" fmla="*/ 231069 w 433349"/>
                  <a:gd name="connsiteY173" fmla="*/ 312587 h 400014"/>
                  <a:gd name="connsiteX174" fmla="*/ 244100 w 433349"/>
                  <a:gd name="connsiteY174" fmla="*/ 319406 h 400014"/>
                  <a:gd name="connsiteX175" fmla="*/ 257282 w 433349"/>
                  <a:gd name="connsiteY175" fmla="*/ 326224 h 400014"/>
                  <a:gd name="connsiteX176" fmla="*/ 270313 w 433349"/>
                  <a:gd name="connsiteY176" fmla="*/ 332891 h 400014"/>
                  <a:gd name="connsiteX177" fmla="*/ 283496 w 433349"/>
                  <a:gd name="connsiteY177" fmla="*/ 339710 h 400014"/>
                  <a:gd name="connsiteX178" fmla="*/ 296526 w 433349"/>
                  <a:gd name="connsiteY178" fmla="*/ 346376 h 400014"/>
                  <a:gd name="connsiteX179" fmla="*/ 309709 w 433349"/>
                  <a:gd name="connsiteY179" fmla="*/ 353195 h 400014"/>
                  <a:gd name="connsiteX180" fmla="*/ 322740 w 433349"/>
                  <a:gd name="connsiteY180" fmla="*/ 359862 h 400014"/>
                  <a:gd name="connsiteX181" fmla="*/ 335922 w 433349"/>
                  <a:gd name="connsiteY181" fmla="*/ 366529 h 400014"/>
                  <a:gd name="connsiteX182" fmla="*/ 348952 w 433349"/>
                  <a:gd name="connsiteY182" fmla="*/ 373347 h 400014"/>
                  <a:gd name="connsiteX183" fmla="*/ 362135 w 433349"/>
                  <a:gd name="connsiteY183" fmla="*/ 380014 h 400014"/>
                  <a:gd name="connsiteX184" fmla="*/ 375166 w 433349"/>
                  <a:gd name="connsiteY184" fmla="*/ 386681 h 400014"/>
                  <a:gd name="connsiteX185" fmla="*/ 388348 w 433349"/>
                  <a:gd name="connsiteY185" fmla="*/ 393348 h 400014"/>
                  <a:gd name="connsiteX186" fmla="*/ 401379 w 433349"/>
                  <a:gd name="connsiteY186" fmla="*/ 400015 h 400014"/>
                  <a:gd name="connsiteX187" fmla="*/ 401379 w 433349"/>
                  <a:gd name="connsiteY187" fmla="*/ 396530 h 400014"/>
                  <a:gd name="connsiteX188" fmla="*/ 401379 w 433349"/>
                  <a:gd name="connsiteY188" fmla="*/ 393045 h 400014"/>
                  <a:gd name="connsiteX189" fmla="*/ 401379 w 433349"/>
                  <a:gd name="connsiteY189" fmla="*/ 389408 h 400014"/>
                  <a:gd name="connsiteX190" fmla="*/ 401379 w 433349"/>
                  <a:gd name="connsiteY190" fmla="*/ 385923 h 400014"/>
                  <a:gd name="connsiteX191" fmla="*/ 408197 w 433349"/>
                  <a:gd name="connsiteY191" fmla="*/ 385923 h 400014"/>
                  <a:gd name="connsiteX192" fmla="*/ 414864 w 433349"/>
                  <a:gd name="connsiteY192" fmla="*/ 385923 h 400014"/>
                  <a:gd name="connsiteX193" fmla="*/ 421683 w 433349"/>
                  <a:gd name="connsiteY193" fmla="*/ 385923 h 400014"/>
                  <a:gd name="connsiteX194" fmla="*/ 428350 w 433349"/>
                  <a:gd name="connsiteY194" fmla="*/ 385923 h 400014"/>
                  <a:gd name="connsiteX195" fmla="*/ 428501 w 433349"/>
                  <a:gd name="connsiteY195" fmla="*/ 385923 h 400014"/>
                  <a:gd name="connsiteX196" fmla="*/ 428501 w 433349"/>
                  <a:gd name="connsiteY196" fmla="*/ 385923 h 400014"/>
                  <a:gd name="connsiteX197" fmla="*/ 428652 w 433349"/>
                  <a:gd name="connsiteY197" fmla="*/ 385772 h 400014"/>
                  <a:gd name="connsiteX198" fmla="*/ 428804 w 433349"/>
                  <a:gd name="connsiteY198" fmla="*/ 385772 h 400014"/>
                  <a:gd name="connsiteX199" fmla="*/ 428804 w 433349"/>
                  <a:gd name="connsiteY199" fmla="*/ 371680 h 400014"/>
                  <a:gd name="connsiteX200" fmla="*/ 428804 w 433349"/>
                  <a:gd name="connsiteY200" fmla="*/ 357437 h 400014"/>
                  <a:gd name="connsiteX201" fmla="*/ 428804 w 433349"/>
                  <a:gd name="connsiteY201" fmla="*/ 343346 h 400014"/>
                  <a:gd name="connsiteX202" fmla="*/ 428804 w 433349"/>
                  <a:gd name="connsiteY202" fmla="*/ 329103 h 400014"/>
                  <a:gd name="connsiteX203" fmla="*/ 428804 w 433349"/>
                  <a:gd name="connsiteY203" fmla="*/ 322739 h 400014"/>
                  <a:gd name="connsiteX204" fmla="*/ 428804 w 433349"/>
                  <a:gd name="connsiteY204" fmla="*/ 316224 h 400014"/>
                  <a:gd name="connsiteX205" fmla="*/ 428804 w 433349"/>
                  <a:gd name="connsiteY205" fmla="*/ 309860 h 400014"/>
                  <a:gd name="connsiteX206" fmla="*/ 428804 w 433349"/>
                  <a:gd name="connsiteY206" fmla="*/ 303344 h 400014"/>
                  <a:gd name="connsiteX207" fmla="*/ 428804 w 433349"/>
                  <a:gd name="connsiteY207" fmla="*/ 296981 h 400014"/>
                  <a:gd name="connsiteX208" fmla="*/ 428804 w 433349"/>
                  <a:gd name="connsiteY208" fmla="*/ 290465 h 400014"/>
                  <a:gd name="connsiteX209" fmla="*/ 428804 w 433349"/>
                  <a:gd name="connsiteY209" fmla="*/ 284101 h 400014"/>
                  <a:gd name="connsiteX210" fmla="*/ 428804 w 433349"/>
                  <a:gd name="connsiteY210" fmla="*/ 277586 h 400014"/>
                  <a:gd name="connsiteX211" fmla="*/ 428804 w 433349"/>
                  <a:gd name="connsiteY211" fmla="*/ 271070 h 400014"/>
                  <a:gd name="connsiteX212" fmla="*/ 428804 w 433349"/>
                  <a:gd name="connsiteY212" fmla="*/ 264707 h 400014"/>
                  <a:gd name="connsiteX213" fmla="*/ 428804 w 433349"/>
                  <a:gd name="connsiteY213" fmla="*/ 258191 h 400014"/>
                  <a:gd name="connsiteX214" fmla="*/ 428804 w 433349"/>
                  <a:gd name="connsiteY214" fmla="*/ 251676 h 400014"/>
                  <a:gd name="connsiteX215" fmla="*/ 428804 w 433349"/>
                  <a:gd name="connsiteY215" fmla="*/ 245161 h 400014"/>
                  <a:gd name="connsiteX216" fmla="*/ 428804 w 433349"/>
                  <a:gd name="connsiteY216" fmla="*/ 238645 h 400014"/>
                  <a:gd name="connsiteX217" fmla="*/ 428804 w 433349"/>
                  <a:gd name="connsiteY217" fmla="*/ 232130 h 400014"/>
                  <a:gd name="connsiteX218" fmla="*/ 428804 w 433349"/>
                  <a:gd name="connsiteY218" fmla="*/ 225614 h 400014"/>
                  <a:gd name="connsiteX219" fmla="*/ 428804 w 433349"/>
                  <a:gd name="connsiteY219" fmla="*/ 219099 h 400014"/>
                  <a:gd name="connsiteX220" fmla="*/ 428804 w 433349"/>
                  <a:gd name="connsiteY220" fmla="*/ 212584 h 400014"/>
                  <a:gd name="connsiteX221" fmla="*/ 428804 w 433349"/>
                  <a:gd name="connsiteY221" fmla="*/ 206068 h 400014"/>
                  <a:gd name="connsiteX222" fmla="*/ 428804 w 433349"/>
                  <a:gd name="connsiteY222" fmla="*/ 199401 h 400014"/>
                  <a:gd name="connsiteX223" fmla="*/ 428804 w 433349"/>
                  <a:gd name="connsiteY223" fmla="*/ 192886 h 400014"/>
                  <a:gd name="connsiteX224" fmla="*/ 428804 w 433349"/>
                  <a:gd name="connsiteY224" fmla="*/ 186370 h 400014"/>
                  <a:gd name="connsiteX225" fmla="*/ 428804 w 433349"/>
                  <a:gd name="connsiteY225" fmla="*/ 179704 h 400014"/>
                  <a:gd name="connsiteX226" fmla="*/ 428804 w 433349"/>
                  <a:gd name="connsiteY226" fmla="*/ 173188 h 400014"/>
                  <a:gd name="connsiteX227" fmla="*/ 428804 w 433349"/>
                  <a:gd name="connsiteY227" fmla="*/ 166521 h 400014"/>
                  <a:gd name="connsiteX228" fmla="*/ 428804 w 433349"/>
                  <a:gd name="connsiteY228" fmla="*/ 160006 h 400014"/>
                  <a:gd name="connsiteX229" fmla="*/ 428804 w 433349"/>
                  <a:gd name="connsiteY229" fmla="*/ 153339 h 400014"/>
                  <a:gd name="connsiteX230" fmla="*/ 428804 w 433349"/>
                  <a:gd name="connsiteY230" fmla="*/ 146672 h 400014"/>
                  <a:gd name="connsiteX231" fmla="*/ 428804 w 433349"/>
                  <a:gd name="connsiteY231" fmla="*/ 140157 h 400014"/>
                  <a:gd name="connsiteX232" fmla="*/ 428804 w 433349"/>
                  <a:gd name="connsiteY232" fmla="*/ 133490 h 400014"/>
                  <a:gd name="connsiteX233" fmla="*/ 428804 w 433349"/>
                  <a:gd name="connsiteY233" fmla="*/ 126823 h 400014"/>
                  <a:gd name="connsiteX234" fmla="*/ 428804 w 433349"/>
                  <a:gd name="connsiteY234" fmla="*/ 120156 h 400014"/>
                  <a:gd name="connsiteX235" fmla="*/ 428501 w 433349"/>
                  <a:gd name="connsiteY235" fmla="*/ 118944 h 400014"/>
                  <a:gd name="connsiteX236" fmla="*/ 426986 w 433349"/>
                  <a:gd name="connsiteY236" fmla="*/ 114398 h 400014"/>
                  <a:gd name="connsiteX237" fmla="*/ 425622 w 433349"/>
                  <a:gd name="connsiteY237" fmla="*/ 108641 h 400014"/>
                  <a:gd name="connsiteX238" fmla="*/ 424107 w 433349"/>
                  <a:gd name="connsiteY238" fmla="*/ 101519 h 400014"/>
                  <a:gd name="connsiteX239" fmla="*/ 423955 w 433349"/>
                  <a:gd name="connsiteY239" fmla="*/ 99246 h 400014"/>
                  <a:gd name="connsiteX240" fmla="*/ 421379 w 433349"/>
                  <a:gd name="connsiteY240" fmla="*/ 91973 h 400014"/>
                  <a:gd name="connsiteX241" fmla="*/ 421228 w 433349"/>
                  <a:gd name="connsiteY241" fmla="*/ 89852 h 400014"/>
                  <a:gd name="connsiteX242" fmla="*/ 421834 w 433349"/>
                  <a:gd name="connsiteY242" fmla="*/ 88337 h 400014"/>
                  <a:gd name="connsiteX243" fmla="*/ 425925 w 433349"/>
                  <a:gd name="connsiteY243" fmla="*/ 82124 h 400014"/>
                  <a:gd name="connsiteX244" fmla="*/ 427137 w 433349"/>
                  <a:gd name="connsiteY244" fmla="*/ 79094 h 400014"/>
                  <a:gd name="connsiteX245" fmla="*/ 428198 w 433349"/>
                  <a:gd name="connsiteY245" fmla="*/ 75609 h 400014"/>
                  <a:gd name="connsiteX246" fmla="*/ 428652 w 433349"/>
                  <a:gd name="connsiteY246" fmla="*/ 72579 h 400014"/>
                  <a:gd name="connsiteX247" fmla="*/ 427440 w 433349"/>
                  <a:gd name="connsiteY247" fmla="*/ 68184 h 400014"/>
                  <a:gd name="connsiteX248" fmla="*/ 425925 w 433349"/>
                  <a:gd name="connsiteY248" fmla="*/ 64093 h 400014"/>
                  <a:gd name="connsiteX249" fmla="*/ 425471 w 433349"/>
                  <a:gd name="connsiteY249" fmla="*/ 60002 h 400014"/>
                  <a:gd name="connsiteX250" fmla="*/ 425319 w 433349"/>
                  <a:gd name="connsiteY250" fmla="*/ 55911 h 400014"/>
                  <a:gd name="connsiteX251" fmla="*/ 427440 w 433349"/>
                  <a:gd name="connsiteY251" fmla="*/ 53032 h 400014"/>
                  <a:gd name="connsiteX252" fmla="*/ 429865 w 433349"/>
                  <a:gd name="connsiteY252" fmla="*/ 50456 h 400014"/>
                  <a:gd name="connsiteX253" fmla="*/ 430925 w 433349"/>
                  <a:gd name="connsiteY253" fmla="*/ 48790 h 400014"/>
                  <a:gd name="connsiteX254" fmla="*/ 432440 w 433349"/>
                  <a:gd name="connsiteY254" fmla="*/ 47123 h 400014"/>
                  <a:gd name="connsiteX255" fmla="*/ 433350 w 433349"/>
                  <a:gd name="connsiteY255" fmla="*/ 46214 h 40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433349" h="400014">
                    <a:moveTo>
                      <a:pt x="432440" y="44547"/>
                    </a:moveTo>
                    <a:lnTo>
                      <a:pt x="430016" y="39395"/>
                    </a:lnTo>
                    <a:lnTo>
                      <a:pt x="427895" y="37123"/>
                    </a:lnTo>
                    <a:lnTo>
                      <a:pt x="425925" y="36213"/>
                    </a:lnTo>
                    <a:lnTo>
                      <a:pt x="420622" y="35304"/>
                    </a:lnTo>
                    <a:lnTo>
                      <a:pt x="415016" y="35911"/>
                    </a:lnTo>
                    <a:lnTo>
                      <a:pt x="405470" y="35456"/>
                    </a:lnTo>
                    <a:lnTo>
                      <a:pt x="403045" y="34698"/>
                    </a:lnTo>
                    <a:lnTo>
                      <a:pt x="399106" y="31971"/>
                    </a:lnTo>
                    <a:lnTo>
                      <a:pt x="396378" y="31062"/>
                    </a:lnTo>
                    <a:lnTo>
                      <a:pt x="382439" y="29395"/>
                    </a:lnTo>
                    <a:lnTo>
                      <a:pt x="377438" y="25759"/>
                    </a:lnTo>
                    <a:lnTo>
                      <a:pt x="377590" y="23789"/>
                    </a:lnTo>
                    <a:lnTo>
                      <a:pt x="378196" y="22274"/>
                    </a:lnTo>
                    <a:lnTo>
                      <a:pt x="376984" y="17122"/>
                    </a:lnTo>
                    <a:lnTo>
                      <a:pt x="372287" y="15001"/>
                    </a:lnTo>
                    <a:lnTo>
                      <a:pt x="367892" y="13334"/>
                    </a:lnTo>
                    <a:lnTo>
                      <a:pt x="361529" y="11819"/>
                    </a:lnTo>
                    <a:lnTo>
                      <a:pt x="356528" y="9091"/>
                    </a:lnTo>
                    <a:lnTo>
                      <a:pt x="352286" y="8031"/>
                    </a:lnTo>
                    <a:lnTo>
                      <a:pt x="342892" y="8334"/>
                    </a:lnTo>
                    <a:lnTo>
                      <a:pt x="339558" y="7273"/>
                    </a:lnTo>
                    <a:lnTo>
                      <a:pt x="337285" y="7425"/>
                    </a:lnTo>
                    <a:lnTo>
                      <a:pt x="331528" y="11516"/>
                    </a:lnTo>
                    <a:lnTo>
                      <a:pt x="328649" y="12273"/>
                    </a:lnTo>
                    <a:lnTo>
                      <a:pt x="321527" y="12273"/>
                    </a:lnTo>
                    <a:lnTo>
                      <a:pt x="309557" y="18183"/>
                    </a:lnTo>
                    <a:lnTo>
                      <a:pt x="302587" y="22728"/>
                    </a:lnTo>
                    <a:lnTo>
                      <a:pt x="295769" y="29244"/>
                    </a:lnTo>
                    <a:lnTo>
                      <a:pt x="293344" y="32577"/>
                    </a:lnTo>
                    <a:lnTo>
                      <a:pt x="291829" y="35759"/>
                    </a:lnTo>
                    <a:lnTo>
                      <a:pt x="290466" y="41365"/>
                    </a:lnTo>
                    <a:lnTo>
                      <a:pt x="291375" y="49244"/>
                    </a:lnTo>
                    <a:lnTo>
                      <a:pt x="293041" y="53638"/>
                    </a:lnTo>
                    <a:lnTo>
                      <a:pt x="295314" y="56820"/>
                    </a:lnTo>
                    <a:lnTo>
                      <a:pt x="296375" y="60002"/>
                    </a:lnTo>
                    <a:lnTo>
                      <a:pt x="296678" y="63487"/>
                    </a:lnTo>
                    <a:lnTo>
                      <a:pt x="295617" y="66972"/>
                    </a:lnTo>
                    <a:lnTo>
                      <a:pt x="292890" y="71821"/>
                    </a:lnTo>
                    <a:lnTo>
                      <a:pt x="284708" y="81215"/>
                    </a:lnTo>
                    <a:lnTo>
                      <a:pt x="281223" y="83488"/>
                    </a:lnTo>
                    <a:lnTo>
                      <a:pt x="273192" y="87276"/>
                    </a:lnTo>
                    <a:lnTo>
                      <a:pt x="268495" y="87882"/>
                    </a:lnTo>
                    <a:lnTo>
                      <a:pt x="263343" y="87124"/>
                    </a:lnTo>
                    <a:lnTo>
                      <a:pt x="256070" y="83488"/>
                    </a:lnTo>
                    <a:lnTo>
                      <a:pt x="243039" y="72579"/>
                    </a:lnTo>
                    <a:lnTo>
                      <a:pt x="236373" y="70306"/>
                    </a:lnTo>
                    <a:lnTo>
                      <a:pt x="233191" y="68033"/>
                    </a:lnTo>
                    <a:lnTo>
                      <a:pt x="220008" y="63487"/>
                    </a:lnTo>
                    <a:lnTo>
                      <a:pt x="204402" y="59396"/>
                    </a:lnTo>
                    <a:lnTo>
                      <a:pt x="195462" y="59093"/>
                    </a:lnTo>
                    <a:lnTo>
                      <a:pt x="186371" y="58032"/>
                    </a:lnTo>
                    <a:lnTo>
                      <a:pt x="178491" y="55002"/>
                    </a:lnTo>
                    <a:lnTo>
                      <a:pt x="175007" y="53032"/>
                    </a:lnTo>
                    <a:lnTo>
                      <a:pt x="171976" y="50002"/>
                    </a:lnTo>
                    <a:lnTo>
                      <a:pt x="169249" y="46214"/>
                    </a:lnTo>
                    <a:lnTo>
                      <a:pt x="166976" y="40759"/>
                    </a:lnTo>
                    <a:lnTo>
                      <a:pt x="165613" y="36668"/>
                    </a:lnTo>
                    <a:lnTo>
                      <a:pt x="165461" y="30910"/>
                    </a:lnTo>
                    <a:lnTo>
                      <a:pt x="163037" y="26365"/>
                    </a:lnTo>
                    <a:lnTo>
                      <a:pt x="160460" y="23940"/>
                    </a:lnTo>
                    <a:lnTo>
                      <a:pt x="142430" y="20304"/>
                    </a:lnTo>
                    <a:lnTo>
                      <a:pt x="140006" y="19092"/>
                    </a:lnTo>
                    <a:lnTo>
                      <a:pt x="134854" y="15152"/>
                    </a:lnTo>
                    <a:lnTo>
                      <a:pt x="132581" y="14243"/>
                    </a:lnTo>
                    <a:lnTo>
                      <a:pt x="123793" y="11819"/>
                    </a:lnTo>
                    <a:lnTo>
                      <a:pt x="118641" y="11667"/>
                    </a:lnTo>
                    <a:lnTo>
                      <a:pt x="115610" y="10758"/>
                    </a:lnTo>
                    <a:lnTo>
                      <a:pt x="108792" y="8031"/>
                    </a:lnTo>
                    <a:lnTo>
                      <a:pt x="104701" y="8637"/>
                    </a:lnTo>
                    <a:lnTo>
                      <a:pt x="94246" y="11516"/>
                    </a:lnTo>
                    <a:lnTo>
                      <a:pt x="85306" y="10607"/>
                    </a:lnTo>
                    <a:lnTo>
                      <a:pt x="81215" y="9849"/>
                    </a:lnTo>
                    <a:lnTo>
                      <a:pt x="68488" y="2576"/>
                    </a:lnTo>
                    <a:lnTo>
                      <a:pt x="64245" y="1818"/>
                    </a:lnTo>
                    <a:lnTo>
                      <a:pt x="60003" y="0"/>
                    </a:lnTo>
                    <a:lnTo>
                      <a:pt x="60003" y="758"/>
                    </a:lnTo>
                    <a:lnTo>
                      <a:pt x="59093" y="6516"/>
                    </a:lnTo>
                    <a:lnTo>
                      <a:pt x="58790" y="8637"/>
                    </a:lnTo>
                    <a:lnTo>
                      <a:pt x="58639" y="12122"/>
                    </a:lnTo>
                    <a:lnTo>
                      <a:pt x="58639" y="16364"/>
                    </a:lnTo>
                    <a:lnTo>
                      <a:pt x="60912" y="19849"/>
                    </a:lnTo>
                    <a:lnTo>
                      <a:pt x="60912" y="21516"/>
                    </a:lnTo>
                    <a:lnTo>
                      <a:pt x="60003" y="23334"/>
                    </a:lnTo>
                    <a:lnTo>
                      <a:pt x="56063" y="25304"/>
                    </a:lnTo>
                    <a:lnTo>
                      <a:pt x="50911" y="28031"/>
                    </a:lnTo>
                    <a:lnTo>
                      <a:pt x="46365" y="30607"/>
                    </a:lnTo>
                    <a:lnTo>
                      <a:pt x="41517" y="33335"/>
                    </a:lnTo>
                    <a:lnTo>
                      <a:pt x="40002" y="35153"/>
                    </a:lnTo>
                    <a:lnTo>
                      <a:pt x="37577" y="36517"/>
                    </a:lnTo>
                    <a:lnTo>
                      <a:pt x="35607" y="37880"/>
                    </a:lnTo>
                    <a:lnTo>
                      <a:pt x="35153" y="39244"/>
                    </a:lnTo>
                    <a:lnTo>
                      <a:pt x="33789" y="41820"/>
                    </a:lnTo>
                    <a:lnTo>
                      <a:pt x="31971" y="43789"/>
                    </a:lnTo>
                    <a:lnTo>
                      <a:pt x="27274" y="44699"/>
                    </a:lnTo>
                    <a:lnTo>
                      <a:pt x="26365" y="45305"/>
                    </a:lnTo>
                    <a:lnTo>
                      <a:pt x="24243" y="48335"/>
                    </a:lnTo>
                    <a:lnTo>
                      <a:pt x="23334" y="49547"/>
                    </a:lnTo>
                    <a:lnTo>
                      <a:pt x="21971" y="51972"/>
                    </a:lnTo>
                    <a:lnTo>
                      <a:pt x="23637" y="58336"/>
                    </a:lnTo>
                    <a:lnTo>
                      <a:pt x="25607" y="65003"/>
                    </a:lnTo>
                    <a:lnTo>
                      <a:pt x="25910" y="67730"/>
                    </a:lnTo>
                    <a:lnTo>
                      <a:pt x="25910" y="70003"/>
                    </a:lnTo>
                    <a:lnTo>
                      <a:pt x="24850" y="72427"/>
                    </a:lnTo>
                    <a:lnTo>
                      <a:pt x="22274" y="75912"/>
                    </a:lnTo>
                    <a:lnTo>
                      <a:pt x="20455" y="78488"/>
                    </a:lnTo>
                    <a:lnTo>
                      <a:pt x="16971" y="83185"/>
                    </a:lnTo>
                    <a:lnTo>
                      <a:pt x="16061" y="84246"/>
                    </a:lnTo>
                    <a:lnTo>
                      <a:pt x="13637" y="85609"/>
                    </a:lnTo>
                    <a:lnTo>
                      <a:pt x="8940" y="87427"/>
                    </a:lnTo>
                    <a:lnTo>
                      <a:pt x="5758" y="88943"/>
                    </a:lnTo>
                    <a:lnTo>
                      <a:pt x="3031" y="90458"/>
                    </a:lnTo>
                    <a:lnTo>
                      <a:pt x="0" y="92428"/>
                    </a:lnTo>
                    <a:lnTo>
                      <a:pt x="2273" y="96064"/>
                    </a:lnTo>
                    <a:lnTo>
                      <a:pt x="6516" y="101974"/>
                    </a:lnTo>
                    <a:lnTo>
                      <a:pt x="9091" y="106671"/>
                    </a:lnTo>
                    <a:lnTo>
                      <a:pt x="10000" y="108792"/>
                    </a:lnTo>
                    <a:lnTo>
                      <a:pt x="11970" y="114550"/>
                    </a:lnTo>
                    <a:lnTo>
                      <a:pt x="13637" y="120307"/>
                    </a:lnTo>
                    <a:lnTo>
                      <a:pt x="13940" y="122126"/>
                    </a:lnTo>
                    <a:lnTo>
                      <a:pt x="14546" y="126520"/>
                    </a:lnTo>
                    <a:lnTo>
                      <a:pt x="13788" y="138490"/>
                    </a:lnTo>
                    <a:lnTo>
                      <a:pt x="15001" y="153794"/>
                    </a:lnTo>
                    <a:lnTo>
                      <a:pt x="16667" y="161370"/>
                    </a:lnTo>
                    <a:lnTo>
                      <a:pt x="14092" y="168188"/>
                    </a:lnTo>
                    <a:lnTo>
                      <a:pt x="11970" y="174704"/>
                    </a:lnTo>
                    <a:lnTo>
                      <a:pt x="12122" y="178037"/>
                    </a:lnTo>
                    <a:lnTo>
                      <a:pt x="13334" y="183189"/>
                    </a:lnTo>
                    <a:lnTo>
                      <a:pt x="14395" y="186977"/>
                    </a:lnTo>
                    <a:lnTo>
                      <a:pt x="16061" y="188946"/>
                    </a:lnTo>
                    <a:lnTo>
                      <a:pt x="15758" y="195310"/>
                    </a:lnTo>
                    <a:lnTo>
                      <a:pt x="15001" y="197583"/>
                    </a:lnTo>
                    <a:lnTo>
                      <a:pt x="10304" y="200917"/>
                    </a:lnTo>
                    <a:lnTo>
                      <a:pt x="5000" y="203947"/>
                    </a:lnTo>
                    <a:lnTo>
                      <a:pt x="3485" y="206523"/>
                    </a:lnTo>
                    <a:lnTo>
                      <a:pt x="3031" y="209402"/>
                    </a:lnTo>
                    <a:lnTo>
                      <a:pt x="3788" y="211674"/>
                    </a:lnTo>
                    <a:lnTo>
                      <a:pt x="7425" y="216826"/>
                    </a:lnTo>
                    <a:lnTo>
                      <a:pt x="12879" y="224554"/>
                    </a:lnTo>
                    <a:lnTo>
                      <a:pt x="18940" y="233039"/>
                    </a:lnTo>
                    <a:lnTo>
                      <a:pt x="19395" y="235160"/>
                    </a:lnTo>
                    <a:lnTo>
                      <a:pt x="19698" y="241221"/>
                    </a:lnTo>
                    <a:lnTo>
                      <a:pt x="22122" y="248797"/>
                    </a:lnTo>
                    <a:lnTo>
                      <a:pt x="24850" y="252130"/>
                    </a:lnTo>
                    <a:lnTo>
                      <a:pt x="25910" y="254555"/>
                    </a:lnTo>
                    <a:lnTo>
                      <a:pt x="27880" y="256373"/>
                    </a:lnTo>
                    <a:lnTo>
                      <a:pt x="29698" y="257585"/>
                    </a:lnTo>
                    <a:lnTo>
                      <a:pt x="30910" y="257737"/>
                    </a:lnTo>
                    <a:lnTo>
                      <a:pt x="37729" y="255767"/>
                    </a:lnTo>
                    <a:lnTo>
                      <a:pt x="49244" y="259100"/>
                    </a:lnTo>
                    <a:lnTo>
                      <a:pt x="60154" y="262585"/>
                    </a:lnTo>
                    <a:lnTo>
                      <a:pt x="60912" y="263192"/>
                    </a:lnTo>
                    <a:lnTo>
                      <a:pt x="63336" y="267586"/>
                    </a:lnTo>
                    <a:lnTo>
                      <a:pt x="67275" y="274707"/>
                    </a:lnTo>
                    <a:lnTo>
                      <a:pt x="70154" y="280465"/>
                    </a:lnTo>
                    <a:lnTo>
                      <a:pt x="72730" y="285465"/>
                    </a:lnTo>
                    <a:lnTo>
                      <a:pt x="86973" y="288799"/>
                    </a:lnTo>
                    <a:lnTo>
                      <a:pt x="100458" y="291980"/>
                    </a:lnTo>
                    <a:lnTo>
                      <a:pt x="114095" y="295162"/>
                    </a:lnTo>
                    <a:lnTo>
                      <a:pt x="117277" y="296981"/>
                    </a:lnTo>
                    <a:lnTo>
                      <a:pt x="124550" y="303193"/>
                    </a:lnTo>
                    <a:lnTo>
                      <a:pt x="133793" y="311072"/>
                    </a:lnTo>
                    <a:lnTo>
                      <a:pt x="134248" y="311224"/>
                    </a:lnTo>
                    <a:lnTo>
                      <a:pt x="134702" y="311224"/>
                    </a:lnTo>
                    <a:lnTo>
                      <a:pt x="143490" y="306527"/>
                    </a:lnTo>
                    <a:lnTo>
                      <a:pt x="155158" y="300466"/>
                    </a:lnTo>
                    <a:lnTo>
                      <a:pt x="155158" y="300466"/>
                    </a:lnTo>
                    <a:lnTo>
                      <a:pt x="165158" y="295768"/>
                    </a:lnTo>
                    <a:lnTo>
                      <a:pt x="172885" y="292132"/>
                    </a:lnTo>
                    <a:lnTo>
                      <a:pt x="182583" y="287586"/>
                    </a:lnTo>
                    <a:lnTo>
                      <a:pt x="191674" y="292284"/>
                    </a:lnTo>
                    <a:lnTo>
                      <a:pt x="204856" y="299102"/>
                    </a:lnTo>
                    <a:lnTo>
                      <a:pt x="217887" y="305920"/>
                    </a:lnTo>
                    <a:lnTo>
                      <a:pt x="231069" y="312587"/>
                    </a:lnTo>
                    <a:lnTo>
                      <a:pt x="244100" y="319406"/>
                    </a:lnTo>
                    <a:lnTo>
                      <a:pt x="257282" y="326224"/>
                    </a:lnTo>
                    <a:lnTo>
                      <a:pt x="270313" y="332891"/>
                    </a:lnTo>
                    <a:lnTo>
                      <a:pt x="283496" y="339710"/>
                    </a:lnTo>
                    <a:lnTo>
                      <a:pt x="296526" y="346376"/>
                    </a:lnTo>
                    <a:lnTo>
                      <a:pt x="309709" y="353195"/>
                    </a:lnTo>
                    <a:lnTo>
                      <a:pt x="322740" y="359862"/>
                    </a:lnTo>
                    <a:lnTo>
                      <a:pt x="335922" y="366529"/>
                    </a:lnTo>
                    <a:lnTo>
                      <a:pt x="348952" y="373347"/>
                    </a:lnTo>
                    <a:lnTo>
                      <a:pt x="362135" y="380014"/>
                    </a:lnTo>
                    <a:lnTo>
                      <a:pt x="375166" y="386681"/>
                    </a:lnTo>
                    <a:lnTo>
                      <a:pt x="388348" y="393348"/>
                    </a:lnTo>
                    <a:lnTo>
                      <a:pt x="401379" y="400015"/>
                    </a:lnTo>
                    <a:lnTo>
                      <a:pt x="401379" y="396530"/>
                    </a:lnTo>
                    <a:lnTo>
                      <a:pt x="401379" y="393045"/>
                    </a:lnTo>
                    <a:lnTo>
                      <a:pt x="401379" y="389408"/>
                    </a:lnTo>
                    <a:lnTo>
                      <a:pt x="401379" y="385923"/>
                    </a:lnTo>
                    <a:lnTo>
                      <a:pt x="408197" y="385923"/>
                    </a:lnTo>
                    <a:lnTo>
                      <a:pt x="414864" y="385923"/>
                    </a:lnTo>
                    <a:lnTo>
                      <a:pt x="421683" y="385923"/>
                    </a:lnTo>
                    <a:lnTo>
                      <a:pt x="428350" y="385923"/>
                    </a:lnTo>
                    <a:lnTo>
                      <a:pt x="428501" y="385923"/>
                    </a:lnTo>
                    <a:lnTo>
                      <a:pt x="428501" y="385923"/>
                    </a:lnTo>
                    <a:lnTo>
                      <a:pt x="428652" y="385772"/>
                    </a:lnTo>
                    <a:lnTo>
                      <a:pt x="428804" y="385772"/>
                    </a:lnTo>
                    <a:lnTo>
                      <a:pt x="428804" y="371680"/>
                    </a:lnTo>
                    <a:lnTo>
                      <a:pt x="428804" y="357437"/>
                    </a:lnTo>
                    <a:lnTo>
                      <a:pt x="428804" y="343346"/>
                    </a:lnTo>
                    <a:lnTo>
                      <a:pt x="428804" y="329103"/>
                    </a:lnTo>
                    <a:lnTo>
                      <a:pt x="428804" y="322739"/>
                    </a:lnTo>
                    <a:lnTo>
                      <a:pt x="428804" y="316224"/>
                    </a:lnTo>
                    <a:lnTo>
                      <a:pt x="428804" y="309860"/>
                    </a:lnTo>
                    <a:lnTo>
                      <a:pt x="428804" y="303344"/>
                    </a:lnTo>
                    <a:lnTo>
                      <a:pt x="428804" y="296981"/>
                    </a:lnTo>
                    <a:lnTo>
                      <a:pt x="428804" y="290465"/>
                    </a:lnTo>
                    <a:lnTo>
                      <a:pt x="428804" y="284101"/>
                    </a:lnTo>
                    <a:lnTo>
                      <a:pt x="428804" y="277586"/>
                    </a:lnTo>
                    <a:lnTo>
                      <a:pt x="428804" y="271070"/>
                    </a:lnTo>
                    <a:lnTo>
                      <a:pt x="428804" y="264707"/>
                    </a:lnTo>
                    <a:lnTo>
                      <a:pt x="428804" y="258191"/>
                    </a:lnTo>
                    <a:lnTo>
                      <a:pt x="428804" y="251676"/>
                    </a:lnTo>
                    <a:lnTo>
                      <a:pt x="428804" y="245161"/>
                    </a:lnTo>
                    <a:lnTo>
                      <a:pt x="428804" y="238645"/>
                    </a:lnTo>
                    <a:lnTo>
                      <a:pt x="428804" y="232130"/>
                    </a:lnTo>
                    <a:lnTo>
                      <a:pt x="428804" y="225614"/>
                    </a:lnTo>
                    <a:lnTo>
                      <a:pt x="428804" y="219099"/>
                    </a:lnTo>
                    <a:lnTo>
                      <a:pt x="428804" y="212584"/>
                    </a:lnTo>
                    <a:lnTo>
                      <a:pt x="428804" y="206068"/>
                    </a:lnTo>
                    <a:lnTo>
                      <a:pt x="428804" y="199401"/>
                    </a:lnTo>
                    <a:lnTo>
                      <a:pt x="428804" y="192886"/>
                    </a:lnTo>
                    <a:lnTo>
                      <a:pt x="428804" y="186370"/>
                    </a:lnTo>
                    <a:lnTo>
                      <a:pt x="428804" y="179704"/>
                    </a:lnTo>
                    <a:lnTo>
                      <a:pt x="428804" y="173188"/>
                    </a:lnTo>
                    <a:lnTo>
                      <a:pt x="428804" y="166521"/>
                    </a:lnTo>
                    <a:lnTo>
                      <a:pt x="428804" y="160006"/>
                    </a:lnTo>
                    <a:lnTo>
                      <a:pt x="428804" y="153339"/>
                    </a:lnTo>
                    <a:lnTo>
                      <a:pt x="428804" y="146672"/>
                    </a:lnTo>
                    <a:lnTo>
                      <a:pt x="428804" y="140157"/>
                    </a:lnTo>
                    <a:lnTo>
                      <a:pt x="428804" y="133490"/>
                    </a:lnTo>
                    <a:lnTo>
                      <a:pt x="428804" y="126823"/>
                    </a:lnTo>
                    <a:lnTo>
                      <a:pt x="428804" y="120156"/>
                    </a:lnTo>
                    <a:lnTo>
                      <a:pt x="428501" y="118944"/>
                    </a:lnTo>
                    <a:lnTo>
                      <a:pt x="426986" y="114398"/>
                    </a:lnTo>
                    <a:lnTo>
                      <a:pt x="425622" y="108641"/>
                    </a:lnTo>
                    <a:lnTo>
                      <a:pt x="424107" y="101519"/>
                    </a:lnTo>
                    <a:lnTo>
                      <a:pt x="423955" y="99246"/>
                    </a:lnTo>
                    <a:lnTo>
                      <a:pt x="421379" y="91973"/>
                    </a:lnTo>
                    <a:lnTo>
                      <a:pt x="421228" y="89852"/>
                    </a:lnTo>
                    <a:lnTo>
                      <a:pt x="421834" y="88337"/>
                    </a:lnTo>
                    <a:lnTo>
                      <a:pt x="425925" y="82124"/>
                    </a:lnTo>
                    <a:lnTo>
                      <a:pt x="427137" y="79094"/>
                    </a:lnTo>
                    <a:lnTo>
                      <a:pt x="428198" y="75609"/>
                    </a:lnTo>
                    <a:lnTo>
                      <a:pt x="428652" y="72579"/>
                    </a:lnTo>
                    <a:lnTo>
                      <a:pt x="427440" y="68184"/>
                    </a:lnTo>
                    <a:lnTo>
                      <a:pt x="425925" y="64093"/>
                    </a:lnTo>
                    <a:lnTo>
                      <a:pt x="425471" y="60002"/>
                    </a:lnTo>
                    <a:lnTo>
                      <a:pt x="425319" y="55911"/>
                    </a:lnTo>
                    <a:lnTo>
                      <a:pt x="427440" y="53032"/>
                    </a:lnTo>
                    <a:lnTo>
                      <a:pt x="429865" y="50456"/>
                    </a:lnTo>
                    <a:lnTo>
                      <a:pt x="430925" y="48790"/>
                    </a:lnTo>
                    <a:lnTo>
                      <a:pt x="432440" y="47123"/>
                    </a:lnTo>
                    <a:lnTo>
                      <a:pt x="433350" y="46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0" name="Freeform: Shape 3229">
                <a:extLst>
                  <a:ext uri="{FF2B5EF4-FFF2-40B4-BE49-F238E27FC236}">
                    <a16:creationId xmlns:a16="http://schemas.microsoft.com/office/drawing/2014/main" id="{44D41D40-4626-4E9D-A5B7-028C2C84417A}"/>
                  </a:ext>
                </a:extLst>
              </p:cNvPr>
              <p:cNvSpPr/>
              <p:nvPr/>
            </p:nvSpPr>
            <p:spPr>
              <a:xfrm>
                <a:off x="6352221" y="2770716"/>
                <a:ext cx="196522" cy="93639"/>
              </a:xfrm>
              <a:custGeom>
                <a:avLst/>
                <a:gdLst>
                  <a:gd name="connsiteX0" fmla="*/ 196371 w 196522"/>
                  <a:gd name="connsiteY0" fmla="*/ 68639 h 93639"/>
                  <a:gd name="connsiteX1" fmla="*/ 195765 w 196522"/>
                  <a:gd name="connsiteY1" fmla="*/ 65760 h 93639"/>
                  <a:gd name="connsiteX2" fmla="*/ 194098 w 196522"/>
                  <a:gd name="connsiteY2" fmla="*/ 61063 h 93639"/>
                  <a:gd name="connsiteX3" fmla="*/ 193946 w 196522"/>
                  <a:gd name="connsiteY3" fmla="*/ 59699 h 93639"/>
                  <a:gd name="connsiteX4" fmla="*/ 191219 w 196522"/>
                  <a:gd name="connsiteY4" fmla="*/ 57578 h 93639"/>
                  <a:gd name="connsiteX5" fmla="*/ 190765 w 196522"/>
                  <a:gd name="connsiteY5" fmla="*/ 55760 h 93639"/>
                  <a:gd name="connsiteX6" fmla="*/ 189401 w 196522"/>
                  <a:gd name="connsiteY6" fmla="*/ 53487 h 93639"/>
                  <a:gd name="connsiteX7" fmla="*/ 188189 w 196522"/>
                  <a:gd name="connsiteY7" fmla="*/ 52123 h 93639"/>
                  <a:gd name="connsiteX8" fmla="*/ 187886 w 196522"/>
                  <a:gd name="connsiteY8" fmla="*/ 48790 h 93639"/>
                  <a:gd name="connsiteX9" fmla="*/ 186977 w 196522"/>
                  <a:gd name="connsiteY9" fmla="*/ 47729 h 93639"/>
                  <a:gd name="connsiteX10" fmla="*/ 185765 w 196522"/>
                  <a:gd name="connsiteY10" fmla="*/ 47123 h 93639"/>
                  <a:gd name="connsiteX11" fmla="*/ 181673 w 196522"/>
                  <a:gd name="connsiteY11" fmla="*/ 48032 h 93639"/>
                  <a:gd name="connsiteX12" fmla="*/ 181219 w 196522"/>
                  <a:gd name="connsiteY12" fmla="*/ 48032 h 93639"/>
                  <a:gd name="connsiteX13" fmla="*/ 183189 w 196522"/>
                  <a:gd name="connsiteY13" fmla="*/ 42729 h 93639"/>
                  <a:gd name="connsiteX14" fmla="*/ 183340 w 196522"/>
                  <a:gd name="connsiteY14" fmla="*/ 39850 h 93639"/>
                  <a:gd name="connsiteX15" fmla="*/ 184552 w 196522"/>
                  <a:gd name="connsiteY15" fmla="*/ 36668 h 93639"/>
                  <a:gd name="connsiteX16" fmla="*/ 186067 w 196522"/>
                  <a:gd name="connsiteY16" fmla="*/ 35456 h 93639"/>
                  <a:gd name="connsiteX17" fmla="*/ 186370 w 196522"/>
                  <a:gd name="connsiteY17" fmla="*/ 34395 h 93639"/>
                  <a:gd name="connsiteX18" fmla="*/ 186674 w 196522"/>
                  <a:gd name="connsiteY18" fmla="*/ 32274 h 93639"/>
                  <a:gd name="connsiteX19" fmla="*/ 186370 w 196522"/>
                  <a:gd name="connsiteY19" fmla="*/ 30456 h 93639"/>
                  <a:gd name="connsiteX20" fmla="*/ 185461 w 196522"/>
                  <a:gd name="connsiteY20" fmla="*/ 29546 h 93639"/>
                  <a:gd name="connsiteX21" fmla="*/ 182128 w 196522"/>
                  <a:gd name="connsiteY21" fmla="*/ 27577 h 93639"/>
                  <a:gd name="connsiteX22" fmla="*/ 178491 w 196522"/>
                  <a:gd name="connsiteY22" fmla="*/ 25152 h 93639"/>
                  <a:gd name="connsiteX23" fmla="*/ 177734 w 196522"/>
                  <a:gd name="connsiteY23" fmla="*/ 21970 h 93639"/>
                  <a:gd name="connsiteX24" fmla="*/ 176522 w 196522"/>
                  <a:gd name="connsiteY24" fmla="*/ 21364 h 93639"/>
                  <a:gd name="connsiteX25" fmla="*/ 173340 w 196522"/>
                  <a:gd name="connsiteY25" fmla="*/ 21213 h 93639"/>
                  <a:gd name="connsiteX26" fmla="*/ 172582 w 196522"/>
                  <a:gd name="connsiteY26" fmla="*/ 21364 h 93639"/>
                  <a:gd name="connsiteX27" fmla="*/ 168794 w 196522"/>
                  <a:gd name="connsiteY27" fmla="*/ 20758 h 93639"/>
                  <a:gd name="connsiteX28" fmla="*/ 164551 w 196522"/>
                  <a:gd name="connsiteY28" fmla="*/ 19243 h 93639"/>
                  <a:gd name="connsiteX29" fmla="*/ 162733 w 196522"/>
                  <a:gd name="connsiteY29" fmla="*/ 18031 h 93639"/>
                  <a:gd name="connsiteX30" fmla="*/ 160915 w 196522"/>
                  <a:gd name="connsiteY30" fmla="*/ 18031 h 93639"/>
                  <a:gd name="connsiteX31" fmla="*/ 158794 w 196522"/>
                  <a:gd name="connsiteY31" fmla="*/ 18789 h 93639"/>
                  <a:gd name="connsiteX32" fmla="*/ 150915 w 196522"/>
                  <a:gd name="connsiteY32" fmla="*/ 21061 h 93639"/>
                  <a:gd name="connsiteX33" fmla="*/ 148945 w 196522"/>
                  <a:gd name="connsiteY33" fmla="*/ 20607 h 93639"/>
                  <a:gd name="connsiteX34" fmla="*/ 144551 w 196522"/>
                  <a:gd name="connsiteY34" fmla="*/ 18334 h 93639"/>
                  <a:gd name="connsiteX35" fmla="*/ 142278 w 196522"/>
                  <a:gd name="connsiteY35" fmla="*/ 15910 h 93639"/>
                  <a:gd name="connsiteX36" fmla="*/ 137126 w 196522"/>
                  <a:gd name="connsiteY36" fmla="*/ 11061 h 93639"/>
                  <a:gd name="connsiteX37" fmla="*/ 136823 w 196522"/>
                  <a:gd name="connsiteY37" fmla="*/ 9849 h 93639"/>
                  <a:gd name="connsiteX38" fmla="*/ 136066 w 196522"/>
                  <a:gd name="connsiteY38" fmla="*/ 8940 h 93639"/>
                  <a:gd name="connsiteX39" fmla="*/ 130763 w 196522"/>
                  <a:gd name="connsiteY39" fmla="*/ 7728 h 93639"/>
                  <a:gd name="connsiteX40" fmla="*/ 128641 w 196522"/>
                  <a:gd name="connsiteY40" fmla="*/ 5909 h 93639"/>
                  <a:gd name="connsiteX41" fmla="*/ 126974 w 196522"/>
                  <a:gd name="connsiteY41" fmla="*/ 5758 h 93639"/>
                  <a:gd name="connsiteX42" fmla="*/ 124550 w 196522"/>
                  <a:gd name="connsiteY42" fmla="*/ 4849 h 93639"/>
                  <a:gd name="connsiteX43" fmla="*/ 118338 w 196522"/>
                  <a:gd name="connsiteY43" fmla="*/ 909 h 93639"/>
                  <a:gd name="connsiteX44" fmla="*/ 116671 w 196522"/>
                  <a:gd name="connsiteY44" fmla="*/ 606 h 93639"/>
                  <a:gd name="connsiteX45" fmla="*/ 116368 w 196522"/>
                  <a:gd name="connsiteY45" fmla="*/ 1212 h 93639"/>
                  <a:gd name="connsiteX46" fmla="*/ 116520 w 196522"/>
                  <a:gd name="connsiteY46" fmla="*/ 2121 h 93639"/>
                  <a:gd name="connsiteX47" fmla="*/ 116065 w 196522"/>
                  <a:gd name="connsiteY47" fmla="*/ 2727 h 93639"/>
                  <a:gd name="connsiteX48" fmla="*/ 115307 w 196522"/>
                  <a:gd name="connsiteY48" fmla="*/ 2727 h 93639"/>
                  <a:gd name="connsiteX49" fmla="*/ 113792 w 196522"/>
                  <a:gd name="connsiteY49" fmla="*/ 1212 h 93639"/>
                  <a:gd name="connsiteX50" fmla="*/ 111974 w 196522"/>
                  <a:gd name="connsiteY50" fmla="*/ 0 h 93639"/>
                  <a:gd name="connsiteX51" fmla="*/ 106519 w 196522"/>
                  <a:gd name="connsiteY51" fmla="*/ 2424 h 93639"/>
                  <a:gd name="connsiteX52" fmla="*/ 104549 w 196522"/>
                  <a:gd name="connsiteY52" fmla="*/ 3030 h 93639"/>
                  <a:gd name="connsiteX53" fmla="*/ 102883 w 196522"/>
                  <a:gd name="connsiteY53" fmla="*/ 3182 h 93639"/>
                  <a:gd name="connsiteX54" fmla="*/ 94246 w 196522"/>
                  <a:gd name="connsiteY54" fmla="*/ 6212 h 93639"/>
                  <a:gd name="connsiteX55" fmla="*/ 91519 w 196522"/>
                  <a:gd name="connsiteY55" fmla="*/ 7879 h 93639"/>
                  <a:gd name="connsiteX56" fmla="*/ 90458 w 196522"/>
                  <a:gd name="connsiteY56" fmla="*/ 7728 h 93639"/>
                  <a:gd name="connsiteX57" fmla="*/ 89852 w 196522"/>
                  <a:gd name="connsiteY57" fmla="*/ 11061 h 93639"/>
                  <a:gd name="connsiteX58" fmla="*/ 91519 w 196522"/>
                  <a:gd name="connsiteY58" fmla="*/ 16516 h 93639"/>
                  <a:gd name="connsiteX59" fmla="*/ 92731 w 196522"/>
                  <a:gd name="connsiteY59" fmla="*/ 29243 h 93639"/>
                  <a:gd name="connsiteX60" fmla="*/ 92124 w 196522"/>
                  <a:gd name="connsiteY60" fmla="*/ 32122 h 93639"/>
                  <a:gd name="connsiteX61" fmla="*/ 89245 w 196522"/>
                  <a:gd name="connsiteY61" fmla="*/ 35153 h 93639"/>
                  <a:gd name="connsiteX62" fmla="*/ 83185 w 196522"/>
                  <a:gd name="connsiteY62" fmla="*/ 39395 h 93639"/>
                  <a:gd name="connsiteX63" fmla="*/ 79700 w 196522"/>
                  <a:gd name="connsiteY63" fmla="*/ 41668 h 93639"/>
                  <a:gd name="connsiteX64" fmla="*/ 71972 w 196522"/>
                  <a:gd name="connsiteY64" fmla="*/ 43032 h 93639"/>
                  <a:gd name="connsiteX65" fmla="*/ 62124 w 196522"/>
                  <a:gd name="connsiteY65" fmla="*/ 38486 h 93639"/>
                  <a:gd name="connsiteX66" fmla="*/ 58032 w 196522"/>
                  <a:gd name="connsiteY66" fmla="*/ 29243 h 93639"/>
                  <a:gd name="connsiteX67" fmla="*/ 55305 w 196522"/>
                  <a:gd name="connsiteY67" fmla="*/ 26516 h 93639"/>
                  <a:gd name="connsiteX68" fmla="*/ 44698 w 196522"/>
                  <a:gd name="connsiteY68" fmla="*/ 18486 h 93639"/>
                  <a:gd name="connsiteX69" fmla="*/ 43789 w 196522"/>
                  <a:gd name="connsiteY69" fmla="*/ 16364 h 93639"/>
                  <a:gd name="connsiteX70" fmla="*/ 42123 w 196522"/>
                  <a:gd name="connsiteY70" fmla="*/ 13485 h 93639"/>
                  <a:gd name="connsiteX71" fmla="*/ 33183 w 196522"/>
                  <a:gd name="connsiteY71" fmla="*/ 15758 h 93639"/>
                  <a:gd name="connsiteX72" fmla="*/ 25304 w 196522"/>
                  <a:gd name="connsiteY72" fmla="*/ 18486 h 93639"/>
                  <a:gd name="connsiteX73" fmla="*/ 19546 w 196522"/>
                  <a:gd name="connsiteY73" fmla="*/ 19546 h 93639"/>
                  <a:gd name="connsiteX74" fmla="*/ 12121 w 196522"/>
                  <a:gd name="connsiteY74" fmla="*/ 29243 h 93639"/>
                  <a:gd name="connsiteX75" fmla="*/ 11061 w 196522"/>
                  <a:gd name="connsiteY75" fmla="*/ 32729 h 93639"/>
                  <a:gd name="connsiteX76" fmla="*/ 10606 w 196522"/>
                  <a:gd name="connsiteY76" fmla="*/ 36820 h 93639"/>
                  <a:gd name="connsiteX77" fmla="*/ 9091 w 196522"/>
                  <a:gd name="connsiteY77" fmla="*/ 41214 h 93639"/>
                  <a:gd name="connsiteX78" fmla="*/ 6515 w 196522"/>
                  <a:gd name="connsiteY78" fmla="*/ 44547 h 93639"/>
                  <a:gd name="connsiteX79" fmla="*/ 1515 w 196522"/>
                  <a:gd name="connsiteY79" fmla="*/ 48790 h 93639"/>
                  <a:gd name="connsiteX80" fmla="*/ 455 w 196522"/>
                  <a:gd name="connsiteY80" fmla="*/ 56063 h 93639"/>
                  <a:gd name="connsiteX81" fmla="*/ 0 w 196522"/>
                  <a:gd name="connsiteY81" fmla="*/ 70760 h 93639"/>
                  <a:gd name="connsiteX82" fmla="*/ 757 w 196522"/>
                  <a:gd name="connsiteY82" fmla="*/ 78033 h 93639"/>
                  <a:gd name="connsiteX83" fmla="*/ 8182 w 196522"/>
                  <a:gd name="connsiteY83" fmla="*/ 73488 h 93639"/>
                  <a:gd name="connsiteX84" fmla="*/ 17425 w 196522"/>
                  <a:gd name="connsiteY84" fmla="*/ 68639 h 93639"/>
                  <a:gd name="connsiteX85" fmla="*/ 19546 w 196522"/>
                  <a:gd name="connsiteY85" fmla="*/ 68184 h 93639"/>
                  <a:gd name="connsiteX86" fmla="*/ 28031 w 196522"/>
                  <a:gd name="connsiteY86" fmla="*/ 65305 h 93639"/>
                  <a:gd name="connsiteX87" fmla="*/ 29243 w 196522"/>
                  <a:gd name="connsiteY87" fmla="*/ 65002 h 93639"/>
                  <a:gd name="connsiteX88" fmla="*/ 36971 w 196522"/>
                  <a:gd name="connsiteY88" fmla="*/ 65608 h 93639"/>
                  <a:gd name="connsiteX89" fmla="*/ 43032 w 196522"/>
                  <a:gd name="connsiteY89" fmla="*/ 66215 h 93639"/>
                  <a:gd name="connsiteX90" fmla="*/ 48032 w 196522"/>
                  <a:gd name="connsiteY90" fmla="*/ 66215 h 93639"/>
                  <a:gd name="connsiteX91" fmla="*/ 50911 w 196522"/>
                  <a:gd name="connsiteY91" fmla="*/ 65457 h 93639"/>
                  <a:gd name="connsiteX92" fmla="*/ 53335 w 196522"/>
                  <a:gd name="connsiteY92" fmla="*/ 66063 h 93639"/>
                  <a:gd name="connsiteX93" fmla="*/ 55457 w 196522"/>
                  <a:gd name="connsiteY93" fmla="*/ 68184 h 93639"/>
                  <a:gd name="connsiteX94" fmla="*/ 57578 w 196522"/>
                  <a:gd name="connsiteY94" fmla="*/ 68033 h 93639"/>
                  <a:gd name="connsiteX95" fmla="*/ 59699 w 196522"/>
                  <a:gd name="connsiteY95" fmla="*/ 66518 h 93639"/>
                  <a:gd name="connsiteX96" fmla="*/ 71063 w 196522"/>
                  <a:gd name="connsiteY96" fmla="*/ 67881 h 93639"/>
                  <a:gd name="connsiteX97" fmla="*/ 73639 w 196522"/>
                  <a:gd name="connsiteY97" fmla="*/ 67881 h 93639"/>
                  <a:gd name="connsiteX98" fmla="*/ 76518 w 196522"/>
                  <a:gd name="connsiteY98" fmla="*/ 68033 h 93639"/>
                  <a:gd name="connsiteX99" fmla="*/ 81821 w 196522"/>
                  <a:gd name="connsiteY99" fmla="*/ 69397 h 93639"/>
                  <a:gd name="connsiteX100" fmla="*/ 85003 w 196522"/>
                  <a:gd name="connsiteY100" fmla="*/ 70609 h 93639"/>
                  <a:gd name="connsiteX101" fmla="*/ 91670 w 196522"/>
                  <a:gd name="connsiteY101" fmla="*/ 69851 h 93639"/>
                  <a:gd name="connsiteX102" fmla="*/ 94549 w 196522"/>
                  <a:gd name="connsiteY102" fmla="*/ 69851 h 93639"/>
                  <a:gd name="connsiteX103" fmla="*/ 96064 w 196522"/>
                  <a:gd name="connsiteY103" fmla="*/ 69397 h 93639"/>
                  <a:gd name="connsiteX104" fmla="*/ 100761 w 196522"/>
                  <a:gd name="connsiteY104" fmla="*/ 66063 h 93639"/>
                  <a:gd name="connsiteX105" fmla="*/ 102731 w 196522"/>
                  <a:gd name="connsiteY105" fmla="*/ 65457 h 93639"/>
                  <a:gd name="connsiteX106" fmla="*/ 104701 w 196522"/>
                  <a:gd name="connsiteY106" fmla="*/ 64851 h 93639"/>
                  <a:gd name="connsiteX107" fmla="*/ 106367 w 196522"/>
                  <a:gd name="connsiteY107" fmla="*/ 65457 h 93639"/>
                  <a:gd name="connsiteX108" fmla="*/ 107428 w 196522"/>
                  <a:gd name="connsiteY108" fmla="*/ 68184 h 93639"/>
                  <a:gd name="connsiteX109" fmla="*/ 110913 w 196522"/>
                  <a:gd name="connsiteY109" fmla="*/ 73033 h 93639"/>
                  <a:gd name="connsiteX110" fmla="*/ 114701 w 196522"/>
                  <a:gd name="connsiteY110" fmla="*/ 73942 h 93639"/>
                  <a:gd name="connsiteX111" fmla="*/ 125005 w 196522"/>
                  <a:gd name="connsiteY111" fmla="*/ 75760 h 93639"/>
                  <a:gd name="connsiteX112" fmla="*/ 127126 w 196522"/>
                  <a:gd name="connsiteY112" fmla="*/ 76669 h 93639"/>
                  <a:gd name="connsiteX113" fmla="*/ 133035 w 196522"/>
                  <a:gd name="connsiteY113" fmla="*/ 81064 h 93639"/>
                  <a:gd name="connsiteX114" fmla="*/ 136520 w 196522"/>
                  <a:gd name="connsiteY114" fmla="*/ 83033 h 93639"/>
                  <a:gd name="connsiteX115" fmla="*/ 138641 w 196522"/>
                  <a:gd name="connsiteY115" fmla="*/ 84700 h 93639"/>
                  <a:gd name="connsiteX116" fmla="*/ 142127 w 196522"/>
                  <a:gd name="connsiteY116" fmla="*/ 88033 h 93639"/>
                  <a:gd name="connsiteX117" fmla="*/ 144096 w 196522"/>
                  <a:gd name="connsiteY117" fmla="*/ 90458 h 93639"/>
                  <a:gd name="connsiteX118" fmla="*/ 147278 w 196522"/>
                  <a:gd name="connsiteY118" fmla="*/ 92125 h 93639"/>
                  <a:gd name="connsiteX119" fmla="*/ 151218 w 196522"/>
                  <a:gd name="connsiteY119" fmla="*/ 93337 h 93639"/>
                  <a:gd name="connsiteX120" fmla="*/ 152582 w 196522"/>
                  <a:gd name="connsiteY120" fmla="*/ 93640 h 93639"/>
                  <a:gd name="connsiteX121" fmla="*/ 153339 w 196522"/>
                  <a:gd name="connsiteY121" fmla="*/ 93034 h 93639"/>
                  <a:gd name="connsiteX122" fmla="*/ 157430 w 196522"/>
                  <a:gd name="connsiteY122" fmla="*/ 92579 h 93639"/>
                  <a:gd name="connsiteX123" fmla="*/ 158794 w 196522"/>
                  <a:gd name="connsiteY123" fmla="*/ 91973 h 93639"/>
                  <a:gd name="connsiteX124" fmla="*/ 162430 w 196522"/>
                  <a:gd name="connsiteY124" fmla="*/ 88033 h 93639"/>
                  <a:gd name="connsiteX125" fmla="*/ 165158 w 196522"/>
                  <a:gd name="connsiteY125" fmla="*/ 87276 h 93639"/>
                  <a:gd name="connsiteX126" fmla="*/ 172127 w 196522"/>
                  <a:gd name="connsiteY126" fmla="*/ 88337 h 93639"/>
                  <a:gd name="connsiteX127" fmla="*/ 175461 w 196522"/>
                  <a:gd name="connsiteY127" fmla="*/ 88185 h 93639"/>
                  <a:gd name="connsiteX128" fmla="*/ 176219 w 196522"/>
                  <a:gd name="connsiteY128" fmla="*/ 88337 h 93639"/>
                  <a:gd name="connsiteX129" fmla="*/ 179552 w 196522"/>
                  <a:gd name="connsiteY129" fmla="*/ 88488 h 93639"/>
                  <a:gd name="connsiteX130" fmla="*/ 179855 w 196522"/>
                  <a:gd name="connsiteY130" fmla="*/ 88185 h 93639"/>
                  <a:gd name="connsiteX131" fmla="*/ 181219 w 196522"/>
                  <a:gd name="connsiteY131" fmla="*/ 84245 h 93639"/>
                  <a:gd name="connsiteX132" fmla="*/ 182734 w 196522"/>
                  <a:gd name="connsiteY132" fmla="*/ 83033 h 93639"/>
                  <a:gd name="connsiteX133" fmla="*/ 188189 w 196522"/>
                  <a:gd name="connsiteY133" fmla="*/ 77882 h 93639"/>
                  <a:gd name="connsiteX134" fmla="*/ 191977 w 196522"/>
                  <a:gd name="connsiteY134" fmla="*/ 75609 h 93639"/>
                  <a:gd name="connsiteX135" fmla="*/ 194250 w 196522"/>
                  <a:gd name="connsiteY135" fmla="*/ 75154 h 93639"/>
                  <a:gd name="connsiteX136" fmla="*/ 195159 w 196522"/>
                  <a:gd name="connsiteY136" fmla="*/ 75306 h 93639"/>
                  <a:gd name="connsiteX137" fmla="*/ 195765 w 196522"/>
                  <a:gd name="connsiteY137" fmla="*/ 73488 h 93639"/>
                  <a:gd name="connsiteX138" fmla="*/ 196522 w 196522"/>
                  <a:gd name="connsiteY138" fmla="*/ 70760 h 9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96522" h="93639">
                    <a:moveTo>
                      <a:pt x="196371" y="68639"/>
                    </a:moveTo>
                    <a:lnTo>
                      <a:pt x="195765" y="65760"/>
                    </a:lnTo>
                    <a:lnTo>
                      <a:pt x="194098" y="61063"/>
                    </a:lnTo>
                    <a:lnTo>
                      <a:pt x="193946" y="59699"/>
                    </a:lnTo>
                    <a:lnTo>
                      <a:pt x="191219" y="57578"/>
                    </a:lnTo>
                    <a:lnTo>
                      <a:pt x="190765" y="55760"/>
                    </a:lnTo>
                    <a:lnTo>
                      <a:pt x="189401" y="53487"/>
                    </a:lnTo>
                    <a:lnTo>
                      <a:pt x="188189" y="52123"/>
                    </a:lnTo>
                    <a:lnTo>
                      <a:pt x="187886" y="48790"/>
                    </a:lnTo>
                    <a:lnTo>
                      <a:pt x="186977" y="47729"/>
                    </a:lnTo>
                    <a:lnTo>
                      <a:pt x="185765" y="47123"/>
                    </a:lnTo>
                    <a:lnTo>
                      <a:pt x="181673" y="48032"/>
                    </a:lnTo>
                    <a:lnTo>
                      <a:pt x="181219" y="48032"/>
                    </a:lnTo>
                    <a:lnTo>
                      <a:pt x="183189" y="42729"/>
                    </a:lnTo>
                    <a:lnTo>
                      <a:pt x="183340" y="39850"/>
                    </a:lnTo>
                    <a:lnTo>
                      <a:pt x="184552" y="36668"/>
                    </a:lnTo>
                    <a:lnTo>
                      <a:pt x="186067" y="35456"/>
                    </a:lnTo>
                    <a:lnTo>
                      <a:pt x="186370" y="34395"/>
                    </a:lnTo>
                    <a:lnTo>
                      <a:pt x="186674" y="32274"/>
                    </a:lnTo>
                    <a:lnTo>
                      <a:pt x="186370" y="30456"/>
                    </a:lnTo>
                    <a:lnTo>
                      <a:pt x="185461" y="29546"/>
                    </a:lnTo>
                    <a:lnTo>
                      <a:pt x="182128" y="27577"/>
                    </a:lnTo>
                    <a:lnTo>
                      <a:pt x="178491" y="25152"/>
                    </a:lnTo>
                    <a:lnTo>
                      <a:pt x="177734" y="21970"/>
                    </a:lnTo>
                    <a:lnTo>
                      <a:pt x="176522" y="21364"/>
                    </a:lnTo>
                    <a:lnTo>
                      <a:pt x="173340" y="21213"/>
                    </a:lnTo>
                    <a:lnTo>
                      <a:pt x="172582" y="21364"/>
                    </a:lnTo>
                    <a:lnTo>
                      <a:pt x="168794" y="20758"/>
                    </a:lnTo>
                    <a:lnTo>
                      <a:pt x="164551" y="19243"/>
                    </a:lnTo>
                    <a:lnTo>
                      <a:pt x="162733" y="18031"/>
                    </a:lnTo>
                    <a:lnTo>
                      <a:pt x="160915" y="18031"/>
                    </a:lnTo>
                    <a:lnTo>
                      <a:pt x="158794" y="18789"/>
                    </a:lnTo>
                    <a:lnTo>
                      <a:pt x="150915" y="21061"/>
                    </a:lnTo>
                    <a:lnTo>
                      <a:pt x="148945" y="20607"/>
                    </a:lnTo>
                    <a:lnTo>
                      <a:pt x="144551" y="18334"/>
                    </a:lnTo>
                    <a:lnTo>
                      <a:pt x="142278" y="15910"/>
                    </a:lnTo>
                    <a:lnTo>
                      <a:pt x="137126" y="11061"/>
                    </a:lnTo>
                    <a:lnTo>
                      <a:pt x="136823" y="9849"/>
                    </a:lnTo>
                    <a:lnTo>
                      <a:pt x="136066" y="8940"/>
                    </a:lnTo>
                    <a:lnTo>
                      <a:pt x="130763" y="7728"/>
                    </a:lnTo>
                    <a:lnTo>
                      <a:pt x="128641" y="5909"/>
                    </a:lnTo>
                    <a:lnTo>
                      <a:pt x="126974" y="5758"/>
                    </a:lnTo>
                    <a:lnTo>
                      <a:pt x="124550" y="4849"/>
                    </a:lnTo>
                    <a:lnTo>
                      <a:pt x="118338" y="909"/>
                    </a:lnTo>
                    <a:lnTo>
                      <a:pt x="116671" y="606"/>
                    </a:lnTo>
                    <a:lnTo>
                      <a:pt x="116368" y="1212"/>
                    </a:lnTo>
                    <a:lnTo>
                      <a:pt x="116520" y="2121"/>
                    </a:lnTo>
                    <a:lnTo>
                      <a:pt x="116065" y="2727"/>
                    </a:lnTo>
                    <a:lnTo>
                      <a:pt x="115307" y="2727"/>
                    </a:lnTo>
                    <a:lnTo>
                      <a:pt x="113792" y="1212"/>
                    </a:lnTo>
                    <a:lnTo>
                      <a:pt x="111974" y="0"/>
                    </a:lnTo>
                    <a:lnTo>
                      <a:pt x="106519" y="2424"/>
                    </a:lnTo>
                    <a:lnTo>
                      <a:pt x="104549" y="3030"/>
                    </a:lnTo>
                    <a:lnTo>
                      <a:pt x="102883" y="3182"/>
                    </a:lnTo>
                    <a:lnTo>
                      <a:pt x="94246" y="6212"/>
                    </a:lnTo>
                    <a:lnTo>
                      <a:pt x="91519" y="7879"/>
                    </a:lnTo>
                    <a:lnTo>
                      <a:pt x="90458" y="7728"/>
                    </a:lnTo>
                    <a:lnTo>
                      <a:pt x="89852" y="11061"/>
                    </a:lnTo>
                    <a:lnTo>
                      <a:pt x="91519" y="16516"/>
                    </a:lnTo>
                    <a:lnTo>
                      <a:pt x="92731" y="29243"/>
                    </a:lnTo>
                    <a:lnTo>
                      <a:pt x="92124" y="32122"/>
                    </a:lnTo>
                    <a:lnTo>
                      <a:pt x="89245" y="35153"/>
                    </a:lnTo>
                    <a:lnTo>
                      <a:pt x="83185" y="39395"/>
                    </a:lnTo>
                    <a:lnTo>
                      <a:pt x="79700" y="41668"/>
                    </a:lnTo>
                    <a:lnTo>
                      <a:pt x="71972" y="43032"/>
                    </a:lnTo>
                    <a:lnTo>
                      <a:pt x="62124" y="38486"/>
                    </a:lnTo>
                    <a:lnTo>
                      <a:pt x="58032" y="29243"/>
                    </a:lnTo>
                    <a:lnTo>
                      <a:pt x="55305" y="26516"/>
                    </a:lnTo>
                    <a:lnTo>
                      <a:pt x="44698" y="18486"/>
                    </a:lnTo>
                    <a:lnTo>
                      <a:pt x="43789" y="16364"/>
                    </a:lnTo>
                    <a:lnTo>
                      <a:pt x="42123" y="13485"/>
                    </a:lnTo>
                    <a:lnTo>
                      <a:pt x="33183" y="15758"/>
                    </a:lnTo>
                    <a:lnTo>
                      <a:pt x="25304" y="18486"/>
                    </a:lnTo>
                    <a:lnTo>
                      <a:pt x="19546" y="19546"/>
                    </a:lnTo>
                    <a:lnTo>
                      <a:pt x="12121" y="29243"/>
                    </a:lnTo>
                    <a:lnTo>
                      <a:pt x="11061" y="32729"/>
                    </a:lnTo>
                    <a:lnTo>
                      <a:pt x="10606" y="36820"/>
                    </a:lnTo>
                    <a:lnTo>
                      <a:pt x="9091" y="41214"/>
                    </a:lnTo>
                    <a:lnTo>
                      <a:pt x="6515" y="44547"/>
                    </a:lnTo>
                    <a:lnTo>
                      <a:pt x="1515" y="48790"/>
                    </a:lnTo>
                    <a:lnTo>
                      <a:pt x="455" y="56063"/>
                    </a:lnTo>
                    <a:lnTo>
                      <a:pt x="0" y="70760"/>
                    </a:lnTo>
                    <a:lnTo>
                      <a:pt x="757" y="78033"/>
                    </a:lnTo>
                    <a:lnTo>
                      <a:pt x="8182" y="73488"/>
                    </a:lnTo>
                    <a:lnTo>
                      <a:pt x="17425" y="68639"/>
                    </a:lnTo>
                    <a:lnTo>
                      <a:pt x="19546" y="68184"/>
                    </a:lnTo>
                    <a:lnTo>
                      <a:pt x="28031" y="65305"/>
                    </a:lnTo>
                    <a:lnTo>
                      <a:pt x="29243" y="65002"/>
                    </a:lnTo>
                    <a:lnTo>
                      <a:pt x="36971" y="65608"/>
                    </a:lnTo>
                    <a:lnTo>
                      <a:pt x="43032" y="66215"/>
                    </a:lnTo>
                    <a:lnTo>
                      <a:pt x="48032" y="66215"/>
                    </a:lnTo>
                    <a:lnTo>
                      <a:pt x="50911" y="65457"/>
                    </a:lnTo>
                    <a:lnTo>
                      <a:pt x="53335" y="66063"/>
                    </a:lnTo>
                    <a:lnTo>
                      <a:pt x="55457" y="68184"/>
                    </a:lnTo>
                    <a:lnTo>
                      <a:pt x="57578" y="68033"/>
                    </a:lnTo>
                    <a:lnTo>
                      <a:pt x="59699" y="66518"/>
                    </a:lnTo>
                    <a:lnTo>
                      <a:pt x="71063" y="67881"/>
                    </a:lnTo>
                    <a:lnTo>
                      <a:pt x="73639" y="67881"/>
                    </a:lnTo>
                    <a:lnTo>
                      <a:pt x="76518" y="68033"/>
                    </a:lnTo>
                    <a:lnTo>
                      <a:pt x="81821" y="69397"/>
                    </a:lnTo>
                    <a:lnTo>
                      <a:pt x="85003" y="70609"/>
                    </a:lnTo>
                    <a:lnTo>
                      <a:pt x="91670" y="69851"/>
                    </a:lnTo>
                    <a:lnTo>
                      <a:pt x="94549" y="69851"/>
                    </a:lnTo>
                    <a:lnTo>
                      <a:pt x="96064" y="69397"/>
                    </a:lnTo>
                    <a:lnTo>
                      <a:pt x="100761" y="66063"/>
                    </a:lnTo>
                    <a:lnTo>
                      <a:pt x="102731" y="65457"/>
                    </a:lnTo>
                    <a:lnTo>
                      <a:pt x="104701" y="64851"/>
                    </a:lnTo>
                    <a:lnTo>
                      <a:pt x="106367" y="65457"/>
                    </a:lnTo>
                    <a:lnTo>
                      <a:pt x="107428" y="68184"/>
                    </a:lnTo>
                    <a:lnTo>
                      <a:pt x="110913" y="73033"/>
                    </a:lnTo>
                    <a:lnTo>
                      <a:pt x="114701" y="73942"/>
                    </a:lnTo>
                    <a:lnTo>
                      <a:pt x="125005" y="75760"/>
                    </a:lnTo>
                    <a:lnTo>
                      <a:pt x="127126" y="76669"/>
                    </a:lnTo>
                    <a:lnTo>
                      <a:pt x="133035" y="81064"/>
                    </a:lnTo>
                    <a:lnTo>
                      <a:pt x="136520" y="83033"/>
                    </a:lnTo>
                    <a:lnTo>
                      <a:pt x="138641" y="84700"/>
                    </a:lnTo>
                    <a:lnTo>
                      <a:pt x="142127" y="88033"/>
                    </a:lnTo>
                    <a:lnTo>
                      <a:pt x="144096" y="90458"/>
                    </a:lnTo>
                    <a:lnTo>
                      <a:pt x="147278" y="92125"/>
                    </a:lnTo>
                    <a:lnTo>
                      <a:pt x="151218" y="93337"/>
                    </a:lnTo>
                    <a:lnTo>
                      <a:pt x="152582" y="93640"/>
                    </a:lnTo>
                    <a:lnTo>
                      <a:pt x="153339" y="93034"/>
                    </a:lnTo>
                    <a:lnTo>
                      <a:pt x="157430" y="92579"/>
                    </a:lnTo>
                    <a:lnTo>
                      <a:pt x="158794" y="91973"/>
                    </a:lnTo>
                    <a:lnTo>
                      <a:pt x="162430" y="88033"/>
                    </a:lnTo>
                    <a:lnTo>
                      <a:pt x="165158" y="87276"/>
                    </a:lnTo>
                    <a:lnTo>
                      <a:pt x="172127" y="88337"/>
                    </a:lnTo>
                    <a:lnTo>
                      <a:pt x="175461" y="88185"/>
                    </a:lnTo>
                    <a:lnTo>
                      <a:pt x="176219" y="88337"/>
                    </a:lnTo>
                    <a:lnTo>
                      <a:pt x="179552" y="88488"/>
                    </a:lnTo>
                    <a:lnTo>
                      <a:pt x="179855" y="88185"/>
                    </a:lnTo>
                    <a:lnTo>
                      <a:pt x="181219" y="84245"/>
                    </a:lnTo>
                    <a:lnTo>
                      <a:pt x="182734" y="83033"/>
                    </a:lnTo>
                    <a:lnTo>
                      <a:pt x="188189" y="77882"/>
                    </a:lnTo>
                    <a:lnTo>
                      <a:pt x="191977" y="75609"/>
                    </a:lnTo>
                    <a:lnTo>
                      <a:pt x="194250" y="75154"/>
                    </a:lnTo>
                    <a:lnTo>
                      <a:pt x="195159" y="75306"/>
                    </a:lnTo>
                    <a:lnTo>
                      <a:pt x="195765" y="73488"/>
                    </a:lnTo>
                    <a:lnTo>
                      <a:pt x="196522" y="7076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1" name="Freeform: Shape 3230">
                <a:extLst>
                  <a:ext uri="{FF2B5EF4-FFF2-40B4-BE49-F238E27FC236}">
                    <a16:creationId xmlns:a16="http://schemas.microsoft.com/office/drawing/2014/main" id="{D0F0A9CE-811C-46DB-A441-72CCC4601F93}"/>
                  </a:ext>
                </a:extLst>
              </p:cNvPr>
              <p:cNvSpPr/>
              <p:nvPr/>
            </p:nvSpPr>
            <p:spPr>
              <a:xfrm>
                <a:off x="5933872" y="3067848"/>
                <a:ext cx="21061" cy="25758"/>
              </a:xfrm>
              <a:custGeom>
                <a:avLst/>
                <a:gdLst>
                  <a:gd name="connsiteX0" fmla="*/ 20759 w 21061"/>
                  <a:gd name="connsiteY0" fmla="*/ 13182 h 25758"/>
                  <a:gd name="connsiteX1" fmla="*/ 19546 w 21061"/>
                  <a:gd name="connsiteY1" fmla="*/ 12879 h 25758"/>
                  <a:gd name="connsiteX2" fmla="*/ 16365 w 21061"/>
                  <a:gd name="connsiteY2" fmla="*/ 11819 h 25758"/>
                  <a:gd name="connsiteX3" fmla="*/ 14546 w 21061"/>
                  <a:gd name="connsiteY3" fmla="*/ 10606 h 25758"/>
                  <a:gd name="connsiteX4" fmla="*/ 13031 w 21061"/>
                  <a:gd name="connsiteY4" fmla="*/ 9091 h 25758"/>
                  <a:gd name="connsiteX5" fmla="*/ 11213 w 21061"/>
                  <a:gd name="connsiteY5" fmla="*/ 6970 h 25758"/>
                  <a:gd name="connsiteX6" fmla="*/ 10455 w 21061"/>
                  <a:gd name="connsiteY6" fmla="*/ 4849 h 25758"/>
                  <a:gd name="connsiteX7" fmla="*/ 10455 w 21061"/>
                  <a:gd name="connsiteY7" fmla="*/ 2727 h 25758"/>
                  <a:gd name="connsiteX8" fmla="*/ 10607 w 21061"/>
                  <a:gd name="connsiteY8" fmla="*/ 1667 h 25758"/>
                  <a:gd name="connsiteX9" fmla="*/ 10455 w 21061"/>
                  <a:gd name="connsiteY9" fmla="*/ 1667 h 25758"/>
                  <a:gd name="connsiteX10" fmla="*/ 9849 w 21061"/>
                  <a:gd name="connsiteY10" fmla="*/ 455 h 25758"/>
                  <a:gd name="connsiteX11" fmla="*/ 8940 w 21061"/>
                  <a:gd name="connsiteY11" fmla="*/ 455 h 25758"/>
                  <a:gd name="connsiteX12" fmla="*/ 6819 w 21061"/>
                  <a:gd name="connsiteY12" fmla="*/ 0 h 25758"/>
                  <a:gd name="connsiteX13" fmla="*/ 3788 w 21061"/>
                  <a:gd name="connsiteY13" fmla="*/ 3030 h 25758"/>
                  <a:gd name="connsiteX14" fmla="*/ 2424 w 21061"/>
                  <a:gd name="connsiteY14" fmla="*/ 5606 h 25758"/>
                  <a:gd name="connsiteX15" fmla="*/ 1667 w 21061"/>
                  <a:gd name="connsiteY15" fmla="*/ 7424 h 25758"/>
                  <a:gd name="connsiteX16" fmla="*/ 455 w 21061"/>
                  <a:gd name="connsiteY16" fmla="*/ 8940 h 25758"/>
                  <a:gd name="connsiteX17" fmla="*/ 303 w 21061"/>
                  <a:gd name="connsiteY17" fmla="*/ 10455 h 25758"/>
                  <a:gd name="connsiteX18" fmla="*/ 455 w 21061"/>
                  <a:gd name="connsiteY18" fmla="*/ 11061 h 25758"/>
                  <a:gd name="connsiteX19" fmla="*/ 0 w 21061"/>
                  <a:gd name="connsiteY19" fmla="*/ 11970 h 25758"/>
                  <a:gd name="connsiteX20" fmla="*/ 0 w 21061"/>
                  <a:gd name="connsiteY20" fmla="*/ 12879 h 25758"/>
                  <a:gd name="connsiteX21" fmla="*/ 1667 w 21061"/>
                  <a:gd name="connsiteY21" fmla="*/ 14546 h 25758"/>
                  <a:gd name="connsiteX22" fmla="*/ 2122 w 21061"/>
                  <a:gd name="connsiteY22" fmla="*/ 15607 h 25758"/>
                  <a:gd name="connsiteX23" fmla="*/ 4243 w 21061"/>
                  <a:gd name="connsiteY23" fmla="*/ 18637 h 25758"/>
                  <a:gd name="connsiteX24" fmla="*/ 3485 w 21061"/>
                  <a:gd name="connsiteY24" fmla="*/ 19849 h 25758"/>
                  <a:gd name="connsiteX25" fmla="*/ 3031 w 21061"/>
                  <a:gd name="connsiteY25" fmla="*/ 21061 h 25758"/>
                  <a:gd name="connsiteX26" fmla="*/ 2424 w 21061"/>
                  <a:gd name="connsiteY26" fmla="*/ 21819 h 25758"/>
                  <a:gd name="connsiteX27" fmla="*/ 1667 w 21061"/>
                  <a:gd name="connsiteY27" fmla="*/ 22425 h 25758"/>
                  <a:gd name="connsiteX28" fmla="*/ 2576 w 21061"/>
                  <a:gd name="connsiteY28" fmla="*/ 23637 h 25758"/>
                  <a:gd name="connsiteX29" fmla="*/ 4849 w 21061"/>
                  <a:gd name="connsiteY29" fmla="*/ 24092 h 25758"/>
                  <a:gd name="connsiteX30" fmla="*/ 5607 w 21061"/>
                  <a:gd name="connsiteY30" fmla="*/ 24546 h 25758"/>
                  <a:gd name="connsiteX31" fmla="*/ 6364 w 21061"/>
                  <a:gd name="connsiteY31" fmla="*/ 25455 h 25758"/>
                  <a:gd name="connsiteX32" fmla="*/ 7728 w 21061"/>
                  <a:gd name="connsiteY32" fmla="*/ 25758 h 25758"/>
                  <a:gd name="connsiteX33" fmla="*/ 9546 w 21061"/>
                  <a:gd name="connsiteY33" fmla="*/ 25455 h 25758"/>
                  <a:gd name="connsiteX34" fmla="*/ 10758 w 21061"/>
                  <a:gd name="connsiteY34" fmla="*/ 24395 h 25758"/>
                  <a:gd name="connsiteX35" fmla="*/ 12425 w 21061"/>
                  <a:gd name="connsiteY35" fmla="*/ 23789 h 25758"/>
                  <a:gd name="connsiteX36" fmla="*/ 14092 w 21061"/>
                  <a:gd name="connsiteY36" fmla="*/ 23940 h 25758"/>
                  <a:gd name="connsiteX37" fmla="*/ 15001 w 21061"/>
                  <a:gd name="connsiteY37" fmla="*/ 24546 h 25758"/>
                  <a:gd name="connsiteX38" fmla="*/ 16971 w 21061"/>
                  <a:gd name="connsiteY38" fmla="*/ 25455 h 25758"/>
                  <a:gd name="connsiteX39" fmla="*/ 16971 w 21061"/>
                  <a:gd name="connsiteY39" fmla="*/ 23334 h 25758"/>
                  <a:gd name="connsiteX40" fmla="*/ 17880 w 21061"/>
                  <a:gd name="connsiteY40" fmla="*/ 20304 h 25758"/>
                  <a:gd name="connsiteX41" fmla="*/ 18637 w 21061"/>
                  <a:gd name="connsiteY41" fmla="*/ 18637 h 25758"/>
                  <a:gd name="connsiteX42" fmla="*/ 19698 w 21061"/>
                  <a:gd name="connsiteY42" fmla="*/ 17273 h 25758"/>
                  <a:gd name="connsiteX43" fmla="*/ 20759 w 21061"/>
                  <a:gd name="connsiteY43" fmla="*/ 16364 h 25758"/>
                  <a:gd name="connsiteX44" fmla="*/ 21062 w 21061"/>
                  <a:gd name="connsiteY44" fmla="*/ 14698 h 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061" h="25758">
                    <a:moveTo>
                      <a:pt x="20759" y="13182"/>
                    </a:moveTo>
                    <a:lnTo>
                      <a:pt x="19546" y="12879"/>
                    </a:lnTo>
                    <a:lnTo>
                      <a:pt x="16365" y="11819"/>
                    </a:lnTo>
                    <a:lnTo>
                      <a:pt x="14546" y="10606"/>
                    </a:lnTo>
                    <a:lnTo>
                      <a:pt x="13031" y="9091"/>
                    </a:lnTo>
                    <a:lnTo>
                      <a:pt x="11213" y="6970"/>
                    </a:lnTo>
                    <a:lnTo>
                      <a:pt x="10455" y="4849"/>
                    </a:lnTo>
                    <a:lnTo>
                      <a:pt x="10455" y="2727"/>
                    </a:lnTo>
                    <a:lnTo>
                      <a:pt x="10607" y="1667"/>
                    </a:lnTo>
                    <a:lnTo>
                      <a:pt x="10455" y="1667"/>
                    </a:lnTo>
                    <a:lnTo>
                      <a:pt x="9849" y="455"/>
                    </a:lnTo>
                    <a:lnTo>
                      <a:pt x="8940" y="455"/>
                    </a:lnTo>
                    <a:lnTo>
                      <a:pt x="6819" y="0"/>
                    </a:lnTo>
                    <a:lnTo>
                      <a:pt x="3788" y="3030"/>
                    </a:lnTo>
                    <a:lnTo>
                      <a:pt x="2424" y="5606"/>
                    </a:lnTo>
                    <a:lnTo>
                      <a:pt x="1667" y="7424"/>
                    </a:lnTo>
                    <a:lnTo>
                      <a:pt x="455" y="8940"/>
                    </a:lnTo>
                    <a:lnTo>
                      <a:pt x="303" y="10455"/>
                    </a:lnTo>
                    <a:lnTo>
                      <a:pt x="455" y="11061"/>
                    </a:lnTo>
                    <a:lnTo>
                      <a:pt x="0" y="11970"/>
                    </a:lnTo>
                    <a:lnTo>
                      <a:pt x="0" y="12879"/>
                    </a:lnTo>
                    <a:lnTo>
                      <a:pt x="1667" y="14546"/>
                    </a:lnTo>
                    <a:lnTo>
                      <a:pt x="2122" y="15607"/>
                    </a:lnTo>
                    <a:lnTo>
                      <a:pt x="4243" y="18637"/>
                    </a:lnTo>
                    <a:lnTo>
                      <a:pt x="3485" y="19849"/>
                    </a:lnTo>
                    <a:lnTo>
                      <a:pt x="3031" y="21061"/>
                    </a:lnTo>
                    <a:lnTo>
                      <a:pt x="2424" y="21819"/>
                    </a:lnTo>
                    <a:lnTo>
                      <a:pt x="1667" y="22425"/>
                    </a:lnTo>
                    <a:lnTo>
                      <a:pt x="2576" y="23637"/>
                    </a:lnTo>
                    <a:lnTo>
                      <a:pt x="4849" y="24092"/>
                    </a:lnTo>
                    <a:lnTo>
                      <a:pt x="5607" y="24546"/>
                    </a:lnTo>
                    <a:lnTo>
                      <a:pt x="6364" y="25455"/>
                    </a:lnTo>
                    <a:lnTo>
                      <a:pt x="7728" y="25758"/>
                    </a:lnTo>
                    <a:lnTo>
                      <a:pt x="9546" y="25455"/>
                    </a:lnTo>
                    <a:lnTo>
                      <a:pt x="10758" y="24395"/>
                    </a:lnTo>
                    <a:lnTo>
                      <a:pt x="12425" y="23789"/>
                    </a:lnTo>
                    <a:lnTo>
                      <a:pt x="14092" y="23940"/>
                    </a:lnTo>
                    <a:lnTo>
                      <a:pt x="15001" y="24546"/>
                    </a:lnTo>
                    <a:lnTo>
                      <a:pt x="16971" y="25455"/>
                    </a:lnTo>
                    <a:lnTo>
                      <a:pt x="16971" y="23334"/>
                    </a:lnTo>
                    <a:lnTo>
                      <a:pt x="17880" y="20304"/>
                    </a:lnTo>
                    <a:lnTo>
                      <a:pt x="18637" y="18637"/>
                    </a:lnTo>
                    <a:lnTo>
                      <a:pt x="19698" y="17273"/>
                    </a:lnTo>
                    <a:lnTo>
                      <a:pt x="20759" y="16364"/>
                    </a:lnTo>
                    <a:lnTo>
                      <a:pt x="21062" y="1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2" name="Freeform: Shape 3231">
                <a:extLst>
                  <a:ext uri="{FF2B5EF4-FFF2-40B4-BE49-F238E27FC236}">
                    <a16:creationId xmlns:a16="http://schemas.microsoft.com/office/drawing/2014/main" id="{67D464F3-69AF-4767-A9BB-AC2FB6B4E4FB}"/>
                  </a:ext>
                </a:extLst>
              </p:cNvPr>
              <p:cNvSpPr/>
              <p:nvPr/>
            </p:nvSpPr>
            <p:spPr>
              <a:xfrm>
                <a:off x="6349039" y="2835566"/>
                <a:ext cx="161369" cy="95458"/>
              </a:xfrm>
              <a:custGeom>
                <a:avLst/>
                <a:gdLst>
                  <a:gd name="connsiteX0" fmla="*/ 5152 w 161369"/>
                  <a:gd name="connsiteY0" fmla="*/ 31971 h 95458"/>
                  <a:gd name="connsiteX1" fmla="*/ 4394 w 161369"/>
                  <a:gd name="connsiteY1" fmla="*/ 36062 h 95458"/>
                  <a:gd name="connsiteX2" fmla="*/ 3182 w 161369"/>
                  <a:gd name="connsiteY2" fmla="*/ 38941 h 95458"/>
                  <a:gd name="connsiteX3" fmla="*/ 0 w 161369"/>
                  <a:gd name="connsiteY3" fmla="*/ 43335 h 95458"/>
                  <a:gd name="connsiteX4" fmla="*/ 1515 w 161369"/>
                  <a:gd name="connsiteY4" fmla="*/ 43638 h 95458"/>
                  <a:gd name="connsiteX5" fmla="*/ 3485 w 161369"/>
                  <a:gd name="connsiteY5" fmla="*/ 40911 h 95458"/>
                  <a:gd name="connsiteX6" fmla="*/ 5455 w 161369"/>
                  <a:gd name="connsiteY6" fmla="*/ 35607 h 95458"/>
                  <a:gd name="connsiteX7" fmla="*/ 5757 w 161369"/>
                  <a:gd name="connsiteY7" fmla="*/ 32577 h 95458"/>
                  <a:gd name="connsiteX8" fmla="*/ 5757 w 161369"/>
                  <a:gd name="connsiteY8" fmla="*/ 30759 h 95458"/>
                  <a:gd name="connsiteX9" fmla="*/ 5152 w 161369"/>
                  <a:gd name="connsiteY9" fmla="*/ 31971 h 95458"/>
                  <a:gd name="connsiteX10" fmla="*/ 160309 w 161369"/>
                  <a:gd name="connsiteY10" fmla="*/ 43032 h 95458"/>
                  <a:gd name="connsiteX11" fmla="*/ 158188 w 161369"/>
                  <a:gd name="connsiteY11" fmla="*/ 42577 h 95458"/>
                  <a:gd name="connsiteX12" fmla="*/ 153036 w 161369"/>
                  <a:gd name="connsiteY12" fmla="*/ 42123 h 95458"/>
                  <a:gd name="connsiteX13" fmla="*/ 151975 w 161369"/>
                  <a:gd name="connsiteY13" fmla="*/ 41214 h 95458"/>
                  <a:gd name="connsiteX14" fmla="*/ 152278 w 161369"/>
                  <a:gd name="connsiteY14" fmla="*/ 40153 h 95458"/>
                  <a:gd name="connsiteX15" fmla="*/ 153642 w 161369"/>
                  <a:gd name="connsiteY15" fmla="*/ 37274 h 95458"/>
                  <a:gd name="connsiteX16" fmla="*/ 155005 w 161369"/>
                  <a:gd name="connsiteY16" fmla="*/ 33486 h 95458"/>
                  <a:gd name="connsiteX17" fmla="*/ 155612 w 161369"/>
                  <a:gd name="connsiteY17" fmla="*/ 30607 h 95458"/>
                  <a:gd name="connsiteX18" fmla="*/ 155612 w 161369"/>
                  <a:gd name="connsiteY18" fmla="*/ 28941 h 95458"/>
                  <a:gd name="connsiteX19" fmla="*/ 154248 w 161369"/>
                  <a:gd name="connsiteY19" fmla="*/ 28789 h 95458"/>
                  <a:gd name="connsiteX20" fmla="*/ 150308 w 161369"/>
                  <a:gd name="connsiteY20" fmla="*/ 27577 h 95458"/>
                  <a:gd name="connsiteX21" fmla="*/ 146975 w 161369"/>
                  <a:gd name="connsiteY21" fmla="*/ 25759 h 95458"/>
                  <a:gd name="connsiteX22" fmla="*/ 145005 w 161369"/>
                  <a:gd name="connsiteY22" fmla="*/ 23334 h 95458"/>
                  <a:gd name="connsiteX23" fmla="*/ 141672 w 161369"/>
                  <a:gd name="connsiteY23" fmla="*/ 20001 h 95458"/>
                  <a:gd name="connsiteX24" fmla="*/ 139399 w 161369"/>
                  <a:gd name="connsiteY24" fmla="*/ 18334 h 95458"/>
                  <a:gd name="connsiteX25" fmla="*/ 135914 w 161369"/>
                  <a:gd name="connsiteY25" fmla="*/ 16213 h 95458"/>
                  <a:gd name="connsiteX26" fmla="*/ 130156 w 161369"/>
                  <a:gd name="connsiteY26" fmla="*/ 11970 h 95458"/>
                  <a:gd name="connsiteX27" fmla="*/ 128035 w 161369"/>
                  <a:gd name="connsiteY27" fmla="*/ 11061 h 95458"/>
                  <a:gd name="connsiteX28" fmla="*/ 117731 w 161369"/>
                  <a:gd name="connsiteY28" fmla="*/ 9243 h 95458"/>
                  <a:gd name="connsiteX29" fmla="*/ 113943 w 161369"/>
                  <a:gd name="connsiteY29" fmla="*/ 8334 h 95458"/>
                  <a:gd name="connsiteX30" fmla="*/ 110610 w 161369"/>
                  <a:gd name="connsiteY30" fmla="*/ 3333 h 95458"/>
                  <a:gd name="connsiteX31" fmla="*/ 109549 w 161369"/>
                  <a:gd name="connsiteY31" fmla="*/ 455 h 95458"/>
                  <a:gd name="connsiteX32" fmla="*/ 107883 w 161369"/>
                  <a:gd name="connsiteY32" fmla="*/ 0 h 95458"/>
                  <a:gd name="connsiteX33" fmla="*/ 106065 w 161369"/>
                  <a:gd name="connsiteY33" fmla="*/ 606 h 95458"/>
                  <a:gd name="connsiteX34" fmla="*/ 104095 w 161369"/>
                  <a:gd name="connsiteY34" fmla="*/ 1212 h 95458"/>
                  <a:gd name="connsiteX35" fmla="*/ 99398 w 161369"/>
                  <a:gd name="connsiteY35" fmla="*/ 4546 h 95458"/>
                  <a:gd name="connsiteX36" fmla="*/ 97882 w 161369"/>
                  <a:gd name="connsiteY36" fmla="*/ 5000 h 95458"/>
                  <a:gd name="connsiteX37" fmla="*/ 95003 w 161369"/>
                  <a:gd name="connsiteY37" fmla="*/ 5000 h 95458"/>
                  <a:gd name="connsiteX38" fmla="*/ 88185 w 161369"/>
                  <a:gd name="connsiteY38" fmla="*/ 5758 h 95458"/>
                  <a:gd name="connsiteX39" fmla="*/ 85155 w 161369"/>
                  <a:gd name="connsiteY39" fmla="*/ 4546 h 95458"/>
                  <a:gd name="connsiteX40" fmla="*/ 79851 w 161369"/>
                  <a:gd name="connsiteY40" fmla="*/ 3182 h 95458"/>
                  <a:gd name="connsiteX41" fmla="*/ 76972 w 161369"/>
                  <a:gd name="connsiteY41" fmla="*/ 3030 h 95458"/>
                  <a:gd name="connsiteX42" fmla="*/ 74396 w 161369"/>
                  <a:gd name="connsiteY42" fmla="*/ 3030 h 95458"/>
                  <a:gd name="connsiteX43" fmla="*/ 63032 w 161369"/>
                  <a:gd name="connsiteY43" fmla="*/ 1667 h 95458"/>
                  <a:gd name="connsiteX44" fmla="*/ 60911 w 161369"/>
                  <a:gd name="connsiteY44" fmla="*/ 3030 h 95458"/>
                  <a:gd name="connsiteX45" fmla="*/ 58790 w 161369"/>
                  <a:gd name="connsiteY45" fmla="*/ 3333 h 95458"/>
                  <a:gd name="connsiteX46" fmla="*/ 56820 w 161369"/>
                  <a:gd name="connsiteY46" fmla="*/ 1212 h 95458"/>
                  <a:gd name="connsiteX47" fmla="*/ 54244 w 161369"/>
                  <a:gd name="connsiteY47" fmla="*/ 606 h 95458"/>
                  <a:gd name="connsiteX48" fmla="*/ 51517 w 161369"/>
                  <a:gd name="connsiteY48" fmla="*/ 1364 h 95458"/>
                  <a:gd name="connsiteX49" fmla="*/ 46365 w 161369"/>
                  <a:gd name="connsiteY49" fmla="*/ 1515 h 95458"/>
                  <a:gd name="connsiteX50" fmla="*/ 40304 w 161369"/>
                  <a:gd name="connsiteY50" fmla="*/ 758 h 95458"/>
                  <a:gd name="connsiteX51" fmla="*/ 32577 w 161369"/>
                  <a:gd name="connsiteY51" fmla="*/ 152 h 95458"/>
                  <a:gd name="connsiteX52" fmla="*/ 31364 w 161369"/>
                  <a:gd name="connsiteY52" fmla="*/ 455 h 95458"/>
                  <a:gd name="connsiteX53" fmla="*/ 22879 w 161369"/>
                  <a:gd name="connsiteY53" fmla="*/ 3333 h 95458"/>
                  <a:gd name="connsiteX54" fmla="*/ 20758 w 161369"/>
                  <a:gd name="connsiteY54" fmla="*/ 3788 h 95458"/>
                  <a:gd name="connsiteX55" fmla="*/ 11515 w 161369"/>
                  <a:gd name="connsiteY55" fmla="*/ 8637 h 95458"/>
                  <a:gd name="connsiteX56" fmla="*/ 4243 w 161369"/>
                  <a:gd name="connsiteY56" fmla="*/ 13182 h 95458"/>
                  <a:gd name="connsiteX57" fmla="*/ 4394 w 161369"/>
                  <a:gd name="connsiteY57" fmla="*/ 15001 h 95458"/>
                  <a:gd name="connsiteX58" fmla="*/ 4545 w 161369"/>
                  <a:gd name="connsiteY58" fmla="*/ 23031 h 95458"/>
                  <a:gd name="connsiteX59" fmla="*/ 7576 w 161369"/>
                  <a:gd name="connsiteY59" fmla="*/ 30607 h 95458"/>
                  <a:gd name="connsiteX60" fmla="*/ 9394 w 161369"/>
                  <a:gd name="connsiteY60" fmla="*/ 36820 h 95458"/>
                  <a:gd name="connsiteX61" fmla="*/ 8333 w 161369"/>
                  <a:gd name="connsiteY61" fmla="*/ 41062 h 95458"/>
                  <a:gd name="connsiteX62" fmla="*/ 9243 w 161369"/>
                  <a:gd name="connsiteY62" fmla="*/ 43789 h 95458"/>
                  <a:gd name="connsiteX63" fmla="*/ 9243 w 161369"/>
                  <a:gd name="connsiteY63" fmla="*/ 44093 h 95458"/>
                  <a:gd name="connsiteX64" fmla="*/ 10910 w 161369"/>
                  <a:gd name="connsiteY64" fmla="*/ 44093 h 95458"/>
                  <a:gd name="connsiteX65" fmla="*/ 13485 w 161369"/>
                  <a:gd name="connsiteY65" fmla="*/ 43638 h 95458"/>
                  <a:gd name="connsiteX66" fmla="*/ 15000 w 161369"/>
                  <a:gd name="connsiteY66" fmla="*/ 45153 h 95458"/>
                  <a:gd name="connsiteX67" fmla="*/ 17879 w 161369"/>
                  <a:gd name="connsiteY67" fmla="*/ 46668 h 95458"/>
                  <a:gd name="connsiteX68" fmla="*/ 21364 w 161369"/>
                  <a:gd name="connsiteY68" fmla="*/ 48032 h 95458"/>
                  <a:gd name="connsiteX69" fmla="*/ 26667 w 161369"/>
                  <a:gd name="connsiteY69" fmla="*/ 50305 h 95458"/>
                  <a:gd name="connsiteX70" fmla="*/ 32122 w 161369"/>
                  <a:gd name="connsiteY70" fmla="*/ 51669 h 95458"/>
                  <a:gd name="connsiteX71" fmla="*/ 33941 w 161369"/>
                  <a:gd name="connsiteY71" fmla="*/ 51820 h 95458"/>
                  <a:gd name="connsiteX72" fmla="*/ 39698 w 161369"/>
                  <a:gd name="connsiteY72" fmla="*/ 51669 h 95458"/>
                  <a:gd name="connsiteX73" fmla="*/ 45759 w 161369"/>
                  <a:gd name="connsiteY73" fmla="*/ 51820 h 95458"/>
                  <a:gd name="connsiteX74" fmla="*/ 47426 w 161369"/>
                  <a:gd name="connsiteY74" fmla="*/ 55154 h 95458"/>
                  <a:gd name="connsiteX75" fmla="*/ 50456 w 161369"/>
                  <a:gd name="connsiteY75" fmla="*/ 56669 h 95458"/>
                  <a:gd name="connsiteX76" fmla="*/ 52881 w 161369"/>
                  <a:gd name="connsiteY76" fmla="*/ 58790 h 95458"/>
                  <a:gd name="connsiteX77" fmla="*/ 53032 w 161369"/>
                  <a:gd name="connsiteY77" fmla="*/ 60002 h 95458"/>
                  <a:gd name="connsiteX78" fmla="*/ 49699 w 161369"/>
                  <a:gd name="connsiteY78" fmla="*/ 67730 h 95458"/>
                  <a:gd name="connsiteX79" fmla="*/ 48941 w 161369"/>
                  <a:gd name="connsiteY79" fmla="*/ 70306 h 95458"/>
                  <a:gd name="connsiteX80" fmla="*/ 48790 w 161369"/>
                  <a:gd name="connsiteY80" fmla="*/ 72882 h 95458"/>
                  <a:gd name="connsiteX81" fmla="*/ 50002 w 161369"/>
                  <a:gd name="connsiteY81" fmla="*/ 76215 h 95458"/>
                  <a:gd name="connsiteX82" fmla="*/ 51214 w 161369"/>
                  <a:gd name="connsiteY82" fmla="*/ 78033 h 95458"/>
                  <a:gd name="connsiteX83" fmla="*/ 52729 w 161369"/>
                  <a:gd name="connsiteY83" fmla="*/ 76518 h 95458"/>
                  <a:gd name="connsiteX84" fmla="*/ 54699 w 161369"/>
                  <a:gd name="connsiteY84" fmla="*/ 76670 h 95458"/>
                  <a:gd name="connsiteX85" fmla="*/ 56971 w 161369"/>
                  <a:gd name="connsiteY85" fmla="*/ 77579 h 95458"/>
                  <a:gd name="connsiteX86" fmla="*/ 58032 w 161369"/>
                  <a:gd name="connsiteY86" fmla="*/ 78185 h 95458"/>
                  <a:gd name="connsiteX87" fmla="*/ 58487 w 161369"/>
                  <a:gd name="connsiteY87" fmla="*/ 78942 h 95458"/>
                  <a:gd name="connsiteX88" fmla="*/ 58790 w 161369"/>
                  <a:gd name="connsiteY88" fmla="*/ 79851 h 95458"/>
                  <a:gd name="connsiteX89" fmla="*/ 60002 w 161369"/>
                  <a:gd name="connsiteY89" fmla="*/ 80003 h 95458"/>
                  <a:gd name="connsiteX90" fmla="*/ 62275 w 161369"/>
                  <a:gd name="connsiteY90" fmla="*/ 80609 h 95458"/>
                  <a:gd name="connsiteX91" fmla="*/ 65305 w 161369"/>
                  <a:gd name="connsiteY91" fmla="*/ 82124 h 95458"/>
                  <a:gd name="connsiteX92" fmla="*/ 67730 w 161369"/>
                  <a:gd name="connsiteY92" fmla="*/ 83639 h 95458"/>
                  <a:gd name="connsiteX93" fmla="*/ 70003 w 161369"/>
                  <a:gd name="connsiteY93" fmla="*/ 85761 h 95458"/>
                  <a:gd name="connsiteX94" fmla="*/ 70760 w 161369"/>
                  <a:gd name="connsiteY94" fmla="*/ 88185 h 95458"/>
                  <a:gd name="connsiteX95" fmla="*/ 70760 w 161369"/>
                  <a:gd name="connsiteY95" fmla="*/ 90912 h 95458"/>
                  <a:gd name="connsiteX96" fmla="*/ 70608 w 161369"/>
                  <a:gd name="connsiteY96" fmla="*/ 92731 h 95458"/>
                  <a:gd name="connsiteX97" fmla="*/ 70760 w 161369"/>
                  <a:gd name="connsiteY97" fmla="*/ 93488 h 95458"/>
                  <a:gd name="connsiteX98" fmla="*/ 72730 w 161369"/>
                  <a:gd name="connsiteY98" fmla="*/ 94246 h 95458"/>
                  <a:gd name="connsiteX99" fmla="*/ 77579 w 161369"/>
                  <a:gd name="connsiteY99" fmla="*/ 94549 h 95458"/>
                  <a:gd name="connsiteX100" fmla="*/ 81367 w 161369"/>
                  <a:gd name="connsiteY100" fmla="*/ 93640 h 95458"/>
                  <a:gd name="connsiteX101" fmla="*/ 83336 w 161369"/>
                  <a:gd name="connsiteY101" fmla="*/ 93488 h 95458"/>
                  <a:gd name="connsiteX102" fmla="*/ 85155 w 161369"/>
                  <a:gd name="connsiteY102" fmla="*/ 93791 h 95458"/>
                  <a:gd name="connsiteX103" fmla="*/ 87730 w 161369"/>
                  <a:gd name="connsiteY103" fmla="*/ 93337 h 95458"/>
                  <a:gd name="connsiteX104" fmla="*/ 90155 w 161369"/>
                  <a:gd name="connsiteY104" fmla="*/ 93185 h 95458"/>
                  <a:gd name="connsiteX105" fmla="*/ 91367 w 161369"/>
                  <a:gd name="connsiteY105" fmla="*/ 94397 h 95458"/>
                  <a:gd name="connsiteX106" fmla="*/ 93640 w 161369"/>
                  <a:gd name="connsiteY106" fmla="*/ 95458 h 95458"/>
                  <a:gd name="connsiteX107" fmla="*/ 98034 w 161369"/>
                  <a:gd name="connsiteY107" fmla="*/ 93943 h 95458"/>
                  <a:gd name="connsiteX108" fmla="*/ 101973 w 161369"/>
                  <a:gd name="connsiteY108" fmla="*/ 92125 h 95458"/>
                  <a:gd name="connsiteX109" fmla="*/ 106065 w 161369"/>
                  <a:gd name="connsiteY109" fmla="*/ 92276 h 95458"/>
                  <a:gd name="connsiteX110" fmla="*/ 106670 w 161369"/>
                  <a:gd name="connsiteY110" fmla="*/ 91367 h 95458"/>
                  <a:gd name="connsiteX111" fmla="*/ 107731 w 161369"/>
                  <a:gd name="connsiteY111" fmla="*/ 86821 h 95458"/>
                  <a:gd name="connsiteX112" fmla="*/ 108943 w 161369"/>
                  <a:gd name="connsiteY112" fmla="*/ 85912 h 95458"/>
                  <a:gd name="connsiteX113" fmla="*/ 113792 w 161369"/>
                  <a:gd name="connsiteY113" fmla="*/ 86367 h 95458"/>
                  <a:gd name="connsiteX114" fmla="*/ 115610 w 161369"/>
                  <a:gd name="connsiteY114" fmla="*/ 85609 h 95458"/>
                  <a:gd name="connsiteX115" fmla="*/ 117429 w 161369"/>
                  <a:gd name="connsiteY115" fmla="*/ 83336 h 95458"/>
                  <a:gd name="connsiteX116" fmla="*/ 120308 w 161369"/>
                  <a:gd name="connsiteY116" fmla="*/ 81973 h 95458"/>
                  <a:gd name="connsiteX117" fmla="*/ 122731 w 161369"/>
                  <a:gd name="connsiteY117" fmla="*/ 81973 h 95458"/>
                  <a:gd name="connsiteX118" fmla="*/ 125156 w 161369"/>
                  <a:gd name="connsiteY118" fmla="*/ 80458 h 95458"/>
                  <a:gd name="connsiteX119" fmla="*/ 126368 w 161369"/>
                  <a:gd name="connsiteY119" fmla="*/ 81518 h 95458"/>
                  <a:gd name="connsiteX120" fmla="*/ 126974 w 161369"/>
                  <a:gd name="connsiteY120" fmla="*/ 83336 h 95458"/>
                  <a:gd name="connsiteX121" fmla="*/ 126217 w 161369"/>
                  <a:gd name="connsiteY121" fmla="*/ 84852 h 95458"/>
                  <a:gd name="connsiteX122" fmla="*/ 126519 w 161369"/>
                  <a:gd name="connsiteY122" fmla="*/ 85458 h 95458"/>
                  <a:gd name="connsiteX123" fmla="*/ 128186 w 161369"/>
                  <a:gd name="connsiteY123" fmla="*/ 86215 h 95458"/>
                  <a:gd name="connsiteX124" fmla="*/ 131065 w 161369"/>
                  <a:gd name="connsiteY124" fmla="*/ 86215 h 95458"/>
                  <a:gd name="connsiteX125" fmla="*/ 132884 w 161369"/>
                  <a:gd name="connsiteY125" fmla="*/ 85609 h 95458"/>
                  <a:gd name="connsiteX126" fmla="*/ 133338 w 161369"/>
                  <a:gd name="connsiteY126" fmla="*/ 84700 h 95458"/>
                  <a:gd name="connsiteX127" fmla="*/ 133338 w 161369"/>
                  <a:gd name="connsiteY127" fmla="*/ 83185 h 95458"/>
                  <a:gd name="connsiteX128" fmla="*/ 132884 w 161369"/>
                  <a:gd name="connsiteY128" fmla="*/ 81670 h 95458"/>
                  <a:gd name="connsiteX129" fmla="*/ 131672 w 161369"/>
                  <a:gd name="connsiteY129" fmla="*/ 80458 h 95458"/>
                  <a:gd name="connsiteX130" fmla="*/ 129398 w 161369"/>
                  <a:gd name="connsiteY130" fmla="*/ 79851 h 95458"/>
                  <a:gd name="connsiteX131" fmla="*/ 127732 w 161369"/>
                  <a:gd name="connsiteY131" fmla="*/ 79851 h 95458"/>
                  <a:gd name="connsiteX132" fmla="*/ 127429 w 161369"/>
                  <a:gd name="connsiteY132" fmla="*/ 79094 h 95458"/>
                  <a:gd name="connsiteX133" fmla="*/ 128035 w 161369"/>
                  <a:gd name="connsiteY133" fmla="*/ 77427 h 95458"/>
                  <a:gd name="connsiteX134" fmla="*/ 129550 w 161369"/>
                  <a:gd name="connsiteY134" fmla="*/ 74245 h 95458"/>
                  <a:gd name="connsiteX135" fmla="*/ 131368 w 161369"/>
                  <a:gd name="connsiteY135" fmla="*/ 71366 h 95458"/>
                  <a:gd name="connsiteX136" fmla="*/ 132429 w 161369"/>
                  <a:gd name="connsiteY136" fmla="*/ 70306 h 95458"/>
                  <a:gd name="connsiteX137" fmla="*/ 132581 w 161369"/>
                  <a:gd name="connsiteY137" fmla="*/ 69245 h 95458"/>
                  <a:gd name="connsiteX138" fmla="*/ 132429 w 161369"/>
                  <a:gd name="connsiteY138" fmla="*/ 67578 h 95458"/>
                  <a:gd name="connsiteX139" fmla="*/ 132429 w 161369"/>
                  <a:gd name="connsiteY139" fmla="*/ 64548 h 95458"/>
                  <a:gd name="connsiteX140" fmla="*/ 134096 w 161369"/>
                  <a:gd name="connsiteY140" fmla="*/ 60154 h 95458"/>
                  <a:gd name="connsiteX141" fmla="*/ 136217 w 161369"/>
                  <a:gd name="connsiteY141" fmla="*/ 56820 h 95458"/>
                  <a:gd name="connsiteX142" fmla="*/ 139096 w 161369"/>
                  <a:gd name="connsiteY142" fmla="*/ 55760 h 95458"/>
                  <a:gd name="connsiteX143" fmla="*/ 142581 w 161369"/>
                  <a:gd name="connsiteY143" fmla="*/ 55154 h 95458"/>
                  <a:gd name="connsiteX144" fmla="*/ 144854 w 161369"/>
                  <a:gd name="connsiteY144" fmla="*/ 53638 h 95458"/>
                  <a:gd name="connsiteX145" fmla="*/ 145914 w 161369"/>
                  <a:gd name="connsiteY145" fmla="*/ 51820 h 95458"/>
                  <a:gd name="connsiteX146" fmla="*/ 146369 w 161369"/>
                  <a:gd name="connsiteY146" fmla="*/ 50305 h 95458"/>
                  <a:gd name="connsiteX147" fmla="*/ 146975 w 161369"/>
                  <a:gd name="connsiteY147" fmla="*/ 48941 h 95458"/>
                  <a:gd name="connsiteX148" fmla="*/ 148036 w 161369"/>
                  <a:gd name="connsiteY148" fmla="*/ 48335 h 95458"/>
                  <a:gd name="connsiteX149" fmla="*/ 156521 w 161369"/>
                  <a:gd name="connsiteY149" fmla="*/ 48638 h 95458"/>
                  <a:gd name="connsiteX150" fmla="*/ 157884 w 161369"/>
                  <a:gd name="connsiteY150" fmla="*/ 45759 h 95458"/>
                  <a:gd name="connsiteX151" fmla="*/ 158642 w 161369"/>
                  <a:gd name="connsiteY151" fmla="*/ 45002 h 95458"/>
                  <a:gd name="connsiteX152" fmla="*/ 160309 w 161369"/>
                  <a:gd name="connsiteY152" fmla="*/ 44093 h 95458"/>
                  <a:gd name="connsiteX153" fmla="*/ 161370 w 161369"/>
                  <a:gd name="connsiteY153" fmla="*/ 43032 h 95458"/>
                  <a:gd name="connsiteX154" fmla="*/ 160309 w 161369"/>
                  <a:gd name="connsiteY154" fmla="*/ 43032 h 9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1369" h="95458">
                    <a:moveTo>
                      <a:pt x="5152" y="31971"/>
                    </a:moveTo>
                    <a:lnTo>
                      <a:pt x="4394" y="36062"/>
                    </a:lnTo>
                    <a:lnTo>
                      <a:pt x="3182" y="38941"/>
                    </a:lnTo>
                    <a:lnTo>
                      <a:pt x="0" y="43335"/>
                    </a:lnTo>
                    <a:lnTo>
                      <a:pt x="1515" y="43638"/>
                    </a:lnTo>
                    <a:lnTo>
                      <a:pt x="3485" y="40911"/>
                    </a:lnTo>
                    <a:lnTo>
                      <a:pt x="5455" y="35607"/>
                    </a:lnTo>
                    <a:lnTo>
                      <a:pt x="5757" y="32577"/>
                    </a:lnTo>
                    <a:lnTo>
                      <a:pt x="5757" y="30759"/>
                    </a:lnTo>
                    <a:lnTo>
                      <a:pt x="5152" y="31971"/>
                    </a:lnTo>
                    <a:close/>
                    <a:moveTo>
                      <a:pt x="160309" y="43032"/>
                    </a:moveTo>
                    <a:lnTo>
                      <a:pt x="158188" y="42577"/>
                    </a:lnTo>
                    <a:lnTo>
                      <a:pt x="153036" y="42123"/>
                    </a:lnTo>
                    <a:lnTo>
                      <a:pt x="151975" y="41214"/>
                    </a:lnTo>
                    <a:lnTo>
                      <a:pt x="152278" y="40153"/>
                    </a:lnTo>
                    <a:lnTo>
                      <a:pt x="153642" y="37274"/>
                    </a:lnTo>
                    <a:lnTo>
                      <a:pt x="155005" y="33486"/>
                    </a:lnTo>
                    <a:lnTo>
                      <a:pt x="155612" y="30607"/>
                    </a:lnTo>
                    <a:lnTo>
                      <a:pt x="155612" y="28941"/>
                    </a:lnTo>
                    <a:lnTo>
                      <a:pt x="154248" y="28789"/>
                    </a:lnTo>
                    <a:lnTo>
                      <a:pt x="150308" y="27577"/>
                    </a:lnTo>
                    <a:lnTo>
                      <a:pt x="146975" y="25759"/>
                    </a:lnTo>
                    <a:lnTo>
                      <a:pt x="145005" y="23334"/>
                    </a:lnTo>
                    <a:lnTo>
                      <a:pt x="141672" y="20001"/>
                    </a:lnTo>
                    <a:lnTo>
                      <a:pt x="139399" y="18334"/>
                    </a:lnTo>
                    <a:lnTo>
                      <a:pt x="135914" y="16213"/>
                    </a:lnTo>
                    <a:lnTo>
                      <a:pt x="130156" y="11970"/>
                    </a:lnTo>
                    <a:lnTo>
                      <a:pt x="128035" y="11061"/>
                    </a:lnTo>
                    <a:lnTo>
                      <a:pt x="117731" y="9243"/>
                    </a:lnTo>
                    <a:lnTo>
                      <a:pt x="113943" y="8334"/>
                    </a:lnTo>
                    <a:lnTo>
                      <a:pt x="110610" y="3333"/>
                    </a:lnTo>
                    <a:lnTo>
                      <a:pt x="109549" y="455"/>
                    </a:lnTo>
                    <a:lnTo>
                      <a:pt x="107883" y="0"/>
                    </a:lnTo>
                    <a:lnTo>
                      <a:pt x="106065" y="606"/>
                    </a:lnTo>
                    <a:lnTo>
                      <a:pt x="104095" y="1212"/>
                    </a:lnTo>
                    <a:lnTo>
                      <a:pt x="99398" y="4546"/>
                    </a:lnTo>
                    <a:lnTo>
                      <a:pt x="97882" y="5000"/>
                    </a:lnTo>
                    <a:lnTo>
                      <a:pt x="95003" y="5000"/>
                    </a:lnTo>
                    <a:lnTo>
                      <a:pt x="88185" y="5758"/>
                    </a:lnTo>
                    <a:lnTo>
                      <a:pt x="85155" y="4546"/>
                    </a:lnTo>
                    <a:lnTo>
                      <a:pt x="79851" y="3182"/>
                    </a:lnTo>
                    <a:lnTo>
                      <a:pt x="76972" y="3030"/>
                    </a:lnTo>
                    <a:lnTo>
                      <a:pt x="74396" y="3030"/>
                    </a:lnTo>
                    <a:lnTo>
                      <a:pt x="63032" y="1667"/>
                    </a:lnTo>
                    <a:lnTo>
                      <a:pt x="60911" y="3030"/>
                    </a:lnTo>
                    <a:lnTo>
                      <a:pt x="58790" y="3333"/>
                    </a:lnTo>
                    <a:lnTo>
                      <a:pt x="56820" y="1212"/>
                    </a:lnTo>
                    <a:lnTo>
                      <a:pt x="54244" y="606"/>
                    </a:lnTo>
                    <a:lnTo>
                      <a:pt x="51517" y="1364"/>
                    </a:lnTo>
                    <a:lnTo>
                      <a:pt x="46365" y="1515"/>
                    </a:lnTo>
                    <a:lnTo>
                      <a:pt x="40304" y="758"/>
                    </a:lnTo>
                    <a:lnTo>
                      <a:pt x="32577" y="152"/>
                    </a:lnTo>
                    <a:lnTo>
                      <a:pt x="31364" y="455"/>
                    </a:lnTo>
                    <a:lnTo>
                      <a:pt x="22879" y="3333"/>
                    </a:lnTo>
                    <a:lnTo>
                      <a:pt x="20758" y="3788"/>
                    </a:lnTo>
                    <a:lnTo>
                      <a:pt x="11515" y="8637"/>
                    </a:lnTo>
                    <a:lnTo>
                      <a:pt x="4243" y="13182"/>
                    </a:lnTo>
                    <a:lnTo>
                      <a:pt x="4394" y="15001"/>
                    </a:lnTo>
                    <a:lnTo>
                      <a:pt x="4545" y="23031"/>
                    </a:lnTo>
                    <a:lnTo>
                      <a:pt x="7576" y="30607"/>
                    </a:lnTo>
                    <a:lnTo>
                      <a:pt x="9394" y="36820"/>
                    </a:lnTo>
                    <a:lnTo>
                      <a:pt x="8333" y="41062"/>
                    </a:lnTo>
                    <a:lnTo>
                      <a:pt x="9243" y="43789"/>
                    </a:lnTo>
                    <a:lnTo>
                      <a:pt x="9243" y="44093"/>
                    </a:lnTo>
                    <a:lnTo>
                      <a:pt x="10910" y="44093"/>
                    </a:lnTo>
                    <a:lnTo>
                      <a:pt x="13485" y="43638"/>
                    </a:lnTo>
                    <a:lnTo>
                      <a:pt x="15000" y="45153"/>
                    </a:lnTo>
                    <a:lnTo>
                      <a:pt x="17879" y="46668"/>
                    </a:lnTo>
                    <a:lnTo>
                      <a:pt x="21364" y="48032"/>
                    </a:lnTo>
                    <a:lnTo>
                      <a:pt x="26667" y="50305"/>
                    </a:lnTo>
                    <a:lnTo>
                      <a:pt x="32122" y="51669"/>
                    </a:lnTo>
                    <a:lnTo>
                      <a:pt x="33941" y="51820"/>
                    </a:lnTo>
                    <a:lnTo>
                      <a:pt x="39698" y="51669"/>
                    </a:lnTo>
                    <a:lnTo>
                      <a:pt x="45759" y="51820"/>
                    </a:lnTo>
                    <a:lnTo>
                      <a:pt x="47426" y="55154"/>
                    </a:lnTo>
                    <a:lnTo>
                      <a:pt x="50456" y="56669"/>
                    </a:lnTo>
                    <a:lnTo>
                      <a:pt x="52881" y="58790"/>
                    </a:lnTo>
                    <a:lnTo>
                      <a:pt x="53032" y="60002"/>
                    </a:lnTo>
                    <a:lnTo>
                      <a:pt x="49699" y="67730"/>
                    </a:lnTo>
                    <a:lnTo>
                      <a:pt x="48941" y="70306"/>
                    </a:lnTo>
                    <a:lnTo>
                      <a:pt x="48790" y="72882"/>
                    </a:lnTo>
                    <a:lnTo>
                      <a:pt x="50002" y="76215"/>
                    </a:lnTo>
                    <a:lnTo>
                      <a:pt x="51214" y="78033"/>
                    </a:lnTo>
                    <a:lnTo>
                      <a:pt x="52729" y="76518"/>
                    </a:lnTo>
                    <a:lnTo>
                      <a:pt x="54699" y="76670"/>
                    </a:lnTo>
                    <a:lnTo>
                      <a:pt x="56971" y="77579"/>
                    </a:lnTo>
                    <a:lnTo>
                      <a:pt x="58032" y="78185"/>
                    </a:lnTo>
                    <a:lnTo>
                      <a:pt x="58487" y="78942"/>
                    </a:lnTo>
                    <a:lnTo>
                      <a:pt x="58790" y="79851"/>
                    </a:lnTo>
                    <a:lnTo>
                      <a:pt x="60002" y="80003"/>
                    </a:lnTo>
                    <a:lnTo>
                      <a:pt x="62275" y="80609"/>
                    </a:lnTo>
                    <a:lnTo>
                      <a:pt x="65305" y="82124"/>
                    </a:lnTo>
                    <a:lnTo>
                      <a:pt x="67730" y="83639"/>
                    </a:lnTo>
                    <a:lnTo>
                      <a:pt x="70003" y="85761"/>
                    </a:lnTo>
                    <a:lnTo>
                      <a:pt x="70760" y="88185"/>
                    </a:lnTo>
                    <a:lnTo>
                      <a:pt x="70760" y="90912"/>
                    </a:lnTo>
                    <a:lnTo>
                      <a:pt x="70608" y="92731"/>
                    </a:lnTo>
                    <a:lnTo>
                      <a:pt x="70760" y="93488"/>
                    </a:lnTo>
                    <a:lnTo>
                      <a:pt x="72730" y="94246"/>
                    </a:lnTo>
                    <a:lnTo>
                      <a:pt x="77579" y="94549"/>
                    </a:lnTo>
                    <a:lnTo>
                      <a:pt x="81367" y="93640"/>
                    </a:lnTo>
                    <a:lnTo>
                      <a:pt x="83336" y="93488"/>
                    </a:lnTo>
                    <a:lnTo>
                      <a:pt x="85155" y="93791"/>
                    </a:lnTo>
                    <a:lnTo>
                      <a:pt x="87730" y="93337"/>
                    </a:lnTo>
                    <a:lnTo>
                      <a:pt x="90155" y="93185"/>
                    </a:lnTo>
                    <a:lnTo>
                      <a:pt x="91367" y="94397"/>
                    </a:lnTo>
                    <a:lnTo>
                      <a:pt x="93640" y="95458"/>
                    </a:lnTo>
                    <a:lnTo>
                      <a:pt x="98034" y="93943"/>
                    </a:lnTo>
                    <a:lnTo>
                      <a:pt x="101973" y="92125"/>
                    </a:lnTo>
                    <a:lnTo>
                      <a:pt x="106065" y="92276"/>
                    </a:lnTo>
                    <a:lnTo>
                      <a:pt x="106670" y="91367"/>
                    </a:lnTo>
                    <a:lnTo>
                      <a:pt x="107731" y="86821"/>
                    </a:lnTo>
                    <a:lnTo>
                      <a:pt x="108943" y="85912"/>
                    </a:lnTo>
                    <a:lnTo>
                      <a:pt x="113792" y="86367"/>
                    </a:lnTo>
                    <a:lnTo>
                      <a:pt x="115610" y="85609"/>
                    </a:lnTo>
                    <a:lnTo>
                      <a:pt x="117429" y="83336"/>
                    </a:lnTo>
                    <a:lnTo>
                      <a:pt x="120308" y="81973"/>
                    </a:lnTo>
                    <a:lnTo>
                      <a:pt x="122731" y="81973"/>
                    </a:lnTo>
                    <a:lnTo>
                      <a:pt x="125156" y="80458"/>
                    </a:lnTo>
                    <a:lnTo>
                      <a:pt x="126368" y="81518"/>
                    </a:lnTo>
                    <a:lnTo>
                      <a:pt x="126974" y="83336"/>
                    </a:lnTo>
                    <a:lnTo>
                      <a:pt x="126217" y="84852"/>
                    </a:lnTo>
                    <a:lnTo>
                      <a:pt x="126519" y="85458"/>
                    </a:lnTo>
                    <a:lnTo>
                      <a:pt x="128186" y="86215"/>
                    </a:lnTo>
                    <a:lnTo>
                      <a:pt x="131065" y="86215"/>
                    </a:lnTo>
                    <a:lnTo>
                      <a:pt x="132884" y="85609"/>
                    </a:lnTo>
                    <a:lnTo>
                      <a:pt x="133338" y="84700"/>
                    </a:lnTo>
                    <a:lnTo>
                      <a:pt x="133338" y="83185"/>
                    </a:lnTo>
                    <a:lnTo>
                      <a:pt x="132884" y="81670"/>
                    </a:lnTo>
                    <a:lnTo>
                      <a:pt x="131672" y="80458"/>
                    </a:lnTo>
                    <a:lnTo>
                      <a:pt x="129398" y="79851"/>
                    </a:lnTo>
                    <a:lnTo>
                      <a:pt x="127732" y="79851"/>
                    </a:lnTo>
                    <a:lnTo>
                      <a:pt x="127429" y="79094"/>
                    </a:lnTo>
                    <a:lnTo>
                      <a:pt x="128035" y="77427"/>
                    </a:lnTo>
                    <a:lnTo>
                      <a:pt x="129550" y="74245"/>
                    </a:lnTo>
                    <a:lnTo>
                      <a:pt x="131368" y="71366"/>
                    </a:lnTo>
                    <a:lnTo>
                      <a:pt x="132429" y="70306"/>
                    </a:lnTo>
                    <a:lnTo>
                      <a:pt x="132581" y="69245"/>
                    </a:lnTo>
                    <a:lnTo>
                      <a:pt x="132429" y="67578"/>
                    </a:lnTo>
                    <a:lnTo>
                      <a:pt x="132429" y="64548"/>
                    </a:lnTo>
                    <a:lnTo>
                      <a:pt x="134096" y="60154"/>
                    </a:lnTo>
                    <a:lnTo>
                      <a:pt x="136217" y="56820"/>
                    </a:lnTo>
                    <a:lnTo>
                      <a:pt x="139096" y="55760"/>
                    </a:lnTo>
                    <a:lnTo>
                      <a:pt x="142581" y="55154"/>
                    </a:lnTo>
                    <a:lnTo>
                      <a:pt x="144854" y="53638"/>
                    </a:lnTo>
                    <a:lnTo>
                      <a:pt x="145914" y="51820"/>
                    </a:lnTo>
                    <a:lnTo>
                      <a:pt x="146369" y="50305"/>
                    </a:lnTo>
                    <a:lnTo>
                      <a:pt x="146975" y="48941"/>
                    </a:lnTo>
                    <a:lnTo>
                      <a:pt x="148036" y="48335"/>
                    </a:lnTo>
                    <a:lnTo>
                      <a:pt x="156521" y="48638"/>
                    </a:lnTo>
                    <a:lnTo>
                      <a:pt x="157884" y="45759"/>
                    </a:lnTo>
                    <a:lnTo>
                      <a:pt x="158642" y="45002"/>
                    </a:lnTo>
                    <a:lnTo>
                      <a:pt x="160309" y="44093"/>
                    </a:lnTo>
                    <a:lnTo>
                      <a:pt x="161370" y="43032"/>
                    </a:lnTo>
                    <a:lnTo>
                      <a:pt x="160309" y="4303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3" name="Freeform: Shape 3232">
                <a:extLst>
                  <a:ext uri="{FF2B5EF4-FFF2-40B4-BE49-F238E27FC236}">
                    <a16:creationId xmlns:a16="http://schemas.microsoft.com/office/drawing/2014/main" id="{88ECC6DE-F5B9-4C66-A20E-7593EE5AA5AE}"/>
                  </a:ext>
                </a:extLst>
              </p:cNvPr>
              <p:cNvSpPr/>
              <p:nvPr/>
            </p:nvSpPr>
            <p:spPr>
              <a:xfrm>
                <a:off x="6517379" y="5360962"/>
                <a:ext cx="63941" cy="61214"/>
              </a:xfrm>
              <a:custGeom>
                <a:avLst/>
                <a:gdLst>
                  <a:gd name="connsiteX0" fmla="*/ 63487 w 63941"/>
                  <a:gd name="connsiteY0" fmla="*/ 18788 h 61214"/>
                  <a:gd name="connsiteX1" fmla="*/ 62426 w 63941"/>
                  <a:gd name="connsiteY1" fmla="*/ 17122 h 61214"/>
                  <a:gd name="connsiteX2" fmla="*/ 61517 w 63941"/>
                  <a:gd name="connsiteY2" fmla="*/ 15000 h 61214"/>
                  <a:gd name="connsiteX3" fmla="*/ 60305 w 63941"/>
                  <a:gd name="connsiteY3" fmla="*/ 14698 h 61214"/>
                  <a:gd name="connsiteX4" fmla="*/ 58184 w 63941"/>
                  <a:gd name="connsiteY4" fmla="*/ 13486 h 61214"/>
                  <a:gd name="connsiteX5" fmla="*/ 54850 w 63941"/>
                  <a:gd name="connsiteY5" fmla="*/ 10910 h 61214"/>
                  <a:gd name="connsiteX6" fmla="*/ 51972 w 63941"/>
                  <a:gd name="connsiteY6" fmla="*/ 8788 h 61214"/>
                  <a:gd name="connsiteX7" fmla="*/ 49396 w 63941"/>
                  <a:gd name="connsiteY7" fmla="*/ 5758 h 61214"/>
                  <a:gd name="connsiteX8" fmla="*/ 48183 w 63941"/>
                  <a:gd name="connsiteY8" fmla="*/ 5152 h 61214"/>
                  <a:gd name="connsiteX9" fmla="*/ 45608 w 63941"/>
                  <a:gd name="connsiteY9" fmla="*/ 3031 h 61214"/>
                  <a:gd name="connsiteX10" fmla="*/ 44547 w 63941"/>
                  <a:gd name="connsiteY10" fmla="*/ 1818 h 61214"/>
                  <a:gd name="connsiteX11" fmla="*/ 43790 w 63941"/>
                  <a:gd name="connsiteY11" fmla="*/ 455 h 61214"/>
                  <a:gd name="connsiteX12" fmla="*/ 43032 w 63941"/>
                  <a:gd name="connsiteY12" fmla="*/ 0 h 61214"/>
                  <a:gd name="connsiteX13" fmla="*/ 41820 w 63941"/>
                  <a:gd name="connsiteY13" fmla="*/ 303 h 61214"/>
                  <a:gd name="connsiteX14" fmla="*/ 38789 w 63941"/>
                  <a:gd name="connsiteY14" fmla="*/ 909 h 61214"/>
                  <a:gd name="connsiteX15" fmla="*/ 32274 w 63941"/>
                  <a:gd name="connsiteY15" fmla="*/ 3485 h 61214"/>
                  <a:gd name="connsiteX16" fmla="*/ 28183 w 63941"/>
                  <a:gd name="connsiteY16" fmla="*/ 5758 h 61214"/>
                  <a:gd name="connsiteX17" fmla="*/ 24850 w 63941"/>
                  <a:gd name="connsiteY17" fmla="*/ 8637 h 61214"/>
                  <a:gd name="connsiteX18" fmla="*/ 21213 w 63941"/>
                  <a:gd name="connsiteY18" fmla="*/ 9698 h 61214"/>
                  <a:gd name="connsiteX19" fmla="*/ 18637 w 63941"/>
                  <a:gd name="connsiteY19" fmla="*/ 10607 h 61214"/>
                  <a:gd name="connsiteX20" fmla="*/ 16667 w 63941"/>
                  <a:gd name="connsiteY20" fmla="*/ 13788 h 61214"/>
                  <a:gd name="connsiteX21" fmla="*/ 14698 w 63941"/>
                  <a:gd name="connsiteY21" fmla="*/ 16667 h 61214"/>
                  <a:gd name="connsiteX22" fmla="*/ 13031 w 63941"/>
                  <a:gd name="connsiteY22" fmla="*/ 19395 h 61214"/>
                  <a:gd name="connsiteX23" fmla="*/ 11970 w 63941"/>
                  <a:gd name="connsiteY23" fmla="*/ 20607 h 61214"/>
                  <a:gd name="connsiteX24" fmla="*/ 11061 w 63941"/>
                  <a:gd name="connsiteY24" fmla="*/ 21364 h 61214"/>
                  <a:gd name="connsiteX25" fmla="*/ 10152 w 63941"/>
                  <a:gd name="connsiteY25" fmla="*/ 23031 h 61214"/>
                  <a:gd name="connsiteX26" fmla="*/ 8333 w 63941"/>
                  <a:gd name="connsiteY26" fmla="*/ 25910 h 61214"/>
                  <a:gd name="connsiteX27" fmla="*/ 6667 w 63941"/>
                  <a:gd name="connsiteY27" fmla="*/ 27729 h 61214"/>
                  <a:gd name="connsiteX28" fmla="*/ 4243 w 63941"/>
                  <a:gd name="connsiteY28" fmla="*/ 28789 h 61214"/>
                  <a:gd name="connsiteX29" fmla="*/ 1212 w 63941"/>
                  <a:gd name="connsiteY29" fmla="*/ 30152 h 61214"/>
                  <a:gd name="connsiteX30" fmla="*/ 152 w 63941"/>
                  <a:gd name="connsiteY30" fmla="*/ 30910 h 61214"/>
                  <a:gd name="connsiteX31" fmla="*/ 0 w 63941"/>
                  <a:gd name="connsiteY31" fmla="*/ 32122 h 61214"/>
                  <a:gd name="connsiteX32" fmla="*/ 1061 w 63941"/>
                  <a:gd name="connsiteY32" fmla="*/ 34698 h 61214"/>
                  <a:gd name="connsiteX33" fmla="*/ 2122 w 63941"/>
                  <a:gd name="connsiteY33" fmla="*/ 37274 h 61214"/>
                  <a:gd name="connsiteX34" fmla="*/ 3788 w 63941"/>
                  <a:gd name="connsiteY34" fmla="*/ 40305 h 61214"/>
                  <a:gd name="connsiteX35" fmla="*/ 5152 w 63941"/>
                  <a:gd name="connsiteY35" fmla="*/ 42577 h 61214"/>
                  <a:gd name="connsiteX36" fmla="*/ 7121 w 63941"/>
                  <a:gd name="connsiteY36" fmla="*/ 45153 h 61214"/>
                  <a:gd name="connsiteX37" fmla="*/ 8333 w 63941"/>
                  <a:gd name="connsiteY37" fmla="*/ 46820 h 61214"/>
                  <a:gd name="connsiteX38" fmla="*/ 8182 w 63941"/>
                  <a:gd name="connsiteY38" fmla="*/ 49396 h 61214"/>
                  <a:gd name="connsiteX39" fmla="*/ 8485 w 63941"/>
                  <a:gd name="connsiteY39" fmla="*/ 50457 h 61214"/>
                  <a:gd name="connsiteX40" fmla="*/ 9243 w 63941"/>
                  <a:gd name="connsiteY40" fmla="*/ 51517 h 61214"/>
                  <a:gd name="connsiteX41" fmla="*/ 9698 w 63941"/>
                  <a:gd name="connsiteY41" fmla="*/ 51820 h 61214"/>
                  <a:gd name="connsiteX42" fmla="*/ 10303 w 63941"/>
                  <a:gd name="connsiteY42" fmla="*/ 52123 h 61214"/>
                  <a:gd name="connsiteX43" fmla="*/ 11970 w 63941"/>
                  <a:gd name="connsiteY43" fmla="*/ 52881 h 61214"/>
                  <a:gd name="connsiteX44" fmla="*/ 12425 w 63941"/>
                  <a:gd name="connsiteY44" fmla="*/ 53487 h 61214"/>
                  <a:gd name="connsiteX45" fmla="*/ 13637 w 63941"/>
                  <a:gd name="connsiteY45" fmla="*/ 54396 h 61214"/>
                  <a:gd name="connsiteX46" fmla="*/ 14698 w 63941"/>
                  <a:gd name="connsiteY46" fmla="*/ 56063 h 61214"/>
                  <a:gd name="connsiteX47" fmla="*/ 16819 w 63941"/>
                  <a:gd name="connsiteY47" fmla="*/ 58336 h 61214"/>
                  <a:gd name="connsiteX48" fmla="*/ 19092 w 63941"/>
                  <a:gd name="connsiteY48" fmla="*/ 60002 h 61214"/>
                  <a:gd name="connsiteX49" fmla="*/ 23183 w 63941"/>
                  <a:gd name="connsiteY49" fmla="*/ 60760 h 61214"/>
                  <a:gd name="connsiteX50" fmla="*/ 26364 w 63941"/>
                  <a:gd name="connsiteY50" fmla="*/ 61214 h 61214"/>
                  <a:gd name="connsiteX51" fmla="*/ 27425 w 63941"/>
                  <a:gd name="connsiteY51" fmla="*/ 60911 h 61214"/>
                  <a:gd name="connsiteX52" fmla="*/ 28486 w 63941"/>
                  <a:gd name="connsiteY52" fmla="*/ 59548 h 61214"/>
                  <a:gd name="connsiteX53" fmla="*/ 29395 w 63941"/>
                  <a:gd name="connsiteY53" fmla="*/ 57729 h 61214"/>
                  <a:gd name="connsiteX54" fmla="*/ 29698 w 63941"/>
                  <a:gd name="connsiteY54" fmla="*/ 55457 h 61214"/>
                  <a:gd name="connsiteX55" fmla="*/ 30759 w 63941"/>
                  <a:gd name="connsiteY55" fmla="*/ 54245 h 61214"/>
                  <a:gd name="connsiteX56" fmla="*/ 34547 w 63941"/>
                  <a:gd name="connsiteY56" fmla="*/ 48638 h 61214"/>
                  <a:gd name="connsiteX57" fmla="*/ 36668 w 63941"/>
                  <a:gd name="connsiteY57" fmla="*/ 46517 h 61214"/>
                  <a:gd name="connsiteX58" fmla="*/ 37880 w 63941"/>
                  <a:gd name="connsiteY58" fmla="*/ 46365 h 61214"/>
                  <a:gd name="connsiteX59" fmla="*/ 39547 w 63941"/>
                  <a:gd name="connsiteY59" fmla="*/ 45911 h 61214"/>
                  <a:gd name="connsiteX60" fmla="*/ 41668 w 63941"/>
                  <a:gd name="connsiteY60" fmla="*/ 45759 h 61214"/>
                  <a:gd name="connsiteX61" fmla="*/ 43335 w 63941"/>
                  <a:gd name="connsiteY61" fmla="*/ 45911 h 61214"/>
                  <a:gd name="connsiteX62" fmla="*/ 43638 w 63941"/>
                  <a:gd name="connsiteY62" fmla="*/ 45911 h 61214"/>
                  <a:gd name="connsiteX63" fmla="*/ 46062 w 63941"/>
                  <a:gd name="connsiteY63" fmla="*/ 45153 h 61214"/>
                  <a:gd name="connsiteX64" fmla="*/ 50608 w 63941"/>
                  <a:gd name="connsiteY64" fmla="*/ 43183 h 61214"/>
                  <a:gd name="connsiteX65" fmla="*/ 52578 w 63941"/>
                  <a:gd name="connsiteY65" fmla="*/ 42123 h 61214"/>
                  <a:gd name="connsiteX66" fmla="*/ 54093 w 63941"/>
                  <a:gd name="connsiteY66" fmla="*/ 41062 h 61214"/>
                  <a:gd name="connsiteX67" fmla="*/ 55911 w 63941"/>
                  <a:gd name="connsiteY67" fmla="*/ 39698 h 61214"/>
                  <a:gd name="connsiteX68" fmla="*/ 56669 w 63941"/>
                  <a:gd name="connsiteY68" fmla="*/ 36214 h 61214"/>
                  <a:gd name="connsiteX69" fmla="*/ 57123 w 63941"/>
                  <a:gd name="connsiteY69" fmla="*/ 33183 h 61214"/>
                  <a:gd name="connsiteX70" fmla="*/ 58638 w 63941"/>
                  <a:gd name="connsiteY70" fmla="*/ 31668 h 61214"/>
                  <a:gd name="connsiteX71" fmla="*/ 60154 w 63941"/>
                  <a:gd name="connsiteY71" fmla="*/ 30759 h 61214"/>
                  <a:gd name="connsiteX72" fmla="*/ 61366 w 63941"/>
                  <a:gd name="connsiteY72" fmla="*/ 29243 h 61214"/>
                  <a:gd name="connsiteX73" fmla="*/ 62881 w 63941"/>
                  <a:gd name="connsiteY73" fmla="*/ 25455 h 61214"/>
                  <a:gd name="connsiteX74" fmla="*/ 63790 w 63941"/>
                  <a:gd name="connsiteY74" fmla="*/ 21819 h 61214"/>
                  <a:gd name="connsiteX75" fmla="*/ 63942 w 63941"/>
                  <a:gd name="connsiteY75" fmla="*/ 20304 h 6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63941" h="61214">
                    <a:moveTo>
                      <a:pt x="63487" y="18788"/>
                    </a:moveTo>
                    <a:lnTo>
                      <a:pt x="62426" y="17122"/>
                    </a:lnTo>
                    <a:lnTo>
                      <a:pt x="61517" y="15000"/>
                    </a:lnTo>
                    <a:lnTo>
                      <a:pt x="60305" y="14698"/>
                    </a:lnTo>
                    <a:lnTo>
                      <a:pt x="58184" y="13486"/>
                    </a:lnTo>
                    <a:lnTo>
                      <a:pt x="54850" y="10910"/>
                    </a:lnTo>
                    <a:lnTo>
                      <a:pt x="51972" y="8788"/>
                    </a:lnTo>
                    <a:lnTo>
                      <a:pt x="49396" y="5758"/>
                    </a:lnTo>
                    <a:lnTo>
                      <a:pt x="48183" y="5152"/>
                    </a:lnTo>
                    <a:lnTo>
                      <a:pt x="45608" y="3031"/>
                    </a:lnTo>
                    <a:lnTo>
                      <a:pt x="44547" y="1818"/>
                    </a:lnTo>
                    <a:lnTo>
                      <a:pt x="43790" y="455"/>
                    </a:lnTo>
                    <a:lnTo>
                      <a:pt x="43032" y="0"/>
                    </a:lnTo>
                    <a:lnTo>
                      <a:pt x="41820" y="303"/>
                    </a:lnTo>
                    <a:lnTo>
                      <a:pt x="38789" y="909"/>
                    </a:lnTo>
                    <a:lnTo>
                      <a:pt x="32274" y="3485"/>
                    </a:lnTo>
                    <a:lnTo>
                      <a:pt x="28183" y="5758"/>
                    </a:lnTo>
                    <a:lnTo>
                      <a:pt x="24850" y="8637"/>
                    </a:lnTo>
                    <a:lnTo>
                      <a:pt x="21213" y="9698"/>
                    </a:lnTo>
                    <a:lnTo>
                      <a:pt x="18637" y="10607"/>
                    </a:lnTo>
                    <a:lnTo>
                      <a:pt x="16667" y="13788"/>
                    </a:lnTo>
                    <a:lnTo>
                      <a:pt x="14698" y="16667"/>
                    </a:lnTo>
                    <a:lnTo>
                      <a:pt x="13031" y="19395"/>
                    </a:lnTo>
                    <a:lnTo>
                      <a:pt x="11970" y="20607"/>
                    </a:lnTo>
                    <a:lnTo>
                      <a:pt x="11061" y="21364"/>
                    </a:lnTo>
                    <a:lnTo>
                      <a:pt x="10152" y="23031"/>
                    </a:lnTo>
                    <a:lnTo>
                      <a:pt x="8333" y="25910"/>
                    </a:lnTo>
                    <a:lnTo>
                      <a:pt x="6667" y="27729"/>
                    </a:lnTo>
                    <a:lnTo>
                      <a:pt x="4243" y="28789"/>
                    </a:lnTo>
                    <a:lnTo>
                      <a:pt x="1212" y="30152"/>
                    </a:lnTo>
                    <a:lnTo>
                      <a:pt x="152" y="30910"/>
                    </a:lnTo>
                    <a:lnTo>
                      <a:pt x="0" y="32122"/>
                    </a:lnTo>
                    <a:lnTo>
                      <a:pt x="1061" y="34698"/>
                    </a:lnTo>
                    <a:lnTo>
                      <a:pt x="2122" y="37274"/>
                    </a:lnTo>
                    <a:lnTo>
                      <a:pt x="3788" y="40305"/>
                    </a:lnTo>
                    <a:lnTo>
                      <a:pt x="5152" y="42577"/>
                    </a:lnTo>
                    <a:lnTo>
                      <a:pt x="7121" y="45153"/>
                    </a:lnTo>
                    <a:lnTo>
                      <a:pt x="8333" y="46820"/>
                    </a:lnTo>
                    <a:lnTo>
                      <a:pt x="8182" y="49396"/>
                    </a:lnTo>
                    <a:lnTo>
                      <a:pt x="8485" y="50457"/>
                    </a:lnTo>
                    <a:lnTo>
                      <a:pt x="9243" y="51517"/>
                    </a:lnTo>
                    <a:lnTo>
                      <a:pt x="9698" y="51820"/>
                    </a:lnTo>
                    <a:lnTo>
                      <a:pt x="10303" y="52123"/>
                    </a:lnTo>
                    <a:lnTo>
                      <a:pt x="11970" y="52881"/>
                    </a:lnTo>
                    <a:lnTo>
                      <a:pt x="12425" y="53487"/>
                    </a:lnTo>
                    <a:lnTo>
                      <a:pt x="13637" y="54396"/>
                    </a:lnTo>
                    <a:lnTo>
                      <a:pt x="14698" y="56063"/>
                    </a:lnTo>
                    <a:lnTo>
                      <a:pt x="16819" y="58336"/>
                    </a:lnTo>
                    <a:lnTo>
                      <a:pt x="19092" y="60002"/>
                    </a:lnTo>
                    <a:lnTo>
                      <a:pt x="23183" y="60760"/>
                    </a:lnTo>
                    <a:lnTo>
                      <a:pt x="26364" y="61214"/>
                    </a:lnTo>
                    <a:lnTo>
                      <a:pt x="27425" y="60911"/>
                    </a:lnTo>
                    <a:lnTo>
                      <a:pt x="28486" y="59548"/>
                    </a:lnTo>
                    <a:lnTo>
                      <a:pt x="29395" y="57729"/>
                    </a:lnTo>
                    <a:lnTo>
                      <a:pt x="29698" y="55457"/>
                    </a:lnTo>
                    <a:lnTo>
                      <a:pt x="30759" y="54245"/>
                    </a:lnTo>
                    <a:lnTo>
                      <a:pt x="34547" y="48638"/>
                    </a:lnTo>
                    <a:lnTo>
                      <a:pt x="36668" y="46517"/>
                    </a:lnTo>
                    <a:lnTo>
                      <a:pt x="37880" y="46365"/>
                    </a:lnTo>
                    <a:lnTo>
                      <a:pt x="39547" y="45911"/>
                    </a:lnTo>
                    <a:lnTo>
                      <a:pt x="41668" y="45759"/>
                    </a:lnTo>
                    <a:lnTo>
                      <a:pt x="43335" y="45911"/>
                    </a:lnTo>
                    <a:lnTo>
                      <a:pt x="43638" y="45911"/>
                    </a:lnTo>
                    <a:lnTo>
                      <a:pt x="46062" y="45153"/>
                    </a:lnTo>
                    <a:lnTo>
                      <a:pt x="50608" y="43183"/>
                    </a:lnTo>
                    <a:lnTo>
                      <a:pt x="52578" y="42123"/>
                    </a:lnTo>
                    <a:lnTo>
                      <a:pt x="54093" y="41062"/>
                    </a:lnTo>
                    <a:lnTo>
                      <a:pt x="55911" y="39698"/>
                    </a:lnTo>
                    <a:lnTo>
                      <a:pt x="56669" y="36214"/>
                    </a:lnTo>
                    <a:lnTo>
                      <a:pt x="57123" y="33183"/>
                    </a:lnTo>
                    <a:lnTo>
                      <a:pt x="58638" y="31668"/>
                    </a:lnTo>
                    <a:lnTo>
                      <a:pt x="60154" y="30759"/>
                    </a:lnTo>
                    <a:lnTo>
                      <a:pt x="61366" y="29243"/>
                    </a:lnTo>
                    <a:lnTo>
                      <a:pt x="62881" y="25455"/>
                    </a:lnTo>
                    <a:lnTo>
                      <a:pt x="63790" y="21819"/>
                    </a:lnTo>
                    <a:lnTo>
                      <a:pt x="63942" y="203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4" name="Freeform: Shape 3233">
                <a:extLst>
                  <a:ext uri="{FF2B5EF4-FFF2-40B4-BE49-F238E27FC236}">
                    <a16:creationId xmlns:a16="http://schemas.microsoft.com/office/drawing/2014/main" id="{93030CF3-425F-4CA1-A506-5397BB3C91DF}"/>
                  </a:ext>
                </a:extLst>
              </p:cNvPr>
              <p:cNvSpPr/>
              <p:nvPr/>
            </p:nvSpPr>
            <p:spPr>
              <a:xfrm>
                <a:off x="5462340" y="4329409"/>
                <a:ext cx="112428" cy="114398"/>
              </a:xfrm>
              <a:custGeom>
                <a:avLst/>
                <a:gdLst>
                  <a:gd name="connsiteX0" fmla="*/ 111671 w 112428"/>
                  <a:gd name="connsiteY0" fmla="*/ 78942 h 114398"/>
                  <a:gd name="connsiteX1" fmla="*/ 110913 w 112428"/>
                  <a:gd name="connsiteY1" fmla="*/ 73791 h 114398"/>
                  <a:gd name="connsiteX2" fmla="*/ 110459 w 112428"/>
                  <a:gd name="connsiteY2" fmla="*/ 73336 h 114398"/>
                  <a:gd name="connsiteX3" fmla="*/ 110156 w 112428"/>
                  <a:gd name="connsiteY3" fmla="*/ 73639 h 114398"/>
                  <a:gd name="connsiteX4" fmla="*/ 109247 w 112428"/>
                  <a:gd name="connsiteY4" fmla="*/ 73639 h 114398"/>
                  <a:gd name="connsiteX5" fmla="*/ 105913 w 112428"/>
                  <a:gd name="connsiteY5" fmla="*/ 71972 h 114398"/>
                  <a:gd name="connsiteX6" fmla="*/ 103337 w 112428"/>
                  <a:gd name="connsiteY6" fmla="*/ 71669 h 114398"/>
                  <a:gd name="connsiteX7" fmla="*/ 101519 w 112428"/>
                  <a:gd name="connsiteY7" fmla="*/ 70154 h 114398"/>
                  <a:gd name="connsiteX8" fmla="*/ 101367 w 112428"/>
                  <a:gd name="connsiteY8" fmla="*/ 68336 h 114398"/>
                  <a:gd name="connsiteX9" fmla="*/ 100458 w 112428"/>
                  <a:gd name="connsiteY9" fmla="*/ 67275 h 114398"/>
                  <a:gd name="connsiteX10" fmla="*/ 99852 w 112428"/>
                  <a:gd name="connsiteY10" fmla="*/ 65306 h 114398"/>
                  <a:gd name="connsiteX11" fmla="*/ 98943 w 112428"/>
                  <a:gd name="connsiteY11" fmla="*/ 63033 h 114398"/>
                  <a:gd name="connsiteX12" fmla="*/ 96519 w 112428"/>
                  <a:gd name="connsiteY12" fmla="*/ 61669 h 114398"/>
                  <a:gd name="connsiteX13" fmla="*/ 94095 w 112428"/>
                  <a:gd name="connsiteY13" fmla="*/ 61214 h 114398"/>
                  <a:gd name="connsiteX14" fmla="*/ 92428 w 112428"/>
                  <a:gd name="connsiteY14" fmla="*/ 61518 h 114398"/>
                  <a:gd name="connsiteX15" fmla="*/ 90458 w 112428"/>
                  <a:gd name="connsiteY15" fmla="*/ 61518 h 114398"/>
                  <a:gd name="connsiteX16" fmla="*/ 88034 w 112428"/>
                  <a:gd name="connsiteY16" fmla="*/ 60760 h 114398"/>
                  <a:gd name="connsiteX17" fmla="*/ 86519 w 112428"/>
                  <a:gd name="connsiteY17" fmla="*/ 59851 h 114398"/>
                  <a:gd name="connsiteX18" fmla="*/ 85003 w 112428"/>
                  <a:gd name="connsiteY18" fmla="*/ 58184 h 114398"/>
                  <a:gd name="connsiteX19" fmla="*/ 83640 w 112428"/>
                  <a:gd name="connsiteY19" fmla="*/ 56820 h 114398"/>
                  <a:gd name="connsiteX20" fmla="*/ 82579 w 112428"/>
                  <a:gd name="connsiteY20" fmla="*/ 56972 h 114398"/>
                  <a:gd name="connsiteX21" fmla="*/ 81215 w 112428"/>
                  <a:gd name="connsiteY21" fmla="*/ 56669 h 114398"/>
                  <a:gd name="connsiteX22" fmla="*/ 79852 w 112428"/>
                  <a:gd name="connsiteY22" fmla="*/ 56063 h 114398"/>
                  <a:gd name="connsiteX23" fmla="*/ 79397 w 112428"/>
                  <a:gd name="connsiteY23" fmla="*/ 55608 h 114398"/>
                  <a:gd name="connsiteX24" fmla="*/ 85003 w 112428"/>
                  <a:gd name="connsiteY24" fmla="*/ 50154 h 114398"/>
                  <a:gd name="connsiteX25" fmla="*/ 86822 w 112428"/>
                  <a:gd name="connsiteY25" fmla="*/ 47577 h 114398"/>
                  <a:gd name="connsiteX26" fmla="*/ 87124 w 112428"/>
                  <a:gd name="connsiteY26" fmla="*/ 45911 h 114398"/>
                  <a:gd name="connsiteX27" fmla="*/ 87124 w 112428"/>
                  <a:gd name="connsiteY27" fmla="*/ 44244 h 114398"/>
                  <a:gd name="connsiteX28" fmla="*/ 87731 w 112428"/>
                  <a:gd name="connsiteY28" fmla="*/ 42578 h 114398"/>
                  <a:gd name="connsiteX29" fmla="*/ 87882 w 112428"/>
                  <a:gd name="connsiteY29" fmla="*/ 40153 h 114398"/>
                  <a:gd name="connsiteX30" fmla="*/ 84852 w 112428"/>
                  <a:gd name="connsiteY30" fmla="*/ 30910 h 114398"/>
                  <a:gd name="connsiteX31" fmla="*/ 83943 w 112428"/>
                  <a:gd name="connsiteY31" fmla="*/ 28031 h 114398"/>
                  <a:gd name="connsiteX32" fmla="*/ 83185 w 112428"/>
                  <a:gd name="connsiteY32" fmla="*/ 27122 h 114398"/>
                  <a:gd name="connsiteX33" fmla="*/ 82579 w 112428"/>
                  <a:gd name="connsiteY33" fmla="*/ 26819 h 114398"/>
                  <a:gd name="connsiteX34" fmla="*/ 81670 w 112428"/>
                  <a:gd name="connsiteY34" fmla="*/ 26062 h 114398"/>
                  <a:gd name="connsiteX35" fmla="*/ 80457 w 112428"/>
                  <a:gd name="connsiteY35" fmla="*/ 25001 h 114398"/>
                  <a:gd name="connsiteX36" fmla="*/ 80155 w 112428"/>
                  <a:gd name="connsiteY36" fmla="*/ 23637 h 114398"/>
                  <a:gd name="connsiteX37" fmla="*/ 79397 w 112428"/>
                  <a:gd name="connsiteY37" fmla="*/ 23334 h 114398"/>
                  <a:gd name="connsiteX38" fmla="*/ 77882 w 112428"/>
                  <a:gd name="connsiteY38" fmla="*/ 23334 h 114398"/>
                  <a:gd name="connsiteX39" fmla="*/ 76518 w 112428"/>
                  <a:gd name="connsiteY39" fmla="*/ 24092 h 114398"/>
                  <a:gd name="connsiteX40" fmla="*/ 76064 w 112428"/>
                  <a:gd name="connsiteY40" fmla="*/ 25607 h 114398"/>
                  <a:gd name="connsiteX41" fmla="*/ 75912 w 112428"/>
                  <a:gd name="connsiteY41" fmla="*/ 27274 h 114398"/>
                  <a:gd name="connsiteX42" fmla="*/ 75760 w 112428"/>
                  <a:gd name="connsiteY42" fmla="*/ 28637 h 114398"/>
                  <a:gd name="connsiteX43" fmla="*/ 74851 w 112428"/>
                  <a:gd name="connsiteY43" fmla="*/ 29395 h 114398"/>
                  <a:gd name="connsiteX44" fmla="*/ 73336 w 112428"/>
                  <a:gd name="connsiteY44" fmla="*/ 31365 h 114398"/>
                  <a:gd name="connsiteX45" fmla="*/ 72579 w 112428"/>
                  <a:gd name="connsiteY45" fmla="*/ 33335 h 114398"/>
                  <a:gd name="connsiteX46" fmla="*/ 71669 w 112428"/>
                  <a:gd name="connsiteY46" fmla="*/ 35001 h 114398"/>
                  <a:gd name="connsiteX47" fmla="*/ 70306 w 112428"/>
                  <a:gd name="connsiteY47" fmla="*/ 34850 h 114398"/>
                  <a:gd name="connsiteX48" fmla="*/ 69700 w 112428"/>
                  <a:gd name="connsiteY48" fmla="*/ 34547 h 114398"/>
                  <a:gd name="connsiteX49" fmla="*/ 69245 w 112428"/>
                  <a:gd name="connsiteY49" fmla="*/ 35001 h 114398"/>
                  <a:gd name="connsiteX50" fmla="*/ 67124 w 112428"/>
                  <a:gd name="connsiteY50" fmla="*/ 35911 h 114398"/>
                  <a:gd name="connsiteX51" fmla="*/ 65457 w 112428"/>
                  <a:gd name="connsiteY51" fmla="*/ 36213 h 114398"/>
                  <a:gd name="connsiteX52" fmla="*/ 64851 w 112428"/>
                  <a:gd name="connsiteY52" fmla="*/ 35304 h 114398"/>
                  <a:gd name="connsiteX53" fmla="*/ 63942 w 112428"/>
                  <a:gd name="connsiteY53" fmla="*/ 34547 h 114398"/>
                  <a:gd name="connsiteX54" fmla="*/ 62730 w 112428"/>
                  <a:gd name="connsiteY54" fmla="*/ 33032 h 114398"/>
                  <a:gd name="connsiteX55" fmla="*/ 61366 w 112428"/>
                  <a:gd name="connsiteY55" fmla="*/ 31819 h 114398"/>
                  <a:gd name="connsiteX56" fmla="*/ 58942 w 112428"/>
                  <a:gd name="connsiteY56" fmla="*/ 30910 h 114398"/>
                  <a:gd name="connsiteX57" fmla="*/ 57881 w 112428"/>
                  <a:gd name="connsiteY57" fmla="*/ 31365 h 114398"/>
                  <a:gd name="connsiteX58" fmla="*/ 56669 w 112428"/>
                  <a:gd name="connsiteY58" fmla="*/ 31213 h 114398"/>
                  <a:gd name="connsiteX59" fmla="*/ 55911 w 112428"/>
                  <a:gd name="connsiteY59" fmla="*/ 30759 h 114398"/>
                  <a:gd name="connsiteX60" fmla="*/ 56063 w 112428"/>
                  <a:gd name="connsiteY60" fmla="*/ 30001 h 114398"/>
                  <a:gd name="connsiteX61" fmla="*/ 57275 w 112428"/>
                  <a:gd name="connsiteY61" fmla="*/ 28183 h 114398"/>
                  <a:gd name="connsiteX62" fmla="*/ 58033 w 112428"/>
                  <a:gd name="connsiteY62" fmla="*/ 26516 h 114398"/>
                  <a:gd name="connsiteX63" fmla="*/ 58487 w 112428"/>
                  <a:gd name="connsiteY63" fmla="*/ 24698 h 114398"/>
                  <a:gd name="connsiteX64" fmla="*/ 58487 w 112428"/>
                  <a:gd name="connsiteY64" fmla="*/ 22880 h 114398"/>
                  <a:gd name="connsiteX65" fmla="*/ 57729 w 112428"/>
                  <a:gd name="connsiteY65" fmla="*/ 20455 h 114398"/>
                  <a:gd name="connsiteX66" fmla="*/ 56669 w 112428"/>
                  <a:gd name="connsiteY66" fmla="*/ 18486 h 114398"/>
                  <a:gd name="connsiteX67" fmla="*/ 56366 w 112428"/>
                  <a:gd name="connsiteY67" fmla="*/ 17273 h 114398"/>
                  <a:gd name="connsiteX68" fmla="*/ 56517 w 112428"/>
                  <a:gd name="connsiteY68" fmla="*/ 15607 h 114398"/>
                  <a:gd name="connsiteX69" fmla="*/ 56215 w 112428"/>
                  <a:gd name="connsiteY69" fmla="*/ 14092 h 114398"/>
                  <a:gd name="connsiteX70" fmla="*/ 55911 w 112428"/>
                  <a:gd name="connsiteY70" fmla="*/ 13334 h 114398"/>
                  <a:gd name="connsiteX71" fmla="*/ 55760 w 112428"/>
                  <a:gd name="connsiteY71" fmla="*/ 11819 h 114398"/>
                  <a:gd name="connsiteX72" fmla="*/ 55305 w 112428"/>
                  <a:gd name="connsiteY72" fmla="*/ 10455 h 114398"/>
                  <a:gd name="connsiteX73" fmla="*/ 54699 w 112428"/>
                  <a:gd name="connsiteY73" fmla="*/ 10000 h 114398"/>
                  <a:gd name="connsiteX74" fmla="*/ 54245 w 112428"/>
                  <a:gd name="connsiteY74" fmla="*/ 7728 h 114398"/>
                  <a:gd name="connsiteX75" fmla="*/ 54396 w 112428"/>
                  <a:gd name="connsiteY75" fmla="*/ 5303 h 114398"/>
                  <a:gd name="connsiteX76" fmla="*/ 53487 w 112428"/>
                  <a:gd name="connsiteY76" fmla="*/ 4394 h 114398"/>
                  <a:gd name="connsiteX77" fmla="*/ 51972 w 112428"/>
                  <a:gd name="connsiteY77" fmla="*/ 3788 h 114398"/>
                  <a:gd name="connsiteX78" fmla="*/ 51062 w 112428"/>
                  <a:gd name="connsiteY78" fmla="*/ 2879 h 114398"/>
                  <a:gd name="connsiteX79" fmla="*/ 50457 w 112428"/>
                  <a:gd name="connsiteY79" fmla="*/ 1818 h 114398"/>
                  <a:gd name="connsiteX80" fmla="*/ 49850 w 112428"/>
                  <a:gd name="connsiteY80" fmla="*/ 1515 h 114398"/>
                  <a:gd name="connsiteX81" fmla="*/ 49396 w 112428"/>
                  <a:gd name="connsiteY81" fmla="*/ 1515 h 114398"/>
                  <a:gd name="connsiteX82" fmla="*/ 48941 w 112428"/>
                  <a:gd name="connsiteY82" fmla="*/ 2273 h 114398"/>
                  <a:gd name="connsiteX83" fmla="*/ 48487 w 112428"/>
                  <a:gd name="connsiteY83" fmla="*/ 2424 h 114398"/>
                  <a:gd name="connsiteX84" fmla="*/ 47578 w 112428"/>
                  <a:gd name="connsiteY84" fmla="*/ 152 h 114398"/>
                  <a:gd name="connsiteX85" fmla="*/ 47274 w 112428"/>
                  <a:gd name="connsiteY85" fmla="*/ 0 h 114398"/>
                  <a:gd name="connsiteX86" fmla="*/ 46517 w 112428"/>
                  <a:gd name="connsiteY86" fmla="*/ 606 h 114398"/>
                  <a:gd name="connsiteX87" fmla="*/ 39547 w 112428"/>
                  <a:gd name="connsiteY87" fmla="*/ 3031 h 114398"/>
                  <a:gd name="connsiteX88" fmla="*/ 39244 w 112428"/>
                  <a:gd name="connsiteY88" fmla="*/ 2121 h 114398"/>
                  <a:gd name="connsiteX89" fmla="*/ 38638 w 112428"/>
                  <a:gd name="connsiteY89" fmla="*/ 909 h 114398"/>
                  <a:gd name="connsiteX90" fmla="*/ 37274 w 112428"/>
                  <a:gd name="connsiteY90" fmla="*/ 606 h 114398"/>
                  <a:gd name="connsiteX91" fmla="*/ 34850 w 112428"/>
                  <a:gd name="connsiteY91" fmla="*/ 1364 h 114398"/>
                  <a:gd name="connsiteX92" fmla="*/ 33486 w 112428"/>
                  <a:gd name="connsiteY92" fmla="*/ 1515 h 114398"/>
                  <a:gd name="connsiteX93" fmla="*/ 33486 w 112428"/>
                  <a:gd name="connsiteY93" fmla="*/ 2424 h 114398"/>
                  <a:gd name="connsiteX94" fmla="*/ 32577 w 112428"/>
                  <a:gd name="connsiteY94" fmla="*/ 6212 h 114398"/>
                  <a:gd name="connsiteX95" fmla="*/ 31365 w 112428"/>
                  <a:gd name="connsiteY95" fmla="*/ 9697 h 114398"/>
                  <a:gd name="connsiteX96" fmla="*/ 30607 w 112428"/>
                  <a:gd name="connsiteY96" fmla="*/ 10455 h 114398"/>
                  <a:gd name="connsiteX97" fmla="*/ 27122 w 112428"/>
                  <a:gd name="connsiteY97" fmla="*/ 11364 h 114398"/>
                  <a:gd name="connsiteX98" fmla="*/ 25607 w 112428"/>
                  <a:gd name="connsiteY98" fmla="*/ 12879 h 114398"/>
                  <a:gd name="connsiteX99" fmla="*/ 24395 w 112428"/>
                  <a:gd name="connsiteY99" fmla="*/ 17576 h 114398"/>
                  <a:gd name="connsiteX100" fmla="*/ 23486 w 112428"/>
                  <a:gd name="connsiteY100" fmla="*/ 21364 h 114398"/>
                  <a:gd name="connsiteX101" fmla="*/ 22274 w 112428"/>
                  <a:gd name="connsiteY101" fmla="*/ 21971 h 114398"/>
                  <a:gd name="connsiteX102" fmla="*/ 17274 w 112428"/>
                  <a:gd name="connsiteY102" fmla="*/ 27425 h 114398"/>
                  <a:gd name="connsiteX103" fmla="*/ 13940 w 112428"/>
                  <a:gd name="connsiteY103" fmla="*/ 29395 h 114398"/>
                  <a:gd name="connsiteX104" fmla="*/ 11516 w 112428"/>
                  <a:gd name="connsiteY104" fmla="*/ 31213 h 114398"/>
                  <a:gd name="connsiteX105" fmla="*/ 9394 w 112428"/>
                  <a:gd name="connsiteY105" fmla="*/ 33486 h 114398"/>
                  <a:gd name="connsiteX106" fmla="*/ 6515 w 112428"/>
                  <a:gd name="connsiteY106" fmla="*/ 35759 h 114398"/>
                  <a:gd name="connsiteX107" fmla="*/ 3637 w 112428"/>
                  <a:gd name="connsiteY107" fmla="*/ 39547 h 114398"/>
                  <a:gd name="connsiteX108" fmla="*/ 1515 w 112428"/>
                  <a:gd name="connsiteY108" fmla="*/ 43487 h 114398"/>
                  <a:gd name="connsiteX109" fmla="*/ 0 w 112428"/>
                  <a:gd name="connsiteY109" fmla="*/ 44699 h 114398"/>
                  <a:gd name="connsiteX110" fmla="*/ 5910 w 112428"/>
                  <a:gd name="connsiteY110" fmla="*/ 50608 h 114398"/>
                  <a:gd name="connsiteX111" fmla="*/ 13788 w 112428"/>
                  <a:gd name="connsiteY111" fmla="*/ 54244 h 114398"/>
                  <a:gd name="connsiteX112" fmla="*/ 18031 w 112428"/>
                  <a:gd name="connsiteY112" fmla="*/ 56669 h 114398"/>
                  <a:gd name="connsiteX113" fmla="*/ 19698 w 112428"/>
                  <a:gd name="connsiteY113" fmla="*/ 60911 h 114398"/>
                  <a:gd name="connsiteX114" fmla="*/ 21819 w 112428"/>
                  <a:gd name="connsiteY114" fmla="*/ 62275 h 114398"/>
                  <a:gd name="connsiteX115" fmla="*/ 24850 w 112428"/>
                  <a:gd name="connsiteY115" fmla="*/ 63639 h 114398"/>
                  <a:gd name="connsiteX116" fmla="*/ 29850 w 112428"/>
                  <a:gd name="connsiteY116" fmla="*/ 64851 h 114398"/>
                  <a:gd name="connsiteX117" fmla="*/ 33638 w 112428"/>
                  <a:gd name="connsiteY117" fmla="*/ 67275 h 114398"/>
                  <a:gd name="connsiteX118" fmla="*/ 50760 w 112428"/>
                  <a:gd name="connsiteY118" fmla="*/ 82579 h 114398"/>
                  <a:gd name="connsiteX119" fmla="*/ 58336 w 112428"/>
                  <a:gd name="connsiteY119" fmla="*/ 90155 h 114398"/>
                  <a:gd name="connsiteX120" fmla="*/ 65003 w 112428"/>
                  <a:gd name="connsiteY120" fmla="*/ 95155 h 114398"/>
                  <a:gd name="connsiteX121" fmla="*/ 88943 w 112428"/>
                  <a:gd name="connsiteY121" fmla="*/ 107883 h 114398"/>
                  <a:gd name="connsiteX122" fmla="*/ 96064 w 112428"/>
                  <a:gd name="connsiteY122" fmla="*/ 110004 h 114398"/>
                  <a:gd name="connsiteX123" fmla="*/ 105307 w 112428"/>
                  <a:gd name="connsiteY123" fmla="*/ 113944 h 114398"/>
                  <a:gd name="connsiteX124" fmla="*/ 108489 w 112428"/>
                  <a:gd name="connsiteY124" fmla="*/ 114398 h 114398"/>
                  <a:gd name="connsiteX125" fmla="*/ 107732 w 112428"/>
                  <a:gd name="connsiteY125" fmla="*/ 113338 h 114398"/>
                  <a:gd name="connsiteX126" fmla="*/ 107580 w 112428"/>
                  <a:gd name="connsiteY126" fmla="*/ 108337 h 114398"/>
                  <a:gd name="connsiteX127" fmla="*/ 107125 w 112428"/>
                  <a:gd name="connsiteY127" fmla="*/ 101519 h 114398"/>
                  <a:gd name="connsiteX128" fmla="*/ 107277 w 112428"/>
                  <a:gd name="connsiteY128" fmla="*/ 98943 h 114398"/>
                  <a:gd name="connsiteX129" fmla="*/ 107732 w 112428"/>
                  <a:gd name="connsiteY129" fmla="*/ 96519 h 114398"/>
                  <a:gd name="connsiteX130" fmla="*/ 107732 w 112428"/>
                  <a:gd name="connsiteY130" fmla="*/ 94398 h 114398"/>
                  <a:gd name="connsiteX131" fmla="*/ 109398 w 112428"/>
                  <a:gd name="connsiteY131" fmla="*/ 93640 h 114398"/>
                  <a:gd name="connsiteX132" fmla="*/ 109853 w 112428"/>
                  <a:gd name="connsiteY132" fmla="*/ 92882 h 114398"/>
                  <a:gd name="connsiteX133" fmla="*/ 110004 w 112428"/>
                  <a:gd name="connsiteY133" fmla="*/ 90155 h 114398"/>
                  <a:gd name="connsiteX134" fmla="*/ 111520 w 112428"/>
                  <a:gd name="connsiteY134" fmla="*/ 87882 h 114398"/>
                  <a:gd name="connsiteX135" fmla="*/ 111520 w 112428"/>
                  <a:gd name="connsiteY135" fmla="*/ 83639 h 114398"/>
                  <a:gd name="connsiteX136" fmla="*/ 111974 w 112428"/>
                  <a:gd name="connsiteY136" fmla="*/ 82730 h 114398"/>
                  <a:gd name="connsiteX137" fmla="*/ 112429 w 112428"/>
                  <a:gd name="connsiteY137" fmla="*/ 81670 h 11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428" h="114398">
                    <a:moveTo>
                      <a:pt x="111671" y="78942"/>
                    </a:moveTo>
                    <a:lnTo>
                      <a:pt x="110913" y="73791"/>
                    </a:lnTo>
                    <a:lnTo>
                      <a:pt x="110459" y="73336"/>
                    </a:lnTo>
                    <a:lnTo>
                      <a:pt x="110156" y="73639"/>
                    </a:lnTo>
                    <a:lnTo>
                      <a:pt x="109247" y="73639"/>
                    </a:lnTo>
                    <a:lnTo>
                      <a:pt x="105913" y="71972"/>
                    </a:lnTo>
                    <a:lnTo>
                      <a:pt x="103337" y="71669"/>
                    </a:lnTo>
                    <a:lnTo>
                      <a:pt x="101519" y="70154"/>
                    </a:lnTo>
                    <a:lnTo>
                      <a:pt x="101367" y="68336"/>
                    </a:lnTo>
                    <a:lnTo>
                      <a:pt x="100458" y="67275"/>
                    </a:lnTo>
                    <a:lnTo>
                      <a:pt x="99852" y="65306"/>
                    </a:lnTo>
                    <a:lnTo>
                      <a:pt x="98943" y="63033"/>
                    </a:lnTo>
                    <a:lnTo>
                      <a:pt x="96519" y="61669"/>
                    </a:lnTo>
                    <a:lnTo>
                      <a:pt x="94095" y="61214"/>
                    </a:lnTo>
                    <a:lnTo>
                      <a:pt x="92428" y="61518"/>
                    </a:lnTo>
                    <a:lnTo>
                      <a:pt x="90458" y="61518"/>
                    </a:lnTo>
                    <a:lnTo>
                      <a:pt x="88034" y="60760"/>
                    </a:lnTo>
                    <a:lnTo>
                      <a:pt x="86519" y="59851"/>
                    </a:lnTo>
                    <a:lnTo>
                      <a:pt x="85003" y="58184"/>
                    </a:lnTo>
                    <a:lnTo>
                      <a:pt x="83640" y="56820"/>
                    </a:lnTo>
                    <a:lnTo>
                      <a:pt x="82579" y="56972"/>
                    </a:lnTo>
                    <a:lnTo>
                      <a:pt x="81215" y="56669"/>
                    </a:lnTo>
                    <a:lnTo>
                      <a:pt x="79852" y="56063"/>
                    </a:lnTo>
                    <a:lnTo>
                      <a:pt x="79397" y="55608"/>
                    </a:lnTo>
                    <a:lnTo>
                      <a:pt x="85003" y="50154"/>
                    </a:lnTo>
                    <a:lnTo>
                      <a:pt x="86822" y="47577"/>
                    </a:lnTo>
                    <a:lnTo>
                      <a:pt x="87124" y="45911"/>
                    </a:lnTo>
                    <a:lnTo>
                      <a:pt x="87124" y="44244"/>
                    </a:lnTo>
                    <a:lnTo>
                      <a:pt x="87731" y="42578"/>
                    </a:lnTo>
                    <a:lnTo>
                      <a:pt x="87882" y="40153"/>
                    </a:lnTo>
                    <a:lnTo>
                      <a:pt x="84852" y="30910"/>
                    </a:lnTo>
                    <a:lnTo>
                      <a:pt x="83943" y="28031"/>
                    </a:lnTo>
                    <a:lnTo>
                      <a:pt x="83185" y="27122"/>
                    </a:lnTo>
                    <a:lnTo>
                      <a:pt x="82579" y="26819"/>
                    </a:lnTo>
                    <a:lnTo>
                      <a:pt x="81670" y="26062"/>
                    </a:lnTo>
                    <a:lnTo>
                      <a:pt x="80457" y="25001"/>
                    </a:lnTo>
                    <a:lnTo>
                      <a:pt x="80155" y="23637"/>
                    </a:lnTo>
                    <a:lnTo>
                      <a:pt x="79397" y="23334"/>
                    </a:lnTo>
                    <a:lnTo>
                      <a:pt x="77882" y="23334"/>
                    </a:lnTo>
                    <a:lnTo>
                      <a:pt x="76518" y="24092"/>
                    </a:lnTo>
                    <a:lnTo>
                      <a:pt x="76064" y="25607"/>
                    </a:lnTo>
                    <a:lnTo>
                      <a:pt x="75912" y="27274"/>
                    </a:lnTo>
                    <a:lnTo>
                      <a:pt x="75760" y="28637"/>
                    </a:lnTo>
                    <a:lnTo>
                      <a:pt x="74851" y="29395"/>
                    </a:lnTo>
                    <a:lnTo>
                      <a:pt x="73336" y="31365"/>
                    </a:lnTo>
                    <a:lnTo>
                      <a:pt x="72579" y="33335"/>
                    </a:lnTo>
                    <a:lnTo>
                      <a:pt x="71669" y="35001"/>
                    </a:lnTo>
                    <a:lnTo>
                      <a:pt x="70306" y="34850"/>
                    </a:lnTo>
                    <a:lnTo>
                      <a:pt x="69700" y="34547"/>
                    </a:lnTo>
                    <a:lnTo>
                      <a:pt x="69245" y="35001"/>
                    </a:lnTo>
                    <a:lnTo>
                      <a:pt x="67124" y="35911"/>
                    </a:lnTo>
                    <a:lnTo>
                      <a:pt x="65457" y="36213"/>
                    </a:lnTo>
                    <a:lnTo>
                      <a:pt x="64851" y="35304"/>
                    </a:lnTo>
                    <a:lnTo>
                      <a:pt x="63942" y="34547"/>
                    </a:lnTo>
                    <a:lnTo>
                      <a:pt x="62730" y="33032"/>
                    </a:lnTo>
                    <a:lnTo>
                      <a:pt x="61366" y="31819"/>
                    </a:lnTo>
                    <a:lnTo>
                      <a:pt x="58942" y="30910"/>
                    </a:lnTo>
                    <a:lnTo>
                      <a:pt x="57881" y="31365"/>
                    </a:lnTo>
                    <a:lnTo>
                      <a:pt x="56669" y="31213"/>
                    </a:lnTo>
                    <a:lnTo>
                      <a:pt x="55911" y="30759"/>
                    </a:lnTo>
                    <a:lnTo>
                      <a:pt x="56063" y="30001"/>
                    </a:lnTo>
                    <a:lnTo>
                      <a:pt x="57275" y="28183"/>
                    </a:lnTo>
                    <a:lnTo>
                      <a:pt x="58033" y="26516"/>
                    </a:lnTo>
                    <a:lnTo>
                      <a:pt x="58487" y="24698"/>
                    </a:lnTo>
                    <a:lnTo>
                      <a:pt x="58487" y="22880"/>
                    </a:lnTo>
                    <a:lnTo>
                      <a:pt x="57729" y="20455"/>
                    </a:lnTo>
                    <a:lnTo>
                      <a:pt x="56669" y="18486"/>
                    </a:lnTo>
                    <a:lnTo>
                      <a:pt x="56366" y="17273"/>
                    </a:lnTo>
                    <a:lnTo>
                      <a:pt x="56517" y="15607"/>
                    </a:lnTo>
                    <a:lnTo>
                      <a:pt x="56215" y="14092"/>
                    </a:lnTo>
                    <a:lnTo>
                      <a:pt x="55911" y="13334"/>
                    </a:lnTo>
                    <a:lnTo>
                      <a:pt x="55760" y="11819"/>
                    </a:lnTo>
                    <a:lnTo>
                      <a:pt x="55305" y="10455"/>
                    </a:lnTo>
                    <a:lnTo>
                      <a:pt x="54699" y="10000"/>
                    </a:lnTo>
                    <a:lnTo>
                      <a:pt x="54245" y="7728"/>
                    </a:lnTo>
                    <a:lnTo>
                      <a:pt x="54396" y="5303"/>
                    </a:lnTo>
                    <a:lnTo>
                      <a:pt x="53487" y="4394"/>
                    </a:lnTo>
                    <a:lnTo>
                      <a:pt x="51972" y="3788"/>
                    </a:lnTo>
                    <a:lnTo>
                      <a:pt x="51062" y="2879"/>
                    </a:lnTo>
                    <a:lnTo>
                      <a:pt x="50457" y="1818"/>
                    </a:lnTo>
                    <a:lnTo>
                      <a:pt x="49850" y="1515"/>
                    </a:lnTo>
                    <a:lnTo>
                      <a:pt x="49396" y="1515"/>
                    </a:lnTo>
                    <a:lnTo>
                      <a:pt x="48941" y="2273"/>
                    </a:lnTo>
                    <a:lnTo>
                      <a:pt x="48487" y="2424"/>
                    </a:lnTo>
                    <a:lnTo>
                      <a:pt x="47578" y="152"/>
                    </a:lnTo>
                    <a:lnTo>
                      <a:pt x="47274" y="0"/>
                    </a:lnTo>
                    <a:lnTo>
                      <a:pt x="46517" y="606"/>
                    </a:lnTo>
                    <a:lnTo>
                      <a:pt x="39547" y="3031"/>
                    </a:lnTo>
                    <a:lnTo>
                      <a:pt x="39244" y="2121"/>
                    </a:lnTo>
                    <a:lnTo>
                      <a:pt x="38638" y="909"/>
                    </a:lnTo>
                    <a:lnTo>
                      <a:pt x="37274" y="606"/>
                    </a:lnTo>
                    <a:lnTo>
                      <a:pt x="34850" y="1364"/>
                    </a:lnTo>
                    <a:lnTo>
                      <a:pt x="33486" y="1515"/>
                    </a:lnTo>
                    <a:lnTo>
                      <a:pt x="33486" y="2424"/>
                    </a:lnTo>
                    <a:lnTo>
                      <a:pt x="32577" y="6212"/>
                    </a:lnTo>
                    <a:lnTo>
                      <a:pt x="31365" y="9697"/>
                    </a:lnTo>
                    <a:lnTo>
                      <a:pt x="30607" y="10455"/>
                    </a:lnTo>
                    <a:lnTo>
                      <a:pt x="27122" y="11364"/>
                    </a:lnTo>
                    <a:lnTo>
                      <a:pt x="25607" y="12879"/>
                    </a:lnTo>
                    <a:lnTo>
                      <a:pt x="24395" y="17576"/>
                    </a:lnTo>
                    <a:lnTo>
                      <a:pt x="23486" y="21364"/>
                    </a:lnTo>
                    <a:lnTo>
                      <a:pt x="22274" y="21971"/>
                    </a:lnTo>
                    <a:lnTo>
                      <a:pt x="17274" y="27425"/>
                    </a:lnTo>
                    <a:lnTo>
                      <a:pt x="13940" y="29395"/>
                    </a:lnTo>
                    <a:lnTo>
                      <a:pt x="11516" y="31213"/>
                    </a:lnTo>
                    <a:lnTo>
                      <a:pt x="9394" y="33486"/>
                    </a:lnTo>
                    <a:lnTo>
                      <a:pt x="6515" y="35759"/>
                    </a:lnTo>
                    <a:lnTo>
                      <a:pt x="3637" y="39547"/>
                    </a:lnTo>
                    <a:lnTo>
                      <a:pt x="1515" y="43487"/>
                    </a:lnTo>
                    <a:lnTo>
                      <a:pt x="0" y="44699"/>
                    </a:lnTo>
                    <a:lnTo>
                      <a:pt x="5910" y="50608"/>
                    </a:lnTo>
                    <a:lnTo>
                      <a:pt x="13788" y="54244"/>
                    </a:lnTo>
                    <a:lnTo>
                      <a:pt x="18031" y="56669"/>
                    </a:lnTo>
                    <a:lnTo>
                      <a:pt x="19698" y="60911"/>
                    </a:lnTo>
                    <a:lnTo>
                      <a:pt x="21819" y="62275"/>
                    </a:lnTo>
                    <a:lnTo>
                      <a:pt x="24850" y="63639"/>
                    </a:lnTo>
                    <a:lnTo>
                      <a:pt x="29850" y="64851"/>
                    </a:lnTo>
                    <a:lnTo>
                      <a:pt x="33638" y="67275"/>
                    </a:lnTo>
                    <a:lnTo>
                      <a:pt x="50760" y="82579"/>
                    </a:lnTo>
                    <a:lnTo>
                      <a:pt x="58336" y="90155"/>
                    </a:lnTo>
                    <a:lnTo>
                      <a:pt x="65003" y="95155"/>
                    </a:lnTo>
                    <a:lnTo>
                      <a:pt x="88943" y="107883"/>
                    </a:lnTo>
                    <a:lnTo>
                      <a:pt x="96064" y="110004"/>
                    </a:lnTo>
                    <a:lnTo>
                      <a:pt x="105307" y="113944"/>
                    </a:lnTo>
                    <a:lnTo>
                      <a:pt x="108489" y="114398"/>
                    </a:lnTo>
                    <a:lnTo>
                      <a:pt x="107732" y="113338"/>
                    </a:lnTo>
                    <a:lnTo>
                      <a:pt x="107580" y="108337"/>
                    </a:lnTo>
                    <a:lnTo>
                      <a:pt x="107125" y="101519"/>
                    </a:lnTo>
                    <a:lnTo>
                      <a:pt x="107277" y="98943"/>
                    </a:lnTo>
                    <a:lnTo>
                      <a:pt x="107732" y="96519"/>
                    </a:lnTo>
                    <a:lnTo>
                      <a:pt x="107732" y="94398"/>
                    </a:lnTo>
                    <a:lnTo>
                      <a:pt x="109398" y="93640"/>
                    </a:lnTo>
                    <a:lnTo>
                      <a:pt x="109853" y="92882"/>
                    </a:lnTo>
                    <a:lnTo>
                      <a:pt x="110004" y="90155"/>
                    </a:lnTo>
                    <a:lnTo>
                      <a:pt x="111520" y="87882"/>
                    </a:lnTo>
                    <a:lnTo>
                      <a:pt x="111520" y="83639"/>
                    </a:lnTo>
                    <a:lnTo>
                      <a:pt x="111974" y="82730"/>
                    </a:lnTo>
                    <a:lnTo>
                      <a:pt x="112429" y="816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5" name="Freeform: Shape 3234">
                <a:extLst>
                  <a:ext uri="{FF2B5EF4-FFF2-40B4-BE49-F238E27FC236}">
                    <a16:creationId xmlns:a16="http://schemas.microsoft.com/office/drawing/2014/main" id="{58C900B8-5FB9-4858-9156-155F962A9AE3}"/>
                  </a:ext>
                </a:extLst>
              </p:cNvPr>
              <p:cNvSpPr/>
              <p:nvPr/>
            </p:nvSpPr>
            <p:spPr>
              <a:xfrm>
                <a:off x="7957887" y="4294256"/>
                <a:ext cx="59395" cy="106215"/>
              </a:xfrm>
              <a:custGeom>
                <a:avLst/>
                <a:gdLst>
                  <a:gd name="connsiteX0" fmla="*/ 3333 w 59395"/>
                  <a:gd name="connsiteY0" fmla="*/ 21819 h 106215"/>
                  <a:gd name="connsiteX1" fmla="*/ 5606 w 59395"/>
                  <a:gd name="connsiteY1" fmla="*/ 23183 h 106215"/>
                  <a:gd name="connsiteX2" fmla="*/ 4849 w 59395"/>
                  <a:gd name="connsiteY2" fmla="*/ 21061 h 106215"/>
                  <a:gd name="connsiteX3" fmla="*/ 4394 w 59395"/>
                  <a:gd name="connsiteY3" fmla="*/ 20607 h 106215"/>
                  <a:gd name="connsiteX4" fmla="*/ 1364 w 59395"/>
                  <a:gd name="connsiteY4" fmla="*/ 19546 h 106215"/>
                  <a:gd name="connsiteX5" fmla="*/ 1818 w 59395"/>
                  <a:gd name="connsiteY5" fmla="*/ 20455 h 106215"/>
                  <a:gd name="connsiteX6" fmla="*/ 3333 w 59395"/>
                  <a:gd name="connsiteY6" fmla="*/ 21819 h 106215"/>
                  <a:gd name="connsiteX7" fmla="*/ 5606 w 59395"/>
                  <a:gd name="connsiteY7" fmla="*/ 5606 h 106215"/>
                  <a:gd name="connsiteX8" fmla="*/ 7273 w 59395"/>
                  <a:gd name="connsiteY8" fmla="*/ 5303 h 106215"/>
                  <a:gd name="connsiteX9" fmla="*/ 5758 w 59395"/>
                  <a:gd name="connsiteY9" fmla="*/ 3939 h 106215"/>
                  <a:gd name="connsiteX10" fmla="*/ 5152 w 59395"/>
                  <a:gd name="connsiteY10" fmla="*/ 2273 h 106215"/>
                  <a:gd name="connsiteX11" fmla="*/ 4697 w 59395"/>
                  <a:gd name="connsiteY11" fmla="*/ 2121 h 106215"/>
                  <a:gd name="connsiteX12" fmla="*/ 4394 w 59395"/>
                  <a:gd name="connsiteY12" fmla="*/ 2424 h 106215"/>
                  <a:gd name="connsiteX13" fmla="*/ 4091 w 59395"/>
                  <a:gd name="connsiteY13" fmla="*/ 3030 h 106215"/>
                  <a:gd name="connsiteX14" fmla="*/ 4394 w 59395"/>
                  <a:gd name="connsiteY14" fmla="*/ 3788 h 106215"/>
                  <a:gd name="connsiteX15" fmla="*/ 5606 w 59395"/>
                  <a:gd name="connsiteY15" fmla="*/ 5606 h 106215"/>
                  <a:gd name="connsiteX16" fmla="*/ 59396 w 59395"/>
                  <a:gd name="connsiteY16" fmla="*/ 69397 h 106215"/>
                  <a:gd name="connsiteX17" fmla="*/ 58184 w 59395"/>
                  <a:gd name="connsiteY17" fmla="*/ 65608 h 106215"/>
                  <a:gd name="connsiteX18" fmla="*/ 57275 w 59395"/>
                  <a:gd name="connsiteY18" fmla="*/ 64548 h 106215"/>
                  <a:gd name="connsiteX19" fmla="*/ 55305 w 59395"/>
                  <a:gd name="connsiteY19" fmla="*/ 60154 h 106215"/>
                  <a:gd name="connsiteX20" fmla="*/ 54093 w 59395"/>
                  <a:gd name="connsiteY20" fmla="*/ 58487 h 106215"/>
                  <a:gd name="connsiteX21" fmla="*/ 53941 w 59395"/>
                  <a:gd name="connsiteY21" fmla="*/ 57729 h 106215"/>
                  <a:gd name="connsiteX22" fmla="*/ 53941 w 59395"/>
                  <a:gd name="connsiteY22" fmla="*/ 56820 h 106215"/>
                  <a:gd name="connsiteX23" fmla="*/ 53638 w 59395"/>
                  <a:gd name="connsiteY23" fmla="*/ 55760 h 106215"/>
                  <a:gd name="connsiteX24" fmla="*/ 47426 w 59395"/>
                  <a:gd name="connsiteY24" fmla="*/ 46517 h 106215"/>
                  <a:gd name="connsiteX25" fmla="*/ 47123 w 59395"/>
                  <a:gd name="connsiteY25" fmla="*/ 45759 h 106215"/>
                  <a:gd name="connsiteX26" fmla="*/ 47123 w 59395"/>
                  <a:gd name="connsiteY26" fmla="*/ 43941 h 106215"/>
                  <a:gd name="connsiteX27" fmla="*/ 45759 w 59395"/>
                  <a:gd name="connsiteY27" fmla="*/ 38032 h 106215"/>
                  <a:gd name="connsiteX28" fmla="*/ 44698 w 59395"/>
                  <a:gd name="connsiteY28" fmla="*/ 36971 h 106215"/>
                  <a:gd name="connsiteX29" fmla="*/ 43032 w 59395"/>
                  <a:gd name="connsiteY29" fmla="*/ 36668 h 106215"/>
                  <a:gd name="connsiteX30" fmla="*/ 41668 w 59395"/>
                  <a:gd name="connsiteY30" fmla="*/ 36062 h 106215"/>
                  <a:gd name="connsiteX31" fmla="*/ 41365 w 59395"/>
                  <a:gd name="connsiteY31" fmla="*/ 34850 h 106215"/>
                  <a:gd name="connsiteX32" fmla="*/ 41517 w 59395"/>
                  <a:gd name="connsiteY32" fmla="*/ 33183 h 106215"/>
                  <a:gd name="connsiteX33" fmla="*/ 40910 w 59395"/>
                  <a:gd name="connsiteY33" fmla="*/ 31668 h 106215"/>
                  <a:gd name="connsiteX34" fmla="*/ 35910 w 59395"/>
                  <a:gd name="connsiteY34" fmla="*/ 24243 h 106215"/>
                  <a:gd name="connsiteX35" fmla="*/ 34850 w 59395"/>
                  <a:gd name="connsiteY35" fmla="*/ 23637 h 106215"/>
                  <a:gd name="connsiteX36" fmla="*/ 33638 w 59395"/>
                  <a:gd name="connsiteY36" fmla="*/ 23183 h 106215"/>
                  <a:gd name="connsiteX37" fmla="*/ 32880 w 59395"/>
                  <a:gd name="connsiteY37" fmla="*/ 21667 h 106215"/>
                  <a:gd name="connsiteX38" fmla="*/ 32425 w 59395"/>
                  <a:gd name="connsiteY38" fmla="*/ 20001 h 106215"/>
                  <a:gd name="connsiteX39" fmla="*/ 27425 w 59395"/>
                  <a:gd name="connsiteY39" fmla="*/ 12273 h 106215"/>
                  <a:gd name="connsiteX40" fmla="*/ 18182 w 59395"/>
                  <a:gd name="connsiteY40" fmla="*/ 4697 h 106215"/>
                  <a:gd name="connsiteX41" fmla="*/ 14849 w 59395"/>
                  <a:gd name="connsiteY41" fmla="*/ 455 h 106215"/>
                  <a:gd name="connsiteX42" fmla="*/ 12879 w 59395"/>
                  <a:gd name="connsiteY42" fmla="*/ 151 h 106215"/>
                  <a:gd name="connsiteX43" fmla="*/ 10000 w 59395"/>
                  <a:gd name="connsiteY43" fmla="*/ 151 h 106215"/>
                  <a:gd name="connsiteX44" fmla="*/ 7424 w 59395"/>
                  <a:gd name="connsiteY44" fmla="*/ 0 h 106215"/>
                  <a:gd name="connsiteX45" fmla="*/ 6970 w 59395"/>
                  <a:gd name="connsiteY45" fmla="*/ 606 h 106215"/>
                  <a:gd name="connsiteX46" fmla="*/ 6667 w 59395"/>
                  <a:gd name="connsiteY46" fmla="*/ 1970 h 106215"/>
                  <a:gd name="connsiteX47" fmla="*/ 7424 w 59395"/>
                  <a:gd name="connsiteY47" fmla="*/ 3182 h 106215"/>
                  <a:gd name="connsiteX48" fmla="*/ 9243 w 59395"/>
                  <a:gd name="connsiteY48" fmla="*/ 4546 h 106215"/>
                  <a:gd name="connsiteX49" fmla="*/ 15000 w 59395"/>
                  <a:gd name="connsiteY49" fmla="*/ 5606 h 106215"/>
                  <a:gd name="connsiteX50" fmla="*/ 18486 w 59395"/>
                  <a:gd name="connsiteY50" fmla="*/ 7273 h 106215"/>
                  <a:gd name="connsiteX51" fmla="*/ 19698 w 59395"/>
                  <a:gd name="connsiteY51" fmla="*/ 9091 h 106215"/>
                  <a:gd name="connsiteX52" fmla="*/ 18031 w 59395"/>
                  <a:gd name="connsiteY52" fmla="*/ 9091 h 106215"/>
                  <a:gd name="connsiteX53" fmla="*/ 16667 w 59395"/>
                  <a:gd name="connsiteY53" fmla="*/ 9546 h 106215"/>
                  <a:gd name="connsiteX54" fmla="*/ 15000 w 59395"/>
                  <a:gd name="connsiteY54" fmla="*/ 8788 h 106215"/>
                  <a:gd name="connsiteX55" fmla="*/ 13334 w 59395"/>
                  <a:gd name="connsiteY55" fmla="*/ 7576 h 106215"/>
                  <a:gd name="connsiteX56" fmla="*/ 10303 w 59395"/>
                  <a:gd name="connsiteY56" fmla="*/ 6515 h 106215"/>
                  <a:gd name="connsiteX57" fmla="*/ 10910 w 59395"/>
                  <a:gd name="connsiteY57" fmla="*/ 10000 h 106215"/>
                  <a:gd name="connsiteX58" fmla="*/ 11061 w 59395"/>
                  <a:gd name="connsiteY58" fmla="*/ 13485 h 106215"/>
                  <a:gd name="connsiteX59" fmla="*/ 10606 w 59395"/>
                  <a:gd name="connsiteY59" fmla="*/ 16667 h 106215"/>
                  <a:gd name="connsiteX60" fmla="*/ 9697 w 59395"/>
                  <a:gd name="connsiteY60" fmla="*/ 19849 h 106215"/>
                  <a:gd name="connsiteX61" fmla="*/ 5909 w 59395"/>
                  <a:gd name="connsiteY61" fmla="*/ 25304 h 106215"/>
                  <a:gd name="connsiteX62" fmla="*/ 5909 w 59395"/>
                  <a:gd name="connsiteY62" fmla="*/ 26819 h 106215"/>
                  <a:gd name="connsiteX63" fmla="*/ 6364 w 59395"/>
                  <a:gd name="connsiteY63" fmla="*/ 29698 h 106215"/>
                  <a:gd name="connsiteX64" fmla="*/ 6364 w 59395"/>
                  <a:gd name="connsiteY64" fmla="*/ 31062 h 106215"/>
                  <a:gd name="connsiteX65" fmla="*/ 3940 w 59395"/>
                  <a:gd name="connsiteY65" fmla="*/ 38789 h 106215"/>
                  <a:gd name="connsiteX66" fmla="*/ 3485 w 59395"/>
                  <a:gd name="connsiteY66" fmla="*/ 41668 h 106215"/>
                  <a:gd name="connsiteX67" fmla="*/ 2879 w 59395"/>
                  <a:gd name="connsiteY67" fmla="*/ 48638 h 106215"/>
                  <a:gd name="connsiteX68" fmla="*/ 2121 w 59395"/>
                  <a:gd name="connsiteY68" fmla="*/ 49547 h 106215"/>
                  <a:gd name="connsiteX69" fmla="*/ 1212 w 59395"/>
                  <a:gd name="connsiteY69" fmla="*/ 48790 h 106215"/>
                  <a:gd name="connsiteX70" fmla="*/ 1212 w 59395"/>
                  <a:gd name="connsiteY70" fmla="*/ 42123 h 106215"/>
                  <a:gd name="connsiteX71" fmla="*/ 152 w 59395"/>
                  <a:gd name="connsiteY71" fmla="*/ 45153 h 106215"/>
                  <a:gd name="connsiteX72" fmla="*/ 0 w 59395"/>
                  <a:gd name="connsiteY72" fmla="*/ 48335 h 106215"/>
                  <a:gd name="connsiteX73" fmla="*/ 1364 w 59395"/>
                  <a:gd name="connsiteY73" fmla="*/ 55760 h 106215"/>
                  <a:gd name="connsiteX74" fmla="*/ 2273 w 59395"/>
                  <a:gd name="connsiteY74" fmla="*/ 61517 h 106215"/>
                  <a:gd name="connsiteX75" fmla="*/ 4091 w 59395"/>
                  <a:gd name="connsiteY75" fmla="*/ 82124 h 106215"/>
                  <a:gd name="connsiteX76" fmla="*/ 6515 w 59395"/>
                  <a:gd name="connsiteY76" fmla="*/ 88791 h 106215"/>
                  <a:gd name="connsiteX77" fmla="*/ 8182 w 59395"/>
                  <a:gd name="connsiteY77" fmla="*/ 94852 h 106215"/>
                  <a:gd name="connsiteX78" fmla="*/ 10606 w 59395"/>
                  <a:gd name="connsiteY78" fmla="*/ 100610 h 106215"/>
                  <a:gd name="connsiteX79" fmla="*/ 15304 w 59395"/>
                  <a:gd name="connsiteY79" fmla="*/ 104549 h 106215"/>
                  <a:gd name="connsiteX80" fmla="*/ 21516 w 59395"/>
                  <a:gd name="connsiteY80" fmla="*/ 106216 h 106215"/>
                  <a:gd name="connsiteX81" fmla="*/ 27728 w 59395"/>
                  <a:gd name="connsiteY81" fmla="*/ 105458 h 106215"/>
                  <a:gd name="connsiteX82" fmla="*/ 34547 w 59395"/>
                  <a:gd name="connsiteY82" fmla="*/ 102428 h 106215"/>
                  <a:gd name="connsiteX83" fmla="*/ 43789 w 59395"/>
                  <a:gd name="connsiteY83" fmla="*/ 99246 h 106215"/>
                  <a:gd name="connsiteX84" fmla="*/ 45759 w 59395"/>
                  <a:gd name="connsiteY84" fmla="*/ 98185 h 106215"/>
                  <a:gd name="connsiteX85" fmla="*/ 52729 w 59395"/>
                  <a:gd name="connsiteY85" fmla="*/ 93185 h 106215"/>
                  <a:gd name="connsiteX86" fmla="*/ 54850 w 59395"/>
                  <a:gd name="connsiteY86" fmla="*/ 90761 h 106215"/>
                  <a:gd name="connsiteX87" fmla="*/ 56366 w 59395"/>
                  <a:gd name="connsiteY87" fmla="*/ 88033 h 106215"/>
                  <a:gd name="connsiteX88" fmla="*/ 57729 w 59395"/>
                  <a:gd name="connsiteY88" fmla="*/ 84094 h 106215"/>
                  <a:gd name="connsiteX89" fmla="*/ 58941 w 59395"/>
                  <a:gd name="connsiteY89" fmla="*/ 80154 h 106215"/>
                  <a:gd name="connsiteX90" fmla="*/ 59396 w 59395"/>
                  <a:gd name="connsiteY90" fmla="*/ 76973 h 106215"/>
                  <a:gd name="connsiteX91" fmla="*/ 59396 w 59395"/>
                  <a:gd name="connsiteY91" fmla="*/ 69397 h 10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9395" h="106215">
                    <a:moveTo>
                      <a:pt x="3333" y="21819"/>
                    </a:moveTo>
                    <a:lnTo>
                      <a:pt x="5606" y="23183"/>
                    </a:lnTo>
                    <a:lnTo>
                      <a:pt x="4849" y="21061"/>
                    </a:lnTo>
                    <a:lnTo>
                      <a:pt x="4394" y="20607"/>
                    </a:lnTo>
                    <a:lnTo>
                      <a:pt x="1364" y="19546"/>
                    </a:lnTo>
                    <a:lnTo>
                      <a:pt x="1818" y="20455"/>
                    </a:lnTo>
                    <a:lnTo>
                      <a:pt x="3333" y="21819"/>
                    </a:lnTo>
                    <a:close/>
                    <a:moveTo>
                      <a:pt x="5606" y="5606"/>
                    </a:moveTo>
                    <a:lnTo>
                      <a:pt x="7273" y="5303"/>
                    </a:lnTo>
                    <a:lnTo>
                      <a:pt x="5758" y="3939"/>
                    </a:lnTo>
                    <a:lnTo>
                      <a:pt x="5152" y="2273"/>
                    </a:lnTo>
                    <a:lnTo>
                      <a:pt x="4697" y="2121"/>
                    </a:lnTo>
                    <a:lnTo>
                      <a:pt x="4394" y="2424"/>
                    </a:lnTo>
                    <a:lnTo>
                      <a:pt x="4091" y="3030"/>
                    </a:lnTo>
                    <a:lnTo>
                      <a:pt x="4394" y="3788"/>
                    </a:lnTo>
                    <a:lnTo>
                      <a:pt x="5606" y="5606"/>
                    </a:lnTo>
                    <a:close/>
                    <a:moveTo>
                      <a:pt x="59396" y="69397"/>
                    </a:moveTo>
                    <a:lnTo>
                      <a:pt x="58184" y="65608"/>
                    </a:lnTo>
                    <a:lnTo>
                      <a:pt x="57275" y="64548"/>
                    </a:lnTo>
                    <a:lnTo>
                      <a:pt x="55305" y="60154"/>
                    </a:lnTo>
                    <a:lnTo>
                      <a:pt x="54093" y="58487"/>
                    </a:lnTo>
                    <a:lnTo>
                      <a:pt x="53941" y="57729"/>
                    </a:lnTo>
                    <a:lnTo>
                      <a:pt x="53941" y="56820"/>
                    </a:lnTo>
                    <a:lnTo>
                      <a:pt x="53638" y="55760"/>
                    </a:lnTo>
                    <a:lnTo>
                      <a:pt x="47426" y="46517"/>
                    </a:lnTo>
                    <a:lnTo>
                      <a:pt x="47123" y="45759"/>
                    </a:lnTo>
                    <a:lnTo>
                      <a:pt x="47123" y="43941"/>
                    </a:lnTo>
                    <a:lnTo>
                      <a:pt x="45759" y="38032"/>
                    </a:lnTo>
                    <a:lnTo>
                      <a:pt x="44698" y="36971"/>
                    </a:lnTo>
                    <a:lnTo>
                      <a:pt x="43032" y="36668"/>
                    </a:lnTo>
                    <a:lnTo>
                      <a:pt x="41668" y="36062"/>
                    </a:lnTo>
                    <a:lnTo>
                      <a:pt x="41365" y="34850"/>
                    </a:lnTo>
                    <a:lnTo>
                      <a:pt x="41517" y="33183"/>
                    </a:lnTo>
                    <a:lnTo>
                      <a:pt x="40910" y="31668"/>
                    </a:lnTo>
                    <a:lnTo>
                      <a:pt x="35910" y="24243"/>
                    </a:lnTo>
                    <a:lnTo>
                      <a:pt x="34850" y="23637"/>
                    </a:lnTo>
                    <a:lnTo>
                      <a:pt x="33638" y="23183"/>
                    </a:lnTo>
                    <a:lnTo>
                      <a:pt x="32880" y="21667"/>
                    </a:lnTo>
                    <a:lnTo>
                      <a:pt x="32425" y="20001"/>
                    </a:lnTo>
                    <a:lnTo>
                      <a:pt x="27425" y="12273"/>
                    </a:lnTo>
                    <a:lnTo>
                      <a:pt x="18182" y="4697"/>
                    </a:lnTo>
                    <a:lnTo>
                      <a:pt x="14849" y="455"/>
                    </a:lnTo>
                    <a:lnTo>
                      <a:pt x="12879" y="151"/>
                    </a:lnTo>
                    <a:lnTo>
                      <a:pt x="10000" y="151"/>
                    </a:lnTo>
                    <a:lnTo>
                      <a:pt x="7424" y="0"/>
                    </a:lnTo>
                    <a:lnTo>
                      <a:pt x="6970" y="606"/>
                    </a:lnTo>
                    <a:lnTo>
                      <a:pt x="6667" y="1970"/>
                    </a:lnTo>
                    <a:lnTo>
                      <a:pt x="7424" y="3182"/>
                    </a:lnTo>
                    <a:lnTo>
                      <a:pt x="9243" y="4546"/>
                    </a:lnTo>
                    <a:lnTo>
                      <a:pt x="15000" y="5606"/>
                    </a:lnTo>
                    <a:lnTo>
                      <a:pt x="18486" y="7273"/>
                    </a:lnTo>
                    <a:lnTo>
                      <a:pt x="19698" y="9091"/>
                    </a:lnTo>
                    <a:lnTo>
                      <a:pt x="18031" y="9091"/>
                    </a:lnTo>
                    <a:lnTo>
                      <a:pt x="16667" y="9546"/>
                    </a:lnTo>
                    <a:lnTo>
                      <a:pt x="15000" y="8788"/>
                    </a:lnTo>
                    <a:lnTo>
                      <a:pt x="13334" y="7576"/>
                    </a:lnTo>
                    <a:lnTo>
                      <a:pt x="10303" y="6515"/>
                    </a:lnTo>
                    <a:lnTo>
                      <a:pt x="10910" y="10000"/>
                    </a:lnTo>
                    <a:lnTo>
                      <a:pt x="11061" y="13485"/>
                    </a:lnTo>
                    <a:lnTo>
                      <a:pt x="10606" y="16667"/>
                    </a:lnTo>
                    <a:lnTo>
                      <a:pt x="9697" y="19849"/>
                    </a:lnTo>
                    <a:lnTo>
                      <a:pt x="5909" y="25304"/>
                    </a:lnTo>
                    <a:lnTo>
                      <a:pt x="5909" y="26819"/>
                    </a:lnTo>
                    <a:lnTo>
                      <a:pt x="6364" y="29698"/>
                    </a:lnTo>
                    <a:lnTo>
                      <a:pt x="6364" y="31062"/>
                    </a:lnTo>
                    <a:lnTo>
                      <a:pt x="3940" y="38789"/>
                    </a:lnTo>
                    <a:lnTo>
                      <a:pt x="3485" y="41668"/>
                    </a:lnTo>
                    <a:lnTo>
                      <a:pt x="2879" y="48638"/>
                    </a:lnTo>
                    <a:lnTo>
                      <a:pt x="2121" y="49547"/>
                    </a:lnTo>
                    <a:lnTo>
                      <a:pt x="1212" y="48790"/>
                    </a:lnTo>
                    <a:lnTo>
                      <a:pt x="1212" y="42123"/>
                    </a:lnTo>
                    <a:lnTo>
                      <a:pt x="152" y="45153"/>
                    </a:lnTo>
                    <a:lnTo>
                      <a:pt x="0" y="48335"/>
                    </a:lnTo>
                    <a:lnTo>
                      <a:pt x="1364" y="55760"/>
                    </a:lnTo>
                    <a:lnTo>
                      <a:pt x="2273" y="61517"/>
                    </a:lnTo>
                    <a:lnTo>
                      <a:pt x="4091" y="82124"/>
                    </a:lnTo>
                    <a:lnTo>
                      <a:pt x="6515" y="88791"/>
                    </a:lnTo>
                    <a:lnTo>
                      <a:pt x="8182" y="94852"/>
                    </a:lnTo>
                    <a:lnTo>
                      <a:pt x="10606" y="100610"/>
                    </a:lnTo>
                    <a:lnTo>
                      <a:pt x="15304" y="104549"/>
                    </a:lnTo>
                    <a:lnTo>
                      <a:pt x="21516" y="106216"/>
                    </a:lnTo>
                    <a:lnTo>
                      <a:pt x="27728" y="105458"/>
                    </a:lnTo>
                    <a:lnTo>
                      <a:pt x="34547" y="102428"/>
                    </a:lnTo>
                    <a:lnTo>
                      <a:pt x="43789" y="99246"/>
                    </a:lnTo>
                    <a:lnTo>
                      <a:pt x="45759" y="98185"/>
                    </a:lnTo>
                    <a:lnTo>
                      <a:pt x="52729" y="93185"/>
                    </a:lnTo>
                    <a:lnTo>
                      <a:pt x="54850" y="90761"/>
                    </a:lnTo>
                    <a:lnTo>
                      <a:pt x="56366" y="88033"/>
                    </a:lnTo>
                    <a:lnTo>
                      <a:pt x="57729" y="84094"/>
                    </a:lnTo>
                    <a:lnTo>
                      <a:pt x="58941" y="80154"/>
                    </a:lnTo>
                    <a:lnTo>
                      <a:pt x="59396" y="76973"/>
                    </a:lnTo>
                    <a:lnTo>
                      <a:pt x="59396" y="693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6" name="Freeform: Shape 3235">
                <a:extLst>
                  <a:ext uri="{FF2B5EF4-FFF2-40B4-BE49-F238E27FC236}">
                    <a16:creationId xmlns:a16="http://schemas.microsoft.com/office/drawing/2014/main" id="{051695FF-A551-474A-AA75-2C615C59E5B9}"/>
                  </a:ext>
                </a:extLst>
              </p:cNvPr>
              <p:cNvSpPr/>
              <p:nvPr/>
            </p:nvSpPr>
            <p:spPr>
              <a:xfrm>
                <a:off x="6036603" y="3169670"/>
                <a:ext cx="3485" cy="7424"/>
              </a:xfrm>
              <a:custGeom>
                <a:avLst/>
                <a:gdLst>
                  <a:gd name="connsiteX0" fmla="*/ 3333 w 3485"/>
                  <a:gd name="connsiteY0" fmla="*/ 4849 h 7424"/>
                  <a:gd name="connsiteX1" fmla="*/ 2424 w 3485"/>
                  <a:gd name="connsiteY1" fmla="*/ 3940 h 7424"/>
                  <a:gd name="connsiteX2" fmla="*/ 1970 w 3485"/>
                  <a:gd name="connsiteY2" fmla="*/ 3030 h 7424"/>
                  <a:gd name="connsiteX3" fmla="*/ 1970 w 3485"/>
                  <a:gd name="connsiteY3" fmla="*/ 2121 h 7424"/>
                  <a:gd name="connsiteX4" fmla="*/ 1667 w 3485"/>
                  <a:gd name="connsiteY4" fmla="*/ 1364 h 7424"/>
                  <a:gd name="connsiteX5" fmla="*/ 1515 w 3485"/>
                  <a:gd name="connsiteY5" fmla="*/ 606 h 7424"/>
                  <a:gd name="connsiteX6" fmla="*/ 1212 w 3485"/>
                  <a:gd name="connsiteY6" fmla="*/ 0 h 7424"/>
                  <a:gd name="connsiteX7" fmla="*/ 152 w 3485"/>
                  <a:gd name="connsiteY7" fmla="*/ 3485 h 7424"/>
                  <a:gd name="connsiteX8" fmla="*/ 0 w 3485"/>
                  <a:gd name="connsiteY8" fmla="*/ 6061 h 7424"/>
                  <a:gd name="connsiteX9" fmla="*/ 152 w 3485"/>
                  <a:gd name="connsiteY9" fmla="*/ 7273 h 7424"/>
                  <a:gd name="connsiteX10" fmla="*/ 606 w 3485"/>
                  <a:gd name="connsiteY10" fmla="*/ 7273 h 7424"/>
                  <a:gd name="connsiteX11" fmla="*/ 2728 w 3485"/>
                  <a:gd name="connsiteY11" fmla="*/ 7424 h 7424"/>
                  <a:gd name="connsiteX12" fmla="*/ 3182 w 3485"/>
                  <a:gd name="connsiteY12" fmla="*/ 6818 h 7424"/>
                  <a:gd name="connsiteX13" fmla="*/ 3485 w 3485"/>
                  <a:gd name="connsiteY13" fmla="*/ 5758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5" h="7424">
                    <a:moveTo>
                      <a:pt x="3333" y="4849"/>
                    </a:moveTo>
                    <a:lnTo>
                      <a:pt x="2424" y="3940"/>
                    </a:lnTo>
                    <a:lnTo>
                      <a:pt x="1970" y="3030"/>
                    </a:lnTo>
                    <a:lnTo>
                      <a:pt x="1970" y="2121"/>
                    </a:lnTo>
                    <a:lnTo>
                      <a:pt x="1667" y="1364"/>
                    </a:lnTo>
                    <a:lnTo>
                      <a:pt x="1515" y="606"/>
                    </a:lnTo>
                    <a:lnTo>
                      <a:pt x="1212" y="0"/>
                    </a:lnTo>
                    <a:lnTo>
                      <a:pt x="152" y="3485"/>
                    </a:lnTo>
                    <a:lnTo>
                      <a:pt x="0" y="6061"/>
                    </a:lnTo>
                    <a:lnTo>
                      <a:pt x="152" y="7273"/>
                    </a:lnTo>
                    <a:lnTo>
                      <a:pt x="606" y="7273"/>
                    </a:lnTo>
                    <a:lnTo>
                      <a:pt x="2728" y="7424"/>
                    </a:lnTo>
                    <a:lnTo>
                      <a:pt x="3182" y="6818"/>
                    </a:lnTo>
                    <a:lnTo>
                      <a:pt x="3485"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7" name="Freeform: Shape 3236">
                <a:extLst>
                  <a:ext uri="{FF2B5EF4-FFF2-40B4-BE49-F238E27FC236}">
                    <a16:creationId xmlns:a16="http://schemas.microsoft.com/office/drawing/2014/main" id="{4CAF9FAE-340E-40D7-A5AB-289E5B44749A}"/>
                  </a:ext>
                </a:extLst>
              </p:cNvPr>
              <p:cNvSpPr/>
              <p:nvPr/>
            </p:nvSpPr>
            <p:spPr>
              <a:xfrm>
                <a:off x="4106229" y="4176524"/>
                <a:ext cx="5000" cy="10303"/>
              </a:xfrm>
              <a:custGeom>
                <a:avLst/>
                <a:gdLst>
                  <a:gd name="connsiteX0" fmla="*/ 4394 w 5000"/>
                  <a:gd name="connsiteY0" fmla="*/ 0 h 10303"/>
                  <a:gd name="connsiteX1" fmla="*/ 3485 w 5000"/>
                  <a:gd name="connsiteY1" fmla="*/ 455 h 10303"/>
                  <a:gd name="connsiteX2" fmla="*/ 1970 w 5000"/>
                  <a:gd name="connsiteY2" fmla="*/ 2273 h 10303"/>
                  <a:gd name="connsiteX3" fmla="*/ 152 w 5000"/>
                  <a:gd name="connsiteY3" fmla="*/ 4849 h 10303"/>
                  <a:gd name="connsiteX4" fmla="*/ 0 w 5000"/>
                  <a:gd name="connsiteY4" fmla="*/ 6212 h 10303"/>
                  <a:gd name="connsiteX5" fmla="*/ 303 w 5000"/>
                  <a:gd name="connsiteY5" fmla="*/ 8485 h 10303"/>
                  <a:gd name="connsiteX6" fmla="*/ 3333 w 5000"/>
                  <a:gd name="connsiteY6" fmla="*/ 10304 h 10303"/>
                  <a:gd name="connsiteX7" fmla="*/ 4849 w 5000"/>
                  <a:gd name="connsiteY7" fmla="*/ 7425 h 10303"/>
                  <a:gd name="connsiteX8" fmla="*/ 5000 w 5000"/>
                  <a:gd name="connsiteY8" fmla="*/ 2273 h 1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00" h="10303">
                    <a:moveTo>
                      <a:pt x="4394" y="0"/>
                    </a:moveTo>
                    <a:lnTo>
                      <a:pt x="3485" y="455"/>
                    </a:lnTo>
                    <a:lnTo>
                      <a:pt x="1970" y="2273"/>
                    </a:lnTo>
                    <a:lnTo>
                      <a:pt x="152" y="4849"/>
                    </a:lnTo>
                    <a:lnTo>
                      <a:pt x="0" y="6212"/>
                    </a:lnTo>
                    <a:lnTo>
                      <a:pt x="303" y="8485"/>
                    </a:lnTo>
                    <a:lnTo>
                      <a:pt x="3333" y="10304"/>
                    </a:lnTo>
                    <a:lnTo>
                      <a:pt x="4849" y="7425"/>
                    </a:lnTo>
                    <a:lnTo>
                      <a:pt x="5000"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8" name="Freeform: Shape 3237">
                <a:extLst>
                  <a:ext uri="{FF2B5EF4-FFF2-40B4-BE49-F238E27FC236}">
                    <a16:creationId xmlns:a16="http://schemas.microsoft.com/office/drawing/2014/main" id="{504A6DB1-2029-4FF0-9CDE-07ED9C381955}"/>
                  </a:ext>
                </a:extLst>
              </p:cNvPr>
              <p:cNvSpPr/>
              <p:nvPr/>
            </p:nvSpPr>
            <p:spPr>
              <a:xfrm>
                <a:off x="6737841" y="3579381"/>
                <a:ext cx="40304" cy="49092"/>
              </a:xfrm>
              <a:custGeom>
                <a:avLst/>
                <a:gdLst>
                  <a:gd name="connsiteX0" fmla="*/ 38184 w 40304"/>
                  <a:gd name="connsiteY0" fmla="*/ 7576 h 49092"/>
                  <a:gd name="connsiteX1" fmla="*/ 36820 w 40304"/>
                  <a:gd name="connsiteY1" fmla="*/ 6516 h 49092"/>
                  <a:gd name="connsiteX2" fmla="*/ 34698 w 40304"/>
                  <a:gd name="connsiteY2" fmla="*/ 5606 h 49092"/>
                  <a:gd name="connsiteX3" fmla="*/ 33335 w 40304"/>
                  <a:gd name="connsiteY3" fmla="*/ 5455 h 49092"/>
                  <a:gd name="connsiteX4" fmla="*/ 33335 w 40304"/>
                  <a:gd name="connsiteY4" fmla="*/ 5152 h 49092"/>
                  <a:gd name="connsiteX5" fmla="*/ 35002 w 40304"/>
                  <a:gd name="connsiteY5" fmla="*/ 3485 h 49092"/>
                  <a:gd name="connsiteX6" fmla="*/ 36214 w 40304"/>
                  <a:gd name="connsiteY6" fmla="*/ 1970 h 49092"/>
                  <a:gd name="connsiteX7" fmla="*/ 34850 w 40304"/>
                  <a:gd name="connsiteY7" fmla="*/ 606 h 49092"/>
                  <a:gd name="connsiteX8" fmla="*/ 32426 w 40304"/>
                  <a:gd name="connsiteY8" fmla="*/ 0 h 49092"/>
                  <a:gd name="connsiteX9" fmla="*/ 31517 w 40304"/>
                  <a:gd name="connsiteY9" fmla="*/ 1364 h 49092"/>
                  <a:gd name="connsiteX10" fmla="*/ 28486 w 40304"/>
                  <a:gd name="connsiteY10" fmla="*/ 1515 h 49092"/>
                  <a:gd name="connsiteX11" fmla="*/ 23638 w 40304"/>
                  <a:gd name="connsiteY11" fmla="*/ 1515 h 49092"/>
                  <a:gd name="connsiteX12" fmla="*/ 23789 w 40304"/>
                  <a:gd name="connsiteY12" fmla="*/ 4091 h 49092"/>
                  <a:gd name="connsiteX13" fmla="*/ 22122 w 40304"/>
                  <a:gd name="connsiteY13" fmla="*/ 5758 h 49092"/>
                  <a:gd name="connsiteX14" fmla="*/ 18940 w 40304"/>
                  <a:gd name="connsiteY14" fmla="*/ 7425 h 49092"/>
                  <a:gd name="connsiteX15" fmla="*/ 14698 w 40304"/>
                  <a:gd name="connsiteY15" fmla="*/ 13182 h 49092"/>
                  <a:gd name="connsiteX16" fmla="*/ 13788 w 40304"/>
                  <a:gd name="connsiteY16" fmla="*/ 19849 h 49092"/>
                  <a:gd name="connsiteX17" fmla="*/ 10910 w 40304"/>
                  <a:gd name="connsiteY17" fmla="*/ 24547 h 49092"/>
                  <a:gd name="connsiteX18" fmla="*/ 6212 w 40304"/>
                  <a:gd name="connsiteY18" fmla="*/ 36062 h 49092"/>
                  <a:gd name="connsiteX19" fmla="*/ 3788 w 40304"/>
                  <a:gd name="connsiteY19" fmla="*/ 39395 h 49092"/>
                  <a:gd name="connsiteX20" fmla="*/ 2576 w 40304"/>
                  <a:gd name="connsiteY20" fmla="*/ 43487 h 49092"/>
                  <a:gd name="connsiteX21" fmla="*/ 1212 w 40304"/>
                  <a:gd name="connsiteY21" fmla="*/ 46517 h 49092"/>
                  <a:gd name="connsiteX22" fmla="*/ 0 w 40304"/>
                  <a:gd name="connsiteY22" fmla="*/ 48790 h 49092"/>
                  <a:gd name="connsiteX23" fmla="*/ 3031 w 40304"/>
                  <a:gd name="connsiteY23" fmla="*/ 48638 h 49092"/>
                  <a:gd name="connsiteX24" fmla="*/ 5455 w 40304"/>
                  <a:gd name="connsiteY24" fmla="*/ 48941 h 49092"/>
                  <a:gd name="connsiteX25" fmla="*/ 8182 w 40304"/>
                  <a:gd name="connsiteY25" fmla="*/ 49093 h 49092"/>
                  <a:gd name="connsiteX26" fmla="*/ 10455 w 40304"/>
                  <a:gd name="connsiteY26" fmla="*/ 47729 h 49092"/>
                  <a:gd name="connsiteX27" fmla="*/ 11516 w 40304"/>
                  <a:gd name="connsiteY27" fmla="*/ 43789 h 49092"/>
                  <a:gd name="connsiteX28" fmla="*/ 12879 w 40304"/>
                  <a:gd name="connsiteY28" fmla="*/ 43183 h 49092"/>
                  <a:gd name="connsiteX29" fmla="*/ 13486 w 40304"/>
                  <a:gd name="connsiteY29" fmla="*/ 44093 h 49092"/>
                  <a:gd name="connsiteX30" fmla="*/ 14092 w 40304"/>
                  <a:gd name="connsiteY30" fmla="*/ 43032 h 49092"/>
                  <a:gd name="connsiteX31" fmla="*/ 17122 w 40304"/>
                  <a:gd name="connsiteY31" fmla="*/ 41214 h 49092"/>
                  <a:gd name="connsiteX32" fmla="*/ 18486 w 40304"/>
                  <a:gd name="connsiteY32" fmla="*/ 40153 h 49092"/>
                  <a:gd name="connsiteX33" fmla="*/ 20001 w 40304"/>
                  <a:gd name="connsiteY33" fmla="*/ 38789 h 49092"/>
                  <a:gd name="connsiteX34" fmla="*/ 20759 w 40304"/>
                  <a:gd name="connsiteY34" fmla="*/ 38183 h 49092"/>
                  <a:gd name="connsiteX35" fmla="*/ 21971 w 40304"/>
                  <a:gd name="connsiteY35" fmla="*/ 37274 h 49092"/>
                  <a:gd name="connsiteX36" fmla="*/ 22274 w 40304"/>
                  <a:gd name="connsiteY36" fmla="*/ 36213 h 49092"/>
                  <a:gd name="connsiteX37" fmla="*/ 23486 w 40304"/>
                  <a:gd name="connsiteY37" fmla="*/ 35153 h 49092"/>
                  <a:gd name="connsiteX38" fmla="*/ 25001 w 40304"/>
                  <a:gd name="connsiteY38" fmla="*/ 34244 h 49092"/>
                  <a:gd name="connsiteX39" fmla="*/ 25304 w 40304"/>
                  <a:gd name="connsiteY39" fmla="*/ 33486 h 49092"/>
                  <a:gd name="connsiteX40" fmla="*/ 25001 w 40304"/>
                  <a:gd name="connsiteY40" fmla="*/ 33183 h 49092"/>
                  <a:gd name="connsiteX41" fmla="*/ 23486 w 40304"/>
                  <a:gd name="connsiteY41" fmla="*/ 32425 h 49092"/>
                  <a:gd name="connsiteX42" fmla="*/ 22728 w 40304"/>
                  <a:gd name="connsiteY42" fmla="*/ 31062 h 49092"/>
                  <a:gd name="connsiteX43" fmla="*/ 23486 w 40304"/>
                  <a:gd name="connsiteY43" fmla="*/ 29092 h 49092"/>
                  <a:gd name="connsiteX44" fmla="*/ 23941 w 40304"/>
                  <a:gd name="connsiteY44" fmla="*/ 28486 h 49092"/>
                  <a:gd name="connsiteX45" fmla="*/ 24850 w 40304"/>
                  <a:gd name="connsiteY45" fmla="*/ 27425 h 49092"/>
                  <a:gd name="connsiteX46" fmla="*/ 26819 w 40304"/>
                  <a:gd name="connsiteY46" fmla="*/ 26062 h 49092"/>
                  <a:gd name="connsiteX47" fmla="*/ 28486 w 40304"/>
                  <a:gd name="connsiteY47" fmla="*/ 25759 h 49092"/>
                  <a:gd name="connsiteX48" fmla="*/ 29850 w 40304"/>
                  <a:gd name="connsiteY48" fmla="*/ 25759 h 49092"/>
                  <a:gd name="connsiteX49" fmla="*/ 32123 w 40304"/>
                  <a:gd name="connsiteY49" fmla="*/ 25910 h 49092"/>
                  <a:gd name="connsiteX50" fmla="*/ 33941 w 40304"/>
                  <a:gd name="connsiteY50" fmla="*/ 26213 h 49092"/>
                  <a:gd name="connsiteX51" fmla="*/ 34396 w 40304"/>
                  <a:gd name="connsiteY51" fmla="*/ 25759 h 49092"/>
                  <a:gd name="connsiteX52" fmla="*/ 34244 w 40304"/>
                  <a:gd name="connsiteY52" fmla="*/ 25304 h 49092"/>
                  <a:gd name="connsiteX53" fmla="*/ 32123 w 40304"/>
                  <a:gd name="connsiteY53" fmla="*/ 24092 h 49092"/>
                  <a:gd name="connsiteX54" fmla="*/ 31971 w 40304"/>
                  <a:gd name="connsiteY54" fmla="*/ 23183 h 49092"/>
                  <a:gd name="connsiteX55" fmla="*/ 32426 w 40304"/>
                  <a:gd name="connsiteY55" fmla="*/ 22122 h 49092"/>
                  <a:gd name="connsiteX56" fmla="*/ 34092 w 40304"/>
                  <a:gd name="connsiteY56" fmla="*/ 20455 h 49092"/>
                  <a:gd name="connsiteX57" fmla="*/ 35911 w 40304"/>
                  <a:gd name="connsiteY57" fmla="*/ 19395 h 49092"/>
                  <a:gd name="connsiteX58" fmla="*/ 36820 w 40304"/>
                  <a:gd name="connsiteY58" fmla="*/ 19092 h 49092"/>
                  <a:gd name="connsiteX59" fmla="*/ 38941 w 40304"/>
                  <a:gd name="connsiteY59" fmla="*/ 16667 h 49092"/>
                  <a:gd name="connsiteX60" fmla="*/ 40305 w 40304"/>
                  <a:gd name="connsiteY60" fmla="*/ 14092 h 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0304" h="49092">
                    <a:moveTo>
                      <a:pt x="38184" y="7576"/>
                    </a:moveTo>
                    <a:lnTo>
                      <a:pt x="36820" y="6516"/>
                    </a:lnTo>
                    <a:lnTo>
                      <a:pt x="34698" y="5606"/>
                    </a:lnTo>
                    <a:lnTo>
                      <a:pt x="33335" y="5455"/>
                    </a:lnTo>
                    <a:lnTo>
                      <a:pt x="33335" y="5152"/>
                    </a:lnTo>
                    <a:lnTo>
                      <a:pt x="35002" y="3485"/>
                    </a:lnTo>
                    <a:lnTo>
                      <a:pt x="36214" y="1970"/>
                    </a:lnTo>
                    <a:lnTo>
                      <a:pt x="34850" y="606"/>
                    </a:lnTo>
                    <a:lnTo>
                      <a:pt x="32426" y="0"/>
                    </a:lnTo>
                    <a:lnTo>
                      <a:pt x="31517" y="1364"/>
                    </a:lnTo>
                    <a:lnTo>
                      <a:pt x="28486" y="1515"/>
                    </a:lnTo>
                    <a:lnTo>
                      <a:pt x="23638" y="1515"/>
                    </a:lnTo>
                    <a:lnTo>
                      <a:pt x="23789" y="4091"/>
                    </a:lnTo>
                    <a:lnTo>
                      <a:pt x="22122" y="5758"/>
                    </a:lnTo>
                    <a:lnTo>
                      <a:pt x="18940" y="7425"/>
                    </a:lnTo>
                    <a:lnTo>
                      <a:pt x="14698" y="13182"/>
                    </a:lnTo>
                    <a:lnTo>
                      <a:pt x="13788" y="19849"/>
                    </a:lnTo>
                    <a:lnTo>
                      <a:pt x="10910" y="24547"/>
                    </a:lnTo>
                    <a:lnTo>
                      <a:pt x="6212" y="36062"/>
                    </a:lnTo>
                    <a:lnTo>
                      <a:pt x="3788" y="39395"/>
                    </a:lnTo>
                    <a:lnTo>
                      <a:pt x="2576" y="43487"/>
                    </a:lnTo>
                    <a:lnTo>
                      <a:pt x="1212" y="46517"/>
                    </a:lnTo>
                    <a:lnTo>
                      <a:pt x="0" y="48790"/>
                    </a:lnTo>
                    <a:lnTo>
                      <a:pt x="3031" y="48638"/>
                    </a:lnTo>
                    <a:lnTo>
                      <a:pt x="5455" y="48941"/>
                    </a:lnTo>
                    <a:lnTo>
                      <a:pt x="8182" y="49093"/>
                    </a:lnTo>
                    <a:lnTo>
                      <a:pt x="10455" y="47729"/>
                    </a:lnTo>
                    <a:lnTo>
                      <a:pt x="11516" y="43789"/>
                    </a:lnTo>
                    <a:lnTo>
                      <a:pt x="12879" y="43183"/>
                    </a:lnTo>
                    <a:lnTo>
                      <a:pt x="13486" y="44093"/>
                    </a:lnTo>
                    <a:lnTo>
                      <a:pt x="14092" y="43032"/>
                    </a:lnTo>
                    <a:lnTo>
                      <a:pt x="17122" y="41214"/>
                    </a:lnTo>
                    <a:lnTo>
                      <a:pt x="18486" y="40153"/>
                    </a:lnTo>
                    <a:lnTo>
                      <a:pt x="20001" y="38789"/>
                    </a:lnTo>
                    <a:lnTo>
                      <a:pt x="20759" y="38183"/>
                    </a:lnTo>
                    <a:lnTo>
                      <a:pt x="21971" y="37274"/>
                    </a:lnTo>
                    <a:lnTo>
                      <a:pt x="22274" y="36213"/>
                    </a:lnTo>
                    <a:lnTo>
                      <a:pt x="23486" y="35153"/>
                    </a:lnTo>
                    <a:lnTo>
                      <a:pt x="25001" y="34244"/>
                    </a:lnTo>
                    <a:lnTo>
                      <a:pt x="25304" y="33486"/>
                    </a:lnTo>
                    <a:lnTo>
                      <a:pt x="25001" y="33183"/>
                    </a:lnTo>
                    <a:lnTo>
                      <a:pt x="23486" y="32425"/>
                    </a:lnTo>
                    <a:lnTo>
                      <a:pt x="22728" y="31062"/>
                    </a:lnTo>
                    <a:lnTo>
                      <a:pt x="23486" y="29092"/>
                    </a:lnTo>
                    <a:lnTo>
                      <a:pt x="23941" y="28486"/>
                    </a:lnTo>
                    <a:lnTo>
                      <a:pt x="24850" y="27425"/>
                    </a:lnTo>
                    <a:lnTo>
                      <a:pt x="26819" y="26062"/>
                    </a:lnTo>
                    <a:lnTo>
                      <a:pt x="28486" y="25759"/>
                    </a:lnTo>
                    <a:lnTo>
                      <a:pt x="29850" y="25759"/>
                    </a:lnTo>
                    <a:lnTo>
                      <a:pt x="32123" y="25910"/>
                    </a:lnTo>
                    <a:lnTo>
                      <a:pt x="33941" y="26213"/>
                    </a:lnTo>
                    <a:lnTo>
                      <a:pt x="34396" y="25759"/>
                    </a:lnTo>
                    <a:lnTo>
                      <a:pt x="34244" y="25304"/>
                    </a:lnTo>
                    <a:lnTo>
                      <a:pt x="32123" y="24092"/>
                    </a:lnTo>
                    <a:lnTo>
                      <a:pt x="31971" y="23183"/>
                    </a:lnTo>
                    <a:lnTo>
                      <a:pt x="32426" y="22122"/>
                    </a:lnTo>
                    <a:lnTo>
                      <a:pt x="34092" y="20455"/>
                    </a:lnTo>
                    <a:lnTo>
                      <a:pt x="35911" y="19395"/>
                    </a:lnTo>
                    <a:lnTo>
                      <a:pt x="36820" y="19092"/>
                    </a:lnTo>
                    <a:lnTo>
                      <a:pt x="38941" y="16667"/>
                    </a:lnTo>
                    <a:lnTo>
                      <a:pt x="40305" y="140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9" name="Freeform: Shape 3238">
                <a:extLst>
                  <a:ext uri="{FF2B5EF4-FFF2-40B4-BE49-F238E27FC236}">
                    <a16:creationId xmlns:a16="http://schemas.microsoft.com/office/drawing/2014/main" id="{5167DC9F-155C-4501-BC05-5BCFFF6B4D4A}"/>
                  </a:ext>
                </a:extLst>
              </p:cNvPr>
              <p:cNvSpPr/>
              <p:nvPr/>
            </p:nvSpPr>
            <p:spPr>
              <a:xfrm>
                <a:off x="8516392" y="3940152"/>
                <a:ext cx="206220" cy="241069"/>
              </a:xfrm>
              <a:custGeom>
                <a:avLst/>
                <a:gdLst>
                  <a:gd name="connsiteX0" fmla="*/ 205462 w 206220"/>
                  <a:gd name="connsiteY0" fmla="*/ 202583 h 241069"/>
                  <a:gd name="connsiteX1" fmla="*/ 203796 w 206220"/>
                  <a:gd name="connsiteY1" fmla="*/ 200310 h 241069"/>
                  <a:gd name="connsiteX2" fmla="*/ 200917 w 206220"/>
                  <a:gd name="connsiteY2" fmla="*/ 198189 h 241069"/>
                  <a:gd name="connsiteX3" fmla="*/ 197735 w 206220"/>
                  <a:gd name="connsiteY3" fmla="*/ 195613 h 241069"/>
                  <a:gd name="connsiteX4" fmla="*/ 196068 w 206220"/>
                  <a:gd name="connsiteY4" fmla="*/ 193946 h 241069"/>
                  <a:gd name="connsiteX5" fmla="*/ 194704 w 206220"/>
                  <a:gd name="connsiteY5" fmla="*/ 192280 h 241069"/>
                  <a:gd name="connsiteX6" fmla="*/ 193644 w 206220"/>
                  <a:gd name="connsiteY6" fmla="*/ 190310 h 241069"/>
                  <a:gd name="connsiteX7" fmla="*/ 192886 w 206220"/>
                  <a:gd name="connsiteY7" fmla="*/ 188795 h 241069"/>
                  <a:gd name="connsiteX8" fmla="*/ 193492 w 206220"/>
                  <a:gd name="connsiteY8" fmla="*/ 187886 h 241069"/>
                  <a:gd name="connsiteX9" fmla="*/ 198189 w 206220"/>
                  <a:gd name="connsiteY9" fmla="*/ 185461 h 241069"/>
                  <a:gd name="connsiteX10" fmla="*/ 199099 w 206220"/>
                  <a:gd name="connsiteY10" fmla="*/ 184704 h 241069"/>
                  <a:gd name="connsiteX11" fmla="*/ 199553 w 206220"/>
                  <a:gd name="connsiteY11" fmla="*/ 183340 h 241069"/>
                  <a:gd name="connsiteX12" fmla="*/ 199250 w 206220"/>
                  <a:gd name="connsiteY12" fmla="*/ 182128 h 241069"/>
                  <a:gd name="connsiteX13" fmla="*/ 198038 w 206220"/>
                  <a:gd name="connsiteY13" fmla="*/ 181370 h 241069"/>
                  <a:gd name="connsiteX14" fmla="*/ 196522 w 206220"/>
                  <a:gd name="connsiteY14" fmla="*/ 180916 h 241069"/>
                  <a:gd name="connsiteX15" fmla="*/ 194401 w 206220"/>
                  <a:gd name="connsiteY15" fmla="*/ 179552 h 241069"/>
                  <a:gd name="connsiteX16" fmla="*/ 190310 w 206220"/>
                  <a:gd name="connsiteY16" fmla="*/ 175461 h 241069"/>
                  <a:gd name="connsiteX17" fmla="*/ 188492 w 206220"/>
                  <a:gd name="connsiteY17" fmla="*/ 174552 h 241069"/>
                  <a:gd name="connsiteX18" fmla="*/ 186522 w 206220"/>
                  <a:gd name="connsiteY18" fmla="*/ 173491 h 241069"/>
                  <a:gd name="connsiteX19" fmla="*/ 185462 w 206220"/>
                  <a:gd name="connsiteY19" fmla="*/ 172279 h 241069"/>
                  <a:gd name="connsiteX20" fmla="*/ 184249 w 206220"/>
                  <a:gd name="connsiteY20" fmla="*/ 168945 h 241069"/>
                  <a:gd name="connsiteX21" fmla="*/ 183795 w 206220"/>
                  <a:gd name="connsiteY21" fmla="*/ 168642 h 241069"/>
                  <a:gd name="connsiteX22" fmla="*/ 182734 w 206220"/>
                  <a:gd name="connsiteY22" fmla="*/ 169551 h 241069"/>
                  <a:gd name="connsiteX23" fmla="*/ 181219 w 206220"/>
                  <a:gd name="connsiteY23" fmla="*/ 170612 h 241069"/>
                  <a:gd name="connsiteX24" fmla="*/ 180007 w 206220"/>
                  <a:gd name="connsiteY24" fmla="*/ 170461 h 241069"/>
                  <a:gd name="connsiteX25" fmla="*/ 178946 w 206220"/>
                  <a:gd name="connsiteY25" fmla="*/ 169551 h 241069"/>
                  <a:gd name="connsiteX26" fmla="*/ 178491 w 206220"/>
                  <a:gd name="connsiteY26" fmla="*/ 168339 h 241069"/>
                  <a:gd name="connsiteX27" fmla="*/ 177279 w 206220"/>
                  <a:gd name="connsiteY27" fmla="*/ 166521 h 241069"/>
                  <a:gd name="connsiteX28" fmla="*/ 175916 w 206220"/>
                  <a:gd name="connsiteY28" fmla="*/ 165157 h 241069"/>
                  <a:gd name="connsiteX29" fmla="*/ 175613 w 206220"/>
                  <a:gd name="connsiteY29" fmla="*/ 160309 h 241069"/>
                  <a:gd name="connsiteX30" fmla="*/ 175461 w 206220"/>
                  <a:gd name="connsiteY30" fmla="*/ 158794 h 241069"/>
                  <a:gd name="connsiteX31" fmla="*/ 174703 w 206220"/>
                  <a:gd name="connsiteY31" fmla="*/ 156672 h 241069"/>
                  <a:gd name="connsiteX32" fmla="*/ 173794 w 206220"/>
                  <a:gd name="connsiteY32" fmla="*/ 155915 h 241069"/>
                  <a:gd name="connsiteX33" fmla="*/ 172734 w 206220"/>
                  <a:gd name="connsiteY33" fmla="*/ 155309 h 241069"/>
                  <a:gd name="connsiteX34" fmla="*/ 170158 w 206220"/>
                  <a:gd name="connsiteY34" fmla="*/ 151369 h 241069"/>
                  <a:gd name="connsiteX35" fmla="*/ 168340 w 206220"/>
                  <a:gd name="connsiteY35" fmla="*/ 149248 h 241069"/>
                  <a:gd name="connsiteX36" fmla="*/ 161218 w 206220"/>
                  <a:gd name="connsiteY36" fmla="*/ 143793 h 241069"/>
                  <a:gd name="connsiteX37" fmla="*/ 160309 w 206220"/>
                  <a:gd name="connsiteY37" fmla="*/ 142884 h 241069"/>
                  <a:gd name="connsiteX38" fmla="*/ 158339 w 206220"/>
                  <a:gd name="connsiteY38" fmla="*/ 140611 h 241069"/>
                  <a:gd name="connsiteX39" fmla="*/ 155006 w 206220"/>
                  <a:gd name="connsiteY39" fmla="*/ 137278 h 241069"/>
                  <a:gd name="connsiteX40" fmla="*/ 152582 w 206220"/>
                  <a:gd name="connsiteY40" fmla="*/ 134702 h 241069"/>
                  <a:gd name="connsiteX41" fmla="*/ 150763 w 206220"/>
                  <a:gd name="connsiteY41" fmla="*/ 131974 h 241069"/>
                  <a:gd name="connsiteX42" fmla="*/ 150006 w 206220"/>
                  <a:gd name="connsiteY42" fmla="*/ 129702 h 241069"/>
                  <a:gd name="connsiteX43" fmla="*/ 149703 w 206220"/>
                  <a:gd name="connsiteY43" fmla="*/ 127732 h 241069"/>
                  <a:gd name="connsiteX44" fmla="*/ 147884 w 206220"/>
                  <a:gd name="connsiteY44" fmla="*/ 125156 h 241069"/>
                  <a:gd name="connsiteX45" fmla="*/ 146218 w 206220"/>
                  <a:gd name="connsiteY45" fmla="*/ 123035 h 241069"/>
                  <a:gd name="connsiteX46" fmla="*/ 144551 w 206220"/>
                  <a:gd name="connsiteY46" fmla="*/ 122277 h 241069"/>
                  <a:gd name="connsiteX47" fmla="*/ 142733 w 206220"/>
                  <a:gd name="connsiteY47" fmla="*/ 121974 h 241069"/>
                  <a:gd name="connsiteX48" fmla="*/ 141217 w 206220"/>
                  <a:gd name="connsiteY48" fmla="*/ 120762 h 241069"/>
                  <a:gd name="connsiteX49" fmla="*/ 138187 w 206220"/>
                  <a:gd name="connsiteY49" fmla="*/ 117883 h 241069"/>
                  <a:gd name="connsiteX50" fmla="*/ 136823 w 206220"/>
                  <a:gd name="connsiteY50" fmla="*/ 115913 h 241069"/>
                  <a:gd name="connsiteX51" fmla="*/ 136066 w 206220"/>
                  <a:gd name="connsiteY51" fmla="*/ 114701 h 241069"/>
                  <a:gd name="connsiteX52" fmla="*/ 136066 w 206220"/>
                  <a:gd name="connsiteY52" fmla="*/ 113337 h 241069"/>
                  <a:gd name="connsiteX53" fmla="*/ 136823 w 206220"/>
                  <a:gd name="connsiteY53" fmla="*/ 111216 h 241069"/>
                  <a:gd name="connsiteX54" fmla="*/ 137581 w 206220"/>
                  <a:gd name="connsiteY54" fmla="*/ 110004 h 241069"/>
                  <a:gd name="connsiteX55" fmla="*/ 137732 w 206220"/>
                  <a:gd name="connsiteY55" fmla="*/ 109095 h 241069"/>
                  <a:gd name="connsiteX56" fmla="*/ 136823 w 206220"/>
                  <a:gd name="connsiteY56" fmla="*/ 108186 h 241069"/>
                  <a:gd name="connsiteX57" fmla="*/ 133490 w 206220"/>
                  <a:gd name="connsiteY57" fmla="*/ 106822 h 241069"/>
                  <a:gd name="connsiteX58" fmla="*/ 125914 w 206220"/>
                  <a:gd name="connsiteY58" fmla="*/ 104701 h 241069"/>
                  <a:gd name="connsiteX59" fmla="*/ 123035 w 206220"/>
                  <a:gd name="connsiteY59" fmla="*/ 103186 h 241069"/>
                  <a:gd name="connsiteX60" fmla="*/ 120459 w 206220"/>
                  <a:gd name="connsiteY60" fmla="*/ 101064 h 241069"/>
                  <a:gd name="connsiteX61" fmla="*/ 118489 w 206220"/>
                  <a:gd name="connsiteY61" fmla="*/ 99700 h 241069"/>
                  <a:gd name="connsiteX62" fmla="*/ 109247 w 206220"/>
                  <a:gd name="connsiteY62" fmla="*/ 93640 h 241069"/>
                  <a:gd name="connsiteX63" fmla="*/ 106519 w 206220"/>
                  <a:gd name="connsiteY63" fmla="*/ 92731 h 241069"/>
                  <a:gd name="connsiteX64" fmla="*/ 104095 w 206220"/>
                  <a:gd name="connsiteY64" fmla="*/ 91670 h 241069"/>
                  <a:gd name="connsiteX65" fmla="*/ 103337 w 206220"/>
                  <a:gd name="connsiteY65" fmla="*/ 90609 h 241069"/>
                  <a:gd name="connsiteX66" fmla="*/ 103489 w 206220"/>
                  <a:gd name="connsiteY66" fmla="*/ 89549 h 241069"/>
                  <a:gd name="connsiteX67" fmla="*/ 104398 w 206220"/>
                  <a:gd name="connsiteY67" fmla="*/ 88943 h 241069"/>
                  <a:gd name="connsiteX68" fmla="*/ 107125 w 206220"/>
                  <a:gd name="connsiteY68" fmla="*/ 87276 h 241069"/>
                  <a:gd name="connsiteX69" fmla="*/ 108034 w 206220"/>
                  <a:gd name="connsiteY69" fmla="*/ 85609 h 241069"/>
                  <a:gd name="connsiteX70" fmla="*/ 107732 w 206220"/>
                  <a:gd name="connsiteY70" fmla="*/ 83336 h 241069"/>
                  <a:gd name="connsiteX71" fmla="*/ 106671 w 206220"/>
                  <a:gd name="connsiteY71" fmla="*/ 80912 h 241069"/>
                  <a:gd name="connsiteX72" fmla="*/ 107125 w 206220"/>
                  <a:gd name="connsiteY72" fmla="*/ 80154 h 241069"/>
                  <a:gd name="connsiteX73" fmla="*/ 108034 w 206220"/>
                  <a:gd name="connsiteY73" fmla="*/ 80003 h 241069"/>
                  <a:gd name="connsiteX74" fmla="*/ 109853 w 206220"/>
                  <a:gd name="connsiteY74" fmla="*/ 80003 h 241069"/>
                  <a:gd name="connsiteX75" fmla="*/ 113489 w 206220"/>
                  <a:gd name="connsiteY75" fmla="*/ 79851 h 241069"/>
                  <a:gd name="connsiteX76" fmla="*/ 121217 w 206220"/>
                  <a:gd name="connsiteY76" fmla="*/ 81973 h 241069"/>
                  <a:gd name="connsiteX77" fmla="*/ 122429 w 206220"/>
                  <a:gd name="connsiteY77" fmla="*/ 81670 h 241069"/>
                  <a:gd name="connsiteX78" fmla="*/ 126672 w 206220"/>
                  <a:gd name="connsiteY78" fmla="*/ 77882 h 241069"/>
                  <a:gd name="connsiteX79" fmla="*/ 128187 w 206220"/>
                  <a:gd name="connsiteY79" fmla="*/ 75609 h 241069"/>
                  <a:gd name="connsiteX80" fmla="*/ 128641 w 206220"/>
                  <a:gd name="connsiteY80" fmla="*/ 73639 h 241069"/>
                  <a:gd name="connsiteX81" fmla="*/ 129399 w 206220"/>
                  <a:gd name="connsiteY81" fmla="*/ 72427 h 241069"/>
                  <a:gd name="connsiteX82" fmla="*/ 131672 w 206220"/>
                  <a:gd name="connsiteY82" fmla="*/ 70457 h 241069"/>
                  <a:gd name="connsiteX83" fmla="*/ 131672 w 206220"/>
                  <a:gd name="connsiteY83" fmla="*/ 68639 h 241069"/>
                  <a:gd name="connsiteX84" fmla="*/ 130611 w 206220"/>
                  <a:gd name="connsiteY84" fmla="*/ 66214 h 241069"/>
                  <a:gd name="connsiteX85" fmla="*/ 129551 w 206220"/>
                  <a:gd name="connsiteY85" fmla="*/ 65305 h 241069"/>
                  <a:gd name="connsiteX86" fmla="*/ 128490 w 206220"/>
                  <a:gd name="connsiteY86" fmla="*/ 64851 h 241069"/>
                  <a:gd name="connsiteX87" fmla="*/ 125459 w 206220"/>
                  <a:gd name="connsiteY87" fmla="*/ 65154 h 241069"/>
                  <a:gd name="connsiteX88" fmla="*/ 124853 w 206220"/>
                  <a:gd name="connsiteY88" fmla="*/ 64548 h 241069"/>
                  <a:gd name="connsiteX89" fmla="*/ 124399 w 206220"/>
                  <a:gd name="connsiteY89" fmla="*/ 62730 h 241069"/>
                  <a:gd name="connsiteX90" fmla="*/ 124247 w 206220"/>
                  <a:gd name="connsiteY90" fmla="*/ 61669 h 241069"/>
                  <a:gd name="connsiteX91" fmla="*/ 123186 w 206220"/>
                  <a:gd name="connsiteY91" fmla="*/ 60305 h 241069"/>
                  <a:gd name="connsiteX92" fmla="*/ 119853 w 206220"/>
                  <a:gd name="connsiteY92" fmla="*/ 59244 h 241069"/>
                  <a:gd name="connsiteX93" fmla="*/ 116974 w 206220"/>
                  <a:gd name="connsiteY93" fmla="*/ 58942 h 241069"/>
                  <a:gd name="connsiteX94" fmla="*/ 116368 w 206220"/>
                  <a:gd name="connsiteY94" fmla="*/ 58487 h 241069"/>
                  <a:gd name="connsiteX95" fmla="*/ 117429 w 206220"/>
                  <a:gd name="connsiteY95" fmla="*/ 57275 h 241069"/>
                  <a:gd name="connsiteX96" fmla="*/ 119398 w 206220"/>
                  <a:gd name="connsiteY96" fmla="*/ 55911 h 241069"/>
                  <a:gd name="connsiteX97" fmla="*/ 120914 w 206220"/>
                  <a:gd name="connsiteY97" fmla="*/ 55305 h 241069"/>
                  <a:gd name="connsiteX98" fmla="*/ 122126 w 206220"/>
                  <a:gd name="connsiteY98" fmla="*/ 53941 h 241069"/>
                  <a:gd name="connsiteX99" fmla="*/ 122277 w 206220"/>
                  <a:gd name="connsiteY99" fmla="*/ 52577 h 241069"/>
                  <a:gd name="connsiteX100" fmla="*/ 120762 w 206220"/>
                  <a:gd name="connsiteY100" fmla="*/ 51517 h 241069"/>
                  <a:gd name="connsiteX101" fmla="*/ 118944 w 206220"/>
                  <a:gd name="connsiteY101" fmla="*/ 50153 h 241069"/>
                  <a:gd name="connsiteX102" fmla="*/ 115914 w 206220"/>
                  <a:gd name="connsiteY102" fmla="*/ 47729 h 241069"/>
                  <a:gd name="connsiteX103" fmla="*/ 111671 w 206220"/>
                  <a:gd name="connsiteY103" fmla="*/ 45001 h 241069"/>
                  <a:gd name="connsiteX104" fmla="*/ 109095 w 206220"/>
                  <a:gd name="connsiteY104" fmla="*/ 44092 h 241069"/>
                  <a:gd name="connsiteX105" fmla="*/ 107732 w 206220"/>
                  <a:gd name="connsiteY105" fmla="*/ 44244 h 241069"/>
                  <a:gd name="connsiteX106" fmla="*/ 103034 w 206220"/>
                  <a:gd name="connsiteY106" fmla="*/ 46517 h 241069"/>
                  <a:gd name="connsiteX107" fmla="*/ 100610 w 206220"/>
                  <a:gd name="connsiteY107" fmla="*/ 48032 h 241069"/>
                  <a:gd name="connsiteX108" fmla="*/ 98489 w 206220"/>
                  <a:gd name="connsiteY108" fmla="*/ 50608 h 241069"/>
                  <a:gd name="connsiteX109" fmla="*/ 96367 w 206220"/>
                  <a:gd name="connsiteY109" fmla="*/ 51214 h 241069"/>
                  <a:gd name="connsiteX110" fmla="*/ 94095 w 206220"/>
                  <a:gd name="connsiteY110" fmla="*/ 50002 h 241069"/>
                  <a:gd name="connsiteX111" fmla="*/ 91670 w 206220"/>
                  <a:gd name="connsiteY111" fmla="*/ 48789 h 241069"/>
                  <a:gd name="connsiteX112" fmla="*/ 84700 w 206220"/>
                  <a:gd name="connsiteY112" fmla="*/ 47123 h 241069"/>
                  <a:gd name="connsiteX113" fmla="*/ 81822 w 206220"/>
                  <a:gd name="connsiteY113" fmla="*/ 45608 h 241069"/>
                  <a:gd name="connsiteX114" fmla="*/ 75760 w 206220"/>
                  <a:gd name="connsiteY114" fmla="*/ 36819 h 241069"/>
                  <a:gd name="connsiteX115" fmla="*/ 74851 w 206220"/>
                  <a:gd name="connsiteY115" fmla="*/ 35001 h 241069"/>
                  <a:gd name="connsiteX116" fmla="*/ 75458 w 206220"/>
                  <a:gd name="connsiteY116" fmla="*/ 33031 h 241069"/>
                  <a:gd name="connsiteX117" fmla="*/ 75912 w 206220"/>
                  <a:gd name="connsiteY117" fmla="*/ 30152 h 241069"/>
                  <a:gd name="connsiteX118" fmla="*/ 76518 w 206220"/>
                  <a:gd name="connsiteY118" fmla="*/ 28183 h 241069"/>
                  <a:gd name="connsiteX119" fmla="*/ 77579 w 206220"/>
                  <a:gd name="connsiteY119" fmla="*/ 26364 h 241069"/>
                  <a:gd name="connsiteX120" fmla="*/ 77882 w 206220"/>
                  <a:gd name="connsiteY120" fmla="*/ 24849 h 241069"/>
                  <a:gd name="connsiteX121" fmla="*/ 77579 w 206220"/>
                  <a:gd name="connsiteY121" fmla="*/ 23183 h 241069"/>
                  <a:gd name="connsiteX122" fmla="*/ 76669 w 206220"/>
                  <a:gd name="connsiteY122" fmla="*/ 22273 h 241069"/>
                  <a:gd name="connsiteX123" fmla="*/ 75609 w 206220"/>
                  <a:gd name="connsiteY123" fmla="*/ 21970 h 241069"/>
                  <a:gd name="connsiteX124" fmla="*/ 74700 w 206220"/>
                  <a:gd name="connsiteY124" fmla="*/ 21667 h 241069"/>
                  <a:gd name="connsiteX125" fmla="*/ 73942 w 206220"/>
                  <a:gd name="connsiteY125" fmla="*/ 19546 h 241069"/>
                  <a:gd name="connsiteX126" fmla="*/ 73488 w 206220"/>
                  <a:gd name="connsiteY126" fmla="*/ 19849 h 241069"/>
                  <a:gd name="connsiteX127" fmla="*/ 72730 w 206220"/>
                  <a:gd name="connsiteY127" fmla="*/ 22425 h 241069"/>
                  <a:gd name="connsiteX128" fmla="*/ 71821 w 206220"/>
                  <a:gd name="connsiteY128" fmla="*/ 23334 h 241069"/>
                  <a:gd name="connsiteX129" fmla="*/ 70609 w 206220"/>
                  <a:gd name="connsiteY129" fmla="*/ 23789 h 241069"/>
                  <a:gd name="connsiteX130" fmla="*/ 69700 w 206220"/>
                  <a:gd name="connsiteY130" fmla="*/ 23334 h 241069"/>
                  <a:gd name="connsiteX131" fmla="*/ 69093 w 206220"/>
                  <a:gd name="connsiteY131" fmla="*/ 22273 h 241069"/>
                  <a:gd name="connsiteX132" fmla="*/ 68791 w 206220"/>
                  <a:gd name="connsiteY132" fmla="*/ 20607 h 241069"/>
                  <a:gd name="connsiteX133" fmla="*/ 68336 w 206220"/>
                  <a:gd name="connsiteY133" fmla="*/ 18334 h 241069"/>
                  <a:gd name="connsiteX134" fmla="*/ 67579 w 206220"/>
                  <a:gd name="connsiteY134" fmla="*/ 16819 h 241069"/>
                  <a:gd name="connsiteX135" fmla="*/ 65003 w 206220"/>
                  <a:gd name="connsiteY135" fmla="*/ 15304 h 241069"/>
                  <a:gd name="connsiteX136" fmla="*/ 63639 w 206220"/>
                  <a:gd name="connsiteY136" fmla="*/ 13334 h 241069"/>
                  <a:gd name="connsiteX137" fmla="*/ 59851 w 206220"/>
                  <a:gd name="connsiteY137" fmla="*/ 9091 h 241069"/>
                  <a:gd name="connsiteX138" fmla="*/ 56669 w 206220"/>
                  <a:gd name="connsiteY138" fmla="*/ 6061 h 241069"/>
                  <a:gd name="connsiteX139" fmla="*/ 55154 w 206220"/>
                  <a:gd name="connsiteY139" fmla="*/ 3333 h 241069"/>
                  <a:gd name="connsiteX140" fmla="*/ 54093 w 206220"/>
                  <a:gd name="connsiteY140" fmla="*/ 2273 h 241069"/>
                  <a:gd name="connsiteX141" fmla="*/ 52275 w 206220"/>
                  <a:gd name="connsiteY141" fmla="*/ 1515 h 241069"/>
                  <a:gd name="connsiteX142" fmla="*/ 50153 w 206220"/>
                  <a:gd name="connsiteY142" fmla="*/ 1515 h 241069"/>
                  <a:gd name="connsiteX143" fmla="*/ 47274 w 206220"/>
                  <a:gd name="connsiteY143" fmla="*/ 3030 h 241069"/>
                  <a:gd name="connsiteX144" fmla="*/ 45002 w 206220"/>
                  <a:gd name="connsiteY144" fmla="*/ 151 h 241069"/>
                  <a:gd name="connsiteX145" fmla="*/ 44396 w 206220"/>
                  <a:gd name="connsiteY145" fmla="*/ 0 h 241069"/>
                  <a:gd name="connsiteX146" fmla="*/ 43638 w 206220"/>
                  <a:gd name="connsiteY146" fmla="*/ 151 h 241069"/>
                  <a:gd name="connsiteX147" fmla="*/ 42577 w 206220"/>
                  <a:gd name="connsiteY147" fmla="*/ 909 h 241069"/>
                  <a:gd name="connsiteX148" fmla="*/ 41972 w 206220"/>
                  <a:gd name="connsiteY148" fmla="*/ 2576 h 241069"/>
                  <a:gd name="connsiteX149" fmla="*/ 41214 w 206220"/>
                  <a:gd name="connsiteY149" fmla="*/ 4697 h 241069"/>
                  <a:gd name="connsiteX150" fmla="*/ 39698 w 206220"/>
                  <a:gd name="connsiteY150" fmla="*/ 6212 h 241069"/>
                  <a:gd name="connsiteX151" fmla="*/ 38638 w 206220"/>
                  <a:gd name="connsiteY151" fmla="*/ 6818 h 241069"/>
                  <a:gd name="connsiteX152" fmla="*/ 38941 w 206220"/>
                  <a:gd name="connsiteY152" fmla="*/ 8182 h 241069"/>
                  <a:gd name="connsiteX153" fmla="*/ 39547 w 206220"/>
                  <a:gd name="connsiteY153" fmla="*/ 9546 h 241069"/>
                  <a:gd name="connsiteX154" fmla="*/ 39547 w 206220"/>
                  <a:gd name="connsiteY154" fmla="*/ 10606 h 241069"/>
                  <a:gd name="connsiteX155" fmla="*/ 40002 w 206220"/>
                  <a:gd name="connsiteY155" fmla="*/ 12576 h 241069"/>
                  <a:gd name="connsiteX156" fmla="*/ 40759 w 206220"/>
                  <a:gd name="connsiteY156" fmla="*/ 14394 h 241069"/>
                  <a:gd name="connsiteX157" fmla="*/ 43335 w 206220"/>
                  <a:gd name="connsiteY157" fmla="*/ 17425 h 241069"/>
                  <a:gd name="connsiteX158" fmla="*/ 44396 w 206220"/>
                  <a:gd name="connsiteY158" fmla="*/ 19092 h 241069"/>
                  <a:gd name="connsiteX159" fmla="*/ 44547 w 206220"/>
                  <a:gd name="connsiteY159" fmla="*/ 20455 h 241069"/>
                  <a:gd name="connsiteX160" fmla="*/ 44699 w 206220"/>
                  <a:gd name="connsiteY160" fmla="*/ 25304 h 241069"/>
                  <a:gd name="connsiteX161" fmla="*/ 44547 w 206220"/>
                  <a:gd name="connsiteY161" fmla="*/ 27425 h 241069"/>
                  <a:gd name="connsiteX162" fmla="*/ 44093 w 206220"/>
                  <a:gd name="connsiteY162" fmla="*/ 31365 h 241069"/>
                  <a:gd name="connsiteX163" fmla="*/ 43941 w 206220"/>
                  <a:gd name="connsiteY163" fmla="*/ 33637 h 241069"/>
                  <a:gd name="connsiteX164" fmla="*/ 45153 w 206220"/>
                  <a:gd name="connsiteY164" fmla="*/ 34698 h 241069"/>
                  <a:gd name="connsiteX165" fmla="*/ 46214 w 206220"/>
                  <a:gd name="connsiteY165" fmla="*/ 35910 h 241069"/>
                  <a:gd name="connsiteX166" fmla="*/ 46062 w 206220"/>
                  <a:gd name="connsiteY166" fmla="*/ 36516 h 241069"/>
                  <a:gd name="connsiteX167" fmla="*/ 45608 w 206220"/>
                  <a:gd name="connsiteY167" fmla="*/ 36819 h 241069"/>
                  <a:gd name="connsiteX168" fmla="*/ 44093 w 206220"/>
                  <a:gd name="connsiteY168" fmla="*/ 38183 h 241069"/>
                  <a:gd name="connsiteX169" fmla="*/ 43486 w 206220"/>
                  <a:gd name="connsiteY169" fmla="*/ 38335 h 241069"/>
                  <a:gd name="connsiteX170" fmla="*/ 42577 w 206220"/>
                  <a:gd name="connsiteY170" fmla="*/ 37729 h 241069"/>
                  <a:gd name="connsiteX171" fmla="*/ 41214 w 206220"/>
                  <a:gd name="connsiteY171" fmla="*/ 37425 h 241069"/>
                  <a:gd name="connsiteX172" fmla="*/ 40153 w 206220"/>
                  <a:gd name="connsiteY172" fmla="*/ 36819 h 241069"/>
                  <a:gd name="connsiteX173" fmla="*/ 39093 w 206220"/>
                  <a:gd name="connsiteY173" fmla="*/ 35910 h 241069"/>
                  <a:gd name="connsiteX174" fmla="*/ 36365 w 206220"/>
                  <a:gd name="connsiteY174" fmla="*/ 36062 h 241069"/>
                  <a:gd name="connsiteX175" fmla="*/ 31971 w 206220"/>
                  <a:gd name="connsiteY175" fmla="*/ 37425 h 241069"/>
                  <a:gd name="connsiteX176" fmla="*/ 31062 w 206220"/>
                  <a:gd name="connsiteY176" fmla="*/ 36971 h 241069"/>
                  <a:gd name="connsiteX177" fmla="*/ 30304 w 206220"/>
                  <a:gd name="connsiteY177" fmla="*/ 36213 h 241069"/>
                  <a:gd name="connsiteX178" fmla="*/ 30001 w 206220"/>
                  <a:gd name="connsiteY178" fmla="*/ 34698 h 241069"/>
                  <a:gd name="connsiteX179" fmla="*/ 30304 w 206220"/>
                  <a:gd name="connsiteY179" fmla="*/ 32880 h 241069"/>
                  <a:gd name="connsiteX180" fmla="*/ 29850 w 206220"/>
                  <a:gd name="connsiteY180" fmla="*/ 31668 h 241069"/>
                  <a:gd name="connsiteX181" fmla="*/ 29092 w 206220"/>
                  <a:gd name="connsiteY181" fmla="*/ 31062 h 241069"/>
                  <a:gd name="connsiteX182" fmla="*/ 29547 w 206220"/>
                  <a:gd name="connsiteY182" fmla="*/ 27728 h 241069"/>
                  <a:gd name="connsiteX183" fmla="*/ 28031 w 206220"/>
                  <a:gd name="connsiteY183" fmla="*/ 26516 h 241069"/>
                  <a:gd name="connsiteX184" fmla="*/ 26365 w 206220"/>
                  <a:gd name="connsiteY184" fmla="*/ 29243 h 241069"/>
                  <a:gd name="connsiteX185" fmla="*/ 22274 w 206220"/>
                  <a:gd name="connsiteY185" fmla="*/ 32122 h 241069"/>
                  <a:gd name="connsiteX186" fmla="*/ 19243 w 206220"/>
                  <a:gd name="connsiteY186" fmla="*/ 33637 h 241069"/>
                  <a:gd name="connsiteX187" fmla="*/ 17576 w 206220"/>
                  <a:gd name="connsiteY187" fmla="*/ 33637 h 241069"/>
                  <a:gd name="connsiteX188" fmla="*/ 16061 w 206220"/>
                  <a:gd name="connsiteY188" fmla="*/ 35456 h 241069"/>
                  <a:gd name="connsiteX189" fmla="*/ 14849 w 206220"/>
                  <a:gd name="connsiteY189" fmla="*/ 38941 h 241069"/>
                  <a:gd name="connsiteX190" fmla="*/ 13637 w 206220"/>
                  <a:gd name="connsiteY190" fmla="*/ 40911 h 241069"/>
                  <a:gd name="connsiteX191" fmla="*/ 12425 w 206220"/>
                  <a:gd name="connsiteY191" fmla="*/ 41517 h 241069"/>
                  <a:gd name="connsiteX192" fmla="*/ 11516 w 206220"/>
                  <a:gd name="connsiteY192" fmla="*/ 42880 h 241069"/>
                  <a:gd name="connsiteX193" fmla="*/ 11213 w 206220"/>
                  <a:gd name="connsiteY193" fmla="*/ 44850 h 241069"/>
                  <a:gd name="connsiteX194" fmla="*/ 11970 w 206220"/>
                  <a:gd name="connsiteY194" fmla="*/ 45911 h 241069"/>
                  <a:gd name="connsiteX195" fmla="*/ 13788 w 206220"/>
                  <a:gd name="connsiteY195" fmla="*/ 46062 h 241069"/>
                  <a:gd name="connsiteX196" fmla="*/ 13940 w 206220"/>
                  <a:gd name="connsiteY196" fmla="*/ 46517 h 241069"/>
                  <a:gd name="connsiteX197" fmla="*/ 12273 w 206220"/>
                  <a:gd name="connsiteY197" fmla="*/ 47577 h 241069"/>
                  <a:gd name="connsiteX198" fmla="*/ 10304 w 206220"/>
                  <a:gd name="connsiteY198" fmla="*/ 47880 h 241069"/>
                  <a:gd name="connsiteX199" fmla="*/ 8031 w 206220"/>
                  <a:gd name="connsiteY199" fmla="*/ 47577 h 241069"/>
                  <a:gd name="connsiteX200" fmla="*/ 5758 w 206220"/>
                  <a:gd name="connsiteY200" fmla="*/ 48335 h 241069"/>
                  <a:gd name="connsiteX201" fmla="*/ 3637 w 206220"/>
                  <a:gd name="connsiteY201" fmla="*/ 50305 h 241069"/>
                  <a:gd name="connsiteX202" fmla="*/ 1970 w 206220"/>
                  <a:gd name="connsiteY202" fmla="*/ 54244 h 241069"/>
                  <a:gd name="connsiteX203" fmla="*/ 455 w 206220"/>
                  <a:gd name="connsiteY203" fmla="*/ 60457 h 241069"/>
                  <a:gd name="connsiteX204" fmla="*/ 152 w 206220"/>
                  <a:gd name="connsiteY204" fmla="*/ 61972 h 241069"/>
                  <a:gd name="connsiteX205" fmla="*/ 0 w 206220"/>
                  <a:gd name="connsiteY205" fmla="*/ 63639 h 241069"/>
                  <a:gd name="connsiteX206" fmla="*/ 758 w 206220"/>
                  <a:gd name="connsiteY206" fmla="*/ 63942 h 241069"/>
                  <a:gd name="connsiteX207" fmla="*/ 1667 w 206220"/>
                  <a:gd name="connsiteY207" fmla="*/ 63184 h 241069"/>
                  <a:gd name="connsiteX208" fmla="*/ 2879 w 206220"/>
                  <a:gd name="connsiteY208" fmla="*/ 61366 h 241069"/>
                  <a:gd name="connsiteX209" fmla="*/ 4091 w 206220"/>
                  <a:gd name="connsiteY209" fmla="*/ 60305 h 241069"/>
                  <a:gd name="connsiteX210" fmla="*/ 5606 w 206220"/>
                  <a:gd name="connsiteY210" fmla="*/ 60002 h 241069"/>
                  <a:gd name="connsiteX211" fmla="*/ 7121 w 206220"/>
                  <a:gd name="connsiteY211" fmla="*/ 61366 h 241069"/>
                  <a:gd name="connsiteX212" fmla="*/ 8637 w 206220"/>
                  <a:gd name="connsiteY212" fmla="*/ 64093 h 241069"/>
                  <a:gd name="connsiteX213" fmla="*/ 10304 w 206220"/>
                  <a:gd name="connsiteY213" fmla="*/ 65760 h 241069"/>
                  <a:gd name="connsiteX214" fmla="*/ 11061 w 206220"/>
                  <a:gd name="connsiteY214" fmla="*/ 65911 h 241069"/>
                  <a:gd name="connsiteX215" fmla="*/ 11667 w 206220"/>
                  <a:gd name="connsiteY215" fmla="*/ 67275 h 241069"/>
                  <a:gd name="connsiteX216" fmla="*/ 11667 w 206220"/>
                  <a:gd name="connsiteY216" fmla="*/ 68487 h 241069"/>
                  <a:gd name="connsiteX217" fmla="*/ 10910 w 206220"/>
                  <a:gd name="connsiteY217" fmla="*/ 71063 h 241069"/>
                  <a:gd name="connsiteX218" fmla="*/ 9698 w 206220"/>
                  <a:gd name="connsiteY218" fmla="*/ 74094 h 241069"/>
                  <a:gd name="connsiteX219" fmla="*/ 7728 w 206220"/>
                  <a:gd name="connsiteY219" fmla="*/ 77882 h 241069"/>
                  <a:gd name="connsiteX220" fmla="*/ 8334 w 206220"/>
                  <a:gd name="connsiteY220" fmla="*/ 81063 h 241069"/>
                  <a:gd name="connsiteX221" fmla="*/ 10910 w 206220"/>
                  <a:gd name="connsiteY221" fmla="*/ 83639 h 241069"/>
                  <a:gd name="connsiteX222" fmla="*/ 13940 w 206220"/>
                  <a:gd name="connsiteY222" fmla="*/ 85155 h 241069"/>
                  <a:gd name="connsiteX223" fmla="*/ 17274 w 206220"/>
                  <a:gd name="connsiteY223" fmla="*/ 84700 h 241069"/>
                  <a:gd name="connsiteX224" fmla="*/ 18940 w 206220"/>
                  <a:gd name="connsiteY224" fmla="*/ 83942 h 241069"/>
                  <a:gd name="connsiteX225" fmla="*/ 20304 w 206220"/>
                  <a:gd name="connsiteY225" fmla="*/ 82730 h 241069"/>
                  <a:gd name="connsiteX226" fmla="*/ 21668 w 206220"/>
                  <a:gd name="connsiteY226" fmla="*/ 82124 h 241069"/>
                  <a:gd name="connsiteX227" fmla="*/ 23334 w 206220"/>
                  <a:gd name="connsiteY227" fmla="*/ 81973 h 241069"/>
                  <a:gd name="connsiteX228" fmla="*/ 28486 w 206220"/>
                  <a:gd name="connsiteY228" fmla="*/ 82882 h 241069"/>
                  <a:gd name="connsiteX229" fmla="*/ 30001 w 206220"/>
                  <a:gd name="connsiteY229" fmla="*/ 83791 h 241069"/>
                  <a:gd name="connsiteX230" fmla="*/ 30304 w 206220"/>
                  <a:gd name="connsiteY230" fmla="*/ 85458 h 241069"/>
                  <a:gd name="connsiteX231" fmla="*/ 29698 w 206220"/>
                  <a:gd name="connsiteY231" fmla="*/ 90003 h 241069"/>
                  <a:gd name="connsiteX232" fmla="*/ 30456 w 206220"/>
                  <a:gd name="connsiteY232" fmla="*/ 93185 h 241069"/>
                  <a:gd name="connsiteX233" fmla="*/ 31819 w 206220"/>
                  <a:gd name="connsiteY233" fmla="*/ 96670 h 241069"/>
                  <a:gd name="connsiteX234" fmla="*/ 32122 w 206220"/>
                  <a:gd name="connsiteY234" fmla="*/ 99852 h 241069"/>
                  <a:gd name="connsiteX235" fmla="*/ 30304 w 206220"/>
                  <a:gd name="connsiteY235" fmla="*/ 105004 h 241069"/>
                  <a:gd name="connsiteX236" fmla="*/ 28789 w 206220"/>
                  <a:gd name="connsiteY236" fmla="*/ 110004 h 241069"/>
                  <a:gd name="connsiteX237" fmla="*/ 27122 w 206220"/>
                  <a:gd name="connsiteY237" fmla="*/ 112277 h 241069"/>
                  <a:gd name="connsiteX238" fmla="*/ 25910 w 206220"/>
                  <a:gd name="connsiteY238" fmla="*/ 113943 h 241069"/>
                  <a:gd name="connsiteX239" fmla="*/ 25456 w 206220"/>
                  <a:gd name="connsiteY239" fmla="*/ 114852 h 241069"/>
                  <a:gd name="connsiteX240" fmla="*/ 25607 w 206220"/>
                  <a:gd name="connsiteY240" fmla="*/ 115913 h 241069"/>
                  <a:gd name="connsiteX241" fmla="*/ 26819 w 206220"/>
                  <a:gd name="connsiteY241" fmla="*/ 117429 h 241069"/>
                  <a:gd name="connsiteX242" fmla="*/ 28031 w 206220"/>
                  <a:gd name="connsiteY242" fmla="*/ 119247 h 241069"/>
                  <a:gd name="connsiteX243" fmla="*/ 28334 w 206220"/>
                  <a:gd name="connsiteY243" fmla="*/ 121065 h 241069"/>
                  <a:gd name="connsiteX244" fmla="*/ 28183 w 206220"/>
                  <a:gd name="connsiteY244" fmla="*/ 123338 h 241069"/>
                  <a:gd name="connsiteX245" fmla="*/ 27274 w 206220"/>
                  <a:gd name="connsiteY245" fmla="*/ 126368 h 241069"/>
                  <a:gd name="connsiteX246" fmla="*/ 24243 w 206220"/>
                  <a:gd name="connsiteY246" fmla="*/ 133035 h 241069"/>
                  <a:gd name="connsiteX247" fmla="*/ 21668 w 206220"/>
                  <a:gd name="connsiteY247" fmla="*/ 139096 h 241069"/>
                  <a:gd name="connsiteX248" fmla="*/ 23031 w 206220"/>
                  <a:gd name="connsiteY248" fmla="*/ 140157 h 241069"/>
                  <a:gd name="connsiteX249" fmla="*/ 25456 w 206220"/>
                  <a:gd name="connsiteY249" fmla="*/ 141066 h 241069"/>
                  <a:gd name="connsiteX250" fmla="*/ 27122 w 206220"/>
                  <a:gd name="connsiteY250" fmla="*/ 141975 h 241069"/>
                  <a:gd name="connsiteX251" fmla="*/ 28789 w 206220"/>
                  <a:gd name="connsiteY251" fmla="*/ 141369 h 241069"/>
                  <a:gd name="connsiteX252" fmla="*/ 32426 w 206220"/>
                  <a:gd name="connsiteY252" fmla="*/ 137884 h 241069"/>
                  <a:gd name="connsiteX253" fmla="*/ 35607 w 206220"/>
                  <a:gd name="connsiteY253" fmla="*/ 135308 h 241069"/>
                  <a:gd name="connsiteX254" fmla="*/ 39395 w 206220"/>
                  <a:gd name="connsiteY254" fmla="*/ 132581 h 241069"/>
                  <a:gd name="connsiteX255" fmla="*/ 39698 w 206220"/>
                  <a:gd name="connsiteY255" fmla="*/ 132429 h 241069"/>
                  <a:gd name="connsiteX256" fmla="*/ 43032 w 206220"/>
                  <a:gd name="connsiteY256" fmla="*/ 130459 h 241069"/>
                  <a:gd name="connsiteX257" fmla="*/ 44547 w 206220"/>
                  <a:gd name="connsiteY257" fmla="*/ 128641 h 241069"/>
                  <a:gd name="connsiteX258" fmla="*/ 45456 w 206220"/>
                  <a:gd name="connsiteY258" fmla="*/ 126368 h 241069"/>
                  <a:gd name="connsiteX259" fmla="*/ 46669 w 206220"/>
                  <a:gd name="connsiteY259" fmla="*/ 125459 h 241069"/>
                  <a:gd name="connsiteX260" fmla="*/ 48184 w 206220"/>
                  <a:gd name="connsiteY260" fmla="*/ 126065 h 241069"/>
                  <a:gd name="connsiteX261" fmla="*/ 50153 w 206220"/>
                  <a:gd name="connsiteY261" fmla="*/ 125005 h 241069"/>
                  <a:gd name="connsiteX262" fmla="*/ 52578 w 206220"/>
                  <a:gd name="connsiteY262" fmla="*/ 122580 h 241069"/>
                  <a:gd name="connsiteX263" fmla="*/ 54396 w 206220"/>
                  <a:gd name="connsiteY263" fmla="*/ 121368 h 241069"/>
                  <a:gd name="connsiteX264" fmla="*/ 55608 w 206220"/>
                  <a:gd name="connsiteY264" fmla="*/ 121671 h 241069"/>
                  <a:gd name="connsiteX265" fmla="*/ 57881 w 206220"/>
                  <a:gd name="connsiteY265" fmla="*/ 123186 h 241069"/>
                  <a:gd name="connsiteX266" fmla="*/ 61215 w 206220"/>
                  <a:gd name="connsiteY266" fmla="*/ 126065 h 241069"/>
                  <a:gd name="connsiteX267" fmla="*/ 64093 w 206220"/>
                  <a:gd name="connsiteY267" fmla="*/ 127732 h 241069"/>
                  <a:gd name="connsiteX268" fmla="*/ 66670 w 206220"/>
                  <a:gd name="connsiteY268" fmla="*/ 128338 h 241069"/>
                  <a:gd name="connsiteX269" fmla="*/ 68033 w 206220"/>
                  <a:gd name="connsiteY269" fmla="*/ 129399 h 241069"/>
                  <a:gd name="connsiteX270" fmla="*/ 67881 w 206220"/>
                  <a:gd name="connsiteY270" fmla="*/ 131065 h 241069"/>
                  <a:gd name="connsiteX271" fmla="*/ 68488 w 206220"/>
                  <a:gd name="connsiteY271" fmla="*/ 131974 h 241069"/>
                  <a:gd name="connsiteX272" fmla="*/ 69700 w 206220"/>
                  <a:gd name="connsiteY272" fmla="*/ 132429 h 241069"/>
                  <a:gd name="connsiteX273" fmla="*/ 70154 w 206220"/>
                  <a:gd name="connsiteY273" fmla="*/ 132277 h 241069"/>
                  <a:gd name="connsiteX274" fmla="*/ 70003 w 206220"/>
                  <a:gd name="connsiteY274" fmla="*/ 131520 h 241069"/>
                  <a:gd name="connsiteX275" fmla="*/ 71215 w 206220"/>
                  <a:gd name="connsiteY275" fmla="*/ 130308 h 241069"/>
                  <a:gd name="connsiteX276" fmla="*/ 73639 w 206220"/>
                  <a:gd name="connsiteY276" fmla="*/ 128944 h 241069"/>
                  <a:gd name="connsiteX277" fmla="*/ 76215 w 206220"/>
                  <a:gd name="connsiteY277" fmla="*/ 128035 h 241069"/>
                  <a:gd name="connsiteX278" fmla="*/ 78791 w 206220"/>
                  <a:gd name="connsiteY278" fmla="*/ 127732 h 241069"/>
                  <a:gd name="connsiteX279" fmla="*/ 80306 w 206220"/>
                  <a:gd name="connsiteY279" fmla="*/ 126520 h 241069"/>
                  <a:gd name="connsiteX280" fmla="*/ 81518 w 206220"/>
                  <a:gd name="connsiteY280" fmla="*/ 123489 h 241069"/>
                  <a:gd name="connsiteX281" fmla="*/ 83034 w 206220"/>
                  <a:gd name="connsiteY281" fmla="*/ 121065 h 241069"/>
                  <a:gd name="connsiteX282" fmla="*/ 84397 w 206220"/>
                  <a:gd name="connsiteY282" fmla="*/ 120004 h 241069"/>
                  <a:gd name="connsiteX283" fmla="*/ 86215 w 206220"/>
                  <a:gd name="connsiteY283" fmla="*/ 119550 h 241069"/>
                  <a:gd name="connsiteX284" fmla="*/ 86670 w 206220"/>
                  <a:gd name="connsiteY284" fmla="*/ 118792 h 241069"/>
                  <a:gd name="connsiteX285" fmla="*/ 85761 w 206220"/>
                  <a:gd name="connsiteY285" fmla="*/ 117883 h 241069"/>
                  <a:gd name="connsiteX286" fmla="*/ 85912 w 206220"/>
                  <a:gd name="connsiteY286" fmla="*/ 116822 h 241069"/>
                  <a:gd name="connsiteX287" fmla="*/ 86822 w 206220"/>
                  <a:gd name="connsiteY287" fmla="*/ 115913 h 241069"/>
                  <a:gd name="connsiteX288" fmla="*/ 88943 w 206220"/>
                  <a:gd name="connsiteY288" fmla="*/ 115459 h 241069"/>
                  <a:gd name="connsiteX289" fmla="*/ 92276 w 206220"/>
                  <a:gd name="connsiteY289" fmla="*/ 115610 h 241069"/>
                  <a:gd name="connsiteX290" fmla="*/ 96216 w 206220"/>
                  <a:gd name="connsiteY290" fmla="*/ 116519 h 241069"/>
                  <a:gd name="connsiteX291" fmla="*/ 100610 w 206220"/>
                  <a:gd name="connsiteY291" fmla="*/ 118489 h 241069"/>
                  <a:gd name="connsiteX292" fmla="*/ 103489 w 206220"/>
                  <a:gd name="connsiteY292" fmla="*/ 119095 h 241069"/>
                  <a:gd name="connsiteX293" fmla="*/ 105004 w 206220"/>
                  <a:gd name="connsiteY293" fmla="*/ 118338 h 241069"/>
                  <a:gd name="connsiteX294" fmla="*/ 107580 w 206220"/>
                  <a:gd name="connsiteY294" fmla="*/ 121217 h 241069"/>
                  <a:gd name="connsiteX295" fmla="*/ 111671 w 206220"/>
                  <a:gd name="connsiteY295" fmla="*/ 127732 h 241069"/>
                  <a:gd name="connsiteX296" fmla="*/ 115156 w 206220"/>
                  <a:gd name="connsiteY296" fmla="*/ 132581 h 241069"/>
                  <a:gd name="connsiteX297" fmla="*/ 118035 w 206220"/>
                  <a:gd name="connsiteY297" fmla="*/ 135762 h 241069"/>
                  <a:gd name="connsiteX298" fmla="*/ 121065 w 206220"/>
                  <a:gd name="connsiteY298" fmla="*/ 138338 h 241069"/>
                  <a:gd name="connsiteX299" fmla="*/ 124247 w 206220"/>
                  <a:gd name="connsiteY299" fmla="*/ 140005 h 241069"/>
                  <a:gd name="connsiteX300" fmla="*/ 126520 w 206220"/>
                  <a:gd name="connsiteY300" fmla="*/ 142429 h 241069"/>
                  <a:gd name="connsiteX301" fmla="*/ 128641 w 206220"/>
                  <a:gd name="connsiteY301" fmla="*/ 146975 h 241069"/>
                  <a:gd name="connsiteX302" fmla="*/ 127126 w 206220"/>
                  <a:gd name="connsiteY302" fmla="*/ 153187 h 241069"/>
                  <a:gd name="connsiteX303" fmla="*/ 126672 w 206220"/>
                  <a:gd name="connsiteY303" fmla="*/ 158642 h 241069"/>
                  <a:gd name="connsiteX304" fmla="*/ 126823 w 206220"/>
                  <a:gd name="connsiteY304" fmla="*/ 165309 h 241069"/>
                  <a:gd name="connsiteX305" fmla="*/ 128793 w 206220"/>
                  <a:gd name="connsiteY305" fmla="*/ 170309 h 241069"/>
                  <a:gd name="connsiteX306" fmla="*/ 132278 w 206220"/>
                  <a:gd name="connsiteY306" fmla="*/ 173794 h 241069"/>
                  <a:gd name="connsiteX307" fmla="*/ 134399 w 206220"/>
                  <a:gd name="connsiteY307" fmla="*/ 176673 h 241069"/>
                  <a:gd name="connsiteX308" fmla="*/ 135005 w 206220"/>
                  <a:gd name="connsiteY308" fmla="*/ 178794 h 241069"/>
                  <a:gd name="connsiteX309" fmla="*/ 137732 w 206220"/>
                  <a:gd name="connsiteY309" fmla="*/ 180764 h 241069"/>
                  <a:gd name="connsiteX310" fmla="*/ 142733 w 206220"/>
                  <a:gd name="connsiteY310" fmla="*/ 182279 h 241069"/>
                  <a:gd name="connsiteX311" fmla="*/ 144854 w 206220"/>
                  <a:gd name="connsiteY311" fmla="*/ 183643 h 241069"/>
                  <a:gd name="connsiteX312" fmla="*/ 143945 w 206220"/>
                  <a:gd name="connsiteY312" fmla="*/ 184855 h 241069"/>
                  <a:gd name="connsiteX313" fmla="*/ 143945 w 206220"/>
                  <a:gd name="connsiteY313" fmla="*/ 186370 h 241069"/>
                  <a:gd name="connsiteX314" fmla="*/ 144551 w 206220"/>
                  <a:gd name="connsiteY314" fmla="*/ 188037 h 241069"/>
                  <a:gd name="connsiteX315" fmla="*/ 146369 w 206220"/>
                  <a:gd name="connsiteY315" fmla="*/ 189401 h 241069"/>
                  <a:gd name="connsiteX316" fmla="*/ 149096 w 206220"/>
                  <a:gd name="connsiteY316" fmla="*/ 190461 h 241069"/>
                  <a:gd name="connsiteX317" fmla="*/ 150763 w 206220"/>
                  <a:gd name="connsiteY317" fmla="*/ 191674 h 241069"/>
                  <a:gd name="connsiteX318" fmla="*/ 151218 w 206220"/>
                  <a:gd name="connsiteY318" fmla="*/ 192886 h 241069"/>
                  <a:gd name="connsiteX319" fmla="*/ 151218 w 206220"/>
                  <a:gd name="connsiteY319" fmla="*/ 194855 h 241069"/>
                  <a:gd name="connsiteX320" fmla="*/ 150460 w 206220"/>
                  <a:gd name="connsiteY320" fmla="*/ 197583 h 241069"/>
                  <a:gd name="connsiteX321" fmla="*/ 149400 w 206220"/>
                  <a:gd name="connsiteY321" fmla="*/ 199704 h 241069"/>
                  <a:gd name="connsiteX322" fmla="*/ 147733 w 206220"/>
                  <a:gd name="connsiteY322" fmla="*/ 201068 h 241069"/>
                  <a:gd name="connsiteX323" fmla="*/ 147582 w 206220"/>
                  <a:gd name="connsiteY323" fmla="*/ 202280 h 241069"/>
                  <a:gd name="connsiteX324" fmla="*/ 147127 w 206220"/>
                  <a:gd name="connsiteY324" fmla="*/ 203947 h 241069"/>
                  <a:gd name="connsiteX325" fmla="*/ 147127 w 206220"/>
                  <a:gd name="connsiteY325" fmla="*/ 207583 h 241069"/>
                  <a:gd name="connsiteX326" fmla="*/ 148339 w 206220"/>
                  <a:gd name="connsiteY326" fmla="*/ 210007 h 241069"/>
                  <a:gd name="connsiteX327" fmla="*/ 148642 w 206220"/>
                  <a:gd name="connsiteY327" fmla="*/ 213038 h 241069"/>
                  <a:gd name="connsiteX328" fmla="*/ 148036 w 206220"/>
                  <a:gd name="connsiteY328" fmla="*/ 215462 h 241069"/>
                  <a:gd name="connsiteX329" fmla="*/ 147430 w 206220"/>
                  <a:gd name="connsiteY329" fmla="*/ 220614 h 241069"/>
                  <a:gd name="connsiteX330" fmla="*/ 147278 w 206220"/>
                  <a:gd name="connsiteY330" fmla="*/ 222584 h 241069"/>
                  <a:gd name="connsiteX331" fmla="*/ 146672 w 206220"/>
                  <a:gd name="connsiteY331" fmla="*/ 224250 h 241069"/>
                  <a:gd name="connsiteX332" fmla="*/ 145308 w 206220"/>
                  <a:gd name="connsiteY332" fmla="*/ 225766 h 241069"/>
                  <a:gd name="connsiteX333" fmla="*/ 143036 w 206220"/>
                  <a:gd name="connsiteY333" fmla="*/ 227432 h 241069"/>
                  <a:gd name="connsiteX334" fmla="*/ 140308 w 206220"/>
                  <a:gd name="connsiteY334" fmla="*/ 228645 h 241069"/>
                  <a:gd name="connsiteX335" fmla="*/ 138642 w 206220"/>
                  <a:gd name="connsiteY335" fmla="*/ 229251 h 241069"/>
                  <a:gd name="connsiteX336" fmla="*/ 138793 w 206220"/>
                  <a:gd name="connsiteY336" fmla="*/ 230008 h 241069"/>
                  <a:gd name="connsiteX337" fmla="*/ 139399 w 206220"/>
                  <a:gd name="connsiteY337" fmla="*/ 231675 h 241069"/>
                  <a:gd name="connsiteX338" fmla="*/ 140460 w 206220"/>
                  <a:gd name="connsiteY338" fmla="*/ 233342 h 241069"/>
                  <a:gd name="connsiteX339" fmla="*/ 141520 w 206220"/>
                  <a:gd name="connsiteY339" fmla="*/ 234402 h 241069"/>
                  <a:gd name="connsiteX340" fmla="*/ 143187 w 206220"/>
                  <a:gd name="connsiteY340" fmla="*/ 235918 h 241069"/>
                  <a:gd name="connsiteX341" fmla="*/ 144399 w 206220"/>
                  <a:gd name="connsiteY341" fmla="*/ 235918 h 241069"/>
                  <a:gd name="connsiteX342" fmla="*/ 148187 w 206220"/>
                  <a:gd name="connsiteY342" fmla="*/ 234554 h 241069"/>
                  <a:gd name="connsiteX343" fmla="*/ 153945 w 206220"/>
                  <a:gd name="connsiteY343" fmla="*/ 236524 h 241069"/>
                  <a:gd name="connsiteX344" fmla="*/ 154551 w 206220"/>
                  <a:gd name="connsiteY344" fmla="*/ 237584 h 241069"/>
                  <a:gd name="connsiteX345" fmla="*/ 156370 w 206220"/>
                  <a:gd name="connsiteY345" fmla="*/ 239554 h 241069"/>
                  <a:gd name="connsiteX346" fmla="*/ 158491 w 206220"/>
                  <a:gd name="connsiteY346" fmla="*/ 241069 h 241069"/>
                  <a:gd name="connsiteX347" fmla="*/ 162885 w 206220"/>
                  <a:gd name="connsiteY347" fmla="*/ 241069 h 241069"/>
                  <a:gd name="connsiteX348" fmla="*/ 164400 w 206220"/>
                  <a:gd name="connsiteY348" fmla="*/ 237584 h 241069"/>
                  <a:gd name="connsiteX349" fmla="*/ 163643 w 206220"/>
                  <a:gd name="connsiteY349" fmla="*/ 235463 h 241069"/>
                  <a:gd name="connsiteX350" fmla="*/ 161218 w 206220"/>
                  <a:gd name="connsiteY350" fmla="*/ 231675 h 241069"/>
                  <a:gd name="connsiteX351" fmla="*/ 160460 w 206220"/>
                  <a:gd name="connsiteY351" fmla="*/ 229402 h 241069"/>
                  <a:gd name="connsiteX352" fmla="*/ 161218 w 206220"/>
                  <a:gd name="connsiteY352" fmla="*/ 228948 h 241069"/>
                  <a:gd name="connsiteX353" fmla="*/ 165613 w 206220"/>
                  <a:gd name="connsiteY353" fmla="*/ 228645 h 241069"/>
                  <a:gd name="connsiteX354" fmla="*/ 166218 w 206220"/>
                  <a:gd name="connsiteY354" fmla="*/ 228190 h 241069"/>
                  <a:gd name="connsiteX355" fmla="*/ 167279 w 206220"/>
                  <a:gd name="connsiteY355" fmla="*/ 225766 h 241069"/>
                  <a:gd name="connsiteX356" fmla="*/ 168340 w 206220"/>
                  <a:gd name="connsiteY356" fmla="*/ 225917 h 241069"/>
                  <a:gd name="connsiteX357" fmla="*/ 170764 w 206220"/>
                  <a:gd name="connsiteY357" fmla="*/ 226372 h 241069"/>
                  <a:gd name="connsiteX358" fmla="*/ 173340 w 206220"/>
                  <a:gd name="connsiteY358" fmla="*/ 224705 h 241069"/>
                  <a:gd name="connsiteX359" fmla="*/ 174703 w 206220"/>
                  <a:gd name="connsiteY359" fmla="*/ 222887 h 241069"/>
                  <a:gd name="connsiteX360" fmla="*/ 175613 w 206220"/>
                  <a:gd name="connsiteY360" fmla="*/ 223644 h 241069"/>
                  <a:gd name="connsiteX361" fmla="*/ 176522 w 206220"/>
                  <a:gd name="connsiteY361" fmla="*/ 224857 h 241069"/>
                  <a:gd name="connsiteX362" fmla="*/ 177431 w 206220"/>
                  <a:gd name="connsiteY362" fmla="*/ 225614 h 241069"/>
                  <a:gd name="connsiteX363" fmla="*/ 179249 w 206220"/>
                  <a:gd name="connsiteY363" fmla="*/ 226675 h 241069"/>
                  <a:gd name="connsiteX364" fmla="*/ 181219 w 206220"/>
                  <a:gd name="connsiteY364" fmla="*/ 228190 h 241069"/>
                  <a:gd name="connsiteX365" fmla="*/ 182431 w 206220"/>
                  <a:gd name="connsiteY365" fmla="*/ 229554 h 241069"/>
                  <a:gd name="connsiteX366" fmla="*/ 183492 w 206220"/>
                  <a:gd name="connsiteY366" fmla="*/ 230160 h 241069"/>
                  <a:gd name="connsiteX367" fmla="*/ 186067 w 206220"/>
                  <a:gd name="connsiteY367" fmla="*/ 229857 h 241069"/>
                  <a:gd name="connsiteX368" fmla="*/ 186674 w 206220"/>
                  <a:gd name="connsiteY368" fmla="*/ 229857 h 241069"/>
                  <a:gd name="connsiteX369" fmla="*/ 188189 w 206220"/>
                  <a:gd name="connsiteY369" fmla="*/ 228038 h 241069"/>
                  <a:gd name="connsiteX370" fmla="*/ 189250 w 206220"/>
                  <a:gd name="connsiteY370" fmla="*/ 227129 h 241069"/>
                  <a:gd name="connsiteX371" fmla="*/ 190159 w 206220"/>
                  <a:gd name="connsiteY371" fmla="*/ 227432 h 241069"/>
                  <a:gd name="connsiteX372" fmla="*/ 191371 w 206220"/>
                  <a:gd name="connsiteY372" fmla="*/ 227432 h 241069"/>
                  <a:gd name="connsiteX373" fmla="*/ 194098 w 206220"/>
                  <a:gd name="connsiteY373" fmla="*/ 225160 h 241069"/>
                  <a:gd name="connsiteX374" fmla="*/ 195613 w 206220"/>
                  <a:gd name="connsiteY374" fmla="*/ 223038 h 241069"/>
                  <a:gd name="connsiteX375" fmla="*/ 196371 w 206220"/>
                  <a:gd name="connsiteY375" fmla="*/ 222432 h 241069"/>
                  <a:gd name="connsiteX376" fmla="*/ 198795 w 206220"/>
                  <a:gd name="connsiteY376" fmla="*/ 223493 h 241069"/>
                  <a:gd name="connsiteX377" fmla="*/ 199705 w 206220"/>
                  <a:gd name="connsiteY377" fmla="*/ 223341 h 241069"/>
                  <a:gd name="connsiteX378" fmla="*/ 201068 w 206220"/>
                  <a:gd name="connsiteY378" fmla="*/ 220462 h 241069"/>
                  <a:gd name="connsiteX379" fmla="*/ 202583 w 206220"/>
                  <a:gd name="connsiteY379" fmla="*/ 219402 h 241069"/>
                  <a:gd name="connsiteX380" fmla="*/ 202432 w 206220"/>
                  <a:gd name="connsiteY380" fmla="*/ 216220 h 241069"/>
                  <a:gd name="connsiteX381" fmla="*/ 202735 w 206220"/>
                  <a:gd name="connsiteY381" fmla="*/ 214705 h 241069"/>
                  <a:gd name="connsiteX382" fmla="*/ 202280 w 206220"/>
                  <a:gd name="connsiteY382" fmla="*/ 213493 h 241069"/>
                  <a:gd name="connsiteX383" fmla="*/ 201523 w 206220"/>
                  <a:gd name="connsiteY383" fmla="*/ 211674 h 241069"/>
                  <a:gd name="connsiteX384" fmla="*/ 201977 w 206220"/>
                  <a:gd name="connsiteY384" fmla="*/ 210614 h 241069"/>
                  <a:gd name="connsiteX385" fmla="*/ 203644 w 206220"/>
                  <a:gd name="connsiteY385" fmla="*/ 209553 h 241069"/>
                  <a:gd name="connsiteX386" fmla="*/ 204553 w 206220"/>
                  <a:gd name="connsiteY386" fmla="*/ 207886 h 241069"/>
                  <a:gd name="connsiteX387" fmla="*/ 205765 w 206220"/>
                  <a:gd name="connsiteY387" fmla="*/ 205917 h 241069"/>
                  <a:gd name="connsiteX388" fmla="*/ 206220 w 206220"/>
                  <a:gd name="connsiteY388" fmla="*/ 204098 h 241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Lst>
                <a:rect l="l" t="t" r="r" b="b"/>
                <a:pathLst>
                  <a:path w="206220" h="241069">
                    <a:moveTo>
                      <a:pt x="205462" y="202583"/>
                    </a:moveTo>
                    <a:lnTo>
                      <a:pt x="203796" y="200310"/>
                    </a:lnTo>
                    <a:lnTo>
                      <a:pt x="200917" y="198189"/>
                    </a:lnTo>
                    <a:lnTo>
                      <a:pt x="197735" y="195613"/>
                    </a:lnTo>
                    <a:lnTo>
                      <a:pt x="196068" y="193946"/>
                    </a:lnTo>
                    <a:lnTo>
                      <a:pt x="194704" y="192280"/>
                    </a:lnTo>
                    <a:lnTo>
                      <a:pt x="193644" y="190310"/>
                    </a:lnTo>
                    <a:lnTo>
                      <a:pt x="192886" y="188795"/>
                    </a:lnTo>
                    <a:lnTo>
                      <a:pt x="193492" y="187886"/>
                    </a:lnTo>
                    <a:lnTo>
                      <a:pt x="198189" y="185461"/>
                    </a:lnTo>
                    <a:lnTo>
                      <a:pt x="199099" y="184704"/>
                    </a:lnTo>
                    <a:lnTo>
                      <a:pt x="199553" y="183340"/>
                    </a:lnTo>
                    <a:lnTo>
                      <a:pt x="199250" y="182128"/>
                    </a:lnTo>
                    <a:lnTo>
                      <a:pt x="198038" y="181370"/>
                    </a:lnTo>
                    <a:lnTo>
                      <a:pt x="196522" y="180916"/>
                    </a:lnTo>
                    <a:lnTo>
                      <a:pt x="194401" y="179552"/>
                    </a:lnTo>
                    <a:lnTo>
                      <a:pt x="190310" y="175461"/>
                    </a:lnTo>
                    <a:lnTo>
                      <a:pt x="188492" y="174552"/>
                    </a:lnTo>
                    <a:lnTo>
                      <a:pt x="186522" y="173491"/>
                    </a:lnTo>
                    <a:lnTo>
                      <a:pt x="185462" y="172279"/>
                    </a:lnTo>
                    <a:lnTo>
                      <a:pt x="184249" y="168945"/>
                    </a:lnTo>
                    <a:lnTo>
                      <a:pt x="183795" y="168642"/>
                    </a:lnTo>
                    <a:lnTo>
                      <a:pt x="182734" y="169551"/>
                    </a:lnTo>
                    <a:lnTo>
                      <a:pt x="181219" y="170612"/>
                    </a:lnTo>
                    <a:lnTo>
                      <a:pt x="180007" y="170461"/>
                    </a:lnTo>
                    <a:lnTo>
                      <a:pt x="178946" y="169551"/>
                    </a:lnTo>
                    <a:lnTo>
                      <a:pt x="178491" y="168339"/>
                    </a:lnTo>
                    <a:lnTo>
                      <a:pt x="177279" y="166521"/>
                    </a:lnTo>
                    <a:lnTo>
                      <a:pt x="175916" y="165157"/>
                    </a:lnTo>
                    <a:lnTo>
                      <a:pt x="175613" y="160309"/>
                    </a:lnTo>
                    <a:lnTo>
                      <a:pt x="175461" y="158794"/>
                    </a:lnTo>
                    <a:lnTo>
                      <a:pt x="174703" y="156672"/>
                    </a:lnTo>
                    <a:lnTo>
                      <a:pt x="173794" y="155915"/>
                    </a:lnTo>
                    <a:lnTo>
                      <a:pt x="172734" y="155309"/>
                    </a:lnTo>
                    <a:lnTo>
                      <a:pt x="170158" y="151369"/>
                    </a:lnTo>
                    <a:lnTo>
                      <a:pt x="168340" y="149248"/>
                    </a:lnTo>
                    <a:lnTo>
                      <a:pt x="161218" y="143793"/>
                    </a:lnTo>
                    <a:lnTo>
                      <a:pt x="160309" y="142884"/>
                    </a:lnTo>
                    <a:lnTo>
                      <a:pt x="158339" y="140611"/>
                    </a:lnTo>
                    <a:lnTo>
                      <a:pt x="155006" y="137278"/>
                    </a:lnTo>
                    <a:lnTo>
                      <a:pt x="152582" y="134702"/>
                    </a:lnTo>
                    <a:lnTo>
                      <a:pt x="150763" y="131974"/>
                    </a:lnTo>
                    <a:lnTo>
                      <a:pt x="150006" y="129702"/>
                    </a:lnTo>
                    <a:lnTo>
                      <a:pt x="149703" y="127732"/>
                    </a:lnTo>
                    <a:lnTo>
                      <a:pt x="147884" y="125156"/>
                    </a:lnTo>
                    <a:lnTo>
                      <a:pt x="146218" y="123035"/>
                    </a:lnTo>
                    <a:lnTo>
                      <a:pt x="144551" y="122277"/>
                    </a:lnTo>
                    <a:lnTo>
                      <a:pt x="142733" y="121974"/>
                    </a:lnTo>
                    <a:lnTo>
                      <a:pt x="141217" y="120762"/>
                    </a:lnTo>
                    <a:lnTo>
                      <a:pt x="138187" y="117883"/>
                    </a:lnTo>
                    <a:lnTo>
                      <a:pt x="136823" y="115913"/>
                    </a:lnTo>
                    <a:lnTo>
                      <a:pt x="136066" y="114701"/>
                    </a:lnTo>
                    <a:lnTo>
                      <a:pt x="136066" y="113337"/>
                    </a:lnTo>
                    <a:lnTo>
                      <a:pt x="136823" y="111216"/>
                    </a:lnTo>
                    <a:lnTo>
                      <a:pt x="137581" y="110004"/>
                    </a:lnTo>
                    <a:lnTo>
                      <a:pt x="137732" y="109095"/>
                    </a:lnTo>
                    <a:lnTo>
                      <a:pt x="136823" y="108186"/>
                    </a:lnTo>
                    <a:lnTo>
                      <a:pt x="133490" y="106822"/>
                    </a:lnTo>
                    <a:lnTo>
                      <a:pt x="125914" y="104701"/>
                    </a:lnTo>
                    <a:lnTo>
                      <a:pt x="123035" y="103186"/>
                    </a:lnTo>
                    <a:lnTo>
                      <a:pt x="120459" y="101064"/>
                    </a:lnTo>
                    <a:lnTo>
                      <a:pt x="118489" y="99700"/>
                    </a:lnTo>
                    <a:lnTo>
                      <a:pt x="109247" y="93640"/>
                    </a:lnTo>
                    <a:lnTo>
                      <a:pt x="106519" y="92731"/>
                    </a:lnTo>
                    <a:lnTo>
                      <a:pt x="104095" y="91670"/>
                    </a:lnTo>
                    <a:lnTo>
                      <a:pt x="103337" y="90609"/>
                    </a:lnTo>
                    <a:lnTo>
                      <a:pt x="103489" y="89549"/>
                    </a:lnTo>
                    <a:lnTo>
                      <a:pt x="104398" y="88943"/>
                    </a:lnTo>
                    <a:lnTo>
                      <a:pt x="107125" y="87276"/>
                    </a:lnTo>
                    <a:lnTo>
                      <a:pt x="108034" y="85609"/>
                    </a:lnTo>
                    <a:lnTo>
                      <a:pt x="107732" y="83336"/>
                    </a:lnTo>
                    <a:lnTo>
                      <a:pt x="106671" y="80912"/>
                    </a:lnTo>
                    <a:lnTo>
                      <a:pt x="107125" y="80154"/>
                    </a:lnTo>
                    <a:lnTo>
                      <a:pt x="108034" y="80003"/>
                    </a:lnTo>
                    <a:lnTo>
                      <a:pt x="109853" y="80003"/>
                    </a:lnTo>
                    <a:lnTo>
                      <a:pt x="113489" y="79851"/>
                    </a:lnTo>
                    <a:lnTo>
                      <a:pt x="121217" y="81973"/>
                    </a:lnTo>
                    <a:lnTo>
                      <a:pt x="122429" y="81670"/>
                    </a:lnTo>
                    <a:lnTo>
                      <a:pt x="126672" y="77882"/>
                    </a:lnTo>
                    <a:lnTo>
                      <a:pt x="128187" y="75609"/>
                    </a:lnTo>
                    <a:lnTo>
                      <a:pt x="128641" y="73639"/>
                    </a:lnTo>
                    <a:lnTo>
                      <a:pt x="129399" y="72427"/>
                    </a:lnTo>
                    <a:lnTo>
                      <a:pt x="131672" y="70457"/>
                    </a:lnTo>
                    <a:lnTo>
                      <a:pt x="131672" y="68639"/>
                    </a:lnTo>
                    <a:lnTo>
                      <a:pt x="130611" y="66214"/>
                    </a:lnTo>
                    <a:lnTo>
                      <a:pt x="129551" y="65305"/>
                    </a:lnTo>
                    <a:lnTo>
                      <a:pt x="128490" y="64851"/>
                    </a:lnTo>
                    <a:lnTo>
                      <a:pt x="125459" y="65154"/>
                    </a:lnTo>
                    <a:lnTo>
                      <a:pt x="124853" y="64548"/>
                    </a:lnTo>
                    <a:lnTo>
                      <a:pt x="124399" y="62730"/>
                    </a:lnTo>
                    <a:lnTo>
                      <a:pt x="124247" y="61669"/>
                    </a:lnTo>
                    <a:lnTo>
                      <a:pt x="123186" y="60305"/>
                    </a:lnTo>
                    <a:lnTo>
                      <a:pt x="119853" y="59244"/>
                    </a:lnTo>
                    <a:lnTo>
                      <a:pt x="116974" y="58942"/>
                    </a:lnTo>
                    <a:lnTo>
                      <a:pt x="116368" y="58487"/>
                    </a:lnTo>
                    <a:lnTo>
                      <a:pt x="117429" y="57275"/>
                    </a:lnTo>
                    <a:lnTo>
                      <a:pt x="119398" y="55911"/>
                    </a:lnTo>
                    <a:lnTo>
                      <a:pt x="120914" y="55305"/>
                    </a:lnTo>
                    <a:lnTo>
                      <a:pt x="122126" y="53941"/>
                    </a:lnTo>
                    <a:lnTo>
                      <a:pt x="122277" y="52577"/>
                    </a:lnTo>
                    <a:lnTo>
                      <a:pt x="120762" y="51517"/>
                    </a:lnTo>
                    <a:lnTo>
                      <a:pt x="118944" y="50153"/>
                    </a:lnTo>
                    <a:lnTo>
                      <a:pt x="115914" y="47729"/>
                    </a:lnTo>
                    <a:lnTo>
                      <a:pt x="111671" y="45001"/>
                    </a:lnTo>
                    <a:lnTo>
                      <a:pt x="109095" y="44092"/>
                    </a:lnTo>
                    <a:lnTo>
                      <a:pt x="107732" y="44244"/>
                    </a:lnTo>
                    <a:lnTo>
                      <a:pt x="103034" y="46517"/>
                    </a:lnTo>
                    <a:lnTo>
                      <a:pt x="100610" y="48032"/>
                    </a:lnTo>
                    <a:lnTo>
                      <a:pt x="98489" y="50608"/>
                    </a:lnTo>
                    <a:lnTo>
                      <a:pt x="96367" y="51214"/>
                    </a:lnTo>
                    <a:lnTo>
                      <a:pt x="94095" y="50002"/>
                    </a:lnTo>
                    <a:lnTo>
                      <a:pt x="91670" y="48789"/>
                    </a:lnTo>
                    <a:lnTo>
                      <a:pt x="84700" y="47123"/>
                    </a:lnTo>
                    <a:lnTo>
                      <a:pt x="81822" y="45608"/>
                    </a:lnTo>
                    <a:lnTo>
                      <a:pt x="75760" y="36819"/>
                    </a:lnTo>
                    <a:lnTo>
                      <a:pt x="74851" y="35001"/>
                    </a:lnTo>
                    <a:lnTo>
                      <a:pt x="75458" y="33031"/>
                    </a:lnTo>
                    <a:lnTo>
                      <a:pt x="75912" y="30152"/>
                    </a:lnTo>
                    <a:lnTo>
                      <a:pt x="76518" y="28183"/>
                    </a:lnTo>
                    <a:lnTo>
                      <a:pt x="77579" y="26364"/>
                    </a:lnTo>
                    <a:lnTo>
                      <a:pt x="77882" y="24849"/>
                    </a:lnTo>
                    <a:lnTo>
                      <a:pt x="77579" y="23183"/>
                    </a:lnTo>
                    <a:lnTo>
                      <a:pt x="76669" y="22273"/>
                    </a:lnTo>
                    <a:lnTo>
                      <a:pt x="75609" y="21970"/>
                    </a:lnTo>
                    <a:lnTo>
                      <a:pt x="74700" y="21667"/>
                    </a:lnTo>
                    <a:lnTo>
                      <a:pt x="73942" y="19546"/>
                    </a:lnTo>
                    <a:lnTo>
                      <a:pt x="73488" y="19849"/>
                    </a:lnTo>
                    <a:lnTo>
                      <a:pt x="72730" y="22425"/>
                    </a:lnTo>
                    <a:lnTo>
                      <a:pt x="71821" y="23334"/>
                    </a:lnTo>
                    <a:lnTo>
                      <a:pt x="70609" y="23789"/>
                    </a:lnTo>
                    <a:lnTo>
                      <a:pt x="69700" y="23334"/>
                    </a:lnTo>
                    <a:lnTo>
                      <a:pt x="69093" y="22273"/>
                    </a:lnTo>
                    <a:lnTo>
                      <a:pt x="68791" y="20607"/>
                    </a:lnTo>
                    <a:lnTo>
                      <a:pt x="68336" y="18334"/>
                    </a:lnTo>
                    <a:lnTo>
                      <a:pt x="67579" y="16819"/>
                    </a:lnTo>
                    <a:lnTo>
                      <a:pt x="65003" y="15304"/>
                    </a:lnTo>
                    <a:lnTo>
                      <a:pt x="63639" y="13334"/>
                    </a:lnTo>
                    <a:lnTo>
                      <a:pt x="59851" y="9091"/>
                    </a:lnTo>
                    <a:lnTo>
                      <a:pt x="56669" y="6061"/>
                    </a:lnTo>
                    <a:lnTo>
                      <a:pt x="55154" y="3333"/>
                    </a:lnTo>
                    <a:lnTo>
                      <a:pt x="54093" y="2273"/>
                    </a:lnTo>
                    <a:lnTo>
                      <a:pt x="52275" y="1515"/>
                    </a:lnTo>
                    <a:lnTo>
                      <a:pt x="50153" y="1515"/>
                    </a:lnTo>
                    <a:lnTo>
                      <a:pt x="47274" y="3030"/>
                    </a:lnTo>
                    <a:lnTo>
                      <a:pt x="45002" y="151"/>
                    </a:lnTo>
                    <a:lnTo>
                      <a:pt x="44396" y="0"/>
                    </a:lnTo>
                    <a:lnTo>
                      <a:pt x="43638" y="151"/>
                    </a:lnTo>
                    <a:lnTo>
                      <a:pt x="42577" y="909"/>
                    </a:lnTo>
                    <a:lnTo>
                      <a:pt x="41972" y="2576"/>
                    </a:lnTo>
                    <a:lnTo>
                      <a:pt x="41214" y="4697"/>
                    </a:lnTo>
                    <a:lnTo>
                      <a:pt x="39698" y="6212"/>
                    </a:lnTo>
                    <a:lnTo>
                      <a:pt x="38638" y="6818"/>
                    </a:lnTo>
                    <a:lnTo>
                      <a:pt x="38941" y="8182"/>
                    </a:lnTo>
                    <a:lnTo>
                      <a:pt x="39547" y="9546"/>
                    </a:lnTo>
                    <a:lnTo>
                      <a:pt x="39547" y="10606"/>
                    </a:lnTo>
                    <a:lnTo>
                      <a:pt x="40002" y="12576"/>
                    </a:lnTo>
                    <a:lnTo>
                      <a:pt x="40759" y="14394"/>
                    </a:lnTo>
                    <a:lnTo>
                      <a:pt x="43335" y="17425"/>
                    </a:lnTo>
                    <a:lnTo>
                      <a:pt x="44396" y="19092"/>
                    </a:lnTo>
                    <a:lnTo>
                      <a:pt x="44547" y="20455"/>
                    </a:lnTo>
                    <a:lnTo>
                      <a:pt x="44699" y="25304"/>
                    </a:lnTo>
                    <a:lnTo>
                      <a:pt x="44547" y="27425"/>
                    </a:lnTo>
                    <a:lnTo>
                      <a:pt x="44093" y="31365"/>
                    </a:lnTo>
                    <a:lnTo>
                      <a:pt x="43941" y="33637"/>
                    </a:lnTo>
                    <a:lnTo>
                      <a:pt x="45153" y="34698"/>
                    </a:lnTo>
                    <a:lnTo>
                      <a:pt x="46214" y="35910"/>
                    </a:lnTo>
                    <a:lnTo>
                      <a:pt x="46062" y="36516"/>
                    </a:lnTo>
                    <a:lnTo>
                      <a:pt x="45608" y="36819"/>
                    </a:lnTo>
                    <a:lnTo>
                      <a:pt x="44093" y="38183"/>
                    </a:lnTo>
                    <a:lnTo>
                      <a:pt x="43486" y="38335"/>
                    </a:lnTo>
                    <a:lnTo>
                      <a:pt x="42577" y="37729"/>
                    </a:lnTo>
                    <a:lnTo>
                      <a:pt x="41214" y="37425"/>
                    </a:lnTo>
                    <a:lnTo>
                      <a:pt x="40153" y="36819"/>
                    </a:lnTo>
                    <a:lnTo>
                      <a:pt x="39093" y="35910"/>
                    </a:lnTo>
                    <a:lnTo>
                      <a:pt x="36365" y="36062"/>
                    </a:lnTo>
                    <a:lnTo>
                      <a:pt x="31971" y="37425"/>
                    </a:lnTo>
                    <a:lnTo>
                      <a:pt x="31062" y="36971"/>
                    </a:lnTo>
                    <a:lnTo>
                      <a:pt x="30304" y="36213"/>
                    </a:lnTo>
                    <a:lnTo>
                      <a:pt x="30001" y="34698"/>
                    </a:lnTo>
                    <a:lnTo>
                      <a:pt x="30304" y="32880"/>
                    </a:lnTo>
                    <a:lnTo>
                      <a:pt x="29850" y="31668"/>
                    </a:lnTo>
                    <a:lnTo>
                      <a:pt x="29092" y="31062"/>
                    </a:lnTo>
                    <a:lnTo>
                      <a:pt x="29547" y="27728"/>
                    </a:lnTo>
                    <a:lnTo>
                      <a:pt x="28031" y="26516"/>
                    </a:lnTo>
                    <a:lnTo>
                      <a:pt x="26365" y="29243"/>
                    </a:lnTo>
                    <a:lnTo>
                      <a:pt x="22274" y="32122"/>
                    </a:lnTo>
                    <a:lnTo>
                      <a:pt x="19243" y="33637"/>
                    </a:lnTo>
                    <a:lnTo>
                      <a:pt x="17576" y="33637"/>
                    </a:lnTo>
                    <a:lnTo>
                      <a:pt x="16061" y="35456"/>
                    </a:lnTo>
                    <a:lnTo>
                      <a:pt x="14849" y="38941"/>
                    </a:lnTo>
                    <a:lnTo>
                      <a:pt x="13637" y="40911"/>
                    </a:lnTo>
                    <a:lnTo>
                      <a:pt x="12425" y="41517"/>
                    </a:lnTo>
                    <a:lnTo>
                      <a:pt x="11516" y="42880"/>
                    </a:lnTo>
                    <a:lnTo>
                      <a:pt x="11213" y="44850"/>
                    </a:lnTo>
                    <a:lnTo>
                      <a:pt x="11970" y="45911"/>
                    </a:lnTo>
                    <a:lnTo>
                      <a:pt x="13788" y="46062"/>
                    </a:lnTo>
                    <a:lnTo>
                      <a:pt x="13940" y="46517"/>
                    </a:lnTo>
                    <a:lnTo>
                      <a:pt x="12273" y="47577"/>
                    </a:lnTo>
                    <a:lnTo>
                      <a:pt x="10304" y="47880"/>
                    </a:lnTo>
                    <a:lnTo>
                      <a:pt x="8031" y="47577"/>
                    </a:lnTo>
                    <a:lnTo>
                      <a:pt x="5758" y="48335"/>
                    </a:lnTo>
                    <a:lnTo>
                      <a:pt x="3637" y="50305"/>
                    </a:lnTo>
                    <a:lnTo>
                      <a:pt x="1970" y="54244"/>
                    </a:lnTo>
                    <a:lnTo>
                      <a:pt x="455" y="60457"/>
                    </a:lnTo>
                    <a:lnTo>
                      <a:pt x="152" y="61972"/>
                    </a:lnTo>
                    <a:lnTo>
                      <a:pt x="0" y="63639"/>
                    </a:lnTo>
                    <a:lnTo>
                      <a:pt x="758" y="63942"/>
                    </a:lnTo>
                    <a:lnTo>
                      <a:pt x="1667" y="63184"/>
                    </a:lnTo>
                    <a:lnTo>
                      <a:pt x="2879" y="61366"/>
                    </a:lnTo>
                    <a:lnTo>
                      <a:pt x="4091" y="60305"/>
                    </a:lnTo>
                    <a:lnTo>
                      <a:pt x="5606" y="60002"/>
                    </a:lnTo>
                    <a:lnTo>
                      <a:pt x="7121" y="61366"/>
                    </a:lnTo>
                    <a:lnTo>
                      <a:pt x="8637" y="64093"/>
                    </a:lnTo>
                    <a:lnTo>
                      <a:pt x="10304" y="65760"/>
                    </a:lnTo>
                    <a:lnTo>
                      <a:pt x="11061" y="65911"/>
                    </a:lnTo>
                    <a:lnTo>
                      <a:pt x="11667" y="67275"/>
                    </a:lnTo>
                    <a:lnTo>
                      <a:pt x="11667" y="68487"/>
                    </a:lnTo>
                    <a:lnTo>
                      <a:pt x="10910" y="71063"/>
                    </a:lnTo>
                    <a:lnTo>
                      <a:pt x="9698" y="74094"/>
                    </a:lnTo>
                    <a:lnTo>
                      <a:pt x="7728" y="77882"/>
                    </a:lnTo>
                    <a:lnTo>
                      <a:pt x="8334" y="81063"/>
                    </a:lnTo>
                    <a:lnTo>
                      <a:pt x="10910" y="83639"/>
                    </a:lnTo>
                    <a:lnTo>
                      <a:pt x="13940" y="85155"/>
                    </a:lnTo>
                    <a:lnTo>
                      <a:pt x="17274" y="84700"/>
                    </a:lnTo>
                    <a:lnTo>
                      <a:pt x="18940" y="83942"/>
                    </a:lnTo>
                    <a:lnTo>
                      <a:pt x="20304" y="82730"/>
                    </a:lnTo>
                    <a:lnTo>
                      <a:pt x="21668" y="82124"/>
                    </a:lnTo>
                    <a:lnTo>
                      <a:pt x="23334" y="81973"/>
                    </a:lnTo>
                    <a:lnTo>
                      <a:pt x="28486" y="82882"/>
                    </a:lnTo>
                    <a:lnTo>
                      <a:pt x="30001" y="83791"/>
                    </a:lnTo>
                    <a:lnTo>
                      <a:pt x="30304" y="85458"/>
                    </a:lnTo>
                    <a:lnTo>
                      <a:pt x="29698" y="90003"/>
                    </a:lnTo>
                    <a:lnTo>
                      <a:pt x="30456" y="93185"/>
                    </a:lnTo>
                    <a:lnTo>
                      <a:pt x="31819" y="96670"/>
                    </a:lnTo>
                    <a:lnTo>
                      <a:pt x="32122" y="99852"/>
                    </a:lnTo>
                    <a:lnTo>
                      <a:pt x="30304" y="105004"/>
                    </a:lnTo>
                    <a:lnTo>
                      <a:pt x="28789" y="110004"/>
                    </a:lnTo>
                    <a:lnTo>
                      <a:pt x="27122" y="112277"/>
                    </a:lnTo>
                    <a:lnTo>
                      <a:pt x="25910" y="113943"/>
                    </a:lnTo>
                    <a:lnTo>
                      <a:pt x="25456" y="114852"/>
                    </a:lnTo>
                    <a:lnTo>
                      <a:pt x="25607" y="115913"/>
                    </a:lnTo>
                    <a:lnTo>
                      <a:pt x="26819" y="117429"/>
                    </a:lnTo>
                    <a:lnTo>
                      <a:pt x="28031" y="119247"/>
                    </a:lnTo>
                    <a:lnTo>
                      <a:pt x="28334" y="121065"/>
                    </a:lnTo>
                    <a:lnTo>
                      <a:pt x="28183" y="123338"/>
                    </a:lnTo>
                    <a:lnTo>
                      <a:pt x="27274" y="126368"/>
                    </a:lnTo>
                    <a:lnTo>
                      <a:pt x="24243" y="133035"/>
                    </a:lnTo>
                    <a:lnTo>
                      <a:pt x="21668" y="139096"/>
                    </a:lnTo>
                    <a:lnTo>
                      <a:pt x="23031" y="140157"/>
                    </a:lnTo>
                    <a:lnTo>
                      <a:pt x="25456" y="141066"/>
                    </a:lnTo>
                    <a:lnTo>
                      <a:pt x="27122" y="141975"/>
                    </a:lnTo>
                    <a:lnTo>
                      <a:pt x="28789" y="141369"/>
                    </a:lnTo>
                    <a:lnTo>
                      <a:pt x="32426" y="137884"/>
                    </a:lnTo>
                    <a:lnTo>
                      <a:pt x="35607" y="135308"/>
                    </a:lnTo>
                    <a:lnTo>
                      <a:pt x="39395" y="132581"/>
                    </a:lnTo>
                    <a:lnTo>
                      <a:pt x="39698" y="132429"/>
                    </a:lnTo>
                    <a:lnTo>
                      <a:pt x="43032" y="130459"/>
                    </a:lnTo>
                    <a:lnTo>
                      <a:pt x="44547" y="128641"/>
                    </a:lnTo>
                    <a:lnTo>
                      <a:pt x="45456" y="126368"/>
                    </a:lnTo>
                    <a:lnTo>
                      <a:pt x="46669" y="125459"/>
                    </a:lnTo>
                    <a:lnTo>
                      <a:pt x="48184" y="126065"/>
                    </a:lnTo>
                    <a:lnTo>
                      <a:pt x="50153" y="125005"/>
                    </a:lnTo>
                    <a:lnTo>
                      <a:pt x="52578" y="122580"/>
                    </a:lnTo>
                    <a:lnTo>
                      <a:pt x="54396" y="121368"/>
                    </a:lnTo>
                    <a:lnTo>
                      <a:pt x="55608" y="121671"/>
                    </a:lnTo>
                    <a:lnTo>
                      <a:pt x="57881" y="123186"/>
                    </a:lnTo>
                    <a:lnTo>
                      <a:pt x="61215" y="126065"/>
                    </a:lnTo>
                    <a:lnTo>
                      <a:pt x="64093" y="127732"/>
                    </a:lnTo>
                    <a:lnTo>
                      <a:pt x="66670" y="128338"/>
                    </a:lnTo>
                    <a:lnTo>
                      <a:pt x="68033" y="129399"/>
                    </a:lnTo>
                    <a:lnTo>
                      <a:pt x="67881" y="131065"/>
                    </a:lnTo>
                    <a:lnTo>
                      <a:pt x="68488" y="131974"/>
                    </a:lnTo>
                    <a:lnTo>
                      <a:pt x="69700" y="132429"/>
                    </a:lnTo>
                    <a:lnTo>
                      <a:pt x="70154" y="132277"/>
                    </a:lnTo>
                    <a:lnTo>
                      <a:pt x="70003" y="131520"/>
                    </a:lnTo>
                    <a:lnTo>
                      <a:pt x="71215" y="130308"/>
                    </a:lnTo>
                    <a:lnTo>
                      <a:pt x="73639" y="128944"/>
                    </a:lnTo>
                    <a:lnTo>
                      <a:pt x="76215" y="128035"/>
                    </a:lnTo>
                    <a:lnTo>
                      <a:pt x="78791" y="127732"/>
                    </a:lnTo>
                    <a:lnTo>
                      <a:pt x="80306" y="126520"/>
                    </a:lnTo>
                    <a:lnTo>
                      <a:pt x="81518" y="123489"/>
                    </a:lnTo>
                    <a:lnTo>
                      <a:pt x="83034" y="121065"/>
                    </a:lnTo>
                    <a:lnTo>
                      <a:pt x="84397" y="120004"/>
                    </a:lnTo>
                    <a:lnTo>
                      <a:pt x="86215" y="119550"/>
                    </a:lnTo>
                    <a:lnTo>
                      <a:pt x="86670" y="118792"/>
                    </a:lnTo>
                    <a:lnTo>
                      <a:pt x="85761" y="117883"/>
                    </a:lnTo>
                    <a:lnTo>
                      <a:pt x="85912" y="116822"/>
                    </a:lnTo>
                    <a:lnTo>
                      <a:pt x="86822" y="115913"/>
                    </a:lnTo>
                    <a:lnTo>
                      <a:pt x="88943" y="115459"/>
                    </a:lnTo>
                    <a:lnTo>
                      <a:pt x="92276" y="115610"/>
                    </a:lnTo>
                    <a:lnTo>
                      <a:pt x="96216" y="116519"/>
                    </a:lnTo>
                    <a:lnTo>
                      <a:pt x="100610" y="118489"/>
                    </a:lnTo>
                    <a:lnTo>
                      <a:pt x="103489" y="119095"/>
                    </a:lnTo>
                    <a:lnTo>
                      <a:pt x="105004" y="118338"/>
                    </a:lnTo>
                    <a:lnTo>
                      <a:pt x="107580" y="121217"/>
                    </a:lnTo>
                    <a:lnTo>
                      <a:pt x="111671" y="127732"/>
                    </a:lnTo>
                    <a:lnTo>
                      <a:pt x="115156" y="132581"/>
                    </a:lnTo>
                    <a:lnTo>
                      <a:pt x="118035" y="135762"/>
                    </a:lnTo>
                    <a:lnTo>
                      <a:pt x="121065" y="138338"/>
                    </a:lnTo>
                    <a:lnTo>
                      <a:pt x="124247" y="140005"/>
                    </a:lnTo>
                    <a:lnTo>
                      <a:pt x="126520" y="142429"/>
                    </a:lnTo>
                    <a:lnTo>
                      <a:pt x="128641" y="146975"/>
                    </a:lnTo>
                    <a:lnTo>
                      <a:pt x="127126" y="153187"/>
                    </a:lnTo>
                    <a:lnTo>
                      <a:pt x="126672" y="158642"/>
                    </a:lnTo>
                    <a:lnTo>
                      <a:pt x="126823" y="165309"/>
                    </a:lnTo>
                    <a:lnTo>
                      <a:pt x="128793" y="170309"/>
                    </a:lnTo>
                    <a:lnTo>
                      <a:pt x="132278" y="173794"/>
                    </a:lnTo>
                    <a:lnTo>
                      <a:pt x="134399" y="176673"/>
                    </a:lnTo>
                    <a:lnTo>
                      <a:pt x="135005" y="178794"/>
                    </a:lnTo>
                    <a:lnTo>
                      <a:pt x="137732" y="180764"/>
                    </a:lnTo>
                    <a:lnTo>
                      <a:pt x="142733" y="182279"/>
                    </a:lnTo>
                    <a:lnTo>
                      <a:pt x="144854" y="183643"/>
                    </a:lnTo>
                    <a:lnTo>
                      <a:pt x="143945" y="184855"/>
                    </a:lnTo>
                    <a:lnTo>
                      <a:pt x="143945" y="186370"/>
                    </a:lnTo>
                    <a:lnTo>
                      <a:pt x="144551" y="188037"/>
                    </a:lnTo>
                    <a:lnTo>
                      <a:pt x="146369" y="189401"/>
                    </a:lnTo>
                    <a:lnTo>
                      <a:pt x="149096" y="190461"/>
                    </a:lnTo>
                    <a:lnTo>
                      <a:pt x="150763" y="191674"/>
                    </a:lnTo>
                    <a:lnTo>
                      <a:pt x="151218" y="192886"/>
                    </a:lnTo>
                    <a:lnTo>
                      <a:pt x="151218" y="194855"/>
                    </a:lnTo>
                    <a:lnTo>
                      <a:pt x="150460" y="197583"/>
                    </a:lnTo>
                    <a:lnTo>
                      <a:pt x="149400" y="199704"/>
                    </a:lnTo>
                    <a:lnTo>
                      <a:pt x="147733" y="201068"/>
                    </a:lnTo>
                    <a:lnTo>
                      <a:pt x="147582" y="202280"/>
                    </a:lnTo>
                    <a:lnTo>
                      <a:pt x="147127" y="203947"/>
                    </a:lnTo>
                    <a:lnTo>
                      <a:pt x="147127" y="207583"/>
                    </a:lnTo>
                    <a:lnTo>
                      <a:pt x="148339" y="210007"/>
                    </a:lnTo>
                    <a:lnTo>
                      <a:pt x="148642" y="213038"/>
                    </a:lnTo>
                    <a:lnTo>
                      <a:pt x="148036" y="215462"/>
                    </a:lnTo>
                    <a:lnTo>
                      <a:pt x="147430" y="220614"/>
                    </a:lnTo>
                    <a:lnTo>
                      <a:pt x="147278" y="222584"/>
                    </a:lnTo>
                    <a:lnTo>
                      <a:pt x="146672" y="224250"/>
                    </a:lnTo>
                    <a:lnTo>
                      <a:pt x="145308" y="225766"/>
                    </a:lnTo>
                    <a:lnTo>
                      <a:pt x="143036" y="227432"/>
                    </a:lnTo>
                    <a:lnTo>
                      <a:pt x="140308" y="228645"/>
                    </a:lnTo>
                    <a:lnTo>
                      <a:pt x="138642" y="229251"/>
                    </a:lnTo>
                    <a:lnTo>
                      <a:pt x="138793" y="230008"/>
                    </a:lnTo>
                    <a:lnTo>
                      <a:pt x="139399" y="231675"/>
                    </a:lnTo>
                    <a:lnTo>
                      <a:pt x="140460" y="233342"/>
                    </a:lnTo>
                    <a:lnTo>
                      <a:pt x="141520" y="234402"/>
                    </a:lnTo>
                    <a:lnTo>
                      <a:pt x="143187" y="235918"/>
                    </a:lnTo>
                    <a:lnTo>
                      <a:pt x="144399" y="235918"/>
                    </a:lnTo>
                    <a:lnTo>
                      <a:pt x="148187" y="234554"/>
                    </a:lnTo>
                    <a:lnTo>
                      <a:pt x="153945" y="236524"/>
                    </a:lnTo>
                    <a:lnTo>
                      <a:pt x="154551" y="237584"/>
                    </a:lnTo>
                    <a:lnTo>
                      <a:pt x="156370" y="239554"/>
                    </a:lnTo>
                    <a:lnTo>
                      <a:pt x="158491" y="241069"/>
                    </a:lnTo>
                    <a:lnTo>
                      <a:pt x="162885" y="241069"/>
                    </a:lnTo>
                    <a:lnTo>
                      <a:pt x="164400" y="237584"/>
                    </a:lnTo>
                    <a:lnTo>
                      <a:pt x="163643" y="235463"/>
                    </a:lnTo>
                    <a:lnTo>
                      <a:pt x="161218" y="231675"/>
                    </a:lnTo>
                    <a:lnTo>
                      <a:pt x="160460" y="229402"/>
                    </a:lnTo>
                    <a:lnTo>
                      <a:pt x="161218" y="228948"/>
                    </a:lnTo>
                    <a:lnTo>
                      <a:pt x="165613" y="228645"/>
                    </a:lnTo>
                    <a:lnTo>
                      <a:pt x="166218" y="228190"/>
                    </a:lnTo>
                    <a:lnTo>
                      <a:pt x="167279" y="225766"/>
                    </a:lnTo>
                    <a:lnTo>
                      <a:pt x="168340" y="225917"/>
                    </a:lnTo>
                    <a:lnTo>
                      <a:pt x="170764" y="226372"/>
                    </a:lnTo>
                    <a:lnTo>
                      <a:pt x="173340" y="224705"/>
                    </a:lnTo>
                    <a:lnTo>
                      <a:pt x="174703" y="222887"/>
                    </a:lnTo>
                    <a:lnTo>
                      <a:pt x="175613" y="223644"/>
                    </a:lnTo>
                    <a:lnTo>
                      <a:pt x="176522" y="224857"/>
                    </a:lnTo>
                    <a:lnTo>
                      <a:pt x="177431" y="225614"/>
                    </a:lnTo>
                    <a:lnTo>
                      <a:pt x="179249" y="226675"/>
                    </a:lnTo>
                    <a:lnTo>
                      <a:pt x="181219" y="228190"/>
                    </a:lnTo>
                    <a:lnTo>
                      <a:pt x="182431" y="229554"/>
                    </a:lnTo>
                    <a:lnTo>
                      <a:pt x="183492" y="230160"/>
                    </a:lnTo>
                    <a:lnTo>
                      <a:pt x="186067" y="229857"/>
                    </a:lnTo>
                    <a:lnTo>
                      <a:pt x="186674" y="229857"/>
                    </a:lnTo>
                    <a:lnTo>
                      <a:pt x="188189" y="228038"/>
                    </a:lnTo>
                    <a:lnTo>
                      <a:pt x="189250" y="227129"/>
                    </a:lnTo>
                    <a:lnTo>
                      <a:pt x="190159" y="227432"/>
                    </a:lnTo>
                    <a:lnTo>
                      <a:pt x="191371" y="227432"/>
                    </a:lnTo>
                    <a:lnTo>
                      <a:pt x="194098" y="225160"/>
                    </a:lnTo>
                    <a:lnTo>
                      <a:pt x="195613" y="223038"/>
                    </a:lnTo>
                    <a:lnTo>
                      <a:pt x="196371" y="222432"/>
                    </a:lnTo>
                    <a:lnTo>
                      <a:pt x="198795" y="223493"/>
                    </a:lnTo>
                    <a:lnTo>
                      <a:pt x="199705" y="223341"/>
                    </a:lnTo>
                    <a:lnTo>
                      <a:pt x="201068" y="220462"/>
                    </a:lnTo>
                    <a:lnTo>
                      <a:pt x="202583" y="219402"/>
                    </a:lnTo>
                    <a:lnTo>
                      <a:pt x="202432" y="216220"/>
                    </a:lnTo>
                    <a:lnTo>
                      <a:pt x="202735" y="214705"/>
                    </a:lnTo>
                    <a:lnTo>
                      <a:pt x="202280" y="213493"/>
                    </a:lnTo>
                    <a:lnTo>
                      <a:pt x="201523" y="211674"/>
                    </a:lnTo>
                    <a:lnTo>
                      <a:pt x="201977" y="210614"/>
                    </a:lnTo>
                    <a:lnTo>
                      <a:pt x="203644" y="209553"/>
                    </a:lnTo>
                    <a:lnTo>
                      <a:pt x="204553" y="207886"/>
                    </a:lnTo>
                    <a:lnTo>
                      <a:pt x="205765" y="205917"/>
                    </a:lnTo>
                    <a:lnTo>
                      <a:pt x="206220" y="2040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0" name="Freeform: Shape 3239">
                <a:extLst>
                  <a:ext uri="{FF2B5EF4-FFF2-40B4-BE49-F238E27FC236}">
                    <a16:creationId xmlns:a16="http://schemas.microsoft.com/office/drawing/2014/main" id="{1B6B7894-6C66-47C4-A96C-6CB78D7FFBAE}"/>
                  </a:ext>
                </a:extLst>
              </p:cNvPr>
              <p:cNvSpPr/>
              <p:nvPr/>
            </p:nvSpPr>
            <p:spPr>
              <a:xfrm>
                <a:off x="7052399" y="2874962"/>
                <a:ext cx="1115495" cy="517594"/>
              </a:xfrm>
              <a:custGeom>
                <a:avLst/>
                <a:gdLst>
                  <a:gd name="connsiteX0" fmla="*/ 166218 w 1115495"/>
                  <a:gd name="connsiteY0" fmla="*/ 358346 h 517594"/>
                  <a:gd name="connsiteX1" fmla="*/ 166521 w 1115495"/>
                  <a:gd name="connsiteY1" fmla="*/ 356680 h 517594"/>
                  <a:gd name="connsiteX2" fmla="*/ 165612 w 1115495"/>
                  <a:gd name="connsiteY2" fmla="*/ 354710 h 517594"/>
                  <a:gd name="connsiteX3" fmla="*/ 164248 w 1115495"/>
                  <a:gd name="connsiteY3" fmla="*/ 354407 h 517594"/>
                  <a:gd name="connsiteX4" fmla="*/ 162733 w 1115495"/>
                  <a:gd name="connsiteY4" fmla="*/ 356225 h 517594"/>
                  <a:gd name="connsiteX5" fmla="*/ 163946 w 1115495"/>
                  <a:gd name="connsiteY5" fmla="*/ 357740 h 517594"/>
                  <a:gd name="connsiteX6" fmla="*/ 165764 w 1115495"/>
                  <a:gd name="connsiteY6" fmla="*/ 358650 h 517594"/>
                  <a:gd name="connsiteX7" fmla="*/ 166218 w 1115495"/>
                  <a:gd name="connsiteY7" fmla="*/ 358346 h 517594"/>
                  <a:gd name="connsiteX8" fmla="*/ 93943 w 1115495"/>
                  <a:gd name="connsiteY8" fmla="*/ 374105 h 517594"/>
                  <a:gd name="connsiteX9" fmla="*/ 94094 w 1115495"/>
                  <a:gd name="connsiteY9" fmla="*/ 371983 h 517594"/>
                  <a:gd name="connsiteX10" fmla="*/ 96064 w 1115495"/>
                  <a:gd name="connsiteY10" fmla="*/ 370317 h 517594"/>
                  <a:gd name="connsiteX11" fmla="*/ 95913 w 1115495"/>
                  <a:gd name="connsiteY11" fmla="*/ 369559 h 517594"/>
                  <a:gd name="connsiteX12" fmla="*/ 94549 w 1115495"/>
                  <a:gd name="connsiteY12" fmla="*/ 370014 h 517594"/>
                  <a:gd name="connsiteX13" fmla="*/ 93489 w 1115495"/>
                  <a:gd name="connsiteY13" fmla="*/ 370771 h 517594"/>
                  <a:gd name="connsiteX14" fmla="*/ 92731 w 1115495"/>
                  <a:gd name="connsiteY14" fmla="*/ 374408 h 517594"/>
                  <a:gd name="connsiteX15" fmla="*/ 95458 w 1115495"/>
                  <a:gd name="connsiteY15" fmla="*/ 378044 h 517594"/>
                  <a:gd name="connsiteX16" fmla="*/ 96973 w 1115495"/>
                  <a:gd name="connsiteY16" fmla="*/ 378196 h 517594"/>
                  <a:gd name="connsiteX17" fmla="*/ 97882 w 1115495"/>
                  <a:gd name="connsiteY17" fmla="*/ 377287 h 517594"/>
                  <a:gd name="connsiteX18" fmla="*/ 95458 w 1115495"/>
                  <a:gd name="connsiteY18" fmla="*/ 376377 h 517594"/>
                  <a:gd name="connsiteX19" fmla="*/ 93943 w 1115495"/>
                  <a:gd name="connsiteY19" fmla="*/ 374105 h 517594"/>
                  <a:gd name="connsiteX20" fmla="*/ 350165 w 1115495"/>
                  <a:gd name="connsiteY20" fmla="*/ 358953 h 517594"/>
                  <a:gd name="connsiteX21" fmla="*/ 349710 w 1115495"/>
                  <a:gd name="connsiteY21" fmla="*/ 356377 h 517594"/>
                  <a:gd name="connsiteX22" fmla="*/ 349861 w 1115495"/>
                  <a:gd name="connsiteY22" fmla="*/ 354104 h 517594"/>
                  <a:gd name="connsiteX23" fmla="*/ 349559 w 1115495"/>
                  <a:gd name="connsiteY23" fmla="*/ 353043 h 517594"/>
                  <a:gd name="connsiteX24" fmla="*/ 348649 w 1115495"/>
                  <a:gd name="connsiteY24" fmla="*/ 353043 h 517594"/>
                  <a:gd name="connsiteX25" fmla="*/ 348195 w 1115495"/>
                  <a:gd name="connsiteY25" fmla="*/ 352437 h 517594"/>
                  <a:gd name="connsiteX26" fmla="*/ 348043 w 1115495"/>
                  <a:gd name="connsiteY26" fmla="*/ 351074 h 517594"/>
                  <a:gd name="connsiteX27" fmla="*/ 347437 w 1115495"/>
                  <a:gd name="connsiteY27" fmla="*/ 350164 h 517594"/>
                  <a:gd name="connsiteX28" fmla="*/ 346225 w 1115495"/>
                  <a:gd name="connsiteY28" fmla="*/ 349558 h 517594"/>
                  <a:gd name="connsiteX29" fmla="*/ 345316 w 1115495"/>
                  <a:gd name="connsiteY29" fmla="*/ 348498 h 517594"/>
                  <a:gd name="connsiteX30" fmla="*/ 343649 w 1115495"/>
                  <a:gd name="connsiteY30" fmla="*/ 345770 h 517594"/>
                  <a:gd name="connsiteX31" fmla="*/ 342740 w 1115495"/>
                  <a:gd name="connsiteY31" fmla="*/ 345164 h 517594"/>
                  <a:gd name="connsiteX32" fmla="*/ 341983 w 1115495"/>
                  <a:gd name="connsiteY32" fmla="*/ 345922 h 517594"/>
                  <a:gd name="connsiteX33" fmla="*/ 341225 w 1115495"/>
                  <a:gd name="connsiteY33" fmla="*/ 348043 h 517594"/>
                  <a:gd name="connsiteX34" fmla="*/ 340619 w 1115495"/>
                  <a:gd name="connsiteY34" fmla="*/ 348952 h 517594"/>
                  <a:gd name="connsiteX35" fmla="*/ 340164 w 1115495"/>
                  <a:gd name="connsiteY35" fmla="*/ 348801 h 517594"/>
                  <a:gd name="connsiteX36" fmla="*/ 340013 w 1115495"/>
                  <a:gd name="connsiteY36" fmla="*/ 348043 h 517594"/>
                  <a:gd name="connsiteX37" fmla="*/ 340013 w 1115495"/>
                  <a:gd name="connsiteY37" fmla="*/ 346679 h 517594"/>
                  <a:gd name="connsiteX38" fmla="*/ 339710 w 1115495"/>
                  <a:gd name="connsiteY38" fmla="*/ 346073 h 517594"/>
                  <a:gd name="connsiteX39" fmla="*/ 338952 w 1115495"/>
                  <a:gd name="connsiteY39" fmla="*/ 346225 h 517594"/>
                  <a:gd name="connsiteX40" fmla="*/ 338497 w 1115495"/>
                  <a:gd name="connsiteY40" fmla="*/ 347437 h 517594"/>
                  <a:gd name="connsiteX41" fmla="*/ 338194 w 1115495"/>
                  <a:gd name="connsiteY41" fmla="*/ 349861 h 517594"/>
                  <a:gd name="connsiteX42" fmla="*/ 336831 w 1115495"/>
                  <a:gd name="connsiteY42" fmla="*/ 351983 h 517594"/>
                  <a:gd name="connsiteX43" fmla="*/ 334406 w 1115495"/>
                  <a:gd name="connsiteY43" fmla="*/ 353952 h 517594"/>
                  <a:gd name="connsiteX44" fmla="*/ 332739 w 1115495"/>
                  <a:gd name="connsiteY44" fmla="*/ 355922 h 517594"/>
                  <a:gd name="connsiteX45" fmla="*/ 332437 w 1115495"/>
                  <a:gd name="connsiteY45" fmla="*/ 356528 h 517594"/>
                  <a:gd name="connsiteX46" fmla="*/ 334104 w 1115495"/>
                  <a:gd name="connsiteY46" fmla="*/ 357437 h 517594"/>
                  <a:gd name="connsiteX47" fmla="*/ 337892 w 1115495"/>
                  <a:gd name="connsiteY47" fmla="*/ 359710 h 517594"/>
                  <a:gd name="connsiteX48" fmla="*/ 341680 w 1115495"/>
                  <a:gd name="connsiteY48" fmla="*/ 361983 h 517594"/>
                  <a:gd name="connsiteX49" fmla="*/ 345468 w 1115495"/>
                  <a:gd name="connsiteY49" fmla="*/ 364256 h 517594"/>
                  <a:gd name="connsiteX50" fmla="*/ 349256 w 1115495"/>
                  <a:gd name="connsiteY50" fmla="*/ 366529 h 517594"/>
                  <a:gd name="connsiteX51" fmla="*/ 351377 w 1115495"/>
                  <a:gd name="connsiteY51" fmla="*/ 367741 h 517594"/>
                  <a:gd name="connsiteX52" fmla="*/ 351680 w 1115495"/>
                  <a:gd name="connsiteY52" fmla="*/ 366983 h 517594"/>
                  <a:gd name="connsiteX53" fmla="*/ 351983 w 1115495"/>
                  <a:gd name="connsiteY53" fmla="*/ 364862 h 517594"/>
                  <a:gd name="connsiteX54" fmla="*/ 351680 w 1115495"/>
                  <a:gd name="connsiteY54" fmla="*/ 362286 h 517594"/>
                  <a:gd name="connsiteX55" fmla="*/ 350165 w 1115495"/>
                  <a:gd name="connsiteY55" fmla="*/ 358953 h 517594"/>
                  <a:gd name="connsiteX56" fmla="*/ 101367 w 1115495"/>
                  <a:gd name="connsiteY56" fmla="*/ 373196 h 517594"/>
                  <a:gd name="connsiteX57" fmla="*/ 101822 w 1115495"/>
                  <a:gd name="connsiteY57" fmla="*/ 372286 h 517594"/>
                  <a:gd name="connsiteX58" fmla="*/ 102277 w 1115495"/>
                  <a:gd name="connsiteY58" fmla="*/ 369407 h 517594"/>
                  <a:gd name="connsiteX59" fmla="*/ 100761 w 1115495"/>
                  <a:gd name="connsiteY59" fmla="*/ 369710 h 517594"/>
                  <a:gd name="connsiteX60" fmla="*/ 99701 w 1115495"/>
                  <a:gd name="connsiteY60" fmla="*/ 371529 h 517594"/>
                  <a:gd name="connsiteX61" fmla="*/ 100307 w 1115495"/>
                  <a:gd name="connsiteY61" fmla="*/ 373650 h 517594"/>
                  <a:gd name="connsiteX62" fmla="*/ 101367 w 1115495"/>
                  <a:gd name="connsiteY62" fmla="*/ 373196 h 517594"/>
                  <a:gd name="connsiteX63" fmla="*/ 1113375 w 1115495"/>
                  <a:gd name="connsiteY63" fmla="*/ 229099 h 517594"/>
                  <a:gd name="connsiteX64" fmla="*/ 1111708 w 1115495"/>
                  <a:gd name="connsiteY64" fmla="*/ 226675 h 517594"/>
                  <a:gd name="connsiteX65" fmla="*/ 1109435 w 1115495"/>
                  <a:gd name="connsiteY65" fmla="*/ 225766 h 517594"/>
                  <a:gd name="connsiteX66" fmla="*/ 1107314 w 1115495"/>
                  <a:gd name="connsiteY66" fmla="*/ 225311 h 517594"/>
                  <a:gd name="connsiteX67" fmla="*/ 1105344 w 1115495"/>
                  <a:gd name="connsiteY67" fmla="*/ 224099 h 517594"/>
                  <a:gd name="connsiteX68" fmla="*/ 1103981 w 1115495"/>
                  <a:gd name="connsiteY68" fmla="*/ 222887 h 517594"/>
                  <a:gd name="connsiteX69" fmla="*/ 1100193 w 1115495"/>
                  <a:gd name="connsiteY69" fmla="*/ 216978 h 517594"/>
                  <a:gd name="connsiteX70" fmla="*/ 1097465 w 1115495"/>
                  <a:gd name="connsiteY70" fmla="*/ 214402 h 517594"/>
                  <a:gd name="connsiteX71" fmla="*/ 1095041 w 1115495"/>
                  <a:gd name="connsiteY71" fmla="*/ 214250 h 517594"/>
                  <a:gd name="connsiteX72" fmla="*/ 1094738 w 1115495"/>
                  <a:gd name="connsiteY72" fmla="*/ 212584 h 517594"/>
                  <a:gd name="connsiteX73" fmla="*/ 1096101 w 1115495"/>
                  <a:gd name="connsiteY73" fmla="*/ 210917 h 517594"/>
                  <a:gd name="connsiteX74" fmla="*/ 1097919 w 1115495"/>
                  <a:gd name="connsiteY74" fmla="*/ 209553 h 517594"/>
                  <a:gd name="connsiteX75" fmla="*/ 1097919 w 1115495"/>
                  <a:gd name="connsiteY75" fmla="*/ 207735 h 517594"/>
                  <a:gd name="connsiteX76" fmla="*/ 1096405 w 1115495"/>
                  <a:gd name="connsiteY76" fmla="*/ 206674 h 517594"/>
                  <a:gd name="connsiteX77" fmla="*/ 1094586 w 1115495"/>
                  <a:gd name="connsiteY77" fmla="*/ 206977 h 517594"/>
                  <a:gd name="connsiteX78" fmla="*/ 1092162 w 1115495"/>
                  <a:gd name="connsiteY78" fmla="*/ 209099 h 517594"/>
                  <a:gd name="connsiteX79" fmla="*/ 1089283 w 1115495"/>
                  <a:gd name="connsiteY79" fmla="*/ 211523 h 517594"/>
                  <a:gd name="connsiteX80" fmla="*/ 1085798 w 1115495"/>
                  <a:gd name="connsiteY80" fmla="*/ 213341 h 517594"/>
                  <a:gd name="connsiteX81" fmla="*/ 1084434 w 1115495"/>
                  <a:gd name="connsiteY81" fmla="*/ 214856 h 517594"/>
                  <a:gd name="connsiteX82" fmla="*/ 1082767 w 1115495"/>
                  <a:gd name="connsiteY82" fmla="*/ 216523 h 517594"/>
                  <a:gd name="connsiteX83" fmla="*/ 1080343 w 1115495"/>
                  <a:gd name="connsiteY83" fmla="*/ 216372 h 517594"/>
                  <a:gd name="connsiteX84" fmla="*/ 1078676 w 1115495"/>
                  <a:gd name="connsiteY84" fmla="*/ 216372 h 517594"/>
                  <a:gd name="connsiteX85" fmla="*/ 1077161 w 1115495"/>
                  <a:gd name="connsiteY85" fmla="*/ 216523 h 517594"/>
                  <a:gd name="connsiteX86" fmla="*/ 1076101 w 1115495"/>
                  <a:gd name="connsiteY86" fmla="*/ 214705 h 517594"/>
                  <a:gd name="connsiteX87" fmla="*/ 1074586 w 1115495"/>
                  <a:gd name="connsiteY87" fmla="*/ 214553 h 517594"/>
                  <a:gd name="connsiteX88" fmla="*/ 1064131 w 1115495"/>
                  <a:gd name="connsiteY88" fmla="*/ 212887 h 517594"/>
                  <a:gd name="connsiteX89" fmla="*/ 1060645 w 1115495"/>
                  <a:gd name="connsiteY89" fmla="*/ 212281 h 517594"/>
                  <a:gd name="connsiteX90" fmla="*/ 1058524 w 1115495"/>
                  <a:gd name="connsiteY90" fmla="*/ 213190 h 517594"/>
                  <a:gd name="connsiteX91" fmla="*/ 1056857 w 1115495"/>
                  <a:gd name="connsiteY91" fmla="*/ 212584 h 517594"/>
                  <a:gd name="connsiteX92" fmla="*/ 1056251 w 1115495"/>
                  <a:gd name="connsiteY92" fmla="*/ 210917 h 517594"/>
                  <a:gd name="connsiteX93" fmla="*/ 1054282 w 1115495"/>
                  <a:gd name="connsiteY93" fmla="*/ 207886 h 517594"/>
                  <a:gd name="connsiteX94" fmla="*/ 1052615 w 1115495"/>
                  <a:gd name="connsiteY94" fmla="*/ 205311 h 517594"/>
                  <a:gd name="connsiteX95" fmla="*/ 1050494 w 1115495"/>
                  <a:gd name="connsiteY95" fmla="*/ 202735 h 517594"/>
                  <a:gd name="connsiteX96" fmla="*/ 1049736 w 1115495"/>
                  <a:gd name="connsiteY96" fmla="*/ 200765 h 517594"/>
                  <a:gd name="connsiteX97" fmla="*/ 1050342 w 1115495"/>
                  <a:gd name="connsiteY97" fmla="*/ 198644 h 517594"/>
                  <a:gd name="connsiteX98" fmla="*/ 1050039 w 1115495"/>
                  <a:gd name="connsiteY98" fmla="*/ 196825 h 517594"/>
                  <a:gd name="connsiteX99" fmla="*/ 1048221 w 1115495"/>
                  <a:gd name="connsiteY99" fmla="*/ 195916 h 517594"/>
                  <a:gd name="connsiteX100" fmla="*/ 1045948 w 1115495"/>
                  <a:gd name="connsiteY100" fmla="*/ 195765 h 517594"/>
                  <a:gd name="connsiteX101" fmla="*/ 1039584 w 1115495"/>
                  <a:gd name="connsiteY101" fmla="*/ 191825 h 517594"/>
                  <a:gd name="connsiteX102" fmla="*/ 1036554 w 1115495"/>
                  <a:gd name="connsiteY102" fmla="*/ 191219 h 517594"/>
                  <a:gd name="connsiteX103" fmla="*/ 1033826 w 1115495"/>
                  <a:gd name="connsiteY103" fmla="*/ 190461 h 517594"/>
                  <a:gd name="connsiteX104" fmla="*/ 1031705 w 1115495"/>
                  <a:gd name="connsiteY104" fmla="*/ 190461 h 517594"/>
                  <a:gd name="connsiteX105" fmla="*/ 1029887 w 1115495"/>
                  <a:gd name="connsiteY105" fmla="*/ 188643 h 517594"/>
                  <a:gd name="connsiteX106" fmla="*/ 1028220 w 1115495"/>
                  <a:gd name="connsiteY106" fmla="*/ 183340 h 517594"/>
                  <a:gd name="connsiteX107" fmla="*/ 1027766 w 1115495"/>
                  <a:gd name="connsiteY107" fmla="*/ 180310 h 517594"/>
                  <a:gd name="connsiteX108" fmla="*/ 1025644 w 1115495"/>
                  <a:gd name="connsiteY108" fmla="*/ 177279 h 517594"/>
                  <a:gd name="connsiteX109" fmla="*/ 1022917 w 1115495"/>
                  <a:gd name="connsiteY109" fmla="*/ 174703 h 517594"/>
                  <a:gd name="connsiteX110" fmla="*/ 1021402 w 1115495"/>
                  <a:gd name="connsiteY110" fmla="*/ 171218 h 517594"/>
                  <a:gd name="connsiteX111" fmla="*/ 1019129 w 1115495"/>
                  <a:gd name="connsiteY111" fmla="*/ 169703 h 517594"/>
                  <a:gd name="connsiteX112" fmla="*/ 1015189 w 1115495"/>
                  <a:gd name="connsiteY112" fmla="*/ 167279 h 517594"/>
                  <a:gd name="connsiteX113" fmla="*/ 1011401 w 1115495"/>
                  <a:gd name="connsiteY113" fmla="*/ 165461 h 517594"/>
                  <a:gd name="connsiteX114" fmla="*/ 1005340 w 1115495"/>
                  <a:gd name="connsiteY114" fmla="*/ 163339 h 517594"/>
                  <a:gd name="connsiteX115" fmla="*/ 1003068 w 1115495"/>
                  <a:gd name="connsiteY115" fmla="*/ 163339 h 517594"/>
                  <a:gd name="connsiteX116" fmla="*/ 1000037 w 1115495"/>
                  <a:gd name="connsiteY116" fmla="*/ 163491 h 517594"/>
                  <a:gd name="connsiteX117" fmla="*/ 998219 w 1115495"/>
                  <a:gd name="connsiteY117" fmla="*/ 164551 h 517594"/>
                  <a:gd name="connsiteX118" fmla="*/ 996249 w 1115495"/>
                  <a:gd name="connsiteY118" fmla="*/ 166824 h 517594"/>
                  <a:gd name="connsiteX119" fmla="*/ 993522 w 1115495"/>
                  <a:gd name="connsiteY119" fmla="*/ 166976 h 517594"/>
                  <a:gd name="connsiteX120" fmla="*/ 989128 w 1115495"/>
                  <a:gd name="connsiteY120" fmla="*/ 166976 h 517594"/>
                  <a:gd name="connsiteX121" fmla="*/ 987916 w 1115495"/>
                  <a:gd name="connsiteY121" fmla="*/ 167885 h 517594"/>
                  <a:gd name="connsiteX122" fmla="*/ 987158 w 1115495"/>
                  <a:gd name="connsiteY122" fmla="*/ 169400 h 517594"/>
                  <a:gd name="connsiteX123" fmla="*/ 984885 w 1115495"/>
                  <a:gd name="connsiteY123" fmla="*/ 171370 h 517594"/>
                  <a:gd name="connsiteX124" fmla="*/ 981703 w 1115495"/>
                  <a:gd name="connsiteY124" fmla="*/ 172885 h 517594"/>
                  <a:gd name="connsiteX125" fmla="*/ 977157 w 1115495"/>
                  <a:gd name="connsiteY125" fmla="*/ 172431 h 517594"/>
                  <a:gd name="connsiteX126" fmla="*/ 973976 w 1115495"/>
                  <a:gd name="connsiteY126" fmla="*/ 173188 h 517594"/>
                  <a:gd name="connsiteX127" fmla="*/ 970794 w 1115495"/>
                  <a:gd name="connsiteY127" fmla="*/ 173491 h 517594"/>
                  <a:gd name="connsiteX128" fmla="*/ 966248 w 1115495"/>
                  <a:gd name="connsiteY128" fmla="*/ 171521 h 517594"/>
                  <a:gd name="connsiteX129" fmla="*/ 961248 w 1115495"/>
                  <a:gd name="connsiteY129" fmla="*/ 171521 h 517594"/>
                  <a:gd name="connsiteX130" fmla="*/ 958066 w 1115495"/>
                  <a:gd name="connsiteY130" fmla="*/ 172431 h 517594"/>
                  <a:gd name="connsiteX131" fmla="*/ 953520 w 1115495"/>
                  <a:gd name="connsiteY131" fmla="*/ 172431 h 517594"/>
                  <a:gd name="connsiteX132" fmla="*/ 952611 w 1115495"/>
                  <a:gd name="connsiteY132" fmla="*/ 171370 h 517594"/>
                  <a:gd name="connsiteX133" fmla="*/ 953217 w 1115495"/>
                  <a:gd name="connsiteY133" fmla="*/ 169552 h 517594"/>
                  <a:gd name="connsiteX134" fmla="*/ 952763 w 1115495"/>
                  <a:gd name="connsiteY134" fmla="*/ 167885 h 517594"/>
                  <a:gd name="connsiteX135" fmla="*/ 952005 w 1115495"/>
                  <a:gd name="connsiteY135" fmla="*/ 166521 h 517594"/>
                  <a:gd name="connsiteX136" fmla="*/ 951399 w 1115495"/>
                  <a:gd name="connsiteY136" fmla="*/ 164855 h 517594"/>
                  <a:gd name="connsiteX137" fmla="*/ 949581 w 1115495"/>
                  <a:gd name="connsiteY137" fmla="*/ 164551 h 517594"/>
                  <a:gd name="connsiteX138" fmla="*/ 944278 w 1115495"/>
                  <a:gd name="connsiteY138" fmla="*/ 165309 h 517594"/>
                  <a:gd name="connsiteX139" fmla="*/ 942762 w 1115495"/>
                  <a:gd name="connsiteY139" fmla="*/ 164551 h 517594"/>
                  <a:gd name="connsiteX140" fmla="*/ 942914 w 1115495"/>
                  <a:gd name="connsiteY140" fmla="*/ 162885 h 517594"/>
                  <a:gd name="connsiteX141" fmla="*/ 943823 w 1115495"/>
                  <a:gd name="connsiteY141" fmla="*/ 160763 h 517594"/>
                  <a:gd name="connsiteX142" fmla="*/ 944580 w 1115495"/>
                  <a:gd name="connsiteY142" fmla="*/ 158036 h 517594"/>
                  <a:gd name="connsiteX143" fmla="*/ 944278 w 1115495"/>
                  <a:gd name="connsiteY143" fmla="*/ 156369 h 517594"/>
                  <a:gd name="connsiteX144" fmla="*/ 941550 w 1115495"/>
                  <a:gd name="connsiteY144" fmla="*/ 156521 h 517594"/>
                  <a:gd name="connsiteX145" fmla="*/ 939883 w 1115495"/>
                  <a:gd name="connsiteY145" fmla="*/ 156369 h 517594"/>
                  <a:gd name="connsiteX146" fmla="*/ 938974 w 1115495"/>
                  <a:gd name="connsiteY146" fmla="*/ 154400 h 517594"/>
                  <a:gd name="connsiteX147" fmla="*/ 937459 w 1115495"/>
                  <a:gd name="connsiteY147" fmla="*/ 153036 h 517594"/>
                  <a:gd name="connsiteX148" fmla="*/ 935641 w 1115495"/>
                  <a:gd name="connsiteY148" fmla="*/ 153036 h 517594"/>
                  <a:gd name="connsiteX149" fmla="*/ 933520 w 1115495"/>
                  <a:gd name="connsiteY149" fmla="*/ 152733 h 517594"/>
                  <a:gd name="connsiteX150" fmla="*/ 931247 w 1115495"/>
                  <a:gd name="connsiteY150" fmla="*/ 153339 h 517594"/>
                  <a:gd name="connsiteX151" fmla="*/ 930035 w 1115495"/>
                  <a:gd name="connsiteY151" fmla="*/ 155309 h 517594"/>
                  <a:gd name="connsiteX152" fmla="*/ 928519 w 1115495"/>
                  <a:gd name="connsiteY152" fmla="*/ 155612 h 517594"/>
                  <a:gd name="connsiteX153" fmla="*/ 926853 w 1115495"/>
                  <a:gd name="connsiteY153" fmla="*/ 156218 h 517594"/>
                  <a:gd name="connsiteX154" fmla="*/ 925640 w 1115495"/>
                  <a:gd name="connsiteY154" fmla="*/ 156824 h 517594"/>
                  <a:gd name="connsiteX155" fmla="*/ 924883 w 1115495"/>
                  <a:gd name="connsiteY155" fmla="*/ 158491 h 517594"/>
                  <a:gd name="connsiteX156" fmla="*/ 925186 w 1115495"/>
                  <a:gd name="connsiteY156" fmla="*/ 160006 h 517594"/>
                  <a:gd name="connsiteX157" fmla="*/ 925640 w 1115495"/>
                  <a:gd name="connsiteY157" fmla="*/ 163491 h 517594"/>
                  <a:gd name="connsiteX158" fmla="*/ 924883 w 1115495"/>
                  <a:gd name="connsiteY158" fmla="*/ 165309 h 517594"/>
                  <a:gd name="connsiteX159" fmla="*/ 922761 w 1115495"/>
                  <a:gd name="connsiteY159" fmla="*/ 166218 h 517594"/>
                  <a:gd name="connsiteX160" fmla="*/ 920640 w 1115495"/>
                  <a:gd name="connsiteY160" fmla="*/ 166067 h 517594"/>
                  <a:gd name="connsiteX161" fmla="*/ 919277 w 1115495"/>
                  <a:gd name="connsiteY161" fmla="*/ 166521 h 517594"/>
                  <a:gd name="connsiteX162" fmla="*/ 916701 w 1115495"/>
                  <a:gd name="connsiteY162" fmla="*/ 168491 h 517594"/>
                  <a:gd name="connsiteX163" fmla="*/ 915640 w 1115495"/>
                  <a:gd name="connsiteY163" fmla="*/ 169097 h 517594"/>
                  <a:gd name="connsiteX164" fmla="*/ 915185 w 1115495"/>
                  <a:gd name="connsiteY164" fmla="*/ 170309 h 517594"/>
                  <a:gd name="connsiteX165" fmla="*/ 915034 w 1115495"/>
                  <a:gd name="connsiteY165" fmla="*/ 172128 h 517594"/>
                  <a:gd name="connsiteX166" fmla="*/ 912913 w 1115495"/>
                  <a:gd name="connsiteY166" fmla="*/ 171521 h 517594"/>
                  <a:gd name="connsiteX167" fmla="*/ 909428 w 1115495"/>
                  <a:gd name="connsiteY167" fmla="*/ 165006 h 517594"/>
                  <a:gd name="connsiteX168" fmla="*/ 905488 w 1115495"/>
                  <a:gd name="connsiteY168" fmla="*/ 157582 h 517594"/>
                  <a:gd name="connsiteX169" fmla="*/ 901094 w 1115495"/>
                  <a:gd name="connsiteY169" fmla="*/ 149703 h 517594"/>
                  <a:gd name="connsiteX170" fmla="*/ 898821 w 1115495"/>
                  <a:gd name="connsiteY170" fmla="*/ 145460 h 517594"/>
                  <a:gd name="connsiteX171" fmla="*/ 890033 w 1115495"/>
                  <a:gd name="connsiteY171" fmla="*/ 131823 h 517594"/>
                  <a:gd name="connsiteX172" fmla="*/ 885790 w 1115495"/>
                  <a:gd name="connsiteY172" fmla="*/ 125308 h 517594"/>
                  <a:gd name="connsiteX173" fmla="*/ 878366 w 1115495"/>
                  <a:gd name="connsiteY173" fmla="*/ 113944 h 517594"/>
                  <a:gd name="connsiteX174" fmla="*/ 871699 w 1115495"/>
                  <a:gd name="connsiteY174" fmla="*/ 103640 h 517594"/>
                  <a:gd name="connsiteX175" fmla="*/ 864123 w 1115495"/>
                  <a:gd name="connsiteY175" fmla="*/ 92882 h 517594"/>
                  <a:gd name="connsiteX176" fmla="*/ 859578 w 1115495"/>
                  <a:gd name="connsiteY176" fmla="*/ 86821 h 517594"/>
                  <a:gd name="connsiteX177" fmla="*/ 854880 w 1115495"/>
                  <a:gd name="connsiteY177" fmla="*/ 80306 h 517594"/>
                  <a:gd name="connsiteX178" fmla="*/ 853213 w 1115495"/>
                  <a:gd name="connsiteY178" fmla="*/ 78488 h 517594"/>
                  <a:gd name="connsiteX179" fmla="*/ 850638 w 1115495"/>
                  <a:gd name="connsiteY179" fmla="*/ 76215 h 517594"/>
                  <a:gd name="connsiteX180" fmla="*/ 844274 w 1115495"/>
                  <a:gd name="connsiteY180" fmla="*/ 71821 h 517594"/>
                  <a:gd name="connsiteX181" fmla="*/ 835031 w 1115495"/>
                  <a:gd name="connsiteY181" fmla="*/ 65457 h 517594"/>
                  <a:gd name="connsiteX182" fmla="*/ 826546 w 1115495"/>
                  <a:gd name="connsiteY182" fmla="*/ 59699 h 517594"/>
                  <a:gd name="connsiteX183" fmla="*/ 819879 w 1115495"/>
                  <a:gd name="connsiteY183" fmla="*/ 55154 h 517594"/>
                  <a:gd name="connsiteX184" fmla="*/ 818212 w 1115495"/>
                  <a:gd name="connsiteY184" fmla="*/ 53184 h 517594"/>
                  <a:gd name="connsiteX185" fmla="*/ 817455 w 1115495"/>
                  <a:gd name="connsiteY185" fmla="*/ 52123 h 517594"/>
                  <a:gd name="connsiteX186" fmla="*/ 816697 w 1115495"/>
                  <a:gd name="connsiteY186" fmla="*/ 50911 h 517594"/>
                  <a:gd name="connsiteX187" fmla="*/ 815637 w 1115495"/>
                  <a:gd name="connsiteY187" fmla="*/ 48790 h 517594"/>
                  <a:gd name="connsiteX188" fmla="*/ 815637 w 1115495"/>
                  <a:gd name="connsiteY188" fmla="*/ 47426 h 517594"/>
                  <a:gd name="connsiteX189" fmla="*/ 822000 w 1115495"/>
                  <a:gd name="connsiteY189" fmla="*/ 47729 h 517594"/>
                  <a:gd name="connsiteX190" fmla="*/ 823364 w 1115495"/>
                  <a:gd name="connsiteY190" fmla="*/ 46365 h 517594"/>
                  <a:gd name="connsiteX191" fmla="*/ 825788 w 1115495"/>
                  <a:gd name="connsiteY191" fmla="*/ 41062 h 517594"/>
                  <a:gd name="connsiteX192" fmla="*/ 827152 w 1115495"/>
                  <a:gd name="connsiteY192" fmla="*/ 36517 h 517594"/>
                  <a:gd name="connsiteX193" fmla="*/ 825031 w 1115495"/>
                  <a:gd name="connsiteY193" fmla="*/ 36668 h 517594"/>
                  <a:gd name="connsiteX194" fmla="*/ 821091 w 1115495"/>
                  <a:gd name="connsiteY194" fmla="*/ 38486 h 517594"/>
                  <a:gd name="connsiteX195" fmla="*/ 818970 w 1115495"/>
                  <a:gd name="connsiteY195" fmla="*/ 39850 h 517594"/>
                  <a:gd name="connsiteX196" fmla="*/ 817758 w 1115495"/>
                  <a:gd name="connsiteY196" fmla="*/ 40456 h 517594"/>
                  <a:gd name="connsiteX197" fmla="*/ 811394 w 1115495"/>
                  <a:gd name="connsiteY197" fmla="*/ 41365 h 517594"/>
                  <a:gd name="connsiteX198" fmla="*/ 807909 w 1115495"/>
                  <a:gd name="connsiteY198" fmla="*/ 43335 h 517594"/>
                  <a:gd name="connsiteX199" fmla="*/ 800787 w 1115495"/>
                  <a:gd name="connsiteY199" fmla="*/ 46668 h 517594"/>
                  <a:gd name="connsiteX200" fmla="*/ 795636 w 1115495"/>
                  <a:gd name="connsiteY200" fmla="*/ 48638 h 517594"/>
                  <a:gd name="connsiteX201" fmla="*/ 794575 w 1115495"/>
                  <a:gd name="connsiteY201" fmla="*/ 48941 h 517594"/>
                  <a:gd name="connsiteX202" fmla="*/ 788514 w 1115495"/>
                  <a:gd name="connsiteY202" fmla="*/ 49547 h 517594"/>
                  <a:gd name="connsiteX203" fmla="*/ 787453 w 1115495"/>
                  <a:gd name="connsiteY203" fmla="*/ 50305 h 517594"/>
                  <a:gd name="connsiteX204" fmla="*/ 787302 w 1115495"/>
                  <a:gd name="connsiteY204" fmla="*/ 52123 h 517594"/>
                  <a:gd name="connsiteX205" fmla="*/ 786847 w 1115495"/>
                  <a:gd name="connsiteY205" fmla="*/ 54093 h 517594"/>
                  <a:gd name="connsiteX206" fmla="*/ 782605 w 1115495"/>
                  <a:gd name="connsiteY206" fmla="*/ 56972 h 517594"/>
                  <a:gd name="connsiteX207" fmla="*/ 778059 w 1115495"/>
                  <a:gd name="connsiteY207" fmla="*/ 59548 h 517594"/>
                  <a:gd name="connsiteX208" fmla="*/ 776392 w 1115495"/>
                  <a:gd name="connsiteY208" fmla="*/ 59851 h 517594"/>
                  <a:gd name="connsiteX209" fmla="*/ 773665 w 1115495"/>
                  <a:gd name="connsiteY209" fmla="*/ 59245 h 517594"/>
                  <a:gd name="connsiteX210" fmla="*/ 772150 w 1115495"/>
                  <a:gd name="connsiteY210" fmla="*/ 59548 h 517594"/>
                  <a:gd name="connsiteX211" fmla="*/ 767907 w 1115495"/>
                  <a:gd name="connsiteY211" fmla="*/ 62275 h 517594"/>
                  <a:gd name="connsiteX212" fmla="*/ 761695 w 1115495"/>
                  <a:gd name="connsiteY212" fmla="*/ 66215 h 517594"/>
                  <a:gd name="connsiteX213" fmla="*/ 761089 w 1115495"/>
                  <a:gd name="connsiteY213" fmla="*/ 67881 h 517594"/>
                  <a:gd name="connsiteX214" fmla="*/ 761089 w 1115495"/>
                  <a:gd name="connsiteY214" fmla="*/ 69851 h 517594"/>
                  <a:gd name="connsiteX215" fmla="*/ 760331 w 1115495"/>
                  <a:gd name="connsiteY215" fmla="*/ 71518 h 517594"/>
                  <a:gd name="connsiteX216" fmla="*/ 758968 w 1115495"/>
                  <a:gd name="connsiteY216" fmla="*/ 72124 h 517594"/>
                  <a:gd name="connsiteX217" fmla="*/ 756998 w 1115495"/>
                  <a:gd name="connsiteY217" fmla="*/ 70609 h 517594"/>
                  <a:gd name="connsiteX218" fmla="*/ 755179 w 1115495"/>
                  <a:gd name="connsiteY218" fmla="*/ 68790 h 517594"/>
                  <a:gd name="connsiteX219" fmla="*/ 751240 w 1115495"/>
                  <a:gd name="connsiteY219" fmla="*/ 67427 h 517594"/>
                  <a:gd name="connsiteX220" fmla="*/ 745482 w 1115495"/>
                  <a:gd name="connsiteY220" fmla="*/ 67124 h 517594"/>
                  <a:gd name="connsiteX221" fmla="*/ 741997 w 1115495"/>
                  <a:gd name="connsiteY221" fmla="*/ 67730 h 517594"/>
                  <a:gd name="connsiteX222" fmla="*/ 739573 w 1115495"/>
                  <a:gd name="connsiteY222" fmla="*/ 68790 h 517594"/>
                  <a:gd name="connsiteX223" fmla="*/ 734876 w 1115495"/>
                  <a:gd name="connsiteY223" fmla="*/ 72730 h 517594"/>
                  <a:gd name="connsiteX224" fmla="*/ 733209 w 1115495"/>
                  <a:gd name="connsiteY224" fmla="*/ 73488 h 517594"/>
                  <a:gd name="connsiteX225" fmla="*/ 732300 w 1115495"/>
                  <a:gd name="connsiteY225" fmla="*/ 73185 h 517594"/>
                  <a:gd name="connsiteX226" fmla="*/ 731997 w 1115495"/>
                  <a:gd name="connsiteY226" fmla="*/ 71215 h 517594"/>
                  <a:gd name="connsiteX227" fmla="*/ 731088 w 1115495"/>
                  <a:gd name="connsiteY227" fmla="*/ 69851 h 517594"/>
                  <a:gd name="connsiteX228" fmla="*/ 730027 w 1115495"/>
                  <a:gd name="connsiteY228" fmla="*/ 67730 h 517594"/>
                  <a:gd name="connsiteX229" fmla="*/ 730633 w 1115495"/>
                  <a:gd name="connsiteY229" fmla="*/ 63639 h 517594"/>
                  <a:gd name="connsiteX230" fmla="*/ 733209 w 1115495"/>
                  <a:gd name="connsiteY230" fmla="*/ 59699 h 517594"/>
                  <a:gd name="connsiteX231" fmla="*/ 737452 w 1115495"/>
                  <a:gd name="connsiteY231" fmla="*/ 57578 h 517594"/>
                  <a:gd name="connsiteX232" fmla="*/ 740937 w 1115495"/>
                  <a:gd name="connsiteY232" fmla="*/ 55305 h 517594"/>
                  <a:gd name="connsiteX233" fmla="*/ 741997 w 1115495"/>
                  <a:gd name="connsiteY233" fmla="*/ 52729 h 517594"/>
                  <a:gd name="connsiteX234" fmla="*/ 741846 w 1115495"/>
                  <a:gd name="connsiteY234" fmla="*/ 51063 h 517594"/>
                  <a:gd name="connsiteX235" fmla="*/ 740634 w 1115495"/>
                  <a:gd name="connsiteY235" fmla="*/ 50305 h 517594"/>
                  <a:gd name="connsiteX236" fmla="*/ 739270 w 1115495"/>
                  <a:gd name="connsiteY236" fmla="*/ 50153 h 517594"/>
                  <a:gd name="connsiteX237" fmla="*/ 738512 w 1115495"/>
                  <a:gd name="connsiteY237" fmla="*/ 51063 h 517594"/>
                  <a:gd name="connsiteX238" fmla="*/ 736239 w 1115495"/>
                  <a:gd name="connsiteY238" fmla="*/ 52729 h 517594"/>
                  <a:gd name="connsiteX239" fmla="*/ 732755 w 1115495"/>
                  <a:gd name="connsiteY239" fmla="*/ 54093 h 517594"/>
                  <a:gd name="connsiteX240" fmla="*/ 729876 w 1115495"/>
                  <a:gd name="connsiteY240" fmla="*/ 54396 h 517594"/>
                  <a:gd name="connsiteX241" fmla="*/ 728663 w 1115495"/>
                  <a:gd name="connsiteY241" fmla="*/ 54244 h 517594"/>
                  <a:gd name="connsiteX242" fmla="*/ 725633 w 1115495"/>
                  <a:gd name="connsiteY242" fmla="*/ 53335 h 517594"/>
                  <a:gd name="connsiteX243" fmla="*/ 720027 w 1115495"/>
                  <a:gd name="connsiteY243" fmla="*/ 48638 h 517594"/>
                  <a:gd name="connsiteX244" fmla="*/ 715329 w 1115495"/>
                  <a:gd name="connsiteY244" fmla="*/ 48032 h 517594"/>
                  <a:gd name="connsiteX245" fmla="*/ 712148 w 1115495"/>
                  <a:gd name="connsiteY245" fmla="*/ 47729 h 517594"/>
                  <a:gd name="connsiteX246" fmla="*/ 711087 w 1115495"/>
                  <a:gd name="connsiteY246" fmla="*/ 48184 h 517594"/>
                  <a:gd name="connsiteX247" fmla="*/ 710632 w 1115495"/>
                  <a:gd name="connsiteY247" fmla="*/ 49396 h 517594"/>
                  <a:gd name="connsiteX248" fmla="*/ 710936 w 1115495"/>
                  <a:gd name="connsiteY248" fmla="*/ 50608 h 517594"/>
                  <a:gd name="connsiteX249" fmla="*/ 711541 w 1115495"/>
                  <a:gd name="connsiteY249" fmla="*/ 51820 h 517594"/>
                  <a:gd name="connsiteX250" fmla="*/ 711239 w 1115495"/>
                  <a:gd name="connsiteY250" fmla="*/ 52881 h 517594"/>
                  <a:gd name="connsiteX251" fmla="*/ 709723 w 1115495"/>
                  <a:gd name="connsiteY251" fmla="*/ 53638 h 517594"/>
                  <a:gd name="connsiteX252" fmla="*/ 707451 w 1115495"/>
                  <a:gd name="connsiteY252" fmla="*/ 54851 h 517594"/>
                  <a:gd name="connsiteX253" fmla="*/ 706239 w 1115495"/>
                  <a:gd name="connsiteY253" fmla="*/ 53941 h 517594"/>
                  <a:gd name="connsiteX254" fmla="*/ 705632 w 1115495"/>
                  <a:gd name="connsiteY254" fmla="*/ 50608 h 517594"/>
                  <a:gd name="connsiteX255" fmla="*/ 705784 w 1115495"/>
                  <a:gd name="connsiteY255" fmla="*/ 48032 h 517594"/>
                  <a:gd name="connsiteX256" fmla="*/ 704269 w 1115495"/>
                  <a:gd name="connsiteY256" fmla="*/ 45911 h 517594"/>
                  <a:gd name="connsiteX257" fmla="*/ 702602 w 1115495"/>
                  <a:gd name="connsiteY257" fmla="*/ 42426 h 517594"/>
                  <a:gd name="connsiteX258" fmla="*/ 700329 w 1115495"/>
                  <a:gd name="connsiteY258" fmla="*/ 40456 h 517594"/>
                  <a:gd name="connsiteX259" fmla="*/ 698056 w 1115495"/>
                  <a:gd name="connsiteY259" fmla="*/ 41062 h 517594"/>
                  <a:gd name="connsiteX260" fmla="*/ 696996 w 1115495"/>
                  <a:gd name="connsiteY260" fmla="*/ 43941 h 517594"/>
                  <a:gd name="connsiteX261" fmla="*/ 695329 w 1115495"/>
                  <a:gd name="connsiteY261" fmla="*/ 44850 h 517594"/>
                  <a:gd name="connsiteX262" fmla="*/ 692147 w 1115495"/>
                  <a:gd name="connsiteY262" fmla="*/ 44244 h 517594"/>
                  <a:gd name="connsiteX263" fmla="*/ 686389 w 1115495"/>
                  <a:gd name="connsiteY263" fmla="*/ 45911 h 517594"/>
                  <a:gd name="connsiteX264" fmla="*/ 676995 w 1115495"/>
                  <a:gd name="connsiteY264" fmla="*/ 46668 h 517594"/>
                  <a:gd name="connsiteX265" fmla="*/ 670328 w 1115495"/>
                  <a:gd name="connsiteY265" fmla="*/ 44699 h 517594"/>
                  <a:gd name="connsiteX266" fmla="*/ 669267 w 1115495"/>
                  <a:gd name="connsiteY266" fmla="*/ 42880 h 517594"/>
                  <a:gd name="connsiteX267" fmla="*/ 671995 w 1115495"/>
                  <a:gd name="connsiteY267" fmla="*/ 38941 h 517594"/>
                  <a:gd name="connsiteX268" fmla="*/ 672146 w 1115495"/>
                  <a:gd name="connsiteY268" fmla="*/ 35456 h 517594"/>
                  <a:gd name="connsiteX269" fmla="*/ 672146 w 1115495"/>
                  <a:gd name="connsiteY269" fmla="*/ 32274 h 517594"/>
                  <a:gd name="connsiteX270" fmla="*/ 672904 w 1115495"/>
                  <a:gd name="connsiteY270" fmla="*/ 30001 h 517594"/>
                  <a:gd name="connsiteX271" fmla="*/ 671237 w 1115495"/>
                  <a:gd name="connsiteY271" fmla="*/ 25607 h 517594"/>
                  <a:gd name="connsiteX272" fmla="*/ 667601 w 1115495"/>
                  <a:gd name="connsiteY272" fmla="*/ 16667 h 517594"/>
                  <a:gd name="connsiteX273" fmla="*/ 664873 w 1115495"/>
                  <a:gd name="connsiteY273" fmla="*/ 10000 h 517594"/>
                  <a:gd name="connsiteX274" fmla="*/ 661540 w 1115495"/>
                  <a:gd name="connsiteY274" fmla="*/ 4849 h 517594"/>
                  <a:gd name="connsiteX275" fmla="*/ 660176 w 1115495"/>
                  <a:gd name="connsiteY275" fmla="*/ 3182 h 517594"/>
                  <a:gd name="connsiteX276" fmla="*/ 653358 w 1115495"/>
                  <a:gd name="connsiteY276" fmla="*/ 4091 h 517594"/>
                  <a:gd name="connsiteX277" fmla="*/ 651539 w 1115495"/>
                  <a:gd name="connsiteY277" fmla="*/ 5152 h 517594"/>
                  <a:gd name="connsiteX278" fmla="*/ 650327 w 1115495"/>
                  <a:gd name="connsiteY278" fmla="*/ 6667 h 517594"/>
                  <a:gd name="connsiteX279" fmla="*/ 648206 w 1115495"/>
                  <a:gd name="connsiteY279" fmla="*/ 7728 h 517594"/>
                  <a:gd name="connsiteX280" fmla="*/ 645176 w 1115495"/>
                  <a:gd name="connsiteY280" fmla="*/ 8485 h 517594"/>
                  <a:gd name="connsiteX281" fmla="*/ 642600 w 1115495"/>
                  <a:gd name="connsiteY281" fmla="*/ 7879 h 517594"/>
                  <a:gd name="connsiteX282" fmla="*/ 639721 w 1115495"/>
                  <a:gd name="connsiteY282" fmla="*/ 6970 h 517594"/>
                  <a:gd name="connsiteX283" fmla="*/ 636691 w 1115495"/>
                  <a:gd name="connsiteY283" fmla="*/ 5152 h 517594"/>
                  <a:gd name="connsiteX284" fmla="*/ 633205 w 1115495"/>
                  <a:gd name="connsiteY284" fmla="*/ 2727 h 517594"/>
                  <a:gd name="connsiteX285" fmla="*/ 626387 w 1115495"/>
                  <a:gd name="connsiteY285" fmla="*/ 909 h 517594"/>
                  <a:gd name="connsiteX286" fmla="*/ 619417 w 1115495"/>
                  <a:gd name="connsiteY286" fmla="*/ 606 h 517594"/>
                  <a:gd name="connsiteX287" fmla="*/ 611993 w 1115495"/>
                  <a:gd name="connsiteY287" fmla="*/ 0 h 517594"/>
                  <a:gd name="connsiteX288" fmla="*/ 608356 w 1115495"/>
                  <a:gd name="connsiteY288" fmla="*/ 1212 h 517594"/>
                  <a:gd name="connsiteX289" fmla="*/ 604871 w 1115495"/>
                  <a:gd name="connsiteY289" fmla="*/ 3182 h 517594"/>
                  <a:gd name="connsiteX290" fmla="*/ 599719 w 1115495"/>
                  <a:gd name="connsiteY290" fmla="*/ 7121 h 517594"/>
                  <a:gd name="connsiteX291" fmla="*/ 597295 w 1115495"/>
                  <a:gd name="connsiteY291" fmla="*/ 7576 h 517594"/>
                  <a:gd name="connsiteX292" fmla="*/ 593507 w 1115495"/>
                  <a:gd name="connsiteY292" fmla="*/ 7879 h 517594"/>
                  <a:gd name="connsiteX293" fmla="*/ 590931 w 1115495"/>
                  <a:gd name="connsiteY293" fmla="*/ 8788 h 517594"/>
                  <a:gd name="connsiteX294" fmla="*/ 591386 w 1115495"/>
                  <a:gd name="connsiteY294" fmla="*/ 10455 h 517594"/>
                  <a:gd name="connsiteX295" fmla="*/ 591840 w 1115495"/>
                  <a:gd name="connsiteY295" fmla="*/ 12879 h 517594"/>
                  <a:gd name="connsiteX296" fmla="*/ 590931 w 1115495"/>
                  <a:gd name="connsiteY296" fmla="*/ 14698 h 517594"/>
                  <a:gd name="connsiteX297" fmla="*/ 589416 w 1115495"/>
                  <a:gd name="connsiteY297" fmla="*/ 15758 h 517594"/>
                  <a:gd name="connsiteX298" fmla="*/ 587143 w 1115495"/>
                  <a:gd name="connsiteY298" fmla="*/ 16364 h 517594"/>
                  <a:gd name="connsiteX299" fmla="*/ 583507 w 1115495"/>
                  <a:gd name="connsiteY299" fmla="*/ 16516 h 517594"/>
                  <a:gd name="connsiteX300" fmla="*/ 580476 w 1115495"/>
                  <a:gd name="connsiteY300" fmla="*/ 16970 h 517594"/>
                  <a:gd name="connsiteX301" fmla="*/ 576688 w 1115495"/>
                  <a:gd name="connsiteY301" fmla="*/ 19698 h 517594"/>
                  <a:gd name="connsiteX302" fmla="*/ 570930 w 1115495"/>
                  <a:gd name="connsiteY302" fmla="*/ 20304 h 517594"/>
                  <a:gd name="connsiteX303" fmla="*/ 564718 w 1115495"/>
                  <a:gd name="connsiteY303" fmla="*/ 21213 h 517594"/>
                  <a:gd name="connsiteX304" fmla="*/ 560324 w 1115495"/>
                  <a:gd name="connsiteY304" fmla="*/ 22728 h 517594"/>
                  <a:gd name="connsiteX305" fmla="*/ 550930 w 1115495"/>
                  <a:gd name="connsiteY305" fmla="*/ 24698 h 517594"/>
                  <a:gd name="connsiteX306" fmla="*/ 545475 w 1115495"/>
                  <a:gd name="connsiteY306" fmla="*/ 25607 h 517594"/>
                  <a:gd name="connsiteX307" fmla="*/ 536383 w 1115495"/>
                  <a:gd name="connsiteY307" fmla="*/ 27425 h 517594"/>
                  <a:gd name="connsiteX308" fmla="*/ 529111 w 1115495"/>
                  <a:gd name="connsiteY308" fmla="*/ 27728 h 517594"/>
                  <a:gd name="connsiteX309" fmla="*/ 528050 w 1115495"/>
                  <a:gd name="connsiteY309" fmla="*/ 26516 h 517594"/>
                  <a:gd name="connsiteX310" fmla="*/ 522444 w 1115495"/>
                  <a:gd name="connsiteY310" fmla="*/ 29395 h 517594"/>
                  <a:gd name="connsiteX311" fmla="*/ 516080 w 1115495"/>
                  <a:gd name="connsiteY311" fmla="*/ 29243 h 517594"/>
                  <a:gd name="connsiteX312" fmla="*/ 514868 w 1115495"/>
                  <a:gd name="connsiteY312" fmla="*/ 30304 h 517594"/>
                  <a:gd name="connsiteX313" fmla="*/ 513352 w 1115495"/>
                  <a:gd name="connsiteY313" fmla="*/ 31365 h 517594"/>
                  <a:gd name="connsiteX314" fmla="*/ 511686 w 1115495"/>
                  <a:gd name="connsiteY314" fmla="*/ 31819 h 517594"/>
                  <a:gd name="connsiteX315" fmla="*/ 509564 w 1115495"/>
                  <a:gd name="connsiteY315" fmla="*/ 33183 h 517594"/>
                  <a:gd name="connsiteX316" fmla="*/ 508352 w 1115495"/>
                  <a:gd name="connsiteY316" fmla="*/ 36062 h 517594"/>
                  <a:gd name="connsiteX317" fmla="*/ 507443 w 1115495"/>
                  <a:gd name="connsiteY317" fmla="*/ 38941 h 517594"/>
                  <a:gd name="connsiteX318" fmla="*/ 505474 w 1115495"/>
                  <a:gd name="connsiteY318" fmla="*/ 39850 h 517594"/>
                  <a:gd name="connsiteX319" fmla="*/ 502897 w 1115495"/>
                  <a:gd name="connsiteY319" fmla="*/ 38789 h 517594"/>
                  <a:gd name="connsiteX320" fmla="*/ 501079 w 1115495"/>
                  <a:gd name="connsiteY320" fmla="*/ 37729 h 517594"/>
                  <a:gd name="connsiteX321" fmla="*/ 497898 w 1115495"/>
                  <a:gd name="connsiteY321" fmla="*/ 38789 h 517594"/>
                  <a:gd name="connsiteX322" fmla="*/ 493503 w 1115495"/>
                  <a:gd name="connsiteY322" fmla="*/ 39395 h 517594"/>
                  <a:gd name="connsiteX323" fmla="*/ 490018 w 1115495"/>
                  <a:gd name="connsiteY323" fmla="*/ 39092 h 517594"/>
                  <a:gd name="connsiteX324" fmla="*/ 488200 w 1115495"/>
                  <a:gd name="connsiteY324" fmla="*/ 38335 h 517594"/>
                  <a:gd name="connsiteX325" fmla="*/ 481078 w 1115495"/>
                  <a:gd name="connsiteY325" fmla="*/ 39698 h 517594"/>
                  <a:gd name="connsiteX326" fmla="*/ 477290 w 1115495"/>
                  <a:gd name="connsiteY326" fmla="*/ 41365 h 517594"/>
                  <a:gd name="connsiteX327" fmla="*/ 476533 w 1115495"/>
                  <a:gd name="connsiteY327" fmla="*/ 42274 h 517594"/>
                  <a:gd name="connsiteX328" fmla="*/ 475624 w 1115495"/>
                  <a:gd name="connsiteY328" fmla="*/ 42729 h 517594"/>
                  <a:gd name="connsiteX329" fmla="*/ 471381 w 1115495"/>
                  <a:gd name="connsiteY329" fmla="*/ 43941 h 517594"/>
                  <a:gd name="connsiteX330" fmla="*/ 467896 w 1115495"/>
                  <a:gd name="connsiteY330" fmla="*/ 43638 h 517594"/>
                  <a:gd name="connsiteX331" fmla="*/ 467290 w 1115495"/>
                  <a:gd name="connsiteY331" fmla="*/ 43638 h 517594"/>
                  <a:gd name="connsiteX332" fmla="*/ 463957 w 1115495"/>
                  <a:gd name="connsiteY332" fmla="*/ 44396 h 517594"/>
                  <a:gd name="connsiteX333" fmla="*/ 459411 w 1115495"/>
                  <a:gd name="connsiteY333" fmla="*/ 45911 h 517594"/>
                  <a:gd name="connsiteX334" fmla="*/ 456078 w 1115495"/>
                  <a:gd name="connsiteY334" fmla="*/ 46365 h 517594"/>
                  <a:gd name="connsiteX335" fmla="*/ 453350 w 1115495"/>
                  <a:gd name="connsiteY335" fmla="*/ 46365 h 517594"/>
                  <a:gd name="connsiteX336" fmla="*/ 451532 w 1115495"/>
                  <a:gd name="connsiteY336" fmla="*/ 47578 h 517594"/>
                  <a:gd name="connsiteX337" fmla="*/ 450017 w 1115495"/>
                  <a:gd name="connsiteY337" fmla="*/ 48790 h 517594"/>
                  <a:gd name="connsiteX338" fmla="*/ 437895 w 1115495"/>
                  <a:gd name="connsiteY338" fmla="*/ 50153 h 517594"/>
                  <a:gd name="connsiteX339" fmla="*/ 436683 w 1115495"/>
                  <a:gd name="connsiteY339" fmla="*/ 51063 h 517594"/>
                  <a:gd name="connsiteX340" fmla="*/ 434259 w 1115495"/>
                  <a:gd name="connsiteY340" fmla="*/ 52275 h 517594"/>
                  <a:gd name="connsiteX341" fmla="*/ 421683 w 1115495"/>
                  <a:gd name="connsiteY341" fmla="*/ 52729 h 517594"/>
                  <a:gd name="connsiteX342" fmla="*/ 420622 w 1115495"/>
                  <a:gd name="connsiteY342" fmla="*/ 53638 h 517594"/>
                  <a:gd name="connsiteX343" fmla="*/ 420167 w 1115495"/>
                  <a:gd name="connsiteY343" fmla="*/ 54548 h 517594"/>
                  <a:gd name="connsiteX344" fmla="*/ 418652 w 1115495"/>
                  <a:gd name="connsiteY344" fmla="*/ 54851 h 517594"/>
                  <a:gd name="connsiteX345" fmla="*/ 409561 w 1115495"/>
                  <a:gd name="connsiteY345" fmla="*/ 53032 h 517594"/>
                  <a:gd name="connsiteX346" fmla="*/ 402288 w 1115495"/>
                  <a:gd name="connsiteY346" fmla="*/ 51063 h 517594"/>
                  <a:gd name="connsiteX347" fmla="*/ 399409 w 1115495"/>
                  <a:gd name="connsiteY347" fmla="*/ 52123 h 517594"/>
                  <a:gd name="connsiteX348" fmla="*/ 396985 w 1115495"/>
                  <a:gd name="connsiteY348" fmla="*/ 54244 h 517594"/>
                  <a:gd name="connsiteX349" fmla="*/ 396076 w 1115495"/>
                  <a:gd name="connsiteY349" fmla="*/ 57275 h 517594"/>
                  <a:gd name="connsiteX350" fmla="*/ 396076 w 1115495"/>
                  <a:gd name="connsiteY350" fmla="*/ 59851 h 517594"/>
                  <a:gd name="connsiteX351" fmla="*/ 396076 w 1115495"/>
                  <a:gd name="connsiteY351" fmla="*/ 62124 h 517594"/>
                  <a:gd name="connsiteX352" fmla="*/ 395015 w 1115495"/>
                  <a:gd name="connsiteY352" fmla="*/ 63790 h 517594"/>
                  <a:gd name="connsiteX353" fmla="*/ 392590 w 1115495"/>
                  <a:gd name="connsiteY353" fmla="*/ 65760 h 517594"/>
                  <a:gd name="connsiteX354" fmla="*/ 392439 w 1115495"/>
                  <a:gd name="connsiteY354" fmla="*/ 67124 h 517594"/>
                  <a:gd name="connsiteX355" fmla="*/ 395621 w 1115495"/>
                  <a:gd name="connsiteY355" fmla="*/ 68639 h 517594"/>
                  <a:gd name="connsiteX356" fmla="*/ 399712 w 1115495"/>
                  <a:gd name="connsiteY356" fmla="*/ 69851 h 517594"/>
                  <a:gd name="connsiteX357" fmla="*/ 402136 w 1115495"/>
                  <a:gd name="connsiteY357" fmla="*/ 69397 h 517594"/>
                  <a:gd name="connsiteX358" fmla="*/ 404106 w 1115495"/>
                  <a:gd name="connsiteY358" fmla="*/ 68639 h 517594"/>
                  <a:gd name="connsiteX359" fmla="*/ 405924 w 1115495"/>
                  <a:gd name="connsiteY359" fmla="*/ 68942 h 517594"/>
                  <a:gd name="connsiteX360" fmla="*/ 407136 w 1115495"/>
                  <a:gd name="connsiteY360" fmla="*/ 69851 h 517594"/>
                  <a:gd name="connsiteX361" fmla="*/ 407591 w 1115495"/>
                  <a:gd name="connsiteY361" fmla="*/ 71063 h 517594"/>
                  <a:gd name="connsiteX362" fmla="*/ 407288 w 1115495"/>
                  <a:gd name="connsiteY362" fmla="*/ 71821 h 517594"/>
                  <a:gd name="connsiteX363" fmla="*/ 406530 w 1115495"/>
                  <a:gd name="connsiteY363" fmla="*/ 72427 h 517594"/>
                  <a:gd name="connsiteX364" fmla="*/ 403803 w 1115495"/>
                  <a:gd name="connsiteY364" fmla="*/ 73488 h 517594"/>
                  <a:gd name="connsiteX365" fmla="*/ 401378 w 1115495"/>
                  <a:gd name="connsiteY365" fmla="*/ 73185 h 517594"/>
                  <a:gd name="connsiteX366" fmla="*/ 399106 w 1115495"/>
                  <a:gd name="connsiteY366" fmla="*/ 73942 h 517594"/>
                  <a:gd name="connsiteX367" fmla="*/ 397894 w 1115495"/>
                  <a:gd name="connsiteY367" fmla="*/ 75457 h 517594"/>
                  <a:gd name="connsiteX368" fmla="*/ 397287 w 1115495"/>
                  <a:gd name="connsiteY368" fmla="*/ 78033 h 517594"/>
                  <a:gd name="connsiteX369" fmla="*/ 398348 w 1115495"/>
                  <a:gd name="connsiteY369" fmla="*/ 79851 h 517594"/>
                  <a:gd name="connsiteX370" fmla="*/ 401378 w 1115495"/>
                  <a:gd name="connsiteY370" fmla="*/ 80306 h 517594"/>
                  <a:gd name="connsiteX371" fmla="*/ 404864 w 1115495"/>
                  <a:gd name="connsiteY371" fmla="*/ 81670 h 517594"/>
                  <a:gd name="connsiteX372" fmla="*/ 408652 w 1115495"/>
                  <a:gd name="connsiteY372" fmla="*/ 82276 h 517594"/>
                  <a:gd name="connsiteX373" fmla="*/ 410924 w 1115495"/>
                  <a:gd name="connsiteY373" fmla="*/ 82124 h 517594"/>
                  <a:gd name="connsiteX374" fmla="*/ 413803 w 1115495"/>
                  <a:gd name="connsiteY374" fmla="*/ 84094 h 517594"/>
                  <a:gd name="connsiteX375" fmla="*/ 420622 w 1115495"/>
                  <a:gd name="connsiteY375" fmla="*/ 86518 h 517594"/>
                  <a:gd name="connsiteX376" fmla="*/ 422440 w 1115495"/>
                  <a:gd name="connsiteY376" fmla="*/ 88337 h 517594"/>
                  <a:gd name="connsiteX377" fmla="*/ 422440 w 1115495"/>
                  <a:gd name="connsiteY377" fmla="*/ 90306 h 517594"/>
                  <a:gd name="connsiteX378" fmla="*/ 421228 w 1115495"/>
                  <a:gd name="connsiteY378" fmla="*/ 91822 h 517594"/>
                  <a:gd name="connsiteX379" fmla="*/ 419561 w 1115495"/>
                  <a:gd name="connsiteY379" fmla="*/ 92579 h 517594"/>
                  <a:gd name="connsiteX380" fmla="*/ 417288 w 1115495"/>
                  <a:gd name="connsiteY380" fmla="*/ 92125 h 517594"/>
                  <a:gd name="connsiteX381" fmla="*/ 412591 w 1115495"/>
                  <a:gd name="connsiteY381" fmla="*/ 91670 h 517594"/>
                  <a:gd name="connsiteX382" fmla="*/ 407440 w 1115495"/>
                  <a:gd name="connsiteY382" fmla="*/ 91367 h 517594"/>
                  <a:gd name="connsiteX383" fmla="*/ 403803 w 1115495"/>
                  <a:gd name="connsiteY383" fmla="*/ 90761 h 517594"/>
                  <a:gd name="connsiteX384" fmla="*/ 398500 w 1115495"/>
                  <a:gd name="connsiteY384" fmla="*/ 91064 h 517594"/>
                  <a:gd name="connsiteX385" fmla="*/ 394106 w 1115495"/>
                  <a:gd name="connsiteY385" fmla="*/ 91670 h 517594"/>
                  <a:gd name="connsiteX386" fmla="*/ 393045 w 1115495"/>
                  <a:gd name="connsiteY386" fmla="*/ 93185 h 517594"/>
                  <a:gd name="connsiteX387" fmla="*/ 391378 w 1115495"/>
                  <a:gd name="connsiteY387" fmla="*/ 95913 h 517594"/>
                  <a:gd name="connsiteX388" fmla="*/ 390014 w 1115495"/>
                  <a:gd name="connsiteY388" fmla="*/ 97428 h 517594"/>
                  <a:gd name="connsiteX389" fmla="*/ 387590 w 1115495"/>
                  <a:gd name="connsiteY389" fmla="*/ 100155 h 517594"/>
                  <a:gd name="connsiteX390" fmla="*/ 386833 w 1115495"/>
                  <a:gd name="connsiteY390" fmla="*/ 102731 h 517594"/>
                  <a:gd name="connsiteX391" fmla="*/ 388045 w 1115495"/>
                  <a:gd name="connsiteY391" fmla="*/ 106671 h 517594"/>
                  <a:gd name="connsiteX392" fmla="*/ 392439 w 1115495"/>
                  <a:gd name="connsiteY392" fmla="*/ 113035 h 517594"/>
                  <a:gd name="connsiteX393" fmla="*/ 392893 w 1115495"/>
                  <a:gd name="connsiteY393" fmla="*/ 115156 h 517594"/>
                  <a:gd name="connsiteX394" fmla="*/ 391378 w 1115495"/>
                  <a:gd name="connsiteY394" fmla="*/ 117277 h 517594"/>
                  <a:gd name="connsiteX395" fmla="*/ 388348 w 1115495"/>
                  <a:gd name="connsiteY395" fmla="*/ 118944 h 517594"/>
                  <a:gd name="connsiteX396" fmla="*/ 383954 w 1115495"/>
                  <a:gd name="connsiteY396" fmla="*/ 121974 h 517594"/>
                  <a:gd name="connsiteX397" fmla="*/ 379256 w 1115495"/>
                  <a:gd name="connsiteY397" fmla="*/ 122126 h 517594"/>
                  <a:gd name="connsiteX398" fmla="*/ 377287 w 1115495"/>
                  <a:gd name="connsiteY398" fmla="*/ 122883 h 517594"/>
                  <a:gd name="connsiteX399" fmla="*/ 371984 w 1115495"/>
                  <a:gd name="connsiteY399" fmla="*/ 126520 h 517594"/>
                  <a:gd name="connsiteX400" fmla="*/ 367438 w 1115495"/>
                  <a:gd name="connsiteY400" fmla="*/ 128338 h 517594"/>
                  <a:gd name="connsiteX401" fmla="*/ 366529 w 1115495"/>
                  <a:gd name="connsiteY401" fmla="*/ 129853 h 517594"/>
                  <a:gd name="connsiteX402" fmla="*/ 367590 w 1115495"/>
                  <a:gd name="connsiteY402" fmla="*/ 131369 h 517594"/>
                  <a:gd name="connsiteX403" fmla="*/ 373347 w 1115495"/>
                  <a:gd name="connsiteY403" fmla="*/ 133338 h 517594"/>
                  <a:gd name="connsiteX404" fmla="*/ 376226 w 1115495"/>
                  <a:gd name="connsiteY404" fmla="*/ 135611 h 517594"/>
                  <a:gd name="connsiteX405" fmla="*/ 377135 w 1115495"/>
                  <a:gd name="connsiteY405" fmla="*/ 138187 h 517594"/>
                  <a:gd name="connsiteX406" fmla="*/ 378347 w 1115495"/>
                  <a:gd name="connsiteY406" fmla="*/ 140157 h 517594"/>
                  <a:gd name="connsiteX407" fmla="*/ 382893 w 1115495"/>
                  <a:gd name="connsiteY407" fmla="*/ 141369 h 517594"/>
                  <a:gd name="connsiteX408" fmla="*/ 392288 w 1115495"/>
                  <a:gd name="connsiteY408" fmla="*/ 144248 h 517594"/>
                  <a:gd name="connsiteX409" fmla="*/ 392893 w 1115495"/>
                  <a:gd name="connsiteY409" fmla="*/ 144551 h 517594"/>
                  <a:gd name="connsiteX410" fmla="*/ 393499 w 1115495"/>
                  <a:gd name="connsiteY410" fmla="*/ 145914 h 517594"/>
                  <a:gd name="connsiteX411" fmla="*/ 403045 w 1115495"/>
                  <a:gd name="connsiteY411" fmla="*/ 147733 h 517594"/>
                  <a:gd name="connsiteX412" fmla="*/ 404409 w 1115495"/>
                  <a:gd name="connsiteY412" fmla="*/ 148793 h 517594"/>
                  <a:gd name="connsiteX413" fmla="*/ 408349 w 1115495"/>
                  <a:gd name="connsiteY413" fmla="*/ 152127 h 517594"/>
                  <a:gd name="connsiteX414" fmla="*/ 409106 w 1115495"/>
                  <a:gd name="connsiteY414" fmla="*/ 155612 h 517594"/>
                  <a:gd name="connsiteX415" fmla="*/ 407136 w 1115495"/>
                  <a:gd name="connsiteY415" fmla="*/ 158945 h 517594"/>
                  <a:gd name="connsiteX416" fmla="*/ 405773 w 1115495"/>
                  <a:gd name="connsiteY416" fmla="*/ 164248 h 517594"/>
                  <a:gd name="connsiteX417" fmla="*/ 403652 w 1115495"/>
                  <a:gd name="connsiteY417" fmla="*/ 168946 h 517594"/>
                  <a:gd name="connsiteX418" fmla="*/ 399257 w 1115495"/>
                  <a:gd name="connsiteY418" fmla="*/ 172128 h 517594"/>
                  <a:gd name="connsiteX419" fmla="*/ 391530 w 1115495"/>
                  <a:gd name="connsiteY419" fmla="*/ 175006 h 517594"/>
                  <a:gd name="connsiteX420" fmla="*/ 383196 w 1115495"/>
                  <a:gd name="connsiteY420" fmla="*/ 176219 h 517594"/>
                  <a:gd name="connsiteX421" fmla="*/ 379711 w 1115495"/>
                  <a:gd name="connsiteY421" fmla="*/ 176067 h 517594"/>
                  <a:gd name="connsiteX422" fmla="*/ 377438 w 1115495"/>
                  <a:gd name="connsiteY422" fmla="*/ 175764 h 517594"/>
                  <a:gd name="connsiteX423" fmla="*/ 373650 w 1115495"/>
                  <a:gd name="connsiteY423" fmla="*/ 174855 h 517594"/>
                  <a:gd name="connsiteX424" fmla="*/ 370923 w 1115495"/>
                  <a:gd name="connsiteY424" fmla="*/ 172431 h 517594"/>
                  <a:gd name="connsiteX425" fmla="*/ 368953 w 1115495"/>
                  <a:gd name="connsiteY425" fmla="*/ 170158 h 517594"/>
                  <a:gd name="connsiteX426" fmla="*/ 367438 w 1115495"/>
                  <a:gd name="connsiteY426" fmla="*/ 169552 h 517594"/>
                  <a:gd name="connsiteX427" fmla="*/ 365923 w 1115495"/>
                  <a:gd name="connsiteY427" fmla="*/ 170006 h 517594"/>
                  <a:gd name="connsiteX428" fmla="*/ 364559 w 1115495"/>
                  <a:gd name="connsiteY428" fmla="*/ 171521 h 517594"/>
                  <a:gd name="connsiteX429" fmla="*/ 362741 w 1115495"/>
                  <a:gd name="connsiteY429" fmla="*/ 175461 h 517594"/>
                  <a:gd name="connsiteX430" fmla="*/ 360620 w 1115495"/>
                  <a:gd name="connsiteY430" fmla="*/ 179401 h 517594"/>
                  <a:gd name="connsiteX431" fmla="*/ 358953 w 1115495"/>
                  <a:gd name="connsiteY431" fmla="*/ 180764 h 517594"/>
                  <a:gd name="connsiteX432" fmla="*/ 352740 w 1115495"/>
                  <a:gd name="connsiteY432" fmla="*/ 182582 h 517594"/>
                  <a:gd name="connsiteX433" fmla="*/ 351983 w 1115495"/>
                  <a:gd name="connsiteY433" fmla="*/ 181976 h 517594"/>
                  <a:gd name="connsiteX434" fmla="*/ 352740 w 1115495"/>
                  <a:gd name="connsiteY434" fmla="*/ 179401 h 517594"/>
                  <a:gd name="connsiteX435" fmla="*/ 351983 w 1115495"/>
                  <a:gd name="connsiteY435" fmla="*/ 178643 h 517594"/>
                  <a:gd name="connsiteX436" fmla="*/ 350771 w 1115495"/>
                  <a:gd name="connsiteY436" fmla="*/ 178037 h 517594"/>
                  <a:gd name="connsiteX437" fmla="*/ 343043 w 1115495"/>
                  <a:gd name="connsiteY437" fmla="*/ 176976 h 517594"/>
                  <a:gd name="connsiteX438" fmla="*/ 340164 w 1115495"/>
                  <a:gd name="connsiteY438" fmla="*/ 176219 h 517594"/>
                  <a:gd name="connsiteX439" fmla="*/ 338043 w 1115495"/>
                  <a:gd name="connsiteY439" fmla="*/ 175916 h 517594"/>
                  <a:gd name="connsiteX440" fmla="*/ 335316 w 1115495"/>
                  <a:gd name="connsiteY440" fmla="*/ 175309 h 517594"/>
                  <a:gd name="connsiteX441" fmla="*/ 333346 w 1115495"/>
                  <a:gd name="connsiteY441" fmla="*/ 173794 h 517594"/>
                  <a:gd name="connsiteX442" fmla="*/ 329255 w 1115495"/>
                  <a:gd name="connsiteY442" fmla="*/ 169097 h 517594"/>
                  <a:gd name="connsiteX443" fmla="*/ 326073 w 1115495"/>
                  <a:gd name="connsiteY443" fmla="*/ 165461 h 517594"/>
                  <a:gd name="connsiteX444" fmla="*/ 320921 w 1115495"/>
                  <a:gd name="connsiteY444" fmla="*/ 162127 h 517594"/>
                  <a:gd name="connsiteX445" fmla="*/ 316224 w 1115495"/>
                  <a:gd name="connsiteY445" fmla="*/ 161521 h 517594"/>
                  <a:gd name="connsiteX446" fmla="*/ 315921 w 1115495"/>
                  <a:gd name="connsiteY446" fmla="*/ 161824 h 517594"/>
                  <a:gd name="connsiteX447" fmla="*/ 312436 w 1115495"/>
                  <a:gd name="connsiteY447" fmla="*/ 161976 h 517594"/>
                  <a:gd name="connsiteX448" fmla="*/ 306830 w 1115495"/>
                  <a:gd name="connsiteY448" fmla="*/ 161218 h 517594"/>
                  <a:gd name="connsiteX449" fmla="*/ 306527 w 1115495"/>
                  <a:gd name="connsiteY449" fmla="*/ 161370 h 517594"/>
                  <a:gd name="connsiteX450" fmla="*/ 304709 w 1115495"/>
                  <a:gd name="connsiteY450" fmla="*/ 162885 h 517594"/>
                  <a:gd name="connsiteX451" fmla="*/ 303345 w 1115495"/>
                  <a:gd name="connsiteY451" fmla="*/ 165309 h 517594"/>
                  <a:gd name="connsiteX452" fmla="*/ 301678 w 1115495"/>
                  <a:gd name="connsiteY452" fmla="*/ 167279 h 517594"/>
                  <a:gd name="connsiteX453" fmla="*/ 299102 w 1115495"/>
                  <a:gd name="connsiteY453" fmla="*/ 168339 h 517594"/>
                  <a:gd name="connsiteX454" fmla="*/ 295920 w 1115495"/>
                  <a:gd name="connsiteY454" fmla="*/ 168643 h 517594"/>
                  <a:gd name="connsiteX455" fmla="*/ 292435 w 1115495"/>
                  <a:gd name="connsiteY455" fmla="*/ 166521 h 517594"/>
                  <a:gd name="connsiteX456" fmla="*/ 288799 w 1115495"/>
                  <a:gd name="connsiteY456" fmla="*/ 163339 h 517594"/>
                  <a:gd name="connsiteX457" fmla="*/ 284253 w 1115495"/>
                  <a:gd name="connsiteY457" fmla="*/ 162279 h 517594"/>
                  <a:gd name="connsiteX458" fmla="*/ 279859 w 1115495"/>
                  <a:gd name="connsiteY458" fmla="*/ 163036 h 517594"/>
                  <a:gd name="connsiteX459" fmla="*/ 278192 w 1115495"/>
                  <a:gd name="connsiteY459" fmla="*/ 163491 h 517594"/>
                  <a:gd name="connsiteX460" fmla="*/ 273495 w 1115495"/>
                  <a:gd name="connsiteY460" fmla="*/ 165309 h 517594"/>
                  <a:gd name="connsiteX461" fmla="*/ 271980 w 1115495"/>
                  <a:gd name="connsiteY461" fmla="*/ 164400 h 517594"/>
                  <a:gd name="connsiteX462" fmla="*/ 269858 w 1115495"/>
                  <a:gd name="connsiteY462" fmla="*/ 163794 h 517594"/>
                  <a:gd name="connsiteX463" fmla="*/ 265313 w 1115495"/>
                  <a:gd name="connsiteY463" fmla="*/ 166824 h 517594"/>
                  <a:gd name="connsiteX464" fmla="*/ 260313 w 1115495"/>
                  <a:gd name="connsiteY464" fmla="*/ 170158 h 517594"/>
                  <a:gd name="connsiteX465" fmla="*/ 259252 w 1115495"/>
                  <a:gd name="connsiteY465" fmla="*/ 172582 h 517594"/>
                  <a:gd name="connsiteX466" fmla="*/ 257737 w 1115495"/>
                  <a:gd name="connsiteY466" fmla="*/ 174855 h 517594"/>
                  <a:gd name="connsiteX467" fmla="*/ 254404 w 1115495"/>
                  <a:gd name="connsiteY467" fmla="*/ 176976 h 517594"/>
                  <a:gd name="connsiteX468" fmla="*/ 250767 w 1115495"/>
                  <a:gd name="connsiteY468" fmla="*/ 178794 h 517594"/>
                  <a:gd name="connsiteX469" fmla="*/ 247737 w 1115495"/>
                  <a:gd name="connsiteY469" fmla="*/ 179552 h 517594"/>
                  <a:gd name="connsiteX470" fmla="*/ 243797 w 1115495"/>
                  <a:gd name="connsiteY470" fmla="*/ 178946 h 517594"/>
                  <a:gd name="connsiteX471" fmla="*/ 238797 w 1115495"/>
                  <a:gd name="connsiteY471" fmla="*/ 176673 h 517594"/>
                  <a:gd name="connsiteX472" fmla="*/ 234251 w 1115495"/>
                  <a:gd name="connsiteY472" fmla="*/ 173794 h 517594"/>
                  <a:gd name="connsiteX473" fmla="*/ 229251 w 1115495"/>
                  <a:gd name="connsiteY473" fmla="*/ 169249 h 517594"/>
                  <a:gd name="connsiteX474" fmla="*/ 225160 w 1115495"/>
                  <a:gd name="connsiteY474" fmla="*/ 166673 h 517594"/>
                  <a:gd name="connsiteX475" fmla="*/ 221372 w 1115495"/>
                  <a:gd name="connsiteY475" fmla="*/ 164551 h 517594"/>
                  <a:gd name="connsiteX476" fmla="*/ 219099 w 1115495"/>
                  <a:gd name="connsiteY476" fmla="*/ 164097 h 517594"/>
                  <a:gd name="connsiteX477" fmla="*/ 217281 w 1115495"/>
                  <a:gd name="connsiteY477" fmla="*/ 164855 h 517594"/>
                  <a:gd name="connsiteX478" fmla="*/ 216523 w 1115495"/>
                  <a:gd name="connsiteY478" fmla="*/ 166521 h 517594"/>
                  <a:gd name="connsiteX479" fmla="*/ 217130 w 1115495"/>
                  <a:gd name="connsiteY479" fmla="*/ 167733 h 517594"/>
                  <a:gd name="connsiteX480" fmla="*/ 218190 w 1115495"/>
                  <a:gd name="connsiteY480" fmla="*/ 168794 h 517594"/>
                  <a:gd name="connsiteX481" fmla="*/ 219099 w 1115495"/>
                  <a:gd name="connsiteY481" fmla="*/ 172279 h 517594"/>
                  <a:gd name="connsiteX482" fmla="*/ 219402 w 1115495"/>
                  <a:gd name="connsiteY482" fmla="*/ 176673 h 517594"/>
                  <a:gd name="connsiteX483" fmla="*/ 218948 w 1115495"/>
                  <a:gd name="connsiteY483" fmla="*/ 179097 h 517594"/>
                  <a:gd name="connsiteX484" fmla="*/ 217887 w 1115495"/>
                  <a:gd name="connsiteY484" fmla="*/ 180613 h 517594"/>
                  <a:gd name="connsiteX485" fmla="*/ 216826 w 1115495"/>
                  <a:gd name="connsiteY485" fmla="*/ 181219 h 517594"/>
                  <a:gd name="connsiteX486" fmla="*/ 215765 w 1115495"/>
                  <a:gd name="connsiteY486" fmla="*/ 181067 h 517594"/>
                  <a:gd name="connsiteX487" fmla="*/ 214553 w 1115495"/>
                  <a:gd name="connsiteY487" fmla="*/ 179552 h 517594"/>
                  <a:gd name="connsiteX488" fmla="*/ 213796 w 1115495"/>
                  <a:gd name="connsiteY488" fmla="*/ 176370 h 517594"/>
                  <a:gd name="connsiteX489" fmla="*/ 213190 w 1115495"/>
                  <a:gd name="connsiteY489" fmla="*/ 172582 h 517594"/>
                  <a:gd name="connsiteX490" fmla="*/ 209856 w 1115495"/>
                  <a:gd name="connsiteY490" fmla="*/ 167733 h 517594"/>
                  <a:gd name="connsiteX491" fmla="*/ 206977 w 1115495"/>
                  <a:gd name="connsiteY491" fmla="*/ 164855 h 517594"/>
                  <a:gd name="connsiteX492" fmla="*/ 205614 w 1115495"/>
                  <a:gd name="connsiteY492" fmla="*/ 163188 h 517594"/>
                  <a:gd name="connsiteX493" fmla="*/ 202887 w 1115495"/>
                  <a:gd name="connsiteY493" fmla="*/ 160460 h 517594"/>
                  <a:gd name="connsiteX494" fmla="*/ 200613 w 1115495"/>
                  <a:gd name="connsiteY494" fmla="*/ 158794 h 517594"/>
                  <a:gd name="connsiteX495" fmla="*/ 195613 w 1115495"/>
                  <a:gd name="connsiteY495" fmla="*/ 156824 h 517594"/>
                  <a:gd name="connsiteX496" fmla="*/ 193189 w 1115495"/>
                  <a:gd name="connsiteY496" fmla="*/ 155460 h 517594"/>
                  <a:gd name="connsiteX497" fmla="*/ 188946 w 1115495"/>
                  <a:gd name="connsiteY497" fmla="*/ 150157 h 517594"/>
                  <a:gd name="connsiteX498" fmla="*/ 186522 w 1115495"/>
                  <a:gd name="connsiteY498" fmla="*/ 148490 h 517594"/>
                  <a:gd name="connsiteX499" fmla="*/ 183492 w 1115495"/>
                  <a:gd name="connsiteY499" fmla="*/ 147127 h 517594"/>
                  <a:gd name="connsiteX500" fmla="*/ 181068 w 1115495"/>
                  <a:gd name="connsiteY500" fmla="*/ 146672 h 517594"/>
                  <a:gd name="connsiteX501" fmla="*/ 180461 w 1115495"/>
                  <a:gd name="connsiteY501" fmla="*/ 146975 h 517594"/>
                  <a:gd name="connsiteX502" fmla="*/ 175310 w 1115495"/>
                  <a:gd name="connsiteY502" fmla="*/ 147733 h 517594"/>
                  <a:gd name="connsiteX503" fmla="*/ 171522 w 1115495"/>
                  <a:gd name="connsiteY503" fmla="*/ 147581 h 517594"/>
                  <a:gd name="connsiteX504" fmla="*/ 169249 w 1115495"/>
                  <a:gd name="connsiteY504" fmla="*/ 146521 h 517594"/>
                  <a:gd name="connsiteX505" fmla="*/ 166976 w 1115495"/>
                  <a:gd name="connsiteY505" fmla="*/ 146369 h 517594"/>
                  <a:gd name="connsiteX506" fmla="*/ 166825 w 1115495"/>
                  <a:gd name="connsiteY506" fmla="*/ 146369 h 517594"/>
                  <a:gd name="connsiteX507" fmla="*/ 164248 w 1115495"/>
                  <a:gd name="connsiteY507" fmla="*/ 146975 h 517594"/>
                  <a:gd name="connsiteX508" fmla="*/ 163794 w 1115495"/>
                  <a:gd name="connsiteY508" fmla="*/ 146975 h 517594"/>
                  <a:gd name="connsiteX509" fmla="*/ 162582 w 1115495"/>
                  <a:gd name="connsiteY509" fmla="*/ 146975 h 517594"/>
                  <a:gd name="connsiteX510" fmla="*/ 160460 w 1115495"/>
                  <a:gd name="connsiteY510" fmla="*/ 145914 h 517594"/>
                  <a:gd name="connsiteX511" fmla="*/ 158491 w 1115495"/>
                  <a:gd name="connsiteY511" fmla="*/ 142884 h 517594"/>
                  <a:gd name="connsiteX512" fmla="*/ 155915 w 1115495"/>
                  <a:gd name="connsiteY512" fmla="*/ 139702 h 517594"/>
                  <a:gd name="connsiteX513" fmla="*/ 152884 w 1115495"/>
                  <a:gd name="connsiteY513" fmla="*/ 138641 h 517594"/>
                  <a:gd name="connsiteX514" fmla="*/ 147127 w 1115495"/>
                  <a:gd name="connsiteY514" fmla="*/ 140005 h 517594"/>
                  <a:gd name="connsiteX515" fmla="*/ 140763 w 1115495"/>
                  <a:gd name="connsiteY515" fmla="*/ 144248 h 517594"/>
                  <a:gd name="connsiteX516" fmla="*/ 136217 w 1115495"/>
                  <a:gd name="connsiteY516" fmla="*/ 146824 h 517594"/>
                  <a:gd name="connsiteX517" fmla="*/ 132581 w 1115495"/>
                  <a:gd name="connsiteY517" fmla="*/ 146824 h 517594"/>
                  <a:gd name="connsiteX518" fmla="*/ 130460 w 1115495"/>
                  <a:gd name="connsiteY518" fmla="*/ 147278 h 517594"/>
                  <a:gd name="connsiteX519" fmla="*/ 129096 w 1115495"/>
                  <a:gd name="connsiteY519" fmla="*/ 147127 h 517594"/>
                  <a:gd name="connsiteX520" fmla="*/ 127884 w 1115495"/>
                  <a:gd name="connsiteY520" fmla="*/ 146369 h 517594"/>
                  <a:gd name="connsiteX521" fmla="*/ 127581 w 1115495"/>
                  <a:gd name="connsiteY521" fmla="*/ 144854 h 517594"/>
                  <a:gd name="connsiteX522" fmla="*/ 126974 w 1115495"/>
                  <a:gd name="connsiteY522" fmla="*/ 142884 h 517594"/>
                  <a:gd name="connsiteX523" fmla="*/ 124096 w 1115495"/>
                  <a:gd name="connsiteY523" fmla="*/ 140914 h 517594"/>
                  <a:gd name="connsiteX524" fmla="*/ 120156 w 1115495"/>
                  <a:gd name="connsiteY524" fmla="*/ 139702 h 517594"/>
                  <a:gd name="connsiteX525" fmla="*/ 116520 w 1115495"/>
                  <a:gd name="connsiteY525" fmla="*/ 138338 h 517594"/>
                  <a:gd name="connsiteX526" fmla="*/ 114095 w 1115495"/>
                  <a:gd name="connsiteY526" fmla="*/ 138035 h 517594"/>
                  <a:gd name="connsiteX527" fmla="*/ 113034 w 1115495"/>
                  <a:gd name="connsiteY527" fmla="*/ 140005 h 517594"/>
                  <a:gd name="connsiteX528" fmla="*/ 110004 w 1115495"/>
                  <a:gd name="connsiteY528" fmla="*/ 143187 h 517594"/>
                  <a:gd name="connsiteX529" fmla="*/ 106519 w 1115495"/>
                  <a:gd name="connsiteY529" fmla="*/ 146217 h 517594"/>
                  <a:gd name="connsiteX530" fmla="*/ 102125 w 1115495"/>
                  <a:gd name="connsiteY530" fmla="*/ 151218 h 517594"/>
                  <a:gd name="connsiteX531" fmla="*/ 100913 w 1115495"/>
                  <a:gd name="connsiteY531" fmla="*/ 153036 h 517594"/>
                  <a:gd name="connsiteX532" fmla="*/ 99246 w 1115495"/>
                  <a:gd name="connsiteY532" fmla="*/ 154248 h 517594"/>
                  <a:gd name="connsiteX533" fmla="*/ 95307 w 1115495"/>
                  <a:gd name="connsiteY533" fmla="*/ 155460 h 517594"/>
                  <a:gd name="connsiteX534" fmla="*/ 90610 w 1115495"/>
                  <a:gd name="connsiteY534" fmla="*/ 157582 h 517594"/>
                  <a:gd name="connsiteX535" fmla="*/ 87579 w 1115495"/>
                  <a:gd name="connsiteY535" fmla="*/ 160006 h 517594"/>
                  <a:gd name="connsiteX536" fmla="*/ 83336 w 1115495"/>
                  <a:gd name="connsiteY536" fmla="*/ 161067 h 517594"/>
                  <a:gd name="connsiteX537" fmla="*/ 78791 w 1115495"/>
                  <a:gd name="connsiteY537" fmla="*/ 161673 h 517594"/>
                  <a:gd name="connsiteX538" fmla="*/ 76821 w 1115495"/>
                  <a:gd name="connsiteY538" fmla="*/ 163642 h 517594"/>
                  <a:gd name="connsiteX539" fmla="*/ 75609 w 1115495"/>
                  <a:gd name="connsiteY539" fmla="*/ 166976 h 517594"/>
                  <a:gd name="connsiteX540" fmla="*/ 74094 w 1115495"/>
                  <a:gd name="connsiteY540" fmla="*/ 170006 h 517594"/>
                  <a:gd name="connsiteX541" fmla="*/ 66821 w 1115495"/>
                  <a:gd name="connsiteY541" fmla="*/ 174552 h 517594"/>
                  <a:gd name="connsiteX542" fmla="*/ 62881 w 1115495"/>
                  <a:gd name="connsiteY542" fmla="*/ 177431 h 517594"/>
                  <a:gd name="connsiteX543" fmla="*/ 60002 w 1115495"/>
                  <a:gd name="connsiteY543" fmla="*/ 178946 h 517594"/>
                  <a:gd name="connsiteX544" fmla="*/ 58033 w 1115495"/>
                  <a:gd name="connsiteY544" fmla="*/ 178794 h 517594"/>
                  <a:gd name="connsiteX545" fmla="*/ 55911 w 1115495"/>
                  <a:gd name="connsiteY545" fmla="*/ 178340 h 517594"/>
                  <a:gd name="connsiteX546" fmla="*/ 55154 w 1115495"/>
                  <a:gd name="connsiteY546" fmla="*/ 178643 h 517594"/>
                  <a:gd name="connsiteX547" fmla="*/ 56214 w 1115495"/>
                  <a:gd name="connsiteY547" fmla="*/ 180916 h 517594"/>
                  <a:gd name="connsiteX548" fmla="*/ 57124 w 1115495"/>
                  <a:gd name="connsiteY548" fmla="*/ 188037 h 517594"/>
                  <a:gd name="connsiteX549" fmla="*/ 58487 w 1115495"/>
                  <a:gd name="connsiteY549" fmla="*/ 192583 h 517594"/>
                  <a:gd name="connsiteX550" fmla="*/ 59396 w 1115495"/>
                  <a:gd name="connsiteY550" fmla="*/ 195159 h 517594"/>
                  <a:gd name="connsiteX551" fmla="*/ 60305 w 1115495"/>
                  <a:gd name="connsiteY551" fmla="*/ 197128 h 517594"/>
                  <a:gd name="connsiteX552" fmla="*/ 61063 w 1115495"/>
                  <a:gd name="connsiteY552" fmla="*/ 200159 h 517594"/>
                  <a:gd name="connsiteX553" fmla="*/ 60154 w 1115495"/>
                  <a:gd name="connsiteY553" fmla="*/ 201977 h 517594"/>
                  <a:gd name="connsiteX554" fmla="*/ 58790 w 1115495"/>
                  <a:gd name="connsiteY554" fmla="*/ 203189 h 517594"/>
                  <a:gd name="connsiteX555" fmla="*/ 54396 w 1115495"/>
                  <a:gd name="connsiteY555" fmla="*/ 205159 h 517594"/>
                  <a:gd name="connsiteX556" fmla="*/ 49850 w 1115495"/>
                  <a:gd name="connsiteY556" fmla="*/ 206826 h 517594"/>
                  <a:gd name="connsiteX557" fmla="*/ 47123 w 1115495"/>
                  <a:gd name="connsiteY557" fmla="*/ 205765 h 517594"/>
                  <a:gd name="connsiteX558" fmla="*/ 44093 w 1115495"/>
                  <a:gd name="connsiteY558" fmla="*/ 203189 h 517594"/>
                  <a:gd name="connsiteX559" fmla="*/ 42881 w 1115495"/>
                  <a:gd name="connsiteY559" fmla="*/ 201826 h 517594"/>
                  <a:gd name="connsiteX560" fmla="*/ 39547 w 1115495"/>
                  <a:gd name="connsiteY560" fmla="*/ 197432 h 517594"/>
                  <a:gd name="connsiteX561" fmla="*/ 33789 w 1115495"/>
                  <a:gd name="connsiteY561" fmla="*/ 190613 h 517594"/>
                  <a:gd name="connsiteX562" fmla="*/ 29850 w 1115495"/>
                  <a:gd name="connsiteY562" fmla="*/ 187128 h 517594"/>
                  <a:gd name="connsiteX563" fmla="*/ 26971 w 1115495"/>
                  <a:gd name="connsiteY563" fmla="*/ 185916 h 517594"/>
                  <a:gd name="connsiteX564" fmla="*/ 24395 w 1115495"/>
                  <a:gd name="connsiteY564" fmla="*/ 186370 h 517594"/>
                  <a:gd name="connsiteX565" fmla="*/ 22425 w 1115495"/>
                  <a:gd name="connsiteY565" fmla="*/ 188037 h 517594"/>
                  <a:gd name="connsiteX566" fmla="*/ 20910 w 1115495"/>
                  <a:gd name="connsiteY566" fmla="*/ 189401 h 517594"/>
                  <a:gd name="connsiteX567" fmla="*/ 19546 w 1115495"/>
                  <a:gd name="connsiteY567" fmla="*/ 191068 h 517594"/>
                  <a:gd name="connsiteX568" fmla="*/ 18637 w 1115495"/>
                  <a:gd name="connsiteY568" fmla="*/ 193037 h 517594"/>
                  <a:gd name="connsiteX569" fmla="*/ 18788 w 1115495"/>
                  <a:gd name="connsiteY569" fmla="*/ 195765 h 517594"/>
                  <a:gd name="connsiteX570" fmla="*/ 18788 w 1115495"/>
                  <a:gd name="connsiteY570" fmla="*/ 198644 h 517594"/>
                  <a:gd name="connsiteX571" fmla="*/ 17576 w 1115495"/>
                  <a:gd name="connsiteY571" fmla="*/ 200765 h 517594"/>
                  <a:gd name="connsiteX572" fmla="*/ 14395 w 1115495"/>
                  <a:gd name="connsiteY572" fmla="*/ 203038 h 517594"/>
                  <a:gd name="connsiteX573" fmla="*/ 10607 w 1115495"/>
                  <a:gd name="connsiteY573" fmla="*/ 206068 h 517594"/>
                  <a:gd name="connsiteX574" fmla="*/ 7728 w 1115495"/>
                  <a:gd name="connsiteY574" fmla="*/ 211674 h 517594"/>
                  <a:gd name="connsiteX575" fmla="*/ 5910 w 1115495"/>
                  <a:gd name="connsiteY575" fmla="*/ 218644 h 517594"/>
                  <a:gd name="connsiteX576" fmla="*/ 5303 w 1115495"/>
                  <a:gd name="connsiteY576" fmla="*/ 223493 h 517594"/>
                  <a:gd name="connsiteX577" fmla="*/ 6667 w 1115495"/>
                  <a:gd name="connsiteY577" fmla="*/ 225766 h 517594"/>
                  <a:gd name="connsiteX578" fmla="*/ 9394 w 1115495"/>
                  <a:gd name="connsiteY578" fmla="*/ 227584 h 517594"/>
                  <a:gd name="connsiteX579" fmla="*/ 11212 w 1115495"/>
                  <a:gd name="connsiteY579" fmla="*/ 229402 h 517594"/>
                  <a:gd name="connsiteX580" fmla="*/ 11516 w 1115495"/>
                  <a:gd name="connsiteY580" fmla="*/ 231221 h 517594"/>
                  <a:gd name="connsiteX581" fmla="*/ 11061 w 1115495"/>
                  <a:gd name="connsiteY581" fmla="*/ 233039 h 517594"/>
                  <a:gd name="connsiteX582" fmla="*/ 9698 w 1115495"/>
                  <a:gd name="connsiteY582" fmla="*/ 235160 h 517594"/>
                  <a:gd name="connsiteX583" fmla="*/ 6667 w 1115495"/>
                  <a:gd name="connsiteY583" fmla="*/ 237584 h 517594"/>
                  <a:gd name="connsiteX584" fmla="*/ 2576 w 1115495"/>
                  <a:gd name="connsiteY584" fmla="*/ 243342 h 517594"/>
                  <a:gd name="connsiteX585" fmla="*/ 0 w 1115495"/>
                  <a:gd name="connsiteY585" fmla="*/ 251524 h 517594"/>
                  <a:gd name="connsiteX586" fmla="*/ 1364 w 1115495"/>
                  <a:gd name="connsiteY586" fmla="*/ 257131 h 517594"/>
                  <a:gd name="connsiteX587" fmla="*/ 6667 w 1115495"/>
                  <a:gd name="connsiteY587" fmla="*/ 260161 h 517594"/>
                  <a:gd name="connsiteX588" fmla="*/ 10758 w 1115495"/>
                  <a:gd name="connsiteY588" fmla="*/ 261525 h 517594"/>
                  <a:gd name="connsiteX589" fmla="*/ 12425 w 1115495"/>
                  <a:gd name="connsiteY589" fmla="*/ 263343 h 517594"/>
                  <a:gd name="connsiteX590" fmla="*/ 13940 w 1115495"/>
                  <a:gd name="connsiteY590" fmla="*/ 266979 h 517594"/>
                  <a:gd name="connsiteX591" fmla="*/ 13788 w 1115495"/>
                  <a:gd name="connsiteY591" fmla="*/ 270768 h 517594"/>
                  <a:gd name="connsiteX592" fmla="*/ 13334 w 1115495"/>
                  <a:gd name="connsiteY592" fmla="*/ 273343 h 517594"/>
                  <a:gd name="connsiteX593" fmla="*/ 14395 w 1115495"/>
                  <a:gd name="connsiteY593" fmla="*/ 275768 h 517594"/>
                  <a:gd name="connsiteX594" fmla="*/ 16365 w 1115495"/>
                  <a:gd name="connsiteY594" fmla="*/ 278647 h 517594"/>
                  <a:gd name="connsiteX595" fmla="*/ 18788 w 1115495"/>
                  <a:gd name="connsiteY595" fmla="*/ 280465 h 517594"/>
                  <a:gd name="connsiteX596" fmla="*/ 21364 w 1115495"/>
                  <a:gd name="connsiteY596" fmla="*/ 279556 h 517594"/>
                  <a:gd name="connsiteX597" fmla="*/ 23941 w 1115495"/>
                  <a:gd name="connsiteY597" fmla="*/ 278344 h 517594"/>
                  <a:gd name="connsiteX598" fmla="*/ 27122 w 1115495"/>
                  <a:gd name="connsiteY598" fmla="*/ 278798 h 517594"/>
                  <a:gd name="connsiteX599" fmla="*/ 36214 w 1115495"/>
                  <a:gd name="connsiteY599" fmla="*/ 279859 h 517594"/>
                  <a:gd name="connsiteX600" fmla="*/ 41062 w 1115495"/>
                  <a:gd name="connsiteY600" fmla="*/ 280465 h 517594"/>
                  <a:gd name="connsiteX601" fmla="*/ 42577 w 1115495"/>
                  <a:gd name="connsiteY601" fmla="*/ 281677 h 517594"/>
                  <a:gd name="connsiteX602" fmla="*/ 45608 w 1115495"/>
                  <a:gd name="connsiteY602" fmla="*/ 285768 h 517594"/>
                  <a:gd name="connsiteX603" fmla="*/ 49396 w 1115495"/>
                  <a:gd name="connsiteY603" fmla="*/ 290465 h 517594"/>
                  <a:gd name="connsiteX604" fmla="*/ 53184 w 1115495"/>
                  <a:gd name="connsiteY604" fmla="*/ 295162 h 517594"/>
                  <a:gd name="connsiteX605" fmla="*/ 54548 w 1115495"/>
                  <a:gd name="connsiteY605" fmla="*/ 297132 h 517594"/>
                  <a:gd name="connsiteX606" fmla="*/ 57729 w 1115495"/>
                  <a:gd name="connsiteY606" fmla="*/ 302738 h 517594"/>
                  <a:gd name="connsiteX607" fmla="*/ 60912 w 1115495"/>
                  <a:gd name="connsiteY607" fmla="*/ 307739 h 517594"/>
                  <a:gd name="connsiteX608" fmla="*/ 64396 w 1115495"/>
                  <a:gd name="connsiteY608" fmla="*/ 313951 h 517594"/>
                  <a:gd name="connsiteX609" fmla="*/ 64093 w 1115495"/>
                  <a:gd name="connsiteY609" fmla="*/ 315618 h 517594"/>
                  <a:gd name="connsiteX610" fmla="*/ 62275 w 1115495"/>
                  <a:gd name="connsiteY610" fmla="*/ 316375 h 517594"/>
                  <a:gd name="connsiteX611" fmla="*/ 59396 w 1115495"/>
                  <a:gd name="connsiteY611" fmla="*/ 316224 h 517594"/>
                  <a:gd name="connsiteX612" fmla="*/ 57124 w 1115495"/>
                  <a:gd name="connsiteY612" fmla="*/ 315315 h 517594"/>
                  <a:gd name="connsiteX613" fmla="*/ 55911 w 1115495"/>
                  <a:gd name="connsiteY613" fmla="*/ 314557 h 517594"/>
                  <a:gd name="connsiteX614" fmla="*/ 54699 w 1115495"/>
                  <a:gd name="connsiteY614" fmla="*/ 314254 h 517594"/>
                  <a:gd name="connsiteX615" fmla="*/ 53487 w 1115495"/>
                  <a:gd name="connsiteY615" fmla="*/ 314557 h 517594"/>
                  <a:gd name="connsiteX616" fmla="*/ 52426 w 1115495"/>
                  <a:gd name="connsiteY616" fmla="*/ 315315 h 517594"/>
                  <a:gd name="connsiteX617" fmla="*/ 51972 w 1115495"/>
                  <a:gd name="connsiteY617" fmla="*/ 316527 h 517594"/>
                  <a:gd name="connsiteX618" fmla="*/ 52123 w 1115495"/>
                  <a:gd name="connsiteY618" fmla="*/ 318193 h 517594"/>
                  <a:gd name="connsiteX619" fmla="*/ 53032 w 1115495"/>
                  <a:gd name="connsiteY619" fmla="*/ 319709 h 517594"/>
                  <a:gd name="connsiteX620" fmla="*/ 54245 w 1115495"/>
                  <a:gd name="connsiteY620" fmla="*/ 320618 h 517594"/>
                  <a:gd name="connsiteX621" fmla="*/ 54850 w 1115495"/>
                  <a:gd name="connsiteY621" fmla="*/ 320921 h 517594"/>
                  <a:gd name="connsiteX622" fmla="*/ 59396 w 1115495"/>
                  <a:gd name="connsiteY622" fmla="*/ 322891 h 517594"/>
                  <a:gd name="connsiteX623" fmla="*/ 64396 w 1115495"/>
                  <a:gd name="connsiteY623" fmla="*/ 325163 h 517594"/>
                  <a:gd name="connsiteX624" fmla="*/ 70609 w 1115495"/>
                  <a:gd name="connsiteY624" fmla="*/ 328345 h 517594"/>
                  <a:gd name="connsiteX625" fmla="*/ 71972 w 1115495"/>
                  <a:gd name="connsiteY625" fmla="*/ 328800 h 517594"/>
                  <a:gd name="connsiteX626" fmla="*/ 71215 w 1115495"/>
                  <a:gd name="connsiteY626" fmla="*/ 327133 h 517594"/>
                  <a:gd name="connsiteX627" fmla="*/ 73336 w 1115495"/>
                  <a:gd name="connsiteY627" fmla="*/ 325315 h 517594"/>
                  <a:gd name="connsiteX628" fmla="*/ 75458 w 1115495"/>
                  <a:gd name="connsiteY628" fmla="*/ 326224 h 517594"/>
                  <a:gd name="connsiteX629" fmla="*/ 75003 w 1115495"/>
                  <a:gd name="connsiteY629" fmla="*/ 323648 h 517594"/>
                  <a:gd name="connsiteX630" fmla="*/ 75154 w 1115495"/>
                  <a:gd name="connsiteY630" fmla="*/ 322436 h 517594"/>
                  <a:gd name="connsiteX631" fmla="*/ 77579 w 1115495"/>
                  <a:gd name="connsiteY631" fmla="*/ 321830 h 517594"/>
                  <a:gd name="connsiteX632" fmla="*/ 81670 w 1115495"/>
                  <a:gd name="connsiteY632" fmla="*/ 321527 h 517594"/>
                  <a:gd name="connsiteX633" fmla="*/ 83034 w 1115495"/>
                  <a:gd name="connsiteY633" fmla="*/ 320769 h 517594"/>
                  <a:gd name="connsiteX634" fmla="*/ 86518 w 1115495"/>
                  <a:gd name="connsiteY634" fmla="*/ 320618 h 517594"/>
                  <a:gd name="connsiteX635" fmla="*/ 90003 w 1115495"/>
                  <a:gd name="connsiteY635" fmla="*/ 319860 h 517594"/>
                  <a:gd name="connsiteX636" fmla="*/ 93034 w 1115495"/>
                  <a:gd name="connsiteY636" fmla="*/ 318497 h 517594"/>
                  <a:gd name="connsiteX637" fmla="*/ 95761 w 1115495"/>
                  <a:gd name="connsiteY637" fmla="*/ 316375 h 517594"/>
                  <a:gd name="connsiteX638" fmla="*/ 101367 w 1115495"/>
                  <a:gd name="connsiteY638" fmla="*/ 313042 h 517594"/>
                  <a:gd name="connsiteX639" fmla="*/ 104398 w 1115495"/>
                  <a:gd name="connsiteY639" fmla="*/ 310163 h 517594"/>
                  <a:gd name="connsiteX640" fmla="*/ 105913 w 1115495"/>
                  <a:gd name="connsiteY640" fmla="*/ 310011 h 517594"/>
                  <a:gd name="connsiteX641" fmla="*/ 107428 w 1115495"/>
                  <a:gd name="connsiteY641" fmla="*/ 310314 h 517594"/>
                  <a:gd name="connsiteX642" fmla="*/ 108943 w 1115495"/>
                  <a:gd name="connsiteY642" fmla="*/ 310011 h 517594"/>
                  <a:gd name="connsiteX643" fmla="*/ 111671 w 1115495"/>
                  <a:gd name="connsiteY643" fmla="*/ 308042 h 517594"/>
                  <a:gd name="connsiteX644" fmla="*/ 113186 w 1115495"/>
                  <a:gd name="connsiteY644" fmla="*/ 307587 h 517594"/>
                  <a:gd name="connsiteX645" fmla="*/ 118338 w 1115495"/>
                  <a:gd name="connsiteY645" fmla="*/ 304557 h 517594"/>
                  <a:gd name="connsiteX646" fmla="*/ 125459 w 1115495"/>
                  <a:gd name="connsiteY646" fmla="*/ 302132 h 517594"/>
                  <a:gd name="connsiteX647" fmla="*/ 128490 w 1115495"/>
                  <a:gd name="connsiteY647" fmla="*/ 302587 h 517594"/>
                  <a:gd name="connsiteX648" fmla="*/ 137429 w 1115495"/>
                  <a:gd name="connsiteY648" fmla="*/ 304860 h 517594"/>
                  <a:gd name="connsiteX649" fmla="*/ 138339 w 1115495"/>
                  <a:gd name="connsiteY649" fmla="*/ 305314 h 517594"/>
                  <a:gd name="connsiteX650" fmla="*/ 140915 w 1115495"/>
                  <a:gd name="connsiteY650" fmla="*/ 308193 h 517594"/>
                  <a:gd name="connsiteX651" fmla="*/ 146369 w 1115495"/>
                  <a:gd name="connsiteY651" fmla="*/ 309557 h 517594"/>
                  <a:gd name="connsiteX652" fmla="*/ 148187 w 1115495"/>
                  <a:gd name="connsiteY652" fmla="*/ 309254 h 517594"/>
                  <a:gd name="connsiteX653" fmla="*/ 150157 w 1115495"/>
                  <a:gd name="connsiteY653" fmla="*/ 311375 h 517594"/>
                  <a:gd name="connsiteX654" fmla="*/ 151672 w 1115495"/>
                  <a:gd name="connsiteY654" fmla="*/ 311678 h 517594"/>
                  <a:gd name="connsiteX655" fmla="*/ 153036 w 1115495"/>
                  <a:gd name="connsiteY655" fmla="*/ 311375 h 517594"/>
                  <a:gd name="connsiteX656" fmla="*/ 157127 w 1115495"/>
                  <a:gd name="connsiteY656" fmla="*/ 309405 h 517594"/>
                  <a:gd name="connsiteX657" fmla="*/ 158339 w 1115495"/>
                  <a:gd name="connsiteY657" fmla="*/ 308496 h 517594"/>
                  <a:gd name="connsiteX658" fmla="*/ 159248 w 1115495"/>
                  <a:gd name="connsiteY658" fmla="*/ 307132 h 517594"/>
                  <a:gd name="connsiteX659" fmla="*/ 160915 w 1115495"/>
                  <a:gd name="connsiteY659" fmla="*/ 306223 h 517594"/>
                  <a:gd name="connsiteX660" fmla="*/ 166218 w 1115495"/>
                  <a:gd name="connsiteY660" fmla="*/ 307435 h 517594"/>
                  <a:gd name="connsiteX661" fmla="*/ 172734 w 1115495"/>
                  <a:gd name="connsiteY661" fmla="*/ 307587 h 517594"/>
                  <a:gd name="connsiteX662" fmla="*/ 175916 w 1115495"/>
                  <a:gd name="connsiteY662" fmla="*/ 309708 h 517594"/>
                  <a:gd name="connsiteX663" fmla="*/ 176825 w 1115495"/>
                  <a:gd name="connsiteY663" fmla="*/ 310921 h 517594"/>
                  <a:gd name="connsiteX664" fmla="*/ 178643 w 1115495"/>
                  <a:gd name="connsiteY664" fmla="*/ 314860 h 517594"/>
                  <a:gd name="connsiteX665" fmla="*/ 179552 w 1115495"/>
                  <a:gd name="connsiteY665" fmla="*/ 317436 h 517594"/>
                  <a:gd name="connsiteX666" fmla="*/ 178491 w 1115495"/>
                  <a:gd name="connsiteY666" fmla="*/ 319557 h 517594"/>
                  <a:gd name="connsiteX667" fmla="*/ 176976 w 1115495"/>
                  <a:gd name="connsiteY667" fmla="*/ 321678 h 517594"/>
                  <a:gd name="connsiteX668" fmla="*/ 176522 w 1115495"/>
                  <a:gd name="connsiteY668" fmla="*/ 324103 h 517594"/>
                  <a:gd name="connsiteX669" fmla="*/ 177734 w 1115495"/>
                  <a:gd name="connsiteY669" fmla="*/ 326224 h 517594"/>
                  <a:gd name="connsiteX670" fmla="*/ 178491 w 1115495"/>
                  <a:gd name="connsiteY670" fmla="*/ 333800 h 517594"/>
                  <a:gd name="connsiteX671" fmla="*/ 175916 w 1115495"/>
                  <a:gd name="connsiteY671" fmla="*/ 341376 h 517594"/>
                  <a:gd name="connsiteX672" fmla="*/ 171673 w 1115495"/>
                  <a:gd name="connsiteY672" fmla="*/ 347740 h 517594"/>
                  <a:gd name="connsiteX673" fmla="*/ 168491 w 1115495"/>
                  <a:gd name="connsiteY673" fmla="*/ 354710 h 517594"/>
                  <a:gd name="connsiteX674" fmla="*/ 170158 w 1115495"/>
                  <a:gd name="connsiteY674" fmla="*/ 357286 h 517594"/>
                  <a:gd name="connsiteX675" fmla="*/ 176976 w 1115495"/>
                  <a:gd name="connsiteY675" fmla="*/ 360316 h 517594"/>
                  <a:gd name="connsiteX676" fmla="*/ 180158 w 1115495"/>
                  <a:gd name="connsiteY676" fmla="*/ 362892 h 517594"/>
                  <a:gd name="connsiteX677" fmla="*/ 176825 w 1115495"/>
                  <a:gd name="connsiteY677" fmla="*/ 363650 h 517594"/>
                  <a:gd name="connsiteX678" fmla="*/ 172279 w 1115495"/>
                  <a:gd name="connsiteY678" fmla="*/ 363195 h 517594"/>
                  <a:gd name="connsiteX679" fmla="*/ 168491 w 1115495"/>
                  <a:gd name="connsiteY679" fmla="*/ 362438 h 517594"/>
                  <a:gd name="connsiteX680" fmla="*/ 161824 w 1115495"/>
                  <a:gd name="connsiteY680" fmla="*/ 360619 h 517594"/>
                  <a:gd name="connsiteX681" fmla="*/ 158945 w 1115495"/>
                  <a:gd name="connsiteY681" fmla="*/ 360468 h 517594"/>
                  <a:gd name="connsiteX682" fmla="*/ 148642 w 1115495"/>
                  <a:gd name="connsiteY682" fmla="*/ 361074 h 517594"/>
                  <a:gd name="connsiteX683" fmla="*/ 140005 w 1115495"/>
                  <a:gd name="connsiteY683" fmla="*/ 360771 h 517594"/>
                  <a:gd name="connsiteX684" fmla="*/ 134702 w 1115495"/>
                  <a:gd name="connsiteY684" fmla="*/ 362741 h 517594"/>
                  <a:gd name="connsiteX685" fmla="*/ 131369 w 1115495"/>
                  <a:gd name="connsiteY685" fmla="*/ 362286 h 517594"/>
                  <a:gd name="connsiteX686" fmla="*/ 129096 w 1115495"/>
                  <a:gd name="connsiteY686" fmla="*/ 364862 h 517594"/>
                  <a:gd name="connsiteX687" fmla="*/ 128035 w 1115495"/>
                  <a:gd name="connsiteY687" fmla="*/ 366529 h 517594"/>
                  <a:gd name="connsiteX688" fmla="*/ 126823 w 1115495"/>
                  <a:gd name="connsiteY688" fmla="*/ 370165 h 517594"/>
                  <a:gd name="connsiteX689" fmla="*/ 124247 w 1115495"/>
                  <a:gd name="connsiteY689" fmla="*/ 372892 h 517594"/>
                  <a:gd name="connsiteX690" fmla="*/ 121217 w 1115495"/>
                  <a:gd name="connsiteY690" fmla="*/ 374862 h 517594"/>
                  <a:gd name="connsiteX691" fmla="*/ 120308 w 1115495"/>
                  <a:gd name="connsiteY691" fmla="*/ 376832 h 517594"/>
                  <a:gd name="connsiteX692" fmla="*/ 120610 w 1115495"/>
                  <a:gd name="connsiteY692" fmla="*/ 379105 h 517594"/>
                  <a:gd name="connsiteX693" fmla="*/ 121671 w 1115495"/>
                  <a:gd name="connsiteY693" fmla="*/ 380468 h 517594"/>
                  <a:gd name="connsiteX694" fmla="*/ 126065 w 1115495"/>
                  <a:gd name="connsiteY694" fmla="*/ 383953 h 517594"/>
                  <a:gd name="connsiteX695" fmla="*/ 128641 w 1115495"/>
                  <a:gd name="connsiteY695" fmla="*/ 386984 h 517594"/>
                  <a:gd name="connsiteX696" fmla="*/ 130156 w 1115495"/>
                  <a:gd name="connsiteY696" fmla="*/ 387590 h 517594"/>
                  <a:gd name="connsiteX697" fmla="*/ 131974 w 1115495"/>
                  <a:gd name="connsiteY697" fmla="*/ 387590 h 517594"/>
                  <a:gd name="connsiteX698" fmla="*/ 133641 w 1115495"/>
                  <a:gd name="connsiteY698" fmla="*/ 388348 h 517594"/>
                  <a:gd name="connsiteX699" fmla="*/ 135005 w 1115495"/>
                  <a:gd name="connsiteY699" fmla="*/ 389863 h 517594"/>
                  <a:gd name="connsiteX700" fmla="*/ 130460 w 1115495"/>
                  <a:gd name="connsiteY700" fmla="*/ 389560 h 517594"/>
                  <a:gd name="connsiteX701" fmla="*/ 128641 w 1115495"/>
                  <a:gd name="connsiteY701" fmla="*/ 389863 h 517594"/>
                  <a:gd name="connsiteX702" fmla="*/ 125005 w 1115495"/>
                  <a:gd name="connsiteY702" fmla="*/ 390923 h 517594"/>
                  <a:gd name="connsiteX703" fmla="*/ 123186 w 1115495"/>
                  <a:gd name="connsiteY703" fmla="*/ 390772 h 517594"/>
                  <a:gd name="connsiteX704" fmla="*/ 121520 w 1115495"/>
                  <a:gd name="connsiteY704" fmla="*/ 390014 h 517594"/>
                  <a:gd name="connsiteX705" fmla="*/ 116368 w 1115495"/>
                  <a:gd name="connsiteY705" fmla="*/ 386681 h 517594"/>
                  <a:gd name="connsiteX706" fmla="*/ 110610 w 1115495"/>
                  <a:gd name="connsiteY706" fmla="*/ 386529 h 517594"/>
                  <a:gd name="connsiteX707" fmla="*/ 103943 w 1115495"/>
                  <a:gd name="connsiteY707" fmla="*/ 386832 h 517594"/>
                  <a:gd name="connsiteX708" fmla="*/ 100913 w 1115495"/>
                  <a:gd name="connsiteY708" fmla="*/ 388196 h 517594"/>
                  <a:gd name="connsiteX709" fmla="*/ 100004 w 1115495"/>
                  <a:gd name="connsiteY709" fmla="*/ 390014 h 517594"/>
                  <a:gd name="connsiteX710" fmla="*/ 99701 w 1115495"/>
                  <a:gd name="connsiteY710" fmla="*/ 392136 h 517594"/>
                  <a:gd name="connsiteX711" fmla="*/ 99701 w 1115495"/>
                  <a:gd name="connsiteY711" fmla="*/ 393954 h 517594"/>
                  <a:gd name="connsiteX712" fmla="*/ 100307 w 1115495"/>
                  <a:gd name="connsiteY712" fmla="*/ 395621 h 517594"/>
                  <a:gd name="connsiteX713" fmla="*/ 101822 w 1115495"/>
                  <a:gd name="connsiteY713" fmla="*/ 396681 h 517594"/>
                  <a:gd name="connsiteX714" fmla="*/ 105610 w 1115495"/>
                  <a:gd name="connsiteY714" fmla="*/ 397742 h 517594"/>
                  <a:gd name="connsiteX715" fmla="*/ 111368 w 1115495"/>
                  <a:gd name="connsiteY715" fmla="*/ 398802 h 517594"/>
                  <a:gd name="connsiteX716" fmla="*/ 114095 w 1115495"/>
                  <a:gd name="connsiteY716" fmla="*/ 400015 h 517594"/>
                  <a:gd name="connsiteX717" fmla="*/ 115459 w 1115495"/>
                  <a:gd name="connsiteY717" fmla="*/ 401227 h 517594"/>
                  <a:gd name="connsiteX718" fmla="*/ 118489 w 1115495"/>
                  <a:gd name="connsiteY718" fmla="*/ 409106 h 517594"/>
                  <a:gd name="connsiteX719" fmla="*/ 121975 w 1115495"/>
                  <a:gd name="connsiteY719" fmla="*/ 416076 h 517594"/>
                  <a:gd name="connsiteX720" fmla="*/ 124096 w 1115495"/>
                  <a:gd name="connsiteY720" fmla="*/ 419409 h 517594"/>
                  <a:gd name="connsiteX721" fmla="*/ 126823 w 1115495"/>
                  <a:gd name="connsiteY721" fmla="*/ 421834 h 517594"/>
                  <a:gd name="connsiteX722" fmla="*/ 127732 w 1115495"/>
                  <a:gd name="connsiteY722" fmla="*/ 423349 h 517594"/>
                  <a:gd name="connsiteX723" fmla="*/ 128490 w 1115495"/>
                  <a:gd name="connsiteY723" fmla="*/ 425016 h 517594"/>
                  <a:gd name="connsiteX724" fmla="*/ 128793 w 1115495"/>
                  <a:gd name="connsiteY724" fmla="*/ 426985 h 517594"/>
                  <a:gd name="connsiteX725" fmla="*/ 128793 w 1115495"/>
                  <a:gd name="connsiteY725" fmla="*/ 429107 h 517594"/>
                  <a:gd name="connsiteX726" fmla="*/ 128186 w 1115495"/>
                  <a:gd name="connsiteY726" fmla="*/ 433198 h 517594"/>
                  <a:gd name="connsiteX727" fmla="*/ 128338 w 1115495"/>
                  <a:gd name="connsiteY727" fmla="*/ 435016 h 517594"/>
                  <a:gd name="connsiteX728" fmla="*/ 129702 w 1115495"/>
                  <a:gd name="connsiteY728" fmla="*/ 435167 h 517594"/>
                  <a:gd name="connsiteX729" fmla="*/ 134248 w 1115495"/>
                  <a:gd name="connsiteY729" fmla="*/ 435016 h 517594"/>
                  <a:gd name="connsiteX730" fmla="*/ 136975 w 1115495"/>
                  <a:gd name="connsiteY730" fmla="*/ 435471 h 517594"/>
                  <a:gd name="connsiteX731" fmla="*/ 139248 w 1115495"/>
                  <a:gd name="connsiteY731" fmla="*/ 437289 h 517594"/>
                  <a:gd name="connsiteX732" fmla="*/ 141520 w 1115495"/>
                  <a:gd name="connsiteY732" fmla="*/ 440622 h 517594"/>
                  <a:gd name="connsiteX733" fmla="*/ 142278 w 1115495"/>
                  <a:gd name="connsiteY733" fmla="*/ 442289 h 517594"/>
                  <a:gd name="connsiteX734" fmla="*/ 143187 w 1115495"/>
                  <a:gd name="connsiteY734" fmla="*/ 443804 h 517594"/>
                  <a:gd name="connsiteX735" fmla="*/ 144703 w 1115495"/>
                  <a:gd name="connsiteY735" fmla="*/ 445168 h 517594"/>
                  <a:gd name="connsiteX736" fmla="*/ 146369 w 1115495"/>
                  <a:gd name="connsiteY736" fmla="*/ 445774 h 517594"/>
                  <a:gd name="connsiteX737" fmla="*/ 147884 w 1115495"/>
                  <a:gd name="connsiteY737" fmla="*/ 445471 h 517594"/>
                  <a:gd name="connsiteX738" fmla="*/ 149400 w 1115495"/>
                  <a:gd name="connsiteY738" fmla="*/ 444865 h 517594"/>
                  <a:gd name="connsiteX739" fmla="*/ 152430 w 1115495"/>
                  <a:gd name="connsiteY739" fmla="*/ 445168 h 517594"/>
                  <a:gd name="connsiteX740" fmla="*/ 154854 w 1115495"/>
                  <a:gd name="connsiteY740" fmla="*/ 447441 h 517594"/>
                  <a:gd name="connsiteX741" fmla="*/ 156218 w 1115495"/>
                  <a:gd name="connsiteY741" fmla="*/ 446835 h 517594"/>
                  <a:gd name="connsiteX742" fmla="*/ 159248 w 1115495"/>
                  <a:gd name="connsiteY742" fmla="*/ 446531 h 517594"/>
                  <a:gd name="connsiteX743" fmla="*/ 160915 w 1115495"/>
                  <a:gd name="connsiteY743" fmla="*/ 446683 h 517594"/>
                  <a:gd name="connsiteX744" fmla="*/ 162430 w 1115495"/>
                  <a:gd name="connsiteY744" fmla="*/ 447138 h 517594"/>
                  <a:gd name="connsiteX745" fmla="*/ 163643 w 1115495"/>
                  <a:gd name="connsiteY745" fmla="*/ 448653 h 517594"/>
                  <a:gd name="connsiteX746" fmla="*/ 164855 w 1115495"/>
                  <a:gd name="connsiteY746" fmla="*/ 455471 h 517594"/>
                  <a:gd name="connsiteX747" fmla="*/ 164248 w 1115495"/>
                  <a:gd name="connsiteY747" fmla="*/ 459714 h 517594"/>
                  <a:gd name="connsiteX748" fmla="*/ 163037 w 1115495"/>
                  <a:gd name="connsiteY748" fmla="*/ 462896 h 517594"/>
                  <a:gd name="connsiteX749" fmla="*/ 161521 w 1115495"/>
                  <a:gd name="connsiteY749" fmla="*/ 465926 h 517594"/>
                  <a:gd name="connsiteX750" fmla="*/ 160006 w 1115495"/>
                  <a:gd name="connsiteY750" fmla="*/ 470472 h 517594"/>
                  <a:gd name="connsiteX751" fmla="*/ 159855 w 1115495"/>
                  <a:gd name="connsiteY751" fmla="*/ 472139 h 517594"/>
                  <a:gd name="connsiteX752" fmla="*/ 160158 w 1115495"/>
                  <a:gd name="connsiteY752" fmla="*/ 477442 h 517594"/>
                  <a:gd name="connsiteX753" fmla="*/ 160915 w 1115495"/>
                  <a:gd name="connsiteY753" fmla="*/ 480927 h 517594"/>
                  <a:gd name="connsiteX754" fmla="*/ 166521 w 1115495"/>
                  <a:gd name="connsiteY754" fmla="*/ 475624 h 517594"/>
                  <a:gd name="connsiteX755" fmla="*/ 171219 w 1115495"/>
                  <a:gd name="connsiteY755" fmla="*/ 471836 h 517594"/>
                  <a:gd name="connsiteX756" fmla="*/ 175158 w 1115495"/>
                  <a:gd name="connsiteY756" fmla="*/ 469563 h 517594"/>
                  <a:gd name="connsiteX757" fmla="*/ 176370 w 1115495"/>
                  <a:gd name="connsiteY757" fmla="*/ 468957 h 517594"/>
                  <a:gd name="connsiteX758" fmla="*/ 181673 w 1115495"/>
                  <a:gd name="connsiteY758" fmla="*/ 466987 h 517594"/>
                  <a:gd name="connsiteX759" fmla="*/ 188492 w 1115495"/>
                  <a:gd name="connsiteY759" fmla="*/ 465320 h 517594"/>
                  <a:gd name="connsiteX760" fmla="*/ 193492 w 1115495"/>
                  <a:gd name="connsiteY760" fmla="*/ 464108 h 517594"/>
                  <a:gd name="connsiteX761" fmla="*/ 200159 w 1115495"/>
                  <a:gd name="connsiteY761" fmla="*/ 463047 h 517594"/>
                  <a:gd name="connsiteX762" fmla="*/ 202280 w 1115495"/>
                  <a:gd name="connsiteY762" fmla="*/ 462896 h 517594"/>
                  <a:gd name="connsiteX763" fmla="*/ 205462 w 1115495"/>
                  <a:gd name="connsiteY763" fmla="*/ 462896 h 517594"/>
                  <a:gd name="connsiteX764" fmla="*/ 208038 w 1115495"/>
                  <a:gd name="connsiteY764" fmla="*/ 463956 h 517594"/>
                  <a:gd name="connsiteX765" fmla="*/ 209553 w 1115495"/>
                  <a:gd name="connsiteY765" fmla="*/ 464714 h 517594"/>
                  <a:gd name="connsiteX766" fmla="*/ 215008 w 1115495"/>
                  <a:gd name="connsiteY766" fmla="*/ 468047 h 517594"/>
                  <a:gd name="connsiteX767" fmla="*/ 220614 w 1115495"/>
                  <a:gd name="connsiteY767" fmla="*/ 471381 h 517594"/>
                  <a:gd name="connsiteX768" fmla="*/ 225463 w 1115495"/>
                  <a:gd name="connsiteY768" fmla="*/ 475017 h 517594"/>
                  <a:gd name="connsiteX769" fmla="*/ 226827 w 1115495"/>
                  <a:gd name="connsiteY769" fmla="*/ 476533 h 517594"/>
                  <a:gd name="connsiteX770" fmla="*/ 227584 w 1115495"/>
                  <a:gd name="connsiteY770" fmla="*/ 478351 h 517594"/>
                  <a:gd name="connsiteX771" fmla="*/ 228190 w 1115495"/>
                  <a:gd name="connsiteY771" fmla="*/ 480169 h 517594"/>
                  <a:gd name="connsiteX772" fmla="*/ 232282 w 1115495"/>
                  <a:gd name="connsiteY772" fmla="*/ 485775 h 517594"/>
                  <a:gd name="connsiteX773" fmla="*/ 233948 w 1115495"/>
                  <a:gd name="connsiteY773" fmla="*/ 488351 h 517594"/>
                  <a:gd name="connsiteX774" fmla="*/ 236373 w 1115495"/>
                  <a:gd name="connsiteY774" fmla="*/ 491685 h 517594"/>
                  <a:gd name="connsiteX775" fmla="*/ 238342 w 1115495"/>
                  <a:gd name="connsiteY775" fmla="*/ 493351 h 517594"/>
                  <a:gd name="connsiteX776" fmla="*/ 240161 w 1115495"/>
                  <a:gd name="connsiteY776" fmla="*/ 495321 h 517594"/>
                  <a:gd name="connsiteX777" fmla="*/ 241372 w 1115495"/>
                  <a:gd name="connsiteY777" fmla="*/ 496988 h 517594"/>
                  <a:gd name="connsiteX778" fmla="*/ 242888 w 1115495"/>
                  <a:gd name="connsiteY778" fmla="*/ 497746 h 517594"/>
                  <a:gd name="connsiteX779" fmla="*/ 244555 w 1115495"/>
                  <a:gd name="connsiteY779" fmla="*/ 498049 h 517594"/>
                  <a:gd name="connsiteX780" fmla="*/ 248191 w 1115495"/>
                  <a:gd name="connsiteY780" fmla="*/ 497594 h 517594"/>
                  <a:gd name="connsiteX781" fmla="*/ 252585 w 1115495"/>
                  <a:gd name="connsiteY781" fmla="*/ 496533 h 517594"/>
                  <a:gd name="connsiteX782" fmla="*/ 255161 w 1115495"/>
                  <a:gd name="connsiteY782" fmla="*/ 496079 h 517594"/>
                  <a:gd name="connsiteX783" fmla="*/ 256373 w 1115495"/>
                  <a:gd name="connsiteY783" fmla="*/ 496079 h 517594"/>
                  <a:gd name="connsiteX784" fmla="*/ 256373 w 1115495"/>
                  <a:gd name="connsiteY784" fmla="*/ 488654 h 517594"/>
                  <a:gd name="connsiteX785" fmla="*/ 256373 w 1115495"/>
                  <a:gd name="connsiteY785" fmla="*/ 481230 h 517594"/>
                  <a:gd name="connsiteX786" fmla="*/ 256373 w 1115495"/>
                  <a:gd name="connsiteY786" fmla="*/ 473654 h 517594"/>
                  <a:gd name="connsiteX787" fmla="*/ 256373 w 1115495"/>
                  <a:gd name="connsiteY787" fmla="*/ 466078 h 517594"/>
                  <a:gd name="connsiteX788" fmla="*/ 256373 w 1115495"/>
                  <a:gd name="connsiteY788" fmla="*/ 458502 h 517594"/>
                  <a:gd name="connsiteX789" fmla="*/ 256373 w 1115495"/>
                  <a:gd name="connsiteY789" fmla="*/ 450926 h 517594"/>
                  <a:gd name="connsiteX790" fmla="*/ 256373 w 1115495"/>
                  <a:gd name="connsiteY790" fmla="*/ 443350 h 517594"/>
                  <a:gd name="connsiteX791" fmla="*/ 256373 w 1115495"/>
                  <a:gd name="connsiteY791" fmla="*/ 435774 h 517594"/>
                  <a:gd name="connsiteX792" fmla="*/ 256373 w 1115495"/>
                  <a:gd name="connsiteY792" fmla="*/ 428197 h 517594"/>
                  <a:gd name="connsiteX793" fmla="*/ 256373 w 1115495"/>
                  <a:gd name="connsiteY793" fmla="*/ 420621 h 517594"/>
                  <a:gd name="connsiteX794" fmla="*/ 256373 w 1115495"/>
                  <a:gd name="connsiteY794" fmla="*/ 413045 h 517594"/>
                  <a:gd name="connsiteX795" fmla="*/ 256373 w 1115495"/>
                  <a:gd name="connsiteY795" fmla="*/ 405318 h 517594"/>
                  <a:gd name="connsiteX796" fmla="*/ 256373 w 1115495"/>
                  <a:gd name="connsiteY796" fmla="*/ 397590 h 517594"/>
                  <a:gd name="connsiteX797" fmla="*/ 256373 w 1115495"/>
                  <a:gd name="connsiteY797" fmla="*/ 389863 h 517594"/>
                  <a:gd name="connsiteX798" fmla="*/ 256373 w 1115495"/>
                  <a:gd name="connsiteY798" fmla="*/ 382135 h 517594"/>
                  <a:gd name="connsiteX799" fmla="*/ 256373 w 1115495"/>
                  <a:gd name="connsiteY799" fmla="*/ 374408 h 517594"/>
                  <a:gd name="connsiteX800" fmla="*/ 259858 w 1115495"/>
                  <a:gd name="connsiteY800" fmla="*/ 373499 h 517594"/>
                  <a:gd name="connsiteX801" fmla="*/ 264101 w 1115495"/>
                  <a:gd name="connsiteY801" fmla="*/ 372286 h 517594"/>
                  <a:gd name="connsiteX802" fmla="*/ 268192 w 1115495"/>
                  <a:gd name="connsiteY802" fmla="*/ 371074 h 517594"/>
                  <a:gd name="connsiteX803" fmla="*/ 273041 w 1115495"/>
                  <a:gd name="connsiteY803" fmla="*/ 369710 h 517594"/>
                  <a:gd name="connsiteX804" fmla="*/ 278647 w 1115495"/>
                  <a:gd name="connsiteY804" fmla="*/ 368195 h 517594"/>
                  <a:gd name="connsiteX805" fmla="*/ 283344 w 1115495"/>
                  <a:gd name="connsiteY805" fmla="*/ 366832 h 517594"/>
                  <a:gd name="connsiteX806" fmla="*/ 288950 w 1115495"/>
                  <a:gd name="connsiteY806" fmla="*/ 365165 h 517594"/>
                  <a:gd name="connsiteX807" fmla="*/ 293193 w 1115495"/>
                  <a:gd name="connsiteY807" fmla="*/ 363953 h 517594"/>
                  <a:gd name="connsiteX808" fmla="*/ 297284 w 1115495"/>
                  <a:gd name="connsiteY808" fmla="*/ 362741 h 517594"/>
                  <a:gd name="connsiteX809" fmla="*/ 302435 w 1115495"/>
                  <a:gd name="connsiteY809" fmla="*/ 361377 h 517594"/>
                  <a:gd name="connsiteX810" fmla="*/ 310466 w 1115495"/>
                  <a:gd name="connsiteY810" fmla="*/ 359256 h 517594"/>
                  <a:gd name="connsiteX811" fmla="*/ 315012 w 1115495"/>
                  <a:gd name="connsiteY811" fmla="*/ 358043 h 517594"/>
                  <a:gd name="connsiteX812" fmla="*/ 319557 w 1115495"/>
                  <a:gd name="connsiteY812" fmla="*/ 356831 h 517594"/>
                  <a:gd name="connsiteX813" fmla="*/ 323951 w 1115495"/>
                  <a:gd name="connsiteY813" fmla="*/ 355619 h 517594"/>
                  <a:gd name="connsiteX814" fmla="*/ 326830 w 1115495"/>
                  <a:gd name="connsiteY814" fmla="*/ 355165 h 517594"/>
                  <a:gd name="connsiteX815" fmla="*/ 327740 w 1115495"/>
                  <a:gd name="connsiteY815" fmla="*/ 355619 h 517594"/>
                  <a:gd name="connsiteX816" fmla="*/ 328346 w 1115495"/>
                  <a:gd name="connsiteY816" fmla="*/ 354104 h 517594"/>
                  <a:gd name="connsiteX817" fmla="*/ 328800 w 1115495"/>
                  <a:gd name="connsiteY817" fmla="*/ 353649 h 517594"/>
                  <a:gd name="connsiteX818" fmla="*/ 329558 w 1115495"/>
                  <a:gd name="connsiteY818" fmla="*/ 349710 h 517594"/>
                  <a:gd name="connsiteX819" fmla="*/ 330316 w 1115495"/>
                  <a:gd name="connsiteY819" fmla="*/ 347437 h 517594"/>
                  <a:gd name="connsiteX820" fmla="*/ 331376 w 1115495"/>
                  <a:gd name="connsiteY820" fmla="*/ 345316 h 517594"/>
                  <a:gd name="connsiteX821" fmla="*/ 332739 w 1115495"/>
                  <a:gd name="connsiteY821" fmla="*/ 343649 h 517594"/>
                  <a:gd name="connsiteX822" fmla="*/ 334406 w 1115495"/>
                  <a:gd name="connsiteY822" fmla="*/ 342588 h 517594"/>
                  <a:gd name="connsiteX823" fmla="*/ 335770 w 1115495"/>
                  <a:gd name="connsiteY823" fmla="*/ 342134 h 517594"/>
                  <a:gd name="connsiteX824" fmla="*/ 336831 w 1115495"/>
                  <a:gd name="connsiteY824" fmla="*/ 342285 h 517594"/>
                  <a:gd name="connsiteX825" fmla="*/ 337437 w 1115495"/>
                  <a:gd name="connsiteY825" fmla="*/ 341982 h 517594"/>
                  <a:gd name="connsiteX826" fmla="*/ 337588 w 1115495"/>
                  <a:gd name="connsiteY826" fmla="*/ 341073 h 517594"/>
                  <a:gd name="connsiteX827" fmla="*/ 338194 w 1115495"/>
                  <a:gd name="connsiteY827" fmla="*/ 340922 h 517594"/>
                  <a:gd name="connsiteX828" fmla="*/ 340770 w 1115495"/>
                  <a:gd name="connsiteY828" fmla="*/ 341528 h 517594"/>
                  <a:gd name="connsiteX829" fmla="*/ 342589 w 1115495"/>
                  <a:gd name="connsiteY829" fmla="*/ 341528 h 517594"/>
                  <a:gd name="connsiteX830" fmla="*/ 344255 w 1115495"/>
                  <a:gd name="connsiteY830" fmla="*/ 341073 h 517594"/>
                  <a:gd name="connsiteX831" fmla="*/ 345771 w 1115495"/>
                  <a:gd name="connsiteY831" fmla="*/ 340012 h 517594"/>
                  <a:gd name="connsiteX832" fmla="*/ 346982 w 1115495"/>
                  <a:gd name="connsiteY832" fmla="*/ 340012 h 517594"/>
                  <a:gd name="connsiteX833" fmla="*/ 347892 w 1115495"/>
                  <a:gd name="connsiteY833" fmla="*/ 340922 h 517594"/>
                  <a:gd name="connsiteX834" fmla="*/ 347589 w 1115495"/>
                  <a:gd name="connsiteY834" fmla="*/ 342285 h 517594"/>
                  <a:gd name="connsiteX835" fmla="*/ 346225 w 1115495"/>
                  <a:gd name="connsiteY835" fmla="*/ 344104 h 517594"/>
                  <a:gd name="connsiteX836" fmla="*/ 345316 w 1115495"/>
                  <a:gd name="connsiteY836" fmla="*/ 345922 h 517594"/>
                  <a:gd name="connsiteX837" fmla="*/ 345164 w 1115495"/>
                  <a:gd name="connsiteY837" fmla="*/ 347740 h 517594"/>
                  <a:gd name="connsiteX838" fmla="*/ 345922 w 1115495"/>
                  <a:gd name="connsiteY838" fmla="*/ 349255 h 517594"/>
                  <a:gd name="connsiteX839" fmla="*/ 347589 w 1115495"/>
                  <a:gd name="connsiteY839" fmla="*/ 350467 h 517594"/>
                  <a:gd name="connsiteX840" fmla="*/ 348498 w 1115495"/>
                  <a:gd name="connsiteY840" fmla="*/ 350467 h 517594"/>
                  <a:gd name="connsiteX841" fmla="*/ 348649 w 1115495"/>
                  <a:gd name="connsiteY841" fmla="*/ 349104 h 517594"/>
                  <a:gd name="connsiteX842" fmla="*/ 349104 w 1115495"/>
                  <a:gd name="connsiteY842" fmla="*/ 348498 h 517594"/>
                  <a:gd name="connsiteX843" fmla="*/ 349861 w 1115495"/>
                  <a:gd name="connsiteY843" fmla="*/ 348649 h 517594"/>
                  <a:gd name="connsiteX844" fmla="*/ 350316 w 1115495"/>
                  <a:gd name="connsiteY844" fmla="*/ 349255 h 517594"/>
                  <a:gd name="connsiteX845" fmla="*/ 350468 w 1115495"/>
                  <a:gd name="connsiteY845" fmla="*/ 350316 h 517594"/>
                  <a:gd name="connsiteX846" fmla="*/ 351225 w 1115495"/>
                  <a:gd name="connsiteY846" fmla="*/ 350164 h 517594"/>
                  <a:gd name="connsiteX847" fmla="*/ 352589 w 1115495"/>
                  <a:gd name="connsiteY847" fmla="*/ 348801 h 517594"/>
                  <a:gd name="connsiteX848" fmla="*/ 353953 w 1115495"/>
                  <a:gd name="connsiteY848" fmla="*/ 348043 h 517594"/>
                  <a:gd name="connsiteX849" fmla="*/ 355316 w 1115495"/>
                  <a:gd name="connsiteY849" fmla="*/ 348043 h 517594"/>
                  <a:gd name="connsiteX850" fmla="*/ 356074 w 1115495"/>
                  <a:gd name="connsiteY850" fmla="*/ 347285 h 517594"/>
                  <a:gd name="connsiteX851" fmla="*/ 356225 w 1115495"/>
                  <a:gd name="connsiteY851" fmla="*/ 345770 h 517594"/>
                  <a:gd name="connsiteX852" fmla="*/ 356983 w 1115495"/>
                  <a:gd name="connsiteY852" fmla="*/ 343194 h 517594"/>
                  <a:gd name="connsiteX853" fmla="*/ 358347 w 1115495"/>
                  <a:gd name="connsiteY853" fmla="*/ 339558 h 517594"/>
                  <a:gd name="connsiteX854" fmla="*/ 357589 w 1115495"/>
                  <a:gd name="connsiteY854" fmla="*/ 335618 h 517594"/>
                  <a:gd name="connsiteX855" fmla="*/ 354710 w 1115495"/>
                  <a:gd name="connsiteY855" fmla="*/ 331527 h 517594"/>
                  <a:gd name="connsiteX856" fmla="*/ 353347 w 1115495"/>
                  <a:gd name="connsiteY856" fmla="*/ 329254 h 517594"/>
                  <a:gd name="connsiteX857" fmla="*/ 353498 w 1115495"/>
                  <a:gd name="connsiteY857" fmla="*/ 328800 h 517594"/>
                  <a:gd name="connsiteX858" fmla="*/ 353953 w 1115495"/>
                  <a:gd name="connsiteY858" fmla="*/ 328800 h 517594"/>
                  <a:gd name="connsiteX859" fmla="*/ 354710 w 1115495"/>
                  <a:gd name="connsiteY859" fmla="*/ 329254 h 517594"/>
                  <a:gd name="connsiteX860" fmla="*/ 358044 w 1115495"/>
                  <a:gd name="connsiteY860" fmla="*/ 329254 h 517594"/>
                  <a:gd name="connsiteX861" fmla="*/ 359407 w 1115495"/>
                  <a:gd name="connsiteY861" fmla="*/ 329557 h 517594"/>
                  <a:gd name="connsiteX862" fmla="*/ 360165 w 1115495"/>
                  <a:gd name="connsiteY862" fmla="*/ 330315 h 517594"/>
                  <a:gd name="connsiteX863" fmla="*/ 360771 w 1115495"/>
                  <a:gd name="connsiteY863" fmla="*/ 331982 h 517594"/>
                  <a:gd name="connsiteX864" fmla="*/ 361225 w 1115495"/>
                  <a:gd name="connsiteY864" fmla="*/ 334558 h 517594"/>
                  <a:gd name="connsiteX865" fmla="*/ 361074 w 1115495"/>
                  <a:gd name="connsiteY865" fmla="*/ 336376 h 517594"/>
                  <a:gd name="connsiteX866" fmla="*/ 360468 w 1115495"/>
                  <a:gd name="connsiteY866" fmla="*/ 337588 h 517594"/>
                  <a:gd name="connsiteX867" fmla="*/ 360923 w 1115495"/>
                  <a:gd name="connsiteY867" fmla="*/ 338194 h 517594"/>
                  <a:gd name="connsiteX868" fmla="*/ 362589 w 1115495"/>
                  <a:gd name="connsiteY868" fmla="*/ 338043 h 517594"/>
                  <a:gd name="connsiteX869" fmla="*/ 367135 w 1115495"/>
                  <a:gd name="connsiteY869" fmla="*/ 336376 h 517594"/>
                  <a:gd name="connsiteX870" fmla="*/ 369256 w 1115495"/>
                  <a:gd name="connsiteY870" fmla="*/ 336224 h 517594"/>
                  <a:gd name="connsiteX871" fmla="*/ 370923 w 1115495"/>
                  <a:gd name="connsiteY871" fmla="*/ 336982 h 517594"/>
                  <a:gd name="connsiteX872" fmla="*/ 372893 w 1115495"/>
                  <a:gd name="connsiteY872" fmla="*/ 337285 h 517594"/>
                  <a:gd name="connsiteX873" fmla="*/ 375166 w 1115495"/>
                  <a:gd name="connsiteY873" fmla="*/ 337134 h 517594"/>
                  <a:gd name="connsiteX874" fmla="*/ 384105 w 1115495"/>
                  <a:gd name="connsiteY874" fmla="*/ 338194 h 517594"/>
                  <a:gd name="connsiteX875" fmla="*/ 385014 w 1115495"/>
                  <a:gd name="connsiteY875" fmla="*/ 337891 h 517594"/>
                  <a:gd name="connsiteX876" fmla="*/ 386226 w 1115495"/>
                  <a:gd name="connsiteY876" fmla="*/ 337134 h 517594"/>
                  <a:gd name="connsiteX877" fmla="*/ 388499 w 1115495"/>
                  <a:gd name="connsiteY877" fmla="*/ 334861 h 517594"/>
                  <a:gd name="connsiteX878" fmla="*/ 388802 w 1115495"/>
                  <a:gd name="connsiteY878" fmla="*/ 333346 h 517594"/>
                  <a:gd name="connsiteX879" fmla="*/ 388802 w 1115495"/>
                  <a:gd name="connsiteY879" fmla="*/ 332285 h 517594"/>
                  <a:gd name="connsiteX880" fmla="*/ 386833 w 1115495"/>
                  <a:gd name="connsiteY880" fmla="*/ 328497 h 517594"/>
                  <a:gd name="connsiteX881" fmla="*/ 386226 w 1115495"/>
                  <a:gd name="connsiteY881" fmla="*/ 326830 h 517594"/>
                  <a:gd name="connsiteX882" fmla="*/ 385772 w 1115495"/>
                  <a:gd name="connsiteY882" fmla="*/ 326679 h 517594"/>
                  <a:gd name="connsiteX883" fmla="*/ 385317 w 1115495"/>
                  <a:gd name="connsiteY883" fmla="*/ 326982 h 517594"/>
                  <a:gd name="connsiteX884" fmla="*/ 385014 w 1115495"/>
                  <a:gd name="connsiteY884" fmla="*/ 327588 h 517594"/>
                  <a:gd name="connsiteX885" fmla="*/ 382893 w 1115495"/>
                  <a:gd name="connsiteY885" fmla="*/ 328648 h 517594"/>
                  <a:gd name="connsiteX886" fmla="*/ 382287 w 1115495"/>
                  <a:gd name="connsiteY886" fmla="*/ 329406 h 517594"/>
                  <a:gd name="connsiteX887" fmla="*/ 381378 w 1115495"/>
                  <a:gd name="connsiteY887" fmla="*/ 329557 h 517594"/>
                  <a:gd name="connsiteX888" fmla="*/ 378650 w 1115495"/>
                  <a:gd name="connsiteY888" fmla="*/ 328042 h 517594"/>
                  <a:gd name="connsiteX889" fmla="*/ 377135 w 1115495"/>
                  <a:gd name="connsiteY889" fmla="*/ 326679 h 517594"/>
                  <a:gd name="connsiteX890" fmla="*/ 374559 w 1115495"/>
                  <a:gd name="connsiteY890" fmla="*/ 326376 h 517594"/>
                  <a:gd name="connsiteX891" fmla="*/ 371074 w 1115495"/>
                  <a:gd name="connsiteY891" fmla="*/ 327133 h 517594"/>
                  <a:gd name="connsiteX892" fmla="*/ 368499 w 1115495"/>
                  <a:gd name="connsiteY892" fmla="*/ 326679 h 517594"/>
                  <a:gd name="connsiteX893" fmla="*/ 366983 w 1115495"/>
                  <a:gd name="connsiteY893" fmla="*/ 325012 h 517594"/>
                  <a:gd name="connsiteX894" fmla="*/ 366377 w 1115495"/>
                  <a:gd name="connsiteY894" fmla="*/ 323194 h 517594"/>
                  <a:gd name="connsiteX895" fmla="*/ 366680 w 1115495"/>
                  <a:gd name="connsiteY895" fmla="*/ 321224 h 517594"/>
                  <a:gd name="connsiteX896" fmla="*/ 368499 w 1115495"/>
                  <a:gd name="connsiteY896" fmla="*/ 319254 h 517594"/>
                  <a:gd name="connsiteX897" fmla="*/ 371680 w 1115495"/>
                  <a:gd name="connsiteY897" fmla="*/ 317284 h 517594"/>
                  <a:gd name="connsiteX898" fmla="*/ 373953 w 1115495"/>
                  <a:gd name="connsiteY898" fmla="*/ 316527 h 517594"/>
                  <a:gd name="connsiteX899" fmla="*/ 375166 w 1115495"/>
                  <a:gd name="connsiteY899" fmla="*/ 316981 h 517594"/>
                  <a:gd name="connsiteX900" fmla="*/ 376378 w 1115495"/>
                  <a:gd name="connsiteY900" fmla="*/ 318800 h 517594"/>
                  <a:gd name="connsiteX901" fmla="*/ 377438 w 1115495"/>
                  <a:gd name="connsiteY901" fmla="*/ 321981 h 517594"/>
                  <a:gd name="connsiteX902" fmla="*/ 378347 w 1115495"/>
                  <a:gd name="connsiteY902" fmla="*/ 322436 h 517594"/>
                  <a:gd name="connsiteX903" fmla="*/ 379105 w 1115495"/>
                  <a:gd name="connsiteY903" fmla="*/ 320315 h 517594"/>
                  <a:gd name="connsiteX904" fmla="*/ 380317 w 1115495"/>
                  <a:gd name="connsiteY904" fmla="*/ 319709 h 517594"/>
                  <a:gd name="connsiteX905" fmla="*/ 381833 w 1115495"/>
                  <a:gd name="connsiteY905" fmla="*/ 320618 h 517594"/>
                  <a:gd name="connsiteX906" fmla="*/ 383196 w 1115495"/>
                  <a:gd name="connsiteY906" fmla="*/ 320921 h 517594"/>
                  <a:gd name="connsiteX907" fmla="*/ 384408 w 1115495"/>
                  <a:gd name="connsiteY907" fmla="*/ 320618 h 517594"/>
                  <a:gd name="connsiteX908" fmla="*/ 386378 w 1115495"/>
                  <a:gd name="connsiteY908" fmla="*/ 319406 h 517594"/>
                  <a:gd name="connsiteX909" fmla="*/ 386378 w 1115495"/>
                  <a:gd name="connsiteY909" fmla="*/ 317739 h 517594"/>
                  <a:gd name="connsiteX910" fmla="*/ 383954 w 1115495"/>
                  <a:gd name="connsiteY910" fmla="*/ 316224 h 517594"/>
                  <a:gd name="connsiteX911" fmla="*/ 382438 w 1115495"/>
                  <a:gd name="connsiteY911" fmla="*/ 315012 h 517594"/>
                  <a:gd name="connsiteX912" fmla="*/ 381984 w 1115495"/>
                  <a:gd name="connsiteY912" fmla="*/ 314254 h 517594"/>
                  <a:gd name="connsiteX913" fmla="*/ 383499 w 1115495"/>
                  <a:gd name="connsiteY913" fmla="*/ 314102 h 517594"/>
                  <a:gd name="connsiteX914" fmla="*/ 386833 w 1115495"/>
                  <a:gd name="connsiteY914" fmla="*/ 314709 h 517594"/>
                  <a:gd name="connsiteX915" fmla="*/ 388348 w 1115495"/>
                  <a:gd name="connsiteY915" fmla="*/ 316375 h 517594"/>
                  <a:gd name="connsiteX916" fmla="*/ 387893 w 1115495"/>
                  <a:gd name="connsiteY916" fmla="*/ 319254 h 517594"/>
                  <a:gd name="connsiteX917" fmla="*/ 388348 w 1115495"/>
                  <a:gd name="connsiteY917" fmla="*/ 321375 h 517594"/>
                  <a:gd name="connsiteX918" fmla="*/ 389560 w 1115495"/>
                  <a:gd name="connsiteY918" fmla="*/ 322891 h 517594"/>
                  <a:gd name="connsiteX919" fmla="*/ 392136 w 1115495"/>
                  <a:gd name="connsiteY919" fmla="*/ 321678 h 517594"/>
                  <a:gd name="connsiteX920" fmla="*/ 395924 w 1115495"/>
                  <a:gd name="connsiteY920" fmla="*/ 322436 h 517594"/>
                  <a:gd name="connsiteX921" fmla="*/ 398500 w 1115495"/>
                  <a:gd name="connsiteY921" fmla="*/ 322739 h 517594"/>
                  <a:gd name="connsiteX922" fmla="*/ 400015 w 1115495"/>
                  <a:gd name="connsiteY922" fmla="*/ 322588 h 517594"/>
                  <a:gd name="connsiteX923" fmla="*/ 401076 w 1115495"/>
                  <a:gd name="connsiteY923" fmla="*/ 323194 h 517594"/>
                  <a:gd name="connsiteX924" fmla="*/ 401530 w 1115495"/>
                  <a:gd name="connsiteY924" fmla="*/ 324557 h 517594"/>
                  <a:gd name="connsiteX925" fmla="*/ 401227 w 1115495"/>
                  <a:gd name="connsiteY925" fmla="*/ 326527 h 517594"/>
                  <a:gd name="connsiteX926" fmla="*/ 400015 w 1115495"/>
                  <a:gd name="connsiteY926" fmla="*/ 329254 h 517594"/>
                  <a:gd name="connsiteX927" fmla="*/ 398803 w 1115495"/>
                  <a:gd name="connsiteY927" fmla="*/ 330618 h 517594"/>
                  <a:gd name="connsiteX928" fmla="*/ 397590 w 1115495"/>
                  <a:gd name="connsiteY928" fmla="*/ 330618 h 517594"/>
                  <a:gd name="connsiteX929" fmla="*/ 390621 w 1115495"/>
                  <a:gd name="connsiteY929" fmla="*/ 333800 h 517594"/>
                  <a:gd name="connsiteX930" fmla="*/ 389409 w 1115495"/>
                  <a:gd name="connsiteY930" fmla="*/ 333952 h 517594"/>
                  <a:gd name="connsiteX931" fmla="*/ 387893 w 1115495"/>
                  <a:gd name="connsiteY931" fmla="*/ 335012 h 517594"/>
                  <a:gd name="connsiteX932" fmla="*/ 386530 w 1115495"/>
                  <a:gd name="connsiteY932" fmla="*/ 336831 h 517594"/>
                  <a:gd name="connsiteX933" fmla="*/ 384560 w 1115495"/>
                  <a:gd name="connsiteY933" fmla="*/ 338346 h 517594"/>
                  <a:gd name="connsiteX934" fmla="*/ 382135 w 1115495"/>
                  <a:gd name="connsiteY934" fmla="*/ 339558 h 517594"/>
                  <a:gd name="connsiteX935" fmla="*/ 380317 w 1115495"/>
                  <a:gd name="connsiteY935" fmla="*/ 341073 h 517594"/>
                  <a:gd name="connsiteX936" fmla="*/ 379105 w 1115495"/>
                  <a:gd name="connsiteY936" fmla="*/ 342891 h 517594"/>
                  <a:gd name="connsiteX937" fmla="*/ 378045 w 1115495"/>
                  <a:gd name="connsiteY937" fmla="*/ 343649 h 517594"/>
                  <a:gd name="connsiteX938" fmla="*/ 375317 w 1115495"/>
                  <a:gd name="connsiteY938" fmla="*/ 343194 h 517594"/>
                  <a:gd name="connsiteX939" fmla="*/ 364862 w 1115495"/>
                  <a:gd name="connsiteY939" fmla="*/ 341225 h 517594"/>
                  <a:gd name="connsiteX940" fmla="*/ 363347 w 1115495"/>
                  <a:gd name="connsiteY940" fmla="*/ 341225 h 517594"/>
                  <a:gd name="connsiteX941" fmla="*/ 362438 w 1115495"/>
                  <a:gd name="connsiteY941" fmla="*/ 341376 h 517594"/>
                  <a:gd name="connsiteX942" fmla="*/ 361983 w 1115495"/>
                  <a:gd name="connsiteY942" fmla="*/ 341831 h 517594"/>
                  <a:gd name="connsiteX943" fmla="*/ 362135 w 1115495"/>
                  <a:gd name="connsiteY943" fmla="*/ 342437 h 517594"/>
                  <a:gd name="connsiteX944" fmla="*/ 362438 w 1115495"/>
                  <a:gd name="connsiteY944" fmla="*/ 343043 h 517594"/>
                  <a:gd name="connsiteX945" fmla="*/ 362438 w 1115495"/>
                  <a:gd name="connsiteY945" fmla="*/ 343497 h 517594"/>
                  <a:gd name="connsiteX946" fmla="*/ 361983 w 1115495"/>
                  <a:gd name="connsiteY946" fmla="*/ 344255 h 517594"/>
                  <a:gd name="connsiteX947" fmla="*/ 361832 w 1115495"/>
                  <a:gd name="connsiteY947" fmla="*/ 345619 h 517594"/>
                  <a:gd name="connsiteX948" fmla="*/ 361529 w 1115495"/>
                  <a:gd name="connsiteY948" fmla="*/ 346073 h 517594"/>
                  <a:gd name="connsiteX949" fmla="*/ 361225 w 1115495"/>
                  <a:gd name="connsiteY949" fmla="*/ 346225 h 517594"/>
                  <a:gd name="connsiteX950" fmla="*/ 360923 w 1115495"/>
                  <a:gd name="connsiteY950" fmla="*/ 346679 h 517594"/>
                  <a:gd name="connsiteX951" fmla="*/ 360620 w 1115495"/>
                  <a:gd name="connsiteY951" fmla="*/ 348195 h 517594"/>
                  <a:gd name="connsiteX952" fmla="*/ 360014 w 1115495"/>
                  <a:gd name="connsiteY952" fmla="*/ 348952 h 517594"/>
                  <a:gd name="connsiteX953" fmla="*/ 359710 w 1115495"/>
                  <a:gd name="connsiteY953" fmla="*/ 350013 h 517594"/>
                  <a:gd name="connsiteX954" fmla="*/ 359710 w 1115495"/>
                  <a:gd name="connsiteY954" fmla="*/ 351528 h 517594"/>
                  <a:gd name="connsiteX955" fmla="*/ 360014 w 1115495"/>
                  <a:gd name="connsiteY955" fmla="*/ 352437 h 517594"/>
                  <a:gd name="connsiteX956" fmla="*/ 360620 w 1115495"/>
                  <a:gd name="connsiteY956" fmla="*/ 352892 h 517594"/>
                  <a:gd name="connsiteX957" fmla="*/ 365923 w 1115495"/>
                  <a:gd name="connsiteY957" fmla="*/ 352589 h 517594"/>
                  <a:gd name="connsiteX958" fmla="*/ 366983 w 1115495"/>
                  <a:gd name="connsiteY958" fmla="*/ 352892 h 517594"/>
                  <a:gd name="connsiteX959" fmla="*/ 367892 w 1115495"/>
                  <a:gd name="connsiteY959" fmla="*/ 354862 h 517594"/>
                  <a:gd name="connsiteX960" fmla="*/ 368802 w 1115495"/>
                  <a:gd name="connsiteY960" fmla="*/ 358346 h 517594"/>
                  <a:gd name="connsiteX961" fmla="*/ 369105 w 1115495"/>
                  <a:gd name="connsiteY961" fmla="*/ 361983 h 517594"/>
                  <a:gd name="connsiteX962" fmla="*/ 368650 w 1115495"/>
                  <a:gd name="connsiteY962" fmla="*/ 365619 h 517594"/>
                  <a:gd name="connsiteX963" fmla="*/ 368499 w 1115495"/>
                  <a:gd name="connsiteY963" fmla="*/ 377590 h 517594"/>
                  <a:gd name="connsiteX964" fmla="*/ 372135 w 1115495"/>
                  <a:gd name="connsiteY964" fmla="*/ 379711 h 517594"/>
                  <a:gd name="connsiteX965" fmla="*/ 375923 w 1115495"/>
                  <a:gd name="connsiteY965" fmla="*/ 381984 h 517594"/>
                  <a:gd name="connsiteX966" fmla="*/ 379711 w 1115495"/>
                  <a:gd name="connsiteY966" fmla="*/ 384256 h 517594"/>
                  <a:gd name="connsiteX967" fmla="*/ 383499 w 1115495"/>
                  <a:gd name="connsiteY967" fmla="*/ 386529 h 517594"/>
                  <a:gd name="connsiteX968" fmla="*/ 387287 w 1115495"/>
                  <a:gd name="connsiteY968" fmla="*/ 388802 h 517594"/>
                  <a:gd name="connsiteX969" fmla="*/ 391075 w 1115495"/>
                  <a:gd name="connsiteY969" fmla="*/ 391075 h 517594"/>
                  <a:gd name="connsiteX970" fmla="*/ 394560 w 1115495"/>
                  <a:gd name="connsiteY970" fmla="*/ 393196 h 517594"/>
                  <a:gd name="connsiteX971" fmla="*/ 396076 w 1115495"/>
                  <a:gd name="connsiteY971" fmla="*/ 394711 h 517594"/>
                  <a:gd name="connsiteX972" fmla="*/ 396985 w 1115495"/>
                  <a:gd name="connsiteY972" fmla="*/ 398045 h 517594"/>
                  <a:gd name="connsiteX973" fmla="*/ 398651 w 1115495"/>
                  <a:gd name="connsiteY973" fmla="*/ 400772 h 517594"/>
                  <a:gd name="connsiteX974" fmla="*/ 401682 w 1115495"/>
                  <a:gd name="connsiteY974" fmla="*/ 403651 h 517594"/>
                  <a:gd name="connsiteX975" fmla="*/ 404864 w 1115495"/>
                  <a:gd name="connsiteY975" fmla="*/ 406530 h 517594"/>
                  <a:gd name="connsiteX976" fmla="*/ 408652 w 1115495"/>
                  <a:gd name="connsiteY976" fmla="*/ 410470 h 517594"/>
                  <a:gd name="connsiteX977" fmla="*/ 411379 w 1115495"/>
                  <a:gd name="connsiteY977" fmla="*/ 413197 h 517594"/>
                  <a:gd name="connsiteX978" fmla="*/ 414107 w 1115495"/>
                  <a:gd name="connsiteY978" fmla="*/ 415924 h 517594"/>
                  <a:gd name="connsiteX979" fmla="*/ 418652 w 1115495"/>
                  <a:gd name="connsiteY979" fmla="*/ 420470 h 517594"/>
                  <a:gd name="connsiteX980" fmla="*/ 421531 w 1115495"/>
                  <a:gd name="connsiteY980" fmla="*/ 423349 h 517594"/>
                  <a:gd name="connsiteX981" fmla="*/ 423804 w 1115495"/>
                  <a:gd name="connsiteY981" fmla="*/ 423500 h 517594"/>
                  <a:gd name="connsiteX982" fmla="*/ 428350 w 1115495"/>
                  <a:gd name="connsiteY982" fmla="*/ 422894 h 517594"/>
                  <a:gd name="connsiteX983" fmla="*/ 434410 w 1115495"/>
                  <a:gd name="connsiteY983" fmla="*/ 421985 h 517594"/>
                  <a:gd name="connsiteX984" fmla="*/ 439259 w 1115495"/>
                  <a:gd name="connsiteY984" fmla="*/ 421228 h 517594"/>
                  <a:gd name="connsiteX985" fmla="*/ 445016 w 1115495"/>
                  <a:gd name="connsiteY985" fmla="*/ 420318 h 517594"/>
                  <a:gd name="connsiteX986" fmla="*/ 450471 w 1115495"/>
                  <a:gd name="connsiteY986" fmla="*/ 419561 h 517594"/>
                  <a:gd name="connsiteX987" fmla="*/ 454866 w 1115495"/>
                  <a:gd name="connsiteY987" fmla="*/ 418955 h 517594"/>
                  <a:gd name="connsiteX988" fmla="*/ 461381 w 1115495"/>
                  <a:gd name="connsiteY988" fmla="*/ 419409 h 517594"/>
                  <a:gd name="connsiteX989" fmla="*/ 467745 w 1115495"/>
                  <a:gd name="connsiteY989" fmla="*/ 419864 h 517594"/>
                  <a:gd name="connsiteX990" fmla="*/ 472290 w 1115495"/>
                  <a:gd name="connsiteY990" fmla="*/ 420167 h 517594"/>
                  <a:gd name="connsiteX991" fmla="*/ 476836 w 1115495"/>
                  <a:gd name="connsiteY991" fmla="*/ 420470 h 517594"/>
                  <a:gd name="connsiteX992" fmla="*/ 482139 w 1115495"/>
                  <a:gd name="connsiteY992" fmla="*/ 420925 h 517594"/>
                  <a:gd name="connsiteX993" fmla="*/ 485170 w 1115495"/>
                  <a:gd name="connsiteY993" fmla="*/ 421076 h 517594"/>
                  <a:gd name="connsiteX994" fmla="*/ 488654 w 1115495"/>
                  <a:gd name="connsiteY994" fmla="*/ 421379 h 517594"/>
                  <a:gd name="connsiteX995" fmla="*/ 490170 w 1115495"/>
                  <a:gd name="connsiteY995" fmla="*/ 420773 h 517594"/>
                  <a:gd name="connsiteX996" fmla="*/ 493200 w 1115495"/>
                  <a:gd name="connsiteY996" fmla="*/ 419409 h 517594"/>
                  <a:gd name="connsiteX997" fmla="*/ 495928 w 1115495"/>
                  <a:gd name="connsiteY997" fmla="*/ 418046 h 517594"/>
                  <a:gd name="connsiteX998" fmla="*/ 498807 w 1115495"/>
                  <a:gd name="connsiteY998" fmla="*/ 416682 h 517594"/>
                  <a:gd name="connsiteX999" fmla="*/ 501382 w 1115495"/>
                  <a:gd name="connsiteY999" fmla="*/ 415924 h 517594"/>
                  <a:gd name="connsiteX1000" fmla="*/ 504110 w 1115495"/>
                  <a:gd name="connsiteY1000" fmla="*/ 418046 h 517594"/>
                  <a:gd name="connsiteX1001" fmla="*/ 506383 w 1115495"/>
                  <a:gd name="connsiteY1001" fmla="*/ 420621 h 517594"/>
                  <a:gd name="connsiteX1002" fmla="*/ 508807 w 1115495"/>
                  <a:gd name="connsiteY1002" fmla="*/ 423197 h 517594"/>
                  <a:gd name="connsiteX1003" fmla="*/ 511534 w 1115495"/>
                  <a:gd name="connsiteY1003" fmla="*/ 425773 h 517594"/>
                  <a:gd name="connsiteX1004" fmla="*/ 514110 w 1115495"/>
                  <a:gd name="connsiteY1004" fmla="*/ 427288 h 517594"/>
                  <a:gd name="connsiteX1005" fmla="*/ 517595 w 1115495"/>
                  <a:gd name="connsiteY1005" fmla="*/ 429258 h 517594"/>
                  <a:gd name="connsiteX1006" fmla="*/ 519565 w 1115495"/>
                  <a:gd name="connsiteY1006" fmla="*/ 432743 h 517594"/>
                  <a:gd name="connsiteX1007" fmla="*/ 522292 w 1115495"/>
                  <a:gd name="connsiteY1007" fmla="*/ 437440 h 517594"/>
                  <a:gd name="connsiteX1008" fmla="*/ 524110 w 1115495"/>
                  <a:gd name="connsiteY1008" fmla="*/ 440471 h 517594"/>
                  <a:gd name="connsiteX1009" fmla="*/ 525928 w 1115495"/>
                  <a:gd name="connsiteY1009" fmla="*/ 443653 h 517594"/>
                  <a:gd name="connsiteX1010" fmla="*/ 528656 w 1115495"/>
                  <a:gd name="connsiteY1010" fmla="*/ 442440 h 517594"/>
                  <a:gd name="connsiteX1011" fmla="*/ 531535 w 1115495"/>
                  <a:gd name="connsiteY1011" fmla="*/ 441077 h 517594"/>
                  <a:gd name="connsiteX1012" fmla="*/ 534111 w 1115495"/>
                  <a:gd name="connsiteY1012" fmla="*/ 439865 h 517594"/>
                  <a:gd name="connsiteX1013" fmla="*/ 533808 w 1115495"/>
                  <a:gd name="connsiteY1013" fmla="*/ 443804 h 517594"/>
                  <a:gd name="connsiteX1014" fmla="*/ 533505 w 1115495"/>
                  <a:gd name="connsiteY1014" fmla="*/ 447289 h 517594"/>
                  <a:gd name="connsiteX1015" fmla="*/ 533050 w 1115495"/>
                  <a:gd name="connsiteY1015" fmla="*/ 452592 h 517594"/>
                  <a:gd name="connsiteX1016" fmla="*/ 532747 w 1115495"/>
                  <a:gd name="connsiteY1016" fmla="*/ 456986 h 517594"/>
                  <a:gd name="connsiteX1017" fmla="*/ 531838 w 1115495"/>
                  <a:gd name="connsiteY1017" fmla="*/ 462138 h 517594"/>
                  <a:gd name="connsiteX1018" fmla="*/ 531838 w 1115495"/>
                  <a:gd name="connsiteY1018" fmla="*/ 466078 h 517594"/>
                  <a:gd name="connsiteX1019" fmla="*/ 531838 w 1115495"/>
                  <a:gd name="connsiteY1019" fmla="*/ 469563 h 517594"/>
                  <a:gd name="connsiteX1020" fmla="*/ 531838 w 1115495"/>
                  <a:gd name="connsiteY1020" fmla="*/ 472290 h 517594"/>
                  <a:gd name="connsiteX1021" fmla="*/ 536838 w 1115495"/>
                  <a:gd name="connsiteY1021" fmla="*/ 472441 h 517594"/>
                  <a:gd name="connsiteX1022" fmla="*/ 540475 w 1115495"/>
                  <a:gd name="connsiteY1022" fmla="*/ 472593 h 517594"/>
                  <a:gd name="connsiteX1023" fmla="*/ 545172 w 1115495"/>
                  <a:gd name="connsiteY1023" fmla="*/ 472745 h 517594"/>
                  <a:gd name="connsiteX1024" fmla="*/ 545626 w 1115495"/>
                  <a:gd name="connsiteY1024" fmla="*/ 476230 h 517594"/>
                  <a:gd name="connsiteX1025" fmla="*/ 546233 w 1115495"/>
                  <a:gd name="connsiteY1025" fmla="*/ 481078 h 517594"/>
                  <a:gd name="connsiteX1026" fmla="*/ 547142 w 1115495"/>
                  <a:gd name="connsiteY1026" fmla="*/ 485472 h 517594"/>
                  <a:gd name="connsiteX1027" fmla="*/ 547899 w 1115495"/>
                  <a:gd name="connsiteY1027" fmla="*/ 489109 h 517594"/>
                  <a:gd name="connsiteX1028" fmla="*/ 549111 w 1115495"/>
                  <a:gd name="connsiteY1028" fmla="*/ 493806 h 517594"/>
                  <a:gd name="connsiteX1029" fmla="*/ 549717 w 1115495"/>
                  <a:gd name="connsiteY1029" fmla="*/ 496382 h 517594"/>
                  <a:gd name="connsiteX1030" fmla="*/ 550778 w 1115495"/>
                  <a:gd name="connsiteY1030" fmla="*/ 499412 h 517594"/>
                  <a:gd name="connsiteX1031" fmla="*/ 551839 w 1115495"/>
                  <a:gd name="connsiteY1031" fmla="*/ 500170 h 517594"/>
                  <a:gd name="connsiteX1032" fmla="*/ 553657 w 1115495"/>
                  <a:gd name="connsiteY1032" fmla="*/ 500624 h 517594"/>
                  <a:gd name="connsiteX1033" fmla="*/ 559869 w 1115495"/>
                  <a:gd name="connsiteY1033" fmla="*/ 500321 h 517594"/>
                  <a:gd name="connsiteX1034" fmla="*/ 565021 w 1115495"/>
                  <a:gd name="connsiteY1034" fmla="*/ 500018 h 517594"/>
                  <a:gd name="connsiteX1035" fmla="*/ 568961 w 1115495"/>
                  <a:gd name="connsiteY1035" fmla="*/ 499715 h 517594"/>
                  <a:gd name="connsiteX1036" fmla="*/ 573203 w 1115495"/>
                  <a:gd name="connsiteY1036" fmla="*/ 499412 h 517594"/>
                  <a:gd name="connsiteX1037" fmla="*/ 578810 w 1115495"/>
                  <a:gd name="connsiteY1037" fmla="*/ 499109 h 517594"/>
                  <a:gd name="connsiteX1038" fmla="*/ 580779 w 1115495"/>
                  <a:gd name="connsiteY1038" fmla="*/ 499867 h 517594"/>
                  <a:gd name="connsiteX1039" fmla="*/ 582446 w 1115495"/>
                  <a:gd name="connsiteY1039" fmla="*/ 499261 h 517594"/>
                  <a:gd name="connsiteX1040" fmla="*/ 584416 w 1115495"/>
                  <a:gd name="connsiteY1040" fmla="*/ 498655 h 517594"/>
                  <a:gd name="connsiteX1041" fmla="*/ 585931 w 1115495"/>
                  <a:gd name="connsiteY1041" fmla="*/ 500776 h 517594"/>
                  <a:gd name="connsiteX1042" fmla="*/ 586688 w 1115495"/>
                  <a:gd name="connsiteY1042" fmla="*/ 501837 h 517594"/>
                  <a:gd name="connsiteX1043" fmla="*/ 587749 w 1115495"/>
                  <a:gd name="connsiteY1043" fmla="*/ 502897 h 517594"/>
                  <a:gd name="connsiteX1044" fmla="*/ 589265 w 1115495"/>
                  <a:gd name="connsiteY1044" fmla="*/ 503958 h 517594"/>
                  <a:gd name="connsiteX1045" fmla="*/ 588658 w 1115495"/>
                  <a:gd name="connsiteY1045" fmla="*/ 506231 h 517594"/>
                  <a:gd name="connsiteX1046" fmla="*/ 587749 w 1115495"/>
                  <a:gd name="connsiteY1046" fmla="*/ 509413 h 517594"/>
                  <a:gd name="connsiteX1047" fmla="*/ 587446 w 1115495"/>
                  <a:gd name="connsiteY1047" fmla="*/ 511079 h 517594"/>
                  <a:gd name="connsiteX1048" fmla="*/ 589265 w 1115495"/>
                  <a:gd name="connsiteY1048" fmla="*/ 512898 h 517594"/>
                  <a:gd name="connsiteX1049" fmla="*/ 590628 w 1115495"/>
                  <a:gd name="connsiteY1049" fmla="*/ 513958 h 517594"/>
                  <a:gd name="connsiteX1050" fmla="*/ 594265 w 1115495"/>
                  <a:gd name="connsiteY1050" fmla="*/ 516080 h 517594"/>
                  <a:gd name="connsiteX1051" fmla="*/ 597598 w 1115495"/>
                  <a:gd name="connsiteY1051" fmla="*/ 517292 h 517594"/>
                  <a:gd name="connsiteX1052" fmla="*/ 599871 w 1115495"/>
                  <a:gd name="connsiteY1052" fmla="*/ 517595 h 517594"/>
                  <a:gd name="connsiteX1053" fmla="*/ 601992 w 1115495"/>
                  <a:gd name="connsiteY1053" fmla="*/ 517140 h 517594"/>
                  <a:gd name="connsiteX1054" fmla="*/ 602750 w 1115495"/>
                  <a:gd name="connsiteY1054" fmla="*/ 515928 h 517594"/>
                  <a:gd name="connsiteX1055" fmla="*/ 602598 w 1115495"/>
                  <a:gd name="connsiteY1055" fmla="*/ 514261 h 517594"/>
                  <a:gd name="connsiteX1056" fmla="*/ 601538 w 1115495"/>
                  <a:gd name="connsiteY1056" fmla="*/ 512443 h 517594"/>
                  <a:gd name="connsiteX1057" fmla="*/ 601538 w 1115495"/>
                  <a:gd name="connsiteY1057" fmla="*/ 510322 h 517594"/>
                  <a:gd name="connsiteX1058" fmla="*/ 602143 w 1115495"/>
                  <a:gd name="connsiteY1058" fmla="*/ 508806 h 517594"/>
                  <a:gd name="connsiteX1059" fmla="*/ 604265 w 1115495"/>
                  <a:gd name="connsiteY1059" fmla="*/ 506079 h 517594"/>
                  <a:gd name="connsiteX1060" fmla="*/ 606235 w 1115495"/>
                  <a:gd name="connsiteY1060" fmla="*/ 503503 h 517594"/>
                  <a:gd name="connsiteX1061" fmla="*/ 609417 w 1115495"/>
                  <a:gd name="connsiteY1061" fmla="*/ 500776 h 517594"/>
                  <a:gd name="connsiteX1062" fmla="*/ 613205 w 1115495"/>
                  <a:gd name="connsiteY1062" fmla="*/ 498200 h 517594"/>
                  <a:gd name="connsiteX1063" fmla="*/ 614720 w 1115495"/>
                  <a:gd name="connsiteY1063" fmla="*/ 496230 h 517594"/>
                  <a:gd name="connsiteX1064" fmla="*/ 615326 w 1115495"/>
                  <a:gd name="connsiteY1064" fmla="*/ 492897 h 517594"/>
                  <a:gd name="connsiteX1065" fmla="*/ 617751 w 1115495"/>
                  <a:gd name="connsiteY1065" fmla="*/ 490927 h 517594"/>
                  <a:gd name="connsiteX1066" fmla="*/ 620326 w 1115495"/>
                  <a:gd name="connsiteY1066" fmla="*/ 489715 h 517594"/>
                  <a:gd name="connsiteX1067" fmla="*/ 623660 w 1115495"/>
                  <a:gd name="connsiteY1067" fmla="*/ 488654 h 517594"/>
                  <a:gd name="connsiteX1068" fmla="*/ 624569 w 1115495"/>
                  <a:gd name="connsiteY1068" fmla="*/ 486988 h 517594"/>
                  <a:gd name="connsiteX1069" fmla="*/ 629115 w 1115495"/>
                  <a:gd name="connsiteY1069" fmla="*/ 484109 h 517594"/>
                  <a:gd name="connsiteX1070" fmla="*/ 631842 w 1115495"/>
                  <a:gd name="connsiteY1070" fmla="*/ 482745 h 517594"/>
                  <a:gd name="connsiteX1071" fmla="*/ 635175 w 1115495"/>
                  <a:gd name="connsiteY1071" fmla="*/ 481987 h 517594"/>
                  <a:gd name="connsiteX1072" fmla="*/ 639872 w 1115495"/>
                  <a:gd name="connsiteY1072" fmla="*/ 480169 h 517594"/>
                  <a:gd name="connsiteX1073" fmla="*/ 643660 w 1115495"/>
                  <a:gd name="connsiteY1073" fmla="*/ 478048 h 517594"/>
                  <a:gd name="connsiteX1074" fmla="*/ 647297 w 1115495"/>
                  <a:gd name="connsiteY1074" fmla="*/ 473957 h 517594"/>
                  <a:gd name="connsiteX1075" fmla="*/ 650176 w 1115495"/>
                  <a:gd name="connsiteY1075" fmla="*/ 471229 h 517594"/>
                  <a:gd name="connsiteX1076" fmla="*/ 652600 w 1115495"/>
                  <a:gd name="connsiteY1076" fmla="*/ 469563 h 517594"/>
                  <a:gd name="connsiteX1077" fmla="*/ 654570 w 1115495"/>
                  <a:gd name="connsiteY1077" fmla="*/ 469563 h 517594"/>
                  <a:gd name="connsiteX1078" fmla="*/ 655934 w 1115495"/>
                  <a:gd name="connsiteY1078" fmla="*/ 470926 h 517594"/>
                  <a:gd name="connsiteX1079" fmla="*/ 657146 w 1115495"/>
                  <a:gd name="connsiteY1079" fmla="*/ 471078 h 517594"/>
                  <a:gd name="connsiteX1080" fmla="*/ 657903 w 1115495"/>
                  <a:gd name="connsiteY1080" fmla="*/ 470472 h 517594"/>
                  <a:gd name="connsiteX1081" fmla="*/ 659267 w 1115495"/>
                  <a:gd name="connsiteY1081" fmla="*/ 468805 h 517594"/>
                  <a:gd name="connsiteX1082" fmla="*/ 660782 w 1115495"/>
                  <a:gd name="connsiteY1082" fmla="*/ 466835 h 517594"/>
                  <a:gd name="connsiteX1083" fmla="*/ 662146 w 1115495"/>
                  <a:gd name="connsiteY1083" fmla="*/ 465926 h 517594"/>
                  <a:gd name="connsiteX1084" fmla="*/ 664722 w 1115495"/>
                  <a:gd name="connsiteY1084" fmla="*/ 465472 h 517594"/>
                  <a:gd name="connsiteX1085" fmla="*/ 667146 w 1115495"/>
                  <a:gd name="connsiteY1085" fmla="*/ 464108 h 517594"/>
                  <a:gd name="connsiteX1086" fmla="*/ 665631 w 1115495"/>
                  <a:gd name="connsiteY1086" fmla="*/ 462593 h 517594"/>
                  <a:gd name="connsiteX1087" fmla="*/ 665631 w 1115495"/>
                  <a:gd name="connsiteY1087" fmla="*/ 461077 h 517594"/>
                  <a:gd name="connsiteX1088" fmla="*/ 667298 w 1115495"/>
                  <a:gd name="connsiteY1088" fmla="*/ 458502 h 517594"/>
                  <a:gd name="connsiteX1089" fmla="*/ 668661 w 1115495"/>
                  <a:gd name="connsiteY1089" fmla="*/ 457138 h 517594"/>
                  <a:gd name="connsiteX1090" fmla="*/ 669267 w 1115495"/>
                  <a:gd name="connsiteY1090" fmla="*/ 454562 h 517594"/>
                  <a:gd name="connsiteX1091" fmla="*/ 671237 w 1115495"/>
                  <a:gd name="connsiteY1091" fmla="*/ 452895 h 517594"/>
                  <a:gd name="connsiteX1092" fmla="*/ 673207 w 1115495"/>
                  <a:gd name="connsiteY1092" fmla="*/ 450168 h 517594"/>
                  <a:gd name="connsiteX1093" fmla="*/ 675631 w 1115495"/>
                  <a:gd name="connsiteY1093" fmla="*/ 448047 h 517594"/>
                  <a:gd name="connsiteX1094" fmla="*/ 680177 w 1115495"/>
                  <a:gd name="connsiteY1094" fmla="*/ 446380 h 517594"/>
                  <a:gd name="connsiteX1095" fmla="*/ 682753 w 1115495"/>
                  <a:gd name="connsiteY1095" fmla="*/ 446986 h 517594"/>
                  <a:gd name="connsiteX1096" fmla="*/ 685177 w 1115495"/>
                  <a:gd name="connsiteY1096" fmla="*/ 446531 h 517594"/>
                  <a:gd name="connsiteX1097" fmla="*/ 688813 w 1115495"/>
                  <a:gd name="connsiteY1097" fmla="*/ 445168 h 517594"/>
                  <a:gd name="connsiteX1098" fmla="*/ 689571 w 1115495"/>
                  <a:gd name="connsiteY1098" fmla="*/ 445016 h 517594"/>
                  <a:gd name="connsiteX1099" fmla="*/ 691087 w 1115495"/>
                  <a:gd name="connsiteY1099" fmla="*/ 445016 h 517594"/>
                  <a:gd name="connsiteX1100" fmla="*/ 700481 w 1115495"/>
                  <a:gd name="connsiteY1100" fmla="*/ 446986 h 517594"/>
                  <a:gd name="connsiteX1101" fmla="*/ 703663 w 1115495"/>
                  <a:gd name="connsiteY1101" fmla="*/ 447138 h 517594"/>
                  <a:gd name="connsiteX1102" fmla="*/ 710936 w 1115495"/>
                  <a:gd name="connsiteY1102" fmla="*/ 449713 h 517594"/>
                  <a:gd name="connsiteX1103" fmla="*/ 714269 w 1115495"/>
                  <a:gd name="connsiteY1103" fmla="*/ 450319 h 517594"/>
                  <a:gd name="connsiteX1104" fmla="*/ 716694 w 1115495"/>
                  <a:gd name="connsiteY1104" fmla="*/ 451077 h 517594"/>
                  <a:gd name="connsiteX1105" fmla="*/ 717754 w 1115495"/>
                  <a:gd name="connsiteY1105" fmla="*/ 452138 h 517594"/>
                  <a:gd name="connsiteX1106" fmla="*/ 719421 w 1115495"/>
                  <a:gd name="connsiteY1106" fmla="*/ 453501 h 517594"/>
                  <a:gd name="connsiteX1107" fmla="*/ 728663 w 1115495"/>
                  <a:gd name="connsiteY1107" fmla="*/ 454562 h 517594"/>
                  <a:gd name="connsiteX1108" fmla="*/ 731239 w 1115495"/>
                  <a:gd name="connsiteY1108" fmla="*/ 455320 h 517594"/>
                  <a:gd name="connsiteX1109" fmla="*/ 732148 w 1115495"/>
                  <a:gd name="connsiteY1109" fmla="*/ 456532 h 517594"/>
                  <a:gd name="connsiteX1110" fmla="*/ 734724 w 1115495"/>
                  <a:gd name="connsiteY1110" fmla="*/ 458047 h 517594"/>
                  <a:gd name="connsiteX1111" fmla="*/ 736997 w 1115495"/>
                  <a:gd name="connsiteY1111" fmla="*/ 458350 h 517594"/>
                  <a:gd name="connsiteX1112" fmla="*/ 735027 w 1115495"/>
                  <a:gd name="connsiteY1112" fmla="*/ 452289 h 517594"/>
                  <a:gd name="connsiteX1113" fmla="*/ 735785 w 1115495"/>
                  <a:gd name="connsiteY1113" fmla="*/ 448653 h 517594"/>
                  <a:gd name="connsiteX1114" fmla="*/ 738664 w 1115495"/>
                  <a:gd name="connsiteY1114" fmla="*/ 438804 h 517594"/>
                  <a:gd name="connsiteX1115" fmla="*/ 740179 w 1115495"/>
                  <a:gd name="connsiteY1115" fmla="*/ 437289 h 517594"/>
                  <a:gd name="connsiteX1116" fmla="*/ 743058 w 1115495"/>
                  <a:gd name="connsiteY1116" fmla="*/ 435925 h 517594"/>
                  <a:gd name="connsiteX1117" fmla="*/ 747603 w 1115495"/>
                  <a:gd name="connsiteY1117" fmla="*/ 434410 h 517594"/>
                  <a:gd name="connsiteX1118" fmla="*/ 749270 w 1115495"/>
                  <a:gd name="connsiteY1118" fmla="*/ 432289 h 517594"/>
                  <a:gd name="connsiteX1119" fmla="*/ 753058 w 1115495"/>
                  <a:gd name="connsiteY1119" fmla="*/ 432440 h 517594"/>
                  <a:gd name="connsiteX1120" fmla="*/ 754725 w 1115495"/>
                  <a:gd name="connsiteY1120" fmla="*/ 432289 h 517594"/>
                  <a:gd name="connsiteX1121" fmla="*/ 755786 w 1115495"/>
                  <a:gd name="connsiteY1121" fmla="*/ 431985 h 517594"/>
                  <a:gd name="connsiteX1122" fmla="*/ 756392 w 1115495"/>
                  <a:gd name="connsiteY1122" fmla="*/ 430773 h 517594"/>
                  <a:gd name="connsiteX1123" fmla="*/ 760634 w 1115495"/>
                  <a:gd name="connsiteY1123" fmla="*/ 432743 h 517594"/>
                  <a:gd name="connsiteX1124" fmla="*/ 767756 w 1115495"/>
                  <a:gd name="connsiteY1124" fmla="*/ 436834 h 517594"/>
                  <a:gd name="connsiteX1125" fmla="*/ 773059 w 1115495"/>
                  <a:gd name="connsiteY1125" fmla="*/ 439410 h 517594"/>
                  <a:gd name="connsiteX1126" fmla="*/ 779423 w 1115495"/>
                  <a:gd name="connsiteY1126" fmla="*/ 441834 h 517594"/>
                  <a:gd name="connsiteX1127" fmla="*/ 788211 w 1115495"/>
                  <a:gd name="connsiteY1127" fmla="*/ 444107 h 517594"/>
                  <a:gd name="connsiteX1128" fmla="*/ 795636 w 1115495"/>
                  <a:gd name="connsiteY1128" fmla="*/ 444865 h 517594"/>
                  <a:gd name="connsiteX1129" fmla="*/ 796848 w 1115495"/>
                  <a:gd name="connsiteY1129" fmla="*/ 444410 h 517594"/>
                  <a:gd name="connsiteX1130" fmla="*/ 799727 w 1115495"/>
                  <a:gd name="connsiteY1130" fmla="*/ 441077 h 517594"/>
                  <a:gd name="connsiteX1131" fmla="*/ 801090 w 1115495"/>
                  <a:gd name="connsiteY1131" fmla="*/ 440925 h 517594"/>
                  <a:gd name="connsiteX1132" fmla="*/ 803666 w 1115495"/>
                  <a:gd name="connsiteY1132" fmla="*/ 441228 h 517594"/>
                  <a:gd name="connsiteX1133" fmla="*/ 811545 w 1115495"/>
                  <a:gd name="connsiteY1133" fmla="*/ 441380 h 517594"/>
                  <a:gd name="connsiteX1134" fmla="*/ 819576 w 1115495"/>
                  <a:gd name="connsiteY1134" fmla="*/ 441531 h 517594"/>
                  <a:gd name="connsiteX1135" fmla="*/ 823364 w 1115495"/>
                  <a:gd name="connsiteY1135" fmla="*/ 441228 h 517594"/>
                  <a:gd name="connsiteX1136" fmla="*/ 831546 w 1115495"/>
                  <a:gd name="connsiteY1136" fmla="*/ 439865 h 517594"/>
                  <a:gd name="connsiteX1137" fmla="*/ 832758 w 1115495"/>
                  <a:gd name="connsiteY1137" fmla="*/ 439865 h 517594"/>
                  <a:gd name="connsiteX1138" fmla="*/ 834577 w 1115495"/>
                  <a:gd name="connsiteY1138" fmla="*/ 440016 h 517594"/>
                  <a:gd name="connsiteX1139" fmla="*/ 839425 w 1115495"/>
                  <a:gd name="connsiteY1139" fmla="*/ 441986 h 517594"/>
                  <a:gd name="connsiteX1140" fmla="*/ 843062 w 1115495"/>
                  <a:gd name="connsiteY1140" fmla="*/ 442289 h 517594"/>
                  <a:gd name="connsiteX1141" fmla="*/ 845486 w 1115495"/>
                  <a:gd name="connsiteY1141" fmla="*/ 442289 h 517594"/>
                  <a:gd name="connsiteX1142" fmla="*/ 847001 w 1115495"/>
                  <a:gd name="connsiteY1142" fmla="*/ 442440 h 517594"/>
                  <a:gd name="connsiteX1143" fmla="*/ 850032 w 1115495"/>
                  <a:gd name="connsiteY1143" fmla="*/ 442440 h 517594"/>
                  <a:gd name="connsiteX1144" fmla="*/ 854880 w 1115495"/>
                  <a:gd name="connsiteY1144" fmla="*/ 442743 h 517594"/>
                  <a:gd name="connsiteX1145" fmla="*/ 860941 w 1115495"/>
                  <a:gd name="connsiteY1145" fmla="*/ 443956 h 517594"/>
                  <a:gd name="connsiteX1146" fmla="*/ 868214 w 1115495"/>
                  <a:gd name="connsiteY1146" fmla="*/ 443804 h 517594"/>
                  <a:gd name="connsiteX1147" fmla="*/ 870638 w 1115495"/>
                  <a:gd name="connsiteY1147" fmla="*/ 443501 h 517594"/>
                  <a:gd name="connsiteX1148" fmla="*/ 874730 w 1115495"/>
                  <a:gd name="connsiteY1148" fmla="*/ 443653 h 517594"/>
                  <a:gd name="connsiteX1149" fmla="*/ 877911 w 1115495"/>
                  <a:gd name="connsiteY1149" fmla="*/ 444865 h 517594"/>
                  <a:gd name="connsiteX1150" fmla="*/ 882002 w 1115495"/>
                  <a:gd name="connsiteY1150" fmla="*/ 446077 h 517594"/>
                  <a:gd name="connsiteX1151" fmla="*/ 884578 w 1115495"/>
                  <a:gd name="connsiteY1151" fmla="*/ 446531 h 517594"/>
                  <a:gd name="connsiteX1152" fmla="*/ 886245 w 1115495"/>
                  <a:gd name="connsiteY1152" fmla="*/ 446835 h 517594"/>
                  <a:gd name="connsiteX1153" fmla="*/ 889275 w 1115495"/>
                  <a:gd name="connsiteY1153" fmla="*/ 446986 h 517594"/>
                  <a:gd name="connsiteX1154" fmla="*/ 891094 w 1115495"/>
                  <a:gd name="connsiteY1154" fmla="*/ 446531 h 517594"/>
                  <a:gd name="connsiteX1155" fmla="*/ 892154 w 1115495"/>
                  <a:gd name="connsiteY1155" fmla="*/ 447138 h 517594"/>
                  <a:gd name="connsiteX1156" fmla="*/ 893215 w 1115495"/>
                  <a:gd name="connsiteY1156" fmla="*/ 450168 h 517594"/>
                  <a:gd name="connsiteX1157" fmla="*/ 895791 w 1115495"/>
                  <a:gd name="connsiteY1157" fmla="*/ 452138 h 517594"/>
                  <a:gd name="connsiteX1158" fmla="*/ 897761 w 1115495"/>
                  <a:gd name="connsiteY1158" fmla="*/ 454108 h 517594"/>
                  <a:gd name="connsiteX1159" fmla="*/ 899428 w 1115495"/>
                  <a:gd name="connsiteY1159" fmla="*/ 456229 h 517594"/>
                  <a:gd name="connsiteX1160" fmla="*/ 901094 w 1115495"/>
                  <a:gd name="connsiteY1160" fmla="*/ 457138 h 517594"/>
                  <a:gd name="connsiteX1161" fmla="*/ 904125 w 1115495"/>
                  <a:gd name="connsiteY1161" fmla="*/ 457138 h 517594"/>
                  <a:gd name="connsiteX1162" fmla="*/ 909731 w 1115495"/>
                  <a:gd name="connsiteY1162" fmla="*/ 457744 h 517594"/>
                  <a:gd name="connsiteX1163" fmla="*/ 912913 w 1115495"/>
                  <a:gd name="connsiteY1163" fmla="*/ 458502 h 517594"/>
                  <a:gd name="connsiteX1164" fmla="*/ 917004 w 1115495"/>
                  <a:gd name="connsiteY1164" fmla="*/ 462138 h 517594"/>
                  <a:gd name="connsiteX1165" fmla="*/ 920792 w 1115495"/>
                  <a:gd name="connsiteY1165" fmla="*/ 465775 h 517594"/>
                  <a:gd name="connsiteX1166" fmla="*/ 921398 w 1115495"/>
                  <a:gd name="connsiteY1166" fmla="*/ 465169 h 517594"/>
                  <a:gd name="connsiteX1167" fmla="*/ 922156 w 1115495"/>
                  <a:gd name="connsiteY1167" fmla="*/ 464259 h 517594"/>
                  <a:gd name="connsiteX1168" fmla="*/ 922004 w 1115495"/>
                  <a:gd name="connsiteY1168" fmla="*/ 463047 h 517594"/>
                  <a:gd name="connsiteX1169" fmla="*/ 920640 w 1115495"/>
                  <a:gd name="connsiteY1169" fmla="*/ 458956 h 517594"/>
                  <a:gd name="connsiteX1170" fmla="*/ 919882 w 1115495"/>
                  <a:gd name="connsiteY1170" fmla="*/ 455017 h 517594"/>
                  <a:gd name="connsiteX1171" fmla="*/ 919428 w 1115495"/>
                  <a:gd name="connsiteY1171" fmla="*/ 451532 h 517594"/>
                  <a:gd name="connsiteX1172" fmla="*/ 919580 w 1115495"/>
                  <a:gd name="connsiteY1172" fmla="*/ 450168 h 517594"/>
                  <a:gd name="connsiteX1173" fmla="*/ 920640 w 1115495"/>
                  <a:gd name="connsiteY1173" fmla="*/ 447895 h 517594"/>
                  <a:gd name="connsiteX1174" fmla="*/ 922004 w 1115495"/>
                  <a:gd name="connsiteY1174" fmla="*/ 445774 h 517594"/>
                  <a:gd name="connsiteX1175" fmla="*/ 926701 w 1115495"/>
                  <a:gd name="connsiteY1175" fmla="*/ 443804 h 517594"/>
                  <a:gd name="connsiteX1176" fmla="*/ 929883 w 1115495"/>
                  <a:gd name="connsiteY1176" fmla="*/ 443198 h 517594"/>
                  <a:gd name="connsiteX1177" fmla="*/ 930035 w 1115495"/>
                  <a:gd name="connsiteY1177" fmla="*/ 441986 h 517594"/>
                  <a:gd name="connsiteX1178" fmla="*/ 927459 w 1115495"/>
                  <a:gd name="connsiteY1178" fmla="*/ 441228 h 517594"/>
                  <a:gd name="connsiteX1179" fmla="*/ 925640 w 1115495"/>
                  <a:gd name="connsiteY1179" fmla="*/ 440016 h 517594"/>
                  <a:gd name="connsiteX1180" fmla="*/ 925337 w 1115495"/>
                  <a:gd name="connsiteY1180" fmla="*/ 439259 h 517594"/>
                  <a:gd name="connsiteX1181" fmla="*/ 925489 w 1115495"/>
                  <a:gd name="connsiteY1181" fmla="*/ 438501 h 517594"/>
                  <a:gd name="connsiteX1182" fmla="*/ 925944 w 1115495"/>
                  <a:gd name="connsiteY1182" fmla="*/ 437743 h 517594"/>
                  <a:gd name="connsiteX1183" fmla="*/ 929125 w 1115495"/>
                  <a:gd name="connsiteY1183" fmla="*/ 436380 h 517594"/>
                  <a:gd name="connsiteX1184" fmla="*/ 932156 w 1115495"/>
                  <a:gd name="connsiteY1184" fmla="*/ 435016 h 517594"/>
                  <a:gd name="connsiteX1185" fmla="*/ 935792 w 1115495"/>
                  <a:gd name="connsiteY1185" fmla="*/ 435925 h 517594"/>
                  <a:gd name="connsiteX1186" fmla="*/ 936550 w 1115495"/>
                  <a:gd name="connsiteY1186" fmla="*/ 435319 h 517594"/>
                  <a:gd name="connsiteX1187" fmla="*/ 936702 w 1115495"/>
                  <a:gd name="connsiteY1187" fmla="*/ 433955 h 517594"/>
                  <a:gd name="connsiteX1188" fmla="*/ 935944 w 1115495"/>
                  <a:gd name="connsiteY1188" fmla="*/ 432592 h 517594"/>
                  <a:gd name="connsiteX1189" fmla="*/ 935186 w 1115495"/>
                  <a:gd name="connsiteY1189" fmla="*/ 430319 h 517594"/>
                  <a:gd name="connsiteX1190" fmla="*/ 933520 w 1115495"/>
                  <a:gd name="connsiteY1190" fmla="*/ 429107 h 517594"/>
                  <a:gd name="connsiteX1191" fmla="*/ 933520 w 1115495"/>
                  <a:gd name="connsiteY1191" fmla="*/ 427743 h 517594"/>
                  <a:gd name="connsiteX1192" fmla="*/ 934580 w 1115495"/>
                  <a:gd name="connsiteY1192" fmla="*/ 425319 h 517594"/>
                  <a:gd name="connsiteX1193" fmla="*/ 933065 w 1115495"/>
                  <a:gd name="connsiteY1193" fmla="*/ 420773 h 517594"/>
                  <a:gd name="connsiteX1194" fmla="*/ 931550 w 1115495"/>
                  <a:gd name="connsiteY1194" fmla="*/ 416682 h 517594"/>
                  <a:gd name="connsiteX1195" fmla="*/ 928823 w 1115495"/>
                  <a:gd name="connsiteY1195" fmla="*/ 409712 h 517594"/>
                  <a:gd name="connsiteX1196" fmla="*/ 927004 w 1115495"/>
                  <a:gd name="connsiteY1196" fmla="*/ 407742 h 517594"/>
                  <a:gd name="connsiteX1197" fmla="*/ 926095 w 1115495"/>
                  <a:gd name="connsiteY1197" fmla="*/ 404560 h 517594"/>
                  <a:gd name="connsiteX1198" fmla="*/ 925035 w 1115495"/>
                  <a:gd name="connsiteY1198" fmla="*/ 402894 h 517594"/>
                  <a:gd name="connsiteX1199" fmla="*/ 925186 w 1115495"/>
                  <a:gd name="connsiteY1199" fmla="*/ 400469 h 517594"/>
                  <a:gd name="connsiteX1200" fmla="*/ 925337 w 1115495"/>
                  <a:gd name="connsiteY1200" fmla="*/ 398802 h 517594"/>
                  <a:gd name="connsiteX1201" fmla="*/ 925035 w 1115495"/>
                  <a:gd name="connsiteY1201" fmla="*/ 395318 h 517594"/>
                  <a:gd name="connsiteX1202" fmla="*/ 924580 w 1115495"/>
                  <a:gd name="connsiteY1202" fmla="*/ 391530 h 517594"/>
                  <a:gd name="connsiteX1203" fmla="*/ 925035 w 1115495"/>
                  <a:gd name="connsiteY1203" fmla="*/ 387741 h 517594"/>
                  <a:gd name="connsiteX1204" fmla="*/ 925944 w 1115495"/>
                  <a:gd name="connsiteY1204" fmla="*/ 385166 h 517594"/>
                  <a:gd name="connsiteX1205" fmla="*/ 925640 w 1115495"/>
                  <a:gd name="connsiteY1205" fmla="*/ 384256 h 517594"/>
                  <a:gd name="connsiteX1206" fmla="*/ 926095 w 1115495"/>
                  <a:gd name="connsiteY1206" fmla="*/ 383499 h 517594"/>
                  <a:gd name="connsiteX1207" fmla="*/ 927610 w 1115495"/>
                  <a:gd name="connsiteY1207" fmla="*/ 383196 h 517594"/>
                  <a:gd name="connsiteX1208" fmla="*/ 928368 w 1115495"/>
                  <a:gd name="connsiteY1208" fmla="*/ 382135 h 517594"/>
                  <a:gd name="connsiteX1209" fmla="*/ 927610 w 1115495"/>
                  <a:gd name="connsiteY1209" fmla="*/ 381075 h 517594"/>
                  <a:gd name="connsiteX1210" fmla="*/ 925035 w 1115495"/>
                  <a:gd name="connsiteY1210" fmla="*/ 380317 h 517594"/>
                  <a:gd name="connsiteX1211" fmla="*/ 922156 w 1115495"/>
                  <a:gd name="connsiteY1211" fmla="*/ 379105 h 517594"/>
                  <a:gd name="connsiteX1212" fmla="*/ 918671 w 1115495"/>
                  <a:gd name="connsiteY1212" fmla="*/ 379256 h 517594"/>
                  <a:gd name="connsiteX1213" fmla="*/ 915034 w 1115495"/>
                  <a:gd name="connsiteY1213" fmla="*/ 379408 h 517594"/>
                  <a:gd name="connsiteX1214" fmla="*/ 913216 w 1115495"/>
                  <a:gd name="connsiteY1214" fmla="*/ 378499 h 517594"/>
                  <a:gd name="connsiteX1215" fmla="*/ 911701 w 1115495"/>
                  <a:gd name="connsiteY1215" fmla="*/ 377287 h 517594"/>
                  <a:gd name="connsiteX1216" fmla="*/ 911549 w 1115495"/>
                  <a:gd name="connsiteY1216" fmla="*/ 376529 h 517594"/>
                  <a:gd name="connsiteX1217" fmla="*/ 913671 w 1115495"/>
                  <a:gd name="connsiteY1217" fmla="*/ 374559 h 517594"/>
                  <a:gd name="connsiteX1218" fmla="*/ 916701 w 1115495"/>
                  <a:gd name="connsiteY1218" fmla="*/ 372438 h 517594"/>
                  <a:gd name="connsiteX1219" fmla="*/ 921398 w 1115495"/>
                  <a:gd name="connsiteY1219" fmla="*/ 371529 h 517594"/>
                  <a:gd name="connsiteX1220" fmla="*/ 926549 w 1115495"/>
                  <a:gd name="connsiteY1220" fmla="*/ 370165 h 517594"/>
                  <a:gd name="connsiteX1221" fmla="*/ 929125 w 1115495"/>
                  <a:gd name="connsiteY1221" fmla="*/ 369104 h 517594"/>
                  <a:gd name="connsiteX1222" fmla="*/ 932611 w 1115495"/>
                  <a:gd name="connsiteY1222" fmla="*/ 368347 h 517594"/>
                  <a:gd name="connsiteX1223" fmla="*/ 936550 w 1115495"/>
                  <a:gd name="connsiteY1223" fmla="*/ 368044 h 517594"/>
                  <a:gd name="connsiteX1224" fmla="*/ 938520 w 1115495"/>
                  <a:gd name="connsiteY1224" fmla="*/ 368195 h 517594"/>
                  <a:gd name="connsiteX1225" fmla="*/ 943671 w 1115495"/>
                  <a:gd name="connsiteY1225" fmla="*/ 366832 h 517594"/>
                  <a:gd name="connsiteX1226" fmla="*/ 951702 w 1115495"/>
                  <a:gd name="connsiteY1226" fmla="*/ 364256 h 517594"/>
                  <a:gd name="connsiteX1227" fmla="*/ 958975 w 1115495"/>
                  <a:gd name="connsiteY1227" fmla="*/ 362134 h 517594"/>
                  <a:gd name="connsiteX1228" fmla="*/ 961399 w 1115495"/>
                  <a:gd name="connsiteY1228" fmla="*/ 360771 h 517594"/>
                  <a:gd name="connsiteX1229" fmla="*/ 963218 w 1115495"/>
                  <a:gd name="connsiteY1229" fmla="*/ 362134 h 517594"/>
                  <a:gd name="connsiteX1230" fmla="*/ 964127 w 1115495"/>
                  <a:gd name="connsiteY1230" fmla="*/ 365013 h 517594"/>
                  <a:gd name="connsiteX1231" fmla="*/ 966248 w 1115495"/>
                  <a:gd name="connsiteY1231" fmla="*/ 366529 h 517594"/>
                  <a:gd name="connsiteX1232" fmla="*/ 968369 w 1115495"/>
                  <a:gd name="connsiteY1232" fmla="*/ 367286 h 517594"/>
                  <a:gd name="connsiteX1233" fmla="*/ 969581 w 1115495"/>
                  <a:gd name="connsiteY1233" fmla="*/ 367286 h 517594"/>
                  <a:gd name="connsiteX1234" fmla="*/ 973218 w 1115495"/>
                  <a:gd name="connsiteY1234" fmla="*/ 366226 h 517594"/>
                  <a:gd name="connsiteX1235" fmla="*/ 977157 w 1115495"/>
                  <a:gd name="connsiteY1235" fmla="*/ 365468 h 517594"/>
                  <a:gd name="connsiteX1236" fmla="*/ 978673 w 1115495"/>
                  <a:gd name="connsiteY1236" fmla="*/ 365922 h 517594"/>
                  <a:gd name="connsiteX1237" fmla="*/ 980642 w 1115495"/>
                  <a:gd name="connsiteY1237" fmla="*/ 367438 h 517594"/>
                  <a:gd name="connsiteX1238" fmla="*/ 982915 w 1115495"/>
                  <a:gd name="connsiteY1238" fmla="*/ 368801 h 517594"/>
                  <a:gd name="connsiteX1239" fmla="*/ 984128 w 1115495"/>
                  <a:gd name="connsiteY1239" fmla="*/ 368801 h 517594"/>
                  <a:gd name="connsiteX1240" fmla="*/ 985188 w 1115495"/>
                  <a:gd name="connsiteY1240" fmla="*/ 367741 h 517594"/>
                  <a:gd name="connsiteX1241" fmla="*/ 986249 w 1115495"/>
                  <a:gd name="connsiteY1241" fmla="*/ 365619 h 517594"/>
                  <a:gd name="connsiteX1242" fmla="*/ 986855 w 1115495"/>
                  <a:gd name="connsiteY1242" fmla="*/ 363044 h 517594"/>
                  <a:gd name="connsiteX1243" fmla="*/ 987007 w 1115495"/>
                  <a:gd name="connsiteY1243" fmla="*/ 360316 h 517594"/>
                  <a:gd name="connsiteX1244" fmla="*/ 986552 w 1115495"/>
                  <a:gd name="connsiteY1244" fmla="*/ 358650 h 517594"/>
                  <a:gd name="connsiteX1245" fmla="*/ 985794 w 1115495"/>
                  <a:gd name="connsiteY1245" fmla="*/ 358043 h 517594"/>
                  <a:gd name="connsiteX1246" fmla="*/ 982158 w 1115495"/>
                  <a:gd name="connsiteY1246" fmla="*/ 356983 h 517594"/>
                  <a:gd name="connsiteX1247" fmla="*/ 978673 w 1115495"/>
                  <a:gd name="connsiteY1247" fmla="*/ 355316 h 517594"/>
                  <a:gd name="connsiteX1248" fmla="*/ 978218 w 1115495"/>
                  <a:gd name="connsiteY1248" fmla="*/ 353801 h 517594"/>
                  <a:gd name="connsiteX1249" fmla="*/ 978370 w 1115495"/>
                  <a:gd name="connsiteY1249" fmla="*/ 352740 h 517594"/>
                  <a:gd name="connsiteX1250" fmla="*/ 979279 w 1115495"/>
                  <a:gd name="connsiteY1250" fmla="*/ 350164 h 517594"/>
                  <a:gd name="connsiteX1251" fmla="*/ 981552 w 1115495"/>
                  <a:gd name="connsiteY1251" fmla="*/ 345316 h 517594"/>
                  <a:gd name="connsiteX1252" fmla="*/ 983824 w 1115495"/>
                  <a:gd name="connsiteY1252" fmla="*/ 338649 h 517594"/>
                  <a:gd name="connsiteX1253" fmla="*/ 985037 w 1115495"/>
                  <a:gd name="connsiteY1253" fmla="*/ 333497 h 517594"/>
                  <a:gd name="connsiteX1254" fmla="*/ 988825 w 1115495"/>
                  <a:gd name="connsiteY1254" fmla="*/ 325769 h 517594"/>
                  <a:gd name="connsiteX1255" fmla="*/ 991704 w 1115495"/>
                  <a:gd name="connsiteY1255" fmla="*/ 317587 h 517594"/>
                  <a:gd name="connsiteX1256" fmla="*/ 996552 w 1115495"/>
                  <a:gd name="connsiteY1256" fmla="*/ 305769 h 517594"/>
                  <a:gd name="connsiteX1257" fmla="*/ 997310 w 1115495"/>
                  <a:gd name="connsiteY1257" fmla="*/ 303496 h 517594"/>
                  <a:gd name="connsiteX1258" fmla="*/ 997764 w 1115495"/>
                  <a:gd name="connsiteY1258" fmla="*/ 299708 h 517594"/>
                  <a:gd name="connsiteX1259" fmla="*/ 998067 w 1115495"/>
                  <a:gd name="connsiteY1259" fmla="*/ 298193 h 517594"/>
                  <a:gd name="connsiteX1260" fmla="*/ 999734 w 1115495"/>
                  <a:gd name="connsiteY1260" fmla="*/ 297435 h 517594"/>
                  <a:gd name="connsiteX1261" fmla="*/ 1002613 w 1115495"/>
                  <a:gd name="connsiteY1261" fmla="*/ 298193 h 517594"/>
                  <a:gd name="connsiteX1262" fmla="*/ 1009431 w 1115495"/>
                  <a:gd name="connsiteY1262" fmla="*/ 300920 h 517594"/>
                  <a:gd name="connsiteX1263" fmla="*/ 1014583 w 1115495"/>
                  <a:gd name="connsiteY1263" fmla="*/ 303193 h 517594"/>
                  <a:gd name="connsiteX1264" fmla="*/ 1016704 w 1115495"/>
                  <a:gd name="connsiteY1264" fmla="*/ 303951 h 517594"/>
                  <a:gd name="connsiteX1265" fmla="*/ 1019886 w 1115495"/>
                  <a:gd name="connsiteY1265" fmla="*/ 304708 h 517594"/>
                  <a:gd name="connsiteX1266" fmla="*/ 1024887 w 1115495"/>
                  <a:gd name="connsiteY1266" fmla="*/ 305617 h 517594"/>
                  <a:gd name="connsiteX1267" fmla="*/ 1027766 w 1115495"/>
                  <a:gd name="connsiteY1267" fmla="*/ 305314 h 517594"/>
                  <a:gd name="connsiteX1268" fmla="*/ 1030341 w 1115495"/>
                  <a:gd name="connsiteY1268" fmla="*/ 304708 h 517594"/>
                  <a:gd name="connsiteX1269" fmla="*/ 1033675 w 1115495"/>
                  <a:gd name="connsiteY1269" fmla="*/ 304708 h 517594"/>
                  <a:gd name="connsiteX1270" fmla="*/ 1038978 w 1115495"/>
                  <a:gd name="connsiteY1270" fmla="*/ 305466 h 517594"/>
                  <a:gd name="connsiteX1271" fmla="*/ 1040645 w 1115495"/>
                  <a:gd name="connsiteY1271" fmla="*/ 305466 h 517594"/>
                  <a:gd name="connsiteX1272" fmla="*/ 1042614 w 1115495"/>
                  <a:gd name="connsiteY1272" fmla="*/ 305617 h 517594"/>
                  <a:gd name="connsiteX1273" fmla="*/ 1044130 w 1115495"/>
                  <a:gd name="connsiteY1273" fmla="*/ 306829 h 517594"/>
                  <a:gd name="connsiteX1274" fmla="*/ 1044887 w 1115495"/>
                  <a:gd name="connsiteY1274" fmla="*/ 309405 h 517594"/>
                  <a:gd name="connsiteX1275" fmla="*/ 1045948 w 1115495"/>
                  <a:gd name="connsiteY1275" fmla="*/ 310617 h 517594"/>
                  <a:gd name="connsiteX1276" fmla="*/ 1047918 w 1115495"/>
                  <a:gd name="connsiteY1276" fmla="*/ 310163 h 517594"/>
                  <a:gd name="connsiteX1277" fmla="*/ 1052160 w 1115495"/>
                  <a:gd name="connsiteY1277" fmla="*/ 307890 h 517594"/>
                  <a:gd name="connsiteX1278" fmla="*/ 1054888 w 1115495"/>
                  <a:gd name="connsiteY1278" fmla="*/ 306072 h 517594"/>
                  <a:gd name="connsiteX1279" fmla="*/ 1058221 w 1115495"/>
                  <a:gd name="connsiteY1279" fmla="*/ 303496 h 517594"/>
                  <a:gd name="connsiteX1280" fmla="*/ 1061555 w 1115495"/>
                  <a:gd name="connsiteY1280" fmla="*/ 303193 h 517594"/>
                  <a:gd name="connsiteX1281" fmla="*/ 1065040 w 1115495"/>
                  <a:gd name="connsiteY1281" fmla="*/ 302587 h 517594"/>
                  <a:gd name="connsiteX1282" fmla="*/ 1066252 w 1115495"/>
                  <a:gd name="connsiteY1282" fmla="*/ 301375 h 517594"/>
                  <a:gd name="connsiteX1283" fmla="*/ 1067615 w 1115495"/>
                  <a:gd name="connsiteY1283" fmla="*/ 298344 h 517594"/>
                  <a:gd name="connsiteX1284" fmla="*/ 1069737 w 1115495"/>
                  <a:gd name="connsiteY1284" fmla="*/ 296071 h 517594"/>
                  <a:gd name="connsiteX1285" fmla="*/ 1070040 w 1115495"/>
                  <a:gd name="connsiteY1285" fmla="*/ 293193 h 517594"/>
                  <a:gd name="connsiteX1286" fmla="*/ 1069282 w 1115495"/>
                  <a:gd name="connsiteY1286" fmla="*/ 291223 h 517594"/>
                  <a:gd name="connsiteX1287" fmla="*/ 1067767 w 1115495"/>
                  <a:gd name="connsiteY1287" fmla="*/ 287889 h 517594"/>
                  <a:gd name="connsiteX1288" fmla="*/ 1067767 w 1115495"/>
                  <a:gd name="connsiteY1288" fmla="*/ 285617 h 517594"/>
                  <a:gd name="connsiteX1289" fmla="*/ 1067010 w 1115495"/>
                  <a:gd name="connsiteY1289" fmla="*/ 279101 h 517594"/>
                  <a:gd name="connsiteX1290" fmla="*/ 1066100 w 1115495"/>
                  <a:gd name="connsiteY1290" fmla="*/ 273192 h 517594"/>
                  <a:gd name="connsiteX1291" fmla="*/ 1067161 w 1115495"/>
                  <a:gd name="connsiteY1291" fmla="*/ 268495 h 517594"/>
                  <a:gd name="connsiteX1292" fmla="*/ 1068979 w 1115495"/>
                  <a:gd name="connsiteY1292" fmla="*/ 263191 h 517594"/>
                  <a:gd name="connsiteX1293" fmla="*/ 1069737 w 1115495"/>
                  <a:gd name="connsiteY1293" fmla="*/ 261525 h 517594"/>
                  <a:gd name="connsiteX1294" fmla="*/ 1070798 w 1115495"/>
                  <a:gd name="connsiteY1294" fmla="*/ 259403 h 517594"/>
                  <a:gd name="connsiteX1295" fmla="*/ 1072313 w 1115495"/>
                  <a:gd name="connsiteY1295" fmla="*/ 256828 h 517594"/>
                  <a:gd name="connsiteX1296" fmla="*/ 1074586 w 1115495"/>
                  <a:gd name="connsiteY1296" fmla="*/ 256070 h 517594"/>
                  <a:gd name="connsiteX1297" fmla="*/ 1080798 w 1115495"/>
                  <a:gd name="connsiteY1297" fmla="*/ 255464 h 517594"/>
                  <a:gd name="connsiteX1298" fmla="*/ 1086555 w 1115495"/>
                  <a:gd name="connsiteY1298" fmla="*/ 254403 h 517594"/>
                  <a:gd name="connsiteX1299" fmla="*/ 1089434 w 1115495"/>
                  <a:gd name="connsiteY1299" fmla="*/ 253343 h 517594"/>
                  <a:gd name="connsiteX1300" fmla="*/ 1092465 w 1115495"/>
                  <a:gd name="connsiteY1300" fmla="*/ 252737 h 517594"/>
                  <a:gd name="connsiteX1301" fmla="*/ 1094283 w 1115495"/>
                  <a:gd name="connsiteY1301" fmla="*/ 251979 h 517594"/>
                  <a:gd name="connsiteX1302" fmla="*/ 1097465 w 1115495"/>
                  <a:gd name="connsiteY1302" fmla="*/ 248191 h 517594"/>
                  <a:gd name="connsiteX1303" fmla="*/ 1098980 w 1115495"/>
                  <a:gd name="connsiteY1303" fmla="*/ 246070 h 517594"/>
                  <a:gd name="connsiteX1304" fmla="*/ 1100041 w 1115495"/>
                  <a:gd name="connsiteY1304" fmla="*/ 240312 h 517594"/>
                  <a:gd name="connsiteX1305" fmla="*/ 1099284 w 1115495"/>
                  <a:gd name="connsiteY1305" fmla="*/ 237584 h 517594"/>
                  <a:gd name="connsiteX1306" fmla="*/ 1099889 w 1115495"/>
                  <a:gd name="connsiteY1306" fmla="*/ 235160 h 517594"/>
                  <a:gd name="connsiteX1307" fmla="*/ 1101405 w 1115495"/>
                  <a:gd name="connsiteY1307" fmla="*/ 233645 h 517594"/>
                  <a:gd name="connsiteX1308" fmla="*/ 1103526 w 1115495"/>
                  <a:gd name="connsiteY1308" fmla="*/ 232130 h 517594"/>
                  <a:gd name="connsiteX1309" fmla="*/ 1104890 w 1115495"/>
                  <a:gd name="connsiteY1309" fmla="*/ 231827 h 517594"/>
                  <a:gd name="connsiteX1310" fmla="*/ 1107920 w 1115495"/>
                  <a:gd name="connsiteY1310" fmla="*/ 231372 h 517594"/>
                  <a:gd name="connsiteX1311" fmla="*/ 1112920 w 1115495"/>
                  <a:gd name="connsiteY1311" fmla="*/ 231524 h 517594"/>
                  <a:gd name="connsiteX1312" fmla="*/ 1115496 w 1115495"/>
                  <a:gd name="connsiteY1312" fmla="*/ 232281 h 517594"/>
                  <a:gd name="connsiteX1313" fmla="*/ 1113375 w 1115495"/>
                  <a:gd name="connsiteY1313" fmla="*/ 229099 h 5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Lst>
                <a:rect l="l" t="t" r="r" b="b"/>
                <a:pathLst>
                  <a:path w="1115495" h="517594">
                    <a:moveTo>
                      <a:pt x="166218" y="358346"/>
                    </a:moveTo>
                    <a:lnTo>
                      <a:pt x="166521" y="356680"/>
                    </a:lnTo>
                    <a:lnTo>
                      <a:pt x="165612" y="354710"/>
                    </a:lnTo>
                    <a:lnTo>
                      <a:pt x="164248" y="354407"/>
                    </a:lnTo>
                    <a:lnTo>
                      <a:pt x="162733" y="356225"/>
                    </a:lnTo>
                    <a:lnTo>
                      <a:pt x="163946" y="357740"/>
                    </a:lnTo>
                    <a:lnTo>
                      <a:pt x="165764" y="358650"/>
                    </a:lnTo>
                    <a:lnTo>
                      <a:pt x="166218" y="358346"/>
                    </a:lnTo>
                    <a:close/>
                    <a:moveTo>
                      <a:pt x="93943" y="374105"/>
                    </a:moveTo>
                    <a:lnTo>
                      <a:pt x="94094" y="371983"/>
                    </a:lnTo>
                    <a:lnTo>
                      <a:pt x="96064" y="370317"/>
                    </a:lnTo>
                    <a:lnTo>
                      <a:pt x="95913" y="369559"/>
                    </a:lnTo>
                    <a:lnTo>
                      <a:pt x="94549" y="370014"/>
                    </a:lnTo>
                    <a:lnTo>
                      <a:pt x="93489" y="370771"/>
                    </a:lnTo>
                    <a:lnTo>
                      <a:pt x="92731" y="374408"/>
                    </a:lnTo>
                    <a:lnTo>
                      <a:pt x="95458" y="378044"/>
                    </a:lnTo>
                    <a:lnTo>
                      <a:pt x="96973" y="378196"/>
                    </a:lnTo>
                    <a:lnTo>
                      <a:pt x="97882" y="377287"/>
                    </a:lnTo>
                    <a:lnTo>
                      <a:pt x="95458" y="376377"/>
                    </a:lnTo>
                    <a:lnTo>
                      <a:pt x="93943" y="374105"/>
                    </a:lnTo>
                    <a:close/>
                    <a:moveTo>
                      <a:pt x="350165" y="358953"/>
                    </a:moveTo>
                    <a:lnTo>
                      <a:pt x="349710" y="356377"/>
                    </a:lnTo>
                    <a:lnTo>
                      <a:pt x="349861" y="354104"/>
                    </a:lnTo>
                    <a:lnTo>
                      <a:pt x="349559" y="353043"/>
                    </a:lnTo>
                    <a:lnTo>
                      <a:pt x="348649" y="353043"/>
                    </a:lnTo>
                    <a:lnTo>
                      <a:pt x="348195" y="352437"/>
                    </a:lnTo>
                    <a:lnTo>
                      <a:pt x="348043" y="351074"/>
                    </a:lnTo>
                    <a:lnTo>
                      <a:pt x="347437" y="350164"/>
                    </a:lnTo>
                    <a:lnTo>
                      <a:pt x="346225" y="349558"/>
                    </a:lnTo>
                    <a:lnTo>
                      <a:pt x="345316" y="348498"/>
                    </a:lnTo>
                    <a:lnTo>
                      <a:pt x="343649" y="345770"/>
                    </a:lnTo>
                    <a:lnTo>
                      <a:pt x="342740" y="345164"/>
                    </a:lnTo>
                    <a:lnTo>
                      <a:pt x="341983" y="345922"/>
                    </a:lnTo>
                    <a:lnTo>
                      <a:pt x="341225" y="348043"/>
                    </a:lnTo>
                    <a:lnTo>
                      <a:pt x="340619" y="348952"/>
                    </a:lnTo>
                    <a:lnTo>
                      <a:pt x="340164" y="348801"/>
                    </a:lnTo>
                    <a:lnTo>
                      <a:pt x="340013" y="348043"/>
                    </a:lnTo>
                    <a:lnTo>
                      <a:pt x="340013" y="346679"/>
                    </a:lnTo>
                    <a:lnTo>
                      <a:pt x="339710" y="346073"/>
                    </a:lnTo>
                    <a:lnTo>
                      <a:pt x="338952" y="346225"/>
                    </a:lnTo>
                    <a:lnTo>
                      <a:pt x="338497" y="347437"/>
                    </a:lnTo>
                    <a:lnTo>
                      <a:pt x="338194" y="349861"/>
                    </a:lnTo>
                    <a:lnTo>
                      <a:pt x="336831" y="351983"/>
                    </a:lnTo>
                    <a:lnTo>
                      <a:pt x="334406" y="353952"/>
                    </a:lnTo>
                    <a:lnTo>
                      <a:pt x="332739" y="355922"/>
                    </a:lnTo>
                    <a:lnTo>
                      <a:pt x="332437" y="356528"/>
                    </a:lnTo>
                    <a:lnTo>
                      <a:pt x="334104" y="357437"/>
                    </a:lnTo>
                    <a:lnTo>
                      <a:pt x="337892" y="359710"/>
                    </a:lnTo>
                    <a:lnTo>
                      <a:pt x="341680" y="361983"/>
                    </a:lnTo>
                    <a:lnTo>
                      <a:pt x="345468" y="364256"/>
                    </a:lnTo>
                    <a:lnTo>
                      <a:pt x="349256" y="366529"/>
                    </a:lnTo>
                    <a:lnTo>
                      <a:pt x="351377" y="367741"/>
                    </a:lnTo>
                    <a:lnTo>
                      <a:pt x="351680" y="366983"/>
                    </a:lnTo>
                    <a:lnTo>
                      <a:pt x="351983" y="364862"/>
                    </a:lnTo>
                    <a:lnTo>
                      <a:pt x="351680" y="362286"/>
                    </a:lnTo>
                    <a:lnTo>
                      <a:pt x="350165" y="358953"/>
                    </a:lnTo>
                    <a:close/>
                    <a:moveTo>
                      <a:pt x="101367" y="373196"/>
                    </a:moveTo>
                    <a:lnTo>
                      <a:pt x="101822" y="372286"/>
                    </a:lnTo>
                    <a:lnTo>
                      <a:pt x="102277" y="369407"/>
                    </a:lnTo>
                    <a:lnTo>
                      <a:pt x="100761" y="369710"/>
                    </a:lnTo>
                    <a:lnTo>
                      <a:pt x="99701" y="371529"/>
                    </a:lnTo>
                    <a:lnTo>
                      <a:pt x="100307" y="373650"/>
                    </a:lnTo>
                    <a:lnTo>
                      <a:pt x="101367" y="373196"/>
                    </a:lnTo>
                    <a:close/>
                    <a:moveTo>
                      <a:pt x="1113375" y="229099"/>
                    </a:moveTo>
                    <a:lnTo>
                      <a:pt x="1111708" y="226675"/>
                    </a:lnTo>
                    <a:lnTo>
                      <a:pt x="1109435" y="225766"/>
                    </a:lnTo>
                    <a:lnTo>
                      <a:pt x="1107314" y="225311"/>
                    </a:lnTo>
                    <a:lnTo>
                      <a:pt x="1105344" y="224099"/>
                    </a:lnTo>
                    <a:lnTo>
                      <a:pt x="1103981" y="222887"/>
                    </a:lnTo>
                    <a:lnTo>
                      <a:pt x="1100193" y="216978"/>
                    </a:lnTo>
                    <a:lnTo>
                      <a:pt x="1097465" y="214402"/>
                    </a:lnTo>
                    <a:lnTo>
                      <a:pt x="1095041" y="214250"/>
                    </a:lnTo>
                    <a:lnTo>
                      <a:pt x="1094738" y="212584"/>
                    </a:lnTo>
                    <a:lnTo>
                      <a:pt x="1096101" y="210917"/>
                    </a:lnTo>
                    <a:lnTo>
                      <a:pt x="1097919" y="209553"/>
                    </a:lnTo>
                    <a:lnTo>
                      <a:pt x="1097919" y="207735"/>
                    </a:lnTo>
                    <a:lnTo>
                      <a:pt x="1096405" y="206674"/>
                    </a:lnTo>
                    <a:lnTo>
                      <a:pt x="1094586" y="206977"/>
                    </a:lnTo>
                    <a:lnTo>
                      <a:pt x="1092162" y="209099"/>
                    </a:lnTo>
                    <a:lnTo>
                      <a:pt x="1089283" y="211523"/>
                    </a:lnTo>
                    <a:lnTo>
                      <a:pt x="1085798" y="213341"/>
                    </a:lnTo>
                    <a:lnTo>
                      <a:pt x="1084434" y="214856"/>
                    </a:lnTo>
                    <a:lnTo>
                      <a:pt x="1082767" y="216523"/>
                    </a:lnTo>
                    <a:lnTo>
                      <a:pt x="1080343" y="216372"/>
                    </a:lnTo>
                    <a:lnTo>
                      <a:pt x="1078676" y="216372"/>
                    </a:lnTo>
                    <a:lnTo>
                      <a:pt x="1077161" y="216523"/>
                    </a:lnTo>
                    <a:lnTo>
                      <a:pt x="1076101" y="214705"/>
                    </a:lnTo>
                    <a:lnTo>
                      <a:pt x="1074586" y="214553"/>
                    </a:lnTo>
                    <a:lnTo>
                      <a:pt x="1064131" y="212887"/>
                    </a:lnTo>
                    <a:lnTo>
                      <a:pt x="1060645" y="212281"/>
                    </a:lnTo>
                    <a:lnTo>
                      <a:pt x="1058524" y="213190"/>
                    </a:lnTo>
                    <a:lnTo>
                      <a:pt x="1056857" y="212584"/>
                    </a:lnTo>
                    <a:lnTo>
                      <a:pt x="1056251" y="210917"/>
                    </a:lnTo>
                    <a:lnTo>
                      <a:pt x="1054282" y="207886"/>
                    </a:lnTo>
                    <a:lnTo>
                      <a:pt x="1052615" y="205311"/>
                    </a:lnTo>
                    <a:lnTo>
                      <a:pt x="1050494" y="202735"/>
                    </a:lnTo>
                    <a:lnTo>
                      <a:pt x="1049736" y="200765"/>
                    </a:lnTo>
                    <a:lnTo>
                      <a:pt x="1050342" y="198644"/>
                    </a:lnTo>
                    <a:lnTo>
                      <a:pt x="1050039" y="196825"/>
                    </a:lnTo>
                    <a:lnTo>
                      <a:pt x="1048221" y="195916"/>
                    </a:lnTo>
                    <a:lnTo>
                      <a:pt x="1045948" y="195765"/>
                    </a:lnTo>
                    <a:lnTo>
                      <a:pt x="1039584" y="191825"/>
                    </a:lnTo>
                    <a:lnTo>
                      <a:pt x="1036554" y="191219"/>
                    </a:lnTo>
                    <a:lnTo>
                      <a:pt x="1033826" y="190461"/>
                    </a:lnTo>
                    <a:lnTo>
                      <a:pt x="1031705" y="190461"/>
                    </a:lnTo>
                    <a:lnTo>
                      <a:pt x="1029887" y="188643"/>
                    </a:lnTo>
                    <a:lnTo>
                      <a:pt x="1028220" y="183340"/>
                    </a:lnTo>
                    <a:lnTo>
                      <a:pt x="1027766" y="180310"/>
                    </a:lnTo>
                    <a:lnTo>
                      <a:pt x="1025644" y="177279"/>
                    </a:lnTo>
                    <a:lnTo>
                      <a:pt x="1022917" y="174703"/>
                    </a:lnTo>
                    <a:lnTo>
                      <a:pt x="1021402" y="171218"/>
                    </a:lnTo>
                    <a:lnTo>
                      <a:pt x="1019129" y="169703"/>
                    </a:lnTo>
                    <a:lnTo>
                      <a:pt x="1015189" y="167279"/>
                    </a:lnTo>
                    <a:lnTo>
                      <a:pt x="1011401" y="165461"/>
                    </a:lnTo>
                    <a:lnTo>
                      <a:pt x="1005340" y="163339"/>
                    </a:lnTo>
                    <a:lnTo>
                      <a:pt x="1003068" y="163339"/>
                    </a:lnTo>
                    <a:lnTo>
                      <a:pt x="1000037" y="163491"/>
                    </a:lnTo>
                    <a:lnTo>
                      <a:pt x="998219" y="164551"/>
                    </a:lnTo>
                    <a:lnTo>
                      <a:pt x="996249" y="166824"/>
                    </a:lnTo>
                    <a:lnTo>
                      <a:pt x="993522" y="166976"/>
                    </a:lnTo>
                    <a:lnTo>
                      <a:pt x="989128" y="166976"/>
                    </a:lnTo>
                    <a:lnTo>
                      <a:pt x="987916" y="167885"/>
                    </a:lnTo>
                    <a:lnTo>
                      <a:pt x="987158" y="169400"/>
                    </a:lnTo>
                    <a:lnTo>
                      <a:pt x="984885" y="171370"/>
                    </a:lnTo>
                    <a:lnTo>
                      <a:pt x="981703" y="172885"/>
                    </a:lnTo>
                    <a:lnTo>
                      <a:pt x="977157" y="172431"/>
                    </a:lnTo>
                    <a:lnTo>
                      <a:pt x="973976" y="173188"/>
                    </a:lnTo>
                    <a:lnTo>
                      <a:pt x="970794" y="173491"/>
                    </a:lnTo>
                    <a:lnTo>
                      <a:pt x="966248" y="171521"/>
                    </a:lnTo>
                    <a:lnTo>
                      <a:pt x="961248" y="171521"/>
                    </a:lnTo>
                    <a:lnTo>
                      <a:pt x="958066" y="172431"/>
                    </a:lnTo>
                    <a:lnTo>
                      <a:pt x="953520" y="172431"/>
                    </a:lnTo>
                    <a:lnTo>
                      <a:pt x="952611" y="171370"/>
                    </a:lnTo>
                    <a:lnTo>
                      <a:pt x="953217" y="169552"/>
                    </a:lnTo>
                    <a:lnTo>
                      <a:pt x="952763" y="167885"/>
                    </a:lnTo>
                    <a:lnTo>
                      <a:pt x="952005" y="166521"/>
                    </a:lnTo>
                    <a:lnTo>
                      <a:pt x="951399" y="164855"/>
                    </a:lnTo>
                    <a:lnTo>
                      <a:pt x="949581" y="164551"/>
                    </a:lnTo>
                    <a:lnTo>
                      <a:pt x="944278" y="165309"/>
                    </a:lnTo>
                    <a:lnTo>
                      <a:pt x="942762" y="164551"/>
                    </a:lnTo>
                    <a:lnTo>
                      <a:pt x="942914" y="162885"/>
                    </a:lnTo>
                    <a:lnTo>
                      <a:pt x="943823" y="160763"/>
                    </a:lnTo>
                    <a:lnTo>
                      <a:pt x="944580" y="158036"/>
                    </a:lnTo>
                    <a:lnTo>
                      <a:pt x="944278" y="156369"/>
                    </a:lnTo>
                    <a:lnTo>
                      <a:pt x="941550" y="156521"/>
                    </a:lnTo>
                    <a:lnTo>
                      <a:pt x="939883" y="156369"/>
                    </a:lnTo>
                    <a:lnTo>
                      <a:pt x="938974" y="154400"/>
                    </a:lnTo>
                    <a:lnTo>
                      <a:pt x="937459" y="153036"/>
                    </a:lnTo>
                    <a:lnTo>
                      <a:pt x="935641" y="153036"/>
                    </a:lnTo>
                    <a:lnTo>
                      <a:pt x="933520" y="152733"/>
                    </a:lnTo>
                    <a:lnTo>
                      <a:pt x="931247" y="153339"/>
                    </a:lnTo>
                    <a:lnTo>
                      <a:pt x="930035" y="155309"/>
                    </a:lnTo>
                    <a:lnTo>
                      <a:pt x="928519" y="155612"/>
                    </a:lnTo>
                    <a:lnTo>
                      <a:pt x="926853" y="156218"/>
                    </a:lnTo>
                    <a:lnTo>
                      <a:pt x="925640" y="156824"/>
                    </a:lnTo>
                    <a:lnTo>
                      <a:pt x="924883" y="158491"/>
                    </a:lnTo>
                    <a:lnTo>
                      <a:pt x="925186" y="160006"/>
                    </a:lnTo>
                    <a:lnTo>
                      <a:pt x="925640" y="163491"/>
                    </a:lnTo>
                    <a:lnTo>
                      <a:pt x="924883" y="165309"/>
                    </a:lnTo>
                    <a:lnTo>
                      <a:pt x="922761" y="166218"/>
                    </a:lnTo>
                    <a:lnTo>
                      <a:pt x="920640" y="166067"/>
                    </a:lnTo>
                    <a:lnTo>
                      <a:pt x="919277" y="166521"/>
                    </a:lnTo>
                    <a:lnTo>
                      <a:pt x="916701" y="168491"/>
                    </a:lnTo>
                    <a:lnTo>
                      <a:pt x="915640" y="169097"/>
                    </a:lnTo>
                    <a:lnTo>
                      <a:pt x="915185" y="170309"/>
                    </a:lnTo>
                    <a:lnTo>
                      <a:pt x="915034" y="172128"/>
                    </a:lnTo>
                    <a:lnTo>
                      <a:pt x="912913" y="171521"/>
                    </a:lnTo>
                    <a:lnTo>
                      <a:pt x="909428" y="165006"/>
                    </a:lnTo>
                    <a:lnTo>
                      <a:pt x="905488" y="157582"/>
                    </a:lnTo>
                    <a:lnTo>
                      <a:pt x="901094" y="149703"/>
                    </a:lnTo>
                    <a:lnTo>
                      <a:pt x="898821" y="145460"/>
                    </a:lnTo>
                    <a:lnTo>
                      <a:pt x="890033" y="131823"/>
                    </a:lnTo>
                    <a:lnTo>
                      <a:pt x="885790" y="125308"/>
                    </a:lnTo>
                    <a:lnTo>
                      <a:pt x="878366" y="113944"/>
                    </a:lnTo>
                    <a:lnTo>
                      <a:pt x="871699" y="103640"/>
                    </a:lnTo>
                    <a:lnTo>
                      <a:pt x="864123" y="92882"/>
                    </a:lnTo>
                    <a:lnTo>
                      <a:pt x="859578" y="86821"/>
                    </a:lnTo>
                    <a:lnTo>
                      <a:pt x="854880" y="80306"/>
                    </a:lnTo>
                    <a:lnTo>
                      <a:pt x="853213" y="78488"/>
                    </a:lnTo>
                    <a:lnTo>
                      <a:pt x="850638" y="76215"/>
                    </a:lnTo>
                    <a:lnTo>
                      <a:pt x="844274" y="71821"/>
                    </a:lnTo>
                    <a:lnTo>
                      <a:pt x="835031" y="65457"/>
                    </a:lnTo>
                    <a:lnTo>
                      <a:pt x="826546" y="59699"/>
                    </a:lnTo>
                    <a:lnTo>
                      <a:pt x="819879" y="55154"/>
                    </a:lnTo>
                    <a:lnTo>
                      <a:pt x="818212" y="53184"/>
                    </a:lnTo>
                    <a:lnTo>
                      <a:pt x="817455" y="52123"/>
                    </a:lnTo>
                    <a:lnTo>
                      <a:pt x="816697" y="50911"/>
                    </a:lnTo>
                    <a:lnTo>
                      <a:pt x="815637" y="48790"/>
                    </a:lnTo>
                    <a:lnTo>
                      <a:pt x="815637" y="47426"/>
                    </a:lnTo>
                    <a:lnTo>
                      <a:pt x="822000" y="47729"/>
                    </a:lnTo>
                    <a:lnTo>
                      <a:pt x="823364" y="46365"/>
                    </a:lnTo>
                    <a:lnTo>
                      <a:pt x="825788" y="41062"/>
                    </a:lnTo>
                    <a:lnTo>
                      <a:pt x="827152" y="36517"/>
                    </a:lnTo>
                    <a:lnTo>
                      <a:pt x="825031" y="36668"/>
                    </a:lnTo>
                    <a:lnTo>
                      <a:pt x="821091" y="38486"/>
                    </a:lnTo>
                    <a:lnTo>
                      <a:pt x="818970" y="39850"/>
                    </a:lnTo>
                    <a:lnTo>
                      <a:pt x="817758" y="40456"/>
                    </a:lnTo>
                    <a:lnTo>
                      <a:pt x="811394" y="41365"/>
                    </a:lnTo>
                    <a:lnTo>
                      <a:pt x="807909" y="43335"/>
                    </a:lnTo>
                    <a:lnTo>
                      <a:pt x="800787" y="46668"/>
                    </a:lnTo>
                    <a:lnTo>
                      <a:pt x="795636" y="48638"/>
                    </a:lnTo>
                    <a:lnTo>
                      <a:pt x="794575" y="48941"/>
                    </a:lnTo>
                    <a:lnTo>
                      <a:pt x="788514" y="49547"/>
                    </a:lnTo>
                    <a:lnTo>
                      <a:pt x="787453" y="50305"/>
                    </a:lnTo>
                    <a:lnTo>
                      <a:pt x="787302" y="52123"/>
                    </a:lnTo>
                    <a:lnTo>
                      <a:pt x="786847" y="54093"/>
                    </a:lnTo>
                    <a:lnTo>
                      <a:pt x="782605" y="56972"/>
                    </a:lnTo>
                    <a:lnTo>
                      <a:pt x="778059" y="59548"/>
                    </a:lnTo>
                    <a:lnTo>
                      <a:pt x="776392" y="59851"/>
                    </a:lnTo>
                    <a:lnTo>
                      <a:pt x="773665" y="59245"/>
                    </a:lnTo>
                    <a:lnTo>
                      <a:pt x="772150" y="59548"/>
                    </a:lnTo>
                    <a:lnTo>
                      <a:pt x="767907" y="62275"/>
                    </a:lnTo>
                    <a:lnTo>
                      <a:pt x="761695" y="66215"/>
                    </a:lnTo>
                    <a:lnTo>
                      <a:pt x="761089" y="67881"/>
                    </a:lnTo>
                    <a:lnTo>
                      <a:pt x="761089" y="69851"/>
                    </a:lnTo>
                    <a:lnTo>
                      <a:pt x="760331" y="71518"/>
                    </a:lnTo>
                    <a:lnTo>
                      <a:pt x="758968" y="72124"/>
                    </a:lnTo>
                    <a:lnTo>
                      <a:pt x="756998" y="70609"/>
                    </a:lnTo>
                    <a:lnTo>
                      <a:pt x="755179" y="68790"/>
                    </a:lnTo>
                    <a:lnTo>
                      <a:pt x="751240" y="67427"/>
                    </a:lnTo>
                    <a:lnTo>
                      <a:pt x="745482" y="67124"/>
                    </a:lnTo>
                    <a:lnTo>
                      <a:pt x="741997" y="67730"/>
                    </a:lnTo>
                    <a:lnTo>
                      <a:pt x="739573" y="68790"/>
                    </a:lnTo>
                    <a:lnTo>
                      <a:pt x="734876" y="72730"/>
                    </a:lnTo>
                    <a:lnTo>
                      <a:pt x="733209" y="73488"/>
                    </a:lnTo>
                    <a:lnTo>
                      <a:pt x="732300" y="73185"/>
                    </a:lnTo>
                    <a:lnTo>
                      <a:pt x="731997" y="71215"/>
                    </a:lnTo>
                    <a:lnTo>
                      <a:pt x="731088" y="69851"/>
                    </a:lnTo>
                    <a:lnTo>
                      <a:pt x="730027" y="67730"/>
                    </a:lnTo>
                    <a:lnTo>
                      <a:pt x="730633" y="63639"/>
                    </a:lnTo>
                    <a:lnTo>
                      <a:pt x="733209" y="59699"/>
                    </a:lnTo>
                    <a:lnTo>
                      <a:pt x="737452" y="57578"/>
                    </a:lnTo>
                    <a:lnTo>
                      <a:pt x="740937" y="55305"/>
                    </a:lnTo>
                    <a:lnTo>
                      <a:pt x="741997" y="52729"/>
                    </a:lnTo>
                    <a:lnTo>
                      <a:pt x="741846" y="51063"/>
                    </a:lnTo>
                    <a:lnTo>
                      <a:pt x="740634" y="50305"/>
                    </a:lnTo>
                    <a:lnTo>
                      <a:pt x="739270" y="50153"/>
                    </a:lnTo>
                    <a:lnTo>
                      <a:pt x="738512" y="51063"/>
                    </a:lnTo>
                    <a:lnTo>
                      <a:pt x="736239" y="52729"/>
                    </a:lnTo>
                    <a:lnTo>
                      <a:pt x="732755" y="54093"/>
                    </a:lnTo>
                    <a:lnTo>
                      <a:pt x="729876" y="54396"/>
                    </a:lnTo>
                    <a:lnTo>
                      <a:pt x="728663" y="54244"/>
                    </a:lnTo>
                    <a:lnTo>
                      <a:pt x="725633" y="53335"/>
                    </a:lnTo>
                    <a:lnTo>
                      <a:pt x="720027" y="48638"/>
                    </a:lnTo>
                    <a:lnTo>
                      <a:pt x="715329" y="48032"/>
                    </a:lnTo>
                    <a:lnTo>
                      <a:pt x="712148" y="47729"/>
                    </a:lnTo>
                    <a:lnTo>
                      <a:pt x="711087" y="48184"/>
                    </a:lnTo>
                    <a:lnTo>
                      <a:pt x="710632" y="49396"/>
                    </a:lnTo>
                    <a:lnTo>
                      <a:pt x="710936" y="50608"/>
                    </a:lnTo>
                    <a:lnTo>
                      <a:pt x="711541" y="51820"/>
                    </a:lnTo>
                    <a:lnTo>
                      <a:pt x="711239" y="52881"/>
                    </a:lnTo>
                    <a:lnTo>
                      <a:pt x="709723" y="53638"/>
                    </a:lnTo>
                    <a:lnTo>
                      <a:pt x="707451" y="54851"/>
                    </a:lnTo>
                    <a:lnTo>
                      <a:pt x="706239" y="53941"/>
                    </a:lnTo>
                    <a:lnTo>
                      <a:pt x="705632" y="50608"/>
                    </a:lnTo>
                    <a:lnTo>
                      <a:pt x="705784" y="48032"/>
                    </a:lnTo>
                    <a:lnTo>
                      <a:pt x="704269" y="45911"/>
                    </a:lnTo>
                    <a:lnTo>
                      <a:pt x="702602" y="42426"/>
                    </a:lnTo>
                    <a:lnTo>
                      <a:pt x="700329" y="40456"/>
                    </a:lnTo>
                    <a:lnTo>
                      <a:pt x="698056" y="41062"/>
                    </a:lnTo>
                    <a:lnTo>
                      <a:pt x="696996" y="43941"/>
                    </a:lnTo>
                    <a:lnTo>
                      <a:pt x="695329" y="44850"/>
                    </a:lnTo>
                    <a:lnTo>
                      <a:pt x="692147" y="44244"/>
                    </a:lnTo>
                    <a:lnTo>
                      <a:pt x="686389" y="45911"/>
                    </a:lnTo>
                    <a:lnTo>
                      <a:pt x="676995" y="46668"/>
                    </a:lnTo>
                    <a:lnTo>
                      <a:pt x="670328" y="44699"/>
                    </a:lnTo>
                    <a:lnTo>
                      <a:pt x="669267" y="42880"/>
                    </a:lnTo>
                    <a:lnTo>
                      <a:pt x="671995" y="38941"/>
                    </a:lnTo>
                    <a:lnTo>
                      <a:pt x="672146" y="35456"/>
                    </a:lnTo>
                    <a:lnTo>
                      <a:pt x="672146" y="32274"/>
                    </a:lnTo>
                    <a:lnTo>
                      <a:pt x="672904" y="30001"/>
                    </a:lnTo>
                    <a:lnTo>
                      <a:pt x="671237" y="25607"/>
                    </a:lnTo>
                    <a:lnTo>
                      <a:pt x="667601" y="16667"/>
                    </a:lnTo>
                    <a:lnTo>
                      <a:pt x="664873" y="10000"/>
                    </a:lnTo>
                    <a:lnTo>
                      <a:pt x="661540" y="4849"/>
                    </a:lnTo>
                    <a:lnTo>
                      <a:pt x="660176" y="3182"/>
                    </a:lnTo>
                    <a:lnTo>
                      <a:pt x="653358" y="4091"/>
                    </a:lnTo>
                    <a:lnTo>
                      <a:pt x="651539" y="5152"/>
                    </a:lnTo>
                    <a:lnTo>
                      <a:pt x="650327" y="6667"/>
                    </a:lnTo>
                    <a:lnTo>
                      <a:pt x="648206" y="7728"/>
                    </a:lnTo>
                    <a:lnTo>
                      <a:pt x="645176" y="8485"/>
                    </a:lnTo>
                    <a:lnTo>
                      <a:pt x="642600" y="7879"/>
                    </a:lnTo>
                    <a:lnTo>
                      <a:pt x="639721" y="6970"/>
                    </a:lnTo>
                    <a:lnTo>
                      <a:pt x="636691" y="5152"/>
                    </a:lnTo>
                    <a:lnTo>
                      <a:pt x="633205" y="2727"/>
                    </a:lnTo>
                    <a:lnTo>
                      <a:pt x="626387" y="909"/>
                    </a:lnTo>
                    <a:lnTo>
                      <a:pt x="619417" y="606"/>
                    </a:lnTo>
                    <a:lnTo>
                      <a:pt x="611993" y="0"/>
                    </a:lnTo>
                    <a:lnTo>
                      <a:pt x="608356" y="1212"/>
                    </a:lnTo>
                    <a:lnTo>
                      <a:pt x="604871" y="3182"/>
                    </a:lnTo>
                    <a:lnTo>
                      <a:pt x="599719" y="7121"/>
                    </a:lnTo>
                    <a:lnTo>
                      <a:pt x="597295" y="7576"/>
                    </a:lnTo>
                    <a:lnTo>
                      <a:pt x="593507" y="7879"/>
                    </a:lnTo>
                    <a:lnTo>
                      <a:pt x="590931" y="8788"/>
                    </a:lnTo>
                    <a:lnTo>
                      <a:pt x="591386" y="10455"/>
                    </a:lnTo>
                    <a:lnTo>
                      <a:pt x="591840" y="12879"/>
                    </a:lnTo>
                    <a:lnTo>
                      <a:pt x="590931" y="14698"/>
                    </a:lnTo>
                    <a:lnTo>
                      <a:pt x="589416" y="15758"/>
                    </a:lnTo>
                    <a:lnTo>
                      <a:pt x="587143" y="16364"/>
                    </a:lnTo>
                    <a:lnTo>
                      <a:pt x="583507" y="16516"/>
                    </a:lnTo>
                    <a:lnTo>
                      <a:pt x="580476" y="16970"/>
                    </a:lnTo>
                    <a:lnTo>
                      <a:pt x="576688" y="19698"/>
                    </a:lnTo>
                    <a:lnTo>
                      <a:pt x="570930" y="20304"/>
                    </a:lnTo>
                    <a:lnTo>
                      <a:pt x="564718" y="21213"/>
                    </a:lnTo>
                    <a:lnTo>
                      <a:pt x="560324" y="22728"/>
                    </a:lnTo>
                    <a:lnTo>
                      <a:pt x="550930" y="24698"/>
                    </a:lnTo>
                    <a:lnTo>
                      <a:pt x="545475" y="25607"/>
                    </a:lnTo>
                    <a:lnTo>
                      <a:pt x="536383" y="27425"/>
                    </a:lnTo>
                    <a:lnTo>
                      <a:pt x="529111" y="27728"/>
                    </a:lnTo>
                    <a:lnTo>
                      <a:pt x="528050" y="26516"/>
                    </a:lnTo>
                    <a:lnTo>
                      <a:pt x="522444" y="29395"/>
                    </a:lnTo>
                    <a:lnTo>
                      <a:pt x="516080" y="29243"/>
                    </a:lnTo>
                    <a:lnTo>
                      <a:pt x="514868" y="30304"/>
                    </a:lnTo>
                    <a:lnTo>
                      <a:pt x="513352" y="31365"/>
                    </a:lnTo>
                    <a:lnTo>
                      <a:pt x="511686" y="31819"/>
                    </a:lnTo>
                    <a:lnTo>
                      <a:pt x="509564" y="33183"/>
                    </a:lnTo>
                    <a:lnTo>
                      <a:pt x="508352" y="36062"/>
                    </a:lnTo>
                    <a:lnTo>
                      <a:pt x="507443" y="38941"/>
                    </a:lnTo>
                    <a:lnTo>
                      <a:pt x="505474" y="39850"/>
                    </a:lnTo>
                    <a:lnTo>
                      <a:pt x="502897" y="38789"/>
                    </a:lnTo>
                    <a:lnTo>
                      <a:pt x="501079" y="37729"/>
                    </a:lnTo>
                    <a:lnTo>
                      <a:pt x="497898" y="38789"/>
                    </a:lnTo>
                    <a:lnTo>
                      <a:pt x="493503" y="39395"/>
                    </a:lnTo>
                    <a:lnTo>
                      <a:pt x="490018" y="39092"/>
                    </a:lnTo>
                    <a:lnTo>
                      <a:pt x="488200" y="38335"/>
                    </a:lnTo>
                    <a:lnTo>
                      <a:pt x="481078" y="39698"/>
                    </a:lnTo>
                    <a:lnTo>
                      <a:pt x="477290" y="41365"/>
                    </a:lnTo>
                    <a:lnTo>
                      <a:pt x="476533" y="42274"/>
                    </a:lnTo>
                    <a:lnTo>
                      <a:pt x="475624" y="42729"/>
                    </a:lnTo>
                    <a:lnTo>
                      <a:pt x="471381" y="43941"/>
                    </a:lnTo>
                    <a:lnTo>
                      <a:pt x="467896" y="43638"/>
                    </a:lnTo>
                    <a:lnTo>
                      <a:pt x="467290" y="43638"/>
                    </a:lnTo>
                    <a:lnTo>
                      <a:pt x="463957" y="44396"/>
                    </a:lnTo>
                    <a:lnTo>
                      <a:pt x="459411" y="45911"/>
                    </a:lnTo>
                    <a:lnTo>
                      <a:pt x="456078" y="46365"/>
                    </a:lnTo>
                    <a:lnTo>
                      <a:pt x="453350" y="46365"/>
                    </a:lnTo>
                    <a:lnTo>
                      <a:pt x="451532" y="47578"/>
                    </a:lnTo>
                    <a:lnTo>
                      <a:pt x="450017" y="48790"/>
                    </a:lnTo>
                    <a:lnTo>
                      <a:pt x="437895" y="50153"/>
                    </a:lnTo>
                    <a:lnTo>
                      <a:pt x="436683" y="51063"/>
                    </a:lnTo>
                    <a:lnTo>
                      <a:pt x="434259" y="52275"/>
                    </a:lnTo>
                    <a:lnTo>
                      <a:pt x="421683" y="52729"/>
                    </a:lnTo>
                    <a:lnTo>
                      <a:pt x="420622" y="53638"/>
                    </a:lnTo>
                    <a:lnTo>
                      <a:pt x="420167" y="54548"/>
                    </a:lnTo>
                    <a:lnTo>
                      <a:pt x="418652" y="54851"/>
                    </a:lnTo>
                    <a:lnTo>
                      <a:pt x="409561" y="53032"/>
                    </a:lnTo>
                    <a:lnTo>
                      <a:pt x="402288" y="51063"/>
                    </a:lnTo>
                    <a:lnTo>
                      <a:pt x="399409" y="52123"/>
                    </a:lnTo>
                    <a:lnTo>
                      <a:pt x="396985" y="54244"/>
                    </a:lnTo>
                    <a:lnTo>
                      <a:pt x="396076" y="57275"/>
                    </a:lnTo>
                    <a:lnTo>
                      <a:pt x="396076" y="59851"/>
                    </a:lnTo>
                    <a:lnTo>
                      <a:pt x="396076" y="62124"/>
                    </a:lnTo>
                    <a:lnTo>
                      <a:pt x="395015" y="63790"/>
                    </a:lnTo>
                    <a:lnTo>
                      <a:pt x="392590" y="65760"/>
                    </a:lnTo>
                    <a:lnTo>
                      <a:pt x="392439" y="67124"/>
                    </a:lnTo>
                    <a:lnTo>
                      <a:pt x="395621" y="68639"/>
                    </a:lnTo>
                    <a:lnTo>
                      <a:pt x="399712" y="69851"/>
                    </a:lnTo>
                    <a:lnTo>
                      <a:pt x="402136" y="69397"/>
                    </a:lnTo>
                    <a:lnTo>
                      <a:pt x="404106" y="68639"/>
                    </a:lnTo>
                    <a:lnTo>
                      <a:pt x="405924" y="68942"/>
                    </a:lnTo>
                    <a:lnTo>
                      <a:pt x="407136" y="69851"/>
                    </a:lnTo>
                    <a:lnTo>
                      <a:pt x="407591" y="71063"/>
                    </a:lnTo>
                    <a:lnTo>
                      <a:pt x="407288" y="71821"/>
                    </a:lnTo>
                    <a:lnTo>
                      <a:pt x="406530" y="72427"/>
                    </a:lnTo>
                    <a:lnTo>
                      <a:pt x="403803" y="73488"/>
                    </a:lnTo>
                    <a:lnTo>
                      <a:pt x="401378" y="73185"/>
                    </a:lnTo>
                    <a:lnTo>
                      <a:pt x="399106" y="73942"/>
                    </a:lnTo>
                    <a:lnTo>
                      <a:pt x="397894" y="75457"/>
                    </a:lnTo>
                    <a:lnTo>
                      <a:pt x="397287" y="78033"/>
                    </a:lnTo>
                    <a:lnTo>
                      <a:pt x="398348" y="79851"/>
                    </a:lnTo>
                    <a:lnTo>
                      <a:pt x="401378" y="80306"/>
                    </a:lnTo>
                    <a:lnTo>
                      <a:pt x="404864" y="81670"/>
                    </a:lnTo>
                    <a:lnTo>
                      <a:pt x="408652" y="82276"/>
                    </a:lnTo>
                    <a:lnTo>
                      <a:pt x="410924" y="82124"/>
                    </a:lnTo>
                    <a:lnTo>
                      <a:pt x="413803" y="84094"/>
                    </a:lnTo>
                    <a:lnTo>
                      <a:pt x="420622" y="86518"/>
                    </a:lnTo>
                    <a:lnTo>
                      <a:pt x="422440" y="88337"/>
                    </a:lnTo>
                    <a:lnTo>
                      <a:pt x="422440" y="90306"/>
                    </a:lnTo>
                    <a:lnTo>
                      <a:pt x="421228" y="91822"/>
                    </a:lnTo>
                    <a:lnTo>
                      <a:pt x="419561" y="92579"/>
                    </a:lnTo>
                    <a:lnTo>
                      <a:pt x="417288" y="92125"/>
                    </a:lnTo>
                    <a:lnTo>
                      <a:pt x="412591" y="91670"/>
                    </a:lnTo>
                    <a:lnTo>
                      <a:pt x="407440" y="91367"/>
                    </a:lnTo>
                    <a:lnTo>
                      <a:pt x="403803" y="90761"/>
                    </a:lnTo>
                    <a:lnTo>
                      <a:pt x="398500" y="91064"/>
                    </a:lnTo>
                    <a:lnTo>
                      <a:pt x="394106" y="91670"/>
                    </a:lnTo>
                    <a:lnTo>
                      <a:pt x="393045" y="93185"/>
                    </a:lnTo>
                    <a:lnTo>
                      <a:pt x="391378" y="95913"/>
                    </a:lnTo>
                    <a:lnTo>
                      <a:pt x="390014" y="97428"/>
                    </a:lnTo>
                    <a:lnTo>
                      <a:pt x="387590" y="100155"/>
                    </a:lnTo>
                    <a:lnTo>
                      <a:pt x="386833" y="102731"/>
                    </a:lnTo>
                    <a:lnTo>
                      <a:pt x="388045" y="106671"/>
                    </a:lnTo>
                    <a:lnTo>
                      <a:pt x="392439" y="113035"/>
                    </a:lnTo>
                    <a:lnTo>
                      <a:pt x="392893" y="115156"/>
                    </a:lnTo>
                    <a:lnTo>
                      <a:pt x="391378" y="117277"/>
                    </a:lnTo>
                    <a:lnTo>
                      <a:pt x="388348" y="118944"/>
                    </a:lnTo>
                    <a:lnTo>
                      <a:pt x="383954" y="121974"/>
                    </a:lnTo>
                    <a:lnTo>
                      <a:pt x="379256" y="122126"/>
                    </a:lnTo>
                    <a:lnTo>
                      <a:pt x="377287" y="122883"/>
                    </a:lnTo>
                    <a:lnTo>
                      <a:pt x="371984" y="126520"/>
                    </a:lnTo>
                    <a:lnTo>
                      <a:pt x="367438" y="128338"/>
                    </a:lnTo>
                    <a:lnTo>
                      <a:pt x="366529" y="129853"/>
                    </a:lnTo>
                    <a:lnTo>
                      <a:pt x="367590" y="131369"/>
                    </a:lnTo>
                    <a:lnTo>
                      <a:pt x="373347" y="133338"/>
                    </a:lnTo>
                    <a:lnTo>
                      <a:pt x="376226" y="135611"/>
                    </a:lnTo>
                    <a:lnTo>
                      <a:pt x="377135" y="138187"/>
                    </a:lnTo>
                    <a:lnTo>
                      <a:pt x="378347" y="140157"/>
                    </a:lnTo>
                    <a:lnTo>
                      <a:pt x="382893" y="141369"/>
                    </a:lnTo>
                    <a:lnTo>
                      <a:pt x="392288" y="144248"/>
                    </a:lnTo>
                    <a:lnTo>
                      <a:pt x="392893" y="144551"/>
                    </a:lnTo>
                    <a:lnTo>
                      <a:pt x="393499" y="145914"/>
                    </a:lnTo>
                    <a:lnTo>
                      <a:pt x="403045" y="147733"/>
                    </a:lnTo>
                    <a:lnTo>
                      <a:pt x="404409" y="148793"/>
                    </a:lnTo>
                    <a:lnTo>
                      <a:pt x="408349" y="152127"/>
                    </a:lnTo>
                    <a:lnTo>
                      <a:pt x="409106" y="155612"/>
                    </a:lnTo>
                    <a:lnTo>
                      <a:pt x="407136" y="158945"/>
                    </a:lnTo>
                    <a:lnTo>
                      <a:pt x="405773" y="164248"/>
                    </a:lnTo>
                    <a:lnTo>
                      <a:pt x="403652" y="168946"/>
                    </a:lnTo>
                    <a:lnTo>
                      <a:pt x="399257" y="172128"/>
                    </a:lnTo>
                    <a:lnTo>
                      <a:pt x="391530" y="175006"/>
                    </a:lnTo>
                    <a:lnTo>
                      <a:pt x="383196" y="176219"/>
                    </a:lnTo>
                    <a:lnTo>
                      <a:pt x="379711" y="176067"/>
                    </a:lnTo>
                    <a:lnTo>
                      <a:pt x="377438" y="175764"/>
                    </a:lnTo>
                    <a:lnTo>
                      <a:pt x="373650" y="174855"/>
                    </a:lnTo>
                    <a:lnTo>
                      <a:pt x="370923" y="172431"/>
                    </a:lnTo>
                    <a:lnTo>
                      <a:pt x="368953" y="170158"/>
                    </a:lnTo>
                    <a:lnTo>
                      <a:pt x="367438" y="169552"/>
                    </a:lnTo>
                    <a:lnTo>
                      <a:pt x="365923" y="170006"/>
                    </a:lnTo>
                    <a:lnTo>
                      <a:pt x="364559" y="171521"/>
                    </a:lnTo>
                    <a:lnTo>
                      <a:pt x="362741" y="175461"/>
                    </a:lnTo>
                    <a:lnTo>
                      <a:pt x="360620" y="179401"/>
                    </a:lnTo>
                    <a:lnTo>
                      <a:pt x="358953" y="180764"/>
                    </a:lnTo>
                    <a:lnTo>
                      <a:pt x="352740" y="182582"/>
                    </a:lnTo>
                    <a:lnTo>
                      <a:pt x="351983" y="181976"/>
                    </a:lnTo>
                    <a:lnTo>
                      <a:pt x="352740" y="179401"/>
                    </a:lnTo>
                    <a:lnTo>
                      <a:pt x="351983" y="178643"/>
                    </a:lnTo>
                    <a:lnTo>
                      <a:pt x="350771" y="178037"/>
                    </a:lnTo>
                    <a:lnTo>
                      <a:pt x="343043" y="176976"/>
                    </a:lnTo>
                    <a:lnTo>
                      <a:pt x="340164" y="176219"/>
                    </a:lnTo>
                    <a:lnTo>
                      <a:pt x="338043" y="175916"/>
                    </a:lnTo>
                    <a:lnTo>
                      <a:pt x="335316" y="175309"/>
                    </a:lnTo>
                    <a:lnTo>
                      <a:pt x="333346" y="173794"/>
                    </a:lnTo>
                    <a:lnTo>
                      <a:pt x="329255" y="169097"/>
                    </a:lnTo>
                    <a:lnTo>
                      <a:pt x="326073" y="165461"/>
                    </a:lnTo>
                    <a:lnTo>
                      <a:pt x="320921" y="162127"/>
                    </a:lnTo>
                    <a:lnTo>
                      <a:pt x="316224" y="161521"/>
                    </a:lnTo>
                    <a:lnTo>
                      <a:pt x="315921" y="161824"/>
                    </a:lnTo>
                    <a:lnTo>
                      <a:pt x="312436" y="161976"/>
                    </a:lnTo>
                    <a:lnTo>
                      <a:pt x="306830" y="161218"/>
                    </a:lnTo>
                    <a:lnTo>
                      <a:pt x="306527" y="161370"/>
                    </a:lnTo>
                    <a:lnTo>
                      <a:pt x="304709" y="162885"/>
                    </a:lnTo>
                    <a:lnTo>
                      <a:pt x="303345" y="165309"/>
                    </a:lnTo>
                    <a:lnTo>
                      <a:pt x="301678" y="167279"/>
                    </a:lnTo>
                    <a:lnTo>
                      <a:pt x="299102" y="168339"/>
                    </a:lnTo>
                    <a:lnTo>
                      <a:pt x="295920" y="168643"/>
                    </a:lnTo>
                    <a:lnTo>
                      <a:pt x="292435" y="166521"/>
                    </a:lnTo>
                    <a:lnTo>
                      <a:pt x="288799" y="163339"/>
                    </a:lnTo>
                    <a:lnTo>
                      <a:pt x="284253" y="162279"/>
                    </a:lnTo>
                    <a:lnTo>
                      <a:pt x="279859" y="163036"/>
                    </a:lnTo>
                    <a:lnTo>
                      <a:pt x="278192" y="163491"/>
                    </a:lnTo>
                    <a:lnTo>
                      <a:pt x="273495" y="165309"/>
                    </a:lnTo>
                    <a:lnTo>
                      <a:pt x="271980" y="164400"/>
                    </a:lnTo>
                    <a:lnTo>
                      <a:pt x="269858" y="163794"/>
                    </a:lnTo>
                    <a:lnTo>
                      <a:pt x="265313" y="166824"/>
                    </a:lnTo>
                    <a:lnTo>
                      <a:pt x="260313" y="170158"/>
                    </a:lnTo>
                    <a:lnTo>
                      <a:pt x="259252" y="172582"/>
                    </a:lnTo>
                    <a:lnTo>
                      <a:pt x="257737" y="174855"/>
                    </a:lnTo>
                    <a:lnTo>
                      <a:pt x="254404" y="176976"/>
                    </a:lnTo>
                    <a:lnTo>
                      <a:pt x="250767" y="178794"/>
                    </a:lnTo>
                    <a:lnTo>
                      <a:pt x="247737" y="179552"/>
                    </a:lnTo>
                    <a:lnTo>
                      <a:pt x="243797" y="178946"/>
                    </a:lnTo>
                    <a:lnTo>
                      <a:pt x="238797" y="176673"/>
                    </a:lnTo>
                    <a:lnTo>
                      <a:pt x="234251" y="173794"/>
                    </a:lnTo>
                    <a:lnTo>
                      <a:pt x="229251" y="169249"/>
                    </a:lnTo>
                    <a:lnTo>
                      <a:pt x="225160" y="166673"/>
                    </a:lnTo>
                    <a:lnTo>
                      <a:pt x="221372" y="164551"/>
                    </a:lnTo>
                    <a:lnTo>
                      <a:pt x="219099" y="164097"/>
                    </a:lnTo>
                    <a:lnTo>
                      <a:pt x="217281" y="164855"/>
                    </a:lnTo>
                    <a:lnTo>
                      <a:pt x="216523" y="166521"/>
                    </a:lnTo>
                    <a:lnTo>
                      <a:pt x="217130" y="167733"/>
                    </a:lnTo>
                    <a:lnTo>
                      <a:pt x="218190" y="168794"/>
                    </a:lnTo>
                    <a:lnTo>
                      <a:pt x="219099" y="172279"/>
                    </a:lnTo>
                    <a:lnTo>
                      <a:pt x="219402" y="176673"/>
                    </a:lnTo>
                    <a:lnTo>
                      <a:pt x="218948" y="179097"/>
                    </a:lnTo>
                    <a:lnTo>
                      <a:pt x="217887" y="180613"/>
                    </a:lnTo>
                    <a:lnTo>
                      <a:pt x="216826" y="181219"/>
                    </a:lnTo>
                    <a:lnTo>
                      <a:pt x="215765" y="181067"/>
                    </a:lnTo>
                    <a:lnTo>
                      <a:pt x="214553" y="179552"/>
                    </a:lnTo>
                    <a:lnTo>
                      <a:pt x="213796" y="176370"/>
                    </a:lnTo>
                    <a:lnTo>
                      <a:pt x="213190" y="172582"/>
                    </a:lnTo>
                    <a:lnTo>
                      <a:pt x="209856" y="167733"/>
                    </a:lnTo>
                    <a:lnTo>
                      <a:pt x="206977" y="164855"/>
                    </a:lnTo>
                    <a:lnTo>
                      <a:pt x="205614" y="163188"/>
                    </a:lnTo>
                    <a:lnTo>
                      <a:pt x="202887" y="160460"/>
                    </a:lnTo>
                    <a:lnTo>
                      <a:pt x="200613" y="158794"/>
                    </a:lnTo>
                    <a:lnTo>
                      <a:pt x="195613" y="156824"/>
                    </a:lnTo>
                    <a:lnTo>
                      <a:pt x="193189" y="155460"/>
                    </a:lnTo>
                    <a:lnTo>
                      <a:pt x="188946" y="150157"/>
                    </a:lnTo>
                    <a:lnTo>
                      <a:pt x="186522" y="148490"/>
                    </a:lnTo>
                    <a:lnTo>
                      <a:pt x="183492" y="147127"/>
                    </a:lnTo>
                    <a:lnTo>
                      <a:pt x="181068" y="146672"/>
                    </a:lnTo>
                    <a:lnTo>
                      <a:pt x="180461" y="146975"/>
                    </a:lnTo>
                    <a:lnTo>
                      <a:pt x="175310" y="147733"/>
                    </a:lnTo>
                    <a:lnTo>
                      <a:pt x="171522" y="147581"/>
                    </a:lnTo>
                    <a:lnTo>
                      <a:pt x="169249" y="146521"/>
                    </a:lnTo>
                    <a:lnTo>
                      <a:pt x="166976" y="146369"/>
                    </a:lnTo>
                    <a:lnTo>
                      <a:pt x="166825" y="146369"/>
                    </a:lnTo>
                    <a:lnTo>
                      <a:pt x="164248" y="146975"/>
                    </a:lnTo>
                    <a:lnTo>
                      <a:pt x="163794" y="146975"/>
                    </a:lnTo>
                    <a:lnTo>
                      <a:pt x="162582" y="146975"/>
                    </a:lnTo>
                    <a:lnTo>
                      <a:pt x="160460" y="145914"/>
                    </a:lnTo>
                    <a:lnTo>
                      <a:pt x="158491" y="142884"/>
                    </a:lnTo>
                    <a:lnTo>
                      <a:pt x="155915" y="139702"/>
                    </a:lnTo>
                    <a:lnTo>
                      <a:pt x="152884" y="138641"/>
                    </a:lnTo>
                    <a:lnTo>
                      <a:pt x="147127" y="140005"/>
                    </a:lnTo>
                    <a:lnTo>
                      <a:pt x="140763" y="144248"/>
                    </a:lnTo>
                    <a:lnTo>
                      <a:pt x="136217" y="146824"/>
                    </a:lnTo>
                    <a:lnTo>
                      <a:pt x="132581" y="146824"/>
                    </a:lnTo>
                    <a:lnTo>
                      <a:pt x="130460" y="147278"/>
                    </a:lnTo>
                    <a:lnTo>
                      <a:pt x="129096" y="147127"/>
                    </a:lnTo>
                    <a:lnTo>
                      <a:pt x="127884" y="146369"/>
                    </a:lnTo>
                    <a:lnTo>
                      <a:pt x="127581" y="144854"/>
                    </a:lnTo>
                    <a:lnTo>
                      <a:pt x="126974" y="142884"/>
                    </a:lnTo>
                    <a:lnTo>
                      <a:pt x="124096" y="140914"/>
                    </a:lnTo>
                    <a:lnTo>
                      <a:pt x="120156" y="139702"/>
                    </a:lnTo>
                    <a:lnTo>
                      <a:pt x="116520" y="138338"/>
                    </a:lnTo>
                    <a:lnTo>
                      <a:pt x="114095" y="138035"/>
                    </a:lnTo>
                    <a:lnTo>
                      <a:pt x="113034" y="140005"/>
                    </a:lnTo>
                    <a:lnTo>
                      <a:pt x="110004" y="143187"/>
                    </a:lnTo>
                    <a:lnTo>
                      <a:pt x="106519" y="146217"/>
                    </a:lnTo>
                    <a:lnTo>
                      <a:pt x="102125" y="151218"/>
                    </a:lnTo>
                    <a:lnTo>
                      <a:pt x="100913" y="153036"/>
                    </a:lnTo>
                    <a:lnTo>
                      <a:pt x="99246" y="154248"/>
                    </a:lnTo>
                    <a:lnTo>
                      <a:pt x="95307" y="155460"/>
                    </a:lnTo>
                    <a:lnTo>
                      <a:pt x="90610" y="157582"/>
                    </a:lnTo>
                    <a:lnTo>
                      <a:pt x="87579" y="160006"/>
                    </a:lnTo>
                    <a:lnTo>
                      <a:pt x="83336" y="161067"/>
                    </a:lnTo>
                    <a:lnTo>
                      <a:pt x="78791" y="161673"/>
                    </a:lnTo>
                    <a:lnTo>
                      <a:pt x="76821" y="163642"/>
                    </a:lnTo>
                    <a:lnTo>
                      <a:pt x="75609" y="166976"/>
                    </a:lnTo>
                    <a:lnTo>
                      <a:pt x="74094" y="170006"/>
                    </a:lnTo>
                    <a:lnTo>
                      <a:pt x="66821" y="174552"/>
                    </a:lnTo>
                    <a:lnTo>
                      <a:pt x="62881" y="177431"/>
                    </a:lnTo>
                    <a:lnTo>
                      <a:pt x="60002" y="178946"/>
                    </a:lnTo>
                    <a:lnTo>
                      <a:pt x="58033" y="178794"/>
                    </a:lnTo>
                    <a:lnTo>
                      <a:pt x="55911" y="178340"/>
                    </a:lnTo>
                    <a:lnTo>
                      <a:pt x="55154" y="178643"/>
                    </a:lnTo>
                    <a:lnTo>
                      <a:pt x="56214" y="180916"/>
                    </a:lnTo>
                    <a:lnTo>
                      <a:pt x="57124" y="188037"/>
                    </a:lnTo>
                    <a:lnTo>
                      <a:pt x="58487" y="192583"/>
                    </a:lnTo>
                    <a:lnTo>
                      <a:pt x="59396" y="195159"/>
                    </a:lnTo>
                    <a:lnTo>
                      <a:pt x="60305" y="197128"/>
                    </a:lnTo>
                    <a:lnTo>
                      <a:pt x="61063" y="200159"/>
                    </a:lnTo>
                    <a:lnTo>
                      <a:pt x="60154" y="201977"/>
                    </a:lnTo>
                    <a:lnTo>
                      <a:pt x="58790" y="203189"/>
                    </a:lnTo>
                    <a:lnTo>
                      <a:pt x="54396" y="205159"/>
                    </a:lnTo>
                    <a:lnTo>
                      <a:pt x="49850" y="206826"/>
                    </a:lnTo>
                    <a:lnTo>
                      <a:pt x="47123" y="205765"/>
                    </a:lnTo>
                    <a:lnTo>
                      <a:pt x="44093" y="203189"/>
                    </a:lnTo>
                    <a:lnTo>
                      <a:pt x="42881" y="201826"/>
                    </a:lnTo>
                    <a:lnTo>
                      <a:pt x="39547" y="197432"/>
                    </a:lnTo>
                    <a:lnTo>
                      <a:pt x="33789" y="190613"/>
                    </a:lnTo>
                    <a:lnTo>
                      <a:pt x="29850" y="187128"/>
                    </a:lnTo>
                    <a:lnTo>
                      <a:pt x="26971" y="185916"/>
                    </a:lnTo>
                    <a:lnTo>
                      <a:pt x="24395" y="186370"/>
                    </a:lnTo>
                    <a:lnTo>
                      <a:pt x="22425" y="188037"/>
                    </a:lnTo>
                    <a:lnTo>
                      <a:pt x="20910" y="189401"/>
                    </a:lnTo>
                    <a:lnTo>
                      <a:pt x="19546" y="191068"/>
                    </a:lnTo>
                    <a:lnTo>
                      <a:pt x="18637" y="193037"/>
                    </a:lnTo>
                    <a:lnTo>
                      <a:pt x="18788" y="195765"/>
                    </a:lnTo>
                    <a:lnTo>
                      <a:pt x="18788" y="198644"/>
                    </a:lnTo>
                    <a:lnTo>
                      <a:pt x="17576" y="200765"/>
                    </a:lnTo>
                    <a:lnTo>
                      <a:pt x="14395" y="203038"/>
                    </a:lnTo>
                    <a:lnTo>
                      <a:pt x="10607" y="206068"/>
                    </a:lnTo>
                    <a:lnTo>
                      <a:pt x="7728" y="211674"/>
                    </a:lnTo>
                    <a:lnTo>
                      <a:pt x="5910" y="218644"/>
                    </a:lnTo>
                    <a:lnTo>
                      <a:pt x="5303" y="223493"/>
                    </a:lnTo>
                    <a:lnTo>
                      <a:pt x="6667" y="225766"/>
                    </a:lnTo>
                    <a:lnTo>
                      <a:pt x="9394" y="227584"/>
                    </a:lnTo>
                    <a:lnTo>
                      <a:pt x="11212" y="229402"/>
                    </a:lnTo>
                    <a:lnTo>
                      <a:pt x="11516" y="231221"/>
                    </a:lnTo>
                    <a:lnTo>
                      <a:pt x="11061" y="233039"/>
                    </a:lnTo>
                    <a:lnTo>
                      <a:pt x="9698" y="235160"/>
                    </a:lnTo>
                    <a:lnTo>
                      <a:pt x="6667" y="237584"/>
                    </a:lnTo>
                    <a:lnTo>
                      <a:pt x="2576" y="243342"/>
                    </a:lnTo>
                    <a:lnTo>
                      <a:pt x="0" y="251524"/>
                    </a:lnTo>
                    <a:lnTo>
                      <a:pt x="1364" y="257131"/>
                    </a:lnTo>
                    <a:lnTo>
                      <a:pt x="6667" y="260161"/>
                    </a:lnTo>
                    <a:lnTo>
                      <a:pt x="10758" y="261525"/>
                    </a:lnTo>
                    <a:lnTo>
                      <a:pt x="12425" y="263343"/>
                    </a:lnTo>
                    <a:lnTo>
                      <a:pt x="13940" y="266979"/>
                    </a:lnTo>
                    <a:lnTo>
                      <a:pt x="13788" y="270768"/>
                    </a:lnTo>
                    <a:lnTo>
                      <a:pt x="13334" y="273343"/>
                    </a:lnTo>
                    <a:lnTo>
                      <a:pt x="14395" y="275768"/>
                    </a:lnTo>
                    <a:lnTo>
                      <a:pt x="16365" y="278647"/>
                    </a:lnTo>
                    <a:lnTo>
                      <a:pt x="18788" y="280465"/>
                    </a:lnTo>
                    <a:lnTo>
                      <a:pt x="21364" y="279556"/>
                    </a:lnTo>
                    <a:lnTo>
                      <a:pt x="23941" y="278344"/>
                    </a:lnTo>
                    <a:lnTo>
                      <a:pt x="27122" y="278798"/>
                    </a:lnTo>
                    <a:lnTo>
                      <a:pt x="36214" y="279859"/>
                    </a:lnTo>
                    <a:lnTo>
                      <a:pt x="41062" y="280465"/>
                    </a:lnTo>
                    <a:lnTo>
                      <a:pt x="42577" y="281677"/>
                    </a:lnTo>
                    <a:lnTo>
                      <a:pt x="45608" y="285768"/>
                    </a:lnTo>
                    <a:lnTo>
                      <a:pt x="49396" y="290465"/>
                    </a:lnTo>
                    <a:lnTo>
                      <a:pt x="53184" y="295162"/>
                    </a:lnTo>
                    <a:lnTo>
                      <a:pt x="54548" y="297132"/>
                    </a:lnTo>
                    <a:lnTo>
                      <a:pt x="57729" y="302738"/>
                    </a:lnTo>
                    <a:lnTo>
                      <a:pt x="60912" y="307739"/>
                    </a:lnTo>
                    <a:lnTo>
                      <a:pt x="64396" y="313951"/>
                    </a:lnTo>
                    <a:lnTo>
                      <a:pt x="64093" y="315618"/>
                    </a:lnTo>
                    <a:lnTo>
                      <a:pt x="62275" y="316375"/>
                    </a:lnTo>
                    <a:lnTo>
                      <a:pt x="59396" y="316224"/>
                    </a:lnTo>
                    <a:lnTo>
                      <a:pt x="57124" y="315315"/>
                    </a:lnTo>
                    <a:lnTo>
                      <a:pt x="55911" y="314557"/>
                    </a:lnTo>
                    <a:lnTo>
                      <a:pt x="54699" y="314254"/>
                    </a:lnTo>
                    <a:lnTo>
                      <a:pt x="53487" y="314557"/>
                    </a:lnTo>
                    <a:lnTo>
                      <a:pt x="52426" y="315315"/>
                    </a:lnTo>
                    <a:lnTo>
                      <a:pt x="51972" y="316527"/>
                    </a:lnTo>
                    <a:lnTo>
                      <a:pt x="52123" y="318193"/>
                    </a:lnTo>
                    <a:lnTo>
                      <a:pt x="53032" y="319709"/>
                    </a:lnTo>
                    <a:lnTo>
                      <a:pt x="54245" y="320618"/>
                    </a:lnTo>
                    <a:lnTo>
                      <a:pt x="54850" y="320921"/>
                    </a:lnTo>
                    <a:lnTo>
                      <a:pt x="59396" y="322891"/>
                    </a:lnTo>
                    <a:lnTo>
                      <a:pt x="64396" y="325163"/>
                    </a:lnTo>
                    <a:lnTo>
                      <a:pt x="70609" y="328345"/>
                    </a:lnTo>
                    <a:lnTo>
                      <a:pt x="71972" y="328800"/>
                    </a:lnTo>
                    <a:lnTo>
                      <a:pt x="71215" y="327133"/>
                    </a:lnTo>
                    <a:lnTo>
                      <a:pt x="73336" y="325315"/>
                    </a:lnTo>
                    <a:lnTo>
                      <a:pt x="75458" y="326224"/>
                    </a:lnTo>
                    <a:lnTo>
                      <a:pt x="75003" y="323648"/>
                    </a:lnTo>
                    <a:lnTo>
                      <a:pt x="75154" y="322436"/>
                    </a:lnTo>
                    <a:lnTo>
                      <a:pt x="77579" y="321830"/>
                    </a:lnTo>
                    <a:lnTo>
                      <a:pt x="81670" y="321527"/>
                    </a:lnTo>
                    <a:lnTo>
                      <a:pt x="83034" y="320769"/>
                    </a:lnTo>
                    <a:lnTo>
                      <a:pt x="86518" y="320618"/>
                    </a:lnTo>
                    <a:lnTo>
                      <a:pt x="90003" y="319860"/>
                    </a:lnTo>
                    <a:lnTo>
                      <a:pt x="93034" y="318497"/>
                    </a:lnTo>
                    <a:lnTo>
                      <a:pt x="95761" y="316375"/>
                    </a:lnTo>
                    <a:lnTo>
                      <a:pt x="101367" y="313042"/>
                    </a:lnTo>
                    <a:lnTo>
                      <a:pt x="104398" y="310163"/>
                    </a:lnTo>
                    <a:lnTo>
                      <a:pt x="105913" y="310011"/>
                    </a:lnTo>
                    <a:lnTo>
                      <a:pt x="107428" y="310314"/>
                    </a:lnTo>
                    <a:lnTo>
                      <a:pt x="108943" y="310011"/>
                    </a:lnTo>
                    <a:lnTo>
                      <a:pt x="111671" y="308042"/>
                    </a:lnTo>
                    <a:lnTo>
                      <a:pt x="113186" y="307587"/>
                    </a:lnTo>
                    <a:lnTo>
                      <a:pt x="118338" y="304557"/>
                    </a:lnTo>
                    <a:lnTo>
                      <a:pt x="125459" y="302132"/>
                    </a:lnTo>
                    <a:lnTo>
                      <a:pt x="128490" y="302587"/>
                    </a:lnTo>
                    <a:lnTo>
                      <a:pt x="137429" y="304860"/>
                    </a:lnTo>
                    <a:lnTo>
                      <a:pt x="138339" y="305314"/>
                    </a:lnTo>
                    <a:lnTo>
                      <a:pt x="140915" y="308193"/>
                    </a:lnTo>
                    <a:lnTo>
                      <a:pt x="146369" y="309557"/>
                    </a:lnTo>
                    <a:lnTo>
                      <a:pt x="148187" y="309254"/>
                    </a:lnTo>
                    <a:lnTo>
                      <a:pt x="150157" y="311375"/>
                    </a:lnTo>
                    <a:lnTo>
                      <a:pt x="151672" y="311678"/>
                    </a:lnTo>
                    <a:lnTo>
                      <a:pt x="153036" y="311375"/>
                    </a:lnTo>
                    <a:lnTo>
                      <a:pt x="157127" y="309405"/>
                    </a:lnTo>
                    <a:lnTo>
                      <a:pt x="158339" y="308496"/>
                    </a:lnTo>
                    <a:lnTo>
                      <a:pt x="159248" y="307132"/>
                    </a:lnTo>
                    <a:lnTo>
                      <a:pt x="160915" y="306223"/>
                    </a:lnTo>
                    <a:lnTo>
                      <a:pt x="166218" y="307435"/>
                    </a:lnTo>
                    <a:lnTo>
                      <a:pt x="172734" y="307587"/>
                    </a:lnTo>
                    <a:lnTo>
                      <a:pt x="175916" y="309708"/>
                    </a:lnTo>
                    <a:lnTo>
                      <a:pt x="176825" y="310921"/>
                    </a:lnTo>
                    <a:lnTo>
                      <a:pt x="178643" y="314860"/>
                    </a:lnTo>
                    <a:lnTo>
                      <a:pt x="179552" y="317436"/>
                    </a:lnTo>
                    <a:lnTo>
                      <a:pt x="178491" y="319557"/>
                    </a:lnTo>
                    <a:lnTo>
                      <a:pt x="176976" y="321678"/>
                    </a:lnTo>
                    <a:lnTo>
                      <a:pt x="176522" y="324103"/>
                    </a:lnTo>
                    <a:lnTo>
                      <a:pt x="177734" y="326224"/>
                    </a:lnTo>
                    <a:lnTo>
                      <a:pt x="178491" y="333800"/>
                    </a:lnTo>
                    <a:lnTo>
                      <a:pt x="175916" y="341376"/>
                    </a:lnTo>
                    <a:lnTo>
                      <a:pt x="171673" y="347740"/>
                    </a:lnTo>
                    <a:lnTo>
                      <a:pt x="168491" y="354710"/>
                    </a:lnTo>
                    <a:lnTo>
                      <a:pt x="170158" y="357286"/>
                    </a:lnTo>
                    <a:lnTo>
                      <a:pt x="176976" y="360316"/>
                    </a:lnTo>
                    <a:lnTo>
                      <a:pt x="180158" y="362892"/>
                    </a:lnTo>
                    <a:lnTo>
                      <a:pt x="176825" y="363650"/>
                    </a:lnTo>
                    <a:lnTo>
                      <a:pt x="172279" y="363195"/>
                    </a:lnTo>
                    <a:lnTo>
                      <a:pt x="168491" y="362438"/>
                    </a:lnTo>
                    <a:lnTo>
                      <a:pt x="161824" y="360619"/>
                    </a:lnTo>
                    <a:lnTo>
                      <a:pt x="158945" y="360468"/>
                    </a:lnTo>
                    <a:lnTo>
                      <a:pt x="148642" y="361074"/>
                    </a:lnTo>
                    <a:lnTo>
                      <a:pt x="140005" y="360771"/>
                    </a:lnTo>
                    <a:lnTo>
                      <a:pt x="134702" y="362741"/>
                    </a:lnTo>
                    <a:lnTo>
                      <a:pt x="131369" y="362286"/>
                    </a:lnTo>
                    <a:lnTo>
                      <a:pt x="129096" y="364862"/>
                    </a:lnTo>
                    <a:lnTo>
                      <a:pt x="128035" y="366529"/>
                    </a:lnTo>
                    <a:lnTo>
                      <a:pt x="126823" y="370165"/>
                    </a:lnTo>
                    <a:lnTo>
                      <a:pt x="124247" y="372892"/>
                    </a:lnTo>
                    <a:lnTo>
                      <a:pt x="121217" y="374862"/>
                    </a:lnTo>
                    <a:lnTo>
                      <a:pt x="120308" y="376832"/>
                    </a:lnTo>
                    <a:lnTo>
                      <a:pt x="120610" y="379105"/>
                    </a:lnTo>
                    <a:lnTo>
                      <a:pt x="121671" y="380468"/>
                    </a:lnTo>
                    <a:lnTo>
                      <a:pt x="126065" y="383953"/>
                    </a:lnTo>
                    <a:lnTo>
                      <a:pt x="128641" y="386984"/>
                    </a:lnTo>
                    <a:lnTo>
                      <a:pt x="130156" y="387590"/>
                    </a:lnTo>
                    <a:lnTo>
                      <a:pt x="131974" y="387590"/>
                    </a:lnTo>
                    <a:lnTo>
                      <a:pt x="133641" y="388348"/>
                    </a:lnTo>
                    <a:lnTo>
                      <a:pt x="135005" y="389863"/>
                    </a:lnTo>
                    <a:lnTo>
                      <a:pt x="130460" y="389560"/>
                    </a:lnTo>
                    <a:lnTo>
                      <a:pt x="128641" y="389863"/>
                    </a:lnTo>
                    <a:lnTo>
                      <a:pt x="125005" y="390923"/>
                    </a:lnTo>
                    <a:lnTo>
                      <a:pt x="123186" y="390772"/>
                    </a:lnTo>
                    <a:lnTo>
                      <a:pt x="121520" y="390014"/>
                    </a:lnTo>
                    <a:lnTo>
                      <a:pt x="116368" y="386681"/>
                    </a:lnTo>
                    <a:lnTo>
                      <a:pt x="110610" y="386529"/>
                    </a:lnTo>
                    <a:lnTo>
                      <a:pt x="103943" y="386832"/>
                    </a:lnTo>
                    <a:lnTo>
                      <a:pt x="100913" y="388196"/>
                    </a:lnTo>
                    <a:lnTo>
                      <a:pt x="100004" y="390014"/>
                    </a:lnTo>
                    <a:lnTo>
                      <a:pt x="99701" y="392136"/>
                    </a:lnTo>
                    <a:lnTo>
                      <a:pt x="99701" y="393954"/>
                    </a:lnTo>
                    <a:lnTo>
                      <a:pt x="100307" y="395621"/>
                    </a:lnTo>
                    <a:lnTo>
                      <a:pt x="101822" y="396681"/>
                    </a:lnTo>
                    <a:lnTo>
                      <a:pt x="105610" y="397742"/>
                    </a:lnTo>
                    <a:lnTo>
                      <a:pt x="111368" y="398802"/>
                    </a:lnTo>
                    <a:lnTo>
                      <a:pt x="114095" y="400015"/>
                    </a:lnTo>
                    <a:lnTo>
                      <a:pt x="115459" y="401227"/>
                    </a:lnTo>
                    <a:lnTo>
                      <a:pt x="118489" y="409106"/>
                    </a:lnTo>
                    <a:lnTo>
                      <a:pt x="121975" y="416076"/>
                    </a:lnTo>
                    <a:lnTo>
                      <a:pt x="124096" y="419409"/>
                    </a:lnTo>
                    <a:lnTo>
                      <a:pt x="126823" y="421834"/>
                    </a:lnTo>
                    <a:lnTo>
                      <a:pt x="127732" y="423349"/>
                    </a:lnTo>
                    <a:lnTo>
                      <a:pt x="128490" y="425016"/>
                    </a:lnTo>
                    <a:lnTo>
                      <a:pt x="128793" y="426985"/>
                    </a:lnTo>
                    <a:lnTo>
                      <a:pt x="128793" y="429107"/>
                    </a:lnTo>
                    <a:lnTo>
                      <a:pt x="128186" y="433198"/>
                    </a:lnTo>
                    <a:lnTo>
                      <a:pt x="128338" y="435016"/>
                    </a:lnTo>
                    <a:lnTo>
                      <a:pt x="129702" y="435167"/>
                    </a:lnTo>
                    <a:lnTo>
                      <a:pt x="134248" y="435016"/>
                    </a:lnTo>
                    <a:lnTo>
                      <a:pt x="136975" y="435471"/>
                    </a:lnTo>
                    <a:lnTo>
                      <a:pt x="139248" y="437289"/>
                    </a:lnTo>
                    <a:lnTo>
                      <a:pt x="141520" y="440622"/>
                    </a:lnTo>
                    <a:lnTo>
                      <a:pt x="142278" y="442289"/>
                    </a:lnTo>
                    <a:lnTo>
                      <a:pt x="143187" y="443804"/>
                    </a:lnTo>
                    <a:lnTo>
                      <a:pt x="144703" y="445168"/>
                    </a:lnTo>
                    <a:lnTo>
                      <a:pt x="146369" y="445774"/>
                    </a:lnTo>
                    <a:lnTo>
                      <a:pt x="147884" y="445471"/>
                    </a:lnTo>
                    <a:lnTo>
                      <a:pt x="149400" y="444865"/>
                    </a:lnTo>
                    <a:lnTo>
                      <a:pt x="152430" y="445168"/>
                    </a:lnTo>
                    <a:lnTo>
                      <a:pt x="154854" y="447441"/>
                    </a:lnTo>
                    <a:lnTo>
                      <a:pt x="156218" y="446835"/>
                    </a:lnTo>
                    <a:lnTo>
                      <a:pt x="159248" y="446531"/>
                    </a:lnTo>
                    <a:lnTo>
                      <a:pt x="160915" y="446683"/>
                    </a:lnTo>
                    <a:lnTo>
                      <a:pt x="162430" y="447138"/>
                    </a:lnTo>
                    <a:lnTo>
                      <a:pt x="163643" y="448653"/>
                    </a:lnTo>
                    <a:lnTo>
                      <a:pt x="164855" y="455471"/>
                    </a:lnTo>
                    <a:lnTo>
                      <a:pt x="164248" y="459714"/>
                    </a:lnTo>
                    <a:lnTo>
                      <a:pt x="163037" y="462896"/>
                    </a:lnTo>
                    <a:lnTo>
                      <a:pt x="161521" y="465926"/>
                    </a:lnTo>
                    <a:lnTo>
                      <a:pt x="160006" y="470472"/>
                    </a:lnTo>
                    <a:lnTo>
                      <a:pt x="159855" y="472139"/>
                    </a:lnTo>
                    <a:lnTo>
                      <a:pt x="160158" y="477442"/>
                    </a:lnTo>
                    <a:lnTo>
                      <a:pt x="160915" y="480927"/>
                    </a:lnTo>
                    <a:lnTo>
                      <a:pt x="166521" y="475624"/>
                    </a:lnTo>
                    <a:lnTo>
                      <a:pt x="171219" y="471836"/>
                    </a:lnTo>
                    <a:lnTo>
                      <a:pt x="175158" y="469563"/>
                    </a:lnTo>
                    <a:lnTo>
                      <a:pt x="176370" y="468957"/>
                    </a:lnTo>
                    <a:lnTo>
                      <a:pt x="181673" y="466987"/>
                    </a:lnTo>
                    <a:lnTo>
                      <a:pt x="188492" y="465320"/>
                    </a:lnTo>
                    <a:lnTo>
                      <a:pt x="193492" y="464108"/>
                    </a:lnTo>
                    <a:lnTo>
                      <a:pt x="200159" y="463047"/>
                    </a:lnTo>
                    <a:lnTo>
                      <a:pt x="202280" y="462896"/>
                    </a:lnTo>
                    <a:lnTo>
                      <a:pt x="205462" y="462896"/>
                    </a:lnTo>
                    <a:lnTo>
                      <a:pt x="208038" y="463956"/>
                    </a:lnTo>
                    <a:lnTo>
                      <a:pt x="209553" y="464714"/>
                    </a:lnTo>
                    <a:lnTo>
                      <a:pt x="215008" y="468047"/>
                    </a:lnTo>
                    <a:lnTo>
                      <a:pt x="220614" y="471381"/>
                    </a:lnTo>
                    <a:lnTo>
                      <a:pt x="225463" y="475017"/>
                    </a:lnTo>
                    <a:lnTo>
                      <a:pt x="226827" y="476533"/>
                    </a:lnTo>
                    <a:lnTo>
                      <a:pt x="227584" y="478351"/>
                    </a:lnTo>
                    <a:lnTo>
                      <a:pt x="228190" y="480169"/>
                    </a:lnTo>
                    <a:lnTo>
                      <a:pt x="232282" y="485775"/>
                    </a:lnTo>
                    <a:lnTo>
                      <a:pt x="233948" y="488351"/>
                    </a:lnTo>
                    <a:lnTo>
                      <a:pt x="236373" y="491685"/>
                    </a:lnTo>
                    <a:lnTo>
                      <a:pt x="238342" y="493351"/>
                    </a:lnTo>
                    <a:lnTo>
                      <a:pt x="240161" y="495321"/>
                    </a:lnTo>
                    <a:lnTo>
                      <a:pt x="241372" y="496988"/>
                    </a:lnTo>
                    <a:lnTo>
                      <a:pt x="242888" y="497746"/>
                    </a:lnTo>
                    <a:lnTo>
                      <a:pt x="244555" y="498049"/>
                    </a:lnTo>
                    <a:lnTo>
                      <a:pt x="248191" y="497594"/>
                    </a:lnTo>
                    <a:lnTo>
                      <a:pt x="252585" y="496533"/>
                    </a:lnTo>
                    <a:lnTo>
                      <a:pt x="255161" y="496079"/>
                    </a:lnTo>
                    <a:lnTo>
                      <a:pt x="256373" y="496079"/>
                    </a:lnTo>
                    <a:lnTo>
                      <a:pt x="256373" y="488654"/>
                    </a:lnTo>
                    <a:lnTo>
                      <a:pt x="256373" y="481230"/>
                    </a:lnTo>
                    <a:lnTo>
                      <a:pt x="256373" y="473654"/>
                    </a:lnTo>
                    <a:lnTo>
                      <a:pt x="256373" y="466078"/>
                    </a:lnTo>
                    <a:lnTo>
                      <a:pt x="256373" y="458502"/>
                    </a:lnTo>
                    <a:lnTo>
                      <a:pt x="256373" y="450926"/>
                    </a:lnTo>
                    <a:lnTo>
                      <a:pt x="256373" y="443350"/>
                    </a:lnTo>
                    <a:lnTo>
                      <a:pt x="256373" y="435774"/>
                    </a:lnTo>
                    <a:lnTo>
                      <a:pt x="256373" y="428197"/>
                    </a:lnTo>
                    <a:lnTo>
                      <a:pt x="256373" y="420621"/>
                    </a:lnTo>
                    <a:lnTo>
                      <a:pt x="256373" y="413045"/>
                    </a:lnTo>
                    <a:lnTo>
                      <a:pt x="256373" y="405318"/>
                    </a:lnTo>
                    <a:lnTo>
                      <a:pt x="256373" y="397590"/>
                    </a:lnTo>
                    <a:lnTo>
                      <a:pt x="256373" y="389863"/>
                    </a:lnTo>
                    <a:lnTo>
                      <a:pt x="256373" y="382135"/>
                    </a:lnTo>
                    <a:lnTo>
                      <a:pt x="256373" y="374408"/>
                    </a:lnTo>
                    <a:lnTo>
                      <a:pt x="259858" y="373499"/>
                    </a:lnTo>
                    <a:lnTo>
                      <a:pt x="264101" y="372286"/>
                    </a:lnTo>
                    <a:lnTo>
                      <a:pt x="268192" y="371074"/>
                    </a:lnTo>
                    <a:lnTo>
                      <a:pt x="273041" y="369710"/>
                    </a:lnTo>
                    <a:lnTo>
                      <a:pt x="278647" y="368195"/>
                    </a:lnTo>
                    <a:lnTo>
                      <a:pt x="283344" y="366832"/>
                    </a:lnTo>
                    <a:lnTo>
                      <a:pt x="288950" y="365165"/>
                    </a:lnTo>
                    <a:lnTo>
                      <a:pt x="293193" y="363953"/>
                    </a:lnTo>
                    <a:lnTo>
                      <a:pt x="297284" y="362741"/>
                    </a:lnTo>
                    <a:lnTo>
                      <a:pt x="302435" y="361377"/>
                    </a:lnTo>
                    <a:lnTo>
                      <a:pt x="310466" y="359256"/>
                    </a:lnTo>
                    <a:lnTo>
                      <a:pt x="315012" y="358043"/>
                    </a:lnTo>
                    <a:lnTo>
                      <a:pt x="319557" y="356831"/>
                    </a:lnTo>
                    <a:lnTo>
                      <a:pt x="323951" y="355619"/>
                    </a:lnTo>
                    <a:lnTo>
                      <a:pt x="326830" y="355165"/>
                    </a:lnTo>
                    <a:lnTo>
                      <a:pt x="327740" y="355619"/>
                    </a:lnTo>
                    <a:lnTo>
                      <a:pt x="328346" y="354104"/>
                    </a:lnTo>
                    <a:lnTo>
                      <a:pt x="328800" y="353649"/>
                    </a:lnTo>
                    <a:lnTo>
                      <a:pt x="329558" y="349710"/>
                    </a:lnTo>
                    <a:lnTo>
                      <a:pt x="330316" y="347437"/>
                    </a:lnTo>
                    <a:lnTo>
                      <a:pt x="331376" y="345316"/>
                    </a:lnTo>
                    <a:lnTo>
                      <a:pt x="332739" y="343649"/>
                    </a:lnTo>
                    <a:lnTo>
                      <a:pt x="334406" y="342588"/>
                    </a:lnTo>
                    <a:lnTo>
                      <a:pt x="335770" y="342134"/>
                    </a:lnTo>
                    <a:lnTo>
                      <a:pt x="336831" y="342285"/>
                    </a:lnTo>
                    <a:lnTo>
                      <a:pt x="337437" y="341982"/>
                    </a:lnTo>
                    <a:lnTo>
                      <a:pt x="337588" y="341073"/>
                    </a:lnTo>
                    <a:lnTo>
                      <a:pt x="338194" y="340922"/>
                    </a:lnTo>
                    <a:lnTo>
                      <a:pt x="340770" y="341528"/>
                    </a:lnTo>
                    <a:lnTo>
                      <a:pt x="342589" y="341528"/>
                    </a:lnTo>
                    <a:lnTo>
                      <a:pt x="344255" y="341073"/>
                    </a:lnTo>
                    <a:lnTo>
                      <a:pt x="345771" y="340012"/>
                    </a:lnTo>
                    <a:lnTo>
                      <a:pt x="346982" y="340012"/>
                    </a:lnTo>
                    <a:lnTo>
                      <a:pt x="347892" y="340922"/>
                    </a:lnTo>
                    <a:lnTo>
                      <a:pt x="347589" y="342285"/>
                    </a:lnTo>
                    <a:lnTo>
                      <a:pt x="346225" y="344104"/>
                    </a:lnTo>
                    <a:lnTo>
                      <a:pt x="345316" y="345922"/>
                    </a:lnTo>
                    <a:lnTo>
                      <a:pt x="345164" y="347740"/>
                    </a:lnTo>
                    <a:lnTo>
                      <a:pt x="345922" y="349255"/>
                    </a:lnTo>
                    <a:lnTo>
                      <a:pt x="347589" y="350467"/>
                    </a:lnTo>
                    <a:lnTo>
                      <a:pt x="348498" y="350467"/>
                    </a:lnTo>
                    <a:lnTo>
                      <a:pt x="348649" y="349104"/>
                    </a:lnTo>
                    <a:lnTo>
                      <a:pt x="349104" y="348498"/>
                    </a:lnTo>
                    <a:lnTo>
                      <a:pt x="349861" y="348649"/>
                    </a:lnTo>
                    <a:lnTo>
                      <a:pt x="350316" y="349255"/>
                    </a:lnTo>
                    <a:lnTo>
                      <a:pt x="350468" y="350316"/>
                    </a:lnTo>
                    <a:lnTo>
                      <a:pt x="351225" y="350164"/>
                    </a:lnTo>
                    <a:lnTo>
                      <a:pt x="352589" y="348801"/>
                    </a:lnTo>
                    <a:lnTo>
                      <a:pt x="353953" y="348043"/>
                    </a:lnTo>
                    <a:lnTo>
                      <a:pt x="355316" y="348043"/>
                    </a:lnTo>
                    <a:lnTo>
                      <a:pt x="356074" y="347285"/>
                    </a:lnTo>
                    <a:lnTo>
                      <a:pt x="356225" y="345770"/>
                    </a:lnTo>
                    <a:lnTo>
                      <a:pt x="356983" y="343194"/>
                    </a:lnTo>
                    <a:lnTo>
                      <a:pt x="358347" y="339558"/>
                    </a:lnTo>
                    <a:lnTo>
                      <a:pt x="357589" y="335618"/>
                    </a:lnTo>
                    <a:lnTo>
                      <a:pt x="354710" y="331527"/>
                    </a:lnTo>
                    <a:lnTo>
                      <a:pt x="353347" y="329254"/>
                    </a:lnTo>
                    <a:lnTo>
                      <a:pt x="353498" y="328800"/>
                    </a:lnTo>
                    <a:lnTo>
                      <a:pt x="353953" y="328800"/>
                    </a:lnTo>
                    <a:lnTo>
                      <a:pt x="354710" y="329254"/>
                    </a:lnTo>
                    <a:lnTo>
                      <a:pt x="358044" y="329254"/>
                    </a:lnTo>
                    <a:lnTo>
                      <a:pt x="359407" y="329557"/>
                    </a:lnTo>
                    <a:lnTo>
                      <a:pt x="360165" y="330315"/>
                    </a:lnTo>
                    <a:lnTo>
                      <a:pt x="360771" y="331982"/>
                    </a:lnTo>
                    <a:lnTo>
                      <a:pt x="361225" y="334558"/>
                    </a:lnTo>
                    <a:lnTo>
                      <a:pt x="361074" y="336376"/>
                    </a:lnTo>
                    <a:lnTo>
                      <a:pt x="360468" y="337588"/>
                    </a:lnTo>
                    <a:lnTo>
                      <a:pt x="360923" y="338194"/>
                    </a:lnTo>
                    <a:lnTo>
                      <a:pt x="362589" y="338043"/>
                    </a:lnTo>
                    <a:lnTo>
                      <a:pt x="367135" y="336376"/>
                    </a:lnTo>
                    <a:lnTo>
                      <a:pt x="369256" y="336224"/>
                    </a:lnTo>
                    <a:lnTo>
                      <a:pt x="370923" y="336982"/>
                    </a:lnTo>
                    <a:lnTo>
                      <a:pt x="372893" y="337285"/>
                    </a:lnTo>
                    <a:lnTo>
                      <a:pt x="375166" y="337134"/>
                    </a:lnTo>
                    <a:lnTo>
                      <a:pt x="384105" y="338194"/>
                    </a:lnTo>
                    <a:lnTo>
                      <a:pt x="385014" y="337891"/>
                    </a:lnTo>
                    <a:lnTo>
                      <a:pt x="386226" y="337134"/>
                    </a:lnTo>
                    <a:lnTo>
                      <a:pt x="388499" y="334861"/>
                    </a:lnTo>
                    <a:lnTo>
                      <a:pt x="388802" y="333346"/>
                    </a:lnTo>
                    <a:lnTo>
                      <a:pt x="388802" y="332285"/>
                    </a:lnTo>
                    <a:lnTo>
                      <a:pt x="386833" y="328497"/>
                    </a:lnTo>
                    <a:lnTo>
                      <a:pt x="386226" y="326830"/>
                    </a:lnTo>
                    <a:lnTo>
                      <a:pt x="385772" y="326679"/>
                    </a:lnTo>
                    <a:lnTo>
                      <a:pt x="385317" y="326982"/>
                    </a:lnTo>
                    <a:lnTo>
                      <a:pt x="385014" y="327588"/>
                    </a:lnTo>
                    <a:lnTo>
                      <a:pt x="382893" y="328648"/>
                    </a:lnTo>
                    <a:lnTo>
                      <a:pt x="382287" y="329406"/>
                    </a:lnTo>
                    <a:lnTo>
                      <a:pt x="381378" y="329557"/>
                    </a:lnTo>
                    <a:lnTo>
                      <a:pt x="378650" y="328042"/>
                    </a:lnTo>
                    <a:lnTo>
                      <a:pt x="377135" y="326679"/>
                    </a:lnTo>
                    <a:lnTo>
                      <a:pt x="374559" y="326376"/>
                    </a:lnTo>
                    <a:lnTo>
                      <a:pt x="371074" y="327133"/>
                    </a:lnTo>
                    <a:lnTo>
                      <a:pt x="368499" y="326679"/>
                    </a:lnTo>
                    <a:lnTo>
                      <a:pt x="366983" y="325012"/>
                    </a:lnTo>
                    <a:lnTo>
                      <a:pt x="366377" y="323194"/>
                    </a:lnTo>
                    <a:lnTo>
                      <a:pt x="366680" y="321224"/>
                    </a:lnTo>
                    <a:lnTo>
                      <a:pt x="368499" y="319254"/>
                    </a:lnTo>
                    <a:lnTo>
                      <a:pt x="371680" y="317284"/>
                    </a:lnTo>
                    <a:lnTo>
                      <a:pt x="373953" y="316527"/>
                    </a:lnTo>
                    <a:lnTo>
                      <a:pt x="375166" y="316981"/>
                    </a:lnTo>
                    <a:lnTo>
                      <a:pt x="376378" y="318800"/>
                    </a:lnTo>
                    <a:lnTo>
                      <a:pt x="377438" y="321981"/>
                    </a:lnTo>
                    <a:lnTo>
                      <a:pt x="378347" y="322436"/>
                    </a:lnTo>
                    <a:lnTo>
                      <a:pt x="379105" y="320315"/>
                    </a:lnTo>
                    <a:lnTo>
                      <a:pt x="380317" y="319709"/>
                    </a:lnTo>
                    <a:lnTo>
                      <a:pt x="381833" y="320618"/>
                    </a:lnTo>
                    <a:lnTo>
                      <a:pt x="383196" y="320921"/>
                    </a:lnTo>
                    <a:lnTo>
                      <a:pt x="384408" y="320618"/>
                    </a:lnTo>
                    <a:lnTo>
                      <a:pt x="386378" y="319406"/>
                    </a:lnTo>
                    <a:lnTo>
                      <a:pt x="386378" y="317739"/>
                    </a:lnTo>
                    <a:lnTo>
                      <a:pt x="383954" y="316224"/>
                    </a:lnTo>
                    <a:lnTo>
                      <a:pt x="382438" y="315012"/>
                    </a:lnTo>
                    <a:lnTo>
                      <a:pt x="381984" y="314254"/>
                    </a:lnTo>
                    <a:lnTo>
                      <a:pt x="383499" y="314102"/>
                    </a:lnTo>
                    <a:lnTo>
                      <a:pt x="386833" y="314709"/>
                    </a:lnTo>
                    <a:lnTo>
                      <a:pt x="388348" y="316375"/>
                    </a:lnTo>
                    <a:lnTo>
                      <a:pt x="387893" y="319254"/>
                    </a:lnTo>
                    <a:lnTo>
                      <a:pt x="388348" y="321375"/>
                    </a:lnTo>
                    <a:lnTo>
                      <a:pt x="389560" y="322891"/>
                    </a:lnTo>
                    <a:lnTo>
                      <a:pt x="392136" y="321678"/>
                    </a:lnTo>
                    <a:lnTo>
                      <a:pt x="395924" y="322436"/>
                    </a:lnTo>
                    <a:lnTo>
                      <a:pt x="398500" y="322739"/>
                    </a:lnTo>
                    <a:lnTo>
                      <a:pt x="400015" y="322588"/>
                    </a:lnTo>
                    <a:lnTo>
                      <a:pt x="401076" y="323194"/>
                    </a:lnTo>
                    <a:lnTo>
                      <a:pt x="401530" y="324557"/>
                    </a:lnTo>
                    <a:lnTo>
                      <a:pt x="401227" y="326527"/>
                    </a:lnTo>
                    <a:lnTo>
                      <a:pt x="400015" y="329254"/>
                    </a:lnTo>
                    <a:lnTo>
                      <a:pt x="398803" y="330618"/>
                    </a:lnTo>
                    <a:lnTo>
                      <a:pt x="397590" y="330618"/>
                    </a:lnTo>
                    <a:lnTo>
                      <a:pt x="390621" y="333800"/>
                    </a:lnTo>
                    <a:lnTo>
                      <a:pt x="389409" y="333952"/>
                    </a:lnTo>
                    <a:lnTo>
                      <a:pt x="387893" y="335012"/>
                    </a:lnTo>
                    <a:lnTo>
                      <a:pt x="386530" y="336831"/>
                    </a:lnTo>
                    <a:lnTo>
                      <a:pt x="384560" y="338346"/>
                    </a:lnTo>
                    <a:lnTo>
                      <a:pt x="382135" y="339558"/>
                    </a:lnTo>
                    <a:lnTo>
                      <a:pt x="380317" y="341073"/>
                    </a:lnTo>
                    <a:lnTo>
                      <a:pt x="379105" y="342891"/>
                    </a:lnTo>
                    <a:lnTo>
                      <a:pt x="378045" y="343649"/>
                    </a:lnTo>
                    <a:lnTo>
                      <a:pt x="375317" y="343194"/>
                    </a:lnTo>
                    <a:lnTo>
                      <a:pt x="364862" y="341225"/>
                    </a:lnTo>
                    <a:lnTo>
                      <a:pt x="363347" y="341225"/>
                    </a:lnTo>
                    <a:lnTo>
                      <a:pt x="362438" y="341376"/>
                    </a:lnTo>
                    <a:lnTo>
                      <a:pt x="361983" y="341831"/>
                    </a:lnTo>
                    <a:lnTo>
                      <a:pt x="362135" y="342437"/>
                    </a:lnTo>
                    <a:lnTo>
                      <a:pt x="362438" y="343043"/>
                    </a:lnTo>
                    <a:lnTo>
                      <a:pt x="362438" y="343497"/>
                    </a:lnTo>
                    <a:lnTo>
                      <a:pt x="361983" y="344255"/>
                    </a:lnTo>
                    <a:lnTo>
                      <a:pt x="361832" y="345619"/>
                    </a:lnTo>
                    <a:lnTo>
                      <a:pt x="361529" y="346073"/>
                    </a:lnTo>
                    <a:lnTo>
                      <a:pt x="361225" y="346225"/>
                    </a:lnTo>
                    <a:lnTo>
                      <a:pt x="360923" y="346679"/>
                    </a:lnTo>
                    <a:lnTo>
                      <a:pt x="360620" y="348195"/>
                    </a:lnTo>
                    <a:lnTo>
                      <a:pt x="360014" y="348952"/>
                    </a:lnTo>
                    <a:lnTo>
                      <a:pt x="359710" y="350013"/>
                    </a:lnTo>
                    <a:lnTo>
                      <a:pt x="359710" y="351528"/>
                    </a:lnTo>
                    <a:lnTo>
                      <a:pt x="360014" y="352437"/>
                    </a:lnTo>
                    <a:lnTo>
                      <a:pt x="360620" y="352892"/>
                    </a:lnTo>
                    <a:lnTo>
                      <a:pt x="365923" y="352589"/>
                    </a:lnTo>
                    <a:lnTo>
                      <a:pt x="366983" y="352892"/>
                    </a:lnTo>
                    <a:lnTo>
                      <a:pt x="367892" y="354862"/>
                    </a:lnTo>
                    <a:lnTo>
                      <a:pt x="368802" y="358346"/>
                    </a:lnTo>
                    <a:lnTo>
                      <a:pt x="369105" y="361983"/>
                    </a:lnTo>
                    <a:lnTo>
                      <a:pt x="368650" y="365619"/>
                    </a:lnTo>
                    <a:lnTo>
                      <a:pt x="368499" y="377590"/>
                    </a:lnTo>
                    <a:lnTo>
                      <a:pt x="372135" y="379711"/>
                    </a:lnTo>
                    <a:lnTo>
                      <a:pt x="375923" y="381984"/>
                    </a:lnTo>
                    <a:lnTo>
                      <a:pt x="379711" y="384256"/>
                    </a:lnTo>
                    <a:lnTo>
                      <a:pt x="383499" y="386529"/>
                    </a:lnTo>
                    <a:lnTo>
                      <a:pt x="387287" y="388802"/>
                    </a:lnTo>
                    <a:lnTo>
                      <a:pt x="391075" y="391075"/>
                    </a:lnTo>
                    <a:lnTo>
                      <a:pt x="394560" y="393196"/>
                    </a:lnTo>
                    <a:lnTo>
                      <a:pt x="396076" y="394711"/>
                    </a:lnTo>
                    <a:lnTo>
                      <a:pt x="396985" y="398045"/>
                    </a:lnTo>
                    <a:lnTo>
                      <a:pt x="398651" y="400772"/>
                    </a:lnTo>
                    <a:lnTo>
                      <a:pt x="401682" y="403651"/>
                    </a:lnTo>
                    <a:lnTo>
                      <a:pt x="404864" y="406530"/>
                    </a:lnTo>
                    <a:lnTo>
                      <a:pt x="408652" y="410470"/>
                    </a:lnTo>
                    <a:lnTo>
                      <a:pt x="411379" y="413197"/>
                    </a:lnTo>
                    <a:lnTo>
                      <a:pt x="414107" y="415924"/>
                    </a:lnTo>
                    <a:lnTo>
                      <a:pt x="418652" y="420470"/>
                    </a:lnTo>
                    <a:lnTo>
                      <a:pt x="421531" y="423349"/>
                    </a:lnTo>
                    <a:lnTo>
                      <a:pt x="423804" y="423500"/>
                    </a:lnTo>
                    <a:lnTo>
                      <a:pt x="428350" y="422894"/>
                    </a:lnTo>
                    <a:lnTo>
                      <a:pt x="434410" y="421985"/>
                    </a:lnTo>
                    <a:lnTo>
                      <a:pt x="439259" y="421228"/>
                    </a:lnTo>
                    <a:lnTo>
                      <a:pt x="445016" y="420318"/>
                    </a:lnTo>
                    <a:lnTo>
                      <a:pt x="450471" y="419561"/>
                    </a:lnTo>
                    <a:lnTo>
                      <a:pt x="454866" y="418955"/>
                    </a:lnTo>
                    <a:lnTo>
                      <a:pt x="461381" y="419409"/>
                    </a:lnTo>
                    <a:lnTo>
                      <a:pt x="467745" y="419864"/>
                    </a:lnTo>
                    <a:lnTo>
                      <a:pt x="472290" y="420167"/>
                    </a:lnTo>
                    <a:lnTo>
                      <a:pt x="476836" y="420470"/>
                    </a:lnTo>
                    <a:lnTo>
                      <a:pt x="482139" y="420925"/>
                    </a:lnTo>
                    <a:lnTo>
                      <a:pt x="485170" y="421076"/>
                    </a:lnTo>
                    <a:lnTo>
                      <a:pt x="488654" y="421379"/>
                    </a:lnTo>
                    <a:lnTo>
                      <a:pt x="490170" y="420773"/>
                    </a:lnTo>
                    <a:lnTo>
                      <a:pt x="493200" y="419409"/>
                    </a:lnTo>
                    <a:lnTo>
                      <a:pt x="495928" y="418046"/>
                    </a:lnTo>
                    <a:lnTo>
                      <a:pt x="498807" y="416682"/>
                    </a:lnTo>
                    <a:lnTo>
                      <a:pt x="501382" y="415924"/>
                    </a:lnTo>
                    <a:lnTo>
                      <a:pt x="504110" y="418046"/>
                    </a:lnTo>
                    <a:lnTo>
                      <a:pt x="506383" y="420621"/>
                    </a:lnTo>
                    <a:lnTo>
                      <a:pt x="508807" y="423197"/>
                    </a:lnTo>
                    <a:lnTo>
                      <a:pt x="511534" y="425773"/>
                    </a:lnTo>
                    <a:lnTo>
                      <a:pt x="514110" y="427288"/>
                    </a:lnTo>
                    <a:lnTo>
                      <a:pt x="517595" y="429258"/>
                    </a:lnTo>
                    <a:lnTo>
                      <a:pt x="519565" y="432743"/>
                    </a:lnTo>
                    <a:lnTo>
                      <a:pt x="522292" y="437440"/>
                    </a:lnTo>
                    <a:lnTo>
                      <a:pt x="524110" y="440471"/>
                    </a:lnTo>
                    <a:lnTo>
                      <a:pt x="525928" y="443653"/>
                    </a:lnTo>
                    <a:lnTo>
                      <a:pt x="528656" y="442440"/>
                    </a:lnTo>
                    <a:lnTo>
                      <a:pt x="531535" y="441077"/>
                    </a:lnTo>
                    <a:lnTo>
                      <a:pt x="534111" y="439865"/>
                    </a:lnTo>
                    <a:lnTo>
                      <a:pt x="533808" y="443804"/>
                    </a:lnTo>
                    <a:lnTo>
                      <a:pt x="533505" y="447289"/>
                    </a:lnTo>
                    <a:lnTo>
                      <a:pt x="533050" y="452592"/>
                    </a:lnTo>
                    <a:lnTo>
                      <a:pt x="532747" y="456986"/>
                    </a:lnTo>
                    <a:lnTo>
                      <a:pt x="531838" y="462138"/>
                    </a:lnTo>
                    <a:lnTo>
                      <a:pt x="531838" y="466078"/>
                    </a:lnTo>
                    <a:lnTo>
                      <a:pt x="531838" y="469563"/>
                    </a:lnTo>
                    <a:lnTo>
                      <a:pt x="531838" y="472290"/>
                    </a:lnTo>
                    <a:lnTo>
                      <a:pt x="536838" y="472441"/>
                    </a:lnTo>
                    <a:lnTo>
                      <a:pt x="540475" y="472593"/>
                    </a:lnTo>
                    <a:lnTo>
                      <a:pt x="545172" y="472745"/>
                    </a:lnTo>
                    <a:lnTo>
                      <a:pt x="545626" y="476230"/>
                    </a:lnTo>
                    <a:lnTo>
                      <a:pt x="546233" y="481078"/>
                    </a:lnTo>
                    <a:lnTo>
                      <a:pt x="547142" y="485472"/>
                    </a:lnTo>
                    <a:lnTo>
                      <a:pt x="547899" y="489109"/>
                    </a:lnTo>
                    <a:lnTo>
                      <a:pt x="549111" y="493806"/>
                    </a:lnTo>
                    <a:lnTo>
                      <a:pt x="549717" y="496382"/>
                    </a:lnTo>
                    <a:lnTo>
                      <a:pt x="550778" y="499412"/>
                    </a:lnTo>
                    <a:lnTo>
                      <a:pt x="551839" y="500170"/>
                    </a:lnTo>
                    <a:lnTo>
                      <a:pt x="553657" y="500624"/>
                    </a:lnTo>
                    <a:lnTo>
                      <a:pt x="559869" y="500321"/>
                    </a:lnTo>
                    <a:lnTo>
                      <a:pt x="565021" y="500018"/>
                    </a:lnTo>
                    <a:lnTo>
                      <a:pt x="568961" y="499715"/>
                    </a:lnTo>
                    <a:lnTo>
                      <a:pt x="573203" y="499412"/>
                    </a:lnTo>
                    <a:lnTo>
                      <a:pt x="578810" y="499109"/>
                    </a:lnTo>
                    <a:lnTo>
                      <a:pt x="580779" y="499867"/>
                    </a:lnTo>
                    <a:lnTo>
                      <a:pt x="582446" y="499261"/>
                    </a:lnTo>
                    <a:lnTo>
                      <a:pt x="584416" y="498655"/>
                    </a:lnTo>
                    <a:lnTo>
                      <a:pt x="585931" y="500776"/>
                    </a:lnTo>
                    <a:lnTo>
                      <a:pt x="586688" y="501837"/>
                    </a:lnTo>
                    <a:lnTo>
                      <a:pt x="587749" y="502897"/>
                    </a:lnTo>
                    <a:lnTo>
                      <a:pt x="589265" y="503958"/>
                    </a:lnTo>
                    <a:lnTo>
                      <a:pt x="588658" y="506231"/>
                    </a:lnTo>
                    <a:lnTo>
                      <a:pt x="587749" y="509413"/>
                    </a:lnTo>
                    <a:lnTo>
                      <a:pt x="587446" y="511079"/>
                    </a:lnTo>
                    <a:lnTo>
                      <a:pt x="589265" y="512898"/>
                    </a:lnTo>
                    <a:lnTo>
                      <a:pt x="590628" y="513958"/>
                    </a:lnTo>
                    <a:lnTo>
                      <a:pt x="594265" y="516080"/>
                    </a:lnTo>
                    <a:lnTo>
                      <a:pt x="597598" y="517292"/>
                    </a:lnTo>
                    <a:lnTo>
                      <a:pt x="599871" y="517595"/>
                    </a:lnTo>
                    <a:lnTo>
                      <a:pt x="601992" y="517140"/>
                    </a:lnTo>
                    <a:lnTo>
                      <a:pt x="602750" y="515928"/>
                    </a:lnTo>
                    <a:lnTo>
                      <a:pt x="602598" y="514261"/>
                    </a:lnTo>
                    <a:lnTo>
                      <a:pt x="601538" y="512443"/>
                    </a:lnTo>
                    <a:lnTo>
                      <a:pt x="601538" y="510322"/>
                    </a:lnTo>
                    <a:lnTo>
                      <a:pt x="602143" y="508806"/>
                    </a:lnTo>
                    <a:lnTo>
                      <a:pt x="604265" y="506079"/>
                    </a:lnTo>
                    <a:lnTo>
                      <a:pt x="606235" y="503503"/>
                    </a:lnTo>
                    <a:lnTo>
                      <a:pt x="609417" y="500776"/>
                    </a:lnTo>
                    <a:lnTo>
                      <a:pt x="613205" y="498200"/>
                    </a:lnTo>
                    <a:lnTo>
                      <a:pt x="614720" y="496230"/>
                    </a:lnTo>
                    <a:lnTo>
                      <a:pt x="615326" y="492897"/>
                    </a:lnTo>
                    <a:lnTo>
                      <a:pt x="617751" y="490927"/>
                    </a:lnTo>
                    <a:lnTo>
                      <a:pt x="620326" y="489715"/>
                    </a:lnTo>
                    <a:lnTo>
                      <a:pt x="623660" y="488654"/>
                    </a:lnTo>
                    <a:lnTo>
                      <a:pt x="624569" y="486988"/>
                    </a:lnTo>
                    <a:lnTo>
                      <a:pt x="629115" y="484109"/>
                    </a:lnTo>
                    <a:lnTo>
                      <a:pt x="631842" y="482745"/>
                    </a:lnTo>
                    <a:lnTo>
                      <a:pt x="635175" y="481987"/>
                    </a:lnTo>
                    <a:lnTo>
                      <a:pt x="639872" y="480169"/>
                    </a:lnTo>
                    <a:lnTo>
                      <a:pt x="643660" y="478048"/>
                    </a:lnTo>
                    <a:lnTo>
                      <a:pt x="647297" y="473957"/>
                    </a:lnTo>
                    <a:lnTo>
                      <a:pt x="650176" y="471229"/>
                    </a:lnTo>
                    <a:lnTo>
                      <a:pt x="652600" y="469563"/>
                    </a:lnTo>
                    <a:lnTo>
                      <a:pt x="654570" y="469563"/>
                    </a:lnTo>
                    <a:lnTo>
                      <a:pt x="655934" y="470926"/>
                    </a:lnTo>
                    <a:lnTo>
                      <a:pt x="657146" y="471078"/>
                    </a:lnTo>
                    <a:lnTo>
                      <a:pt x="657903" y="470472"/>
                    </a:lnTo>
                    <a:lnTo>
                      <a:pt x="659267" y="468805"/>
                    </a:lnTo>
                    <a:lnTo>
                      <a:pt x="660782" y="466835"/>
                    </a:lnTo>
                    <a:lnTo>
                      <a:pt x="662146" y="465926"/>
                    </a:lnTo>
                    <a:lnTo>
                      <a:pt x="664722" y="465472"/>
                    </a:lnTo>
                    <a:lnTo>
                      <a:pt x="667146" y="464108"/>
                    </a:lnTo>
                    <a:lnTo>
                      <a:pt x="665631" y="462593"/>
                    </a:lnTo>
                    <a:lnTo>
                      <a:pt x="665631" y="461077"/>
                    </a:lnTo>
                    <a:lnTo>
                      <a:pt x="667298" y="458502"/>
                    </a:lnTo>
                    <a:lnTo>
                      <a:pt x="668661" y="457138"/>
                    </a:lnTo>
                    <a:lnTo>
                      <a:pt x="669267" y="454562"/>
                    </a:lnTo>
                    <a:lnTo>
                      <a:pt x="671237" y="452895"/>
                    </a:lnTo>
                    <a:lnTo>
                      <a:pt x="673207" y="450168"/>
                    </a:lnTo>
                    <a:lnTo>
                      <a:pt x="675631" y="448047"/>
                    </a:lnTo>
                    <a:lnTo>
                      <a:pt x="680177" y="446380"/>
                    </a:lnTo>
                    <a:lnTo>
                      <a:pt x="682753" y="446986"/>
                    </a:lnTo>
                    <a:lnTo>
                      <a:pt x="685177" y="446531"/>
                    </a:lnTo>
                    <a:lnTo>
                      <a:pt x="688813" y="445168"/>
                    </a:lnTo>
                    <a:lnTo>
                      <a:pt x="689571" y="445016"/>
                    </a:lnTo>
                    <a:lnTo>
                      <a:pt x="691087" y="445016"/>
                    </a:lnTo>
                    <a:lnTo>
                      <a:pt x="700481" y="446986"/>
                    </a:lnTo>
                    <a:lnTo>
                      <a:pt x="703663" y="447138"/>
                    </a:lnTo>
                    <a:lnTo>
                      <a:pt x="710936" y="449713"/>
                    </a:lnTo>
                    <a:lnTo>
                      <a:pt x="714269" y="450319"/>
                    </a:lnTo>
                    <a:lnTo>
                      <a:pt x="716694" y="451077"/>
                    </a:lnTo>
                    <a:lnTo>
                      <a:pt x="717754" y="452138"/>
                    </a:lnTo>
                    <a:lnTo>
                      <a:pt x="719421" y="453501"/>
                    </a:lnTo>
                    <a:lnTo>
                      <a:pt x="728663" y="454562"/>
                    </a:lnTo>
                    <a:lnTo>
                      <a:pt x="731239" y="455320"/>
                    </a:lnTo>
                    <a:lnTo>
                      <a:pt x="732148" y="456532"/>
                    </a:lnTo>
                    <a:lnTo>
                      <a:pt x="734724" y="458047"/>
                    </a:lnTo>
                    <a:lnTo>
                      <a:pt x="736997" y="458350"/>
                    </a:lnTo>
                    <a:lnTo>
                      <a:pt x="735027" y="452289"/>
                    </a:lnTo>
                    <a:lnTo>
                      <a:pt x="735785" y="448653"/>
                    </a:lnTo>
                    <a:lnTo>
                      <a:pt x="738664" y="438804"/>
                    </a:lnTo>
                    <a:lnTo>
                      <a:pt x="740179" y="437289"/>
                    </a:lnTo>
                    <a:lnTo>
                      <a:pt x="743058" y="435925"/>
                    </a:lnTo>
                    <a:lnTo>
                      <a:pt x="747603" y="434410"/>
                    </a:lnTo>
                    <a:lnTo>
                      <a:pt x="749270" y="432289"/>
                    </a:lnTo>
                    <a:lnTo>
                      <a:pt x="753058" y="432440"/>
                    </a:lnTo>
                    <a:lnTo>
                      <a:pt x="754725" y="432289"/>
                    </a:lnTo>
                    <a:lnTo>
                      <a:pt x="755786" y="431985"/>
                    </a:lnTo>
                    <a:lnTo>
                      <a:pt x="756392" y="430773"/>
                    </a:lnTo>
                    <a:lnTo>
                      <a:pt x="760634" y="432743"/>
                    </a:lnTo>
                    <a:lnTo>
                      <a:pt x="767756" y="436834"/>
                    </a:lnTo>
                    <a:lnTo>
                      <a:pt x="773059" y="439410"/>
                    </a:lnTo>
                    <a:lnTo>
                      <a:pt x="779423" y="441834"/>
                    </a:lnTo>
                    <a:lnTo>
                      <a:pt x="788211" y="444107"/>
                    </a:lnTo>
                    <a:lnTo>
                      <a:pt x="795636" y="444865"/>
                    </a:lnTo>
                    <a:lnTo>
                      <a:pt x="796848" y="444410"/>
                    </a:lnTo>
                    <a:lnTo>
                      <a:pt x="799727" y="441077"/>
                    </a:lnTo>
                    <a:lnTo>
                      <a:pt x="801090" y="440925"/>
                    </a:lnTo>
                    <a:lnTo>
                      <a:pt x="803666" y="441228"/>
                    </a:lnTo>
                    <a:lnTo>
                      <a:pt x="811545" y="441380"/>
                    </a:lnTo>
                    <a:lnTo>
                      <a:pt x="819576" y="441531"/>
                    </a:lnTo>
                    <a:lnTo>
                      <a:pt x="823364" y="441228"/>
                    </a:lnTo>
                    <a:lnTo>
                      <a:pt x="831546" y="439865"/>
                    </a:lnTo>
                    <a:lnTo>
                      <a:pt x="832758" y="439865"/>
                    </a:lnTo>
                    <a:lnTo>
                      <a:pt x="834577" y="440016"/>
                    </a:lnTo>
                    <a:lnTo>
                      <a:pt x="839425" y="441986"/>
                    </a:lnTo>
                    <a:lnTo>
                      <a:pt x="843062" y="442289"/>
                    </a:lnTo>
                    <a:lnTo>
                      <a:pt x="845486" y="442289"/>
                    </a:lnTo>
                    <a:lnTo>
                      <a:pt x="847001" y="442440"/>
                    </a:lnTo>
                    <a:lnTo>
                      <a:pt x="850032" y="442440"/>
                    </a:lnTo>
                    <a:lnTo>
                      <a:pt x="854880" y="442743"/>
                    </a:lnTo>
                    <a:lnTo>
                      <a:pt x="860941" y="443956"/>
                    </a:lnTo>
                    <a:lnTo>
                      <a:pt x="868214" y="443804"/>
                    </a:lnTo>
                    <a:lnTo>
                      <a:pt x="870638" y="443501"/>
                    </a:lnTo>
                    <a:lnTo>
                      <a:pt x="874730" y="443653"/>
                    </a:lnTo>
                    <a:lnTo>
                      <a:pt x="877911" y="444865"/>
                    </a:lnTo>
                    <a:lnTo>
                      <a:pt x="882002" y="446077"/>
                    </a:lnTo>
                    <a:lnTo>
                      <a:pt x="884578" y="446531"/>
                    </a:lnTo>
                    <a:lnTo>
                      <a:pt x="886245" y="446835"/>
                    </a:lnTo>
                    <a:lnTo>
                      <a:pt x="889275" y="446986"/>
                    </a:lnTo>
                    <a:lnTo>
                      <a:pt x="891094" y="446531"/>
                    </a:lnTo>
                    <a:lnTo>
                      <a:pt x="892154" y="447138"/>
                    </a:lnTo>
                    <a:lnTo>
                      <a:pt x="893215" y="450168"/>
                    </a:lnTo>
                    <a:lnTo>
                      <a:pt x="895791" y="452138"/>
                    </a:lnTo>
                    <a:lnTo>
                      <a:pt x="897761" y="454108"/>
                    </a:lnTo>
                    <a:lnTo>
                      <a:pt x="899428" y="456229"/>
                    </a:lnTo>
                    <a:lnTo>
                      <a:pt x="901094" y="457138"/>
                    </a:lnTo>
                    <a:lnTo>
                      <a:pt x="904125" y="457138"/>
                    </a:lnTo>
                    <a:lnTo>
                      <a:pt x="909731" y="457744"/>
                    </a:lnTo>
                    <a:lnTo>
                      <a:pt x="912913" y="458502"/>
                    </a:lnTo>
                    <a:lnTo>
                      <a:pt x="917004" y="462138"/>
                    </a:lnTo>
                    <a:lnTo>
                      <a:pt x="920792" y="465775"/>
                    </a:lnTo>
                    <a:lnTo>
                      <a:pt x="921398" y="465169"/>
                    </a:lnTo>
                    <a:lnTo>
                      <a:pt x="922156" y="464259"/>
                    </a:lnTo>
                    <a:lnTo>
                      <a:pt x="922004" y="463047"/>
                    </a:lnTo>
                    <a:lnTo>
                      <a:pt x="920640" y="458956"/>
                    </a:lnTo>
                    <a:lnTo>
                      <a:pt x="919882" y="455017"/>
                    </a:lnTo>
                    <a:lnTo>
                      <a:pt x="919428" y="451532"/>
                    </a:lnTo>
                    <a:lnTo>
                      <a:pt x="919580" y="450168"/>
                    </a:lnTo>
                    <a:lnTo>
                      <a:pt x="920640" y="447895"/>
                    </a:lnTo>
                    <a:lnTo>
                      <a:pt x="922004" y="445774"/>
                    </a:lnTo>
                    <a:lnTo>
                      <a:pt x="926701" y="443804"/>
                    </a:lnTo>
                    <a:lnTo>
                      <a:pt x="929883" y="443198"/>
                    </a:lnTo>
                    <a:lnTo>
                      <a:pt x="930035" y="441986"/>
                    </a:lnTo>
                    <a:lnTo>
                      <a:pt x="927459" y="441228"/>
                    </a:lnTo>
                    <a:lnTo>
                      <a:pt x="925640" y="440016"/>
                    </a:lnTo>
                    <a:lnTo>
                      <a:pt x="925337" y="439259"/>
                    </a:lnTo>
                    <a:lnTo>
                      <a:pt x="925489" y="438501"/>
                    </a:lnTo>
                    <a:lnTo>
                      <a:pt x="925944" y="437743"/>
                    </a:lnTo>
                    <a:lnTo>
                      <a:pt x="929125" y="436380"/>
                    </a:lnTo>
                    <a:lnTo>
                      <a:pt x="932156" y="435016"/>
                    </a:lnTo>
                    <a:lnTo>
                      <a:pt x="935792" y="435925"/>
                    </a:lnTo>
                    <a:lnTo>
                      <a:pt x="936550" y="435319"/>
                    </a:lnTo>
                    <a:lnTo>
                      <a:pt x="936702" y="433955"/>
                    </a:lnTo>
                    <a:lnTo>
                      <a:pt x="935944" y="432592"/>
                    </a:lnTo>
                    <a:lnTo>
                      <a:pt x="935186" y="430319"/>
                    </a:lnTo>
                    <a:lnTo>
                      <a:pt x="933520" y="429107"/>
                    </a:lnTo>
                    <a:lnTo>
                      <a:pt x="933520" y="427743"/>
                    </a:lnTo>
                    <a:lnTo>
                      <a:pt x="934580" y="425319"/>
                    </a:lnTo>
                    <a:lnTo>
                      <a:pt x="933065" y="420773"/>
                    </a:lnTo>
                    <a:lnTo>
                      <a:pt x="931550" y="416682"/>
                    </a:lnTo>
                    <a:lnTo>
                      <a:pt x="928823" y="409712"/>
                    </a:lnTo>
                    <a:lnTo>
                      <a:pt x="927004" y="407742"/>
                    </a:lnTo>
                    <a:lnTo>
                      <a:pt x="926095" y="404560"/>
                    </a:lnTo>
                    <a:lnTo>
                      <a:pt x="925035" y="402894"/>
                    </a:lnTo>
                    <a:lnTo>
                      <a:pt x="925186" y="400469"/>
                    </a:lnTo>
                    <a:lnTo>
                      <a:pt x="925337" y="398802"/>
                    </a:lnTo>
                    <a:lnTo>
                      <a:pt x="925035" y="395318"/>
                    </a:lnTo>
                    <a:lnTo>
                      <a:pt x="924580" y="391530"/>
                    </a:lnTo>
                    <a:lnTo>
                      <a:pt x="925035" y="387741"/>
                    </a:lnTo>
                    <a:lnTo>
                      <a:pt x="925944" y="385166"/>
                    </a:lnTo>
                    <a:lnTo>
                      <a:pt x="925640" y="384256"/>
                    </a:lnTo>
                    <a:lnTo>
                      <a:pt x="926095" y="383499"/>
                    </a:lnTo>
                    <a:lnTo>
                      <a:pt x="927610" y="383196"/>
                    </a:lnTo>
                    <a:lnTo>
                      <a:pt x="928368" y="382135"/>
                    </a:lnTo>
                    <a:lnTo>
                      <a:pt x="927610" y="381075"/>
                    </a:lnTo>
                    <a:lnTo>
                      <a:pt x="925035" y="380317"/>
                    </a:lnTo>
                    <a:lnTo>
                      <a:pt x="922156" y="379105"/>
                    </a:lnTo>
                    <a:lnTo>
                      <a:pt x="918671" y="379256"/>
                    </a:lnTo>
                    <a:lnTo>
                      <a:pt x="915034" y="379408"/>
                    </a:lnTo>
                    <a:lnTo>
                      <a:pt x="913216" y="378499"/>
                    </a:lnTo>
                    <a:lnTo>
                      <a:pt x="911701" y="377287"/>
                    </a:lnTo>
                    <a:lnTo>
                      <a:pt x="911549" y="376529"/>
                    </a:lnTo>
                    <a:lnTo>
                      <a:pt x="913671" y="374559"/>
                    </a:lnTo>
                    <a:lnTo>
                      <a:pt x="916701" y="372438"/>
                    </a:lnTo>
                    <a:lnTo>
                      <a:pt x="921398" y="371529"/>
                    </a:lnTo>
                    <a:lnTo>
                      <a:pt x="926549" y="370165"/>
                    </a:lnTo>
                    <a:lnTo>
                      <a:pt x="929125" y="369104"/>
                    </a:lnTo>
                    <a:lnTo>
                      <a:pt x="932611" y="368347"/>
                    </a:lnTo>
                    <a:lnTo>
                      <a:pt x="936550" y="368044"/>
                    </a:lnTo>
                    <a:lnTo>
                      <a:pt x="938520" y="368195"/>
                    </a:lnTo>
                    <a:lnTo>
                      <a:pt x="943671" y="366832"/>
                    </a:lnTo>
                    <a:lnTo>
                      <a:pt x="951702" y="364256"/>
                    </a:lnTo>
                    <a:lnTo>
                      <a:pt x="958975" y="362134"/>
                    </a:lnTo>
                    <a:lnTo>
                      <a:pt x="961399" y="360771"/>
                    </a:lnTo>
                    <a:lnTo>
                      <a:pt x="963218" y="362134"/>
                    </a:lnTo>
                    <a:lnTo>
                      <a:pt x="964127" y="365013"/>
                    </a:lnTo>
                    <a:lnTo>
                      <a:pt x="966248" y="366529"/>
                    </a:lnTo>
                    <a:lnTo>
                      <a:pt x="968369" y="367286"/>
                    </a:lnTo>
                    <a:lnTo>
                      <a:pt x="969581" y="367286"/>
                    </a:lnTo>
                    <a:lnTo>
                      <a:pt x="973218" y="366226"/>
                    </a:lnTo>
                    <a:lnTo>
                      <a:pt x="977157" y="365468"/>
                    </a:lnTo>
                    <a:lnTo>
                      <a:pt x="978673" y="365922"/>
                    </a:lnTo>
                    <a:lnTo>
                      <a:pt x="980642" y="367438"/>
                    </a:lnTo>
                    <a:lnTo>
                      <a:pt x="982915" y="368801"/>
                    </a:lnTo>
                    <a:lnTo>
                      <a:pt x="984128" y="368801"/>
                    </a:lnTo>
                    <a:lnTo>
                      <a:pt x="985188" y="367741"/>
                    </a:lnTo>
                    <a:lnTo>
                      <a:pt x="986249" y="365619"/>
                    </a:lnTo>
                    <a:lnTo>
                      <a:pt x="986855" y="363044"/>
                    </a:lnTo>
                    <a:lnTo>
                      <a:pt x="987007" y="360316"/>
                    </a:lnTo>
                    <a:lnTo>
                      <a:pt x="986552" y="358650"/>
                    </a:lnTo>
                    <a:lnTo>
                      <a:pt x="985794" y="358043"/>
                    </a:lnTo>
                    <a:lnTo>
                      <a:pt x="982158" y="356983"/>
                    </a:lnTo>
                    <a:lnTo>
                      <a:pt x="978673" y="355316"/>
                    </a:lnTo>
                    <a:lnTo>
                      <a:pt x="978218" y="353801"/>
                    </a:lnTo>
                    <a:lnTo>
                      <a:pt x="978370" y="352740"/>
                    </a:lnTo>
                    <a:lnTo>
                      <a:pt x="979279" y="350164"/>
                    </a:lnTo>
                    <a:lnTo>
                      <a:pt x="981552" y="345316"/>
                    </a:lnTo>
                    <a:lnTo>
                      <a:pt x="983824" y="338649"/>
                    </a:lnTo>
                    <a:lnTo>
                      <a:pt x="985037" y="333497"/>
                    </a:lnTo>
                    <a:lnTo>
                      <a:pt x="988825" y="325769"/>
                    </a:lnTo>
                    <a:lnTo>
                      <a:pt x="991704" y="317587"/>
                    </a:lnTo>
                    <a:lnTo>
                      <a:pt x="996552" y="305769"/>
                    </a:lnTo>
                    <a:lnTo>
                      <a:pt x="997310" y="303496"/>
                    </a:lnTo>
                    <a:lnTo>
                      <a:pt x="997764" y="299708"/>
                    </a:lnTo>
                    <a:lnTo>
                      <a:pt x="998067" y="298193"/>
                    </a:lnTo>
                    <a:lnTo>
                      <a:pt x="999734" y="297435"/>
                    </a:lnTo>
                    <a:lnTo>
                      <a:pt x="1002613" y="298193"/>
                    </a:lnTo>
                    <a:lnTo>
                      <a:pt x="1009431" y="300920"/>
                    </a:lnTo>
                    <a:lnTo>
                      <a:pt x="1014583" y="303193"/>
                    </a:lnTo>
                    <a:lnTo>
                      <a:pt x="1016704" y="303951"/>
                    </a:lnTo>
                    <a:lnTo>
                      <a:pt x="1019886" y="304708"/>
                    </a:lnTo>
                    <a:lnTo>
                      <a:pt x="1024887" y="305617"/>
                    </a:lnTo>
                    <a:lnTo>
                      <a:pt x="1027766" y="305314"/>
                    </a:lnTo>
                    <a:lnTo>
                      <a:pt x="1030341" y="304708"/>
                    </a:lnTo>
                    <a:lnTo>
                      <a:pt x="1033675" y="304708"/>
                    </a:lnTo>
                    <a:lnTo>
                      <a:pt x="1038978" y="305466"/>
                    </a:lnTo>
                    <a:lnTo>
                      <a:pt x="1040645" y="305466"/>
                    </a:lnTo>
                    <a:lnTo>
                      <a:pt x="1042614" y="305617"/>
                    </a:lnTo>
                    <a:lnTo>
                      <a:pt x="1044130" y="306829"/>
                    </a:lnTo>
                    <a:lnTo>
                      <a:pt x="1044887" y="309405"/>
                    </a:lnTo>
                    <a:lnTo>
                      <a:pt x="1045948" y="310617"/>
                    </a:lnTo>
                    <a:lnTo>
                      <a:pt x="1047918" y="310163"/>
                    </a:lnTo>
                    <a:lnTo>
                      <a:pt x="1052160" y="307890"/>
                    </a:lnTo>
                    <a:lnTo>
                      <a:pt x="1054888" y="306072"/>
                    </a:lnTo>
                    <a:lnTo>
                      <a:pt x="1058221" y="303496"/>
                    </a:lnTo>
                    <a:lnTo>
                      <a:pt x="1061555" y="303193"/>
                    </a:lnTo>
                    <a:lnTo>
                      <a:pt x="1065040" y="302587"/>
                    </a:lnTo>
                    <a:lnTo>
                      <a:pt x="1066252" y="301375"/>
                    </a:lnTo>
                    <a:lnTo>
                      <a:pt x="1067615" y="298344"/>
                    </a:lnTo>
                    <a:lnTo>
                      <a:pt x="1069737" y="296071"/>
                    </a:lnTo>
                    <a:lnTo>
                      <a:pt x="1070040" y="293193"/>
                    </a:lnTo>
                    <a:lnTo>
                      <a:pt x="1069282" y="291223"/>
                    </a:lnTo>
                    <a:lnTo>
                      <a:pt x="1067767" y="287889"/>
                    </a:lnTo>
                    <a:lnTo>
                      <a:pt x="1067767" y="285617"/>
                    </a:lnTo>
                    <a:lnTo>
                      <a:pt x="1067010" y="279101"/>
                    </a:lnTo>
                    <a:lnTo>
                      <a:pt x="1066100" y="273192"/>
                    </a:lnTo>
                    <a:lnTo>
                      <a:pt x="1067161" y="268495"/>
                    </a:lnTo>
                    <a:lnTo>
                      <a:pt x="1068979" y="263191"/>
                    </a:lnTo>
                    <a:lnTo>
                      <a:pt x="1069737" y="261525"/>
                    </a:lnTo>
                    <a:lnTo>
                      <a:pt x="1070798" y="259403"/>
                    </a:lnTo>
                    <a:lnTo>
                      <a:pt x="1072313" y="256828"/>
                    </a:lnTo>
                    <a:lnTo>
                      <a:pt x="1074586" y="256070"/>
                    </a:lnTo>
                    <a:lnTo>
                      <a:pt x="1080798" y="255464"/>
                    </a:lnTo>
                    <a:lnTo>
                      <a:pt x="1086555" y="254403"/>
                    </a:lnTo>
                    <a:lnTo>
                      <a:pt x="1089434" y="253343"/>
                    </a:lnTo>
                    <a:lnTo>
                      <a:pt x="1092465" y="252737"/>
                    </a:lnTo>
                    <a:lnTo>
                      <a:pt x="1094283" y="251979"/>
                    </a:lnTo>
                    <a:lnTo>
                      <a:pt x="1097465" y="248191"/>
                    </a:lnTo>
                    <a:lnTo>
                      <a:pt x="1098980" y="246070"/>
                    </a:lnTo>
                    <a:lnTo>
                      <a:pt x="1100041" y="240312"/>
                    </a:lnTo>
                    <a:lnTo>
                      <a:pt x="1099284" y="237584"/>
                    </a:lnTo>
                    <a:lnTo>
                      <a:pt x="1099889" y="235160"/>
                    </a:lnTo>
                    <a:lnTo>
                      <a:pt x="1101405" y="233645"/>
                    </a:lnTo>
                    <a:lnTo>
                      <a:pt x="1103526" y="232130"/>
                    </a:lnTo>
                    <a:lnTo>
                      <a:pt x="1104890" y="231827"/>
                    </a:lnTo>
                    <a:lnTo>
                      <a:pt x="1107920" y="231372"/>
                    </a:lnTo>
                    <a:lnTo>
                      <a:pt x="1112920" y="231524"/>
                    </a:lnTo>
                    <a:lnTo>
                      <a:pt x="1115496" y="232281"/>
                    </a:lnTo>
                    <a:lnTo>
                      <a:pt x="1113375" y="22909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1" name="Freeform: Shape 3240">
                <a:extLst>
                  <a:ext uri="{FF2B5EF4-FFF2-40B4-BE49-F238E27FC236}">
                    <a16:creationId xmlns:a16="http://schemas.microsoft.com/office/drawing/2014/main" id="{C1EEF496-C394-4031-BB76-8C25EC0762E4}"/>
                  </a:ext>
                </a:extLst>
              </p:cNvPr>
              <p:cNvSpPr/>
              <p:nvPr/>
            </p:nvSpPr>
            <p:spPr>
              <a:xfrm>
                <a:off x="3549541" y="4017731"/>
                <a:ext cx="45910" cy="13788"/>
              </a:xfrm>
              <a:custGeom>
                <a:avLst/>
                <a:gdLst>
                  <a:gd name="connsiteX0" fmla="*/ 45153 w 45910"/>
                  <a:gd name="connsiteY0" fmla="*/ 0 h 13788"/>
                  <a:gd name="connsiteX1" fmla="*/ 44699 w 45910"/>
                  <a:gd name="connsiteY1" fmla="*/ 0 h 13788"/>
                  <a:gd name="connsiteX2" fmla="*/ 44244 w 45910"/>
                  <a:gd name="connsiteY2" fmla="*/ 151 h 13788"/>
                  <a:gd name="connsiteX3" fmla="*/ 43638 w 45910"/>
                  <a:gd name="connsiteY3" fmla="*/ 606 h 13788"/>
                  <a:gd name="connsiteX4" fmla="*/ 41365 w 45910"/>
                  <a:gd name="connsiteY4" fmla="*/ 1818 h 13788"/>
                  <a:gd name="connsiteX5" fmla="*/ 42426 w 45910"/>
                  <a:gd name="connsiteY5" fmla="*/ 1970 h 13788"/>
                  <a:gd name="connsiteX6" fmla="*/ 43638 w 45910"/>
                  <a:gd name="connsiteY6" fmla="*/ 1515 h 13788"/>
                  <a:gd name="connsiteX7" fmla="*/ 45911 w 45910"/>
                  <a:gd name="connsiteY7" fmla="*/ 455 h 13788"/>
                  <a:gd name="connsiteX8" fmla="*/ 45911 w 45910"/>
                  <a:gd name="connsiteY8" fmla="*/ 303 h 13788"/>
                  <a:gd name="connsiteX9" fmla="*/ 45153 w 45910"/>
                  <a:gd name="connsiteY9" fmla="*/ 0 h 13788"/>
                  <a:gd name="connsiteX10" fmla="*/ 3636 w 45910"/>
                  <a:gd name="connsiteY10" fmla="*/ 11364 h 13788"/>
                  <a:gd name="connsiteX11" fmla="*/ 3333 w 45910"/>
                  <a:gd name="connsiteY11" fmla="*/ 11970 h 13788"/>
                  <a:gd name="connsiteX12" fmla="*/ 2273 w 45910"/>
                  <a:gd name="connsiteY12" fmla="*/ 12273 h 13788"/>
                  <a:gd name="connsiteX13" fmla="*/ 1364 w 45910"/>
                  <a:gd name="connsiteY13" fmla="*/ 11667 h 13788"/>
                  <a:gd name="connsiteX14" fmla="*/ 758 w 45910"/>
                  <a:gd name="connsiteY14" fmla="*/ 10606 h 13788"/>
                  <a:gd name="connsiteX15" fmla="*/ 0 w 45910"/>
                  <a:gd name="connsiteY15" fmla="*/ 10910 h 13788"/>
                  <a:gd name="connsiteX16" fmla="*/ 455 w 45910"/>
                  <a:gd name="connsiteY16" fmla="*/ 13637 h 13788"/>
                  <a:gd name="connsiteX17" fmla="*/ 3182 w 45910"/>
                  <a:gd name="connsiteY17" fmla="*/ 13788 h 13788"/>
                  <a:gd name="connsiteX18" fmla="*/ 3939 w 45910"/>
                  <a:gd name="connsiteY18" fmla="*/ 13637 h 13788"/>
                  <a:gd name="connsiteX19" fmla="*/ 5455 w 45910"/>
                  <a:gd name="connsiteY19" fmla="*/ 12879 h 13788"/>
                  <a:gd name="connsiteX20" fmla="*/ 8637 w 45910"/>
                  <a:gd name="connsiteY20" fmla="*/ 12879 h 13788"/>
                  <a:gd name="connsiteX21" fmla="*/ 8031 w 45910"/>
                  <a:gd name="connsiteY21" fmla="*/ 11667 h 13788"/>
                  <a:gd name="connsiteX22" fmla="*/ 3636 w 45910"/>
                  <a:gd name="connsiteY22" fmla="*/ 11364 h 13788"/>
                  <a:gd name="connsiteX23" fmla="*/ 38335 w 45910"/>
                  <a:gd name="connsiteY23" fmla="*/ 1364 h 13788"/>
                  <a:gd name="connsiteX24" fmla="*/ 36971 w 45910"/>
                  <a:gd name="connsiteY24" fmla="*/ 1667 h 13788"/>
                  <a:gd name="connsiteX25" fmla="*/ 36517 w 45910"/>
                  <a:gd name="connsiteY25" fmla="*/ 1818 h 13788"/>
                  <a:gd name="connsiteX26" fmla="*/ 36062 w 45910"/>
                  <a:gd name="connsiteY26" fmla="*/ 2121 h 13788"/>
                  <a:gd name="connsiteX27" fmla="*/ 35607 w 45910"/>
                  <a:gd name="connsiteY27" fmla="*/ 2576 h 13788"/>
                  <a:gd name="connsiteX28" fmla="*/ 35304 w 45910"/>
                  <a:gd name="connsiteY28" fmla="*/ 3030 h 13788"/>
                  <a:gd name="connsiteX29" fmla="*/ 36213 w 45910"/>
                  <a:gd name="connsiteY29" fmla="*/ 3030 h 13788"/>
                  <a:gd name="connsiteX30" fmla="*/ 38183 w 45910"/>
                  <a:gd name="connsiteY30" fmla="*/ 1818 h 13788"/>
                  <a:gd name="connsiteX31" fmla="*/ 39092 w 45910"/>
                  <a:gd name="connsiteY31" fmla="*/ 1970 h 13788"/>
                  <a:gd name="connsiteX32" fmla="*/ 39395 w 45910"/>
                  <a:gd name="connsiteY32" fmla="*/ 1818 h 13788"/>
                  <a:gd name="connsiteX33" fmla="*/ 39547 w 45910"/>
                  <a:gd name="connsiteY33" fmla="*/ 1818 h 13788"/>
                  <a:gd name="connsiteX34" fmla="*/ 39092 w 45910"/>
                  <a:gd name="connsiteY34" fmla="*/ 1515 h 13788"/>
                  <a:gd name="connsiteX35" fmla="*/ 38335 w 45910"/>
                  <a:gd name="connsiteY35" fmla="*/ 1364 h 1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910" h="13788">
                    <a:moveTo>
                      <a:pt x="45153" y="0"/>
                    </a:moveTo>
                    <a:lnTo>
                      <a:pt x="44699" y="0"/>
                    </a:lnTo>
                    <a:lnTo>
                      <a:pt x="44244" y="151"/>
                    </a:lnTo>
                    <a:lnTo>
                      <a:pt x="43638" y="606"/>
                    </a:lnTo>
                    <a:lnTo>
                      <a:pt x="41365" y="1818"/>
                    </a:lnTo>
                    <a:lnTo>
                      <a:pt x="42426" y="1970"/>
                    </a:lnTo>
                    <a:lnTo>
                      <a:pt x="43638" y="1515"/>
                    </a:lnTo>
                    <a:lnTo>
                      <a:pt x="45911" y="455"/>
                    </a:lnTo>
                    <a:lnTo>
                      <a:pt x="45911" y="303"/>
                    </a:lnTo>
                    <a:lnTo>
                      <a:pt x="45153" y="0"/>
                    </a:lnTo>
                    <a:close/>
                    <a:moveTo>
                      <a:pt x="3636" y="11364"/>
                    </a:moveTo>
                    <a:lnTo>
                      <a:pt x="3333" y="11970"/>
                    </a:lnTo>
                    <a:lnTo>
                      <a:pt x="2273" y="12273"/>
                    </a:lnTo>
                    <a:lnTo>
                      <a:pt x="1364" y="11667"/>
                    </a:lnTo>
                    <a:lnTo>
                      <a:pt x="758" y="10606"/>
                    </a:lnTo>
                    <a:lnTo>
                      <a:pt x="0" y="10910"/>
                    </a:lnTo>
                    <a:lnTo>
                      <a:pt x="455" y="13637"/>
                    </a:lnTo>
                    <a:lnTo>
                      <a:pt x="3182" y="13788"/>
                    </a:lnTo>
                    <a:lnTo>
                      <a:pt x="3939" y="13637"/>
                    </a:lnTo>
                    <a:lnTo>
                      <a:pt x="5455" y="12879"/>
                    </a:lnTo>
                    <a:lnTo>
                      <a:pt x="8637" y="12879"/>
                    </a:lnTo>
                    <a:lnTo>
                      <a:pt x="8031" y="11667"/>
                    </a:lnTo>
                    <a:lnTo>
                      <a:pt x="3636" y="11364"/>
                    </a:lnTo>
                    <a:close/>
                    <a:moveTo>
                      <a:pt x="38335" y="1364"/>
                    </a:moveTo>
                    <a:lnTo>
                      <a:pt x="36971" y="1667"/>
                    </a:lnTo>
                    <a:lnTo>
                      <a:pt x="36517" y="1818"/>
                    </a:lnTo>
                    <a:lnTo>
                      <a:pt x="36062" y="2121"/>
                    </a:lnTo>
                    <a:lnTo>
                      <a:pt x="35607" y="2576"/>
                    </a:lnTo>
                    <a:lnTo>
                      <a:pt x="35304" y="3030"/>
                    </a:lnTo>
                    <a:lnTo>
                      <a:pt x="36213" y="3030"/>
                    </a:lnTo>
                    <a:lnTo>
                      <a:pt x="38183" y="1818"/>
                    </a:lnTo>
                    <a:lnTo>
                      <a:pt x="39092" y="1970"/>
                    </a:lnTo>
                    <a:lnTo>
                      <a:pt x="39395" y="1818"/>
                    </a:lnTo>
                    <a:lnTo>
                      <a:pt x="39547" y="1818"/>
                    </a:lnTo>
                    <a:lnTo>
                      <a:pt x="39092" y="1515"/>
                    </a:lnTo>
                    <a:lnTo>
                      <a:pt x="38335" y="1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2" name="Freeform: Shape 3241">
                <a:extLst>
                  <a:ext uri="{FF2B5EF4-FFF2-40B4-BE49-F238E27FC236}">
                    <a16:creationId xmlns:a16="http://schemas.microsoft.com/office/drawing/2014/main" id="{51B99405-6E31-469A-8D7C-09317CB7C864}"/>
                  </a:ext>
                </a:extLst>
              </p:cNvPr>
              <p:cNvSpPr/>
              <p:nvPr/>
            </p:nvSpPr>
            <p:spPr>
              <a:xfrm>
                <a:off x="7049974" y="3718326"/>
                <a:ext cx="52123" cy="46365"/>
              </a:xfrm>
              <a:custGeom>
                <a:avLst/>
                <a:gdLst>
                  <a:gd name="connsiteX0" fmla="*/ 51214 w 52123"/>
                  <a:gd name="connsiteY0" fmla="*/ 43487 h 46365"/>
                  <a:gd name="connsiteX1" fmla="*/ 50760 w 52123"/>
                  <a:gd name="connsiteY1" fmla="*/ 41668 h 46365"/>
                  <a:gd name="connsiteX2" fmla="*/ 49850 w 52123"/>
                  <a:gd name="connsiteY2" fmla="*/ 39547 h 46365"/>
                  <a:gd name="connsiteX3" fmla="*/ 47426 w 52123"/>
                  <a:gd name="connsiteY3" fmla="*/ 35456 h 46365"/>
                  <a:gd name="connsiteX4" fmla="*/ 45608 w 52123"/>
                  <a:gd name="connsiteY4" fmla="*/ 33183 h 46365"/>
                  <a:gd name="connsiteX5" fmla="*/ 43335 w 52123"/>
                  <a:gd name="connsiteY5" fmla="*/ 26365 h 46365"/>
                  <a:gd name="connsiteX6" fmla="*/ 42881 w 52123"/>
                  <a:gd name="connsiteY6" fmla="*/ 24395 h 46365"/>
                  <a:gd name="connsiteX7" fmla="*/ 41972 w 52123"/>
                  <a:gd name="connsiteY7" fmla="*/ 21971 h 46365"/>
                  <a:gd name="connsiteX8" fmla="*/ 40456 w 52123"/>
                  <a:gd name="connsiteY8" fmla="*/ 21062 h 46365"/>
                  <a:gd name="connsiteX9" fmla="*/ 38789 w 52123"/>
                  <a:gd name="connsiteY9" fmla="*/ 21668 h 46365"/>
                  <a:gd name="connsiteX10" fmla="*/ 36365 w 52123"/>
                  <a:gd name="connsiteY10" fmla="*/ 21668 h 46365"/>
                  <a:gd name="connsiteX11" fmla="*/ 33032 w 52123"/>
                  <a:gd name="connsiteY11" fmla="*/ 20910 h 46365"/>
                  <a:gd name="connsiteX12" fmla="*/ 33032 w 52123"/>
                  <a:gd name="connsiteY12" fmla="*/ 20152 h 46365"/>
                  <a:gd name="connsiteX13" fmla="*/ 35607 w 52123"/>
                  <a:gd name="connsiteY13" fmla="*/ 18031 h 46365"/>
                  <a:gd name="connsiteX14" fmla="*/ 39698 w 52123"/>
                  <a:gd name="connsiteY14" fmla="*/ 14243 h 46365"/>
                  <a:gd name="connsiteX15" fmla="*/ 41820 w 52123"/>
                  <a:gd name="connsiteY15" fmla="*/ 14849 h 46365"/>
                  <a:gd name="connsiteX16" fmla="*/ 42881 w 52123"/>
                  <a:gd name="connsiteY16" fmla="*/ 15455 h 46365"/>
                  <a:gd name="connsiteX17" fmla="*/ 44396 w 52123"/>
                  <a:gd name="connsiteY17" fmla="*/ 15607 h 46365"/>
                  <a:gd name="connsiteX18" fmla="*/ 44244 w 52123"/>
                  <a:gd name="connsiteY18" fmla="*/ 14243 h 46365"/>
                  <a:gd name="connsiteX19" fmla="*/ 42577 w 52123"/>
                  <a:gd name="connsiteY19" fmla="*/ 11364 h 46365"/>
                  <a:gd name="connsiteX20" fmla="*/ 40608 w 52123"/>
                  <a:gd name="connsiteY20" fmla="*/ 7728 h 46365"/>
                  <a:gd name="connsiteX21" fmla="*/ 39698 w 52123"/>
                  <a:gd name="connsiteY21" fmla="*/ 4394 h 46365"/>
                  <a:gd name="connsiteX22" fmla="*/ 39850 w 52123"/>
                  <a:gd name="connsiteY22" fmla="*/ 3333 h 46365"/>
                  <a:gd name="connsiteX23" fmla="*/ 33638 w 52123"/>
                  <a:gd name="connsiteY23" fmla="*/ 606 h 46365"/>
                  <a:gd name="connsiteX24" fmla="*/ 31365 w 52123"/>
                  <a:gd name="connsiteY24" fmla="*/ 0 h 46365"/>
                  <a:gd name="connsiteX25" fmla="*/ 30607 w 52123"/>
                  <a:gd name="connsiteY25" fmla="*/ 0 h 46365"/>
                  <a:gd name="connsiteX26" fmla="*/ 27122 w 52123"/>
                  <a:gd name="connsiteY26" fmla="*/ 0 h 46365"/>
                  <a:gd name="connsiteX27" fmla="*/ 22122 w 52123"/>
                  <a:gd name="connsiteY27" fmla="*/ 455 h 46365"/>
                  <a:gd name="connsiteX28" fmla="*/ 19092 w 52123"/>
                  <a:gd name="connsiteY28" fmla="*/ 1667 h 46365"/>
                  <a:gd name="connsiteX29" fmla="*/ 16970 w 52123"/>
                  <a:gd name="connsiteY29" fmla="*/ 2879 h 46365"/>
                  <a:gd name="connsiteX30" fmla="*/ 16061 w 52123"/>
                  <a:gd name="connsiteY30" fmla="*/ 4091 h 46365"/>
                  <a:gd name="connsiteX31" fmla="*/ 15758 w 52123"/>
                  <a:gd name="connsiteY31" fmla="*/ 4697 h 46365"/>
                  <a:gd name="connsiteX32" fmla="*/ 14092 w 52123"/>
                  <a:gd name="connsiteY32" fmla="*/ 8182 h 46365"/>
                  <a:gd name="connsiteX33" fmla="*/ 12273 w 52123"/>
                  <a:gd name="connsiteY33" fmla="*/ 12576 h 46365"/>
                  <a:gd name="connsiteX34" fmla="*/ 10304 w 52123"/>
                  <a:gd name="connsiteY34" fmla="*/ 16667 h 46365"/>
                  <a:gd name="connsiteX35" fmla="*/ 6516 w 52123"/>
                  <a:gd name="connsiteY35" fmla="*/ 22274 h 46365"/>
                  <a:gd name="connsiteX36" fmla="*/ 4394 w 52123"/>
                  <a:gd name="connsiteY36" fmla="*/ 24850 h 46365"/>
                  <a:gd name="connsiteX37" fmla="*/ 0 w 52123"/>
                  <a:gd name="connsiteY37" fmla="*/ 29698 h 46365"/>
                  <a:gd name="connsiteX38" fmla="*/ 5303 w 52123"/>
                  <a:gd name="connsiteY38" fmla="*/ 30304 h 46365"/>
                  <a:gd name="connsiteX39" fmla="*/ 12273 w 52123"/>
                  <a:gd name="connsiteY39" fmla="*/ 31213 h 46365"/>
                  <a:gd name="connsiteX40" fmla="*/ 16516 w 52123"/>
                  <a:gd name="connsiteY40" fmla="*/ 31819 h 46365"/>
                  <a:gd name="connsiteX41" fmla="*/ 24546 w 52123"/>
                  <a:gd name="connsiteY41" fmla="*/ 32880 h 46365"/>
                  <a:gd name="connsiteX42" fmla="*/ 26971 w 52123"/>
                  <a:gd name="connsiteY42" fmla="*/ 37426 h 46365"/>
                  <a:gd name="connsiteX43" fmla="*/ 27880 w 52123"/>
                  <a:gd name="connsiteY43" fmla="*/ 40608 h 46365"/>
                  <a:gd name="connsiteX44" fmla="*/ 28638 w 52123"/>
                  <a:gd name="connsiteY44" fmla="*/ 43638 h 46365"/>
                  <a:gd name="connsiteX45" fmla="*/ 31062 w 52123"/>
                  <a:gd name="connsiteY45" fmla="*/ 46366 h 46365"/>
                  <a:gd name="connsiteX46" fmla="*/ 36517 w 52123"/>
                  <a:gd name="connsiteY46" fmla="*/ 46366 h 46365"/>
                  <a:gd name="connsiteX47" fmla="*/ 41365 w 52123"/>
                  <a:gd name="connsiteY47" fmla="*/ 46366 h 46365"/>
                  <a:gd name="connsiteX48" fmla="*/ 47426 w 52123"/>
                  <a:gd name="connsiteY48" fmla="*/ 46214 h 46365"/>
                  <a:gd name="connsiteX49" fmla="*/ 52123 w 52123"/>
                  <a:gd name="connsiteY49" fmla="*/ 46214 h 46365"/>
                  <a:gd name="connsiteX50" fmla="*/ 51214 w 52123"/>
                  <a:gd name="connsiteY50" fmla="*/ 43487 h 46365"/>
                  <a:gd name="connsiteX51" fmla="*/ 44396 w 52123"/>
                  <a:gd name="connsiteY51" fmla="*/ 12728 h 46365"/>
                  <a:gd name="connsiteX52" fmla="*/ 45456 w 52123"/>
                  <a:gd name="connsiteY52" fmla="*/ 14395 h 46365"/>
                  <a:gd name="connsiteX53" fmla="*/ 46517 w 52123"/>
                  <a:gd name="connsiteY53" fmla="*/ 14698 h 46365"/>
                  <a:gd name="connsiteX54" fmla="*/ 48032 w 52123"/>
                  <a:gd name="connsiteY54" fmla="*/ 14092 h 46365"/>
                  <a:gd name="connsiteX55" fmla="*/ 49850 w 52123"/>
                  <a:gd name="connsiteY55" fmla="*/ 11970 h 46365"/>
                  <a:gd name="connsiteX56" fmla="*/ 50002 w 52123"/>
                  <a:gd name="connsiteY56" fmla="*/ 11213 h 46365"/>
                  <a:gd name="connsiteX57" fmla="*/ 50002 w 52123"/>
                  <a:gd name="connsiteY57" fmla="*/ 9394 h 46365"/>
                  <a:gd name="connsiteX58" fmla="*/ 46669 w 52123"/>
                  <a:gd name="connsiteY58" fmla="*/ 4849 h 46365"/>
                  <a:gd name="connsiteX59" fmla="*/ 45456 w 52123"/>
                  <a:gd name="connsiteY59" fmla="*/ 3637 h 46365"/>
                  <a:gd name="connsiteX60" fmla="*/ 44699 w 52123"/>
                  <a:gd name="connsiteY60" fmla="*/ 4243 h 46365"/>
                  <a:gd name="connsiteX61" fmla="*/ 44093 w 52123"/>
                  <a:gd name="connsiteY61" fmla="*/ 6061 h 46365"/>
                  <a:gd name="connsiteX62" fmla="*/ 43638 w 52123"/>
                  <a:gd name="connsiteY62" fmla="*/ 6364 h 46365"/>
                  <a:gd name="connsiteX63" fmla="*/ 43486 w 52123"/>
                  <a:gd name="connsiteY63" fmla="*/ 6819 h 46365"/>
                  <a:gd name="connsiteX64" fmla="*/ 43486 w 52123"/>
                  <a:gd name="connsiteY64" fmla="*/ 7425 h 46365"/>
                  <a:gd name="connsiteX65" fmla="*/ 42577 w 52123"/>
                  <a:gd name="connsiteY65" fmla="*/ 8940 h 46365"/>
                  <a:gd name="connsiteX66" fmla="*/ 44396 w 52123"/>
                  <a:gd name="connsiteY66" fmla="*/ 12728 h 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2123" h="46365">
                    <a:moveTo>
                      <a:pt x="51214" y="43487"/>
                    </a:moveTo>
                    <a:lnTo>
                      <a:pt x="50760" y="41668"/>
                    </a:lnTo>
                    <a:lnTo>
                      <a:pt x="49850" y="39547"/>
                    </a:lnTo>
                    <a:lnTo>
                      <a:pt x="47426" y="35456"/>
                    </a:lnTo>
                    <a:lnTo>
                      <a:pt x="45608" y="33183"/>
                    </a:lnTo>
                    <a:lnTo>
                      <a:pt x="43335" y="26365"/>
                    </a:lnTo>
                    <a:lnTo>
                      <a:pt x="42881" y="24395"/>
                    </a:lnTo>
                    <a:lnTo>
                      <a:pt x="41972" y="21971"/>
                    </a:lnTo>
                    <a:lnTo>
                      <a:pt x="40456" y="21062"/>
                    </a:lnTo>
                    <a:lnTo>
                      <a:pt x="38789" y="21668"/>
                    </a:lnTo>
                    <a:lnTo>
                      <a:pt x="36365" y="21668"/>
                    </a:lnTo>
                    <a:lnTo>
                      <a:pt x="33032" y="20910"/>
                    </a:lnTo>
                    <a:lnTo>
                      <a:pt x="33032" y="20152"/>
                    </a:lnTo>
                    <a:lnTo>
                      <a:pt x="35607" y="18031"/>
                    </a:lnTo>
                    <a:lnTo>
                      <a:pt x="39698" y="14243"/>
                    </a:lnTo>
                    <a:lnTo>
                      <a:pt x="41820" y="14849"/>
                    </a:lnTo>
                    <a:lnTo>
                      <a:pt x="42881" y="15455"/>
                    </a:lnTo>
                    <a:lnTo>
                      <a:pt x="44396" y="15607"/>
                    </a:lnTo>
                    <a:lnTo>
                      <a:pt x="44244" y="14243"/>
                    </a:lnTo>
                    <a:lnTo>
                      <a:pt x="42577" y="11364"/>
                    </a:lnTo>
                    <a:lnTo>
                      <a:pt x="40608" y="7728"/>
                    </a:lnTo>
                    <a:lnTo>
                      <a:pt x="39698" y="4394"/>
                    </a:lnTo>
                    <a:lnTo>
                      <a:pt x="39850" y="3333"/>
                    </a:lnTo>
                    <a:lnTo>
                      <a:pt x="33638" y="606"/>
                    </a:lnTo>
                    <a:lnTo>
                      <a:pt x="31365" y="0"/>
                    </a:lnTo>
                    <a:lnTo>
                      <a:pt x="30607" y="0"/>
                    </a:lnTo>
                    <a:lnTo>
                      <a:pt x="27122" y="0"/>
                    </a:lnTo>
                    <a:lnTo>
                      <a:pt x="22122" y="455"/>
                    </a:lnTo>
                    <a:lnTo>
                      <a:pt x="19092" y="1667"/>
                    </a:lnTo>
                    <a:lnTo>
                      <a:pt x="16970" y="2879"/>
                    </a:lnTo>
                    <a:lnTo>
                      <a:pt x="16061" y="4091"/>
                    </a:lnTo>
                    <a:lnTo>
                      <a:pt x="15758" y="4697"/>
                    </a:lnTo>
                    <a:lnTo>
                      <a:pt x="14092" y="8182"/>
                    </a:lnTo>
                    <a:lnTo>
                      <a:pt x="12273" y="12576"/>
                    </a:lnTo>
                    <a:lnTo>
                      <a:pt x="10304" y="16667"/>
                    </a:lnTo>
                    <a:lnTo>
                      <a:pt x="6516" y="22274"/>
                    </a:lnTo>
                    <a:lnTo>
                      <a:pt x="4394" y="24850"/>
                    </a:lnTo>
                    <a:lnTo>
                      <a:pt x="0" y="29698"/>
                    </a:lnTo>
                    <a:lnTo>
                      <a:pt x="5303" y="30304"/>
                    </a:lnTo>
                    <a:lnTo>
                      <a:pt x="12273" y="31213"/>
                    </a:lnTo>
                    <a:lnTo>
                      <a:pt x="16516" y="31819"/>
                    </a:lnTo>
                    <a:lnTo>
                      <a:pt x="24546" y="32880"/>
                    </a:lnTo>
                    <a:lnTo>
                      <a:pt x="26971" y="37426"/>
                    </a:lnTo>
                    <a:lnTo>
                      <a:pt x="27880" y="40608"/>
                    </a:lnTo>
                    <a:lnTo>
                      <a:pt x="28638" y="43638"/>
                    </a:lnTo>
                    <a:lnTo>
                      <a:pt x="31062" y="46366"/>
                    </a:lnTo>
                    <a:lnTo>
                      <a:pt x="36517" y="46366"/>
                    </a:lnTo>
                    <a:lnTo>
                      <a:pt x="41365" y="46366"/>
                    </a:lnTo>
                    <a:lnTo>
                      <a:pt x="47426" y="46214"/>
                    </a:lnTo>
                    <a:lnTo>
                      <a:pt x="52123" y="46214"/>
                    </a:lnTo>
                    <a:lnTo>
                      <a:pt x="51214" y="43487"/>
                    </a:lnTo>
                    <a:close/>
                    <a:moveTo>
                      <a:pt x="44396" y="12728"/>
                    </a:moveTo>
                    <a:lnTo>
                      <a:pt x="45456" y="14395"/>
                    </a:lnTo>
                    <a:lnTo>
                      <a:pt x="46517" y="14698"/>
                    </a:lnTo>
                    <a:lnTo>
                      <a:pt x="48032" y="14092"/>
                    </a:lnTo>
                    <a:lnTo>
                      <a:pt x="49850" y="11970"/>
                    </a:lnTo>
                    <a:lnTo>
                      <a:pt x="50002" y="11213"/>
                    </a:lnTo>
                    <a:lnTo>
                      <a:pt x="50002" y="9394"/>
                    </a:lnTo>
                    <a:lnTo>
                      <a:pt x="46669" y="4849"/>
                    </a:lnTo>
                    <a:lnTo>
                      <a:pt x="45456" y="3637"/>
                    </a:lnTo>
                    <a:lnTo>
                      <a:pt x="44699" y="4243"/>
                    </a:lnTo>
                    <a:lnTo>
                      <a:pt x="44093" y="6061"/>
                    </a:lnTo>
                    <a:lnTo>
                      <a:pt x="43638" y="6364"/>
                    </a:lnTo>
                    <a:lnTo>
                      <a:pt x="43486" y="6819"/>
                    </a:lnTo>
                    <a:lnTo>
                      <a:pt x="43486" y="7425"/>
                    </a:lnTo>
                    <a:lnTo>
                      <a:pt x="42577" y="8940"/>
                    </a:lnTo>
                    <a:lnTo>
                      <a:pt x="44396" y="12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3" name="Freeform: Shape 3242">
                <a:extLst>
                  <a:ext uri="{FF2B5EF4-FFF2-40B4-BE49-F238E27FC236}">
                    <a16:creationId xmlns:a16="http://schemas.microsoft.com/office/drawing/2014/main" id="{24088D06-CDD1-4B98-BDA2-CCD0A74E73CE}"/>
                  </a:ext>
                </a:extLst>
              </p:cNvPr>
              <p:cNvSpPr/>
              <p:nvPr/>
            </p:nvSpPr>
            <p:spPr>
              <a:xfrm>
                <a:off x="9224752" y="3455589"/>
                <a:ext cx="134853" cy="169248"/>
              </a:xfrm>
              <a:custGeom>
                <a:avLst/>
                <a:gdLst>
                  <a:gd name="connsiteX0" fmla="*/ 20607 w 134853"/>
                  <a:gd name="connsiteY0" fmla="*/ 158339 h 169248"/>
                  <a:gd name="connsiteX1" fmla="*/ 18788 w 134853"/>
                  <a:gd name="connsiteY1" fmla="*/ 158491 h 169248"/>
                  <a:gd name="connsiteX2" fmla="*/ 8940 w 134853"/>
                  <a:gd name="connsiteY2" fmla="*/ 161218 h 169248"/>
                  <a:gd name="connsiteX3" fmla="*/ 5152 w 134853"/>
                  <a:gd name="connsiteY3" fmla="*/ 164097 h 169248"/>
                  <a:gd name="connsiteX4" fmla="*/ 4243 w 134853"/>
                  <a:gd name="connsiteY4" fmla="*/ 165764 h 169248"/>
                  <a:gd name="connsiteX5" fmla="*/ 4545 w 134853"/>
                  <a:gd name="connsiteY5" fmla="*/ 166673 h 169248"/>
                  <a:gd name="connsiteX6" fmla="*/ 5910 w 134853"/>
                  <a:gd name="connsiteY6" fmla="*/ 168491 h 169248"/>
                  <a:gd name="connsiteX7" fmla="*/ 6213 w 134853"/>
                  <a:gd name="connsiteY7" fmla="*/ 168794 h 169248"/>
                  <a:gd name="connsiteX8" fmla="*/ 7424 w 134853"/>
                  <a:gd name="connsiteY8" fmla="*/ 169249 h 169248"/>
                  <a:gd name="connsiteX9" fmla="*/ 8637 w 134853"/>
                  <a:gd name="connsiteY9" fmla="*/ 168643 h 169248"/>
                  <a:gd name="connsiteX10" fmla="*/ 15607 w 134853"/>
                  <a:gd name="connsiteY10" fmla="*/ 168188 h 169248"/>
                  <a:gd name="connsiteX11" fmla="*/ 19092 w 134853"/>
                  <a:gd name="connsiteY11" fmla="*/ 167127 h 169248"/>
                  <a:gd name="connsiteX12" fmla="*/ 23637 w 134853"/>
                  <a:gd name="connsiteY12" fmla="*/ 165006 h 169248"/>
                  <a:gd name="connsiteX13" fmla="*/ 24546 w 134853"/>
                  <a:gd name="connsiteY13" fmla="*/ 163794 h 169248"/>
                  <a:gd name="connsiteX14" fmla="*/ 25304 w 134853"/>
                  <a:gd name="connsiteY14" fmla="*/ 161976 h 169248"/>
                  <a:gd name="connsiteX15" fmla="*/ 24546 w 134853"/>
                  <a:gd name="connsiteY15" fmla="*/ 159854 h 169248"/>
                  <a:gd name="connsiteX16" fmla="*/ 20607 w 134853"/>
                  <a:gd name="connsiteY16" fmla="*/ 158339 h 169248"/>
                  <a:gd name="connsiteX17" fmla="*/ 20456 w 134853"/>
                  <a:gd name="connsiteY17" fmla="*/ 134096 h 169248"/>
                  <a:gd name="connsiteX18" fmla="*/ 18940 w 134853"/>
                  <a:gd name="connsiteY18" fmla="*/ 132429 h 169248"/>
                  <a:gd name="connsiteX19" fmla="*/ 17577 w 134853"/>
                  <a:gd name="connsiteY19" fmla="*/ 132581 h 169248"/>
                  <a:gd name="connsiteX20" fmla="*/ 17425 w 134853"/>
                  <a:gd name="connsiteY20" fmla="*/ 133793 h 169248"/>
                  <a:gd name="connsiteX21" fmla="*/ 18637 w 134853"/>
                  <a:gd name="connsiteY21" fmla="*/ 135156 h 169248"/>
                  <a:gd name="connsiteX22" fmla="*/ 20910 w 134853"/>
                  <a:gd name="connsiteY22" fmla="*/ 135460 h 169248"/>
                  <a:gd name="connsiteX23" fmla="*/ 20456 w 134853"/>
                  <a:gd name="connsiteY23" fmla="*/ 134096 h 169248"/>
                  <a:gd name="connsiteX24" fmla="*/ 11516 w 134853"/>
                  <a:gd name="connsiteY24" fmla="*/ 32123 h 169248"/>
                  <a:gd name="connsiteX25" fmla="*/ 12576 w 134853"/>
                  <a:gd name="connsiteY25" fmla="*/ 32577 h 169248"/>
                  <a:gd name="connsiteX26" fmla="*/ 14091 w 134853"/>
                  <a:gd name="connsiteY26" fmla="*/ 32729 h 169248"/>
                  <a:gd name="connsiteX27" fmla="*/ 14243 w 134853"/>
                  <a:gd name="connsiteY27" fmla="*/ 28486 h 169248"/>
                  <a:gd name="connsiteX28" fmla="*/ 13486 w 134853"/>
                  <a:gd name="connsiteY28" fmla="*/ 26971 h 169248"/>
                  <a:gd name="connsiteX29" fmla="*/ 11212 w 134853"/>
                  <a:gd name="connsiteY29" fmla="*/ 25758 h 169248"/>
                  <a:gd name="connsiteX30" fmla="*/ 10001 w 134853"/>
                  <a:gd name="connsiteY30" fmla="*/ 27425 h 169248"/>
                  <a:gd name="connsiteX31" fmla="*/ 11061 w 134853"/>
                  <a:gd name="connsiteY31" fmla="*/ 31365 h 169248"/>
                  <a:gd name="connsiteX32" fmla="*/ 11516 w 134853"/>
                  <a:gd name="connsiteY32" fmla="*/ 32123 h 169248"/>
                  <a:gd name="connsiteX33" fmla="*/ 47426 w 134853"/>
                  <a:gd name="connsiteY33" fmla="*/ 125308 h 169248"/>
                  <a:gd name="connsiteX34" fmla="*/ 48790 w 134853"/>
                  <a:gd name="connsiteY34" fmla="*/ 126823 h 169248"/>
                  <a:gd name="connsiteX35" fmla="*/ 49093 w 134853"/>
                  <a:gd name="connsiteY35" fmla="*/ 125914 h 169248"/>
                  <a:gd name="connsiteX36" fmla="*/ 48790 w 134853"/>
                  <a:gd name="connsiteY36" fmla="*/ 123792 h 169248"/>
                  <a:gd name="connsiteX37" fmla="*/ 47426 w 134853"/>
                  <a:gd name="connsiteY37" fmla="*/ 125308 h 169248"/>
                  <a:gd name="connsiteX38" fmla="*/ 6213 w 134853"/>
                  <a:gd name="connsiteY38" fmla="*/ 133338 h 169248"/>
                  <a:gd name="connsiteX39" fmla="*/ 8940 w 134853"/>
                  <a:gd name="connsiteY39" fmla="*/ 131672 h 169248"/>
                  <a:gd name="connsiteX40" fmla="*/ 10152 w 134853"/>
                  <a:gd name="connsiteY40" fmla="*/ 129399 h 169248"/>
                  <a:gd name="connsiteX41" fmla="*/ 9092 w 134853"/>
                  <a:gd name="connsiteY41" fmla="*/ 127883 h 169248"/>
                  <a:gd name="connsiteX42" fmla="*/ 6515 w 134853"/>
                  <a:gd name="connsiteY42" fmla="*/ 127278 h 169248"/>
                  <a:gd name="connsiteX43" fmla="*/ 5910 w 134853"/>
                  <a:gd name="connsiteY43" fmla="*/ 128187 h 169248"/>
                  <a:gd name="connsiteX44" fmla="*/ 3031 w 134853"/>
                  <a:gd name="connsiteY44" fmla="*/ 130914 h 169248"/>
                  <a:gd name="connsiteX45" fmla="*/ 2576 w 134853"/>
                  <a:gd name="connsiteY45" fmla="*/ 132278 h 169248"/>
                  <a:gd name="connsiteX46" fmla="*/ 3334 w 134853"/>
                  <a:gd name="connsiteY46" fmla="*/ 132581 h 169248"/>
                  <a:gd name="connsiteX47" fmla="*/ 4243 w 134853"/>
                  <a:gd name="connsiteY47" fmla="*/ 133641 h 169248"/>
                  <a:gd name="connsiteX48" fmla="*/ 6213 w 134853"/>
                  <a:gd name="connsiteY48" fmla="*/ 133338 h 169248"/>
                  <a:gd name="connsiteX49" fmla="*/ 4243 w 134853"/>
                  <a:gd name="connsiteY49" fmla="*/ 122883 h 169248"/>
                  <a:gd name="connsiteX50" fmla="*/ 4545 w 134853"/>
                  <a:gd name="connsiteY50" fmla="*/ 122126 h 169248"/>
                  <a:gd name="connsiteX51" fmla="*/ 4395 w 134853"/>
                  <a:gd name="connsiteY51" fmla="*/ 119095 h 169248"/>
                  <a:gd name="connsiteX52" fmla="*/ 1970 w 134853"/>
                  <a:gd name="connsiteY52" fmla="*/ 116519 h 169248"/>
                  <a:gd name="connsiteX53" fmla="*/ 0 w 134853"/>
                  <a:gd name="connsiteY53" fmla="*/ 118035 h 169248"/>
                  <a:gd name="connsiteX54" fmla="*/ 1212 w 134853"/>
                  <a:gd name="connsiteY54" fmla="*/ 118944 h 169248"/>
                  <a:gd name="connsiteX55" fmla="*/ 1667 w 134853"/>
                  <a:gd name="connsiteY55" fmla="*/ 120611 h 169248"/>
                  <a:gd name="connsiteX56" fmla="*/ 2879 w 134853"/>
                  <a:gd name="connsiteY56" fmla="*/ 122732 h 169248"/>
                  <a:gd name="connsiteX57" fmla="*/ 4243 w 134853"/>
                  <a:gd name="connsiteY57" fmla="*/ 122883 h 169248"/>
                  <a:gd name="connsiteX58" fmla="*/ 134096 w 134853"/>
                  <a:gd name="connsiteY58" fmla="*/ 34244 h 169248"/>
                  <a:gd name="connsiteX59" fmla="*/ 132277 w 134853"/>
                  <a:gd name="connsiteY59" fmla="*/ 34698 h 169248"/>
                  <a:gd name="connsiteX60" fmla="*/ 131520 w 134853"/>
                  <a:gd name="connsiteY60" fmla="*/ 35607 h 169248"/>
                  <a:gd name="connsiteX61" fmla="*/ 131672 w 134853"/>
                  <a:gd name="connsiteY61" fmla="*/ 36668 h 169248"/>
                  <a:gd name="connsiteX62" fmla="*/ 133187 w 134853"/>
                  <a:gd name="connsiteY62" fmla="*/ 37577 h 169248"/>
                  <a:gd name="connsiteX63" fmla="*/ 134399 w 134853"/>
                  <a:gd name="connsiteY63" fmla="*/ 36668 h 169248"/>
                  <a:gd name="connsiteX64" fmla="*/ 134854 w 134853"/>
                  <a:gd name="connsiteY64" fmla="*/ 35001 h 169248"/>
                  <a:gd name="connsiteX65" fmla="*/ 134096 w 134853"/>
                  <a:gd name="connsiteY65" fmla="*/ 34244 h 169248"/>
                  <a:gd name="connsiteX66" fmla="*/ 11364 w 134853"/>
                  <a:gd name="connsiteY66" fmla="*/ 67578 h 169248"/>
                  <a:gd name="connsiteX67" fmla="*/ 10455 w 134853"/>
                  <a:gd name="connsiteY67" fmla="*/ 65154 h 169248"/>
                  <a:gd name="connsiteX68" fmla="*/ 8637 w 134853"/>
                  <a:gd name="connsiteY68" fmla="*/ 63790 h 169248"/>
                  <a:gd name="connsiteX69" fmla="*/ 9092 w 134853"/>
                  <a:gd name="connsiteY69" fmla="*/ 68184 h 169248"/>
                  <a:gd name="connsiteX70" fmla="*/ 10910 w 134853"/>
                  <a:gd name="connsiteY70" fmla="*/ 69548 h 169248"/>
                  <a:gd name="connsiteX71" fmla="*/ 11364 w 134853"/>
                  <a:gd name="connsiteY71" fmla="*/ 67578 h 169248"/>
                  <a:gd name="connsiteX72" fmla="*/ 72881 w 134853"/>
                  <a:gd name="connsiteY72" fmla="*/ 113641 h 169248"/>
                  <a:gd name="connsiteX73" fmla="*/ 70609 w 134853"/>
                  <a:gd name="connsiteY73" fmla="*/ 116065 h 169248"/>
                  <a:gd name="connsiteX74" fmla="*/ 68033 w 134853"/>
                  <a:gd name="connsiteY74" fmla="*/ 118186 h 169248"/>
                  <a:gd name="connsiteX75" fmla="*/ 68791 w 134853"/>
                  <a:gd name="connsiteY75" fmla="*/ 119550 h 169248"/>
                  <a:gd name="connsiteX76" fmla="*/ 72276 w 134853"/>
                  <a:gd name="connsiteY76" fmla="*/ 122126 h 169248"/>
                  <a:gd name="connsiteX77" fmla="*/ 74851 w 134853"/>
                  <a:gd name="connsiteY77" fmla="*/ 120156 h 169248"/>
                  <a:gd name="connsiteX78" fmla="*/ 74397 w 134853"/>
                  <a:gd name="connsiteY78" fmla="*/ 113489 h 169248"/>
                  <a:gd name="connsiteX79" fmla="*/ 72881 w 134853"/>
                  <a:gd name="connsiteY79" fmla="*/ 113641 h 169248"/>
                  <a:gd name="connsiteX80" fmla="*/ 53639 w 134853"/>
                  <a:gd name="connsiteY80" fmla="*/ 117126 h 169248"/>
                  <a:gd name="connsiteX81" fmla="*/ 52275 w 134853"/>
                  <a:gd name="connsiteY81" fmla="*/ 116216 h 169248"/>
                  <a:gd name="connsiteX82" fmla="*/ 50002 w 134853"/>
                  <a:gd name="connsiteY82" fmla="*/ 117580 h 169248"/>
                  <a:gd name="connsiteX83" fmla="*/ 50153 w 134853"/>
                  <a:gd name="connsiteY83" fmla="*/ 119398 h 169248"/>
                  <a:gd name="connsiteX84" fmla="*/ 51062 w 134853"/>
                  <a:gd name="connsiteY84" fmla="*/ 121823 h 169248"/>
                  <a:gd name="connsiteX85" fmla="*/ 51669 w 134853"/>
                  <a:gd name="connsiteY85" fmla="*/ 121823 h 169248"/>
                  <a:gd name="connsiteX86" fmla="*/ 52881 w 134853"/>
                  <a:gd name="connsiteY86" fmla="*/ 120914 h 169248"/>
                  <a:gd name="connsiteX87" fmla="*/ 54093 w 134853"/>
                  <a:gd name="connsiteY87" fmla="*/ 122883 h 169248"/>
                  <a:gd name="connsiteX88" fmla="*/ 56063 w 134853"/>
                  <a:gd name="connsiteY88" fmla="*/ 122732 h 169248"/>
                  <a:gd name="connsiteX89" fmla="*/ 56366 w 134853"/>
                  <a:gd name="connsiteY89" fmla="*/ 119701 h 169248"/>
                  <a:gd name="connsiteX90" fmla="*/ 55608 w 134853"/>
                  <a:gd name="connsiteY90" fmla="*/ 117429 h 169248"/>
                  <a:gd name="connsiteX91" fmla="*/ 53639 w 134853"/>
                  <a:gd name="connsiteY91" fmla="*/ 117126 h 169248"/>
                  <a:gd name="connsiteX92" fmla="*/ 94549 w 134853"/>
                  <a:gd name="connsiteY92" fmla="*/ 82730 h 169248"/>
                  <a:gd name="connsiteX93" fmla="*/ 93640 w 134853"/>
                  <a:gd name="connsiteY93" fmla="*/ 82276 h 169248"/>
                  <a:gd name="connsiteX94" fmla="*/ 93034 w 134853"/>
                  <a:gd name="connsiteY94" fmla="*/ 81215 h 169248"/>
                  <a:gd name="connsiteX95" fmla="*/ 93034 w 134853"/>
                  <a:gd name="connsiteY95" fmla="*/ 78488 h 169248"/>
                  <a:gd name="connsiteX96" fmla="*/ 92731 w 134853"/>
                  <a:gd name="connsiteY96" fmla="*/ 76518 h 169248"/>
                  <a:gd name="connsiteX97" fmla="*/ 92731 w 134853"/>
                  <a:gd name="connsiteY97" fmla="*/ 72730 h 169248"/>
                  <a:gd name="connsiteX98" fmla="*/ 93640 w 134853"/>
                  <a:gd name="connsiteY98" fmla="*/ 70760 h 169248"/>
                  <a:gd name="connsiteX99" fmla="*/ 94095 w 134853"/>
                  <a:gd name="connsiteY99" fmla="*/ 68033 h 169248"/>
                  <a:gd name="connsiteX100" fmla="*/ 93791 w 134853"/>
                  <a:gd name="connsiteY100" fmla="*/ 62881 h 169248"/>
                  <a:gd name="connsiteX101" fmla="*/ 94852 w 134853"/>
                  <a:gd name="connsiteY101" fmla="*/ 59548 h 169248"/>
                  <a:gd name="connsiteX102" fmla="*/ 93488 w 134853"/>
                  <a:gd name="connsiteY102" fmla="*/ 53790 h 169248"/>
                  <a:gd name="connsiteX103" fmla="*/ 93337 w 134853"/>
                  <a:gd name="connsiteY103" fmla="*/ 49547 h 169248"/>
                  <a:gd name="connsiteX104" fmla="*/ 91064 w 134853"/>
                  <a:gd name="connsiteY104" fmla="*/ 42729 h 169248"/>
                  <a:gd name="connsiteX105" fmla="*/ 83336 w 134853"/>
                  <a:gd name="connsiteY105" fmla="*/ 30001 h 169248"/>
                  <a:gd name="connsiteX106" fmla="*/ 77882 w 134853"/>
                  <a:gd name="connsiteY106" fmla="*/ 23334 h 169248"/>
                  <a:gd name="connsiteX107" fmla="*/ 71518 w 134853"/>
                  <a:gd name="connsiteY107" fmla="*/ 14243 h 169248"/>
                  <a:gd name="connsiteX108" fmla="*/ 64851 w 134853"/>
                  <a:gd name="connsiteY108" fmla="*/ 0 h 169248"/>
                  <a:gd name="connsiteX109" fmla="*/ 63942 w 134853"/>
                  <a:gd name="connsiteY109" fmla="*/ 455 h 169248"/>
                  <a:gd name="connsiteX110" fmla="*/ 62275 w 134853"/>
                  <a:gd name="connsiteY110" fmla="*/ 3182 h 169248"/>
                  <a:gd name="connsiteX111" fmla="*/ 60760 w 134853"/>
                  <a:gd name="connsiteY111" fmla="*/ 6516 h 169248"/>
                  <a:gd name="connsiteX112" fmla="*/ 59245 w 134853"/>
                  <a:gd name="connsiteY112" fmla="*/ 8334 h 169248"/>
                  <a:gd name="connsiteX113" fmla="*/ 57578 w 134853"/>
                  <a:gd name="connsiteY113" fmla="*/ 9394 h 169248"/>
                  <a:gd name="connsiteX114" fmla="*/ 55760 w 134853"/>
                  <a:gd name="connsiteY114" fmla="*/ 10000 h 169248"/>
                  <a:gd name="connsiteX115" fmla="*/ 52123 w 134853"/>
                  <a:gd name="connsiteY115" fmla="*/ 10304 h 169248"/>
                  <a:gd name="connsiteX116" fmla="*/ 48790 w 134853"/>
                  <a:gd name="connsiteY116" fmla="*/ 10000 h 169248"/>
                  <a:gd name="connsiteX117" fmla="*/ 47729 w 134853"/>
                  <a:gd name="connsiteY117" fmla="*/ 9697 h 169248"/>
                  <a:gd name="connsiteX118" fmla="*/ 43184 w 134853"/>
                  <a:gd name="connsiteY118" fmla="*/ 9849 h 169248"/>
                  <a:gd name="connsiteX119" fmla="*/ 41972 w 134853"/>
                  <a:gd name="connsiteY119" fmla="*/ 10152 h 169248"/>
                  <a:gd name="connsiteX120" fmla="*/ 35456 w 134853"/>
                  <a:gd name="connsiteY120" fmla="*/ 9849 h 169248"/>
                  <a:gd name="connsiteX121" fmla="*/ 32122 w 134853"/>
                  <a:gd name="connsiteY121" fmla="*/ 10152 h 169248"/>
                  <a:gd name="connsiteX122" fmla="*/ 30001 w 134853"/>
                  <a:gd name="connsiteY122" fmla="*/ 10758 h 169248"/>
                  <a:gd name="connsiteX123" fmla="*/ 27729 w 134853"/>
                  <a:gd name="connsiteY123" fmla="*/ 12122 h 169248"/>
                  <a:gd name="connsiteX124" fmla="*/ 25759 w 134853"/>
                  <a:gd name="connsiteY124" fmla="*/ 14243 h 169248"/>
                  <a:gd name="connsiteX125" fmla="*/ 24092 w 134853"/>
                  <a:gd name="connsiteY125" fmla="*/ 16516 h 169248"/>
                  <a:gd name="connsiteX126" fmla="*/ 20607 w 134853"/>
                  <a:gd name="connsiteY126" fmla="*/ 20607 h 169248"/>
                  <a:gd name="connsiteX127" fmla="*/ 18183 w 134853"/>
                  <a:gd name="connsiteY127" fmla="*/ 22577 h 169248"/>
                  <a:gd name="connsiteX128" fmla="*/ 18183 w 134853"/>
                  <a:gd name="connsiteY128" fmla="*/ 25456 h 169248"/>
                  <a:gd name="connsiteX129" fmla="*/ 18183 w 134853"/>
                  <a:gd name="connsiteY129" fmla="*/ 26365 h 169248"/>
                  <a:gd name="connsiteX130" fmla="*/ 17274 w 134853"/>
                  <a:gd name="connsiteY130" fmla="*/ 26971 h 169248"/>
                  <a:gd name="connsiteX131" fmla="*/ 16970 w 134853"/>
                  <a:gd name="connsiteY131" fmla="*/ 27728 h 169248"/>
                  <a:gd name="connsiteX132" fmla="*/ 15759 w 134853"/>
                  <a:gd name="connsiteY132" fmla="*/ 28031 h 169248"/>
                  <a:gd name="connsiteX133" fmla="*/ 15304 w 134853"/>
                  <a:gd name="connsiteY133" fmla="*/ 28941 h 169248"/>
                  <a:gd name="connsiteX134" fmla="*/ 15759 w 134853"/>
                  <a:gd name="connsiteY134" fmla="*/ 30910 h 169248"/>
                  <a:gd name="connsiteX135" fmla="*/ 16516 w 134853"/>
                  <a:gd name="connsiteY135" fmla="*/ 32123 h 169248"/>
                  <a:gd name="connsiteX136" fmla="*/ 17879 w 134853"/>
                  <a:gd name="connsiteY136" fmla="*/ 34244 h 169248"/>
                  <a:gd name="connsiteX137" fmla="*/ 17728 w 134853"/>
                  <a:gd name="connsiteY137" fmla="*/ 37577 h 169248"/>
                  <a:gd name="connsiteX138" fmla="*/ 18940 w 134853"/>
                  <a:gd name="connsiteY138" fmla="*/ 38789 h 169248"/>
                  <a:gd name="connsiteX139" fmla="*/ 21516 w 134853"/>
                  <a:gd name="connsiteY139" fmla="*/ 42426 h 169248"/>
                  <a:gd name="connsiteX140" fmla="*/ 20304 w 134853"/>
                  <a:gd name="connsiteY140" fmla="*/ 45608 h 169248"/>
                  <a:gd name="connsiteX141" fmla="*/ 21062 w 134853"/>
                  <a:gd name="connsiteY141" fmla="*/ 46668 h 169248"/>
                  <a:gd name="connsiteX142" fmla="*/ 21365 w 134853"/>
                  <a:gd name="connsiteY142" fmla="*/ 48335 h 169248"/>
                  <a:gd name="connsiteX143" fmla="*/ 23637 w 134853"/>
                  <a:gd name="connsiteY143" fmla="*/ 52275 h 169248"/>
                  <a:gd name="connsiteX144" fmla="*/ 26062 w 134853"/>
                  <a:gd name="connsiteY144" fmla="*/ 52881 h 169248"/>
                  <a:gd name="connsiteX145" fmla="*/ 26516 w 134853"/>
                  <a:gd name="connsiteY145" fmla="*/ 53487 h 169248"/>
                  <a:gd name="connsiteX146" fmla="*/ 26062 w 134853"/>
                  <a:gd name="connsiteY146" fmla="*/ 54548 h 169248"/>
                  <a:gd name="connsiteX147" fmla="*/ 23941 w 134853"/>
                  <a:gd name="connsiteY147" fmla="*/ 55911 h 169248"/>
                  <a:gd name="connsiteX148" fmla="*/ 23789 w 134853"/>
                  <a:gd name="connsiteY148" fmla="*/ 57123 h 169248"/>
                  <a:gd name="connsiteX149" fmla="*/ 22880 w 134853"/>
                  <a:gd name="connsiteY149" fmla="*/ 56517 h 169248"/>
                  <a:gd name="connsiteX150" fmla="*/ 21365 w 134853"/>
                  <a:gd name="connsiteY150" fmla="*/ 53335 h 169248"/>
                  <a:gd name="connsiteX151" fmla="*/ 18637 w 134853"/>
                  <a:gd name="connsiteY151" fmla="*/ 53032 h 169248"/>
                  <a:gd name="connsiteX152" fmla="*/ 15607 w 134853"/>
                  <a:gd name="connsiteY152" fmla="*/ 51214 h 169248"/>
                  <a:gd name="connsiteX153" fmla="*/ 13182 w 134853"/>
                  <a:gd name="connsiteY153" fmla="*/ 51669 h 169248"/>
                  <a:gd name="connsiteX154" fmla="*/ 11516 w 134853"/>
                  <a:gd name="connsiteY154" fmla="*/ 52881 h 169248"/>
                  <a:gd name="connsiteX155" fmla="*/ 9394 w 134853"/>
                  <a:gd name="connsiteY155" fmla="*/ 53184 h 169248"/>
                  <a:gd name="connsiteX156" fmla="*/ 5758 w 134853"/>
                  <a:gd name="connsiteY156" fmla="*/ 55911 h 169248"/>
                  <a:gd name="connsiteX157" fmla="*/ 4243 w 134853"/>
                  <a:gd name="connsiteY157" fmla="*/ 58942 h 169248"/>
                  <a:gd name="connsiteX158" fmla="*/ 4849 w 134853"/>
                  <a:gd name="connsiteY158" fmla="*/ 61517 h 169248"/>
                  <a:gd name="connsiteX159" fmla="*/ 6213 w 134853"/>
                  <a:gd name="connsiteY159" fmla="*/ 61517 h 169248"/>
                  <a:gd name="connsiteX160" fmla="*/ 10607 w 134853"/>
                  <a:gd name="connsiteY160" fmla="*/ 62730 h 169248"/>
                  <a:gd name="connsiteX161" fmla="*/ 11819 w 134853"/>
                  <a:gd name="connsiteY161" fmla="*/ 61820 h 169248"/>
                  <a:gd name="connsiteX162" fmla="*/ 13334 w 134853"/>
                  <a:gd name="connsiteY162" fmla="*/ 61366 h 169248"/>
                  <a:gd name="connsiteX163" fmla="*/ 13789 w 134853"/>
                  <a:gd name="connsiteY163" fmla="*/ 64699 h 169248"/>
                  <a:gd name="connsiteX164" fmla="*/ 15000 w 134853"/>
                  <a:gd name="connsiteY164" fmla="*/ 68033 h 169248"/>
                  <a:gd name="connsiteX165" fmla="*/ 15152 w 134853"/>
                  <a:gd name="connsiteY165" fmla="*/ 69548 h 169248"/>
                  <a:gd name="connsiteX166" fmla="*/ 15000 w 134853"/>
                  <a:gd name="connsiteY166" fmla="*/ 72275 h 169248"/>
                  <a:gd name="connsiteX167" fmla="*/ 15304 w 134853"/>
                  <a:gd name="connsiteY167" fmla="*/ 75609 h 169248"/>
                  <a:gd name="connsiteX168" fmla="*/ 14849 w 134853"/>
                  <a:gd name="connsiteY168" fmla="*/ 77730 h 169248"/>
                  <a:gd name="connsiteX169" fmla="*/ 16365 w 134853"/>
                  <a:gd name="connsiteY169" fmla="*/ 79700 h 169248"/>
                  <a:gd name="connsiteX170" fmla="*/ 18637 w 134853"/>
                  <a:gd name="connsiteY170" fmla="*/ 81821 h 169248"/>
                  <a:gd name="connsiteX171" fmla="*/ 18940 w 134853"/>
                  <a:gd name="connsiteY171" fmla="*/ 82579 h 169248"/>
                  <a:gd name="connsiteX172" fmla="*/ 18183 w 134853"/>
                  <a:gd name="connsiteY172" fmla="*/ 83791 h 169248"/>
                  <a:gd name="connsiteX173" fmla="*/ 17728 w 134853"/>
                  <a:gd name="connsiteY173" fmla="*/ 85458 h 169248"/>
                  <a:gd name="connsiteX174" fmla="*/ 19698 w 134853"/>
                  <a:gd name="connsiteY174" fmla="*/ 86215 h 169248"/>
                  <a:gd name="connsiteX175" fmla="*/ 20607 w 134853"/>
                  <a:gd name="connsiteY175" fmla="*/ 86973 h 169248"/>
                  <a:gd name="connsiteX176" fmla="*/ 19698 w 134853"/>
                  <a:gd name="connsiteY176" fmla="*/ 90155 h 169248"/>
                  <a:gd name="connsiteX177" fmla="*/ 16516 w 134853"/>
                  <a:gd name="connsiteY177" fmla="*/ 91821 h 169248"/>
                  <a:gd name="connsiteX178" fmla="*/ 14849 w 134853"/>
                  <a:gd name="connsiteY178" fmla="*/ 93185 h 169248"/>
                  <a:gd name="connsiteX179" fmla="*/ 13334 w 134853"/>
                  <a:gd name="connsiteY179" fmla="*/ 93943 h 169248"/>
                  <a:gd name="connsiteX180" fmla="*/ 13334 w 134853"/>
                  <a:gd name="connsiteY180" fmla="*/ 95155 h 169248"/>
                  <a:gd name="connsiteX181" fmla="*/ 15455 w 134853"/>
                  <a:gd name="connsiteY181" fmla="*/ 95610 h 169248"/>
                  <a:gd name="connsiteX182" fmla="*/ 16819 w 134853"/>
                  <a:gd name="connsiteY182" fmla="*/ 96216 h 169248"/>
                  <a:gd name="connsiteX183" fmla="*/ 15909 w 134853"/>
                  <a:gd name="connsiteY183" fmla="*/ 97276 h 169248"/>
                  <a:gd name="connsiteX184" fmla="*/ 13486 w 134853"/>
                  <a:gd name="connsiteY184" fmla="*/ 98337 h 169248"/>
                  <a:gd name="connsiteX185" fmla="*/ 12576 w 134853"/>
                  <a:gd name="connsiteY185" fmla="*/ 99701 h 169248"/>
                  <a:gd name="connsiteX186" fmla="*/ 10758 w 134853"/>
                  <a:gd name="connsiteY186" fmla="*/ 104095 h 169248"/>
                  <a:gd name="connsiteX187" fmla="*/ 9849 w 134853"/>
                  <a:gd name="connsiteY187" fmla="*/ 107125 h 169248"/>
                  <a:gd name="connsiteX188" fmla="*/ 7879 w 134853"/>
                  <a:gd name="connsiteY188" fmla="*/ 109095 h 169248"/>
                  <a:gd name="connsiteX189" fmla="*/ 8940 w 134853"/>
                  <a:gd name="connsiteY189" fmla="*/ 112428 h 169248"/>
                  <a:gd name="connsiteX190" fmla="*/ 10910 w 134853"/>
                  <a:gd name="connsiteY190" fmla="*/ 115913 h 169248"/>
                  <a:gd name="connsiteX191" fmla="*/ 11516 w 134853"/>
                  <a:gd name="connsiteY191" fmla="*/ 119247 h 169248"/>
                  <a:gd name="connsiteX192" fmla="*/ 13031 w 134853"/>
                  <a:gd name="connsiteY192" fmla="*/ 119701 h 169248"/>
                  <a:gd name="connsiteX193" fmla="*/ 15000 w 134853"/>
                  <a:gd name="connsiteY193" fmla="*/ 118944 h 169248"/>
                  <a:gd name="connsiteX194" fmla="*/ 16213 w 134853"/>
                  <a:gd name="connsiteY194" fmla="*/ 119398 h 169248"/>
                  <a:gd name="connsiteX195" fmla="*/ 14698 w 134853"/>
                  <a:gd name="connsiteY195" fmla="*/ 120762 h 169248"/>
                  <a:gd name="connsiteX196" fmla="*/ 12880 w 134853"/>
                  <a:gd name="connsiteY196" fmla="*/ 121520 h 169248"/>
                  <a:gd name="connsiteX197" fmla="*/ 13789 w 134853"/>
                  <a:gd name="connsiteY197" fmla="*/ 122126 h 169248"/>
                  <a:gd name="connsiteX198" fmla="*/ 14395 w 134853"/>
                  <a:gd name="connsiteY198" fmla="*/ 123338 h 169248"/>
                  <a:gd name="connsiteX199" fmla="*/ 11667 w 134853"/>
                  <a:gd name="connsiteY199" fmla="*/ 123489 h 169248"/>
                  <a:gd name="connsiteX200" fmla="*/ 8333 w 134853"/>
                  <a:gd name="connsiteY200" fmla="*/ 122732 h 169248"/>
                  <a:gd name="connsiteX201" fmla="*/ 7273 w 134853"/>
                  <a:gd name="connsiteY201" fmla="*/ 124095 h 169248"/>
                  <a:gd name="connsiteX202" fmla="*/ 9092 w 134853"/>
                  <a:gd name="connsiteY202" fmla="*/ 126671 h 169248"/>
                  <a:gd name="connsiteX203" fmla="*/ 13182 w 134853"/>
                  <a:gd name="connsiteY203" fmla="*/ 129550 h 169248"/>
                  <a:gd name="connsiteX204" fmla="*/ 13789 w 134853"/>
                  <a:gd name="connsiteY204" fmla="*/ 131520 h 169248"/>
                  <a:gd name="connsiteX205" fmla="*/ 13789 w 134853"/>
                  <a:gd name="connsiteY205" fmla="*/ 133944 h 169248"/>
                  <a:gd name="connsiteX206" fmla="*/ 14395 w 134853"/>
                  <a:gd name="connsiteY206" fmla="*/ 135005 h 169248"/>
                  <a:gd name="connsiteX207" fmla="*/ 15909 w 134853"/>
                  <a:gd name="connsiteY207" fmla="*/ 134854 h 169248"/>
                  <a:gd name="connsiteX208" fmla="*/ 16668 w 134853"/>
                  <a:gd name="connsiteY208" fmla="*/ 132278 h 169248"/>
                  <a:gd name="connsiteX209" fmla="*/ 20607 w 134853"/>
                  <a:gd name="connsiteY209" fmla="*/ 128944 h 169248"/>
                  <a:gd name="connsiteX210" fmla="*/ 21819 w 134853"/>
                  <a:gd name="connsiteY210" fmla="*/ 129550 h 169248"/>
                  <a:gd name="connsiteX211" fmla="*/ 22576 w 134853"/>
                  <a:gd name="connsiteY211" fmla="*/ 130914 h 169248"/>
                  <a:gd name="connsiteX212" fmla="*/ 24546 w 134853"/>
                  <a:gd name="connsiteY212" fmla="*/ 131217 h 169248"/>
                  <a:gd name="connsiteX213" fmla="*/ 28183 w 134853"/>
                  <a:gd name="connsiteY213" fmla="*/ 126065 h 169248"/>
                  <a:gd name="connsiteX214" fmla="*/ 34092 w 134853"/>
                  <a:gd name="connsiteY214" fmla="*/ 121520 h 169248"/>
                  <a:gd name="connsiteX215" fmla="*/ 34699 w 134853"/>
                  <a:gd name="connsiteY215" fmla="*/ 122580 h 169248"/>
                  <a:gd name="connsiteX216" fmla="*/ 34547 w 134853"/>
                  <a:gd name="connsiteY216" fmla="*/ 124399 h 169248"/>
                  <a:gd name="connsiteX217" fmla="*/ 32729 w 134853"/>
                  <a:gd name="connsiteY217" fmla="*/ 126217 h 169248"/>
                  <a:gd name="connsiteX218" fmla="*/ 32122 w 134853"/>
                  <a:gd name="connsiteY218" fmla="*/ 128035 h 169248"/>
                  <a:gd name="connsiteX219" fmla="*/ 36214 w 134853"/>
                  <a:gd name="connsiteY219" fmla="*/ 130611 h 169248"/>
                  <a:gd name="connsiteX220" fmla="*/ 37729 w 134853"/>
                  <a:gd name="connsiteY220" fmla="*/ 129399 h 169248"/>
                  <a:gd name="connsiteX221" fmla="*/ 38335 w 134853"/>
                  <a:gd name="connsiteY221" fmla="*/ 127732 h 169248"/>
                  <a:gd name="connsiteX222" fmla="*/ 40456 w 134853"/>
                  <a:gd name="connsiteY222" fmla="*/ 125459 h 169248"/>
                  <a:gd name="connsiteX223" fmla="*/ 38941 w 134853"/>
                  <a:gd name="connsiteY223" fmla="*/ 123489 h 169248"/>
                  <a:gd name="connsiteX224" fmla="*/ 38032 w 134853"/>
                  <a:gd name="connsiteY224" fmla="*/ 121823 h 169248"/>
                  <a:gd name="connsiteX225" fmla="*/ 38487 w 134853"/>
                  <a:gd name="connsiteY225" fmla="*/ 119398 h 169248"/>
                  <a:gd name="connsiteX226" fmla="*/ 40456 w 134853"/>
                  <a:gd name="connsiteY226" fmla="*/ 118792 h 169248"/>
                  <a:gd name="connsiteX227" fmla="*/ 41668 w 134853"/>
                  <a:gd name="connsiteY227" fmla="*/ 118944 h 169248"/>
                  <a:gd name="connsiteX228" fmla="*/ 42881 w 134853"/>
                  <a:gd name="connsiteY228" fmla="*/ 121217 h 169248"/>
                  <a:gd name="connsiteX229" fmla="*/ 44699 w 134853"/>
                  <a:gd name="connsiteY229" fmla="*/ 123489 h 169248"/>
                  <a:gd name="connsiteX230" fmla="*/ 46972 w 134853"/>
                  <a:gd name="connsiteY230" fmla="*/ 122580 h 169248"/>
                  <a:gd name="connsiteX231" fmla="*/ 47729 w 134853"/>
                  <a:gd name="connsiteY231" fmla="*/ 120611 h 169248"/>
                  <a:gd name="connsiteX232" fmla="*/ 45608 w 134853"/>
                  <a:gd name="connsiteY232" fmla="*/ 118792 h 169248"/>
                  <a:gd name="connsiteX233" fmla="*/ 45002 w 134853"/>
                  <a:gd name="connsiteY233" fmla="*/ 117429 h 169248"/>
                  <a:gd name="connsiteX234" fmla="*/ 45608 w 134853"/>
                  <a:gd name="connsiteY234" fmla="*/ 116368 h 169248"/>
                  <a:gd name="connsiteX235" fmla="*/ 47123 w 134853"/>
                  <a:gd name="connsiteY235" fmla="*/ 115459 h 169248"/>
                  <a:gd name="connsiteX236" fmla="*/ 51517 w 134853"/>
                  <a:gd name="connsiteY236" fmla="*/ 115156 h 169248"/>
                  <a:gd name="connsiteX237" fmla="*/ 54396 w 134853"/>
                  <a:gd name="connsiteY237" fmla="*/ 113489 h 169248"/>
                  <a:gd name="connsiteX238" fmla="*/ 56063 w 134853"/>
                  <a:gd name="connsiteY238" fmla="*/ 113338 h 169248"/>
                  <a:gd name="connsiteX239" fmla="*/ 57729 w 134853"/>
                  <a:gd name="connsiteY239" fmla="*/ 116065 h 169248"/>
                  <a:gd name="connsiteX240" fmla="*/ 59245 w 134853"/>
                  <a:gd name="connsiteY240" fmla="*/ 116671 h 169248"/>
                  <a:gd name="connsiteX241" fmla="*/ 62578 w 134853"/>
                  <a:gd name="connsiteY241" fmla="*/ 116823 h 169248"/>
                  <a:gd name="connsiteX242" fmla="*/ 65609 w 134853"/>
                  <a:gd name="connsiteY242" fmla="*/ 117883 h 169248"/>
                  <a:gd name="connsiteX243" fmla="*/ 67124 w 134853"/>
                  <a:gd name="connsiteY243" fmla="*/ 118035 h 169248"/>
                  <a:gd name="connsiteX244" fmla="*/ 67275 w 134853"/>
                  <a:gd name="connsiteY244" fmla="*/ 116065 h 169248"/>
                  <a:gd name="connsiteX245" fmla="*/ 66518 w 134853"/>
                  <a:gd name="connsiteY245" fmla="*/ 113489 h 169248"/>
                  <a:gd name="connsiteX246" fmla="*/ 67579 w 134853"/>
                  <a:gd name="connsiteY246" fmla="*/ 111822 h 169248"/>
                  <a:gd name="connsiteX247" fmla="*/ 69093 w 134853"/>
                  <a:gd name="connsiteY247" fmla="*/ 110913 h 169248"/>
                  <a:gd name="connsiteX248" fmla="*/ 72730 w 134853"/>
                  <a:gd name="connsiteY248" fmla="*/ 110307 h 169248"/>
                  <a:gd name="connsiteX249" fmla="*/ 76973 w 134853"/>
                  <a:gd name="connsiteY249" fmla="*/ 111065 h 169248"/>
                  <a:gd name="connsiteX250" fmla="*/ 81973 w 134853"/>
                  <a:gd name="connsiteY250" fmla="*/ 110762 h 169248"/>
                  <a:gd name="connsiteX251" fmla="*/ 84549 w 134853"/>
                  <a:gd name="connsiteY251" fmla="*/ 110156 h 169248"/>
                  <a:gd name="connsiteX252" fmla="*/ 88337 w 134853"/>
                  <a:gd name="connsiteY252" fmla="*/ 108337 h 169248"/>
                  <a:gd name="connsiteX253" fmla="*/ 91519 w 134853"/>
                  <a:gd name="connsiteY253" fmla="*/ 103640 h 169248"/>
                  <a:gd name="connsiteX254" fmla="*/ 93943 w 134853"/>
                  <a:gd name="connsiteY254" fmla="*/ 98488 h 169248"/>
                  <a:gd name="connsiteX255" fmla="*/ 95761 w 134853"/>
                  <a:gd name="connsiteY255" fmla="*/ 92579 h 169248"/>
                  <a:gd name="connsiteX256" fmla="*/ 97883 w 134853"/>
                  <a:gd name="connsiteY256" fmla="*/ 84549 h 169248"/>
                  <a:gd name="connsiteX257" fmla="*/ 98185 w 134853"/>
                  <a:gd name="connsiteY257" fmla="*/ 81367 h 169248"/>
                  <a:gd name="connsiteX258" fmla="*/ 96519 w 134853"/>
                  <a:gd name="connsiteY258" fmla="*/ 81821 h 169248"/>
                  <a:gd name="connsiteX259" fmla="*/ 94549 w 134853"/>
                  <a:gd name="connsiteY259" fmla="*/ 82730 h 16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134853" h="169248">
                    <a:moveTo>
                      <a:pt x="20607" y="158339"/>
                    </a:moveTo>
                    <a:lnTo>
                      <a:pt x="18788" y="158491"/>
                    </a:lnTo>
                    <a:lnTo>
                      <a:pt x="8940" y="161218"/>
                    </a:lnTo>
                    <a:lnTo>
                      <a:pt x="5152" y="164097"/>
                    </a:lnTo>
                    <a:lnTo>
                      <a:pt x="4243" y="165764"/>
                    </a:lnTo>
                    <a:lnTo>
                      <a:pt x="4545" y="166673"/>
                    </a:lnTo>
                    <a:lnTo>
                      <a:pt x="5910" y="168491"/>
                    </a:lnTo>
                    <a:lnTo>
                      <a:pt x="6213" y="168794"/>
                    </a:lnTo>
                    <a:lnTo>
                      <a:pt x="7424" y="169249"/>
                    </a:lnTo>
                    <a:lnTo>
                      <a:pt x="8637" y="168643"/>
                    </a:lnTo>
                    <a:lnTo>
                      <a:pt x="15607" y="168188"/>
                    </a:lnTo>
                    <a:lnTo>
                      <a:pt x="19092" y="167127"/>
                    </a:lnTo>
                    <a:lnTo>
                      <a:pt x="23637" y="165006"/>
                    </a:lnTo>
                    <a:lnTo>
                      <a:pt x="24546" y="163794"/>
                    </a:lnTo>
                    <a:lnTo>
                      <a:pt x="25304" y="161976"/>
                    </a:lnTo>
                    <a:lnTo>
                      <a:pt x="24546" y="159854"/>
                    </a:lnTo>
                    <a:lnTo>
                      <a:pt x="20607" y="158339"/>
                    </a:lnTo>
                    <a:close/>
                    <a:moveTo>
                      <a:pt x="20456" y="134096"/>
                    </a:moveTo>
                    <a:lnTo>
                      <a:pt x="18940" y="132429"/>
                    </a:lnTo>
                    <a:lnTo>
                      <a:pt x="17577" y="132581"/>
                    </a:lnTo>
                    <a:lnTo>
                      <a:pt x="17425" y="133793"/>
                    </a:lnTo>
                    <a:lnTo>
                      <a:pt x="18637" y="135156"/>
                    </a:lnTo>
                    <a:lnTo>
                      <a:pt x="20910" y="135460"/>
                    </a:lnTo>
                    <a:lnTo>
                      <a:pt x="20456" y="134096"/>
                    </a:lnTo>
                    <a:close/>
                    <a:moveTo>
                      <a:pt x="11516" y="32123"/>
                    </a:moveTo>
                    <a:lnTo>
                      <a:pt x="12576" y="32577"/>
                    </a:lnTo>
                    <a:lnTo>
                      <a:pt x="14091" y="32729"/>
                    </a:lnTo>
                    <a:lnTo>
                      <a:pt x="14243" y="28486"/>
                    </a:lnTo>
                    <a:lnTo>
                      <a:pt x="13486" y="26971"/>
                    </a:lnTo>
                    <a:lnTo>
                      <a:pt x="11212" y="25758"/>
                    </a:lnTo>
                    <a:lnTo>
                      <a:pt x="10001" y="27425"/>
                    </a:lnTo>
                    <a:lnTo>
                      <a:pt x="11061" y="31365"/>
                    </a:lnTo>
                    <a:lnTo>
                      <a:pt x="11516" y="32123"/>
                    </a:lnTo>
                    <a:close/>
                    <a:moveTo>
                      <a:pt x="47426" y="125308"/>
                    </a:moveTo>
                    <a:lnTo>
                      <a:pt x="48790" y="126823"/>
                    </a:lnTo>
                    <a:lnTo>
                      <a:pt x="49093" y="125914"/>
                    </a:lnTo>
                    <a:lnTo>
                      <a:pt x="48790" y="123792"/>
                    </a:lnTo>
                    <a:lnTo>
                      <a:pt x="47426" y="125308"/>
                    </a:lnTo>
                    <a:close/>
                    <a:moveTo>
                      <a:pt x="6213" y="133338"/>
                    </a:moveTo>
                    <a:lnTo>
                      <a:pt x="8940" y="131672"/>
                    </a:lnTo>
                    <a:lnTo>
                      <a:pt x="10152" y="129399"/>
                    </a:lnTo>
                    <a:lnTo>
                      <a:pt x="9092" y="127883"/>
                    </a:lnTo>
                    <a:lnTo>
                      <a:pt x="6515" y="127278"/>
                    </a:lnTo>
                    <a:lnTo>
                      <a:pt x="5910" y="128187"/>
                    </a:lnTo>
                    <a:lnTo>
                      <a:pt x="3031" y="130914"/>
                    </a:lnTo>
                    <a:lnTo>
                      <a:pt x="2576" y="132278"/>
                    </a:lnTo>
                    <a:lnTo>
                      <a:pt x="3334" y="132581"/>
                    </a:lnTo>
                    <a:lnTo>
                      <a:pt x="4243" y="133641"/>
                    </a:lnTo>
                    <a:lnTo>
                      <a:pt x="6213" y="133338"/>
                    </a:lnTo>
                    <a:close/>
                    <a:moveTo>
                      <a:pt x="4243" y="122883"/>
                    </a:moveTo>
                    <a:lnTo>
                      <a:pt x="4545" y="122126"/>
                    </a:lnTo>
                    <a:lnTo>
                      <a:pt x="4395" y="119095"/>
                    </a:lnTo>
                    <a:lnTo>
                      <a:pt x="1970" y="116519"/>
                    </a:lnTo>
                    <a:lnTo>
                      <a:pt x="0" y="118035"/>
                    </a:lnTo>
                    <a:lnTo>
                      <a:pt x="1212" y="118944"/>
                    </a:lnTo>
                    <a:lnTo>
                      <a:pt x="1667" y="120611"/>
                    </a:lnTo>
                    <a:lnTo>
                      <a:pt x="2879" y="122732"/>
                    </a:lnTo>
                    <a:lnTo>
                      <a:pt x="4243" y="122883"/>
                    </a:lnTo>
                    <a:close/>
                    <a:moveTo>
                      <a:pt x="134096" y="34244"/>
                    </a:moveTo>
                    <a:lnTo>
                      <a:pt x="132277" y="34698"/>
                    </a:lnTo>
                    <a:lnTo>
                      <a:pt x="131520" y="35607"/>
                    </a:lnTo>
                    <a:lnTo>
                      <a:pt x="131672" y="36668"/>
                    </a:lnTo>
                    <a:lnTo>
                      <a:pt x="133187" y="37577"/>
                    </a:lnTo>
                    <a:lnTo>
                      <a:pt x="134399" y="36668"/>
                    </a:lnTo>
                    <a:lnTo>
                      <a:pt x="134854" y="35001"/>
                    </a:lnTo>
                    <a:lnTo>
                      <a:pt x="134096" y="34244"/>
                    </a:lnTo>
                    <a:close/>
                    <a:moveTo>
                      <a:pt x="11364" y="67578"/>
                    </a:moveTo>
                    <a:lnTo>
                      <a:pt x="10455" y="65154"/>
                    </a:lnTo>
                    <a:lnTo>
                      <a:pt x="8637" y="63790"/>
                    </a:lnTo>
                    <a:lnTo>
                      <a:pt x="9092" y="68184"/>
                    </a:lnTo>
                    <a:lnTo>
                      <a:pt x="10910" y="69548"/>
                    </a:lnTo>
                    <a:lnTo>
                      <a:pt x="11364" y="67578"/>
                    </a:lnTo>
                    <a:close/>
                    <a:moveTo>
                      <a:pt x="72881" y="113641"/>
                    </a:moveTo>
                    <a:lnTo>
                      <a:pt x="70609" y="116065"/>
                    </a:lnTo>
                    <a:lnTo>
                      <a:pt x="68033" y="118186"/>
                    </a:lnTo>
                    <a:lnTo>
                      <a:pt x="68791" y="119550"/>
                    </a:lnTo>
                    <a:lnTo>
                      <a:pt x="72276" y="122126"/>
                    </a:lnTo>
                    <a:lnTo>
                      <a:pt x="74851" y="120156"/>
                    </a:lnTo>
                    <a:lnTo>
                      <a:pt x="74397" y="113489"/>
                    </a:lnTo>
                    <a:lnTo>
                      <a:pt x="72881" y="113641"/>
                    </a:lnTo>
                    <a:close/>
                    <a:moveTo>
                      <a:pt x="53639" y="117126"/>
                    </a:moveTo>
                    <a:lnTo>
                      <a:pt x="52275" y="116216"/>
                    </a:lnTo>
                    <a:lnTo>
                      <a:pt x="50002" y="117580"/>
                    </a:lnTo>
                    <a:lnTo>
                      <a:pt x="50153" y="119398"/>
                    </a:lnTo>
                    <a:lnTo>
                      <a:pt x="51062" y="121823"/>
                    </a:lnTo>
                    <a:lnTo>
                      <a:pt x="51669" y="121823"/>
                    </a:lnTo>
                    <a:lnTo>
                      <a:pt x="52881" y="120914"/>
                    </a:lnTo>
                    <a:lnTo>
                      <a:pt x="54093" y="122883"/>
                    </a:lnTo>
                    <a:lnTo>
                      <a:pt x="56063" y="122732"/>
                    </a:lnTo>
                    <a:lnTo>
                      <a:pt x="56366" y="119701"/>
                    </a:lnTo>
                    <a:lnTo>
                      <a:pt x="55608" y="117429"/>
                    </a:lnTo>
                    <a:lnTo>
                      <a:pt x="53639" y="117126"/>
                    </a:lnTo>
                    <a:close/>
                    <a:moveTo>
                      <a:pt x="94549" y="82730"/>
                    </a:moveTo>
                    <a:lnTo>
                      <a:pt x="93640" y="82276"/>
                    </a:lnTo>
                    <a:lnTo>
                      <a:pt x="93034" y="81215"/>
                    </a:lnTo>
                    <a:lnTo>
                      <a:pt x="93034" y="78488"/>
                    </a:lnTo>
                    <a:lnTo>
                      <a:pt x="92731" y="76518"/>
                    </a:lnTo>
                    <a:lnTo>
                      <a:pt x="92731" y="72730"/>
                    </a:lnTo>
                    <a:lnTo>
                      <a:pt x="93640" y="70760"/>
                    </a:lnTo>
                    <a:lnTo>
                      <a:pt x="94095" y="68033"/>
                    </a:lnTo>
                    <a:lnTo>
                      <a:pt x="93791" y="62881"/>
                    </a:lnTo>
                    <a:lnTo>
                      <a:pt x="94852" y="59548"/>
                    </a:lnTo>
                    <a:lnTo>
                      <a:pt x="93488" y="53790"/>
                    </a:lnTo>
                    <a:lnTo>
                      <a:pt x="93337" y="49547"/>
                    </a:lnTo>
                    <a:lnTo>
                      <a:pt x="91064" y="42729"/>
                    </a:lnTo>
                    <a:lnTo>
                      <a:pt x="83336" y="30001"/>
                    </a:lnTo>
                    <a:lnTo>
                      <a:pt x="77882" y="23334"/>
                    </a:lnTo>
                    <a:lnTo>
                      <a:pt x="71518" y="14243"/>
                    </a:lnTo>
                    <a:lnTo>
                      <a:pt x="64851" y="0"/>
                    </a:lnTo>
                    <a:lnTo>
                      <a:pt x="63942" y="455"/>
                    </a:lnTo>
                    <a:lnTo>
                      <a:pt x="62275" y="3182"/>
                    </a:lnTo>
                    <a:lnTo>
                      <a:pt x="60760" y="6516"/>
                    </a:lnTo>
                    <a:lnTo>
                      <a:pt x="59245" y="8334"/>
                    </a:lnTo>
                    <a:lnTo>
                      <a:pt x="57578" y="9394"/>
                    </a:lnTo>
                    <a:lnTo>
                      <a:pt x="55760" y="10000"/>
                    </a:lnTo>
                    <a:lnTo>
                      <a:pt x="52123" y="10304"/>
                    </a:lnTo>
                    <a:lnTo>
                      <a:pt x="48790" y="10000"/>
                    </a:lnTo>
                    <a:lnTo>
                      <a:pt x="47729" y="9697"/>
                    </a:lnTo>
                    <a:lnTo>
                      <a:pt x="43184" y="9849"/>
                    </a:lnTo>
                    <a:lnTo>
                      <a:pt x="41972" y="10152"/>
                    </a:lnTo>
                    <a:lnTo>
                      <a:pt x="35456" y="9849"/>
                    </a:lnTo>
                    <a:lnTo>
                      <a:pt x="32122" y="10152"/>
                    </a:lnTo>
                    <a:lnTo>
                      <a:pt x="30001" y="10758"/>
                    </a:lnTo>
                    <a:lnTo>
                      <a:pt x="27729" y="12122"/>
                    </a:lnTo>
                    <a:lnTo>
                      <a:pt x="25759" y="14243"/>
                    </a:lnTo>
                    <a:lnTo>
                      <a:pt x="24092" y="16516"/>
                    </a:lnTo>
                    <a:lnTo>
                      <a:pt x="20607" y="20607"/>
                    </a:lnTo>
                    <a:lnTo>
                      <a:pt x="18183" y="22577"/>
                    </a:lnTo>
                    <a:lnTo>
                      <a:pt x="18183" y="25456"/>
                    </a:lnTo>
                    <a:lnTo>
                      <a:pt x="18183" y="26365"/>
                    </a:lnTo>
                    <a:lnTo>
                      <a:pt x="17274" y="26971"/>
                    </a:lnTo>
                    <a:lnTo>
                      <a:pt x="16970" y="27728"/>
                    </a:lnTo>
                    <a:lnTo>
                      <a:pt x="15759" y="28031"/>
                    </a:lnTo>
                    <a:lnTo>
                      <a:pt x="15304" y="28941"/>
                    </a:lnTo>
                    <a:lnTo>
                      <a:pt x="15759" y="30910"/>
                    </a:lnTo>
                    <a:lnTo>
                      <a:pt x="16516" y="32123"/>
                    </a:lnTo>
                    <a:lnTo>
                      <a:pt x="17879" y="34244"/>
                    </a:lnTo>
                    <a:lnTo>
                      <a:pt x="17728" y="37577"/>
                    </a:lnTo>
                    <a:lnTo>
                      <a:pt x="18940" y="38789"/>
                    </a:lnTo>
                    <a:lnTo>
                      <a:pt x="21516" y="42426"/>
                    </a:lnTo>
                    <a:lnTo>
                      <a:pt x="20304" y="45608"/>
                    </a:lnTo>
                    <a:lnTo>
                      <a:pt x="21062" y="46668"/>
                    </a:lnTo>
                    <a:lnTo>
                      <a:pt x="21365" y="48335"/>
                    </a:lnTo>
                    <a:lnTo>
                      <a:pt x="23637" y="52275"/>
                    </a:lnTo>
                    <a:lnTo>
                      <a:pt x="26062" y="52881"/>
                    </a:lnTo>
                    <a:lnTo>
                      <a:pt x="26516" y="53487"/>
                    </a:lnTo>
                    <a:lnTo>
                      <a:pt x="26062" y="54548"/>
                    </a:lnTo>
                    <a:lnTo>
                      <a:pt x="23941" y="55911"/>
                    </a:lnTo>
                    <a:lnTo>
                      <a:pt x="23789" y="57123"/>
                    </a:lnTo>
                    <a:lnTo>
                      <a:pt x="22880" y="56517"/>
                    </a:lnTo>
                    <a:lnTo>
                      <a:pt x="21365" y="53335"/>
                    </a:lnTo>
                    <a:lnTo>
                      <a:pt x="18637" y="53032"/>
                    </a:lnTo>
                    <a:lnTo>
                      <a:pt x="15607" y="51214"/>
                    </a:lnTo>
                    <a:lnTo>
                      <a:pt x="13182" y="51669"/>
                    </a:lnTo>
                    <a:lnTo>
                      <a:pt x="11516" y="52881"/>
                    </a:lnTo>
                    <a:lnTo>
                      <a:pt x="9394" y="53184"/>
                    </a:lnTo>
                    <a:lnTo>
                      <a:pt x="5758" y="55911"/>
                    </a:lnTo>
                    <a:lnTo>
                      <a:pt x="4243" y="58942"/>
                    </a:lnTo>
                    <a:lnTo>
                      <a:pt x="4849" y="61517"/>
                    </a:lnTo>
                    <a:lnTo>
                      <a:pt x="6213" y="61517"/>
                    </a:lnTo>
                    <a:lnTo>
                      <a:pt x="10607" y="62730"/>
                    </a:lnTo>
                    <a:lnTo>
                      <a:pt x="11819" y="61820"/>
                    </a:lnTo>
                    <a:lnTo>
                      <a:pt x="13334" y="61366"/>
                    </a:lnTo>
                    <a:lnTo>
                      <a:pt x="13789" y="64699"/>
                    </a:lnTo>
                    <a:lnTo>
                      <a:pt x="15000" y="68033"/>
                    </a:lnTo>
                    <a:lnTo>
                      <a:pt x="15152" y="69548"/>
                    </a:lnTo>
                    <a:lnTo>
                      <a:pt x="15000" y="72275"/>
                    </a:lnTo>
                    <a:lnTo>
                      <a:pt x="15304" y="75609"/>
                    </a:lnTo>
                    <a:lnTo>
                      <a:pt x="14849" y="77730"/>
                    </a:lnTo>
                    <a:lnTo>
                      <a:pt x="16365" y="79700"/>
                    </a:lnTo>
                    <a:lnTo>
                      <a:pt x="18637" y="81821"/>
                    </a:lnTo>
                    <a:lnTo>
                      <a:pt x="18940" y="82579"/>
                    </a:lnTo>
                    <a:lnTo>
                      <a:pt x="18183" y="83791"/>
                    </a:lnTo>
                    <a:lnTo>
                      <a:pt x="17728" y="85458"/>
                    </a:lnTo>
                    <a:lnTo>
                      <a:pt x="19698" y="86215"/>
                    </a:lnTo>
                    <a:lnTo>
                      <a:pt x="20607" y="86973"/>
                    </a:lnTo>
                    <a:lnTo>
                      <a:pt x="19698" y="90155"/>
                    </a:lnTo>
                    <a:lnTo>
                      <a:pt x="16516" y="91821"/>
                    </a:lnTo>
                    <a:lnTo>
                      <a:pt x="14849" y="93185"/>
                    </a:lnTo>
                    <a:lnTo>
                      <a:pt x="13334" y="93943"/>
                    </a:lnTo>
                    <a:lnTo>
                      <a:pt x="13334" y="95155"/>
                    </a:lnTo>
                    <a:lnTo>
                      <a:pt x="15455" y="95610"/>
                    </a:lnTo>
                    <a:lnTo>
                      <a:pt x="16819" y="96216"/>
                    </a:lnTo>
                    <a:lnTo>
                      <a:pt x="15909" y="97276"/>
                    </a:lnTo>
                    <a:lnTo>
                      <a:pt x="13486" y="98337"/>
                    </a:lnTo>
                    <a:lnTo>
                      <a:pt x="12576" y="99701"/>
                    </a:lnTo>
                    <a:lnTo>
                      <a:pt x="10758" y="104095"/>
                    </a:lnTo>
                    <a:lnTo>
                      <a:pt x="9849" y="107125"/>
                    </a:lnTo>
                    <a:lnTo>
                      <a:pt x="7879" y="109095"/>
                    </a:lnTo>
                    <a:lnTo>
                      <a:pt x="8940" y="112428"/>
                    </a:lnTo>
                    <a:lnTo>
                      <a:pt x="10910" y="115913"/>
                    </a:lnTo>
                    <a:lnTo>
                      <a:pt x="11516" y="119247"/>
                    </a:lnTo>
                    <a:lnTo>
                      <a:pt x="13031" y="119701"/>
                    </a:lnTo>
                    <a:lnTo>
                      <a:pt x="15000" y="118944"/>
                    </a:lnTo>
                    <a:lnTo>
                      <a:pt x="16213" y="119398"/>
                    </a:lnTo>
                    <a:lnTo>
                      <a:pt x="14698" y="120762"/>
                    </a:lnTo>
                    <a:lnTo>
                      <a:pt x="12880" y="121520"/>
                    </a:lnTo>
                    <a:lnTo>
                      <a:pt x="13789" y="122126"/>
                    </a:lnTo>
                    <a:lnTo>
                      <a:pt x="14395" y="123338"/>
                    </a:lnTo>
                    <a:lnTo>
                      <a:pt x="11667" y="123489"/>
                    </a:lnTo>
                    <a:lnTo>
                      <a:pt x="8333" y="122732"/>
                    </a:lnTo>
                    <a:lnTo>
                      <a:pt x="7273" y="124095"/>
                    </a:lnTo>
                    <a:lnTo>
                      <a:pt x="9092" y="126671"/>
                    </a:lnTo>
                    <a:lnTo>
                      <a:pt x="13182" y="129550"/>
                    </a:lnTo>
                    <a:lnTo>
                      <a:pt x="13789" y="131520"/>
                    </a:lnTo>
                    <a:lnTo>
                      <a:pt x="13789" y="133944"/>
                    </a:lnTo>
                    <a:lnTo>
                      <a:pt x="14395" y="135005"/>
                    </a:lnTo>
                    <a:lnTo>
                      <a:pt x="15909" y="134854"/>
                    </a:lnTo>
                    <a:lnTo>
                      <a:pt x="16668" y="132278"/>
                    </a:lnTo>
                    <a:lnTo>
                      <a:pt x="20607" y="128944"/>
                    </a:lnTo>
                    <a:lnTo>
                      <a:pt x="21819" y="129550"/>
                    </a:lnTo>
                    <a:lnTo>
                      <a:pt x="22576" y="130914"/>
                    </a:lnTo>
                    <a:lnTo>
                      <a:pt x="24546" y="131217"/>
                    </a:lnTo>
                    <a:lnTo>
                      <a:pt x="28183" y="126065"/>
                    </a:lnTo>
                    <a:lnTo>
                      <a:pt x="34092" y="121520"/>
                    </a:lnTo>
                    <a:lnTo>
                      <a:pt x="34699" y="122580"/>
                    </a:lnTo>
                    <a:lnTo>
                      <a:pt x="34547" y="124399"/>
                    </a:lnTo>
                    <a:lnTo>
                      <a:pt x="32729" y="126217"/>
                    </a:lnTo>
                    <a:lnTo>
                      <a:pt x="32122" y="128035"/>
                    </a:lnTo>
                    <a:lnTo>
                      <a:pt x="36214" y="130611"/>
                    </a:lnTo>
                    <a:lnTo>
                      <a:pt x="37729" y="129399"/>
                    </a:lnTo>
                    <a:lnTo>
                      <a:pt x="38335" y="127732"/>
                    </a:lnTo>
                    <a:lnTo>
                      <a:pt x="40456" y="125459"/>
                    </a:lnTo>
                    <a:lnTo>
                      <a:pt x="38941" y="123489"/>
                    </a:lnTo>
                    <a:lnTo>
                      <a:pt x="38032" y="121823"/>
                    </a:lnTo>
                    <a:lnTo>
                      <a:pt x="38487" y="119398"/>
                    </a:lnTo>
                    <a:lnTo>
                      <a:pt x="40456" y="118792"/>
                    </a:lnTo>
                    <a:lnTo>
                      <a:pt x="41668" y="118944"/>
                    </a:lnTo>
                    <a:lnTo>
                      <a:pt x="42881" y="121217"/>
                    </a:lnTo>
                    <a:lnTo>
                      <a:pt x="44699" y="123489"/>
                    </a:lnTo>
                    <a:lnTo>
                      <a:pt x="46972" y="122580"/>
                    </a:lnTo>
                    <a:lnTo>
                      <a:pt x="47729" y="120611"/>
                    </a:lnTo>
                    <a:lnTo>
                      <a:pt x="45608" y="118792"/>
                    </a:lnTo>
                    <a:lnTo>
                      <a:pt x="45002" y="117429"/>
                    </a:lnTo>
                    <a:lnTo>
                      <a:pt x="45608" y="116368"/>
                    </a:lnTo>
                    <a:lnTo>
                      <a:pt x="47123" y="115459"/>
                    </a:lnTo>
                    <a:lnTo>
                      <a:pt x="51517" y="115156"/>
                    </a:lnTo>
                    <a:lnTo>
                      <a:pt x="54396" y="113489"/>
                    </a:lnTo>
                    <a:lnTo>
                      <a:pt x="56063" y="113338"/>
                    </a:lnTo>
                    <a:lnTo>
                      <a:pt x="57729" y="116065"/>
                    </a:lnTo>
                    <a:lnTo>
                      <a:pt x="59245" y="116671"/>
                    </a:lnTo>
                    <a:lnTo>
                      <a:pt x="62578" y="116823"/>
                    </a:lnTo>
                    <a:lnTo>
                      <a:pt x="65609" y="117883"/>
                    </a:lnTo>
                    <a:lnTo>
                      <a:pt x="67124" y="118035"/>
                    </a:lnTo>
                    <a:lnTo>
                      <a:pt x="67275" y="116065"/>
                    </a:lnTo>
                    <a:lnTo>
                      <a:pt x="66518" y="113489"/>
                    </a:lnTo>
                    <a:lnTo>
                      <a:pt x="67579" y="111822"/>
                    </a:lnTo>
                    <a:lnTo>
                      <a:pt x="69093" y="110913"/>
                    </a:lnTo>
                    <a:lnTo>
                      <a:pt x="72730" y="110307"/>
                    </a:lnTo>
                    <a:lnTo>
                      <a:pt x="76973" y="111065"/>
                    </a:lnTo>
                    <a:lnTo>
                      <a:pt x="81973" y="110762"/>
                    </a:lnTo>
                    <a:lnTo>
                      <a:pt x="84549" y="110156"/>
                    </a:lnTo>
                    <a:lnTo>
                      <a:pt x="88337" y="108337"/>
                    </a:lnTo>
                    <a:lnTo>
                      <a:pt x="91519" y="103640"/>
                    </a:lnTo>
                    <a:lnTo>
                      <a:pt x="93943" y="98488"/>
                    </a:lnTo>
                    <a:lnTo>
                      <a:pt x="95761" y="92579"/>
                    </a:lnTo>
                    <a:lnTo>
                      <a:pt x="97883" y="84549"/>
                    </a:lnTo>
                    <a:lnTo>
                      <a:pt x="98185" y="81367"/>
                    </a:lnTo>
                    <a:lnTo>
                      <a:pt x="96519" y="81821"/>
                    </a:lnTo>
                    <a:lnTo>
                      <a:pt x="94549" y="8273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4" name="Freeform: Shape 3243">
                <a:extLst>
                  <a:ext uri="{FF2B5EF4-FFF2-40B4-BE49-F238E27FC236}">
                    <a16:creationId xmlns:a16="http://schemas.microsoft.com/office/drawing/2014/main" id="{BB69C48D-985E-4E36-AC3E-8AE3E4EFCB5B}"/>
                  </a:ext>
                </a:extLst>
              </p:cNvPr>
              <p:cNvSpPr/>
              <p:nvPr/>
            </p:nvSpPr>
            <p:spPr>
              <a:xfrm>
                <a:off x="9179295" y="3314069"/>
                <a:ext cx="173491" cy="171218"/>
              </a:xfrm>
              <a:custGeom>
                <a:avLst/>
                <a:gdLst>
                  <a:gd name="connsiteX0" fmla="*/ 172734 w 173491"/>
                  <a:gd name="connsiteY0" fmla="*/ 22274 h 171218"/>
                  <a:gd name="connsiteX1" fmla="*/ 172582 w 173491"/>
                  <a:gd name="connsiteY1" fmla="*/ 20758 h 171218"/>
                  <a:gd name="connsiteX2" fmla="*/ 171673 w 173491"/>
                  <a:gd name="connsiteY2" fmla="*/ 19395 h 171218"/>
                  <a:gd name="connsiteX3" fmla="*/ 169855 w 173491"/>
                  <a:gd name="connsiteY3" fmla="*/ 17425 h 171218"/>
                  <a:gd name="connsiteX4" fmla="*/ 169098 w 173491"/>
                  <a:gd name="connsiteY4" fmla="*/ 15455 h 171218"/>
                  <a:gd name="connsiteX5" fmla="*/ 168339 w 173491"/>
                  <a:gd name="connsiteY5" fmla="*/ 14243 h 171218"/>
                  <a:gd name="connsiteX6" fmla="*/ 166976 w 173491"/>
                  <a:gd name="connsiteY6" fmla="*/ 13940 h 171218"/>
                  <a:gd name="connsiteX7" fmla="*/ 164551 w 173491"/>
                  <a:gd name="connsiteY7" fmla="*/ 12273 h 171218"/>
                  <a:gd name="connsiteX8" fmla="*/ 162733 w 173491"/>
                  <a:gd name="connsiteY8" fmla="*/ 10455 h 171218"/>
                  <a:gd name="connsiteX9" fmla="*/ 161370 w 173491"/>
                  <a:gd name="connsiteY9" fmla="*/ 8485 h 171218"/>
                  <a:gd name="connsiteX10" fmla="*/ 161370 w 173491"/>
                  <a:gd name="connsiteY10" fmla="*/ 4243 h 171218"/>
                  <a:gd name="connsiteX11" fmla="*/ 161067 w 173491"/>
                  <a:gd name="connsiteY11" fmla="*/ 3636 h 171218"/>
                  <a:gd name="connsiteX12" fmla="*/ 158643 w 173491"/>
                  <a:gd name="connsiteY12" fmla="*/ 2727 h 171218"/>
                  <a:gd name="connsiteX13" fmla="*/ 157884 w 173491"/>
                  <a:gd name="connsiteY13" fmla="*/ 1515 h 171218"/>
                  <a:gd name="connsiteX14" fmla="*/ 156673 w 173491"/>
                  <a:gd name="connsiteY14" fmla="*/ 909 h 171218"/>
                  <a:gd name="connsiteX15" fmla="*/ 155005 w 173491"/>
                  <a:gd name="connsiteY15" fmla="*/ 1364 h 171218"/>
                  <a:gd name="connsiteX16" fmla="*/ 153794 w 173491"/>
                  <a:gd name="connsiteY16" fmla="*/ 909 h 171218"/>
                  <a:gd name="connsiteX17" fmla="*/ 152885 w 173491"/>
                  <a:gd name="connsiteY17" fmla="*/ 152 h 171218"/>
                  <a:gd name="connsiteX18" fmla="*/ 151672 w 173491"/>
                  <a:gd name="connsiteY18" fmla="*/ 0 h 171218"/>
                  <a:gd name="connsiteX19" fmla="*/ 150612 w 173491"/>
                  <a:gd name="connsiteY19" fmla="*/ 1061 h 171218"/>
                  <a:gd name="connsiteX20" fmla="*/ 150006 w 173491"/>
                  <a:gd name="connsiteY20" fmla="*/ 3333 h 171218"/>
                  <a:gd name="connsiteX21" fmla="*/ 148339 w 173491"/>
                  <a:gd name="connsiteY21" fmla="*/ 7273 h 171218"/>
                  <a:gd name="connsiteX22" fmla="*/ 148188 w 173491"/>
                  <a:gd name="connsiteY22" fmla="*/ 9546 h 171218"/>
                  <a:gd name="connsiteX23" fmla="*/ 147429 w 173491"/>
                  <a:gd name="connsiteY23" fmla="*/ 12879 h 171218"/>
                  <a:gd name="connsiteX24" fmla="*/ 146672 w 173491"/>
                  <a:gd name="connsiteY24" fmla="*/ 17122 h 171218"/>
                  <a:gd name="connsiteX25" fmla="*/ 146066 w 173491"/>
                  <a:gd name="connsiteY25" fmla="*/ 18031 h 171218"/>
                  <a:gd name="connsiteX26" fmla="*/ 144096 w 173491"/>
                  <a:gd name="connsiteY26" fmla="*/ 18182 h 171218"/>
                  <a:gd name="connsiteX27" fmla="*/ 143491 w 173491"/>
                  <a:gd name="connsiteY27" fmla="*/ 18486 h 171218"/>
                  <a:gd name="connsiteX28" fmla="*/ 142430 w 173491"/>
                  <a:gd name="connsiteY28" fmla="*/ 20001 h 171218"/>
                  <a:gd name="connsiteX29" fmla="*/ 141217 w 173491"/>
                  <a:gd name="connsiteY29" fmla="*/ 20304 h 171218"/>
                  <a:gd name="connsiteX30" fmla="*/ 140157 w 173491"/>
                  <a:gd name="connsiteY30" fmla="*/ 19395 h 171218"/>
                  <a:gd name="connsiteX31" fmla="*/ 138490 w 173491"/>
                  <a:gd name="connsiteY31" fmla="*/ 18486 h 171218"/>
                  <a:gd name="connsiteX32" fmla="*/ 136975 w 173491"/>
                  <a:gd name="connsiteY32" fmla="*/ 18334 h 171218"/>
                  <a:gd name="connsiteX33" fmla="*/ 135611 w 173491"/>
                  <a:gd name="connsiteY33" fmla="*/ 19243 h 171218"/>
                  <a:gd name="connsiteX34" fmla="*/ 133945 w 173491"/>
                  <a:gd name="connsiteY34" fmla="*/ 21061 h 171218"/>
                  <a:gd name="connsiteX35" fmla="*/ 133036 w 173491"/>
                  <a:gd name="connsiteY35" fmla="*/ 22577 h 171218"/>
                  <a:gd name="connsiteX36" fmla="*/ 132732 w 173491"/>
                  <a:gd name="connsiteY36" fmla="*/ 23940 h 171218"/>
                  <a:gd name="connsiteX37" fmla="*/ 132429 w 173491"/>
                  <a:gd name="connsiteY37" fmla="*/ 25607 h 171218"/>
                  <a:gd name="connsiteX38" fmla="*/ 130763 w 173491"/>
                  <a:gd name="connsiteY38" fmla="*/ 27274 h 171218"/>
                  <a:gd name="connsiteX39" fmla="*/ 129248 w 173491"/>
                  <a:gd name="connsiteY39" fmla="*/ 28183 h 171218"/>
                  <a:gd name="connsiteX40" fmla="*/ 126065 w 173491"/>
                  <a:gd name="connsiteY40" fmla="*/ 30607 h 171218"/>
                  <a:gd name="connsiteX41" fmla="*/ 125005 w 173491"/>
                  <a:gd name="connsiteY41" fmla="*/ 31668 h 171218"/>
                  <a:gd name="connsiteX42" fmla="*/ 122732 w 173491"/>
                  <a:gd name="connsiteY42" fmla="*/ 31668 h 171218"/>
                  <a:gd name="connsiteX43" fmla="*/ 120308 w 173491"/>
                  <a:gd name="connsiteY43" fmla="*/ 31516 h 171218"/>
                  <a:gd name="connsiteX44" fmla="*/ 116975 w 173491"/>
                  <a:gd name="connsiteY44" fmla="*/ 32122 h 171218"/>
                  <a:gd name="connsiteX45" fmla="*/ 111519 w 173491"/>
                  <a:gd name="connsiteY45" fmla="*/ 32425 h 171218"/>
                  <a:gd name="connsiteX46" fmla="*/ 108186 w 173491"/>
                  <a:gd name="connsiteY46" fmla="*/ 31971 h 171218"/>
                  <a:gd name="connsiteX47" fmla="*/ 104095 w 173491"/>
                  <a:gd name="connsiteY47" fmla="*/ 32425 h 171218"/>
                  <a:gd name="connsiteX48" fmla="*/ 100913 w 173491"/>
                  <a:gd name="connsiteY48" fmla="*/ 33183 h 171218"/>
                  <a:gd name="connsiteX49" fmla="*/ 100458 w 173491"/>
                  <a:gd name="connsiteY49" fmla="*/ 34395 h 171218"/>
                  <a:gd name="connsiteX50" fmla="*/ 100610 w 173491"/>
                  <a:gd name="connsiteY50" fmla="*/ 36062 h 171218"/>
                  <a:gd name="connsiteX51" fmla="*/ 101216 w 173491"/>
                  <a:gd name="connsiteY51" fmla="*/ 37274 h 171218"/>
                  <a:gd name="connsiteX52" fmla="*/ 101973 w 173491"/>
                  <a:gd name="connsiteY52" fmla="*/ 38032 h 171218"/>
                  <a:gd name="connsiteX53" fmla="*/ 103337 w 173491"/>
                  <a:gd name="connsiteY53" fmla="*/ 40305 h 171218"/>
                  <a:gd name="connsiteX54" fmla="*/ 104701 w 173491"/>
                  <a:gd name="connsiteY54" fmla="*/ 42577 h 171218"/>
                  <a:gd name="connsiteX55" fmla="*/ 106822 w 173491"/>
                  <a:gd name="connsiteY55" fmla="*/ 44093 h 171218"/>
                  <a:gd name="connsiteX56" fmla="*/ 107731 w 173491"/>
                  <a:gd name="connsiteY56" fmla="*/ 45608 h 171218"/>
                  <a:gd name="connsiteX57" fmla="*/ 107731 w 173491"/>
                  <a:gd name="connsiteY57" fmla="*/ 47123 h 171218"/>
                  <a:gd name="connsiteX58" fmla="*/ 106671 w 173491"/>
                  <a:gd name="connsiteY58" fmla="*/ 48941 h 171218"/>
                  <a:gd name="connsiteX59" fmla="*/ 105155 w 173491"/>
                  <a:gd name="connsiteY59" fmla="*/ 51366 h 171218"/>
                  <a:gd name="connsiteX60" fmla="*/ 103792 w 173491"/>
                  <a:gd name="connsiteY60" fmla="*/ 52881 h 171218"/>
                  <a:gd name="connsiteX61" fmla="*/ 102732 w 173491"/>
                  <a:gd name="connsiteY61" fmla="*/ 52881 h 171218"/>
                  <a:gd name="connsiteX62" fmla="*/ 101064 w 173491"/>
                  <a:gd name="connsiteY62" fmla="*/ 51972 h 171218"/>
                  <a:gd name="connsiteX63" fmla="*/ 100004 w 173491"/>
                  <a:gd name="connsiteY63" fmla="*/ 50911 h 171218"/>
                  <a:gd name="connsiteX64" fmla="*/ 97428 w 173491"/>
                  <a:gd name="connsiteY64" fmla="*/ 50456 h 171218"/>
                  <a:gd name="connsiteX65" fmla="*/ 91064 w 173491"/>
                  <a:gd name="connsiteY65" fmla="*/ 51214 h 171218"/>
                  <a:gd name="connsiteX66" fmla="*/ 87882 w 173491"/>
                  <a:gd name="connsiteY66" fmla="*/ 50759 h 171218"/>
                  <a:gd name="connsiteX67" fmla="*/ 86367 w 173491"/>
                  <a:gd name="connsiteY67" fmla="*/ 49850 h 171218"/>
                  <a:gd name="connsiteX68" fmla="*/ 83791 w 173491"/>
                  <a:gd name="connsiteY68" fmla="*/ 49850 h 171218"/>
                  <a:gd name="connsiteX69" fmla="*/ 79700 w 173491"/>
                  <a:gd name="connsiteY69" fmla="*/ 48638 h 171218"/>
                  <a:gd name="connsiteX70" fmla="*/ 77276 w 173491"/>
                  <a:gd name="connsiteY70" fmla="*/ 48335 h 171218"/>
                  <a:gd name="connsiteX71" fmla="*/ 76064 w 173491"/>
                  <a:gd name="connsiteY71" fmla="*/ 47577 h 171218"/>
                  <a:gd name="connsiteX72" fmla="*/ 75760 w 173491"/>
                  <a:gd name="connsiteY72" fmla="*/ 45911 h 171218"/>
                  <a:gd name="connsiteX73" fmla="*/ 74548 w 173491"/>
                  <a:gd name="connsiteY73" fmla="*/ 44699 h 171218"/>
                  <a:gd name="connsiteX74" fmla="*/ 73942 w 173491"/>
                  <a:gd name="connsiteY74" fmla="*/ 43335 h 171218"/>
                  <a:gd name="connsiteX75" fmla="*/ 72427 w 173491"/>
                  <a:gd name="connsiteY75" fmla="*/ 41517 h 171218"/>
                  <a:gd name="connsiteX76" fmla="*/ 71063 w 173491"/>
                  <a:gd name="connsiteY76" fmla="*/ 40608 h 171218"/>
                  <a:gd name="connsiteX77" fmla="*/ 69700 w 173491"/>
                  <a:gd name="connsiteY77" fmla="*/ 40305 h 171218"/>
                  <a:gd name="connsiteX78" fmla="*/ 68184 w 173491"/>
                  <a:gd name="connsiteY78" fmla="*/ 41365 h 171218"/>
                  <a:gd name="connsiteX79" fmla="*/ 66518 w 173491"/>
                  <a:gd name="connsiteY79" fmla="*/ 42274 h 171218"/>
                  <a:gd name="connsiteX80" fmla="*/ 65305 w 173491"/>
                  <a:gd name="connsiteY80" fmla="*/ 42123 h 171218"/>
                  <a:gd name="connsiteX81" fmla="*/ 64700 w 173491"/>
                  <a:gd name="connsiteY81" fmla="*/ 42426 h 171218"/>
                  <a:gd name="connsiteX82" fmla="*/ 64093 w 173491"/>
                  <a:gd name="connsiteY82" fmla="*/ 43183 h 171218"/>
                  <a:gd name="connsiteX83" fmla="*/ 61517 w 173491"/>
                  <a:gd name="connsiteY83" fmla="*/ 44850 h 171218"/>
                  <a:gd name="connsiteX84" fmla="*/ 60912 w 173491"/>
                  <a:gd name="connsiteY84" fmla="*/ 46365 h 171218"/>
                  <a:gd name="connsiteX85" fmla="*/ 59851 w 173491"/>
                  <a:gd name="connsiteY85" fmla="*/ 49547 h 171218"/>
                  <a:gd name="connsiteX86" fmla="*/ 59093 w 173491"/>
                  <a:gd name="connsiteY86" fmla="*/ 52881 h 171218"/>
                  <a:gd name="connsiteX87" fmla="*/ 58487 w 173491"/>
                  <a:gd name="connsiteY87" fmla="*/ 54093 h 171218"/>
                  <a:gd name="connsiteX88" fmla="*/ 57427 w 173491"/>
                  <a:gd name="connsiteY88" fmla="*/ 54244 h 171218"/>
                  <a:gd name="connsiteX89" fmla="*/ 56366 w 173491"/>
                  <a:gd name="connsiteY89" fmla="*/ 55305 h 171218"/>
                  <a:gd name="connsiteX90" fmla="*/ 54093 w 173491"/>
                  <a:gd name="connsiteY90" fmla="*/ 58487 h 171218"/>
                  <a:gd name="connsiteX91" fmla="*/ 51972 w 173491"/>
                  <a:gd name="connsiteY91" fmla="*/ 61366 h 171218"/>
                  <a:gd name="connsiteX92" fmla="*/ 48941 w 173491"/>
                  <a:gd name="connsiteY92" fmla="*/ 63336 h 171218"/>
                  <a:gd name="connsiteX93" fmla="*/ 47578 w 173491"/>
                  <a:gd name="connsiteY93" fmla="*/ 65154 h 171218"/>
                  <a:gd name="connsiteX94" fmla="*/ 46820 w 173491"/>
                  <a:gd name="connsiteY94" fmla="*/ 66821 h 171218"/>
                  <a:gd name="connsiteX95" fmla="*/ 44699 w 173491"/>
                  <a:gd name="connsiteY95" fmla="*/ 69093 h 171218"/>
                  <a:gd name="connsiteX96" fmla="*/ 41517 w 173491"/>
                  <a:gd name="connsiteY96" fmla="*/ 69548 h 171218"/>
                  <a:gd name="connsiteX97" fmla="*/ 39093 w 173491"/>
                  <a:gd name="connsiteY97" fmla="*/ 70154 h 171218"/>
                  <a:gd name="connsiteX98" fmla="*/ 37577 w 173491"/>
                  <a:gd name="connsiteY98" fmla="*/ 70306 h 171218"/>
                  <a:gd name="connsiteX99" fmla="*/ 36517 w 173491"/>
                  <a:gd name="connsiteY99" fmla="*/ 71215 h 171218"/>
                  <a:gd name="connsiteX100" fmla="*/ 35759 w 173491"/>
                  <a:gd name="connsiteY100" fmla="*/ 72578 h 171218"/>
                  <a:gd name="connsiteX101" fmla="*/ 35305 w 173491"/>
                  <a:gd name="connsiteY101" fmla="*/ 73185 h 171218"/>
                  <a:gd name="connsiteX102" fmla="*/ 33941 w 173491"/>
                  <a:gd name="connsiteY102" fmla="*/ 73185 h 171218"/>
                  <a:gd name="connsiteX103" fmla="*/ 32577 w 173491"/>
                  <a:gd name="connsiteY103" fmla="*/ 74397 h 171218"/>
                  <a:gd name="connsiteX104" fmla="*/ 29092 w 173491"/>
                  <a:gd name="connsiteY104" fmla="*/ 77124 h 171218"/>
                  <a:gd name="connsiteX105" fmla="*/ 26364 w 173491"/>
                  <a:gd name="connsiteY105" fmla="*/ 77579 h 171218"/>
                  <a:gd name="connsiteX106" fmla="*/ 22880 w 173491"/>
                  <a:gd name="connsiteY106" fmla="*/ 79397 h 171218"/>
                  <a:gd name="connsiteX107" fmla="*/ 19849 w 173491"/>
                  <a:gd name="connsiteY107" fmla="*/ 80761 h 171218"/>
                  <a:gd name="connsiteX108" fmla="*/ 18637 w 173491"/>
                  <a:gd name="connsiteY108" fmla="*/ 81518 h 171218"/>
                  <a:gd name="connsiteX109" fmla="*/ 18334 w 173491"/>
                  <a:gd name="connsiteY109" fmla="*/ 82427 h 171218"/>
                  <a:gd name="connsiteX110" fmla="*/ 17879 w 173491"/>
                  <a:gd name="connsiteY110" fmla="*/ 83488 h 171218"/>
                  <a:gd name="connsiteX111" fmla="*/ 16365 w 173491"/>
                  <a:gd name="connsiteY111" fmla="*/ 83639 h 171218"/>
                  <a:gd name="connsiteX112" fmla="*/ 14849 w 173491"/>
                  <a:gd name="connsiteY112" fmla="*/ 83639 h 171218"/>
                  <a:gd name="connsiteX113" fmla="*/ 11667 w 173491"/>
                  <a:gd name="connsiteY113" fmla="*/ 86064 h 171218"/>
                  <a:gd name="connsiteX114" fmla="*/ 10001 w 173491"/>
                  <a:gd name="connsiteY114" fmla="*/ 88185 h 171218"/>
                  <a:gd name="connsiteX115" fmla="*/ 3636 w 173491"/>
                  <a:gd name="connsiteY115" fmla="*/ 92579 h 171218"/>
                  <a:gd name="connsiteX116" fmla="*/ 1061 w 173491"/>
                  <a:gd name="connsiteY116" fmla="*/ 95004 h 171218"/>
                  <a:gd name="connsiteX117" fmla="*/ 455 w 173491"/>
                  <a:gd name="connsiteY117" fmla="*/ 98185 h 171218"/>
                  <a:gd name="connsiteX118" fmla="*/ 757 w 173491"/>
                  <a:gd name="connsiteY118" fmla="*/ 98488 h 171218"/>
                  <a:gd name="connsiteX119" fmla="*/ 0 w 173491"/>
                  <a:gd name="connsiteY119" fmla="*/ 101367 h 171218"/>
                  <a:gd name="connsiteX120" fmla="*/ 1516 w 173491"/>
                  <a:gd name="connsiteY120" fmla="*/ 102731 h 171218"/>
                  <a:gd name="connsiteX121" fmla="*/ 5758 w 173491"/>
                  <a:gd name="connsiteY121" fmla="*/ 105155 h 171218"/>
                  <a:gd name="connsiteX122" fmla="*/ 7122 w 173491"/>
                  <a:gd name="connsiteY122" fmla="*/ 107580 h 171218"/>
                  <a:gd name="connsiteX123" fmla="*/ 8031 w 173491"/>
                  <a:gd name="connsiteY123" fmla="*/ 110913 h 171218"/>
                  <a:gd name="connsiteX124" fmla="*/ 9698 w 173491"/>
                  <a:gd name="connsiteY124" fmla="*/ 110307 h 171218"/>
                  <a:gd name="connsiteX125" fmla="*/ 10607 w 173491"/>
                  <a:gd name="connsiteY125" fmla="*/ 109701 h 171218"/>
                  <a:gd name="connsiteX126" fmla="*/ 10758 w 173491"/>
                  <a:gd name="connsiteY126" fmla="*/ 106822 h 171218"/>
                  <a:gd name="connsiteX127" fmla="*/ 11819 w 173491"/>
                  <a:gd name="connsiteY127" fmla="*/ 106216 h 171218"/>
                  <a:gd name="connsiteX128" fmla="*/ 14395 w 173491"/>
                  <a:gd name="connsiteY128" fmla="*/ 108034 h 171218"/>
                  <a:gd name="connsiteX129" fmla="*/ 20758 w 173491"/>
                  <a:gd name="connsiteY129" fmla="*/ 111671 h 171218"/>
                  <a:gd name="connsiteX130" fmla="*/ 22880 w 173491"/>
                  <a:gd name="connsiteY130" fmla="*/ 111822 h 171218"/>
                  <a:gd name="connsiteX131" fmla="*/ 27880 w 173491"/>
                  <a:gd name="connsiteY131" fmla="*/ 113641 h 171218"/>
                  <a:gd name="connsiteX132" fmla="*/ 28183 w 173491"/>
                  <a:gd name="connsiteY132" fmla="*/ 116823 h 171218"/>
                  <a:gd name="connsiteX133" fmla="*/ 29243 w 173491"/>
                  <a:gd name="connsiteY133" fmla="*/ 120004 h 171218"/>
                  <a:gd name="connsiteX134" fmla="*/ 29092 w 173491"/>
                  <a:gd name="connsiteY134" fmla="*/ 121217 h 171218"/>
                  <a:gd name="connsiteX135" fmla="*/ 22122 w 173491"/>
                  <a:gd name="connsiteY135" fmla="*/ 134550 h 171218"/>
                  <a:gd name="connsiteX136" fmla="*/ 22425 w 173491"/>
                  <a:gd name="connsiteY136" fmla="*/ 136672 h 171218"/>
                  <a:gd name="connsiteX137" fmla="*/ 25910 w 173491"/>
                  <a:gd name="connsiteY137" fmla="*/ 138641 h 171218"/>
                  <a:gd name="connsiteX138" fmla="*/ 29395 w 173491"/>
                  <a:gd name="connsiteY138" fmla="*/ 138490 h 171218"/>
                  <a:gd name="connsiteX139" fmla="*/ 31213 w 173491"/>
                  <a:gd name="connsiteY139" fmla="*/ 139096 h 171218"/>
                  <a:gd name="connsiteX140" fmla="*/ 33031 w 173491"/>
                  <a:gd name="connsiteY140" fmla="*/ 140460 h 171218"/>
                  <a:gd name="connsiteX141" fmla="*/ 31365 w 173491"/>
                  <a:gd name="connsiteY141" fmla="*/ 140763 h 171218"/>
                  <a:gd name="connsiteX142" fmla="*/ 29243 w 173491"/>
                  <a:gd name="connsiteY142" fmla="*/ 140611 h 171218"/>
                  <a:gd name="connsiteX143" fmla="*/ 26364 w 173491"/>
                  <a:gd name="connsiteY143" fmla="*/ 141066 h 171218"/>
                  <a:gd name="connsiteX144" fmla="*/ 19698 w 173491"/>
                  <a:gd name="connsiteY144" fmla="*/ 144551 h 171218"/>
                  <a:gd name="connsiteX145" fmla="*/ 17122 w 173491"/>
                  <a:gd name="connsiteY145" fmla="*/ 146975 h 171218"/>
                  <a:gd name="connsiteX146" fmla="*/ 14546 w 173491"/>
                  <a:gd name="connsiteY146" fmla="*/ 151369 h 171218"/>
                  <a:gd name="connsiteX147" fmla="*/ 14546 w 173491"/>
                  <a:gd name="connsiteY147" fmla="*/ 152884 h 171218"/>
                  <a:gd name="connsiteX148" fmla="*/ 14395 w 173491"/>
                  <a:gd name="connsiteY148" fmla="*/ 154854 h 171218"/>
                  <a:gd name="connsiteX149" fmla="*/ 9394 w 173491"/>
                  <a:gd name="connsiteY149" fmla="*/ 158188 h 171218"/>
                  <a:gd name="connsiteX150" fmla="*/ 11819 w 173491"/>
                  <a:gd name="connsiteY150" fmla="*/ 159097 h 171218"/>
                  <a:gd name="connsiteX151" fmla="*/ 15304 w 173491"/>
                  <a:gd name="connsiteY151" fmla="*/ 158794 h 171218"/>
                  <a:gd name="connsiteX152" fmla="*/ 17728 w 173491"/>
                  <a:gd name="connsiteY152" fmla="*/ 159854 h 171218"/>
                  <a:gd name="connsiteX153" fmla="*/ 22274 w 173491"/>
                  <a:gd name="connsiteY153" fmla="*/ 159400 h 171218"/>
                  <a:gd name="connsiteX154" fmla="*/ 23486 w 173491"/>
                  <a:gd name="connsiteY154" fmla="*/ 159854 h 171218"/>
                  <a:gd name="connsiteX155" fmla="*/ 24546 w 173491"/>
                  <a:gd name="connsiteY155" fmla="*/ 160612 h 171218"/>
                  <a:gd name="connsiteX156" fmla="*/ 23031 w 173491"/>
                  <a:gd name="connsiteY156" fmla="*/ 161218 h 171218"/>
                  <a:gd name="connsiteX157" fmla="*/ 17425 w 173491"/>
                  <a:gd name="connsiteY157" fmla="*/ 164551 h 171218"/>
                  <a:gd name="connsiteX158" fmla="*/ 18486 w 173491"/>
                  <a:gd name="connsiteY158" fmla="*/ 164855 h 171218"/>
                  <a:gd name="connsiteX159" fmla="*/ 20607 w 173491"/>
                  <a:gd name="connsiteY159" fmla="*/ 166067 h 171218"/>
                  <a:gd name="connsiteX160" fmla="*/ 26364 w 173491"/>
                  <a:gd name="connsiteY160" fmla="*/ 167279 h 171218"/>
                  <a:gd name="connsiteX161" fmla="*/ 27880 w 173491"/>
                  <a:gd name="connsiteY161" fmla="*/ 170309 h 171218"/>
                  <a:gd name="connsiteX162" fmla="*/ 27729 w 173491"/>
                  <a:gd name="connsiteY162" fmla="*/ 171067 h 171218"/>
                  <a:gd name="connsiteX163" fmla="*/ 29092 w 173491"/>
                  <a:gd name="connsiteY163" fmla="*/ 171218 h 171218"/>
                  <a:gd name="connsiteX164" fmla="*/ 30304 w 173491"/>
                  <a:gd name="connsiteY164" fmla="*/ 170915 h 171218"/>
                  <a:gd name="connsiteX165" fmla="*/ 33941 w 173491"/>
                  <a:gd name="connsiteY165" fmla="*/ 168188 h 171218"/>
                  <a:gd name="connsiteX166" fmla="*/ 36517 w 173491"/>
                  <a:gd name="connsiteY166" fmla="*/ 165006 h 171218"/>
                  <a:gd name="connsiteX167" fmla="*/ 36971 w 173491"/>
                  <a:gd name="connsiteY167" fmla="*/ 163642 h 171218"/>
                  <a:gd name="connsiteX168" fmla="*/ 38941 w 173491"/>
                  <a:gd name="connsiteY168" fmla="*/ 162885 h 171218"/>
                  <a:gd name="connsiteX169" fmla="*/ 43638 w 173491"/>
                  <a:gd name="connsiteY169" fmla="*/ 166370 h 171218"/>
                  <a:gd name="connsiteX170" fmla="*/ 46669 w 173491"/>
                  <a:gd name="connsiteY170" fmla="*/ 166521 h 171218"/>
                  <a:gd name="connsiteX171" fmla="*/ 48487 w 173491"/>
                  <a:gd name="connsiteY171" fmla="*/ 170461 h 171218"/>
                  <a:gd name="connsiteX172" fmla="*/ 49699 w 173491"/>
                  <a:gd name="connsiteY172" fmla="*/ 169855 h 171218"/>
                  <a:gd name="connsiteX173" fmla="*/ 50911 w 173491"/>
                  <a:gd name="connsiteY173" fmla="*/ 167734 h 171218"/>
                  <a:gd name="connsiteX174" fmla="*/ 55457 w 173491"/>
                  <a:gd name="connsiteY174" fmla="*/ 166218 h 171218"/>
                  <a:gd name="connsiteX175" fmla="*/ 61063 w 173491"/>
                  <a:gd name="connsiteY175" fmla="*/ 168794 h 171218"/>
                  <a:gd name="connsiteX176" fmla="*/ 62426 w 173491"/>
                  <a:gd name="connsiteY176" fmla="*/ 168945 h 171218"/>
                  <a:gd name="connsiteX177" fmla="*/ 62730 w 173491"/>
                  <a:gd name="connsiteY177" fmla="*/ 169249 h 171218"/>
                  <a:gd name="connsiteX178" fmla="*/ 63639 w 173491"/>
                  <a:gd name="connsiteY178" fmla="*/ 168643 h 171218"/>
                  <a:gd name="connsiteX179" fmla="*/ 63639 w 173491"/>
                  <a:gd name="connsiteY179" fmla="*/ 167734 h 171218"/>
                  <a:gd name="connsiteX180" fmla="*/ 63639 w 173491"/>
                  <a:gd name="connsiteY180" fmla="*/ 164855 h 171218"/>
                  <a:gd name="connsiteX181" fmla="*/ 66063 w 173491"/>
                  <a:gd name="connsiteY181" fmla="*/ 162885 h 171218"/>
                  <a:gd name="connsiteX182" fmla="*/ 69548 w 173491"/>
                  <a:gd name="connsiteY182" fmla="*/ 158794 h 171218"/>
                  <a:gd name="connsiteX183" fmla="*/ 71215 w 173491"/>
                  <a:gd name="connsiteY183" fmla="*/ 156521 h 171218"/>
                  <a:gd name="connsiteX184" fmla="*/ 73185 w 173491"/>
                  <a:gd name="connsiteY184" fmla="*/ 154400 h 171218"/>
                  <a:gd name="connsiteX185" fmla="*/ 75457 w 173491"/>
                  <a:gd name="connsiteY185" fmla="*/ 153036 h 171218"/>
                  <a:gd name="connsiteX186" fmla="*/ 77579 w 173491"/>
                  <a:gd name="connsiteY186" fmla="*/ 152430 h 171218"/>
                  <a:gd name="connsiteX187" fmla="*/ 80913 w 173491"/>
                  <a:gd name="connsiteY187" fmla="*/ 152127 h 171218"/>
                  <a:gd name="connsiteX188" fmla="*/ 87428 w 173491"/>
                  <a:gd name="connsiteY188" fmla="*/ 152430 h 171218"/>
                  <a:gd name="connsiteX189" fmla="*/ 88640 w 173491"/>
                  <a:gd name="connsiteY189" fmla="*/ 152127 h 171218"/>
                  <a:gd name="connsiteX190" fmla="*/ 93186 w 173491"/>
                  <a:gd name="connsiteY190" fmla="*/ 151975 h 171218"/>
                  <a:gd name="connsiteX191" fmla="*/ 94246 w 173491"/>
                  <a:gd name="connsiteY191" fmla="*/ 152278 h 171218"/>
                  <a:gd name="connsiteX192" fmla="*/ 97579 w 173491"/>
                  <a:gd name="connsiteY192" fmla="*/ 152581 h 171218"/>
                  <a:gd name="connsiteX193" fmla="*/ 101216 w 173491"/>
                  <a:gd name="connsiteY193" fmla="*/ 152278 h 171218"/>
                  <a:gd name="connsiteX194" fmla="*/ 103034 w 173491"/>
                  <a:gd name="connsiteY194" fmla="*/ 151672 h 171218"/>
                  <a:gd name="connsiteX195" fmla="*/ 104701 w 173491"/>
                  <a:gd name="connsiteY195" fmla="*/ 150612 h 171218"/>
                  <a:gd name="connsiteX196" fmla="*/ 106216 w 173491"/>
                  <a:gd name="connsiteY196" fmla="*/ 148793 h 171218"/>
                  <a:gd name="connsiteX197" fmla="*/ 107731 w 173491"/>
                  <a:gd name="connsiteY197" fmla="*/ 145460 h 171218"/>
                  <a:gd name="connsiteX198" fmla="*/ 109398 w 173491"/>
                  <a:gd name="connsiteY198" fmla="*/ 142732 h 171218"/>
                  <a:gd name="connsiteX199" fmla="*/ 110308 w 173491"/>
                  <a:gd name="connsiteY199" fmla="*/ 142278 h 171218"/>
                  <a:gd name="connsiteX200" fmla="*/ 109095 w 173491"/>
                  <a:gd name="connsiteY200" fmla="*/ 140460 h 171218"/>
                  <a:gd name="connsiteX201" fmla="*/ 106974 w 173491"/>
                  <a:gd name="connsiteY201" fmla="*/ 138338 h 171218"/>
                  <a:gd name="connsiteX202" fmla="*/ 104550 w 173491"/>
                  <a:gd name="connsiteY202" fmla="*/ 136975 h 171218"/>
                  <a:gd name="connsiteX203" fmla="*/ 103489 w 173491"/>
                  <a:gd name="connsiteY203" fmla="*/ 136066 h 171218"/>
                  <a:gd name="connsiteX204" fmla="*/ 99398 w 173491"/>
                  <a:gd name="connsiteY204" fmla="*/ 133490 h 171218"/>
                  <a:gd name="connsiteX205" fmla="*/ 94246 w 173491"/>
                  <a:gd name="connsiteY205" fmla="*/ 127580 h 171218"/>
                  <a:gd name="connsiteX206" fmla="*/ 91822 w 173491"/>
                  <a:gd name="connsiteY206" fmla="*/ 126217 h 171218"/>
                  <a:gd name="connsiteX207" fmla="*/ 88640 w 173491"/>
                  <a:gd name="connsiteY207" fmla="*/ 125611 h 171218"/>
                  <a:gd name="connsiteX208" fmla="*/ 86367 w 173491"/>
                  <a:gd name="connsiteY208" fmla="*/ 124399 h 171218"/>
                  <a:gd name="connsiteX209" fmla="*/ 83640 w 173491"/>
                  <a:gd name="connsiteY209" fmla="*/ 123489 h 171218"/>
                  <a:gd name="connsiteX210" fmla="*/ 83336 w 173491"/>
                  <a:gd name="connsiteY210" fmla="*/ 120611 h 171218"/>
                  <a:gd name="connsiteX211" fmla="*/ 84397 w 173491"/>
                  <a:gd name="connsiteY211" fmla="*/ 118186 h 171218"/>
                  <a:gd name="connsiteX212" fmla="*/ 85306 w 173491"/>
                  <a:gd name="connsiteY212" fmla="*/ 117277 h 171218"/>
                  <a:gd name="connsiteX213" fmla="*/ 87124 w 173491"/>
                  <a:gd name="connsiteY213" fmla="*/ 118035 h 171218"/>
                  <a:gd name="connsiteX214" fmla="*/ 87882 w 173491"/>
                  <a:gd name="connsiteY214" fmla="*/ 115307 h 171218"/>
                  <a:gd name="connsiteX215" fmla="*/ 87882 w 173491"/>
                  <a:gd name="connsiteY215" fmla="*/ 111974 h 171218"/>
                  <a:gd name="connsiteX216" fmla="*/ 87276 w 173491"/>
                  <a:gd name="connsiteY216" fmla="*/ 107731 h 171218"/>
                  <a:gd name="connsiteX217" fmla="*/ 88337 w 173491"/>
                  <a:gd name="connsiteY217" fmla="*/ 105004 h 171218"/>
                  <a:gd name="connsiteX218" fmla="*/ 96519 w 173491"/>
                  <a:gd name="connsiteY218" fmla="*/ 101367 h 171218"/>
                  <a:gd name="connsiteX219" fmla="*/ 99246 w 173491"/>
                  <a:gd name="connsiteY219" fmla="*/ 98185 h 171218"/>
                  <a:gd name="connsiteX220" fmla="*/ 103034 w 173491"/>
                  <a:gd name="connsiteY220" fmla="*/ 96973 h 171218"/>
                  <a:gd name="connsiteX221" fmla="*/ 108489 w 173491"/>
                  <a:gd name="connsiteY221" fmla="*/ 96822 h 171218"/>
                  <a:gd name="connsiteX222" fmla="*/ 110913 w 173491"/>
                  <a:gd name="connsiteY222" fmla="*/ 95155 h 171218"/>
                  <a:gd name="connsiteX223" fmla="*/ 114096 w 173491"/>
                  <a:gd name="connsiteY223" fmla="*/ 93791 h 171218"/>
                  <a:gd name="connsiteX224" fmla="*/ 116823 w 173491"/>
                  <a:gd name="connsiteY224" fmla="*/ 91670 h 171218"/>
                  <a:gd name="connsiteX225" fmla="*/ 119247 w 173491"/>
                  <a:gd name="connsiteY225" fmla="*/ 87882 h 171218"/>
                  <a:gd name="connsiteX226" fmla="*/ 123186 w 173491"/>
                  <a:gd name="connsiteY226" fmla="*/ 86518 h 171218"/>
                  <a:gd name="connsiteX227" fmla="*/ 125914 w 173491"/>
                  <a:gd name="connsiteY227" fmla="*/ 84245 h 171218"/>
                  <a:gd name="connsiteX228" fmla="*/ 130459 w 173491"/>
                  <a:gd name="connsiteY228" fmla="*/ 82276 h 171218"/>
                  <a:gd name="connsiteX229" fmla="*/ 134096 w 173491"/>
                  <a:gd name="connsiteY229" fmla="*/ 76821 h 171218"/>
                  <a:gd name="connsiteX230" fmla="*/ 136672 w 173491"/>
                  <a:gd name="connsiteY230" fmla="*/ 74700 h 171218"/>
                  <a:gd name="connsiteX231" fmla="*/ 146672 w 173491"/>
                  <a:gd name="connsiteY231" fmla="*/ 70457 h 171218"/>
                  <a:gd name="connsiteX232" fmla="*/ 147581 w 173491"/>
                  <a:gd name="connsiteY232" fmla="*/ 68033 h 171218"/>
                  <a:gd name="connsiteX233" fmla="*/ 146824 w 173491"/>
                  <a:gd name="connsiteY233" fmla="*/ 61820 h 171218"/>
                  <a:gd name="connsiteX234" fmla="*/ 148339 w 173491"/>
                  <a:gd name="connsiteY234" fmla="*/ 55911 h 171218"/>
                  <a:gd name="connsiteX235" fmla="*/ 148188 w 173491"/>
                  <a:gd name="connsiteY235" fmla="*/ 53032 h 171218"/>
                  <a:gd name="connsiteX236" fmla="*/ 146066 w 173491"/>
                  <a:gd name="connsiteY236" fmla="*/ 49699 h 171218"/>
                  <a:gd name="connsiteX237" fmla="*/ 146218 w 173491"/>
                  <a:gd name="connsiteY237" fmla="*/ 46365 h 171218"/>
                  <a:gd name="connsiteX238" fmla="*/ 148188 w 173491"/>
                  <a:gd name="connsiteY238" fmla="*/ 42577 h 171218"/>
                  <a:gd name="connsiteX239" fmla="*/ 151521 w 173491"/>
                  <a:gd name="connsiteY239" fmla="*/ 39547 h 171218"/>
                  <a:gd name="connsiteX240" fmla="*/ 152885 w 173491"/>
                  <a:gd name="connsiteY240" fmla="*/ 36517 h 171218"/>
                  <a:gd name="connsiteX241" fmla="*/ 155005 w 173491"/>
                  <a:gd name="connsiteY241" fmla="*/ 33486 h 171218"/>
                  <a:gd name="connsiteX242" fmla="*/ 156673 w 173491"/>
                  <a:gd name="connsiteY242" fmla="*/ 31668 h 171218"/>
                  <a:gd name="connsiteX243" fmla="*/ 159703 w 173491"/>
                  <a:gd name="connsiteY243" fmla="*/ 30001 h 171218"/>
                  <a:gd name="connsiteX244" fmla="*/ 161218 w 173491"/>
                  <a:gd name="connsiteY244" fmla="*/ 27122 h 171218"/>
                  <a:gd name="connsiteX245" fmla="*/ 163340 w 173491"/>
                  <a:gd name="connsiteY245" fmla="*/ 26062 h 171218"/>
                  <a:gd name="connsiteX246" fmla="*/ 167280 w 173491"/>
                  <a:gd name="connsiteY246" fmla="*/ 23183 h 171218"/>
                  <a:gd name="connsiteX247" fmla="*/ 170309 w 173491"/>
                  <a:gd name="connsiteY247" fmla="*/ 23486 h 171218"/>
                  <a:gd name="connsiteX248" fmla="*/ 172127 w 173491"/>
                  <a:gd name="connsiteY248" fmla="*/ 24092 h 171218"/>
                  <a:gd name="connsiteX249" fmla="*/ 173491 w 173491"/>
                  <a:gd name="connsiteY249" fmla="*/ 23183 h 171218"/>
                  <a:gd name="connsiteX250" fmla="*/ 172734 w 173491"/>
                  <a:gd name="connsiteY250" fmla="*/ 22274 h 171218"/>
                  <a:gd name="connsiteX251" fmla="*/ 16213 w 173491"/>
                  <a:gd name="connsiteY251" fmla="*/ 110458 h 171218"/>
                  <a:gd name="connsiteX252" fmla="*/ 15000 w 173491"/>
                  <a:gd name="connsiteY252" fmla="*/ 110610 h 171218"/>
                  <a:gd name="connsiteX253" fmla="*/ 13789 w 173491"/>
                  <a:gd name="connsiteY253" fmla="*/ 111974 h 171218"/>
                  <a:gd name="connsiteX254" fmla="*/ 13940 w 173491"/>
                  <a:gd name="connsiteY254" fmla="*/ 113641 h 171218"/>
                  <a:gd name="connsiteX255" fmla="*/ 15455 w 173491"/>
                  <a:gd name="connsiteY255" fmla="*/ 112731 h 171218"/>
                  <a:gd name="connsiteX256" fmla="*/ 16213 w 173491"/>
                  <a:gd name="connsiteY256" fmla="*/ 110458 h 17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173491" h="171218">
                    <a:moveTo>
                      <a:pt x="172734" y="22274"/>
                    </a:moveTo>
                    <a:lnTo>
                      <a:pt x="172582" y="20758"/>
                    </a:lnTo>
                    <a:lnTo>
                      <a:pt x="171673" y="19395"/>
                    </a:lnTo>
                    <a:lnTo>
                      <a:pt x="169855" y="17425"/>
                    </a:lnTo>
                    <a:lnTo>
                      <a:pt x="169098" y="15455"/>
                    </a:lnTo>
                    <a:lnTo>
                      <a:pt x="168339" y="14243"/>
                    </a:lnTo>
                    <a:lnTo>
                      <a:pt x="166976" y="13940"/>
                    </a:lnTo>
                    <a:lnTo>
                      <a:pt x="164551" y="12273"/>
                    </a:lnTo>
                    <a:lnTo>
                      <a:pt x="162733" y="10455"/>
                    </a:lnTo>
                    <a:lnTo>
                      <a:pt x="161370" y="8485"/>
                    </a:lnTo>
                    <a:lnTo>
                      <a:pt x="161370" y="4243"/>
                    </a:lnTo>
                    <a:lnTo>
                      <a:pt x="161067" y="3636"/>
                    </a:lnTo>
                    <a:lnTo>
                      <a:pt x="158643" y="2727"/>
                    </a:lnTo>
                    <a:lnTo>
                      <a:pt x="157884" y="1515"/>
                    </a:lnTo>
                    <a:lnTo>
                      <a:pt x="156673" y="909"/>
                    </a:lnTo>
                    <a:lnTo>
                      <a:pt x="155005" y="1364"/>
                    </a:lnTo>
                    <a:lnTo>
                      <a:pt x="153794" y="909"/>
                    </a:lnTo>
                    <a:lnTo>
                      <a:pt x="152885" y="152"/>
                    </a:lnTo>
                    <a:lnTo>
                      <a:pt x="151672" y="0"/>
                    </a:lnTo>
                    <a:lnTo>
                      <a:pt x="150612" y="1061"/>
                    </a:lnTo>
                    <a:lnTo>
                      <a:pt x="150006" y="3333"/>
                    </a:lnTo>
                    <a:lnTo>
                      <a:pt x="148339" y="7273"/>
                    </a:lnTo>
                    <a:lnTo>
                      <a:pt x="148188" y="9546"/>
                    </a:lnTo>
                    <a:lnTo>
                      <a:pt x="147429" y="12879"/>
                    </a:lnTo>
                    <a:lnTo>
                      <a:pt x="146672" y="17122"/>
                    </a:lnTo>
                    <a:lnTo>
                      <a:pt x="146066" y="18031"/>
                    </a:lnTo>
                    <a:lnTo>
                      <a:pt x="144096" y="18182"/>
                    </a:lnTo>
                    <a:lnTo>
                      <a:pt x="143491" y="18486"/>
                    </a:lnTo>
                    <a:lnTo>
                      <a:pt x="142430" y="20001"/>
                    </a:lnTo>
                    <a:lnTo>
                      <a:pt x="141217" y="20304"/>
                    </a:lnTo>
                    <a:lnTo>
                      <a:pt x="140157" y="19395"/>
                    </a:lnTo>
                    <a:lnTo>
                      <a:pt x="138490" y="18486"/>
                    </a:lnTo>
                    <a:lnTo>
                      <a:pt x="136975" y="18334"/>
                    </a:lnTo>
                    <a:lnTo>
                      <a:pt x="135611" y="19243"/>
                    </a:lnTo>
                    <a:lnTo>
                      <a:pt x="133945" y="21061"/>
                    </a:lnTo>
                    <a:lnTo>
                      <a:pt x="133036" y="22577"/>
                    </a:lnTo>
                    <a:lnTo>
                      <a:pt x="132732" y="23940"/>
                    </a:lnTo>
                    <a:lnTo>
                      <a:pt x="132429" y="25607"/>
                    </a:lnTo>
                    <a:lnTo>
                      <a:pt x="130763" y="27274"/>
                    </a:lnTo>
                    <a:lnTo>
                      <a:pt x="129248" y="28183"/>
                    </a:lnTo>
                    <a:lnTo>
                      <a:pt x="126065" y="30607"/>
                    </a:lnTo>
                    <a:lnTo>
                      <a:pt x="125005" y="31668"/>
                    </a:lnTo>
                    <a:lnTo>
                      <a:pt x="122732" y="31668"/>
                    </a:lnTo>
                    <a:lnTo>
                      <a:pt x="120308" y="31516"/>
                    </a:lnTo>
                    <a:lnTo>
                      <a:pt x="116975" y="32122"/>
                    </a:lnTo>
                    <a:lnTo>
                      <a:pt x="111519" y="32425"/>
                    </a:lnTo>
                    <a:lnTo>
                      <a:pt x="108186" y="31971"/>
                    </a:lnTo>
                    <a:lnTo>
                      <a:pt x="104095" y="32425"/>
                    </a:lnTo>
                    <a:lnTo>
                      <a:pt x="100913" y="33183"/>
                    </a:lnTo>
                    <a:lnTo>
                      <a:pt x="100458" y="34395"/>
                    </a:lnTo>
                    <a:lnTo>
                      <a:pt x="100610" y="36062"/>
                    </a:lnTo>
                    <a:lnTo>
                      <a:pt x="101216" y="37274"/>
                    </a:lnTo>
                    <a:lnTo>
                      <a:pt x="101973" y="38032"/>
                    </a:lnTo>
                    <a:lnTo>
                      <a:pt x="103337" y="40305"/>
                    </a:lnTo>
                    <a:lnTo>
                      <a:pt x="104701" y="42577"/>
                    </a:lnTo>
                    <a:lnTo>
                      <a:pt x="106822" y="44093"/>
                    </a:lnTo>
                    <a:lnTo>
                      <a:pt x="107731" y="45608"/>
                    </a:lnTo>
                    <a:lnTo>
                      <a:pt x="107731" y="47123"/>
                    </a:lnTo>
                    <a:lnTo>
                      <a:pt x="106671" y="48941"/>
                    </a:lnTo>
                    <a:lnTo>
                      <a:pt x="105155" y="51366"/>
                    </a:lnTo>
                    <a:lnTo>
                      <a:pt x="103792" y="52881"/>
                    </a:lnTo>
                    <a:lnTo>
                      <a:pt x="102732" y="52881"/>
                    </a:lnTo>
                    <a:lnTo>
                      <a:pt x="101064" y="51972"/>
                    </a:lnTo>
                    <a:lnTo>
                      <a:pt x="100004" y="50911"/>
                    </a:lnTo>
                    <a:lnTo>
                      <a:pt x="97428" y="50456"/>
                    </a:lnTo>
                    <a:lnTo>
                      <a:pt x="91064" y="51214"/>
                    </a:lnTo>
                    <a:lnTo>
                      <a:pt x="87882" y="50759"/>
                    </a:lnTo>
                    <a:lnTo>
                      <a:pt x="86367" y="49850"/>
                    </a:lnTo>
                    <a:lnTo>
                      <a:pt x="83791" y="49850"/>
                    </a:lnTo>
                    <a:lnTo>
                      <a:pt x="79700" y="48638"/>
                    </a:lnTo>
                    <a:lnTo>
                      <a:pt x="77276" y="48335"/>
                    </a:lnTo>
                    <a:lnTo>
                      <a:pt x="76064" y="47577"/>
                    </a:lnTo>
                    <a:lnTo>
                      <a:pt x="75760" y="45911"/>
                    </a:lnTo>
                    <a:lnTo>
                      <a:pt x="74548" y="44699"/>
                    </a:lnTo>
                    <a:lnTo>
                      <a:pt x="73942" y="43335"/>
                    </a:lnTo>
                    <a:lnTo>
                      <a:pt x="72427" y="41517"/>
                    </a:lnTo>
                    <a:lnTo>
                      <a:pt x="71063" y="40608"/>
                    </a:lnTo>
                    <a:lnTo>
                      <a:pt x="69700" y="40305"/>
                    </a:lnTo>
                    <a:lnTo>
                      <a:pt x="68184" y="41365"/>
                    </a:lnTo>
                    <a:lnTo>
                      <a:pt x="66518" y="42274"/>
                    </a:lnTo>
                    <a:lnTo>
                      <a:pt x="65305" y="42123"/>
                    </a:lnTo>
                    <a:lnTo>
                      <a:pt x="64700" y="42426"/>
                    </a:lnTo>
                    <a:lnTo>
                      <a:pt x="64093" y="43183"/>
                    </a:lnTo>
                    <a:lnTo>
                      <a:pt x="61517" y="44850"/>
                    </a:lnTo>
                    <a:lnTo>
                      <a:pt x="60912" y="46365"/>
                    </a:lnTo>
                    <a:lnTo>
                      <a:pt x="59851" y="49547"/>
                    </a:lnTo>
                    <a:lnTo>
                      <a:pt x="59093" y="52881"/>
                    </a:lnTo>
                    <a:lnTo>
                      <a:pt x="58487" y="54093"/>
                    </a:lnTo>
                    <a:lnTo>
                      <a:pt x="57427" y="54244"/>
                    </a:lnTo>
                    <a:lnTo>
                      <a:pt x="56366" y="55305"/>
                    </a:lnTo>
                    <a:lnTo>
                      <a:pt x="54093" y="58487"/>
                    </a:lnTo>
                    <a:lnTo>
                      <a:pt x="51972" y="61366"/>
                    </a:lnTo>
                    <a:lnTo>
                      <a:pt x="48941" y="63336"/>
                    </a:lnTo>
                    <a:lnTo>
                      <a:pt x="47578" y="65154"/>
                    </a:lnTo>
                    <a:lnTo>
                      <a:pt x="46820" y="66821"/>
                    </a:lnTo>
                    <a:lnTo>
                      <a:pt x="44699" y="69093"/>
                    </a:lnTo>
                    <a:lnTo>
                      <a:pt x="41517" y="69548"/>
                    </a:lnTo>
                    <a:lnTo>
                      <a:pt x="39093" y="70154"/>
                    </a:lnTo>
                    <a:lnTo>
                      <a:pt x="37577" y="70306"/>
                    </a:lnTo>
                    <a:lnTo>
                      <a:pt x="36517" y="71215"/>
                    </a:lnTo>
                    <a:lnTo>
                      <a:pt x="35759" y="72578"/>
                    </a:lnTo>
                    <a:lnTo>
                      <a:pt x="35305" y="73185"/>
                    </a:lnTo>
                    <a:lnTo>
                      <a:pt x="33941" y="73185"/>
                    </a:lnTo>
                    <a:lnTo>
                      <a:pt x="32577" y="74397"/>
                    </a:lnTo>
                    <a:lnTo>
                      <a:pt x="29092" y="77124"/>
                    </a:lnTo>
                    <a:lnTo>
                      <a:pt x="26364" y="77579"/>
                    </a:lnTo>
                    <a:lnTo>
                      <a:pt x="22880" y="79397"/>
                    </a:lnTo>
                    <a:lnTo>
                      <a:pt x="19849" y="80761"/>
                    </a:lnTo>
                    <a:lnTo>
                      <a:pt x="18637" y="81518"/>
                    </a:lnTo>
                    <a:lnTo>
                      <a:pt x="18334" y="82427"/>
                    </a:lnTo>
                    <a:lnTo>
                      <a:pt x="17879" y="83488"/>
                    </a:lnTo>
                    <a:lnTo>
                      <a:pt x="16365" y="83639"/>
                    </a:lnTo>
                    <a:lnTo>
                      <a:pt x="14849" y="83639"/>
                    </a:lnTo>
                    <a:lnTo>
                      <a:pt x="11667" y="86064"/>
                    </a:lnTo>
                    <a:lnTo>
                      <a:pt x="10001" y="88185"/>
                    </a:lnTo>
                    <a:lnTo>
                      <a:pt x="3636" y="92579"/>
                    </a:lnTo>
                    <a:lnTo>
                      <a:pt x="1061" y="95004"/>
                    </a:lnTo>
                    <a:lnTo>
                      <a:pt x="455" y="98185"/>
                    </a:lnTo>
                    <a:lnTo>
                      <a:pt x="757" y="98488"/>
                    </a:lnTo>
                    <a:lnTo>
                      <a:pt x="0" y="101367"/>
                    </a:lnTo>
                    <a:lnTo>
                      <a:pt x="1516" y="102731"/>
                    </a:lnTo>
                    <a:lnTo>
                      <a:pt x="5758" y="105155"/>
                    </a:lnTo>
                    <a:lnTo>
                      <a:pt x="7122" y="107580"/>
                    </a:lnTo>
                    <a:lnTo>
                      <a:pt x="8031" y="110913"/>
                    </a:lnTo>
                    <a:lnTo>
                      <a:pt x="9698" y="110307"/>
                    </a:lnTo>
                    <a:lnTo>
                      <a:pt x="10607" y="109701"/>
                    </a:lnTo>
                    <a:lnTo>
                      <a:pt x="10758" y="106822"/>
                    </a:lnTo>
                    <a:lnTo>
                      <a:pt x="11819" y="106216"/>
                    </a:lnTo>
                    <a:lnTo>
                      <a:pt x="14395" y="108034"/>
                    </a:lnTo>
                    <a:lnTo>
                      <a:pt x="20758" y="111671"/>
                    </a:lnTo>
                    <a:lnTo>
                      <a:pt x="22880" y="111822"/>
                    </a:lnTo>
                    <a:lnTo>
                      <a:pt x="27880" y="113641"/>
                    </a:lnTo>
                    <a:lnTo>
                      <a:pt x="28183" y="116823"/>
                    </a:lnTo>
                    <a:lnTo>
                      <a:pt x="29243" y="120004"/>
                    </a:lnTo>
                    <a:lnTo>
                      <a:pt x="29092" y="121217"/>
                    </a:lnTo>
                    <a:lnTo>
                      <a:pt x="22122" y="134550"/>
                    </a:lnTo>
                    <a:lnTo>
                      <a:pt x="22425" y="136672"/>
                    </a:lnTo>
                    <a:lnTo>
                      <a:pt x="25910" y="138641"/>
                    </a:lnTo>
                    <a:lnTo>
                      <a:pt x="29395" y="138490"/>
                    </a:lnTo>
                    <a:lnTo>
                      <a:pt x="31213" y="139096"/>
                    </a:lnTo>
                    <a:lnTo>
                      <a:pt x="33031" y="140460"/>
                    </a:lnTo>
                    <a:lnTo>
                      <a:pt x="31365" y="140763"/>
                    </a:lnTo>
                    <a:lnTo>
                      <a:pt x="29243" y="140611"/>
                    </a:lnTo>
                    <a:lnTo>
                      <a:pt x="26364" y="141066"/>
                    </a:lnTo>
                    <a:lnTo>
                      <a:pt x="19698" y="144551"/>
                    </a:lnTo>
                    <a:lnTo>
                      <a:pt x="17122" y="146975"/>
                    </a:lnTo>
                    <a:lnTo>
                      <a:pt x="14546" y="151369"/>
                    </a:lnTo>
                    <a:lnTo>
                      <a:pt x="14546" y="152884"/>
                    </a:lnTo>
                    <a:lnTo>
                      <a:pt x="14395" y="154854"/>
                    </a:lnTo>
                    <a:lnTo>
                      <a:pt x="9394" y="158188"/>
                    </a:lnTo>
                    <a:lnTo>
                      <a:pt x="11819" y="159097"/>
                    </a:lnTo>
                    <a:lnTo>
                      <a:pt x="15304" y="158794"/>
                    </a:lnTo>
                    <a:lnTo>
                      <a:pt x="17728" y="159854"/>
                    </a:lnTo>
                    <a:lnTo>
                      <a:pt x="22274" y="159400"/>
                    </a:lnTo>
                    <a:lnTo>
                      <a:pt x="23486" y="159854"/>
                    </a:lnTo>
                    <a:lnTo>
                      <a:pt x="24546" y="160612"/>
                    </a:lnTo>
                    <a:lnTo>
                      <a:pt x="23031" y="161218"/>
                    </a:lnTo>
                    <a:lnTo>
                      <a:pt x="17425" y="164551"/>
                    </a:lnTo>
                    <a:lnTo>
                      <a:pt x="18486" y="164855"/>
                    </a:lnTo>
                    <a:lnTo>
                      <a:pt x="20607" y="166067"/>
                    </a:lnTo>
                    <a:lnTo>
                      <a:pt x="26364" y="167279"/>
                    </a:lnTo>
                    <a:lnTo>
                      <a:pt x="27880" y="170309"/>
                    </a:lnTo>
                    <a:lnTo>
                      <a:pt x="27729" y="171067"/>
                    </a:lnTo>
                    <a:lnTo>
                      <a:pt x="29092" y="171218"/>
                    </a:lnTo>
                    <a:lnTo>
                      <a:pt x="30304" y="170915"/>
                    </a:lnTo>
                    <a:lnTo>
                      <a:pt x="33941" y="168188"/>
                    </a:lnTo>
                    <a:lnTo>
                      <a:pt x="36517" y="165006"/>
                    </a:lnTo>
                    <a:lnTo>
                      <a:pt x="36971" y="163642"/>
                    </a:lnTo>
                    <a:lnTo>
                      <a:pt x="38941" y="162885"/>
                    </a:lnTo>
                    <a:lnTo>
                      <a:pt x="43638" y="166370"/>
                    </a:lnTo>
                    <a:lnTo>
                      <a:pt x="46669" y="166521"/>
                    </a:lnTo>
                    <a:lnTo>
                      <a:pt x="48487" y="170461"/>
                    </a:lnTo>
                    <a:lnTo>
                      <a:pt x="49699" y="169855"/>
                    </a:lnTo>
                    <a:lnTo>
                      <a:pt x="50911" y="167734"/>
                    </a:lnTo>
                    <a:lnTo>
                      <a:pt x="55457" y="166218"/>
                    </a:lnTo>
                    <a:lnTo>
                      <a:pt x="61063" y="168794"/>
                    </a:lnTo>
                    <a:lnTo>
                      <a:pt x="62426" y="168945"/>
                    </a:lnTo>
                    <a:lnTo>
                      <a:pt x="62730" y="169249"/>
                    </a:lnTo>
                    <a:lnTo>
                      <a:pt x="63639" y="168643"/>
                    </a:lnTo>
                    <a:lnTo>
                      <a:pt x="63639" y="167734"/>
                    </a:lnTo>
                    <a:lnTo>
                      <a:pt x="63639" y="164855"/>
                    </a:lnTo>
                    <a:lnTo>
                      <a:pt x="66063" y="162885"/>
                    </a:lnTo>
                    <a:lnTo>
                      <a:pt x="69548" y="158794"/>
                    </a:lnTo>
                    <a:lnTo>
                      <a:pt x="71215" y="156521"/>
                    </a:lnTo>
                    <a:lnTo>
                      <a:pt x="73185" y="154400"/>
                    </a:lnTo>
                    <a:lnTo>
                      <a:pt x="75457" y="153036"/>
                    </a:lnTo>
                    <a:lnTo>
                      <a:pt x="77579" y="152430"/>
                    </a:lnTo>
                    <a:lnTo>
                      <a:pt x="80913" y="152127"/>
                    </a:lnTo>
                    <a:lnTo>
                      <a:pt x="87428" y="152430"/>
                    </a:lnTo>
                    <a:lnTo>
                      <a:pt x="88640" y="152127"/>
                    </a:lnTo>
                    <a:lnTo>
                      <a:pt x="93186" y="151975"/>
                    </a:lnTo>
                    <a:lnTo>
                      <a:pt x="94246" y="152278"/>
                    </a:lnTo>
                    <a:lnTo>
                      <a:pt x="97579" y="152581"/>
                    </a:lnTo>
                    <a:lnTo>
                      <a:pt x="101216" y="152278"/>
                    </a:lnTo>
                    <a:lnTo>
                      <a:pt x="103034" y="151672"/>
                    </a:lnTo>
                    <a:lnTo>
                      <a:pt x="104701" y="150612"/>
                    </a:lnTo>
                    <a:lnTo>
                      <a:pt x="106216" y="148793"/>
                    </a:lnTo>
                    <a:lnTo>
                      <a:pt x="107731" y="145460"/>
                    </a:lnTo>
                    <a:lnTo>
                      <a:pt x="109398" y="142732"/>
                    </a:lnTo>
                    <a:lnTo>
                      <a:pt x="110308" y="142278"/>
                    </a:lnTo>
                    <a:lnTo>
                      <a:pt x="109095" y="140460"/>
                    </a:lnTo>
                    <a:lnTo>
                      <a:pt x="106974" y="138338"/>
                    </a:lnTo>
                    <a:lnTo>
                      <a:pt x="104550" y="136975"/>
                    </a:lnTo>
                    <a:lnTo>
                      <a:pt x="103489" y="136066"/>
                    </a:lnTo>
                    <a:lnTo>
                      <a:pt x="99398" y="133490"/>
                    </a:lnTo>
                    <a:lnTo>
                      <a:pt x="94246" y="127580"/>
                    </a:lnTo>
                    <a:lnTo>
                      <a:pt x="91822" y="126217"/>
                    </a:lnTo>
                    <a:lnTo>
                      <a:pt x="88640" y="125611"/>
                    </a:lnTo>
                    <a:lnTo>
                      <a:pt x="86367" y="124399"/>
                    </a:lnTo>
                    <a:lnTo>
                      <a:pt x="83640" y="123489"/>
                    </a:lnTo>
                    <a:lnTo>
                      <a:pt x="83336" y="120611"/>
                    </a:lnTo>
                    <a:lnTo>
                      <a:pt x="84397" y="118186"/>
                    </a:lnTo>
                    <a:lnTo>
                      <a:pt x="85306" y="117277"/>
                    </a:lnTo>
                    <a:lnTo>
                      <a:pt x="87124" y="118035"/>
                    </a:lnTo>
                    <a:lnTo>
                      <a:pt x="87882" y="115307"/>
                    </a:lnTo>
                    <a:lnTo>
                      <a:pt x="87882" y="111974"/>
                    </a:lnTo>
                    <a:lnTo>
                      <a:pt x="87276" y="107731"/>
                    </a:lnTo>
                    <a:lnTo>
                      <a:pt x="88337" y="105004"/>
                    </a:lnTo>
                    <a:lnTo>
                      <a:pt x="96519" y="101367"/>
                    </a:lnTo>
                    <a:lnTo>
                      <a:pt x="99246" y="98185"/>
                    </a:lnTo>
                    <a:lnTo>
                      <a:pt x="103034" y="96973"/>
                    </a:lnTo>
                    <a:lnTo>
                      <a:pt x="108489" y="96822"/>
                    </a:lnTo>
                    <a:lnTo>
                      <a:pt x="110913" y="95155"/>
                    </a:lnTo>
                    <a:lnTo>
                      <a:pt x="114096" y="93791"/>
                    </a:lnTo>
                    <a:lnTo>
                      <a:pt x="116823" y="91670"/>
                    </a:lnTo>
                    <a:lnTo>
                      <a:pt x="119247" y="87882"/>
                    </a:lnTo>
                    <a:lnTo>
                      <a:pt x="123186" y="86518"/>
                    </a:lnTo>
                    <a:lnTo>
                      <a:pt x="125914" y="84245"/>
                    </a:lnTo>
                    <a:lnTo>
                      <a:pt x="130459" y="82276"/>
                    </a:lnTo>
                    <a:lnTo>
                      <a:pt x="134096" y="76821"/>
                    </a:lnTo>
                    <a:lnTo>
                      <a:pt x="136672" y="74700"/>
                    </a:lnTo>
                    <a:lnTo>
                      <a:pt x="146672" y="70457"/>
                    </a:lnTo>
                    <a:lnTo>
                      <a:pt x="147581" y="68033"/>
                    </a:lnTo>
                    <a:lnTo>
                      <a:pt x="146824" y="61820"/>
                    </a:lnTo>
                    <a:lnTo>
                      <a:pt x="148339" y="55911"/>
                    </a:lnTo>
                    <a:lnTo>
                      <a:pt x="148188" y="53032"/>
                    </a:lnTo>
                    <a:lnTo>
                      <a:pt x="146066" y="49699"/>
                    </a:lnTo>
                    <a:lnTo>
                      <a:pt x="146218" y="46365"/>
                    </a:lnTo>
                    <a:lnTo>
                      <a:pt x="148188" y="42577"/>
                    </a:lnTo>
                    <a:lnTo>
                      <a:pt x="151521" y="39547"/>
                    </a:lnTo>
                    <a:lnTo>
                      <a:pt x="152885" y="36517"/>
                    </a:lnTo>
                    <a:lnTo>
                      <a:pt x="155005" y="33486"/>
                    </a:lnTo>
                    <a:lnTo>
                      <a:pt x="156673" y="31668"/>
                    </a:lnTo>
                    <a:lnTo>
                      <a:pt x="159703" y="30001"/>
                    </a:lnTo>
                    <a:lnTo>
                      <a:pt x="161218" y="27122"/>
                    </a:lnTo>
                    <a:lnTo>
                      <a:pt x="163340" y="26062"/>
                    </a:lnTo>
                    <a:lnTo>
                      <a:pt x="167280" y="23183"/>
                    </a:lnTo>
                    <a:lnTo>
                      <a:pt x="170309" y="23486"/>
                    </a:lnTo>
                    <a:lnTo>
                      <a:pt x="172127" y="24092"/>
                    </a:lnTo>
                    <a:lnTo>
                      <a:pt x="173491" y="23183"/>
                    </a:lnTo>
                    <a:lnTo>
                      <a:pt x="172734" y="22274"/>
                    </a:lnTo>
                    <a:close/>
                    <a:moveTo>
                      <a:pt x="16213" y="110458"/>
                    </a:moveTo>
                    <a:lnTo>
                      <a:pt x="15000" y="110610"/>
                    </a:lnTo>
                    <a:lnTo>
                      <a:pt x="13789" y="111974"/>
                    </a:lnTo>
                    <a:lnTo>
                      <a:pt x="13940" y="113641"/>
                    </a:lnTo>
                    <a:lnTo>
                      <a:pt x="15455" y="112731"/>
                    </a:lnTo>
                    <a:lnTo>
                      <a:pt x="16213" y="1104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5" name="Freeform: Shape 3244">
                <a:extLst>
                  <a:ext uri="{FF2B5EF4-FFF2-40B4-BE49-F238E27FC236}">
                    <a16:creationId xmlns:a16="http://schemas.microsoft.com/office/drawing/2014/main" id="{CBAF151A-DB97-4614-B606-57AAB0D7484E}"/>
                  </a:ext>
                </a:extLst>
              </p:cNvPr>
              <p:cNvSpPr/>
              <p:nvPr/>
            </p:nvSpPr>
            <p:spPr>
              <a:xfrm>
                <a:off x="4057742" y="4084248"/>
                <a:ext cx="8636" cy="8333"/>
              </a:xfrm>
              <a:custGeom>
                <a:avLst/>
                <a:gdLst>
                  <a:gd name="connsiteX0" fmla="*/ 4546 w 8636"/>
                  <a:gd name="connsiteY0" fmla="*/ 3182 h 8333"/>
                  <a:gd name="connsiteX1" fmla="*/ 3485 w 8636"/>
                  <a:gd name="connsiteY1" fmla="*/ 1364 h 8333"/>
                  <a:gd name="connsiteX2" fmla="*/ 1212 w 8636"/>
                  <a:gd name="connsiteY2" fmla="*/ 0 h 8333"/>
                  <a:gd name="connsiteX3" fmla="*/ 303 w 8636"/>
                  <a:gd name="connsiteY3" fmla="*/ 455 h 8333"/>
                  <a:gd name="connsiteX4" fmla="*/ 0 w 8636"/>
                  <a:gd name="connsiteY4" fmla="*/ 1061 h 8333"/>
                  <a:gd name="connsiteX5" fmla="*/ 0 w 8636"/>
                  <a:gd name="connsiteY5" fmla="*/ 1515 h 8333"/>
                  <a:gd name="connsiteX6" fmla="*/ 0 w 8636"/>
                  <a:gd name="connsiteY6" fmla="*/ 1667 h 8333"/>
                  <a:gd name="connsiteX7" fmla="*/ 1667 w 8636"/>
                  <a:gd name="connsiteY7" fmla="*/ 2727 h 8333"/>
                  <a:gd name="connsiteX8" fmla="*/ 3637 w 8636"/>
                  <a:gd name="connsiteY8" fmla="*/ 3182 h 8333"/>
                  <a:gd name="connsiteX9" fmla="*/ 4849 w 8636"/>
                  <a:gd name="connsiteY9" fmla="*/ 4849 h 8333"/>
                  <a:gd name="connsiteX10" fmla="*/ 5606 w 8636"/>
                  <a:gd name="connsiteY10" fmla="*/ 4394 h 8333"/>
                  <a:gd name="connsiteX11" fmla="*/ 5303 w 8636"/>
                  <a:gd name="connsiteY11" fmla="*/ 3788 h 8333"/>
                  <a:gd name="connsiteX12" fmla="*/ 4546 w 8636"/>
                  <a:gd name="connsiteY12" fmla="*/ 3182 h 8333"/>
                  <a:gd name="connsiteX13" fmla="*/ 8485 w 8636"/>
                  <a:gd name="connsiteY13" fmla="*/ 6515 h 8333"/>
                  <a:gd name="connsiteX14" fmla="*/ 7425 w 8636"/>
                  <a:gd name="connsiteY14" fmla="*/ 5606 h 8333"/>
                  <a:gd name="connsiteX15" fmla="*/ 6364 w 8636"/>
                  <a:gd name="connsiteY15" fmla="*/ 5606 h 8333"/>
                  <a:gd name="connsiteX16" fmla="*/ 6061 w 8636"/>
                  <a:gd name="connsiteY16" fmla="*/ 7576 h 8333"/>
                  <a:gd name="connsiteX17" fmla="*/ 7273 w 8636"/>
                  <a:gd name="connsiteY17" fmla="*/ 8334 h 8333"/>
                  <a:gd name="connsiteX18" fmla="*/ 8637 w 8636"/>
                  <a:gd name="connsiteY18" fmla="*/ 7727 h 8333"/>
                  <a:gd name="connsiteX19" fmla="*/ 8485 w 8636"/>
                  <a:gd name="connsiteY19" fmla="*/ 6515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36" h="8333">
                    <a:moveTo>
                      <a:pt x="4546" y="3182"/>
                    </a:moveTo>
                    <a:lnTo>
                      <a:pt x="3485" y="1364"/>
                    </a:lnTo>
                    <a:lnTo>
                      <a:pt x="1212" y="0"/>
                    </a:lnTo>
                    <a:lnTo>
                      <a:pt x="303" y="455"/>
                    </a:lnTo>
                    <a:lnTo>
                      <a:pt x="0" y="1061"/>
                    </a:lnTo>
                    <a:lnTo>
                      <a:pt x="0" y="1515"/>
                    </a:lnTo>
                    <a:lnTo>
                      <a:pt x="0" y="1667"/>
                    </a:lnTo>
                    <a:lnTo>
                      <a:pt x="1667" y="2727"/>
                    </a:lnTo>
                    <a:lnTo>
                      <a:pt x="3637" y="3182"/>
                    </a:lnTo>
                    <a:lnTo>
                      <a:pt x="4849" y="4849"/>
                    </a:lnTo>
                    <a:lnTo>
                      <a:pt x="5606" y="4394"/>
                    </a:lnTo>
                    <a:lnTo>
                      <a:pt x="5303" y="3788"/>
                    </a:lnTo>
                    <a:lnTo>
                      <a:pt x="4546" y="3182"/>
                    </a:lnTo>
                    <a:close/>
                    <a:moveTo>
                      <a:pt x="8485" y="6515"/>
                    </a:moveTo>
                    <a:lnTo>
                      <a:pt x="7425" y="5606"/>
                    </a:lnTo>
                    <a:lnTo>
                      <a:pt x="6364" y="5606"/>
                    </a:lnTo>
                    <a:lnTo>
                      <a:pt x="6061" y="7576"/>
                    </a:lnTo>
                    <a:lnTo>
                      <a:pt x="7273" y="8334"/>
                    </a:lnTo>
                    <a:lnTo>
                      <a:pt x="8637" y="7727"/>
                    </a:lnTo>
                    <a:lnTo>
                      <a:pt x="8485" y="6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6" name="Freeform: Shape 3245">
                <a:extLst>
                  <a:ext uri="{FF2B5EF4-FFF2-40B4-BE49-F238E27FC236}">
                    <a16:creationId xmlns:a16="http://schemas.microsoft.com/office/drawing/2014/main" id="{BCCA4C36-4F9F-4C68-B9DB-1626ABC3BF6B}"/>
                  </a:ext>
                </a:extLst>
              </p:cNvPr>
              <p:cNvSpPr/>
              <p:nvPr/>
            </p:nvSpPr>
            <p:spPr>
              <a:xfrm>
                <a:off x="6959971" y="4872459"/>
                <a:ext cx="35455" cy="27425"/>
              </a:xfrm>
              <a:custGeom>
                <a:avLst/>
                <a:gdLst>
                  <a:gd name="connsiteX0" fmla="*/ 4091 w 35455"/>
                  <a:gd name="connsiteY0" fmla="*/ 6667 h 27425"/>
                  <a:gd name="connsiteX1" fmla="*/ 4394 w 35455"/>
                  <a:gd name="connsiteY1" fmla="*/ 1061 h 27425"/>
                  <a:gd name="connsiteX2" fmla="*/ 3031 w 35455"/>
                  <a:gd name="connsiteY2" fmla="*/ 0 h 27425"/>
                  <a:gd name="connsiteX3" fmla="*/ 1819 w 35455"/>
                  <a:gd name="connsiteY3" fmla="*/ 151 h 27425"/>
                  <a:gd name="connsiteX4" fmla="*/ 1364 w 35455"/>
                  <a:gd name="connsiteY4" fmla="*/ 606 h 27425"/>
                  <a:gd name="connsiteX5" fmla="*/ 758 w 35455"/>
                  <a:gd name="connsiteY5" fmla="*/ 1667 h 27425"/>
                  <a:gd name="connsiteX6" fmla="*/ 0 w 35455"/>
                  <a:gd name="connsiteY6" fmla="*/ 10455 h 27425"/>
                  <a:gd name="connsiteX7" fmla="*/ 2122 w 35455"/>
                  <a:gd name="connsiteY7" fmla="*/ 13031 h 27425"/>
                  <a:gd name="connsiteX8" fmla="*/ 3485 w 35455"/>
                  <a:gd name="connsiteY8" fmla="*/ 13334 h 27425"/>
                  <a:gd name="connsiteX9" fmla="*/ 5910 w 35455"/>
                  <a:gd name="connsiteY9" fmla="*/ 14849 h 27425"/>
                  <a:gd name="connsiteX10" fmla="*/ 6364 w 35455"/>
                  <a:gd name="connsiteY10" fmla="*/ 14546 h 27425"/>
                  <a:gd name="connsiteX11" fmla="*/ 7121 w 35455"/>
                  <a:gd name="connsiteY11" fmla="*/ 13485 h 27425"/>
                  <a:gd name="connsiteX12" fmla="*/ 5910 w 35455"/>
                  <a:gd name="connsiteY12" fmla="*/ 10455 h 27425"/>
                  <a:gd name="connsiteX13" fmla="*/ 4091 w 35455"/>
                  <a:gd name="connsiteY13" fmla="*/ 6667 h 27425"/>
                  <a:gd name="connsiteX14" fmla="*/ 13031 w 35455"/>
                  <a:gd name="connsiteY14" fmla="*/ 24395 h 27425"/>
                  <a:gd name="connsiteX15" fmla="*/ 11061 w 35455"/>
                  <a:gd name="connsiteY15" fmla="*/ 24092 h 27425"/>
                  <a:gd name="connsiteX16" fmla="*/ 11061 w 35455"/>
                  <a:gd name="connsiteY16" fmla="*/ 25152 h 27425"/>
                  <a:gd name="connsiteX17" fmla="*/ 11970 w 35455"/>
                  <a:gd name="connsiteY17" fmla="*/ 26668 h 27425"/>
                  <a:gd name="connsiteX18" fmla="*/ 17274 w 35455"/>
                  <a:gd name="connsiteY18" fmla="*/ 27425 h 27425"/>
                  <a:gd name="connsiteX19" fmla="*/ 15304 w 35455"/>
                  <a:gd name="connsiteY19" fmla="*/ 25758 h 27425"/>
                  <a:gd name="connsiteX20" fmla="*/ 13031 w 35455"/>
                  <a:gd name="connsiteY20" fmla="*/ 24395 h 27425"/>
                  <a:gd name="connsiteX21" fmla="*/ 34092 w 35455"/>
                  <a:gd name="connsiteY21" fmla="*/ 19546 h 27425"/>
                  <a:gd name="connsiteX22" fmla="*/ 33486 w 35455"/>
                  <a:gd name="connsiteY22" fmla="*/ 19243 h 27425"/>
                  <a:gd name="connsiteX23" fmla="*/ 32426 w 35455"/>
                  <a:gd name="connsiteY23" fmla="*/ 19849 h 27425"/>
                  <a:gd name="connsiteX24" fmla="*/ 32274 w 35455"/>
                  <a:gd name="connsiteY24" fmla="*/ 20607 h 27425"/>
                  <a:gd name="connsiteX25" fmla="*/ 31517 w 35455"/>
                  <a:gd name="connsiteY25" fmla="*/ 21819 h 27425"/>
                  <a:gd name="connsiteX26" fmla="*/ 30304 w 35455"/>
                  <a:gd name="connsiteY26" fmla="*/ 21970 h 27425"/>
                  <a:gd name="connsiteX27" fmla="*/ 29092 w 35455"/>
                  <a:gd name="connsiteY27" fmla="*/ 21667 h 27425"/>
                  <a:gd name="connsiteX28" fmla="*/ 27122 w 35455"/>
                  <a:gd name="connsiteY28" fmla="*/ 21819 h 27425"/>
                  <a:gd name="connsiteX29" fmla="*/ 31365 w 35455"/>
                  <a:gd name="connsiteY29" fmla="*/ 24092 h 27425"/>
                  <a:gd name="connsiteX30" fmla="*/ 33638 w 35455"/>
                  <a:gd name="connsiteY30" fmla="*/ 26364 h 27425"/>
                  <a:gd name="connsiteX31" fmla="*/ 34850 w 35455"/>
                  <a:gd name="connsiteY31" fmla="*/ 26971 h 27425"/>
                  <a:gd name="connsiteX32" fmla="*/ 35456 w 35455"/>
                  <a:gd name="connsiteY32" fmla="*/ 26062 h 27425"/>
                  <a:gd name="connsiteX33" fmla="*/ 35456 w 35455"/>
                  <a:gd name="connsiteY33" fmla="*/ 23183 h 27425"/>
                  <a:gd name="connsiteX34" fmla="*/ 34092 w 35455"/>
                  <a:gd name="connsiteY34" fmla="*/ 19546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455" h="27425">
                    <a:moveTo>
                      <a:pt x="4091" y="6667"/>
                    </a:moveTo>
                    <a:lnTo>
                      <a:pt x="4394" y="1061"/>
                    </a:lnTo>
                    <a:lnTo>
                      <a:pt x="3031" y="0"/>
                    </a:lnTo>
                    <a:lnTo>
                      <a:pt x="1819" y="151"/>
                    </a:lnTo>
                    <a:lnTo>
                      <a:pt x="1364" y="606"/>
                    </a:lnTo>
                    <a:lnTo>
                      <a:pt x="758" y="1667"/>
                    </a:lnTo>
                    <a:lnTo>
                      <a:pt x="0" y="10455"/>
                    </a:lnTo>
                    <a:lnTo>
                      <a:pt x="2122" y="13031"/>
                    </a:lnTo>
                    <a:lnTo>
                      <a:pt x="3485" y="13334"/>
                    </a:lnTo>
                    <a:lnTo>
                      <a:pt x="5910" y="14849"/>
                    </a:lnTo>
                    <a:lnTo>
                      <a:pt x="6364" y="14546"/>
                    </a:lnTo>
                    <a:lnTo>
                      <a:pt x="7121" y="13485"/>
                    </a:lnTo>
                    <a:lnTo>
                      <a:pt x="5910" y="10455"/>
                    </a:lnTo>
                    <a:lnTo>
                      <a:pt x="4091" y="6667"/>
                    </a:lnTo>
                    <a:close/>
                    <a:moveTo>
                      <a:pt x="13031" y="24395"/>
                    </a:moveTo>
                    <a:lnTo>
                      <a:pt x="11061" y="24092"/>
                    </a:lnTo>
                    <a:lnTo>
                      <a:pt x="11061" y="25152"/>
                    </a:lnTo>
                    <a:lnTo>
                      <a:pt x="11970" y="26668"/>
                    </a:lnTo>
                    <a:lnTo>
                      <a:pt x="17274" y="27425"/>
                    </a:lnTo>
                    <a:lnTo>
                      <a:pt x="15304" y="25758"/>
                    </a:lnTo>
                    <a:lnTo>
                      <a:pt x="13031" y="24395"/>
                    </a:lnTo>
                    <a:close/>
                    <a:moveTo>
                      <a:pt x="34092" y="19546"/>
                    </a:moveTo>
                    <a:lnTo>
                      <a:pt x="33486" y="19243"/>
                    </a:lnTo>
                    <a:lnTo>
                      <a:pt x="32426" y="19849"/>
                    </a:lnTo>
                    <a:lnTo>
                      <a:pt x="32274" y="20607"/>
                    </a:lnTo>
                    <a:lnTo>
                      <a:pt x="31517" y="21819"/>
                    </a:lnTo>
                    <a:lnTo>
                      <a:pt x="30304" y="21970"/>
                    </a:lnTo>
                    <a:lnTo>
                      <a:pt x="29092" y="21667"/>
                    </a:lnTo>
                    <a:lnTo>
                      <a:pt x="27122" y="21819"/>
                    </a:lnTo>
                    <a:lnTo>
                      <a:pt x="31365" y="24092"/>
                    </a:lnTo>
                    <a:lnTo>
                      <a:pt x="33638" y="26364"/>
                    </a:lnTo>
                    <a:lnTo>
                      <a:pt x="34850" y="26971"/>
                    </a:lnTo>
                    <a:lnTo>
                      <a:pt x="35456" y="26062"/>
                    </a:lnTo>
                    <a:lnTo>
                      <a:pt x="35456" y="23183"/>
                    </a:lnTo>
                    <a:lnTo>
                      <a:pt x="34092"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7" name="Freeform: Shape 3246">
                <a:extLst>
                  <a:ext uri="{FF2B5EF4-FFF2-40B4-BE49-F238E27FC236}">
                    <a16:creationId xmlns:a16="http://schemas.microsoft.com/office/drawing/2014/main" id="{AFCEC8CC-AB30-401C-8779-FFAA868A1C3E}"/>
                  </a:ext>
                </a:extLst>
              </p:cNvPr>
              <p:cNvSpPr/>
              <p:nvPr/>
            </p:nvSpPr>
            <p:spPr>
              <a:xfrm>
                <a:off x="1415674" y="4455474"/>
                <a:ext cx="9530504" cy="419409"/>
              </a:xfrm>
              <a:custGeom>
                <a:avLst/>
                <a:gdLst>
                  <a:gd name="connsiteX0" fmla="*/ 208038 w 9530504"/>
                  <a:gd name="connsiteY0" fmla="*/ 417591 h 419409"/>
                  <a:gd name="connsiteX1" fmla="*/ 207735 w 9530504"/>
                  <a:gd name="connsiteY1" fmla="*/ 417591 h 419409"/>
                  <a:gd name="connsiteX2" fmla="*/ 207583 w 9530504"/>
                  <a:gd name="connsiteY2" fmla="*/ 418046 h 419409"/>
                  <a:gd name="connsiteX3" fmla="*/ 207735 w 9530504"/>
                  <a:gd name="connsiteY3" fmla="*/ 418652 h 419409"/>
                  <a:gd name="connsiteX4" fmla="*/ 208038 w 9530504"/>
                  <a:gd name="connsiteY4" fmla="*/ 419258 h 419409"/>
                  <a:gd name="connsiteX5" fmla="*/ 208493 w 9530504"/>
                  <a:gd name="connsiteY5" fmla="*/ 419409 h 419409"/>
                  <a:gd name="connsiteX6" fmla="*/ 208644 w 9530504"/>
                  <a:gd name="connsiteY6" fmla="*/ 418955 h 419409"/>
                  <a:gd name="connsiteX7" fmla="*/ 208341 w 9530504"/>
                  <a:gd name="connsiteY7" fmla="*/ 418197 h 419409"/>
                  <a:gd name="connsiteX8" fmla="*/ 208038 w 9530504"/>
                  <a:gd name="connsiteY8" fmla="*/ 417591 h 419409"/>
                  <a:gd name="connsiteX9" fmla="*/ 120914 w 9530504"/>
                  <a:gd name="connsiteY9" fmla="*/ 216372 h 419409"/>
                  <a:gd name="connsiteX10" fmla="*/ 120156 w 9530504"/>
                  <a:gd name="connsiteY10" fmla="*/ 216675 h 419409"/>
                  <a:gd name="connsiteX11" fmla="*/ 120156 w 9530504"/>
                  <a:gd name="connsiteY11" fmla="*/ 216826 h 419409"/>
                  <a:gd name="connsiteX12" fmla="*/ 120762 w 9530504"/>
                  <a:gd name="connsiteY12" fmla="*/ 217281 h 419409"/>
                  <a:gd name="connsiteX13" fmla="*/ 121368 w 9530504"/>
                  <a:gd name="connsiteY13" fmla="*/ 217735 h 419409"/>
                  <a:gd name="connsiteX14" fmla="*/ 121671 w 9530504"/>
                  <a:gd name="connsiteY14" fmla="*/ 217887 h 419409"/>
                  <a:gd name="connsiteX15" fmla="*/ 121823 w 9530504"/>
                  <a:gd name="connsiteY15" fmla="*/ 217735 h 419409"/>
                  <a:gd name="connsiteX16" fmla="*/ 121974 w 9530504"/>
                  <a:gd name="connsiteY16" fmla="*/ 216826 h 419409"/>
                  <a:gd name="connsiteX17" fmla="*/ 122126 w 9530504"/>
                  <a:gd name="connsiteY17" fmla="*/ 216372 h 419409"/>
                  <a:gd name="connsiteX18" fmla="*/ 121974 w 9530504"/>
                  <a:gd name="connsiteY18" fmla="*/ 216068 h 419409"/>
                  <a:gd name="connsiteX19" fmla="*/ 120914 w 9530504"/>
                  <a:gd name="connsiteY19" fmla="*/ 216372 h 419409"/>
                  <a:gd name="connsiteX20" fmla="*/ 9093822 w 9530504"/>
                  <a:gd name="connsiteY20" fmla="*/ 21213 h 419409"/>
                  <a:gd name="connsiteX21" fmla="*/ 9093822 w 9530504"/>
                  <a:gd name="connsiteY21" fmla="*/ 21061 h 419409"/>
                  <a:gd name="connsiteX22" fmla="*/ 9091701 w 9530504"/>
                  <a:gd name="connsiteY22" fmla="*/ 22425 h 419409"/>
                  <a:gd name="connsiteX23" fmla="*/ 9092155 w 9530504"/>
                  <a:gd name="connsiteY23" fmla="*/ 22577 h 419409"/>
                  <a:gd name="connsiteX24" fmla="*/ 9093822 w 9530504"/>
                  <a:gd name="connsiteY24" fmla="*/ 21667 h 419409"/>
                  <a:gd name="connsiteX25" fmla="*/ 9093822 w 9530504"/>
                  <a:gd name="connsiteY25" fmla="*/ 21213 h 419409"/>
                  <a:gd name="connsiteX26" fmla="*/ 9088822 w 9530504"/>
                  <a:gd name="connsiteY26" fmla="*/ 24092 h 419409"/>
                  <a:gd name="connsiteX27" fmla="*/ 9088065 w 9530504"/>
                  <a:gd name="connsiteY27" fmla="*/ 24092 h 419409"/>
                  <a:gd name="connsiteX28" fmla="*/ 9088670 w 9530504"/>
                  <a:gd name="connsiteY28" fmla="*/ 24698 h 419409"/>
                  <a:gd name="connsiteX29" fmla="*/ 9090640 w 9530504"/>
                  <a:gd name="connsiteY29" fmla="*/ 23637 h 419409"/>
                  <a:gd name="connsiteX30" fmla="*/ 9091701 w 9530504"/>
                  <a:gd name="connsiteY30" fmla="*/ 23637 h 419409"/>
                  <a:gd name="connsiteX31" fmla="*/ 9091853 w 9530504"/>
                  <a:gd name="connsiteY31" fmla="*/ 23031 h 419409"/>
                  <a:gd name="connsiteX32" fmla="*/ 9090185 w 9530504"/>
                  <a:gd name="connsiteY32" fmla="*/ 23183 h 419409"/>
                  <a:gd name="connsiteX33" fmla="*/ 9088822 w 9530504"/>
                  <a:gd name="connsiteY33" fmla="*/ 24092 h 419409"/>
                  <a:gd name="connsiteX34" fmla="*/ 95610 w 9530504"/>
                  <a:gd name="connsiteY34" fmla="*/ 259252 h 419409"/>
                  <a:gd name="connsiteX35" fmla="*/ 95307 w 9530504"/>
                  <a:gd name="connsiteY35" fmla="*/ 259252 h 419409"/>
                  <a:gd name="connsiteX36" fmla="*/ 95004 w 9530504"/>
                  <a:gd name="connsiteY36" fmla="*/ 259252 h 419409"/>
                  <a:gd name="connsiteX37" fmla="*/ 95004 w 9530504"/>
                  <a:gd name="connsiteY37" fmla="*/ 259555 h 419409"/>
                  <a:gd name="connsiteX38" fmla="*/ 95307 w 9530504"/>
                  <a:gd name="connsiteY38" fmla="*/ 259858 h 419409"/>
                  <a:gd name="connsiteX39" fmla="*/ 96064 w 9530504"/>
                  <a:gd name="connsiteY39" fmla="*/ 259858 h 419409"/>
                  <a:gd name="connsiteX40" fmla="*/ 96670 w 9530504"/>
                  <a:gd name="connsiteY40" fmla="*/ 259706 h 419409"/>
                  <a:gd name="connsiteX41" fmla="*/ 96670 w 9530504"/>
                  <a:gd name="connsiteY41" fmla="*/ 259555 h 419409"/>
                  <a:gd name="connsiteX42" fmla="*/ 96367 w 9530504"/>
                  <a:gd name="connsiteY42" fmla="*/ 259403 h 419409"/>
                  <a:gd name="connsiteX43" fmla="*/ 95610 w 9530504"/>
                  <a:gd name="connsiteY43" fmla="*/ 259252 h 419409"/>
                  <a:gd name="connsiteX44" fmla="*/ 1061 w 9530504"/>
                  <a:gd name="connsiteY44" fmla="*/ 151 h 419409"/>
                  <a:gd name="connsiteX45" fmla="*/ 455 w 9530504"/>
                  <a:gd name="connsiteY45" fmla="*/ 606 h 419409"/>
                  <a:gd name="connsiteX46" fmla="*/ 0 w 9530504"/>
                  <a:gd name="connsiteY46" fmla="*/ 1364 h 419409"/>
                  <a:gd name="connsiteX47" fmla="*/ 909 w 9530504"/>
                  <a:gd name="connsiteY47" fmla="*/ 2121 h 419409"/>
                  <a:gd name="connsiteX48" fmla="*/ 1061 w 9530504"/>
                  <a:gd name="connsiteY48" fmla="*/ 1212 h 419409"/>
                  <a:gd name="connsiteX49" fmla="*/ 1515 w 9530504"/>
                  <a:gd name="connsiteY49" fmla="*/ 1212 h 419409"/>
                  <a:gd name="connsiteX50" fmla="*/ 2273 w 9530504"/>
                  <a:gd name="connsiteY50" fmla="*/ 1667 h 419409"/>
                  <a:gd name="connsiteX51" fmla="*/ 2879 w 9530504"/>
                  <a:gd name="connsiteY51" fmla="*/ 2273 h 419409"/>
                  <a:gd name="connsiteX52" fmla="*/ 2727 w 9530504"/>
                  <a:gd name="connsiteY52" fmla="*/ 2727 h 419409"/>
                  <a:gd name="connsiteX53" fmla="*/ 1515 w 9530504"/>
                  <a:gd name="connsiteY53" fmla="*/ 2879 h 419409"/>
                  <a:gd name="connsiteX54" fmla="*/ 2273 w 9530504"/>
                  <a:gd name="connsiteY54" fmla="*/ 3333 h 419409"/>
                  <a:gd name="connsiteX55" fmla="*/ 3788 w 9530504"/>
                  <a:gd name="connsiteY55" fmla="*/ 3485 h 419409"/>
                  <a:gd name="connsiteX56" fmla="*/ 4243 w 9530504"/>
                  <a:gd name="connsiteY56" fmla="*/ 2273 h 419409"/>
                  <a:gd name="connsiteX57" fmla="*/ 2121 w 9530504"/>
                  <a:gd name="connsiteY57" fmla="*/ 0 h 419409"/>
                  <a:gd name="connsiteX58" fmla="*/ 1061 w 9530504"/>
                  <a:gd name="connsiteY58" fmla="*/ 151 h 419409"/>
                  <a:gd name="connsiteX59" fmla="*/ 9095489 w 9530504"/>
                  <a:gd name="connsiteY59" fmla="*/ 56366 h 419409"/>
                  <a:gd name="connsiteX60" fmla="*/ 9094428 w 9530504"/>
                  <a:gd name="connsiteY60" fmla="*/ 55002 h 419409"/>
                  <a:gd name="connsiteX61" fmla="*/ 9094125 w 9530504"/>
                  <a:gd name="connsiteY61" fmla="*/ 54547 h 419409"/>
                  <a:gd name="connsiteX62" fmla="*/ 9093671 w 9530504"/>
                  <a:gd name="connsiteY62" fmla="*/ 53941 h 419409"/>
                  <a:gd name="connsiteX63" fmla="*/ 9093216 w 9530504"/>
                  <a:gd name="connsiteY63" fmla="*/ 53638 h 419409"/>
                  <a:gd name="connsiteX64" fmla="*/ 9093216 w 9530504"/>
                  <a:gd name="connsiteY64" fmla="*/ 54093 h 419409"/>
                  <a:gd name="connsiteX65" fmla="*/ 9094125 w 9530504"/>
                  <a:gd name="connsiteY65" fmla="*/ 55154 h 419409"/>
                  <a:gd name="connsiteX66" fmla="*/ 9095641 w 9530504"/>
                  <a:gd name="connsiteY66" fmla="*/ 56820 h 419409"/>
                  <a:gd name="connsiteX67" fmla="*/ 9095489 w 9530504"/>
                  <a:gd name="connsiteY67" fmla="*/ 56366 h 419409"/>
                  <a:gd name="connsiteX68" fmla="*/ 9095641 w 9530504"/>
                  <a:gd name="connsiteY68" fmla="*/ 59093 h 419409"/>
                  <a:gd name="connsiteX69" fmla="*/ 9095489 w 9530504"/>
                  <a:gd name="connsiteY69" fmla="*/ 59699 h 419409"/>
                  <a:gd name="connsiteX70" fmla="*/ 9094732 w 9530504"/>
                  <a:gd name="connsiteY70" fmla="*/ 60154 h 419409"/>
                  <a:gd name="connsiteX71" fmla="*/ 9095791 w 9530504"/>
                  <a:gd name="connsiteY71" fmla="*/ 60002 h 419409"/>
                  <a:gd name="connsiteX72" fmla="*/ 9096246 w 9530504"/>
                  <a:gd name="connsiteY72" fmla="*/ 59396 h 419409"/>
                  <a:gd name="connsiteX73" fmla="*/ 9096246 w 9530504"/>
                  <a:gd name="connsiteY73" fmla="*/ 58335 h 419409"/>
                  <a:gd name="connsiteX74" fmla="*/ 9096095 w 9530504"/>
                  <a:gd name="connsiteY74" fmla="*/ 57578 h 419409"/>
                  <a:gd name="connsiteX75" fmla="*/ 9095641 w 9530504"/>
                  <a:gd name="connsiteY75" fmla="*/ 57426 h 419409"/>
                  <a:gd name="connsiteX76" fmla="*/ 9095641 w 9530504"/>
                  <a:gd name="connsiteY76" fmla="*/ 59093 h 419409"/>
                  <a:gd name="connsiteX77" fmla="*/ 57123 w 9530504"/>
                  <a:gd name="connsiteY77" fmla="*/ 53032 h 419409"/>
                  <a:gd name="connsiteX78" fmla="*/ 53790 w 9530504"/>
                  <a:gd name="connsiteY78" fmla="*/ 51517 h 419409"/>
                  <a:gd name="connsiteX79" fmla="*/ 52426 w 9530504"/>
                  <a:gd name="connsiteY79" fmla="*/ 51366 h 419409"/>
                  <a:gd name="connsiteX80" fmla="*/ 55911 w 9530504"/>
                  <a:gd name="connsiteY80" fmla="*/ 53638 h 419409"/>
                  <a:gd name="connsiteX81" fmla="*/ 55154 w 9530504"/>
                  <a:gd name="connsiteY81" fmla="*/ 54093 h 419409"/>
                  <a:gd name="connsiteX82" fmla="*/ 53941 w 9530504"/>
                  <a:gd name="connsiteY82" fmla="*/ 56214 h 419409"/>
                  <a:gd name="connsiteX83" fmla="*/ 51972 w 9530504"/>
                  <a:gd name="connsiteY83" fmla="*/ 55154 h 419409"/>
                  <a:gd name="connsiteX84" fmla="*/ 51366 w 9530504"/>
                  <a:gd name="connsiteY84" fmla="*/ 54093 h 419409"/>
                  <a:gd name="connsiteX85" fmla="*/ 50002 w 9530504"/>
                  <a:gd name="connsiteY85" fmla="*/ 54699 h 419409"/>
                  <a:gd name="connsiteX86" fmla="*/ 54396 w 9530504"/>
                  <a:gd name="connsiteY86" fmla="*/ 57881 h 419409"/>
                  <a:gd name="connsiteX87" fmla="*/ 59093 w 9530504"/>
                  <a:gd name="connsiteY87" fmla="*/ 59396 h 419409"/>
                  <a:gd name="connsiteX88" fmla="*/ 61063 w 9530504"/>
                  <a:gd name="connsiteY88" fmla="*/ 59245 h 419409"/>
                  <a:gd name="connsiteX89" fmla="*/ 56517 w 9530504"/>
                  <a:gd name="connsiteY89" fmla="*/ 56063 h 419409"/>
                  <a:gd name="connsiteX90" fmla="*/ 57123 w 9530504"/>
                  <a:gd name="connsiteY90" fmla="*/ 53032 h 419409"/>
                  <a:gd name="connsiteX91" fmla="*/ 8999879 w 9530504"/>
                  <a:gd name="connsiteY91" fmla="*/ 129702 h 419409"/>
                  <a:gd name="connsiteX92" fmla="*/ 8999879 w 9530504"/>
                  <a:gd name="connsiteY92" fmla="*/ 130005 h 419409"/>
                  <a:gd name="connsiteX93" fmla="*/ 9000333 w 9530504"/>
                  <a:gd name="connsiteY93" fmla="*/ 130308 h 419409"/>
                  <a:gd name="connsiteX94" fmla="*/ 9000637 w 9530504"/>
                  <a:gd name="connsiteY94" fmla="*/ 130308 h 419409"/>
                  <a:gd name="connsiteX95" fmla="*/ 9000788 w 9530504"/>
                  <a:gd name="connsiteY95" fmla="*/ 129853 h 419409"/>
                  <a:gd name="connsiteX96" fmla="*/ 9000333 w 9530504"/>
                  <a:gd name="connsiteY96" fmla="*/ 129550 h 419409"/>
                  <a:gd name="connsiteX97" fmla="*/ 8999879 w 9530504"/>
                  <a:gd name="connsiteY97" fmla="*/ 129702 h 419409"/>
                  <a:gd name="connsiteX98" fmla="*/ 9514443 w 9530504"/>
                  <a:gd name="connsiteY98" fmla="*/ 182279 h 419409"/>
                  <a:gd name="connsiteX99" fmla="*/ 9513534 w 9530504"/>
                  <a:gd name="connsiteY99" fmla="*/ 181825 h 419409"/>
                  <a:gd name="connsiteX100" fmla="*/ 9512928 w 9530504"/>
                  <a:gd name="connsiteY100" fmla="*/ 181673 h 419409"/>
                  <a:gd name="connsiteX101" fmla="*/ 9512777 w 9530504"/>
                  <a:gd name="connsiteY101" fmla="*/ 181825 h 419409"/>
                  <a:gd name="connsiteX102" fmla="*/ 9512777 w 9530504"/>
                  <a:gd name="connsiteY102" fmla="*/ 181976 h 419409"/>
                  <a:gd name="connsiteX103" fmla="*/ 9512928 w 9530504"/>
                  <a:gd name="connsiteY103" fmla="*/ 182128 h 419409"/>
                  <a:gd name="connsiteX104" fmla="*/ 9513080 w 9530504"/>
                  <a:gd name="connsiteY104" fmla="*/ 182128 h 419409"/>
                  <a:gd name="connsiteX105" fmla="*/ 9513383 w 9530504"/>
                  <a:gd name="connsiteY105" fmla="*/ 181976 h 419409"/>
                  <a:gd name="connsiteX106" fmla="*/ 9513838 w 9530504"/>
                  <a:gd name="connsiteY106" fmla="*/ 182128 h 419409"/>
                  <a:gd name="connsiteX107" fmla="*/ 9514293 w 9530504"/>
                  <a:gd name="connsiteY107" fmla="*/ 182431 h 419409"/>
                  <a:gd name="connsiteX108" fmla="*/ 9514595 w 9530504"/>
                  <a:gd name="connsiteY108" fmla="*/ 182734 h 419409"/>
                  <a:gd name="connsiteX109" fmla="*/ 9515202 w 9530504"/>
                  <a:gd name="connsiteY109" fmla="*/ 183492 h 419409"/>
                  <a:gd name="connsiteX110" fmla="*/ 9515202 w 9530504"/>
                  <a:gd name="connsiteY110" fmla="*/ 183946 h 419409"/>
                  <a:gd name="connsiteX111" fmla="*/ 9514747 w 9530504"/>
                  <a:gd name="connsiteY111" fmla="*/ 183795 h 419409"/>
                  <a:gd name="connsiteX112" fmla="*/ 9514141 w 9530504"/>
                  <a:gd name="connsiteY112" fmla="*/ 183340 h 419409"/>
                  <a:gd name="connsiteX113" fmla="*/ 9513534 w 9530504"/>
                  <a:gd name="connsiteY113" fmla="*/ 183340 h 419409"/>
                  <a:gd name="connsiteX114" fmla="*/ 9513534 w 9530504"/>
                  <a:gd name="connsiteY114" fmla="*/ 183492 h 419409"/>
                  <a:gd name="connsiteX115" fmla="*/ 9513838 w 9530504"/>
                  <a:gd name="connsiteY115" fmla="*/ 183643 h 419409"/>
                  <a:gd name="connsiteX116" fmla="*/ 9514293 w 9530504"/>
                  <a:gd name="connsiteY116" fmla="*/ 184098 h 419409"/>
                  <a:gd name="connsiteX117" fmla="*/ 9514898 w 9530504"/>
                  <a:gd name="connsiteY117" fmla="*/ 184401 h 419409"/>
                  <a:gd name="connsiteX118" fmla="*/ 9515352 w 9530504"/>
                  <a:gd name="connsiteY118" fmla="*/ 184401 h 419409"/>
                  <a:gd name="connsiteX119" fmla="*/ 9515352 w 9530504"/>
                  <a:gd name="connsiteY119" fmla="*/ 184098 h 419409"/>
                  <a:gd name="connsiteX120" fmla="*/ 9515050 w 9530504"/>
                  <a:gd name="connsiteY120" fmla="*/ 183188 h 419409"/>
                  <a:gd name="connsiteX121" fmla="*/ 9514443 w 9530504"/>
                  <a:gd name="connsiteY121" fmla="*/ 182279 h 419409"/>
                  <a:gd name="connsiteX122" fmla="*/ 9095034 w 9530504"/>
                  <a:gd name="connsiteY122" fmla="*/ 78791 h 419409"/>
                  <a:gd name="connsiteX123" fmla="*/ 9094732 w 9530504"/>
                  <a:gd name="connsiteY123" fmla="*/ 78791 h 419409"/>
                  <a:gd name="connsiteX124" fmla="*/ 9095034 w 9530504"/>
                  <a:gd name="connsiteY124" fmla="*/ 79700 h 419409"/>
                  <a:gd name="connsiteX125" fmla="*/ 9095186 w 9530504"/>
                  <a:gd name="connsiteY125" fmla="*/ 79700 h 419409"/>
                  <a:gd name="connsiteX126" fmla="*/ 9095641 w 9530504"/>
                  <a:gd name="connsiteY126" fmla="*/ 79548 h 419409"/>
                  <a:gd name="connsiteX127" fmla="*/ 9096700 w 9530504"/>
                  <a:gd name="connsiteY127" fmla="*/ 80609 h 419409"/>
                  <a:gd name="connsiteX128" fmla="*/ 9095943 w 9530504"/>
                  <a:gd name="connsiteY128" fmla="*/ 81973 h 419409"/>
                  <a:gd name="connsiteX129" fmla="*/ 9094125 w 9530504"/>
                  <a:gd name="connsiteY129" fmla="*/ 83942 h 419409"/>
                  <a:gd name="connsiteX130" fmla="*/ 9094732 w 9530504"/>
                  <a:gd name="connsiteY130" fmla="*/ 84094 h 419409"/>
                  <a:gd name="connsiteX131" fmla="*/ 9096700 w 9530504"/>
                  <a:gd name="connsiteY131" fmla="*/ 81973 h 419409"/>
                  <a:gd name="connsiteX132" fmla="*/ 9097155 w 9530504"/>
                  <a:gd name="connsiteY132" fmla="*/ 81063 h 419409"/>
                  <a:gd name="connsiteX133" fmla="*/ 9097307 w 9530504"/>
                  <a:gd name="connsiteY133" fmla="*/ 80306 h 419409"/>
                  <a:gd name="connsiteX134" fmla="*/ 9095791 w 9530504"/>
                  <a:gd name="connsiteY134" fmla="*/ 79245 h 419409"/>
                  <a:gd name="connsiteX135" fmla="*/ 9095034 w 9530504"/>
                  <a:gd name="connsiteY135" fmla="*/ 78791 h 419409"/>
                  <a:gd name="connsiteX136" fmla="*/ 9525807 w 9530504"/>
                  <a:gd name="connsiteY136" fmla="*/ 227432 h 419409"/>
                  <a:gd name="connsiteX137" fmla="*/ 9525505 w 9530504"/>
                  <a:gd name="connsiteY137" fmla="*/ 227584 h 419409"/>
                  <a:gd name="connsiteX138" fmla="*/ 9525505 w 9530504"/>
                  <a:gd name="connsiteY138" fmla="*/ 227887 h 419409"/>
                  <a:gd name="connsiteX139" fmla="*/ 9525657 w 9530504"/>
                  <a:gd name="connsiteY139" fmla="*/ 228039 h 419409"/>
                  <a:gd name="connsiteX140" fmla="*/ 9525959 w 9530504"/>
                  <a:gd name="connsiteY140" fmla="*/ 228039 h 419409"/>
                  <a:gd name="connsiteX141" fmla="*/ 9526262 w 9530504"/>
                  <a:gd name="connsiteY141" fmla="*/ 227887 h 419409"/>
                  <a:gd name="connsiteX142" fmla="*/ 9526262 w 9530504"/>
                  <a:gd name="connsiteY142" fmla="*/ 227584 h 419409"/>
                  <a:gd name="connsiteX143" fmla="*/ 9526111 w 9530504"/>
                  <a:gd name="connsiteY143" fmla="*/ 227281 h 419409"/>
                  <a:gd name="connsiteX144" fmla="*/ 9525807 w 9530504"/>
                  <a:gd name="connsiteY144" fmla="*/ 227432 h 419409"/>
                  <a:gd name="connsiteX145" fmla="*/ 9530354 w 9530504"/>
                  <a:gd name="connsiteY145" fmla="*/ 191219 h 419409"/>
                  <a:gd name="connsiteX146" fmla="*/ 9530202 w 9530504"/>
                  <a:gd name="connsiteY146" fmla="*/ 191522 h 419409"/>
                  <a:gd name="connsiteX147" fmla="*/ 9530050 w 9530504"/>
                  <a:gd name="connsiteY147" fmla="*/ 191825 h 419409"/>
                  <a:gd name="connsiteX148" fmla="*/ 9530202 w 9530504"/>
                  <a:gd name="connsiteY148" fmla="*/ 191977 h 419409"/>
                  <a:gd name="connsiteX149" fmla="*/ 9530354 w 9530504"/>
                  <a:gd name="connsiteY149" fmla="*/ 191825 h 419409"/>
                  <a:gd name="connsiteX150" fmla="*/ 9530504 w 9530504"/>
                  <a:gd name="connsiteY150" fmla="*/ 191371 h 419409"/>
                  <a:gd name="connsiteX151" fmla="*/ 9530354 w 9530504"/>
                  <a:gd name="connsiteY151" fmla="*/ 191219 h 419409"/>
                  <a:gd name="connsiteX152" fmla="*/ 9499595 w 9530504"/>
                  <a:gd name="connsiteY152" fmla="*/ 229402 h 419409"/>
                  <a:gd name="connsiteX153" fmla="*/ 9499443 w 9530504"/>
                  <a:gd name="connsiteY153" fmla="*/ 229251 h 419409"/>
                  <a:gd name="connsiteX154" fmla="*/ 9499443 w 9530504"/>
                  <a:gd name="connsiteY154" fmla="*/ 228948 h 419409"/>
                  <a:gd name="connsiteX155" fmla="*/ 9499746 w 9530504"/>
                  <a:gd name="connsiteY155" fmla="*/ 228796 h 419409"/>
                  <a:gd name="connsiteX156" fmla="*/ 9499898 w 9530504"/>
                  <a:gd name="connsiteY156" fmla="*/ 228796 h 419409"/>
                  <a:gd name="connsiteX157" fmla="*/ 9499898 w 9530504"/>
                  <a:gd name="connsiteY157" fmla="*/ 228645 h 419409"/>
                  <a:gd name="connsiteX158" fmla="*/ 9499898 w 9530504"/>
                  <a:gd name="connsiteY158" fmla="*/ 228493 h 419409"/>
                  <a:gd name="connsiteX159" fmla="*/ 9499443 w 9530504"/>
                  <a:gd name="connsiteY159" fmla="*/ 228493 h 419409"/>
                  <a:gd name="connsiteX160" fmla="*/ 9498989 w 9530504"/>
                  <a:gd name="connsiteY160" fmla="*/ 228796 h 419409"/>
                  <a:gd name="connsiteX161" fmla="*/ 9499291 w 9530504"/>
                  <a:gd name="connsiteY161" fmla="*/ 229251 h 419409"/>
                  <a:gd name="connsiteX162" fmla="*/ 9500050 w 9530504"/>
                  <a:gd name="connsiteY162" fmla="*/ 229251 h 419409"/>
                  <a:gd name="connsiteX163" fmla="*/ 9500200 w 9530504"/>
                  <a:gd name="connsiteY163" fmla="*/ 229099 h 419409"/>
                  <a:gd name="connsiteX164" fmla="*/ 9499898 w 9530504"/>
                  <a:gd name="connsiteY164" fmla="*/ 229099 h 419409"/>
                  <a:gd name="connsiteX165" fmla="*/ 9499595 w 9530504"/>
                  <a:gd name="connsiteY165" fmla="*/ 229402 h 419409"/>
                  <a:gd name="connsiteX166" fmla="*/ 9436562 w 9530504"/>
                  <a:gd name="connsiteY166" fmla="*/ 233796 h 419409"/>
                  <a:gd name="connsiteX167" fmla="*/ 9436107 w 9530504"/>
                  <a:gd name="connsiteY167" fmla="*/ 233342 h 419409"/>
                  <a:gd name="connsiteX168" fmla="*/ 9435804 w 9530504"/>
                  <a:gd name="connsiteY168" fmla="*/ 233342 h 419409"/>
                  <a:gd name="connsiteX169" fmla="*/ 9435804 w 9530504"/>
                  <a:gd name="connsiteY169" fmla="*/ 233493 h 419409"/>
                  <a:gd name="connsiteX170" fmla="*/ 9435956 w 9530504"/>
                  <a:gd name="connsiteY170" fmla="*/ 233645 h 419409"/>
                  <a:gd name="connsiteX171" fmla="*/ 9436259 w 9530504"/>
                  <a:gd name="connsiteY171" fmla="*/ 233948 h 419409"/>
                  <a:gd name="connsiteX172" fmla="*/ 9436562 w 9530504"/>
                  <a:gd name="connsiteY172" fmla="*/ 234251 h 419409"/>
                  <a:gd name="connsiteX173" fmla="*/ 9436411 w 9530504"/>
                  <a:gd name="connsiteY173" fmla="*/ 234251 h 419409"/>
                  <a:gd name="connsiteX174" fmla="*/ 9436107 w 9530504"/>
                  <a:gd name="connsiteY174" fmla="*/ 234099 h 419409"/>
                  <a:gd name="connsiteX175" fmla="*/ 9436259 w 9530504"/>
                  <a:gd name="connsiteY175" fmla="*/ 234251 h 419409"/>
                  <a:gd name="connsiteX176" fmla="*/ 9436713 w 9530504"/>
                  <a:gd name="connsiteY176" fmla="*/ 234403 h 419409"/>
                  <a:gd name="connsiteX177" fmla="*/ 9436865 w 9530504"/>
                  <a:gd name="connsiteY177" fmla="*/ 234403 h 419409"/>
                  <a:gd name="connsiteX178" fmla="*/ 9436865 w 9530504"/>
                  <a:gd name="connsiteY178" fmla="*/ 234251 h 419409"/>
                  <a:gd name="connsiteX179" fmla="*/ 9436562 w 9530504"/>
                  <a:gd name="connsiteY179" fmla="*/ 233796 h 419409"/>
                  <a:gd name="connsiteX180" fmla="*/ 9135339 w 9530504"/>
                  <a:gd name="connsiteY180" fmla="*/ 124095 h 419409"/>
                  <a:gd name="connsiteX181" fmla="*/ 9134278 w 9530504"/>
                  <a:gd name="connsiteY181" fmla="*/ 123641 h 419409"/>
                  <a:gd name="connsiteX182" fmla="*/ 9133066 w 9530504"/>
                  <a:gd name="connsiteY182" fmla="*/ 122732 h 419409"/>
                  <a:gd name="connsiteX183" fmla="*/ 9132762 w 9530504"/>
                  <a:gd name="connsiteY183" fmla="*/ 122732 h 419409"/>
                  <a:gd name="connsiteX184" fmla="*/ 9133521 w 9530504"/>
                  <a:gd name="connsiteY184" fmla="*/ 123792 h 419409"/>
                  <a:gd name="connsiteX185" fmla="*/ 9134732 w 9530504"/>
                  <a:gd name="connsiteY185" fmla="*/ 124247 h 419409"/>
                  <a:gd name="connsiteX186" fmla="*/ 9135491 w 9530504"/>
                  <a:gd name="connsiteY186" fmla="*/ 127732 h 419409"/>
                  <a:gd name="connsiteX187" fmla="*/ 9135036 w 9530504"/>
                  <a:gd name="connsiteY187" fmla="*/ 128489 h 419409"/>
                  <a:gd name="connsiteX188" fmla="*/ 9135339 w 9530504"/>
                  <a:gd name="connsiteY188" fmla="*/ 129096 h 419409"/>
                  <a:gd name="connsiteX189" fmla="*/ 9136248 w 9530504"/>
                  <a:gd name="connsiteY189" fmla="*/ 128338 h 419409"/>
                  <a:gd name="connsiteX190" fmla="*/ 9135945 w 9530504"/>
                  <a:gd name="connsiteY190" fmla="*/ 126217 h 419409"/>
                  <a:gd name="connsiteX191" fmla="*/ 9135339 w 9530504"/>
                  <a:gd name="connsiteY191" fmla="*/ 124095 h 419409"/>
                  <a:gd name="connsiteX192" fmla="*/ 9098822 w 9530504"/>
                  <a:gd name="connsiteY192" fmla="*/ 69093 h 419409"/>
                  <a:gd name="connsiteX193" fmla="*/ 9095641 w 9530504"/>
                  <a:gd name="connsiteY193" fmla="*/ 69699 h 419409"/>
                  <a:gd name="connsiteX194" fmla="*/ 9095186 w 9530504"/>
                  <a:gd name="connsiteY194" fmla="*/ 70306 h 419409"/>
                  <a:gd name="connsiteX195" fmla="*/ 9095943 w 9530504"/>
                  <a:gd name="connsiteY195" fmla="*/ 70154 h 419409"/>
                  <a:gd name="connsiteX196" fmla="*/ 9096550 w 9530504"/>
                  <a:gd name="connsiteY196" fmla="*/ 70002 h 419409"/>
                  <a:gd name="connsiteX197" fmla="*/ 9097761 w 9530504"/>
                  <a:gd name="connsiteY197" fmla="*/ 69699 h 419409"/>
                  <a:gd name="connsiteX198" fmla="*/ 9099277 w 9530504"/>
                  <a:gd name="connsiteY198" fmla="*/ 69699 h 419409"/>
                  <a:gd name="connsiteX199" fmla="*/ 9099579 w 9530504"/>
                  <a:gd name="connsiteY199" fmla="*/ 69548 h 419409"/>
                  <a:gd name="connsiteX200" fmla="*/ 9099579 w 9530504"/>
                  <a:gd name="connsiteY200" fmla="*/ 69245 h 419409"/>
                  <a:gd name="connsiteX201" fmla="*/ 9099125 w 9530504"/>
                  <a:gd name="connsiteY201" fmla="*/ 68942 h 419409"/>
                  <a:gd name="connsiteX202" fmla="*/ 9098822 w 9530504"/>
                  <a:gd name="connsiteY202" fmla="*/ 69093 h 419409"/>
                  <a:gd name="connsiteX203" fmla="*/ 9143217 w 9530504"/>
                  <a:gd name="connsiteY203" fmla="*/ 138793 h 419409"/>
                  <a:gd name="connsiteX204" fmla="*/ 9142612 w 9530504"/>
                  <a:gd name="connsiteY204" fmla="*/ 137732 h 419409"/>
                  <a:gd name="connsiteX205" fmla="*/ 9141854 w 9530504"/>
                  <a:gd name="connsiteY205" fmla="*/ 137429 h 419409"/>
                  <a:gd name="connsiteX206" fmla="*/ 9142460 w 9530504"/>
                  <a:gd name="connsiteY206" fmla="*/ 138793 h 419409"/>
                  <a:gd name="connsiteX207" fmla="*/ 9142612 w 9530504"/>
                  <a:gd name="connsiteY207" fmla="*/ 140157 h 419409"/>
                  <a:gd name="connsiteX208" fmla="*/ 9142763 w 9530504"/>
                  <a:gd name="connsiteY208" fmla="*/ 140763 h 419409"/>
                  <a:gd name="connsiteX209" fmla="*/ 9143369 w 9530504"/>
                  <a:gd name="connsiteY209" fmla="*/ 140914 h 419409"/>
                  <a:gd name="connsiteX210" fmla="*/ 9143217 w 9530504"/>
                  <a:gd name="connsiteY210" fmla="*/ 139550 h 419409"/>
                  <a:gd name="connsiteX211" fmla="*/ 9143217 w 9530504"/>
                  <a:gd name="connsiteY211" fmla="*/ 138793 h 419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9530504" h="419409">
                    <a:moveTo>
                      <a:pt x="208038" y="417591"/>
                    </a:moveTo>
                    <a:lnTo>
                      <a:pt x="207735" y="417591"/>
                    </a:lnTo>
                    <a:lnTo>
                      <a:pt x="207583" y="418046"/>
                    </a:lnTo>
                    <a:lnTo>
                      <a:pt x="207735" y="418652"/>
                    </a:lnTo>
                    <a:lnTo>
                      <a:pt x="208038" y="419258"/>
                    </a:lnTo>
                    <a:lnTo>
                      <a:pt x="208493" y="419409"/>
                    </a:lnTo>
                    <a:lnTo>
                      <a:pt x="208644" y="418955"/>
                    </a:lnTo>
                    <a:lnTo>
                      <a:pt x="208341" y="418197"/>
                    </a:lnTo>
                    <a:lnTo>
                      <a:pt x="208038" y="417591"/>
                    </a:lnTo>
                    <a:close/>
                    <a:moveTo>
                      <a:pt x="120914" y="216372"/>
                    </a:moveTo>
                    <a:lnTo>
                      <a:pt x="120156" y="216675"/>
                    </a:lnTo>
                    <a:lnTo>
                      <a:pt x="120156" y="216826"/>
                    </a:lnTo>
                    <a:lnTo>
                      <a:pt x="120762" y="217281"/>
                    </a:lnTo>
                    <a:lnTo>
                      <a:pt x="121368" y="217735"/>
                    </a:lnTo>
                    <a:lnTo>
                      <a:pt x="121671" y="217887"/>
                    </a:lnTo>
                    <a:lnTo>
                      <a:pt x="121823" y="217735"/>
                    </a:lnTo>
                    <a:lnTo>
                      <a:pt x="121974" y="216826"/>
                    </a:lnTo>
                    <a:lnTo>
                      <a:pt x="122126" y="216372"/>
                    </a:lnTo>
                    <a:lnTo>
                      <a:pt x="121974" y="216068"/>
                    </a:lnTo>
                    <a:lnTo>
                      <a:pt x="120914" y="216372"/>
                    </a:lnTo>
                    <a:close/>
                    <a:moveTo>
                      <a:pt x="9093822" y="21213"/>
                    </a:moveTo>
                    <a:lnTo>
                      <a:pt x="9093822" y="21061"/>
                    </a:lnTo>
                    <a:lnTo>
                      <a:pt x="9091701" y="22425"/>
                    </a:lnTo>
                    <a:lnTo>
                      <a:pt x="9092155" y="22577"/>
                    </a:lnTo>
                    <a:lnTo>
                      <a:pt x="9093822" y="21667"/>
                    </a:lnTo>
                    <a:lnTo>
                      <a:pt x="9093822" y="21213"/>
                    </a:lnTo>
                    <a:close/>
                    <a:moveTo>
                      <a:pt x="9088822" y="24092"/>
                    </a:moveTo>
                    <a:lnTo>
                      <a:pt x="9088065" y="24092"/>
                    </a:lnTo>
                    <a:lnTo>
                      <a:pt x="9088670" y="24698"/>
                    </a:lnTo>
                    <a:lnTo>
                      <a:pt x="9090640" y="23637"/>
                    </a:lnTo>
                    <a:lnTo>
                      <a:pt x="9091701" y="23637"/>
                    </a:lnTo>
                    <a:lnTo>
                      <a:pt x="9091853" y="23031"/>
                    </a:lnTo>
                    <a:lnTo>
                      <a:pt x="9090185" y="23183"/>
                    </a:lnTo>
                    <a:lnTo>
                      <a:pt x="9088822" y="24092"/>
                    </a:lnTo>
                    <a:close/>
                    <a:moveTo>
                      <a:pt x="95610" y="259252"/>
                    </a:moveTo>
                    <a:lnTo>
                      <a:pt x="95307" y="259252"/>
                    </a:lnTo>
                    <a:lnTo>
                      <a:pt x="95004" y="259252"/>
                    </a:lnTo>
                    <a:lnTo>
                      <a:pt x="95004" y="259555"/>
                    </a:lnTo>
                    <a:lnTo>
                      <a:pt x="95307" y="259858"/>
                    </a:lnTo>
                    <a:lnTo>
                      <a:pt x="96064" y="259858"/>
                    </a:lnTo>
                    <a:lnTo>
                      <a:pt x="96670" y="259706"/>
                    </a:lnTo>
                    <a:lnTo>
                      <a:pt x="96670" y="259555"/>
                    </a:lnTo>
                    <a:lnTo>
                      <a:pt x="96367" y="259403"/>
                    </a:lnTo>
                    <a:lnTo>
                      <a:pt x="95610" y="259252"/>
                    </a:lnTo>
                    <a:close/>
                    <a:moveTo>
                      <a:pt x="1061" y="151"/>
                    </a:moveTo>
                    <a:lnTo>
                      <a:pt x="455" y="606"/>
                    </a:lnTo>
                    <a:lnTo>
                      <a:pt x="0" y="1364"/>
                    </a:lnTo>
                    <a:lnTo>
                      <a:pt x="909" y="2121"/>
                    </a:lnTo>
                    <a:lnTo>
                      <a:pt x="1061" y="1212"/>
                    </a:lnTo>
                    <a:lnTo>
                      <a:pt x="1515" y="1212"/>
                    </a:lnTo>
                    <a:lnTo>
                      <a:pt x="2273" y="1667"/>
                    </a:lnTo>
                    <a:lnTo>
                      <a:pt x="2879" y="2273"/>
                    </a:lnTo>
                    <a:lnTo>
                      <a:pt x="2727" y="2727"/>
                    </a:lnTo>
                    <a:lnTo>
                      <a:pt x="1515" y="2879"/>
                    </a:lnTo>
                    <a:lnTo>
                      <a:pt x="2273" y="3333"/>
                    </a:lnTo>
                    <a:lnTo>
                      <a:pt x="3788" y="3485"/>
                    </a:lnTo>
                    <a:lnTo>
                      <a:pt x="4243" y="2273"/>
                    </a:lnTo>
                    <a:lnTo>
                      <a:pt x="2121" y="0"/>
                    </a:lnTo>
                    <a:lnTo>
                      <a:pt x="1061" y="151"/>
                    </a:lnTo>
                    <a:close/>
                    <a:moveTo>
                      <a:pt x="9095489" y="56366"/>
                    </a:moveTo>
                    <a:lnTo>
                      <a:pt x="9094428" y="55002"/>
                    </a:lnTo>
                    <a:lnTo>
                      <a:pt x="9094125" y="54547"/>
                    </a:lnTo>
                    <a:lnTo>
                      <a:pt x="9093671" y="53941"/>
                    </a:lnTo>
                    <a:lnTo>
                      <a:pt x="9093216" y="53638"/>
                    </a:lnTo>
                    <a:lnTo>
                      <a:pt x="9093216" y="54093"/>
                    </a:lnTo>
                    <a:lnTo>
                      <a:pt x="9094125" y="55154"/>
                    </a:lnTo>
                    <a:lnTo>
                      <a:pt x="9095641" y="56820"/>
                    </a:lnTo>
                    <a:lnTo>
                      <a:pt x="9095489" y="56366"/>
                    </a:lnTo>
                    <a:close/>
                    <a:moveTo>
                      <a:pt x="9095641" y="59093"/>
                    </a:moveTo>
                    <a:lnTo>
                      <a:pt x="9095489" y="59699"/>
                    </a:lnTo>
                    <a:lnTo>
                      <a:pt x="9094732" y="60154"/>
                    </a:lnTo>
                    <a:lnTo>
                      <a:pt x="9095791" y="60002"/>
                    </a:lnTo>
                    <a:lnTo>
                      <a:pt x="9096246" y="59396"/>
                    </a:lnTo>
                    <a:lnTo>
                      <a:pt x="9096246" y="58335"/>
                    </a:lnTo>
                    <a:lnTo>
                      <a:pt x="9096095" y="57578"/>
                    </a:lnTo>
                    <a:lnTo>
                      <a:pt x="9095641" y="57426"/>
                    </a:lnTo>
                    <a:lnTo>
                      <a:pt x="9095641" y="59093"/>
                    </a:lnTo>
                    <a:close/>
                    <a:moveTo>
                      <a:pt x="57123" y="53032"/>
                    </a:moveTo>
                    <a:lnTo>
                      <a:pt x="53790" y="51517"/>
                    </a:lnTo>
                    <a:lnTo>
                      <a:pt x="52426" y="51366"/>
                    </a:lnTo>
                    <a:lnTo>
                      <a:pt x="55911" y="53638"/>
                    </a:lnTo>
                    <a:lnTo>
                      <a:pt x="55154" y="54093"/>
                    </a:lnTo>
                    <a:lnTo>
                      <a:pt x="53941" y="56214"/>
                    </a:lnTo>
                    <a:lnTo>
                      <a:pt x="51972" y="55154"/>
                    </a:lnTo>
                    <a:lnTo>
                      <a:pt x="51366" y="54093"/>
                    </a:lnTo>
                    <a:lnTo>
                      <a:pt x="50002" y="54699"/>
                    </a:lnTo>
                    <a:lnTo>
                      <a:pt x="54396" y="57881"/>
                    </a:lnTo>
                    <a:lnTo>
                      <a:pt x="59093" y="59396"/>
                    </a:lnTo>
                    <a:lnTo>
                      <a:pt x="61063" y="59245"/>
                    </a:lnTo>
                    <a:lnTo>
                      <a:pt x="56517" y="56063"/>
                    </a:lnTo>
                    <a:lnTo>
                      <a:pt x="57123" y="53032"/>
                    </a:lnTo>
                    <a:close/>
                    <a:moveTo>
                      <a:pt x="8999879" y="129702"/>
                    </a:moveTo>
                    <a:lnTo>
                      <a:pt x="8999879" y="130005"/>
                    </a:lnTo>
                    <a:lnTo>
                      <a:pt x="9000333" y="130308"/>
                    </a:lnTo>
                    <a:lnTo>
                      <a:pt x="9000637" y="130308"/>
                    </a:lnTo>
                    <a:lnTo>
                      <a:pt x="9000788" y="129853"/>
                    </a:lnTo>
                    <a:lnTo>
                      <a:pt x="9000333" y="129550"/>
                    </a:lnTo>
                    <a:lnTo>
                      <a:pt x="8999879" y="129702"/>
                    </a:lnTo>
                    <a:close/>
                    <a:moveTo>
                      <a:pt x="9514443" y="182279"/>
                    </a:moveTo>
                    <a:lnTo>
                      <a:pt x="9513534" y="181825"/>
                    </a:lnTo>
                    <a:lnTo>
                      <a:pt x="9512928" y="181673"/>
                    </a:lnTo>
                    <a:lnTo>
                      <a:pt x="9512777" y="181825"/>
                    </a:lnTo>
                    <a:lnTo>
                      <a:pt x="9512777" y="181976"/>
                    </a:lnTo>
                    <a:lnTo>
                      <a:pt x="9512928" y="182128"/>
                    </a:lnTo>
                    <a:lnTo>
                      <a:pt x="9513080" y="182128"/>
                    </a:lnTo>
                    <a:lnTo>
                      <a:pt x="9513383" y="181976"/>
                    </a:lnTo>
                    <a:lnTo>
                      <a:pt x="9513838" y="182128"/>
                    </a:lnTo>
                    <a:lnTo>
                      <a:pt x="9514293" y="182431"/>
                    </a:lnTo>
                    <a:lnTo>
                      <a:pt x="9514595" y="182734"/>
                    </a:lnTo>
                    <a:lnTo>
                      <a:pt x="9515202" y="183492"/>
                    </a:lnTo>
                    <a:lnTo>
                      <a:pt x="9515202" y="183946"/>
                    </a:lnTo>
                    <a:lnTo>
                      <a:pt x="9514747" y="183795"/>
                    </a:lnTo>
                    <a:lnTo>
                      <a:pt x="9514141" y="183340"/>
                    </a:lnTo>
                    <a:lnTo>
                      <a:pt x="9513534" y="183340"/>
                    </a:lnTo>
                    <a:lnTo>
                      <a:pt x="9513534" y="183492"/>
                    </a:lnTo>
                    <a:lnTo>
                      <a:pt x="9513838" y="183643"/>
                    </a:lnTo>
                    <a:lnTo>
                      <a:pt x="9514293" y="184098"/>
                    </a:lnTo>
                    <a:lnTo>
                      <a:pt x="9514898" y="184401"/>
                    </a:lnTo>
                    <a:lnTo>
                      <a:pt x="9515352" y="184401"/>
                    </a:lnTo>
                    <a:lnTo>
                      <a:pt x="9515352" y="184098"/>
                    </a:lnTo>
                    <a:lnTo>
                      <a:pt x="9515050" y="183188"/>
                    </a:lnTo>
                    <a:lnTo>
                      <a:pt x="9514443" y="182279"/>
                    </a:lnTo>
                    <a:close/>
                    <a:moveTo>
                      <a:pt x="9095034" y="78791"/>
                    </a:moveTo>
                    <a:lnTo>
                      <a:pt x="9094732" y="78791"/>
                    </a:lnTo>
                    <a:lnTo>
                      <a:pt x="9095034" y="79700"/>
                    </a:lnTo>
                    <a:lnTo>
                      <a:pt x="9095186" y="79700"/>
                    </a:lnTo>
                    <a:lnTo>
                      <a:pt x="9095641" y="79548"/>
                    </a:lnTo>
                    <a:lnTo>
                      <a:pt x="9096700" y="80609"/>
                    </a:lnTo>
                    <a:lnTo>
                      <a:pt x="9095943" y="81973"/>
                    </a:lnTo>
                    <a:lnTo>
                      <a:pt x="9094125" y="83942"/>
                    </a:lnTo>
                    <a:lnTo>
                      <a:pt x="9094732" y="84094"/>
                    </a:lnTo>
                    <a:lnTo>
                      <a:pt x="9096700" y="81973"/>
                    </a:lnTo>
                    <a:lnTo>
                      <a:pt x="9097155" y="81063"/>
                    </a:lnTo>
                    <a:lnTo>
                      <a:pt x="9097307" y="80306"/>
                    </a:lnTo>
                    <a:lnTo>
                      <a:pt x="9095791" y="79245"/>
                    </a:lnTo>
                    <a:lnTo>
                      <a:pt x="9095034" y="78791"/>
                    </a:lnTo>
                    <a:close/>
                    <a:moveTo>
                      <a:pt x="9525807" y="227432"/>
                    </a:moveTo>
                    <a:lnTo>
                      <a:pt x="9525505" y="227584"/>
                    </a:lnTo>
                    <a:lnTo>
                      <a:pt x="9525505" y="227887"/>
                    </a:lnTo>
                    <a:lnTo>
                      <a:pt x="9525657" y="228039"/>
                    </a:lnTo>
                    <a:lnTo>
                      <a:pt x="9525959" y="228039"/>
                    </a:lnTo>
                    <a:lnTo>
                      <a:pt x="9526262" y="227887"/>
                    </a:lnTo>
                    <a:lnTo>
                      <a:pt x="9526262" y="227584"/>
                    </a:lnTo>
                    <a:lnTo>
                      <a:pt x="9526111" y="227281"/>
                    </a:lnTo>
                    <a:lnTo>
                      <a:pt x="9525807" y="227432"/>
                    </a:lnTo>
                    <a:close/>
                    <a:moveTo>
                      <a:pt x="9530354" y="191219"/>
                    </a:moveTo>
                    <a:lnTo>
                      <a:pt x="9530202" y="191522"/>
                    </a:lnTo>
                    <a:lnTo>
                      <a:pt x="9530050" y="191825"/>
                    </a:lnTo>
                    <a:lnTo>
                      <a:pt x="9530202" y="191977"/>
                    </a:lnTo>
                    <a:lnTo>
                      <a:pt x="9530354" y="191825"/>
                    </a:lnTo>
                    <a:lnTo>
                      <a:pt x="9530504" y="191371"/>
                    </a:lnTo>
                    <a:lnTo>
                      <a:pt x="9530354" y="191219"/>
                    </a:lnTo>
                    <a:close/>
                    <a:moveTo>
                      <a:pt x="9499595" y="229402"/>
                    </a:moveTo>
                    <a:lnTo>
                      <a:pt x="9499443" y="229251"/>
                    </a:lnTo>
                    <a:lnTo>
                      <a:pt x="9499443" y="228948"/>
                    </a:lnTo>
                    <a:lnTo>
                      <a:pt x="9499746" y="228796"/>
                    </a:lnTo>
                    <a:lnTo>
                      <a:pt x="9499898" y="228796"/>
                    </a:lnTo>
                    <a:lnTo>
                      <a:pt x="9499898" y="228645"/>
                    </a:lnTo>
                    <a:lnTo>
                      <a:pt x="9499898" y="228493"/>
                    </a:lnTo>
                    <a:lnTo>
                      <a:pt x="9499443" y="228493"/>
                    </a:lnTo>
                    <a:lnTo>
                      <a:pt x="9498989" y="228796"/>
                    </a:lnTo>
                    <a:lnTo>
                      <a:pt x="9499291" y="229251"/>
                    </a:lnTo>
                    <a:lnTo>
                      <a:pt x="9500050" y="229251"/>
                    </a:lnTo>
                    <a:lnTo>
                      <a:pt x="9500200" y="229099"/>
                    </a:lnTo>
                    <a:lnTo>
                      <a:pt x="9499898" y="229099"/>
                    </a:lnTo>
                    <a:lnTo>
                      <a:pt x="9499595" y="229402"/>
                    </a:lnTo>
                    <a:close/>
                    <a:moveTo>
                      <a:pt x="9436562" y="233796"/>
                    </a:moveTo>
                    <a:lnTo>
                      <a:pt x="9436107" y="233342"/>
                    </a:lnTo>
                    <a:lnTo>
                      <a:pt x="9435804" y="233342"/>
                    </a:lnTo>
                    <a:lnTo>
                      <a:pt x="9435804" y="233493"/>
                    </a:lnTo>
                    <a:lnTo>
                      <a:pt x="9435956" y="233645"/>
                    </a:lnTo>
                    <a:lnTo>
                      <a:pt x="9436259" y="233948"/>
                    </a:lnTo>
                    <a:lnTo>
                      <a:pt x="9436562" y="234251"/>
                    </a:lnTo>
                    <a:lnTo>
                      <a:pt x="9436411" y="234251"/>
                    </a:lnTo>
                    <a:lnTo>
                      <a:pt x="9436107" y="234099"/>
                    </a:lnTo>
                    <a:lnTo>
                      <a:pt x="9436259" y="234251"/>
                    </a:lnTo>
                    <a:lnTo>
                      <a:pt x="9436713" y="234403"/>
                    </a:lnTo>
                    <a:lnTo>
                      <a:pt x="9436865" y="234403"/>
                    </a:lnTo>
                    <a:lnTo>
                      <a:pt x="9436865" y="234251"/>
                    </a:lnTo>
                    <a:lnTo>
                      <a:pt x="9436562" y="233796"/>
                    </a:lnTo>
                    <a:close/>
                    <a:moveTo>
                      <a:pt x="9135339" y="124095"/>
                    </a:moveTo>
                    <a:lnTo>
                      <a:pt x="9134278" y="123641"/>
                    </a:lnTo>
                    <a:lnTo>
                      <a:pt x="9133066" y="122732"/>
                    </a:lnTo>
                    <a:lnTo>
                      <a:pt x="9132762" y="122732"/>
                    </a:lnTo>
                    <a:lnTo>
                      <a:pt x="9133521" y="123792"/>
                    </a:lnTo>
                    <a:lnTo>
                      <a:pt x="9134732" y="124247"/>
                    </a:lnTo>
                    <a:lnTo>
                      <a:pt x="9135491" y="127732"/>
                    </a:lnTo>
                    <a:lnTo>
                      <a:pt x="9135036" y="128489"/>
                    </a:lnTo>
                    <a:lnTo>
                      <a:pt x="9135339" y="129096"/>
                    </a:lnTo>
                    <a:lnTo>
                      <a:pt x="9136248" y="128338"/>
                    </a:lnTo>
                    <a:lnTo>
                      <a:pt x="9135945" y="126217"/>
                    </a:lnTo>
                    <a:lnTo>
                      <a:pt x="9135339" y="124095"/>
                    </a:lnTo>
                    <a:close/>
                    <a:moveTo>
                      <a:pt x="9098822" y="69093"/>
                    </a:moveTo>
                    <a:lnTo>
                      <a:pt x="9095641" y="69699"/>
                    </a:lnTo>
                    <a:lnTo>
                      <a:pt x="9095186" y="70306"/>
                    </a:lnTo>
                    <a:lnTo>
                      <a:pt x="9095943" y="70154"/>
                    </a:lnTo>
                    <a:lnTo>
                      <a:pt x="9096550" y="70002"/>
                    </a:lnTo>
                    <a:lnTo>
                      <a:pt x="9097761" y="69699"/>
                    </a:lnTo>
                    <a:lnTo>
                      <a:pt x="9099277" y="69699"/>
                    </a:lnTo>
                    <a:lnTo>
                      <a:pt x="9099579" y="69548"/>
                    </a:lnTo>
                    <a:lnTo>
                      <a:pt x="9099579" y="69245"/>
                    </a:lnTo>
                    <a:lnTo>
                      <a:pt x="9099125" y="68942"/>
                    </a:lnTo>
                    <a:lnTo>
                      <a:pt x="9098822" y="69093"/>
                    </a:lnTo>
                    <a:close/>
                    <a:moveTo>
                      <a:pt x="9143217" y="138793"/>
                    </a:moveTo>
                    <a:lnTo>
                      <a:pt x="9142612" y="137732"/>
                    </a:lnTo>
                    <a:lnTo>
                      <a:pt x="9141854" y="137429"/>
                    </a:lnTo>
                    <a:lnTo>
                      <a:pt x="9142460" y="138793"/>
                    </a:lnTo>
                    <a:lnTo>
                      <a:pt x="9142612" y="140157"/>
                    </a:lnTo>
                    <a:lnTo>
                      <a:pt x="9142763" y="140763"/>
                    </a:lnTo>
                    <a:lnTo>
                      <a:pt x="9143369" y="140914"/>
                    </a:lnTo>
                    <a:lnTo>
                      <a:pt x="9143217" y="139550"/>
                    </a:lnTo>
                    <a:lnTo>
                      <a:pt x="9143217" y="13879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8" name="Freeform: Shape 3247">
                <a:extLst>
                  <a:ext uri="{FF2B5EF4-FFF2-40B4-BE49-F238E27FC236}">
                    <a16:creationId xmlns:a16="http://schemas.microsoft.com/office/drawing/2014/main" id="{FDB3CE48-2BB6-452D-8B80-DD9FFDBAD729}"/>
                  </a:ext>
                </a:extLst>
              </p:cNvPr>
              <p:cNvSpPr/>
              <p:nvPr/>
            </p:nvSpPr>
            <p:spPr>
              <a:xfrm>
                <a:off x="8577000" y="4159403"/>
                <a:ext cx="144550" cy="118489"/>
              </a:xfrm>
              <a:custGeom>
                <a:avLst/>
                <a:gdLst>
                  <a:gd name="connsiteX0" fmla="*/ 18486 w 144550"/>
                  <a:gd name="connsiteY0" fmla="*/ 91973 h 118489"/>
                  <a:gd name="connsiteX1" fmla="*/ 18183 w 144550"/>
                  <a:gd name="connsiteY1" fmla="*/ 92882 h 118489"/>
                  <a:gd name="connsiteX2" fmla="*/ 18183 w 144550"/>
                  <a:gd name="connsiteY2" fmla="*/ 94398 h 118489"/>
                  <a:gd name="connsiteX3" fmla="*/ 18637 w 144550"/>
                  <a:gd name="connsiteY3" fmla="*/ 94852 h 118489"/>
                  <a:gd name="connsiteX4" fmla="*/ 19092 w 144550"/>
                  <a:gd name="connsiteY4" fmla="*/ 94852 h 118489"/>
                  <a:gd name="connsiteX5" fmla="*/ 19546 w 144550"/>
                  <a:gd name="connsiteY5" fmla="*/ 94549 h 118489"/>
                  <a:gd name="connsiteX6" fmla="*/ 19243 w 144550"/>
                  <a:gd name="connsiteY6" fmla="*/ 91670 h 118489"/>
                  <a:gd name="connsiteX7" fmla="*/ 18486 w 144550"/>
                  <a:gd name="connsiteY7" fmla="*/ 91973 h 118489"/>
                  <a:gd name="connsiteX8" fmla="*/ 24395 w 144550"/>
                  <a:gd name="connsiteY8" fmla="*/ 109095 h 118489"/>
                  <a:gd name="connsiteX9" fmla="*/ 26062 w 144550"/>
                  <a:gd name="connsiteY9" fmla="*/ 111216 h 118489"/>
                  <a:gd name="connsiteX10" fmla="*/ 27122 w 144550"/>
                  <a:gd name="connsiteY10" fmla="*/ 110156 h 118489"/>
                  <a:gd name="connsiteX11" fmla="*/ 24546 w 144550"/>
                  <a:gd name="connsiteY11" fmla="*/ 108337 h 118489"/>
                  <a:gd name="connsiteX12" fmla="*/ 24395 w 144550"/>
                  <a:gd name="connsiteY12" fmla="*/ 109095 h 118489"/>
                  <a:gd name="connsiteX13" fmla="*/ 141824 w 144550"/>
                  <a:gd name="connsiteY13" fmla="*/ 51820 h 118489"/>
                  <a:gd name="connsiteX14" fmla="*/ 141066 w 144550"/>
                  <a:gd name="connsiteY14" fmla="*/ 49093 h 118489"/>
                  <a:gd name="connsiteX15" fmla="*/ 140915 w 144550"/>
                  <a:gd name="connsiteY15" fmla="*/ 46366 h 118489"/>
                  <a:gd name="connsiteX16" fmla="*/ 142884 w 144550"/>
                  <a:gd name="connsiteY16" fmla="*/ 40911 h 118489"/>
                  <a:gd name="connsiteX17" fmla="*/ 144551 w 144550"/>
                  <a:gd name="connsiteY17" fmla="*/ 35001 h 118489"/>
                  <a:gd name="connsiteX18" fmla="*/ 144248 w 144550"/>
                  <a:gd name="connsiteY18" fmla="*/ 32729 h 118489"/>
                  <a:gd name="connsiteX19" fmla="*/ 142430 w 144550"/>
                  <a:gd name="connsiteY19" fmla="*/ 29092 h 118489"/>
                  <a:gd name="connsiteX20" fmla="*/ 140611 w 144550"/>
                  <a:gd name="connsiteY20" fmla="*/ 24547 h 118489"/>
                  <a:gd name="connsiteX21" fmla="*/ 138642 w 144550"/>
                  <a:gd name="connsiteY21" fmla="*/ 19698 h 118489"/>
                  <a:gd name="connsiteX22" fmla="*/ 137884 w 144550"/>
                  <a:gd name="connsiteY22" fmla="*/ 18940 h 118489"/>
                  <a:gd name="connsiteX23" fmla="*/ 137278 w 144550"/>
                  <a:gd name="connsiteY23" fmla="*/ 17576 h 118489"/>
                  <a:gd name="connsiteX24" fmla="*/ 136975 w 144550"/>
                  <a:gd name="connsiteY24" fmla="*/ 15910 h 118489"/>
                  <a:gd name="connsiteX25" fmla="*/ 137732 w 144550"/>
                  <a:gd name="connsiteY25" fmla="*/ 10910 h 118489"/>
                  <a:gd name="connsiteX26" fmla="*/ 137884 w 144550"/>
                  <a:gd name="connsiteY26" fmla="*/ 9243 h 118489"/>
                  <a:gd name="connsiteX27" fmla="*/ 140157 w 144550"/>
                  <a:gd name="connsiteY27" fmla="*/ 6970 h 118489"/>
                  <a:gd name="connsiteX28" fmla="*/ 141369 w 144550"/>
                  <a:gd name="connsiteY28" fmla="*/ 4394 h 118489"/>
                  <a:gd name="connsiteX29" fmla="*/ 142581 w 144550"/>
                  <a:gd name="connsiteY29" fmla="*/ 1515 h 118489"/>
                  <a:gd name="connsiteX30" fmla="*/ 142127 w 144550"/>
                  <a:gd name="connsiteY30" fmla="*/ 0 h 118489"/>
                  <a:gd name="connsiteX31" fmla="*/ 140611 w 144550"/>
                  <a:gd name="connsiteY31" fmla="*/ 1061 h 118489"/>
                  <a:gd name="connsiteX32" fmla="*/ 139248 w 144550"/>
                  <a:gd name="connsiteY32" fmla="*/ 3940 h 118489"/>
                  <a:gd name="connsiteX33" fmla="*/ 138339 w 144550"/>
                  <a:gd name="connsiteY33" fmla="*/ 4091 h 118489"/>
                  <a:gd name="connsiteX34" fmla="*/ 135914 w 144550"/>
                  <a:gd name="connsiteY34" fmla="*/ 3031 h 118489"/>
                  <a:gd name="connsiteX35" fmla="*/ 135157 w 144550"/>
                  <a:gd name="connsiteY35" fmla="*/ 3637 h 118489"/>
                  <a:gd name="connsiteX36" fmla="*/ 133641 w 144550"/>
                  <a:gd name="connsiteY36" fmla="*/ 5758 h 118489"/>
                  <a:gd name="connsiteX37" fmla="*/ 130914 w 144550"/>
                  <a:gd name="connsiteY37" fmla="*/ 8031 h 118489"/>
                  <a:gd name="connsiteX38" fmla="*/ 129702 w 144550"/>
                  <a:gd name="connsiteY38" fmla="*/ 8031 h 118489"/>
                  <a:gd name="connsiteX39" fmla="*/ 128793 w 144550"/>
                  <a:gd name="connsiteY39" fmla="*/ 7728 h 118489"/>
                  <a:gd name="connsiteX40" fmla="*/ 127732 w 144550"/>
                  <a:gd name="connsiteY40" fmla="*/ 8637 h 118489"/>
                  <a:gd name="connsiteX41" fmla="*/ 126217 w 144550"/>
                  <a:gd name="connsiteY41" fmla="*/ 10455 h 118489"/>
                  <a:gd name="connsiteX42" fmla="*/ 125611 w 144550"/>
                  <a:gd name="connsiteY42" fmla="*/ 10455 h 118489"/>
                  <a:gd name="connsiteX43" fmla="*/ 123035 w 144550"/>
                  <a:gd name="connsiteY43" fmla="*/ 10910 h 118489"/>
                  <a:gd name="connsiteX44" fmla="*/ 121975 w 144550"/>
                  <a:gd name="connsiteY44" fmla="*/ 10304 h 118489"/>
                  <a:gd name="connsiteX45" fmla="*/ 120762 w 144550"/>
                  <a:gd name="connsiteY45" fmla="*/ 8788 h 118489"/>
                  <a:gd name="connsiteX46" fmla="*/ 118792 w 144550"/>
                  <a:gd name="connsiteY46" fmla="*/ 7273 h 118489"/>
                  <a:gd name="connsiteX47" fmla="*/ 116974 w 144550"/>
                  <a:gd name="connsiteY47" fmla="*/ 6212 h 118489"/>
                  <a:gd name="connsiteX48" fmla="*/ 116065 w 144550"/>
                  <a:gd name="connsiteY48" fmla="*/ 5455 h 118489"/>
                  <a:gd name="connsiteX49" fmla="*/ 115156 w 144550"/>
                  <a:gd name="connsiteY49" fmla="*/ 4243 h 118489"/>
                  <a:gd name="connsiteX50" fmla="*/ 114398 w 144550"/>
                  <a:gd name="connsiteY50" fmla="*/ 3485 h 118489"/>
                  <a:gd name="connsiteX51" fmla="*/ 112883 w 144550"/>
                  <a:gd name="connsiteY51" fmla="*/ 5303 h 118489"/>
                  <a:gd name="connsiteX52" fmla="*/ 110307 w 144550"/>
                  <a:gd name="connsiteY52" fmla="*/ 6970 h 118489"/>
                  <a:gd name="connsiteX53" fmla="*/ 107883 w 144550"/>
                  <a:gd name="connsiteY53" fmla="*/ 6667 h 118489"/>
                  <a:gd name="connsiteX54" fmla="*/ 106671 w 144550"/>
                  <a:gd name="connsiteY54" fmla="*/ 6364 h 118489"/>
                  <a:gd name="connsiteX55" fmla="*/ 105762 w 144550"/>
                  <a:gd name="connsiteY55" fmla="*/ 8788 h 118489"/>
                  <a:gd name="connsiteX56" fmla="*/ 105004 w 144550"/>
                  <a:gd name="connsiteY56" fmla="*/ 9243 h 118489"/>
                  <a:gd name="connsiteX57" fmla="*/ 100762 w 144550"/>
                  <a:gd name="connsiteY57" fmla="*/ 9697 h 118489"/>
                  <a:gd name="connsiteX58" fmla="*/ 100004 w 144550"/>
                  <a:gd name="connsiteY58" fmla="*/ 10152 h 118489"/>
                  <a:gd name="connsiteX59" fmla="*/ 100762 w 144550"/>
                  <a:gd name="connsiteY59" fmla="*/ 12425 h 118489"/>
                  <a:gd name="connsiteX60" fmla="*/ 103337 w 144550"/>
                  <a:gd name="connsiteY60" fmla="*/ 16213 h 118489"/>
                  <a:gd name="connsiteX61" fmla="*/ 104095 w 144550"/>
                  <a:gd name="connsiteY61" fmla="*/ 18334 h 118489"/>
                  <a:gd name="connsiteX62" fmla="*/ 102580 w 144550"/>
                  <a:gd name="connsiteY62" fmla="*/ 21819 h 118489"/>
                  <a:gd name="connsiteX63" fmla="*/ 98186 w 144550"/>
                  <a:gd name="connsiteY63" fmla="*/ 21668 h 118489"/>
                  <a:gd name="connsiteX64" fmla="*/ 96216 w 144550"/>
                  <a:gd name="connsiteY64" fmla="*/ 20152 h 118489"/>
                  <a:gd name="connsiteX65" fmla="*/ 94398 w 144550"/>
                  <a:gd name="connsiteY65" fmla="*/ 18183 h 118489"/>
                  <a:gd name="connsiteX66" fmla="*/ 93791 w 144550"/>
                  <a:gd name="connsiteY66" fmla="*/ 17122 h 118489"/>
                  <a:gd name="connsiteX67" fmla="*/ 88034 w 144550"/>
                  <a:gd name="connsiteY67" fmla="*/ 15152 h 118489"/>
                  <a:gd name="connsiteX68" fmla="*/ 84246 w 144550"/>
                  <a:gd name="connsiteY68" fmla="*/ 16516 h 118489"/>
                  <a:gd name="connsiteX69" fmla="*/ 83034 w 144550"/>
                  <a:gd name="connsiteY69" fmla="*/ 16516 h 118489"/>
                  <a:gd name="connsiteX70" fmla="*/ 81215 w 144550"/>
                  <a:gd name="connsiteY70" fmla="*/ 15152 h 118489"/>
                  <a:gd name="connsiteX71" fmla="*/ 80155 w 144550"/>
                  <a:gd name="connsiteY71" fmla="*/ 14092 h 118489"/>
                  <a:gd name="connsiteX72" fmla="*/ 79094 w 144550"/>
                  <a:gd name="connsiteY72" fmla="*/ 12425 h 118489"/>
                  <a:gd name="connsiteX73" fmla="*/ 78488 w 144550"/>
                  <a:gd name="connsiteY73" fmla="*/ 10758 h 118489"/>
                  <a:gd name="connsiteX74" fmla="*/ 78488 w 144550"/>
                  <a:gd name="connsiteY74" fmla="*/ 10000 h 118489"/>
                  <a:gd name="connsiteX75" fmla="*/ 78034 w 144550"/>
                  <a:gd name="connsiteY75" fmla="*/ 10304 h 118489"/>
                  <a:gd name="connsiteX76" fmla="*/ 76821 w 144550"/>
                  <a:gd name="connsiteY76" fmla="*/ 11819 h 118489"/>
                  <a:gd name="connsiteX77" fmla="*/ 75458 w 144550"/>
                  <a:gd name="connsiteY77" fmla="*/ 13334 h 118489"/>
                  <a:gd name="connsiteX78" fmla="*/ 74397 w 144550"/>
                  <a:gd name="connsiteY78" fmla="*/ 13334 h 118489"/>
                  <a:gd name="connsiteX79" fmla="*/ 73639 w 144550"/>
                  <a:gd name="connsiteY79" fmla="*/ 12576 h 118489"/>
                  <a:gd name="connsiteX80" fmla="*/ 73033 w 144550"/>
                  <a:gd name="connsiteY80" fmla="*/ 11667 h 118489"/>
                  <a:gd name="connsiteX81" fmla="*/ 72730 w 144550"/>
                  <a:gd name="connsiteY81" fmla="*/ 9546 h 118489"/>
                  <a:gd name="connsiteX82" fmla="*/ 70306 w 144550"/>
                  <a:gd name="connsiteY82" fmla="*/ 8485 h 118489"/>
                  <a:gd name="connsiteX83" fmla="*/ 67579 w 144550"/>
                  <a:gd name="connsiteY83" fmla="*/ 7879 h 118489"/>
                  <a:gd name="connsiteX84" fmla="*/ 61972 w 144550"/>
                  <a:gd name="connsiteY84" fmla="*/ 8940 h 118489"/>
                  <a:gd name="connsiteX85" fmla="*/ 57427 w 144550"/>
                  <a:gd name="connsiteY85" fmla="*/ 9546 h 118489"/>
                  <a:gd name="connsiteX86" fmla="*/ 52427 w 144550"/>
                  <a:gd name="connsiteY86" fmla="*/ 8788 h 118489"/>
                  <a:gd name="connsiteX87" fmla="*/ 47729 w 144550"/>
                  <a:gd name="connsiteY87" fmla="*/ 9697 h 118489"/>
                  <a:gd name="connsiteX88" fmla="*/ 45760 w 144550"/>
                  <a:gd name="connsiteY88" fmla="*/ 9849 h 118489"/>
                  <a:gd name="connsiteX89" fmla="*/ 43486 w 144550"/>
                  <a:gd name="connsiteY89" fmla="*/ 9697 h 118489"/>
                  <a:gd name="connsiteX90" fmla="*/ 41214 w 144550"/>
                  <a:gd name="connsiteY90" fmla="*/ 9697 h 118489"/>
                  <a:gd name="connsiteX91" fmla="*/ 39093 w 144550"/>
                  <a:gd name="connsiteY91" fmla="*/ 9394 h 118489"/>
                  <a:gd name="connsiteX92" fmla="*/ 35153 w 144550"/>
                  <a:gd name="connsiteY92" fmla="*/ 8031 h 118489"/>
                  <a:gd name="connsiteX93" fmla="*/ 33638 w 144550"/>
                  <a:gd name="connsiteY93" fmla="*/ 8182 h 118489"/>
                  <a:gd name="connsiteX94" fmla="*/ 30456 w 144550"/>
                  <a:gd name="connsiteY94" fmla="*/ 9243 h 118489"/>
                  <a:gd name="connsiteX95" fmla="*/ 27274 w 144550"/>
                  <a:gd name="connsiteY95" fmla="*/ 10000 h 118489"/>
                  <a:gd name="connsiteX96" fmla="*/ 24092 w 144550"/>
                  <a:gd name="connsiteY96" fmla="*/ 10455 h 118489"/>
                  <a:gd name="connsiteX97" fmla="*/ 19546 w 144550"/>
                  <a:gd name="connsiteY97" fmla="*/ 12728 h 118489"/>
                  <a:gd name="connsiteX98" fmla="*/ 16213 w 144550"/>
                  <a:gd name="connsiteY98" fmla="*/ 15910 h 118489"/>
                  <a:gd name="connsiteX99" fmla="*/ 15152 w 144550"/>
                  <a:gd name="connsiteY99" fmla="*/ 18183 h 118489"/>
                  <a:gd name="connsiteX100" fmla="*/ 13486 w 144550"/>
                  <a:gd name="connsiteY100" fmla="*/ 20455 h 118489"/>
                  <a:gd name="connsiteX101" fmla="*/ 11213 w 144550"/>
                  <a:gd name="connsiteY101" fmla="*/ 24092 h 118489"/>
                  <a:gd name="connsiteX102" fmla="*/ 8182 w 144550"/>
                  <a:gd name="connsiteY102" fmla="*/ 27577 h 118489"/>
                  <a:gd name="connsiteX103" fmla="*/ 6061 w 144550"/>
                  <a:gd name="connsiteY103" fmla="*/ 29092 h 118489"/>
                  <a:gd name="connsiteX104" fmla="*/ 6667 w 144550"/>
                  <a:gd name="connsiteY104" fmla="*/ 30001 h 118489"/>
                  <a:gd name="connsiteX105" fmla="*/ 6212 w 144550"/>
                  <a:gd name="connsiteY105" fmla="*/ 31062 h 118489"/>
                  <a:gd name="connsiteX106" fmla="*/ 3031 w 144550"/>
                  <a:gd name="connsiteY106" fmla="*/ 31516 h 118489"/>
                  <a:gd name="connsiteX107" fmla="*/ 455 w 144550"/>
                  <a:gd name="connsiteY107" fmla="*/ 31668 h 118489"/>
                  <a:gd name="connsiteX108" fmla="*/ 0 w 144550"/>
                  <a:gd name="connsiteY108" fmla="*/ 32274 h 118489"/>
                  <a:gd name="connsiteX109" fmla="*/ 303 w 144550"/>
                  <a:gd name="connsiteY109" fmla="*/ 39244 h 118489"/>
                  <a:gd name="connsiteX110" fmla="*/ 1212 w 144550"/>
                  <a:gd name="connsiteY110" fmla="*/ 41820 h 118489"/>
                  <a:gd name="connsiteX111" fmla="*/ 2879 w 144550"/>
                  <a:gd name="connsiteY111" fmla="*/ 45002 h 118489"/>
                  <a:gd name="connsiteX112" fmla="*/ 3940 w 144550"/>
                  <a:gd name="connsiteY112" fmla="*/ 46668 h 118489"/>
                  <a:gd name="connsiteX113" fmla="*/ 4697 w 144550"/>
                  <a:gd name="connsiteY113" fmla="*/ 51820 h 118489"/>
                  <a:gd name="connsiteX114" fmla="*/ 5000 w 144550"/>
                  <a:gd name="connsiteY114" fmla="*/ 56214 h 118489"/>
                  <a:gd name="connsiteX115" fmla="*/ 8485 w 144550"/>
                  <a:gd name="connsiteY115" fmla="*/ 58942 h 118489"/>
                  <a:gd name="connsiteX116" fmla="*/ 10455 w 144550"/>
                  <a:gd name="connsiteY116" fmla="*/ 61063 h 118489"/>
                  <a:gd name="connsiteX117" fmla="*/ 11819 w 144550"/>
                  <a:gd name="connsiteY117" fmla="*/ 62881 h 118489"/>
                  <a:gd name="connsiteX118" fmla="*/ 11364 w 144550"/>
                  <a:gd name="connsiteY118" fmla="*/ 64093 h 118489"/>
                  <a:gd name="connsiteX119" fmla="*/ 10455 w 144550"/>
                  <a:gd name="connsiteY119" fmla="*/ 67578 h 118489"/>
                  <a:gd name="connsiteX120" fmla="*/ 11213 w 144550"/>
                  <a:gd name="connsiteY120" fmla="*/ 72124 h 118489"/>
                  <a:gd name="connsiteX121" fmla="*/ 16213 w 144550"/>
                  <a:gd name="connsiteY121" fmla="*/ 81973 h 118489"/>
                  <a:gd name="connsiteX122" fmla="*/ 16667 w 144550"/>
                  <a:gd name="connsiteY122" fmla="*/ 82730 h 118489"/>
                  <a:gd name="connsiteX123" fmla="*/ 16667 w 144550"/>
                  <a:gd name="connsiteY123" fmla="*/ 81821 h 118489"/>
                  <a:gd name="connsiteX124" fmla="*/ 17122 w 144550"/>
                  <a:gd name="connsiteY124" fmla="*/ 80912 h 118489"/>
                  <a:gd name="connsiteX125" fmla="*/ 18637 w 144550"/>
                  <a:gd name="connsiteY125" fmla="*/ 82579 h 118489"/>
                  <a:gd name="connsiteX126" fmla="*/ 18789 w 144550"/>
                  <a:gd name="connsiteY126" fmla="*/ 85912 h 118489"/>
                  <a:gd name="connsiteX127" fmla="*/ 21971 w 144550"/>
                  <a:gd name="connsiteY127" fmla="*/ 89397 h 118489"/>
                  <a:gd name="connsiteX128" fmla="*/ 21516 w 144550"/>
                  <a:gd name="connsiteY128" fmla="*/ 91973 h 118489"/>
                  <a:gd name="connsiteX129" fmla="*/ 21062 w 144550"/>
                  <a:gd name="connsiteY129" fmla="*/ 96216 h 118489"/>
                  <a:gd name="connsiteX130" fmla="*/ 21516 w 144550"/>
                  <a:gd name="connsiteY130" fmla="*/ 100004 h 118489"/>
                  <a:gd name="connsiteX131" fmla="*/ 22728 w 144550"/>
                  <a:gd name="connsiteY131" fmla="*/ 104398 h 118489"/>
                  <a:gd name="connsiteX132" fmla="*/ 26062 w 144550"/>
                  <a:gd name="connsiteY132" fmla="*/ 104549 h 118489"/>
                  <a:gd name="connsiteX133" fmla="*/ 28334 w 144550"/>
                  <a:gd name="connsiteY133" fmla="*/ 104246 h 118489"/>
                  <a:gd name="connsiteX134" fmla="*/ 29850 w 144550"/>
                  <a:gd name="connsiteY134" fmla="*/ 102731 h 118489"/>
                  <a:gd name="connsiteX135" fmla="*/ 31365 w 144550"/>
                  <a:gd name="connsiteY135" fmla="*/ 99852 h 118489"/>
                  <a:gd name="connsiteX136" fmla="*/ 33183 w 144550"/>
                  <a:gd name="connsiteY136" fmla="*/ 98186 h 118489"/>
                  <a:gd name="connsiteX137" fmla="*/ 34850 w 144550"/>
                  <a:gd name="connsiteY137" fmla="*/ 99246 h 118489"/>
                  <a:gd name="connsiteX138" fmla="*/ 36517 w 144550"/>
                  <a:gd name="connsiteY138" fmla="*/ 100610 h 118489"/>
                  <a:gd name="connsiteX139" fmla="*/ 38335 w 144550"/>
                  <a:gd name="connsiteY139" fmla="*/ 105307 h 118489"/>
                  <a:gd name="connsiteX140" fmla="*/ 37274 w 144550"/>
                  <a:gd name="connsiteY140" fmla="*/ 108943 h 118489"/>
                  <a:gd name="connsiteX141" fmla="*/ 34850 w 144550"/>
                  <a:gd name="connsiteY141" fmla="*/ 110004 h 118489"/>
                  <a:gd name="connsiteX142" fmla="*/ 33486 w 144550"/>
                  <a:gd name="connsiteY142" fmla="*/ 111368 h 118489"/>
                  <a:gd name="connsiteX143" fmla="*/ 33335 w 144550"/>
                  <a:gd name="connsiteY143" fmla="*/ 113186 h 118489"/>
                  <a:gd name="connsiteX144" fmla="*/ 34850 w 144550"/>
                  <a:gd name="connsiteY144" fmla="*/ 114701 h 118489"/>
                  <a:gd name="connsiteX145" fmla="*/ 36971 w 144550"/>
                  <a:gd name="connsiteY145" fmla="*/ 115913 h 118489"/>
                  <a:gd name="connsiteX146" fmla="*/ 41820 w 144550"/>
                  <a:gd name="connsiteY146" fmla="*/ 113944 h 118489"/>
                  <a:gd name="connsiteX147" fmla="*/ 42577 w 144550"/>
                  <a:gd name="connsiteY147" fmla="*/ 111822 h 118489"/>
                  <a:gd name="connsiteX148" fmla="*/ 43486 w 144550"/>
                  <a:gd name="connsiteY148" fmla="*/ 112125 h 118489"/>
                  <a:gd name="connsiteX149" fmla="*/ 44396 w 144550"/>
                  <a:gd name="connsiteY149" fmla="*/ 113641 h 118489"/>
                  <a:gd name="connsiteX150" fmla="*/ 53336 w 144550"/>
                  <a:gd name="connsiteY150" fmla="*/ 114853 h 118489"/>
                  <a:gd name="connsiteX151" fmla="*/ 57881 w 144550"/>
                  <a:gd name="connsiteY151" fmla="*/ 118489 h 118489"/>
                  <a:gd name="connsiteX152" fmla="*/ 58942 w 144550"/>
                  <a:gd name="connsiteY152" fmla="*/ 118186 h 118489"/>
                  <a:gd name="connsiteX153" fmla="*/ 60305 w 144550"/>
                  <a:gd name="connsiteY153" fmla="*/ 117126 h 118489"/>
                  <a:gd name="connsiteX154" fmla="*/ 61669 w 144550"/>
                  <a:gd name="connsiteY154" fmla="*/ 115610 h 118489"/>
                  <a:gd name="connsiteX155" fmla="*/ 65154 w 144550"/>
                  <a:gd name="connsiteY155" fmla="*/ 115459 h 118489"/>
                  <a:gd name="connsiteX156" fmla="*/ 68639 w 144550"/>
                  <a:gd name="connsiteY156" fmla="*/ 115459 h 118489"/>
                  <a:gd name="connsiteX157" fmla="*/ 69548 w 144550"/>
                  <a:gd name="connsiteY157" fmla="*/ 115156 h 118489"/>
                  <a:gd name="connsiteX158" fmla="*/ 70912 w 144550"/>
                  <a:gd name="connsiteY158" fmla="*/ 113641 h 118489"/>
                  <a:gd name="connsiteX159" fmla="*/ 73185 w 144550"/>
                  <a:gd name="connsiteY159" fmla="*/ 111671 h 118489"/>
                  <a:gd name="connsiteX160" fmla="*/ 74851 w 144550"/>
                  <a:gd name="connsiteY160" fmla="*/ 110610 h 118489"/>
                  <a:gd name="connsiteX161" fmla="*/ 75306 w 144550"/>
                  <a:gd name="connsiteY161" fmla="*/ 109701 h 118489"/>
                  <a:gd name="connsiteX162" fmla="*/ 74548 w 144550"/>
                  <a:gd name="connsiteY162" fmla="*/ 107580 h 118489"/>
                  <a:gd name="connsiteX163" fmla="*/ 74094 w 144550"/>
                  <a:gd name="connsiteY163" fmla="*/ 105458 h 118489"/>
                  <a:gd name="connsiteX164" fmla="*/ 74700 w 144550"/>
                  <a:gd name="connsiteY164" fmla="*/ 104853 h 118489"/>
                  <a:gd name="connsiteX165" fmla="*/ 77882 w 144550"/>
                  <a:gd name="connsiteY165" fmla="*/ 105307 h 118489"/>
                  <a:gd name="connsiteX166" fmla="*/ 81367 w 144550"/>
                  <a:gd name="connsiteY166" fmla="*/ 106368 h 118489"/>
                  <a:gd name="connsiteX167" fmla="*/ 82124 w 144550"/>
                  <a:gd name="connsiteY167" fmla="*/ 106822 h 118489"/>
                  <a:gd name="connsiteX168" fmla="*/ 84094 w 144550"/>
                  <a:gd name="connsiteY168" fmla="*/ 104246 h 118489"/>
                  <a:gd name="connsiteX169" fmla="*/ 84549 w 144550"/>
                  <a:gd name="connsiteY169" fmla="*/ 103943 h 118489"/>
                  <a:gd name="connsiteX170" fmla="*/ 85761 w 144550"/>
                  <a:gd name="connsiteY170" fmla="*/ 103943 h 118489"/>
                  <a:gd name="connsiteX171" fmla="*/ 89094 w 144550"/>
                  <a:gd name="connsiteY171" fmla="*/ 103489 h 118489"/>
                  <a:gd name="connsiteX172" fmla="*/ 92428 w 144550"/>
                  <a:gd name="connsiteY172" fmla="*/ 102731 h 118489"/>
                  <a:gd name="connsiteX173" fmla="*/ 93943 w 144550"/>
                  <a:gd name="connsiteY173" fmla="*/ 102883 h 118489"/>
                  <a:gd name="connsiteX174" fmla="*/ 95458 w 144550"/>
                  <a:gd name="connsiteY174" fmla="*/ 104701 h 118489"/>
                  <a:gd name="connsiteX175" fmla="*/ 96670 w 144550"/>
                  <a:gd name="connsiteY175" fmla="*/ 106368 h 118489"/>
                  <a:gd name="connsiteX176" fmla="*/ 97277 w 144550"/>
                  <a:gd name="connsiteY176" fmla="*/ 106519 h 118489"/>
                  <a:gd name="connsiteX177" fmla="*/ 98943 w 144550"/>
                  <a:gd name="connsiteY177" fmla="*/ 105762 h 118489"/>
                  <a:gd name="connsiteX178" fmla="*/ 100307 w 144550"/>
                  <a:gd name="connsiteY178" fmla="*/ 106671 h 118489"/>
                  <a:gd name="connsiteX179" fmla="*/ 103337 w 144550"/>
                  <a:gd name="connsiteY179" fmla="*/ 108186 h 118489"/>
                  <a:gd name="connsiteX180" fmla="*/ 105155 w 144550"/>
                  <a:gd name="connsiteY180" fmla="*/ 108186 h 118489"/>
                  <a:gd name="connsiteX181" fmla="*/ 104246 w 144550"/>
                  <a:gd name="connsiteY181" fmla="*/ 104701 h 118489"/>
                  <a:gd name="connsiteX182" fmla="*/ 105307 w 144550"/>
                  <a:gd name="connsiteY182" fmla="*/ 102276 h 118489"/>
                  <a:gd name="connsiteX183" fmla="*/ 105155 w 144550"/>
                  <a:gd name="connsiteY183" fmla="*/ 101519 h 118489"/>
                  <a:gd name="connsiteX184" fmla="*/ 103489 w 144550"/>
                  <a:gd name="connsiteY184" fmla="*/ 100307 h 118489"/>
                  <a:gd name="connsiteX185" fmla="*/ 97731 w 144550"/>
                  <a:gd name="connsiteY185" fmla="*/ 95761 h 118489"/>
                  <a:gd name="connsiteX186" fmla="*/ 96822 w 144550"/>
                  <a:gd name="connsiteY186" fmla="*/ 94398 h 118489"/>
                  <a:gd name="connsiteX187" fmla="*/ 96974 w 144550"/>
                  <a:gd name="connsiteY187" fmla="*/ 92276 h 118489"/>
                  <a:gd name="connsiteX188" fmla="*/ 96822 w 144550"/>
                  <a:gd name="connsiteY188" fmla="*/ 89094 h 118489"/>
                  <a:gd name="connsiteX189" fmla="*/ 96367 w 144550"/>
                  <a:gd name="connsiteY189" fmla="*/ 87124 h 118489"/>
                  <a:gd name="connsiteX190" fmla="*/ 96519 w 144550"/>
                  <a:gd name="connsiteY190" fmla="*/ 85912 h 118489"/>
                  <a:gd name="connsiteX191" fmla="*/ 96822 w 144550"/>
                  <a:gd name="connsiteY191" fmla="*/ 85003 h 118489"/>
                  <a:gd name="connsiteX192" fmla="*/ 97883 w 144550"/>
                  <a:gd name="connsiteY192" fmla="*/ 84700 h 118489"/>
                  <a:gd name="connsiteX193" fmla="*/ 98943 w 144550"/>
                  <a:gd name="connsiteY193" fmla="*/ 84549 h 118489"/>
                  <a:gd name="connsiteX194" fmla="*/ 99701 w 144550"/>
                  <a:gd name="connsiteY194" fmla="*/ 83791 h 118489"/>
                  <a:gd name="connsiteX195" fmla="*/ 101065 w 144550"/>
                  <a:gd name="connsiteY195" fmla="*/ 81670 h 118489"/>
                  <a:gd name="connsiteX196" fmla="*/ 103640 w 144550"/>
                  <a:gd name="connsiteY196" fmla="*/ 81821 h 118489"/>
                  <a:gd name="connsiteX197" fmla="*/ 107428 w 144550"/>
                  <a:gd name="connsiteY197" fmla="*/ 83034 h 118489"/>
                  <a:gd name="connsiteX198" fmla="*/ 110156 w 144550"/>
                  <a:gd name="connsiteY198" fmla="*/ 83791 h 118489"/>
                  <a:gd name="connsiteX199" fmla="*/ 111822 w 144550"/>
                  <a:gd name="connsiteY199" fmla="*/ 83639 h 118489"/>
                  <a:gd name="connsiteX200" fmla="*/ 112126 w 144550"/>
                  <a:gd name="connsiteY200" fmla="*/ 83336 h 118489"/>
                  <a:gd name="connsiteX201" fmla="*/ 112126 w 144550"/>
                  <a:gd name="connsiteY201" fmla="*/ 82276 h 118489"/>
                  <a:gd name="connsiteX202" fmla="*/ 112277 w 144550"/>
                  <a:gd name="connsiteY202" fmla="*/ 77427 h 118489"/>
                  <a:gd name="connsiteX203" fmla="*/ 112126 w 144550"/>
                  <a:gd name="connsiteY203" fmla="*/ 76367 h 118489"/>
                  <a:gd name="connsiteX204" fmla="*/ 114398 w 144550"/>
                  <a:gd name="connsiteY204" fmla="*/ 75912 h 118489"/>
                  <a:gd name="connsiteX205" fmla="*/ 118035 w 144550"/>
                  <a:gd name="connsiteY205" fmla="*/ 75760 h 118489"/>
                  <a:gd name="connsiteX206" fmla="*/ 119853 w 144550"/>
                  <a:gd name="connsiteY206" fmla="*/ 75457 h 118489"/>
                  <a:gd name="connsiteX207" fmla="*/ 121671 w 144550"/>
                  <a:gd name="connsiteY207" fmla="*/ 73488 h 118489"/>
                  <a:gd name="connsiteX208" fmla="*/ 126217 w 144550"/>
                  <a:gd name="connsiteY208" fmla="*/ 72730 h 118489"/>
                  <a:gd name="connsiteX209" fmla="*/ 129551 w 144550"/>
                  <a:gd name="connsiteY209" fmla="*/ 70003 h 118489"/>
                  <a:gd name="connsiteX210" fmla="*/ 132581 w 144550"/>
                  <a:gd name="connsiteY210" fmla="*/ 67275 h 118489"/>
                  <a:gd name="connsiteX211" fmla="*/ 134096 w 144550"/>
                  <a:gd name="connsiteY211" fmla="*/ 66518 h 118489"/>
                  <a:gd name="connsiteX212" fmla="*/ 135914 w 144550"/>
                  <a:gd name="connsiteY212" fmla="*/ 66063 h 118489"/>
                  <a:gd name="connsiteX213" fmla="*/ 137278 w 144550"/>
                  <a:gd name="connsiteY213" fmla="*/ 66063 h 118489"/>
                  <a:gd name="connsiteX214" fmla="*/ 138945 w 144550"/>
                  <a:gd name="connsiteY214" fmla="*/ 67730 h 118489"/>
                  <a:gd name="connsiteX215" fmla="*/ 140460 w 144550"/>
                  <a:gd name="connsiteY215" fmla="*/ 66821 h 118489"/>
                  <a:gd name="connsiteX216" fmla="*/ 142127 w 144550"/>
                  <a:gd name="connsiteY216" fmla="*/ 64851 h 118489"/>
                  <a:gd name="connsiteX217" fmla="*/ 143036 w 144550"/>
                  <a:gd name="connsiteY217" fmla="*/ 63033 h 118489"/>
                  <a:gd name="connsiteX218" fmla="*/ 143490 w 144550"/>
                  <a:gd name="connsiteY218" fmla="*/ 60002 h 118489"/>
                  <a:gd name="connsiteX219" fmla="*/ 143187 w 144550"/>
                  <a:gd name="connsiteY219" fmla="*/ 55457 h 118489"/>
                  <a:gd name="connsiteX220" fmla="*/ 141824 w 144550"/>
                  <a:gd name="connsiteY220" fmla="*/ 51820 h 118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44550" h="118489">
                    <a:moveTo>
                      <a:pt x="18486" y="91973"/>
                    </a:moveTo>
                    <a:lnTo>
                      <a:pt x="18183" y="92882"/>
                    </a:lnTo>
                    <a:lnTo>
                      <a:pt x="18183" y="94398"/>
                    </a:lnTo>
                    <a:lnTo>
                      <a:pt x="18637" y="94852"/>
                    </a:lnTo>
                    <a:lnTo>
                      <a:pt x="19092" y="94852"/>
                    </a:lnTo>
                    <a:lnTo>
                      <a:pt x="19546" y="94549"/>
                    </a:lnTo>
                    <a:lnTo>
                      <a:pt x="19243" y="91670"/>
                    </a:lnTo>
                    <a:lnTo>
                      <a:pt x="18486" y="91973"/>
                    </a:lnTo>
                    <a:close/>
                    <a:moveTo>
                      <a:pt x="24395" y="109095"/>
                    </a:moveTo>
                    <a:lnTo>
                      <a:pt x="26062" y="111216"/>
                    </a:lnTo>
                    <a:lnTo>
                      <a:pt x="27122" y="110156"/>
                    </a:lnTo>
                    <a:lnTo>
                      <a:pt x="24546" y="108337"/>
                    </a:lnTo>
                    <a:lnTo>
                      <a:pt x="24395" y="109095"/>
                    </a:lnTo>
                    <a:close/>
                    <a:moveTo>
                      <a:pt x="141824" y="51820"/>
                    </a:moveTo>
                    <a:lnTo>
                      <a:pt x="141066" y="49093"/>
                    </a:lnTo>
                    <a:lnTo>
                      <a:pt x="140915" y="46366"/>
                    </a:lnTo>
                    <a:lnTo>
                      <a:pt x="142884" y="40911"/>
                    </a:lnTo>
                    <a:lnTo>
                      <a:pt x="144551" y="35001"/>
                    </a:lnTo>
                    <a:lnTo>
                      <a:pt x="144248" y="32729"/>
                    </a:lnTo>
                    <a:lnTo>
                      <a:pt x="142430" y="29092"/>
                    </a:lnTo>
                    <a:lnTo>
                      <a:pt x="140611" y="24547"/>
                    </a:lnTo>
                    <a:lnTo>
                      <a:pt x="138642" y="19698"/>
                    </a:lnTo>
                    <a:lnTo>
                      <a:pt x="137884" y="18940"/>
                    </a:lnTo>
                    <a:lnTo>
                      <a:pt x="137278" y="17576"/>
                    </a:lnTo>
                    <a:lnTo>
                      <a:pt x="136975" y="15910"/>
                    </a:lnTo>
                    <a:lnTo>
                      <a:pt x="137732" y="10910"/>
                    </a:lnTo>
                    <a:lnTo>
                      <a:pt x="137884" y="9243"/>
                    </a:lnTo>
                    <a:lnTo>
                      <a:pt x="140157" y="6970"/>
                    </a:lnTo>
                    <a:lnTo>
                      <a:pt x="141369" y="4394"/>
                    </a:lnTo>
                    <a:lnTo>
                      <a:pt x="142581" y="1515"/>
                    </a:lnTo>
                    <a:lnTo>
                      <a:pt x="142127" y="0"/>
                    </a:lnTo>
                    <a:lnTo>
                      <a:pt x="140611" y="1061"/>
                    </a:lnTo>
                    <a:lnTo>
                      <a:pt x="139248" y="3940"/>
                    </a:lnTo>
                    <a:lnTo>
                      <a:pt x="138339" y="4091"/>
                    </a:lnTo>
                    <a:lnTo>
                      <a:pt x="135914" y="3031"/>
                    </a:lnTo>
                    <a:lnTo>
                      <a:pt x="135157" y="3637"/>
                    </a:lnTo>
                    <a:lnTo>
                      <a:pt x="133641" y="5758"/>
                    </a:lnTo>
                    <a:lnTo>
                      <a:pt x="130914" y="8031"/>
                    </a:lnTo>
                    <a:lnTo>
                      <a:pt x="129702" y="8031"/>
                    </a:lnTo>
                    <a:lnTo>
                      <a:pt x="128793" y="7728"/>
                    </a:lnTo>
                    <a:lnTo>
                      <a:pt x="127732" y="8637"/>
                    </a:lnTo>
                    <a:lnTo>
                      <a:pt x="126217" y="10455"/>
                    </a:lnTo>
                    <a:lnTo>
                      <a:pt x="125611" y="10455"/>
                    </a:lnTo>
                    <a:lnTo>
                      <a:pt x="123035" y="10910"/>
                    </a:lnTo>
                    <a:lnTo>
                      <a:pt x="121975" y="10304"/>
                    </a:lnTo>
                    <a:lnTo>
                      <a:pt x="120762" y="8788"/>
                    </a:lnTo>
                    <a:lnTo>
                      <a:pt x="118792" y="7273"/>
                    </a:lnTo>
                    <a:lnTo>
                      <a:pt x="116974" y="6212"/>
                    </a:lnTo>
                    <a:lnTo>
                      <a:pt x="116065" y="5455"/>
                    </a:lnTo>
                    <a:lnTo>
                      <a:pt x="115156" y="4243"/>
                    </a:lnTo>
                    <a:lnTo>
                      <a:pt x="114398" y="3485"/>
                    </a:lnTo>
                    <a:lnTo>
                      <a:pt x="112883" y="5303"/>
                    </a:lnTo>
                    <a:lnTo>
                      <a:pt x="110307" y="6970"/>
                    </a:lnTo>
                    <a:lnTo>
                      <a:pt x="107883" y="6667"/>
                    </a:lnTo>
                    <a:lnTo>
                      <a:pt x="106671" y="6364"/>
                    </a:lnTo>
                    <a:lnTo>
                      <a:pt x="105762" y="8788"/>
                    </a:lnTo>
                    <a:lnTo>
                      <a:pt x="105004" y="9243"/>
                    </a:lnTo>
                    <a:lnTo>
                      <a:pt x="100762" y="9697"/>
                    </a:lnTo>
                    <a:lnTo>
                      <a:pt x="100004" y="10152"/>
                    </a:lnTo>
                    <a:lnTo>
                      <a:pt x="100762" y="12425"/>
                    </a:lnTo>
                    <a:lnTo>
                      <a:pt x="103337" y="16213"/>
                    </a:lnTo>
                    <a:lnTo>
                      <a:pt x="104095" y="18334"/>
                    </a:lnTo>
                    <a:lnTo>
                      <a:pt x="102580" y="21819"/>
                    </a:lnTo>
                    <a:lnTo>
                      <a:pt x="98186" y="21668"/>
                    </a:lnTo>
                    <a:lnTo>
                      <a:pt x="96216" y="20152"/>
                    </a:lnTo>
                    <a:lnTo>
                      <a:pt x="94398" y="18183"/>
                    </a:lnTo>
                    <a:lnTo>
                      <a:pt x="93791" y="17122"/>
                    </a:lnTo>
                    <a:lnTo>
                      <a:pt x="88034" y="15152"/>
                    </a:lnTo>
                    <a:lnTo>
                      <a:pt x="84246" y="16516"/>
                    </a:lnTo>
                    <a:lnTo>
                      <a:pt x="83034" y="16516"/>
                    </a:lnTo>
                    <a:lnTo>
                      <a:pt x="81215" y="15152"/>
                    </a:lnTo>
                    <a:lnTo>
                      <a:pt x="80155" y="14092"/>
                    </a:lnTo>
                    <a:lnTo>
                      <a:pt x="79094" y="12425"/>
                    </a:lnTo>
                    <a:lnTo>
                      <a:pt x="78488" y="10758"/>
                    </a:lnTo>
                    <a:lnTo>
                      <a:pt x="78488" y="10000"/>
                    </a:lnTo>
                    <a:lnTo>
                      <a:pt x="78034" y="10304"/>
                    </a:lnTo>
                    <a:lnTo>
                      <a:pt x="76821" y="11819"/>
                    </a:lnTo>
                    <a:lnTo>
                      <a:pt x="75458" y="13334"/>
                    </a:lnTo>
                    <a:lnTo>
                      <a:pt x="74397" y="13334"/>
                    </a:lnTo>
                    <a:lnTo>
                      <a:pt x="73639" y="12576"/>
                    </a:lnTo>
                    <a:lnTo>
                      <a:pt x="73033" y="11667"/>
                    </a:lnTo>
                    <a:lnTo>
                      <a:pt x="72730" y="9546"/>
                    </a:lnTo>
                    <a:lnTo>
                      <a:pt x="70306" y="8485"/>
                    </a:lnTo>
                    <a:lnTo>
                      <a:pt x="67579" y="7879"/>
                    </a:lnTo>
                    <a:lnTo>
                      <a:pt x="61972" y="8940"/>
                    </a:lnTo>
                    <a:lnTo>
                      <a:pt x="57427" y="9546"/>
                    </a:lnTo>
                    <a:lnTo>
                      <a:pt x="52427" y="8788"/>
                    </a:lnTo>
                    <a:lnTo>
                      <a:pt x="47729" y="9697"/>
                    </a:lnTo>
                    <a:lnTo>
                      <a:pt x="45760" y="9849"/>
                    </a:lnTo>
                    <a:lnTo>
                      <a:pt x="43486" y="9697"/>
                    </a:lnTo>
                    <a:lnTo>
                      <a:pt x="41214" y="9697"/>
                    </a:lnTo>
                    <a:lnTo>
                      <a:pt x="39093" y="9394"/>
                    </a:lnTo>
                    <a:lnTo>
                      <a:pt x="35153" y="8031"/>
                    </a:lnTo>
                    <a:lnTo>
                      <a:pt x="33638" y="8182"/>
                    </a:lnTo>
                    <a:lnTo>
                      <a:pt x="30456" y="9243"/>
                    </a:lnTo>
                    <a:lnTo>
                      <a:pt x="27274" y="10000"/>
                    </a:lnTo>
                    <a:lnTo>
                      <a:pt x="24092" y="10455"/>
                    </a:lnTo>
                    <a:lnTo>
                      <a:pt x="19546" y="12728"/>
                    </a:lnTo>
                    <a:lnTo>
                      <a:pt x="16213" y="15910"/>
                    </a:lnTo>
                    <a:lnTo>
                      <a:pt x="15152" y="18183"/>
                    </a:lnTo>
                    <a:lnTo>
                      <a:pt x="13486" y="20455"/>
                    </a:lnTo>
                    <a:lnTo>
                      <a:pt x="11213" y="24092"/>
                    </a:lnTo>
                    <a:lnTo>
                      <a:pt x="8182" y="27577"/>
                    </a:lnTo>
                    <a:lnTo>
                      <a:pt x="6061" y="29092"/>
                    </a:lnTo>
                    <a:lnTo>
                      <a:pt x="6667" y="30001"/>
                    </a:lnTo>
                    <a:lnTo>
                      <a:pt x="6212" y="31062"/>
                    </a:lnTo>
                    <a:lnTo>
                      <a:pt x="3031" y="31516"/>
                    </a:lnTo>
                    <a:lnTo>
                      <a:pt x="455" y="31668"/>
                    </a:lnTo>
                    <a:lnTo>
                      <a:pt x="0" y="32274"/>
                    </a:lnTo>
                    <a:lnTo>
                      <a:pt x="303" y="39244"/>
                    </a:lnTo>
                    <a:lnTo>
                      <a:pt x="1212" y="41820"/>
                    </a:lnTo>
                    <a:lnTo>
                      <a:pt x="2879" y="45002"/>
                    </a:lnTo>
                    <a:lnTo>
                      <a:pt x="3940" y="46668"/>
                    </a:lnTo>
                    <a:lnTo>
                      <a:pt x="4697" y="51820"/>
                    </a:lnTo>
                    <a:lnTo>
                      <a:pt x="5000" y="56214"/>
                    </a:lnTo>
                    <a:lnTo>
                      <a:pt x="8485" y="58942"/>
                    </a:lnTo>
                    <a:lnTo>
                      <a:pt x="10455" y="61063"/>
                    </a:lnTo>
                    <a:lnTo>
                      <a:pt x="11819" y="62881"/>
                    </a:lnTo>
                    <a:lnTo>
                      <a:pt x="11364" y="64093"/>
                    </a:lnTo>
                    <a:lnTo>
                      <a:pt x="10455" y="67578"/>
                    </a:lnTo>
                    <a:lnTo>
                      <a:pt x="11213" y="72124"/>
                    </a:lnTo>
                    <a:lnTo>
                      <a:pt x="16213" y="81973"/>
                    </a:lnTo>
                    <a:lnTo>
                      <a:pt x="16667" y="82730"/>
                    </a:lnTo>
                    <a:lnTo>
                      <a:pt x="16667" y="81821"/>
                    </a:lnTo>
                    <a:lnTo>
                      <a:pt x="17122" y="80912"/>
                    </a:lnTo>
                    <a:lnTo>
                      <a:pt x="18637" y="82579"/>
                    </a:lnTo>
                    <a:lnTo>
                      <a:pt x="18789" y="85912"/>
                    </a:lnTo>
                    <a:lnTo>
                      <a:pt x="21971" y="89397"/>
                    </a:lnTo>
                    <a:lnTo>
                      <a:pt x="21516" y="91973"/>
                    </a:lnTo>
                    <a:lnTo>
                      <a:pt x="21062" y="96216"/>
                    </a:lnTo>
                    <a:lnTo>
                      <a:pt x="21516" y="100004"/>
                    </a:lnTo>
                    <a:lnTo>
                      <a:pt x="22728" y="104398"/>
                    </a:lnTo>
                    <a:lnTo>
                      <a:pt x="26062" y="104549"/>
                    </a:lnTo>
                    <a:lnTo>
                      <a:pt x="28334" y="104246"/>
                    </a:lnTo>
                    <a:lnTo>
                      <a:pt x="29850" y="102731"/>
                    </a:lnTo>
                    <a:lnTo>
                      <a:pt x="31365" y="99852"/>
                    </a:lnTo>
                    <a:lnTo>
                      <a:pt x="33183" y="98186"/>
                    </a:lnTo>
                    <a:lnTo>
                      <a:pt x="34850" y="99246"/>
                    </a:lnTo>
                    <a:lnTo>
                      <a:pt x="36517" y="100610"/>
                    </a:lnTo>
                    <a:lnTo>
                      <a:pt x="38335" y="105307"/>
                    </a:lnTo>
                    <a:lnTo>
                      <a:pt x="37274" y="108943"/>
                    </a:lnTo>
                    <a:lnTo>
                      <a:pt x="34850" y="110004"/>
                    </a:lnTo>
                    <a:lnTo>
                      <a:pt x="33486" y="111368"/>
                    </a:lnTo>
                    <a:lnTo>
                      <a:pt x="33335" y="113186"/>
                    </a:lnTo>
                    <a:lnTo>
                      <a:pt x="34850" y="114701"/>
                    </a:lnTo>
                    <a:lnTo>
                      <a:pt x="36971" y="115913"/>
                    </a:lnTo>
                    <a:lnTo>
                      <a:pt x="41820" y="113944"/>
                    </a:lnTo>
                    <a:lnTo>
                      <a:pt x="42577" y="111822"/>
                    </a:lnTo>
                    <a:lnTo>
                      <a:pt x="43486" y="112125"/>
                    </a:lnTo>
                    <a:lnTo>
                      <a:pt x="44396" y="113641"/>
                    </a:lnTo>
                    <a:lnTo>
                      <a:pt x="53336" y="114853"/>
                    </a:lnTo>
                    <a:lnTo>
                      <a:pt x="57881" y="118489"/>
                    </a:lnTo>
                    <a:lnTo>
                      <a:pt x="58942" y="118186"/>
                    </a:lnTo>
                    <a:lnTo>
                      <a:pt x="60305" y="117126"/>
                    </a:lnTo>
                    <a:lnTo>
                      <a:pt x="61669" y="115610"/>
                    </a:lnTo>
                    <a:lnTo>
                      <a:pt x="65154" y="115459"/>
                    </a:lnTo>
                    <a:lnTo>
                      <a:pt x="68639" y="115459"/>
                    </a:lnTo>
                    <a:lnTo>
                      <a:pt x="69548" y="115156"/>
                    </a:lnTo>
                    <a:lnTo>
                      <a:pt x="70912" y="113641"/>
                    </a:lnTo>
                    <a:lnTo>
                      <a:pt x="73185" y="111671"/>
                    </a:lnTo>
                    <a:lnTo>
                      <a:pt x="74851" y="110610"/>
                    </a:lnTo>
                    <a:lnTo>
                      <a:pt x="75306" y="109701"/>
                    </a:lnTo>
                    <a:lnTo>
                      <a:pt x="74548" y="107580"/>
                    </a:lnTo>
                    <a:lnTo>
                      <a:pt x="74094" y="105458"/>
                    </a:lnTo>
                    <a:lnTo>
                      <a:pt x="74700" y="104853"/>
                    </a:lnTo>
                    <a:lnTo>
                      <a:pt x="77882" y="105307"/>
                    </a:lnTo>
                    <a:lnTo>
                      <a:pt x="81367" y="106368"/>
                    </a:lnTo>
                    <a:lnTo>
                      <a:pt x="82124" y="106822"/>
                    </a:lnTo>
                    <a:lnTo>
                      <a:pt x="84094" y="104246"/>
                    </a:lnTo>
                    <a:lnTo>
                      <a:pt x="84549" y="103943"/>
                    </a:lnTo>
                    <a:lnTo>
                      <a:pt x="85761" y="103943"/>
                    </a:lnTo>
                    <a:lnTo>
                      <a:pt x="89094" y="103489"/>
                    </a:lnTo>
                    <a:lnTo>
                      <a:pt x="92428" y="102731"/>
                    </a:lnTo>
                    <a:lnTo>
                      <a:pt x="93943" y="102883"/>
                    </a:lnTo>
                    <a:lnTo>
                      <a:pt x="95458" y="104701"/>
                    </a:lnTo>
                    <a:lnTo>
                      <a:pt x="96670" y="106368"/>
                    </a:lnTo>
                    <a:lnTo>
                      <a:pt x="97277" y="106519"/>
                    </a:lnTo>
                    <a:lnTo>
                      <a:pt x="98943" y="105762"/>
                    </a:lnTo>
                    <a:lnTo>
                      <a:pt x="100307" y="106671"/>
                    </a:lnTo>
                    <a:lnTo>
                      <a:pt x="103337" y="108186"/>
                    </a:lnTo>
                    <a:lnTo>
                      <a:pt x="105155" y="108186"/>
                    </a:lnTo>
                    <a:lnTo>
                      <a:pt x="104246" y="104701"/>
                    </a:lnTo>
                    <a:lnTo>
                      <a:pt x="105307" y="102276"/>
                    </a:lnTo>
                    <a:lnTo>
                      <a:pt x="105155" y="101519"/>
                    </a:lnTo>
                    <a:lnTo>
                      <a:pt x="103489" y="100307"/>
                    </a:lnTo>
                    <a:lnTo>
                      <a:pt x="97731" y="95761"/>
                    </a:lnTo>
                    <a:lnTo>
                      <a:pt x="96822" y="94398"/>
                    </a:lnTo>
                    <a:lnTo>
                      <a:pt x="96974" y="92276"/>
                    </a:lnTo>
                    <a:lnTo>
                      <a:pt x="96822" y="89094"/>
                    </a:lnTo>
                    <a:lnTo>
                      <a:pt x="96367" y="87124"/>
                    </a:lnTo>
                    <a:lnTo>
                      <a:pt x="96519" y="85912"/>
                    </a:lnTo>
                    <a:lnTo>
                      <a:pt x="96822" y="85003"/>
                    </a:lnTo>
                    <a:lnTo>
                      <a:pt x="97883" y="84700"/>
                    </a:lnTo>
                    <a:lnTo>
                      <a:pt x="98943" y="84549"/>
                    </a:lnTo>
                    <a:lnTo>
                      <a:pt x="99701" y="83791"/>
                    </a:lnTo>
                    <a:lnTo>
                      <a:pt x="101065" y="81670"/>
                    </a:lnTo>
                    <a:lnTo>
                      <a:pt x="103640" y="81821"/>
                    </a:lnTo>
                    <a:lnTo>
                      <a:pt x="107428" y="83034"/>
                    </a:lnTo>
                    <a:lnTo>
                      <a:pt x="110156" y="83791"/>
                    </a:lnTo>
                    <a:lnTo>
                      <a:pt x="111822" y="83639"/>
                    </a:lnTo>
                    <a:lnTo>
                      <a:pt x="112126" y="83336"/>
                    </a:lnTo>
                    <a:lnTo>
                      <a:pt x="112126" y="82276"/>
                    </a:lnTo>
                    <a:lnTo>
                      <a:pt x="112277" y="77427"/>
                    </a:lnTo>
                    <a:lnTo>
                      <a:pt x="112126" y="76367"/>
                    </a:lnTo>
                    <a:lnTo>
                      <a:pt x="114398" y="75912"/>
                    </a:lnTo>
                    <a:lnTo>
                      <a:pt x="118035" y="75760"/>
                    </a:lnTo>
                    <a:lnTo>
                      <a:pt x="119853" y="75457"/>
                    </a:lnTo>
                    <a:lnTo>
                      <a:pt x="121671" y="73488"/>
                    </a:lnTo>
                    <a:lnTo>
                      <a:pt x="126217" y="72730"/>
                    </a:lnTo>
                    <a:lnTo>
                      <a:pt x="129551" y="70003"/>
                    </a:lnTo>
                    <a:lnTo>
                      <a:pt x="132581" y="67275"/>
                    </a:lnTo>
                    <a:lnTo>
                      <a:pt x="134096" y="66518"/>
                    </a:lnTo>
                    <a:lnTo>
                      <a:pt x="135914" y="66063"/>
                    </a:lnTo>
                    <a:lnTo>
                      <a:pt x="137278" y="66063"/>
                    </a:lnTo>
                    <a:lnTo>
                      <a:pt x="138945" y="67730"/>
                    </a:lnTo>
                    <a:lnTo>
                      <a:pt x="140460" y="66821"/>
                    </a:lnTo>
                    <a:lnTo>
                      <a:pt x="142127" y="64851"/>
                    </a:lnTo>
                    <a:lnTo>
                      <a:pt x="143036" y="63033"/>
                    </a:lnTo>
                    <a:lnTo>
                      <a:pt x="143490" y="60002"/>
                    </a:lnTo>
                    <a:lnTo>
                      <a:pt x="143187" y="55457"/>
                    </a:lnTo>
                    <a:lnTo>
                      <a:pt x="141824" y="5182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9" name="Freeform: Shape 3248">
                <a:extLst>
                  <a:ext uri="{FF2B5EF4-FFF2-40B4-BE49-F238E27FC236}">
                    <a16:creationId xmlns:a16="http://schemas.microsoft.com/office/drawing/2014/main" id="{13D73272-7684-4A8E-87DC-1A21C1C05B31}"/>
                  </a:ext>
                </a:extLst>
              </p:cNvPr>
              <p:cNvSpPr/>
              <p:nvPr/>
            </p:nvSpPr>
            <p:spPr>
              <a:xfrm>
                <a:off x="7670300" y="3305735"/>
                <a:ext cx="301980" cy="131974"/>
              </a:xfrm>
              <a:custGeom>
                <a:avLst/>
                <a:gdLst>
                  <a:gd name="connsiteX0" fmla="*/ 301981 w 301980"/>
                  <a:gd name="connsiteY0" fmla="*/ 36971 h 131974"/>
                  <a:gd name="connsiteX1" fmla="*/ 301375 w 301980"/>
                  <a:gd name="connsiteY1" fmla="*/ 35001 h 131974"/>
                  <a:gd name="connsiteX2" fmla="*/ 297587 w 301980"/>
                  <a:gd name="connsiteY2" fmla="*/ 31365 h 131974"/>
                  <a:gd name="connsiteX3" fmla="*/ 293496 w 301980"/>
                  <a:gd name="connsiteY3" fmla="*/ 27728 h 131974"/>
                  <a:gd name="connsiteX4" fmla="*/ 290314 w 301980"/>
                  <a:gd name="connsiteY4" fmla="*/ 26971 h 131974"/>
                  <a:gd name="connsiteX5" fmla="*/ 284708 w 301980"/>
                  <a:gd name="connsiteY5" fmla="*/ 26365 h 131974"/>
                  <a:gd name="connsiteX6" fmla="*/ 281677 w 301980"/>
                  <a:gd name="connsiteY6" fmla="*/ 26365 h 131974"/>
                  <a:gd name="connsiteX7" fmla="*/ 280011 w 301980"/>
                  <a:gd name="connsiteY7" fmla="*/ 25455 h 131974"/>
                  <a:gd name="connsiteX8" fmla="*/ 278344 w 301980"/>
                  <a:gd name="connsiteY8" fmla="*/ 23334 h 131974"/>
                  <a:gd name="connsiteX9" fmla="*/ 276374 w 301980"/>
                  <a:gd name="connsiteY9" fmla="*/ 21364 h 131974"/>
                  <a:gd name="connsiteX10" fmla="*/ 273798 w 301980"/>
                  <a:gd name="connsiteY10" fmla="*/ 19395 h 131974"/>
                  <a:gd name="connsiteX11" fmla="*/ 272737 w 301980"/>
                  <a:gd name="connsiteY11" fmla="*/ 16364 h 131974"/>
                  <a:gd name="connsiteX12" fmla="*/ 271677 w 301980"/>
                  <a:gd name="connsiteY12" fmla="*/ 15758 h 131974"/>
                  <a:gd name="connsiteX13" fmla="*/ 269858 w 301980"/>
                  <a:gd name="connsiteY13" fmla="*/ 16213 h 131974"/>
                  <a:gd name="connsiteX14" fmla="*/ 266828 w 301980"/>
                  <a:gd name="connsiteY14" fmla="*/ 16061 h 131974"/>
                  <a:gd name="connsiteX15" fmla="*/ 265161 w 301980"/>
                  <a:gd name="connsiteY15" fmla="*/ 15758 h 131974"/>
                  <a:gd name="connsiteX16" fmla="*/ 262586 w 301980"/>
                  <a:gd name="connsiteY16" fmla="*/ 15304 h 131974"/>
                  <a:gd name="connsiteX17" fmla="*/ 258494 w 301980"/>
                  <a:gd name="connsiteY17" fmla="*/ 14091 h 131974"/>
                  <a:gd name="connsiteX18" fmla="*/ 255313 w 301980"/>
                  <a:gd name="connsiteY18" fmla="*/ 12879 h 131974"/>
                  <a:gd name="connsiteX19" fmla="*/ 251222 w 301980"/>
                  <a:gd name="connsiteY19" fmla="*/ 12728 h 131974"/>
                  <a:gd name="connsiteX20" fmla="*/ 248797 w 301980"/>
                  <a:gd name="connsiteY20" fmla="*/ 13031 h 131974"/>
                  <a:gd name="connsiteX21" fmla="*/ 241524 w 301980"/>
                  <a:gd name="connsiteY21" fmla="*/ 13182 h 131974"/>
                  <a:gd name="connsiteX22" fmla="*/ 235463 w 301980"/>
                  <a:gd name="connsiteY22" fmla="*/ 11970 h 131974"/>
                  <a:gd name="connsiteX23" fmla="*/ 230615 w 301980"/>
                  <a:gd name="connsiteY23" fmla="*/ 11667 h 131974"/>
                  <a:gd name="connsiteX24" fmla="*/ 227584 w 301980"/>
                  <a:gd name="connsiteY24" fmla="*/ 11667 h 131974"/>
                  <a:gd name="connsiteX25" fmla="*/ 226069 w 301980"/>
                  <a:gd name="connsiteY25" fmla="*/ 11516 h 131974"/>
                  <a:gd name="connsiteX26" fmla="*/ 223645 w 301980"/>
                  <a:gd name="connsiteY26" fmla="*/ 11516 h 131974"/>
                  <a:gd name="connsiteX27" fmla="*/ 220008 w 301980"/>
                  <a:gd name="connsiteY27" fmla="*/ 11213 h 131974"/>
                  <a:gd name="connsiteX28" fmla="*/ 215160 w 301980"/>
                  <a:gd name="connsiteY28" fmla="*/ 9243 h 131974"/>
                  <a:gd name="connsiteX29" fmla="*/ 213342 w 301980"/>
                  <a:gd name="connsiteY29" fmla="*/ 9091 h 131974"/>
                  <a:gd name="connsiteX30" fmla="*/ 212129 w 301980"/>
                  <a:gd name="connsiteY30" fmla="*/ 9091 h 131974"/>
                  <a:gd name="connsiteX31" fmla="*/ 203947 w 301980"/>
                  <a:gd name="connsiteY31" fmla="*/ 10455 h 131974"/>
                  <a:gd name="connsiteX32" fmla="*/ 200159 w 301980"/>
                  <a:gd name="connsiteY32" fmla="*/ 10758 h 131974"/>
                  <a:gd name="connsiteX33" fmla="*/ 192128 w 301980"/>
                  <a:gd name="connsiteY33" fmla="*/ 10607 h 131974"/>
                  <a:gd name="connsiteX34" fmla="*/ 184249 w 301980"/>
                  <a:gd name="connsiteY34" fmla="*/ 10455 h 131974"/>
                  <a:gd name="connsiteX35" fmla="*/ 181674 w 301980"/>
                  <a:gd name="connsiteY35" fmla="*/ 10152 h 131974"/>
                  <a:gd name="connsiteX36" fmla="*/ 180310 w 301980"/>
                  <a:gd name="connsiteY36" fmla="*/ 10303 h 131974"/>
                  <a:gd name="connsiteX37" fmla="*/ 177431 w 301980"/>
                  <a:gd name="connsiteY37" fmla="*/ 13637 h 131974"/>
                  <a:gd name="connsiteX38" fmla="*/ 176219 w 301980"/>
                  <a:gd name="connsiteY38" fmla="*/ 14091 h 131974"/>
                  <a:gd name="connsiteX39" fmla="*/ 168794 w 301980"/>
                  <a:gd name="connsiteY39" fmla="*/ 13334 h 131974"/>
                  <a:gd name="connsiteX40" fmla="*/ 160006 w 301980"/>
                  <a:gd name="connsiteY40" fmla="*/ 11061 h 131974"/>
                  <a:gd name="connsiteX41" fmla="*/ 153642 w 301980"/>
                  <a:gd name="connsiteY41" fmla="*/ 8637 h 131974"/>
                  <a:gd name="connsiteX42" fmla="*/ 148339 w 301980"/>
                  <a:gd name="connsiteY42" fmla="*/ 6061 h 131974"/>
                  <a:gd name="connsiteX43" fmla="*/ 141217 w 301980"/>
                  <a:gd name="connsiteY43" fmla="*/ 1970 h 131974"/>
                  <a:gd name="connsiteX44" fmla="*/ 136975 w 301980"/>
                  <a:gd name="connsiteY44" fmla="*/ 0 h 131974"/>
                  <a:gd name="connsiteX45" fmla="*/ 136369 w 301980"/>
                  <a:gd name="connsiteY45" fmla="*/ 1212 h 131974"/>
                  <a:gd name="connsiteX46" fmla="*/ 135308 w 301980"/>
                  <a:gd name="connsiteY46" fmla="*/ 1515 h 131974"/>
                  <a:gd name="connsiteX47" fmla="*/ 133641 w 301980"/>
                  <a:gd name="connsiteY47" fmla="*/ 1667 h 131974"/>
                  <a:gd name="connsiteX48" fmla="*/ 129853 w 301980"/>
                  <a:gd name="connsiteY48" fmla="*/ 1515 h 131974"/>
                  <a:gd name="connsiteX49" fmla="*/ 128186 w 301980"/>
                  <a:gd name="connsiteY49" fmla="*/ 3637 h 131974"/>
                  <a:gd name="connsiteX50" fmla="*/ 123641 w 301980"/>
                  <a:gd name="connsiteY50" fmla="*/ 5152 h 131974"/>
                  <a:gd name="connsiteX51" fmla="*/ 120762 w 301980"/>
                  <a:gd name="connsiteY51" fmla="*/ 6515 h 131974"/>
                  <a:gd name="connsiteX52" fmla="*/ 119247 w 301980"/>
                  <a:gd name="connsiteY52" fmla="*/ 8031 h 131974"/>
                  <a:gd name="connsiteX53" fmla="*/ 116368 w 301980"/>
                  <a:gd name="connsiteY53" fmla="*/ 17879 h 131974"/>
                  <a:gd name="connsiteX54" fmla="*/ 115610 w 301980"/>
                  <a:gd name="connsiteY54" fmla="*/ 21516 h 131974"/>
                  <a:gd name="connsiteX55" fmla="*/ 117580 w 301980"/>
                  <a:gd name="connsiteY55" fmla="*/ 27577 h 131974"/>
                  <a:gd name="connsiteX56" fmla="*/ 115308 w 301980"/>
                  <a:gd name="connsiteY56" fmla="*/ 27274 h 131974"/>
                  <a:gd name="connsiteX57" fmla="*/ 112731 w 301980"/>
                  <a:gd name="connsiteY57" fmla="*/ 25759 h 131974"/>
                  <a:gd name="connsiteX58" fmla="*/ 111822 w 301980"/>
                  <a:gd name="connsiteY58" fmla="*/ 24546 h 131974"/>
                  <a:gd name="connsiteX59" fmla="*/ 109246 w 301980"/>
                  <a:gd name="connsiteY59" fmla="*/ 23789 h 131974"/>
                  <a:gd name="connsiteX60" fmla="*/ 100004 w 301980"/>
                  <a:gd name="connsiteY60" fmla="*/ 22728 h 131974"/>
                  <a:gd name="connsiteX61" fmla="*/ 98337 w 301980"/>
                  <a:gd name="connsiteY61" fmla="*/ 21364 h 131974"/>
                  <a:gd name="connsiteX62" fmla="*/ 97277 w 301980"/>
                  <a:gd name="connsiteY62" fmla="*/ 20304 h 131974"/>
                  <a:gd name="connsiteX63" fmla="*/ 94852 w 301980"/>
                  <a:gd name="connsiteY63" fmla="*/ 19546 h 131974"/>
                  <a:gd name="connsiteX64" fmla="*/ 91519 w 301980"/>
                  <a:gd name="connsiteY64" fmla="*/ 18940 h 131974"/>
                  <a:gd name="connsiteX65" fmla="*/ 84246 w 301980"/>
                  <a:gd name="connsiteY65" fmla="*/ 16364 h 131974"/>
                  <a:gd name="connsiteX66" fmla="*/ 81064 w 301980"/>
                  <a:gd name="connsiteY66" fmla="*/ 16213 h 131974"/>
                  <a:gd name="connsiteX67" fmla="*/ 71669 w 301980"/>
                  <a:gd name="connsiteY67" fmla="*/ 14243 h 131974"/>
                  <a:gd name="connsiteX68" fmla="*/ 70154 w 301980"/>
                  <a:gd name="connsiteY68" fmla="*/ 14243 h 131974"/>
                  <a:gd name="connsiteX69" fmla="*/ 69397 w 301980"/>
                  <a:gd name="connsiteY69" fmla="*/ 14395 h 131974"/>
                  <a:gd name="connsiteX70" fmla="*/ 65760 w 301980"/>
                  <a:gd name="connsiteY70" fmla="*/ 15758 h 131974"/>
                  <a:gd name="connsiteX71" fmla="*/ 63336 w 301980"/>
                  <a:gd name="connsiteY71" fmla="*/ 16213 h 131974"/>
                  <a:gd name="connsiteX72" fmla="*/ 60760 w 301980"/>
                  <a:gd name="connsiteY72" fmla="*/ 15607 h 131974"/>
                  <a:gd name="connsiteX73" fmla="*/ 56214 w 301980"/>
                  <a:gd name="connsiteY73" fmla="*/ 17273 h 131974"/>
                  <a:gd name="connsiteX74" fmla="*/ 53790 w 301980"/>
                  <a:gd name="connsiteY74" fmla="*/ 19395 h 131974"/>
                  <a:gd name="connsiteX75" fmla="*/ 51820 w 301980"/>
                  <a:gd name="connsiteY75" fmla="*/ 22122 h 131974"/>
                  <a:gd name="connsiteX76" fmla="*/ 49850 w 301980"/>
                  <a:gd name="connsiteY76" fmla="*/ 23789 h 131974"/>
                  <a:gd name="connsiteX77" fmla="*/ 49244 w 301980"/>
                  <a:gd name="connsiteY77" fmla="*/ 26365 h 131974"/>
                  <a:gd name="connsiteX78" fmla="*/ 47881 w 301980"/>
                  <a:gd name="connsiteY78" fmla="*/ 27728 h 131974"/>
                  <a:gd name="connsiteX79" fmla="*/ 46214 w 301980"/>
                  <a:gd name="connsiteY79" fmla="*/ 30304 h 131974"/>
                  <a:gd name="connsiteX80" fmla="*/ 46214 w 301980"/>
                  <a:gd name="connsiteY80" fmla="*/ 31819 h 131974"/>
                  <a:gd name="connsiteX81" fmla="*/ 47729 w 301980"/>
                  <a:gd name="connsiteY81" fmla="*/ 33335 h 131974"/>
                  <a:gd name="connsiteX82" fmla="*/ 48638 w 301980"/>
                  <a:gd name="connsiteY82" fmla="*/ 32729 h 131974"/>
                  <a:gd name="connsiteX83" fmla="*/ 50153 w 301980"/>
                  <a:gd name="connsiteY83" fmla="*/ 32122 h 131974"/>
                  <a:gd name="connsiteX84" fmla="*/ 52729 w 301980"/>
                  <a:gd name="connsiteY84" fmla="*/ 33335 h 131974"/>
                  <a:gd name="connsiteX85" fmla="*/ 55002 w 301980"/>
                  <a:gd name="connsiteY85" fmla="*/ 34698 h 131974"/>
                  <a:gd name="connsiteX86" fmla="*/ 55608 w 301980"/>
                  <a:gd name="connsiteY86" fmla="*/ 35304 h 131974"/>
                  <a:gd name="connsiteX87" fmla="*/ 55457 w 301980"/>
                  <a:gd name="connsiteY87" fmla="*/ 36062 h 131974"/>
                  <a:gd name="connsiteX88" fmla="*/ 50153 w 301980"/>
                  <a:gd name="connsiteY88" fmla="*/ 38789 h 131974"/>
                  <a:gd name="connsiteX89" fmla="*/ 46820 w 301980"/>
                  <a:gd name="connsiteY89" fmla="*/ 40153 h 131974"/>
                  <a:gd name="connsiteX90" fmla="*/ 45305 w 301980"/>
                  <a:gd name="connsiteY90" fmla="*/ 40456 h 131974"/>
                  <a:gd name="connsiteX91" fmla="*/ 44850 w 301980"/>
                  <a:gd name="connsiteY91" fmla="*/ 40759 h 131974"/>
                  <a:gd name="connsiteX92" fmla="*/ 43790 w 301980"/>
                  <a:gd name="connsiteY92" fmla="*/ 43941 h 131974"/>
                  <a:gd name="connsiteX93" fmla="*/ 41668 w 301980"/>
                  <a:gd name="connsiteY93" fmla="*/ 44547 h 131974"/>
                  <a:gd name="connsiteX94" fmla="*/ 39093 w 301980"/>
                  <a:gd name="connsiteY94" fmla="*/ 45456 h 131974"/>
                  <a:gd name="connsiteX95" fmla="*/ 37274 w 301980"/>
                  <a:gd name="connsiteY95" fmla="*/ 46972 h 131974"/>
                  <a:gd name="connsiteX96" fmla="*/ 34396 w 301980"/>
                  <a:gd name="connsiteY96" fmla="*/ 50456 h 131974"/>
                  <a:gd name="connsiteX97" fmla="*/ 26971 w 301980"/>
                  <a:gd name="connsiteY97" fmla="*/ 55457 h 131974"/>
                  <a:gd name="connsiteX98" fmla="*/ 26819 w 301980"/>
                  <a:gd name="connsiteY98" fmla="*/ 56517 h 131974"/>
                  <a:gd name="connsiteX99" fmla="*/ 27425 w 301980"/>
                  <a:gd name="connsiteY99" fmla="*/ 57275 h 131974"/>
                  <a:gd name="connsiteX100" fmla="*/ 29850 w 301980"/>
                  <a:gd name="connsiteY100" fmla="*/ 57881 h 131974"/>
                  <a:gd name="connsiteX101" fmla="*/ 33031 w 301980"/>
                  <a:gd name="connsiteY101" fmla="*/ 59396 h 131974"/>
                  <a:gd name="connsiteX102" fmla="*/ 34698 w 301980"/>
                  <a:gd name="connsiteY102" fmla="*/ 60608 h 131974"/>
                  <a:gd name="connsiteX103" fmla="*/ 39547 w 301980"/>
                  <a:gd name="connsiteY103" fmla="*/ 59093 h 131974"/>
                  <a:gd name="connsiteX104" fmla="*/ 40759 w 301980"/>
                  <a:gd name="connsiteY104" fmla="*/ 59396 h 131974"/>
                  <a:gd name="connsiteX105" fmla="*/ 41972 w 301980"/>
                  <a:gd name="connsiteY105" fmla="*/ 61063 h 131974"/>
                  <a:gd name="connsiteX106" fmla="*/ 43335 w 301980"/>
                  <a:gd name="connsiteY106" fmla="*/ 65608 h 131974"/>
                  <a:gd name="connsiteX107" fmla="*/ 45456 w 301980"/>
                  <a:gd name="connsiteY107" fmla="*/ 66821 h 131974"/>
                  <a:gd name="connsiteX108" fmla="*/ 48183 w 301980"/>
                  <a:gd name="connsiteY108" fmla="*/ 67730 h 131974"/>
                  <a:gd name="connsiteX109" fmla="*/ 49850 w 301980"/>
                  <a:gd name="connsiteY109" fmla="*/ 68033 h 131974"/>
                  <a:gd name="connsiteX110" fmla="*/ 52123 w 301980"/>
                  <a:gd name="connsiteY110" fmla="*/ 69094 h 131974"/>
                  <a:gd name="connsiteX111" fmla="*/ 55154 w 301980"/>
                  <a:gd name="connsiteY111" fmla="*/ 69548 h 131974"/>
                  <a:gd name="connsiteX112" fmla="*/ 57275 w 301980"/>
                  <a:gd name="connsiteY112" fmla="*/ 69094 h 131974"/>
                  <a:gd name="connsiteX113" fmla="*/ 59851 w 301980"/>
                  <a:gd name="connsiteY113" fmla="*/ 70003 h 131974"/>
                  <a:gd name="connsiteX114" fmla="*/ 60305 w 301980"/>
                  <a:gd name="connsiteY114" fmla="*/ 69548 h 131974"/>
                  <a:gd name="connsiteX115" fmla="*/ 60608 w 301980"/>
                  <a:gd name="connsiteY115" fmla="*/ 62881 h 131974"/>
                  <a:gd name="connsiteX116" fmla="*/ 62730 w 301980"/>
                  <a:gd name="connsiteY116" fmla="*/ 63942 h 131974"/>
                  <a:gd name="connsiteX117" fmla="*/ 63942 w 301980"/>
                  <a:gd name="connsiteY117" fmla="*/ 63942 h 131974"/>
                  <a:gd name="connsiteX118" fmla="*/ 65003 w 301980"/>
                  <a:gd name="connsiteY118" fmla="*/ 63184 h 131974"/>
                  <a:gd name="connsiteX119" fmla="*/ 65609 w 301980"/>
                  <a:gd name="connsiteY119" fmla="*/ 62124 h 131974"/>
                  <a:gd name="connsiteX120" fmla="*/ 65912 w 301980"/>
                  <a:gd name="connsiteY120" fmla="*/ 59851 h 131974"/>
                  <a:gd name="connsiteX121" fmla="*/ 65457 w 301980"/>
                  <a:gd name="connsiteY121" fmla="*/ 57578 h 131974"/>
                  <a:gd name="connsiteX122" fmla="*/ 66366 w 301980"/>
                  <a:gd name="connsiteY122" fmla="*/ 56517 h 131974"/>
                  <a:gd name="connsiteX123" fmla="*/ 67124 w 301980"/>
                  <a:gd name="connsiteY123" fmla="*/ 56214 h 131974"/>
                  <a:gd name="connsiteX124" fmla="*/ 67730 w 301980"/>
                  <a:gd name="connsiteY124" fmla="*/ 56517 h 131974"/>
                  <a:gd name="connsiteX125" fmla="*/ 68033 w 301980"/>
                  <a:gd name="connsiteY125" fmla="*/ 57123 h 131974"/>
                  <a:gd name="connsiteX126" fmla="*/ 68184 w 301980"/>
                  <a:gd name="connsiteY126" fmla="*/ 59093 h 131974"/>
                  <a:gd name="connsiteX127" fmla="*/ 69700 w 301980"/>
                  <a:gd name="connsiteY127" fmla="*/ 60002 h 131974"/>
                  <a:gd name="connsiteX128" fmla="*/ 70609 w 301980"/>
                  <a:gd name="connsiteY128" fmla="*/ 60457 h 131974"/>
                  <a:gd name="connsiteX129" fmla="*/ 71518 w 301980"/>
                  <a:gd name="connsiteY129" fmla="*/ 62124 h 131974"/>
                  <a:gd name="connsiteX130" fmla="*/ 72427 w 301980"/>
                  <a:gd name="connsiteY130" fmla="*/ 63790 h 131974"/>
                  <a:gd name="connsiteX131" fmla="*/ 73033 w 301980"/>
                  <a:gd name="connsiteY131" fmla="*/ 67578 h 131974"/>
                  <a:gd name="connsiteX132" fmla="*/ 75154 w 301980"/>
                  <a:gd name="connsiteY132" fmla="*/ 67881 h 131974"/>
                  <a:gd name="connsiteX133" fmla="*/ 77730 w 301980"/>
                  <a:gd name="connsiteY133" fmla="*/ 68639 h 131974"/>
                  <a:gd name="connsiteX134" fmla="*/ 79397 w 301980"/>
                  <a:gd name="connsiteY134" fmla="*/ 67881 h 131974"/>
                  <a:gd name="connsiteX135" fmla="*/ 80761 w 301980"/>
                  <a:gd name="connsiteY135" fmla="*/ 68336 h 131974"/>
                  <a:gd name="connsiteX136" fmla="*/ 81215 w 301980"/>
                  <a:gd name="connsiteY136" fmla="*/ 70154 h 131974"/>
                  <a:gd name="connsiteX137" fmla="*/ 81215 w 301980"/>
                  <a:gd name="connsiteY137" fmla="*/ 71821 h 131974"/>
                  <a:gd name="connsiteX138" fmla="*/ 81367 w 301980"/>
                  <a:gd name="connsiteY138" fmla="*/ 73185 h 131974"/>
                  <a:gd name="connsiteX139" fmla="*/ 82124 w 301980"/>
                  <a:gd name="connsiteY139" fmla="*/ 73488 h 131974"/>
                  <a:gd name="connsiteX140" fmla="*/ 84397 w 301980"/>
                  <a:gd name="connsiteY140" fmla="*/ 72730 h 131974"/>
                  <a:gd name="connsiteX141" fmla="*/ 86215 w 301980"/>
                  <a:gd name="connsiteY141" fmla="*/ 72578 h 131974"/>
                  <a:gd name="connsiteX142" fmla="*/ 87882 w 301980"/>
                  <a:gd name="connsiteY142" fmla="*/ 73336 h 131974"/>
                  <a:gd name="connsiteX143" fmla="*/ 90003 w 301980"/>
                  <a:gd name="connsiteY143" fmla="*/ 74548 h 131974"/>
                  <a:gd name="connsiteX144" fmla="*/ 93185 w 301980"/>
                  <a:gd name="connsiteY144" fmla="*/ 77730 h 131974"/>
                  <a:gd name="connsiteX145" fmla="*/ 94246 w 301980"/>
                  <a:gd name="connsiteY145" fmla="*/ 78185 h 131974"/>
                  <a:gd name="connsiteX146" fmla="*/ 98943 w 301980"/>
                  <a:gd name="connsiteY146" fmla="*/ 78488 h 131974"/>
                  <a:gd name="connsiteX147" fmla="*/ 99852 w 301980"/>
                  <a:gd name="connsiteY147" fmla="*/ 79094 h 131974"/>
                  <a:gd name="connsiteX148" fmla="*/ 101519 w 301980"/>
                  <a:gd name="connsiteY148" fmla="*/ 79094 h 131974"/>
                  <a:gd name="connsiteX149" fmla="*/ 103337 w 301980"/>
                  <a:gd name="connsiteY149" fmla="*/ 78488 h 131974"/>
                  <a:gd name="connsiteX150" fmla="*/ 107277 w 301980"/>
                  <a:gd name="connsiteY150" fmla="*/ 79548 h 131974"/>
                  <a:gd name="connsiteX151" fmla="*/ 107428 w 301980"/>
                  <a:gd name="connsiteY151" fmla="*/ 80154 h 131974"/>
                  <a:gd name="connsiteX152" fmla="*/ 106822 w 301980"/>
                  <a:gd name="connsiteY152" fmla="*/ 80912 h 131974"/>
                  <a:gd name="connsiteX153" fmla="*/ 97579 w 301980"/>
                  <a:gd name="connsiteY153" fmla="*/ 85306 h 131974"/>
                  <a:gd name="connsiteX154" fmla="*/ 96822 w 301980"/>
                  <a:gd name="connsiteY154" fmla="*/ 86670 h 131974"/>
                  <a:gd name="connsiteX155" fmla="*/ 94852 w 301980"/>
                  <a:gd name="connsiteY155" fmla="*/ 88337 h 131974"/>
                  <a:gd name="connsiteX156" fmla="*/ 92731 w 301980"/>
                  <a:gd name="connsiteY156" fmla="*/ 89246 h 131974"/>
                  <a:gd name="connsiteX157" fmla="*/ 91670 w 301980"/>
                  <a:gd name="connsiteY157" fmla="*/ 89246 h 131974"/>
                  <a:gd name="connsiteX158" fmla="*/ 87124 w 301980"/>
                  <a:gd name="connsiteY158" fmla="*/ 87579 h 131974"/>
                  <a:gd name="connsiteX159" fmla="*/ 86518 w 301980"/>
                  <a:gd name="connsiteY159" fmla="*/ 88033 h 131974"/>
                  <a:gd name="connsiteX160" fmla="*/ 86215 w 301980"/>
                  <a:gd name="connsiteY160" fmla="*/ 88791 h 131974"/>
                  <a:gd name="connsiteX161" fmla="*/ 86215 w 301980"/>
                  <a:gd name="connsiteY161" fmla="*/ 89549 h 131974"/>
                  <a:gd name="connsiteX162" fmla="*/ 87276 w 301980"/>
                  <a:gd name="connsiteY162" fmla="*/ 91367 h 131974"/>
                  <a:gd name="connsiteX163" fmla="*/ 86822 w 301980"/>
                  <a:gd name="connsiteY163" fmla="*/ 92579 h 131974"/>
                  <a:gd name="connsiteX164" fmla="*/ 85912 w 301980"/>
                  <a:gd name="connsiteY164" fmla="*/ 93337 h 131974"/>
                  <a:gd name="connsiteX165" fmla="*/ 83034 w 301980"/>
                  <a:gd name="connsiteY165" fmla="*/ 92579 h 131974"/>
                  <a:gd name="connsiteX166" fmla="*/ 82579 w 301980"/>
                  <a:gd name="connsiteY166" fmla="*/ 92125 h 131974"/>
                  <a:gd name="connsiteX167" fmla="*/ 82579 w 301980"/>
                  <a:gd name="connsiteY167" fmla="*/ 91670 h 131974"/>
                  <a:gd name="connsiteX168" fmla="*/ 81518 w 301980"/>
                  <a:gd name="connsiteY168" fmla="*/ 91670 h 131974"/>
                  <a:gd name="connsiteX169" fmla="*/ 79852 w 301980"/>
                  <a:gd name="connsiteY169" fmla="*/ 92125 h 131974"/>
                  <a:gd name="connsiteX170" fmla="*/ 76669 w 301980"/>
                  <a:gd name="connsiteY170" fmla="*/ 95307 h 131974"/>
                  <a:gd name="connsiteX171" fmla="*/ 75458 w 301980"/>
                  <a:gd name="connsiteY171" fmla="*/ 96973 h 131974"/>
                  <a:gd name="connsiteX172" fmla="*/ 75003 w 301980"/>
                  <a:gd name="connsiteY172" fmla="*/ 98034 h 131974"/>
                  <a:gd name="connsiteX173" fmla="*/ 73488 w 301980"/>
                  <a:gd name="connsiteY173" fmla="*/ 98640 h 131974"/>
                  <a:gd name="connsiteX174" fmla="*/ 71972 w 301980"/>
                  <a:gd name="connsiteY174" fmla="*/ 98792 h 131974"/>
                  <a:gd name="connsiteX175" fmla="*/ 70003 w 301980"/>
                  <a:gd name="connsiteY175" fmla="*/ 100307 h 131974"/>
                  <a:gd name="connsiteX176" fmla="*/ 67881 w 301980"/>
                  <a:gd name="connsiteY176" fmla="*/ 101519 h 131974"/>
                  <a:gd name="connsiteX177" fmla="*/ 67124 w 301980"/>
                  <a:gd name="connsiteY177" fmla="*/ 100610 h 131974"/>
                  <a:gd name="connsiteX178" fmla="*/ 66669 w 301980"/>
                  <a:gd name="connsiteY178" fmla="*/ 99701 h 131974"/>
                  <a:gd name="connsiteX179" fmla="*/ 66063 w 301980"/>
                  <a:gd name="connsiteY179" fmla="*/ 99398 h 131974"/>
                  <a:gd name="connsiteX180" fmla="*/ 64700 w 301980"/>
                  <a:gd name="connsiteY180" fmla="*/ 99549 h 131974"/>
                  <a:gd name="connsiteX181" fmla="*/ 63033 w 301980"/>
                  <a:gd name="connsiteY181" fmla="*/ 99549 h 131974"/>
                  <a:gd name="connsiteX182" fmla="*/ 61366 w 301980"/>
                  <a:gd name="connsiteY182" fmla="*/ 98488 h 131974"/>
                  <a:gd name="connsiteX183" fmla="*/ 59093 w 301980"/>
                  <a:gd name="connsiteY183" fmla="*/ 97428 h 131974"/>
                  <a:gd name="connsiteX184" fmla="*/ 57124 w 301980"/>
                  <a:gd name="connsiteY184" fmla="*/ 97125 h 131974"/>
                  <a:gd name="connsiteX185" fmla="*/ 51366 w 301980"/>
                  <a:gd name="connsiteY185" fmla="*/ 97579 h 131974"/>
                  <a:gd name="connsiteX186" fmla="*/ 48487 w 301980"/>
                  <a:gd name="connsiteY186" fmla="*/ 98034 h 131974"/>
                  <a:gd name="connsiteX187" fmla="*/ 47578 w 301980"/>
                  <a:gd name="connsiteY187" fmla="*/ 98488 h 131974"/>
                  <a:gd name="connsiteX188" fmla="*/ 47729 w 301980"/>
                  <a:gd name="connsiteY188" fmla="*/ 99095 h 131974"/>
                  <a:gd name="connsiteX189" fmla="*/ 47274 w 301980"/>
                  <a:gd name="connsiteY189" fmla="*/ 100155 h 131974"/>
                  <a:gd name="connsiteX190" fmla="*/ 41517 w 301980"/>
                  <a:gd name="connsiteY190" fmla="*/ 101973 h 131974"/>
                  <a:gd name="connsiteX191" fmla="*/ 38941 w 301980"/>
                  <a:gd name="connsiteY191" fmla="*/ 103489 h 131974"/>
                  <a:gd name="connsiteX192" fmla="*/ 38335 w 301980"/>
                  <a:gd name="connsiteY192" fmla="*/ 106216 h 131974"/>
                  <a:gd name="connsiteX193" fmla="*/ 37729 w 301980"/>
                  <a:gd name="connsiteY193" fmla="*/ 106974 h 131974"/>
                  <a:gd name="connsiteX194" fmla="*/ 36517 w 301980"/>
                  <a:gd name="connsiteY194" fmla="*/ 107580 h 131974"/>
                  <a:gd name="connsiteX195" fmla="*/ 35305 w 301980"/>
                  <a:gd name="connsiteY195" fmla="*/ 107731 h 131974"/>
                  <a:gd name="connsiteX196" fmla="*/ 33486 w 301980"/>
                  <a:gd name="connsiteY196" fmla="*/ 104549 h 131974"/>
                  <a:gd name="connsiteX197" fmla="*/ 31517 w 301980"/>
                  <a:gd name="connsiteY197" fmla="*/ 103943 h 131974"/>
                  <a:gd name="connsiteX198" fmla="*/ 28638 w 301980"/>
                  <a:gd name="connsiteY198" fmla="*/ 102883 h 131974"/>
                  <a:gd name="connsiteX199" fmla="*/ 23031 w 301980"/>
                  <a:gd name="connsiteY199" fmla="*/ 100761 h 131974"/>
                  <a:gd name="connsiteX200" fmla="*/ 20153 w 301980"/>
                  <a:gd name="connsiteY200" fmla="*/ 99852 h 131974"/>
                  <a:gd name="connsiteX201" fmla="*/ 14698 w 301980"/>
                  <a:gd name="connsiteY201" fmla="*/ 101216 h 131974"/>
                  <a:gd name="connsiteX202" fmla="*/ 8334 w 301980"/>
                  <a:gd name="connsiteY202" fmla="*/ 103186 h 131974"/>
                  <a:gd name="connsiteX203" fmla="*/ 7273 w 301980"/>
                  <a:gd name="connsiteY203" fmla="*/ 104398 h 131974"/>
                  <a:gd name="connsiteX204" fmla="*/ 6667 w 301980"/>
                  <a:gd name="connsiteY204" fmla="*/ 105610 h 131974"/>
                  <a:gd name="connsiteX205" fmla="*/ 6667 w 301980"/>
                  <a:gd name="connsiteY205" fmla="*/ 106519 h 131974"/>
                  <a:gd name="connsiteX206" fmla="*/ 7121 w 301980"/>
                  <a:gd name="connsiteY206" fmla="*/ 107883 h 131974"/>
                  <a:gd name="connsiteX207" fmla="*/ 6819 w 301980"/>
                  <a:gd name="connsiteY207" fmla="*/ 108943 h 131974"/>
                  <a:gd name="connsiteX208" fmla="*/ 5606 w 301980"/>
                  <a:gd name="connsiteY208" fmla="*/ 109247 h 131974"/>
                  <a:gd name="connsiteX209" fmla="*/ 3788 w 301980"/>
                  <a:gd name="connsiteY209" fmla="*/ 108034 h 131974"/>
                  <a:gd name="connsiteX210" fmla="*/ 2122 w 301980"/>
                  <a:gd name="connsiteY210" fmla="*/ 107277 h 131974"/>
                  <a:gd name="connsiteX211" fmla="*/ 1364 w 301980"/>
                  <a:gd name="connsiteY211" fmla="*/ 108943 h 131974"/>
                  <a:gd name="connsiteX212" fmla="*/ 455 w 301980"/>
                  <a:gd name="connsiteY212" fmla="*/ 111822 h 131974"/>
                  <a:gd name="connsiteX213" fmla="*/ 0 w 301980"/>
                  <a:gd name="connsiteY213" fmla="*/ 113944 h 131974"/>
                  <a:gd name="connsiteX214" fmla="*/ 1364 w 301980"/>
                  <a:gd name="connsiteY214" fmla="*/ 116974 h 131974"/>
                  <a:gd name="connsiteX215" fmla="*/ 1818 w 301980"/>
                  <a:gd name="connsiteY215" fmla="*/ 121520 h 131974"/>
                  <a:gd name="connsiteX216" fmla="*/ 4394 w 301980"/>
                  <a:gd name="connsiteY216" fmla="*/ 121217 h 131974"/>
                  <a:gd name="connsiteX217" fmla="*/ 6364 w 301980"/>
                  <a:gd name="connsiteY217" fmla="*/ 121217 h 131974"/>
                  <a:gd name="connsiteX218" fmla="*/ 10000 w 301980"/>
                  <a:gd name="connsiteY218" fmla="*/ 119853 h 131974"/>
                  <a:gd name="connsiteX219" fmla="*/ 11819 w 301980"/>
                  <a:gd name="connsiteY219" fmla="*/ 119853 h 131974"/>
                  <a:gd name="connsiteX220" fmla="*/ 14698 w 301980"/>
                  <a:gd name="connsiteY220" fmla="*/ 120459 h 131974"/>
                  <a:gd name="connsiteX221" fmla="*/ 19698 w 301980"/>
                  <a:gd name="connsiteY221" fmla="*/ 120611 h 131974"/>
                  <a:gd name="connsiteX222" fmla="*/ 23637 w 301980"/>
                  <a:gd name="connsiteY222" fmla="*/ 120307 h 131974"/>
                  <a:gd name="connsiteX223" fmla="*/ 24546 w 301980"/>
                  <a:gd name="connsiteY223" fmla="*/ 120459 h 131974"/>
                  <a:gd name="connsiteX224" fmla="*/ 25455 w 301980"/>
                  <a:gd name="connsiteY224" fmla="*/ 119550 h 131974"/>
                  <a:gd name="connsiteX225" fmla="*/ 26516 w 301980"/>
                  <a:gd name="connsiteY225" fmla="*/ 119853 h 131974"/>
                  <a:gd name="connsiteX226" fmla="*/ 27425 w 301980"/>
                  <a:gd name="connsiteY226" fmla="*/ 120913 h 131974"/>
                  <a:gd name="connsiteX227" fmla="*/ 31517 w 301980"/>
                  <a:gd name="connsiteY227" fmla="*/ 119701 h 131974"/>
                  <a:gd name="connsiteX228" fmla="*/ 34547 w 301980"/>
                  <a:gd name="connsiteY228" fmla="*/ 119550 h 131974"/>
                  <a:gd name="connsiteX229" fmla="*/ 36365 w 301980"/>
                  <a:gd name="connsiteY229" fmla="*/ 119853 h 131974"/>
                  <a:gd name="connsiteX230" fmla="*/ 37426 w 301980"/>
                  <a:gd name="connsiteY230" fmla="*/ 120156 h 131974"/>
                  <a:gd name="connsiteX231" fmla="*/ 39395 w 301980"/>
                  <a:gd name="connsiteY231" fmla="*/ 123186 h 131974"/>
                  <a:gd name="connsiteX232" fmla="*/ 40911 w 301980"/>
                  <a:gd name="connsiteY232" fmla="*/ 125005 h 131974"/>
                  <a:gd name="connsiteX233" fmla="*/ 42729 w 301980"/>
                  <a:gd name="connsiteY233" fmla="*/ 125611 h 131974"/>
                  <a:gd name="connsiteX234" fmla="*/ 48335 w 301980"/>
                  <a:gd name="connsiteY234" fmla="*/ 125005 h 131974"/>
                  <a:gd name="connsiteX235" fmla="*/ 50002 w 301980"/>
                  <a:gd name="connsiteY235" fmla="*/ 122429 h 131974"/>
                  <a:gd name="connsiteX236" fmla="*/ 51517 w 301980"/>
                  <a:gd name="connsiteY236" fmla="*/ 121823 h 131974"/>
                  <a:gd name="connsiteX237" fmla="*/ 53790 w 301980"/>
                  <a:gd name="connsiteY237" fmla="*/ 121671 h 131974"/>
                  <a:gd name="connsiteX238" fmla="*/ 55760 w 301980"/>
                  <a:gd name="connsiteY238" fmla="*/ 121217 h 131974"/>
                  <a:gd name="connsiteX239" fmla="*/ 57275 w 301980"/>
                  <a:gd name="connsiteY239" fmla="*/ 120156 h 131974"/>
                  <a:gd name="connsiteX240" fmla="*/ 59396 w 301980"/>
                  <a:gd name="connsiteY240" fmla="*/ 119247 h 131974"/>
                  <a:gd name="connsiteX241" fmla="*/ 61215 w 301980"/>
                  <a:gd name="connsiteY241" fmla="*/ 119095 h 131974"/>
                  <a:gd name="connsiteX242" fmla="*/ 62124 w 301980"/>
                  <a:gd name="connsiteY242" fmla="*/ 119853 h 131974"/>
                  <a:gd name="connsiteX243" fmla="*/ 62578 w 301980"/>
                  <a:gd name="connsiteY243" fmla="*/ 120762 h 131974"/>
                  <a:gd name="connsiteX244" fmla="*/ 62275 w 301980"/>
                  <a:gd name="connsiteY244" fmla="*/ 121974 h 131974"/>
                  <a:gd name="connsiteX245" fmla="*/ 62275 w 301980"/>
                  <a:gd name="connsiteY245" fmla="*/ 123186 h 131974"/>
                  <a:gd name="connsiteX246" fmla="*/ 63487 w 301980"/>
                  <a:gd name="connsiteY246" fmla="*/ 123944 h 131974"/>
                  <a:gd name="connsiteX247" fmla="*/ 66972 w 301980"/>
                  <a:gd name="connsiteY247" fmla="*/ 124095 h 131974"/>
                  <a:gd name="connsiteX248" fmla="*/ 68639 w 301980"/>
                  <a:gd name="connsiteY248" fmla="*/ 124853 h 131974"/>
                  <a:gd name="connsiteX249" fmla="*/ 68791 w 301980"/>
                  <a:gd name="connsiteY249" fmla="*/ 126368 h 131974"/>
                  <a:gd name="connsiteX250" fmla="*/ 68488 w 301980"/>
                  <a:gd name="connsiteY250" fmla="*/ 128641 h 131974"/>
                  <a:gd name="connsiteX251" fmla="*/ 70003 w 301980"/>
                  <a:gd name="connsiteY251" fmla="*/ 129550 h 131974"/>
                  <a:gd name="connsiteX252" fmla="*/ 70760 w 301980"/>
                  <a:gd name="connsiteY252" fmla="*/ 129702 h 131974"/>
                  <a:gd name="connsiteX253" fmla="*/ 75760 w 301980"/>
                  <a:gd name="connsiteY253" fmla="*/ 127278 h 131974"/>
                  <a:gd name="connsiteX254" fmla="*/ 77124 w 301980"/>
                  <a:gd name="connsiteY254" fmla="*/ 127278 h 131974"/>
                  <a:gd name="connsiteX255" fmla="*/ 78185 w 301980"/>
                  <a:gd name="connsiteY255" fmla="*/ 128641 h 131974"/>
                  <a:gd name="connsiteX256" fmla="*/ 79852 w 301980"/>
                  <a:gd name="connsiteY256" fmla="*/ 130308 h 131974"/>
                  <a:gd name="connsiteX257" fmla="*/ 82124 w 301980"/>
                  <a:gd name="connsiteY257" fmla="*/ 131975 h 131974"/>
                  <a:gd name="connsiteX258" fmla="*/ 82730 w 301980"/>
                  <a:gd name="connsiteY258" fmla="*/ 131672 h 131974"/>
                  <a:gd name="connsiteX259" fmla="*/ 83791 w 301980"/>
                  <a:gd name="connsiteY259" fmla="*/ 129853 h 131974"/>
                  <a:gd name="connsiteX260" fmla="*/ 85761 w 301980"/>
                  <a:gd name="connsiteY260" fmla="*/ 127883 h 131974"/>
                  <a:gd name="connsiteX261" fmla="*/ 89397 w 301980"/>
                  <a:gd name="connsiteY261" fmla="*/ 127278 h 131974"/>
                  <a:gd name="connsiteX262" fmla="*/ 91367 w 301980"/>
                  <a:gd name="connsiteY262" fmla="*/ 126671 h 131974"/>
                  <a:gd name="connsiteX263" fmla="*/ 93489 w 301980"/>
                  <a:gd name="connsiteY263" fmla="*/ 126368 h 131974"/>
                  <a:gd name="connsiteX264" fmla="*/ 99852 w 301980"/>
                  <a:gd name="connsiteY264" fmla="*/ 127126 h 131974"/>
                  <a:gd name="connsiteX265" fmla="*/ 101974 w 301980"/>
                  <a:gd name="connsiteY265" fmla="*/ 127278 h 131974"/>
                  <a:gd name="connsiteX266" fmla="*/ 106368 w 301980"/>
                  <a:gd name="connsiteY266" fmla="*/ 127126 h 131974"/>
                  <a:gd name="connsiteX267" fmla="*/ 109853 w 301980"/>
                  <a:gd name="connsiteY267" fmla="*/ 126671 h 131974"/>
                  <a:gd name="connsiteX268" fmla="*/ 112580 w 301980"/>
                  <a:gd name="connsiteY268" fmla="*/ 125459 h 131974"/>
                  <a:gd name="connsiteX269" fmla="*/ 113944 w 301980"/>
                  <a:gd name="connsiteY269" fmla="*/ 124550 h 131974"/>
                  <a:gd name="connsiteX270" fmla="*/ 116217 w 301980"/>
                  <a:gd name="connsiteY270" fmla="*/ 123944 h 131974"/>
                  <a:gd name="connsiteX271" fmla="*/ 119096 w 301980"/>
                  <a:gd name="connsiteY271" fmla="*/ 124095 h 131974"/>
                  <a:gd name="connsiteX272" fmla="*/ 120610 w 301980"/>
                  <a:gd name="connsiteY272" fmla="*/ 124399 h 131974"/>
                  <a:gd name="connsiteX273" fmla="*/ 122884 w 301980"/>
                  <a:gd name="connsiteY273" fmla="*/ 123944 h 131974"/>
                  <a:gd name="connsiteX274" fmla="*/ 125763 w 301980"/>
                  <a:gd name="connsiteY274" fmla="*/ 123035 h 131974"/>
                  <a:gd name="connsiteX275" fmla="*/ 127126 w 301980"/>
                  <a:gd name="connsiteY275" fmla="*/ 121671 h 131974"/>
                  <a:gd name="connsiteX276" fmla="*/ 128035 w 301980"/>
                  <a:gd name="connsiteY276" fmla="*/ 120156 h 131974"/>
                  <a:gd name="connsiteX277" fmla="*/ 128186 w 301980"/>
                  <a:gd name="connsiteY277" fmla="*/ 119247 h 131974"/>
                  <a:gd name="connsiteX278" fmla="*/ 127277 w 301980"/>
                  <a:gd name="connsiteY278" fmla="*/ 115762 h 131974"/>
                  <a:gd name="connsiteX279" fmla="*/ 126065 w 301980"/>
                  <a:gd name="connsiteY279" fmla="*/ 114247 h 131974"/>
                  <a:gd name="connsiteX280" fmla="*/ 125914 w 301980"/>
                  <a:gd name="connsiteY280" fmla="*/ 113035 h 131974"/>
                  <a:gd name="connsiteX281" fmla="*/ 126520 w 301980"/>
                  <a:gd name="connsiteY281" fmla="*/ 112125 h 131974"/>
                  <a:gd name="connsiteX282" fmla="*/ 127277 w 301980"/>
                  <a:gd name="connsiteY282" fmla="*/ 110610 h 131974"/>
                  <a:gd name="connsiteX283" fmla="*/ 128793 w 301980"/>
                  <a:gd name="connsiteY283" fmla="*/ 107428 h 131974"/>
                  <a:gd name="connsiteX284" fmla="*/ 130308 w 301980"/>
                  <a:gd name="connsiteY284" fmla="*/ 105307 h 131974"/>
                  <a:gd name="connsiteX285" fmla="*/ 131065 w 301980"/>
                  <a:gd name="connsiteY285" fmla="*/ 104852 h 131974"/>
                  <a:gd name="connsiteX286" fmla="*/ 132884 w 301980"/>
                  <a:gd name="connsiteY286" fmla="*/ 104398 h 131974"/>
                  <a:gd name="connsiteX287" fmla="*/ 137127 w 301980"/>
                  <a:gd name="connsiteY287" fmla="*/ 103792 h 131974"/>
                  <a:gd name="connsiteX288" fmla="*/ 141824 w 301980"/>
                  <a:gd name="connsiteY288" fmla="*/ 102276 h 131974"/>
                  <a:gd name="connsiteX289" fmla="*/ 147278 w 301980"/>
                  <a:gd name="connsiteY289" fmla="*/ 97882 h 131974"/>
                  <a:gd name="connsiteX290" fmla="*/ 149096 w 301980"/>
                  <a:gd name="connsiteY290" fmla="*/ 96670 h 131974"/>
                  <a:gd name="connsiteX291" fmla="*/ 151521 w 301980"/>
                  <a:gd name="connsiteY291" fmla="*/ 96064 h 131974"/>
                  <a:gd name="connsiteX292" fmla="*/ 153188 w 301980"/>
                  <a:gd name="connsiteY292" fmla="*/ 96064 h 131974"/>
                  <a:gd name="connsiteX293" fmla="*/ 153491 w 301980"/>
                  <a:gd name="connsiteY293" fmla="*/ 95458 h 131974"/>
                  <a:gd name="connsiteX294" fmla="*/ 152430 w 301980"/>
                  <a:gd name="connsiteY294" fmla="*/ 92731 h 131974"/>
                  <a:gd name="connsiteX295" fmla="*/ 152733 w 301980"/>
                  <a:gd name="connsiteY295" fmla="*/ 91821 h 131974"/>
                  <a:gd name="connsiteX296" fmla="*/ 153339 w 301980"/>
                  <a:gd name="connsiteY296" fmla="*/ 91064 h 131974"/>
                  <a:gd name="connsiteX297" fmla="*/ 154097 w 301980"/>
                  <a:gd name="connsiteY297" fmla="*/ 90761 h 131974"/>
                  <a:gd name="connsiteX298" fmla="*/ 157885 w 301980"/>
                  <a:gd name="connsiteY298" fmla="*/ 92125 h 131974"/>
                  <a:gd name="connsiteX299" fmla="*/ 160764 w 301980"/>
                  <a:gd name="connsiteY299" fmla="*/ 91973 h 131974"/>
                  <a:gd name="connsiteX300" fmla="*/ 164248 w 301980"/>
                  <a:gd name="connsiteY300" fmla="*/ 91064 h 131974"/>
                  <a:gd name="connsiteX301" fmla="*/ 171976 w 301980"/>
                  <a:gd name="connsiteY301" fmla="*/ 86367 h 131974"/>
                  <a:gd name="connsiteX302" fmla="*/ 172885 w 301980"/>
                  <a:gd name="connsiteY302" fmla="*/ 86518 h 131974"/>
                  <a:gd name="connsiteX303" fmla="*/ 173643 w 301980"/>
                  <a:gd name="connsiteY303" fmla="*/ 87124 h 131974"/>
                  <a:gd name="connsiteX304" fmla="*/ 174552 w 301980"/>
                  <a:gd name="connsiteY304" fmla="*/ 90003 h 131974"/>
                  <a:gd name="connsiteX305" fmla="*/ 175613 w 301980"/>
                  <a:gd name="connsiteY305" fmla="*/ 96064 h 131974"/>
                  <a:gd name="connsiteX306" fmla="*/ 176219 w 301980"/>
                  <a:gd name="connsiteY306" fmla="*/ 96822 h 131974"/>
                  <a:gd name="connsiteX307" fmla="*/ 181522 w 301980"/>
                  <a:gd name="connsiteY307" fmla="*/ 96973 h 131974"/>
                  <a:gd name="connsiteX308" fmla="*/ 185158 w 301980"/>
                  <a:gd name="connsiteY308" fmla="*/ 94700 h 131974"/>
                  <a:gd name="connsiteX309" fmla="*/ 186674 w 301980"/>
                  <a:gd name="connsiteY309" fmla="*/ 94246 h 131974"/>
                  <a:gd name="connsiteX310" fmla="*/ 189250 w 301980"/>
                  <a:gd name="connsiteY310" fmla="*/ 94549 h 131974"/>
                  <a:gd name="connsiteX311" fmla="*/ 190613 w 301980"/>
                  <a:gd name="connsiteY311" fmla="*/ 93488 h 131974"/>
                  <a:gd name="connsiteX312" fmla="*/ 191977 w 301980"/>
                  <a:gd name="connsiteY312" fmla="*/ 92731 h 131974"/>
                  <a:gd name="connsiteX313" fmla="*/ 193644 w 301980"/>
                  <a:gd name="connsiteY313" fmla="*/ 95307 h 131974"/>
                  <a:gd name="connsiteX314" fmla="*/ 195765 w 301980"/>
                  <a:gd name="connsiteY314" fmla="*/ 94094 h 131974"/>
                  <a:gd name="connsiteX315" fmla="*/ 198038 w 301980"/>
                  <a:gd name="connsiteY315" fmla="*/ 92125 h 131974"/>
                  <a:gd name="connsiteX316" fmla="*/ 199099 w 301980"/>
                  <a:gd name="connsiteY316" fmla="*/ 90155 h 131974"/>
                  <a:gd name="connsiteX317" fmla="*/ 200614 w 301980"/>
                  <a:gd name="connsiteY317" fmla="*/ 88033 h 131974"/>
                  <a:gd name="connsiteX318" fmla="*/ 201826 w 301980"/>
                  <a:gd name="connsiteY318" fmla="*/ 85306 h 131974"/>
                  <a:gd name="connsiteX319" fmla="*/ 202280 w 301980"/>
                  <a:gd name="connsiteY319" fmla="*/ 82730 h 131974"/>
                  <a:gd name="connsiteX320" fmla="*/ 202887 w 301980"/>
                  <a:gd name="connsiteY320" fmla="*/ 81518 h 131974"/>
                  <a:gd name="connsiteX321" fmla="*/ 204250 w 301980"/>
                  <a:gd name="connsiteY321" fmla="*/ 80306 h 131974"/>
                  <a:gd name="connsiteX322" fmla="*/ 207432 w 301980"/>
                  <a:gd name="connsiteY322" fmla="*/ 75003 h 131974"/>
                  <a:gd name="connsiteX323" fmla="*/ 209705 w 301980"/>
                  <a:gd name="connsiteY323" fmla="*/ 73639 h 131974"/>
                  <a:gd name="connsiteX324" fmla="*/ 211826 w 301980"/>
                  <a:gd name="connsiteY324" fmla="*/ 73185 h 131974"/>
                  <a:gd name="connsiteX325" fmla="*/ 217130 w 301980"/>
                  <a:gd name="connsiteY325" fmla="*/ 74094 h 131974"/>
                  <a:gd name="connsiteX326" fmla="*/ 219857 w 301980"/>
                  <a:gd name="connsiteY326" fmla="*/ 73942 h 131974"/>
                  <a:gd name="connsiteX327" fmla="*/ 228039 w 301980"/>
                  <a:gd name="connsiteY327" fmla="*/ 74700 h 131974"/>
                  <a:gd name="connsiteX328" fmla="*/ 231827 w 301980"/>
                  <a:gd name="connsiteY328" fmla="*/ 73639 h 131974"/>
                  <a:gd name="connsiteX329" fmla="*/ 234403 w 301980"/>
                  <a:gd name="connsiteY329" fmla="*/ 72578 h 131974"/>
                  <a:gd name="connsiteX330" fmla="*/ 238342 w 301980"/>
                  <a:gd name="connsiteY330" fmla="*/ 72730 h 131974"/>
                  <a:gd name="connsiteX331" fmla="*/ 242888 w 301980"/>
                  <a:gd name="connsiteY331" fmla="*/ 71972 h 131974"/>
                  <a:gd name="connsiteX332" fmla="*/ 248949 w 301980"/>
                  <a:gd name="connsiteY332" fmla="*/ 65305 h 131974"/>
                  <a:gd name="connsiteX333" fmla="*/ 248949 w 301980"/>
                  <a:gd name="connsiteY333" fmla="*/ 63942 h 131974"/>
                  <a:gd name="connsiteX334" fmla="*/ 249252 w 301980"/>
                  <a:gd name="connsiteY334" fmla="*/ 62427 h 131974"/>
                  <a:gd name="connsiteX335" fmla="*/ 251525 w 301980"/>
                  <a:gd name="connsiteY335" fmla="*/ 60911 h 131974"/>
                  <a:gd name="connsiteX336" fmla="*/ 254252 w 301980"/>
                  <a:gd name="connsiteY336" fmla="*/ 59548 h 131974"/>
                  <a:gd name="connsiteX337" fmla="*/ 259707 w 301980"/>
                  <a:gd name="connsiteY337" fmla="*/ 56214 h 131974"/>
                  <a:gd name="connsiteX338" fmla="*/ 270768 w 301980"/>
                  <a:gd name="connsiteY338" fmla="*/ 51063 h 131974"/>
                  <a:gd name="connsiteX339" fmla="*/ 274707 w 301980"/>
                  <a:gd name="connsiteY339" fmla="*/ 48941 h 131974"/>
                  <a:gd name="connsiteX340" fmla="*/ 276374 w 301980"/>
                  <a:gd name="connsiteY340" fmla="*/ 48941 h 131974"/>
                  <a:gd name="connsiteX341" fmla="*/ 280465 w 301980"/>
                  <a:gd name="connsiteY341" fmla="*/ 47577 h 131974"/>
                  <a:gd name="connsiteX342" fmla="*/ 287587 w 301980"/>
                  <a:gd name="connsiteY342" fmla="*/ 45002 h 131974"/>
                  <a:gd name="connsiteX343" fmla="*/ 289556 w 301980"/>
                  <a:gd name="connsiteY343" fmla="*/ 41820 h 131974"/>
                  <a:gd name="connsiteX344" fmla="*/ 291375 w 301980"/>
                  <a:gd name="connsiteY344" fmla="*/ 41214 h 131974"/>
                  <a:gd name="connsiteX345" fmla="*/ 299708 w 301980"/>
                  <a:gd name="connsiteY345" fmla="*/ 40608 h 131974"/>
                  <a:gd name="connsiteX346" fmla="*/ 300163 w 301980"/>
                  <a:gd name="connsiteY346" fmla="*/ 40305 h 131974"/>
                  <a:gd name="connsiteX347" fmla="*/ 300466 w 301980"/>
                  <a:gd name="connsiteY347" fmla="*/ 39698 h 131974"/>
                  <a:gd name="connsiteX348" fmla="*/ 301981 w 301980"/>
                  <a:gd name="connsiteY348" fmla="*/ 36971 h 131974"/>
                  <a:gd name="connsiteX349" fmla="*/ 38941 w 301980"/>
                  <a:gd name="connsiteY349" fmla="*/ 113035 h 131974"/>
                  <a:gd name="connsiteX350" fmla="*/ 37577 w 301980"/>
                  <a:gd name="connsiteY350" fmla="*/ 112883 h 131974"/>
                  <a:gd name="connsiteX351" fmla="*/ 36517 w 301980"/>
                  <a:gd name="connsiteY351" fmla="*/ 111671 h 131974"/>
                  <a:gd name="connsiteX352" fmla="*/ 35759 w 301980"/>
                  <a:gd name="connsiteY352" fmla="*/ 110610 h 131974"/>
                  <a:gd name="connsiteX353" fmla="*/ 35607 w 301980"/>
                  <a:gd name="connsiteY353" fmla="*/ 110004 h 131974"/>
                  <a:gd name="connsiteX354" fmla="*/ 36062 w 301980"/>
                  <a:gd name="connsiteY354" fmla="*/ 110004 h 131974"/>
                  <a:gd name="connsiteX355" fmla="*/ 38032 w 301980"/>
                  <a:gd name="connsiteY355" fmla="*/ 110459 h 131974"/>
                  <a:gd name="connsiteX356" fmla="*/ 40759 w 301980"/>
                  <a:gd name="connsiteY356" fmla="*/ 110762 h 131974"/>
                  <a:gd name="connsiteX357" fmla="*/ 41668 w 301980"/>
                  <a:gd name="connsiteY357" fmla="*/ 111065 h 131974"/>
                  <a:gd name="connsiteX358" fmla="*/ 41820 w 301980"/>
                  <a:gd name="connsiteY358" fmla="*/ 111671 h 131974"/>
                  <a:gd name="connsiteX359" fmla="*/ 38941 w 301980"/>
                  <a:gd name="connsiteY359" fmla="*/ 113035 h 131974"/>
                  <a:gd name="connsiteX360" fmla="*/ 55457 w 301980"/>
                  <a:gd name="connsiteY360" fmla="*/ 109247 h 131974"/>
                  <a:gd name="connsiteX361" fmla="*/ 55154 w 301980"/>
                  <a:gd name="connsiteY361" fmla="*/ 109701 h 131974"/>
                  <a:gd name="connsiteX362" fmla="*/ 53790 w 301980"/>
                  <a:gd name="connsiteY362" fmla="*/ 110004 h 131974"/>
                  <a:gd name="connsiteX363" fmla="*/ 51214 w 301980"/>
                  <a:gd name="connsiteY363" fmla="*/ 110004 h 131974"/>
                  <a:gd name="connsiteX364" fmla="*/ 49850 w 301980"/>
                  <a:gd name="connsiteY364" fmla="*/ 109701 h 131974"/>
                  <a:gd name="connsiteX365" fmla="*/ 50760 w 301980"/>
                  <a:gd name="connsiteY365" fmla="*/ 107125 h 131974"/>
                  <a:gd name="connsiteX366" fmla="*/ 50760 w 301980"/>
                  <a:gd name="connsiteY366" fmla="*/ 106671 h 131974"/>
                  <a:gd name="connsiteX367" fmla="*/ 50608 w 301980"/>
                  <a:gd name="connsiteY367" fmla="*/ 106519 h 131974"/>
                  <a:gd name="connsiteX368" fmla="*/ 49850 w 301980"/>
                  <a:gd name="connsiteY368" fmla="*/ 106216 h 131974"/>
                  <a:gd name="connsiteX369" fmla="*/ 48790 w 301980"/>
                  <a:gd name="connsiteY369" fmla="*/ 105155 h 131974"/>
                  <a:gd name="connsiteX370" fmla="*/ 48487 w 301980"/>
                  <a:gd name="connsiteY370" fmla="*/ 103640 h 131974"/>
                  <a:gd name="connsiteX371" fmla="*/ 48941 w 301980"/>
                  <a:gd name="connsiteY371" fmla="*/ 102125 h 131974"/>
                  <a:gd name="connsiteX372" fmla="*/ 49699 w 301980"/>
                  <a:gd name="connsiteY372" fmla="*/ 101519 h 131974"/>
                  <a:gd name="connsiteX373" fmla="*/ 50153 w 301980"/>
                  <a:gd name="connsiteY373" fmla="*/ 101670 h 131974"/>
                  <a:gd name="connsiteX374" fmla="*/ 51669 w 301980"/>
                  <a:gd name="connsiteY374" fmla="*/ 103943 h 131974"/>
                  <a:gd name="connsiteX375" fmla="*/ 53032 w 301980"/>
                  <a:gd name="connsiteY375" fmla="*/ 104549 h 131974"/>
                  <a:gd name="connsiteX376" fmla="*/ 55760 w 301980"/>
                  <a:gd name="connsiteY376" fmla="*/ 104852 h 131974"/>
                  <a:gd name="connsiteX377" fmla="*/ 54396 w 301980"/>
                  <a:gd name="connsiteY377" fmla="*/ 107125 h 131974"/>
                  <a:gd name="connsiteX378" fmla="*/ 55457 w 301980"/>
                  <a:gd name="connsiteY378" fmla="*/ 109247 h 131974"/>
                  <a:gd name="connsiteX379" fmla="*/ 70760 w 301980"/>
                  <a:gd name="connsiteY379" fmla="*/ 107883 h 131974"/>
                  <a:gd name="connsiteX380" fmla="*/ 70003 w 301980"/>
                  <a:gd name="connsiteY380" fmla="*/ 109247 h 131974"/>
                  <a:gd name="connsiteX381" fmla="*/ 68639 w 301980"/>
                  <a:gd name="connsiteY381" fmla="*/ 108943 h 131974"/>
                  <a:gd name="connsiteX382" fmla="*/ 67578 w 301980"/>
                  <a:gd name="connsiteY382" fmla="*/ 108034 h 131974"/>
                  <a:gd name="connsiteX383" fmla="*/ 67881 w 301980"/>
                  <a:gd name="connsiteY383" fmla="*/ 107277 h 131974"/>
                  <a:gd name="connsiteX384" fmla="*/ 69397 w 301980"/>
                  <a:gd name="connsiteY384" fmla="*/ 106822 h 131974"/>
                  <a:gd name="connsiteX385" fmla="*/ 70154 w 301980"/>
                  <a:gd name="connsiteY385" fmla="*/ 106368 h 131974"/>
                  <a:gd name="connsiteX386" fmla="*/ 70760 w 301980"/>
                  <a:gd name="connsiteY386" fmla="*/ 106368 h 131974"/>
                  <a:gd name="connsiteX387" fmla="*/ 70760 w 301980"/>
                  <a:gd name="connsiteY387" fmla="*/ 107883 h 13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301980" h="131974">
                    <a:moveTo>
                      <a:pt x="301981" y="36971"/>
                    </a:moveTo>
                    <a:lnTo>
                      <a:pt x="301375" y="35001"/>
                    </a:lnTo>
                    <a:lnTo>
                      <a:pt x="297587" y="31365"/>
                    </a:lnTo>
                    <a:lnTo>
                      <a:pt x="293496" y="27728"/>
                    </a:lnTo>
                    <a:lnTo>
                      <a:pt x="290314" y="26971"/>
                    </a:lnTo>
                    <a:lnTo>
                      <a:pt x="284708" y="26365"/>
                    </a:lnTo>
                    <a:lnTo>
                      <a:pt x="281677" y="26365"/>
                    </a:lnTo>
                    <a:lnTo>
                      <a:pt x="280011" y="25455"/>
                    </a:lnTo>
                    <a:lnTo>
                      <a:pt x="278344" y="23334"/>
                    </a:lnTo>
                    <a:lnTo>
                      <a:pt x="276374" y="21364"/>
                    </a:lnTo>
                    <a:lnTo>
                      <a:pt x="273798" y="19395"/>
                    </a:lnTo>
                    <a:lnTo>
                      <a:pt x="272737" y="16364"/>
                    </a:lnTo>
                    <a:lnTo>
                      <a:pt x="271677" y="15758"/>
                    </a:lnTo>
                    <a:lnTo>
                      <a:pt x="269858" y="16213"/>
                    </a:lnTo>
                    <a:lnTo>
                      <a:pt x="266828" y="16061"/>
                    </a:lnTo>
                    <a:lnTo>
                      <a:pt x="265161" y="15758"/>
                    </a:lnTo>
                    <a:lnTo>
                      <a:pt x="262586" y="15304"/>
                    </a:lnTo>
                    <a:lnTo>
                      <a:pt x="258494" y="14091"/>
                    </a:lnTo>
                    <a:lnTo>
                      <a:pt x="255313" y="12879"/>
                    </a:lnTo>
                    <a:lnTo>
                      <a:pt x="251222" y="12728"/>
                    </a:lnTo>
                    <a:lnTo>
                      <a:pt x="248797" y="13031"/>
                    </a:lnTo>
                    <a:lnTo>
                      <a:pt x="241524" y="13182"/>
                    </a:lnTo>
                    <a:lnTo>
                      <a:pt x="235463" y="11970"/>
                    </a:lnTo>
                    <a:lnTo>
                      <a:pt x="230615" y="11667"/>
                    </a:lnTo>
                    <a:lnTo>
                      <a:pt x="227584" y="11667"/>
                    </a:lnTo>
                    <a:lnTo>
                      <a:pt x="226069" y="11516"/>
                    </a:lnTo>
                    <a:lnTo>
                      <a:pt x="223645" y="11516"/>
                    </a:lnTo>
                    <a:lnTo>
                      <a:pt x="220008" y="11213"/>
                    </a:lnTo>
                    <a:lnTo>
                      <a:pt x="215160" y="9243"/>
                    </a:lnTo>
                    <a:lnTo>
                      <a:pt x="213342" y="9091"/>
                    </a:lnTo>
                    <a:lnTo>
                      <a:pt x="212129" y="9091"/>
                    </a:lnTo>
                    <a:lnTo>
                      <a:pt x="203947" y="10455"/>
                    </a:lnTo>
                    <a:lnTo>
                      <a:pt x="200159" y="10758"/>
                    </a:lnTo>
                    <a:lnTo>
                      <a:pt x="192128" y="10607"/>
                    </a:lnTo>
                    <a:lnTo>
                      <a:pt x="184249" y="10455"/>
                    </a:lnTo>
                    <a:lnTo>
                      <a:pt x="181674" y="10152"/>
                    </a:lnTo>
                    <a:lnTo>
                      <a:pt x="180310" y="10303"/>
                    </a:lnTo>
                    <a:lnTo>
                      <a:pt x="177431" y="13637"/>
                    </a:lnTo>
                    <a:lnTo>
                      <a:pt x="176219" y="14091"/>
                    </a:lnTo>
                    <a:lnTo>
                      <a:pt x="168794" y="13334"/>
                    </a:lnTo>
                    <a:lnTo>
                      <a:pt x="160006" y="11061"/>
                    </a:lnTo>
                    <a:lnTo>
                      <a:pt x="153642" y="8637"/>
                    </a:lnTo>
                    <a:lnTo>
                      <a:pt x="148339" y="6061"/>
                    </a:lnTo>
                    <a:lnTo>
                      <a:pt x="141217" y="1970"/>
                    </a:lnTo>
                    <a:lnTo>
                      <a:pt x="136975" y="0"/>
                    </a:lnTo>
                    <a:lnTo>
                      <a:pt x="136369" y="1212"/>
                    </a:lnTo>
                    <a:lnTo>
                      <a:pt x="135308" y="1515"/>
                    </a:lnTo>
                    <a:lnTo>
                      <a:pt x="133641" y="1667"/>
                    </a:lnTo>
                    <a:lnTo>
                      <a:pt x="129853" y="1515"/>
                    </a:lnTo>
                    <a:lnTo>
                      <a:pt x="128186" y="3637"/>
                    </a:lnTo>
                    <a:lnTo>
                      <a:pt x="123641" y="5152"/>
                    </a:lnTo>
                    <a:lnTo>
                      <a:pt x="120762" y="6515"/>
                    </a:lnTo>
                    <a:lnTo>
                      <a:pt x="119247" y="8031"/>
                    </a:lnTo>
                    <a:lnTo>
                      <a:pt x="116368" y="17879"/>
                    </a:lnTo>
                    <a:lnTo>
                      <a:pt x="115610" y="21516"/>
                    </a:lnTo>
                    <a:lnTo>
                      <a:pt x="117580" y="27577"/>
                    </a:lnTo>
                    <a:lnTo>
                      <a:pt x="115308" y="27274"/>
                    </a:lnTo>
                    <a:lnTo>
                      <a:pt x="112731" y="25759"/>
                    </a:lnTo>
                    <a:lnTo>
                      <a:pt x="111822" y="24546"/>
                    </a:lnTo>
                    <a:lnTo>
                      <a:pt x="109246" y="23789"/>
                    </a:lnTo>
                    <a:lnTo>
                      <a:pt x="100004" y="22728"/>
                    </a:lnTo>
                    <a:lnTo>
                      <a:pt x="98337" y="21364"/>
                    </a:lnTo>
                    <a:lnTo>
                      <a:pt x="97277" y="20304"/>
                    </a:lnTo>
                    <a:lnTo>
                      <a:pt x="94852" y="19546"/>
                    </a:lnTo>
                    <a:lnTo>
                      <a:pt x="91519" y="18940"/>
                    </a:lnTo>
                    <a:lnTo>
                      <a:pt x="84246" y="16364"/>
                    </a:lnTo>
                    <a:lnTo>
                      <a:pt x="81064" y="16213"/>
                    </a:lnTo>
                    <a:lnTo>
                      <a:pt x="71669" y="14243"/>
                    </a:lnTo>
                    <a:lnTo>
                      <a:pt x="70154" y="14243"/>
                    </a:lnTo>
                    <a:lnTo>
                      <a:pt x="69397" y="14395"/>
                    </a:lnTo>
                    <a:lnTo>
                      <a:pt x="65760" y="15758"/>
                    </a:lnTo>
                    <a:lnTo>
                      <a:pt x="63336" y="16213"/>
                    </a:lnTo>
                    <a:lnTo>
                      <a:pt x="60760" y="15607"/>
                    </a:lnTo>
                    <a:lnTo>
                      <a:pt x="56214" y="17273"/>
                    </a:lnTo>
                    <a:lnTo>
                      <a:pt x="53790" y="19395"/>
                    </a:lnTo>
                    <a:lnTo>
                      <a:pt x="51820" y="22122"/>
                    </a:lnTo>
                    <a:lnTo>
                      <a:pt x="49850" y="23789"/>
                    </a:lnTo>
                    <a:lnTo>
                      <a:pt x="49244" y="26365"/>
                    </a:lnTo>
                    <a:lnTo>
                      <a:pt x="47881" y="27728"/>
                    </a:lnTo>
                    <a:lnTo>
                      <a:pt x="46214" y="30304"/>
                    </a:lnTo>
                    <a:lnTo>
                      <a:pt x="46214" y="31819"/>
                    </a:lnTo>
                    <a:lnTo>
                      <a:pt x="47729" y="33335"/>
                    </a:lnTo>
                    <a:lnTo>
                      <a:pt x="48638" y="32729"/>
                    </a:lnTo>
                    <a:lnTo>
                      <a:pt x="50153" y="32122"/>
                    </a:lnTo>
                    <a:lnTo>
                      <a:pt x="52729" y="33335"/>
                    </a:lnTo>
                    <a:lnTo>
                      <a:pt x="55002" y="34698"/>
                    </a:lnTo>
                    <a:lnTo>
                      <a:pt x="55608" y="35304"/>
                    </a:lnTo>
                    <a:lnTo>
                      <a:pt x="55457" y="36062"/>
                    </a:lnTo>
                    <a:lnTo>
                      <a:pt x="50153" y="38789"/>
                    </a:lnTo>
                    <a:lnTo>
                      <a:pt x="46820" y="40153"/>
                    </a:lnTo>
                    <a:lnTo>
                      <a:pt x="45305" y="40456"/>
                    </a:lnTo>
                    <a:lnTo>
                      <a:pt x="44850" y="40759"/>
                    </a:lnTo>
                    <a:lnTo>
                      <a:pt x="43790" y="43941"/>
                    </a:lnTo>
                    <a:lnTo>
                      <a:pt x="41668" y="44547"/>
                    </a:lnTo>
                    <a:lnTo>
                      <a:pt x="39093" y="45456"/>
                    </a:lnTo>
                    <a:lnTo>
                      <a:pt x="37274" y="46972"/>
                    </a:lnTo>
                    <a:lnTo>
                      <a:pt x="34396" y="50456"/>
                    </a:lnTo>
                    <a:lnTo>
                      <a:pt x="26971" y="55457"/>
                    </a:lnTo>
                    <a:lnTo>
                      <a:pt x="26819" y="56517"/>
                    </a:lnTo>
                    <a:lnTo>
                      <a:pt x="27425" y="57275"/>
                    </a:lnTo>
                    <a:lnTo>
                      <a:pt x="29850" y="57881"/>
                    </a:lnTo>
                    <a:lnTo>
                      <a:pt x="33031" y="59396"/>
                    </a:lnTo>
                    <a:lnTo>
                      <a:pt x="34698" y="60608"/>
                    </a:lnTo>
                    <a:lnTo>
                      <a:pt x="39547" y="59093"/>
                    </a:lnTo>
                    <a:lnTo>
                      <a:pt x="40759" y="59396"/>
                    </a:lnTo>
                    <a:lnTo>
                      <a:pt x="41972" y="61063"/>
                    </a:lnTo>
                    <a:lnTo>
                      <a:pt x="43335" y="65608"/>
                    </a:lnTo>
                    <a:lnTo>
                      <a:pt x="45456" y="66821"/>
                    </a:lnTo>
                    <a:lnTo>
                      <a:pt x="48183" y="67730"/>
                    </a:lnTo>
                    <a:lnTo>
                      <a:pt x="49850" y="68033"/>
                    </a:lnTo>
                    <a:lnTo>
                      <a:pt x="52123" y="69094"/>
                    </a:lnTo>
                    <a:lnTo>
                      <a:pt x="55154" y="69548"/>
                    </a:lnTo>
                    <a:lnTo>
                      <a:pt x="57275" y="69094"/>
                    </a:lnTo>
                    <a:lnTo>
                      <a:pt x="59851" y="70003"/>
                    </a:lnTo>
                    <a:lnTo>
                      <a:pt x="60305" y="69548"/>
                    </a:lnTo>
                    <a:lnTo>
                      <a:pt x="60608" y="62881"/>
                    </a:lnTo>
                    <a:lnTo>
                      <a:pt x="62730" y="63942"/>
                    </a:lnTo>
                    <a:lnTo>
                      <a:pt x="63942" y="63942"/>
                    </a:lnTo>
                    <a:lnTo>
                      <a:pt x="65003" y="63184"/>
                    </a:lnTo>
                    <a:lnTo>
                      <a:pt x="65609" y="62124"/>
                    </a:lnTo>
                    <a:lnTo>
                      <a:pt x="65912" y="59851"/>
                    </a:lnTo>
                    <a:lnTo>
                      <a:pt x="65457" y="57578"/>
                    </a:lnTo>
                    <a:lnTo>
                      <a:pt x="66366" y="56517"/>
                    </a:lnTo>
                    <a:lnTo>
                      <a:pt x="67124" y="56214"/>
                    </a:lnTo>
                    <a:lnTo>
                      <a:pt x="67730" y="56517"/>
                    </a:lnTo>
                    <a:lnTo>
                      <a:pt x="68033" y="57123"/>
                    </a:lnTo>
                    <a:lnTo>
                      <a:pt x="68184" y="59093"/>
                    </a:lnTo>
                    <a:lnTo>
                      <a:pt x="69700" y="60002"/>
                    </a:lnTo>
                    <a:lnTo>
                      <a:pt x="70609" y="60457"/>
                    </a:lnTo>
                    <a:lnTo>
                      <a:pt x="71518" y="62124"/>
                    </a:lnTo>
                    <a:lnTo>
                      <a:pt x="72427" y="63790"/>
                    </a:lnTo>
                    <a:lnTo>
                      <a:pt x="73033" y="67578"/>
                    </a:lnTo>
                    <a:lnTo>
                      <a:pt x="75154" y="67881"/>
                    </a:lnTo>
                    <a:lnTo>
                      <a:pt x="77730" y="68639"/>
                    </a:lnTo>
                    <a:lnTo>
                      <a:pt x="79397" y="67881"/>
                    </a:lnTo>
                    <a:lnTo>
                      <a:pt x="80761" y="68336"/>
                    </a:lnTo>
                    <a:lnTo>
                      <a:pt x="81215" y="70154"/>
                    </a:lnTo>
                    <a:lnTo>
                      <a:pt x="81215" y="71821"/>
                    </a:lnTo>
                    <a:lnTo>
                      <a:pt x="81367" y="73185"/>
                    </a:lnTo>
                    <a:lnTo>
                      <a:pt x="82124" y="73488"/>
                    </a:lnTo>
                    <a:lnTo>
                      <a:pt x="84397" y="72730"/>
                    </a:lnTo>
                    <a:lnTo>
                      <a:pt x="86215" y="72578"/>
                    </a:lnTo>
                    <a:lnTo>
                      <a:pt x="87882" y="73336"/>
                    </a:lnTo>
                    <a:lnTo>
                      <a:pt x="90003" y="74548"/>
                    </a:lnTo>
                    <a:lnTo>
                      <a:pt x="93185" y="77730"/>
                    </a:lnTo>
                    <a:lnTo>
                      <a:pt x="94246" y="78185"/>
                    </a:lnTo>
                    <a:lnTo>
                      <a:pt x="98943" y="78488"/>
                    </a:lnTo>
                    <a:lnTo>
                      <a:pt x="99852" y="79094"/>
                    </a:lnTo>
                    <a:lnTo>
                      <a:pt x="101519" y="79094"/>
                    </a:lnTo>
                    <a:lnTo>
                      <a:pt x="103337" y="78488"/>
                    </a:lnTo>
                    <a:lnTo>
                      <a:pt x="107277" y="79548"/>
                    </a:lnTo>
                    <a:lnTo>
                      <a:pt x="107428" y="80154"/>
                    </a:lnTo>
                    <a:lnTo>
                      <a:pt x="106822" y="80912"/>
                    </a:lnTo>
                    <a:lnTo>
                      <a:pt x="97579" y="85306"/>
                    </a:lnTo>
                    <a:lnTo>
                      <a:pt x="96822" y="86670"/>
                    </a:lnTo>
                    <a:lnTo>
                      <a:pt x="94852" y="88337"/>
                    </a:lnTo>
                    <a:lnTo>
                      <a:pt x="92731" y="89246"/>
                    </a:lnTo>
                    <a:lnTo>
                      <a:pt x="91670" y="89246"/>
                    </a:lnTo>
                    <a:lnTo>
                      <a:pt x="87124" y="87579"/>
                    </a:lnTo>
                    <a:lnTo>
                      <a:pt x="86518" y="88033"/>
                    </a:lnTo>
                    <a:lnTo>
                      <a:pt x="86215" y="88791"/>
                    </a:lnTo>
                    <a:lnTo>
                      <a:pt x="86215" y="89549"/>
                    </a:lnTo>
                    <a:lnTo>
                      <a:pt x="87276" y="91367"/>
                    </a:lnTo>
                    <a:lnTo>
                      <a:pt x="86822" y="92579"/>
                    </a:lnTo>
                    <a:lnTo>
                      <a:pt x="85912" y="93337"/>
                    </a:lnTo>
                    <a:lnTo>
                      <a:pt x="83034" y="92579"/>
                    </a:lnTo>
                    <a:lnTo>
                      <a:pt x="82579" y="92125"/>
                    </a:lnTo>
                    <a:lnTo>
                      <a:pt x="82579" y="91670"/>
                    </a:lnTo>
                    <a:lnTo>
                      <a:pt x="81518" y="91670"/>
                    </a:lnTo>
                    <a:lnTo>
                      <a:pt x="79852" y="92125"/>
                    </a:lnTo>
                    <a:lnTo>
                      <a:pt x="76669" y="95307"/>
                    </a:lnTo>
                    <a:lnTo>
                      <a:pt x="75458" y="96973"/>
                    </a:lnTo>
                    <a:lnTo>
                      <a:pt x="75003" y="98034"/>
                    </a:lnTo>
                    <a:lnTo>
                      <a:pt x="73488" y="98640"/>
                    </a:lnTo>
                    <a:lnTo>
                      <a:pt x="71972" y="98792"/>
                    </a:lnTo>
                    <a:lnTo>
                      <a:pt x="70003" y="100307"/>
                    </a:lnTo>
                    <a:lnTo>
                      <a:pt x="67881" y="101519"/>
                    </a:lnTo>
                    <a:lnTo>
                      <a:pt x="67124" y="100610"/>
                    </a:lnTo>
                    <a:lnTo>
                      <a:pt x="66669" y="99701"/>
                    </a:lnTo>
                    <a:lnTo>
                      <a:pt x="66063" y="99398"/>
                    </a:lnTo>
                    <a:lnTo>
                      <a:pt x="64700" y="99549"/>
                    </a:lnTo>
                    <a:lnTo>
                      <a:pt x="63033" y="99549"/>
                    </a:lnTo>
                    <a:lnTo>
                      <a:pt x="61366" y="98488"/>
                    </a:lnTo>
                    <a:lnTo>
                      <a:pt x="59093" y="97428"/>
                    </a:lnTo>
                    <a:lnTo>
                      <a:pt x="57124" y="97125"/>
                    </a:lnTo>
                    <a:lnTo>
                      <a:pt x="51366" y="97579"/>
                    </a:lnTo>
                    <a:lnTo>
                      <a:pt x="48487" y="98034"/>
                    </a:lnTo>
                    <a:lnTo>
                      <a:pt x="47578" y="98488"/>
                    </a:lnTo>
                    <a:lnTo>
                      <a:pt x="47729" y="99095"/>
                    </a:lnTo>
                    <a:lnTo>
                      <a:pt x="47274" y="100155"/>
                    </a:lnTo>
                    <a:lnTo>
                      <a:pt x="41517" y="101973"/>
                    </a:lnTo>
                    <a:lnTo>
                      <a:pt x="38941" y="103489"/>
                    </a:lnTo>
                    <a:lnTo>
                      <a:pt x="38335" y="106216"/>
                    </a:lnTo>
                    <a:lnTo>
                      <a:pt x="37729" y="106974"/>
                    </a:lnTo>
                    <a:lnTo>
                      <a:pt x="36517" y="107580"/>
                    </a:lnTo>
                    <a:lnTo>
                      <a:pt x="35305" y="107731"/>
                    </a:lnTo>
                    <a:lnTo>
                      <a:pt x="33486" y="104549"/>
                    </a:lnTo>
                    <a:lnTo>
                      <a:pt x="31517" y="103943"/>
                    </a:lnTo>
                    <a:lnTo>
                      <a:pt x="28638" y="102883"/>
                    </a:lnTo>
                    <a:lnTo>
                      <a:pt x="23031" y="100761"/>
                    </a:lnTo>
                    <a:lnTo>
                      <a:pt x="20153" y="99852"/>
                    </a:lnTo>
                    <a:lnTo>
                      <a:pt x="14698" y="101216"/>
                    </a:lnTo>
                    <a:lnTo>
                      <a:pt x="8334" y="103186"/>
                    </a:lnTo>
                    <a:lnTo>
                      <a:pt x="7273" y="104398"/>
                    </a:lnTo>
                    <a:lnTo>
                      <a:pt x="6667" y="105610"/>
                    </a:lnTo>
                    <a:lnTo>
                      <a:pt x="6667" y="106519"/>
                    </a:lnTo>
                    <a:lnTo>
                      <a:pt x="7121" y="107883"/>
                    </a:lnTo>
                    <a:lnTo>
                      <a:pt x="6819" y="108943"/>
                    </a:lnTo>
                    <a:lnTo>
                      <a:pt x="5606" y="109247"/>
                    </a:lnTo>
                    <a:lnTo>
                      <a:pt x="3788" y="108034"/>
                    </a:lnTo>
                    <a:lnTo>
                      <a:pt x="2122" y="107277"/>
                    </a:lnTo>
                    <a:lnTo>
                      <a:pt x="1364" y="108943"/>
                    </a:lnTo>
                    <a:lnTo>
                      <a:pt x="455" y="111822"/>
                    </a:lnTo>
                    <a:lnTo>
                      <a:pt x="0" y="113944"/>
                    </a:lnTo>
                    <a:lnTo>
                      <a:pt x="1364" y="116974"/>
                    </a:lnTo>
                    <a:lnTo>
                      <a:pt x="1818" y="121520"/>
                    </a:lnTo>
                    <a:lnTo>
                      <a:pt x="4394" y="121217"/>
                    </a:lnTo>
                    <a:lnTo>
                      <a:pt x="6364" y="121217"/>
                    </a:lnTo>
                    <a:lnTo>
                      <a:pt x="10000" y="119853"/>
                    </a:lnTo>
                    <a:lnTo>
                      <a:pt x="11819" y="119853"/>
                    </a:lnTo>
                    <a:lnTo>
                      <a:pt x="14698" y="120459"/>
                    </a:lnTo>
                    <a:lnTo>
                      <a:pt x="19698" y="120611"/>
                    </a:lnTo>
                    <a:lnTo>
                      <a:pt x="23637" y="120307"/>
                    </a:lnTo>
                    <a:lnTo>
                      <a:pt x="24546" y="120459"/>
                    </a:lnTo>
                    <a:lnTo>
                      <a:pt x="25455" y="119550"/>
                    </a:lnTo>
                    <a:lnTo>
                      <a:pt x="26516" y="119853"/>
                    </a:lnTo>
                    <a:lnTo>
                      <a:pt x="27425" y="120913"/>
                    </a:lnTo>
                    <a:lnTo>
                      <a:pt x="31517" y="119701"/>
                    </a:lnTo>
                    <a:lnTo>
                      <a:pt x="34547" y="119550"/>
                    </a:lnTo>
                    <a:lnTo>
                      <a:pt x="36365" y="119853"/>
                    </a:lnTo>
                    <a:lnTo>
                      <a:pt x="37426" y="120156"/>
                    </a:lnTo>
                    <a:lnTo>
                      <a:pt x="39395" y="123186"/>
                    </a:lnTo>
                    <a:lnTo>
                      <a:pt x="40911" y="125005"/>
                    </a:lnTo>
                    <a:lnTo>
                      <a:pt x="42729" y="125611"/>
                    </a:lnTo>
                    <a:lnTo>
                      <a:pt x="48335" y="125005"/>
                    </a:lnTo>
                    <a:lnTo>
                      <a:pt x="50002" y="122429"/>
                    </a:lnTo>
                    <a:lnTo>
                      <a:pt x="51517" y="121823"/>
                    </a:lnTo>
                    <a:lnTo>
                      <a:pt x="53790" y="121671"/>
                    </a:lnTo>
                    <a:lnTo>
                      <a:pt x="55760" y="121217"/>
                    </a:lnTo>
                    <a:lnTo>
                      <a:pt x="57275" y="120156"/>
                    </a:lnTo>
                    <a:lnTo>
                      <a:pt x="59396" y="119247"/>
                    </a:lnTo>
                    <a:lnTo>
                      <a:pt x="61215" y="119095"/>
                    </a:lnTo>
                    <a:lnTo>
                      <a:pt x="62124" y="119853"/>
                    </a:lnTo>
                    <a:lnTo>
                      <a:pt x="62578" y="120762"/>
                    </a:lnTo>
                    <a:lnTo>
                      <a:pt x="62275" y="121974"/>
                    </a:lnTo>
                    <a:lnTo>
                      <a:pt x="62275" y="123186"/>
                    </a:lnTo>
                    <a:lnTo>
                      <a:pt x="63487" y="123944"/>
                    </a:lnTo>
                    <a:lnTo>
                      <a:pt x="66972" y="124095"/>
                    </a:lnTo>
                    <a:lnTo>
                      <a:pt x="68639" y="124853"/>
                    </a:lnTo>
                    <a:lnTo>
                      <a:pt x="68791" y="126368"/>
                    </a:lnTo>
                    <a:lnTo>
                      <a:pt x="68488" y="128641"/>
                    </a:lnTo>
                    <a:lnTo>
                      <a:pt x="70003" y="129550"/>
                    </a:lnTo>
                    <a:lnTo>
                      <a:pt x="70760" y="129702"/>
                    </a:lnTo>
                    <a:lnTo>
                      <a:pt x="75760" y="127278"/>
                    </a:lnTo>
                    <a:lnTo>
                      <a:pt x="77124" y="127278"/>
                    </a:lnTo>
                    <a:lnTo>
                      <a:pt x="78185" y="128641"/>
                    </a:lnTo>
                    <a:lnTo>
                      <a:pt x="79852" y="130308"/>
                    </a:lnTo>
                    <a:lnTo>
                      <a:pt x="82124" y="131975"/>
                    </a:lnTo>
                    <a:lnTo>
                      <a:pt x="82730" y="131672"/>
                    </a:lnTo>
                    <a:lnTo>
                      <a:pt x="83791" y="129853"/>
                    </a:lnTo>
                    <a:lnTo>
                      <a:pt x="85761" y="127883"/>
                    </a:lnTo>
                    <a:lnTo>
                      <a:pt x="89397" y="127278"/>
                    </a:lnTo>
                    <a:lnTo>
                      <a:pt x="91367" y="126671"/>
                    </a:lnTo>
                    <a:lnTo>
                      <a:pt x="93489" y="126368"/>
                    </a:lnTo>
                    <a:lnTo>
                      <a:pt x="99852" y="127126"/>
                    </a:lnTo>
                    <a:lnTo>
                      <a:pt x="101974" y="127278"/>
                    </a:lnTo>
                    <a:lnTo>
                      <a:pt x="106368" y="127126"/>
                    </a:lnTo>
                    <a:lnTo>
                      <a:pt x="109853" y="126671"/>
                    </a:lnTo>
                    <a:lnTo>
                      <a:pt x="112580" y="125459"/>
                    </a:lnTo>
                    <a:lnTo>
                      <a:pt x="113944" y="124550"/>
                    </a:lnTo>
                    <a:lnTo>
                      <a:pt x="116217" y="123944"/>
                    </a:lnTo>
                    <a:lnTo>
                      <a:pt x="119096" y="124095"/>
                    </a:lnTo>
                    <a:lnTo>
                      <a:pt x="120610" y="124399"/>
                    </a:lnTo>
                    <a:lnTo>
                      <a:pt x="122884" y="123944"/>
                    </a:lnTo>
                    <a:lnTo>
                      <a:pt x="125763" y="123035"/>
                    </a:lnTo>
                    <a:lnTo>
                      <a:pt x="127126" y="121671"/>
                    </a:lnTo>
                    <a:lnTo>
                      <a:pt x="128035" y="120156"/>
                    </a:lnTo>
                    <a:lnTo>
                      <a:pt x="128186" y="119247"/>
                    </a:lnTo>
                    <a:lnTo>
                      <a:pt x="127277" y="115762"/>
                    </a:lnTo>
                    <a:lnTo>
                      <a:pt x="126065" y="114247"/>
                    </a:lnTo>
                    <a:lnTo>
                      <a:pt x="125914" y="113035"/>
                    </a:lnTo>
                    <a:lnTo>
                      <a:pt x="126520" y="112125"/>
                    </a:lnTo>
                    <a:lnTo>
                      <a:pt x="127277" y="110610"/>
                    </a:lnTo>
                    <a:lnTo>
                      <a:pt x="128793" y="107428"/>
                    </a:lnTo>
                    <a:lnTo>
                      <a:pt x="130308" y="105307"/>
                    </a:lnTo>
                    <a:lnTo>
                      <a:pt x="131065" y="104852"/>
                    </a:lnTo>
                    <a:lnTo>
                      <a:pt x="132884" y="104398"/>
                    </a:lnTo>
                    <a:lnTo>
                      <a:pt x="137127" y="103792"/>
                    </a:lnTo>
                    <a:lnTo>
                      <a:pt x="141824" y="102276"/>
                    </a:lnTo>
                    <a:lnTo>
                      <a:pt x="147278" y="97882"/>
                    </a:lnTo>
                    <a:lnTo>
                      <a:pt x="149096" y="96670"/>
                    </a:lnTo>
                    <a:lnTo>
                      <a:pt x="151521" y="96064"/>
                    </a:lnTo>
                    <a:lnTo>
                      <a:pt x="153188" y="96064"/>
                    </a:lnTo>
                    <a:lnTo>
                      <a:pt x="153491" y="95458"/>
                    </a:lnTo>
                    <a:lnTo>
                      <a:pt x="152430" y="92731"/>
                    </a:lnTo>
                    <a:lnTo>
                      <a:pt x="152733" y="91821"/>
                    </a:lnTo>
                    <a:lnTo>
                      <a:pt x="153339" y="91064"/>
                    </a:lnTo>
                    <a:lnTo>
                      <a:pt x="154097" y="90761"/>
                    </a:lnTo>
                    <a:lnTo>
                      <a:pt x="157885" y="92125"/>
                    </a:lnTo>
                    <a:lnTo>
                      <a:pt x="160764" y="91973"/>
                    </a:lnTo>
                    <a:lnTo>
                      <a:pt x="164248" y="91064"/>
                    </a:lnTo>
                    <a:lnTo>
                      <a:pt x="171976" y="86367"/>
                    </a:lnTo>
                    <a:lnTo>
                      <a:pt x="172885" y="86518"/>
                    </a:lnTo>
                    <a:lnTo>
                      <a:pt x="173643" y="87124"/>
                    </a:lnTo>
                    <a:lnTo>
                      <a:pt x="174552" y="90003"/>
                    </a:lnTo>
                    <a:lnTo>
                      <a:pt x="175613" y="96064"/>
                    </a:lnTo>
                    <a:lnTo>
                      <a:pt x="176219" y="96822"/>
                    </a:lnTo>
                    <a:lnTo>
                      <a:pt x="181522" y="96973"/>
                    </a:lnTo>
                    <a:lnTo>
                      <a:pt x="185158" y="94700"/>
                    </a:lnTo>
                    <a:lnTo>
                      <a:pt x="186674" y="94246"/>
                    </a:lnTo>
                    <a:lnTo>
                      <a:pt x="189250" y="94549"/>
                    </a:lnTo>
                    <a:lnTo>
                      <a:pt x="190613" y="93488"/>
                    </a:lnTo>
                    <a:lnTo>
                      <a:pt x="191977" y="92731"/>
                    </a:lnTo>
                    <a:lnTo>
                      <a:pt x="193644" y="95307"/>
                    </a:lnTo>
                    <a:lnTo>
                      <a:pt x="195765" y="94094"/>
                    </a:lnTo>
                    <a:lnTo>
                      <a:pt x="198038" y="92125"/>
                    </a:lnTo>
                    <a:lnTo>
                      <a:pt x="199099" y="90155"/>
                    </a:lnTo>
                    <a:lnTo>
                      <a:pt x="200614" y="88033"/>
                    </a:lnTo>
                    <a:lnTo>
                      <a:pt x="201826" y="85306"/>
                    </a:lnTo>
                    <a:lnTo>
                      <a:pt x="202280" y="82730"/>
                    </a:lnTo>
                    <a:lnTo>
                      <a:pt x="202887" y="81518"/>
                    </a:lnTo>
                    <a:lnTo>
                      <a:pt x="204250" y="80306"/>
                    </a:lnTo>
                    <a:lnTo>
                      <a:pt x="207432" y="75003"/>
                    </a:lnTo>
                    <a:lnTo>
                      <a:pt x="209705" y="73639"/>
                    </a:lnTo>
                    <a:lnTo>
                      <a:pt x="211826" y="73185"/>
                    </a:lnTo>
                    <a:lnTo>
                      <a:pt x="217130" y="74094"/>
                    </a:lnTo>
                    <a:lnTo>
                      <a:pt x="219857" y="73942"/>
                    </a:lnTo>
                    <a:lnTo>
                      <a:pt x="228039" y="74700"/>
                    </a:lnTo>
                    <a:lnTo>
                      <a:pt x="231827" y="73639"/>
                    </a:lnTo>
                    <a:lnTo>
                      <a:pt x="234403" y="72578"/>
                    </a:lnTo>
                    <a:lnTo>
                      <a:pt x="238342" y="72730"/>
                    </a:lnTo>
                    <a:lnTo>
                      <a:pt x="242888" y="71972"/>
                    </a:lnTo>
                    <a:lnTo>
                      <a:pt x="248949" y="65305"/>
                    </a:lnTo>
                    <a:lnTo>
                      <a:pt x="248949" y="63942"/>
                    </a:lnTo>
                    <a:lnTo>
                      <a:pt x="249252" y="62427"/>
                    </a:lnTo>
                    <a:lnTo>
                      <a:pt x="251525" y="60911"/>
                    </a:lnTo>
                    <a:lnTo>
                      <a:pt x="254252" y="59548"/>
                    </a:lnTo>
                    <a:lnTo>
                      <a:pt x="259707" y="56214"/>
                    </a:lnTo>
                    <a:lnTo>
                      <a:pt x="270768" y="51063"/>
                    </a:lnTo>
                    <a:lnTo>
                      <a:pt x="274707" y="48941"/>
                    </a:lnTo>
                    <a:lnTo>
                      <a:pt x="276374" y="48941"/>
                    </a:lnTo>
                    <a:lnTo>
                      <a:pt x="280465" y="47577"/>
                    </a:lnTo>
                    <a:lnTo>
                      <a:pt x="287587" y="45002"/>
                    </a:lnTo>
                    <a:lnTo>
                      <a:pt x="289556" y="41820"/>
                    </a:lnTo>
                    <a:lnTo>
                      <a:pt x="291375" y="41214"/>
                    </a:lnTo>
                    <a:lnTo>
                      <a:pt x="299708" y="40608"/>
                    </a:lnTo>
                    <a:lnTo>
                      <a:pt x="300163" y="40305"/>
                    </a:lnTo>
                    <a:lnTo>
                      <a:pt x="300466" y="39698"/>
                    </a:lnTo>
                    <a:lnTo>
                      <a:pt x="301981" y="36971"/>
                    </a:lnTo>
                    <a:close/>
                    <a:moveTo>
                      <a:pt x="38941" y="113035"/>
                    </a:moveTo>
                    <a:lnTo>
                      <a:pt x="37577" y="112883"/>
                    </a:lnTo>
                    <a:lnTo>
                      <a:pt x="36517" y="111671"/>
                    </a:lnTo>
                    <a:lnTo>
                      <a:pt x="35759" y="110610"/>
                    </a:lnTo>
                    <a:lnTo>
                      <a:pt x="35607" y="110004"/>
                    </a:lnTo>
                    <a:lnTo>
                      <a:pt x="36062" y="110004"/>
                    </a:lnTo>
                    <a:lnTo>
                      <a:pt x="38032" y="110459"/>
                    </a:lnTo>
                    <a:lnTo>
                      <a:pt x="40759" y="110762"/>
                    </a:lnTo>
                    <a:lnTo>
                      <a:pt x="41668" y="111065"/>
                    </a:lnTo>
                    <a:lnTo>
                      <a:pt x="41820" y="111671"/>
                    </a:lnTo>
                    <a:lnTo>
                      <a:pt x="38941" y="113035"/>
                    </a:lnTo>
                    <a:close/>
                    <a:moveTo>
                      <a:pt x="55457" y="109247"/>
                    </a:moveTo>
                    <a:lnTo>
                      <a:pt x="55154" y="109701"/>
                    </a:lnTo>
                    <a:lnTo>
                      <a:pt x="53790" y="110004"/>
                    </a:lnTo>
                    <a:lnTo>
                      <a:pt x="51214" y="110004"/>
                    </a:lnTo>
                    <a:lnTo>
                      <a:pt x="49850" y="109701"/>
                    </a:lnTo>
                    <a:lnTo>
                      <a:pt x="50760" y="107125"/>
                    </a:lnTo>
                    <a:lnTo>
                      <a:pt x="50760" y="106671"/>
                    </a:lnTo>
                    <a:lnTo>
                      <a:pt x="50608" y="106519"/>
                    </a:lnTo>
                    <a:lnTo>
                      <a:pt x="49850" y="106216"/>
                    </a:lnTo>
                    <a:lnTo>
                      <a:pt x="48790" y="105155"/>
                    </a:lnTo>
                    <a:lnTo>
                      <a:pt x="48487" y="103640"/>
                    </a:lnTo>
                    <a:lnTo>
                      <a:pt x="48941" y="102125"/>
                    </a:lnTo>
                    <a:lnTo>
                      <a:pt x="49699" y="101519"/>
                    </a:lnTo>
                    <a:lnTo>
                      <a:pt x="50153" y="101670"/>
                    </a:lnTo>
                    <a:lnTo>
                      <a:pt x="51669" y="103943"/>
                    </a:lnTo>
                    <a:lnTo>
                      <a:pt x="53032" y="104549"/>
                    </a:lnTo>
                    <a:lnTo>
                      <a:pt x="55760" y="104852"/>
                    </a:lnTo>
                    <a:lnTo>
                      <a:pt x="54396" y="107125"/>
                    </a:lnTo>
                    <a:lnTo>
                      <a:pt x="55457" y="109247"/>
                    </a:lnTo>
                    <a:close/>
                    <a:moveTo>
                      <a:pt x="70760" y="107883"/>
                    </a:moveTo>
                    <a:lnTo>
                      <a:pt x="70003" y="109247"/>
                    </a:lnTo>
                    <a:lnTo>
                      <a:pt x="68639" y="108943"/>
                    </a:lnTo>
                    <a:lnTo>
                      <a:pt x="67578" y="108034"/>
                    </a:lnTo>
                    <a:lnTo>
                      <a:pt x="67881" y="107277"/>
                    </a:lnTo>
                    <a:lnTo>
                      <a:pt x="69397" y="106822"/>
                    </a:lnTo>
                    <a:lnTo>
                      <a:pt x="70154" y="106368"/>
                    </a:lnTo>
                    <a:lnTo>
                      <a:pt x="70760" y="106368"/>
                    </a:lnTo>
                    <a:lnTo>
                      <a:pt x="70760" y="10788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0" name="Freeform: Shape 3249">
                <a:extLst>
                  <a:ext uri="{FF2B5EF4-FFF2-40B4-BE49-F238E27FC236}">
                    <a16:creationId xmlns:a16="http://schemas.microsoft.com/office/drawing/2014/main" id="{A47D3E88-F8F8-478F-A06B-F1BA83EE0001}"/>
                  </a:ext>
                </a:extLst>
              </p:cNvPr>
              <p:cNvSpPr/>
              <p:nvPr/>
            </p:nvSpPr>
            <p:spPr>
              <a:xfrm>
                <a:off x="6706477" y="4412594"/>
                <a:ext cx="215613" cy="276222"/>
              </a:xfrm>
              <a:custGeom>
                <a:avLst/>
                <a:gdLst>
                  <a:gd name="connsiteX0" fmla="*/ 194855 w 215613"/>
                  <a:gd name="connsiteY0" fmla="*/ 204856 h 276222"/>
                  <a:gd name="connsiteX1" fmla="*/ 191825 w 215613"/>
                  <a:gd name="connsiteY1" fmla="*/ 206826 h 276222"/>
                  <a:gd name="connsiteX2" fmla="*/ 191371 w 215613"/>
                  <a:gd name="connsiteY2" fmla="*/ 208341 h 276222"/>
                  <a:gd name="connsiteX3" fmla="*/ 192431 w 215613"/>
                  <a:gd name="connsiteY3" fmla="*/ 208038 h 276222"/>
                  <a:gd name="connsiteX4" fmla="*/ 195765 w 215613"/>
                  <a:gd name="connsiteY4" fmla="*/ 206523 h 276222"/>
                  <a:gd name="connsiteX5" fmla="*/ 196219 w 215613"/>
                  <a:gd name="connsiteY5" fmla="*/ 206068 h 276222"/>
                  <a:gd name="connsiteX6" fmla="*/ 196219 w 215613"/>
                  <a:gd name="connsiteY6" fmla="*/ 205614 h 276222"/>
                  <a:gd name="connsiteX7" fmla="*/ 195916 w 215613"/>
                  <a:gd name="connsiteY7" fmla="*/ 205159 h 276222"/>
                  <a:gd name="connsiteX8" fmla="*/ 194855 w 215613"/>
                  <a:gd name="connsiteY8" fmla="*/ 204856 h 276222"/>
                  <a:gd name="connsiteX9" fmla="*/ 212735 w 215613"/>
                  <a:gd name="connsiteY9" fmla="*/ 41214 h 276222"/>
                  <a:gd name="connsiteX10" fmla="*/ 205765 w 215613"/>
                  <a:gd name="connsiteY10" fmla="*/ 41668 h 276222"/>
                  <a:gd name="connsiteX11" fmla="*/ 202735 w 215613"/>
                  <a:gd name="connsiteY11" fmla="*/ 42123 h 276222"/>
                  <a:gd name="connsiteX12" fmla="*/ 201220 w 215613"/>
                  <a:gd name="connsiteY12" fmla="*/ 42274 h 276222"/>
                  <a:gd name="connsiteX13" fmla="*/ 198492 w 215613"/>
                  <a:gd name="connsiteY13" fmla="*/ 42274 h 276222"/>
                  <a:gd name="connsiteX14" fmla="*/ 196219 w 215613"/>
                  <a:gd name="connsiteY14" fmla="*/ 41820 h 276222"/>
                  <a:gd name="connsiteX15" fmla="*/ 194704 w 215613"/>
                  <a:gd name="connsiteY15" fmla="*/ 41062 h 276222"/>
                  <a:gd name="connsiteX16" fmla="*/ 192886 w 215613"/>
                  <a:gd name="connsiteY16" fmla="*/ 39244 h 276222"/>
                  <a:gd name="connsiteX17" fmla="*/ 188795 w 215613"/>
                  <a:gd name="connsiteY17" fmla="*/ 35607 h 276222"/>
                  <a:gd name="connsiteX18" fmla="*/ 185916 w 215613"/>
                  <a:gd name="connsiteY18" fmla="*/ 33335 h 276222"/>
                  <a:gd name="connsiteX19" fmla="*/ 179401 w 215613"/>
                  <a:gd name="connsiteY19" fmla="*/ 35910 h 276222"/>
                  <a:gd name="connsiteX20" fmla="*/ 173643 w 215613"/>
                  <a:gd name="connsiteY20" fmla="*/ 38486 h 276222"/>
                  <a:gd name="connsiteX21" fmla="*/ 165309 w 215613"/>
                  <a:gd name="connsiteY21" fmla="*/ 42123 h 276222"/>
                  <a:gd name="connsiteX22" fmla="*/ 160612 w 215613"/>
                  <a:gd name="connsiteY22" fmla="*/ 44699 h 276222"/>
                  <a:gd name="connsiteX23" fmla="*/ 159248 w 215613"/>
                  <a:gd name="connsiteY23" fmla="*/ 47274 h 276222"/>
                  <a:gd name="connsiteX24" fmla="*/ 155612 w 215613"/>
                  <a:gd name="connsiteY24" fmla="*/ 52123 h 276222"/>
                  <a:gd name="connsiteX25" fmla="*/ 152430 w 215613"/>
                  <a:gd name="connsiteY25" fmla="*/ 55154 h 276222"/>
                  <a:gd name="connsiteX26" fmla="*/ 151217 w 215613"/>
                  <a:gd name="connsiteY26" fmla="*/ 55457 h 276222"/>
                  <a:gd name="connsiteX27" fmla="*/ 143793 w 215613"/>
                  <a:gd name="connsiteY27" fmla="*/ 54850 h 276222"/>
                  <a:gd name="connsiteX28" fmla="*/ 141066 w 215613"/>
                  <a:gd name="connsiteY28" fmla="*/ 54244 h 276222"/>
                  <a:gd name="connsiteX29" fmla="*/ 136672 w 215613"/>
                  <a:gd name="connsiteY29" fmla="*/ 53638 h 276222"/>
                  <a:gd name="connsiteX30" fmla="*/ 130763 w 215613"/>
                  <a:gd name="connsiteY30" fmla="*/ 52578 h 276222"/>
                  <a:gd name="connsiteX31" fmla="*/ 126823 w 215613"/>
                  <a:gd name="connsiteY31" fmla="*/ 51517 h 276222"/>
                  <a:gd name="connsiteX32" fmla="*/ 122580 w 215613"/>
                  <a:gd name="connsiteY32" fmla="*/ 51366 h 276222"/>
                  <a:gd name="connsiteX33" fmla="*/ 116368 w 215613"/>
                  <a:gd name="connsiteY33" fmla="*/ 50911 h 276222"/>
                  <a:gd name="connsiteX34" fmla="*/ 112580 w 215613"/>
                  <a:gd name="connsiteY34" fmla="*/ 50153 h 276222"/>
                  <a:gd name="connsiteX35" fmla="*/ 108640 w 215613"/>
                  <a:gd name="connsiteY35" fmla="*/ 47426 h 276222"/>
                  <a:gd name="connsiteX36" fmla="*/ 103640 w 215613"/>
                  <a:gd name="connsiteY36" fmla="*/ 44244 h 276222"/>
                  <a:gd name="connsiteX37" fmla="*/ 98489 w 215613"/>
                  <a:gd name="connsiteY37" fmla="*/ 40911 h 276222"/>
                  <a:gd name="connsiteX38" fmla="*/ 93185 w 215613"/>
                  <a:gd name="connsiteY38" fmla="*/ 37577 h 276222"/>
                  <a:gd name="connsiteX39" fmla="*/ 86973 w 215613"/>
                  <a:gd name="connsiteY39" fmla="*/ 33638 h 276222"/>
                  <a:gd name="connsiteX40" fmla="*/ 80154 w 215613"/>
                  <a:gd name="connsiteY40" fmla="*/ 29395 h 276222"/>
                  <a:gd name="connsiteX41" fmla="*/ 78639 w 215613"/>
                  <a:gd name="connsiteY41" fmla="*/ 28941 h 276222"/>
                  <a:gd name="connsiteX42" fmla="*/ 78033 w 215613"/>
                  <a:gd name="connsiteY42" fmla="*/ 28789 h 276222"/>
                  <a:gd name="connsiteX43" fmla="*/ 70609 w 215613"/>
                  <a:gd name="connsiteY43" fmla="*/ 28637 h 276222"/>
                  <a:gd name="connsiteX44" fmla="*/ 62881 w 215613"/>
                  <a:gd name="connsiteY44" fmla="*/ 28486 h 276222"/>
                  <a:gd name="connsiteX45" fmla="*/ 57729 w 215613"/>
                  <a:gd name="connsiteY45" fmla="*/ 28334 h 276222"/>
                  <a:gd name="connsiteX46" fmla="*/ 56062 w 215613"/>
                  <a:gd name="connsiteY46" fmla="*/ 27880 h 276222"/>
                  <a:gd name="connsiteX47" fmla="*/ 54850 w 215613"/>
                  <a:gd name="connsiteY47" fmla="*/ 26971 h 276222"/>
                  <a:gd name="connsiteX48" fmla="*/ 53183 w 215613"/>
                  <a:gd name="connsiteY48" fmla="*/ 23789 h 276222"/>
                  <a:gd name="connsiteX49" fmla="*/ 51214 w 215613"/>
                  <a:gd name="connsiteY49" fmla="*/ 21516 h 276222"/>
                  <a:gd name="connsiteX50" fmla="*/ 48941 w 215613"/>
                  <a:gd name="connsiteY50" fmla="*/ 18637 h 276222"/>
                  <a:gd name="connsiteX51" fmla="*/ 48790 w 215613"/>
                  <a:gd name="connsiteY51" fmla="*/ 14698 h 276222"/>
                  <a:gd name="connsiteX52" fmla="*/ 49395 w 215613"/>
                  <a:gd name="connsiteY52" fmla="*/ 10455 h 276222"/>
                  <a:gd name="connsiteX53" fmla="*/ 50002 w 215613"/>
                  <a:gd name="connsiteY53" fmla="*/ 9091 h 276222"/>
                  <a:gd name="connsiteX54" fmla="*/ 49699 w 215613"/>
                  <a:gd name="connsiteY54" fmla="*/ 7727 h 276222"/>
                  <a:gd name="connsiteX55" fmla="*/ 49850 w 215613"/>
                  <a:gd name="connsiteY55" fmla="*/ 5758 h 276222"/>
                  <a:gd name="connsiteX56" fmla="*/ 48638 w 215613"/>
                  <a:gd name="connsiteY56" fmla="*/ 3939 h 276222"/>
                  <a:gd name="connsiteX57" fmla="*/ 41062 w 215613"/>
                  <a:gd name="connsiteY57" fmla="*/ 1818 h 276222"/>
                  <a:gd name="connsiteX58" fmla="*/ 39850 w 215613"/>
                  <a:gd name="connsiteY58" fmla="*/ 1970 h 276222"/>
                  <a:gd name="connsiteX59" fmla="*/ 38638 w 215613"/>
                  <a:gd name="connsiteY59" fmla="*/ 2727 h 276222"/>
                  <a:gd name="connsiteX60" fmla="*/ 37122 w 215613"/>
                  <a:gd name="connsiteY60" fmla="*/ 3333 h 276222"/>
                  <a:gd name="connsiteX61" fmla="*/ 36062 w 215613"/>
                  <a:gd name="connsiteY61" fmla="*/ 2879 h 276222"/>
                  <a:gd name="connsiteX62" fmla="*/ 35456 w 215613"/>
                  <a:gd name="connsiteY62" fmla="*/ 2121 h 276222"/>
                  <a:gd name="connsiteX63" fmla="*/ 35456 w 215613"/>
                  <a:gd name="connsiteY63" fmla="*/ 909 h 276222"/>
                  <a:gd name="connsiteX64" fmla="*/ 35607 w 215613"/>
                  <a:gd name="connsiteY64" fmla="*/ 0 h 276222"/>
                  <a:gd name="connsiteX65" fmla="*/ 30607 w 215613"/>
                  <a:gd name="connsiteY65" fmla="*/ 4849 h 276222"/>
                  <a:gd name="connsiteX66" fmla="*/ 25001 w 215613"/>
                  <a:gd name="connsiteY66" fmla="*/ 10303 h 276222"/>
                  <a:gd name="connsiteX67" fmla="*/ 18486 w 215613"/>
                  <a:gd name="connsiteY67" fmla="*/ 16667 h 276222"/>
                  <a:gd name="connsiteX68" fmla="*/ 11364 w 215613"/>
                  <a:gd name="connsiteY68" fmla="*/ 23637 h 276222"/>
                  <a:gd name="connsiteX69" fmla="*/ 5758 w 215613"/>
                  <a:gd name="connsiteY69" fmla="*/ 29092 h 276222"/>
                  <a:gd name="connsiteX70" fmla="*/ 303 w 215613"/>
                  <a:gd name="connsiteY70" fmla="*/ 34547 h 276222"/>
                  <a:gd name="connsiteX71" fmla="*/ 4545 w 215613"/>
                  <a:gd name="connsiteY71" fmla="*/ 43486 h 276222"/>
                  <a:gd name="connsiteX72" fmla="*/ 6061 w 215613"/>
                  <a:gd name="connsiteY72" fmla="*/ 43941 h 276222"/>
                  <a:gd name="connsiteX73" fmla="*/ 5909 w 215613"/>
                  <a:gd name="connsiteY73" fmla="*/ 44699 h 276222"/>
                  <a:gd name="connsiteX74" fmla="*/ 5606 w 215613"/>
                  <a:gd name="connsiteY74" fmla="*/ 45456 h 276222"/>
                  <a:gd name="connsiteX75" fmla="*/ 8333 w 215613"/>
                  <a:gd name="connsiteY75" fmla="*/ 47577 h 276222"/>
                  <a:gd name="connsiteX76" fmla="*/ 11819 w 215613"/>
                  <a:gd name="connsiteY76" fmla="*/ 48638 h 276222"/>
                  <a:gd name="connsiteX77" fmla="*/ 13031 w 215613"/>
                  <a:gd name="connsiteY77" fmla="*/ 49699 h 276222"/>
                  <a:gd name="connsiteX78" fmla="*/ 13182 w 215613"/>
                  <a:gd name="connsiteY78" fmla="*/ 50911 h 276222"/>
                  <a:gd name="connsiteX79" fmla="*/ 11970 w 215613"/>
                  <a:gd name="connsiteY79" fmla="*/ 56214 h 276222"/>
                  <a:gd name="connsiteX80" fmla="*/ 12121 w 215613"/>
                  <a:gd name="connsiteY80" fmla="*/ 57729 h 276222"/>
                  <a:gd name="connsiteX81" fmla="*/ 13182 w 215613"/>
                  <a:gd name="connsiteY81" fmla="*/ 63033 h 276222"/>
                  <a:gd name="connsiteX82" fmla="*/ 15152 w 215613"/>
                  <a:gd name="connsiteY82" fmla="*/ 64245 h 276222"/>
                  <a:gd name="connsiteX83" fmla="*/ 16970 w 215613"/>
                  <a:gd name="connsiteY83" fmla="*/ 69548 h 276222"/>
                  <a:gd name="connsiteX84" fmla="*/ 20607 w 215613"/>
                  <a:gd name="connsiteY84" fmla="*/ 71821 h 276222"/>
                  <a:gd name="connsiteX85" fmla="*/ 21061 w 215613"/>
                  <a:gd name="connsiteY85" fmla="*/ 72427 h 276222"/>
                  <a:gd name="connsiteX86" fmla="*/ 21970 w 215613"/>
                  <a:gd name="connsiteY86" fmla="*/ 75003 h 276222"/>
                  <a:gd name="connsiteX87" fmla="*/ 23031 w 215613"/>
                  <a:gd name="connsiteY87" fmla="*/ 77882 h 276222"/>
                  <a:gd name="connsiteX88" fmla="*/ 23940 w 215613"/>
                  <a:gd name="connsiteY88" fmla="*/ 78488 h 276222"/>
                  <a:gd name="connsiteX89" fmla="*/ 24546 w 215613"/>
                  <a:gd name="connsiteY89" fmla="*/ 78639 h 276222"/>
                  <a:gd name="connsiteX90" fmla="*/ 25607 w 215613"/>
                  <a:gd name="connsiteY90" fmla="*/ 81670 h 276222"/>
                  <a:gd name="connsiteX91" fmla="*/ 25001 w 215613"/>
                  <a:gd name="connsiteY91" fmla="*/ 83336 h 276222"/>
                  <a:gd name="connsiteX92" fmla="*/ 25910 w 215613"/>
                  <a:gd name="connsiteY92" fmla="*/ 88488 h 276222"/>
                  <a:gd name="connsiteX93" fmla="*/ 27274 w 215613"/>
                  <a:gd name="connsiteY93" fmla="*/ 93034 h 276222"/>
                  <a:gd name="connsiteX94" fmla="*/ 27576 w 215613"/>
                  <a:gd name="connsiteY94" fmla="*/ 98488 h 276222"/>
                  <a:gd name="connsiteX95" fmla="*/ 27576 w 215613"/>
                  <a:gd name="connsiteY95" fmla="*/ 100913 h 276222"/>
                  <a:gd name="connsiteX96" fmla="*/ 27576 w 215613"/>
                  <a:gd name="connsiteY96" fmla="*/ 102428 h 276222"/>
                  <a:gd name="connsiteX97" fmla="*/ 27274 w 215613"/>
                  <a:gd name="connsiteY97" fmla="*/ 104549 h 276222"/>
                  <a:gd name="connsiteX98" fmla="*/ 26667 w 215613"/>
                  <a:gd name="connsiteY98" fmla="*/ 105761 h 276222"/>
                  <a:gd name="connsiteX99" fmla="*/ 25455 w 215613"/>
                  <a:gd name="connsiteY99" fmla="*/ 106974 h 276222"/>
                  <a:gd name="connsiteX100" fmla="*/ 24092 w 215613"/>
                  <a:gd name="connsiteY100" fmla="*/ 108792 h 276222"/>
                  <a:gd name="connsiteX101" fmla="*/ 23031 w 215613"/>
                  <a:gd name="connsiteY101" fmla="*/ 110762 h 276222"/>
                  <a:gd name="connsiteX102" fmla="*/ 22274 w 215613"/>
                  <a:gd name="connsiteY102" fmla="*/ 111671 h 276222"/>
                  <a:gd name="connsiteX103" fmla="*/ 22879 w 215613"/>
                  <a:gd name="connsiteY103" fmla="*/ 114550 h 276222"/>
                  <a:gd name="connsiteX104" fmla="*/ 22728 w 215613"/>
                  <a:gd name="connsiteY104" fmla="*/ 115307 h 276222"/>
                  <a:gd name="connsiteX105" fmla="*/ 22425 w 215613"/>
                  <a:gd name="connsiteY105" fmla="*/ 115610 h 276222"/>
                  <a:gd name="connsiteX106" fmla="*/ 20758 w 215613"/>
                  <a:gd name="connsiteY106" fmla="*/ 116065 h 276222"/>
                  <a:gd name="connsiteX107" fmla="*/ 18637 w 215613"/>
                  <a:gd name="connsiteY107" fmla="*/ 116823 h 276222"/>
                  <a:gd name="connsiteX108" fmla="*/ 17273 w 215613"/>
                  <a:gd name="connsiteY108" fmla="*/ 117580 h 276222"/>
                  <a:gd name="connsiteX109" fmla="*/ 15455 w 215613"/>
                  <a:gd name="connsiteY109" fmla="*/ 119095 h 276222"/>
                  <a:gd name="connsiteX110" fmla="*/ 13940 w 215613"/>
                  <a:gd name="connsiteY110" fmla="*/ 120762 h 276222"/>
                  <a:gd name="connsiteX111" fmla="*/ 11970 w 215613"/>
                  <a:gd name="connsiteY111" fmla="*/ 125459 h 276222"/>
                  <a:gd name="connsiteX112" fmla="*/ 8788 w 215613"/>
                  <a:gd name="connsiteY112" fmla="*/ 129096 h 276222"/>
                  <a:gd name="connsiteX113" fmla="*/ 8182 w 215613"/>
                  <a:gd name="connsiteY113" fmla="*/ 130308 h 276222"/>
                  <a:gd name="connsiteX114" fmla="*/ 5152 w 215613"/>
                  <a:gd name="connsiteY114" fmla="*/ 132581 h 276222"/>
                  <a:gd name="connsiteX115" fmla="*/ 3788 w 215613"/>
                  <a:gd name="connsiteY115" fmla="*/ 135308 h 276222"/>
                  <a:gd name="connsiteX116" fmla="*/ 2879 w 215613"/>
                  <a:gd name="connsiteY116" fmla="*/ 138641 h 276222"/>
                  <a:gd name="connsiteX117" fmla="*/ 1667 w 215613"/>
                  <a:gd name="connsiteY117" fmla="*/ 141066 h 276222"/>
                  <a:gd name="connsiteX118" fmla="*/ 0 w 215613"/>
                  <a:gd name="connsiteY118" fmla="*/ 143339 h 276222"/>
                  <a:gd name="connsiteX119" fmla="*/ 0 w 215613"/>
                  <a:gd name="connsiteY119" fmla="*/ 143339 h 276222"/>
                  <a:gd name="connsiteX120" fmla="*/ 0 w 215613"/>
                  <a:gd name="connsiteY120" fmla="*/ 146672 h 276222"/>
                  <a:gd name="connsiteX121" fmla="*/ 303 w 215613"/>
                  <a:gd name="connsiteY121" fmla="*/ 148339 h 276222"/>
                  <a:gd name="connsiteX122" fmla="*/ 909 w 215613"/>
                  <a:gd name="connsiteY122" fmla="*/ 149703 h 276222"/>
                  <a:gd name="connsiteX123" fmla="*/ 1667 w 215613"/>
                  <a:gd name="connsiteY123" fmla="*/ 150763 h 276222"/>
                  <a:gd name="connsiteX124" fmla="*/ 2424 w 215613"/>
                  <a:gd name="connsiteY124" fmla="*/ 151218 h 276222"/>
                  <a:gd name="connsiteX125" fmla="*/ 3939 w 215613"/>
                  <a:gd name="connsiteY125" fmla="*/ 151218 h 276222"/>
                  <a:gd name="connsiteX126" fmla="*/ 4243 w 215613"/>
                  <a:gd name="connsiteY126" fmla="*/ 151521 h 276222"/>
                  <a:gd name="connsiteX127" fmla="*/ 3788 w 215613"/>
                  <a:gd name="connsiteY127" fmla="*/ 152733 h 276222"/>
                  <a:gd name="connsiteX128" fmla="*/ 4091 w 215613"/>
                  <a:gd name="connsiteY128" fmla="*/ 153491 h 276222"/>
                  <a:gd name="connsiteX129" fmla="*/ 7121 w 215613"/>
                  <a:gd name="connsiteY129" fmla="*/ 156066 h 276222"/>
                  <a:gd name="connsiteX130" fmla="*/ 8788 w 215613"/>
                  <a:gd name="connsiteY130" fmla="*/ 158491 h 276222"/>
                  <a:gd name="connsiteX131" fmla="*/ 9546 w 215613"/>
                  <a:gd name="connsiteY131" fmla="*/ 158642 h 276222"/>
                  <a:gd name="connsiteX132" fmla="*/ 10152 w 215613"/>
                  <a:gd name="connsiteY132" fmla="*/ 158188 h 276222"/>
                  <a:gd name="connsiteX133" fmla="*/ 10606 w 215613"/>
                  <a:gd name="connsiteY133" fmla="*/ 157581 h 276222"/>
                  <a:gd name="connsiteX134" fmla="*/ 11061 w 215613"/>
                  <a:gd name="connsiteY134" fmla="*/ 155612 h 276222"/>
                  <a:gd name="connsiteX135" fmla="*/ 12424 w 215613"/>
                  <a:gd name="connsiteY135" fmla="*/ 154400 h 276222"/>
                  <a:gd name="connsiteX136" fmla="*/ 15607 w 215613"/>
                  <a:gd name="connsiteY136" fmla="*/ 153036 h 276222"/>
                  <a:gd name="connsiteX137" fmla="*/ 20455 w 215613"/>
                  <a:gd name="connsiteY137" fmla="*/ 151672 h 276222"/>
                  <a:gd name="connsiteX138" fmla="*/ 23031 w 215613"/>
                  <a:gd name="connsiteY138" fmla="*/ 156672 h 276222"/>
                  <a:gd name="connsiteX139" fmla="*/ 22576 w 215613"/>
                  <a:gd name="connsiteY139" fmla="*/ 157279 h 276222"/>
                  <a:gd name="connsiteX140" fmla="*/ 20000 w 215613"/>
                  <a:gd name="connsiteY140" fmla="*/ 158036 h 276222"/>
                  <a:gd name="connsiteX141" fmla="*/ 16516 w 215613"/>
                  <a:gd name="connsiteY141" fmla="*/ 158188 h 276222"/>
                  <a:gd name="connsiteX142" fmla="*/ 13788 w 215613"/>
                  <a:gd name="connsiteY142" fmla="*/ 158794 h 276222"/>
                  <a:gd name="connsiteX143" fmla="*/ 13182 w 215613"/>
                  <a:gd name="connsiteY143" fmla="*/ 159248 h 276222"/>
                  <a:gd name="connsiteX144" fmla="*/ 13637 w 215613"/>
                  <a:gd name="connsiteY144" fmla="*/ 161824 h 276222"/>
                  <a:gd name="connsiteX145" fmla="*/ 13182 w 215613"/>
                  <a:gd name="connsiteY145" fmla="*/ 162733 h 276222"/>
                  <a:gd name="connsiteX146" fmla="*/ 12273 w 215613"/>
                  <a:gd name="connsiteY146" fmla="*/ 162885 h 276222"/>
                  <a:gd name="connsiteX147" fmla="*/ 10910 w 215613"/>
                  <a:gd name="connsiteY147" fmla="*/ 161673 h 276222"/>
                  <a:gd name="connsiteX148" fmla="*/ 9546 w 215613"/>
                  <a:gd name="connsiteY148" fmla="*/ 161673 h 276222"/>
                  <a:gd name="connsiteX149" fmla="*/ 8031 w 215613"/>
                  <a:gd name="connsiteY149" fmla="*/ 161218 h 276222"/>
                  <a:gd name="connsiteX150" fmla="*/ 6364 w 215613"/>
                  <a:gd name="connsiteY150" fmla="*/ 161067 h 276222"/>
                  <a:gd name="connsiteX151" fmla="*/ 5152 w 215613"/>
                  <a:gd name="connsiteY151" fmla="*/ 161824 h 276222"/>
                  <a:gd name="connsiteX152" fmla="*/ 2576 w 215613"/>
                  <a:gd name="connsiteY152" fmla="*/ 164855 h 276222"/>
                  <a:gd name="connsiteX153" fmla="*/ 2121 w 215613"/>
                  <a:gd name="connsiteY153" fmla="*/ 166673 h 276222"/>
                  <a:gd name="connsiteX154" fmla="*/ 2273 w 215613"/>
                  <a:gd name="connsiteY154" fmla="*/ 168794 h 276222"/>
                  <a:gd name="connsiteX155" fmla="*/ 3333 w 215613"/>
                  <a:gd name="connsiteY155" fmla="*/ 170764 h 276222"/>
                  <a:gd name="connsiteX156" fmla="*/ 4848 w 215613"/>
                  <a:gd name="connsiteY156" fmla="*/ 173037 h 276222"/>
                  <a:gd name="connsiteX157" fmla="*/ 4394 w 215613"/>
                  <a:gd name="connsiteY157" fmla="*/ 174703 h 276222"/>
                  <a:gd name="connsiteX158" fmla="*/ 3788 w 215613"/>
                  <a:gd name="connsiteY158" fmla="*/ 175612 h 276222"/>
                  <a:gd name="connsiteX159" fmla="*/ 2424 w 215613"/>
                  <a:gd name="connsiteY159" fmla="*/ 176219 h 276222"/>
                  <a:gd name="connsiteX160" fmla="*/ 2273 w 215613"/>
                  <a:gd name="connsiteY160" fmla="*/ 177128 h 276222"/>
                  <a:gd name="connsiteX161" fmla="*/ 2121 w 215613"/>
                  <a:gd name="connsiteY161" fmla="*/ 177431 h 276222"/>
                  <a:gd name="connsiteX162" fmla="*/ 4243 w 215613"/>
                  <a:gd name="connsiteY162" fmla="*/ 178643 h 276222"/>
                  <a:gd name="connsiteX163" fmla="*/ 10000 w 215613"/>
                  <a:gd name="connsiteY163" fmla="*/ 181825 h 276222"/>
                  <a:gd name="connsiteX164" fmla="*/ 15909 w 215613"/>
                  <a:gd name="connsiteY164" fmla="*/ 185007 h 276222"/>
                  <a:gd name="connsiteX165" fmla="*/ 21667 w 215613"/>
                  <a:gd name="connsiteY165" fmla="*/ 188189 h 276222"/>
                  <a:gd name="connsiteX166" fmla="*/ 27425 w 215613"/>
                  <a:gd name="connsiteY166" fmla="*/ 191371 h 276222"/>
                  <a:gd name="connsiteX167" fmla="*/ 33334 w 215613"/>
                  <a:gd name="connsiteY167" fmla="*/ 194553 h 276222"/>
                  <a:gd name="connsiteX168" fmla="*/ 39092 w 215613"/>
                  <a:gd name="connsiteY168" fmla="*/ 197735 h 276222"/>
                  <a:gd name="connsiteX169" fmla="*/ 44850 w 215613"/>
                  <a:gd name="connsiteY169" fmla="*/ 200916 h 276222"/>
                  <a:gd name="connsiteX170" fmla="*/ 50608 w 215613"/>
                  <a:gd name="connsiteY170" fmla="*/ 204098 h 276222"/>
                  <a:gd name="connsiteX171" fmla="*/ 56366 w 215613"/>
                  <a:gd name="connsiteY171" fmla="*/ 207280 h 276222"/>
                  <a:gd name="connsiteX172" fmla="*/ 62124 w 215613"/>
                  <a:gd name="connsiteY172" fmla="*/ 210462 h 276222"/>
                  <a:gd name="connsiteX173" fmla="*/ 68033 w 215613"/>
                  <a:gd name="connsiteY173" fmla="*/ 213644 h 276222"/>
                  <a:gd name="connsiteX174" fmla="*/ 73791 w 215613"/>
                  <a:gd name="connsiteY174" fmla="*/ 216826 h 276222"/>
                  <a:gd name="connsiteX175" fmla="*/ 79548 w 215613"/>
                  <a:gd name="connsiteY175" fmla="*/ 220008 h 276222"/>
                  <a:gd name="connsiteX176" fmla="*/ 85306 w 215613"/>
                  <a:gd name="connsiteY176" fmla="*/ 223190 h 276222"/>
                  <a:gd name="connsiteX177" fmla="*/ 91064 w 215613"/>
                  <a:gd name="connsiteY177" fmla="*/ 226372 h 276222"/>
                  <a:gd name="connsiteX178" fmla="*/ 96822 w 215613"/>
                  <a:gd name="connsiteY178" fmla="*/ 229554 h 276222"/>
                  <a:gd name="connsiteX179" fmla="*/ 99549 w 215613"/>
                  <a:gd name="connsiteY179" fmla="*/ 231069 h 276222"/>
                  <a:gd name="connsiteX180" fmla="*/ 100004 w 215613"/>
                  <a:gd name="connsiteY180" fmla="*/ 231675 h 276222"/>
                  <a:gd name="connsiteX181" fmla="*/ 100458 w 215613"/>
                  <a:gd name="connsiteY181" fmla="*/ 234554 h 276222"/>
                  <a:gd name="connsiteX182" fmla="*/ 100761 w 215613"/>
                  <a:gd name="connsiteY182" fmla="*/ 236372 h 276222"/>
                  <a:gd name="connsiteX183" fmla="*/ 100610 w 215613"/>
                  <a:gd name="connsiteY183" fmla="*/ 238039 h 276222"/>
                  <a:gd name="connsiteX184" fmla="*/ 99094 w 215613"/>
                  <a:gd name="connsiteY184" fmla="*/ 240766 h 276222"/>
                  <a:gd name="connsiteX185" fmla="*/ 98640 w 215613"/>
                  <a:gd name="connsiteY185" fmla="*/ 242282 h 276222"/>
                  <a:gd name="connsiteX186" fmla="*/ 98640 w 215613"/>
                  <a:gd name="connsiteY186" fmla="*/ 243342 h 276222"/>
                  <a:gd name="connsiteX187" fmla="*/ 99094 w 215613"/>
                  <a:gd name="connsiteY187" fmla="*/ 243797 h 276222"/>
                  <a:gd name="connsiteX188" fmla="*/ 100458 w 215613"/>
                  <a:gd name="connsiteY188" fmla="*/ 243948 h 276222"/>
                  <a:gd name="connsiteX189" fmla="*/ 101519 w 215613"/>
                  <a:gd name="connsiteY189" fmla="*/ 244554 h 276222"/>
                  <a:gd name="connsiteX190" fmla="*/ 101973 w 215613"/>
                  <a:gd name="connsiteY190" fmla="*/ 245009 h 276222"/>
                  <a:gd name="connsiteX191" fmla="*/ 102882 w 215613"/>
                  <a:gd name="connsiteY191" fmla="*/ 247130 h 276222"/>
                  <a:gd name="connsiteX192" fmla="*/ 103943 w 215613"/>
                  <a:gd name="connsiteY192" fmla="*/ 248191 h 276222"/>
                  <a:gd name="connsiteX193" fmla="*/ 106367 w 215613"/>
                  <a:gd name="connsiteY193" fmla="*/ 250009 h 276222"/>
                  <a:gd name="connsiteX194" fmla="*/ 110610 w 215613"/>
                  <a:gd name="connsiteY194" fmla="*/ 253039 h 276222"/>
                  <a:gd name="connsiteX195" fmla="*/ 114853 w 215613"/>
                  <a:gd name="connsiteY195" fmla="*/ 256070 h 276222"/>
                  <a:gd name="connsiteX196" fmla="*/ 119095 w 215613"/>
                  <a:gd name="connsiteY196" fmla="*/ 259100 h 276222"/>
                  <a:gd name="connsiteX197" fmla="*/ 123338 w 215613"/>
                  <a:gd name="connsiteY197" fmla="*/ 262131 h 276222"/>
                  <a:gd name="connsiteX198" fmla="*/ 127580 w 215613"/>
                  <a:gd name="connsiteY198" fmla="*/ 265161 h 276222"/>
                  <a:gd name="connsiteX199" fmla="*/ 131823 w 215613"/>
                  <a:gd name="connsiteY199" fmla="*/ 268192 h 276222"/>
                  <a:gd name="connsiteX200" fmla="*/ 136065 w 215613"/>
                  <a:gd name="connsiteY200" fmla="*/ 271222 h 276222"/>
                  <a:gd name="connsiteX201" fmla="*/ 140308 w 215613"/>
                  <a:gd name="connsiteY201" fmla="*/ 274253 h 276222"/>
                  <a:gd name="connsiteX202" fmla="*/ 142278 w 215613"/>
                  <a:gd name="connsiteY202" fmla="*/ 275768 h 276222"/>
                  <a:gd name="connsiteX203" fmla="*/ 143187 w 215613"/>
                  <a:gd name="connsiteY203" fmla="*/ 276222 h 276222"/>
                  <a:gd name="connsiteX204" fmla="*/ 143339 w 215613"/>
                  <a:gd name="connsiteY204" fmla="*/ 275464 h 276222"/>
                  <a:gd name="connsiteX205" fmla="*/ 145005 w 215613"/>
                  <a:gd name="connsiteY205" fmla="*/ 273949 h 276222"/>
                  <a:gd name="connsiteX206" fmla="*/ 147429 w 215613"/>
                  <a:gd name="connsiteY206" fmla="*/ 274404 h 276222"/>
                  <a:gd name="connsiteX207" fmla="*/ 150612 w 215613"/>
                  <a:gd name="connsiteY207" fmla="*/ 270465 h 276222"/>
                  <a:gd name="connsiteX208" fmla="*/ 154551 w 215613"/>
                  <a:gd name="connsiteY208" fmla="*/ 261525 h 276222"/>
                  <a:gd name="connsiteX209" fmla="*/ 155157 w 215613"/>
                  <a:gd name="connsiteY209" fmla="*/ 260616 h 276222"/>
                  <a:gd name="connsiteX210" fmla="*/ 155915 w 215613"/>
                  <a:gd name="connsiteY210" fmla="*/ 259252 h 276222"/>
                  <a:gd name="connsiteX211" fmla="*/ 157127 w 215613"/>
                  <a:gd name="connsiteY211" fmla="*/ 257282 h 276222"/>
                  <a:gd name="connsiteX212" fmla="*/ 157582 w 215613"/>
                  <a:gd name="connsiteY212" fmla="*/ 256222 h 276222"/>
                  <a:gd name="connsiteX213" fmla="*/ 158036 w 215613"/>
                  <a:gd name="connsiteY213" fmla="*/ 255009 h 276222"/>
                  <a:gd name="connsiteX214" fmla="*/ 159551 w 215613"/>
                  <a:gd name="connsiteY214" fmla="*/ 251524 h 276222"/>
                  <a:gd name="connsiteX215" fmla="*/ 160763 w 215613"/>
                  <a:gd name="connsiteY215" fmla="*/ 245767 h 276222"/>
                  <a:gd name="connsiteX216" fmla="*/ 161672 w 215613"/>
                  <a:gd name="connsiteY216" fmla="*/ 244706 h 276222"/>
                  <a:gd name="connsiteX217" fmla="*/ 162733 w 215613"/>
                  <a:gd name="connsiteY217" fmla="*/ 242130 h 276222"/>
                  <a:gd name="connsiteX218" fmla="*/ 164248 w 215613"/>
                  <a:gd name="connsiteY218" fmla="*/ 239706 h 276222"/>
                  <a:gd name="connsiteX219" fmla="*/ 167582 w 215613"/>
                  <a:gd name="connsiteY219" fmla="*/ 236978 h 276222"/>
                  <a:gd name="connsiteX220" fmla="*/ 167885 w 215613"/>
                  <a:gd name="connsiteY220" fmla="*/ 234857 h 276222"/>
                  <a:gd name="connsiteX221" fmla="*/ 169703 w 215613"/>
                  <a:gd name="connsiteY221" fmla="*/ 230614 h 276222"/>
                  <a:gd name="connsiteX222" fmla="*/ 169248 w 215613"/>
                  <a:gd name="connsiteY222" fmla="*/ 225160 h 276222"/>
                  <a:gd name="connsiteX223" fmla="*/ 170461 w 215613"/>
                  <a:gd name="connsiteY223" fmla="*/ 221675 h 276222"/>
                  <a:gd name="connsiteX224" fmla="*/ 171976 w 215613"/>
                  <a:gd name="connsiteY224" fmla="*/ 220008 h 276222"/>
                  <a:gd name="connsiteX225" fmla="*/ 175461 w 215613"/>
                  <a:gd name="connsiteY225" fmla="*/ 218038 h 276222"/>
                  <a:gd name="connsiteX226" fmla="*/ 181976 w 215613"/>
                  <a:gd name="connsiteY226" fmla="*/ 217584 h 276222"/>
                  <a:gd name="connsiteX227" fmla="*/ 186673 w 215613"/>
                  <a:gd name="connsiteY227" fmla="*/ 213644 h 276222"/>
                  <a:gd name="connsiteX228" fmla="*/ 186825 w 215613"/>
                  <a:gd name="connsiteY228" fmla="*/ 212129 h 276222"/>
                  <a:gd name="connsiteX229" fmla="*/ 188946 w 215613"/>
                  <a:gd name="connsiteY229" fmla="*/ 210311 h 276222"/>
                  <a:gd name="connsiteX230" fmla="*/ 189552 w 215613"/>
                  <a:gd name="connsiteY230" fmla="*/ 208190 h 276222"/>
                  <a:gd name="connsiteX231" fmla="*/ 189098 w 215613"/>
                  <a:gd name="connsiteY231" fmla="*/ 206674 h 276222"/>
                  <a:gd name="connsiteX232" fmla="*/ 188643 w 215613"/>
                  <a:gd name="connsiteY232" fmla="*/ 203644 h 276222"/>
                  <a:gd name="connsiteX233" fmla="*/ 189401 w 215613"/>
                  <a:gd name="connsiteY233" fmla="*/ 204098 h 276222"/>
                  <a:gd name="connsiteX234" fmla="*/ 190310 w 215613"/>
                  <a:gd name="connsiteY234" fmla="*/ 204401 h 276222"/>
                  <a:gd name="connsiteX235" fmla="*/ 190765 w 215613"/>
                  <a:gd name="connsiteY235" fmla="*/ 202583 h 276222"/>
                  <a:gd name="connsiteX236" fmla="*/ 191371 w 215613"/>
                  <a:gd name="connsiteY236" fmla="*/ 201523 h 276222"/>
                  <a:gd name="connsiteX237" fmla="*/ 193037 w 215613"/>
                  <a:gd name="connsiteY237" fmla="*/ 202129 h 276222"/>
                  <a:gd name="connsiteX238" fmla="*/ 194401 w 215613"/>
                  <a:gd name="connsiteY238" fmla="*/ 202280 h 276222"/>
                  <a:gd name="connsiteX239" fmla="*/ 198795 w 215613"/>
                  <a:gd name="connsiteY239" fmla="*/ 201219 h 276222"/>
                  <a:gd name="connsiteX240" fmla="*/ 202129 w 215613"/>
                  <a:gd name="connsiteY240" fmla="*/ 199098 h 276222"/>
                  <a:gd name="connsiteX241" fmla="*/ 206068 w 215613"/>
                  <a:gd name="connsiteY241" fmla="*/ 194401 h 276222"/>
                  <a:gd name="connsiteX242" fmla="*/ 206220 w 215613"/>
                  <a:gd name="connsiteY242" fmla="*/ 192128 h 276222"/>
                  <a:gd name="connsiteX243" fmla="*/ 205765 w 215613"/>
                  <a:gd name="connsiteY243" fmla="*/ 191068 h 276222"/>
                  <a:gd name="connsiteX244" fmla="*/ 203189 w 215613"/>
                  <a:gd name="connsiteY244" fmla="*/ 187734 h 276222"/>
                  <a:gd name="connsiteX245" fmla="*/ 198341 w 215613"/>
                  <a:gd name="connsiteY245" fmla="*/ 181522 h 276222"/>
                  <a:gd name="connsiteX246" fmla="*/ 194704 w 215613"/>
                  <a:gd name="connsiteY246" fmla="*/ 176825 h 276222"/>
                  <a:gd name="connsiteX247" fmla="*/ 190916 w 215613"/>
                  <a:gd name="connsiteY247" fmla="*/ 171976 h 276222"/>
                  <a:gd name="connsiteX248" fmla="*/ 190916 w 215613"/>
                  <a:gd name="connsiteY248" fmla="*/ 168188 h 276222"/>
                  <a:gd name="connsiteX249" fmla="*/ 190916 w 215613"/>
                  <a:gd name="connsiteY249" fmla="*/ 156672 h 276222"/>
                  <a:gd name="connsiteX250" fmla="*/ 190765 w 215613"/>
                  <a:gd name="connsiteY250" fmla="*/ 133793 h 276222"/>
                  <a:gd name="connsiteX251" fmla="*/ 190613 w 215613"/>
                  <a:gd name="connsiteY251" fmla="*/ 110913 h 276222"/>
                  <a:gd name="connsiteX252" fmla="*/ 190461 w 215613"/>
                  <a:gd name="connsiteY252" fmla="*/ 88033 h 276222"/>
                  <a:gd name="connsiteX253" fmla="*/ 190461 w 215613"/>
                  <a:gd name="connsiteY253" fmla="*/ 76518 h 276222"/>
                  <a:gd name="connsiteX254" fmla="*/ 190461 w 215613"/>
                  <a:gd name="connsiteY254" fmla="*/ 71821 h 276222"/>
                  <a:gd name="connsiteX255" fmla="*/ 190916 w 215613"/>
                  <a:gd name="connsiteY255" fmla="*/ 71063 h 276222"/>
                  <a:gd name="connsiteX256" fmla="*/ 195159 w 215613"/>
                  <a:gd name="connsiteY256" fmla="*/ 66821 h 276222"/>
                  <a:gd name="connsiteX257" fmla="*/ 200765 w 215613"/>
                  <a:gd name="connsiteY257" fmla="*/ 61214 h 276222"/>
                  <a:gd name="connsiteX258" fmla="*/ 208189 w 215613"/>
                  <a:gd name="connsiteY258" fmla="*/ 50608 h 276222"/>
                  <a:gd name="connsiteX259" fmla="*/ 212280 w 215613"/>
                  <a:gd name="connsiteY259" fmla="*/ 44850 h 276222"/>
                  <a:gd name="connsiteX260" fmla="*/ 215614 w 215613"/>
                  <a:gd name="connsiteY260" fmla="*/ 40001 h 276222"/>
                  <a:gd name="connsiteX261" fmla="*/ 212735 w 215613"/>
                  <a:gd name="connsiteY261" fmla="*/ 41214 h 27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215613" h="276222">
                    <a:moveTo>
                      <a:pt x="194855" y="204856"/>
                    </a:moveTo>
                    <a:lnTo>
                      <a:pt x="191825" y="206826"/>
                    </a:lnTo>
                    <a:lnTo>
                      <a:pt x="191371" y="208341"/>
                    </a:lnTo>
                    <a:lnTo>
                      <a:pt x="192431" y="208038"/>
                    </a:lnTo>
                    <a:lnTo>
                      <a:pt x="195765" y="206523"/>
                    </a:lnTo>
                    <a:lnTo>
                      <a:pt x="196219" y="206068"/>
                    </a:lnTo>
                    <a:lnTo>
                      <a:pt x="196219" y="205614"/>
                    </a:lnTo>
                    <a:lnTo>
                      <a:pt x="195916" y="205159"/>
                    </a:lnTo>
                    <a:lnTo>
                      <a:pt x="194855" y="204856"/>
                    </a:lnTo>
                    <a:close/>
                    <a:moveTo>
                      <a:pt x="212735" y="41214"/>
                    </a:moveTo>
                    <a:lnTo>
                      <a:pt x="205765" y="41668"/>
                    </a:lnTo>
                    <a:lnTo>
                      <a:pt x="202735" y="42123"/>
                    </a:lnTo>
                    <a:lnTo>
                      <a:pt x="201220" y="42274"/>
                    </a:lnTo>
                    <a:lnTo>
                      <a:pt x="198492" y="42274"/>
                    </a:lnTo>
                    <a:lnTo>
                      <a:pt x="196219" y="41820"/>
                    </a:lnTo>
                    <a:lnTo>
                      <a:pt x="194704" y="41062"/>
                    </a:lnTo>
                    <a:lnTo>
                      <a:pt x="192886" y="39244"/>
                    </a:lnTo>
                    <a:lnTo>
                      <a:pt x="188795" y="35607"/>
                    </a:lnTo>
                    <a:lnTo>
                      <a:pt x="185916" y="33335"/>
                    </a:lnTo>
                    <a:lnTo>
                      <a:pt x="179401" y="35910"/>
                    </a:lnTo>
                    <a:lnTo>
                      <a:pt x="173643" y="38486"/>
                    </a:lnTo>
                    <a:lnTo>
                      <a:pt x="165309" y="42123"/>
                    </a:lnTo>
                    <a:lnTo>
                      <a:pt x="160612" y="44699"/>
                    </a:lnTo>
                    <a:lnTo>
                      <a:pt x="159248" y="47274"/>
                    </a:lnTo>
                    <a:lnTo>
                      <a:pt x="155612" y="52123"/>
                    </a:lnTo>
                    <a:lnTo>
                      <a:pt x="152430" y="55154"/>
                    </a:lnTo>
                    <a:lnTo>
                      <a:pt x="151217" y="55457"/>
                    </a:lnTo>
                    <a:lnTo>
                      <a:pt x="143793" y="54850"/>
                    </a:lnTo>
                    <a:lnTo>
                      <a:pt x="141066" y="54244"/>
                    </a:lnTo>
                    <a:lnTo>
                      <a:pt x="136672" y="53638"/>
                    </a:lnTo>
                    <a:lnTo>
                      <a:pt x="130763" y="52578"/>
                    </a:lnTo>
                    <a:lnTo>
                      <a:pt x="126823" y="51517"/>
                    </a:lnTo>
                    <a:lnTo>
                      <a:pt x="122580" y="51366"/>
                    </a:lnTo>
                    <a:lnTo>
                      <a:pt x="116368" y="50911"/>
                    </a:lnTo>
                    <a:lnTo>
                      <a:pt x="112580" y="50153"/>
                    </a:lnTo>
                    <a:lnTo>
                      <a:pt x="108640" y="47426"/>
                    </a:lnTo>
                    <a:lnTo>
                      <a:pt x="103640" y="44244"/>
                    </a:lnTo>
                    <a:lnTo>
                      <a:pt x="98489" y="40911"/>
                    </a:lnTo>
                    <a:lnTo>
                      <a:pt x="93185" y="37577"/>
                    </a:lnTo>
                    <a:lnTo>
                      <a:pt x="86973" y="33638"/>
                    </a:lnTo>
                    <a:lnTo>
                      <a:pt x="80154" y="29395"/>
                    </a:lnTo>
                    <a:lnTo>
                      <a:pt x="78639" y="28941"/>
                    </a:lnTo>
                    <a:lnTo>
                      <a:pt x="78033" y="28789"/>
                    </a:lnTo>
                    <a:lnTo>
                      <a:pt x="70609" y="28637"/>
                    </a:lnTo>
                    <a:lnTo>
                      <a:pt x="62881" y="28486"/>
                    </a:lnTo>
                    <a:lnTo>
                      <a:pt x="57729" y="28334"/>
                    </a:lnTo>
                    <a:lnTo>
                      <a:pt x="56062" y="27880"/>
                    </a:lnTo>
                    <a:lnTo>
                      <a:pt x="54850" y="26971"/>
                    </a:lnTo>
                    <a:lnTo>
                      <a:pt x="53183" y="23789"/>
                    </a:lnTo>
                    <a:lnTo>
                      <a:pt x="51214" y="21516"/>
                    </a:lnTo>
                    <a:lnTo>
                      <a:pt x="48941" y="18637"/>
                    </a:lnTo>
                    <a:lnTo>
                      <a:pt x="48790" y="14698"/>
                    </a:lnTo>
                    <a:lnTo>
                      <a:pt x="49395" y="10455"/>
                    </a:lnTo>
                    <a:lnTo>
                      <a:pt x="50002" y="9091"/>
                    </a:lnTo>
                    <a:lnTo>
                      <a:pt x="49699" y="7727"/>
                    </a:lnTo>
                    <a:lnTo>
                      <a:pt x="49850" y="5758"/>
                    </a:lnTo>
                    <a:lnTo>
                      <a:pt x="48638" y="3939"/>
                    </a:lnTo>
                    <a:lnTo>
                      <a:pt x="41062" y="1818"/>
                    </a:lnTo>
                    <a:lnTo>
                      <a:pt x="39850" y="1970"/>
                    </a:lnTo>
                    <a:lnTo>
                      <a:pt x="38638" y="2727"/>
                    </a:lnTo>
                    <a:lnTo>
                      <a:pt x="37122" y="3333"/>
                    </a:lnTo>
                    <a:lnTo>
                      <a:pt x="36062" y="2879"/>
                    </a:lnTo>
                    <a:lnTo>
                      <a:pt x="35456" y="2121"/>
                    </a:lnTo>
                    <a:lnTo>
                      <a:pt x="35456" y="909"/>
                    </a:lnTo>
                    <a:lnTo>
                      <a:pt x="35607" y="0"/>
                    </a:lnTo>
                    <a:lnTo>
                      <a:pt x="30607" y="4849"/>
                    </a:lnTo>
                    <a:lnTo>
                      <a:pt x="25001" y="10303"/>
                    </a:lnTo>
                    <a:lnTo>
                      <a:pt x="18486" y="16667"/>
                    </a:lnTo>
                    <a:lnTo>
                      <a:pt x="11364" y="23637"/>
                    </a:lnTo>
                    <a:lnTo>
                      <a:pt x="5758" y="29092"/>
                    </a:lnTo>
                    <a:lnTo>
                      <a:pt x="303" y="34547"/>
                    </a:lnTo>
                    <a:lnTo>
                      <a:pt x="4545" y="43486"/>
                    </a:lnTo>
                    <a:lnTo>
                      <a:pt x="6061" y="43941"/>
                    </a:lnTo>
                    <a:lnTo>
                      <a:pt x="5909" y="44699"/>
                    </a:lnTo>
                    <a:lnTo>
                      <a:pt x="5606" y="45456"/>
                    </a:lnTo>
                    <a:lnTo>
                      <a:pt x="8333" y="47577"/>
                    </a:lnTo>
                    <a:lnTo>
                      <a:pt x="11819" y="48638"/>
                    </a:lnTo>
                    <a:lnTo>
                      <a:pt x="13031" y="49699"/>
                    </a:lnTo>
                    <a:lnTo>
                      <a:pt x="13182" y="50911"/>
                    </a:lnTo>
                    <a:lnTo>
                      <a:pt x="11970" y="56214"/>
                    </a:lnTo>
                    <a:lnTo>
                      <a:pt x="12121" y="57729"/>
                    </a:lnTo>
                    <a:lnTo>
                      <a:pt x="13182" y="63033"/>
                    </a:lnTo>
                    <a:lnTo>
                      <a:pt x="15152" y="64245"/>
                    </a:lnTo>
                    <a:lnTo>
                      <a:pt x="16970" y="69548"/>
                    </a:lnTo>
                    <a:lnTo>
                      <a:pt x="20607" y="71821"/>
                    </a:lnTo>
                    <a:lnTo>
                      <a:pt x="21061" y="72427"/>
                    </a:lnTo>
                    <a:lnTo>
                      <a:pt x="21970" y="75003"/>
                    </a:lnTo>
                    <a:lnTo>
                      <a:pt x="23031" y="77882"/>
                    </a:lnTo>
                    <a:lnTo>
                      <a:pt x="23940" y="78488"/>
                    </a:lnTo>
                    <a:lnTo>
                      <a:pt x="24546" y="78639"/>
                    </a:lnTo>
                    <a:lnTo>
                      <a:pt x="25607" y="81670"/>
                    </a:lnTo>
                    <a:lnTo>
                      <a:pt x="25001" y="83336"/>
                    </a:lnTo>
                    <a:lnTo>
                      <a:pt x="25910" y="88488"/>
                    </a:lnTo>
                    <a:lnTo>
                      <a:pt x="27274" y="93034"/>
                    </a:lnTo>
                    <a:lnTo>
                      <a:pt x="27576" y="98488"/>
                    </a:lnTo>
                    <a:lnTo>
                      <a:pt x="27576" y="100913"/>
                    </a:lnTo>
                    <a:lnTo>
                      <a:pt x="27576" y="102428"/>
                    </a:lnTo>
                    <a:lnTo>
                      <a:pt x="27274" y="104549"/>
                    </a:lnTo>
                    <a:lnTo>
                      <a:pt x="26667" y="105761"/>
                    </a:lnTo>
                    <a:lnTo>
                      <a:pt x="25455" y="106974"/>
                    </a:lnTo>
                    <a:lnTo>
                      <a:pt x="24092" y="108792"/>
                    </a:lnTo>
                    <a:lnTo>
                      <a:pt x="23031" y="110762"/>
                    </a:lnTo>
                    <a:lnTo>
                      <a:pt x="22274" y="111671"/>
                    </a:lnTo>
                    <a:lnTo>
                      <a:pt x="22879" y="114550"/>
                    </a:lnTo>
                    <a:lnTo>
                      <a:pt x="22728" y="115307"/>
                    </a:lnTo>
                    <a:lnTo>
                      <a:pt x="22425" y="115610"/>
                    </a:lnTo>
                    <a:lnTo>
                      <a:pt x="20758" y="116065"/>
                    </a:lnTo>
                    <a:lnTo>
                      <a:pt x="18637" y="116823"/>
                    </a:lnTo>
                    <a:lnTo>
                      <a:pt x="17273" y="117580"/>
                    </a:lnTo>
                    <a:lnTo>
                      <a:pt x="15455" y="119095"/>
                    </a:lnTo>
                    <a:lnTo>
                      <a:pt x="13940" y="120762"/>
                    </a:lnTo>
                    <a:lnTo>
                      <a:pt x="11970" y="125459"/>
                    </a:lnTo>
                    <a:lnTo>
                      <a:pt x="8788" y="129096"/>
                    </a:lnTo>
                    <a:lnTo>
                      <a:pt x="8182" y="130308"/>
                    </a:lnTo>
                    <a:lnTo>
                      <a:pt x="5152" y="132581"/>
                    </a:lnTo>
                    <a:lnTo>
                      <a:pt x="3788" y="135308"/>
                    </a:lnTo>
                    <a:lnTo>
                      <a:pt x="2879" y="138641"/>
                    </a:lnTo>
                    <a:lnTo>
                      <a:pt x="1667" y="141066"/>
                    </a:lnTo>
                    <a:lnTo>
                      <a:pt x="0" y="143339"/>
                    </a:lnTo>
                    <a:lnTo>
                      <a:pt x="0" y="143339"/>
                    </a:lnTo>
                    <a:lnTo>
                      <a:pt x="0" y="146672"/>
                    </a:lnTo>
                    <a:lnTo>
                      <a:pt x="303" y="148339"/>
                    </a:lnTo>
                    <a:lnTo>
                      <a:pt x="909" y="149703"/>
                    </a:lnTo>
                    <a:lnTo>
                      <a:pt x="1667" y="150763"/>
                    </a:lnTo>
                    <a:lnTo>
                      <a:pt x="2424" y="151218"/>
                    </a:lnTo>
                    <a:lnTo>
                      <a:pt x="3939" y="151218"/>
                    </a:lnTo>
                    <a:lnTo>
                      <a:pt x="4243" y="151521"/>
                    </a:lnTo>
                    <a:lnTo>
                      <a:pt x="3788" y="152733"/>
                    </a:lnTo>
                    <a:lnTo>
                      <a:pt x="4091" y="153491"/>
                    </a:lnTo>
                    <a:lnTo>
                      <a:pt x="7121" y="156066"/>
                    </a:lnTo>
                    <a:lnTo>
                      <a:pt x="8788" y="158491"/>
                    </a:lnTo>
                    <a:lnTo>
                      <a:pt x="9546" y="158642"/>
                    </a:lnTo>
                    <a:lnTo>
                      <a:pt x="10152" y="158188"/>
                    </a:lnTo>
                    <a:lnTo>
                      <a:pt x="10606" y="157581"/>
                    </a:lnTo>
                    <a:lnTo>
                      <a:pt x="11061" y="155612"/>
                    </a:lnTo>
                    <a:lnTo>
                      <a:pt x="12424" y="154400"/>
                    </a:lnTo>
                    <a:lnTo>
                      <a:pt x="15607" y="153036"/>
                    </a:lnTo>
                    <a:lnTo>
                      <a:pt x="20455" y="151672"/>
                    </a:lnTo>
                    <a:lnTo>
                      <a:pt x="23031" y="156672"/>
                    </a:lnTo>
                    <a:lnTo>
                      <a:pt x="22576" y="157279"/>
                    </a:lnTo>
                    <a:lnTo>
                      <a:pt x="20000" y="158036"/>
                    </a:lnTo>
                    <a:lnTo>
                      <a:pt x="16516" y="158188"/>
                    </a:lnTo>
                    <a:lnTo>
                      <a:pt x="13788" y="158794"/>
                    </a:lnTo>
                    <a:lnTo>
                      <a:pt x="13182" y="159248"/>
                    </a:lnTo>
                    <a:lnTo>
                      <a:pt x="13637" y="161824"/>
                    </a:lnTo>
                    <a:lnTo>
                      <a:pt x="13182" y="162733"/>
                    </a:lnTo>
                    <a:lnTo>
                      <a:pt x="12273" y="162885"/>
                    </a:lnTo>
                    <a:lnTo>
                      <a:pt x="10910" y="161673"/>
                    </a:lnTo>
                    <a:lnTo>
                      <a:pt x="9546" y="161673"/>
                    </a:lnTo>
                    <a:lnTo>
                      <a:pt x="8031" y="161218"/>
                    </a:lnTo>
                    <a:lnTo>
                      <a:pt x="6364" y="161067"/>
                    </a:lnTo>
                    <a:lnTo>
                      <a:pt x="5152" y="161824"/>
                    </a:lnTo>
                    <a:lnTo>
                      <a:pt x="2576" y="164855"/>
                    </a:lnTo>
                    <a:lnTo>
                      <a:pt x="2121" y="166673"/>
                    </a:lnTo>
                    <a:lnTo>
                      <a:pt x="2273" y="168794"/>
                    </a:lnTo>
                    <a:lnTo>
                      <a:pt x="3333" y="170764"/>
                    </a:lnTo>
                    <a:lnTo>
                      <a:pt x="4848" y="173037"/>
                    </a:lnTo>
                    <a:lnTo>
                      <a:pt x="4394" y="174703"/>
                    </a:lnTo>
                    <a:lnTo>
                      <a:pt x="3788" y="175612"/>
                    </a:lnTo>
                    <a:lnTo>
                      <a:pt x="2424" y="176219"/>
                    </a:lnTo>
                    <a:lnTo>
                      <a:pt x="2273" y="177128"/>
                    </a:lnTo>
                    <a:lnTo>
                      <a:pt x="2121" y="177431"/>
                    </a:lnTo>
                    <a:lnTo>
                      <a:pt x="4243" y="178643"/>
                    </a:lnTo>
                    <a:lnTo>
                      <a:pt x="10000" y="181825"/>
                    </a:lnTo>
                    <a:lnTo>
                      <a:pt x="15909" y="185007"/>
                    </a:lnTo>
                    <a:lnTo>
                      <a:pt x="21667" y="188189"/>
                    </a:lnTo>
                    <a:lnTo>
                      <a:pt x="27425" y="191371"/>
                    </a:lnTo>
                    <a:lnTo>
                      <a:pt x="33334" y="194553"/>
                    </a:lnTo>
                    <a:lnTo>
                      <a:pt x="39092" y="197735"/>
                    </a:lnTo>
                    <a:lnTo>
                      <a:pt x="44850" y="200916"/>
                    </a:lnTo>
                    <a:lnTo>
                      <a:pt x="50608" y="204098"/>
                    </a:lnTo>
                    <a:lnTo>
                      <a:pt x="56366" y="207280"/>
                    </a:lnTo>
                    <a:lnTo>
                      <a:pt x="62124" y="210462"/>
                    </a:lnTo>
                    <a:lnTo>
                      <a:pt x="68033" y="213644"/>
                    </a:lnTo>
                    <a:lnTo>
                      <a:pt x="73791" y="216826"/>
                    </a:lnTo>
                    <a:lnTo>
                      <a:pt x="79548" y="220008"/>
                    </a:lnTo>
                    <a:lnTo>
                      <a:pt x="85306" y="223190"/>
                    </a:lnTo>
                    <a:lnTo>
                      <a:pt x="91064" y="226372"/>
                    </a:lnTo>
                    <a:lnTo>
                      <a:pt x="96822" y="229554"/>
                    </a:lnTo>
                    <a:lnTo>
                      <a:pt x="99549" y="231069"/>
                    </a:lnTo>
                    <a:lnTo>
                      <a:pt x="100004" y="231675"/>
                    </a:lnTo>
                    <a:lnTo>
                      <a:pt x="100458" y="234554"/>
                    </a:lnTo>
                    <a:lnTo>
                      <a:pt x="100761" y="236372"/>
                    </a:lnTo>
                    <a:lnTo>
                      <a:pt x="100610" y="238039"/>
                    </a:lnTo>
                    <a:lnTo>
                      <a:pt x="99094" y="240766"/>
                    </a:lnTo>
                    <a:lnTo>
                      <a:pt x="98640" y="242282"/>
                    </a:lnTo>
                    <a:lnTo>
                      <a:pt x="98640" y="243342"/>
                    </a:lnTo>
                    <a:lnTo>
                      <a:pt x="99094" y="243797"/>
                    </a:lnTo>
                    <a:lnTo>
                      <a:pt x="100458" y="243948"/>
                    </a:lnTo>
                    <a:lnTo>
                      <a:pt x="101519" y="244554"/>
                    </a:lnTo>
                    <a:lnTo>
                      <a:pt x="101973" y="245009"/>
                    </a:lnTo>
                    <a:lnTo>
                      <a:pt x="102882" y="247130"/>
                    </a:lnTo>
                    <a:lnTo>
                      <a:pt x="103943" y="248191"/>
                    </a:lnTo>
                    <a:lnTo>
                      <a:pt x="106367" y="250009"/>
                    </a:lnTo>
                    <a:lnTo>
                      <a:pt x="110610" y="253039"/>
                    </a:lnTo>
                    <a:lnTo>
                      <a:pt x="114853" y="256070"/>
                    </a:lnTo>
                    <a:lnTo>
                      <a:pt x="119095" y="259100"/>
                    </a:lnTo>
                    <a:lnTo>
                      <a:pt x="123338" y="262131"/>
                    </a:lnTo>
                    <a:lnTo>
                      <a:pt x="127580" y="265161"/>
                    </a:lnTo>
                    <a:lnTo>
                      <a:pt x="131823" y="268192"/>
                    </a:lnTo>
                    <a:lnTo>
                      <a:pt x="136065" y="271222"/>
                    </a:lnTo>
                    <a:lnTo>
                      <a:pt x="140308" y="274253"/>
                    </a:lnTo>
                    <a:lnTo>
                      <a:pt x="142278" y="275768"/>
                    </a:lnTo>
                    <a:lnTo>
                      <a:pt x="143187" y="276222"/>
                    </a:lnTo>
                    <a:lnTo>
                      <a:pt x="143339" y="275464"/>
                    </a:lnTo>
                    <a:lnTo>
                      <a:pt x="145005" y="273949"/>
                    </a:lnTo>
                    <a:lnTo>
                      <a:pt x="147429" y="274404"/>
                    </a:lnTo>
                    <a:lnTo>
                      <a:pt x="150612" y="270465"/>
                    </a:lnTo>
                    <a:lnTo>
                      <a:pt x="154551" y="261525"/>
                    </a:lnTo>
                    <a:lnTo>
                      <a:pt x="155157" y="260616"/>
                    </a:lnTo>
                    <a:lnTo>
                      <a:pt x="155915" y="259252"/>
                    </a:lnTo>
                    <a:lnTo>
                      <a:pt x="157127" y="257282"/>
                    </a:lnTo>
                    <a:lnTo>
                      <a:pt x="157582" y="256222"/>
                    </a:lnTo>
                    <a:lnTo>
                      <a:pt x="158036" y="255009"/>
                    </a:lnTo>
                    <a:lnTo>
                      <a:pt x="159551" y="251524"/>
                    </a:lnTo>
                    <a:lnTo>
                      <a:pt x="160763" y="245767"/>
                    </a:lnTo>
                    <a:lnTo>
                      <a:pt x="161672" y="244706"/>
                    </a:lnTo>
                    <a:lnTo>
                      <a:pt x="162733" y="242130"/>
                    </a:lnTo>
                    <a:lnTo>
                      <a:pt x="164248" y="239706"/>
                    </a:lnTo>
                    <a:lnTo>
                      <a:pt x="167582" y="236978"/>
                    </a:lnTo>
                    <a:lnTo>
                      <a:pt x="167885" y="234857"/>
                    </a:lnTo>
                    <a:lnTo>
                      <a:pt x="169703" y="230614"/>
                    </a:lnTo>
                    <a:lnTo>
                      <a:pt x="169248" y="225160"/>
                    </a:lnTo>
                    <a:lnTo>
                      <a:pt x="170461" y="221675"/>
                    </a:lnTo>
                    <a:lnTo>
                      <a:pt x="171976" y="220008"/>
                    </a:lnTo>
                    <a:lnTo>
                      <a:pt x="175461" y="218038"/>
                    </a:lnTo>
                    <a:lnTo>
                      <a:pt x="181976" y="217584"/>
                    </a:lnTo>
                    <a:lnTo>
                      <a:pt x="186673" y="213644"/>
                    </a:lnTo>
                    <a:lnTo>
                      <a:pt x="186825" y="212129"/>
                    </a:lnTo>
                    <a:lnTo>
                      <a:pt x="188946" y="210311"/>
                    </a:lnTo>
                    <a:lnTo>
                      <a:pt x="189552" y="208190"/>
                    </a:lnTo>
                    <a:lnTo>
                      <a:pt x="189098" y="206674"/>
                    </a:lnTo>
                    <a:lnTo>
                      <a:pt x="188643" y="203644"/>
                    </a:lnTo>
                    <a:lnTo>
                      <a:pt x="189401" y="204098"/>
                    </a:lnTo>
                    <a:lnTo>
                      <a:pt x="190310" y="204401"/>
                    </a:lnTo>
                    <a:lnTo>
                      <a:pt x="190765" y="202583"/>
                    </a:lnTo>
                    <a:lnTo>
                      <a:pt x="191371" y="201523"/>
                    </a:lnTo>
                    <a:lnTo>
                      <a:pt x="193037" y="202129"/>
                    </a:lnTo>
                    <a:lnTo>
                      <a:pt x="194401" y="202280"/>
                    </a:lnTo>
                    <a:lnTo>
                      <a:pt x="198795" y="201219"/>
                    </a:lnTo>
                    <a:lnTo>
                      <a:pt x="202129" y="199098"/>
                    </a:lnTo>
                    <a:lnTo>
                      <a:pt x="206068" y="194401"/>
                    </a:lnTo>
                    <a:lnTo>
                      <a:pt x="206220" y="192128"/>
                    </a:lnTo>
                    <a:lnTo>
                      <a:pt x="205765" y="191068"/>
                    </a:lnTo>
                    <a:lnTo>
                      <a:pt x="203189" y="187734"/>
                    </a:lnTo>
                    <a:lnTo>
                      <a:pt x="198341" y="181522"/>
                    </a:lnTo>
                    <a:lnTo>
                      <a:pt x="194704" y="176825"/>
                    </a:lnTo>
                    <a:lnTo>
                      <a:pt x="190916" y="171976"/>
                    </a:lnTo>
                    <a:lnTo>
                      <a:pt x="190916" y="168188"/>
                    </a:lnTo>
                    <a:lnTo>
                      <a:pt x="190916" y="156672"/>
                    </a:lnTo>
                    <a:lnTo>
                      <a:pt x="190765" y="133793"/>
                    </a:lnTo>
                    <a:lnTo>
                      <a:pt x="190613" y="110913"/>
                    </a:lnTo>
                    <a:lnTo>
                      <a:pt x="190461" y="88033"/>
                    </a:lnTo>
                    <a:lnTo>
                      <a:pt x="190461" y="76518"/>
                    </a:lnTo>
                    <a:lnTo>
                      <a:pt x="190461" y="71821"/>
                    </a:lnTo>
                    <a:lnTo>
                      <a:pt x="190916" y="71063"/>
                    </a:lnTo>
                    <a:lnTo>
                      <a:pt x="195159" y="66821"/>
                    </a:lnTo>
                    <a:lnTo>
                      <a:pt x="200765" y="61214"/>
                    </a:lnTo>
                    <a:lnTo>
                      <a:pt x="208189" y="50608"/>
                    </a:lnTo>
                    <a:lnTo>
                      <a:pt x="212280" y="44850"/>
                    </a:lnTo>
                    <a:lnTo>
                      <a:pt x="215614" y="40001"/>
                    </a:lnTo>
                    <a:lnTo>
                      <a:pt x="212735" y="4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1" name="Freeform: Shape 3250">
                <a:extLst>
                  <a:ext uri="{FF2B5EF4-FFF2-40B4-BE49-F238E27FC236}">
                    <a16:creationId xmlns:a16="http://schemas.microsoft.com/office/drawing/2014/main" id="{B81D4BF8-0BC8-4F0A-B10D-6A0C50FB8CFE}"/>
                  </a:ext>
                </a:extLst>
              </p:cNvPr>
              <p:cNvSpPr/>
              <p:nvPr/>
            </p:nvSpPr>
            <p:spPr>
              <a:xfrm>
                <a:off x="9161264" y="3230126"/>
                <a:ext cx="605628" cy="659115"/>
              </a:xfrm>
              <a:custGeom>
                <a:avLst/>
                <a:gdLst>
                  <a:gd name="connsiteX0" fmla="*/ 153037 w 605628"/>
                  <a:gd name="connsiteY0" fmla="*/ 366377 h 659115"/>
                  <a:gd name="connsiteX1" fmla="*/ 154551 w 605628"/>
                  <a:gd name="connsiteY1" fmla="*/ 363044 h 659115"/>
                  <a:gd name="connsiteX2" fmla="*/ 154551 w 605628"/>
                  <a:gd name="connsiteY2" fmla="*/ 361377 h 659115"/>
                  <a:gd name="connsiteX3" fmla="*/ 151218 w 605628"/>
                  <a:gd name="connsiteY3" fmla="*/ 360316 h 659115"/>
                  <a:gd name="connsiteX4" fmla="*/ 150460 w 605628"/>
                  <a:gd name="connsiteY4" fmla="*/ 365771 h 659115"/>
                  <a:gd name="connsiteX5" fmla="*/ 151218 w 605628"/>
                  <a:gd name="connsiteY5" fmla="*/ 367741 h 659115"/>
                  <a:gd name="connsiteX6" fmla="*/ 153037 w 605628"/>
                  <a:gd name="connsiteY6" fmla="*/ 366377 h 659115"/>
                  <a:gd name="connsiteX7" fmla="*/ 45154 w 605628"/>
                  <a:gd name="connsiteY7" fmla="*/ 643508 h 659115"/>
                  <a:gd name="connsiteX8" fmla="*/ 44547 w 605628"/>
                  <a:gd name="connsiteY8" fmla="*/ 642145 h 659115"/>
                  <a:gd name="connsiteX9" fmla="*/ 43638 w 605628"/>
                  <a:gd name="connsiteY9" fmla="*/ 641539 h 659115"/>
                  <a:gd name="connsiteX10" fmla="*/ 43184 w 605628"/>
                  <a:gd name="connsiteY10" fmla="*/ 645630 h 659115"/>
                  <a:gd name="connsiteX11" fmla="*/ 45608 w 605628"/>
                  <a:gd name="connsiteY11" fmla="*/ 646084 h 659115"/>
                  <a:gd name="connsiteX12" fmla="*/ 47881 w 605628"/>
                  <a:gd name="connsiteY12" fmla="*/ 645327 h 659115"/>
                  <a:gd name="connsiteX13" fmla="*/ 46669 w 605628"/>
                  <a:gd name="connsiteY13" fmla="*/ 644418 h 659115"/>
                  <a:gd name="connsiteX14" fmla="*/ 45154 w 605628"/>
                  <a:gd name="connsiteY14" fmla="*/ 643508 h 659115"/>
                  <a:gd name="connsiteX15" fmla="*/ 149703 w 605628"/>
                  <a:gd name="connsiteY15" fmla="*/ 400469 h 659115"/>
                  <a:gd name="connsiteX16" fmla="*/ 148945 w 605628"/>
                  <a:gd name="connsiteY16" fmla="*/ 398499 h 659115"/>
                  <a:gd name="connsiteX17" fmla="*/ 148490 w 605628"/>
                  <a:gd name="connsiteY17" fmla="*/ 396530 h 659115"/>
                  <a:gd name="connsiteX18" fmla="*/ 146370 w 605628"/>
                  <a:gd name="connsiteY18" fmla="*/ 401530 h 659115"/>
                  <a:gd name="connsiteX19" fmla="*/ 145309 w 605628"/>
                  <a:gd name="connsiteY19" fmla="*/ 401984 h 659115"/>
                  <a:gd name="connsiteX20" fmla="*/ 145915 w 605628"/>
                  <a:gd name="connsiteY20" fmla="*/ 402894 h 659115"/>
                  <a:gd name="connsiteX21" fmla="*/ 146824 w 605628"/>
                  <a:gd name="connsiteY21" fmla="*/ 405621 h 659115"/>
                  <a:gd name="connsiteX22" fmla="*/ 147581 w 605628"/>
                  <a:gd name="connsiteY22" fmla="*/ 405318 h 659115"/>
                  <a:gd name="connsiteX23" fmla="*/ 148490 w 605628"/>
                  <a:gd name="connsiteY23" fmla="*/ 402590 h 659115"/>
                  <a:gd name="connsiteX24" fmla="*/ 149703 w 605628"/>
                  <a:gd name="connsiteY24" fmla="*/ 402136 h 659115"/>
                  <a:gd name="connsiteX25" fmla="*/ 150460 w 605628"/>
                  <a:gd name="connsiteY25" fmla="*/ 400772 h 659115"/>
                  <a:gd name="connsiteX26" fmla="*/ 149703 w 605628"/>
                  <a:gd name="connsiteY26" fmla="*/ 400469 h 659115"/>
                  <a:gd name="connsiteX27" fmla="*/ 1970 w 605628"/>
                  <a:gd name="connsiteY27" fmla="*/ 655479 h 659115"/>
                  <a:gd name="connsiteX28" fmla="*/ 1970 w 605628"/>
                  <a:gd name="connsiteY28" fmla="*/ 656691 h 659115"/>
                  <a:gd name="connsiteX29" fmla="*/ 0 w 605628"/>
                  <a:gd name="connsiteY29" fmla="*/ 657600 h 659115"/>
                  <a:gd name="connsiteX30" fmla="*/ 0 w 605628"/>
                  <a:gd name="connsiteY30" fmla="*/ 658509 h 659115"/>
                  <a:gd name="connsiteX31" fmla="*/ 1818 w 605628"/>
                  <a:gd name="connsiteY31" fmla="*/ 658660 h 659115"/>
                  <a:gd name="connsiteX32" fmla="*/ 3940 w 605628"/>
                  <a:gd name="connsiteY32" fmla="*/ 659115 h 659115"/>
                  <a:gd name="connsiteX33" fmla="*/ 5606 w 605628"/>
                  <a:gd name="connsiteY33" fmla="*/ 658660 h 659115"/>
                  <a:gd name="connsiteX34" fmla="*/ 6667 w 605628"/>
                  <a:gd name="connsiteY34" fmla="*/ 657448 h 659115"/>
                  <a:gd name="connsiteX35" fmla="*/ 6819 w 605628"/>
                  <a:gd name="connsiteY35" fmla="*/ 656388 h 659115"/>
                  <a:gd name="connsiteX36" fmla="*/ 2273 w 605628"/>
                  <a:gd name="connsiteY36" fmla="*/ 654872 h 659115"/>
                  <a:gd name="connsiteX37" fmla="*/ 1970 w 605628"/>
                  <a:gd name="connsiteY37" fmla="*/ 655479 h 659115"/>
                  <a:gd name="connsiteX38" fmla="*/ 14395 w 605628"/>
                  <a:gd name="connsiteY38" fmla="*/ 653509 h 659115"/>
                  <a:gd name="connsiteX39" fmla="*/ 13334 w 605628"/>
                  <a:gd name="connsiteY39" fmla="*/ 653660 h 659115"/>
                  <a:gd name="connsiteX40" fmla="*/ 11971 w 605628"/>
                  <a:gd name="connsiteY40" fmla="*/ 653206 h 659115"/>
                  <a:gd name="connsiteX41" fmla="*/ 11062 w 605628"/>
                  <a:gd name="connsiteY41" fmla="*/ 654115 h 659115"/>
                  <a:gd name="connsiteX42" fmla="*/ 12425 w 605628"/>
                  <a:gd name="connsiteY42" fmla="*/ 656691 h 659115"/>
                  <a:gd name="connsiteX43" fmla="*/ 13789 w 605628"/>
                  <a:gd name="connsiteY43" fmla="*/ 656994 h 659115"/>
                  <a:gd name="connsiteX44" fmla="*/ 15152 w 605628"/>
                  <a:gd name="connsiteY44" fmla="*/ 656388 h 659115"/>
                  <a:gd name="connsiteX45" fmla="*/ 16819 w 605628"/>
                  <a:gd name="connsiteY45" fmla="*/ 651842 h 659115"/>
                  <a:gd name="connsiteX46" fmla="*/ 17728 w 605628"/>
                  <a:gd name="connsiteY46" fmla="*/ 650327 h 659115"/>
                  <a:gd name="connsiteX47" fmla="*/ 17122 w 605628"/>
                  <a:gd name="connsiteY47" fmla="*/ 649721 h 659115"/>
                  <a:gd name="connsiteX48" fmla="*/ 14395 w 605628"/>
                  <a:gd name="connsiteY48" fmla="*/ 653509 h 659115"/>
                  <a:gd name="connsiteX49" fmla="*/ 144096 w 605628"/>
                  <a:gd name="connsiteY49" fmla="*/ 552899 h 659115"/>
                  <a:gd name="connsiteX50" fmla="*/ 142884 w 605628"/>
                  <a:gd name="connsiteY50" fmla="*/ 553202 h 659115"/>
                  <a:gd name="connsiteX51" fmla="*/ 142278 w 605628"/>
                  <a:gd name="connsiteY51" fmla="*/ 554869 h 659115"/>
                  <a:gd name="connsiteX52" fmla="*/ 142732 w 605628"/>
                  <a:gd name="connsiteY52" fmla="*/ 558202 h 659115"/>
                  <a:gd name="connsiteX53" fmla="*/ 144248 w 605628"/>
                  <a:gd name="connsiteY53" fmla="*/ 558960 h 659115"/>
                  <a:gd name="connsiteX54" fmla="*/ 145461 w 605628"/>
                  <a:gd name="connsiteY54" fmla="*/ 558354 h 659115"/>
                  <a:gd name="connsiteX55" fmla="*/ 145915 w 605628"/>
                  <a:gd name="connsiteY55" fmla="*/ 556839 h 659115"/>
                  <a:gd name="connsiteX56" fmla="*/ 145157 w 605628"/>
                  <a:gd name="connsiteY56" fmla="*/ 555626 h 659115"/>
                  <a:gd name="connsiteX57" fmla="*/ 144096 w 605628"/>
                  <a:gd name="connsiteY57" fmla="*/ 552899 h 659115"/>
                  <a:gd name="connsiteX58" fmla="*/ 142127 w 605628"/>
                  <a:gd name="connsiteY58" fmla="*/ 410015 h 659115"/>
                  <a:gd name="connsiteX59" fmla="*/ 141066 w 605628"/>
                  <a:gd name="connsiteY59" fmla="*/ 407894 h 659115"/>
                  <a:gd name="connsiteX60" fmla="*/ 140157 w 605628"/>
                  <a:gd name="connsiteY60" fmla="*/ 407439 h 659115"/>
                  <a:gd name="connsiteX61" fmla="*/ 138944 w 605628"/>
                  <a:gd name="connsiteY61" fmla="*/ 407591 h 659115"/>
                  <a:gd name="connsiteX62" fmla="*/ 137429 w 605628"/>
                  <a:gd name="connsiteY62" fmla="*/ 408045 h 659115"/>
                  <a:gd name="connsiteX63" fmla="*/ 136369 w 605628"/>
                  <a:gd name="connsiteY63" fmla="*/ 407288 h 659115"/>
                  <a:gd name="connsiteX64" fmla="*/ 135915 w 605628"/>
                  <a:gd name="connsiteY64" fmla="*/ 410924 h 659115"/>
                  <a:gd name="connsiteX65" fmla="*/ 136066 w 605628"/>
                  <a:gd name="connsiteY65" fmla="*/ 411985 h 659115"/>
                  <a:gd name="connsiteX66" fmla="*/ 136975 w 605628"/>
                  <a:gd name="connsiteY66" fmla="*/ 412742 h 659115"/>
                  <a:gd name="connsiteX67" fmla="*/ 138490 w 605628"/>
                  <a:gd name="connsiteY67" fmla="*/ 413349 h 659115"/>
                  <a:gd name="connsiteX68" fmla="*/ 139551 w 605628"/>
                  <a:gd name="connsiteY68" fmla="*/ 411833 h 659115"/>
                  <a:gd name="connsiteX69" fmla="*/ 140460 w 605628"/>
                  <a:gd name="connsiteY69" fmla="*/ 411530 h 659115"/>
                  <a:gd name="connsiteX70" fmla="*/ 142430 w 605628"/>
                  <a:gd name="connsiteY70" fmla="*/ 411379 h 659115"/>
                  <a:gd name="connsiteX71" fmla="*/ 142127 w 605628"/>
                  <a:gd name="connsiteY71" fmla="*/ 410015 h 659115"/>
                  <a:gd name="connsiteX72" fmla="*/ 153037 w 605628"/>
                  <a:gd name="connsiteY72" fmla="*/ 545929 h 659115"/>
                  <a:gd name="connsiteX73" fmla="*/ 152430 w 605628"/>
                  <a:gd name="connsiteY73" fmla="*/ 545020 h 659115"/>
                  <a:gd name="connsiteX74" fmla="*/ 150612 w 605628"/>
                  <a:gd name="connsiteY74" fmla="*/ 544565 h 659115"/>
                  <a:gd name="connsiteX75" fmla="*/ 151672 w 605628"/>
                  <a:gd name="connsiteY75" fmla="*/ 547293 h 659115"/>
                  <a:gd name="connsiteX76" fmla="*/ 154400 w 605628"/>
                  <a:gd name="connsiteY76" fmla="*/ 547899 h 659115"/>
                  <a:gd name="connsiteX77" fmla="*/ 154248 w 605628"/>
                  <a:gd name="connsiteY77" fmla="*/ 547141 h 659115"/>
                  <a:gd name="connsiteX78" fmla="*/ 153037 w 605628"/>
                  <a:gd name="connsiteY78" fmla="*/ 545929 h 659115"/>
                  <a:gd name="connsiteX79" fmla="*/ 124096 w 605628"/>
                  <a:gd name="connsiteY79" fmla="*/ 585627 h 659115"/>
                  <a:gd name="connsiteX80" fmla="*/ 121520 w 605628"/>
                  <a:gd name="connsiteY80" fmla="*/ 588052 h 659115"/>
                  <a:gd name="connsiteX81" fmla="*/ 120914 w 605628"/>
                  <a:gd name="connsiteY81" fmla="*/ 589264 h 659115"/>
                  <a:gd name="connsiteX82" fmla="*/ 119550 w 605628"/>
                  <a:gd name="connsiteY82" fmla="*/ 590021 h 659115"/>
                  <a:gd name="connsiteX83" fmla="*/ 119095 w 605628"/>
                  <a:gd name="connsiteY83" fmla="*/ 589870 h 659115"/>
                  <a:gd name="connsiteX84" fmla="*/ 118186 w 605628"/>
                  <a:gd name="connsiteY84" fmla="*/ 588961 h 659115"/>
                  <a:gd name="connsiteX85" fmla="*/ 115762 w 605628"/>
                  <a:gd name="connsiteY85" fmla="*/ 588506 h 659115"/>
                  <a:gd name="connsiteX86" fmla="*/ 115459 w 605628"/>
                  <a:gd name="connsiteY86" fmla="*/ 589112 h 659115"/>
                  <a:gd name="connsiteX87" fmla="*/ 115307 w 605628"/>
                  <a:gd name="connsiteY87" fmla="*/ 590325 h 659115"/>
                  <a:gd name="connsiteX88" fmla="*/ 116823 w 605628"/>
                  <a:gd name="connsiteY88" fmla="*/ 591385 h 659115"/>
                  <a:gd name="connsiteX89" fmla="*/ 116216 w 605628"/>
                  <a:gd name="connsiteY89" fmla="*/ 592446 h 659115"/>
                  <a:gd name="connsiteX90" fmla="*/ 113338 w 605628"/>
                  <a:gd name="connsiteY90" fmla="*/ 595022 h 659115"/>
                  <a:gd name="connsiteX91" fmla="*/ 112731 w 605628"/>
                  <a:gd name="connsiteY91" fmla="*/ 595476 h 659115"/>
                  <a:gd name="connsiteX92" fmla="*/ 110913 w 605628"/>
                  <a:gd name="connsiteY92" fmla="*/ 595931 h 659115"/>
                  <a:gd name="connsiteX93" fmla="*/ 110913 w 605628"/>
                  <a:gd name="connsiteY93" fmla="*/ 599567 h 659115"/>
                  <a:gd name="connsiteX94" fmla="*/ 108943 w 605628"/>
                  <a:gd name="connsiteY94" fmla="*/ 602749 h 659115"/>
                  <a:gd name="connsiteX95" fmla="*/ 108792 w 605628"/>
                  <a:gd name="connsiteY95" fmla="*/ 604113 h 659115"/>
                  <a:gd name="connsiteX96" fmla="*/ 108943 w 605628"/>
                  <a:gd name="connsiteY96" fmla="*/ 605780 h 659115"/>
                  <a:gd name="connsiteX97" fmla="*/ 111065 w 605628"/>
                  <a:gd name="connsiteY97" fmla="*/ 605780 h 659115"/>
                  <a:gd name="connsiteX98" fmla="*/ 113035 w 605628"/>
                  <a:gd name="connsiteY98" fmla="*/ 604113 h 659115"/>
                  <a:gd name="connsiteX99" fmla="*/ 113186 w 605628"/>
                  <a:gd name="connsiteY99" fmla="*/ 603507 h 659115"/>
                  <a:gd name="connsiteX100" fmla="*/ 112580 w 605628"/>
                  <a:gd name="connsiteY100" fmla="*/ 602446 h 659115"/>
                  <a:gd name="connsiteX101" fmla="*/ 112731 w 605628"/>
                  <a:gd name="connsiteY101" fmla="*/ 601083 h 659115"/>
                  <a:gd name="connsiteX102" fmla="*/ 114398 w 605628"/>
                  <a:gd name="connsiteY102" fmla="*/ 599264 h 659115"/>
                  <a:gd name="connsiteX103" fmla="*/ 115914 w 605628"/>
                  <a:gd name="connsiteY103" fmla="*/ 598961 h 659115"/>
                  <a:gd name="connsiteX104" fmla="*/ 115005 w 605628"/>
                  <a:gd name="connsiteY104" fmla="*/ 597446 h 659115"/>
                  <a:gd name="connsiteX105" fmla="*/ 115005 w 605628"/>
                  <a:gd name="connsiteY105" fmla="*/ 595628 h 659115"/>
                  <a:gd name="connsiteX106" fmla="*/ 117277 w 605628"/>
                  <a:gd name="connsiteY106" fmla="*/ 595173 h 659115"/>
                  <a:gd name="connsiteX107" fmla="*/ 119702 w 605628"/>
                  <a:gd name="connsiteY107" fmla="*/ 592900 h 659115"/>
                  <a:gd name="connsiteX108" fmla="*/ 122126 w 605628"/>
                  <a:gd name="connsiteY108" fmla="*/ 592294 h 659115"/>
                  <a:gd name="connsiteX109" fmla="*/ 123035 w 605628"/>
                  <a:gd name="connsiteY109" fmla="*/ 590628 h 659115"/>
                  <a:gd name="connsiteX110" fmla="*/ 125611 w 605628"/>
                  <a:gd name="connsiteY110" fmla="*/ 589264 h 659115"/>
                  <a:gd name="connsiteX111" fmla="*/ 126974 w 605628"/>
                  <a:gd name="connsiteY111" fmla="*/ 587294 h 659115"/>
                  <a:gd name="connsiteX112" fmla="*/ 127580 w 605628"/>
                  <a:gd name="connsiteY112" fmla="*/ 584567 h 659115"/>
                  <a:gd name="connsiteX113" fmla="*/ 125460 w 605628"/>
                  <a:gd name="connsiteY113" fmla="*/ 582597 h 659115"/>
                  <a:gd name="connsiteX114" fmla="*/ 124096 w 605628"/>
                  <a:gd name="connsiteY114" fmla="*/ 585627 h 659115"/>
                  <a:gd name="connsiteX115" fmla="*/ 431683 w 605628"/>
                  <a:gd name="connsiteY115" fmla="*/ 114398 h 659115"/>
                  <a:gd name="connsiteX116" fmla="*/ 432289 w 605628"/>
                  <a:gd name="connsiteY116" fmla="*/ 114247 h 659115"/>
                  <a:gd name="connsiteX117" fmla="*/ 432895 w 605628"/>
                  <a:gd name="connsiteY117" fmla="*/ 113792 h 659115"/>
                  <a:gd name="connsiteX118" fmla="*/ 434410 w 605628"/>
                  <a:gd name="connsiteY118" fmla="*/ 109246 h 659115"/>
                  <a:gd name="connsiteX119" fmla="*/ 432743 w 605628"/>
                  <a:gd name="connsiteY119" fmla="*/ 109550 h 659115"/>
                  <a:gd name="connsiteX120" fmla="*/ 430925 w 605628"/>
                  <a:gd name="connsiteY120" fmla="*/ 110459 h 659115"/>
                  <a:gd name="connsiteX121" fmla="*/ 430319 w 605628"/>
                  <a:gd name="connsiteY121" fmla="*/ 111822 h 659115"/>
                  <a:gd name="connsiteX122" fmla="*/ 430925 w 605628"/>
                  <a:gd name="connsiteY122" fmla="*/ 114247 h 659115"/>
                  <a:gd name="connsiteX123" fmla="*/ 431683 w 605628"/>
                  <a:gd name="connsiteY123" fmla="*/ 114398 h 659115"/>
                  <a:gd name="connsiteX124" fmla="*/ 474715 w 605628"/>
                  <a:gd name="connsiteY124" fmla="*/ 8031 h 659115"/>
                  <a:gd name="connsiteX125" fmla="*/ 475776 w 605628"/>
                  <a:gd name="connsiteY125" fmla="*/ 5909 h 659115"/>
                  <a:gd name="connsiteX126" fmla="*/ 475624 w 605628"/>
                  <a:gd name="connsiteY126" fmla="*/ 3636 h 659115"/>
                  <a:gd name="connsiteX127" fmla="*/ 475321 w 605628"/>
                  <a:gd name="connsiteY127" fmla="*/ 1970 h 659115"/>
                  <a:gd name="connsiteX128" fmla="*/ 473806 w 605628"/>
                  <a:gd name="connsiteY128" fmla="*/ 1515 h 659115"/>
                  <a:gd name="connsiteX129" fmla="*/ 473048 w 605628"/>
                  <a:gd name="connsiteY129" fmla="*/ 1515 h 659115"/>
                  <a:gd name="connsiteX130" fmla="*/ 473351 w 605628"/>
                  <a:gd name="connsiteY130" fmla="*/ 5000 h 659115"/>
                  <a:gd name="connsiteX131" fmla="*/ 474715 w 605628"/>
                  <a:gd name="connsiteY131" fmla="*/ 8031 h 659115"/>
                  <a:gd name="connsiteX132" fmla="*/ 480018 w 605628"/>
                  <a:gd name="connsiteY132" fmla="*/ 13334 h 659115"/>
                  <a:gd name="connsiteX133" fmla="*/ 481988 w 605628"/>
                  <a:gd name="connsiteY133" fmla="*/ 13031 h 659115"/>
                  <a:gd name="connsiteX134" fmla="*/ 482897 w 605628"/>
                  <a:gd name="connsiteY134" fmla="*/ 11970 h 659115"/>
                  <a:gd name="connsiteX135" fmla="*/ 482443 w 605628"/>
                  <a:gd name="connsiteY135" fmla="*/ 11061 h 659115"/>
                  <a:gd name="connsiteX136" fmla="*/ 480776 w 605628"/>
                  <a:gd name="connsiteY136" fmla="*/ 9243 h 659115"/>
                  <a:gd name="connsiteX137" fmla="*/ 479260 w 605628"/>
                  <a:gd name="connsiteY137" fmla="*/ 8788 h 659115"/>
                  <a:gd name="connsiteX138" fmla="*/ 477594 w 605628"/>
                  <a:gd name="connsiteY138" fmla="*/ 10152 h 659115"/>
                  <a:gd name="connsiteX139" fmla="*/ 477897 w 605628"/>
                  <a:gd name="connsiteY139" fmla="*/ 11970 h 659115"/>
                  <a:gd name="connsiteX140" fmla="*/ 480018 w 605628"/>
                  <a:gd name="connsiteY140" fmla="*/ 13334 h 659115"/>
                  <a:gd name="connsiteX141" fmla="*/ 399409 w 605628"/>
                  <a:gd name="connsiteY141" fmla="*/ 250161 h 659115"/>
                  <a:gd name="connsiteX142" fmla="*/ 397894 w 605628"/>
                  <a:gd name="connsiteY142" fmla="*/ 250918 h 659115"/>
                  <a:gd name="connsiteX143" fmla="*/ 398499 w 605628"/>
                  <a:gd name="connsiteY143" fmla="*/ 251221 h 659115"/>
                  <a:gd name="connsiteX144" fmla="*/ 401076 w 605628"/>
                  <a:gd name="connsiteY144" fmla="*/ 251070 h 659115"/>
                  <a:gd name="connsiteX145" fmla="*/ 405318 w 605628"/>
                  <a:gd name="connsiteY145" fmla="*/ 248494 h 659115"/>
                  <a:gd name="connsiteX146" fmla="*/ 407440 w 605628"/>
                  <a:gd name="connsiteY146" fmla="*/ 243342 h 659115"/>
                  <a:gd name="connsiteX147" fmla="*/ 404106 w 605628"/>
                  <a:gd name="connsiteY147" fmla="*/ 243039 h 659115"/>
                  <a:gd name="connsiteX148" fmla="*/ 404409 w 605628"/>
                  <a:gd name="connsiteY148" fmla="*/ 241524 h 659115"/>
                  <a:gd name="connsiteX149" fmla="*/ 405773 w 605628"/>
                  <a:gd name="connsiteY149" fmla="*/ 237281 h 659115"/>
                  <a:gd name="connsiteX150" fmla="*/ 405621 w 605628"/>
                  <a:gd name="connsiteY150" fmla="*/ 235463 h 659115"/>
                  <a:gd name="connsiteX151" fmla="*/ 404409 w 605628"/>
                  <a:gd name="connsiteY151" fmla="*/ 236221 h 659115"/>
                  <a:gd name="connsiteX152" fmla="*/ 400167 w 605628"/>
                  <a:gd name="connsiteY152" fmla="*/ 240312 h 659115"/>
                  <a:gd name="connsiteX153" fmla="*/ 398651 w 605628"/>
                  <a:gd name="connsiteY153" fmla="*/ 242888 h 659115"/>
                  <a:gd name="connsiteX154" fmla="*/ 398499 w 605628"/>
                  <a:gd name="connsiteY154" fmla="*/ 245615 h 659115"/>
                  <a:gd name="connsiteX155" fmla="*/ 400621 w 605628"/>
                  <a:gd name="connsiteY155" fmla="*/ 245766 h 659115"/>
                  <a:gd name="connsiteX156" fmla="*/ 400621 w 605628"/>
                  <a:gd name="connsiteY156" fmla="*/ 246373 h 659115"/>
                  <a:gd name="connsiteX157" fmla="*/ 399712 w 605628"/>
                  <a:gd name="connsiteY157" fmla="*/ 248645 h 659115"/>
                  <a:gd name="connsiteX158" fmla="*/ 399409 w 605628"/>
                  <a:gd name="connsiteY158" fmla="*/ 250161 h 659115"/>
                  <a:gd name="connsiteX159" fmla="*/ 167280 w 605628"/>
                  <a:gd name="connsiteY159" fmla="*/ 377741 h 659115"/>
                  <a:gd name="connsiteX160" fmla="*/ 166825 w 605628"/>
                  <a:gd name="connsiteY160" fmla="*/ 375317 h 659115"/>
                  <a:gd name="connsiteX161" fmla="*/ 165158 w 605628"/>
                  <a:gd name="connsiteY161" fmla="*/ 374408 h 659115"/>
                  <a:gd name="connsiteX162" fmla="*/ 164703 w 605628"/>
                  <a:gd name="connsiteY162" fmla="*/ 375317 h 659115"/>
                  <a:gd name="connsiteX163" fmla="*/ 163946 w 605628"/>
                  <a:gd name="connsiteY163" fmla="*/ 378044 h 659115"/>
                  <a:gd name="connsiteX164" fmla="*/ 165310 w 605628"/>
                  <a:gd name="connsiteY164" fmla="*/ 379105 h 659115"/>
                  <a:gd name="connsiteX165" fmla="*/ 167280 w 605628"/>
                  <a:gd name="connsiteY165" fmla="*/ 377741 h 659115"/>
                  <a:gd name="connsiteX166" fmla="*/ 156975 w 605628"/>
                  <a:gd name="connsiteY166" fmla="*/ 392742 h 659115"/>
                  <a:gd name="connsiteX167" fmla="*/ 156825 w 605628"/>
                  <a:gd name="connsiteY167" fmla="*/ 393499 h 659115"/>
                  <a:gd name="connsiteX168" fmla="*/ 155612 w 605628"/>
                  <a:gd name="connsiteY168" fmla="*/ 395166 h 659115"/>
                  <a:gd name="connsiteX169" fmla="*/ 156975 w 605628"/>
                  <a:gd name="connsiteY169" fmla="*/ 395166 h 659115"/>
                  <a:gd name="connsiteX170" fmla="*/ 158945 w 605628"/>
                  <a:gd name="connsiteY170" fmla="*/ 393802 h 659115"/>
                  <a:gd name="connsiteX171" fmla="*/ 159400 w 605628"/>
                  <a:gd name="connsiteY171" fmla="*/ 391984 h 659115"/>
                  <a:gd name="connsiteX172" fmla="*/ 161067 w 605628"/>
                  <a:gd name="connsiteY172" fmla="*/ 389711 h 659115"/>
                  <a:gd name="connsiteX173" fmla="*/ 160158 w 605628"/>
                  <a:gd name="connsiteY173" fmla="*/ 389863 h 659115"/>
                  <a:gd name="connsiteX174" fmla="*/ 158036 w 605628"/>
                  <a:gd name="connsiteY174" fmla="*/ 390620 h 659115"/>
                  <a:gd name="connsiteX175" fmla="*/ 156975 w 605628"/>
                  <a:gd name="connsiteY175" fmla="*/ 392742 h 659115"/>
                  <a:gd name="connsiteX176" fmla="*/ 153642 w 605628"/>
                  <a:gd name="connsiteY176" fmla="*/ 359710 h 659115"/>
                  <a:gd name="connsiteX177" fmla="*/ 155460 w 605628"/>
                  <a:gd name="connsiteY177" fmla="*/ 360771 h 659115"/>
                  <a:gd name="connsiteX178" fmla="*/ 156066 w 605628"/>
                  <a:gd name="connsiteY178" fmla="*/ 359256 h 659115"/>
                  <a:gd name="connsiteX179" fmla="*/ 155915 w 605628"/>
                  <a:gd name="connsiteY179" fmla="*/ 357286 h 659115"/>
                  <a:gd name="connsiteX180" fmla="*/ 158491 w 605628"/>
                  <a:gd name="connsiteY180" fmla="*/ 353498 h 659115"/>
                  <a:gd name="connsiteX181" fmla="*/ 158339 w 605628"/>
                  <a:gd name="connsiteY181" fmla="*/ 351225 h 659115"/>
                  <a:gd name="connsiteX182" fmla="*/ 158643 w 605628"/>
                  <a:gd name="connsiteY182" fmla="*/ 350164 h 659115"/>
                  <a:gd name="connsiteX183" fmla="*/ 158491 w 605628"/>
                  <a:gd name="connsiteY183" fmla="*/ 349558 h 659115"/>
                  <a:gd name="connsiteX184" fmla="*/ 157884 w 605628"/>
                  <a:gd name="connsiteY184" fmla="*/ 349104 h 659115"/>
                  <a:gd name="connsiteX185" fmla="*/ 154400 w 605628"/>
                  <a:gd name="connsiteY185" fmla="*/ 351528 h 659115"/>
                  <a:gd name="connsiteX186" fmla="*/ 154248 w 605628"/>
                  <a:gd name="connsiteY186" fmla="*/ 352437 h 659115"/>
                  <a:gd name="connsiteX187" fmla="*/ 154400 w 605628"/>
                  <a:gd name="connsiteY187" fmla="*/ 354255 h 659115"/>
                  <a:gd name="connsiteX188" fmla="*/ 152733 w 605628"/>
                  <a:gd name="connsiteY188" fmla="*/ 358952 h 659115"/>
                  <a:gd name="connsiteX189" fmla="*/ 153642 w 605628"/>
                  <a:gd name="connsiteY189" fmla="*/ 359710 h 659115"/>
                  <a:gd name="connsiteX190" fmla="*/ 263798 w 605628"/>
                  <a:gd name="connsiteY190" fmla="*/ 303193 h 659115"/>
                  <a:gd name="connsiteX191" fmla="*/ 265010 w 605628"/>
                  <a:gd name="connsiteY191" fmla="*/ 301981 h 659115"/>
                  <a:gd name="connsiteX192" fmla="*/ 265313 w 605628"/>
                  <a:gd name="connsiteY192" fmla="*/ 300617 h 659115"/>
                  <a:gd name="connsiteX193" fmla="*/ 263040 w 605628"/>
                  <a:gd name="connsiteY193" fmla="*/ 297738 h 659115"/>
                  <a:gd name="connsiteX194" fmla="*/ 260616 w 605628"/>
                  <a:gd name="connsiteY194" fmla="*/ 299253 h 659115"/>
                  <a:gd name="connsiteX195" fmla="*/ 260161 w 605628"/>
                  <a:gd name="connsiteY195" fmla="*/ 301223 h 659115"/>
                  <a:gd name="connsiteX196" fmla="*/ 261525 w 605628"/>
                  <a:gd name="connsiteY196" fmla="*/ 302890 h 659115"/>
                  <a:gd name="connsiteX197" fmla="*/ 263798 w 605628"/>
                  <a:gd name="connsiteY197" fmla="*/ 303193 h 659115"/>
                  <a:gd name="connsiteX198" fmla="*/ 289102 w 605628"/>
                  <a:gd name="connsiteY198" fmla="*/ 357134 h 659115"/>
                  <a:gd name="connsiteX199" fmla="*/ 290768 w 605628"/>
                  <a:gd name="connsiteY199" fmla="*/ 355771 h 659115"/>
                  <a:gd name="connsiteX200" fmla="*/ 291223 w 605628"/>
                  <a:gd name="connsiteY200" fmla="*/ 355922 h 659115"/>
                  <a:gd name="connsiteX201" fmla="*/ 291677 w 605628"/>
                  <a:gd name="connsiteY201" fmla="*/ 355316 h 659115"/>
                  <a:gd name="connsiteX202" fmla="*/ 292284 w 605628"/>
                  <a:gd name="connsiteY202" fmla="*/ 354104 h 659115"/>
                  <a:gd name="connsiteX203" fmla="*/ 291072 w 605628"/>
                  <a:gd name="connsiteY203" fmla="*/ 353801 h 659115"/>
                  <a:gd name="connsiteX204" fmla="*/ 287132 w 605628"/>
                  <a:gd name="connsiteY204" fmla="*/ 354255 h 659115"/>
                  <a:gd name="connsiteX205" fmla="*/ 287284 w 605628"/>
                  <a:gd name="connsiteY205" fmla="*/ 355013 h 659115"/>
                  <a:gd name="connsiteX206" fmla="*/ 288647 w 605628"/>
                  <a:gd name="connsiteY206" fmla="*/ 355922 h 659115"/>
                  <a:gd name="connsiteX207" fmla="*/ 289102 w 605628"/>
                  <a:gd name="connsiteY207" fmla="*/ 357134 h 659115"/>
                  <a:gd name="connsiteX208" fmla="*/ 429259 w 605628"/>
                  <a:gd name="connsiteY208" fmla="*/ 346225 h 659115"/>
                  <a:gd name="connsiteX209" fmla="*/ 429107 w 605628"/>
                  <a:gd name="connsiteY209" fmla="*/ 347891 h 659115"/>
                  <a:gd name="connsiteX210" fmla="*/ 429864 w 605628"/>
                  <a:gd name="connsiteY210" fmla="*/ 348801 h 659115"/>
                  <a:gd name="connsiteX211" fmla="*/ 431380 w 605628"/>
                  <a:gd name="connsiteY211" fmla="*/ 349104 h 659115"/>
                  <a:gd name="connsiteX212" fmla="*/ 431683 w 605628"/>
                  <a:gd name="connsiteY212" fmla="*/ 347588 h 659115"/>
                  <a:gd name="connsiteX213" fmla="*/ 430925 w 605628"/>
                  <a:gd name="connsiteY213" fmla="*/ 346073 h 659115"/>
                  <a:gd name="connsiteX214" fmla="*/ 429259 w 605628"/>
                  <a:gd name="connsiteY214" fmla="*/ 346225 h 659115"/>
                  <a:gd name="connsiteX215" fmla="*/ 440319 w 605628"/>
                  <a:gd name="connsiteY215" fmla="*/ 396833 h 659115"/>
                  <a:gd name="connsiteX216" fmla="*/ 440017 w 605628"/>
                  <a:gd name="connsiteY216" fmla="*/ 397439 h 659115"/>
                  <a:gd name="connsiteX217" fmla="*/ 440168 w 605628"/>
                  <a:gd name="connsiteY217" fmla="*/ 398348 h 659115"/>
                  <a:gd name="connsiteX218" fmla="*/ 441532 w 605628"/>
                  <a:gd name="connsiteY218" fmla="*/ 399409 h 659115"/>
                  <a:gd name="connsiteX219" fmla="*/ 441986 w 605628"/>
                  <a:gd name="connsiteY219" fmla="*/ 399106 h 659115"/>
                  <a:gd name="connsiteX220" fmla="*/ 442896 w 605628"/>
                  <a:gd name="connsiteY220" fmla="*/ 397893 h 659115"/>
                  <a:gd name="connsiteX221" fmla="*/ 441077 w 605628"/>
                  <a:gd name="connsiteY221" fmla="*/ 396833 h 659115"/>
                  <a:gd name="connsiteX222" fmla="*/ 440319 w 605628"/>
                  <a:gd name="connsiteY222" fmla="*/ 396833 h 659115"/>
                  <a:gd name="connsiteX223" fmla="*/ 308496 w 605628"/>
                  <a:gd name="connsiteY223" fmla="*/ 353346 h 659115"/>
                  <a:gd name="connsiteX224" fmla="*/ 306981 w 605628"/>
                  <a:gd name="connsiteY224" fmla="*/ 354104 h 659115"/>
                  <a:gd name="connsiteX225" fmla="*/ 305011 w 605628"/>
                  <a:gd name="connsiteY225" fmla="*/ 355468 h 659115"/>
                  <a:gd name="connsiteX226" fmla="*/ 302890 w 605628"/>
                  <a:gd name="connsiteY226" fmla="*/ 358650 h 659115"/>
                  <a:gd name="connsiteX227" fmla="*/ 300466 w 605628"/>
                  <a:gd name="connsiteY227" fmla="*/ 360922 h 659115"/>
                  <a:gd name="connsiteX228" fmla="*/ 300920 w 605628"/>
                  <a:gd name="connsiteY228" fmla="*/ 362438 h 659115"/>
                  <a:gd name="connsiteX229" fmla="*/ 302284 w 605628"/>
                  <a:gd name="connsiteY229" fmla="*/ 363650 h 659115"/>
                  <a:gd name="connsiteX230" fmla="*/ 304860 w 605628"/>
                  <a:gd name="connsiteY230" fmla="*/ 363801 h 659115"/>
                  <a:gd name="connsiteX231" fmla="*/ 307890 w 605628"/>
                  <a:gd name="connsiteY231" fmla="*/ 361225 h 659115"/>
                  <a:gd name="connsiteX232" fmla="*/ 307133 w 605628"/>
                  <a:gd name="connsiteY232" fmla="*/ 357892 h 659115"/>
                  <a:gd name="connsiteX233" fmla="*/ 309860 w 605628"/>
                  <a:gd name="connsiteY233" fmla="*/ 353346 h 659115"/>
                  <a:gd name="connsiteX234" fmla="*/ 308496 w 605628"/>
                  <a:gd name="connsiteY234" fmla="*/ 353346 h 659115"/>
                  <a:gd name="connsiteX235" fmla="*/ 243342 w 605628"/>
                  <a:gd name="connsiteY235" fmla="*/ 366528 h 659115"/>
                  <a:gd name="connsiteX236" fmla="*/ 242888 w 605628"/>
                  <a:gd name="connsiteY236" fmla="*/ 366226 h 659115"/>
                  <a:gd name="connsiteX237" fmla="*/ 242433 w 605628"/>
                  <a:gd name="connsiteY237" fmla="*/ 364862 h 659115"/>
                  <a:gd name="connsiteX238" fmla="*/ 241827 w 605628"/>
                  <a:gd name="connsiteY238" fmla="*/ 365165 h 659115"/>
                  <a:gd name="connsiteX239" fmla="*/ 241070 w 605628"/>
                  <a:gd name="connsiteY239" fmla="*/ 366528 h 659115"/>
                  <a:gd name="connsiteX240" fmla="*/ 240161 w 605628"/>
                  <a:gd name="connsiteY240" fmla="*/ 367589 h 659115"/>
                  <a:gd name="connsiteX241" fmla="*/ 242585 w 605628"/>
                  <a:gd name="connsiteY241" fmla="*/ 367892 h 659115"/>
                  <a:gd name="connsiteX242" fmla="*/ 243342 w 605628"/>
                  <a:gd name="connsiteY242" fmla="*/ 366528 h 659115"/>
                  <a:gd name="connsiteX243" fmla="*/ 504564 w 605628"/>
                  <a:gd name="connsiteY243" fmla="*/ 587597 h 659115"/>
                  <a:gd name="connsiteX244" fmla="*/ 504110 w 605628"/>
                  <a:gd name="connsiteY244" fmla="*/ 587749 h 659115"/>
                  <a:gd name="connsiteX245" fmla="*/ 505776 w 605628"/>
                  <a:gd name="connsiteY245" fmla="*/ 590779 h 659115"/>
                  <a:gd name="connsiteX246" fmla="*/ 506231 w 605628"/>
                  <a:gd name="connsiteY246" fmla="*/ 590779 h 659115"/>
                  <a:gd name="connsiteX247" fmla="*/ 506686 w 605628"/>
                  <a:gd name="connsiteY247" fmla="*/ 589870 h 659115"/>
                  <a:gd name="connsiteX248" fmla="*/ 505625 w 605628"/>
                  <a:gd name="connsiteY248" fmla="*/ 588052 h 659115"/>
                  <a:gd name="connsiteX249" fmla="*/ 504564 w 605628"/>
                  <a:gd name="connsiteY249" fmla="*/ 587597 h 659115"/>
                  <a:gd name="connsiteX250" fmla="*/ 603811 w 605628"/>
                  <a:gd name="connsiteY250" fmla="*/ 70912 h 659115"/>
                  <a:gd name="connsiteX251" fmla="*/ 601689 w 605628"/>
                  <a:gd name="connsiteY251" fmla="*/ 71215 h 659115"/>
                  <a:gd name="connsiteX252" fmla="*/ 599264 w 605628"/>
                  <a:gd name="connsiteY252" fmla="*/ 73185 h 659115"/>
                  <a:gd name="connsiteX253" fmla="*/ 596689 w 605628"/>
                  <a:gd name="connsiteY253" fmla="*/ 74851 h 659115"/>
                  <a:gd name="connsiteX254" fmla="*/ 595326 w 605628"/>
                  <a:gd name="connsiteY254" fmla="*/ 74700 h 659115"/>
                  <a:gd name="connsiteX255" fmla="*/ 592749 w 605628"/>
                  <a:gd name="connsiteY255" fmla="*/ 74094 h 659115"/>
                  <a:gd name="connsiteX256" fmla="*/ 590931 w 605628"/>
                  <a:gd name="connsiteY256" fmla="*/ 68790 h 659115"/>
                  <a:gd name="connsiteX257" fmla="*/ 589265 w 605628"/>
                  <a:gd name="connsiteY257" fmla="*/ 65002 h 659115"/>
                  <a:gd name="connsiteX258" fmla="*/ 587295 w 605628"/>
                  <a:gd name="connsiteY258" fmla="*/ 62123 h 659115"/>
                  <a:gd name="connsiteX259" fmla="*/ 586234 w 605628"/>
                  <a:gd name="connsiteY259" fmla="*/ 58790 h 659115"/>
                  <a:gd name="connsiteX260" fmla="*/ 586991 w 605628"/>
                  <a:gd name="connsiteY260" fmla="*/ 55305 h 659115"/>
                  <a:gd name="connsiteX261" fmla="*/ 590174 w 605628"/>
                  <a:gd name="connsiteY261" fmla="*/ 48335 h 659115"/>
                  <a:gd name="connsiteX262" fmla="*/ 593053 w 605628"/>
                  <a:gd name="connsiteY262" fmla="*/ 43183 h 659115"/>
                  <a:gd name="connsiteX263" fmla="*/ 593507 w 605628"/>
                  <a:gd name="connsiteY263" fmla="*/ 41517 h 659115"/>
                  <a:gd name="connsiteX264" fmla="*/ 593507 w 605628"/>
                  <a:gd name="connsiteY264" fmla="*/ 40001 h 659115"/>
                  <a:gd name="connsiteX265" fmla="*/ 592749 w 605628"/>
                  <a:gd name="connsiteY265" fmla="*/ 39850 h 659115"/>
                  <a:gd name="connsiteX266" fmla="*/ 586082 w 605628"/>
                  <a:gd name="connsiteY266" fmla="*/ 45456 h 659115"/>
                  <a:gd name="connsiteX267" fmla="*/ 579870 w 605628"/>
                  <a:gd name="connsiteY267" fmla="*/ 51669 h 659115"/>
                  <a:gd name="connsiteX268" fmla="*/ 577900 w 605628"/>
                  <a:gd name="connsiteY268" fmla="*/ 53032 h 659115"/>
                  <a:gd name="connsiteX269" fmla="*/ 575627 w 605628"/>
                  <a:gd name="connsiteY269" fmla="*/ 53487 h 659115"/>
                  <a:gd name="connsiteX270" fmla="*/ 572446 w 605628"/>
                  <a:gd name="connsiteY270" fmla="*/ 53335 h 659115"/>
                  <a:gd name="connsiteX271" fmla="*/ 569264 w 605628"/>
                  <a:gd name="connsiteY271" fmla="*/ 52729 h 659115"/>
                  <a:gd name="connsiteX272" fmla="*/ 558809 w 605628"/>
                  <a:gd name="connsiteY272" fmla="*/ 47577 h 659115"/>
                  <a:gd name="connsiteX273" fmla="*/ 556081 w 605628"/>
                  <a:gd name="connsiteY273" fmla="*/ 46820 h 659115"/>
                  <a:gd name="connsiteX274" fmla="*/ 554567 w 605628"/>
                  <a:gd name="connsiteY274" fmla="*/ 46971 h 659115"/>
                  <a:gd name="connsiteX275" fmla="*/ 551081 w 605628"/>
                  <a:gd name="connsiteY275" fmla="*/ 46820 h 659115"/>
                  <a:gd name="connsiteX276" fmla="*/ 549263 w 605628"/>
                  <a:gd name="connsiteY276" fmla="*/ 46365 h 659115"/>
                  <a:gd name="connsiteX277" fmla="*/ 546384 w 605628"/>
                  <a:gd name="connsiteY277" fmla="*/ 43335 h 659115"/>
                  <a:gd name="connsiteX278" fmla="*/ 542444 w 605628"/>
                  <a:gd name="connsiteY278" fmla="*/ 41517 h 659115"/>
                  <a:gd name="connsiteX279" fmla="*/ 536384 w 605628"/>
                  <a:gd name="connsiteY279" fmla="*/ 37577 h 659115"/>
                  <a:gd name="connsiteX280" fmla="*/ 530474 w 605628"/>
                  <a:gd name="connsiteY280" fmla="*/ 32880 h 659115"/>
                  <a:gd name="connsiteX281" fmla="*/ 525322 w 605628"/>
                  <a:gd name="connsiteY281" fmla="*/ 28334 h 659115"/>
                  <a:gd name="connsiteX282" fmla="*/ 520323 w 605628"/>
                  <a:gd name="connsiteY282" fmla="*/ 23334 h 659115"/>
                  <a:gd name="connsiteX283" fmla="*/ 512443 w 605628"/>
                  <a:gd name="connsiteY283" fmla="*/ 13031 h 659115"/>
                  <a:gd name="connsiteX284" fmla="*/ 505776 w 605628"/>
                  <a:gd name="connsiteY284" fmla="*/ 6212 h 659115"/>
                  <a:gd name="connsiteX285" fmla="*/ 501534 w 605628"/>
                  <a:gd name="connsiteY285" fmla="*/ 2424 h 659115"/>
                  <a:gd name="connsiteX286" fmla="*/ 500625 w 605628"/>
                  <a:gd name="connsiteY286" fmla="*/ 909 h 659115"/>
                  <a:gd name="connsiteX287" fmla="*/ 499413 w 605628"/>
                  <a:gd name="connsiteY287" fmla="*/ 0 h 659115"/>
                  <a:gd name="connsiteX288" fmla="*/ 497746 w 605628"/>
                  <a:gd name="connsiteY288" fmla="*/ 909 h 659115"/>
                  <a:gd name="connsiteX289" fmla="*/ 496382 w 605628"/>
                  <a:gd name="connsiteY289" fmla="*/ 2424 h 659115"/>
                  <a:gd name="connsiteX290" fmla="*/ 495018 w 605628"/>
                  <a:gd name="connsiteY290" fmla="*/ 3030 h 659115"/>
                  <a:gd name="connsiteX291" fmla="*/ 491988 w 605628"/>
                  <a:gd name="connsiteY291" fmla="*/ 3636 h 659115"/>
                  <a:gd name="connsiteX292" fmla="*/ 491533 w 605628"/>
                  <a:gd name="connsiteY292" fmla="*/ 4546 h 659115"/>
                  <a:gd name="connsiteX293" fmla="*/ 491533 w 605628"/>
                  <a:gd name="connsiteY293" fmla="*/ 5455 h 659115"/>
                  <a:gd name="connsiteX294" fmla="*/ 489867 w 605628"/>
                  <a:gd name="connsiteY294" fmla="*/ 8637 h 659115"/>
                  <a:gd name="connsiteX295" fmla="*/ 489564 w 605628"/>
                  <a:gd name="connsiteY295" fmla="*/ 11970 h 659115"/>
                  <a:gd name="connsiteX296" fmla="*/ 491533 w 605628"/>
                  <a:gd name="connsiteY296" fmla="*/ 15455 h 659115"/>
                  <a:gd name="connsiteX297" fmla="*/ 493200 w 605628"/>
                  <a:gd name="connsiteY297" fmla="*/ 19243 h 659115"/>
                  <a:gd name="connsiteX298" fmla="*/ 494867 w 605628"/>
                  <a:gd name="connsiteY298" fmla="*/ 26819 h 659115"/>
                  <a:gd name="connsiteX299" fmla="*/ 494261 w 605628"/>
                  <a:gd name="connsiteY299" fmla="*/ 34698 h 659115"/>
                  <a:gd name="connsiteX300" fmla="*/ 493049 w 605628"/>
                  <a:gd name="connsiteY300" fmla="*/ 38486 h 659115"/>
                  <a:gd name="connsiteX301" fmla="*/ 491533 w 605628"/>
                  <a:gd name="connsiteY301" fmla="*/ 42123 h 659115"/>
                  <a:gd name="connsiteX302" fmla="*/ 491079 w 605628"/>
                  <a:gd name="connsiteY302" fmla="*/ 50305 h 659115"/>
                  <a:gd name="connsiteX303" fmla="*/ 489867 w 605628"/>
                  <a:gd name="connsiteY303" fmla="*/ 53638 h 659115"/>
                  <a:gd name="connsiteX304" fmla="*/ 485624 w 605628"/>
                  <a:gd name="connsiteY304" fmla="*/ 59396 h 659115"/>
                  <a:gd name="connsiteX305" fmla="*/ 484261 w 605628"/>
                  <a:gd name="connsiteY305" fmla="*/ 62881 h 659115"/>
                  <a:gd name="connsiteX306" fmla="*/ 484261 w 605628"/>
                  <a:gd name="connsiteY306" fmla="*/ 67275 h 659115"/>
                  <a:gd name="connsiteX307" fmla="*/ 484715 w 605628"/>
                  <a:gd name="connsiteY307" fmla="*/ 71669 h 659115"/>
                  <a:gd name="connsiteX308" fmla="*/ 483654 w 605628"/>
                  <a:gd name="connsiteY308" fmla="*/ 75003 h 659115"/>
                  <a:gd name="connsiteX309" fmla="*/ 481533 w 605628"/>
                  <a:gd name="connsiteY309" fmla="*/ 77730 h 659115"/>
                  <a:gd name="connsiteX310" fmla="*/ 480169 w 605628"/>
                  <a:gd name="connsiteY310" fmla="*/ 78185 h 659115"/>
                  <a:gd name="connsiteX311" fmla="*/ 477290 w 605628"/>
                  <a:gd name="connsiteY311" fmla="*/ 78336 h 659115"/>
                  <a:gd name="connsiteX312" fmla="*/ 472290 w 605628"/>
                  <a:gd name="connsiteY312" fmla="*/ 77579 h 659115"/>
                  <a:gd name="connsiteX313" fmla="*/ 468654 w 605628"/>
                  <a:gd name="connsiteY313" fmla="*/ 77427 h 659115"/>
                  <a:gd name="connsiteX314" fmla="*/ 467593 w 605628"/>
                  <a:gd name="connsiteY314" fmla="*/ 77124 h 659115"/>
                  <a:gd name="connsiteX315" fmla="*/ 462290 w 605628"/>
                  <a:gd name="connsiteY315" fmla="*/ 73942 h 659115"/>
                  <a:gd name="connsiteX316" fmla="*/ 459563 w 605628"/>
                  <a:gd name="connsiteY316" fmla="*/ 73033 h 659115"/>
                  <a:gd name="connsiteX317" fmla="*/ 456987 w 605628"/>
                  <a:gd name="connsiteY317" fmla="*/ 74245 h 659115"/>
                  <a:gd name="connsiteX318" fmla="*/ 456684 w 605628"/>
                  <a:gd name="connsiteY318" fmla="*/ 76366 h 659115"/>
                  <a:gd name="connsiteX319" fmla="*/ 457138 w 605628"/>
                  <a:gd name="connsiteY319" fmla="*/ 78639 h 659115"/>
                  <a:gd name="connsiteX320" fmla="*/ 459563 w 605628"/>
                  <a:gd name="connsiteY320" fmla="*/ 82579 h 659115"/>
                  <a:gd name="connsiteX321" fmla="*/ 458048 w 605628"/>
                  <a:gd name="connsiteY321" fmla="*/ 85761 h 659115"/>
                  <a:gd name="connsiteX322" fmla="*/ 455169 w 605628"/>
                  <a:gd name="connsiteY322" fmla="*/ 88640 h 659115"/>
                  <a:gd name="connsiteX323" fmla="*/ 452290 w 605628"/>
                  <a:gd name="connsiteY323" fmla="*/ 91064 h 659115"/>
                  <a:gd name="connsiteX324" fmla="*/ 449259 w 605628"/>
                  <a:gd name="connsiteY324" fmla="*/ 93185 h 659115"/>
                  <a:gd name="connsiteX325" fmla="*/ 446532 w 605628"/>
                  <a:gd name="connsiteY325" fmla="*/ 94700 h 659115"/>
                  <a:gd name="connsiteX326" fmla="*/ 444714 w 605628"/>
                  <a:gd name="connsiteY326" fmla="*/ 95155 h 659115"/>
                  <a:gd name="connsiteX327" fmla="*/ 443047 w 605628"/>
                  <a:gd name="connsiteY327" fmla="*/ 95913 h 659115"/>
                  <a:gd name="connsiteX328" fmla="*/ 442138 w 605628"/>
                  <a:gd name="connsiteY328" fmla="*/ 98185 h 659115"/>
                  <a:gd name="connsiteX329" fmla="*/ 441228 w 605628"/>
                  <a:gd name="connsiteY329" fmla="*/ 102580 h 659115"/>
                  <a:gd name="connsiteX330" fmla="*/ 441077 w 605628"/>
                  <a:gd name="connsiteY330" fmla="*/ 104549 h 659115"/>
                  <a:gd name="connsiteX331" fmla="*/ 441532 w 605628"/>
                  <a:gd name="connsiteY331" fmla="*/ 108186 h 659115"/>
                  <a:gd name="connsiteX332" fmla="*/ 443198 w 605628"/>
                  <a:gd name="connsiteY332" fmla="*/ 111065 h 659115"/>
                  <a:gd name="connsiteX333" fmla="*/ 446684 w 605628"/>
                  <a:gd name="connsiteY333" fmla="*/ 114095 h 659115"/>
                  <a:gd name="connsiteX334" fmla="*/ 447593 w 605628"/>
                  <a:gd name="connsiteY334" fmla="*/ 115156 h 659115"/>
                  <a:gd name="connsiteX335" fmla="*/ 448956 w 605628"/>
                  <a:gd name="connsiteY335" fmla="*/ 120156 h 659115"/>
                  <a:gd name="connsiteX336" fmla="*/ 448350 w 605628"/>
                  <a:gd name="connsiteY336" fmla="*/ 123792 h 659115"/>
                  <a:gd name="connsiteX337" fmla="*/ 446684 w 605628"/>
                  <a:gd name="connsiteY337" fmla="*/ 127277 h 659115"/>
                  <a:gd name="connsiteX338" fmla="*/ 445926 w 605628"/>
                  <a:gd name="connsiteY338" fmla="*/ 131217 h 659115"/>
                  <a:gd name="connsiteX339" fmla="*/ 446381 w 605628"/>
                  <a:gd name="connsiteY339" fmla="*/ 133035 h 659115"/>
                  <a:gd name="connsiteX340" fmla="*/ 447138 w 605628"/>
                  <a:gd name="connsiteY340" fmla="*/ 134550 h 659115"/>
                  <a:gd name="connsiteX341" fmla="*/ 448502 w 605628"/>
                  <a:gd name="connsiteY341" fmla="*/ 135914 h 659115"/>
                  <a:gd name="connsiteX342" fmla="*/ 450169 w 605628"/>
                  <a:gd name="connsiteY342" fmla="*/ 136217 h 659115"/>
                  <a:gd name="connsiteX343" fmla="*/ 453502 w 605628"/>
                  <a:gd name="connsiteY343" fmla="*/ 135156 h 659115"/>
                  <a:gd name="connsiteX344" fmla="*/ 456684 w 605628"/>
                  <a:gd name="connsiteY344" fmla="*/ 133035 h 659115"/>
                  <a:gd name="connsiteX345" fmla="*/ 457896 w 605628"/>
                  <a:gd name="connsiteY345" fmla="*/ 131520 h 659115"/>
                  <a:gd name="connsiteX346" fmla="*/ 459411 w 605628"/>
                  <a:gd name="connsiteY346" fmla="*/ 128035 h 659115"/>
                  <a:gd name="connsiteX347" fmla="*/ 462290 w 605628"/>
                  <a:gd name="connsiteY347" fmla="*/ 124853 h 659115"/>
                  <a:gd name="connsiteX348" fmla="*/ 464108 w 605628"/>
                  <a:gd name="connsiteY348" fmla="*/ 123338 h 659115"/>
                  <a:gd name="connsiteX349" fmla="*/ 468351 w 605628"/>
                  <a:gd name="connsiteY349" fmla="*/ 125156 h 659115"/>
                  <a:gd name="connsiteX350" fmla="*/ 470775 w 605628"/>
                  <a:gd name="connsiteY350" fmla="*/ 125762 h 659115"/>
                  <a:gd name="connsiteX351" fmla="*/ 473351 w 605628"/>
                  <a:gd name="connsiteY351" fmla="*/ 125914 h 659115"/>
                  <a:gd name="connsiteX352" fmla="*/ 475472 w 605628"/>
                  <a:gd name="connsiteY352" fmla="*/ 125156 h 659115"/>
                  <a:gd name="connsiteX353" fmla="*/ 477442 w 605628"/>
                  <a:gd name="connsiteY353" fmla="*/ 123641 h 659115"/>
                  <a:gd name="connsiteX354" fmla="*/ 476230 w 605628"/>
                  <a:gd name="connsiteY354" fmla="*/ 122277 h 659115"/>
                  <a:gd name="connsiteX355" fmla="*/ 470927 w 605628"/>
                  <a:gd name="connsiteY355" fmla="*/ 118035 h 659115"/>
                  <a:gd name="connsiteX356" fmla="*/ 466078 w 605628"/>
                  <a:gd name="connsiteY356" fmla="*/ 113489 h 659115"/>
                  <a:gd name="connsiteX357" fmla="*/ 464714 w 605628"/>
                  <a:gd name="connsiteY357" fmla="*/ 113186 h 659115"/>
                  <a:gd name="connsiteX358" fmla="*/ 461836 w 605628"/>
                  <a:gd name="connsiteY358" fmla="*/ 113338 h 659115"/>
                  <a:gd name="connsiteX359" fmla="*/ 460472 w 605628"/>
                  <a:gd name="connsiteY359" fmla="*/ 112883 h 659115"/>
                  <a:gd name="connsiteX360" fmla="*/ 457441 w 605628"/>
                  <a:gd name="connsiteY360" fmla="*/ 110610 h 659115"/>
                  <a:gd name="connsiteX361" fmla="*/ 455017 w 605628"/>
                  <a:gd name="connsiteY361" fmla="*/ 107580 h 659115"/>
                  <a:gd name="connsiteX362" fmla="*/ 454714 w 605628"/>
                  <a:gd name="connsiteY362" fmla="*/ 106216 h 659115"/>
                  <a:gd name="connsiteX363" fmla="*/ 454866 w 605628"/>
                  <a:gd name="connsiteY363" fmla="*/ 104852 h 659115"/>
                  <a:gd name="connsiteX364" fmla="*/ 455623 w 605628"/>
                  <a:gd name="connsiteY364" fmla="*/ 102883 h 659115"/>
                  <a:gd name="connsiteX365" fmla="*/ 456532 w 605628"/>
                  <a:gd name="connsiteY365" fmla="*/ 101216 h 659115"/>
                  <a:gd name="connsiteX366" fmla="*/ 459108 w 605628"/>
                  <a:gd name="connsiteY366" fmla="*/ 98792 h 659115"/>
                  <a:gd name="connsiteX367" fmla="*/ 460926 w 605628"/>
                  <a:gd name="connsiteY367" fmla="*/ 98488 h 659115"/>
                  <a:gd name="connsiteX368" fmla="*/ 462745 w 605628"/>
                  <a:gd name="connsiteY368" fmla="*/ 98488 h 659115"/>
                  <a:gd name="connsiteX369" fmla="*/ 465321 w 605628"/>
                  <a:gd name="connsiteY369" fmla="*/ 98943 h 659115"/>
                  <a:gd name="connsiteX370" fmla="*/ 467442 w 605628"/>
                  <a:gd name="connsiteY370" fmla="*/ 100761 h 659115"/>
                  <a:gd name="connsiteX371" fmla="*/ 471836 w 605628"/>
                  <a:gd name="connsiteY371" fmla="*/ 105307 h 659115"/>
                  <a:gd name="connsiteX372" fmla="*/ 472897 w 605628"/>
                  <a:gd name="connsiteY372" fmla="*/ 105913 h 659115"/>
                  <a:gd name="connsiteX373" fmla="*/ 484412 w 605628"/>
                  <a:gd name="connsiteY373" fmla="*/ 99246 h 659115"/>
                  <a:gd name="connsiteX374" fmla="*/ 496534 w 605628"/>
                  <a:gd name="connsiteY374" fmla="*/ 98185 h 659115"/>
                  <a:gd name="connsiteX375" fmla="*/ 503049 w 605628"/>
                  <a:gd name="connsiteY375" fmla="*/ 101670 h 659115"/>
                  <a:gd name="connsiteX376" fmla="*/ 514565 w 605628"/>
                  <a:gd name="connsiteY376" fmla="*/ 108640 h 659115"/>
                  <a:gd name="connsiteX377" fmla="*/ 525474 w 605628"/>
                  <a:gd name="connsiteY377" fmla="*/ 113186 h 659115"/>
                  <a:gd name="connsiteX378" fmla="*/ 531080 w 605628"/>
                  <a:gd name="connsiteY378" fmla="*/ 116368 h 659115"/>
                  <a:gd name="connsiteX379" fmla="*/ 534566 w 605628"/>
                  <a:gd name="connsiteY379" fmla="*/ 117126 h 659115"/>
                  <a:gd name="connsiteX380" fmla="*/ 535777 w 605628"/>
                  <a:gd name="connsiteY380" fmla="*/ 115913 h 659115"/>
                  <a:gd name="connsiteX381" fmla="*/ 536686 w 605628"/>
                  <a:gd name="connsiteY381" fmla="*/ 114398 h 659115"/>
                  <a:gd name="connsiteX382" fmla="*/ 536990 w 605628"/>
                  <a:gd name="connsiteY382" fmla="*/ 112277 h 659115"/>
                  <a:gd name="connsiteX383" fmla="*/ 537141 w 605628"/>
                  <a:gd name="connsiteY383" fmla="*/ 110004 h 659115"/>
                  <a:gd name="connsiteX384" fmla="*/ 538202 w 605628"/>
                  <a:gd name="connsiteY384" fmla="*/ 106519 h 659115"/>
                  <a:gd name="connsiteX385" fmla="*/ 539869 w 605628"/>
                  <a:gd name="connsiteY385" fmla="*/ 103489 h 659115"/>
                  <a:gd name="connsiteX386" fmla="*/ 543960 w 605628"/>
                  <a:gd name="connsiteY386" fmla="*/ 97579 h 659115"/>
                  <a:gd name="connsiteX387" fmla="*/ 548960 w 605628"/>
                  <a:gd name="connsiteY387" fmla="*/ 92579 h 659115"/>
                  <a:gd name="connsiteX388" fmla="*/ 554567 w 605628"/>
                  <a:gd name="connsiteY388" fmla="*/ 88185 h 659115"/>
                  <a:gd name="connsiteX389" fmla="*/ 560779 w 605628"/>
                  <a:gd name="connsiteY389" fmla="*/ 85155 h 659115"/>
                  <a:gd name="connsiteX390" fmla="*/ 563657 w 605628"/>
                  <a:gd name="connsiteY390" fmla="*/ 84852 h 659115"/>
                  <a:gd name="connsiteX391" fmla="*/ 569567 w 605628"/>
                  <a:gd name="connsiteY391" fmla="*/ 86215 h 659115"/>
                  <a:gd name="connsiteX392" fmla="*/ 572748 w 605628"/>
                  <a:gd name="connsiteY392" fmla="*/ 86064 h 659115"/>
                  <a:gd name="connsiteX393" fmla="*/ 577597 w 605628"/>
                  <a:gd name="connsiteY393" fmla="*/ 84549 h 659115"/>
                  <a:gd name="connsiteX394" fmla="*/ 580779 w 605628"/>
                  <a:gd name="connsiteY394" fmla="*/ 84245 h 659115"/>
                  <a:gd name="connsiteX395" fmla="*/ 583658 w 605628"/>
                  <a:gd name="connsiteY395" fmla="*/ 83185 h 659115"/>
                  <a:gd name="connsiteX396" fmla="*/ 586386 w 605628"/>
                  <a:gd name="connsiteY396" fmla="*/ 81215 h 659115"/>
                  <a:gd name="connsiteX397" fmla="*/ 589265 w 605628"/>
                  <a:gd name="connsiteY397" fmla="*/ 79700 h 659115"/>
                  <a:gd name="connsiteX398" fmla="*/ 592447 w 605628"/>
                  <a:gd name="connsiteY398" fmla="*/ 78336 h 659115"/>
                  <a:gd name="connsiteX399" fmla="*/ 593962 w 605628"/>
                  <a:gd name="connsiteY399" fmla="*/ 78185 h 659115"/>
                  <a:gd name="connsiteX400" fmla="*/ 596689 w 605628"/>
                  <a:gd name="connsiteY400" fmla="*/ 78336 h 659115"/>
                  <a:gd name="connsiteX401" fmla="*/ 597598 w 605628"/>
                  <a:gd name="connsiteY401" fmla="*/ 77730 h 659115"/>
                  <a:gd name="connsiteX402" fmla="*/ 600023 w 605628"/>
                  <a:gd name="connsiteY402" fmla="*/ 74397 h 659115"/>
                  <a:gd name="connsiteX403" fmla="*/ 602750 w 605628"/>
                  <a:gd name="connsiteY403" fmla="*/ 72730 h 659115"/>
                  <a:gd name="connsiteX404" fmla="*/ 605629 w 605628"/>
                  <a:gd name="connsiteY404" fmla="*/ 71366 h 659115"/>
                  <a:gd name="connsiteX405" fmla="*/ 603811 w 605628"/>
                  <a:gd name="connsiteY405" fmla="*/ 70912 h 659115"/>
                  <a:gd name="connsiteX406" fmla="*/ 500928 w 605628"/>
                  <a:gd name="connsiteY406" fmla="*/ 190158 h 659115"/>
                  <a:gd name="connsiteX407" fmla="*/ 500928 w 605628"/>
                  <a:gd name="connsiteY407" fmla="*/ 188492 h 659115"/>
                  <a:gd name="connsiteX408" fmla="*/ 500625 w 605628"/>
                  <a:gd name="connsiteY408" fmla="*/ 186825 h 659115"/>
                  <a:gd name="connsiteX409" fmla="*/ 499413 w 605628"/>
                  <a:gd name="connsiteY409" fmla="*/ 183189 h 659115"/>
                  <a:gd name="connsiteX410" fmla="*/ 497897 w 605628"/>
                  <a:gd name="connsiteY410" fmla="*/ 179704 h 659115"/>
                  <a:gd name="connsiteX411" fmla="*/ 495625 w 605628"/>
                  <a:gd name="connsiteY411" fmla="*/ 172430 h 659115"/>
                  <a:gd name="connsiteX412" fmla="*/ 491533 w 605628"/>
                  <a:gd name="connsiteY412" fmla="*/ 166521 h 659115"/>
                  <a:gd name="connsiteX413" fmla="*/ 488654 w 605628"/>
                  <a:gd name="connsiteY413" fmla="*/ 164703 h 659115"/>
                  <a:gd name="connsiteX414" fmla="*/ 486533 w 605628"/>
                  <a:gd name="connsiteY414" fmla="*/ 162127 h 659115"/>
                  <a:gd name="connsiteX415" fmla="*/ 485624 w 605628"/>
                  <a:gd name="connsiteY415" fmla="*/ 158491 h 659115"/>
                  <a:gd name="connsiteX416" fmla="*/ 485170 w 605628"/>
                  <a:gd name="connsiteY416" fmla="*/ 154703 h 659115"/>
                  <a:gd name="connsiteX417" fmla="*/ 484866 w 605628"/>
                  <a:gd name="connsiteY417" fmla="*/ 146369 h 659115"/>
                  <a:gd name="connsiteX418" fmla="*/ 485473 w 605628"/>
                  <a:gd name="connsiteY418" fmla="*/ 141369 h 659115"/>
                  <a:gd name="connsiteX419" fmla="*/ 486382 w 605628"/>
                  <a:gd name="connsiteY419" fmla="*/ 136369 h 659115"/>
                  <a:gd name="connsiteX420" fmla="*/ 481230 w 605628"/>
                  <a:gd name="connsiteY420" fmla="*/ 138035 h 659115"/>
                  <a:gd name="connsiteX421" fmla="*/ 480169 w 605628"/>
                  <a:gd name="connsiteY421" fmla="*/ 137429 h 659115"/>
                  <a:gd name="connsiteX422" fmla="*/ 476836 w 605628"/>
                  <a:gd name="connsiteY422" fmla="*/ 134702 h 659115"/>
                  <a:gd name="connsiteX423" fmla="*/ 475321 w 605628"/>
                  <a:gd name="connsiteY423" fmla="*/ 134096 h 659115"/>
                  <a:gd name="connsiteX424" fmla="*/ 472290 w 605628"/>
                  <a:gd name="connsiteY424" fmla="*/ 133187 h 659115"/>
                  <a:gd name="connsiteX425" fmla="*/ 471078 w 605628"/>
                  <a:gd name="connsiteY425" fmla="*/ 134096 h 659115"/>
                  <a:gd name="connsiteX426" fmla="*/ 470169 w 605628"/>
                  <a:gd name="connsiteY426" fmla="*/ 135914 h 659115"/>
                  <a:gd name="connsiteX427" fmla="*/ 468654 w 605628"/>
                  <a:gd name="connsiteY427" fmla="*/ 141520 h 659115"/>
                  <a:gd name="connsiteX428" fmla="*/ 468654 w 605628"/>
                  <a:gd name="connsiteY428" fmla="*/ 145308 h 659115"/>
                  <a:gd name="connsiteX429" fmla="*/ 476078 w 605628"/>
                  <a:gd name="connsiteY429" fmla="*/ 143490 h 659115"/>
                  <a:gd name="connsiteX430" fmla="*/ 477290 w 605628"/>
                  <a:gd name="connsiteY430" fmla="*/ 143036 h 659115"/>
                  <a:gd name="connsiteX431" fmla="*/ 478351 w 605628"/>
                  <a:gd name="connsiteY431" fmla="*/ 142126 h 659115"/>
                  <a:gd name="connsiteX432" fmla="*/ 479564 w 605628"/>
                  <a:gd name="connsiteY432" fmla="*/ 141975 h 659115"/>
                  <a:gd name="connsiteX433" fmla="*/ 480776 w 605628"/>
                  <a:gd name="connsiteY433" fmla="*/ 143187 h 659115"/>
                  <a:gd name="connsiteX434" fmla="*/ 481230 w 605628"/>
                  <a:gd name="connsiteY434" fmla="*/ 146520 h 659115"/>
                  <a:gd name="connsiteX435" fmla="*/ 480169 w 605628"/>
                  <a:gd name="connsiteY435" fmla="*/ 150157 h 659115"/>
                  <a:gd name="connsiteX436" fmla="*/ 478957 w 605628"/>
                  <a:gd name="connsiteY436" fmla="*/ 152278 h 659115"/>
                  <a:gd name="connsiteX437" fmla="*/ 477139 w 605628"/>
                  <a:gd name="connsiteY437" fmla="*/ 153642 h 659115"/>
                  <a:gd name="connsiteX438" fmla="*/ 472139 w 605628"/>
                  <a:gd name="connsiteY438" fmla="*/ 151672 h 659115"/>
                  <a:gd name="connsiteX439" fmla="*/ 470472 w 605628"/>
                  <a:gd name="connsiteY439" fmla="*/ 151975 h 659115"/>
                  <a:gd name="connsiteX440" fmla="*/ 469714 w 605628"/>
                  <a:gd name="connsiteY440" fmla="*/ 153794 h 659115"/>
                  <a:gd name="connsiteX441" fmla="*/ 468502 w 605628"/>
                  <a:gd name="connsiteY441" fmla="*/ 155157 h 659115"/>
                  <a:gd name="connsiteX442" fmla="*/ 467139 w 605628"/>
                  <a:gd name="connsiteY442" fmla="*/ 155309 h 659115"/>
                  <a:gd name="connsiteX443" fmla="*/ 465926 w 605628"/>
                  <a:gd name="connsiteY443" fmla="*/ 154400 h 659115"/>
                  <a:gd name="connsiteX444" fmla="*/ 465321 w 605628"/>
                  <a:gd name="connsiteY444" fmla="*/ 153187 h 659115"/>
                  <a:gd name="connsiteX445" fmla="*/ 464260 w 605628"/>
                  <a:gd name="connsiteY445" fmla="*/ 144702 h 659115"/>
                  <a:gd name="connsiteX446" fmla="*/ 463957 w 605628"/>
                  <a:gd name="connsiteY446" fmla="*/ 143339 h 659115"/>
                  <a:gd name="connsiteX447" fmla="*/ 462290 w 605628"/>
                  <a:gd name="connsiteY447" fmla="*/ 142732 h 659115"/>
                  <a:gd name="connsiteX448" fmla="*/ 460472 w 605628"/>
                  <a:gd name="connsiteY448" fmla="*/ 142884 h 659115"/>
                  <a:gd name="connsiteX449" fmla="*/ 458957 w 605628"/>
                  <a:gd name="connsiteY449" fmla="*/ 142732 h 659115"/>
                  <a:gd name="connsiteX450" fmla="*/ 457441 w 605628"/>
                  <a:gd name="connsiteY450" fmla="*/ 142126 h 659115"/>
                  <a:gd name="connsiteX451" fmla="*/ 456380 w 605628"/>
                  <a:gd name="connsiteY451" fmla="*/ 143036 h 659115"/>
                  <a:gd name="connsiteX452" fmla="*/ 455623 w 605628"/>
                  <a:gd name="connsiteY452" fmla="*/ 144399 h 659115"/>
                  <a:gd name="connsiteX453" fmla="*/ 456380 w 605628"/>
                  <a:gd name="connsiteY453" fmla="*/ 149399 h 659115"/>
                  <a:gd name="connsiteX454" fmla="*/ 455926 w 605628"/>
                  <a:gd name="connsiteY454" fmla="*/ 151218 h 659115"/>
                  <a:gd name="connsiteX455" fmla="*/ 454714 w 605628"/>
                  <a:gd name="connsiteY455" fmla="*/ 154551 h 659115"/>
                  <a:gd name="connsiteX456" fmla="*/ 453957 w 605628"/>
                  <a:gd name="connsiteY456" fmla="*/ 155763 h 659115"/>
                  <a:gd name="connsiteX457" fmla="*/ 452592 w 605628"/>
                  <a:gd name="connsiteY457" fmla="*/ 156824 h 659115"/>
                  <a:gd name="connsiteX458" fmla="*/ 451078 w 605628"/>
                  <a:gd name="connsiteY458" fmla="*/ 157582 h 659115"/>
                  <a:gd name="connsiteX459" fmla="*/ 449411 w 605628"/>
                  <a:gd name="connsiteY459" fmla="*/ 157733 h 659115"/>
                  <a:gd name="connsiteX460" fmla="*/ 447895 w 605628"/>
                  <a:gd name="connsiteY460" fmla="*/ 158188 h 659115"/>
                  <a:gd name="connsiteX461" fmla="*/ 446229 w 605628"/>
                  <a:gd name="connsiteY461" fmla="*/ 160157 h 659115"/>
                  <a:gd name="connsiteX462" fmla="*/ 445016 w 605628"/>
                  <a:gd name="connsiteY462" fmla="*/ 162582 h 659115"/>
                  <a:gd name="connsiteX463" fmla="*/ 445016 w 605628"/>
                  <a:gd name="connsiteY463" fmla="*/ 164703 h 659115"/>
                  <a:gd name="connsiteX464" fmla="*/ 446077 w 605628"/>
                  <a:gd name="connsiteY464" fmla="*/ 168642 h 659115"/>
                  <a:gd name="connsiteX465" fmla="*/ 447441 w 605628"/>
                  <a:gd name="connsiteY465" fmla="*/ 171825 h 659115"/>
                  <a:gd name="connsiteX466" fmla="*/ 447290 w 605628"/>
                  <a:gd name="connsiteY466" fmla="*/ 173643 h 659115"/>
                  <a:gd name="connsiteX467" fmla="*/ 446229 w 605628"/>
                  <a:gd name="connsiteY467" fmla="*/ 177582 h 659115"/>
                  <a:gd name="connsiteX468" fmla="*/ 444411 w 605628"/>
                  <a:gd name="connsiteY468" fmla="*/ 181219 h 659115"/>
                  <a:gd name="connsiteX469" fmla="*/ 443502 w 605628"/>
                  <a:gd name="connsiteY469" fmla="*/ 182431 h 659115"/>
                  <a:gd name="connsiteX470" fmla="*/ 442138 w 605628"/>
                  <a:gd name="connsiteY470" fmla="*/ 183037 h 659115"/>
                  <a:gd name="connsiteX471" fmla="*/ 440168 w 605628"/>
                  <a:gd name="connsiteY471" fmla="*/ 183340 h 659115"/>
                  <a:gd name="connsiteX472" fmla="*/ 439714 w 605628"/>
                  <a:gd name="connsiteY472" fmla="*/ 184552 h 659115"/>
                  <a:gd name="connsiteX473" fmla="*/ 441532 w 605628"/>
                  <a:gd name="connsiteY473" fmla="*/ 185916 h 659115"/>
                  <a:gd name="connsiteX474" fmla="*/ 443805 w 605628"/>
                  <a:gd name="connsiteY474" fmla="*/ 185613 h 659115"/>
                  <a:gd name="connsiteX475" fmla="*/ 445320 w 605628"/>
                  <a:gd name="connsiteY475" fmla="*/ 185613 h 659115"/>
                  <a:gd name="connsiteX476" fmla="*/ 446684 w 605628"/>
                  <a:gd name="connsiteY476" fmla="*/ 186522 h 659115"/>
                  <a:gd name="connsiteX477" fmla="*/ 448350 w 605628"/>
                  <a:gd name="connsiteY477" fmla="*/ 189856 h 659115"/>
                  <a:gd name="connsiteX478" fmla="*/ 448653 w 605628"/>
                  <a:gd name="connsiteY478" fmla="*/ 193795 h 659115"/>
                  <a:gd name="connsiteX479" fmla="*/ 448199 w 605628"/>
                  <a:gd name="connsiteY479" fmla="*/ 198947 h 659115"/>
                  <a:gd name="connsiteX480" fmla="*/ 447895 w 605628"/>
                  <a:gd name="connsiteY480" fmla="*/ 200613 h 659115"/>
                  <a:gd name="connsiteX481" fmla="*/ 447138 w 605628"/>
                  <a:gd name="connsiteY481" fmla="*/ 202280 h 659115"/>
                  <a:gd name="connsiteX482" fmla="*/ 446229 w 605628"/>
                  <a:gd name="connsiteY482" fmla="*/ 203795 h 659115"/>
                  <a:gd name="connsiteX483" fmla="*/ 445168 w 605628"/>
                  <a:gd name="connsiteY483" fmla="*/ 205008 h 659115"/>
                  <a:gd name="connsiteX484" fmla="*/ 444411 w 605628"/>
                  <a:gd name="connsiteY484" fmla="*/ 206371 h 659115"/>
                  <a:gd name="connsiteX485" fmla="*/ 443502 w 605628"/>
                  <a:gd name="connsiteY485" fmla="*/ 210311 h 659115"/>
                  <a:gd name="connsiteX486" fmla="*/ 441380 w 605628"/>
                  <a:gd name="connsiteY486" fmla="*/ 217432 h 659115"/>
                  <a:gd name="connsiteX487" fmla="*/ 439865 w 605628"/>
                  <a:gd name="connsiteY487" fmla="*/ 220463 h 659115"/>
                  <a:gd name="connsiteX488" fmla="*/ 437440 w 605628"/>
                  <a:gd name="connsiteY488" fmla="*/ 223341 h 659115"/>
                  <a:gd name="connsiteX489" fmla="*/ 435320 w 605628"/>
                  <a:gd name="connsiteY489" fmla="*/ 226523 h 659115"/>
                  <a:gd name="connsiteX490" fmla="*/ 433652 w 605628"/>
                  <a:gd name="connsiteY490" fmla="*/ 229554 h 659115"/>
                  <a:gd name="connsiteX491" fmla="*/ 432441 w 605628"/>
                  <a:gd name="connsiteY491" fmla="*/ 232887 h 659115"/>
                  <a:gd name="connsiteX492" fmla="*/ 431532 w 605628"/>
                  <a:gd name="connsiteY492" fmla="*/ 236978 h 659115"/>
                  <a:gd name="connsiteX493" fmla="*/ 430319 w 605628"/>
                  <a:gd name="connsiteY493" fmla="*/ 240918 h 659115"/>
                  <a:gd name="connsiteX494" fmla="*/ 429259 w 605628"/>
                  <a:gd name="connsiteY494" fmla="*/ 242282 h 659115"/>
                  <a:gd name="connsiteX495" fmla="*/ 426076 w 605628"/>
                  <a:gd name="connsiteY495" fmla="*/ 245160 h 659115"/>
                  <a:gd name="connsiteX496" fmla="*/ 416228 w 605628"/>
                  <a:gd name="connsiteY496" fmla="*/ 250312 h 659115"/>
                  <a:gd name="connsiteX497" fmla="*/ 414410 w 605628"/>
                  <a:gd name="connsiteY497" fmla="*/ 252433 h 659115"/>
                  <a:gd name="connsiteX498" fmla="*/ 413046 w 605628"/>
                  <a:gd name="connsiteY498" fmla="*/ 255919 h 659115"/>
                  <a:gd name="connsiteX499" fmla="*/ 411379 w 605628"/>
                  <a:gd name="connsiteY499" fmla="*/ 259100 h 659115"/>
                  <a:gd name="connsiteX500" fmla="*/ 409258 w 605628"/>
                  <a:gd name="connsiteY500" fmla="*/ 261828 h 659115"/>
                  <a:gd name="connsiteX501" fmla="*/ 406985 w 605628"/>
                  <a:gd name="connsiteY501" fmla="*/ 264404 h 659115"/>
                  <a:gd name="connsiteX502" fmla="*/ 400773 w 605628"/>
                  <a:gd name="connsiteY502" fmla="*/ 269858 h 659115"/>
                  <a:gd name="connsiteX503" fmla="*/ 398045 w 605628"/>
                  <a:gd name="connsiteY503" fmla="*/ 271222 h 659115"/>
                  <a:gd name="connsiteX504" fmla="*/ 395015 w 605628"/>
                  <a:gd name="connsiteY504" fmla="*/ 271980 h 659115"/>
                  <a:gd name="connsiteX505" fmla="*/ 389712 w 605628"/>
                  <a:gd name="connsiteY505" fmla="*/ 274707 h 659115"/>
                  <a:gd name="connsiteX506" fmla="*/ 378802 w 605628"/>
                  <a:gd name="connsiteY506" fmla="*/ 278192 h 659115"/>
                  <a:gd name="connsiteX507" fmla="*/ 377893 w 605628"/>
                  <a:gd name="connsiteY507" fmla="*/ 279101 h 659115"/>
                  <a:gd name="connsiteX508" fmla="*/ 374105 w 605628"/>
                  <a:gd name="connsiteY508" fmla="*/ 283950 h 659115"/>
                  <a:gd name="connsiteX509" fmla="*/ 372892 w 605628"/>
                  <a:gd name="connsiteY509" fmla="*/ 284404 h 659115"/>
                  <a:gd name="connsiteX510" fmla="*/ 371529 w 605628"/>
                  <a:gd name="connsiteY510" fmla="*/ 284404 h 659115"/>
                  <a:gd name="connsiteX511" fmla="*/ 368195 w 605628"/>
                  <a:gd name="connsiteY511" fmla="*/ 283798 h 659115"/>
                  <a:gd name="connsiteX512" fmla="*/ 365316 w 605628"/>
                  <a:gd name="connsiteY512" fmla="*/ 281828 h 659115"/>
                  <a:gd name="connsiteX513" fmla="*/ 365166 w 605628"/>
                  <a:gd name="connsiteY513" fmla="*/ 280010 h 659115"/>
                  <a:gd name="connsiteX514" fmla="*/ 365316 w 605628"/>
                  <a:gd name="connsiteY514" fmla="*/ 278040 h 659115"/>
                  <a:gd name="connsiteX515" fmla="*/ 364711 w 605628"/>
                  <a:gd name="connsiteY515" fmla="*/ 275919 h 659115"/>
                  <a:gd name="connsiteX516" fmla="*/ 362135 w 605628"/>
                  <a:gd name="connsiteY516" fmla="*/ 273040 h 659115"/>
                  <a:gd name="connsiteX517" fmla="*/ 362741 w 605628"/>
                  <a:gd name="connsiteY517" fmla="*/ 271373 h 659115"/>
                  <a:gd name="connsiteX518" fmla="*/ 364407 w 605628"/>
                  <a:gd name="connsiteY518" fmla="*/ 270464 h 659115"/>
                  <a:gd name="connsiteX519" fmla="*/ 366075 w 605628"/>
                  <a:gd name="connsiteY519" fmla="*/ 269858 h 659115"/>
                  <a:gd name="connsiteX520" fmla="*/ 368954 w 605628"/>
                  <a:gd name="connsiteY520" fmla="*/ 267889 h 659115"/>
                  <a:gd name="connsiteX521" fmla="*/ 373953 w 605628"/>
                  <a:gd name="connsiteY521" fmla="*/ 263040 h 659115"/>
                  <a:gd name="connsiteX522" fmla="*/ 374105 w 605628"/>
                  <a:gd name="connsiteY522" fmla="*/ 261525 h 659115"/>
                  <a:gd name="connsiteX523" fmla="*/ 373651 w 605628"/>
                  <a:gd name="connsiteY523" fmla="*/ 260313 h 659115"/>
                  <a:gd name="connsiteX524" fmla="*/ 370317 w 605628"/>
                  <a:gd name="connsiteY524" fmla="*/ 261070 h 659115"/>
                  <a:gd name="connsiteX525" fmla="*/ 363802 w 605628"/>
                  <a:gd name="connsiteY525" fmla="*/ 263646 h 659115"/>
                  <a:gd name="connsiteX526" fmla="*/ 360619 w 605628"/>
                  <a:gd name="connsiteY526" fmla="*/ 264707 h 659115"/>
                  <a:gd name="connsiteX527" fmla="*/ 357286 w 605628"/>
                  <a:gd name="connsiteY527" fmla="*/ 270464 h 659115"/>
                  <a:gd name="connsiteX528" fmla="*/ 358044 w 605628"/>
                  <a:gd name="connsiteY528" fmla="*/ 278192 h 659115"/>
                  <a:gd name="connsiteX529" fmla="*/ 356680 w 605628"/>
                  <a:gd name="connsiteY529" fmla="*/ 284707 h 659115"/>
                  <a:gd name="connsiteX530" fmla="*/ 352741 w 605628"/>
                  <a:gd name="connsiteY530" fmla="*/ 290011 h 659115"/>
                  <a:gd name="connsiteX531" fmla="*/ 347285 w 605628"/>
                  <a:gd name="connsiteY531" fmla="*/ 296526 h 659115"/>
                  <a:gd name="connsiteX532" fmla="*/ 344558 w 605628"/>
                  <a:gd name="connsiteY532" fmla="*/ 298799 h 659115"/>
                  <a:gd name="connsiteX533" fmla="*/ 341679 w 605628"/>
                  <a:gd name="connsiteY533" fmla="*/ 300769 h 659115"/>
                  <a:gd name="connsiteX534" fmla="*/ 339255 w 605628"/>
                  <a:gd name="connsiteY534" fmla="*/ 304102 h 659115"/>
                  <a:gd name="connsiteX535" fmla="*/ 337589 w 605628"/>
                  <a:gd name="connsiteY535" fmla="*/ 308041 h 659115"/>
                  <a:gd name="connsiteX536" fmla="*/ 338043 w 605628"/>
                  <a:gd name="connsiteY536" fmla="*/ 311678 h 659115"/>
                  <a:gd name="connsiteX537" fmla="*/ 340013 w 605628"/>
                  <a:gd name="connsiteY537" fmla="*/ 315012 h 659115"/>
                  <a:gd name="connsiteX538" fmla="*/ 337891 w 605628"/>
                  <a:gd name="connsiteY538" fmla="*/ 317587 h 659115"/>
                  <a:gd name="connsiteX539" fmla="*/ 334861 w 605628"/>
                  <a:gd name="connsiteY539" fmla="*/ 319860 h 659115"/>
                  <a:gd name="connsiteX540" fmla="*/ 331831 w 605628"/>
                  <a:gd name="connsiteY540" fmla="*/ 321678 h 659115"/>
                  <a:gd name="connsiteX541" fmla="*/ 328649 w 605628"/>
                  <a:gd name="connsiteY541" fmla="*/ 323042 h 659115"/>
                  <a:gd name="connsiteX542" fmla="*/ 326527 w 605628"/>
                  <a:gd name="connsiteY542" fmla="*/ 322588 h 659115"/>
                  <a:gd name="connsiteX543" fmla="*/ 318951 w 605628"/>
                  <a:gd name="connsiteY543" fmla="*/ 322284 h 659115"/>
                  <a:gd name="connsiteX544" fmla="*/ 317285 w 605628"/>
                  <a:gd name="connsiteY544" fmla="*/ 321527 h 659115"/>
                  <a:gd name="connsiteX545" fmla="*/ 316375 w 605628"/>
                  <a:gd name="connsiteY545" fmla="*/ 320315 h 659115"/>
                  <a:gd name="connsiteX546" fmla="*/ 317436 w 605628"/>
                  <a:gd name="connsiteY546" fmla="*/ 318194 h 659115"/>
                  <a:gd name="connsiteX547" fmla="*/ 317285 w 605628"/>
                  <a:gd name="connsiteY547" fmla="*/ 316224 h 659115"/>
                  <a:gd name="connsiteX548" fmla="*/ 316072 w 605628"/>
                  <a:gd name="connsiteY548" fmla="*/ 315617 h 659115"/>
                  <a:gd name="connsiteX549" fmla="*/ 314861 w 605628"/>
                  <a:gd name="connsiteY549" fmla="*/ 315466 h 659115"/>
                  <a:gd name="connsiteX550" fmla="*/ 306830 w 605628"/>
                  <a:gd name="connsiteY550" fmla="*/ 318042 h 659115"/>
                  <a:gd name="connsiteX551" fmla="*/ 295163 w 605628"/>
                  <a:gd name="connsiteY551" fmla="*/ 319103 h 659115"/>
                  <a:gd name="connsiteX552" fmla="*/ 291829 w 605628"/>
                  <a:gd name="connsiteY552" fmla="*/ 320618 h 659115"/>
                  <a:gd name="connsiteX553" fmla="*/ 288496 w 605628"/>
                  <a:gd name="connsiteY553" fmla="*/ 321830 h 659115"/>
                  <a:gd name="connsiteX554" fmla="*/ 282132 w 605628"/>
                  <a:gd name="connsiteY554" fmla="*/ 322891 h 659115"/>
                  <a:gd name="connsiteX555" fmla="*/ 278799 w 605628"/>
                  <a:gd name="connsiteY555" fmla="*/ 323345 h 659115"/>
                  <a:gd name="connsiteX556" fmla="*/ 275465 w 605628"/>
                  <a:gd name="connsiteY556" fmla="*/ 323345 h 659115"/>
                  <a:gd name="connsiteX557" fmla="*/ 272132 w 605628"/>
                  <a:gd name="connsiteY557" fmla="*/ 322891 h 659115"/>
                  <a:gd name="connsiteX558" fmla="*/ 268798 w 605628"/>
                  <a:gd name="connsiteY558" fmla="*/ 323345 h 659115"/>
                  <a:gd name="connsiteX559" fmla="*/ 267131 w 605628"/>
                  <a:gd name="connsiteY559" fmla="*/ 324103 h 659115"/>
                  <a:gd name="connsiteX560" fmla="*/ 265465 w 605628"/>
                  <a:gd name="connsiteY560" fmla="*/ 324557 h 659115"/>
                  <a:gd name="connsiteX561" fmla="*/ 262434 w 605628"/>
                  <a:gd name="connsiteY561" fmla="*/ 321527 h 659115"/>
                  <a:gd name="connsiteX562" fmla="*/ 259403 w 605628"/>
                  <a:gd name="connsiteY562" fmla="*/ 321527 h 659115"/>
                  <a:gd name="connsiteX563" fmla="*/ 253040 w 605628"/>
                  <a:gd name="connsiteY563" fmla="*/ 323042 h 659115"/>
                  <a:gd name="connsiteX564" fmla="*/ 248191 w 605628"/>
                  <a:gd name="connsiteY564" fmla="*/ 325012 h 659115"/>
                  <a:gd name="connsiteX565" fmla="*/ 246828 w 605628"/>
                  <a:gd name="connsiteY565" fmla="*/ 325921 h 659115"/>
                  <a:gd name="connsiteX566" fmla="*/ 244706 w 605628"/>
                  <a:gd name="connsiteY566" fmla="*/ 329406 h 659115"/>
                  <a:gd name="connsiteX567" fmla="*/ 239100 w 605628"/>
                  <a:gd name="connsiteY567" fmla="*/ 334103 h 659115"/>
                  <a:gd name="connsiteX568" fmla="*/ 234857 w 605628"/>
                  <a:gd name="connsiteY568" fmla="*/ 338194 h 659115"/>
                  <a:gd name="connsiteX569" fmla="*/ 232130 w 605628"/>
                  <a:gd name="connsiteY569" fmla="*/ 339861 h 659115"/>
                  <a:gd name="connsiteX570" fmla="*/ 229554 w 605628"/>
                  <a:gd name="connsiteY570" fmla="*/ 341982 h 659115"/>
                  <a:gd name="connsiteX571" fmla="*/ 226827 w 605628"/>
                  <a:gd name="connsiteY571" fmla="*/ 344710 h 659115"/>
                  <a:gd name="connsiteX572" fmla="*/ 223948 w 605628"/>
                  <a:gd name="connsiteY572" fmla="*/ 347285 h 659115"/>
                  <a:gd name="connsiteX573" fmla="*/ 220614 w 605628"/>
                  <a:gd name="connsiteY573" fmla="*/ 349104 h 659115"/>
                  <a:gd name="connsiteX574" fmla="*/ 217130 w 605628"/>
                  <a:gd name="connsiteY574" fmla="*/ 350619 h 659115"/>
                  <a:gd name="connsiteX575" fmla="*/ 214554 w 605628"/>
                  <a:gd name="connsiteY575" fmla="*/ 352589 h 659115"/>
                  <a:gd name="connsiteX576" fmla="*/ 212281 w 605628"/>
                  <a:gd name="connsiteY576" fmla="*/ 355013 h 659115"/>
                  <a:gd name="connsiteX577" fmla="*/ 210159 w 605628"/>
                  <a:gd name="connsiteY577" fmla="*/ 356680 h 659115"/>
                  <a:gd name="connsiteX578" fmla="*/ 207584 w 605628"/>
                  <a:gd name="connsiteY578" fmla="*/ 357286 h 659115"/>
                  <a:gd name="connsiteX579" fmla="*/ 204099 w 605628"/>
                  <a:gd name="connsiteY579" fmla="*/ 356831 h 659115"/>
                  <a:gd name="connsiteX580" fmla="*/ 200613 w 605628"/>
                  <a:gd name="connsiteY580" fmla="*/ 357286 h 659115"/>
                  <a:gd name="connsiteX581" fmla="*/ 199250 w 605628"/>
                  <a:gd name="connsiteY581" fmla="*/ 358650 h 659115"/>
                  <a:gd name="connsiteX582" fmla="*/ 197886 w 605628"/>
                  <a:gd name="connsiteY582" fmla="*/ 360165 h 659115"/>
                  <a:gd name="connsiteX583" fmla="*/ 197432 w 605628"/>
                  <a:gd name="connsiteY583" fmla="*/ 361377 h 659115"/>
                  <a:gd name="connsiteX584" fmla="*/ 198189 w 605628"/>
                  <a:gd name="connsiteY584" fmla="*/ 370165 h 659115"/>
                  <a:gd name="connsiteX585" fmla="*/ 200311 w 605628"/>
                  <a:gd name="connsiteY585" fmla="*/ 369256 h 659115"/>
                  <a:gd name="connsiteX586" fmla="*/ 202432 w 605628"/>
                  <a:gd name="connsiteY586" fmla="*/ 368801 h 659115"/>
                  <a:gd name="connsiteX587" fmla="*/ 204553 w 605628"/>
                  <a:gd name="connsiteY587" fmla="*/ 370165 h 659115"/>
                  <a:gd name="connsiteX588" fmla="*/ 206826 w 605628"/>
                  <a:gd name="connsiteY588" fmla="*/ 371074 h 659115"/>
                  <a:gd name="connsiteX589" fmla="*/ 209250 w 605628"/>
                  <a:gd name="connsiteY589" fmla="*/ 370620 h 659115"/>
                  <a:gd name="connsiteX590" fmla="*/ 211523 w 605628"/>
                  <a:gd name="connsiteY590" fmla="*/ 369407 h 659115"/>
                  <a:gd name="connsiteX591" fmla="*/ 213342 w 605628"/>
                  <a:gd name="connsiteY591" fmla="*/ 368953 h 659115"/>
                  <a:gd name="connsiteX592" fmla="*/ 220614 w 605628"/>
                  <a:gd name="connsiteY592" fmla="*/ 367892 h 659115"/>
                  <a:gd name="connsiteX593" fmla="*/ 221221 w 605628"/>
                  <a:gd name="connsiteY593" fmla="*/ 368044 h 659115"/>
                  <a:gd name="connsiteX594" fmla="*/ 230160 w 605628"/>
                  <a:gd name="connsiteY594" fmla="*/ 373802 h 659115"/>
                  <a:gd name="connsiteX595" fmla="*/ 231676 w 605628"/>
                  <a:gd name="connsiteY595" fmla="*/ 374256 h 659115"/>
                  <a:gd name="connsiteX596" fmla="*/ 231978 w 605628"/>
                  <a:gd name="connsiteY596" fmla="*/ 371074 h 659115"/>
                  <a:gd name="connsiteX597" fmla="*/ 233191 w 605628"/>
                  <a:gd name="connsiteY597" fmla="*/ 368347 h 659115"/>
                  <a:gd name="connsiteX598" fmla="*/ 234251 w 605628"/>
                  <a:gd name="connsiteY598" fmla="*/ 362438 h 659115"/>
                  <a:gd name="connsiteX599" fmla="*/ 236221 w 605628"/>
                  <a:gd name="connsiteY599" fmla="*/ 359407 h 659115"/>
                  <a:gd name="connsiteX600" fmla="*/ 239252 w 605628"/>
                  <a:gd name="connsiteY600" fmla="*/ 358498 h 659115"/>
                  <a:gd name="connsiteX601" fmla="*/ 242282 w 605628"/>
                  <a:gd name="connsiteY601" fmla="*/ 360468 h 659115"/>
                  <a:gd name="connsiteX602" fmla="*/ 245616 w 605628"/>
                  <a:gd name="connsiteY602" fmla="*/ 361680 h 659115"/>
                  <a:gd name="connsiteX603" fmla="*/ 248797 w 605628"/>
                  <a:gd name="connsiteY603" fmla="*/ 361377 h 659115"/>
                  <a:gd name="connsiteX604" fmla="*/ 255464 w 605628"/>
                  <a:gd name="connsiteY604" fmla="*/ 359104 h 659115"/>
                  <a:gd name="connsiteX605" fmla="*/ 258798 w 605628"/>
                  <a:gd name="connsiteY605" fmla="*/ 360013 h 659115"/>
                  <a:gd name="connsiteX606" fmla="*/ 260616 w 605628"/>
                  <a:gd name="connsiteY606" fmla="*/ 358801 h 659115"/>
                  <a:gd name="connsiteX607" fmla="*/ 264101 w 605628"/>
                  <a:gd name="connsiteY607" fmla="*/ 357589 h 659115"/>
                  <a:gd name="connsiteX608" fmla="*/ 267131 w 605628"/>
                  <a:gd name="connsiteY608" fmla="*/ 356074 h 659115"/>
                  <a:gd name="connsiteX609" fmla="*/ 267889 w 605628"/>
                  <a:gd name="connsiteY609" fmla="*/ 356225 h 659115"/>
                  <a:gd name="connsiteX610" fmla="*/ 270768 w 605628"/>
                  <a:gd name="connsiteY610" fmla="*/ 355164 h 659115"/>
                  <a:gd name="connsiteX611" fmla="*/ 273495 w 605628"/>
                  <a:gd name="connsiteY611" fmla="*/ 354558 h 659115"/>
                  <a:gd name="connsiteX612" fmla="*/ 278950 w 605628"/>
                  <a:gd name="connsiteY612" fmla="*/ 354255 h 659115"/>
                  <a:gd name="connsiteX613" fmla="*/ 281526 w 605628"/>
                  <a:gd name="connsiteY613" fmla="*/ 353195 h 659115"/>
                  <a:gd name="connsiteX614" fmla="*/ 284405 w 605628"/>
                  <a:gd name="connsiteY614" fmla="*/ 351225 h 659115"/>
                  <a:gd name="connsiteX615" fmla="*/ 288041 w 605628"/>
                  <a:gd name="connsiteY615" fmla="*/ 348043 h 659115"/>
                  <a:gd name="connsiteX616" fmla="*/ 289102 w 605628"/>
                  <a:gd name="connsiteY616" fmla="*/ 347588 h 659115"/>
                  <a:gd name="connsiteX617" fmla="*/ 292284 w 605628"/>
                  <a:gd name="connsiteY617" fmla="*/ 347285 h 659115"/>
                  <a:gd name="connsiteX618" fmla="*/ 295314 w 605628"/>
                  <a:gd name="connsiteY618" fmla="*/ 346376 h 659115"/>
                  <a:gd name="connsiteX619" fmla="*/ 298344 w 605628"/>
                  <a:gd name="connsiteY619" fmla="*/ 345922 h 659115"/>
                  <a:gd name="connsiteX620" fmla="*/ 302587 w 605628"/>
                  <a:gd name="connsiteY620" fmla="*/ 346073 h 659115"/>
                  <a:gd name="connsiteX621" fmla="*/ 303799 w 605628"/>
                  <a:gd name="connsiteY621" fmla="*/ 346679 h 659115"/>
                  <a:gd name="connsiteX622" fmla="*/ 307739 w 605628"/>
                  <a:gd name="connsiteY622" fmla="*/ 349255 h 659115"/>
                  <a:gd name="connsiteX623" fmla="*/ 310769 w 605628"/>
                  <a:gd name="connsiteY623" fmla="*/ 350164 h 659115"/>
                  <a:gd name="connsiteX624" fmla="*/ 315012 w 605628"/>
                  <a:gd name="connsiteY624" fmla="*/ 349558 h 659115"/>
                  <a:gd name="connsiteX625" fmla="*/ 319254 w 605628"/>
                  <a:gd name="connsiteY625" fmla="*/ 349558 h 659115"/>
                  <a:gd name="connsiteX626" fmla="*/ 320921 w 605628"/>
                  <a:gd name="connsiteY626" fmla="*/ 350619 h 659115"/>
                  <a:gd name="connsiteX627" fmla="*/ 320769 w 605628"/>
                  <a:gd name="connsiteY627" fmla="*/ 352740 h 659115"/>
                  <a:gd name="connsiteX628" fmla="*/ 320012 w 605628"/>
                  <a:gd name="connsiteY628" fmla="*/ 354104 h 659115"/>
                  <a:gd name="connsiteX629" fmla="*/ 317891 w 605628"/>
                  <a:gd name="connsiteY629" fmla="*/ 356680 h 659115"/>
                  <a:gd name="connsiteX630" fmla="*/ 316679 w 605628"/>
                  <a:gd name="connsiteY630" fmla="*/ 357740 h 659115"/>
                  <a:gd name="connsiteX631" fmla="*/ 313042 w 605628"/>
                  <a:gd name="connsiteY631" fmla="*/ 359710 h 659115"/>
                  <a:gd name="connsiteX632" fmla="*/ 312133 w 605628"/>
                  <a:gd name="connsiteY632" fmla="*/ 360619 h 659115"/>
                  <a:gd name="connsiteX633" fmla="*/ 313042 w 605628"/>
                  <a:gd name="connsiteY633" fmla="*/ 363801 h 659115"/>
                  <a:gd name="connsiteX634" fmla="*/ 312891 w 605628"/>
                  <a:gd name="connsiteY634" fmla="*/ 369256 h 659115"/>
                  <a:gd name="connsiteX635" fmla="*/ 314254 w 605628"/>
                  <a:gd name="connsiteY635" fmla="*/ 372589 h 659115"/>
                  <a:gd name="connsiteX636" fmla="*/ 316527 w 605628"/>
                  <a:gd name="connsiteY636" fmla="*/ 375468 h 659115"/>
                  <a:gd name="connsiteX637" fmla="*/ 318951 w 605628"/>
                  <a:gd name="connsiteY637" fmla="*/ 378044 h 659115"/>
                  <a:gd name="connsiteX638" fmla="*/ 320315 w 605628"/>
                  <a:gd name="connsiteY638" fmla="*/ 380923 h 659115"/>
                  <a:gd name="connsiteX639" fmla="*/ 321982 w 605628"/>
                  <a:gd name="connsiteY639" fmla="*/ 383196 h 659115"/>
                  <a:gd name="connsiteX640" fmla="*/ 328649 w 605628"/>
                  <a:gd name="connsiteY640" fmla="*/ 385166 h 659115"/>
                  <a:gd name="connsiteX641" fmla="*/ 334710 w 605628"/>
                  <a:gd name="connsiteY641" fmla="*/ 382893 h 659115"/>
                  <a:gd name="connsiteX642" fmla="*/ 338952 w 605628"/>
                  <a:gd name="connsiteY642" fmla="*/ 376226 h 659115"/>
                  <a:gd name="connsiteX643" fmla="*/ 344256 w 605628"/>
                  <a:gd name="connsiteY643" fmla="*/ 366528 h 659115"/>
                  <a:gd name="connsiteX644" fmla="*/ 345922 w 605628"/>
                  <a:gd name="connsiteY644" fmla="*/ 363953 h 659115"/>
                  <a:gd name="connsiteX645" fmla="*/ 351832 w 605628"/>
                  <a:gd name="connsiteY645" fmla="*/ 361528 h 659115"/>
                  <a:gd name="connsiteX646" fmla="*/ 358649 w 605628"/>
                  <a:gd name="connsiteY646" fmla="*/ 360316 h 659115"/>
                  <a:gd name="connsiteX647" fmla="*/ 360317 w 605628"/>
                  <a:gd name="connsiteY647" fmla="*/ 359559 h 659115"/>
                  <a:gd name="connsiteX648" fmla="*/ 361074 w 605628"/>
                  <a:gd name="connsiteY648" fmla="*/ 357892 h 659115"/>
                  <a:gd name="connsiteX649" fmla="*/ 361074 w 605628"/>
                  <a:gd name="connsiteY649" fmla="*/ 356225 h 659115"/>
                  <a:gd name="connsiteX650" fmla="*/ 360014 w 605628"/>
                  <a:gd name="connsiteY650" fmla="*/ 355316 h 659115"/>
                  <a:gd name="connsiteX651" fmla="*/ 353802 w 605628"/>
                  <a:gd name="connsiteY651" fmla="*/ 351528 h 659115"/>
                  <a:gd name="connsiteX652" fmla="*/ 351528 w 605628"/>
                  <a:gd name="connsiteY652" fmla="*/ 348801 h 659115"/>
                  <a:gd name="connsiteX653" fmla="*/ 352741 w 605628"/>
                  <a:gd name="connsiteY653" fmla="*/ 345316 h 659115"/>
                  <a:gd name="connsiteX654" fmla="*/ 355771 w 605628"/>
                  <a:gd name="connsiteY654" fmla="*/ 339255 h 659115"/>
                  <a:gd name="connsiteX655" fmla="*/ 357286 w 605628"/>
                  <a:gd name="connsiteY655" fmla="*/ 338043 h 659115"/>
                  <a:gd name="connsiteX656" fmla="*/ 358953 w 605628"/>
                  <a:gd name="connsiteY656" fmla="*/ 337134 h 659115"/>
                  <a:gd name="connsiteX657" fmla="*/ 360317 w 605628"/>
                  <a:gd name="connsiteY657" fmla="*/ 336831 h 659115"/>
                  <a:gd name="connsiteX658" fmla="*/ 361528 w 605628"/>
                  <a:gd name="connsiteY658" fmla="*/ 337588 h 659115"/>
                  <a:gd name="connsiteX659" fmla="*/ 360317 w 605628"/>
                  <a:gd name="connsiteY659" fmla="*/ 339406 h 659115"/>
                  <a:gd name="connsiteX660" fmla="*/ 360469 w 605628"/>
                  <a:gd name="connsiteY660" fmla="*/ 341376 h 659115"/>
                  <a:gd name="connsiteX661" fmla="*/ 361226 w 605628"/>
                  <a:gd name="connsiteY661" fmla="*/ 344710 h 659115"/>
                  <a:gd name="connsiteX662" fmla="*/ 360923 w 605628"/>
                  <a:gd name="connsiteY662" fmla="*/ 346982 h 659115"/>
                  <a:gd name="connsiteX663" fmla="*/ 362135 w 605628"/>
                  <a:gd name="connsiteY663" fmla="*/ 347740 h 659115"/>
                  <a:gd name="connsiteX664" fmla="*/ 363044 w 605628"/>
                  <a:gd name="connsiteY664" fmla="*/ 347285 h 659115"/>
                  <a:gd name="connsiteX665" fmla="*/ 362741 w 605628"/>
                  <a:gd name="connsiteY665" fmla="*/ 344407 h 659115"/>
                  <a:gd name="connsiteX666" fmla="*/ 363498 w 605628"/>
                  <a:gd name="connsiteY666" fmla="*/ 343800 h 659115"/>
                  <a:gd name="connsiteX667" fmla="*/ 364711 w 605628"/>
                  <a:gd name="connsiteY667" fmla="*/ 344407 h 659115"/>
                  <a:gd name="connsiteX668" fmla="*/ 365468 w 605628"/>
                  <a:gd name="connsiteY668" fmla="*/ 345922 h 659115"/>
                  <a:gd name="connsiteX669" fmla="*/ 367286 w 605628"/>
                  <a:gd name="connsiteY669" fmla="*/ 346073 h 659115"/>
                  <a:gd name="connsiteX670" fmla="*/ 370772 w 605628"/>
                  <a:gd name="connsiteY670" fmla="*/ 345619 h 659115"/>
                  <a:gd name="connsiteX671" fmla="*/ 372135 w 605628"/>
                  <a:gd name="connsiteY671" fmla="*/ 345619 h 659115"/>
                  <a:gd name="connsiteX672" fmla="*/ 372742 w 605628"/>
                  <a:gd name="connsiteY672" fmla="*/ 346982 h 659115"/>
                  <a:gd name="connsiteX673" fmla="*/ 372590 w 605628"/>
                  <a:gd name="connsiteY673" fmla="*/ 347740 h 659115"/>
                  <a:gd name="connsiteX674" fmla="*/ 366832 w 605628"/>
                  <a:gd name="connsiteY674" fmla="*/ 350316 h 659115"/>
                  <a:gd name="connsiteX675" fmla="*/ 366377 w 605628"/>
                  <a:gd name="connsiteY675" fmla="*/ 351528 h 659115"/>
                  <a:gd name="connsiteX676" fmla="*/ 373347 w 605628"/>
                  <a:gd name="connsiteY676" fmla="*/ 349861 h 659115"/>
                  <a:gd name="connsiteX677" fmla="*/ 379559 w 605628"/>
                  <a:gd name="connsiteY677" fmla="*/ 348952 h 659115"/>
                  <a:gd name="connsiteX678" fmla="*/ 385166 w 605628"/>
                  <a:gd name="connsiteY678" fmla="*/ 349407 h 659115"/>
                  <a:gd name="connsiteX679" fmla="*/ 388348 w 605628"/>
                  <a:gd name="connsiteY679" fmla="*/ 349255 h 659115"/>
                  <a:gd name="connsiteX680" fmla="*/ 391530 w 605628"/>
                  <a:gd name="connsiteY680" fmla="*/ 349558 h 659115"/>
                  <a:gd name="connsiteX681" fmla="*/ 397288 w 605628"/>
                  <a:gd name="connsiteY681" fmla="*/ 350922 h 659115"/>
                  <a:gd name="connsiteX682" fmla="*/ 399106 w 605628"/>
                  <a:gd name="connsiteY682" fmla="*/ 346679 h 659115"/>
                  <a:gd name="connsiteX683" fmla="*/ 401682 w 605628"/>
                  <a:gd name="connsiteY683" fmla="*/ 343194 h 659115"/>
                  <a:gd name="connsiteX684" fmla="*/ 403955 w 605628"/>
                  <a:gd name="connsiteY684" fmla="*/ 341073 h 659115"/>
                  <a:gd name="connsiteX685" fmla="*/ 406075 w 605628"/>
                  <a:gd name="connsiteY685" fmla="*/ 338800 h 659115"/>
                  <a:gd name="connsiteX686" fmla="*/ 406834 w 605628"/>
                  <a:gd name="connsiteY686" fmla="*/ 336982 h 659115"/>
                  <a:gd name="connsiteX687" fmla="*/ 407894 w 605628"/>
                  <a:gd name="connsiteY687" fmla="*/ 335618 h 659115"/>
                  <a:gd name="connsiteX688" fmla="*/ 411833 w 605628"/>
                  <a:gd name="connsiteY688" fmla="*/ 334406 h 659115"/>
                  <a:gd name="connsiteX689" fmla="*/ 414561 w 605628"/>
                  <a:gd name="connsiteY689" fmla="*/ 335315 h 659115"/>
                  <a:gd name="connsiteX690" fmla="*/ 416834 w 605628"/>
                  <a:gd name="connsiteY690" fmla="*/ 337437 h 659115"/>
                  <a:gd name="connsiteX691" fmla="*/ 414107 w 605628"/>
                  <a:gd name="connsiteY691" fmla="*/ 338952 h 659115"/>
                  <a:gd name="connsiteX692" fmla="*/ 414107 w 605628"/>
                  <a:gd name="connsiteY692" fmla="*/ 341982 h 659115"/>
                  <a:gd name="connsiteX693" fmla="*/ 412894 w 605628"/>
                  <a:gd name="connsiteY693" fmla="*/ 347437 h 659115"/>
                  <a:gd name="connsiteX694" fmla="*/ 413803 w 605628"/>
                  <a:gd name="connsiteY694" fmla="*/ 348952 h 659115"/>
                  <a:gd name="connsiteX695" fmla="*/ 415016 w 605628"/>
                  <a:gd name="connsiteY695" fmla="*/ 349861 h 659115"/>
                  <a:gd name="connsiteX696" fmla="*/ 416682 w 605628"/>
                  <a:gd name="connsiteY696" fmla="*/ 349558 h 659115"/>
                  <a:gd name="connsiteX697" fmla="*/ 419107 w 605628"/>
                  <a:gd name="connsiteY697" fmla="*/ 347437 h 659115"/>
                  <a:gd name="connsiteX698" fmla="*/ 420016 w 605628"/>
                  <a:gd name="connsiteY698" fmla="*/ 346225 h 659115"/>
                  <a:gd name="connsiteX699" fmla="*/ 421986 w 605628"/>
                  <a:gd name="connsiteY699" fmla="*/ 343043 h 659115"/>
                  <a:gd name="connsiteX700" fmla="*/ 422895 w 605628"/>
                  <a:gd name="connsiteY700" fmla="*/ 339406 h 659115"/>
                  <a:gd name="connsiteX701" fmla="*/ 422743 w 605628"/>
                  <a:gd name="connsiteY701" fmla="*/ 335012 h 659115"/>
                  <a:gd name="connsiteX702" fmla="*/ 423197 w 605628"/>
                  <a:gd name="connsiteY702" fmla="*/ 333194 h 659115"/>
                  <a:gd name="connsiteX703" fmla="*/ 423956 w 605628"/>
                  <a:gd name="connsiteY703" fmla="*/ 331527 h 659115"/>
                  <a:gd name="connsiteX704" fmla="*/ 426380 w 605628"/>
                  <a:gd name="connsiteY704" fmla="*/ 329406 h 659115"/>
                  <a:gd name="connsiteX705" fmla="*/ 429562 w 605628"/>
                  <a:gd name="connsiteY705" fmla="*/ 328800 h 659115"/>
                  <a:gd name="connsiteX706" fmla="*/ 432592 w 605628"/>
                  <a:gd name="connsiteY706" fmla="*/ 328800 h 659115"/>
                  <a:gd name="connsiteX707" fmla="*/ 435016 w 605628"/>
                  <a:gd name="connsiteY707" fmla="*/ 330467 h 659115"/>
                  <a:gd name="connsiteX708" fmla="*/ 436986 w 605628"/>
                  <a:gd name="connsiteY708" fmla="*/ 333648 h 659115"/>
                  <a:gd name="connsiteX709" fmla="*/ 438047 w 605628"/>
                  <a:gd name="connsiteY709" fmla="*/ 333497 h 659115"/>
                  <a:gd name="connsiteX710" fmla="*/ 439562 w 605628"/>
                  <a:gd name="connsiteY710" fmla="*/ 331224 h 659115"/>
                  <a:gd name="connsiteX711" fmla="*/ 439865 w 605628"/>
                  <a:gd name="connsiteY711" fmla="*/ 330315 h 659115"/>
                  <a:gd name="connsiteX712" fmla="*/ 438653 w 605628"/>
                  <a:gd name="connsiteY712" fmla="*/ 329709 h 659115"/>
                  <a:gd name="connsiteX713" fmla="*/ 437744 w 605628"/>
                  <a:gd name="connsiteY713" fmla="*/ 328345 h 659115"/>
                  <a:gd name="connsiteX714" fmla="*/ 437289 w 605628"/>
                  <a:gd name="connsiteY714" fmla="*/ 325618 h 659115"/>
                  <a:gd name="connsiteX715" fmla="*/ 440471 w 605628"/>
                  <a:gd name="connsiteY715" fmla="*/ 322891 h 659115"/>
                  <a:gd name="connsiteX716" fmla="*/ 440623 w 605628"/>
                  <a:gd name="connsiteY716" fmla="*/ 322133 h 659115"/>
                  <a:gd name="connsiteX717" fmla="*/ 440471 w 605628"/>
                  <a:gd name="connsiteY717" fmla="*/ 321224 h 659115"/>
                  <a:gd name="connsiteX718" fmla="*/ 440926 w 605628"/>
                  <a:gd name="connsiteY718" fmla="*/ 319254 h 659115"/>
                  <a:gd name="connsiteX719" fmla="*/ 442289 w 605628"/>
                  <a:gd name="connsiteY719" fmla="*/ 317890 h 659115"/>
                  <a:gd name="connsiteX720" fmla="*/ 444411 w 605628"/>
                  <a:gd name="connsiteY720" fmla="*/ 317587 h 659115"/>
                  <a:gd name="connsiteX721" fmla="*/ 446532 w 605628"/>
                  <a:gd name="connsiteY721" fmla="*/ 317587 h 659115"/>
                  <a:gd name="connsiteX722" fmla="*/ 448047 w 605628"/>
                  <a:gd name="connsiteY722" fmla="*/ 318648 h 659115"/>
                  <a:gd name="connsiteX723" fmla="*/ 449562 w 605628"/>
                  <a:gd name="connsiteY723" fmla="*/ 320163 h 659115"/>
                  <a:gd name="connsiteX724" fmla="*/ 449259 w 605628"/>
                  <a:gd name="connsiteY724" fmla="*/ 321527 h 659115"/>
                  <a:gd name="connsiteX725" fmla="*/ 447593 w 605628"/>
                  <a:gd name="connsiteY725" fmla="*/ 323194 h 659115"/>
                  <a:gd name="connsiteX726" fmla="*/ 445320 w 605628"/>
                  <a:gd name="connsiteY726" fmla="*/ 325163 h 659115"/>
                  <a:gd name="connsiteX727" fmla="*/ 444259 w 605628"/>
                  <a:gd name="connsiteY727" fmla="*/ 327588 h 659115"/>
                  <a:gd name="connsiteX728" fmla="*/ 442138 w 605628"/>
                  <a:gd name="connsiteY728" fmla="*/ 329103 h 659115"/>
                  <a:gd name="connsiteX729" fmla="*/ 442896 w 605628"/>
                  <a:gd name="connsiteY729" fmla="*/ 331073 h 659115"/>
                  <a:gd name="connsiteX730" fmla="*/ 442289 w 605628"/>
                  <a:gd name="connsiteY730" fmla="*/ 336073 h 659115"/>
                  <a:gd name="connsiteX731" fmla="*/ 442593 w 605628"/>
                  <a:gd name="connsiteY731" fmla="*/ 338043 h 659115"/>
                  <a:gd name="connsiteX732" fmla="*/ 441380 w 605628"/>
                  <a:gd name="connsiteY732" fmla="*/ 339709 h 659115"/>
                  <a:gd name="connsiteX733" fmla="*/ 442593 w 605628"/>
                  <a:gd name="connsiteY733" fmla="*/ 341073 h 659115"/>
                  <a:gd name="connsiteX734" fmla="*/ 444714 w 605628"/>
                  <a:gd name="connsiteY734" fmla="*/ 341528 h 659115"/>
                  <a:gd name="connsiteX735" fmla="*/ 445774 w 605628"/>
                  <a:gd name="connsiteY735" fmla="*/ 340012 h 659115"/>
                  <a:gd name="connsiteX736" fmla="*/ 448502 w 605628"/>
                  <a:gd name="connsiteY736" fmla="*/ 337134 h 659115"/>
                  <a:gd name="connsiteX737" fmla="*/ 451229 w 605628"/>
                  <a:gd name="connsiteY737" fmla="*/ 335315 h 659115"/>
                  <a:gd name="connsiteX738" fmla="*/ 455471 w 605628"/>
                  <a:gd name="connsiteY738" fmla="*/ 333497 h 659115"/>
                  <a:gd name="connsiteX739" fmla="*/ 456532 w 605628"/>
                  <a:gd name="connsiteY739" fmla="*/ 332739 h 659115"/>
                  <a:gd name="connsiteX740" fmla="*/ 457593 w 605628"/>
                  <a:gd name="connsiteY740" fmla="*/ 331527 h 659115"/>
                  <a:gd name="connsiteX741" fmla="*/ 458199 w 605628"/>
                  <a:gd name="connsiteY741" fmla="*/ 330164 h 659115"/>
                  <a:gd name="connsiteX742" fmla="*/ 458048 w 605628"/>
                  <a:gd name="connsiteY742" fmla="*/ 326224 h 659115"/>
                  <a:gd name="connsiteX743" fmla="*/ 459259 w 605628"/>
                  <a:gd name="connsiteY743" fmla="*/ 322588 h 659115"/>
                  <a:gd name="connsiteX744" fmla="*/ 463047 w 605628"/>
                  <a:gd name="connsiteY744" fmla="*/ 318800 h 659115"/>
                  <a:gd name="connsiteX745" fmla="*/ 464260 w 605628"/>
                  <a:gd name="connsiteY745" fmla="*/ 317890 h 659115"/>
                  <a:gd name="connsiteX746" fmla="*/ 470623 w 605628"/>
                  <a:gd name="connsiteY746" fmla="*/ 315921 h 659115"/>
                  <a:gd name="connsiteX747" fmla="*/ 468957 w 605628"/>
                  <a:gd name="connsiteY747" fmla="*/ 314102 h 659115"/>
                  <a:gd name="connsiteX748" fmla="*/ 467442 w 605628"/>
                  <a:gd name="connsiteY748" fmla="*/ 312133 h 659115"/>
                  <a:gd name="connsiteX749" fmla="*/ 463654 w 605628"/>
                  <a:gd name="connsiteY749" fmla="*/ 305466 h 659115"/>
                  <a:gd name="connsiteX750" fmla="*/ 462745 w 605628"/>
                  <a:gd name="connsiteY750" fmla="*/ 302890 h 659115"/>
                  <a:gd name="connsiteX751" fmla="*/ 462290 w 605628"/>
                  <a:gd name="connsiteY751" fmla="*/ 300163 h 659115"/>
                  <a:gd name="connsiteX752" fmla="*/ 462745 w 605628"/>
                  <a:gd name="connsiteY752" fmla="*/ 297738 h 659115"/>
                  <a:gd name="connsiteX753" fmla="*/ 463502 w 605628"/>
                  <a:gd name="connsiteY753" fmla="*/ 295314 h 659115"/>
                  <a:gd name="connsiteX754" fmla="*/ 463502 w 605628"/>
                  <a:gd name="connsiteY754" fmla="*/ 293496 h 659115"/>
                  <a:gd name="connsiteX755" fmla="*/ 463805 w 605628"/>
                  <a:gd name="connsiteY755" fmla="*/ 291677 h 659115"/>
                  <a:gd name="connsiteX756" fmla="*/ 466684 w 605628"/>
                  <a:gd name="connsiteY756" fmla="*/ 284556 h 659115"/>
                  <a:gd name="connsiteX757" fmla="*/ 468351 w 605628"/>
                  <a:gd name="connsiteY757" fmla="*/ 280919 h 659115"/>
                  <a:gd name="connsiteX758" fmla="*/ 469714 w 605628"/>
                  <a:gd name="connsiteY758" fmla="*/ 279556 h 659115"/>
                  <a:gd name="connsiteX759" fmla="*/ 471230 w 605628"/>
                  <a:gd name="connsiteY759" fmla="*/ 278495 h 659115"/>
                  <a:gd name="connsiteX760" fmla="*/ 473200 w 605628"/>
                  <a:gd name="connsiteY760" fmla="*/ 276071 h 659115"/>
                  <a:gd name="connsiteX761" fmla="*/ 474109 w 605628"/>
                  <a:gd name="connsiteY761" fmla="*/ 272586 h 659115"/>
                  <a:gd name="connsiteX762" fmla="*/ 475018 w 605628"/>
                  <a:gd name="connsiteY762" fmla="*/ 261525 h 659115"/>
                  <a:gd name="connsiteX763" fmla="*/ 474109 w 605628"/>
                  <a:gd name="connsiteY763" fmla="*/ 254252 h 659115"/>
                  <a:gd name="connsiteX764" fmla="*/ 472897 w 605628"/>
                  <a:gd name="connsiteY764" fmla="*/ 250312 h 659115"/>
                  <a:gd name="connsiteX765" fmla="*/ 471988 w 605628"/>
                  <a:gd name="connsiteY765" fmla="*/ 246373 h 659115"/>
                  <a:gd name="connsiteX766" fmla="*/ 471988 w 605628"/>
                  <a:gd name="connsiteY766" fmla="*/ 243039 h 659115"/>
                  <a:gd name="connsiteX767" fmla="*/ 472897 w 605628"/>
                  <a:gd name="connsiteY767" fmla="*/ 240009 h 659115"/>
                  <a:gd name="connsiteX768" fmla="*/ 476078 w 605628"/>
                  <a:gd name="connsiteY768" fmla="*/ 234857 h 659115"/>
                  <a:gd name="connsiteX769" fmla="*/ 476988 w 605628"/>
                  <a:gd name="connsiteY769" fmla="*/ 234100 h 659115"/>
                  <a:gd name="connsiteX770" fmla="*/ 480927 w 605628"/>
                  <a:gd name="connsiteY770" fmla="*/ 232736 h 659115"/>
                  <a:gd name="connsiteX771" fmla="*/ 484109 w 605628"/>
                  <a:gd name="connsiteY771" fmla="*/ 232736 h 659115"/>
                  <a:gd name="connsiteX772" fmla="*/ 486836 w 605628"/>
                  <a:gd name="connsiteY772" fmla="*/ 231978 h 659115"/>
                  <a:gd name="connsiteX773" fmla="*/ 487897 w 605628"/>
                  <a:gd name="connsiteY773" fmla="*/ 228948 h 659115"/>
                  <a:gd name="connsiteX774" fmla="*/ 488200 w 605628"/>
                  <a:gd name="connsiteY774" fmla="*/ 224705 h 659115"/>
                  <a:gd name="connsiteX775" fmla="*/ 488958 w 605628"/>
                  <a:gd name="connsiteY775" fmla="*/ 220614 h 659115"/>
                  <a:gd name="connsiteX776" fmla="*/ 489867 w 605628"/>
                  <a:gd name="connsiteY776" fmla="*/ 218947 h 659115"/>
                  <a:gd name="connsiteX777" fmla="*/ 491079 w 605628"/>
                  <a:gd name="connsiteY777" fmla="*/ 217432 h 659115"/>
                  <a:gd name="connsiteX778" fmla="*/ 491685 w 605628"/>
                  <a:gd name="connsiteY778" fmla="*/ 215765 h 659115"/>
                  <a:gd name="connsiteX779" fmla="*/ 492140 w 605628"/>
                  <a:gd name="connsiteY779" fmla="*/ 213947 h 659115"/>
                  <a:gd name="connsiteX780" fmla="*/ 493049 w 605628"/>
                  <a:gd name="connsiteY780" fmla="*/ 213341 h 659115"/>
                  <a:gd name="connsiteX781" fmla="*/ 494412 w 605628"/>
                  <a:gd name="connsiteY781" fmla="*/ 213190 h 659115"/>
                  <a:gd name="connsiteX782" fmla="*/ 495321 w 605628"/>
                  <a:gd name="connsiteY782" fmla="*/ 212584 h 659115"/>
                  <a:gd name="connsiteX783" fmla="*/ 496079 w 605628"/>
                  <a:gd name="connsiteY783" fmla="*/ 211826 h 659115"/>
                  <a:gd name="connsiteX784" fmla="*/ 496988 w 605628"/>
                  <a:gd name="connsiteY784" fmla="*/ 210311 h 659115"/>
                  <a:gd name="connsiteX785" fmla="*/ 498655 w 605628"/>
                  <a:gd name="connsiteY785" fmla="*/ 209705 h 659115"/>
                  <a:gd name="connsiteX786" fmla="*/ 498958 w 605628"/>
                  <a:gd name="connsiteY786" fmla="*/ 206220 h 659115"/>
                  <a:gd name="connsiteX787" fmla="*/ 500776 w 605628"/>
                  <a:gd name="connsiteY787" fmla="*/ 199553 h 659115"/>
                  <a:gd name="connsiteX788" fmla="*/ 501231 w 605628"/>
                  <a:gd name="connsiteY788" fmla="*/ 193795 h 659115"/>
                  <a:gd name="connsiteX789" fmla="*/ 500776 w 605628"/>
                  <a:gd name="connsiteY789" fmla="*/ 191977 h 659115"/>
                  <a:gd name="connsiteX790" fmla="*/ 500928 w 605628"/>
                  <a:gd name="connsiteY790" fmla="*/ 190158 h 659115"/>
                  <a:gd name="connsiteX791" fmla="*/ 237433 w 605628"/>
                  <a:gd name="connsiteY791" fmla="*/ 374862 h 659115"/>
                  <a:gd name="connsiteX792" fmla="*/ 238797 w 605628"/>
                  <a:gd name="connsiteY792" fmla="*/ 373802 h 659115"/>
                  <a:gd name="connsiteX793" fmla="*/ 239706 w 605628"/>
                  <a:gd name="connsiteY793" fmla="*/ 372741 h 659115"/>
                  <a:gd name="connsiteX794" fmla="*/ 239252 w 605628"/>
                  <a:gd name="connsiteY794" fmla="*/ 372438 h 659115"/>
                  <a:gd name="connsiteX795" fmla="*/ 236070 w 605628"/>
                  <a:gd name="connsiteY795" fmla="*/ 372893 h 659115"/>
                  <a:gd name="connsiteX796" fmla="*/ 234706 w 605628"/>
                  <a:gd name="connsiteY796" fmla="*/ 371832 h 659115"/>
                  <a:gd name="connsiteX797" fmla="*/ 233191 w 605628"/>
                  <a:gd name="connsiteY797" fmla="*/ 371680 h 659115"/>
                  <a:gd name="connsiteX798" fmla="*/ 233039 w 605628"/>
                  <a:gd name="connsiteY798" fmla="*/ 372286 h 659115"/>
                  <a:gd name="connsiteX799" fmla="*/ 233191 w 605628"/>
                  <a:gd name="connsiteY799" fmla="*/ 373953 h 659115"/>
                  <a:gd name="connsiteX800" fmla="*/ 234857 w 605628"/>
                  <a:gd name="connsiteY800" fmla="*/ 373953 h 659115"/>
                  <a:gd name="connsiteX801" fmla="*/ 237433 w 605628"/>
                  <a:gd name="connsiteY801" fmla="*/ 374862 h 659115"/>
                  <a:gd name="connsiteX802" fmla="*/ 183189 w 605628"/>
                  <a:gd name="connsiteY802" fmla="*/ 418197 h 659115"/>
                  <a:gd name="connsiteX803" fmla="*/ 184250 w 605628"/>
                  <a:gd name="connsiteY803" fmla="*/ 417137 h 659115"/>
                  <a:gd name="connsiteX804" fmla="*/ 185461 w 605628"/>
                  <a:gd name="connsiteY804" fmla="*/ 415318 h 659115"/>
                  <a:gd name="connsiteX805" fmla="*/ 182886 w 605628"/>
                  <a:gd name="connsiteY805" fmla="*/ 415015 h 659115"/>
                  <a:gd name="connsiteX806" fmla="*/ 179553 w 605628"/>
                  <a:gd name="connsiteY806" fmla="*/ 416985 h 659115"/>
                  <a:gd name="connsiteX807" fmla="*/ 180007 w 605628"/>
                  <a:gd name="connsiteY807" fmla="*/ 417894 h 659115"/>
                  <a:gd name="connsiteX808" fmla="*/ 181068 w 605628"/>
                  <a:gd name="connsiteY808" fmla="*/ 418197 h 659115"/>
                  <a:gd name="connsiteX809" fmla="*/ 183189 w 605628"/>
                  <a:gd name="connsiteY809" fmla="*/ 418197 h 659115"/>
                  <a:gd name="connsiteX810" fmla="*/ 178189 w 605628"/>
                  <a:gd name="connsiteY810" fmla="*/ 416076 h 659115"/>
                  <a:gd name="connsiteX811" fmla="*/ 177431 w 605628"/>
                  <a:gd name="connsiteY811" fmla="*/ 414561 h 659115"/>
                  <a:gd name="connsiteX812" fmla="*/ 173036 w 605628"/>
                  <a:gd name="connsiteY812" fmla="*/ 415167 h 659115"/>
                  <a:gd name="connsiteX813" fmla="*/ 173340 w 605628"/>
                  <a:gd name="connsiteY813" fmla="*/ 416833 h 659115"/>
                  <a:gd name="connsiteX814" fmla="*/ 172127 w 605628"/>
                  <a:gd name="connsiteY814" fmla="*/ 420621 h 659115"/>
                  <a:gd name="connsiteX815" fmla="*/ 173188 w 605628"/>
                  <a:gd name="connsiteY815" fmla="*/ 421531 h 659115"/>
                  <a:gd name="connsiteX816" fmla="*/ 173188 w 605628"/>
                  <a:gd name="connsiteY816" fmla="*/ 422137 h 659115"/>
                  <a:gd name="connsiteX817" fmla="*/ 171673 w 605628"/>
                  <a:gd name="connsiteY817" fmla="*/ 423652 h 659115"/>
                  <a:gd name="connsiteX818" fmla="*/ 172582 w 605628"/>
                  <a:gd name="connsiteY818" fmla="*/ 424106 h 659115"/>
                  <a:gd name="connsiteX819" fmla="*/ 172886 w 605628"/>
                  <a:gd name="connsiteY819" fmla="*/ 425167 h 659115"/>
                  <a:gd name="connsiteX820" fmla="*/ 175006 w 605628"/>
                  <a:gd name="connsiteY820" fmla="*/ 424106 h 659115"/>
                  <a:gd name="connsiteX821" fmla="*/ 178189 w 605628"/>
                  <a:gd name="connsiteY821" fmla="*/ 420773 h 659115"/>
                  <a:gd name="connsiteX822" fmla="*/ 178189 w 605628"/>
                  <a:gd name="connsiteY822" fmla="*/ 416076 h 659115"/>
                  <a:gd name="connsiteX823" fmla="*/ 186370 w 605628"/>
                  <a:gd name="connsiteY823" fmla="*/ 477139 h 659115"/>
                  <a:gd name="connsiteX824" fmla="*/ 183341 w 605628"/>
                  <a:gd name="connsiteY824" fmla="*/ 479412 h 659115"/>
                  <a:gd name="connsiteX825" fmla="*/ 184856 w 605628"/>
                  <a:gd name="connsiteY825" fmla="*/ 483048 h 659115"/>
                  <a:gd name="connsiteX826" fmla="*/ 186522 w 605628"/>
                  <a:gd name="connsiteY826" fmla="*/ 483806 h 659115"/>
                  <a:gd name="connsiteX827" fmla="*/ 189704 w 605628"/>
                  <a:gd name="connsiteY827" fmla="*/ 483200 h 659115"/>
                  <a:gd name="connsiteX828" fmla="*/ 191067 w 605628"/>
                  <a:gd name="connsiteY828" fmla="*/ 480169 h 659115"/>
                  <a:gd name="connsiteX829" fmla="*/ 190310 w 605628"/>
                  <a:gd name="connsiteY829" fmla="*/ 479563 h 659115"/>
                  <a:gd name="connsiteX830" fmla="*/ 186370 w 605628"/>
                  <a:gd name="connsiteY830" fmla="*/ 477139 h 659115"/>
                  <a:gd name="connsiteX831" fmla="*/ 164855 w 605628"/>
                  <a:gd name="connsiteY831" fmla="*/ 439410 h 659115"/>
                  <a:gd name="connsiteX832" fmla="*/ 164249 w 605628"/>
                  <a:gd name="connsiteY832" fmla="*/ 441834 h 659115"/>
                  <a:gd name="connsiteX833" fmla="*/ 165158 w 605628"/>
                  <a:gd name="connsiteY833" fmla="*/ 441380 h 659115"/>
                  <a:gd name="connsiteX834" fmla="*/ 167280 w 605628"/>
                  <a:gd name="connsiteY834" fmla="*/ 438804 h 659115"/>
                  <a:gd name="connsiteX835" fmla="*/ 167128 w 605628"/>
                  <a:gd name="connsiteY835" fmla="*/ 437440 h 659115"/>
                  <a:gd name="connsiteX836" fmla="*/ 164855 w 605628"/>
                  <a:gd name="connsiteY836" fmla="*/ 439410 h 659115"/>
                  <a:gd name="connsiteX837" fmla="*/ 161824 w 605628"/>
                  <a:gd name="connsiteY837" fmla="*/ 536232 h 659115"/>
                  <a:gd name="connsiteX838" fmla="*/ 161218 w 605628"/>
                  <a:gd name="connsiteY838" fmla="*/ 536686 h 659115"/>
                  <a:gd name="connsiteX839" fmla="*/ 160763 w 605628"/>
                  <a:gd name="connsiteY839" fmla="*/ 537595 h 659115"/>
                  <a:gd name="connsiteX840" fmla="*/ 159400 w 605628"/>
                  <a:gd name="connsiteY840" fmla="*/ 538656 h 659115"/>
                  <a:gd name="connsiteX841" fmla="*/ 158188 w 605628"/>
                  <a:gd name="connsiteY841" fmla="*/ 538656 h 659115"/>
                  <a:gd name="connsiteX842" fmla="*/ 154248 w 605628"/>
                  <a:gd name="connsiteY842" fmla="*/ 539717 h 659115"/>
                  <a:gd name="connsiteX843" fmla="*/ 152278 w 605628"/>
                  <a:gd name="connsiteY843" fmla="*/ 541080 h 659115"/>
                  <a:gd name="connsiteX844" fmla="*/ 152127 w 605628"/>
                  <a:gd name="connsiteY844" fmla="*/ 541989 h 659115"/>
                  <a:gd name="connsiteX845" fmla="*/ 151218 w 605628"/>
                  <a:gd name="connsiteY845" fmla="*/ 542596 h 659115"/>
                  <a:gd name="connsiteX846" fmla="*/ 149854 w 605628"/>
                  <a:gd name="connsiteY846" fmla="*/ 543050 h 659115"/>
                  <a:gd name="connsiteX847" fmla="*/ 152885 w 605628"/>
                  <a:gd name="connsiteY847" fmla="*/ 544565 h 659115"/>
                  <a:gd name="connsiteX848" fmla="*/ 155460 w 605628"/>
                  <a:gd name="connsiteY848" fmla="*/ 546687 h 659115"/>
                  <a:gd name="connsiteX849" fmla="*/ 157884 w 605628"/>
                  <a:gd name="connsiteY849" fmla="*/ 544262 h 659115"/>
                  <a:gd name="connsiteX850" fmla="*/ 157582 w 605628"/>
                  <a:gd name="connsiteY850" fmla="*/ 542899 h 659115"/>
                  <a:gd name="connsiteX851" fmla="*/ 158036 w 605628"/>
                  <a:gd name="connsiteY851" fmla="*/ 542444 h 659115"/>
                  <a:gd name="connsiteX852" fmla="*/ 159552 w 605628"/>
                  <a:gd name="connsiteY852" fmla="*/ 541687 h 659115"/>
                  <a:gd name="connsiteX853" fmla="*/ 161218 w 605628"/>
                  <a:gd name="connsiteY853" fmla="*/ 539868 h 659115"/>
                  <a:gd name="connsiteX854" fmla="*/ 163037 w 605628"/>
                  <a:gd name="connsiteY854" fmla="*/ 538353 h 659115"/>
                  <a:gd name="connsiteX855" fmla="*/ 164855 w 605628"/>
                  <a:gd name="connsiteY855" fmla="*/ 537747 h 659115"/>
                  <a:gd name="connsiteX856" fmla="*/ 165006 w 605628"/>
                  <a:gd name="connsiteY856" fmla="*/ 536686 h 659115"/>
                  <a:gd name="connsiteX857" fmla="*/ 164249 w 605628"/>
                  <a:gd name="connsiteY857" fmla="*/ 535322 h 659115"/>
                  <a:gd name="connsiteX858" fmla="*/ 161824 w 605628"/>
                  <a:gd name="connsiteY858" fmla="*/ 536232 h 659115"/>
                  <a:gd name="connsiteX859" fmla="*/ 201220 w 605628"/>
                  <a:gd name="connsiteY859" fmla="*/ 466532 h 659115"/>
                  <a:gd name="connsiteX860" fmla="*/ 200463 w 605628"/>
                  <a:gd name="connsiteY860" fmla="*/ 467290 h 659115"/>
                  <a:gd name="connsiteX861" fmla="*/ 198644 w 605628"/>
                  <a:gd name="connsiteY861" fmla="*/ 470926 h 659115"/>
                  <a:gd name="connsiteX862" fmla="*/ 198493 w 605628"/>
                  <a:gd name="connsiteY862" fmla="*/ 473805 h 659115"/>
                  <a:gd name="connsiteX863" fmla="*/ 196523 w 605628"/>
                  <a:gd name="connsiteY863" fmla="*/ 477745 h 659115"/>
                  <a:gd name="connsiteX864" fmla="*/ 196523 w 605628"/>
                  <a:gd name="connsiteY864" fmla="*/ 479412 h 659115"/>
                  <a:gd name="connsiteX865" fmla="*/ 198947 w 605628"/>
                  <a:gd name="connsiteY865" fmla="*/ 479108 h 659115"/>
                  <a:gd name="connsiteX866" fmla="*/ 199856 w 605628"/>
                  <a:gd name="connsiteY866" fmla="*/ 475169 h 659115"/>
                  <a:gd name="connsiteX867" fmla="*/ 201674 w 605628"/>
                  <a:gd name="connsiteY867" fmla="*/ 471836 h 659115"/>
                  <a:gd name="connsiteX868" fmla="*/ 202432 w 605628"/>
                  <a:gd name="connsiteY868" fmla="*/ 467441 h 659115"/>
                  <a:gd name="connsiteX869" fmla="*/ 201826 w 605628"/>
                  <a:gd name="connsiteY869" fmla="*/ 466381 h 659115"/>
                  <a:gd name="connsiteX870" fmla="*/ 201220 w 605628"/>
                  <a:gd name="connsiteY870" fmla="*/ 466532 h 659115"/>
                  <a:gd name="connsiteX871" fmla="*/ 301223 w 605628"/>
                  <a:gd name="connsiteY871" fmla="*/ 372286 h 659115"/>
                  <a:gd name="connsiteX872" fmla="*/ 300163 w 605628"/>
                  <a:gd name="connsiteY872" fmla="*/ 370620 h 659115"/>
                  <a:gd name="connsiteX873" fmla="*/ 299557 w 605628"/>
                  <a:gd name="connsiteY873" fmla="*/ 368801 h 659115"/>
                  <a:gd name="connsiteX874" fmla="*/ 299557 w 605628"/>
                  <a:gd name="connsiteY874" fmla="*/ 363195 h 659115"/>
                  <a:gd name="connsiteX875" fmla="*/ 295617 w 605628"/>
                  <a:gd name="connsiteY875" fmla="*/ 363498 h 659115"/>
                  <a:gd name="connsiteX876" fmla="*/ 291829 w 605628"/>
                  <a:gd name="connsiteY876" fmla="*/ 362286 h 659115"/>
                  <a:gd name="connsiteX877" fmla="*/ 288041 w 605628"/>
                  <a:gd name="connsiteY877" fmla="*/ 360316 h 659115"/>
                  <a:gd name="connsiteX878" fmla="*/ 284101 w 605628"/>
                  <a:gd name="connsiteY878" fmla="*/ 359104 h 659115"/>
                  <a:gd name="connsiteX879" fmla="*/ 280617 w 605628"/>
                  <a:gd name="connsiteY879" fmla="*/ 359407 h 659115"/>
                  <a:gd name="connsiteX880" fmla="*/ 277283 w 605628"/>
                  <a:gd name="connsiteY880" fmla="*/ 360619 h 659115"/>
                  <a:gd name="connsiteX881" fmla="*/ 273950 w 605628"/>
                  <a:gd name="connsiteY881" fmla="*/ 362740 h 659115"/>
                  <a:gd name="connsiteX882" fmla="*/ 272586 w 605628"/>
                  <a:gd name="connsiteY882" fmla="*/ 362892 h 659115"/>
                  <a:gd name="connsiteX883" fmla="*/ 271071 w 605628"/>
                  <a:gd name="connsiteY883" fmla="*/ 362589 h 659115"/>
                  <a:gd name="connsiteX884" fmla="*/ 272132 w 605628"/>
                  <a:gd name="connsiteY884" fmla="*/ 365922 h 659115"/>
                  <a:gd name="connsiteX885" fmla="*/ 271677 w 605628"/>
                  <a:gd name="connsiteY885" fmla="*/ 367892 h 659115"/>
                  <a:gd name="connsiteX886" fmla="*/ 270465 w 605628"/>
                  <a:gd name="connsiteY886" fmla="*/ 369559 h 659115"/>
                  <a:gd name="connsiteX887" fmla="*/ 267435 w 605628"/>
                  <a:gd name="connsiteY887" fmla="*/ 370923 h 659115"/>
                  <a:gd name="connsiteX888" fmla="*/ 264101 w 605628"/>
                  <a:gd name="connsiteY888" fmla="*/ 370771 h 659115"/>
                  <a:gd name="connsiteX889" fmla="*/ 262737 w 605628"/>
                  <a:gd name="connsiteY889" fmla="*/ 371074 h 659115"/>
                  <a:gd name="connsiteX890" fmla="*/ 259858 w 605628"/>
                  <a:gd name="connsiteY890" fmla="*/ 372135 h 659115"/>
                  <a:gd name="connsiteX891" fmla="*/ 258192 w 605628"/>
                  <a:gd name="connsiteY891" fmla="*/ 372286 h 659115"/>
                  <a:gd name="connsiteX892" fmla="*/ 255919 w 605628"/>
                  <a:gd name="connsiteY892" fmla="*/ 370165 h 659115"/>
                  <a:gd name="connsiteX893" fmla="*/ 254252 w 605628"/>
                  <a:gd name="connsiteY893" fmla="*/ 367438 h 659115"/>
                  <a:gd name="connsiteX894" fmla="*/ 252737 w 605628"/>
                  <a:gd name="connsiteY894" fmla="*/ 367286 h 659115"/>
                  <a:gd name="connsiteX895" fmla="*/ 250161 w 605628"/>
                  <a:gd name="connsiteY895" fmla="*/ 369559 h 659115"/>
                  <a:gd name="connsiteX896" fmla="*/ 248646 w 605628"/>
                  <a:gd name="connsiteY896" fmla="*/ 370468 h 659115"/>
                  <a:gd name="connsiteX897" fmla="*/ 247737 w 605628"/>
                  <a:gd name="connsiteY897" fmla="*/ 373044 h 659115"/>
                  <a:gd name="connsiteX898" fmla="*/ 246676 w 605628"/>
                  <a:gd name="connsiteY898" fmla="*/ 374711 h 659115"/>
                  <a:gd name="connsiteX899" fmla="*/ 246221 w 605628"/>
                  <a:gd name="connsiteY899" fmla="*/ 376529 h 659115"/>
                  <a:gd name="connsiteX900" fmla="*/ 244706 w 605628"/>
                  <a:gd name="connsiteY900" fmla="*/ 379559 h 659115"/>
                  <a:gd name="connsiteX901" fmla="*/ 241827 w 605628"/>
                  <a:gd name="connsiteY901" fmla="*/ 381378 h 659115"/>
                  <a:gd name="connsiteX902" fmla="*/ 237130 w 605628"/>
                  <a:gd name="connsiteY902" fmla="*/ 385014 h 659115"/>
                  <a:gd name="connsiteX903" fmla="*/ 235009 w 605628"/>
                  <a:gd name="connsiteY903" fmla="*/ 386378 h 659115"/>
                  <a:gd name="connsiteX904" fmla="*/ 230312 w 605628"/>
                  <a:gd name="connsiteY904" fmla="*/ 388651 h 659115"/>
                  <a:gd name="connsiteX905" fmla="*/ 228039 w 605628"/>
                  <a:gd name="connsiteY905" fmla="*/ 390317 h 659115"/>
                  <a:gd name="connsiteX906" fmla="*/ 229554 w 605628"/>
                  <a:gd name="connsiteY906" fmla="*/ 390317 h 659115"/>
                  <a:gd name="connsiteX907" fmla="*/ 234857 w 605628"/>
                  <a:gd name="connsiteY907" fmla="*/ 388045 h 659115"/>
                  <a:gd name="connsiteX908" fmla="*/ 237433 w 605628"/>
                  <a:gd name="connsiteY908" fmla="*/ 387590 h 659115"/>
                  <a:gd name="connsiteX909" fmla="*/ 238494 w 605628"/>
                  <a:gd name="connsiteY909" fmla="*/ 387741 h 659115"/>
                  <a:gd name="connsiteX910" fmla="*/ 238343 w 605628"/>
                  <a:gd name="connsiteY910" fmla="*/ 390772 h 659115"/>
                  <a:gd name="connsiteX911" fmla="*/ 239403 w 605628"/>
                  <a:gd name="connsiteY911" fmla="*/ 391530 h 659115"/>
                  <a:gd name="connsiteX912" fmla="*/ 241221 w 605628"/>
                  <a:gd name="connsiteY912" fmla="*/ 391833 h 659115"/>
                  <a:gd name="connsiteX913" fmla="*/ 241372 w 605628"/>
                  <a:gd name="connsiteY913" fmla="*/ 393045 h 659115"/>
                  <a:gd name="connsiteX914" fmla="*/ 241070 w 605628"/>
                  <a:gd name="connsiteY914" fmla="*/ 394408 h 659115"/>
                  <a:gd name="connsiteX915" fmla="*/ 240312 w 605628"/>
                  <a:gd name="connsiteY915" fmla="*/ 395318 h 659115"/>
                  <a:gd name="connsiteX916" fmla="*/ 240312 w 605628"/>
                  <a:gd name="connsiteY916" fmla="*/ 396984 h 659115"/>
                  <a:gd name="connsiteX917" fmla="*/ 238949 w 605628"/>
                  <a:gd name="connsiteY917" fmla="*/ 398954 h 659115"/>
                  <a:gd name="connsiteX918" fmla="*/ 240767 w 605628"/>
                  <a:gd name="connsiteY918" fmla="*/ 400469 h 659115"/>
                  <a:gd name="connsiteX919" fmla="*/ 240767 w 605628"/>
                  <a:gd name="connsiteY919" fmla="*/ 403197 h 659115"/>
                  <a:gd name="connsiteX920" fmla="*/ 243646 w 605628"/>
                  <a:gd name="connsiteY920" fmla="*/ 403045 h 659115"/>
                  <a:gd name="connsiteX921" fmla="*/ 246525 w 605628"/>
                  <a:gd name="connsiteY921" fmla="*/ 403500 h 659115"/>
                  <a:gd name="connsiteX922" fmla="*/ 244706 w 605628"/>
                  <a:gd name="connsiteY922" fmla="*/ 407742 h 659115"/>
                  <a:gd name="connsiteX923" fmla="*/ 246070 w 605628"/>
                  <a:gd name="connsiteY923" fmla="*/ 407288 h 659115"/>
                  <a:gd name="connsiteX924" fmla="*/ 249100 w 605628"/>
                  <a:gd name="connsiteY924" fmla="*/ 408045 h 659115"/>
                  <a:gd name="connsiteX925" fmla="*/ 250918 w 605628"/>
                  <a:gd name="connsiteY925" fmla="*/ 407894 h 659115"/>
                  <a:gd name="connsiteX926" fmla="*/ 253797 w 605628"/>
                  <a:gd name="connsiteY926" fmla="*/ 405166 h 659115"/>
                  <a:gd name="connsiteX927" fmla="*/ 254858 w 605628"/>
                  <a:gd name="connsiteY927" fmla="*/ 400924 h 659115"/>
                  <a:gd name="connsiteX928" fmla="*/ 255767 w 605628"/>
                  <a:gd name="connsiteY928" fmla="*/ 400015 h 659115"/>
                  <a:gd name="connsiteX929" fmla="*/ 257131 w 605628"/>
                  <a:gd name="connsiteY929" fmla="*/ 399560 h 659115"/>
                  <a:gd name="connsiteX930" fmla="*/ 258343 w 605628"/>
                  <a:gd name="connsiteY930" fmla="*/ 397893 h 659115"/>
                  <a:gd name="connsiteX931" fmla="*/ 260919 w 605628"/>
                  <a:gd name="connsiteY931" fmla="*/ 392893 h 659115"/>
                  <a:gd name="connsiteX932" fmla="*/ 262131 w 605628"/>
                  <a:gd name="connsiteY932" fmla="*/ 389560 h 659115"/>
                  <a:gd name="connsiteX933" fmla="*/ 271525 w 605628"/>
                  <a:gd name="connsiteY933" fmla="*/ 385014 h 659115"/>
                  <a:gd name="connsiteX934" fmla="*/ 273041 w 605628"/>
                  <a:gd name="connsiteY934" fmla="*/ 384863 h 659115"/>
                  <a:gd name="connsiteX935" fmla="*/ 277586 w 605628"/>
                  <a:gd name="connsiteY935" fmla="*/ 385620 h 659115"/>
                  <a:gd name="connsiteX936" fmla="*/ 280465 w 605628"/>
                  <a:gd name="connsiteY936" fmla="*/ 386984 h 659115"/>
                  <a:gd name="connsiteX937" fmla="*/ 285011 w 605628"/>
                  <a:gd name="connsiteY937" fmla="*/ 391984 h 659115"/>
                  <a:gd name="connsiteX938" fmla="*/ 286526 w 605628"/>
                  <a:gd name="connsiteY938" fmla="*/ 393196 h 659115"/>
                  <a:gd name="connsiteX939" fmla="*/ 287132 w 605628"/>
                  <a:gd name="connsiteY939" fmla="*/ 390166 h 659115"/>
                  <a:gd name="connsiteX940" fmla="*/ 288193 w 605628"/>
                  <a:gd name="connsiteY940" fmla="*/ 387287 h 659115"/>
                  <a:gd name="connsiteX941" fmla="*/ 290011 w 605628"/>
                  <a:gd name="connsiteY941" fmla="*/ 384559 h 659115"/>
                  <a:gd name="connsiteX942" fmla="*/ 291981 w 605628"/>
                  <a:gd name="connsiteY942" fmla="*/ 382135 h 659115"/>
                  <a:gd name="connsiteX943" fmla="*/ 296678 w 605628"/>
                  <a:gd name="connsiteY943" fmla="*/ 378499 h 659115"/>
                  <a:gd name="connsiteX944" fmla="*/ 301829 w 605628"/>
                  <a:gd name="connsiteY944" fmla="*/ 375771 h 659115"/>
                  <a:gd name="connsiteX945" fmla="*/ 300011 w 605628"/>
                  <a:gd name="connsiteY945" fmla="*/ 374862 h 659115"/>
                  <a:gd name="connsiteX946" fmla="*/ 301223 w 605628"/>
                  <a:gd name="connsiteY946" fmla="*/ 372286 h 659115"/>
                  <a:gd name="connsiteX947" fmla="*/ 225766 w 605628"/>
                  <a:gd name="connsiteY947" fmla="*/ 400318 h 659115"/>
                  <a:gd name="connsiteX948" fmla="*/ 226069 w 605628"/>
                  <a:gd name="connsiteY948" fmla="*/ 399257 h 659115"/>
                  <a:gd name="connsiteX949" fmla="*/ 224857 w 605628"/>
                  <a:gd name="connsiteY949" fmla="*/ 398045 h 659115"/>
                  <a:gd name="connsiteX950" fmla="*/ 223341 w 605628"/>
                  <a:gd name="connsiteY950" fmla="*/ 397136 h 659115"/>
                  <a:gd name="connsiteX951" fmla="*/ 223493 w 605628"/>
                  <a:gd name="connsiteY951" fmla="*/ 395166 h 659115"/>
                  <a:gd name="connsiteX952" fmla="*/ 224706 w 605628"/>
                  <a:gd name="connsiteY952" fmla="*/ 392893 h 659115"/>
                  <a:gd name="connsiteX953" fmla="*/ 219857 w 605628"/>
                  <a:gd name="connsiteY953" fmla="*/ 393045 h 659115"/>
                  <a:gd name="connsiteX954" fmla="*/ 215008 w 605628"/>
                  <a:gd name="connsiteY954" fmla="*/ 392439 h 659115"/>
                  <a:gd name="connsiteX955" fmla="*/ 217130 w 605628"/>
                  <a:gd name="connsiteY955" fmla="*/ 388802 h 659115"/>
                  <a:gd name="connsiteX956" fmla="*/ 219705 w 605628"/>
                  <a:gd name="connsiteY956" fmla="*/ 385469 h 659115"/>
                  <a:gd name="connsiteX957" fmla="*/ 220008 w 605628"/>
                  <a:gd name="connsiteY957" fmla="*/ 383953 h 659115"/>
                  <a:gd name="connsiteX958" fmla="*/ 219251 w 605628"/>
                  <a:gd name="connsiteY958" fmla="*/ 382438 h 659115"/>
                  <a:gd name="connsiteX959" fmla="*/ 217735 w 605628"/>
                  <a:gd name="connsiteY959" fmla="*/ 381378 h 659115"/>
                  <a:gd name="connsiteX960" fmla="*/ 216069 w 605628"/>
                  <a:gd name="connsiteY960" fmla="*/ 380923 h 659115"/>
                  <a:gd name="connsiteX961" fmla="*/ 213796 w 605628"/>
                  <a:gd name="connsiteY961" fmla="*/ 381832 h 659115"/>
                  <a:gd name="connsiteX962" fmla="*/ 211675 w 605628"/>
                  <a:gd name="connsiteY962" fmla="*/ 383044 h 659115"/>
                  <a:gd name="connsiteX963" fmla="*/ 210159 w 605628"/>
                  <a:gd name="connsiteY963" fmla="*/ 383499 h 659115"/>
                  <a:gd name="connsiteX964" fmla="*/ 208644 w 605628"/>
                  <a:gd name="connsiteY964" fmla="*/ 383499 h 659115"/>
                  <a:gd name="connsiteX965" fmla="*/ 205008 w 605628"/>
                  <a:gd name="connsiteY965" fmla="*/ 382590 h 659115"/>
                  <a:gd name="connsiteX966" fmla="*/ 201826 w 605628"/>
                  <a:gd name="connsiteY966" fmla="*/ 380469 h 659115"/>
                  <a:gd name="connsiteX967" fmla="*/ 200463 w 605628"/>
                  <a:gd name="connsiteY967" fmla="*/ 377287 h 659115"/>
                  <a:gd name="connsiteX968" fmla="*/ 198947 w 605628"/>
                  <a:gd name="connsiteY968" fmla="*/ 374408 h 659115"/>
                  <a:gd name="connsiteX969" fmla="*/ 195916 w 605628"/>
                  <a:gd name="connsiteY969" fmla="*/ 373044 h 659115"/>
                  <a:gd name="connsiteX970" fmla="*/ 192583 w 605628"/>
                  <a:gd name="connsiteY970" fmla="*/ 372741 h 659115"/>
                  <a:gd name="connsiteX971" fmla="*/ 191371 w 605628"/>
                  <a:gd name="connsiteY971" fmla="*/ 373044 h 659115"/>
                  <a:gd name="connsiteX972" fmla="*/ 186220 w 605628"/>
                  <a:gd name="connsiteY972" fmla="*/ 375468 h 659115"/>
                  <a:gd name="connsiteX973" fmla="*/ 185461 w 605628"/>
                  <a:gd name="connsiteY973" fmla="*/ 376832 h 659115"/>
                  <a:gd name="connsiteX974" fmla="*/ 185007 w 605628"/>
                  <a:gd name="connsiteY974" fmla="*/ 378499 h 659115"/>
                  <a:gd name="connsiteX975" fmla="*/ 183037 w 605628"/>
                  <a:gd name="connsiteY975" fmla="*/ 381529 h 659115"/>
                  <a:gd name="connsiteX976" fmla="*/ 180613 w 605628"/>
                  <a:gd name="connsiteY976" fmla="*/ 382590 h 659115"/>
                  <a:gd name="connsiteX977" fmla="*/ 177734 w 605628"/>
                  <a:gd name="connsiteY977" fmla="*/ 382590 h 659115"/>
                  <a:gd name="connsiteX978" fmla="*/ 176674 w 605628"/>
                  <a:gd name="connsiteY978" fmla="*/ 383196 h 659115"/>
                  <a:gd name="connsiteX979" fmla="*/ 175915 w 605628"/>
                  <a:gd name="connsiteY979" fmla="*/ 384408 h 659115"/>
                  <a:gd name="connsiteX980" fmla="*/ 175006 w 605628"/>
                  <a:gd name="connsiteY980" fmla="*/ 385014 h 659115"/>
                  <a:gd name="connsiteX981" fmla="*/ 170764 w 605628"/>
                  <a:gd name="connsiteY981" fmla="*/ 386226 h 659115"/>
                  <a:gd name="connsiteX982" fmla="*/ 168189 w 605628"/>
                  <a:gd name="connsiteY982" fmla="*/ 387590 h 659115"/>
                  <a:gd name="connsiteX983" fmla="*/ 168491 w 605628"/>
                  <a:gd name="connsiteY983" fmla="*/ 388651 h 659115"/>
                  <a:gd name="connsiteX984" fmla="*/ 169098 w 605628"/>
                  <a:gd name="connsiteY984" fmla="*/ 389560 h 659115"/>
                  <a:gd name="connsiteX985" fmla="*/ 168794 w 605628"/>
                  <a:gd name="connsiteY985" fmla="*/ 391226 h 659115"/>
                  <a:gd name="connsiteX986" fmla="*/ 164855 w 605628"/>
                  <a:gd name="connsiteY986" fmla="*/ 390014 h 659115"/>
                  <a:gd name="connsiteX987" fmla="*/ 163642 w 605628"/>
                  <a:gd name="connsiteY987" fmla="*/ 389863 h 659115"/>
                  <a:gd name="connsiteX988" fmla="*/ 162279 w 605628"/>
                  <a:gd name="connsiteY988" fmla="*/ 390469 h 659115"/>
                  <a:gd name="connsiteX989" fmla="*/ 161522 w 605628"/>
                  <a:gd name="connsiteY989" fmla="*/ 393802 h 659115"/>
                  <a:gd name="connsiteX990" fmla="*/ 163794 w 605628"/>
                  <a:gd name="connsiteY990" fmla="*/ 395318 h 659115"/>
                  <a:gd name="connsiteX991" fmla="*/ 167430 w 605628"/>
                  <a:gd name="connsiteY991" fmla="*/ 398499 h 659115"/>
                  <a:gd name="connsiteX992" fmla="*/ 170158 w 605628"/>
                  <a:gd name="connsiteY992" fmla="*/ 400318 h 659115"/>
                  <a:gd name="connsiteX993" fmla="*/ 170916 w 605628"/>
                  <a:gd name="connsiteY993" fmla="*/ 401378 h 659115"/>
                  <a:gd name="connsiteX994" fmla="*/ 172886 w 605628"/>
                  <a:gd name="connsiteY994" fmla="*/ 405469 h 659115"/>
                  <a:gd name="connsiteX995" fmla="*/ 170461 w 605628"/>
                  <a:gd name="connsiteY995" fmla="*/ 405469 h 659115"/>
                  <a:gd name="connsiteX996" fmla="*/ 168491 w 605628"/>
                  <a:gd name="connsiteY996" fmla="*/ 404257 h 659115"/>
                  <a:gd name="connsiteX997" fmla="*/ 167128 w 605628"/>
                  <a:gd name="connsiteY997" fmla="*/ 401378 h 659115"/>
                  <a:gd name="connsiteX998" fmla="*/ 164401 w 605628"/>
                  <a:gd name="connsiteY998" fmla="*/ 399106 h 659115"/>
                  <a:gd name="connsiteX999" fmla="*/ 163946 w 605628"/>
                  <a:gd name="connsiteY999" fmla="*/ 401075 h 659115"/>
                  <a:gd name="connsiteX1000" fmla="*/ 164097 w 605628"/>
                  <a:gd name="connsiteY1000" fmla="*/ 403045 h 659115"/>
                  <a:gd name="connsiteX1001" fmla="*/ 164703 w 605628"/>
                  <a:gd name="connsiteY1001" fmla="*/ 404712 h 659115"/>
                  <a:gd name="connsiteX1002" fmla="*/ 167280 w 605628"/>
                  <a:gd name="connsiteY1002" fmla="*/ 407591 h 659115"/>
                  <a:gd name="connsiteX1003" fmla="*/ 168339 w 605628"/>
                  <a:gd name="connsiteY1003" fmla="*/ 409257 h 659115"/>
                  <a:gd name="connsiteX1004" fmla="*/ 167885 w 605628"/>
                  <a:gd name="connsiteY1004" fmla="*/ 411682 h 659115"/>
                  <a:gd name="connsiteX1005" fmla="*/ 166825 w 605628"/>
                  <a:gd name="connsiteY1005" fmla="*/ 413955 h 659115"/>
                  <a:gd name="connsiteX1006" fmla="*/ 169098 w 605628"/>
                  <a:gd name="connsiteY1006" fmla="*/ 412439 h 659115"/>
                  <a:gd name="connsiteX1007" fmla="*/ 171825 w 605628"/>
                  <a:gd name="connsiteY1007" fmla="*/ 409409 h 659115"/>
                  <a:gd name="connsiteX1008" fmla="*/ 174704 w 605628"/>
                  <a:gd name="connsiteY1008" fmla="*/ 407894 h 659115"/>
                  <a:gd name="connsiteX1009" fmla="*/ 177431 w 605628"/>
                  <a:gd name="connsiteY1009" fmla="*/ 408651 h 659115"/>
                  <a:gd name="connsiteX1010" fmla="*/ 178492 w 605628"/>
                  <a:gd name="connsiteY1010" fmla="*/ 409863 h 659115"/>
                  <a:gd name="connsiteX1011" fmla="*/ 179855 w 605628"/>
                  <a:gd name="connsiteY1011" fmla="*/ 410773 h 659115"/>
                  <a:gd name="connsiteX1012" fmla="*/ 181219 w 605628"/>
                  <a:gd name="connsiteY1012" fmla="*/ 410773 h 659115"/>
                  <a:gd name="connsiteX1013" fmla="*/ 182432 w 605628"/>
                  <a:gd name="connsiteY1013" fmla="*/ 410015 h 659115"/>
                  <a:gd name="connsiteX1014" fmla="*/ 183037 w 605628"/>
                  <a:gd name="connsiteY1014" fmla="*/ 408348 h 659115"/>
                  <a:gd name="connsiteX1015" fmla="*/ 182886 w 605628"/>
                  <a:gd name="connsiteY1015" fmla="*/ 406682 h 659115"/>
                  <a:gd name="connsiteX1016" fmla="*/ 182128 w 605628"/>
                  <a:gd name="connsiteY1016" fmla="*/ 405469 h 659115"/>
                  <a:gd name="connsiteX1017" fmla="*/ 180916 w 605628"/>
                  <a:gd name="connsiteY1017" fmla="*/ 405015 h 659115"/>
                  <a:gd name="connsiteX1018" fmla="*/ 179401 w 605628"/>
                  <a:gd name="connsiteY1018" fmla="*/ 405621 h 659115"/>
                  <a:gd name="connsiteX1019" fmla="*/ 178037 w 605628"/>
                  <a:gd name="connsiteY1019" fmla="*/ 405469 h 659115"/>
                  <a:gd name="connsiteX1020" fmla="*/ 177885 w 605628"/>
                  <a:gd name="connsiteY1020" fmla="*/ 403045 h 659115"/>
                  <a:gd name="connsiteX1021" fmla="*/ 178037 w 605628"/>
                  <a:gd name="connsiteY1021" fmla="*/ 400621 h 659115"/>
                  <a:gd name="connsiteX1022" fmla="*/ 176824 w 605628"/>
                  <a:gd name="connsiteY1022" fmla="*/ 397893 h 659115"/>
                  <a:gd name="connsiteX1023" fmla="*/ 178189 w 605628"/>
                  <a:gd name="connsiteY1023" fmla="*/ 396681 h 659115"/>
                  <a:gd name="connsiteX1024" fmla="*/ 179855 w 605628"/>
                  <a:gd name="connsiteY1024" fmla="*/ 395621 h 659115"/>
                  <a:gd name="connsiteX1025" fmla="*/ 181219 w 605628"/>
                  <a:gd name="connsiteY1025" fmla="*/ 396378 h 659115"/>
                  <a:gd name="connsiteX1026" fmla="*/ 183795 w 605628"/>
                  <a:gd name="connsiteY1026" fmla="*/ 398196 h 659115"/>
                  <a:gd name="connsiteX1027" fmla="*/ 185461 w 605628"/>
                  <a:gd name="connsiteY1027" fmla="*/ 402439 h 659115"/>
                  <a:gd name="connsiteX1028" fmla="*/ 188340 w 605628"/>
                  <a:gd name="connsiteY1028" fmla="*/ 406075 h 659115"/>
                  <a:gd name="connsiteX1029" fmla="*/ 188947 w 605628"/>
                  <a:gd name="connsiteY1029" fmla="*/ 409106 h 659115"/>
                  <a:gd name="connsiteX1030" fmla="*/ 186977 w 605628"/>
                  <a:gd name="connsiteY1030" fmla="*/ 411379 h 659115"/>
                  <a:gd name="connsiteX1031" fmla="*/ 188795 w 605628"/>
                  <a:gd name="connsiteY1031" fmla="*/ 412288 h 659115"/>
                  <a:gd name="connsiteX1032" fmla="*/ 190917 w 605628"/>
                  <a:gd name="connsiteY1032" fmla="*/ 412439 h 659115"/>
                  <a:gd name="connsiteX1033" fmla="*/ 188795 w 605628"/>
                  <a:gd name="connsiteY1033" fmla="*/ 417439 h 659115"/>
                  <a:gd name="connsiteX1034" fmla="*/ 186068 w 605628"/>
                  <a:gd name="connsiteY1034" fmla="*/ 421985 h 659115"/>
                  <a:gd name="connsiteX1035" fmla="*/ 184250 w 605628"/>
                  <a:gd name="connsiteY1035" fmla="*/ 424561 h 659115"/>
                  <a:gd name="connsiteX1036" fmla="*/ 182128 w 605628"/>
                  <a:gd name="connsiteY1036" fmla="*/ 426834 h 659115"/>
                  <a:gd name="connsiteX1037" fmla="*/ 179249 w 605628"/>
                  <a:gd name="connsiteY1037" fmla="*/ 427743 h 659115"/>
                  <a:gd name="connsiteX1038" fmla="*/ 178644 w 605628"/>
                  <a:gd name="connsiteY1038" fmla="*/ 428501 h 659115"/>
                  <a:gd name="connsiteX1039" fmla="*/ 178644 w 605628"/>
                  <a:gd name="connsiteY1039" fmla="*/ 432743 h 659115"/>
                  <a:gd name="connsiteX1040" fmla="*/ 179098 w 605628"/>
                  <a:gd name="connsiteY1040" fmla="*/ 435774 h 659115"/>
                  <a:gd name="connsiteX1041" fmla="*/ 178492 w 605628"/>
                  <a:gd name="connsiteY1041" fmla="*/ 438198 h 659115"/>
                  <a:gd name="connsiteX1042" fmla="*/ 179553 w 605628"/>
                  <a:gd name="connsiteY1042" fmla="*/ 439410 h 659115"/>
                  <a:gd name="connsiteX1043" fmla="*/ 180764 w 605628"/>
                  <a:gd name="connsiteY1043" fmla="*/ 440471 h 659115"/>
                  <a:gd name="connsiteX1044" fmla="*/ 182280 w 605628"/>
                  <a:gd name="connsiteY1044" fmla="*/ 443350 h 659115"/>
                  <a:gd name="connsiteX1045" fmla="*/ 181825 w 605628"/>
                  <a:gd name="connsiteY1045" fmla="*/ 446834 h 659115"/>
                  <a:gd name="connsiteX1046" fmla="*/ 181523 w 605628"/>
                  <a:gd name="connsiteY1046" fmla="*/ 447895 h 659115"/>
                  <a:gd name="connsiteX1047" fmla="*/ 180613 w 605628"/>
                  <a:gd name="connsiteY1047" fmla="*/ 448350 h 659115"/>
                  <a:gd name="connsiteX1048" fmla="*/ 177583 w 605628"/>
                  <a:gd name="connsiteY1048" fmla="*/ 449259 h 659115"/>
                  <a:gd name="connsiteX1049" fmla="*/ 179098 w 605628"/>
                  <a:gd name="connsiteY1049" fmla="*/ 452744 h 659115"/>
                  <a:gd name="connsiteX1050" fmla="*/ 180462 w 605628"/>
                  <a:gd name="connsiteY1050" fmla="*/ 453350 h 659115"/>
                  <a:gd name="connsiteX1051" fmla="*/ 182128 w 605628"/>
                  <a:gd name="connsiteY1051" fmla="*/ 453501 h 659115"/>
                  <a:gd name="connsiteX1052" fmla="*/ 189704 w 605628"/>
                  <a:gd name="connsiteY1052" fmla="*/ 456229 h 659115"/>
                  <a:gd name="connsiteX1053" fmla="*/ 190613 w 605628"/>
                  <a:gd name="connsiteY1053" fmla="*/ 455017 h 659115"/>
                  <a:gd name="connsiteX1054" fmla="*/ 191219 w 605628"/>
                  <a:gd name="connsiteY1054" fmla="*/ 453501 h 659115"/>
                  <a:gd name="connsiteX1055" fmla="*/ 189099 w 605628"/>
                  <a:gd name="connsiteY1055" fmla="*/ 450926 h 659115"/>
                  <a:gd name="connsiteX1056" fmla="*/ 188340 w 605628"/>
                  <a:gd name="connsiteY1056" fmla="*/ 449410 h 659115"/>
                  <a:gd name="connsiteX1057" fmla="*/ 188038 w 605628"/>
                  <a:gd name="connsiteY1057" fmla="*/ 447744 h 659115"/>
                  <a:gd name="connsiteX1058" fmla="*/ 188795 w 605628"/>
                  <a:gd name="connsiteY1058" fmla="*/ 444562 h 659115"/>
                  <a:gd name="connsiteX1059" fmla="*/ 190310 w 605628"/>
                  <a:gd name="connsiteY1059" fmla="*/ 441531 h 659115"/>
                  <a:gd name="connsiteX1060" fmla="*/ 191522 w 605628"/>
                  <a:gd name="connsiteY1060" fmla="*/ 439865 h 659115"/>
                  <a:gd name="connsiteX1061" fmla="*/ 193189 w 605628"/>
                  <a:gd name="connsiteY1061" fmla="*/ 439865 h 659115"/>
                  <a:gd name="connsiteX1062" fmla="*/ 194855 w 605628"/>
                  <a:gd name="connsiteY1062" fmla="*/ 440168 h 659115"/>
                  <a:gd name="connsiteX1063" fmla="*/ 195462 w 605628"/>
                  <a:gd name="connsiteY1063" fmla="*/ 441228 h 659115"/>
                  <a:gd name="connsiteX1064" fmla="*/ 195462 w 605628"/>
                  <a:gd name="connsiteY1064" fmla="*/ 442592 h 659115"/>
                  <a:gd name="connsiteX1065" fmla="*/ 195007 w 605628"/>
                  <a:gd name="connsiteY1065" fmla="*/ 443198 h 659115"/>
                  <a:gd name="connsiteX1066" fmla="*/ 194250 w 605628"/>
                  <a:gd name="connsiteY1066" fmla="*/ 443350 h 659115"/>
                  <a:gd name="connsiteX1067" fmla="*/ 193037 w 605628"/>
                  <a:gd name="connsiteY1067" fmla="*/ 443956 h 659115"/>
                  <a:gd name="connsiteX1068" fmla="*/ 193189 w 605628"/>
                  <a:gd name="connsiteY1068" fmla="*/ 445471 h 659115"/>
                  <a:gd name="connsiteX1069" fmla="*/ 195007 w 605628"/>
                  <a:gd name="connsiteY1069" fmla="*/ 449713 h 659115"/>
                  <a:gd name="connsiteX1070" fmla="*/ 195462 w 605628"/>
                  <a:gd name="connsiteY1070" fmla="*/ 453198 h 659115"/>
                  <a:gd name="connsiteX1071" fmla="*/ 194553 w 605628"/>
                  <a:gd name="connsiteY1071" fmla="*/ 456532 h 659115"/>
                  <a:gd name="connsiteX1072" fmla="*/ 193946 w 605628"/>
                  <a:gd name="connsiteY1072" fmla="*/ 457593 h 659115"/>
                  <a:gd name="connsiteX1073" fmla="*/ 193037 w 605628"/>
                  <a:gd name="connsiteY1073" fmla="*/ 458502 h 659115"/>
                  <a:gd name="connsiteX1074" fmla="*/ 192432 w 605628"/>
                  <a:gd name="connsiteY1074" fmla="*/ 459562 h 659115"/>
                  <a:gd name="connsiteX1075" fmla="*/ 192432 w 605628"/>
                  <a:gd name="connsiteY1075" fmla="*/ 460926 h 659115"/>
                  <a:gd name="connsiteX1076" fmla="*/ 198341 w 605628"/>
                  <a:gd name="connsiteY1076" fmla="*/ 458047 h 659115"/>
                  <a:gd name="connsiteX1077" fmla="*/ 203644 w 605628"/>
                  <a:gd name="connsiteY1077" fmla="*/ 453653 h 659115"/>
                  <a:gd name="connsiteX1078" fmla="*/ 201977 w 605628"/>
                  <a:gd name="connsiteY1078" fmla="*/ 450016 h 659115"/>
                  <a:gd name="connsiteX1079" fmla="*/ 202887 w 605628"/>
                  <a:gd name="connsiteY1079" fmla="*/ 448198 h 659115"/>
                  <a:gd name="connsiteX1080" fmla="*/ 204705 w 605628"/>
                  <a:gd name="connsiteY1080" fmla="*/ 448047 h 659115"/>
                  <a:gd name="connsiteX1081" fmla="*/ 207735 w 605628"/>
                  <a:gd name="connsiteY1081" fmla="*/ 448956 h 659115"/>
                  <a:gd name="connsiteX1082" fmla="*/ 210159 w 605628"/>
                  <a:gd name="connsiteY1082" fmla="*/ 449107 h 659115"/>
                  <a:gd name="connsiteX1083" fmla="*/ 213493 w 605628"/>
                  <a:gd name="connsiteY1083" fmla="*/ 441077 h 659115"/>
                  <a:gd name="connsiteX1084" fmla="*/ 213947 w 605628"/>
                  <a:gd name="connsiteY1084" fmla="*/ 437895 h 659115"/>
                  <a:gd name="connsiteX1085" fmla="*/ 213493 w 605628"/>
                  <a:gd name="connsiteY1085" fmla="*/ 434713 h 659115"/>
                  <a:gd name="connsiteX1086" fmla="*/ 214705 w 605628"/>
                  <a:gd name="connsiteY1086" fmla="*/ 431076 h 659115"/>
                  <a:gd name="connsiteX1087" fmla="*/ 215463 w 605628"/>
                  <a:gd name="connsiteY1087" fmla="*/ 427591 h 659115"/>
                  <a:gd name="connsiteX1088" fmla="*/ 216372 w 605628"/>
                  <a:gd name="connsiteY1088" fmla="*/ 424409 h 659115"/>
                  <a:gd name="connsiteX1089" fmla="*/ 217584 w 605628"/>
                  <a:gd name="connsiteY1089" fmla="*/ 421379 h 659115"/>
                  <a:gd name="connsiteX1090" fmla="*/ 218948 w 605628"/>
                  <a:gd name="connsiteY1090" fmla="*/ 417137 h 659115"/>
                  <a:gd name="connsiteX1091" fmla="*/ 220918 w 605628"/>
                  <a:gd name="connsiteY1091" fmla="*/ 413349 h 659115"/>
                  <a:gd name="connsiteX1092" fmla="*/ 227584 w 605628"/>
                  <a:gd name="connsiteY1092" fmla="*/ 405772 h 659115"/>
                  <a:gd name="connsiteX1093" fmla="*/ 228342 w 605628"/>
                  <a:gd name="connsiteY1093" fmla="*/ 404560 h 659115"/>
                  <a:gd name="connsiteX1094" fmla="*/ 228494 w 605628"/>
                  <a:gd name="connsiteY1094" fmla="*/ 403500 h 659115"/>
                  <a:gd name="connsiteX1095" fmla="*/ 225766 w 605628"/>
                  <a:gd name="connsiteY1095" fmla="*/ 401833 h 659115"/>
                  <a:gd name="connsiteX1096" fmla="*/ 225766 w 605628"/>
                  <a:gd name="connsiteY1096" fmla="*/ 400318 h 65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Lst>
                <a:rect l="l" t="t" r="r" b="b"/>
                <a:pathLst>
                  <a:path w="605628" h="659115">
                    <a:moveTo>
                      <a:pt x="153037" y="366377"/>
                    </a:moveTo>
                    <a:lnTo>
                      <a:pt x="154551" y="363044"/>
                    </a:lnTo>
                    <a:lnTo>
                      <a:pt x="154551" y="361377"/>
                    </a:lnTo>
                    <a:lnTo>
                      <a:pt x="151218" y="360316"/>
                    </a:lnTo>
                    <a:lnTo>
                      <a:pt x="150460" y="365771"/>
                    </a:lnTo>
                    <a:lnTo>
                      <a:pt x="151218" y="367741"/>
                    </a:lnTo>
                    <a:lnTo>
                      <a:pt x="153037" y="366377"/>
                    </a:lnTo>
                    <a:close/>
                    <a:moveTo>
                      <a:pt x="45154" y="643508"/>
                    </a:moveTo>
                    <a:lnTo>
                      <a:pt x="44547" y="642145"/>
                    </a:lnTo>
                    <a:lnTo>
                      <a:pt x="43638" y="641539"/>
                    </a:lnTo>
                    <a:lnTo>
                      <a:pt x="43184" y="645630"/>
                    </a:lnTo>
                    <a:lnTo>
                      <a:pt x="45608" y="646084"/>
                    </a:lnTo>
                    <a:lnTo>
                      <a:pt x="47881" y="645327"/>
                    </a:lnTo>
                    <a:lnTo>
                      <a:pt x="46669" y="644418"/>
                    </a:lnTo>
                    <a:lnTo>
                      <a:pt x="45154" y="643508"/>
                    </a:lnTo>
                    <a:close/>
                    <a:moveTo>
                      <a:pt x="149703" y="400469"/>
                    </a:moveTo>
                    <a:lnTo>
                      <a:pt x="148945" y="398499"/>
                    </a:lnTo>
                    <a:lnTo>
                      <a:pt x="148490" y="396530"/>
                    </a:lnTo>
                    <a:lnTo>
                      <a:pt x="146370" y="401530"/>
                    </a:lnTo>
                    <a:lnTo>
                      <a:pt x="145309" y="401984"/>
                    </a:lnTo>
                    <a:lnTo>
                      <a:pt x="145915" y="402894"/>
                    </a:lnTo>
                    <a:lnTo>
                      <a:pt x="146824" y="405621"/>
                    </a:lnTo>
                    <a:lnTo>
                      <a:pt x="147581" y="405318"/>
                    </a:lnTo>
                    <a:lnTo>
                      <a:pt x="148490" y="402590"/>
                    </a:lnTo>
                    <a:lnTo>
                      <a:pt x="149703" y="402136"/>
                    </a:lnTo>
                    <a:lnTo>
                      <a:pt x="150460" y="400772"/>
                    </a:lnTo>
                    <a:lnTo>
                      <a:pt x="149703" y="400469"/>
                    </a:lnTo>
                    <a:close/>
                    <a:moveTo>
                      <a:pt x="1970" y="655479"/>
                    </a:moveTo>
                    <a:lnTo>
                      <a:pt x="1970" y="656691"/>
                    </a:lnTo>
                    <a:lnTo>
                      <a:pt x="0" y="657600"/>
                    </a:lnTo>
                    <a:lnTo>
                      <a:pt x="0" y="658509"/>
                    </a:lnTo>
                    <a:lnTo>
                      <a:pt x="1818" y="658660"/>
                    </a:lnTo>
                    <a:lnTo>
                      <a:pt x="3940" y="659115"/>
                    </a:lnTo>
                    <a:lnTo>
                      <a:pt x="5606" y="658660"/>
                    </a:lnTo>
                    <a:lnTo>
                      <a:pt x="6667" y="657448"/>
                    </a:lnTo>
                    <a:lnTo>
                      <a:pt x="6819" y="656388"/>
                    </a:lnTo>
                    <a:lnTo>
                      <a:pt x="2273" y="654872"/>
                    </a:lnTo>
                    <a:lnTo>
                      <a:pt x="1970" y="655479"/>
                    </a:lnTo>
                    <a:close/>
                    <a:moveTo>
                      <a:pt x="14395" y="653509"/>
                    </a:moveTo>
                    <a:lnTo>
                      <a:pt x="13334" y="653660"/>
                    </a:lnTo>
                    <a:lnTo>
                      <a:pt x="11971" y="653206"/>
                    </a:lnTo>
                    <a:lnTo>
                      <a:pt x="11062" y="654115"/>
                    </a:lnTo>
                    <a:lnTo>
                      <a:pt x="12425" y="656691"/>
                    </a:lnTo>
                    <a:lnTo>
                      <a:pt x="13789" y="656994"/>
                    </a:lnTo>
                    <a:lnTo>
                      <a:pt x="15152" y="656388"/>
                    </a:lnTo>
                    <a:lnTo>
                      <a:pt x="16819" y="651842"/>
                    </a:lnTo>
                    <a:lnTo>
                      <a:pt x="17728" y="650327"/>
                    </a:lnTo>
                    <a:lnTo>
                      <a:pt x="17122" y="649721"/>
                    </a:lnTo>
                    <a:lnTo>
                      <a:pt x="14395" y="653509"/>
                    </a:lnTo>
                    <a:close/>
                    <a:moveTo>
                      <a:pt x="144096" y="552899"/>
                    </a:moveTo>
                    <a:lnTo>
                      <a:pt x="142884" y="553202"/>
                    </a:lnTo>
                    <a:lnTo>
                      <a:pt x="142278" y="554869"/>
                    </a:lnTo>
                    <a:lnTo>
                      <a:pt x="142732" y="558202"/>
                    </a:lnTo>
                    <a:lnTo>
                      <a:pt x="144248" y="558960"/>
                    </a:lnTo>
                    <a:lnTo>
                      <a:pt x="145461" y="558354"/>
                    </a:lnTo>
                    <a:lnTo>
                      <a:pt x="145915" y="556839"/>
                    </a:lnTo>
                    <a:lnTo>
                      <a:pt x="145157" y="555626"/>
                    </a:lnTo>
                    <a:lnTo>
                      <a:pt x="144096" y="552899"/>
                    </a:lnTo>
                    <a:close/>
                    <a:moveTo>
                      <a:pt x="142127" y="410015"/>
                    </a:moveTo>
                    <a:lnTo>
                      <a:pt x="141066" y="407894"/>
                    </a:lnTo>
                    <a:lnTo>
                      <a:pt x="140157" y="407439"/>
                    </a:lnTo>
                    <a:lnTo>
                      <a:pt x="138944" y="407591"/>
                    </a:lnTo>
                    <a:lnTo>
                      <a:pt x="137429" y="408045"/>
                    </a:lnTo>
                    <a:lnTo>
                      <a:pt x="136369" y="407288"/>
                    </a:lnTo>
                    <a:lnTo>
                      <a:pt x="135915" y="410924"/>
                    </a:lnTo>
                    <a:lnTo>
                      <a:pt x="136066" y="411985"/>
                    </a:lnTo>
                    <a:lnTo>
                      <a:pt x="136975" y="412742"/>
                    </a:lnTo>
                    <a:lnTo>
                      <a:pt x="138490" y="413349"/>
                    </a:lnTo>
                    <a:lnTo>
                      <a:pt x="139551" y="411833"/>
                    </a:lnTo>
                    <a:lnTo>
                      <a:pt x="140460" y="411530"/>
                    </a:lnTo>
                    <a:lnTo>
                      <a:pt x="142430" y="411379"/>
                    </a:lnTo>
                    <a:lnTo>
                      <a:pt x="142127" y="410015"/>
                    </a:lnTo>
                    <a:close/>
                    <a:moveTo>
                      <a:pt x="153037" y="545929"/>
                    </a:moveTo>
                    <a:lnTo>
                      <a:pt x="152430" y="545020"/>
                    </a:lnTo>
                    <a:lnTo>
                      <a:pt x="150612" y="544565"/>
                    </a:lnTo>
                    <a:lnTo>
                      <a:pt x="151672" y="547293"/>
                    </a:lnTo>
                    <a:lnTo>
                      <a:pt x="154400" y="547899"/>
                    </a:lnTo>
                    <a:lnTo>
                      <a:pt x="154248" y="547141"/>
                    </a:lnTo>
                    <a:lnTo>
                      <a:pt x="153037" y="545929"/>
                    </a:lnTo>
                    <a:close/>
                    <a:moveTo>
                      <a:pt x="124096" y="585627"/>
                    </a:moveTo>
                    <a:lnTo>
                      <a:pt x="121520" y="588052"/>
                    </a:lnTo>
                    <a:lnTo>
                      <a:pt x="120914" y="589264"/>
                    </a:lnTo>
                    <a:lnTo>
                      <a:pt x="119550" y="590021"/>
                    </a:lnTo>
                    <a:lnTo>
                      <a:pt x="119095" y="589870"/>
                    </a:lnTo>
                    <a:lnTo>
                      <a:pt x="118186" y="588961"/>
                    </a:lnTo>
                    <a:lnTo>
                      <a:pt x="115762" y="588506"/>
                    </a:lnTo>
                    <a:lnTo>
                      <a:pt x="115459" y="589112"/>
                    </a:lnTo>
                    <a:lnTo>
                      <a:pt x="115307" y="590325"/>
                    </a:lnTo>
                    <a:lnTo>
                      <a:pt x="116823" y="591385"/>
                    </a:lnTo>
                    <a:lnTo>
                      <a:pt x="116216" y="592446"/>
                    </a:lnTo>
                    <a:lnTo>
                      <a:pt x="113338" y="595022"/>
                    </a:lnTo>
                    <a:lnTo>
                      <a:pt x="112731" y="595476"/>
                    </a:lnTo>
                    <a:lnTo>
                      <a:pt x="110913" y="595931"/>
                    </a:lnTo>
                    <a:lnTo>
                      <a:pt x="110913" y="599567"/>
                    </a:lnTo>
                    <a:lnTo>
                      <a:pt x="108943" y="602749"/>
                    </a:lnTo>
                    <a:lnTo>
                      <a:pt x="108792" y="604113"/>
                    </a:lnTo>
                    <a:lnTo>
                      <a:pt x="108943" y="605780"/>
                    </a:lnTo>
                    <a:lnTo>
                      <a:pt x="111065" y="605780"/>
                    </a:lnTo>
                    <a:lnTo>
                      <a:pt x="113035" y="604113"/>
                    </a:lnTo>
                    <a:lnTo>
                      <a:pt x="113186" y="603507"/>
                    </a:lnTo>
                    <a:lnTo>
                      <a:pt x="112580" y="602446"/>
                    </a:lnTo>
                    <a:lnTo>
                      <a:pt x="112731" y="601083"/>
                    </a:lnTo>
                    <a:lnTo>
                      <a:pt x="114398" y="599264"/>
                    </a:lnTo>
                    <a:lnTo>
                      <a:pt x="115914" y="598961"/>
                    </a:lnTo>
                    <a:lnTo>
                      <a:pt x="115005" y="597446"/>
                    </a:lnTo>
                    <a:lnTo>
                      <a:pt x="115005" y="595628"/>
                    </a:lnTo>
                    <a:lnTo>
                      <a:pt x="117277" y="595173"/>
                    </a:lnTo>
                    <a:lnTo>
                      <a:pt x="119702" y="592900"/>
                    </a:lnTo>
                    <a:lnTo>
                      <a:pt x="122126" y="592294"/>
                    </a:lnTo>
                    <a:lnTo>
                      <a:pt x="123035" y="590628"/>
                    </a:lnTo>
                    <a:lnTo>
                      <a:pt x="125611" y="589264"/>
                    </a:lnTo>
                    <a:lnTo>
                      <a:pt x="126974" y="587294"/>
                    </a:lnTo>
                    <a:lnTo>
                      <a:pt x="127580" y="584567"/>
                    </a:lnTo>
                    <a:lnTo>
                      <a:pt x="125460" y="582597"/>
                    </a:lnTo>
                    <a:lnTo>
                      <a:pt x="124096" y="585627"/>
                    </a:lnTo>
                    <a:close/>
                    <a:moveTo>
                      <a:pt x="431683" y="114398"/>
                    </a:moveTo>
                    <a:lnTo>
                      <a:pt x="432289" y="114247"/>
                    </a:lnTo>
                    <a:lnTo>
                      <a:pt x="432895" y="113792"/>
                    </a:lnTo>
                    <a:lnTo>
                      <a:pt x="434410" y="109246"/>
                    </a:lnTo>
                    <a:lnTo>
                      <a:pt x="432743" y="109550"/>
                    </a:lnTo>
                    <a:lnTo>
                      <a:pt x="430925" y="110459"/>
                    </a:lnTo>
                    <a:lnTo>
                      <a:pt x="430319" y="111822"/>
                    </a:lnTo>
                    <a:lnTo>
                      <a:pt x="430925" y="114247"/>
                    </a:lnTo>
                    <a:lnTo>
                      <a:pt x="431683" y="114398"/>
                    </a:lnTo>
                    <a:close/>
                    <a:moveTo>
                      <a:pt x="474715" y="8031"/>
                    </a:moveTo>
                    <a:lnTo>
                      <a:pt x="475776" y="5909"/>
                    </a:lnTo>
                    <a:lnTo>
                      <a:pt x="475624" y="3636"/>
                    </a:lnTo>
                    <a:lnTo>
                      <a:pt x="475321" y="1970"/>
                    </a:lnTo>
                    <a:lnTo>
                      <a:pt x="473806" y="1515"/>
                    </a:lnTo>
                    <a:lnTo>
                      <a:pt x="473048" y="1515"/>
                    </a:lnTo>
                    <a:lnTo>
                      <a:pt x="473351" y="5000"/>
                    </a:lnTo>
                    <a:lnTo>
                      <a:pt x="474715" y="8031"/>
                    </a:lnTo>
                    <a:close/>
                    <a:moveTo>
                      <a:pt x="480018" y="13334"/>
                    </a:moveTo>
                    <a:lnTo>
                      <a:pt x="481988" y="13031"/>
                    </a:lnTo>
                    <a:lnTo>
                      <a:pt x="482897" y="11970"/>
                    </a:lnTo>
                    <a:lnTo>
                      <a:pt x="482443" y="11061"/>
                    </a:lnTo>
                    <a:lnTo>
                      <a:pt x="480776" y="9243"/>
                    </a:lnTo>
                    <a:lnTo>
                      <a:pt x="479260" y="8788"/>
                    </a:lnTo>
                    <a:lnTo>
                      <a:pt x="477594" y="10152"/>
                    </a:lnTo>
                    <a:lnTo>
                      <a:pt x="477897" y="11970"/>
                    </a:lnTo>
                    <a:lnTo>
                      <a:pt x="480018" y="13334"/>
                    </a:lnTo>
                    <a:close/>
                    <a:moveTo>
                      <a:pt x="399409" y="250161"/>
                    </a:moveTo>
                    <a:lnTo>
                      <a:pt x="397894" y="250918"/>
                    </a:lnTo>
                    <a:lnTo>
                      <a:pt x="398499" y="251221"/>
                    </a:lnTo>
                    <a:lnTo>
                      <a:pt x="401076" y="251070"/>
                    </a:lnTo>
                    <a:lnTo>
                      <a:pt x="405318" y="248494"/>
                    </a:lnTo>
                    <a:lnTo>
                      <a:pt x="407440" y="243342"/>
                    </a:lnTo>
                    <a:lnTo>
                      <a:pt x="404106" y="243039"/>
                    </a:lnTo>
                    <a:lnTo>
                      <a:pt x="404409" y="241524"/>
                    </a:lnTo>
                    <a:lnTo>
                      <a:pt x="405773" y="237281"/>
                    </a:lnTo>
                    <a:lnTo>
                      <a:pt x="405621" y="235463"/>
                    </a:lnTo>
                    <a:lnTo>
                      <a:pt x="404409" y="236221"/>
                    </a:lnTo>
                    <a:lnTo>
                      <a:pt x="400167" y="240312"/>
                    </a:lnTo>
                    <a:lnTo>
                      <a:pt x="398651" y="242888"/>
                    </a:lnTo>
                    <a:lnTo>
                      <a:pt x="398499" y="245615"/>
                    </a:lnTo>
                    <a:lnTo>
                      <a:pt x="400621" y="245766"/>
                    </a:lnTo>
                    <a:lnTo>
                      <a:pt x="400621" y="246373"/>
                    </a:lnTo>
                    <a:lnTo>
                      <a:pt x="399712" y="248645"/>
                    </a:lnTo>
                    <a:lnTo>
                      <a:pt x="399409" y="250161"/>
                    </a:lnTo>
                    <a:close/>
                    <a:moveTo>
                      <a:pt x="167280" y="377741"/>
                    </a:moveTo>
                    <a:lnTo>
                      <a:pt x="166825" y="375317"/>
                    </a:lnTo>
                    <a:lnTo>
                      <a:pt x="165158" y="374408"/>
                    </a:lnTo>
                    <a:lnTo>
                      <a:pt x="164703" y="375317"/>
                    </a:lnTo>
                    <a:lnTo>
                      <a:pt x="163946" y="378044"/>
                    </a:lnTo>
                    <a:lnTo>
                      <a:pt x="165310" y="379105"/>
                    </a:lnTo>
                    <a:lnTo>
                      <a:pt x="167280" y="377741"/>
                    </a:lnTo>
                    <a:close/>
                    <a:moveTo>
                      <a:pt x="156975" y="392742"/>
                    </a:moveTo>
                    <a:lnTo>
                      <a:pt x="156825" y="393499"/>
                    </a:lnTo>
                    <a:lnTo>
                      <a:pt x="155612" y="395166"/>
                    </a:lnTo>
                    <a:lnTo>
                      <a:pt x="156975" y="395166"/>
                    </a:lnTo>
                    <a:lnTo>
                      <a:pt x="158945" y="393802"/>
                    </a:lnTo>
                    <a:lnTo>
                      <a:pt x="159400" y="391984"/>
                    </a:lnTo>
                    <a:lnTo>
                      <a:pt x="161067" y="389711"/>
                    </a:lnTo>
                    <a:lnTo>
                      <a:pt x="160158" y="389863"/>
                    </a:lnTo>
                    <a:lnTo>
                      <a:pt x="158036" y="390620"/>
                    </a:lnTo>
                    <a:lnTo>
                      <a:pt x="156975" y="392742"/>
                    </a:lnTo>
                    <a:close/>
                    <a:moveTo>
                      <a:pt x="153642" y="359710"/>
                    </a:moveTo>
                    <a:lnTo>
                      <a:pt x="155460" y="360771"/>
                    </a:lnTo>
                    <a:lnTo>
                      <a:pt x="156066" y="359256"/>
                    </a:lnTo>
                    <a:lnTo>
                      <a:pt x="155915" y="357286"/>
                    </a:lnTo>
                    <a:lnTo>
                      <a:pt x="158491" y="353498"/>
                    </a:lnTo>
                    <a:lnTo>
                      <a:pt x="158339" y="351225"/>
                    </a:lnTo>
                    <a:lnTo>
                      <a:pt x="158643" y="350164"/>
                    </a:lnTo>
                    <a:lnTo>
                      <a:pt x="158491" y="349558"/>
                    </a:lnTo>
                    <a:lnTo>
                      <a:pt x="157884" y="349104"/>
                    </a:lnTo>
                    <a:lnTo>
                      <a:pt x="154400" y="351528"/>
                    </a:lnTo>
                    <a:lnTo>
                      <a:pt x="154248" y="352437"/>
                    </a:lnTo>
                    <a:lnTo>
                      <a:pt x="154400" y="354255"/>
                    </a:lnTo>
                    <a:lnTo>
                      <a:pt x="152733" y="358952"/>
                    </a:lnTo>
                    <a:lnTo>
                      <a:pt x="153642" y="359710"/>
                    </a:lnTo>
                    <a:close/>
                    <a:moveTo>
                      <a:pt x="263798" y="303193"/>
                    </a:moveTo>
                    <a:lnTo>
                      <a:pt x="265010" y="301981"/>
                    </a:lnTo>
                    <a:lnTo>
                      <a:pt x="265313" y="300617"/>
                    </a:lnTo>
                    <a:lnTo>
                      <a:pt x="263040" y="297738"/>
                    </a:lnTo>
                    <a:lnTo>
                      <a:pt x="260616" y="299253"/>
                    </a:lnTo>
                    <a:lnTo>
                      <a:pt x="260161" y="301223"/>
                    </a:lnTo>
                    <a:lnTo>
                      <a:pt x="261525" y="302890"/>
                    </a:lnTo>
                    <a:lnTo>
                      <a:pt x="263798" y="303193"/>
                    </a:lnTo>
                    <a:close/>
                    <a:moveTo>
                      <a:pt x="289102" y="357134"/>
                    </a:moveTo>
                    <a:lnTo>
                      <a:pt x="290768" y="355771"/>
                    </a:lnTo>
                    <a:lnTo>
                      <a:pt x="291223" y="355922"/>
                    </a:lnTo>
                    <a:lnTo>
                      <a:pt x="291677" y="355316"/>
                    </a:lnTo>
                    <a:lnTo>
                      <a:pt x="292284" y="354104"/>
                    </a:lnTo>
                    <a:lnTo>
                      <a:pt x="291072" y="353801"/>
                    </a:lnTo>
                    <a:lnTo>
                      <a:pt x="287132" y="354255"/>
                    </a:lnTo>
                    <a:lnTo>
                      <a:pt x="287284" y="355013"/>
                    </a:lnTo>
                    <a:lnTo>
                      <a:pt x="288647" y="355922"/>
                    </a:lnTo>
                    <a:lnTo>
                      <a:pt x="289102" y="357134"/>
                    </a:lnTo>
                    <a:close/>
                    <a:moveTo>
                      <a:pt x="429259" y="346225"/>
                    </a:moveTo>
                    <a:lnTo>
                      <a:pt x="429107" y="347891"/>
                    </a:lnTo>
                    <a:lnTo>
                      <a:pt x="429864" y="348801"/>
                    </a:lnTo>
                    <a:lnTo>
                      <a:pt x="431380" y="349104"/>
                    </a:lnTo>
                    <a:lnTo>
                      <a:pt x="431683" y="347588"/>
                    </a:lnTo>
                    <a:lnTo>
                      <a:pt x="430925" y="346073"/>
                    </a:lnTo>
                    <a:lnTo>
                      <a:pt x="429259" y="346225"/>
                    </a:lnTo>
                    <a:close/>
                    <a:moveTo>
                      <a:pt x="440319" y="396833"/>
                    </a:moveTo>
                    <a:lnTo>
                      <a:pt x="440017" y="397439"/>
                    </a:lnTo>
                    <a:lnTo>
                      <a:pt x="440168" y="398348"/>
                    </a:lnTo>
                    <a:lnTo>
                      <a:pt x="441532" y="399409"/>
                    </a:lnTo>
                    <a:lnTo>
                      <a:pt x="441986" y="399106"/>
                    </a:lnTo>
                    <a:lnTo>
                      <a:pt x="442896" y="397893"/>
                    </a:lnTo>
                    <a:lnTo>
                      <a:pt x="441077" y="396833"/>
                    </a:lnTo>
                    <a:lnTo>
                      <a:pt x="440319" y="396833"/>
                    </a:lnTo>
                    <a:close/>
                    <a:moveTo>
                      <a:pt x="308496" y="353346"/>
                    </a:moveTo>
                    <a:lnTo>
                      <a:pt x="306981" y="354104"/>
                    </a:lnTo>
                    <a:lnTo>
                      <a:pt x="305011" y="355468"/>
                    </a:lnTo>
                    <a:lnTo>
                      <a:pt x="302890" y="358650"/>
                    </a:lnTo>
                    <a:lnTo>
                      <a:pt x="300466" y="360922"/>
                    </a:lnTo>
                    <a:lnTo>
                      <a:pt x="300920" y="362438"/>
                    </a:lnTo>
                    <a:lnTo>
                      <a:pt x="302284" y="363650"/>
                    </a:lnTo>
                    <a:lnTo>
                      <a:pt x="304860" y="363801"/>
                    </a:lnTo>
                    <a:lnTo>
                      <a:pt x="307890" y="361225"/>
                    </a:lnTo>
                    <a:lnTo>
                      <a:pt x="307133" y="357892"/>
                    </a:lnTo>
                    <a:lnTo>
                      <a:pt x="309860" y="353346"/>
                    </a:lnTo>
                    <a:lnTo>
                      <a:pt x="308496" y="353346"/>
                    </a:lnTo>
                    <a:close/>
                    <a:moveTo>
                      <a:pt x="243342" y="366528"/>
                    </a:moveTo>
                    <a:lnTo>
                      <a:pt x="242888" y="366226"/>
                    </a:lnTo>
                    <a:lnTo>
                      <a:pt x="242433" y="364862"/>
                    </a:lnTo>
                    <a:lnTo>
                      <a:pt x="241827" y="365165"/>
                    </a:lnTo>
                    <a:lnTo>
                      <a:pt x="241070" y="366528"/>
                    </a:lnTo>
                    <a:lnTo>
                      <a:pt x="240161" y="367589"/>
                    </a:lnTo>
                    <a:lnTo>
                      <a:pt x="242585" y="367892"/>
                    </a:lnTo>
                    <a:lnTo>
                      <a:pt x="243342" y="366528"/>
                    </a:lnTo>
                    <a:close/>
                    <a:moveTo>
                      <a:pt x="504564" y="587597"/>
                    </a:moveTo>
                    <a:lnTo>
                      <a:pt x="504110" y="587749"/>
                    </a:lnTo>
                    <a:lnTo>
                      <a:pt x="505776" y="590779"/>
                    </a:lnTo>
                    <a:lnTo>
                      <a:pt x="506231" y="590779"/>
                    </a:lnTo>
                    <a:lnTo>
                      <a:pt x="506686" y="589870"/>
                    </a:lnTo>
                    <a:lnTo>
                      <a:pt x="505625" y="588052"/>
                    </a:lnTo>
                    <a:lnTo>
                      <a:pt x="504564" y="587597"/>
                    </a:lnTo>
                    <a:close/>
                    <a:moveTo>
                      <a:pt x="603811" y="70912"/>
                    </a:moveTo>
                    <a:lnTo>
                      <a:pt x="601689" y="71215"/>
                    </a:lnTo>
                    <a:lnTo>
                      <a:pt x="599264" y="73185"/>
                    </a:lnTo>
                    <a:lnTo>
                      <a:pt x="596689" y="74851"/>
                    </a:lnTo>
                    <a:lnTo>
                      <a:pt x="595326" y="74700"/>
                    </a:lnTo>
                    <a:lnTo>
                      <a:pt x="592749" y="74094"/>
                    </a:lnTo>
                    <a:lnTo>
                      <a:pt x="590931" y="68790"/>
                    </a:lnTo>
                    <a:lnTo>
                      <a:pt x="589265" y="65002"/>
                    </a:lnTo>
                    <a:lnTo>
                      <a:pt x="587295" y="62123"/>
                    </a:lnTo>
                    <a:lnTo>
                      <a:pt x="586234" y="58790"/>
                    </a:lnTo>
                    <a:lnTo>
                      <a:pt x="586991" y="55305"/>
                    </a:lnTo>
                    <a:lnTo>
                      <a:pt x="590174" y="48335"/>
                    </a:lnTo>
                    <a:lnTo>
                      <a:pt x="593053" y="43183"/>
                    </a:lnTo>
                    <a:lnTo>
                      <a:pt x="593507" y="41517"/>
                    </a:lnTo>
                    <a:lnTo>
                      <a:pt x="593507" y="40001"/>
                    </a:lnTo>
                    <a:lnTo>
                      <a:pt x="592749" y="39850"/>
                    </a:lnTo>
                    <a:lnTo>
                      <a:pt x="586082" y="45456"/>
                    </a:lnTo>
                    <a:lnTo>
                      <a:pt x="579870" y="51669"/>
                    </a:lnTo>
                    <a:lnTo>
                      <a:pt x="577900" y="53032"/>
                    </a:lnTo>
                    <a:lnTo>
                      <a:pt x="575627" y="53487"/>
                    </a:lnTo>
                    <a:lnTo>
                      <a:pt x="572446" y="53335"/>
                    </a:lnTo>
                    <a:lnTo>
                      <a:pt x="569264" y="52729"/>
                    </a:lnTo>
                    <a:lnTo>
                      <a:pt x="558809" y="47577"/>
                    </a:lnTo>
                    <a:lnTo>
                      <a:pt x="556081" y="46820"/>
                    </a:lnTo>
                    <a:lnTo>
                      <a:pt x="554567" y="46971"/>
                    </a:lnTo>
                    <a:lnTo>
                      <a:pt x="551081" y="46820"/>
                    </a:lnTo>
                    <a:lnTo>
                      <a:pt x="549263" y="46365"/>
                    </a:lnTo>
                    <a:lnTo>
                      <a:pt x="546384" y="43335"/>
                    </a:lnTo>
                    <a:lnTo>
                      <a:pt x="542444" y="41517"/>
                    </a:lnTo>
                    <a:lnTo>
                      <a:pt x="536384" y="37577"/>
                    </a:lnTo>
                    <a:lnTo>
                      <a:pt x="530474" y="32880"/>
                    </a:lnTo>
                    <a:lnTo>
                      <a:pt x="525322" y="28334"/>
                    </a:lnTo>
                    <a:lnTo>
                      <a:pt x="520323" y="23334"/>
                    </a:lnTo>
                    <a:lnTo>
                      <a:pt x="512443" y="13031"/>
                    </a:lnTo>
                    <a:lnTo>
                      <a:pt x="505776" y="6212"/>
                    </a:lnTo>
                    <a:lnTo>
                      <a:pt x="501534" y="2424"/>
                    </a:lnTo>
                    <a:lnTo>
                      <a:pt x="500625" y="909"/>
                    </a:lnTo>
                    <a:lnTo>
                      <a:pt x="499413" y="0"/>
                    </a:lnTo>
                    <a:lnTo>
                      <a:pt x="497746" y="909"/>
                    </a:lnTo>
                    <a:lnTo>
                      <a:pt x="496382" y="2424"/>
                    </a:lnTo>
                    <a:lnTo>
                      <a:pt x="495018" y="3030"/>
                    </a:lnTo>
                    <a:lnTo>
                      <a:pt x="491988" y="3636"/>
                    </a:lnTo>
                    <a:lnTo>
                      <a:pt x="491533" y="4546"/>
                    </a:lnTo>
                    <a:lnTo>
                      <a:pt x="491533" y="5455"/>
                    </a:lnTo>
                    <a:lnTo>
                      <a:pt x="489867" y="8637"/>
                    </a:lnTo>
                    <a:lnTo>
                      <a:pt x="489564" y="11970"/>
                    </a:lnTo>
                    <a:lnTo>
                      <a:pt x="491533" y="15455"/>
                    </a:lnTo>
                    <a:lnTo>
                      <a:pt x="493200" y="19243"/>
                    </a:lnTo>
                    <a:lnTo>
                      <a:pt x="494867" y="26819"/>
                    </a:lnTo>
                    <a:lnTo>
                      <a:pt x="494261" y="34698"/>
                    </a:lnTo>
                    <a:lnTo>
                      <a:pt x="493049" y="38486"/>
                    </a:lnTo>
                    <a:lnTo>
                      <a:pt x="491533" y="42123"/>
                    </a:lnTo>
                    <a:lnTo>
                      <a:pt x="491079" y="50305"/>
                    </a:lnTo>
                    <a:lnTo>
                      <a:pt x="489867" y="53638"/>
                    </a:lnTo>
                    <a:lnTo>
                      <a:pt x="485624" y="59396"/>
                    </a:lnTo>
                    <a:lnTo>
                      <a:pt x="484261" y="62881"/>
                    </a:lnTo>
                    <a:lnTo>
                      <a:pt x="484261" y="67275"/>
                    </a:lnTo>
                    <a:lnTo>
                      <a:pt x="484715" y="71669"/>
                    </a:lnTo>
                    <a:lnTo>
                      <a:pt x="483654" y="75003"/>
                    </a:lnTo>
                    <a:lnTo>
                      <a:pt x="481533" y="77730"/>
                    </a:lnTo>
                    <a:lnTo>
                      <a:pt x="480169" y="78185"/>
                    </a:lnTo>
                    <a:lnTo>
                      <a:pt x="477290" y="78336"/>
                    </a:lnTo>
                    <a:lnTo>
                      <a:pt x="472290" y="77579"/>
                    </a:lnTo>
                    <a:lnTo>
                      <a:pt x="468654" y="77427"/>
                    </a:lnTo>
                    <a:lnTo>
                      <a:pt x="467593" y="77124"/>
                    </a:lnTo>
                    <a:lnTo>
                      <a:pt x="462290" y="73942"/>
                    </a:lnTo>
                    <a:lnTo>
                      <a:pt x="459563" y="73033"/>
                    </a:lnTo>
                    <a:lnTo>
                      <a:pt x="456987" y="74245"/>
                    </a:lnTo>
                    <a:lnTo>
                      <a:pt x="456684" y="76366"/>
                    </a:lnTo>
                    <a:lnTo>
                      <a:pt x="457138" y="78639"/>
                    </a:lnTo>
                    <a:lnTo>
                      <a:pt x="459563" y="82579"/>
                    </a:lnTo>
                    <a:lnTo>
                      <a:pt x="458048" y="85761"/>
                    </a:lnTo>
                    <a:lnTo>
                      <a:pt x="455169" y="88640"/>
                    </a:lnTo>
                    <a:lnTo>
                      <a:pt x="452290" y="91064"/>
                    </a:lnTo>
                    <a:lnTo>
                      <a:pt x="449259" y="93185"/>
                    </a:lnTo>
                    <a:lnTo>
                      <a:pt x="446532" y="94700"/>
                    </a:lnTo>
                    <a:lnTo>
                      <a:pt x="444714" y="95155"/>
                    </a:lnTo>
                    <a:lnTo>
                      <a:pt x="443047" y="95913"/>
                    </a:lnTo>
                    <a:lnTo>
                      <a:pt x="442138" y="98185"/>
                    </a:lnTo>
                    <a:lnTo>
                      <a:pt x="441228" y="102580"/>
                    </a:lnTo>
                    <a:lnTo>
                      <a:pt x="441077" y="104549"/>
                    </a:lnTo>
                    <a:lnTo>
                      <a:pt x="441532" y="108186"/>
                    </a:lnTo>
                    <a:lnTo>
                      <a:pt x="443198" y="111065"/>
                    </a:lnTo>
                    <a:lnTo>
                      <a:pt x="446684" y="114095"/>
                    </a:lnTo>
                    <a:lnTo>
                      <a:pt x="447593" y="115156"/>
                    </a:lnTo>
                    <a:lnTo>
                      <a:pt x="448956" y="120156"/>
                    </a:lnTo>
                    <a:lnTo>
                      <a:pt x="448350" y="123792"/>
                    </a:lnTo>
                    <a:lnTo>
                      <a:pt x="446684" y="127277"/>
                    </a:lnTo>
                    <a:lnTo>
                      <a:pt x="445926" y="131217"/>
                    </a:lnTo>
                    <a:lnTo>
                      <a:pt x="446381" y="133035"/>
                    </a:lnTo>
                    <a:lnTo>
                      <a:pt x="447138" y="134550"/>
                    </a:lnTo>
                    <a:lnTo>
                      <a:pt x="448502" y="135914"/>
                    </a:lnTo>
                    <a:lnTo>
                      <a:pt x="450169" y="136217"/>
                    </a:lnTo>
                    <a:lnTo>
                      <a:pt x="453502" y="135156"/>
                    </a:lnTo>
                    <a:lnTo>
                      <a:pt x="456684" y="133035"/>
                    </a:lnTo>
                    <a:lnTo>
                      <a:pt x="457896" y="131520"/>
                    </a:lnTo>
                    <a:lnTo>
                      <a:pt x="459411" y="128035"/>
                    </a:lnTo>
                    <a:lnTo>
                      <a:pt x="462290" y="124853"/>
                    </a:lnTo>
                    <a:lnTo>
                      <a:pt x="464108" y="123338"/>
                    </a:lnTo>
                    <a:lnTo>
                      <a:pt x="468351" y="125156"/>
                    </a:lnTo>
                    <a:lnTo>
                      <a:pt x="470775" y="125762"/>
                    </a:lnTo>
                    <a:lnTo>
                      <a:pt x="473351" y="125914"/>
                    </a:lnTo>
                    <a:lnTo>
                      <a:pt x="475472" y="125156"/>
                    </a:lnTo>
                    <a:lnTo>
                      <a:pt x="477442" y="123641"/>
                    </a:lnTo>
                    <a:lnTo>
                      <a:pt x="476230" y="122277"/>
                    </a:lnTo>
                    <a:lnTo>
                      <a:pt x="470927" y="118035"/>
                    </a:lnTo>
                    <a:lnTo>
                      <a:pt x="466078" y="113489"/>
                    </a:lnTo>
                    <a:lnTo>
                      <a:pt x="464714" y="113186"/>
                    </a:lnTo>
                    <a:lnTo>
                      <a:pt x="461836" y="113338"/>
                    </a:lnTo>
                    <a:lnTo>
                      <a:pt x="460472" y="112883"/>
                    </a:lnTo>
                    <a:lnTo>
                      <a:pt x="457441" y="110610"/>
                    </a:lnTo>
                    <a:lnTo>
                      <a:pt x="455017" y="107580"/>
                    </a:lnTo>
                    <a:lnTo>
                      <a:pt x="454714" y="106216"/>
                    </a:lnTo>
                    <a:lnTo>
                      <a:pt x="454866" y="104852"/>
                    </a:lnTo>
                    <a:lnTo>
                      <a:pt x="455623" y="102883"/>
                    </a:lnTo>
                    <a:lnTo>
                      <a:pt x="456532" y="101216"/>
                    </a:lnTo>
                    <a:lnTo>
                      <a:pt x="459108" y="98792"/>
                    </a:lnTo>
                    <a:lnTo>
                      <a:pt x="460926" y="98488"/>
                    </a:lnTo>
                    <a:lnTo>
                      <a:pt x="462745" y="98488"/>
                    </a:lnTo>
                    <a:lnTo>
                      <a:pt x="465321" y="98943"/>
                    </a:lnTo>
                    <a:lnTo>
                      <a:pt x="467442" y="100761"/>
                    </a:lnTo>
                    <a:lnTo>
                      <a:pt x="471836" y="105307"/>
                    </a:lnTo>
                    <a:lnTo>
                      <a:pt x="472897" y="105913"/>
                    </a:lnTo>
                    <a:lnTo>
                      <a:pt x="484412" y="99246"/>
                    </a:lnTo>
                    <a:lnTo>
                      <a:pt x="496534" y="98185"/>
                    </a:lnTo>
                    <a:lnTo>
                      <a:pt x="503049" y="101670"/>
                    </a:lnTo>
                    <a:lnTo>
                      <a:pt x="514565" y="108640"/>
                    </a:lnTo>
                    <a:lnTo>
                      <a:pt x="525474" y="113186"/>
                    </a:lnTo>
                    <a:lnTo>
                      <a:pt x="531080" y="116368"/>
                    </a:lnTo>
                    <a:lnTo>
                      <a:pt x="534566" y="117126"/>
                    </a:lnTo>
                    <a:lnTo>
                      <a:pt x="535777" y="115913"/>
                    </a:lnTo>
                    <a:lnTo>
                      <a:pt x="536686" y="114398"/>
                    </a:lnTo>
                    <a:lnTo>
                      <a:pt x="536990" y="112277"/>
                    </a:lnTo>
                    <a:lnTo>
                      <a:pt x="537141" y="110004"/>
                    </a:lnTo>
                    <a:lnTo>
                      <a:pt x="538202" y="106519"/>
                    </a:lnTo>
                    <a:lnTo>
                      <a:pt x="539869" y="103489"/>
                    </a:lnTo>
                    <a:lnTo>
                      <a:pt x="543960" y="97579"/>
                    </a:lnTo>
                    <a:lnTo>
                      <a:pt x="548960" y="92579"/>
                    </a:lnTo>
                    <a:lnTo>
                      <a:pt x="554567" y="88185"/>
                    </a:lnTo>
                    <a:lnTo>
                      <a:pt x="560779" y="85155"/>
                    </a:lnTo>
                    <a:lnTo>
                      <a:pt x="563657" y="84852"/>
                    </a:lnTo>
                    <a:lnTo>
                      <a:pt x="569567" y="86215"/>
                    </a:lnTo>
                    <a:lnTo>
                      <a:pt x="572748" y="86064"/>
                    </a:lnTo>
                    <a:lnTo>
                      <a:pt x="577597" y="84549"/>
                    </a:lnTo>
                    <a:lnTo>
                      <a:pt x="580779" y="84245"/>
                    </a:lnTo>
                    <a:lnTo>
                      <a:pt x="583658" y="83185"/>
                    </a:lnTo>
                    <a:lnTo>
                      <a:pt x="586386" y="81215"/>
                    </a:lnTo>
                    <a:lnTo>
                      <a:pt x="589265" y="79700"/>
                    </a:lnTo>
                    <a:lnTo>
                      <a:pt x="592447" y="78336"/>
                    </a:lnTo>
                    <a:lnTo>
                      <a:pt x="593962" y="78185"/>
                    </a:lnTo>
                    <a:lnTo>
                      <a:pt x="596689" y="78336"/>
                    </a:lnTo>
                    <a:lnTo>
                      <a:pt x="597598" y="77730"/>
                    </a:lnTo>
                    <a:lnTo>
                      <a:pt x="600023" y="74397"/>
                    </a:lnTo>
                    <a:lnTo>
                      <a:pt x="602750" y="72730"/>
                    </a:lnTo>
                    <a:lnTo>
                      <a:pt x="605629" y="71366"/>
                    </a:lnTo>
                    <a:lnTo>
                      <a:pt x="603811" y="70912"/>
                    </a:lnTo>
                    <a:close/>
                    <a:moveTo>
                      <a:pt x="500928" y="190158"/>
                    </a:moveTo>
                    <a:lnTo>
                      <a:pt x="500928" y="188492"/>
                    </a:lnTo>
                    <a:lnTo>
                      <a:pt x="500625" y="186825"/>
                    </a:lnTo>
                    <a:lnTo>
                      <a:pt x="499413" y="183189"/>
                    </a:lnTo>
                    <a:lnTo>
                      <a:pt x="497897" y="179704"/>
                    </a:lnTo>
                    <a:lnTo>
                      <a:pt x="495625" y="172430"/>
                    </a:lnTo>
                    <a:lnTo>
                      <a:pt x="491533" y="166521"/>
                    </a:lnTo>
                    <a:lnTo>
                      <a:pt x="488654" y="164703"/>
                    </a:lnTo>
                    <a:lnTo>
                      <a:pt x="486533" y="162127"/>
                    </a:lnTo>
                    <a:lnTo>
                      <a:pt x="485624" y="158491"/>
                    </a:lnTo>
                    <a:lnTo>
                      <a:pt x="485170" y="154703"/>
                    </a:lnTo>
                    <a:lnTo>
                      <a:pt x="484866" y="146369"/>
                    </a:lnTo>
                    <a:lnTo>
                      <a:pt x="485473" y="141369"/>
                    </a:lnTo>
                    <a:lnTo>
                      <a:pt x="486382" y="136369"/>
                    </a:lnTo>
                    <a:lnTo>
                      <a:pt x="481230" y="138035"/>
                    </a:lnTo>
                    <a:lnTo>
                      <a:pt x="480169" y="137429"/>
                    </a:lnTo>
                    <a:lnTo>
                      <a:pt x="476836" y="134702"/>
                    </a:lnTo>
                    <a:lnTo>
                      <a:pt x="475321" y="134096"/>
                    </a:lnTo>
                    <a:lnTo>
                      <a:pt x="472290" y="133187"/>
                    </a:lnTo>
                    <a:lnTo>
                      <a:pt x="471078" y="134096"/>
                    </a:lnTo>
                    <a:lnTo>
                      <a:pt x="470169" y="135914"/>
                    </a:lnTo>
                    <a:lnTo>
                      <a:pt x="468654" y="141520"/>
                    </a:lnTo>
                    <a:lnTo>
                      <a:pt x="468654" y="145308"/>
                    </a:lnTo>
                    <a:lnTo>
                      <a:pt x="476078" y="143490"/>
                    </a:lnTo>
                    <a:lnTo>
                      <a:pt x="477290" y="143036"/>
                    </a:lnTo>
                    <a:lnTo>
                      <a:pt x="478351" y="142126"/>
                    </a:lnTo>
                    <a:lnTo>
                      <a:pt x="479564" y="141975"/>
                    </a:lnTo>
                    <a:lnTo>
                      <a:pt x="480776" y="143187"/>
                    </a:lnTo>
                    <a:lnTo>
                      <a:pt x="481230" y="146520"/>
                    </a:lnTo>
                    <a:lnTo>
                      <a:pt x="480169" y="150157"/>
                    </a:lnTo>
                    <a:lnTo>
                      <a:pt x="478957" y="152278"/>
                    </a:lnTo>
                    <a:lnTo>
                      <a:pt x="477139" y="153642"/>
                    </a:lnTo>
                    <a:lnTo>
                      <a:pt x="472139" y="151672"/>
                    </a:lnTo>
                    <a:lnTo>
                      <a:pt x="470472" y="151975"/>
                    </a:lnTo>
                    <a:lnTo>
                      <a:pt x="469714" y="153794"/>
                    </a:lnTo>
                    <a:lnTo>
                      <a:pt x="468502" y="155157"/>
                    </a:lnTo>
                    <a:lnTo>
                      <a:pt x="467139" y="155309"/>
                    </a:lnTo>
                    <a:lnTo>
                      <a:pt x="465926" y="154400"/>
                    </a:lnTo>
                    <a:lnTo>
                      <a:pt x="465321" y="153187"/>
                    </a:lnTo>
                    <a:lnTo>
                      <a:pt x="464260" y="144702"/>
                    </a:lnTo>
                    <a:lnTo>
                      <a:pt x="463957" y="143339"/>
                    </a:lnTo>
                    <a:lnTo>
                      <a:pt x="462290" y="142732"/>
                    </a:lnTo>
                    <a:lnTo>
                      <a:pt x="460472" y="142884"/>
                    </a:lnTo>
                    <a:lnTo>
                      <a:pt x="458957" y="142732"/>
                    </a:lnTo>
                    <a:lnTo>
                      <a:pt x="457441" y="142126"/>
                    </a:lnTo>
                    <a:lnTo>
                      <a:pt x="456380" y="143036"/>
                    </a:lnTo>
                    <a:lnTo>
                      <a:pt x="455623" y="144399"/>
                    </a:lnTo>
                    <a:lnTo>
                      <a:pt x="456380" y="149399"/>
                    </a:lnTo>
                    <a:lnTo>
                      <a:pt x="455926" y="151218"/>
                    </a:lnTo>
                    <a:lnTo>
                      <a:pt x="454714" y="154551"/>
                    </a:lnTo>
                    <a:lnTo>
                      <a:pt x="453957" y="155763"/>
                    </a:lnTo>
                    <a:lnTo>
                      <a:pt x="452592" y="156824"/>
                    </a:lnTo>
                    <a:lnTo>
                      <a:pt x="451078" y="157582"/>
                    </a:lnTo>
                    <a:lnTo>
                      <a:pt x="449411" y="157733"/>
                    </a:lnTo>
                    <a:lnTo>
                      <a:pt x="447895" y="158188"/>
                    </a:lnTo>
                    <a:lnTo>
                      <a:pt x="446229" y="160157"/>
                    </a:lnTo>
                    <a:lnTo>
                      <a:pt x="445016" y="162582"/>
                    </a:lnTo>
                    <a:lnTo>
                      <a:pt x="445016" y="164703"/>
                    </a:lnTo>
                    <a:lnTo>
                      <a:pt x="446077" y="168642"/>
                    </a:lnTo>
                    <a:lnTo>
                      <a:pt x="447441" y="171825"/>
                    </a:lnTo>
                    <a:lnTo>
                      <a:pt x="447290" y="173643"/>
                    </a:lnTo>
                    <a:lnTo>
                      <a:pt x="446229" y="177582"/>
                    </a:lnTo>
                    <a:lnTo>
                      <a:pt x="444411" y="181219"/>
                    </a:lnTo>
                    <a:lnTo>
                      <a:pt x="443502" y="182431"/>
                    </a:lnTo>
                    <a:lnTo>
                      <a:pt x="442138" y="183037"/>
                    </a:lnTo>
                    <a:lnTo>
                      <a:pt x="440168" y="183340"/>
                    </a:lnTo>
                    <a:lnTo>
                      <a:pt x="439714" y="184552"/>
                    </a:lnTo>
                    <a:lnTo>
                      <a:pt x="441532" y="185916"/>
                    </a:lnTo>
                    <a:lnTo>
                      <a:pt x="443805" y="185613"/>
                    </a:lnTo>
                    <a:lnTo>
                      <a:pt x="445320" y="185613"/>
                    </a:lnTo>
                    <a:lnTo>
                      <a:pt x="446684" y="186522"/>
                    </a:lnTo>
                    <a:lnTo>
                      <a:pt x="448350" y="189856"/>
                    </a:lnTo>
                    <a:lnTo>
                      <a:pt x="448653" y="193795"/>
                    </a:lnTo>
                    <a:lnTo>
                      <a:pt x="448199" y="198947"/>
                    </a:lnTo>
                    <a:lnTo>
                      <a:pt x="447895" y="200613"/>
                    </a:lnTo>
                    <a:lnTo>
                      <a:pt x="447138" y="202280"/>
                    </a:lnTo>
                    <a:lnTo>
                      <a:pt x="446229" y="203795"/>
                    </a:lnTo>
                    <a:lnTo>
                      <a:pt x="445168" y="205008"/>
                    </a:lnTo>
                    <a:lnTo>
                      <a:pt x="444411" y="206371"/>
                    </a:lnTo>
                    <a:lnTo>
                      <a:pt x="443502" y="210311"/>
                    </a:lnTo>
                    <a:lnTo>
                      <a:pt x="441380" y="217432"/>
                    </a:lnTo>
                    <a:lnTo>
                      <a:pt x="439865" y="220463"/>
                    </a:lnTo>
                    <a:lnTo>
                      <a:pt x="437440" y="223341"/>
                    </a:lnTo>
                    <a:lnTo>
                      <a:pt x="435320" y="226523"/>
                    </a:lnTo>
                    <a:lnTo>
                      <a:pt x="433652" y="229554"/>
                    </a:lnTo>
                    <a:lnTo>
                      <a:pt x="432441" y="232887"/>
                    </a:lnTo>
                    <a:lnTo>
                      <a:pt x="431532" y="236978"/>
                    </a:lnTo>
                    <a:lnTo>
                      <a:pt x="430319" y="240918"/>
                    </a:lnTo>
                    <a:lnTo>
                      <a:pt x="429259" y="242282"/>
                    </a:lnTo>
                    <a:lnTo>
                      <a:pt x="426076" y="245160"/>
                    </a:lnTo>
                    <a:lnTo>
                      <a:pt x="416228" y="250312"/>
                    </a:lnTo>
                    <a:lnTo>
                      <a:pt x="414410" y="252433"/>
                    </a:lnTo>
                    <a:lnTo>
                      <a:pt x="413046" y="255919"/>
                    </a:lnTo>
                    <a:lnTo>
                      <a:pt x="411379" y="259100"/>
                    </a:lnTo>
                    <a:lnTo>
                      <a:pt x="409258" y="261828"/>
                    </a:lnTo>
                    <a:lnTo>
                      <a:pt x="406985" y="264404"/>
                    </a:lnTo>
                    <a:lnTo>
                      <a:pt x="400773" y="269858"/>
                    </a:lnTo>
                    <a:lnTo>
                      <a:pt x="398045" y="271222"/>
                    </a:lnTo>
                    <a:lnTo>
                      <a:pt x="395015" y="271980"/>
                    </a:lnTo>
                    <a:lnTo>
                      <a:pt x="389712" y="274707"/>
                    </a:lnTo>
                    <a:lnTo>
                      <a:pt x="378802" y="278192"/>
                    </a:lnTo>
                    <a:lnTo>
                      <a:pt x="377893" y="279101"/>
                    </a:lnTo>
                    <a:lnTo>
                      <a:pt x="374105" y="283950"/>
                    </a:lnTo>
                    <a:lnTo>
                      <a:pt x="372892" y="284404"/>
                    </a:lnTo>
                    <a:lnTo>
                      <a:pt x="371529" y="284404"/>
                    </a:lnTo>
                    <a:lnTo>
                      <a:pt x="368195" y="283798"/>
                    </a:lnTo>
                    <a:lnTo>
                      <a:pt x="365316" y="281828"/>
                    </a:lnTo>
                    <a:lnTo>
                      <a:pt x="365166" y="280010"/>
                    </a:lnTo>
                    <a:lnTo>
                      <a:pt x="365316" y="278040"/>
                    </a:lnTo>
                    <a:lnTo>
                      <a:pt x="364711" y="275919"/>
                    </a:lnTo>
                    <a:lnTo>
                      <a:pt x="362135" y="273040"/>
                    </a:lnTo>
                    <a:lnTo>
                      <a:pt x="362741" y="271373"/>
                    </a:lnTo>
                    <a:lnTo>
                      <a:pt x="364407" y="270464"/>
                    </a:lnTo>
                    <a:lnTo>
                      <a:pt x="366075" y="269858"/>
                    </a:lnTo>
                    <a:lnTo>
                      <a:pt x="368954" y="267889"/>
                    </a:lnTo>
                    <a:lnTo>
                      <a:pt x="373953" y="263040"/>
                    </a:lnTo>
                    <a:lnTo>
                      <a:pt x="374105" y="261525"/>
                    </a:lnTo>
                    <a:lnTo>
                      <a:pt x="373651" y="260313"/>
                    </a:lnTo>
                    <a:lnTo>
                      <a:pt x="370317" y="261070"/>
                    </a:lnTo>
                    <a:lnTo>
                      <a:pt x="363802" y="263646"/>
                    </a:lnTo>
                    <a:lnTo>
                      <a:pt x="360619" y="264707"/>
                    </a:lnTo>
                    <a:lnTo>
                      <a:pt x="357286" y="270464"/>
                    </a:lnTo>
                    <a:lnTo>
                      <a:pt x="358044" y="278192"/>
                    </a:lnTo>
                    <a:lnTo>
                      <a:pt x="356680" y="284707"/>
                    </a:lnTo>
                    <a:lnTo>
                      <a:pt x="352741" y="290011"/>
                    </a:lnTo>
                    <a:lnTo>
                      <a:pt x="347285" y="296526"/>
                    </a:lnTo>
                    <a:lnTo>
                      <a:pt x="344558" y="298799"/>
                    </a:lnTo>
                    <a:lnTo>
                      <a:pt x="341679" y="300769"/>
                    </a:lnTo>
                    <a:lnTo>
                      <a:pt x="339255" y="304102"/>
                    </a:lnTo>
                    <a:lnTo>
                      <a:pt x="337589" y="308041"/>
                    </a:lnTo>
                    <a:lnTo>
                      <a:pt x="338043" y="311678"/>
                    </a:lnTo>
                    <a:lnTo>
                      <a:pt x="340013" y="315012"/>
                    </a:lnTo>
                    <a:lnTo>
                      <a:pt x="337891" y="317587"/>
                    </a:lnTo>
                    <a:lnTo>
                      <a:pt x="334861" y="319860"/>
                    </a:lnTo>
                    <a:lnTo>
                      <a:pt x="331831" y="321678"/>
                    </a:lnTo>
                    <a:lnTo>
                      <a:pt x="328649" y="323042"/>
                    </a:lnTo>
                    <a:lnTo>
                      <a:pt x="326527" y="322588"/>
                    </a:lnTo>
                    <a:lnTo>
                      <a:pt x="318951" y="322284"/>
                    </a:lnTo>
                    <a:lnTo>
                      <a:pt x="317285" y="321527"/>
                    </a:lnTo>
                    <a:lnTo>
                      <a:pt x="316375" y="320315"/>
                    </a:lnTo>
                    <a:lnTo>
                      <a:pt x="317436" y="318194"/>
                    </a:lnTo>
                    <a:lnTo>
                      <a:pt x="317285" y="316224"/>
                    </a:lnTo>
                    <a:lnTo>
                      <a:pt x="316072" y="315617"/>
                    </a:lnTo>
                    <a:lnTo>
                      <a:pt x="314861" y="315466"/>
                    </a:lnTo>
                    <a:lnTo>
                      <a:pt x="306830" y="318042"/>
                    </a:lnTo>
                    <a:lnTo>
                      <a:pt x="295163" y="319103"/>
                    </a:lnTo>
                    <a:lnTo>
                      <a:pt x="291829" y="320618"/>
                    </a:lnTo>
                    <a:lnTo>
                      <a:pt x="288496" y="321830"/>
                    </a:lnTo>
                    <a:lnTo>
                      <a:pt x="282132" y="322891"/>
                    </a:lnTo>
                    <a:lnTo>
                      <a:pt x="278799" y="323345"/>
                    </a:lnTo>
                    <a:lnTo>
                      <a:pt x="275465" y="323345"/>
                    </a:lnTo>
                    <a:lnTo>
                      <a:pt x="272132" y="322891"/>
                    </a:lnTo>
                    <a:lnTo>
                      <a:pt x="268798" y="323345"/>
                    </a:lnTo>
                    <a:lnTo>
                      <a:pt x="267131" y="324103"/>
                    </a:lnTo>
                    <a:lnTo>
                      <a:pt x="265465" y="324557"/>
                    </a:lnTo>
                    <a:lnTo>
                      <a:pt x="262434" y="321527"/>
                    </a:lnTo>
                    <a:lnTo>
                      <a:pt x="259403" y="321527"/>
                    </a:lnTo>
                    <a:lnTo>
                      <a:pt x="253040" y="323042"/>
                    </a:lnTo>
                    <a:lnTo>
                      <a:pt x="248191" y="325012"/>
                    </a:lnTo>
                    <a:lnTo>
                      <a:pt x="246828" y="325921"/>
                    </a:lnTo>
                    <a:lnTo>
                      <a:pt x="244706" y="329406"/>
                    </a:lnTo>
                    <a:lnTo>
                      <a:pt x="239100" y="334103"/>
                    </a:lnTo>
                    <a:lnTo>
                      <a:pt x="234857" y="338194"/>
                    </a:lnTo>
                    <a:lnTo>
                      <a:pt x="232130" y="339861"/>
                    </a:lnTo>
                    <a:lnTo>
                      <a:pt x="229554" y="341982"/>
                    </a:lnTo>
                    <a:lnTo>
                      <a:pt x="226827" y="344710"/>
                    </a:lnTo>
                    <a:lnTo>
                      <a:pt x="223948" y="347285"/>
                    </a:lnTo>
                    <a:lnTo>
                      <a:pt x="220614" y="349104"/>
                    </a:lnTo>
                    <a:lnTo>
                      <a:pt x="217130" y="350619"/>
                    </a:lnTo>
                    <a:lnTo>
                      <a:pt x="214554" y="352589"/>
                    </a:lnTo>
                    <a:lnTo>
                      <a:pt x="212281" y="355013"/>
                    </a:lnTo>
                    <a:lnTo>
                      <a:pt x="210159" y="356680"/>
                    </a:lnTo>
                    <a:lnTo>
                      <a:pt x="207584" y="357286"/>
                    </a:lnTo>
                    <a:lnTo>
                      <a:pt x="204099" y="356831"/>
                    </a:lnTo>
                    <a:lnTo>
                      <a:pt x="200613" y="357286"/>
                    </a:lnTo>
                    <a:lnTo>
                      <a:pt x="199250" y="358650"/>
                    </a:lnTo>
                    <a:lnTo>
                      <a:pt x="197886" y="360165"/>
                    </a:lnTo>
                    <a:lnTo>
                      <a:pt x="197432" y="361377"/>
                    </a:lnTo>
                    <a:lnTo>
                      <a:pt x="198189" y="370165"/>
                    </a:lnTo>
                    <a:lnTo>
                      <a:pt x="200311" y="369256"/>
                    </a:lnTo>
                    <a:lnTo>
                      <a:pt x="202432" y="368801"/>
                    </a:lnTo>
                    <a:lnTo>
                      <a:pt x="204553" y="370165"/>
                    </a:lnTo>
                    <a:lnTo>
                      <a:pt x="206826" y="371074"/>
                    </a:lnTo>
                    <a:lnTo>
                      <a:pt x="209250" y="370620"/>
                    </a:lnTo>
                    <a:lnTo>
                      <a:pt x="211523" y="369407"/>
                    </a:lnTo>
                    <a:lnTo>
                      <a:pt x="213342" y="368953"/>
                    </a:lnTo>
                    <a:lnTo>
                      <a:pt x="220614" y="367892"/>
                    </a:lnTo>
                    <a:lnTo>
                      <a:pt x="221221" y="368044"/>
                    </a:lnTo>
                    <a:lnTo>
                      <a:pt x="230160" y="373802"/>
                    </a:lnTo>
                    <a:lnTo>
                      <a:pt x="231676" y="374256"/>
                    </a:lnTo>
                    <a:lnTo>
                      <a:pt x="231978" y="371074"/>
                    </a:lnTo>
                    <a:lnTo>
                      <a:pt x="233191" y="368347"/>
                    </a:lnTo>
                    <a:lnTo>
                      <a:pt x="234251" y="362438"/>
                    </a:lnTo>
                    <a:lnTo>
                      <a:pt x="236221" y="359407"/>
                    </a:lnTo>
                    <a:lnTo>
                      <a:pt x="239252" y="358498"/>
                    </a:lnTo>
                    <a:lnTo>
                      <a:pt x="242282" y="360468"/>
                    </a:lnTo>
                    <a:lnTo>
                      <a:pt x="245616" y="361680"/>
                    </a:lnTo>
                    <a:lnTo>
                      <a:pt x="248797" y="361377"/>
                    </a:lnTo>
                    <a:lnTo>
                      <a:pt x="255464" y="359104"/>
                    </a:lnTo>
                    <a:lnTo>
                      <a:pt x="258798" y="360013"/>
                    </a:lnTo>
                    <a:lnTo>
                      <a:pt x="260616" y="358801"/>
                    </a:lnTo>
                    <a:lnTo>
                      <a:pt x="264101" y="357589"/>
                    </a:lnTo>
                    <a:lnTo>
                      <a:pt x="267131" y="356074"/>
                    </a:lnTo>
                    <a:lnTo>
                      <a:pt x="267889" y="356225"/>
                    </a:lnTo>
                    <a:lnTo>
                      <a:pt x="270768" y="355164"/>
                    </a:lnTo>
                    <a:lnTo>
                      <a:pt x="273495" y="354558"/>
                    </a:lnTo>
                    <a:lnTo>
                      <a:pt x="278950" y="354255"/>
                    </a:lnTo>
                    <a:lnTo>
                      <a:pt x="281526" y="353195"/>
                    </a:lnTo>
                    <a:lnTo>
                      <a:pt x="284405" y="351225"/>
                    </a:lnTo>
                    <a:lnTo>
                      <a:pt x="288041" y="348043"/>
                    </a:lnTo>
                    <a:lnTo>
                      <a:pt x="289102" y="347588"/>
                    </a:lnTo>
                    <a:lnTo>
                      <a:pt x="292284" y="347285"/>
                    </a:lnTo>
                    <a:lnTo>
                      <a:pt x="295314" y="346376"/>
                    </a:lnTo>
                    <a:lnTo>
                      <a:pt x="298344" y="345922"/>
                    </a:lnTo>
                    <a:lnTo>
                      <a:pt x="302587" y="346073"/>
                    </a:lnTo>
                    <a:lnTo>
                      <a:pt x="303799" y="346679"/>
                    </a:lnTo>
                    <a:lnTo>
                      <a:pt x="307739" y="349255"/>
                    </a:lnTo>
                    <a:lnTo>
                      <a:pt x="310769" y="350164"/>
                    </a:lnTo>
                    <a:lnTo>
                      <a:pt x="315012" y="349558"/>
                    </a:lnTo>
                    <a:lnTo>
                      <a:pt x="319254" y="349558"/>
                    </a:lnTo>
                    <a:lnTo>
                      <a:pt x="320921" y="350619"/>
                    </a:lnTo>
                    <a:lnTo>
                      <a:pt x="320769" y="352740"/>
                    </a:lnTo>
                    <a:lnTo>
                      <a:pt x="320012" y="354104"/>
                    </a:lnTo>
                    <a:lnTo>
                      <a:pt x="317891" y="356680"/>
                    </a:lnTo>
                    <a:lnTo>
                      <a:pt x="316679" y="357740"/>
                    </a:lnTo>
                    <a:lnTo>
                      <a:pt x="313042" y="359710"/>
                    </a:lnTo>
                    <a:lnTo>
                      <a:pt x="312133" y="360619"/>
                    </a:lnTo>
                    <a:lnTo>
                      <a:pt x="313042" y="363801"/>
                    </a:lnTo>
                    <a:lnTo>
                      <a:pt x="312891" y="369256"/>
                    </a:lnTo>
                    <a:lnTo>
                      <a:pt x="314254" y="372589"/>
                    </a:lnTo>
                    <a:lnTo>
                      <a:pt x="316527" y="375468"/>
                    </a:lnTo>
                    <a:lnTo>
                      <a:pt x="318951" y="378044"/>
                    </a:lnTo>
                    <a:lnTo>
                      <a:pt x="320315" y="380923"/>
                    </a:lnTo>
                    <a:lnTo>
                      <a:pt x="321982" y="383196"/>
                    </a:lnTo>
                    <a:lnTo>
                      <a:pt x="328649" y="385166"/>
                    </a:lnTo>
                    <a:lnTo>
                      <a:pt x="334710" y="382893"/>
                    </a:lnTo>
                    <a:lnTo>
                      <a:pt x="338952" y="376226"/>
                    </a:lnTo>
                    <a:lnTo>
                      <a:pt x="344256" y="366528"/>
                    </a:lnTo>
                    <a:lnTo>
                      <a:pt x="345922" y="363953"/>
                    </a:lnTo>
                    <a:lnTo>
                      <a:pt x="351832" y="361528"/>
                    </a:lnTo>
                    <a:lnTo>
                      <a:pt x="358649" y="360316"/>
                    </a:lnTo>
                    <a:lnTo>
                      <a:pt x="360317" y="359559"/>
                    </a:lnTo>
                    <a:lnTo>
                      <a:pt x="361074" y="357892"/>
                    </a:lnTo>
                    <a:lnTo>
                      <a:pt x="361074" y="356225"/>
                    </a:lnTo>
                    <a:lnTo>
                      <a:pt x="360014" y="355316"/>
                    </a:lnTo>
                    <a:lnTo>
                      <a:pt x="353802" y="351528"/>
                    </a:lnTo>
                    <a:lnTo>
                      <a:pt x="351528" y="348801"/>
                    </a:lnTo>
                    <a:lnTo>
                      <a:pt x="352741" y="345316"/>
                    </a:lnTo>
                    <a:lnTo>
                      <a:pt x="355771" y="339255"/>
                    </a:lnTo>
                    <a:lnTo>
                      <a:pt x="357286" y="338043"/>
                    </a:lnTo>
                    <a:lnTo>
                      <a:pt x="358953" y="337134"/>
                    </a:lnTo>
                    <a:lnTo>
                      <a:pt x="360317" y="336831"/>
                    </a:lnTo>
                    <a:lnTo>
                      <a:pt x="361528" y="337588"/>
                    </a:lnTo>
                    <a:lnTo>
                      <a:pt x="360317" y="339406"/>
                    </a:lnTo>
                    <a:lnTo>
                      <a:pt x="360469" y="341376"/>
                    </a:lnTo>
                    <a:lnTo>
                      <a:pt x="361226" y="344710"/>
                    </a:lnTo>
                    <a:lnTo>
                      <a:pt x="360923" y="346982"/>
                    </a:lnTo>
                    <a:lnTo>
                      <a:pt x="362135" y="347740"/>
                    </a:lnTo>
                    <a:lnTo>
                      <a:pt x="363044" y="347285"/>
                    </a:lnTo>
                    <a:lnTo>
                      <a:pt x="362741" y="344407"/>
                    </a:lnTo>
                    <a:lnTo>
                      <a:pt x="363498" y="343800"/>
                    </a:lnTo>
                    <a:lnTo>
                      <a:pt x="364711" y="344407"/>
                    </a:lnTo>
                    <a:lnTo>
                      <a:pt x="365468" y="345922"/>
                    </a:lnTo>
                    <a:lnTo>
                      <a:pt x="367286" y="346073"/>
                    </a:lnTo>
                    <a:lnTo>
                      <a:pt x="370772" y="345619"/>
                    </a:lnTo>
                    <a:lnTo>
                      <a:pt x="372135" y="345619"/>
                    </a:lnTo>
                    <a:lnTo>
                      <a:pt x="372742" y="346982"/>
                    </a:lnTo>
                    <a:lnTo>
                      <a:pt x="372590" y="347740"/>
                    </a:lnTo>
                    <a:lnTo>
                      <a:pt x="366832" y="350316"/>
                    </a:lnTo>
                    <a:lnTo>
                      <a:pt x="366377" y="351528"/>
                    </a:lnTo>
                    <a:lnTo>
                      <a:pt x="373347" y="349861"/>
                    </a:lnTo>
                    <a:lnTo>
                      <a:pt x="379559" y="348952"/>
                    </a:lnTo>
                    <a:lnTo>
                      <a:pt x="385166" y="349407"/>
                    </a:lnTo>
                    <a:lnTo>
                      <a:pt x="388348" y="349255"/>
                    </a:lnTo>
                    <a:lnTo>
                      <a:pt x="391530" y="349558"/>
                    </a:lnTo>
                    <a:lnTo>
                      <a:pt x="397288" y="350922"/>
                    </a:lnTo>
                    <a:lnTo>
                      <a:pt x="399106" y="346679"/>
                    </a:lnTo>
                    <a:lnTo>
                      <a:pt x="401682" y="343194"/>
                    </a:lnTo>
                    <a:lnTo>
                      <a:pt x="403955" y="341073"/>
                    </a:lnTo>
                    <a:lnTo>
                      <a:pt x="406075" y="338800"/>
                    </a:lnTo>
                    <a:lnTo>
                      <a:pt x="406834" y="336982"/>
                    </a:lnTo>
                    <a:lnTo>
                      <a:pt x="407894" y="335618"/>
                    </a:lnTo>
                    <a:lnTo>
                      <a:pt x="411833" y="334406"/>
                    </a:lnTo>
                    <a:lnTo>
                      <a:pt x="414561" y="335315"/>
                    </a:lnTo>
                    <a:lnTo>
                      <a:pt x="416834" y="337437"/>
                    </a:lnTo>
                    <a:lnTo>
                      <a:pt x="414107" y="338952"/>
                    </a:lnTo>
                    <a:lnTo>
                      <a:pt x="414107" y="341982"/>
                    </a:lnTo>
                    <a:lnTo>
                      <a:pt x="412894" y="347437"/>
                    </a:lnTo>
                    <a:lnTo>
                      <a:pt x="413803" y="348952"/>
                    </a:lnTo>
                    <a:lnTo>
                      <a:pt x="415016" y="349861"/>
                    </a:lnTo>
                    <a:lnTo>
                      <a:pt x="416682" y="349558"/>
                    </a:lnTo>
                    <a:lnTo>
                      <a:pt x="419107" y="347437"/>
                    </a:lnTo>
                    <a:lnTo>
                      <a:pt x="420016" y="346225"/>
                    </a:lnTo>
                    <a:lnTo>
                      <a:pt x="421986" y="343043"/>
                    </a:lnTo>
                    <a:lnTo>
                      <a:pt x="422895" y="339406"/>
                    </a:lnTo>
                    <a:lnTo>
                      <a:pt x="422743" y="335012"/>
                    </a:lnTo>
                    <a:lnTo>
                      <a:pt x="423197" y="333194"/>
                    </a:lnTo>
                    <a:lnTo>
                      <a:pt x="423956" y="331527"/>
                    </a:lnTo>
                    <a:lnTo>
                      <a:pt x="426380" y="329406"/>
                    </a:lnTo>
                    <a:lnTo>
                      <a:pt x="429562" y="328800"/>
                    </a:lnTo>
                    <a:lnTo>
                      <a:pt x="432592" y="328800"/>
                    </a:lnTo>
                    <a:lnTo>
                      <a:pt x="435016" y="330467"/>
                    </a:lnTo>
                    <a:lnTo>
                      <a:pt x="436986" y="333648"/>
                    </a:lnTo>
                    <a:lnTo>
                      <a:pt x="438047" y="333497"/>
                    </a:lnTo>
                    <a:lnTo>
                      <a:pt x="439562" y="331224"/>
                    </a:lnTo>
                    <a:lnTo>
                      <a:pt x="439865" y="330315"/>
                    </a:lnTo>
                    <a:lnTo>
                      <a:pt x="438653" y="329709"/>
                    </a:lnTo>
                    <a:lnTo>
                      <a:pt x="437744" y="328345"/>
                    </a:lnTo>
                    <a:lnTo>
                      <a:pt x="437289" y="325618"/>
                    </a:lnTo>
                    <a:lnTo>
                      <a:pt x="440471" y="322891"/>
                    </a:lnTo>
                    <a:lnTo>
                      <a:pt x="440623" y="322133"/>
                    </a:lnTo>
                    <a:lnTo>
                      <a:pt x="440471" y="321224"/>
                    </a:lnTo>
                    <a:lnTo>
                      <a:pt x="440926" y="319254"/>
                    </a:lnTo>
                    <a:lnTo>
                      <a:pt x="442289" y="317890"/>
                    </a:lnTo>
                    <a:lnTo>
                      <a:pt x="444411" y="317587"/>
                    </a:lnTo>
                    <a:lnTo>
                      <a:pt x="446532" y="317587"/>
                    </a:lnTo>
                    <a:lnTo>
                      <a:pt x="448047" y="318648"/>
                    </a:lnTo>
                    <a:lnTo>
                      <a:pt x="449562" y="320163"/>
                    </a:lnTo>
                    <a:lnTo>
                      <a:pt x="449259" y="321527"/>
                    </a:lnTo>
                    <a:lnTo>
                      <a:pt x="447593" y="323194"/>
                    </a:lnTo>
                    <a:lnTo>
                      <a:pt x="445320" y="325163"/>
                    </a:lnTo>
                    <a:lnTo>
                      <a:pt x="444259" y="327588"/>
                    </a:lnTo>
                    <a:lnTo>
                      <a:pt x="442138" y="329103"/>
                    </a:lnTo>
                    <a:lnTo>
                      <a:pt x="442896" y="331073"/>
                    </a:lnTo>
                    <a:lnTo>
                      <a:pt x="442289" y="336073"/>
                    </a:lnTo>
                    <a:lnTo>
                      <a:pt x="442593" y="338043"/>
                    </a:lnTo>
                    <a:lnTo>
                      <a:pt x="441380" y="339709"/>
                    </a:lnTo>
                    <a:lnTo>
                      <a:pt x="442593" y="341073"/>
                    </a:lnTo>
                    <a:lnTo>
                      <a:pt x="444714" y="341528"/>
                    </a:lnTo>
                    <a:lnTo>
                      <a:pt x="445774" y="340012"/>
                    </a:lnTo>
                    <a:lnTo>
                      <a:pt x="448502" y="337134"/>
                    </a:lnTo>
                    <a:lnTo>
                      <a:pt x="451229" y="335315"/>
                    </a:lnTo>
                    <a:lnTo>
                      <a:pt x="455471" y="333497"/>
                    </a:lnTo>
                    <a:lnTo>
                      <a:pt x="456532" y="332739"/>
                    </a:lnTo>
                    <a:lnTo>
                      <a:pt x="457593" y="331527"/>
                    </a:lnTo>
                    <a:lnTo>
                      <a:pt x="458199" y="330164"/>
                    </a:lnTo>
                    <a:lnTo>
                      <a:pt x="458048" y="326224"/>
                    </a:lnTo>
                    <a:lnTo>
                      <a:pt x="459259" y="322588"/>
                    </a:lnTo>
                    <a:lnTo>
                      <a:pt x="463047" y="318800"/>
                    </a:lnTo>
                    <a:lnTo>
                      <a:pt x="464260" y="317890"/>
                    </a:lnTo>
                    <a:lnTo>
                      <a:pt x="470623" y="315921"/>
                    </a:lnTo>
                    <a:lnTo>
                      <a:pt x="468957" y="314102"/>
                    </a:lnTo>
                    <a:lnTo>
                      <a:pt x="467442" y="312133"/>
                    </a:lnTo>
                    <a:lnTo>
                      <a:pt x="463654" y="305466"/>
                    </a:lnTo>
                    <a:lnTo>
                      <a:pt x="462745" y="302890"/>
                    </a:lnTo>
                    <a:lnTo>
                      <a:pt x="462290" y="300163"/>
                    </a:lnTo>
                    <a:lnTo>
                      <a:pt x="462745" y="297738"/>
                    </a:lnTo>
                    <a:lnTo>
                      <a:pt x="463502" y="295314"/>
                    </a:lnTo>
                    <a:lnTo>
                      <a:pt x="463502" y="293496"/>
                    </a:lnTo>
                    <a:lnTo>
                      <a:pt x="463805" y="291677"/>
                    </a:lnTo>
                    <a:lnTo>
                      <a:pt x="466684" y="284556"/>
                    </a:lnTo>
                    <a:lnTo>
                      <a:pt x="468351" y="280919"/>
                    </a:lnTo>
                    <a:lnTo>
                      <a:pt x="469714" y="279556"/>
                    </a:lnTo>
                    <a:lnTo>
                      <a:pt x="471230" y="278495"/>
                    </a:lnTo>
                    <a:lnTo>
                      <a:pt x="473200" y="276071"/>
                    </a:lnTo>
                    <a:lnTo>
                      <a:pt x="474109" y="272586"/>
                    </a:lnTo>
                    <a:lnTo>
                      <a:pt x="475018" y="261525"/>
                    </a:lnTo>
                    <a:lnTo>
                      <a:pt x="474109" y="254252"/>
                    </a:lnTo>
                    <a:lnTo>
                      <a:pt x="472897" y="250312"/>
                    </a:lnTo>
                    <a:lnTo>
                      <a:pt x="471988" y="246373"/>
                    </a:lnTo>
                    <a:lnTo>
                      <a:pt x="471988" y="243039"/>
                    </a:lnTo>
                    <a:lnTo>
                      <a:pt x="472897" y="240009"/>
                    </a:lnTo>
                    <a:lnTo>
                      <a:pt x="476078" y="234857"/>
                    </a:lnTo>
                    <a:lnTo>
                      <a:pt x="476988" y="234100"/>
                    </a:lnTo>
                    <a:lnTo>
                      <a:pt x="480927" y="232736"/>
                    </a:lnTo>
                    <a:lnTo>
                      <a:pt x="484109" y="232736"/>
                    </a:lnTo>
                    <a:lnTo>
                      <a:pt x="486836" y="231978"/>
                    </a:lnTo>
                    <a:lnTo>
                      <a:pt x="487897" y="228948"/>
                    </a:lnTo>
                    <a:lnTo>
                      <a:pt x="488200" y="224705"/>
                    </a:lnTo>
                    <a:lnTo>
                      <a:pt x="488958" y="220614"/>
                    </a:lnTo>
                    <a:lnTo>
                      <a:pt x="489867" y="218947"/>
                    </a:lnTo>
                    <a:lnTo>
                      <a:pt x="491079" y="217432"/>
                    </a:lnTo>
                    <a:lnTo>
                      <a:pt x="491685" y="215765"/>
                    </a:lnTo>
                    <a:lnTo>
                      <a:pt x="492140" y="213947"/>
                    </a:lnTo>
                    <a:lnTo>
                      <a:pt x="493049" y="213341"/>
                    </a:lnTo>
                    <a:lnTo>
                      <a:pt x="494412" y="213190"/>
                    </a:lnTo>
                    <a:lnTo>
                      <a:pt x="495321" y="212584"/>
                    </a:lnTo>
                    <a:lnTo>
                      <a:pt x="496079" y="211826"/>
                    </a:lnTo>
                    <a:lnTo>
                      <a:pt x="496988" y="210311"/>
                    </a:lnTo>
                    <a:lnTo>
                      <a:pt x="498655" y="209705"/>
                    </a:lnTo>
                    <a:lnTo>
                      <a:pt x="498958" y="206220"/>
                    </a:lnTo>
                    <a:lnTo>
                      <a:pt x="500776" y="199553"/>
                    </a:lnTo>
                    <a:lnTo>
                      <a:pt x="501231" y="193795"/>
                    </a:lnTo>
                    <a:lnTo>
                      <a:pt x="500776" y="191977"/>
                    </a:lnTo>
                    <a:lnTo>
                      <a:pt x="500928" y="190158"/>
                    </a:lnTo>
                    <a:close/>
                    <a:moveTo>
                      <a:pt x="237433" y="374862"/>
                    </a:moveTo>
                    <a:lnTo>
                      <a:pt x="238797" y="373802"/>
                    </a:lnTo>
                    <a:lnTo>
                      <a:pt x="239706" y="372741"/>
                    </a:lnTo>
                    <a:lnTo>
                      <a:pt x="239252" y="372438"/>
                    </a:lnTo>
                    <a:lnTo>
                      <a:pt x="236070" y="372893"/>
                    </a:lnTo>
                    <a:lnTo>
                      <a:pt x="234706" y="371832"/>
                    </a:lnTo>
                    <a:lnTo>
                      <a:pt x="233191" y="371680"/>
                    </a:lnTo>
                    <a:lnTo>
                      <a:pt x="233039" y="372286"/>
                    </a:lnTo>
                    <a:lnTo>
                      <a:pt x="233191" y="373953"/>
                    </a:lnTo>
                    <a:lnTo>
                      <a:pt x="234857" y="373953"/>
                    </a:lnTo>
                    <a:lnTo>
                      <a:pt x="237433" y="374862"/>
                    </a:lnTo>
                    <a:close/>
                    <a:moveTo>
                      <a:pt x="183189" y="418197"/>
                    </a:moveTo>
                    <a:lnTo>
                      <a:pt x="184250" y="417137"/>
                    </a:lnTo>
                    <a:lnTo>
                      <a:pt x="185461" y="415318"/>
                    </a:lnTo>
                    <a:lnTo>
                      <a:pt x="182886" y="415015"/>
                    </a:lnTo>
                    <a:lnTo>
                      <a:pt x="179553" y="416985"/>
                    </a:lnTo>
                    <a:lnTo>
                      <a:pt x="180007" y="417894"/>
                    </a:lnTo>
                    <a:lnTo>
                      <a:pt x="181068" y="418197"/>
                    </a:lnTo>
                    <a:lnTo>
                      <a:pt x="183189" y="418197"/>
                    </a:lnTo>
                    <a:close/>
                    <a:moveTo>
                      <a:pt x="178189" y="416076"/>
                    </a:moveTo>
                    <a:lnTo>
                      <a:pt x="177431" y="414561"/>
                    </a:lnTo>
                    <a:lnTo>
                      <a:pt x="173036" y="415167"/>
                    </a:lnTo>
                    <a:lnTo>
                      <a:pt x="173340" y="416833"/>
                    </a:lnTo>
                    <a:lnTo>
                      <a:pt x="172127" y="420621"/>
                    </a:lnTo>
                    <a:lnTo>
                      <a:pt x="173188" y="421531"/>
                    </a:lnTo>
                    <a:lnTo>
                      <a:pt x="173188" y="422137"/>
                    </a:lnTo>
                    <a:lnTo>
                      <a:pt x="171673" y="423652"/>
                    </a:lnTo>
                    <a:lnTo>
                      <a:pt x="172582" y="424106"/>
                    </a:lnTo>
                    <a:lnTo>
                      <a:pt x="172886" y="425167"/>
                    </a:lnTo>
                    <a:lnTo>
                      <a:pt x="175006" y="424106"/>
                    </a:lnTo>
                    <a:lnTo>
                      <a:pt x="178189" y="420773"/>
                    </a:lnTo>
                    <a:lnTo>
                      <a:pt x="178189" y="416076"/>
                    </a:lnTo>
                    <a:close/>
                    <a:moveTo>
                      <a:pt x="186370" y="477139"/>
                    </a:moveTo>
                    <a:lnTo>
                      <a:pt x="183341" y="479412"/>
                    </a:lnTo>
                    <a:lnTo>
                      <a:pt x="184856" y="483048"/>
                    </a:lnTo>
                    <a:lnTo>
                      <a:pt x="186522" y="483806"/>
                    </a:lnTo>
                    <a:lnTo>
                      <a:pt x="189704" y="483200"/>
                    </a:lnTo>
                    <a:lnTo>
                      <a:pt x="191067" y="480169"/>
                    </a:lnTo>
                    <a:lnTo>
                      <a:pt x="190310" y="479563"/>
                    </a:lnTo>
                    <a:lnTo>
                      <a:pt x="186370" y="477139"/>
                    </a:lnTo>
                    <a:close/>
                    <a:moveTo>
                      <a:pt x="164855" y="439410"/>
                    </a:moveTo>
                    <a:lnTo>
                      <a:pt x="164249" y="441834"/>
                    </a:lnTo>
                    <a:lnTo>
                      <a:pt x="165158" y="441380"/>
                    </a:lnTo>
                    <a:lnTo>
                      <a:pt x="167280" y="438804"/>
                    </a:lnTo>
                    <a:lnTo>
                      <a:pt x="167128" y="437440"/>
                    </a:lnTo>
                    <a:lnTo>
                      <a:pt x="164855" y="439410"/>
                    </a:lnTo>
                    <a:close/>
                    <a:moveTo>
                      <a:pt x="161824" y="536232"/>
                    </a:moveTo>
                    <a:lnTo>
                      <a:pt x="161218" y="536686"/>
                    </a:lnTo>
                    <a:lnTo>
                      <a:pt x="160763" y="537595"/>
                    </a:lnTo>
                    <a:lnTo>
                      <a:pt x="159400" y="538656"/>
                    </a:lnTo>
                    <a:lnTo>
                      <a:pt x="158188" y="538656"/>
                    </a:lnTo>
                    <a:lnTo>
                      <a:pt x="154248" y="539717"/>
                    </a:lnTo>
                    <a:lnTo>
                      <a:pt x="152278" y="541080"/>
                    </a:lnTo>
                    <a:lnTo>
                      <a:pt x="152127" y="541989"/>
                    </a:lnTo>
                    <a:lnTo>
                      <a:pt x="151218" y="542596"/>
                    </a:lnTo>
                    <a:lnTo>
                      <a:pt x="149854" y="543050"/>
                    </a:lnTo>
                    <a:lnTo>
                      <a:pt x="152885" y="544565"/>
                    </a:lnTo>
                    <a:lnTo>
                      <a:pt x="155460" y="546687"/>
                    </a:lnTo>
                    <a:lnTo>
                      <a:pt x="157884" y="544262"/>
                    </a:lnTo>
                    <a:lnTo>
                      <a:pt x="157582" y="542899"/>
                    </a:lnTo>
                    <a:lnTo>
                      <a:pt x="158036" y="542444"/>
                    </a:lnTo>
                    <a:lnTo>
                      <a:pt x="159552" y="541687"/>
                    </a:lnTo>
                    <a:lnTo>
                      <a:pt x="161218" y="539868"/>
                    </a:lnTo>
                    <a:lnTo>
                      <a:pt x="163037" y="538353"/>
                    </a:lnTo>
                    <a:lnTo>
                      <a:pt x="164855" y="537747"/>
                    </a:lnTo>
                    <a:lnTo>
                      <a:pt x="165006" y="536686"/>
                    </a:lnTo>
                    <a:lnTo>
                      <a:pt x="164249" y="535322"/>
                    </a:lnTo>
                    <a:lnTo>
                      <a:pt x="161824" y="536232"/>
                    </a:lnTo>
                    <a:close/>
                    <a:moveTo>
                      <a:pt x="201220" y="466532"/>
                    </a:moveTo>
                    <a:lnTo>
                      <a:pt x="200463" y="467290"/>
                    </a:lnTo>
                    <a:lnTo>
                      <a:pt x="198644" y="470926"/>
                    </a:lnTo>
                    <a:lnTo>
                      <a:pt x="198493" y="473805"/>
                    </a:lnTo>
                    <a:lnTo>
                      <a:pt x="196523" y="477745"/>
                    </a:lnTo>
                    <a:lnTo>
                      <a:pt x="196523" y="479412"/>
                    </a:lnTo>
                    <a:lnTo>
                      <a:pt x="198947" y="479108"/>
                    </a:lnTo>
                    <a:lnTo>
                      <a:pt x="199856" y="475169"/>
                    </a:lnTo>
                    <a:lnTo>
                      <a:pt x="201674" y="471836"/>
                    </a:lnTo>
                    <a:lnTo>
                      <a:pt x="202432" y="467441"/>
                    </a:lnTo>
                    <a:lnTo>
                      <a:pt x="201826" y="466381"/>
                    </a:lnTo>
                    <a:lnTo>
                      <a:pt x="201220" y="466532"/>
                    </a:lnTo>
                    <a:close/>
                    <a:moveTo>
                      <a:pt x="301223" y="372286"/>
                    </a:moveTo>
                    <a:lnTo>
                      <a:pt x="300163" y="370620"/>
                    </a:lnTo>
                    <a:lnTo>
                      <a:pt x="299557" y="368801"/>
                    </a:lnTo>
                    <a:lnTo>
                      <a:pt x="299557" y="363195"/>
                    </a:lnTo>
                    <a:lnTo>
                      <a:pt x="295617" y="363498"/>
                    </a:lnTo>
                    <a:lnTo>
                      <a:pt x="291829" y="362286"/>
                    </a:lnTo>
                    <a:lnTo>
                      <a:pt x="288041" y="360316"/>
                    </a:lnTo>
                    <a:lnTo>
                      <a:pt x="284101" y="359104"/>
                    </a:lnTo>
                    <a:lnTo>
                      <a:pt x="280617" y="359407"/>
                    </a:lnTo>
                    <a:lnTo>
                      <a:pt x="277283" y="360619"/>
                    </a:lnTo>
                    <a:lnTo>
                      <a:pt x="273950" y="362740"/>
                    </a:lnTo>
                    <a:lnTo>
                      <a:pt x="272586" y="362892"/>
                    </a:lnTo>
                    <a:lnTo>
                      <a:pt x="271071" y="362589"/>
                    </a:lnTo>
                    <a:lnTo>
                      <a:pt x="272132" y="365922"/>
                    </a:lnTo>
                    <a:lnTo>
                      <a:pt x="271677" y="367892"/>
                    </a:lnTo>
                    <a:lnTo>
                      <a:pt x="270465" y="369559"/>
                    </a:lnTo>
                    <a:lnTo>
                      <a:pt x="267435" y="370923"/>
                    </a:lnTo>
                    <a:lnTo>
                      <a:pt x="264101" y="370771"/>
                    </a:lnTo>
                    <a:lnTo>
                      <a:pt x="262737" y="371074"/>
                    </a:lnTo>
                    <a:lnTo>
                      <a:pt x="259858" y="372135"/>
                    </a:lnTo>
                    <a:lnTo>
                      <a:pt x="258192" y="372286"/>
                    </a:lnTo>
                    <a:lnTo>
                      <a:pt x="255919" y="370165"/>
                    </a:lnTo>
                    <a:lnTo>
                      <a:pt x="254252" y="367438"/>
                    </a:lnTo>
                    <a:lnTo>
                      <a:pt x="252737" y="367286"/>
                    </a:lnTo>
                    <a:lnTo>
                      <a:pt x="250161" y="369559"/>
                    </a:lnTo>
                    <a:lnTo>
                      <a:pt x="248646" y="370468"/>
                    </a:lnTo>
                    <a:lnTo>
                      <a:pt x="247737" y="373044"/>
                    </a:lnTo>
                    <a:lnTo>
                      <a:pt x="246676" y="374711"/>
                    </a:lnTo>
                    <a:lnTo>
                      <a:pt x="246221" y="376529"/>
                    </a:lnTo>
                    <a:lnTo>
                      <a:pt x="244706" y="379559"/>
                    </a:lnTo>
                    <a:lnTo>
                      <a:pt x="241827" y="381378"/>
                    </a:lnTo>
                    <a:lnTo>
                      <a:pt x="237130" y="385014"/>
                    </a:lnTo>
                    <a:lnTo>
                      <a:pt x="235009" y="386378"/>
                    </a:lnTo>
                    <a:lnTo>
                      <a:pt x="230312" y="388651"/>
                    </a:lnTo>
                    <a:lnTo>
                      <a:pt x="228039" y="390317"/>
                    </a:lnTo>
                    <a:lnTo>
                      <a:pt x="229554" y="390317"/>
                    </a:lnTo>
                    <a:lnTo>
                      <a:pt x="234857" y="388045"/>
                    </a:lnTo>
                    <a:lnTo>
                      <a:pt x="237433" y="387590"/>
                    </a:lnTo>
                    <a:lnTo>
                      <a:pt x="238494" y="387741"/>
                    </a:lnTo>
                    <a:lnTo>
                      <a:pt x="238343" y="390772"/>
                    </a:lnTo>
                    <a:lnTo>
                      <a:pt x="239403" y="391530"/>
                    </a:lnTo>
                    <a:lnTo>
                      <a:pt x="241221" y="391833"/>
                    </a:lnTo>
                    <a:lnTo>
                      <a:pt x="241372" y="393045"/>
                    </a:lnTo>
                    <a:lnTo>
                      <a:pt x="241070" y="394408"/>
                    </a:lnTo>
                    <a:lnTo>
                      <a:pt x="240312" y="395318"/>
                    </a:lnTo>
                    <a:lnTo>
                      <a:pt x="240312" y="396984"/>
                    </a:lnTo>
                    <a:lnTo>
                      <a:pt x="238949" y="398954"/>
                    </a:lnTo>
                    <a:lnTo>
                      <a:pt x="240767" y="400469"/>
                    </a:lnTo>
                    <a:lnTo>
                      <a:pt x="240767" y="403197"/>
                    </a:lnTo>
                    <a:lnTo>
                      <a:pt x="243646" y="403045"/>
                    </a:lnTo>
                    <a:lnTo>
                      <a:pt x="246525" y="403500"/>
                    </a:lnTo>
                    <a:lnTo>
                      <a:pt x="244706" y="407742"/>
                    </a:lnTo>
                    <a:lnTo>
                      <a:pt x="246070" y="407288"/>
                    </a:lnTo>
                    <a:lnTo>
                      <a:pt x="249100" y="408045"/>
                    </a:lnTo>
                    <a:lnTo>
                      <a:pt x="250918" y="407894"/>
                    </a:lnTo>
                    <a:lnTo>
                      <a:pt x="253797" y="405166"/>
                    </a:lnTo>
                    <a:lnTo>
                      <a:pt x="254858" y="400924"/>
                    </a:lnTo>
                    <a:lnTo>
                      <a:pt x="255767" y="400015"/>
                    </a:lnTo>
                    <a:lnTo>
                      <a:pt x="257131" y="399560"/>
                    </a:lnTo>
                    <a:lnTo>
                      <a:pt x="258343" y="397893"/>
                    </a:lnTo>
                    <a:lnTo>
                      <a:pt x="260919" y="392893"/>
                    </a:lnTo>
                    <a:lnTo>
                      <a:pt x="262131" y="389560"/>
                    </a:lnTo>
                    <a:lnTo>
                      <a:pt x="271525" y="385014"/>
                    </a:lnTo>
                    <a:lnTo>
                      <a:pt x="273041" y="384863"/>
                    </a:lnTo>
                    <a:lnTo>
                      <a:pt x="277586" y="385620"/>
                    </a:lnTo>
                    <a:lnTo>
                      <a:pt x="280465" y="386984"/>
                    </a:lnTo>
                    <a:lnTo>
                      <a:pt x="285011" y="391984"/>
                    </a:lnTo>
                    <a:lnTo>
                      <a:pt x="286526" y="393196"/>
                    </a:lnTo>
                    <a:lnTo>
                      <a:pt x="287132" y="390166"/>
                    </a:lnTo>
                    <a:lnTo>
                      <a:pt x="288193" y="387287"/>
                    </a:lnTo>
                    <a:lnTo>
                      <a:pt x="290011" y="384559"/>
                    </a:lnTo>
                    <a:lnTo>
                      <a:pt x="291981" y="382135"/>
                    </a:lnTo>
                    <a:lnTo>
                      <a:pt x="296678" y="378499"/>
                    </a:lnTo>
                    <a:lnTo>
                      <a:pt x="301829" y="375771"/>
                    </a:lnTo>
                    <a:lnTo>
                      <a:pt x="300011" y="374862"/>
                    </a:lnTo>
                    <a:lnTo>
                      <a:pt x="301223" y="372286"/>
                    </a:lnTo>
                    <a:close/>
                    <a:moveTo>
                      <a:pt x="225766" y="400318"/>
                    </a:moveTo>
                    <a:lnTo>
                      <a:pt x="226069" y="399257"/>
                    </a:lnTo>
                    <a:lnTo>
                      <a:pt x="224857" y="398045"/>
                    </a:lnTo>
                    <a:lnTo>
                      <a:pt x="223341" y="397136"/>
                    </a:lnTo>
                    <a:lnTo>
                      <a:pt x="223493" y="395166"/>
                    </a:lnTo>
                    <a:lnTo>
                      <a:pt x="224706" y="392893"/>
                    </a:lnTo>
                    <a:lnTo>
                      <a:pt x="219857" y="393045"/>
                    </a:lnTo>
                    <a:lnTo>
                      <a:pt x="215008" y="392439"/>
                    </a:lnTo>
                    <a:lnTo>
                      <a:pt x="217130" y="388802"/>
                    </a:lnTo>
                    <a:lnTo>
                      <a:pt x="219705" y="385469"/>
                    </a:lnTo>
                    <a:lnTo>
                      <a:pt x="220008" y="383953"/>
                    </a:lnTo>
                    <a:lnTo>
                      <a:pt x="219251" y="382438"/>
                    </a:lnTo>
                    <a:lnTo>
                      <a:pt x="217735" y="381378"/>
                    </a:lnTo>
                    <a:lnTo>
                      <a:pt x="216069" y="380923"/>
                    </a:lnTo>
                    <a:lnTo>
                      <a:pt x="213796" y="381832"/>
                    </a:lnTo>
                    <a:lnTo>
                      <a:pt x="211675" y="383044"/>
                    </a:lnTo>
                    <a:lnTo>
                      <a:pt x="210159" y="383499"/>
                    </a:lnTo>
                    <a:lnTo>
                      <a:pt x="208644" y="383499"/>
                    </a:lnTo>
                    <a:lnTo>
                      <a:pt x="205008" y="382590"/>
                    </a:lnTo>
                    <a:lnTo>
                      <a:pt x="201826" y="380469"/>
                    </a:lnTo>
                    <a:lnTo>
                      <a:pt x="200463" y="377287"/>
                    </a:lnTo>
                    <a:lnTo>
                      <a:pt x="198947" y="374408"/>
                    </a:lnTo>
                    <a:lnTo>
                      <a:pt x="195916" y="373044"/>
                    </a:lnTo>
                    <a:lnTo>
                      <a:pt x="192583" y="372741"/>
                    </a:lnTo>
                    <a:lnTo>
                      <a:pt x="191371" y="373044"/>
                    </a:lnTo>
                    <a:lnTo>
                      <a:pt x="186220" y="375468"/>
                    </a:lnTo>
                    <a:lnTo>
                      <a:pt x="185461" y="376832"/>
                    </a:lnTo>
                    <a:lnTo>
                      <a:pt x="185007" y="378499"/>
                    </a:lnTo>
                    <a:lnTo>
                      <a:pt x="183037" y="381529"/>
                    </a:lnTo>
                    <a:lnTo>
                      <a:pt x="180613" y="382590"/>
                    </a:lnTo>
                    <a:lnTo>
                      <a:pt x="177734" y="382590"/>
                    </a:lnTo>
                    <a:lnTo>
                      <a:pt x="176674" y="383196"/>
                    </a:lnTo>
                    <a:lnTo>
                      <a:pt x="175915" y="384408"/>
                    </a:lnTo>
                    <a:lnTo>
                      <a:pt x="175006" y="385014"/>
                    </a:lnTo>
                    <a:lnTo>
                      <a:pt x="170764" y="386226"/>
                    </a:lnTo>
                    <a:lnTo>
                      <a:pt x="168189" y="387590"/>
                    </a:lnTo>
                    <a:lnTo>
                      <a:pt x="168491" y="388651"/>
                    </a:lnTo>
                    <a:lnTo>
                      <a:pt x="169098" y="389560"/>
                    </a:lnTo>
                    <a:lnTo>
                      <a:pt x="168794" y="391226"/>
                    </a:lnTo>
                    <a:lnTo>
                      <a:pt x="164855" y="390014"/>
                    </a:lnTo>
                    <a:lnTo>
                      <a:pt x="163642" y="389863"/>
                    </a:lnTo>
                    <a:lnTo>
                      <a:pt x="162279" y="390469"/>
                    </a:lnTo>
                    <a:lnTo>
                      <a:pt x="161522" y="393802"/>
                    </a:lnTo>
                    <a:lnTo>
                      <a:pt x="163794" y="395318"/>
                    </a:lnTo>
                    <a:lnTo>
                      <a:pt x="167430" y="398499"/>
                    </a:lnTo>
                    <a:lnTo>
                      <a:pt x="170158" y="400318"/>
                    </a:lnTo>
                    <a:lnTo>
                      <a:pt x="170916" y="401378"/>
                    </a:lnTo>
                    <a:lnTo>
                      <a:pt x="172886" y="405469"/>
                    </a:lnTo>
                    <a:lnTo>
                      <a:pt x="170461" y="405469"/>
                    </a:lnTo>
                    <a:lnTo>
                      <a:pt x="168491" y="404257"/>
                    </a:lnTo>
                    <a:lnTo>
                      <a:pt x="167128" y="401378"/>
                    </a:lnTo>
                    <a:lnTo>
                      <a:pt x="164401" y="399106"/>
                    </a:lnTo>
                    <a:lnTo>
                      <a:pt x="163946" y="401075"/>
                    </a:lnTo>
                    <a:lnTo>
                      <a:pt x="164097" y="403045"/>
                    </a:lnTo>
                    <a:lnTo>
                      <a:pt x="164703" y="404712"/>
                    </a:lnTo>
                    <a:lnTo>
                      <a:pt x="167280" y="407591"/>
                    </a:lnTo>
                    <a:lnTo>
                      <a:pt x="168339" y="409257"/>
                    </a:lnTo>
                    <a:lnTo>
                      <a:pt x="167885" y="411682"/>
                    </a:lnTo>
                    <a:lnTo>
                      <a:pt x="166825" y="413955"/>
                    </a:lnTo>
                    <a:lnTo>
                      <a:pt x="169098" y="412439"/>
                    </a:lnTo>
                    <a:lnTo>
                      <a:pt x="171825" y="409409"/>
                    </a:lnTo>
                    <a:lnTo>
                      <a:pt x="174704" y="407894"/>
                    </a:lnTo>
                    <a:lnTo>
                      <a:pt x="177431" y="408651"/>
                    </a:lnTo>
                    <a:lnTo>
                      <a:pt x="178492" y="409863"/>
                    </a:lnTo>
                    <a:lnTo>
                      <a:pt x="179855" y="410773"/>
                    </a:lnTo>
                    <a:lnTo>
                      <a:pt x="181219" y="410773"/>
                    </a:lnTo>
                    <a:lnTo>
                      <a:pt x="182432" y="410015"/>
                    </a:lnTo>
                    <a:lnTo>
                      <a:pt x="183037" y="408348"/>
                    </a:lnTo>
                    <a:lnTo>
                      <a:pt x="182886" y="406682"/>
                    </a:lnTo>
                    <a:lnTo>
                      <a:pt x="182128" y="405469"/>
                    </a:lnTo>
                    <a:lnTo>
                      <a:pt x="180916" y="405015"/>
                    </a:lnTo>
                    <a:lnTo>
                      <a:pt x="179401" y="405621"/>
                    </a:lnTo>
                    <a:lnTo>
                      <a:pt x="178037" y="405469"/>
                    </a:lnTo>
                    <a:lnTo>
                      <a:pt x="177885" y="403045"/>
                    </a:lnTo>
                    <a:lnTo>
                      <a:pt x="178037" y="400621"/>
                    </a:lnTo>
                    <a:lnTo>
                      <a:pt x="176824" y="397893"/>
                    </a:lnTo>
                    <a:lnTo>
                      <a:pt x="178189" y="396681"/>
                    </a:lnTo>
                    <a:lnTo>
                      <a:pt x="179855" y="395621"/>
                    </a:lnTo>
                    <a:lnTo>
                      <a:pt x="181219" y="396378"/>
                    </a:lnTo>
                    <a:lnTo>
                      <a:pt x="183795" y="398196"/>
                    </a:lnTo>
                    <a:lnTo>
                      <a:pt x="185461" y="402439"/>
                    </a:lnTo>
                    <a:lnTo>
                      <a:pt x="188340" y="406075"/>
                    </a:lnTo>
                    <a:lnTo>
                      <a:pt x="188947" y="409106"/>
                    </a:lnTo>
                    <a:lnTo>
                      <a:pt x="186977" y="411379"/>
                    </a:lnTo>
                    <a:lnTo>
                      <a:pt x="188795" y="412288"/>
                    </a:lnTo>
                    <a:lnTo>
                      <a:pt x="190917" y="412439"/>
                    </a:lnTo>
                    <a:lnTo>
                      <a:pt x="188795" y="417439"/>
                    </a:lnTo>
                    <a:lnTo>
                      <a:pt x="186068" y="421985"/>
                    </a:lnTo>
                    <a:lnTo>
                      <a:pt x="184250" y="424561"/>
                    </a:lnTo>
                    <a:lnTo>
                      <a:pt x="182128" y="426834"/>
                    </a:lnTo>
                    <a:lnTo>
                      <a:pt x="179249" y="427743"/>
                    </a:lnTo>
                    <a:lnTo>
                      <a:pt x="178644" y="428501"/>
                    </a:lnTo>
                    <a:lnTo>
                      <a:pt x="178644" y="432743"/>
                    </a:lnTo>
                    <a:lnTo>
                      <a:pt x="179098" y="435774"/>
                    </a:lnTo>
                    <a:lnTo>
                      <a:pt x="178492" y="438198"/>
                    </a:lnTo>
                    <a:lnTo>
                      <a:pt x="179553" y="439410"/>
                    </a:lnTo>
                    <a:lnTo>
                      <a:pt x="180764" y="440471"/>
                    </a:lnTo>
                    <a:lnTo>
                      <a:pt x="182280" y="443350"/>
                    </a:lnTo>
                    <a:lnTo>
                      <a:pt x="181825" y="446834"/>
                    </a:lnTo>
                    <a:lnTo>
                      <a:pt x="181523" y="447895"/>
                    </a:lnTo>
                    <a:lnTo>
                      <a:pt x="180613" y="448350"/>
                    </a:lnTo>
                    <a:lnTo>
                      <a:pt x="177583" y="449259"/>
                    </a:lnTo>
                    <a:lnTo>
                      <a:pt x="179098" y="452744"/>
                    </a:lnTo>
                    <a:lnTo>
                      <a:pt x="180462" y="453350"/>
                    </a:lnTo>
                    <a:lnTo>
                      <a:pt x="182128" y="453501"/>
                    </a:lnTo>
                    <a:lnTo>
                      <a:pt x="189704" y="456229"/>
                    </a:lnTo>
                    <a:lnTo>
                      <a:pt x="190613" y="455017"/>
                    </a:lnTo>
                    <a:lnTo>
                      <a:pt x="191219" y="453501"/>
                    </a:lnTo>
                    <a:lnTo>
                      <a:pt x="189099" y="450926"/>
                    </a:lnTo>
                    <a:lnTo>
                      <a:pt x="188340" y="449410"/>
                    </a:lnTo>
                    <a:lnTo>
                      <a:pt x="188038" y="447744"/>
                    </a:lnTo>
                    <a:lnTo>
                      <a:pt x="188795" y="444562"/>
                    </a:lnTo>
                    <a:lnTo>
                      <a:pt x="190310" y="441531"/>
                    </a:lnTo>
                    <a:lnTo>
                      <a:pt x="191522" y="439865"/>
                    </a:lnTo>
                    <a:lnTo>
                      <a:pt x="193189" y="439865"/>
                    </a:lnTo>
                    <a:lnTo>
                      <a:pt x="194855" y="440168"/>
                    </a:lnTo>
                    <a:lnTo>
                      <a:pt x="195462" y="441228"/>
                    </a:lnTo>
                    <a:lnTo>
                      <a:pt x="195462" y="442592"/>
                    </a:lnTo>
                    <a:lnTo>
                      <a:pt x="195007" y="443198"/>
                    </a:lnTo>
                    <a:lnTo>
                      <a:pt x="194250" y="443350"/>
                    </a:lnTo>
                    <a:lnTo>
                      <a:pt x="193037" y="443956"/>
                    </a:lnTo>
                    <a:lnTo>
                      <a:pt x="193189" y="445471"/>
                    </a:lnTo>
                    <a:lnTo>
                      <a:pt x="195007" y="449713"/>
                    </a:lnTo>
                    <a:lnTo>
                      <a:pt x="195462" y="453198"/>
                    </a:lnTo>
                    <a:lnTo>
                      <a:pt x="194553" y="456532"/>
                    </a:lnTo>
                    <a:lnTo>
                      <a:pt x="193946" y="457593"/>
                    </a:lnTo>
                    <a:lnTo>
                      <a:pt x="193037" y="458502"/>
                    </a:lnTo>
                    <a:lnTo>
                      <a:pt x="192432" y="459562"/>
                    </a:lnTo>
                    <a:lnTo>
                      <a:pt x="192432" y="460926"/>
                    </a:lnTo>
                    <a:lnTo>
                      <a:pt x="198341" y="458047"/>
                    </a:lnTo>
                    <a:lnTo>
                      <a:pt x="203644" y="453653"/>
                    </a:lnTo>
                    <a:lnTo>
                      <a:pt x="201977" y="450016"/>
                    </a:lnTo>
                    <a:lnTo>
                      <a:pt x="202887" y="448198"/>
                    </a:lnTo>
                    <a:lnTo>
                      <a:pt x="204705" y="448047"/>
                    </a:lnTo>
                    <a:lnTo>
                      <a:pt x="207735" y="448956"/>
                    </a:lnTo>
                    <a:lnTo>
                      <a:pt x="210159" y="449107"/>
                    </a:lnTo>
                    <a:lnTo>
                      <a:pt x="213493" y="441077"/>
                    </a:lnTo>
                    <a:lnTo>
                      <a:pt x="213947" y="437895"/>
                    </a:lnTo>
                    <a:lnTo>
                      <a:pt x="213493" y="434713"/>
                    </a:lnTo>
                    <a:lnTo>
                      <a:pt x="214705" y="431076"/>
                    </a:lnTo>
                    <a:lnTo>
                      <a:pt x="215463" y="427591"/>
                    </a:lnTo>
                    <a:lnTo>
                      <a:pt x="216372" y="424409"/>
                    </a:lnTo>
                    <a:lnTo>
                      <a:pt x="217584" y="421379"/>
                    </a:lnTo>
                    <a:lnTo>
                      <a:pt x="218948" y="417137"/>
                    </a:lnTo>
                    <a:lnTo>
                      <a:pt x="220918" y="413349"/>
                    </a:lnTo>
                    <a:lnTo>
                      <a:pt x="227584" y="405772"/>
                    </a:lnTo>
                    <a:lnTo>
                      <a:pt x="228342" y="404560"/>
                    </a:lnTo>
                    <a:lnTo>
                      <a:pt x="228494" y="403500"/>
                    </a:lnTo>
                    <a:lnTo>
                      <a:pt x="225766" y="401833"/>
                    </a:lnTo>
                    <a:lnTo>
                      <a:pt x="225766" y="4003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2" name="Freeform: Shape 3251">
                <a:extLst>
                  <a:ext uri="{FF2B5EF4-FFF2-40B4-BE49-F238E27FC236}">
                    <a16:creationId xmlns:a16="http://schemas.microsoft.com/office/drawing/2014/main" id="{B4DBAE4B-6B20-4B8C-BF4B-5641DFC162D1}"/>
                  </a:ext>
                </a:extLst>
              </p:cNvPr>
              <p:cNvSpPr/>
              <p:nvPr/>
            </p:nvSpPr>
            <p:spPr>
              <a:xfrm>
                <a:off x="6733447" y="3619383"/>
                <a:ext cx="118792" cy="125762"/>
              </a:xfrm>
              <a:custGeom>
                <a:avLst/>
                <a:gdLst>
                  <a:gd name="connsiteX0" fmla="*/ 117580 w 118792"/>
                  <a:gd name="connsiteY0" fmla="*/ 31062 h 125762"/>
                  <a:gd name="connsiteX1" fmla="*/ 114701 w 118792"/>
                  <a:gd name="connsiteY1" fmla="*/ 31668 h 125762"/>
                  <a:gd name="connsiteX2" fmla="*/ 111974 w 118792"/>
                  <a:gd name="connsiteY2" fmla="*/ 32425 h 125762"/>
                  <a:gd name="connsiteX3" fmla="*/ 110307 w 118792"/>
                  <a:gd name="connsiteY3" fmla="*/ 27425 h 125762"/>
                  <a:gd name="connsiteX4" fmla="*/ 112428 w 118792"/>
                  <a:gd name="connsiteY4" fmla="*/ 26819 h 125762"/>
                  <a:gd name="connsiteX5" fmla="*/ 110458 w 118792"/>
                  <a:gd name="connsiteY5" fmla="*/ 20152 h 125762"/>
                  <a:gd name="connsiteX6" fmla="*/ 108489 w 118792"/>
                  <a:gd name="connsiteY6" fmla="*/ 13334 h 125762"/>
                  <a:gd name="connsiteX7" fmla="*/ 106519 w 118792"/>
                  <a:gd name="connsiteY7" fmla="*/ 6819 h 125762"/>
                  <a:gd name="connsiteX8" fmla="*/ 104549 w 118792"/>
                  <a:gd name="connsiteY8" fmla="*/ 0 h 125762"/>
                  <a:gd name="connsiteX9" fmla="*/ 97579 w 118792"/>
                  <a:gd name="connsiteY9" fmla="*/ 4243 h 125762"/>
                  <a:gd name="connsiteX10" fmla="*/ 90458 w 118792"/>
                  <a:gd name="connsiteY10" fmla="*/ 8334 h 125762"/>
                  <a:gd name="connsiteX11" fmla="*/ 85003 w 118792"/>
                  <a:gd name="connsiteY11" fmla="*/ 11516 h 125762"/>
                  <a:gd name="connsiteX12" fmla="*/ 76669 w 118792"/>
                  <a:gd name="connsiteY12" fmla="*/ 16516 h 125762"/>
                  <a:gd name="connsiteX13" fmla="*/ 71821 w 118792"/>
                  <a:gd name="connsiteY13" fmla="*/ 19546 h 125762"/>
                  <a:gd name="connsiteX14" fmla="*/ 64851 w 118792"/>
                  <a:gd name="connsiteY14" fmla="*/ 23789 h 125762"/>
                  <a:gd name="connsiteX15" fmla="*/ 58487 w 118792"/>
                  <a:gd name="connsiteY15" fmla="*/ 27577 h 125762"/>
                  <a:gd name="connsiteX16" fmla="*/ 51062 w 118792"/>
                  <a:gd name="connsiteY16" fmla="*/ 32123 h 125762"/>
                  <a:gd name="connsiteX17" fmla="*/ 41819 w 118792"/>
                  <a:gd name="connsiteY17" fmla="*/ 30759 h 125762"/>
                  <a:gd name="connsiteX18" fmla="*/ 38941 w 118792"/>
                  <a:gd name="connsiteY18" fmla="*/ 30001 h 125762"/>
                  <a:gd name="connsiteX19" fmla="*/ 36517 w 118792"/>
                  <a:gd name="connsiteY19" fmla="*/ 27880 h 125762"/>
                  <a:gd name="connsiteX20" fmla="*/ 34698 w 118792"/>
                  <a:gd name="connsiteY20" fmla="*/ 26668 h 125762"/>
                  <a:gd name="connsiteX21" fmla="*/ 30304 w 118792"/>
                  <a:gd name="connsiteY21" fmla="*/ 25607 h 125762"/>
                  <a:gd name="connsiteX22" fmla="*/ 27577 w 118792"/>
                  <a:gd name="connsiteY22" fmla="*/ 21516 h 125762"/>
                  <a:gd name="connsiteX23" fmla="*/ 25910 w 118792"/>
                  <a:gd name="connsiteY23" fmla="*/ 20152 h 125762"/>
                  <a:gd name="connsiteX24" fmla="*/ 22879 w 118792"/>
                  <a:gd name="connsiteY24" fmla="*/ 19395 h 125762"/>
                  <a:gd name="connsiteX25" fmla="*/ 21516 w 118792"/>
                  <a:gd name="connsiteY25" fmla="*/ 19698 h 125762"/>
                  <a:gd name="connsiteX26" fmla="*/ 18031 w 118792"/>
                  <a:gd name="connsiteY26" fmla="*/ 21061 h 125762"/>
                  <a:gd name="connsiteX27" fmla="*/ 17576 w 118792"/>
                  <a:gd name="connsiteY27" fmla="*/ 21516 h 125762"/>
                  <a:gd name="connsiteX28" fmla="*/ 16970 w 118792"/>
                  <a:gd name="connsiteY28" fmla="*/ 22274 h 125762"/>
                  <a:gd name="connsiteX29" fmla="*/ 16970 w 118792"/>
                  <a:gd name="connsiteY29" fmla="*/ 22880 h 125762"/>
                  <a:gd name="connsiteX30" fmla="*/ 16516 w 118792"/>
                  <a:gd name="connsiteY30" fmla="*/ 29698 h 125762"/>
                  <a:gd name="connsiteX31" fmla="*/ 16970 w 118792"/>
                  <a:gd name="connsiteY31" fmla="*/ 34547 h 125762"/>
                  <a:gd name="connsiteX32" fmla="*/ 16061 w 118792"/>
                  <a:gd name="connsiteY32" fmla="*/ 38638 h 125762"/>
                  <a:gd name="connsiteX33" fmla="*/ 15909 w 118792"/>
                  <a:gd name="connsiteY33" fmla="*/ 42123 h 125762"/>
                  <a:gd name="connsiteX34" fmla="*/ 16667 w 118792"/>
                  <a:gd name="connsiteY34" fmla="*/ 48790 h 125762"/>
                  <a:gd name="connsiteX35" fmla="*/ 15000 w 118792"/>
                  <a:gd name="connsiteY35" fmla="*/ 51669 h 125762"/>
                  <a:gd name="connsiteX36" fmla="*/ 14091 w 118792"/>
                  <a:gd name="connsiteY36" fmla="*/ 54851 h 125762"/>
                  <a:gd name="connsiteX37" fmla="*/ 13637 w 118792"/>
                  <a:gd name="connsiteY37" fmla="*/ 57426 h 125762"/>
                  <a:gd name="connsiteX38" fmla="*/ 12879 w 118792"/>
                  <a:gd name="connsiteY38" fmla="*/ 61972 h 125762"/>
                  <a:gd name="connsiteX39" fmla="*/ 13031 w 118792"/>
                  <a:gd name="connsiteY39" fmla="*/ 62124 h 125762"/>
                  <a:gd name="connsiteX40" fmla="*/ 12273 w 118792"/>
                  <a:gd name="connsiteY40" fmla="*/ 64851 h 125762"/>
                  <a:gd name="connsiteX41" fmla="*/ 12576 w 118792"/>
                  <a:gd name="connsiteY41" fmla="*/ 65306 h 125762"/>
                  <a:gd name="connsiteX42" fmla="*/ 13334 w 118792"/>
                  <a:gd name="connsiteY42" fmla="*/ 67881 h 125762"/>
                  <a:gd name="connsiteX43" fmla="*/ 11819 w 118792"/>
                  <a:gd name="connsiteY43" fmla="*/ 72427 h 125762"/>
                  <a:gd name="connsiteX44" fmla="*/ 10152 w 118792"/>
                  <a:gd name="connsiteY44" fmla="*/ 76063 h 125762"/>
                  <a:gd name="connsiteX45" fmla="*/ 9546 w 118792"/>
                  <a:gd name="connsiteY45" fmla="*/ 77730 h 125762"/>
                  <a:gd name="connsiteX46" fmla="*/ 7879 w 118792"/>
                  <a:gd name="connsiteY46" fmla="*/ 81670 h 125762"/>
                  <a:gd name="connsiteX47" fmla="*/ 6061 w 118792"/>
                  <a:gd name="connsiteY47" fmla="*/ 86064 h 125762"/>
                  <a:gd name="connsiteX48" fmla="*/ 5152 w 118792"/>
                  <a:gd name="connsiteY48" fmla="*/ 89094 h 125762"/>
                  <a:gd name="connsiteX49" fmla="*/ 5455 w 118792"/>
                  <a:gd name="connsiteY49" fmla="*/ 90306 h 125762"/>
                  <a:gd name="connsiteX50" fmla="*/ 5000 w 118792"/>
                  <a:gd name="connsiteY50" fmla="*/ 95913 h 125762"/>
                  <a:gd name="connsiteX51" fmla="*/ 5303 w 118792"/>
                  <a:gd name="connsiteY51" fmla="*/ 97579 h 125762"/>
                  <a:gd name="connsiteX52" fmla="*/ 3182 w 118792"/>
                  <a:gd name="connsiteY52" fmla="*/ 102428 h 125762"/>
                  <a:gd name="connsiteX53" fmla="*/ 2879 w 118792"/>
                  <a:gd name="connsiteY53" fmla="*/ 104853 h 125762"/>
                  <a:gd name="connsiteX54" fmla="*/ 1970 w 118792"/>
                  <a:gd name="connsiteY54" fmla="*/ 108034 h 125762"/>
                  <a:gd name="connsiteX55" fmla="*/ 606 w 118792"/>
                  <a:gd name="connsiteY55" fmla="*/ 115004 h 125762"/>
                  <a:gd name="connsiteX56" fmla="*/ 909 w 118792"/>
                  <a:gd name="connsiteY56" fmla="*/ 117126 h 125762"/>
                  <a:gd name="connsiteX57" fmla="*/ 0 w 118792"/>
                  <a:gd name="connsiteY57" fmla="*/ 120914 h 125762"/>
                  <a:gd name="connsiteX58" fmla="*/ 5909 w 118792"/>
                  <a:gd name="connsiteY58" fmla="*/ 121974 h 125762"/>
                  <a:gd name="connsiteX59" fmla="*/ 10606 w 118792"/>
                  <a:gd name="connsiteY59" fmla="*/ 122732 h 125762"/>
                  <a:gd name="connsiteX60" fmla="*/ 17728 w 118792"/>
                  <a:gd name="connsiteY60" fmla="*/ 123944 h 125762"/>
                  <a:gd name="connsiteX61" fmla="*/ 24849 w 118792"/>
                  <a:gd name="connsiteY61" fmla="*/ 125156 h 125762"/>
                  <a:gd name="connsiteX62" fmla="*/ 29092 w 118792"/>
                  <a:gd name="connsiteY62" fmla="*/ 125762 h 125762"/>
                  <a:gd name="connsiteX63" fmla="*/ 30607 w 118792"/>
                  <a:gd name="connsiteY63" fmla="*/ 125459 h 125762"/>
                  <a:gd name="connsiteX64" fmla="*/ 36517 w 118792"/>
                  <a:gd name="connsiteY64" fmla="*/ 120914 h 125762"/>
                  <a:gd name="connsiteX65" fmla="*/ 41819 w 118792"/>
                  <a:gd name="connsiteY65" fmla="*/ 116823 h 125762"/>
                  <a:gd name="connsiteX66" fmla="*/ 44850 w 118792"/>
                  <a:gd name="connsiteY66" fmla="*/ 111671 h 125762"/>
                  <a:gd name="connsiteX67" fmla="*/ 48032 w 118792"/>
                  <a:gd name="connsiteY67" fmla="*/ 106822 h 125762"/>
                  <a:gd name="connsiteX68" fmla="*/ 49395 w 118792"/>
                  <a:gd name="connsiteY68" fmla="*/ 105762 h 125762"/>
                  <a:gd name="connsiteX69" fmla="*/ 54093 w 118792"/>
                  <a:gd name="connsiteY69" fmla="*/ 104853 h 125762"/>
                  <a:gd name="connsiteX70" fmla="*/ 61517 w 118792"/>
                  <a:gd name="connsiteY70" fmla="*/ 103337 h 125762"/>
                  <a:gd name="connsiteX71" fmla="*/ 68942 w 118792"/>
                  <a:gd name="connsiteY71" fmla="*/ 101822 h 125762"/>
                  <a:gd name="connsiteX72" fmla="*/ 69548 w 118792"/>
                  <a:gd name="connsiteY72" fmla="*/ 101367 h 125762"/>
                  <a:gd name="connsiteX73" fmla="*/ 71214 w 118792"/>
                  <a:gd name="connsiteY73" fmla="*/ 97428 h 125762"/>
                  <a:gd name="connsiteX74" fmla="*/ 73488 w 118792"/>
                  <a:gd name="connsiteY74" fmla="*/ 92428 h 125762"/>
                  <a:gd name="connsiteX75" fmla="*/ 73942 w 118792"/>
                  <a:gd name="connsiteY75" fmla="*/ 91822 h 125762"/>
                  <a:gd name="connsiteX76" fmla="*/ 74397 w 118792"/>
                  <a:gd name="connsiteY76" fmla="*/ 91367 h 125762"/>
                  <a:gd name="connsiteX77" fmla="*/ 79700 w 118792"/>
                  <a:gd name="connsiteY77" fmla="*/ 88488 h 125762"/>
                  <a:gd name="connsiteX78" fmla="*/ 82882 w 118792"/>
                  <a:gd name="connsiteY78" fmla="*/ 86822 h 125762"/>
                  <a:gd name="connsiteX79" fmla="*/ 78336 w 118792"/>
                  <a:gd name="connsiteY79" fmla="*/ 81670 h 125762"/>
                  <a:gd name="connsiteX80" fmla="*/ 74093 w 118792"/>
                  <a:gd name="connsiteY80" fmla="*/ 76973 h 125762"/>
                  <a:gd name="connsiteX81" fmla="*/ 69245 w 118792"/>
                  <a:gd name="connsiteY81" fmla="*/ 71518 h 125762"/>
                  <a:gd name="connsiteX82" fmla="*/ 65154 w 118792"/>
                  <a:gd name="connsiteY82" fmla="*/ 67427 h 125762"/>
                  <a:gd name="connsiteX83" fmla="*/ 58941 w 118792"/>
                  <a:gd name="connsiteY83" fmla="*/ 61214 h 125762"/>
                  <a:gd name="connsiteX84" fmla="*/ 55002 w 118792"/>
                  <a:gd name="connsiteY84" fmla="*/ 56972 h 125762"/>
                  <a:gd name="connsiteX85" fmla="*/ 61972 w 118792"/>
                  <a:gd name="connsiteY85" fmla="*/ 55154 h 125762"/>
                  <a:gd name="connsiteX86" fmla="*/ 69548 w 118792"/>
                  <a:gd name="connsiteY86" fmla="*/ 53032 h 125762"/>
                  <a:gd name="connsiteX87" fmla="*/ 77276 w 118792"/>
                  <a:gd name="connsiteY87" fmla="*/ 50911 h 125762"/>
                  <a:gd name="connsiteX88" fmla="*/ 86518 w 118792"/>
                  <a:gd name="connsiteY88" fmla="*/ 48335 h 125762"/>
                  <a:gd name="connsiteX89" fmla="*/ 93791 w 118792"/>
                  <a:gd name="connsiteY89" fmla="*/ 46366 h 125762"/>
                  <a:gd name="connsiteX90" fmla="*/ 104549 w 118792"/>
                  <a:gd name="connsiteY90" fmla="*/ 43335 h 125762"/>
                  <a:gd name="connsiteX91" fmla="*/ 109853 w 118792"/>
                  <a:gd name="connsiteY91" fmla="*/ 41820 h 125762"/>
                  <a:gd name="connsiteX92" fmla="*/ 110762 w 118792"/>
                  <a:gd name="connsiteY92" fmla="*/ 41517 h 125762"/>
                  <a:gd name="connsiteX93" fmla="*/ 114853 w 118792"/>
                  <a:gd name="connsiteY93" fmla="*/ 37880 h 125762"/>
                  <a:gd name="connsiteX94" fmla="*/ 118792 w 118792"/>
                  <a:gd name="connsiteY94" fmla="*/ 34395 h 12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18792" h="125762">
                    <a:moveTo>
                      <a:pt x="117580" y="31062"/>
                    </a:moveTo>
                    <a:lnTo>
                      <a:pt x="114701" y="31668"/>
                    </a:lnTo>
                    <a:lnTo>
                      <a:pt x="111974" y="32425"/>
                    </a:lnTo>
                    <a:lnTo>
                      <a:pt x="110307" y="27425"/>
                    </a:lnTo>
                    <a:lnTo>
                      <a:pt x="112428" y="26819"/>
                    </a:lnTo>
                    <a:lnTo>
                      <a:pt x="110458" y="20152"/>
                    </a:lnTo>
                    <a:lnTo>
                      <a:pt x="108489" y="13334"/>
                    </a:lnTo>
                    <a:lnTo>
                      <a:pt x="106519" y="6819"/>
                    </a:lnTo>
                    <a:lnTo>
                      <a:pt x="104549" y="0"/>
                    </a:lnTo>
                    <a:lnTo>
                      <a:pt x="97579" y="4243"/>
                    </a:lnTo>
                    <a:lnTo>
                      <a:pt x="90458" y="8334"/>
                    </a:lnTo>
                    <a:lnTo>
                      <a:pt x="85003" y="11516"/>
                    </a:lnTo>
                    <a:lnTo>
                      <a:pt x="76669" y="16516"/>
                    </a:lnTo>
                    <a:lnTo>
                      <a:pt x="71821" y="19546"/>
                    </a:lnTo>
                    <a:lnTo>
                      <a:pt x="64851" y="23789"/>
                    </a:lnTo>
                    <a:lnTo>
                      <a:pt x="58487" y="27577"/>
                    </a:lnTo>
                    <a:lnTo>
                      <a:pt x="51062" y="32123"/>
                    </a:lnTo>
                    <a:lnTo>
                      <a:pt x="41819" y="30759"/>
                    </a:lnTo>
                    <a:lnTo>
                      <a:pt x="38941" y="30001"/>
                    </a:lnTo>
                    <a:lnTo>
                      <a:pt x="36517" y="27880"/>
                    </a:lnTo>
                    <a:lnTo>
                      <a:pt x="34698" y="26668"/>
                    </a:lnTo>
                    <a:lnTo>
                      <a:pt x="30304" y="25607"/>
                    </a:lnTo>
                    <a:lnTo>
                      <a:pt x="27577" y="21516"/>
                    </a:lnTo>
                    <a:lnTo>
                      <a:pt x="25910" y="20152"/>
                    </a:lnTo>
                    <a:lnTo>
                      <a:pt x="22879" y="19395"/>
                    </a:lnTo>
                    <a:lnTo>
                      <a:pt x="21516" y="19698"/>
                    </a:lnTo>
                    <a:lnTo>
                      <a:pt x="18031" y="21061"/>
                    </a:lnTo>
                    <a:lnTo>
                      <a:pt x="17576" y="21516"/>
                    </a:lnTo>
                    <a:lnTo>
                      <a:pt x="16970" y="22274"/>
                    </a:lnTo>
                    <a:lnTo>
                      <a:pt x="16970" y="22880"/>
                    </a:lnTo>
                    <a:lnTo>
                      <a:pt x="16516" y="29698"/>
                    </a:lnTo>
                    <a:lnTo>
                      <a:pt x="16970" y="34547"/>
                    </a:lnTo>
                    <a:lnTo>
                      <a:pt x="16061" y="38638"/>
                    </a:lnTo>
                    <a:lnTo>
                      <a:pt x="15909" y="42123"/>
                    </a:lnTo>
                    <a:lnTo>
                      <a:pt x="16667" y="48790"/>
                    </a:lnTo>
                    <a:lnTo>
                      <a:pt x="15000" y="51669"/>
                    </a:lnTo>
                    <a:lnTo>
                      <a:pt x="14091" y="54851"/>
                    </a:lnTo>
                    <a:lnTo>
                      <a:pt x="13637" y="57426"/>
                    </a:lnTo>
                    <a:lnTo>
                      <a:pt x="12879" y="61972"/>
                    </a:lnTo>
                    <a:lnTo>
                      <a:pt x="13031" y="62124"/>
                    </a:lnTo>
                    <a:lnTo>
                      <a:pt x="12273" y="64851"/>
                    </a:lnTo>
                    <a:lnTo>
                      <a:pt x="12576" y="65306"/>
                    </a:lnTo>
                    <a:lnTo>
                      <a:pt x="13334" y="67881"/>
                    </a:lnTo>
                    <a:lnTo>
                      <a:pt x="11819" y="72427"/>
                    </a:lnTo>
                    <a:lnTo>
                      <a:pt x="10152" y="76063"/>
                    </a:lnTo>
                    <a:lnTo>
                      <a:pt x="9546" y="77730"/>
                    </a:lnTo>
                    <a:lnTo>
                      <a:pt x="7879" y="81670"/>
                    </a:lnTo>
                    <a:lnTo>
                      <a:pt x="6061" y="86064"/>
                    </a:lnTo>
                    <a:lnTo>
                      <a:pt x="5152" y="89094"/>
                    </a:lnTo>
                    <a:lnTo>
                      <a:pt x="5455" y="90306"/>
                    </a:lnTo>
                    <a:lnTo>
                      <a:pt x="5000" y="95913"/>
                    </a:lnTo>
                    <a:lnTo>
                      <a:pt x="5303" y="97579"/>
                    </a:lnTo>
                    <a:lnTo>
                      <a:pt x="3182" y="102428"/>
                    </a:lnTo>
                    <a:lnTo>
                      <a:pt x="2879" y="104853"/>
                    </a:lnTo>
                    <a:lnTo>
                      <a:pt x="1970" y="108034"/>
                    </a:lnTo>
                    <a:lnTo>
                      <a:pt x="606" y="115004"/>
                    </a:lnTo>
                    <a:lnTo>
                      <a:pt x="909" y="117126"/>
                    </a:lnTo>
                    <a:lnTo>
                      <a:pt x="0" y="120914"/>
                    </a:lnTo>
                    <a:lnTo>
                      <a:pt x="5909" y="121974"/>
                    </a:lnTo>
                    <a:lnTo>
                      <a:pt x="10606" y="122732"/>
                    </a:lnTo>
                    <a:lnTo>
                      <a:pt x="17728" y="123944"/>
                    </a:lnTo>
                    <a:lnTo>
                      <a:pt x="24849" y="125156"/>
                    </a:lnTo>
                    <a:lnTo>
                      <a:pt x="29092" y="125762"/>
                    </a:lnTo>
                    <a:lnTo>
                      <a:pt x="30607" y="125459"/>
                    </a:lnTo>
                    <a:lnTo>
                      <a:pt x="36517" y="120914"/>
                    </a:lnTo>
                    <a:lnTo>
                      <a:pt x="41819" y="116823"/>
                    </a:lnTo>
                    <a:lnTo>
                      <a:pt x="44850" y="111671"/>
                    </a:lnTo>
                    <a:lnTo>
                      <a:pt x="48032" y="106822"/>
                    </a:lnTo>
                    <a:lnTo>
                      <a:pt x="49395" y="105762"/>
                    </a:lnTo>
                    <a:lnTo>
                      <a:pt x="54093" y="104853"/>
                    </a:lnTo>
                    <a:lnTo>
                      <a:pt x="61517" y="103337"/>
                    </a:lnTo>
                    <a:lnTo>
                      <a:pt x="68942" y="101822"/>
                    </a:lnTo>
                    <a:lnTo>
                      <a:pt x="69548" y="101367"/>
                    </a:lnTo>
                    <a:lnTo>
                      <a:pt x="71214" y="97428"/>
                    </a:lnTo>
                    <a:lnTo>
                      <a:pt x="73488" y="92428"/>
                    </a:lnTo>
                    <a:lnTo>
                      <a:pt x="73942" y="91822"/>
                    </a:lnTo>
                    <a:lnTo>
                      <a:pt x="74397" y="91367"/>
                    </a:lnTo>
                    <a:lnTo>
                      <a:pt x="79700" y="88488"/>
                    </a:lnTo>
                    <a:lnTo>
                      <a:pt x="82882" y="86822"/>
                    </a:lnTo>
                    <a:lnTo>
                      <a:pt x="78336" y="81670"/>
                    </a:lnTo>
                    <a:lnTo>
                      <a:pt x="74093" y="76973"/>
                    </a:lnTo>
                    <a:lnTo>
                      <a:pt x="69245" y="71518"/>
                    </a:lnTo>
                    <a:lnTo>
                      <a:pt x="65154" y="67427"/>
                    </a:lnTo>
                    <a:lnTo>
                      <a:pt x="58941" y="61214"/>
                    </a:lnTo>
                    <a:lnTo>
                      <a:pt x="55002" y="56972"/>
                    </a:lnTo>
                    <a:lnTo>
                      <a:pt x="61972" y="55154"/>
                    </a:lnTo>
                    <a:lnTo>
                      <a:pt x="69548" y="53032"/>
                    </a:lnTo>
                    <a:lnTo>
                      <a:pt x="77276" y="50911"/>
                    </a:lnTo>
                    <a:lnTo>
                      <a:pt x="86518" y="48335"/>
                    </a:lnTo>
                    <a:lnTo>
                      <a:pt x="93791" y="46366"/>
                    </a:lnTo>
                    <a:lnTo>
                      <a:pt x="104549" y="43335"/>
                    </a:lnTo>
                    <a:lnTo>
                      <a:pt x="109853" y="41820"/>
                    </a:lnTo>
                    <a:lnTo>
                      <a:pt x="110762" y="41517"/>
                    </a:lnTo>
                    <a:lnTo>
                      <a:pt x="114853" y="37880"/>
                    </a:lnTo>
                    <a:lnTo>
                      <a:pt x="118792" y="34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3" name="Freeform: Shape 3252">
                <a:extLst>
                  <a:ext uri="{FF2B5EF4-FFF2-40B4-BE49-F238E27FC236}">
                    <a16:creationId xmlns:a16="http://schemas.microsoft.com/office/drawing/2014/main" id="{05A00137-8B4A-481F-9DE4-8378082B7A5F}"/>
                  </a:ext>
                </a:extLst>
              </p:cNvPr>
              <p:cNvSpPr/>
              <p:nvPr/>
            </p:nvSpPr>
            <p:spPr>
              <a:xfrm>
                <a:off x="3633787" y="4052884"/>
                <a:ext cx="58183" cy="22576"/>
              </a:xfrm>
              <a:custGeom>
                <a:avLst/>
                <a:gdLst>
                  <a:gd name="connsiteX0" fmla="*/ 57578 w 58183"/>
                  <a:gd name="connsiteY0" fmla="*/ 15455 h 22576"/>
                  <a:gd name="connsiteX1" fmla="*/ 54396 w 58183"/>
                  <a:gd name="connsiteY1" fmla="*/ 10304 h 22576"/>
                  <a:gd name="connsiteX2" fmla="*/ 44850 w 58183"/>
                  <a:gd name="connsiteY2" fmla="*/ 7425 h 22576"/>
                  <a:gd name="connsiteX3" fmla="*/ 42274 w 58183"/>
                  <a:gd name="connsiteY3" fmla="*/ 6061 h 22576"/>
                  <a:gd name="connsiteX4" fmla="*/ 39092 w 58183"/>
                  <a:gd name="connsiteY4" fmla="*/ 3637 h 22576"/>
                  <a:gd name="connsiteX5" fmla="*/ 37729 w 58183"/>
                  <a:gd name="connsiteY5" fmla="*/ 3333 h 22576"/>
                  <a:gd name="connsiteX6" fmla="*/ 36213 w 58183"/>
                  <a:gd name="connsiteY6" fmla="*/ 3333 h 22576"/>
                  <a:gd name="connsiteX7" fmla="*/ 32880 w 58183"/>
                  <a:gd name="connsiteY7" fmla="*/ 2727 h 22576"/>
                  <a:gd name="connsiteX8" fmla="*/ 29395 w 58183"/>
                  <a:gd name="connsiteY8" fmla="*/ 1818 h 22576"/>
                  <a:gd name="connsiteX9" fmla="*/ 26971 w 58183"/>
                  <a:gd name="connsiteY9" fmla="*/ 1515 h 22576"/>
                  <a:gd name="connsiteX10" fmla="*/ 24243 w 58183"/>
                  <a:gd name="connsiteY10" fmla="*/ 1515 h 22576"/>
                  <a:gd name="connsiteX11" fmla="*/ 12728 w 58183"/>
                  <a:gd name="connsiteY11" fmla="*/ 0 h 22576"/>
                  <a:gd name="connsiteX12" fmla="*/ 11213 w 58183"/>
                  <a:gd name="connsiteY12" fmla="*/ 606 h 22576"/>
                  <a:gd name="connsiteX13" fmla="*/ 9849 w 58183"/>
                  <a:gd name="connsiteY13" fmla="*/ 1515 h 22576"/>
                  <a:gd name="connsiteX14" fmla="*/ 6667 w 58183"/>
                  <a:gd name="connsiteY14" fmla="*/ 2121 h 22576"/>
                  <a:gd name="connsiteX15" fmla="*/ 3333 w 58183"/>
                  <a:gd name="connsiteY15" fmla="*/ 1970 h 22576"/>
                  <a:gd name="connsiteX16" fmla="*/ 2424 w 58183"/>
                  <a:gd name="connsiteY16" fmla="*/ 2576 h 22576"/>
                  <a:gd name="connsiteX17" fmla="*/ 303 w 58183"/>
                  <a:gd name="connsiteY17" fmla="*/ 4849 h 22576"/>
                  <a:gd name="connsiteX18" fmla="*/ 0 w 58183"/>
                  <a:gd name="connsiteY18" fmla="*/ 6516 h 22576"/>
                  <a:gd name="connsiteX19" fmla="*/ 1212 w 58183"/>
                  <a:gd name="connsiteY19" fmla="*/ 8485 h 22576"/>
                  <a:gd name="connsiteX20" fmla="*/ 7273 w 58183"/>
                  <a:gd name="connsiteY20" fmla="*/ 9243 h 22576"/>
                  <a:gd name="connsiteX21" fmla="*/ 8031 w 58183"/>
                  <a:gd name="connsiteY21" fmla="*/ 9697 h 22576"/>
                  <a:gd name="connsiteX22" fmla="*/ 10303 w 58183"/>
                  <a:gd name="connsiteY22" fmla="*/ 13334 h 22576"/>
                  <a:gd name="connsiteX23" fmla="*/ 12576 w 58183"/>
                  <a:gd name="connsiteY23" fmla="*/ 14092 h 22576"/>
                  <a:gd name="connsiteX24" fmla="*/ 13334 w 58183"/>
                  <a:gd name="connsiteY24" fmla="*/ 15001 h 22576"/>
                  <a:gd name="connsiteX25" fmla="*/ 15607 w 58183"/>
                  <a:gd name="connsiteY25" fmla="*/ 18031 h 22576"/>
                  <a:gd name="connsiteX26" fmla="*/ 18334 w 58183"/>
                  <a:gd name="connsiteY26" fmla="*/ 18486 h 22576"/>
                  <a:gd name="connsiteX27" fmla="*/ 23940 w 58183"/>
                  <a:gd name="connsiteY27" fmla="*/ 18637 h 22576"/>
                  <a:gd name="connsiteX28" fmla="*/ 26668 w 58183"/>
                  <a:gd name="connsiteY28" fmla="*/ 19243 h 22576"/>
                  <a:gd name="connsiteX29" fmla="*/ 28941 w 58183"/>
                  <a:gd name="connsiteY29" fmla="*/ 20758 h 22576"/>
                  <a:gd name="connsiteX30" fmla="*/ 31062 w 58183"/>
                  <a:gd name="connsiteY30" fmla="*/ 22577 h 22576"/>
                  <a:gd name="connsiteX31" fmla="*/ 32274 w 58183"/>
                  <a:gd name="connsiteY31" fmla="*/ 18940 h 22576"/>
                  <a:gd name="connsiteX32" fmla="*/ 33335 w 58183"/>
                  <a:gd name="connsiteY32" fmla="*/ 18031 h 22576"/>
                  <a:gd name="connsiteX33" fmla="*/ 34698 w 58183"/>
                  <a:gd name="connsiteY33" fmla="*/ 17425 h 22576"/>
                  <a:gd name="connsiteX34" fmla="*/ 35607 w 58183"/>
                  <a:gd name="connsiteY34" fmla="*/ 18637 h 22576"/>
                  <a:gd name="connsiteX35" fmla="*/ 38183 w 58183"/>
                  <a:gd name="connsiteY35" fmla="*/ 18789 h 22576"/>
                  <a:gd name="connsiteX36" fmla="*/ 39395 w 58183"/>
                  <a:gd name="connsiteY36" fmla="*/ 17273 h 22576"/>
                  <a:gd name="connsiteX37" fmla="*/ 40607 w 58183"/>
                  <a:gd name="connsiteY37" fmla="*/ 15304 h 22576"/>
                  <a:gd name="connsiteX38" fmla="*/ 42274 w 58183"/>
                  <a:gd name="connsiteY38" fmla="*/ 15304 h 22576"/>
                  <a:gd name="connsiteX39" fmla="*/ 43486 w 58183"/>
                  <a:gd name="connsiteY39" fmla="*/ 15607 h 22576"/>
                  <a:gd name="connsiteX40" fmla="*/ 42729 w 58183"/>
                  <a:gd name="connsiteY40" fmla="*/ 16213 h 22576"/>
                  <a:gd name="connsiteX41" fmla="*/ 45608 w 58183"/>
                  <a:gd name="connsiteY41" fmla="*/ 16667 h 22576"/>
                  <a:gd name="connsiteX42" fmla="*/ 46820 w 58183"/>
                  <a:gd name="connsiteY42" fmla="*/ 17425 h 22576"/>
                  <a:gd name="connsiteX43" fmla="*/ 49699 w 58183"/>
                  <a:gd name="connsiteY43" fmla="*/ 18334 h 22576"/>
                  <a:gd name="connsiteX44" fmla="*/ 52578 w 58183"/>
                  <a:gd name="connsiteY44" fmla="*/ 18334 h 22576"/>
                  <a:gd name="connsiteX45" fmla="*/ 55760 w 58183"/>
                  <a:gd name="connsiteY45" fmla="*/ 18031 h 22576"/>
                  <a:gd name="connsiteX46" fmla="*/ 58184 w 58183"/>
                  <a:gd name="connsiteY46" fmla="*/ 16970 h 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8183" h="22576">
                    <a:moveTo>
                      <a:pt x="57578" y="15455"/>
                    </a:moveTo>
                    <a:lnTo>
                      <a:pt x="54396" y="10304"/>
                    </a:lnTo>
                    <a:lnTo>
                      <a:pt x="44850" y="7425"/>
                    </a:lnTo>
                    <a:lnTo>
                      <a:pt x="42274" y="6061"/>
                    </a:lnTo>
                    <a:lnTo>
                      <a:pt x="39092" y="3637"/>
                    </a:lnTo>
                    <a:lnTo>
                      <a:pt x="37729" y="3333"/>
                    </a:lnTo>
                    <a:lnTo>
                      <a:pt x="36213" y="3333"/>
                    </a:lnTo>
                    <a:lnTo>
                      <a:pt x="32880" y="2727"/>
                    </a:lnTo>
                    <a:lnTo>
                      <a:pt x="29395" y="1818"/>
                    </a:lnTo>
                    <a:lnTo>
                      <a:pt x="26971" y="1515"/>
                    </a:lnTo>
                    <a:lnTo>
                      <a:pt x="24243" y="1515"/>
                    </a:lnTo>
                    <a:lnTo>
                      <a:pt x="12728" y="0"/>
                    </a:lnTo>
                    <a:lnTo>
                      <a:pt x="11213" y="606"/>
                    </a:lnTo>
                    <a:lnTo>
                      <a:pt x="9849" y="1515"/>
                    </a:lnTo>
                    <a:lnTo>
                      <a:pt x="6667" y="2121"/>
                    </a:lnTo>
                    <a:lnTo>
                      <a:pt x="3333" y="1970"/>
                    </a:lnTo>
                    <a:lnTo>
                      <a:pt x="2424" y="2576"/>
                    </a:lnTo>
                    <a:lnTo>
                      <a:pt x="303" y="4849"/>
                    </a:lnTo>
                    <a:lnTo>
                      <a:pt x="0" y="6516"/>
                    </a:lnTo>
                    <a:lnTo>
                      <a:pt x="1212" y="8485"/>
                    </a:lnTo>
                    <a:lnTo>
                      <a:pt x="7273" y="9243"/>
                    </a:lnTo>
                    <a:lnTo>
                      <a:pt x="8031" y="9697"/>
                    </a:lnTo>
                    <a:lnTo>
                      <a:pt x="10303" y="13334"/>
                    </a:lnTo>
                    <a:lnTo>
                      <a:pt x="12576" y="14092"/>
                    </a:lnTo>
                    <a:lnTo>
                      <a:pt x="13334" y="15001"/>
                    </a:lnTo>
                    <a:lnTo>
                      <a:pt x="15607" y="18031"/>
                    </a:lnTo>
                    <a:lnTo>
                      <a:pt x="18334" y="18486"/>
                    </a:lnTo>
                    <a:lnTo>
                      <a:pt x="23940" y="18637"/>
                    </a:lnTo>
                    <a:lnTo>
                      <a:pt x="26668" y="19243"/>
                    </a:lnTo>
                    <a:lnTo>
                      <a:pt x="28941" y="20758"/>
                    </a:lnTo>
                    <a:lnTo>
                      <a:pt x="31062" y="22577"/>
                    </a:lnTo>
                    <a:lnTo>
                      <a:pt x="32274" y="18940"/>
                    </a:lnTo>
                    <a:lnTo>
                      <a:pt x="33335" y="18031"/>
                    </a:lnTo>
                    <a:lnTo>
                      <a:pt x="34698" y="17425"/>
                    </a:lnTo>
                    <a:lnTo>
                      <a:pt x="35607" y="18637"/>
                    </a:lnTo>
                    <a:lnTo>
                      <a:pt x="38183" y="18789"/>
                    </a:lnTo>
                    <a:lnTo>
                      <a:pt x="39395" y="17273"/>
                    </a:lnTo>
                    <a:lnTo>
                      <a:pt x="40607" y="15304"/>
                    </a:lnTo>
                    <a:lnTo>
                      <a:pt x="42274" y="15304"/>
                    </a:lnTo>
                    <a:lnTo>
                      <a:pt x="43486" y="15607"/>
                    </a:lnTo>
                    <a:lnTo>
                      <a:pt x="42729" y="16213"/>
                    </a:lnTo>
                    <a:lnTo>
                      <a:pt x="45608" y="16667"/>
                    </a:lnTo>
                    <a:lnTo>
                      <a:pt x="46820" y="17425"/>
                    </a:lnTo>
                    <a:lnTo>
                      <a:pt x="49699" y="18334"/>
                    </a:lnTo>
                    <a:lnTo>
                      <a:pt x="52578" y="18334"/>
                    </a:lnTo>
                    <a:lnTo>
                      <a:pt x="55760" y="18031"/>
                    </a:lnTo>
                    <a:lnTo>
                      <a:pt x="58184"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4" name="Freeform: Shape 3253">
                <a:extLst>
                  <a:ext uri="{FF2B5EF4-FFF2-40B4-BE49-F238E27FC236}">
                    <a16:creationId xmlns:a16="http://schemas.microsoft.com/office/drawing/2014/main" id="{43B7678E-B6C5-4F34-A51C-144816064781}"/>
                  </a:ext>
                </a:extLst>
              </p:cNvPr>
              <p:cNvSpPr/>
              <p:nvPr/>
            </p:nvSpPr>
            <p:spPr>
              <a:xfrm>
                <a:off x="5958570" y="3176033"/>
                <a:ext cx="324254" cy="341527"/>
              </a:xfrm>
              <a:custGeom>
                <a:avLst/>
                <a:gdLst>
                  <a:gd name="connsiteX0" fmla="*/ 45305 w 324254"/>
                  <a:gd name="connsiteY0" fmla="*/ 202280 h 341527"/>
                  <a:gd name="connsiteX1" fmla="*/ 46214 w 324254"/>
                  <a:gd name="connsiteY1" fmla="*/ 201523 h 341527"/>
                  <a:gd name="connsiteX2" fmla="*/ 46820 w 324254"/>
                  <a:gd name="connsiteY2" fmla="*/ 200310 h 341527"/>
                  <a:gd name="connsiteX3" fmla="*/ 46214 w 324254"/>
                  <a:gd name="connsiteY3" fmla="*/ 199704 h 341527"/>
                  <a:gd name="connsiteX4" fmla="*/ 44699 w 324254"/>
                  <a:gd name="connsiteY4" fmla="*/ 200462 h 341527"/>
                  <a:gd name="connsiteX5" fmla="*/ 43486 w 324254"/>
                  <a:gd name="connsiteY5" fmla="*/ 202735 h 341527"/>
                  <a:gd name="connsiteX6" fmla="*/ 43032 w 324254"/>
                  <a:gd name="connsiteY6" fmla="*/ 203795 h 341527"/>
                  <a:gd name="connsiteX7" fmla="*/ 44395 w 324254"/>
                  <a:gd name="connsiteY7" fmla="*/ 203947 h 341527"/>
                  <a:gd name="connsiteX8" fmla="*/ 45305 w 324254"/>
                  <a:gd name="connsiteY8" fmla="*/ 202280 h 341527"/>
                  <a:gd name="connsiteX9" fmla="*/ 83488 w 324254"/>
                  <a:gd name="connsiteY9" fmla="*/ 209553 h 341527"/>
                  <a:gd name="connsiteX10" fmla="*/ 82124 w 324254"/>
                  <a:gd name="connsiteY10" fmla="*/ 207432 h 341527"/>
                  <a:gd name="connsiteX11" fmla="*/ 80609 w 324254"/>
                  <a:gd name="connsiteY11" fmla="*/ 206371 h 341527"/>
                  <a:gd name="connsiteX12" fmla="*/ 80003 w 324254"/>
                  <a:gd name="connsiteY12" fmla="*/ 205765 h 341527"/>
                  <a:gd name="connsiteX13" fmla="*/ 81064 w 324254"/>
                  <a:gd name="connsiteY13" fmla="*/ 203795 h 341527"/>
                  <a:gd name="connsiteX14" fmla="*/ 81973 w 324254"/>
                  <a:gd name="connsiteY14" fmla="*/ 203341 h 341527"/>
                  <a:gd name="connsiteX15" fmla="*/ 81821 w 324254"/>
                  <a:gd name="connsiteY15" fmla="*/ 202886 h 341527"/>
                  <a:gd name="connsiteX16" fmla="*/ 80761 w 324254"/>
                  <a:gd name="connsiteY16" fmla="*/ 202432 h 341527"/>
                  <a:gd name="connsiteX17" fmla="*/ 79700 w 324254"/>
                  <a:gd name="connsiteY17" fmla="*/ 201674 h 341527"/>
                  <a:gd name="connsiteX18" fmla="*/ 78639 w 324254"/>
                  <a:gd name="connsiteY18" fmla="*/ 200007 h 341527"/>
                  <a:gd name="connsiteX19" fmla="*/ 77427 w 324254"/>
                  <a:gd name="connsiteY19" fmla="*/ 198644 h 341527"/>
                  <a:gd name="connsiteX20" fmla="*/ 74548 w 324254"/>
                  <a:gd name="connsiteY20" fmla="*/ 197128 h 341527"/>
                  <a:gd name="connsiteX21" fmla="*/ 72730 w 324254"/>
                  <a:gd name="connsiteY21" fmla="*/ 196977 h 341527"/>
                  <a:gd name="connsiteX22" fmla="*/ 71215 w 324254"/>
                  <a:gd name="connsiteY22" fmla="*/ 195159 h 341527"/>
                  <a:gd name="connsiteX23" fmla="*/ 70003 w 324254"/>
                  <a:gd name="connsiteY23" fmla="*/ 195613 h 341527"/>
                  <a:gd name="connsiteX24" fmla="*/ 69548 w 324254"/>
                  <a:gd name="connsiteY24" fmla="*/ 197431 h 341527"/>
                  <a:gd name="connsiteX25" fmla="*/ 68033 w 324254"/>
                  <a:gd name="connsiteY25" fmla="*/ 198795 h 341527"/>
                  <a:gd name="connsiteX26" fmla="*/ 65003 w 324254"/>
                  <a:gd name="connsiteY26" fmla="*/ 199856 h 341527"/>
                  <a:gd name="connsiteX27" fmla="*/ 60154 w 324254"/>
                  <a:gd name="connsiteY27" fmla="*/ 205007 h 341527"/>
                  <a:gd name="connsiteX28" fmla="*/ 56820 w 324254"/>
                  <a:gd name="connsiteY28" fmla="*/ 206826 h 341527"/>
                  <a:gd name="connsiteX29" fmla="*/ 53336 w 324254"/>
                  <a:gd name="connsiteY29" fmla="*/ 208341 h 341527"/>
                  <a:gd name="connsiteX30" fmla="*/ 50457 w 324254"/>
                  <a:gd name="connsiteY30" fmla="*/ 208795 h 341527"/>
                  <a:gd name="connsiteX31" fmla="*/ 47578 w 324254"/>
                  <a:gd name="connsiteY31" fmla="*/ 208341 h 341527"/>
                  <a:gd name="connsiteX32" fmla="*/ 46062 w 324254"/>
                  <a:gd name="connsiteY32" fmla="*/ 208038 h 341527"/>
                  <a:gd name="connsiteX33" fmla="*/ 44244 w 324254"/>
                  <a:gd name="connsiteY33" fmla="*/ 206371 h 341527"/>
                  <a:gd name="connsiteX34" fmla="*/ 43638 w 324254"/>
                  <a:gd name="connsiteY34" fmla="*/ 206220 h 341527"/>
                  <a:gd name="connsiteX35" fmla="*/ 43032 w 324254"/>
                  <a:gd name="connsiteY35" fmla="*/ 207583 h 341527"/>
                  <a:gd name="connsiteX36" fmla="*/ 42426 w 324254"/>
                  <a:gd name="connsiteY36" fmla="*/ 210765 h 341527"/>
                  <a:gd name="connsiteX37" fmla="*/ 42729 w 324254"/>
                  <a:gd name="connsiteY37" fmla="*/ 214705 h 341527"/>
                  <a:gd name="connsiteX38" fmla="*/ 43790 w 324254"/>
                  <a:gd name="connsiteY38" fmla="*/ 216220 h 341527"/>
                  <a:gd name="connsiteX39" fmla="*/ 45608 w 324254"/>
                  <a:gd name="connsiteY39" fmla="*/ 217735 h 341527"/>
                  <a:gd name="connsiteX40" fmla="*/ 47123 w 324254"/>
                  <a:gd name="connsiteY40" fmla="*/ 219554 h 341527"/>
                  <a:gd name="connsiteX41" fmla="*/ 48032 w 324254"/>
                  <a:gd name="connsiteY41" fmla="*/ 221372 h 341527"/>
                  <a:gd name="connsiteX42" fmla="*/ 48639 w 324254"/>
                  <a:gd name="connsiteY42" fmla="*/ 224251 h 341527"/>
                  <a:gd name="connsiteX43" fmla="*/ 50305 w 324254"/>
                  <a:gd name="connsiteY43" fmla="*/ 226220 h 341527"/>
                  <a:gd name="connsiteX44" fmla="*/ 50305 w 324254"/>
                  <a:gd name="connsiteY44" fmla="*/ 231372 h 341527"/>
                  <a:gd name="connsiteX45" fmla="*/ 49850 w 324254"/>
                  <a:gd name="connsiteY45" fmla="*/ 233039 h 341527"/>
                  <a:gd name="connsiteX46" fmla="*/ 48639 w 324254"/>
                  <a:gd name="connsiteY46" fmla="*/ 234251 h 341527"/>
                  <a:gd name="connsiteX47" fmla="*/ 48335 w 324254"/>
                  <a:gd name="connsiteY47" fmla="*/ 236221 h 341527"/>
                  <a:gd name="connsiteX48" fmla="*/ 48639 w 324254"/>
                  <a:gd name="connsiteY48" fmla="*/ 238191 h 341527"/>
                  <a:gd name="connsiteX49" fmla="*/ 51062 w 324254"/>
                  <a:gd name="connsiteY49" fmla="*/ 238797 h 341527"/>
                  <a:gd name="connsiteX50" fmla="*/ 52427 w 324254"/>
                  <a:gd name="connsiteY50" fmla="*/ 240615 h 341527"/>
                  <a:gd name="connsiteX51" fmla="*/ 52123 w 324254"/>
                  <a:gd name="connsiteY51" fmla="*/ 242888 h 341527"/>
                  <a:gd name="connsiteX52" fmla="*/ 52123 w 324254"/>
                  <a:gd name="connsiteY52" fmla="*/ 244100 h 341527"/>
                  <a:gd name="connsiteX53" fmla="*/ 51366 w 324254"/>
                  <a:gd name="connsiteY53" fmla="*/ 244403 h 341527"/>
                  <a:gd name="connsiteX54" fmla="*/ 50305 w 324254"/>
                  <a:gd name="connsiteY54" fmla="*/ 243494 h 341527"/>
                  <a:gd name="connsiteX55" fmla="*/ 49699 w 324254"/>
                  <a:gd name="connsiteY55" fmla="*/ 244403 h 341527"/>
                  <a:gd name="connsiteX56" fmla="*/ 50002 w 324254"/>
                  <a:gd name="connsiteY56" fmla="*/ 246827 h 341527"/>
                  <a:gd name="connsiteX57" fmla="*/ 49548 w 324254"/>
                  <a:gd name="connsiteY57" fmla="*/ 249555 h 341527"/>
                  <a:gd name="connsiteX58" fmla="*/ 48790 w 324254"/>
                  <a:gd name="connsiteY58" fmla="*/ 250767 h 341527"/>
                  <a:gd name="connsiteX59" fmla="*/ 48183 w 324254"/>
                  <a:gd name="connsiteY59" fmla="*/ 252130 h 341527"/>
                  <a:gd name="connsiteX60" fmla="*/ 48487 w 324254"/>
                  <a:gd name="connsiteY60" fmla="*/ 258191 h 341527"/>
                  <a:gd name="connsiteX61" fmla="*/ 48639 w 324254"/>
                  <a:gd name="connsiteY61" fmla="*/ 260919 h 341527"/>
                  <a:gd name="connsiteX62" fmla="*/ 50457 w 324254"/>
                  <a:gd name="connsiteY62" fmla="*/ 263949 h 341527"/>
                  <a:gd name="connsiteX63" fmla="*/ 52275 w 324254"/>
                  <a:gd name="connsiteY63" fmla="*/ 266525 h 341527"/>
                  <a:gd name="connsiteX64" fmla="*/ 53487 w 324254"/>
                  <a:gd name="connsiteY64" fmla="*/ 268646 h 341527"/>
                  <a:gd name="connsiteX65" fmla="*/ 55002 w 324254"/>
                  <a:gd name="connsiteY65" fmla="*/ 269858 h 341527"/>
                  <a:gd name="connsiteX66" fmla="*/ 56972 w 324254"/>
                  <a:gd name="connsiteY66" fmla="*/ 269858 h 341527"/>
                  <a:gd name="connsiteX67" fmla="*/ 59245 w 324254"/>
                  <a:gd name="connsiteY67" fmla="*/ 270465 h 341527"/>
                  <a:gd name="connsiteX68" fmla="*/ 61366 w 324254"/>
                  <a:gd name="connsiteY68" fmla="*/ 270313 h 341527"/>
                  <a:gd name="connsiteX69" fmla="*/ 63639 w 324254"/>
                  <a:gd name="connsiteY69" fmla="*/ 268646 h 341527"/>
                  <a:gd name="connsiteX70" fmla="*/ 65154 w 324254"/>
                  <a:gd name="connsiteY70" fmla="*/ 266070 h 341527"/>
                  <a:gd name="connsiteX71" fmla="*/ 66063 w 324254"/>
                  <a:gd name="connsiteY71" fmla="*/ 259858 h 341527"/>
                  <a:gd name="connsiteX72" fmla="*/ 67275 w 324254"/>
                  <a:gd name="connsiteY72" fmla="*/ 260767 h 341527"/>
                  <a:gd name="connsiteX73" fmla="*/ 68639 w 324254"/>
                  <a:gd name="connsiteY73" fmla="*/ 261222 h 341527"/>
                  <a:gd name="connsiteX74" fmla="*/ 70154 w 324254"/>
                  <a:gd name="connsiteY74" fmla="*/ 260616 h 341527"/>
                  <a:gd name="connsiteX75" fmla="*/ 71669 w 324254"/>
                  <a:gd name="connsiteY75" fmla="*/ 260464 h 341527"/>
                  <a:gd name="connsiteX76" fmla="*/ 75003 w 324254"/>
                  <a:gd name="connsiteY76" fmla="*/ 261979 h 341527"/>
                  <a:gd name="connsiteX77" fmla="*/ 77730 w 324254"/>
                  <a:gd name="connsiteY77" fmla="*/ 262888 h 341527"/>
                  <a:gd name="connsiteX78" fmla="*/ 79852 w 324254"/>
                  <a:gd name="connsiteY78" fmla="*/ 261979 h 341527"/>
                  <a:gd name="connsiteX79" fmla="*/ 80457 w 324254"/>
                  <a:gd name="connsiteY79" fmla="*/ 259252 h 341527"/>
                  <a:gd name="connsiteX80" fmla="*/ 81367 w 324254"/>
                  <a:gd name="connsiteY80" fmla="*/ 256070 h 341527"/>
                  <a:gd name="connsiteX81" fmla="*/ 83185 w 324254"/>
                  <a:gd name="connsiteY81" fmla="*/ 237736 h 341527"/>
                  <a:gd name="connsiteX82" fmla="*/ 83791 w 324254"/>
                  <a:gd name="connsiteY82" fmla="*/ 234706 h 341527"/>
                  <a:gd name="connsiteX83" fmla="*/ 83640 w 324254"/>
                  <a:gd name="connsiteY83" fmla="*/ 232281 h 341527"/>
                  <a:gd name="connsiteX84" fmla="*/ 82579 w 324254"/>
                  <a:gd name="connsiteY84" fmla="*/ 230160 h 341527"/>
                  <a:gd name="connsiteX85" fmla="*/ 82124 w 324254"/>
                  <a:gd name="connsiteY85" fmla="*/ 226675 h 341527"/>
                  <a:gd name="connsiteX86" fmla="*/ 85155 w 324254"/>
                  <a:gd name="connsiteY86" fmla="*/ 222432 h 341527"/>
                  <a:gd name="connsiteX87" fmla="*/ 85912 w 324254"/>
                  <a:gd name="connsiteY87" fmla="*/ 221069 h 341527"/>
                  <a:gd name="connsiteX88" fmla="*/ 86519 w 324254"/>
                  <a:gd name="connsiteY88" fmla="*/ 219250 h 341527"/>
                  <a:gd name="connsiteX89" fmla="*/ 86215 w 324254"/>
                  <a:gd name="connsiteY89" fmla="*/ 217432 h 341527"/>
                  <a:gd name="connsiteX90" fmla="*/ 83488 w 324254"/>
                  <a:gd name="connsiteY90" fmla="*/ 209553 h 341527"/>
                  <a:gd name="connsiteX91" fmla="*/ 103943 w 324254"/>
                  <a:gd name="connsiteY91" fmla="*/ 144096 h 341527"/>
                  <a:gd name="connsiteX92" fmla="*/ 103034 w 324254"/>
                  <a:gd name="connsiteY92" fmla="*/ 142884 h 341527"/>
                  <a:gd name="connsiteX93" fmla="*/ 101974 w 324254"/>
                  <a:gd name="connsiteY93" fmla="*/ 144096 h 341527"/>
                  <a:gd name="connsiteX94" fmla="*/ 100004 w 324254"/>
                  <a:gd name="connsiteY94" fmla="*/ 143945 h 341527"/>
                  <a:gd name="connsiteX95" fmla="*/ 98943 w 324254"/>
                  <a:gd name="connsiteY95" fmla="*/ 144399 h 341527"/>
                  <a:gd name="connsiteX96" fmla="*/ 95610 w 324254"/>
                  <a:gd name="connsiteY96" fmla="*/ 144551 h 341527"/>
                  <a:gd name="connsiteX97" fmla="*/ 95155 w 324254"/>
                  <a:gd name="connsiteY97" fmla="*/ 145460 h 341527"/>
                  <a:gd name="connsiteX98" fmla="*/ 95761 w 324254"/>
                  <a:gd name="connsiteY98" fmla="*/ 146824 h 341527"/>
                  <a:gd name="connsiteX99" fmla="*/ 97883 w 324254"/>
                  <a:gd name="connsiteY99" fmla="*/ 146975 h 341527"/>
                  <a:gd name="connsiteX100" fmla="*/ 101367 w 324254"/>
                  <a:gd name="connsiteY100" fmla="*/ 146217 h 341527"/>
                  <a:gd name="connsiteX101" fmla="*/ 103640 w 324254"/>
                  <a:gd name="connsiteY101" fmla="*/ 147733 h 341527"/>
                  <a:gd name="connsiteX102" fmla="*/ 103337 w 324254"/>
                  <a:gd name="connsiteY102" fmla="*/ 145763 h 341527"/>
                  <a:gd name="connsiteX103" fmla="*/ 103943 w 324254"/>
                  <a:gd name="connsiteY103" fmla="*/ 144854 h 341527"/>
                  <a:gd name="connsiteX104" fmla="*/ 103943 w 324254"/>
                  <a:gd name="connsiteY104" fmla="*/ 144096 h 341527"/>
                  <a:gd name="connsiteX105" fmla="*/ 47578 w 324254"/>
                  <a:gd name="connsiteY105" fmla="*/ 264252 h 341527"/>
                  <a:gd name="connsiteX106" fmla="*/ 47426 w 324254"/>
                  <a:gd name="connsiteY106" fmla="*/ 264858 h 341527"/>
                  <a:gd name="connsiteX107" fmla="*/ 47426 w 324254"/>
                  <a:gd name="connsiteY107" fmla="*/ 266828 h 341527"/>
                  <a:gd name="connsiteX108" fmla="*/ 49093 w 324254"/>
                  <a:gd name="connsiteY108" fmla="*/ 269101 h 341527"/>
                  <a:gd name="connsiteX109" fmla="*/ 50608 w 324254"/>
                  <a:gd name="connsiteY109" fmla="*/ 265919 h 341527"/>
                  <a:gd name="connsiteX110" fmla="*/ 49548 w 324254"/>
                  <a:gd name="connsiteY110" fmla="*/ 265161 h 341527"/>
                  <a:gd name="connsiteX111" fmla="*/ 47578 w 324254"/>
                  <a:gd name="connsiteY111" fmla="*/ 264252 h 341527"/>
                  <a:gd name="connsiteX112" fmla="*/ 323649 w 324254"/>
                  <a:gd name="connsiteY112" fmla="*/ 228796 h 341527"/>
                  <a:gd name="connsiteX113" fmla="*/ 320012 w 324254"/>
                  <a:gd name="connsiteY113" fmla="*/ 223948 h 341527"/>
                  <a:gd name="connsiteX114" fmla="*/ 311981 w 324254"/>
                  <a:gd name="connsiteY114" fmla="*/ 217735 h 341527"/>
                  <a:gd name="connsiteX115" fmla="*/ 309709 w 324254"/>
                  <a:gd name="connsiteY115" fmla="*/ 214856 h 341527"/>
                  <a:gd name="connsiteX116" fmla="*/ 296526 w 324254"/>
                  <a:gd name="connsiteY116" fmla="*/ 208795 h 341527"/>
                  <a:gd name="connsiteX117" fmla="*/ 291072 w 324254"/>
                  <a:gd name="connsiteY117" fmla="*/ 204401 h 341527"/>
                  <a:gd name="connsiteX118" fmla="*/ 286374 w 324254"/>
                  <a:gd name="connsiteY118" fmla="*/ 201523 h 341527"/>
                  <a:gd name="connsiteX119" fmla="*/ 271222 w 324254"/>
                  <a:gd name="connsiteY119" fmla="*/ 196068 h 341527"/>
                  <a:gd name="connsiteX120" fmla="*/ 256525 w 324254"/>
                  <a:gd name="connsiteY120" fmla="*/ 189401 h 341527"/>
                  <a:gd name="connsiteX121" fmla="*/ 253494 w 324254"/>
                  <a:gd name="connsiteY121" fmla="*/ 186977 h 341527"/>
                  <a:gd name="connsiteX122" fmla="*/ 253797 w 324254"/>
                  <a:gd name="connsiteY122" fmla="*/ 183492 h 341527"/>
                  <a:gd name="connsiteX123" fmla="*/ 257131 w 324254"/>
                  <a:gd name="connsiteY123" fmla="*/ 180916 h 341527"/>
                  <a:gd name="connsiteX124" fmla="*/ 260313 w 324254"/>
                  <a:gd name="connsiteY124" fmla="*/ 179097 h 341527"/>
                  <a:gd name="connsiteX125" fmla="*/ 261373 w 324254"/>
                  <a:gd name="connsiteY125" fmla="*/ 177279 h 341527"/>
                  <a:gd name="connsiteX126" fmla="*/ 260768 w 324254"/>
                  <a:gd name="connsiteY126" fmla="*/ 174552 h 341527"/>
                  <a:gd name="connsiteX127" fmla="*/ 257889 w 324254"/>
                  <a:gd name="connsiteY127" fmla="*/ 173491 h 341527"/>
                  <a:gd name="connsiteX128" fmla="*/ 255161 w 324254"/>
                  <a:gd name="connsiteY128" fmla="*/ 173188 h 341527"/>
                  <a:gd name="connsiteX129" fmla="*/ 239858 w 324254"/>
                  <a:gd name="connsiteY129" fmla="*/ 174097 h 341527"/>
                  <a:gd name="connsiteX130" fmla="*/ 233342 w 324254"/>
                  <a:gd name="connsiteY130" fmla="*/ 173491 h 341527"/>
                  <a:gd name="connsiteX131" fmla="*/ 225008 w 324254"/>
                  <a:gd name="connsiteY131" fmla="*/ 169552 h 341527"/>
                  <a:gd name="connsiteX132" fmla="*/ 216069 w 324254"/>
                  <a:gd name="connsiteY132" fmla="*/ 163188 h 341527"/>
                  <a:gd name="connsiteX133" fmla="*/ 206220 w 324254"/>
                  <a:gd name="connsiteY133" fmla="*/ 154551 h 341527"/>
                  <a:gd name="connsiteX134" fmla="*/ 201523 w 324254"/>
                  <a:gd name="connsiteY134" fmla="*/ 148490 h 341527"/>
                  <a:gd name="connsiteX135" fmla="*/ 199250 w 324254"/>
                  <a:gd name="connsiteY135" fmla="*/ 143187 h 341527"/>
                  <a:gd name="connsiteX136" fmla="*/ 195916 w 324254"/>
                  <a:gd name="connsiteY136" fmla="*/ 132278 h 341527"/>
                  <a:gd name="connsiteX137" fmla="*/ 192886 w 324254"/>
                  <a:gd name="connsiteY137" fmla="*/ 125308 h 341527"/>
                  <a:gd name="connsiteX138" fmla="*/ 189401 w 324254"/>
                  <a:gd name="connsiteY138" fmla="*/ 119247 h 341527"/>
                  <a:gd name="connsiteX139" fmla="*/ 187886 w 324254"/>
                  <a:gd name="connsiteY139" fmla="*/ 117883 h 341527"/>
                  <a:gd name="connsiteX140" fmla="*/ 182128 w 324254"/>
                  <a:gd name="connsiteY140" fmla="*/ 115459 h 341527"/>
                  <a:gd name="connsiteX141" fmla="*/ 171522 w 324254"/>
                  <a:gd name="connsiteY141" fmla="*/ 107580 h 341527"/>
                  <a:gd name="connsiteX142" fmla="*/ 165612 w 324254"/>
                  <a:gd name="connsiteY142" fmla="*/ 105155 h 341527"/>
                  <a:gd name="connsiteX143" fmla="*/ 160006 w 324254"/>
                  <a:gd name="connsiteY143" fmla="*/ 100458 h 341527"/>
                  <a:gd name="connsiteX144" fmla="*/ 157582 w 324254"/>
                  <a:gd name="connsiteY144" fmla="*/ 97428 h 341527"/>
                  <a:gd name="connsiteX145" fmla="*/ 155158 w 324254"/>
                  <a:gd name="connsiteY145" fmla="*/ 90609 h 341527"/>
                  <a:gd name="connsiteX146" fmla="*/ 153642 w 324254"/>
                  <a:gd name="connsiteY146" fmla="*/ 80761 h 341527"/>
                  <a:gd name="connsiteX147" fmla="*/ 154551 w 324254"/>
                  <a:gd name="connsiteY147" fmla="*/ 77124 h 341527"/>
                  <a:gd name="connsiteX148" fmla="*/ 155612 w 324254"/>
                  <a:gd name="connsiteY148" fmla="*/ 77124 h 341527"/>
                  <a:gd name="connsiteX149" fmla="*/ 157430 w 324254"/>
                  <a:gd name="connsiteY149" fmla="*/ 78336 h 341527"/>
                  <a:gd name="connsiteX150" fmla="*/ 159551 w 324254"/>
                  <a:gd name="connsiteY150" fmla="*/ 76821 h 341527"/>
                  <a:gd name="connsiteX151" fmla="*/ 160460 w 324254"/>
                  <a:gd name="connsiteY151" fmla="*/ 75003 h 341527"/>
                  <a:gd name="connsiteX152" fmla="*/ 161218 w 324254"/>
                  <a:gd name="connsiteY152" fmla="*/ 72730 h 341527"/>
                  <a:gd name="connsiteX153" fmla="*/ 157582 w 324254"/>
                  <a:gd name="connsiteY153" fmla="*/ 70306 h 341527"/>
                  <a:gd name="connsiteX154" fmla="*/ 154703 w 324254"/>
                  <a:gd name="connsiteY154" fmla="*/ 64699 h 341527"/>
                  <a:gd name="connsiteX155" fmla="*/ 153036 w 324254"/>
                  <a:gd name="connsiteY155" fmla="*/ 63487 h 341527"/>
                  <a:gd name="connsiteX156" fmla="*/ 153642 w 324254"/>
                  <a:gd name="connsiteY156" fmla="*/ 59245 h 341527"/>
                  <a:gd name="connsiteX157" fmla="*/ 154400 w 324254"/>
                  <a:gd name="connsiteY157" fmla="*/ 56669 h 341527"/>
                  <a:gd name="connsiteX158" fmla="*/ 156521 w 324254"/>
                  <a:gd name="connsiteY158" fmla="*/ 55154 h 341527"/>
                  <a:gd name="connsiteX159" fmla="*/ 160309 w 324254"/>
                  <a:gd name="connsiteY159" fmla="*/ 53335 h 341527"/>
                  <a:gd name="connsiteX160" fmla="*/ 161521 w 324254"/>
                  <a:gd name="connsiteY160" fmla="*/ 53335 h 341527"/>
                  <a:gd name="connsiteX161" fmla="*/ 158642 w 324254"/>
                  <a:gd name="connsiteY161" fmla="*/ 55911 h 341527"/>
                  <a:gd name="connsiteX162" fmla="*/ 160460 w 324254"/>
                  <a:gd name="connsiteY162" fmla="*/ 56063 h 341527"/>
                  <a:gd name="connsiteX163" fmla="*/ 163643 w 324254"/>
                  <a:gd name="connsiteY163" fmla="*/ 54851 h 341527"/>
                  <a:gd name="connsiteX164" fmla="*/ 167734 w 324254"/>
                  <a:gd name="connsiteY164" fmla="*/ 53184 h 341527"/>
                  <a:gd name="connsiteX165" fmla="*/ 171673 w 324254"/>
                  <a:gd name="connsiteY165" fmla="*/ 50911 h 341527"/>
                  <a:gd name="connsiteX166" fmla="*/ 175158 w 324254"/>
                  <a:gd name="connsiteY166" fmla="*/ 50002 h 341527"/>
                  <a:gd name="connsiteX167" fmla="*/ 177582 w 324254"/>
                  <a:gd name="connsiteY167" fmla="*/ 47881 h 341527"/>
                  <a:gd name="connsiteX168" fmla="*/ 178643 w 324254"/>
                  <a:gd name="connsiteY168" fmla="*/ 46214 h 341527"/>
                  <a:gd name="connsiteX169" fmla="*/ 180007 w 324254"/>
                  <a:gd name="connsiteY169" fmla="*/ 45305 h 341527"/>
                  <a:gd name="connsiteX170" fmla="*/ 187128 w 324254"/>
                  <a:gd name="connsiteY170" fmla="*/ 47426 h 341527"/>
                  <a:gd name="connsiteX171" fmla="*/ 189704 w 324254"/>
                  <a:gd name="connsiteY171" fmla="*/ 45305 h 341527"/>
                  <a:gd name="connsiteX172" fmla="*/ 191674 w 324254"/>
                  <a:gd name="connsiteY172" fmla="*/ 45305 h 341527"/>
                  <a:gd name="connsiteX173" fmla="*/ 195916 w 324254"/>
                  <a:gd name="connsiteY173" fmla="*/ 50153 h 341527"/>
                  <a:gd name="connsiteX174" fmla="*/ 194250 w 324254"/>
                  <a:gd name="connsiteY174" fmla="*/ 51517 h 341527"/>
                  <a:gd name="connsiteX175" fmla="*/ 195765 w 324254"/>
                  <a:gd name="connsiteY175" fmla="*/ 51669 h 341527"/>
                  <a:gd name="connsiteX176" fmla="*/ 197583 w 324254"/>
                  <a:gd name="connsiteY176" fmla="*/ 51366 h 341527"/>
                  <a:gd name="connsiteX177" fmla="*/ 198341 w 324254"/>
                  <a:gd name="connsiteY177" fmla="*/ 50608 h 341527"/>
                  <a:gd name="connsiteX178" fmla="*/ 197129 w 324254"/>
                  <a:gd name="connsiteY178" fmla="*/ 48335 h 341527"/>
                  <a:gd name="connsiteX179" fmla="*/ 194098 w 324254"/>
                  <a:gd name="connsiteY179" fmla="*/ 45608 h 341527"/>
                  <a:gd name="connsiteX180" fmla="*/ 192432 w 324254"/>
                  <a:gd name="connsiteY180" fmla="*/ 44547 h 341527"/>
                  <a:gd name="connsiteX181" fmla="*/ 190310 w 324254"/>
                  <a:gd name="connsiteY181" fmla="*/ 43789 h 341527"/>
                  <a:gd name="connsiteX182" fmla="*/ 190007 w 324254"/>
                  <a:gd name="connsiteY182" fmla="*/ 43032 h 341527"/>
                  <a:gd name="connsiteX183" fmla="*/ 191219 w 324254"/>
                  <a:gd name="connsiteY183" fmla="*/ 38638 h 341527"/>
                  <a:gd name="connsiteX184" fmla="*/ 190916 w 324254"/>
                  <a:gd name="connsiteY184" fmla="*/ 38032 h 341527"/>
                  <a:gd name="connsiteX185" fmla="*/ 188340 w 324254"/>
                  <a:gd name="connsiteY185" fmla="*/ 38183 h 341527"/>
                  <a:gd name="connsiteX186" fmla="*/ 187734 w 324254"/>
                  <a:gd name="connsiteY186" fmla="*/ 37729 h 341527"/>
                  <a:gd name="connsiteX187" fmla="*/ 187583 w 324254"/>
                  <a:gd name="connsiteY187" fmla="*/ 36971 h 341527"/>
                  <a:gd name="connsiteX188" fmla="*/ 187734 w 324254"/>
                  <a:gd name="connsiteY188" fmla="*/ 35910 h 341527"/>
                  <a:gd name="connsiteX189" fmla="*/ 189401 w 324254"/>
                  <a:gd name="connsiteY189" fmla="*/ 34244 h 341527"/>
                  <a:gd name="connsiteX190" fmla="*/ 191219 w 324254"/>
                  <a:gd name="connsiteY190" fmla="*/ 32729 h 341527"/>
                  <a:gd name="connsiteX191" fmla="*/ 191674 w 324254"/>
                  <a:gd name="connsiteY191" fmla="*/ 31819 h 341527"/>
                  <a:gd name="connsiteX192" fmla="*/ 191674 w 324254"/>
                  <a:gd name="connsiteY192" fmla="*/ 31213 h 341527"/>
                  <a:gd name="connsiteX193" fmla="*/ 189250 w 324254"/>
                  <a:gd name="connsiteY193" fmla="*/ 30607 h 341527"/>
                  <a:gd name="connsiteX194" fmla="*/ 187734 w 324254"/>
                  <a:gd name="connsiteY194" fmla="*/ 29850 h 341527"/>
                  <a:gd name="connsiteX195" fmla="*/ 186522 w 324254"/>
                  <a:gd name="connsiteY195" fmla="*/ 29546 h 341527"/>
                  <a:gd name="connsiteX196" fmla="*/ 185765 w 324254"/>
                  <a:gd name="connsiteY196" fmla="*/ 30001 h 341527"/>
                  <a:gd name="connsiteX197" fmla="*/ 185158 w 324254"/>
                  <a:gd name="connsiteY197" fmla="*/ 29546 h 341527"/>
                  <a:gd name="connsiteX198" fmla="*/ 184552 w 324254"/>
                  <a:gd name="connsiteY198" fmla="*/ 28334 h 341527"/>
                  <a:gd name="connsiteX199" fmla="*/ 185158 w 324254"/>
                  <a:gd name="connsiteY199" fmla="*/ 26365 h 341527"/>
                  <a:gd name="connsiteX200" fmla="*/ 187280 w 324254"/>
                  <a:gd name="connsiteY200" fmla="*/ 24546 h 341527"/>
                  <a:gd name="connsiteX201" fmla="*/ 189553 w 324254"/>
                  <a:gd name="connsiteY201" fmla="*/ 23031 h 341527"/>
                  <a:gd name="connsiteX202" fmla="*/ 191522 w 324254"/>
                  <a:gd name="connsiteY202" fmla="*/ 21819 h 341527"/>
                  <a:gd name="connsiteX203" fmla="*/ 192734 w 324254"/>
                  <a:gd name="connsiteY203" fmla="*/ 21364 h 341527"/>
                  <a:gd name="connsiteX204" fmla="*/ 193341 w 324254"/>
                  <a:gd name="connsiteY204" fmla="*/ 19395 h 341527"/>
                  <a:gd name="connsiteX205" fmla="*/ 187583 w 324254"/>
                  <a:gd name="connsiteY205" fmla="*/ 18182 h 341527"/>
                  <a:gd name="connsiteX206" fmla="*/ 183795 w 324254"/>
                  <a:gd name="connsiteY206" fmla="*/ 18031 h 341527"/>
                  <a:gd name="connsiteX207" fmla="*/ 178795 w 324254"/>
                  <a:gd name="connsiteY207" fmla="*/ 17576 h 341527"/>
                  <a:gd name="connsiteX208" fmla="*/ 168794 w 324254"/>
                  <a:gd name="connsiteY208" fmla="*/ 15758 h 341527"/>
                  <a:gd name="connsiteX209" fmla="*/ 165915 w 324254"/>
                  <a:gd name="connsiteY209" fmla="*/ 15001 h 341527"/>
                  <a:gd name="connsiteX210" fmla="*/ 163188 w 324254"/>
                  <a:gd name="connsiteY210" fmla="*/ 14698 h 341527"/>
                  <a:gd name="connsiteX211" fmla="*/ 159855 w 324254"/>
                  <a:gd name="connsiteY211" fmla="*/ 14091 h 341527"/>
                  <a:gd name="connsiteX212" fmla="*/ 157430 w 324254"/>
                  <a:gd name="connsiteY212" fmla="*/ 13031 h 341527"/>
                  <a:gd name="connsiteX213" fmla="*/ 155763 w 324254"/>
                  <a:gd name="connsiteY213" fmla="*/ 11061 h 341527"/>
                  <a:gd name="connsiteX214" fmla="*/ 154097 w 324254"/>
                  <a:gd name="connsiteY214" fmla="*/ 8485 h 341527"/>
                  <a:gd name="connsiteX215" fmla="*/ 150915 w 324254"/>
                  <a:gd name="connsiteY215" fmla="*/ 5000 h 341527"/>
                  <a:gd name="connsiteX216" fmla="*/ 150309 w 324254"/>
                  <a:gd name="connsiteY216" fmla="*/ 3333 h 341527"/>
                  <a:gd name="connsiteX217" fmla="*/ 151218 w 324254"/>
                  <a:gd name="connsiteY217" fmla="*/ 1818 h 341527"/>
                  <a:gd name="connsiteX218" fmla="*/ 152127 w 324254"/>
                  <a:gd name="connsiteY218" fmla="*/ 758 h 341527"/>
                  <a:gd name="connsiteX219" fmla="*/ 151975 w 324254"/>
                  <a:gd name="connsiteY219" fmla="*/ 303 h 341527"/>
                  <a:gd name="connsiteX220" fmla="*/ 151218 w 324254"/>
                  <a:gd name="connsiteY220" fmla="*/ 0 h 341527"/>
                  <a:gd name="connsiteX221" fmla="*/ 145763 w 324254"/>
                  <a:gd name="connsiteY221" fmla="*/ 1515 h 341527"/>
                  <a:gd name="connsiteX222" fmla="*/ 140460 w 324254"/>
                  <a:gd name="connsiteY222" fmla="*/ 3333 h 341527"/>
                  <a:gd name="connsiteX223" fmla="*/ 138339 w 324254"/>
                  <a:gd name="connsiteY223" fmla="*/ 3333 h 341527"/>
                  <a:gd name="connsiteX224" fmla="*/ 136369 w 324254"/>
                  <a:gd name="connsiteY224" fmla="*/ 2879 h 341527"/>
                  <a:gd name="connsiteX225" fmla="*/ 133641 w 324254"/>
                  <a:gd name="connsiteY225" fmla="*/ 2879 h 341527"/>
                  <a:gd name="connsiteX226" fmla="*/ 131065 w 324254"/>
                  <a:gd name="connsiteY226" fmla="*/ 3333 h 341527"/>
                  <a:gd name="connsiteX227" fmla="*/ 125914 w 324254"/>
                  <a:gd name="connsiteY227" fmla="*/ 3636 h 341527"/>
                  <a:gd name="connsiteX228" fmla="*/ 122884 w 324254"/>
                  <a:gd name="connsiteY228" fmla="*/ 5000 h 341527"/>
                  <a:gd name="connsiteX229" fmla="*/ 120914 w 324254"/>
                  <a:gd name="connsiteY229" fmla="*/ 7728 h 341527"/>
                  <a:gd name="connsiteX230" fmla="*/ 119853 w 324254"/>
                  <a:gd name="connsiteY230" fmla="*/ 9849 h 341527"/>
                  <a:gd name="connsiteX231" fmla="*/ 118944 w 324254"/>
                  <a:gd name="connsiteY231" fmla="*/ 10606 h 341527"/>
                  <a:gd name="connsiteX232" fmla="*/ 117126 w 324254"/>
                  <a:gd name="connsiteY232" fmla="*/ 10910 h 341527"/>
                  <a:gd name="connsiteX233" fmla="*/ 114398 w 324254"/>
                  <a:gd name="connsiteY233" fmla="*/ 10758 h 341527"/>
                  <a:gd name="connsiteX234" fmla="*/ 112580 w 324254"/>
                  <a:gd name="connsiteY234" fmla="*/ 10152 h 341527"/>
                  <a:gd name="connsiteX235" fmla="*/ 110610 w 324254"/>
                  <a:gd name="connsiteY235" fmla="*/ 8334 h 341527"/>
                  <a:gd name="connsiteX236" fmla="*/ 107580 w 324254"/>
                  <a:gd name="connsiteY236" fmla="*/ 8031 h 341527"/>
                  <a:gd name="connsiteX237" fmla="*/ 104853 w 324254"/>
                  <a:gd name="connsiteY237" fmla="*/ 8031 h 341527"/>
                  <a:gd name="connsiteX238" fmla="*/ 104095 w 324254"/>
                  <a:gd name="connsiteY238" fmla="*/ 7728 h 341527"/>
                  <a:gd name="connsiteX239" fmla="*/ 102883 w 324254"/>
                  <a:gd name="connsiteY239" fmla="*/ 12273 h 341527"/>
                  <a:gd name="connsiteX240" fmla="*/ 102731 w 324254"/>
                  <a:gd name="connsiteY240" fmla="*/ 14698 h 341527"/>
                  <a:gd name="connsiteX241" fmla="*/ 103792 w 324254"/>
                  <a:gd name="connsiteY241" fmla="*/ 16213 h 341527"/>
                  <a:gd name="connsiteX242" fmla="*/ 103943 w 324254"/>
                  <a:gd name="connsiteY242" fmla="*/ 17425 h 341527"/>
                  <a:gd name="connsiteX243" fmla="*/ 103640 w 324254"/>
                  <a:gd name="connsiteY243" fmla="*/ 18486 h 341527"/>
                  <a:gd name="connsiteX244" fmla="*/ 101822 w 324254"/>
                  <a:gd name="connsiteY244" fmla="*/ 18637 h 341527"/>
                  <a:gd name="connsiteX245" fmla="*/ 99398 w 324254"/>
                  <a:gd name="connsiteY245" fmla="*/ 18031 h 341527"/>
                  <a:gd name="connsiteX246" fmla="*/ 97277 w 324254"/>
                  <a:gd name="connsiteY246" fmla="*/ 16061 h 341527"/>
                  <a:gd name="connsiteX247" fmla="*/ 95761 w 324254"/>
                  <a:gd name="connsiteY247" fmla="*/ 16364 h 341527"/>
                  <a:gd name="connsiteX248" fmla="*/ 94398 w 324254"/>
                  <a:gd name="connsiteY248" fmla="*/ 16819 h 341527"/>
                  <a:gd name="connsiteX249" fmla="*/ 93640 w 324254"/>
                  <a:gd name="connsiteY249" fmla="*/ 18637 h 341527"/>
                  <a:gd name="connsiteX250" fmla="*/ 93034 w 324254"/>
                  <a:gd name="connsiteY250" fmla="*/ 20758 h 341527"/>
                  <a:gd name="connsiteX251" fmla="*/ 93185 w 324254"/>
                  <a:gd name="connsiteY251" fmla="*/ 21970 h 341527"/>
                  <a:gd name="connsiteX252" fmla="*/ 94246 w 324254"/>
                  <a:gd name="connsiteY252" fmla="*/ 22880 h 341527"/>
                  <a:gd name="connsiteX253" fmla="*/ 95004 w 324254"/>
                  <a:gd name="connsiteY253" fmla="*/ 24849 h 341527"/>
                  <a:gd name="connsiteX254" fmla="*/ 95610 w 324254"/>
                  <a:gd name="connsiteY254" fmla="*/ 27425 h 341527"/>
                  <a:gd name="connsiteX255" fmla="*/ 96064 w 324254"/>
                  <a:gd name="connsiteY255" fmla="*/ 28637 h 341527"/>
                  <a:gd name="connsiteX256" fmla="*/ 95610 w 324254"/>
                  <a:gd name="connsiteY256" fmla="*/ 29092 h 341527"/>
                  <a:gd name="connsiteX257" fmla="*/ 94246 w 324254"/>
                  <a:gd name="connsiteY257" fmla="*/ 29395 h 341527"/>
                  <a:gd name="connsiteX258" fmla="*/ 93185 w 324254"/>
                  <a:gd name="connsiteY258" fmla="*/ 29092 h 341527"/>
                  <a:gd name="connsiteX259" fmla="*/ 91216 w 324254"/>
                  <a:gd name="connsiteY259" fmla="*/ 26062 h 341527"/>
                  <a:gd name="connsiteX260" fmla="*/ 90307 w 324254"/>
                  <a:gd name="connsiteY260" fmla="*/ 24849 h 341527"/>
                  <a:gd name="connsiteX261" fmla="*/ 88791 w 324254"/>
                  <a:gd name="connsiteY261" fmla="*/ 24698 h 341527"/>
                  <a:gd name="connsiteX262" fmla="*/ 86215 w 324254"/>
                  <a:gd name="connsiteY262" fmla="*/ 25455 h 341527"/>
                  <a:gd name="connsiteX263" fmla="*/ 82124 w 324254"/>
                  <a:gd name="connsiteY263" fmla="*/ 27122 h 341527"/>
                  <a:gd name="connsiteX264" fmla="*/ 80457 w 324254"/>
                  <a:gd name="connsiteY264" fmla="*/ 27122 h 341527"/>
                  <a:gd name="connsiteX265" fmla="*/ 79094 w 324254"/>
                  <a:gd name="connsiteY265" fmla="*/ 26819 h 341527"/>
                  <a:gd name="connsiteX266" fmla="*/ 77730 w 324254"/>
                  <a:gd name="connsiteY266" fmla="*/ 25304 h 341527"/>
                  <a:gd name="connsiteX267" fmla="*/ 76669 w 324254"/>
                  <a:gd name="connsiteY267" fmla="*/ 22425 h 341527"/>
                  <a:gd name="connsiteX268" fmla="*/ 76367 w 324254"/>
                  <a:gd name="connsiteY268" fmla="*/ 20607 h 341527"/>
                  <a:gd name="connsiteX269" fmla="*/ 75609 w 324254"/>
                  <a:gd name="connsiteY269" fmla="*/ 20607 h 341527"/>
                  <a:gd name="connsiteX270" fmla="*/ 73033 w 324254"/>
                  <a:gd name="connsiteY270" fmla="*/ 20152 h 341527"/>
                  <a:gd name="connsiteX271" fmla="*/ 71821 w 324254"/>
                  <a:gd name="connsiteY271" fmla="*/ 20910 h 341527"/>
                  <a:gd name="connsiteX272" fmla="*/ 71821 w 324254"/>
                  <a:gd name="connsiteY272" fmla="*/ 23789 h 341527"/>
                  <a:gd name="connsiteX273" fmla="*/ 71518 w 324254"/>
                  <a:gd name="connsiteY273" fmla="*/ 27425 h 341527"/>
                  <a:gd name="connsiteX274" fmla="*/ 70154 w 324254"/>
                  <a:gd name="connsiteY274" fmla="*/ 29698 h 341527"/>
                  <a:gd name="connsiteX275" fmla="*/ 66518 w 324254"/>
                  <a:gd name="connsiteY275" fmla="*/ 33638 h 341527"/>
                  <a:gd name="connsiteX276" fmla="*/ 65154 w 324254"/>
                  <a:gd name="connsiteY276" fmla="*/ 35304 h 341527"/>
                  <a:gd name="connsiteX277" fmla="*/ 64700 w 324254"/>
                  <a:gd name="connsiteY277" fmla="*/ 36517 h 341527"/>
                  <a:gd name="connsiteX278" fmla="*/ 64548 w 324254"/>
                  <a:gd name="connsiteY278" fmla="*/ 37577 h 341527"/>
                  <a:gd name="connsiteX279" fmla="*/ 65154 w 324254"/>
                  <a:gd name="connsiteY279" fmla="*/ 39395 h 341527"/>
                  <a:gd name="connsiteX280" fmla="*/ 65912 w 324254"/>
                  <a:gd name="connsiteY280" fmla="*/ 41214 h 341527"/>
                  <a:gd name="connsiteX281" fmla="*/ 65305 w 324254"/>
                  <a:gd name="connsiteY281" fmla="*/ 42274 h 341527"/>
                  <a:gd name="connsiteX282" fmla="*/ 63336 w 324254"/>
                  <a:gd name="connsiteY282" fmla="*/ 42880 h 341527"/>
                  <a:gd name="connsiteX283" fmla="*/ 61972 w 324254"/>
                  <a:gd name="connsiteY283" fmla="*/ 41820 h 341527"/>
                  <a:gd name="connsiteX284" fmla="*/ 61517 w 324254"/>
                  <a:gd name="connsiteY284" fmla="*/ 39850 h 341527"/>
                  <a:gd name="connsiteX285" fmla="*/ 58638 w 324254"/>
                  <a:gd name="connsiteY285" fmla="*/ 37274 h 341527"/>
                  <a:gd name="connsiteX286" fmla="*/ 60003 w 324254"/>
                  <a:gd name="connsiteY286" fmla="*/ 35001 h 341527"/>
                  <a:gd name="connsiteX287" fmla="*/ 59851 w 324254"/>
                  <a:gd name="connsiteY287" fmla="*/ 34395 h 341527"/>
                  <a:gd name="connsiteX288" fmla="*/ 55002 w 324254"/>
                  <a:gd name="connsiteY288" fmla="*/ 33183 h 341527"/>
                  <a:gd name="connsiteX289" fmla="*/ 52881 w 324254"/>
                  <a:gd name="connsiteY289" fmla="*/ 31516 h 341527"/>
                  <a:gd name="connsiteX290" fmla="*/ 50002 w 324254"/>
                  <a:gd name="connsiteY290" fmla="*/ 28637 h 341527"/>
                  <a:gd name="connsiteX291" fmla="*/ 49396 w 324254"/>
                  <a:gd name="connsiteY291" fmla="*/ 27425 h 341527"/>
                  <a:gd name="connsiteX292" fmla="*/ 49548 w 324254"/>
                  <a:gd name="connsiteY292" fmla="*/ 23334 h 341527"/>
                  <a:gd name="connsiteX293" fmla="*/ 49396 w 324254"/>
                  <a:gd name="connsiteY293" fmla="*/ 22274 h 341527"/>
                  <a:gd name="connsiteX294" fmla="*/ 48941 w 324254"/>
                  <a:gd name="connsiteY294" fmla="*/ 21819 h 341527"/>
                  <a:gd name="connsiteX295" fmla="*/ 47578 w 324254"/>
                  <a:gd name="connsiteY295" fmla="*/ 21819 h 341527"/>
                  <a:gd name="connsiteX296" fmla="*/ 45608 w 324254"/>
                  <a:gd name="connsiteY296" fmla="*/ 23183 h 341527"/>
                  <a:gd name="connsiteX297" fmla="*/ 43790 w 324254"/>
                  <a:gd name="connsiteY297" fmla="*/ 25304 h 341527"/>
                  <a:gd name="connsiteX298" fmla="*/ 40002 w 324254"/>
                  <a:gd name="connsiteY298" fmla="*/ 27728 h 341527"/>
                  <a:gd name="connsiteX299" fmla="*/ 39547 w 324254"/>
                  <a:gd name="connsiteY299" fmla="*/ 28183 h 341527"/>
                  <a:gd name="connsiteX300" fmla="*/ 40759 w 324254"/>
                  <a:gd name="connsiteY300" fmla="*/ 30456 h 341527"/>
                  <a:gd name="connsiteX301" fmla="*/ 40759 w 324254"/>
                  <a:gd name="connsiteY301" fmla="*/ 31365 h 341527"/>
                  <a:gd name="connsiteX302" fmla="*/ 37729 w 324254"/>
                  <a:gd name="connsiteY302" fmla="*/ 35153 h 341527"/>
                  <a:gd name="connsiteX303" fmla="*/ 37123 w 324254"/>
                  <a:gd name="connsiteY303" fmla="*/ 36365 h 341527"/>
                  <a:gd name="connsiteX304" fmla="*/ 33335 w 324254"/>
                  <a:gd name="connsiteY304" fmla="*/ 38638 h 341527"/>
                  <a:gd name="connsiteX305" fmla="*/ 31517 w 324254"/>
                  <a:gd name="connsiteY305" fmla="*/ 39547 h 341527"/>
                  <a:gd name="connsiteX306" fmla="*/ 26213 w 324254"/>
                  <a:gd name="connsiteY306" fmla="*/ 37880 h 341527"/>
                  <a:gd name="connsiteX307" fmla="*/ 24698 w 324254"/>
                  <a:gd name="connsiteY307" fmla="*/ 37729 h 341527"/>
                  <a:gd name="connsiteX308" fmla="*/ 22274 w 324254"/>
                  <a:gd name="connsiteY308" fmla="*/ 38941 h 341527"/>
                  <a:gd name="connsiteX309" fmla="*/ 18940 w 324254"/>
                  <a:gd name="connsiteY309" fmla="*/ 40001 h 341527"/>
                  <a:gd name="connsiteX310" fmla="*/ 13486 w 324254"/>
                  <a:gd name="connsiteY310" fmla="*/ 41062 h 341527"/>
                  <a:gd name="connsiteX311" fmla="*/ 11516 w 324254"/>
                  <a:gd name="connsiteY311" fmla="*/ 40305 h 341527"/>
                  <a:gd name="connsiteX312" fmla="*/ 10607 w 324254"/>
                  <a:gd name="connsiteY312" fmla="*/ 39547 h 341527"/>
                  <a:gd name="connsiteX313" fmla="*/ 8485 w 324254"/>
                  <a:gd name="connsiteY313" fmla="*/ 41517 h 341527"/>
                  <a:gd name="connsiteX314" fmla="*/ 4697 w 324254"/>
                  <a:gd name="connsiteY314" fmla="*/ 43335 h 341527"/>
                  <a:gd name="connsiteX315" fmla="*/ 4243 w 324254"/>
                  <a:gd name="connsiteY315" fmla="*/ 44547 h 341527"/>
                  <a:gd name="connsiteX316" fmla="*/ 4243 w 324254"/>
                  <a:gd name="connsiteY316" fmla="*/ 45911 h 341527"/>
                  <a:gd name="connsiteX317" fmla="*/ 4697 w 324254"/>
                  <a:gd name="connsiteY317" fmla="*/ 46971 h 341527"/>
                  <a:gd name="connsiteX318" fmla="*/ 6819 w 324254"/>
                  <a:gd name="connsiteY318" fmla="*/ 48335 h 341527"/>
                  <a:gd name="connsiteX319" fmla="*/ 9091 w 324254"/>
                  <a:gd name="connsiteY319" fmla="*/ 51366 h 341527"/>
                  <a:gd name="connsiteX320" fmla="*/ 10455 w 324254"/>
                  <a:gd name="connsiteY320" fmla="*/ 54093 h 341527"/>
                  <a:gd name="connsiteX321" fmla="*/ 13486 w 324254"/>
                  <a:gd name="connsiteY321" fmla="*/ 56669 h 341527"/>
                  <a:gd name="connsiteX322" fmla="*/ 14243 w 324254"/>
                  <a:gd name="connsiteY322" fmla="*/ 57426 h 341527"/>
                  <a:gd name="connsiteX323" fmla="*/ 14091 w 324254"/>
                  <a:gd name="connsiteY323" fmla="*/ 58032 h 341527"/>
                  <a:gd name="connsiteX324" fmla="*/ 13334 w 324254"/>
                  <a:gd name="connsiteY324" fmla="*/ 59093 h 341527"/>
                  <a:gd name="connsiteX325" fmla="*/ 12273 w 324254"/>
                  <a:gd name="connsiteY325" fmla="*/ 62730 h 341527"/>
                  <a:gd name="connsiteX326" fmla="*/ 11061 w 324254"/>
                  <a:gd name="connsiteY326" fmla="*/ 63336 h 341527"/>
                  <a:gd name="connsiteX327" fmla="*/ 9698 w 324254"/>
                  <a:gd name="connsiteY327" fmla="*/ 63639 h 341527"/>
                  <a:gd name="connsiteX328" fmla="*/ 5910 w 324254"/>
                  <a:gd name="connsiteY328" fmla="*/ 66366 h 341527"/>
                  <a:gd name="connsiteX329" fmla="*/ 4243 w 324254"/>
                  <a:gd name="connsiteY329" fmla="*/ 66063 h 341527"/>
                  <a:gd name="connsiteX330" fmla="*/ 1818 w 324254"/>
                  <a:gd name="connsiteY330" fmla="*/ 66063 h 341527"/>
                  <a:gd name="connsiteX331" fmla="*/ 0 w 324254"/>
                  <a:gd name="connsiteY331" fmla="*/ 66972 h 341527"/>
                  <a:gd name="connsiteX332" fmla="*/ 152 w 324254"/>
                  <a:gd name="connsiteY332" fmla="*/ 68639 h 341527"/>
                  <a:gd name="connsiteX333" fmla="*/ 1667 w 324254"/>
                  <a:gd name="connsiteY333" fmla="*/ 70154 h 341527"/>
                  <a:gd name="connsiteX334" fmla="*/ 2576 w 324254"/>
                  <a:gd name="connsiteY334" fmla="*/ 71821 h 341527"/>
                  <a:gd name="connsiteX335" fmla="*/ 2879 w 324254"/>
                  <a:gd name="connsiteY335" fmla="*/ 73488 h 341527"/>
                  <a:gd name="connsiteX336" fmla="*/ 4546 w 324254"/>
                  <a:gd name="connsiteY336" fmla="*/ 74851 h 341527"/>
                  <a:gd name="connsiteX337" fmla="*/ 6970 w 324254"/>
                  <a:gd name="connsiteY337" fmla="*/ 75609 h 341527"/>
                  <a:gd name="connsiteX338" fmla="*/ 8334 w 324254"/>
                  <a:gd name="connsiteY338" fmla="*/ 75609 h 341527"/>
                  <a:gd name="connsiteX339" fmla="*/ 9243 w 324254"/>
                  <a:gd name="connsiteY339" fmla="*/ 76063 h 341527"/>
                  <a:gd name="connsiteX340" fmla="*/ 9849 w 324254"/>
                  <a:gd name="connsiteY340" fmla="*/ 76669 h 341527"/>
                  <a:gd name="connsiteX341" fmla="*/ 10910 w 324254"/>
                  <a:gd name="connsiteY341" fmla="*/ 80457 h 341527"/>
                  <a:gd name="connsiteX342" fmla="*/ 10303 w 324254"/>
                  <a:gd name="connsiteY342" fmla="*/ 81367 h 341527"/>
                  <a:gd name="connsiteX343" fmla="*/ 8940 w 324254"/>
                  <a:gd name="connsiteY343" fmla="*/ 81821 h 341527"/>
                  <a:gd name="connsiteX344" fmla="*/ 8182 w 324254"/>
                  <a:gd name="connsiteY344" fmla="*/ 83336 h 341527"/>
                  <a:gd name="connsiteX345" fmla="*/ 6667 w 324254"/>
                  <a:gd name="connsiteY345" fmla="*/ 85609 h 341527"/>
                  <a:gd name="connsiteX346" fmla="*/ 5758 w 324254"/>
                  <a:gd name="connsiteY346" fmla="*/ 87427 h 341527"/>
                  <a:gd name="connsiteX347" fmla="*/ 6667 w 324254"/>
                  <a:gd name="connsiteY347" fmla="*/ 89094 h 341527"/>
                  <a:gd name="connsiteX348" fmla="*/ 7121 w 324254"/>
                  <a:gd name="connsiteY348" fmla="*/ 90306 h 341527"/>
                  <a:gd name="connsiteX349" fmla="*/ 6667 w 324254"/>
                  <a:gd name="connsiteY349" fmla="*/ 91519 h 341527"/>
                  <a:gd name="connsiteX350" fmla="*/ 7425 w 324254"/>
                  <a:gd name="connsiteY350" fmla="*/ 93337 h 341527"/>
                  <a:gd name="connsiteX351" fmla="*/ 9243 w 324254"/>
                  <a:gd name="connsiteY351" fmla="*/ 95155 h 341527"/>
                  <a:gd name="connsiteX352" fmla="*/ 14243 w 324254"/>
                  <a:gd name="connsiteY352" fmla="*/ 97731 h 341527"/>
                  <a:gd name="connsiteX353" fmla="*/ 18940 w 324254"/>
                  <a:gd name="connsiteY353" fmla="*/ 99852 h 341527"/>
                  <a:gd name="connsiteX354" fmla="*/ 20304 w 324254"/>
                  <a:gd name="connsiteY354" fmla="*/ 100155 h 341527"/>
                  <a:gd name="connsiteX355" fmla="*/ 26516 w 324254"/>
                  <a:gd name="connsiteY355" fmla="*/ 98792 h 341527"/>
                  <a:gd name="connsiteX356" fmla="*/ 27577 w 324254"/>
                  <a:gd name="connsiteY356" fmla="*/ 98943 h 341527"/>
                  <a:gd name="connsiteX357" fmla="*/ 28334 w 324254"/>
                  <a:gd name="connsiteY357" fmla="*/ 100610 h 341527"/>
                  <a:gd name="connsiteX358" fmla="*/ 28638 w 324254"/>
                  <a:gd name="connsiteY358" fmla="*/ 101670 h 341527"/>
                  <a:gd name="connsiteX359" fmla="*/ 27880 w 324254"/>
                  <a:gd name="connsiteY359" fmla="*/ 103337 h 341527"/>
                  <a:gd name="connsiteX360" fmla="*/ 26213 w 324254"/>
                  <a:gd name="connsiteY360" fmla="*/ 105610 h 341527"/>
                  <a:gd name="connsiteX361" fmla="*/ 24395 w 324254"/>
                  <a:gd name="connsiteY361" fmla="*/ 107428 h 341527"/>
                  <a:gd name="connsiteX362" fmla="*/ 23334 w 324254"/>
                  <a:gd name="connsiteY362" fmla="*/ 108943 h 341527"/>
                  <a:gd name="connsiteX363" fmla="*/ 23637 w 324254"/>
                  <a:gd name="connsiteY363" fmla="*/ 110307 h 341527"/>
                  <a:gd name="connsiteX364" fmla="*/ 23637 w 324254"/>
                  <a:gd name="connsiteY364" fmla="*/ 112125 h 341527"/>
                  <a:gd name="connsiteX365" fmla="*/ 30153 w 324254"/>
                  <a:gd name="connsiteY365" fmla="*/ 110913 h 341527"/>
                  <a:gd name="connsiteX366" fmla="*/ 37577 w 324254"/>
                  <a:gd name="connsiteY366" fmla="*/ 108489 h 341527"/>
                  <a:gd name="connsiteX367" fmla="*/ 39698 w 324254"/>
                  <a:gd name="connsiteY367" fmla="*/ 107125 h 341527"/>
                  <a:gd name="connsiteX368" fmla="*/ 45456 w 324254"/>
                  <a:gd name="connsiteY368" fmla="*/ 99852 h 341527"/>
                  <a:gd name="connsiteX369" fmla="*/ 52578 w 324254"/>
                  <a:gd name="connsiteY369" fmla="*/ 92882 h 341527"/>
                  <a:gd name="connsiteX370" fmla="*/ 58487 w 324254"/>
                  <a:gd name="connsiteY370" fmla="*/ 90306 h 341527"/>
                  <a:gd name="connsiteX371" fmla="*/ 63033 w 324254"/>
                  <a:gd name="connsiteY371" fmla="*/ 90761 h 341527"/>
                  <a:gd name="connsiteX372" fmla="*/ 70306 w 324254"/>
                  <a:gd name="connsiteY372" fmla="*/ 93640 h 341527"/>
                  <a:gd name="connsiteX373" fmla="*/ 72881 w 324254"/>
                  <a:gd name="connsiteY373" fmla="*/ 93791 h 341527"/>
                  <a:gd name="connsiteX374" fmla="*/ 85003 w 324254"/>
                  <a:gd name="connsiteY374" fmla="*/ 101064 h 341527"/>
                  <a:gd name="connsiteX375" fmla="*/ 93640 w 324254"/>
                  <a:gd name="connsiteY375" fmla="*/ 103792 h 341527"/>
                  <a:gd name="connsiteX376" fmla="*/ 97428 w 324254"/>
                  <a:gd name="connsiteY376" fmla="*/ 106216 h 341527"/>
                  <a:gd name="connsiteX377" fmla="*/ 98943 w 324254"/>
                  <a:gd name="connsiteY377" fmla="*/ 109398 h 341527"/>
                  <a:gd name="connsiteX378" fmla="*/ 100913 w 324254"/>
                  <a:gd name="connsiteY378" fmla="*/ 120762 h 341527"/>
                  <a:gd name="connsiteX379" fmla="*/ 104398 w 324254"/>
                  <a:gd name="connsiteY379" fmla="*/ 125459 h 341527"/>
                  <a:gd name="connsiteX380" fmla="*/ 106368 w 324254"/>
                  <a:gd name="connsiteY380" fmla="*/ 131065 h 341527"/>
                  <a:gd name="connsiteX381" fmla="*/ 106671 w 324254"/>
                  <a:gd name="connsiteY381" fmla="*/ 133187 h 341527"/>
                  <a:gd name="connsiteX382" fmla="*/ 106216 w 324254"/>
                  <a:gd name="connsiteY382" fmla="*/ 135611 h 341527"/>
                  <a:gd name="connsiteX383" fmla="*/ 106216 w 324254"/>
                  <a:gd name="connsiteY383" fmla="*/ 138793 h 341527"/>
                  <a:gd name="connsiteX384" fmla="*/ 108337 w 324254"/>
                  <a:gd name="connsiteY384" fmla="*/ 139248 h 341527"/>
                  <a:gd name="connsiteX385" fmla="*/ 109853 w 324254"/>
                  <a:gd name="connsiteY385" fmla="*/ 139096 h 341527"/>
                  <a:gd name="connsiteX386" fmla="*/ 111671 w 324254"/>
                  <a:gd name="connsiteY386" fmla="*/ 139854 h 341527"/>
                  <a:gd name="connsiteX387" fmla="*/ 112429 w 324254"/>
                  <a:gd name="connsiteY387" fmla="*/ 141066 h 341527"/>
                  <a:gd name="connsiteX388" fmla="*/ 113186 w 324254"/>
                  <a:gd name="connsiteY388" fmla="*/ 142884 h 341527"/>
                  <a:gd name="connsiteX389" fmla="*/ 114247 w 324254"/>
                  <a:gd name="connsiteY389" fmla="*/ 144248 h 341527"/>
                  <a:gd name="connsiteX390" fmla="*/ 117883 w 324254"/>
                  <a:gd name="connsiteY390" fmla="*/ 146369 h 341527"/>
                  <a:gd name="connsiteX391" fmla="*/ 124247 w 324254"/>
                  <a:gd name="connsiteY391" fmla="*/ 153036 h 341527"/>
                  <a:gd name="connsiteX392" fmla="*/ 124702 w 324254"/>
                  <a:gd name="connsiteY392" fmla="*/ 155612 h 341527"/>
                  <a:gd name="connsiteX393" fmla="*/ 123489 w 324254"/>
                  <a:gd name="connsiteY393" fmla="*/ 156066 h 341527"/>
                  <a:gd name="connsiteX394" fmla="*/ 122429 w 324254"/>
                  <a:gd name="connsiteY394" fmla="*/ 156975 h 341527"/>
                  <a:gd name="connsiteX395" fmla="*/ 123489 w 324254"/>
                  <a:gd name="connsiteY395" fmla="*/ 157885 h 341527"/>
                  <a:gd name="connsiteX396" fmla="*/ 124853 w 324254"/>
                  <a:gd name="connsiteY396" fmla="*/ 157733 h 341527"/>
                  <a:gd name="connsiteX397" fmla="*/ 126520 w 324254"/>
                  <a:gd name="connsiteY397" fmla="*/ 156975 h 341527"/>
                  <a:gd name="connsiteX398" fmla="*/ 127732 w 324254"/>
                  <a:gd name="connsiteY398" fmla="*/ 156672 h 341527"/>
                  <a:gd name="connsiteX399" fmla="*/ 133187 w 324254"/>
                  <a:gd name="connsiteY399" fmla="*/ 158642 h 341527"/>
                  <a:gd name="connsiteX400" fmla="*/ 136975 w 324254"/>
                  <a:gd name="connsiteY400" fmla="*/ 161066 h 341527"/>
                  <a:gd name="connsiteX401" fmla="*/ 141672 w 324254"/>
                  <a:gd name="connsiteY401" fmla="*/ 167885 h 341527"/>
                  <a:gd name="connsiteX402" fmla="*/ 148945 w 324254"/>
                  <a:gd name="connsiteY402" fmla="*/ 172582 h 341527"/>
                  <a:gd name="connsiteX403" fmla="*/ 152582 w 324254"/>
                  <a:gd name="connsiteY403" fmla="*/ 176825 h 341527"/>
                  <a:gd name="connsiteX404" fmla="*/ 164248 w 324254"/>
                  <a:gd name="connsiteY404" fmla="*/ 188037 h 341527"/>
                  <a:gd name="connsiteX405" fmla="*/ 170158 w 324254"/>
                  <a:gd name="connsiteY405" fmla="*/ 190007 h 341527"/>
                  <a:gd name="connsiteX406" fmla="*/ 175007 w 324254"/>
                  <a:gd name="connsiteY406" fmla="*/ 193492 h 341527"/>
                  <a:gd name="connsiteX407" fmla="*/ 175461 w 324254"/>
                  <a:gd name="connsiteY407" fmla="*/ 194553 h 341527"/>
                  <a:gd name="connsiteX408" fmla="*/ 176825 w 324254"/>
                  <a:gd name="connsiteY408" fmla="*/ 195310 h 341527"/>
                  <a:gd name="connsiteX409" fmla="*/ 179401 w 324254"/>
                  <a:gd name="connsiteY409" fmla="*/ 194250 h 341527"/>
                  <a:gd name="connsiteX410" fmla="*/ 181068 w 324254"/>
                  <a:gd name="connsiteY410" fmla="*/ 193947 h 341527"/>
                  <a:gd name="connsiteX411" fmla="*/ 184249 w 324254"/>
                  <a:gd name="connsiteY411" fmla="*/ 194250 h 341527"/>
                  <a:gd name="connsiteX412" fmla="*/ 189553 w 324254"/>
                  <a:gd name="connsiteY412" fmla="*/ 195765 h 341527"/>
                  <a:gd name="connsiteX413" fmla="*/ 192734 w 324254"/>
                  <a:gd name="connsiteY413" fmla="*/ 195007 h 341527"/>
                  <a:gd name="connsiteX414" fmla="*/ 194401 w 324254"/>
                  <a:gd name="connsiteY414" fmla="*/ 195613 h 341527"/>
                  <a:gd name="connsiteX415" fmla="*/ 197886 w 324254"/>
                  <a:gd name="connsiteY415" fmla="*/ 199098 h 341527"/>
                  <a:gd name="connsiteX416" fmla="*/ 203038 w 324254"/>
                  <a:gd name="connsiteY416" fmla="*/ 207583 h 341527"/>
                  <a:gd name="connsiteX417" fmla="*/ 202887 w 324254"/>
                  <a:gd name="connsiteY417" fmla="*/ 209402 h 341527"/>
                  <a:gd name="connsiteX418" fmla="*/ 203796 w 324254"/>
                  <a:gd name="connsiteY418" fmla="*/ 210008 h 341527"/>
                  <a:gd name="connsiteX419" fmla="*/ 204553 w 324254"/>
                  <a:gd name="connsiteY419" fmla="*/ 208947 h 341527"/>
                  <a:gd name="connsiteX420" fmla="*/ 205765 w 324254"/>
                  <a:gd name="connsiteY420" fmla="*/ 209099 h 341527"/>
                  <a:gd name="connsiteX421" fmla="*/ 210159 w 324254"/>
                  <a:gd name="connsiteY421" fmla="*/ 209402 h 341527"/>
                  <a:gd name="connsiteX422" fmla="*/ 213493 w 324254"/>
                  <a:gd name="connsiteY422" fmla="*/ 211068 h 341527"/>
                  <a:gd name="connsiteX423" fmla="*/ 214402 w 324254"/>
                  <a:gd name="connsiteY423" fmla="*/ 212129 h 341527"/>
                  <a:gd name="connsiteX424" fmla="*/ 211068 w 324254"/>
                  <a:gd name="connsiteY424" fmla="*/ 216372 h 341527"/>
                  <a:gd name="connsiteX425" fmla="*/ 212281 w 324254"/>
                  <a:gd name="connsiteY425" fmla="*/ 216372 h 341527"/>
                  <a:gd name="connsiteX426" fmla="*/ 214402 w 324254"/>
                  <a:gd name="connsiteY426" fmla="*/ 215311 h 341527"/>
                  <a:gd name="connsiteX427" fmla="*/ 217130 w 324254"/>
                  <a:gd name="connsiteY427" fmla="*/ 215462 h 341527"/>
                  <a:gd name="connsiteX428" fmla="*/ 218644 w 324254"/>
                  <a:gd name="connsiteY428" fmla="*/ 214856 h 341527"/>
                  <a:gd name="connsiteX429" fmla="*/ 222887 w 324254"/>
                  <a:gd name="connsiteY429" fmla="*/ 214099 h 341527"/>
                  <a:gd name="connsiteX430" fmla="*/ 224857 w 324254"/>
                  <a:gd name="connsiteY430" fmla="*/ 215311 h 341527"/>
                  <a:gd name="connsiteX431" fmla="*/ 226675 w 324254"/>
                  <a:gd name="connsiteY431" fmla="*/ 217735 h 341527"/>
                  <a:gd name="connsiteX432" fmla="*/ 227736 w 324254"/>
                  <a:gd name="connsiteY432" fmla="*/ 220463 h 341527"/>
                  <a:gd name="connsiteX433" fmla="*/ 228796 w 324254"/>
                  <a:gd name="connsiteY433" fmla="*/ 223493 h 341527"/>
                  <a:gd name="connsiteX434" fmla="*/ 227281 w 324254"/>
                  <a:gd name="connsiteY434" fmla="*/ 225614 h 341527"/>
                  <a:gd name="connsiteX435" fmla="*/ 227281 w 324254"/>
                  <a:gd name="connsiteY435" fmla="*/ 227130 h 341527"/>
                  <a:gd name="connsiteX436" fmla="*/ 227887 w 324254"/>
                  <a:gd name="connsiteY436" fmla="*/ 227887 h 341527"/>
                  <a:gd name="connsiteX437" fmla="*/ 237282 w 324254"/>
                  <a:gd name="connsiteY437" fmla="*/ 233342 h 341527"/>
                  <a:gd name="connsiteX438" fmla="*/ 239858 w 324254"/>
                  <a:gd name="connsiteY438" fmla="*/ 233948 h 341527"/>
                  <a:gd name="connsiteX439" fmla="*/ 245161 w 324254"/>
                  <a:gd name="connsiteY439" fmla="*/ 233948 h 341527"/>
                  <a:gd name="connsiteX440" fmla="*/ 248039 w 324254"/>
                  <a:gd name="connsiteY440" fmla="*/ 235918 h 341527"/>
                  <a:gd name="connsiteX441" fmla="*/ 250009 w 324254"/>
                  <a:gd name="connsiteY441" fmla="*/ 239706 h 341527"/>
                  <a:gd name="connsiteX442" fmla="*/ 252434 w 324254"/>
                  <a:gd name="connsiteY442" fmla="*/ 247585 h 341527"/>
                  <a:gd name="connsiteX443" fmla="*/ 257131 w 324254"/>
                  <a:gd name="connsiteY443" fmla="*/ 256373 h 341527"/>
                  <a:gd name="connsiteX444" fmla="*/ 258494 w 324254"/>
                  <a:gd name="connsiteY444" fmla="*/ 263191 h 341527"/>
                  <a:gd name="connsiteX445" fmla="*/ 259403 w 324254"/>
                  <a:gd name="connsiteY445" fmla="*/ 266828 h 341527"/>
                  <a:gd name="connsiteX446" fmla="*/ 262282 w 324254"/>
                  <a:gd name="connsiteY446" fmla="*/ 269404 h 341527"/>
                  <a:gd name="connsiteX447" fmla="*/ 261980 w 324254"/>
                  <a:gd name="connsiteY447" fmla="*/ 275162 h 341527"/>
                  <a:gd name="connsiteX448" fmla="*/ 258343 w 324254"/>
                  <a:gd name="connsiteY448" fmla="*/ 275919 h 341527"/>
                  <a:gd name="connsiteX449" fmla="*/ 255767 w 324254"/>
                  <a:gd name="connsiteY449" fmla="*/ 276677 h 341527"/>
                  <a:gd name="connsiteX450" fmla="*/ 254555 w 324254"/>
                  <a:gd name="connsiteY450" fmla="*/ 278041 h 341527"/>
                  <a:gd name="connsiteX451" fmla="*/ 253192 w 324254"/>
                  <a:gd name="connsiteY451" fmla="*/ 279859 h 341527"/>
                  <a:gd name="connsiteX452" fmla="*/ 253949 w 324254"/>
                  <a:gd name="connsiteY452" fmla="*/ 283950 h 341527"/>
                  <a:gd name="connsiteX453" fmla="*/ 251676 w 324254"/>
                  <a:gd name="connsiteY453" fmla="*/ 289707 h 341527"/>
                  <a:gd name="connsiteX454" fmla="*/ 248343 w 324254"/>
                  <a:gd name="connsiteY454" fmla="*/ 291071 h 341527"/>
                  <a:gd name="connsiteX455" fmla="*/ 246827 w 324254"/>
                  <a:gd name="connsiteY455" fmla="*/ 293799 h 341527"/>
                  <a:gd name="connsiteX456" fmla="*/ 246979 w 324254"/>
                  <a:gd name="connsiteY456" fmla="*/ 298193 h 341527"/>
                  <a:gd name="connsiteX457" fmla="*/ 249100 w 324254"/>
                  <a:gd name="connsiteY457" fmla="*/ 301223 h 341527"/>
                  <a:gd name="connsiteX458" fmla="*/ 258192 w 324254"/>
                  <a:gd name="connsiteY458" fmla="*/ 301072 h 341527"/>
                  <a:gd name="connsiteX459" fmla="*/ 259707 w 324254"/>
                  <a:gd name="connsiteY459" fmla="*/ 298647 h 341527"/>
                  <a:gd name="connsiteX460" fmla="*/ 260616 w 324254"/>
                  <a:gd name="connsiteY460" fmla="*/ 296526 h 341527"/>
                  <a:gd name="connsiteX461" fmla="*/ 264404 w 324254"/>
                  <a:gd name="connsiteY461" fmla="*/ 291374 h 341527"/>
                  <a:gd name="connsiteX462" fmla="*/ 271677 w 324254"/>
                  <a:gd name="connsiteY462" fmla="*/ 286374 h 341527"/>
                  <a:gd name="connsiteX463" fmla="*/ 272435 w 324254"/>
                  <a:gd name="connsiteY463" fmla="*/ 283647 h 341527"/>
                  <a:gd name="connsiteX464" fmla="*/ 271980 w 324254"/>
                  <a:gd name="connsiteY464" fmla="*/ 276677 h 341527"/>
                  <a:gd name="connsiteX465" fmla="*/ 273495 w 324254"/>
                  <a:gd name="connsiteY465" fmla="*/ 273949 h 341527"/>
                  <a:gd name="connsiteX466" fmla="*/ 277283 w 324254"/>
                  <a:gd name="connsiteY466" fmla="*/ 271070 h 341527"/>
                  <a:gd name="connsiteX467" fmla="*/ 282586 w 324254"/>
                  <a:gd name="connsiteY467" fmla="*/ 269404 h 341527"/>
                  <a:gd name="connsiteX468" fmla="*/ 286678 w 324254"/>
                  <a:gd name="connsiteY468" fmla="*/ 270010 h 341527"/>
                  <a:gd name="connsiteX469" fmla="*/ 288799 w 324254"/>
                  <a:gd name="connsiteY469" fmla="*/ 267434 h 341527"/>
                  <a:gd name="connsiteX470" fmla="*/ 287435 w 324254"/>
                  <a:gd name="connsiteY470" fmla="*/ 263040 h 341527"/>
                  <a:gd name="connsiteX471" fmla="*/ 287132 w 324254"/>
                  <a:gd name="connsiteY471" fmla="*/ 255312 h 341527"/>
                  <a:gd name="connsiteX472" fmla="*/ 283950 w 324254"/>
                  <a:gd name="connsiteY472" fmla="*/ 252130 h 341527"/>
                  <a:gd name="connsiteX473" fmla="*/ 279101 w 324254"/>
                  <a:gd name="connsiteY473" fmla="*/ 249100 h 341527"/>
                  <a:gd name="connsiteX474" fmla="*/ 272889 w 324254"/>
                  <a:gd name="connsiteY474" fmla="*/ 247130 h 341527"/>
                  <a:gd name="connsiteX475" fmla="*/ 270768 w 324254"/>
                  <a:gd name="connsiteY475" fmla="*/ 243645 h 341527"/>
                  <a:gd name="connsiteX476" fmla="*/ 270919 w 324254"/>
                  <a:gd name="connsiteY476" fmla="*/ 240009 h 341527"/>
                  <a:gd name="connsiteX477" fmla="*/ 274707 w 324254"/>
                  <a:gd name="connsiteY477" fmla="*/ 231069 h 341527"/>
                  <a:gd name="connsiteX478" fmla="*/ 278495 w 324254"/>
                  <a:gd name="connsiteY478" fmla="*/ 225008 h 341527"/>
                  <a:gd name="connsiteX479" fmla="*/ 281829 w 324254"/>
                  <a:gd name="connsiteY479" fmla="*/ 220766 h 341527"/>
                  <a:gd name="connsiteX480" fmla="*/ 284708 w 324254"/>
                  <a:gd name="connsiteY480" fmla="*/ 218947 h 341527"/>
                  <a:gd name="connsiteX481" fmla="*/ 288799 w 324254"/>
                  <a:gd name="connsiteY481" fmla="*/ 219250 h 341527"/>
                  <a:gd name="connsiteX482" fmla="*/ 289708 w 324254"/>
                  <a:gd name="connsiteY482" fmla="*/ 219705 h 341527"/>
                  <a:gd name="connsiteX483" fmla="*/ 290617 w 324254"/>
                  <a:gd name="connsiteY483" fmla="*/ 221220 h 341527"/>
                  <a:gd name="connsiteX484" fmla="*/ 290768 w 324254"/>
                  <a:gd name="connsiteY484" fmla="*/ 222432 h 341527"/>
                  <a:gd name="connsiteX485" fmla="*/ 294556 w 324254"/>
                  <a:gd name="connsiteY485" fmla="*/ 224402 h 341527"/>
                  <a:gd name="connsiteX486" fmla="*/ 296829 w 324254"/>
                  <a:gd name="connsiteY486" fmla="*/ 225160 h 341527"/>
                  <a:gd name="connsiteX487" fmla="*/ 307436 w 324254"/>
                  <a:gd name="connsiteY487" fmla="*/ 226220 h 341527"/>
                  <a:gd name="connsiteX488" fmla="*/ 313194 w 324254"/>
                  <a:gd name="connsiteY488" fmla="*/ 237281 h 341527"/>
                  <a:gd name="connsiteX489" fmla="*/ 317133 w 324254"/>
                  <a:gd name="connsiteY489" fmla="*/ 240009 h 341527"/>
                  <a:gd name="connsiteX490" fmla="*/ 320466 w 324254"/>
                  <a:gd name="connsiteY490" fmla="*/ 241069 h 341527"/>
                  <a:gd name="connsiteX491" fmla="*/ 321830 w 324254"/>
                  <a:gd name="connsiteY491" fmla="*/ 238494 h 341527"/>
                  <a:gd name="connsiteX492" fmla="*/ 322588 w 324254"/>
                  <a:gd name="connsiteY492" fmla="*/ 235766 h 341527"/>
                  <a:gd name="connsiteX493" fmla="*/ 324254 w 324254"/>
                  <a:gd name="connsiteY493" fmla="*/ 231978 h 341527"/>
                  <a:gd name="connsiteX494" fmla="*/ 323649 w 324254"/>
                  <a:gd name="connsiteY494" fmla="*/ 228796 h 341527"/>
                  <a:gd name="connsiteX495" fmla="*/ 160158 w 324254"/>
                  <a:gd name="connsiteY495" fmla="*/ 108186 h 341527"/>
                  <a:gd name="connsiteX496" fmla="*/ 158491 w 324254"/>
                  <a:gd name="connsiteY496" fmla="*/ 108489 h 341527"/>
                  <a:gd name="connsiteX497" fmla="*/ 157733 w 324254"/>
                  <a:gd name="connsiteY497" fmla="*/ 107125 h 341527"/>
                  <a:gd name="connsiteX498" fmla="*/ 158946 w 324254"/>
                  <a:gd name="connsiteY498" fmla="*/ 105458 h 341527"/>
                  <a:gd name="connsiteX499" fmla="*/ 160612 w 324254"/>
                  <a:gd name="connsiteY499" fmla="*/ 105155 h 341527"/>
                  <a:gd name="connsiteX500" fmla="*/ 160915 w 324254"/>
                  <a:gd name="connsiteY500" fmla="*/ 106368 h 341527"/>
                  <a:gd name="connsiteX501" fmla="*/ 160158 w 324254"/>
                  <a:gd name="connsiteY501" fmla="*/ 108186 h 341527"/>
                  <a:gd name="connsiteX502" fmla="*/ 147582 w 324254"/>
                  <a:gd name="connsiteY502" fmla="*/ 336830 h 341527"/>
                  <a:gd name="connsiteX503" fmla="*/ 145460 w 324254"/>
                  <a:gd name="connsiteY503" fmla="*/ 336073 h 341527"/>
                  <a:gd name="connsiteX504" fmla="*/ 145157 w 324254"/>
                  <a:gd name="connsiteY504" fmla="*/ 336528 h 341527"/>
                  <a:gd name="connsiteX505" fmla="*/ 145308 w 324254"/>
                  <a:gd name="connsiteY505" fmla="*/ 338043 h 341527"/>
                  <a:gd name="connsiteX506" fmla="*/ 146975 w 324254"/>
                  <a:gd name="connsiteY506" fmla="*/ 339103 h 341527"/>
                  <a:gd name="connsiteX507" fmla="*/ 148339 w 324254"/>
                  <a:gd name="connsiteY507" fmla="*/ 338800 h 341527"/>
                  <a:gd name="connsiteX508" fmla="*/ 148187 w 324254"/>
                  <a:gd name="connsiteY508" fmla="*/ 338194 h 341527"/>
                  <a:gd name="connsiteX509" fmla="*/ 147582 w 324254"/>
                  <a:gd name="connsiteY509" fmla="*/ 336830 h 341527"/>
                  <a:gd name="connsiteX510" fmla="*/ 200008 w 324254"/>
                  <a:gd name="connsiteY510" fmla="*/ 213190 h 341527"/>
                  <a:gd name="connsiteX511" fmla="*/ 200614 w 324254"/>
                  <a:gd name="connsiteY511" fmla="*/ 212735 h 341527"/>
                  <a:gd name="connsiteX512" fmla="*/ 200614 w 324254"/>
                  <a:gd name="connsiteY512" fmla="*/ 211977 h 341527"/>
                  <a:gd name="connsiteX513" fmla="*/ 198189 w 324254"/>
                  <a:gd name="connsiteY513" fmla="*/ 211220 h 341527"/>
                  <a:gd name="connsiteX514" fmla="*/ 197735 w 324254"/>
                  <a:gd name="connsiteY514" fmla="*/ 212432 h 341527"/>
                  <a:gd name="connsiteX515" fmla="*/ 198189 w 324254"/>
                  <a:gd name="connsiteY515" fmla="*/ 212887 h 341527"/>
                  <a:gd name="connsiteX516" fmla="*/ 198947 w 324254"/>
                  <a:gd name="connsiteY516" fmla="*/ 213341 h 341527"/>
                  <a:gd name="connsiteX517" fmla="*/ 200008 w 324254"/>
                  <a:gd name="connsiteY517" fmla="*/ 213190 h 341527"/>
                  <a:gd name="connsiteX518" fmla="*/ 242737 w 324254"/>
                  <a:gd name="connsiteY518" fmla="*/ 290465 h 341527"/>
                  <a:gd name="connsiteX519" fmla="*/ 238342 w 324254"/>
                  <a:gd name="connsiteY519" fmla="*/ 292738 h 341527"/>
                  <a:gd name="connsiteX520" fmla="*/ 236675 w 324254"/>
                  <a:gd name="connsiteY520" fmla="*/ 292283 h 341527"/>
                  <a:gd name="connsiteX521" fmla="*/ 235161 w 324254"/>
                  <a:gd name="connsiteY521" fmla="*/ 292890 h 341527"/>
                  <a:gd name="connsiteX522" fmla="*/ 233796 w 324254"/>
                  <a:gd name="connsiteY522" fmla="*/ 294253 h 341527"/>
                  <a:gd name="connsiteX523" fmla="*/ 232282 w 324254"/>
                  <a:gd name="connsiteY523" fmla="*/ 294708 h 341527"/>
                  <a:gd name="connsiteX524" fmla="*/ 228494 w 324254"/>
                  <a:gd name="connsiteY524" fmla="*/ 294253 h 341527"/>
                  <a:gd name="connsiteX525" fmla="*/ 224706 w 324254"/>
                  <a:gd name="connsiteY525" fmla="*/ 294102 h 341527"/>
                  <a:gd name="connsiteX526" fmla="*/ 223190 w 324254"/>
                  <a:gd name="connsiteY526" fmla="*/ 294253 h 341527"/>
                  <a:gd name="connsiteX527" fmla="*/ 221827 w 324254"/>
                  <a:gd name="connsiteY527" fmla="*/ 294708 h 341527"/>
                  <a:gd name="connsiteX528" fmla="*/ 219099 w 324254"/>
                  <a:gd name="connsiteY528" fmla="*/ 296829 h 341527"/>
                  <a:gd name="connsiteX529" fmla="*/ 215463 w 324254"/>
                  <a:gd name="connsiteY529" fmla="*/ 298041 h 341527"/>
                  <a:gd name="connsiteX530" fmla="*/ 213038 w 324254"/>
                  <a:gd name="connsiteY530" fmla="*/ 298193 h 341527"/>
                  <a:gd name="connsiteX531" fmla="*/ 209553 w 324254"/>
                  <a:gd name="connsiteY531" fmla="*/ 298950 h 341527"/>
                  <a:gd name="connsiteX532" fmla="*/ 203038 w 324254"/>
                  <a:gd name="connsiteY532" fmla="*/ 298193 h 341527"/>
                  <a:gd name="connsiteX533" fmla="*/ 200008 w 324254"/>
                  <a:gd name="connsiteY533" fmla="*/ 298647 h 341527"/>
                  <a:gd name="connsiteX534" fmla="*/ 195916 w 324254"/>
                  <a:gd name="connsiteY534" fmla="*/ 300011 h 341527"/>
                  <a:gd name="connsiteX535" fmla="*/ 194401 w 324254"/>
                  <a:gd name="connsiteY535" fmla="*/ 299859 h 341527"/>
                  <a:gd name="connsiteX536" fmla="*/ 192886 w 324254"/>
                  <a:gd name="connsiteY536" fmla="*/ 299405 h 341527"/>
                  <a:gd name="connsiteX537" fmla="*/ 187734 w 324254"/>
                  <a:gd name="connsiteY537" fmla="*/ 296223 h 341527"/>
                  <a:gd name="connsiteX538" fmla="*/ 186219 w 324254"/>
                  <a:gd name="connsiteY538" fmla="*/ 296071 h 341527"/>
                  <a:gd name="connsiteX539" fmla="*/ 184856 w 324254"/>
                  <a:gd name="connsiteY539" fmla="*/ 295617 h 341527"/>
                  <a:gd name="connsiteX540" fmla="*/ 183946 w 324254"/>
                  <a:gd name="connsiteY540" fmla="*/ 293950 h 341527"/>
                  <a:gd name="connsiteX541" fmla="*/ 182279 w 324254"/>
                  <a:gd name="connsiteY541" fmla="*/ 293647 h 341527"/>
                  <a:gd name="connsiteX542" fmla="*/ 178643 w 324254"/>
                  <a:gd name="connsiteY542" fmla="*/ 293647 h 341527"/>
                  <a:gd name="connsiteX543" fmla="*/ 175764 w 324254"/>
                  <a:gd name="connsiteY543" fmla="*/ 295465 h 341527"/>
                  <a:gd name="connsiteX544" fmla="*/ 175613 w 324254"/>
                  <a:gd name="connsiteY544" fmla="*/ 296981 h 341527"/>
                  <a:gd name="connsiteX545" fmla="*/ 173037 w 324254"/>
                  <a:gd name="connsiteY545" fmla="*/ 298344 h 341527"/>
                  <a:gd name="connsiteX546" fmla="*/ 171522 w 324254"/>
                  <a:gd name="connsiteY546" fmla="*/ 298496 h 341527"/>
                  <a:gd name="connsiteX547" fmla="*/ 170158 w 324254"/>
                  <a:gd name="connsiteY547" fmla="*/ 297587 h 341527"/>
                  <a:gd name="connsiteX548" fmla="*/ 166976 w 324254"/>
                  <a:gd name="connsiteY548" fmla="*/ 293799 h 341527"/>
                  <a:gd name="connsiteX549" fmla="*/ 166067 w 324254"/>
                  <a:gd name="connsiteY549" fmla="*/ 295162 h 341527"/>
                  <a:gd name="connsiteX550" fmla="*/ 165006 w 324254"/>
                  <a:gd name="connsiteY550" fmla="*/ 296223 h 341527"/>
                  <a:gd name="connsiteX551" fmla="*/ 163339 w 324254"/>
                  <a:gd name="connsiteY551" fmla="*/ 296981 h 341527"/>
                  <a:gd name="connsiteX552" fmla="*/ 161824 w 324254"/>
                  <a:gd name="connsiteY552" fmla="*/ 298041 h 341527"/>
                  <a:gd name="connsiteX553" fmla="*/ 160158 w 324254"/>
                  <a:gd name="connsiteY553" fmla="*/ 301678 h 341527"/>
                  <a:gd name="connsiteX554" fmla="*/ 158794 w 324254"/>
                  <a:gd name="connsiteY554" fmla="*/ 305466 h 341527"/>
                  <a:gd name="connsiteX555" fmla="*/ 159248 w 324254"/>
                  <a:gd name="connsiteY555" fmla="*/ 306981 h 341527"/>
                  <a:gd name="connsiteX556" fmla="*/ 161218 w 324254"/>
                  <a:gd name="connsiteY556" fmla="*/ 310314 h 341527"/>
                  <a:gd name="connsiteX557" fmla="*/ 164248 w 324254"/>
                  <a:gd name="connsiteY557" fmla="*/ 312739 h 341527"/>
                  <a:gd name="connsiteX558" fmla="*/ 165915 w 324254"/>
                  <a:gd name="connsiteY558" fmla="*/ 313496 h 341527"/>
                  <a:gd name="connsiteX559" fmla="*/ 167582 w 324254"/>
                  <a:gd name="connsiteY559" fmla="*/ 313648 h 341527"/>
                  <a:gd name="connsiteX560" fmla="*/ 170764 w 324254"/>
                  <a:gd name="connsiteY560" fmla="*/ 313345 h 341527"/>
                  <a:gd name="connsiteX561" fmla="*/ 172279 w 324254"/>
                  <a:gd name="connsiteY561" fmla="*/ 313496 h 341527"/>
                  <a:gd name="connsiteX562" fmla="*/ 175461 w 324254"/>
                  <a:gd name="connsiteY562" fmla="*/ 315466 h 341527"/>
                  <a:gd name="connsiteX563" fmla="*/ 178946 w 324254"/>
                  <a:gd name="connsiteY563" fmla="*/ 316375 h 341527"/>
                  <a:gd name="connsiteX564" fmla="*/ 180310 w 324254"/>
                  <a:gd name="connsiteY564" fmla="*/ 317284 h 341527"/>
                  <a:gd name="connsiteX565" fmla="*/ 181522 w 324254"/>
                  <a:gd name="connsiteY565" fmla="*/ 318648 h 341527"/>
                  <a:gd name="connsiteX566" fmla="*/ 184098 w 324254"/>
                  <a:gd name="connsiteY566" fmla="*/ 320618 h 341527"/>
                  <a:gd name="connsiteX567" fmla="*/ 190310 w 324254"/>
                  <a:gd name="connsiteY567" fmla="*/ 323648 h 341527"/>
                  <a:gd name="connsiteX568" fmla="*/ 196220 w 324254"/>
                  <a:gd name="connsiteY568" fmla="*/ 327436 h 341527"/>
                  <a:gd name="connsiteX569" fmla="*/ 199099 w 324254"/>
                  <a:gd name="connsiteY569" fmla="*/ 328497 h 341527"/>
                  <a:gd name="connsiteX570" fmla="*/ 202280 w 324254"/>
                  <a:gd name="connsiteY570" fmla="*/ 328345 h 341527"/>
                  <a:gd name="connsiteX571" fmla="*/ 205462 w 324254"/>
                  <a:gd name="connsiteY571" fmla="*/ 328497 h 341527"/>
                  <a:gd name="connsiteX572" fmla="*/ 208644 w 324254"/>
                  <a:gd name="connsiteY572" fmla="*/ 330315 h 341527"/>
                  <a:gd name="connsiteX573" fmla="*/ 211675 w 324254"/>
                  <a:gd name="connsiteY573" fmla="*/ 332588 h 341527"/>
                  <a:gd name="connsiteX574" fmla="*/ 215311 w 324254"/>
                  <a:gd name="connsiteY574" fmla="*/ 338043 h 341527"/>
                  <a:gd name="connsiteX575" fmla="*/ 216826 w 324254"/>
                  <a:gd name="connsiteY575" fmla="*/ 338800 h 341527"/>
                  <a:gd name="connsiteX576" fmla="*/ 218493 w 324254"/>
                  <a:gd name="connsiteY576" fmla="*/ 339103 h 341527"/>
                  <a:gd name="connsiteX577" fmla="*/ 222887 w 324254"/>
                  <a:gd name="connsiteY577" fmla="*/ 340922 h 341527"/>
                  <a:gd name="connsiteX578" fmla="*/ 226069 w 324254"/>
                  <a:gd name="connsiteY578" fmla="*/ 340467 h 341527"/>
                  <a:gd name="connsiteX579" fmla="*/ 229099 w 324254"/>
                  <a:gd name="connsiteY579" fmla="*/ 341376 h 341527"/>
                  <a:gd name="connsiteX580" fmla="*/ 232130 w 324254"/>
                  <a:gd name="connsiteY580" fmla="*/ 341528 h 341527"/>
                  <a:gd name="connsiteX581" fmla="*/ 232282 w 324254"/>
                  <a:gd name="connsiteY581" fmla="*/ 340012 h 341527"/>
                  <a:gd name="connsiteX582" fmla="*/ 231978 w 324254"/>
                  <a:gd name="connsiteY582" fmla="*/ 338497 h 341527"/>
                  <a:gd name="connsiteX583" fmla="*/ 232282 w 324254"/>
                  <a:gd name="connsiteY583" fmla="*/ 336830 h 341527"/>
                  <a:gd name="connsiteX584" fmla="*/ 233039 w 324254"/>
                  <a:gd name="connsiteY584" fmla="*/ 335164 h 341527"/>
                  <a:gd name="connsiteX585" fmla="*/ 234251 w 324254"/>
                  <a:gd name="connsiteY585" fmla="*/ 333800 h 341527"/>
                  <a:gd name="connsiteX586" fmla="*/ 237282 w 324254"/>
                  <a:gd name="connsiteY586" fmla="*/ 331376 h 341527"/>
                  <a:gd name="connsiteX587" fmla="*/ 237282 w 324254"/>
                  <a:gd name="connsiteY587" fmla="*/ 330012 h 341527"/>
                  <a:gd name="connsiteX588" fmla="*/ 237130 w 324254"/>
                  <a:gd name="connsiteY588" fmla="*/ 328648 h 341527"/>
                  <a:gd name="connsiteX589" fmla="*/ 235615 w 324254"/>
                  <a:gd name="connsiteY589" fmla="*/ 327285 h 341527"/>
                  <a:gd name="connsiteX590" fmla="*/ 233948 w 324254"/>
                  <a:gd name="connsiteY590" fmla="*/ 325012 h 341527"/>
                  <a:gd name="connsiteX591" fmla="*/ 235463 w 324254"/>
                  <a:gd name="connsiteY591" fmla="*/ 323951 h 341527"/>
                  <a:gd name="connsiteX592" fmla="*/ 234403 w 324254"/>
                  <a:gd name="connsiteY592" fmla="*/ 322739 h 341527"/>
                  <a:gd name="connsiteX593" fmla="*/ 233039 w 324254"/>
                  <a:gd name="connsiteY593" fmla="*/ 321981 h 341527"/>
                  <a:gd name="connsiteX594" fmla="*/ 232282 w 324254"/>
                  <a:gd name="connsiteY594" fmla="*/ 321072 h 341527"/>
                  <a:gd name="connsiteX595" fmla="*/ 231978 w 324254"/>
                  <a:gd name="connsiteY595" fmla="*/ 319860 h 341527"/>
                  <a:gd name="connsiteX596" fmla="*/ 231827 w 324254"/>
                  <a:gd name="connsiteY596" fmla="*/ 317284 h 341527"/>
                  <a:gd name="connsiteX597" fmla="*/ 232736 w 324254"/>
                  <a:gd name="connsiteY597" fmla="*/ 315011 h 341527"/>
                  <a:gd name="connsiteX598" fmla="*/ 233645 w 324254"/>
                  <a:gd name="connsiteY598" fmla="*/ 313193 h 341527"/>
                  <a:gd name="connsiteX599" fmla="*/ 234403 w 324254"/>
                  <a:gd name="connsiteY599" fmla="*/ 311223 h 341527"/>
                  <a:gd name="connsiteX600" fmla="*/ 234857 w 324254"/>
                  <a:gd name="connsiteY600" fmla="*/ 308951 h 341527"/>
                  <a:gd name="connsiteX601" fmla="*/ 235615 w 324254"/>
                  <a:gd name="connsiteY601" fmla="*/ 306981 h 341527"/>
                  <a:gd name="connsiteX602" fmla="*/ 242282 w 324254"/>
                  <a:gd name="connsiteY602" fmla="*/ 298193 h 341527"/>
                  <a:gd name="connsiteX603" fmla="*/ 243191 w 324254"/>
                  <a:gd name="connsiteY603" fmla="*/ 296829 h 341527"/>
                  <a:gd name="connsiteX604" fmla="*/ 245009 w 324254"/>
                  <a:gd name="connsiteY604" fmla="*/ 293193 h 341527"/>
                  <a:gd name="connsiteX605" fmla="*/ 246525 w 324254"/>
                  <a:gd name="connsiteY605" fmla="*/ 291677 h 341527"/>
                  <a:gd name="connsiteX606" fmla="*/ 244706 w 324254"/>
                  <a:gd name="connsiteY606" fmla="*/ 290768 h 341527"/>
                  <a:gd name="connsiteX607" fmla="*/ 242737 w 324254"/>
                  <a:gd name="connsiteY607" fmla="*/ 290465 h 34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Lst>
                <a:rect l="l" t="t" r="r" b="b"/>
                <a:pathLst>
                  <a:path w="324254" h="341527">
                    <a:moveTo>
                      <a:pt x="45305" y="202280"/>
                    </a:moveTo>
                    <a:lnTo>
                      <a:pt x="46214" y="201523"/>
                    </a:lnTo>
                    <a:lnTo>
                      <a:pt x="46820" y="200310"/>
                    </a:lnTo>
                    <a:lnTo>
                      <a:pt x="46214" y="199704"/>
                    </a:lnTo>
                    <a:lnTo>
                      <a:pt x="44699" y="200462"/>
                    </a:lnTo>
                    <a:lnTo>
                      <a:pt x="43486" y="202735"/>
                    </a:lnTo>
                    <a:lnTo>
                      <a:pt x="43032" y="203795"/>
                    </a:lnTo>
                    <a:lnTo>
                      <a:pt x="44395" y="203947"/>
                    </a:lnTo>
                    <a:lnTo>
                      <a:pt x="45305" y="202280"/>
                    </a:lnTo>
                    <a:close/>
                    <a:moveTo>
                      <a:pt x="83488" y="209553"/>
                    </a:moveTo>
                    <a:lnTo>
                      <a:pt x="82124" y="207432"/>
                    </a:lnTo>
                    <a:lnTo>
                      <a:pt x="80609" y="206371"/>
                    </a:lnTo>
                    <a:lnTo>
                      <a:pt x="80003" y="205765"/>
                    </a:lnTo>
                    <a:lnTo>
                      <a:pt x="81064" y="203795"/>
                    </a:lnTo>
                    <a:lnTo>
                      <a:pt x="81973" y="203341"/>
                    </a:lnTo>
                    <a:lnTo>
                      <a:pt x="81821" y="202886"/>
                    </a:lnTo>
                    <a:lnTo>
                      <a:pt x="80761" y="202432"/>
                    </a:lnTo>
                    <a:lnTo>
                      <a:pt x="79700" y="201674"/>
                    </a:lnTo>
                    <a:lnTo>
                      <a:pt x="78639" y="200007"/>
                    </a:lnTo>
                    <a:lnTo>
                      <a:pt x="77427" y="198644"/>
                    </a:lnTo>
                    <a:lnTo>
                      <a:pt x="74548" y="197128"/>
                    </a:lnTo>
                    <a:lnTo>
                      <a:pt x="72730" y="196977"/>
                    </a:lnTo>
                    <a:lnTo>
                      <a:pt x="71215" y="195159"/>
                    </a:lnTo>
                    <a:lnTo>
                      <a:pt x="70003" y="195613"/>
                    </a:lnTo>
                    <a:lnTo>
                      <a:pt x="69548" y="197431"/>
                    </a:lnTo>
                    <a:lnTo>
                      <a:pt x="68033" y="198795"/>
                    </a:lnTo>
                    <a:lnTo>
                      <a:pt x="65003" y="199856"/>
                    </a:lnTo>
                    <a:lnTo>
                      <a:pt x="60154" y="205007"/>
                    </a:lnTo>
                    <a:lnTo>
                      <a:pt x="56820" y="206826"/>
                    </a:lnTo>
                    <a:lnTo>
                      <a:pt x="53336" y="208341"/>
                    </a:lnTo>
                    <a:lnTo>
                      <a:pt x="50457" y="208795"/>
                    </a:lnTo>
                    <a:lnTo>
                      <a:pt x="47578" y="208341"/>
                    </a:lnTo>
                    <a:lnTo>
                      <a:pt x="46062" y="208038"/>
                    </a:lnTo>
                    <a:lnTo>
                      <a:pt x="44244" y="206371"/>
                    </a:lnTo>
                    <a:lnTo>
                      <a:pt x="43638" y="206220"/>
                    </a:lnTo>
                    <a:lnTo>
                      <a:pt x="43032" y="207583"/>
                    </a:lnTo>
                    <a:lnTo>
                      <a:pt x="42426" y="210765"/>
                    </a:lnTo>
                    <a:lnTo>
                      <a:pt x="42729" y="214705"/>
                    </a:lnTo>
                    <a:lnTo>
                      <a:pt x="43790" y="216220"/>
                    </a:lnTo>
                    <a:lnTo>
                      <a:pt x="45608" y="217735"/>
                    </a:lnTo>
                    <a:lnTo>
                      <a:pt x="47123" y="219554"/>
                    </a:lnTo>
                    <a:lnTo>
                      <a:pt x="48032" y="221372"/>
                    </a:lnTo>
                    <a:lnTo>
                      <a:pt x="48639" y="224251"/>
                    </a:lnTo>
                    <a:lnTo>
                      <a:pt x="50305" y="226220"/>
                    </a:lnTo>
                    <a:lnTo>
                      <a:pt x="50305" y="231372"/>
                    </a:lnTo>
                    <a:lnTo>
                      <a:pt x="49850" y="233039"/>
                    </a:lnTo>
                    <a:lnTo>
                      <a:pt x="48639" y="234251"/>
                    </a:lnTo>
                    <a:lnTo>
                      <a:pt x="48335" y="236221"/>
                    </a:lnTo>
                    <a:lnTo>
                      <a:pt x="48639" y="238191"/>
                    </a:lnTo>
                    <a:lnTo>
                      <a:pt x="51062" y="238797"/>
                    </a:lnTo>
                    <a:lnTo>
                      <a:pt x="52427" y="240615"/>
                    </a:lnTo>
                    <a:lnTo>
                      <a:pt x="52123" y="242888"/>
                    </a:lnTo>
                    <a:lnTo>
                      <a:pt x="52123" y="244100"/>
                    </a:lnTo>
                    <a:lnTo>
                      <a:pt x="51366" y="244403"/>
                    </a:lnTo>
                    <a:lnTo>
                      <a:pt x="50305" y="243494"/>
                    </a:lnTo>
                    <a:lnTo>
                      <a:pt x="49699" y="244403"/>
                    </a:lnTo>
                    <a:lnTo>
                      <a:pt x="50002" y="246827"/>
                    </a:lnTo>
                    <a:lnTo>
                      <a:pt x="49548" y="249555"/>
                    </a:lnTo>
                    <a:lnTo>
                      <a:pt x="48790" y="250767"/>
                    </a:lnTo>
                    <a:lnTo>
                      <a:pt x="48183" y="252130"/>
                    </a:lnTo>
                    <a:lnTo>
                      <a:pt x="48487" y="258191"/>
                    </a:lnTo>
                    <a:lnTo>
                      <a:pt x="48639" y="260919"/>
                    </a:lnTo>
                    <a:lnTo>
                      <a:pt x="50457" y="263949"/>
                    </a:lnTo>
                    <a:lnTo>
                      <a:pt x="52275" y="266525"/>
                    </a:lnTo>
                    <a:lnTo>
                      <a:pt x="53487" y="268646"/>
                    </a:lnTo>
                    <a:lnTo>
                      <a:pt x="55002" y="269858"/>
                    </a:lnTo>
                    <a:lnTo>
                      <a:pt x="56972" y="269858"/>
                    </a:lnTo>
                    <a:lnTo>
                      <a:pt x="59245" y="270465"/>
                    </a:lnTo>
                    <a:lnTo>
                      <a:pt x="61366" y="270313"/>
                    </a:lnTo>
                    <a:lnTo>
                      <a:pt x="63639" y="268646"/>
                    </a:lnTo>
                    <a:lnTo>
                      <a:pt x="65154" y="266070"/>
                    </a:lnTo>
                    <a:lnTo>
                      <a:pt x="66063" y="259858"/>
                    </a:lnTo>
                    <a:lnTo>
                      <a:pt x="67275" y="260767"/>
                    </a:lnTo>
                    <a:lnTo>
                      <a:pt x="68639" y="261222"/>
                    </a:lnTo>
                    <a:lnTo>
                      <a:pt x="70154" y="260616"/>
                    </a:lnTo>
                    <a:lnTo>
                      <a:pt x="71669" y="260464"/>
                    </a:lnTo>
                    <a:lnTo>
                      <a:pt x="75003" y="261979"/>
                    </a:lnTo>
                    <a:lnTo>
                      <a:pt x="77730" y="262888"/>
                    </a:lnTo>
                    <a:lnTo>
                      <a:pt x="79852" y="261979"/>
                    </a:lnTo>
                    <a:lnTo>
                      <a:pt x="80457" y="259252"/>
                    </a:lnTo>
                    <a:lnTo>
                      <a:pt x="81367" y="256070"/>
                    </a:lnTo>
                    <a:lnTo>
                      <a:pt x="83185" y="237736"/>
                    </a:lnTo>
                    <a:lnTo>
                      <a:pt x="83791" y="234706"/>
                    </a:lnTo>
                    <a:lnTo>
                      <a:pt x="83640" y="232281"/>
                    </a:lnTo>
                    <a:lnTo>
                      <a:pt x="82579" y="230160"/>
                    </a:lnTo>
                    <a:lnTo>
                      <a:pt x="82124" y="226675"/>
                    </a:lnTo>
                    <a:lnTo>
                      <a:pt x="85155" y="222432"/>
                    </a:lnTo>
                    <a:lnTo>
                      <a:pt x="85912" y="221069"/>
                    </a:lnTo>
                    <a:lnTo>
                      <a:pt x="86519" y="219250"/>
                    </a:lnTo>
                    <a:lnTo>
                      <a:pt x="86215" y="217432"/>
                    </a:lnTo>
                    <a:lnTo>
                      <a:pt x="83488" y="209553"/>
                    </a:lnTo>
                    <a:close/>
                    <a:moveTo>
                      <a:pt x="103943" y="144096"/>
                    </a:moveTo>
                    <a:lnTo>
                      <a:pt x="103034" y="142884"/>
                    </a:lnTo>
                    <a:lnTo>
                      <a:pt x="101974" y="144096"/>
                    </a:lnTo>
                    <a:lnTo>
                      <a:pt x="100004" y="143945"/>
                    </a:lnTo>
                    <a:lnTo>
                      <a:pt x="98943" y="144399"/>
                    </a:lnTo>
                    <a:lnTo>
                      <a:pt x="95610" y="144551"/>
                    </a:lnTo>
                    <a:lnTo>
                      <a:pt x="95155" y="145460"/>
                    </a:lnTo>
                    <a:lnTo>
                      <a:pt x="95761" y="146824"/>
                    </a:lnTo>
                    <a:lnTo>
                      <a:pt x="97883" y="146975"/>
                    </a:lnTo>
                    <a:lnTo>
                      <a:pt x="101367" y="146217"/>
                    </a:lnTo>
                    <a:lnTo>
                      <a:pt x="103640" y="147733"/>
                    </a:lnTo>
                    <a:lnTo>
                      <a:pt x="103337" y="145763"/>
                    </a:lnTo>
                    <a:lnTo>
                      <a:pt x="103943" y="144854"/>
                    </a:lnTo>
                    <a:lnTo>
                      <a:pt x="103943" y="144096"/>
                    </a:lnTo>
                    <a:close/>
                    <a:moveTo>
                      <a:pt x="47578" y="264252"/>
                    </a:moveTo>
                    <a:lnTo>
                      <a:pt x="47426" y="264858"/>
                    </a:lnTo>
                    <a:lnTo>
                      <a:pt x="47426" y="266828"/>
                    </a:lnTo>
                    <a:lnTo>
                      <a:pt x="49093" y="269101"/>
                    </a:lnTo>
                    <a:lnTo>
                      <a:pt x="50608" y="265919"/>
                    </a:lnTo>
                    <a:lnTo>
                      <a:pt x="49548" y="265161"/>
                    </a:lnTo>
                    <a:lnTo>
                      <a:pt x="47578" y="264252"/>
                    </a:lnTo>
                    <a:close/>
                    <a:moveTo>
                      <a:pt x="323649" y="228796"/>
                    </a:moveTo>
                    <a:lnTo>
                      <a:pt x="320012" y="223948"/>
                    </a:lnTo>
                    <a:lnTo>
                      <a:pt x="311981" y="217735"/>
                    </a:lnTo>
                    <a:lnTo>
                      <a:pt x="309709" y="214856"/>
                    </a:lnTo>
                    <a:lnTo>
                      <a:pt x="296526" y="208795"/>
                    </a:lnTo>
                    <a:lnTo>
                      <a:pt x="291072" y="204401"/>
                    </a:lnTo>
                    <a:lnTo>
                      <a:pt x="286374" y="201523"/>
                    </a:lnTo>
                    <a:lnTo>
                      <a:pt x="271222" y="196068"/>
                    </a:lnTo>
                    <a:lnTo>
                      <a:pt x="256525" y="189401"/>
                    </a:lnTo>
                    <a:lnTo>
                      <a:pt x="253494" y="186977"/>
                    </a:lnTo>
                    <a:lnTo>
                      <a:pt x="253797" y="183492"/>
                    </a:lnTo>
                    <a:lnTo>
                      <a:pt x="257131" y="180916"/>
                    </a:lnTo>
                    <a:lnTo>
                      <a:pt x="260313" y="179097"/>
                    </a:lnTo>
                    <a:lnTo>
                      <a:pt x="261373" y="177279"/>
                    </a:lnTo>
                    <a:lnTo>
                      <a:pt x="260768" y="174552"/>
                    </a:lnTo>
                    <a:lnTo>
                      <a:pt x="257889" y="173491"/>
                    </a:lnTo>
                    <a:lnTo>
                      <a:pt x="255161" y="173188"/>
                    </a:lnTo>
                    <a:lnTo>
                      <a:pt x="239858" y="174097"/>
                    </a:lnTo>
                    <a:lnTo>
                      <a:pt x="233342" y="173491"/>
                    </a:lnTo>
                    <a:lnTo>
                      <a:pt x="225008" y="169552"/>
                    </a:lnTo>
                    <a:lnTo>
                      <a:pt x="216069" y="163188"/>
                    </a:lnTo>
                    <a:lnTo>
                      <a:pt x="206220" y="154551"/>
                    </a:lnTo>
                    <a:lnTo>
                      <a:pt x="201523" y="148490"/>
                    </a:lnTo>
                    <a:lnTo>
                      <a:pt x="199250" y="143187"/>
                    </a:lnTo>
                    <a:lnTo>
                      <a:pt x="195916" y="132278"/>
                    </a:lnTo>
                    <a:lnTo>
                      <a:pt x="192886" y="125308"/>
                    </a:lnTo>
                    <a:lnTo>
                      <a:pt x="189401" y="119247"/>
                    </a:lnTo>
                    <a:lnTo>
                      <a:pt x="187886" y="117883"/>
                    </a:lnTo>
                    <a:lnTo>
                      <a:pt x="182128" y="115459"/>
                    </a:lnTo>
                    <a:lnTo>
                      <a:pt x="171522" y="107580"/>
                    </a:lnTo>
                    <a:lnTo>
                      <a:pt x="165612" y="105155"/>
                    </a:lnTo>
                    <a:lnTo>
                      <a:pt x="160006" y="100458"/>
                    </a:lnTo>
                    <a:lnTo>
                      <a:pt x="157582" y="97428"/>
                    </a:lnTo>
                    <a:lnTo>
                      <a:pt x="155158" y="90609"/>
                    </a:lnTo>
                    <a:lnTo>
                      <a:pt x="153642" y="80761"/>
                    </a:lnTo>
                    <a:lnTo>
                      <a:pt x="154551" y="77124"/>
                    </a:lnTo>
                    <a:lnTo>
                      <a:pt x="155612" y="77124"/>
                    </a:lnTo>
                    <a:lnTo>
                      <a:pt x="157430" y="78336"/>
                    </a:lnTo>
                    <a:lnTo>
                      <a:pt x="159551" y="76821"/>
                    </a:lnTo>
                    <a:lnTo>
                      <a:pt x="160460" y="75003"/>
                    </a:lnTo>
                    <a:lnTo>
                      <a:pt x="161218" y="72730"/>
                    </a:lnTo>
                    <a:lnTo>
                      <a:pt x="157582" y="70306"/>
                    </a:lnTo>
                    <a:lnTo>
                      <a:pt x="154703" y="64699"/>
                    </a:lnTo>
                    <a:lnTo>
                      <a:pt x="153036" y="63487"/>
                    </a:lnTo>
                    <a:lnTo>
                      <a:pt x="153642" y="59245"/>
                    </a:lnTo>
                    <a:lnTo>
                      <a:pt x="154400" y="56669"/>
                    </a:lnTo>
                    <a:lnTo>
                      <a:pt x="156521" y="55154"/>
                    </a:lnTo>
                    <a:lnTo>
                      <a:pt x="160309" y="53335"/>
                    </a:lnTo>
                    <a:lnTo>
                      <a:pt x="161521" y="53335"/>
                    </a:lnTo>
                    <a:lnTo>
                      <a:pt x="158642" y="55911"/>
                    </a:lnTo>
                    <a:lnTo>
                      <a:pt x="160460" y="56063"/>
                    </a:lnTo>
                    <a:lnTo>
                      <a:pt x="163643" y="54851"/>
                    </a:lnTo>
                    <a:lnTo>
                      <a:pt x="167734" y="53184"/>
                    </a:lnTo>
                    <a:lnTo>
                      <a:pt x="171673" y="50911"/>
                    </a:lnTo>
                    <a:lnTo>
                      <a:pt x="175158" y="50002"/>
                    </a:lnTo>
                    <a:lnTo>
                      <a:pt x="177582" y="47881"/>
                    </a:lnTo>
                    <a:lnTo>
                      <a:pt x="178643" y="46214"/>
                    </a:lnTo>
                    <a:lnTo>
                      <a:pt x="180007" y="45305"/>
                    </a:lnTo>
                    <a:lnTo>
                      <a:pt x="187128" y="47426"/>
                    </a:lnTo>
                    <a:lnTo>
                      <a:pt x="189704" y="45305"/>
                    </a:lnTo>
                    <a:lnTo>
                      <a:pt x="191674" y="45305"/>
                    </a:lnTo>
                    <a:lnTo>
                      <a:pt x="195916" y="50153"/>
                    </a:lnTo>
                    <a:lnTo>
                      <a:pt x="194250" y="51517"/>
                    </a:lnTo>
                    <a:lnTo>
                      <a:pt x="195765" y="51669"/>
                    </a:lnTo>
                    <a:lnTo>
                      <a:pt x="197583" y="51366"/>
                    </a:lnTo>
                    <a:lnTo>
                      <a:pt x="198341" y="50608"/>
                    </a:lnTo>
                    <a:lnTo>
                      <a:pt x="197129" y="48335"/>
                    </a:lnTo>
                    <a:lnTo>
                      <a:pt x="194098" y="45608"/>
                    </a:lnTo>
                    <a:lnTo>
                      <a:pt x="192432" y="44547"/>
                    </a:lnTo>
                    <a:lnTo>
                      <a:pt x="190310" y="43789"/>
                    </a:lnTo>
                    <a:lnTo>
                      <a:pt x="190007" y="43032"/>
                    </a:lnTo>
                    <a:lnTo>
                      <a:pt x="191219" y="38638"/>
                    </a:lnTo>
                    <a:lnTo>
                      <a:pt x="190916" y="38032"/>
                    </a:lnTo>
                    <a:lnTo>
                      <a:pt x="188340" y="38183"/>
                    </a:lnTo>
                    <a:lnTo>
                      <a:pt x="187734" y="37729"/>
                    </a:lnTo>
                    <a:lnTo>
                      <a:pt x="187583" y="36971"/>
                    </a:lnTo>
                    <a:lnTo>
                      <a:pt x="187734" y="35910"/>
                    </a:lnTo>
                    <a:lnTo>
                      <a:pt x="189401" y="34244"/>
                    </a:lnTo>
                    <a:lnTo>
                      <a:pt x="191219" y="32729"/>
                    </a:lnTo>
                    <a:lnTo>
                      <a:pt x="191674" y="31819"/>
                    </a:lnTo>
                    <a:lnTo>
                      <a:pt x="191674" y="31213"/>
                    </a:lnTo>
                    <a:lnTo>
                      <a:pt x="189250" y="30607"/>
                    </a:lnTo>
                    <a:lnTo>
                      <a:pt x="187734" y="29850"/>
                    </a:lnTo>
                    <a:lnTo>
                      <a:pt x="186522" y="29546"/>
                    </a:lnTo>
                    <a:lnTo>
                      <a:pt x="185765" y="30001"/>
                    </a:lnTo>
                    <a:lnTo>
                      <a:pt x="185158" y="29546"/>
                    </a:lnTo>
                    <a:lnTo>
                      <a:pt x="184552" y="28334"/>
                    </a:lnTo>
                    <a:lnTo>
                      <a:pt x="185158" y="26365"/>
                    </a:lnTo>
                    <a:lnTo>
                      <a:pt x="187280" y="24546"/>
                    </a:lnTo>
                    <a:lnTo>
                      <a:pt x="189553" y="23031"/>
                    </a:lnTo>
                    <a:lnTo>
                      <a:pt x="191522" y="21819"/>
                    </a:lnTo>
                    <a:lnTo>
                      <a:pt x="192734" y="21364"/>
                    </a:lnTo>
                    <a:lnTo>
                      <a:pt x="193341" y="19395"/>
                    </a:lnTo>
                    <a:lnTo>
                      <a:pt x="187583" y="18182"/>
                    </a:lnTo>
                    <a:lnTo>
                      <a:pt x="183795" y="18031"/>
                    </a:lnTo>
                    <a:lnTo>
                      <a:pt x="178795" y="17576"/>
                    </a:lnTo>
                    <a:lnTo>
                      <a:pt x="168794" y="15758"/>
                    </a:lnTo>
                    <a:lnTo>
                      <a:pt x="165915" y="15001"/>
                    </a:lnTo>
                    <a:lnTo>
                      <a:pt x="163188" y="14698"/>
                    </a:lnTo>
                    <a:lnTo>
                      <a:pt x="159855" y="14091"/>
                    </a:lnTo>
                    <a:lnTo>
                      <a:pt x="157430" y="13031"/>
                    </a:lnTo>
                    <a:lnTo>
                      <a:pt x="155763" y="11061"/>
                    </a:lnTo>
                    <a:lnTo>
                      <a:pt x="154097" y="8485"/>
                    </a:lnTo>
                    <a:lnTo>
                      <a:pt x="150915" y="5000"/>
                    </a:lnTo>
                    <a:lnTo>
                      <a:pt x="150309" y="3333"/>
                    </a:lnTo>
                    <a:lnTo>
                      <a:pt x="151218" y="1818"/>
                    </a:lnTo>
                    <a:lnTo>
                      <a:pt x="152127" y="758"/>
                    </a:lnTo>
                    <a:lnTo>
                      <a:pt x="151975" y="303"/>
                    </a:lnTo>
                    <a:lnTo>
                      <a:pt x="151218" y="0"/>
                    </a:lnTo>
                    <a:lnTo>
                      <a:pt x="145763" y="1515"/>
                    </a:lnTo>
                    <a:lnTo>
                      <a:pt x="140460" y="3333"/>
                    </a:lnTo>
                    <a:lnTo>
                      <a:pt x="138339" y="3333"/>
                    </a:lnTo>
                    <a:lnTo>
                      <a:pt x="136369" y="2879"/>
                    </a:lnTo>
                    <a:lnTo>
                      <a:pt x="133641" y="2879"/>
                    </a:lnTo>
                    <a:lnTo>
                      <a:pt x="131065" y="3333"/>
                    </a:lnTo>
                    <a:lnTo>
                      <a:pt x="125914" y="3636"/>
                    </a:lnTo>
                    <a:lnTo>
                      <a:pt x="122884" y="5000"/>
                    </a:lnTo>
                    <a:lnTo>
                      <a:pt x="120914" y="7728"/>
                    </a:lnTo>
                    <a:lnTo>
                      <a:pt x="119853" y="9849"/>
                    </a:lnTo>
                    <a:lnTo>
                      <a:pt x="118944" y="10606"/>
                    </a:lnTo>
                    <a:lnTo>
                      <a:pt x="117126" y="10910"/>
                    </a:lnTo>
                    <a:lnTo>
                      <a:pt x="114398" y="10758"/>
                    </a:lnTo>
                    <a:lnTo>
                      <a:pt x="112580" y="10152"/>
                    </a:lnTo>
                    <a:lnTo>
                      <a:pt x="110610" y="8334"/>
                    </a:lnTo>
                    <a:lnTo>
                      <a:pt x="107580" y="8031"/>
                    </a:lnTo>
                    <a:lnTo>
                      <a:pt x="104853" y="8031"/>
                    </a:lnTo>
                    <a:lnTo>
                      <a:pt x="104095" y="7728"/>
                    </a:lnTo>
                    <a:lnTo>
                      <a:pt x="102883" y="12273"/>
                    </a:lnTo>
                    <a:lnTo>
                      <a:pt x="102731" y="14698"/>
                    </a:lnTo>
                    <a:lnTo>
                      <a:pt x="103792" y="16213"/>
                    </a:lnTo>
                    <a:lnTo>
                      <a:pt x="103943" y="17425"/>
                    </a:lnTo>
                    <a:lnTo>
                      <a:pt x="103640" y="18486"/>
                    </a:lnTo>
                    <a:lnTo>
                      <a:pt x="101822" y="18637"/>
                    </a:lnTo>
                    <a:lnTo>
                      <a:pt x="99398" y="18031"/>
                    </a:lnTo>
                    <a:lnTo>
                      <a:pt x="97277" y="16061"/>
                    </a:lnTo>
                    <a:lnTo>
                      <a:pt x="95761" y="16364"/>
                    </a:lnTo>
                    <a:lnTo>
                      <a:pt x="94398" y="16819"/>
                    </a:lnTo>
                    <a:lnTo>
                      <a:pt x="93640" y="18637"/>
                    </a:lnTo>
                    <a:lnTo>
                      <a:pt x="93034" y="20758"/>
                    </a:lnTo>
                    <a:lnTo>
                      <a:pt x="93185" y="21970"/>
                    </a:lnTo>
                    <a:lnTo>
                      <a:pt x="94246" y="22880"/>
                    </a:lnTo>
                    <a:lnTo>
                      <a:pt x="95004" y="24849"/>
                    </a:lnTo>
                    <a:lnTo>
                      <a:pt x="95610" y="27425"/>
                    </a:lnTo>
                    <a:lnTo>
                      <a:pt x="96064" y="28637"/>
                    </a:lnTo>
                    <a:lnTo>
                      <a:pt x="95610" y="29092"/>
                    </a:lnTo>
                    <a:lnTo>
                      <a:pt x="94246" y="29395"/>
                    </a:lnTo>
                    <a:lnTo>
                      <a:pt x="93185" y="29092"/>
                    </a:lnTo>
                    <a:lnTo>
                      <a:pt x="91216" y="26062"/>
                    </a:lnTo>
                    <a:lnTo>
                      <a:pt x="90307" y="24849"/>
                    </a:lnTo>
                    <a:lnTo>
                      <a:pt x="88791" y="24698"/>
                    </a:lnTo>
                    <a:lnTo>
                      <a:pt x="86215" y="25455"/>
                    </a:lnTo>
                    <a:lnTo>
                      <a:pt x="82124" y="27122"/>
                    </a:lnTo>
                    <a:lnTo>
                      <a:pt x="80457" y="27122"/>
                    </a:lnTo>
                    <a:lnTo>
                      <a:pt x="79094" y="26819"/>
                    </a:lnTo>
                    <a:lnTo>
                      <a:pt x="77730" y="25304"/>
                    </a:lnTo>
                    <a:lnTo>
                      <a:pt x="76669" y="22425"/>
                    </a:lnTo>
                    <a:lnTo>
                      <a:pt x="76367" y="20607"/>
                    </a:lnTo>
                    <a:lnTo>
                      <a:pt x="75609" y="20607"/>
                    </a:lnTo>
                    <a:lnTo>
                      <a:pt x="73033" y="20152"/>
                    </a:lnTo>
                    <a:lnTo>
                      <a:pt x="71821" y="20910"/>
                    </a:lnTo>
                    <a:lnTo>
                      <a:pt x="71821" y="23789"/>
                    </a:lnTo>
                    <a:lnTo>
                      <a:pt x="71518" y="27425"/>
                    </a:lnTo>
                    <a:lnTo>
                      <a:pt x="70154" y="29698"/>
                    </a:lnTo>
                    <a:lnTo>
                      <a:pt x="66518" y="33638"/>
                    </a:lnTo>
                    <a:lnTo>
                      <a:pt x="65154" y="35304"/>
                    </a:lnTo>
                    <a:lnTo>
                      <a:pt x="64700" y="36517"/>
                    </a:lnTo>
                    <a:lnTo>
                      <a:pt x="64548" y="37577"/>
                    </a:lnTo>
                    <a:lnTo>
                      <a:pt x="65154" y="39395"/>
                    </a:lnTo>
                    <a:lnTo>
                      <a:pt x="65912" y="41214"/>
                    </a:lnTo>
                    <a:lnTo>
                      <a:pt x="65305" y="42274"/>
                    </a:lnTo>
                    <a:lnTo>
                      <a:pt x="63336" y="42880"/>
                    </a:lnTo>
                    <a:lnTo>
                      <a:pt x="61972" y="41820"/>
                    </a:lnTo>
                    <a:lnTo>
                      <a:pt x="61517" y="39850"/>
                    </a:lnTo>
                    <a:lnTo>
                      <a:pt x="58638" y="37274"/>
                    </a:lnTo>
                    <a:lnTo>
                      <a:pt x="60003" y="35001"/>
                    </a:lnTo>
                    <a:lnTo>
                      <a:pt x="59851" y="34395"/>
                    </a:lnTo>
                    <a:lnTo>
                      <a:pt x="55002" y="33183"/>
                    </a:lnTo>
                    <a:lnTo>
                      <a:pt x="52881" y="31516"/>
                    </a:lnTo>
                    <a:lnTo>
                      <a:pt x="50002" y="28637"/>
                    </a:lnTo>
                    <a:lnTo>
                      <a:pt x="49396" y="27425"/>
                    </a:lnTo>
                    <a:lnTo>
                      <a:pt x="49548" y="23334"/>
                    </a:lnTo>
                    <a:lnTo>
                      <a:pt x="49396" y="22274"/>
                    </a:lnTo>
                    <a:lnTo>
                      <a:pt x="48941" y="21819"/>
                    </a:lnTo>
                    <a:lnTo>
                      <a:pt x="47578" y="21819"/>
                    </a:lnTo>
                    <a:lnTo>
                      <a:pt x="45608" y="23183"/>
                    </a:lnTo>
                    <a:lnTo>
                      <a:pt x="43790" y="25304"/>
                    </a:lnTo>
                    <a:lnTo>
                      <a:pt x="40002" y="27728"/>
                    </a:lnTo>
                    <a:lnTo>
                      <a:pt x="39547" y="28183"/>
                    </a:lnTo>
                    <a:lnTo>
                      <a:pt x="40759" y="30456"/>
                    </a:lnTo>
                    <a:lnTo>
                      <a:pt x="40759" y="31365"/>
                    </a:lnTo>
                    <a:lnTo>
                      <a:pt x="37729" y="35153"/>
                    </a:lnTo>
                    <a:lnTo>
                      <a:pt x="37123" y="36365"/>
                    </a:lnTo>
                    <a:lnTo>
                      <a:pt x="33335" y="38638"/>
                    </a:lnTo>
                    <a:lnTo>
                      <a:pt x="31517" y="39547"/>
                    </a:lnTo>
                    <a:lnTo>
                      <a:pt x="26213" y="37880"/>
                    </a:lnTo>
                    <a:lnTo>
                      <a:pt x="24698" y="37729"/>
                    </a:lnTo>
                    <a:lnTo>
                      <a:pt x="22274" y="38941"/>
                    </a:lnTo>
                    <a:lnTo>
                      <a:pt x="18940" y="40001"/>
                    </a:lnTo>
                    <a:lnTo>
                      <a:pt x="13486" y="41062"/>
                    </a:lnTo>
                    <a:lnTo>
                      <a:pt x="11516" y="40305"/>
                    </a:lnTo>
                    <a:lnTo>
                      <a:pt x="10607" y="39547"/>
                    </a:lnTo>
                    <a:lnTo>
                      <a:pt x="8485" y="41517"/>
                    </a:lnTo>
                    <a:lnTo>
                      <a:pt x="4697" y="43335"/>
                    </a:lnTo>
                    <a:lnTo>
                      <a:pt x="4243" y="44547"/>
                    </a:lnTo>
                    <a:lnTo>
                      <a:pt x="4243" y="45911"/>
                    </a:lnTo>
                    <a:lnTo>
                      <a:pt x="4697" y="46971"/>
                    </a:lnTo>
                    <a:lnTo>
                      <a:pt x="6819" y="48335"/>
                    </a:lnTo>
                    <a:lnTo>
                      <a:pt x="9091" y="51366"/>
                    </a:lnTo>
                    <a:lnTo>
                      <a:pt x="10455" y="54093"/>
                    </a:lnTo>
                    <a:lnTo>
                      <a:pt x="13486" y="56669"/>
                    </a:lnTo>
                    <a:lnTo>
                      <a:pt x="14243" y="57426"/>
                    </a:lnTo>
                    <a:lnTo>
                      <a:pt x="14091" y="58032"/>
                    </a:lnTo>
                    <a:lnTo>
                      <a:pt x="13334" y="59093"/>
                    </a:lnTo>
                    <a:lnTo>
                      <a:pt x="12273" y="62730"/>
                    </a:lnTo>
                    <a:lnTo>
                      <a:pt x="11061" y="63336"/>
                    </a:lnTo>
                    <a:lnTo>
                      <a:pt x="9698" y="63639"/>
                    </a:lnTo>
                    <a:lnTo>
                      <a:pt x="5910" y="66366"/>
                    </a:lnTo>
                    <a:lnTo>
                      <a:pt x="4243" y="66063"/>
                    </a:lnTo>
                    <a:lnTo>
                      <a:pt x="1818" y="66063"/>
                    </a:lnTo>
                    <a:lnTo>
                      <a:pt x="0" y="66972"/>
                    </a:lnTo>
                    <a:lnTo>
                      <a:pt x="152" y="68639"/>
                    </a:lnTo>
                    <a:lnTo>
                      <a:pt x="1667" y="70154"/>
                    </a:lnTo>
                    <a:lnTo>
                      <a:pt x="2576" y="71821"/>
                    </a:lnTo>
                    <a:lnTo>
                      <a:pt x="2879" y="73488"/>
                    </a:lnTo>
                    <a:lnTo>
                      <a:pt x="4546" y="74851"/>
                    </a:lnTo>
                    <a:lnTo>
                      <a:pt x="6970" y="75609"/>
                    </a:lnTo>
                    <a:lnTo>
                      <a:pt x="8334" y="75609"/>
                    </a:lnTo>
                    <a:lnTo>
                      <a:pt x="9243" y="76063"/>
                    </a:lnTo>
                    <a:lnTo>
                      <a:pt x="9849" y="76669"/>
                    </a:lnTo>
                    <a:lnTo>
                      <a:pt x="10910" y="80457"/>
                    </a:lnTo>
                    <a:lnTo>
                      <a:pt x="10303" y="81367"/>
                    </a:lnTo>
                    <a:lnTo>
                      <a:pt x="8940" y="81821"/>
                    </a:lnTo>
                    <a:lnTo>
                      <a:pt x="8182" y="83336"/>
                    </a:lnTo>
                    <a:lnTo>
                      <a:pt x="6667" y="85609"/>
                    </a:lnTo>
                    <a:lnTo>
                      <a:pt x="5758" y="87427"/>
                    </a:lnTo>
                    <a:lnTo>
                      <a:pt x="6667" y="89094"/>
                    </a:lnTo>
                    <a:lnTo>
                      <a:pt x="7121" y="90306"/>
                    </a:lnTo>
                    <a:lnTo>
                      <a:pt x="6667" y="91519"/>
                    </a:lnTo>
                    <a:lnTo>
                      <a:pt x="7425" y="93337"/>
                    </a:lnTo>
                    <a:lnTo>
                      <a:pt x="9243" y="95155"/>
                    </a:lnTo>
                    <a:lnTo>
                      <a:pt x="14243" y="97731"/>
                    </a:lnTo>
                    <a:lnTo>
                      <a:pt x="18940" y="99852"/>
                    </a:lnTo>
                    <a:lnTo>
                      <a:pt x="20304" y="100155"/>
                    </a:lnTo>
                    <a:lnTo>
                      <a:pt x="26516" y="98792"/>
                    </a:lnTo>
                    <a:lnTo>
                      <a:pt x="27577" y="98943"/>
                    </a:lnTo>
                    <a:lnTo>
                      <a:pt x="28334" y="100610"/>
                    </a:lnTo>
                    <a:lnTo>
                      <a:pt x="28638" y="101670"/>
                    </a:lnTo>
                    <a:lnTo>
                      <a:pt x="27880" y="103337"/>
                    </a:lnTo>
                    <a:lnTo>
                      <a:pt x="26213" y="105610"/>
                    </a:lnTo>
                    <a:lnTo>
                      <a:pt x="24395" y="107428"/>
                    </a:lnTo>
                    <a:lnTo>
                      <a:pt x="23334" y="108943"/>
                    </a:lnTo>
                    <a:lnTo>
                      <a:pt x="23637" y="110307"/>
                    </a:lnTo>
                    <a:lnTo>
                      <a:pt x="23637" y="112125"/>
                    </a:lnTo>
                    <a:lnTo>
                      <a:pt x="30153" y="110913"/>
                    </a:lnTo>
                    <a:lnTo>
                      <a:pt x="37577" y="108489"/>
                    </a:lnTo>
                    <a:lnTo>
                      <a:pt x="39698" y="107125"/>
                    </a:lnTo>
                    <a:lnTo>
                      <a:pt x="45456" y="99852"/>
                    </a:lnTo>
                    <a:lnTo>
                      <a:pt x="52578" y="92882"/>
                    </a:lnTo>
                    <a:lnTo>
                      <a:pt x="58487" y="90306"/>
                    </a:lnTo>
                    <a:lnTo>
                      <a:pt x="63033" y="90761"/>
                    </a:lnTo>
                    <a:lnTo>
                      <a:pt x="70306" y="93640"/>
                    </a:lnTo>
                    <a:lnTo>
                      <a:pt x="72881" y="93791"/>
                    </a:lnTo>
                    <a:lnTo>
                      <a:pt x="85003" y="101064"/>
                    </a:lnTo>
                    <a:lnTo>
                      <a:pt x="93640" y="103792"/>
                    </a:lnTo>
                    <a:lnTo>
                      <a:pt x="97428" y="106216"/>
                    </a:lnTo>
                    <a:lnTo>
                      <a:pt x="98943" y="109398"/>
                    </a:lnTo>
                    <a:lnTo>
                      <a:pt x="100913" y="120762"/>
                    </a:lnTo>
                    <a:lnTo>
                      <a:pt x="104398" y="125459"/>
                    </a:lnTo>
                    <a:lnTo>
                      <a:pt x="106368" y="131065"/>
                    </a:lnTo>
                    <a:lnTo>
                      <a:pt x="106671" y="133187"/>
                    </a:lnTo>
                    <a:lnTo>
                      <a:pt x="106216" y="135611"/>
                    </a:lnTo>
                    <a:lnTo>
                      <a:pt x="106216" y="138793"/>
                    </a:lnTo>
                    <a:lnTo>
                      <a:pt x="108337" y="139248"/>
                    </a:lnTo>
                    <a:lnTo>
                      <a:pt x="109853" y="139096"/>
                    </a:lnTo>
                    <a:lnTo>
                      <a:pt x="111671" y="139854"/>
                    </a:lnTo>
                    <a:lnTo>
                      <a:pt x="112429" y="141066"/>
                    </a:lnTo>
                    <a:lnTo>
                      <a:pt x="113186" y="142884"/>
                    </a:lnTo>
                    <a:lnTo>
                      <a:pt x="114247" y="144248"/>
                    </a:lnTo>
                    <a:lnTo>
                      <a:pt x="117883" y="146369"/>
                    </a:lnTo>
                    <a:lnTo>
                      <a:pt x="124247" y="153036"/>
                    </a:lnTo>
                    <a:lnTo>
                      <a:pt x="124702" y="155612"/>
                    </a:lnTo>
                    <a:lnTo>
                      <a:pt x="123489" y="156066"/>
                    </a:lnTo>
                    <a:lnTo>
                      <a:pt x="122429" y="156975"/>
                    </a:lnTo>
                    <a:lnTo>
                      <a:pt x="123489" y="157885"/>
                    </a:lnTo>
                    <a:lnTo>
                      <a:pt x="124853" y="157733"/>
                    </a:lnTo>
                    <a:lnTo>
                      <a:pt x="126520" y="156975"/>
                    </a:lnTo>
                    <a:lnTo>
                      <a:pt x="127732" y="156672"/>
                    </a:lnTo>
                    <a:lnTo>
                      <a:pt x="133187" y="158642"/>
                    </a:lnTo>
                    <a:lnTo>
                      <a:pt x="136975" y="161066"/>
                    </a:lnTo>
                    <a:lnTo>
                      <a:pt x="141672" y="167885"/>
                    </a:lnTo>
                    <a:lnTo>
                      <a:pt x="148945" y="172582"/>
                    </a:lnTo>
                    <a:lnTo>
                      <a:pt x="152582" y="176825"/>
                    </a:lnTo>
                    <a:lnTo>
                      <a:pt x="164248" y="188037"/>
                    </a:lnTo>
                    <a:lnTo>
                      <a:pt x="170158" y="190007"/>
                    </a:lnTo>
                    <a:lnTo>
                      <a:pt x="175007" y="193492"/>
                    </a:lnTo>
                    <a:lnTo>
                      <a:pt x="175461" y="194553"/>
                    </a:lnTo>
                    <a:lnTo>
                      <a:pt x="176825" y="195310"/>
                    </a:lnTo>
                    <a:lnTo>
                      <a:pt x="179401" y="194250"/>
                    </a:lnTo>
                    <a:lnTo>
                      <a:pt x="181068" y="193947"/>
                    </a:lnTo>
                    <a:lnTo>
                      <a:pt x="184249" y="194250"/>
                    </a:lnTo>
                    <a:lnTo>
                      <a:pt x="189553" y="195765"/>
                    </a:lnTo>
                    <a:lnTo>
                      <a:pt x="192734" y="195007"/>
                    </a:lnTo>
                    <a:lnTo>
                      <a:pt x="194401" y="195613"/>
                    </a:lnTo>
                    <a:lnTo>
                      <a:pt x="197886" y="199098"/>
                    </a:lnTo>
                    <a:lnTo>
                      <a:pt x="203038" y="207583"/>
                    </a:lnTo>
                    <a:lnTo>
                      <a:pt x="202887" y="209402"/>
                    </a:lnTo>
                    <a:lnTo>
                      <a:pt x="203796" y="210008"/>
                    </a:lnTo>
                    <a:lnTo>
                      <a:pt x="204553" y="208947"/>
                    </a:lnTo>
                    <a:lnTo>
                      <a:pt x="205765" y="209099"/>
                    </a:lnTo>
                    <a:lnTo>
                      <a:pt x="210159" y="209402"/>
                    </a:lnTo>
                    <a:lnTo>
                      <a:pt x="213493" y="211068"/>
                    </a:lnTo>
                    <a:lnTo>
                      <a:pt x="214402" y="212129"/>
                    </a:lnTo>
                    <a:lnTo>
                      <a:pt x="211068" y="216372"/>
                    </a:lnTo>
                    <a:lnTo>
                      <a:pt x="212281" y="216372"/>
                    </a:lnTo>
                    <a:lnTo>
                      <a:pt x="214402" y="215311"/>
                    </a:lnTo>
                    <a:lnTo>
                      <a:pt x="217130" y="215462"/>
                    </a:lnTo>
                    <a:lnTo>
                      <a:pt x="218644" y="214856"/>
                    </a:lnTo>
                    <a:lnTo>
                      <a:pt x="222887" y="214099"/>
                    </a:lnTo>
                    <a:lnTo>
                      <a:pt x="224857" y="215311"/>
                    </a:lnTo>
                    <a:lnTo>
                      <a:pt x="226675" y="217735"/>
                    </a:lnTo>
                    <a:lnTo>
                      <a:pt x="227736" y="220463"/>
                    </a:lnTo>
                    <a:lnTo>
                      <a:pt x="228796" y="223493"/>
                    </a:lnTo>
                    <a:lnTo>
                      <a:pt x="227281" y="225614"/>
                    </a:lnTo>
                    <a:lnTo>
                      <a:pt x="227281" y="227130"/>
                    </a:lnTo>
                    <a:lnTo>
                      <a:pt x="227887" y="227887"/>
                    </a:lnTo>
                    <a:lnTo>
                      <a:pt x="237282" y="233342"/>
                    </a:lnTo>
                    <a:lnTo>
                      <a:pt x="239858" y="233948"/>
                    </a:lnTo>
                    <a:lnTo>
                      <a:pt x="245161" y="233948"/>
                    </a:lnTo>
                    <a:lnTo>
                      <a:pt x="248039" y="235918"/>
                    </a:lnTo>
                    <a:lnTo>
                      <a:pt x="250009" y="239706"/>
                    </a:lnTo>
                    <a:lnTo>
                      <a:pt x="252434" y="247585"/>
                    </a:lnTo>
                    <a:lnTo>
                      <a:pt x="257131" y="256373"/>
                    </a:lnTo>
                    <a:lnTo>
                      <a:pt x="258494" y="263191"/>
                    </a:lnTo>
                    <a:lnTo>
                      <a:pt x="259403" y="266828"/>
                    </a:lnTo>
                    <a:lnTo>
                      <a:pt x="262282" y="269404"/>
                    </a:lnTo>
                    <a:lnTo>
                      <a:pt x="261980" y="275162"/>
                    </a:lnTo>
                    <a:lnTo>
                      <a:pt x="258343" y="275919"/>
                    </a:lnTo>
                    <a:lnTo>
                      <a:pt x="255767" y="276677"/>
                    </a:lnTo>
                    <a:lnTo>
                      <a:pt x="254555" y="278041"/>
                    </a:lnTo>
                    <a:lnTo>
                      <a:pt x="253192" y="279859"/>
                    </a:lnTo>
                    <a:lnTo>
                      <a:pt x="253949" y="283950"/>
                    </a:lnTo>
                    <a:lnTo>
                      <a:pt x="251676" y="289707"/>
                    </a:lnTo>
                    <a:lnTo>
                      <a:pt x="248343" y="291071"/>
                    </a:lnTo>
                    <a:lnTo>
                      <a:pt x="246827" y="293799"/>
                    </a:lnTo>
                    <a:lnTo>
                      <a:pt x="246979" y="298193"/>
                    </a:lnTo>
                    <a:lnTo>
                      <a:pt x="249100" y="301223"/>
                    </a:lnTo>
                    <a:lnTo>
                      <a:pt x="258192" y="301072"/>
                    </a:lnTo>
                    <a:lnTo>
                      <a:pt x="259707" y="298647"/>
                    </a:lnTo>
                    <a:lnTo>
                      <a:pt x="260616" y="296526"/>
                    </a:lnTo>
                    <a:lnTo>
                      <a:pt x="264404" y="291374"/>
                    </a:lnTo>
                    <a:lnTo>
                      <a:pt x="271677" y="286374"/>
                    </a:lnTo>
                    <a:lnTo>
                      <a:pt x="272435" y="283647"/>
                    </a:lnTo>
                    <a:lnTo>
                      <a:pt x="271980" y="276677"/>
                    </a:lnTo>
                    <a:lnTo>
                      <a:pt x="273495" y="273949"/>
                    </a:lnTo>
                    <a:lnTo>
                      <a:pt x="277283" y="271070"/>
                    </a:lnTo>
                    <a:lnTo>
                      <a:pt x="282586" y="269404"/>
                    </a:lnTo>
                    <a:lnTo>
                      <a:pt x="286678" y="270010"/>
                    </a:lnTo>
                    <a:lnTo>
                      <a:pt x="288799" y="267434"/>
                    </a:lnTo>
                    <a:lnTo>
                      <a:pt x="287435" y="263040"/>
                    </a:lnTo>
                    <a:lnTo>
                      <a:pt x="287132" y="255312"/>
                    </a:lnTo>
                    <a:lnTo>
                      <a:pt x="283950" y="252130"/>
                    </a:lnTo>
                    <a:lnTo>
                      <a:pt x="279101" y="249100"/>
                    </a:lnTo>
                    <a:lnTo>
                      <a:pt x="272889" y="247130"/>
                    </a:lnTo>
                    <a:lnTo>
                      <a:pt x="270768" y="243645"/>
                    </a:lnTo>
                    <a:lnTo>
                      <a:pt x="270919" y="240009"/>
                    </a:lnTo>
                    <a:lnTo>
                      <a:pt x="274707" y="231069"/>
                    </a:lnTo>
                    <a:lnTo>
                      <a:pt x="278495" y="225008"/>
                    </a:lnTo>
                    <a:lnTo>
                      <a:pt x="281829" y="220766"/>
                    </a:lnTo>
                    <a:lnTo>
                      <a:pt x="284708" y="218947"/>
                    </a:lnTo>
                    <a:lnTo>
                      <a:pt x="288799" y="219250"/>
                    </a:lnTo>
                    <a:lnTo>
                      <a:pt x="289708" y="219705"/>
                    </a:lnTo>
                    <a:lnTo>
                      <a:pt x="290617" y="221220"/>
                    </a:lnTo>
                    <a:lnTo>
                      <a:pt x="290768" y="222432"/>
                    </a:lnTo>
                    <a:lnTo>
                      <a:pt x="294556" y="224402"/>
                    </a:lnTo>
                    <a:lnTo>
                      <a:pt x="296829" y="225160"/>
                    </a:lnTo>
                    <a:lnTo>
                      <a:pt x="307436" y="226220"/>
                    </a:lnTo>
                    <a:lnTo>
                      <a:pt x="313194" y="237281"/>
                    </a:lnTo>
                    <a:lnTo>
                      <a:pt x="317133" y="240009"/>
                    </a:lnTo>
                    <a:lnTo>
                      <a:pt x="320466" y="241069"/>
                    </a:lnTo>
                    <a:lnTo>
                      <a:pt x="321830" y="238494"/>
                    </a:lnTo>
                    <a:lnTo>
                      <a:pt x="322588" y="235766"/>
                    </a:lnTo>
                    <a:lnTo>
                      <a:pt x="324254" y="231978"/>
                    </a:lnTo>
                    <a:lnTo>
                      <a:pt x="323649" y="228796"/>
                    </a:lnTo>
                    <a:close/>
                    <a:moveTo>
                      <a:pt x="160158" y="108186"/>
                    </a:moveTo>
                    <a:lnTo>
                      <a:pt x="158491" y="108489"/>
                    </a:lnTo>
                    <a:lnTo>
                      <a:pt x="157733" y="107125"/>
                    </a:lnTo>
                    <a:lnTo>
                      <a:pt x="158946" y="105458"/>
                    </a:lnTo>
                    <a:lnTo>
                      <a:pt x="160612" y="105155"/>
                    </a:lnTo>
                    <a:lnTo>
                      <a:pt x="160915" y="106368"/>
                    </a:lnTo>
                    <a:lnTo>
                      <a:pt x="160158" y="108186"/>
                    </a:lnTo>
                    <a:close/>
                    <a:moveTo>
                      <a:pt x="147582" y="336830"/>
                    </a:moveTo>
                    <a:lnTo>
                      <a:pt x="145460" y="336073"/>
                    </a:lnTo>
                    <a:lnTo>
                      <a:pt x="145157" y="336528"/>
                    </a:lnTo>
                    <a:lnTo>
                      <a:pt x="145308" y="338043"/>
                    </a:lnTo>
                    <a:lnTo>
                      <a:pt x="146975" y="339103"/>
                    </a:lnTo>
                    <a:lnTo>
                      <a:pt x="148339" y="338800"/>
                    </a:lnTo>
                    <a:lnTo>
                      <a:pt x="148187" y="338194"/>
                    </a:lnTo>
                    <a:lnTo>
                      <a:pt x="147582" y="336830"/>
                    </a:lnTo>
                    <a:close/>
                    <a:moveTo>
                      <a:pt x="200008" y="213190"/>
                    </a:moveTo>
                    <a:lnTo>
                      <a:pt x="200614" y="212735"/>
                    </a:lnTo>
                    <a:lnTo>
                      <a:pt x="200614" y="211977"/>
                    </a:lnTo>
                    <a:lnTo>
                      <a:pt x="198189" y="211220"/>
                    </a:lnTo>
                    <a:lnTo>
                      <a:pt x="197735" y="212432"/>
                    </a:lnTo>
                    <a:lnTo>
                      <a:pt x="198189" y="212887"/>
                    </a:lnTo>
                    <a:lnTo>
                      <a:pt x="198947" y="213341"/>
                    </a:lnTo>
                    <a:lnTo>
                      <a:pt x="200008" y="213190"/>
                    </a:lnTo>
                    <a:close/>
                    <a:moveTo>
                      <a:pt x="242737" y="290465"/>
                    </a:moveTo>
                    <a:lnTo>
                      <a:pt x="238342" y="292738"/>
                    </a:lnTo>
                    <a:lnTo>
                      <a:pt x="236675" y="292283"/>
                    </a:lnTo>
                    <a:lnTo>
                      <a:pt x="235161" y="292890"/>
                    </a:lnTo>
                    <a:lnTo>
                      <a:pt x="233796" y="294253"/>
                    </a:lnTo>
                    <a:lnTo>
                      <a:pt x="232282" y="294708"/>
                    </a:lnTo>
                    <a:lnTo>
                      <a:pt x="228494" y="294253"/>
                    </a:lnTo>
                    <a:lnTo>
                      <a:pt x="224706" y="294102"/>
                    </a:lnTo>
                    <a:lnTo>
                      <a:pt x="223190" y="294253"/>
                    </a:lnTo>
                    <a:lnTo>
                      <a:pt x="221827" y="294708"/>
                    </a:lnTo>
                    <a:lnTo>
                      <a:pt x="219099" y="296829"/>
                    </a:lnTo>
                    <a:lnTo>
                      <a:pt x="215463" y="298041"/>
                    </a:lnTo>
                    <a:lnTo>
                      <a:pt x="213038" y="298193"/>
                    </a:lnTo>
                    <a:lnTo>
                      <a:pt x="209553" y="298950"/>
                    </a:lnTo>
                    <a:lnTo>
                      <a:pt x="203038" y="298193"/>
                    </a:lnTo>
                    <a:lnTo>
                      <a:pt x="200008" y="298647"/>
                    </a:lnTo>
                    <a:lnTo>
                      <a:pt x="195916" y="300011"/>
                    </a:lnTo>
                    <a:lnTo>
                      <a:pt x="194401" y="299859"/>
                    </a:lnTo>
                    <a:lnTo>
                      <a:pt x="192886" y="299405"/>
                    </a:lnTo>
                    <a:lnTo>
                      <a:pt x="187734" y="296223"/>
                    </a:lnTo>
                    <a:lnTo>
                      <a:pt x="186219" y="296071"/>
                    </a:lnTo>
                    <a:lnTo>
                      <a:pt x="184856" y="295617"/>
                    </a:lnTo>
                    <a:lnTo>
                      <a:pt x="183946" y="293950"/>
                    </a:lnTo>
                    <a:lnTo>
                      <a:pt x="182279" y="293647"/>
                    </a:lnTo>
                    <a:lnTo>
                      <a:pt x="178643" y="293647"/>
                    </a:lnTo>
                    <a:lnTo>
                      <a:pt x="175764" y="295465"/>
                    </a:lnTo>
                    <a:lnTo>
                      <a:pt x="175613" y="296981"/>
                    </a:lnTo>
                    <a:lnTo>
                      <a:pt x="173037" y="298344"/>
                    </a:lnTo>
                    <a:lnTo>
                      <a:pt x="171522" y="298496"/>
                    </a:lnTo>
                    <a:lnTo>
                      <a:pt x="170158" y="297587"/>
                    </a:lnTo>
                    <a:lnTo>
                      <a:pt x="166976" y="293799"/>
                    </a:lnTo>
                    <a:lnTo>
                      <a:pt x="166067" y="295162"/>
                    </a:lnTo>
                    <a:lnTo>
                      <a:pt x="165006" y="296223"/>
                    </a:lnTo>
                    <a:lnTo>
                      <a:pt x="163339" y="296981"/>
                    </a:lnTo>
                    <a:lnTo>
                      <a:pt x="161824" y="298041"/>
                    </a:lnTo>
                    <a:lnTo>
                      <a:pt x="160158" y="301678"/>
                    </a:lnTo>
                    <a:lnTo>
                      <a:pt x="158794" y="305466"/>
                    </a:lnTo>
                    <a:lnTo>
                      <a:pt x="159248" y="306981"/>
                    </a:lnTo>
                    <a:lnTo>
                      <a:pt x="161218" y="310314"/>
                    </a:lnTo>
                    <a:lnTo>
                      <a:pt x="164248" y="312739"/>
                    </a:lnTo>
                    <a:lnTo>
                      <a:pt x="165915" y="313496"/>
                    </a:lnTo>
                    <a:lnTo>
                      <a:pt x="167582" y="313648"/>
                    </a:lnTo>
                    <a:lnTo>
                      <a:pt x="170764" y="313345"/>
                    </a:lnTo>
                    <a:lnTo>
                      <a:pt x="172279" y="313496"/>
                    </a:lnTo>
                    <a:lnTo>
                      <a:pt x="175461" y="315466"/>
                    </a:lnTo>
                    <a:lnTo>
                      <a:pt x="178946" y="316375"/>
                    </a:lnTo>
                    <a:lnTo>
                      <a:pt x="180310" y="317284"/>
                    </a:lnTo>
                    <a:lnTo>
                      <a:pt x="181522" y="318648"/>
                    </a:lnTo>
                    <a:lnTo>
                      <a:pt x="184098" y="320618"/>
                    </a:lnTo>
                    <a:lnTo>
                      <a:pt x="190310" y="323648"/>
                    </a:lnTo>
                    <a:lnTo>
                      <a:pt x="196220" y="327436"/>
                    </a:lnTo>
                    <a:lnTo>
                      <a:pt x="199099" y="328497"/>
                    </a:lnTo>
                    <a:lnTo>
                      <a:pt x="202280" y="328345"/>
                    </a:lnTo>
                    <a:lnTo>
                      <a:pt x="205462" y="328497"/>
                    </a:lnTo>
                    <a:lnTo>
                      <a:pt x="208644" y="330315"/>
                    </a:lnTo>
                    <a:lnTo>
                      <a:pt x="211675" y="332588"/>
                    </a:lnTo>
                    <a:lnTo>
                      <a:pt x="215311" y="338043"/>
                    </a:lnTo>
                    <a:lnTo>
                      <a:pt x="216826" y="338800"/>
                    </a:lnTo>
                    <a:lnTo>
                      <a:pt x="218493" y="339103"/>
                    </a:lnTo>
                    <a:lnTo>
                      <a:pt x="222887" y="340922"/>
                    </a:lnTo>
                    <a:lnTo>
                      <a:pt x="226069" y="340467"/>
                    </a:lnTo>
                    <a:lnTo>
                      <a:pt x="229099" y="341376"/>
                    </a:lnTo>
                    <a:lnTo>
                      <a:pt x="232130" y="341528"/>
                    </a:lnTo>
                    <a:lnTo>
                      <a:pt x="232282" y="340012"/>
                    </a:lnTo>
                    <a:lnTo>
                      <a:pt x="231978" y="338497"/>
                    </a:lnTo>
                    <a:lnTo>
                      <a:pt x="232282" y="336830"/>
                    </a:lnTo>
                    <a:lnTo>
                      <a:pt x="233039" y="335164"/>
                    </a:lnTo>
                    <a:lnTo>
                      <a:pt x="234251" y="333800"/>
                    </a:lnTo>
                    <a:lnTo>
                      <a:pt x="237282" y="331376"/>
                    </a:lnTo>
                    <a:lnTo>
                      <a:pt x="237282" y="330012"/>
                    </a:lnTo>
                    <a:lnTo>
                      <a:pt x="237130" y="328648"/>
                    </a:lnTo>
                    <a:lnTo>
                      <a:pt x="235615" y="327285"/>
                    </a:lnTo>
                    <a:lnTo>
                      <a:pt x="233948" y="325012"/>
                    </a:lnTo>
                    <a:lnTo>
                      <a:pt x="235463" y="323951"/>
                    </a:lnTo>
                    <a:lnTo>
                      <a:pt x="234403" y="322739"/>
                    </a:lnTo>
                    <a:lnTo>
                      <a:pt x="233039" y="321981"/>
                    </a:lnTo>
                    <a:lnTo>
                      <a:pt x="232282" y="321072"/>
                    </a:lnTo>
                    <a:lnTo>
                      <a:pt x="231978" y="319860"/>
                    </a:lnTo>
                    <a:lnTo>
                      <a:pt x="231827" y="317284"/>
                    </a:lnTo>
                    <a:lnTo>
                      <a:pt x="232736" y="315011"/>
                    </a:lnTo>
                    <a:lnTo>
                      <a:pt x="233645" y="313193"/>
                    </a:lnTo>
                    <a:lnTo>
                      <a:pt x="234403" y="311223"/>
                    </a:lnTo>
                    <a:lnTo>
                      <a:pt x="234857" y="308951"/>
                    </a:lnTo>
                    <a:lnTo>
                      <a:pt x="235615" y="306981"/>
                    </a:lnTo>
                    <a:lnTo>
                      <a:pt x="242282" y="298193"/>
                    </a:lnTo>
                    <a:lnTo>
                      <a:pt x="243191" y="296829"/>
                    </a:lnTo>
                    <a:lnTo>
                      <a:pt x="245009" y="293193"/>
                    </a:lnTo>
                    <a:lnTo>
                      <a:pt x="246525" y="291677"/>
                    </a:lnTo>
                    <a:lnTo>
                      <a:pt x="244706" y="290768"/>
                    </a:lnTo>
                    <a:lnTo>
                      <a:pt x="242737" y="2904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5" name="Freeform: Shape 3254">
                <a:extLst>
                  <a:ext uri="{FF2B5EF4-FFF2-40B4-BE49-F238E27FC236}">
                    <a16:creationId xmlns:a16="http://schemas.microsoft.com/office/drawing/2014/main" id="{12A9887A-2062-4EB7-AE95-FFF477F87FD0}"/>
                  </a:ext>
                </a:extLst>
              </p:cNvPr>
              <p:cNvSpPr/>
              <p:nvPr/>
            </p:nvSpPr>
            <p:spPr>
              <a:xfrm>
                <a:off x="5107478" y="2410551"/>
                <a:ext cx="298798" cy="138792"/>
              </a:xfrm>
              <a:custGeom>
                <a:avLst/>
                <a:gdLst>
                  <a:gd name="connsiteX0" fmla="*/ 298799 w 298798"/>
                  <a:gd name="connsiteY0" fmla="*/ 63336 h 138792"/>
                  <a:gd name="connsiteX1" fmla="*/ 298193 w 298798"/>
                  <a:gd name="connsiteY1" fmla="*/ 62427 h 138792"/>
                  <a:gd name="connsiteX2" fmla="*/ 293344 w 298798"/>
                  <a:gd name="connsiteY2" fmla="*/ 60305 h 138792"/>
                  <a:gd name="connsiteX3" fmla="*/ 294708 w 298798"/>
                  <a:gd name="connsiteY3" fmla="*/ 59245 h 138792"/>
                  <a:gd name="connsiteX4" fmla="*/ 295617 w 298798"/>
                  <a:gd name="connsiteY4" fmla="*/ 58942 h 138792"/>
                  <a:gd name="connsiteX5" fmla="*/ 296223 w 298798"/>
                  <a:gd name="connsiteY5" fmla="*/ 58335 h 138792"/>
                  <a:gd name="connsiteX6" fmla="*/ 296526 w 298798"/>
                  <a:gd name="connsiteY6" fmla="*/ 57426 h 138792"/>
                  <a:gd name="connsiteX7" fmla="*/ 296526 w 298798"/>
                  <a:gd name="connsiteY7" fmla="*/ 56517 h 138792"/>
                  <a:gd name="connsiteX8" fmla="*/ 296071 w 298798"/>
                  <a:gd name="connsiteY8" fmla="*/ 55911 h 138792"/>
                  <a:gd name="connsiteX9" fmla="*/ 294253 w 298798"/>
                  <a:gd name="connsiteY9" fmla="*/ 55911 h 138792"/>
                  <a:gd name="connsiteX10" fmla="*/ 292889 w 298798"/>
                  <a:gd name="connsiteY10" fmla="*/ 54396 h 138792"/>
                  <a:gd name="connsiteX11" fmla="*/ 291980 w 298798"/>
                  <a:gd name="connsiteY11" fmla="*/ 53032 h 138792"/>
                  <a:gd name="connsiteX12" fmla="*/ 292587 w 298798"/>
                  <a:gd name="connsiteY12" fmla="*/ 52426 h 138792"/>
                  <a:gd name="connsiteX13" fmla="*/ 294708 w 298798"/>
                  <a:gd name="connsiteY13" fmla="*/ 51820 h 138792"/>
                  <a:gd name="connsiteX14" fmla="*/ 295768 w 298798"/>
                  <a:gd name="connsiteY14" fmla="*/ 51062 h 138792"/>
                  <a:gd name="connsiteX15" fmla="*/ 296071 w 298798"/>
                  <a:gd name="connsiteY15" fmla="*/ 49093 h 138792"/>
                  <a:gd name="connsiteX16" fmla="*/ 297132 w 298798"/>
                  <a:gd name="connsiteY16" fmla="*/ 47123 h 138792"/>
                  <a:gd name="connsiteX17" fmla="*/ 297132 w 298798"/>
                  <a:gd name="connsiteY17" fmla="*/ 45608 h 138792"/>
                  <a:gd name="connsiteX18" fmla="*/ 295617 w 298798"/>
                  <a:gd name="connsiteY18" fmla="*/ 44244 h 138792"/>
                  <a:gd name="connsiteX19" fmla="*/ 294708 w 298798"/>
                  <a:gd name="connsiteY19" fmla="*/ 44244 h 138792"/>
                  <a:gd name="connsiteX20" fmla="*/ 292587 w 298798"/>
                  <a:gd name="connsiteY20" fmla="*/ 45002 h 138792"/>
                  <a:gd name="connsiteX21" fmla="*/ 291071 w 298798"/>
                  <a:gd name="connsiteY21" fmla="*/ 42577 h 138792"/>
                  <a:gd name="connsiteX22" fmla="*/ 288495 w 298798"/>
                  <a:gd name="connsiteY22" fmla="*/ 41214 h 138792"/>
                  <a:gd name="connsiteX23" fmla="*/ 282132 w 298798"/>
                  <a:gd name="connsiteY23" fmla="*/ 40153 h 138792"/>
                  <a:gd name="connsiteX24" fmla="*/ 278344 w 298798"/>
                  <a:gd name="connsiteY24" fmla="*/ 40759 h 138792"/>
                  <a:gd name="connsiteX25" fmla="*/ 273646 w 298798"/>
                  <a:gd name="connsiteY25" fmla="*/ 43183 h 138792"/>
                  <a:gd name="connsiteX26" fmla="*/ 277737 w 298798"/>
                  <a:gd name="connsiteY26" fmla="*/ 39395 h 138792"/>
                  <a:gd name="connsiteX27" fmla="*/ 277889 w 298798"/>
                  <a:gd name="connsiteY27" fmla="*/ 38183 h 138792"/>
                  <a:gd name="connsiteX28" fmla="*/ 277131 w 298798"/>
                  <a:gd name="connsiteY28" fmla="*/ 36971 h 138792"/>
                  <a:gd name="connsiteX29" fmla="*/ 276525 w 298798"/>
                  <a:gd name="connsiteY29" fmla="*/ 35759 h 138792"/>
                  <a:gd name="connsiteX30" fmla="*/ 276525 w 298798"/>
                  <a:gd name="connsiteY30" fmla="*/ 34395 h 138792"/>
                  <a:gd name="connsiteX31" fmla="*/ 275919 w 298798"/>
                  <a:gd name="connsiteY31" fmla="*/ 33486 h 138792"/>
                  <a:gd name="connsiteX32" fmla="*/ 275010 w 298798"/>
                  <a:gd name="connsiteY32" fmla="*/ 33486 h 138792"/>
                  <a:gd name="connsiteX33" fmla="*/ 265919 w 298798"/>
                  <a:gd name="connsiteY33" fmla="*/ 35001 h 138792"/>
                  <a:gd name="connsiteX34" fmla="*/ 264101 w 298798"/>
                  <a:gd name="connsiteY34" fmla="*/ 34547 h 138792"/>
                  <a:gd name="connsiteX35" fmla="*/ 263646 w 298798"/>
                  <a:gd name="connsiteY35" fmla="*/ 33789 h 138792"/>
                  <a:gd name="connsiteX36" fmla="*/ 266070 w 298798"/>
                  <a:gd name="connsiteY36" fmla="*/ 31516 h 138792"/>
                  <a:gd name="connsiteX37" fmla="*/ 267889 w 298798"/>
                  <a:gd name="connsiteY37" fmla="*/ 28637 h 138792"/>
                  <a:gd name="connsiteX38" fmla="*/ 268343 w 298798"/>
                  <a:gd name="connsiteY38" fmla="*/ 25759 h 138792"/>
                  <a:gd name="connsiteX39" fmla="*/ 268191 w 298798"/>
                  <a:gd name="connsiteY39" fmla="*/ 24395 h 138792"/>
                  <a:gd name="connsiteX40" fmla="*/ 267586 w 298798"/>
                  <a:gd name="connsiteY40" fmla="*/ 23031 h 138792"/>
                  <a:gd name="connsiteX41" fmla="*/ 266373 w 298798"/>
                  <a:gd name="connsiteY41" fmla="*/ 21668 h 138792"/>
                  <a:gd name="connsiteX42" fmla="*/ 265161 w 298798"/>
                  <a:gd name="connsiteY42" fmla="*/ 21213 h 138792"/>
                  <a:gd name="connsiteX43" fmla="*/ 262131 w 298798"/>
                  <a:gd name="connsiteY43" fmla="*/ 22274 h 138792"/>
                  <a:gd name="connsiteX44" fmla="*/ 258949 w 298798"/>
                  <a:gd name="connsiteY44" fmla="*/ 21213 h 138792"/>
                  <a:gd name="connsiteX45" fmla="*/ 256070 w 298798"/>
                  <a:gd name="connsiteY45" fmla="*/ 19243 h 138792"/>
                  <a:gd name="connsiteX46" fmla="*/ 256070 w 298798"/>
                  <a:gd name="connsiteY46" fmla="*/ 18182 h 138792"/>
                  <a:gd name="connsiteX47" fmla="*/ 258494 w 298798"/>
                  <a:gd name="connsiteY47" fmla="*/ 15910 h 138792"/>
                  <a:gd name="connsiteX48" fmla="*/ 261676 w 298798"/>
                  <a:gd name="connsiteY48" fmla="*/ 11061 h 138792"/>
                  <a:gd name="connsiteX49" fmla="*/ 265161 w 298798"/>
                  <a:gd name="connsiteY49" fmla="*/ 8940 h 138792"/>
                  <a:gd name="connsiteX50" fmla="*/ 267434 w 298798"/>
                  <a:gd name="connsiteY50" fmla="*/ 8334 h 138792"/>
                  <a:gd name="connsiteX51" fmla="*/ 270464 w 298798"/>
                  <a:gd name="connsiteY51" fmla="*/ 6970 h 138792"/>
                  <a:gd name="connsiteX52" fmla="*/ 270313 w 298798"/>
                  <a:gd name="connsiteY52" fmla="*/ 6515 h 138792"/>
                  <a:gd name="connsiteX53" fmla="*/ 268040 w 298798"/>
                  <a:gd name="connsiteY53" fmla="*/ 6818 h 138792"/>
                  <a:gd name="connsiteX54" fmla="*/ 263192 w 298798"/>
                  <a:gd name="connsiteY54" fmla="*/ 6515 h 138792"/>
                  <a:gd name="connsiteX55" fmla="*/ 260161 w 298798"/>
                  <a:gd name="connsiteY55" fmla="*/ 7576 h 138792"/>
                  <a:gd name="connsiteX56" fmla="*/ 254858 w 298798"/>
                  <a:gd name="connsiteY56" fmla="*/ 11061 h 138792"/>
                  <a:gd name="connsiteX57" fmla="*/ 252737 w 298798"/>
                  <a:gd name="connsiteY57" fmla="*/ 12122 h 138792"/>
                  <a:gd name="connsiteX58" fmla="*/ 247585 w 298798"/>
                  <a:gd name="connsiteY58" fmla="*/ 13788 h 138792"/>
                  <a:gd name="connsiteX59" fmla="*/ 244403 w 298798"/>
                  <a:gd name="connsiteY59" fmla="*/ 13485 h 138792"/>
                  <a:gd name="connsiteX60" fmla="*/ 241524 w 298798"/>
                  <a:gd name="connsiteY60" fmla="*/ 12122 h 138792"/>
                  <a:gd name="connsiteX61" fmla="*/ 240009 w 298798"/>
                  <a:gd name="connsiteY61" fmla="*/ 10910 h 138792"/>
                  <a:gd name="connsiteX62" fmla="*/ 239706 w 298798"/>
                  <a:gd name="connsiteY62" fmla="*/ 7576 h 138792"/>
                  <a:gd name="connsiteX63" fmla="*/ 238494 w 298798"/>
                  <a:gd name="connsiteY63" fmla="*/ 6061 h 138792"/>
                  <a:gd name="connsiteX64" fmla="*/ 236069 w 298798"/>
                  <a:gd name="connsiteY64" fmla="*/ 4243 h 138792"/>
                  <a:gd name="connsiteX65" fmla="*/ 232281 w 298798"/>
                  <a:gd name="connsiteY65" fmla="*/ 455 h 138792"/>
                  <a:gd name="connsiteX66" fmla="*/ 230918 w 298798"/>
                  <a:gd name="connsiteY66" fmla="*/ 0 h 138792"/>
                  <a:gd name="connsiteX67" fmla="*/ 225160 w 298798"/>
                  <a:gd name="connsiteY67" fmla="*/ 152 h 138792"/>
                  <a:gd name="connsiteX68" fmla="*/ 218493 w 298798"/>
                  <a:gd name="connsiteY68" fmla="*/ 1970 h 138792"/>
                  <a:gd name="connsiteX69" fmla="*/ 217129 w 298798"/>
                  <a:gd name="connsiteY69" fmla="*/ 3637 h 138792"/>
                  <a:gd name="connsiteX70" fmla="*/ 220160 w 298798"/>
                  <a:gd name="connsiteY70" fmla="*/ 11213 h 138792"/>
                  <a:gd name="connsiteX71" fmla="*/ 220008 w 298798"/>
                  <a:gd name="connsiteY71" fmla="*/ 12425 h 138792"/>
                  <a:gd name="connsiteX72" fmla="*/ 218644 w 298798"/>
                  <a:gd name="connsiteY72" fmla="*/ 15001 h 138792"/>
                  <a:gd name="connsiteX73" fmla="*/ 214856 w 298798"/>
                  <a:gd name="connsiteY73" fmla="*/ 16213 h 138792"/>
                  <a:gd name="connsiteX74" fmla="*/ 211523 w 298798"/>
                  <a:gd name="connsiteY74" fmla="*/ 18031 h 138792"/>
                  <a:gd name="connsiteX75" fmla="*/ 208947 w 298798"/>
                  <a:gd name="connsiteY75" fmla="*/ 18182 h 138792"/>
                  <a:gd name="connsiteX76" fmla="*/ 206674 w 298798"/>
                  <a:gd name="connsiteY76" fmla="*/ 17425 h 138792"/>
                  <a:gd name="connsiteX77" fmla="*/ 205462 w 298798"/>
                  <a:gd name="connsiteY77" fmla="*/ 16364 h 138792"/>
                  <a:gd name="connsiteX78" fmla="*/ 202886 w 298798"/>
                  <a:gd name="connsiteY78" fmla="*/ 15001 h 138792"/>
                  <a:gd name="connsiteX79" fmla="*/ 201371 w 298798"/>
                  <a:gd name="connsiteY79" fmla="*/ 14546 h 138792"/>
                  <a:gd name="connsiteX80" fmla="*/ 200462 w 298798"/>
                  <a:gd name="connsiteY80" fmla="*/ 14697 h 138792"/>
                  <a:gd name="connsiteX81" fmla="*/ 195462 w 298798"/>
                  <a:gd name="connsiteY81" fmla="*/ 19849 h 138792"/>
                  <a:gd name="connsiteX82" fmla="*/ 193189 w 298798"/>
                  <a:gd name="connsiteY82" fmla="*/ 22728 h 138792"/>
                  <a:gd name="connsiteX83" fmla="*/ 191825 w 298798"/>
                  <a:gd name="connsiteY83" fmla="*/ 23940 h 138792"/>
                  <a:gd name="connsiteX84" fmla="*/ 189856 w 298798"/>
                  <a:gd name="connsiteY84" fmla="*/ 24849 h 138792"/>
                  <a:gd name="connsiteX85" fmla="*/ 189552 w 298798"/>
                  <a:gd name="connsiteY85" fmla="*/ 25607 h 138792"/>
                  <a:gd name="connsiteX86" fmla="*/ 188643 w 298798"/>
                  <a:gd name="connsiteY86" fmla="*/ 25304 h 138792"/>
                  <a:gd name="connsiteX87" fmla="*/ 187279 w 298798"/>
                  <a:gd name="connsiteY87" fmla="*/ 23940 h 138792"/>
                  <a:gd name="connsiteX88" fmla="*/ 182128 w 298798"/>
                  <a:gd name="connsiteY88" fmla="*/ 18789 h 138792"/>
                  <a:gd name="connsiteX89" fmla="*/ 179703 w 298798"/>
                  <a:gd name="connsiteY89" fmla="*/ 17425 h 138792"/>
                  <a:gd name="connsiteX90" fmla="*/ 172279 w 298798"/>
                  <a:gd name="connsiteY90" fmla="*/ 16667 h 138792"/>
                  <a:gd name="connsiteX91" fmla="*/ 169097 w 298798"/>
                  <a:gd name="connsiteY91" fmla="*/ 16819 h 138792"/>
                  <a:gd name="connsiteX92" fmla="*/ 168491 w 298798"/>
                  <a:gd name="connsiteY92" fmla="*/ 18031 h 138792"/>
                  <a:gd name="connsiteX93" fmla="*/ 168643 w 298798"/>
                  <a:gd name="connsiteY93" fmla="*/ 19698 h 138792"/>
                  <a:gd name="connsiteX94" fmla="*/ 173188 w 298798"/>
                  <a:gd name="connsiteY94" fmla="*/ 28183 h 138792"/>
                  <a:gd name="connsiteX95" fmla="*/ 174552 w 298798"/>
                  <a:gd name="connsiteY95" fmla="*/ 31668 h 138792"/>
                  <a:gd name="connsiteX96" fmla="*/ 174400 w 298798"/>
                  <a:gd name="connsiteY96" fmla="*/ 34092 h 138792"/>
                  <a:gd name="connsiteX97" fmla="*/ 173946 w 298798"/>
                  <a:gd name="connsiteY97" fmla="*/ 35153 h 138792"/>
                  <a:gd name="connsiteX98" fmla="*/ 173340 w 298798"/>
                  <a:gd name="connsiteY98" fmla="*/ 35910 h 138792"/>
                  <a:gd name="connsiteX99" fmla="*/ 172734 w 298798"/>
                  <a:gd name="connsiteY99" fmla="*/ 35910 h 138792"/>
                  <a:gd name="connsiteX100" fmla="*/ 172127 w 298798"/>
                  <a:gd name="connsiteY100" fmla="*/ 34850 h 138792"/>
                  <a:gd name="connsiteX101" fmla="*/ 169703 w 298798"/>
                  <a:gd name="connsiteY101" fmla="*/ 29092 h 138792"/>
                  <a:gd name="connsiteX102" fmla="*/ 164703 w 298798"/>
                  <a:gd name="connsiteY102" fmla="*/ 25607 h 138792"/>
                  <a:gd name="connsiteX103" fmla="*/ 160915 w 298798"/>
                  <a:gd name="connsiteY103" fmla="*/ 20758 h 138792"/>
                  <a:gd name="connsiteX104" fmla="*/ 157884 w 298798"/>
                  <a:gd name="connsiteY104" fmla="*/ 17728 h 138792"/>
                  <a:gd name="connsiteX105" fmla="*/ 155915 w 298798"/>
                  <a:gd name="connsiteY105" fmla="*/ 16213 h 138792"/>
                  <a:gd name="connsiteX106" fmla="*/ 154096 w 298798"/>
                  <a:gd name="connsiteY106" fmla="*/ 15607 h 138792"/>
                  <a:gd name="connsiteX107" fmla="*/ 152278 w 298798"/>
                  <a:gd name="connsiteY107" fmla="*/ 15758 h 138792"/>
                  <a:gd name="connsiteX108" fmla="*/ 150005 w 298798"/>
                  <a:gd name="connsiteY108" fmla="*/ 16667 h 138792"/>
                  <a:gd name="connsiteX109" fmla="*/ 147278 w 298798"/>
                  <a:gd name="connsiteY109" fmla="*/ 18485 h 138792"/>
                  <a:gd name="connsiteX110" fmla="*/ 144550 w 298798"/>
                  <a:gd name="connsiteY110" fmla="*/ 19546 h 138792"/>
                  <a:gd name="connsiteX111" fmla="*/ 139399 w 298798"/>
                  <a:gd name="connsiteY111" fmla="*/ 20455 h 138792"/>
                  <a:gd name="connsiteX112" fmla="*/ 138187 w 298798"/>
                  <a:gd name="connsiteY112" fmla="*/ 22274 h 138792"/>
                  <a:gd name="connsiteX113" fmla="*/ 137429 w 298798"/>
                  <a:gd name="connsiteY113" fmla="*/ 24546 h 138792"/>
                  <a:gd name="connsiteX114" fmla="*/ 138035 w 298798"/>
                  <a:gd name="connsiteY114" fmla="*/ 32274 h 138792"/>
                  <a:gd name="connsiteX115" fmla="*/ 137732 w 298798"/>
                  <a:gd name="connsiteY115" fmla="*/ 33486 h 138792"/>
                  <a:gd name="connsiteX116" fmla="*/ 137278 w 298798"/>
                  <a:gd name="connsiteY116" fmla="*/ 34244 h 138792"/>
                  <a:gd name="connsiteX117" fmla="*/ 136520 w 298798"/>
                  <a:gd name="connsiteY117" fmla="*/ 34395 h 138792"/>
                  <a:gd name="connsiteX118" fmla="*/ 133641 w 298798"/>
                  <a:gd name="connsiteY118" fmla="*/ 33941 h 138792"/>
                  <a:gd name="connsiteX119" fmla="*/ 132126 w 298798"/>
                  <a:gd name="connsiteY119" fmla="*/ 32880 h 138792"/>
                  <a:gd name="connsiteX120" fmla="*/ 129247 w 298798"/>
                  <a:gd name="connsiteY120" fmla="*/ 30001 h 138792"/>
                  <a:gd name="connsiteX121" fmla="*/ 125914 w 298798"/>
                  <a:gd name="connsiteY121" fmla="*/ 27122 h 138792"/>
                  <a:gd name="connsiteX122" fmla="*/ 121822 w 298798"/>
                  <a:gd name="connsiteY122" fmla="*/ 21668 h 138792"/>
                  <a:gd name="connsiteX123" fmla="*/ 119701 w 298798"/>
                  <a:gd name="connsiteY123" fmla="*/ 20304 h 138792"/>
                  <a:gd name="connsiteX124" fmla="*/ 116822 w 298798"/>
                  <a:gd name="connsiteY124" fmla="*/ 19395 h 138792"/>
                  <a:gd name="connsiteX125" fmla="*/ 114550 w 298798"/>
                  <a:gd name="connsiteY125" fmla="*/ 20152 h 138792"/>
                  <a:gd name="connsiteX126" fmla="*/ 112731 w 298798"/>
                  <a:gd name="connsiteY126" fmla="*/ 22425 h 138792"/>
                  <a:gd name="connsiteX127" fmla="*/ 112277 w 298798"/>
                  <a:gd name="connsiteY127" fmla="*/ 26365 h 138792"/>
                  <a:gd name="connsiteX128" fmla="*/ 113034 w 298798"/>
                  <a:gd name="connsiteY128" fmla="*/ 31668 h 138792"/>
                  <a:gd name="connsiteX129" fmla="*/ 112731 w 298798"/>
                  <a:gd name="connsiteY129" fmla="*/ 36668 h 138792"/>
                  <a:gd name="connsiteX130" fmla="*/ 111216 w 298798"/>
                  <a:gd name="connsiteY130" fmla="*/ 41062 h 138792"/>
                  <a:gd name="connsiteX131" fmla="*/ 110004 w 298798"/>
                  <a:gd name="connsiteY131" fmla="*/ 43335 h 138792"/>
                  <a:gd name="connsiteX132" fmla="*/ 109246 w 298798"/>
                  <a:gd name="connsiteY132" fmla="*/ 43486 h 138792"/>
                  <a:gd name="connsiteX133" fmla="*/ 107428 w 298798"/>
                  <a:gd name="connsiteY133" fmla="*/ 42880 h 138792"/>
                  <a:gd name="connsiteX134" fmla="*/ 104701 w 298798"/>
                  <a:gd name="connsiteY134" fmla="*/ 39547 h 138792"/>
                  <a:gd name="connsiteX135" fmla="*/ 103943 w 298798"/>
                  <a:gd name="connsiteY135" fmla="*/ 39092 h 138792"/>
                  <a:gd name="connsiteX136" fmla="*/ 102277 w 298798"/>
                  <a:gd name="connsiteY136" fmla="*/ 39395 h 138792"/>
                  <a:gd name="connsiteX137" fmla="*/ 100458 w 298798"/>
                  <a:gd name="connsiteY137" fmla="*/ 40304 h 138792"/>
                  <a:gd name="connsiteX138" fmla="*/ 96822 w 298798"/>
                  <a:gd name="connsiteY138" fmla="*/ 43638 h 138792"/>
                  <a:gd name="connsiteX139" fmla="*/ 95761 w 298798"/>
                  <a:gd name="connsiteY139" fmla="*/ 47729 h 138792"/>
                  <a:gd name="connsiteX140" fmla="*/ 95155 w 298798"/>
                  <a:gd name="connsiteY140" fmla="*/ 48941 h 138792"/>
                  <a:gd name="connsiteX141" fmla="*/ 94549 w 298798"/>
                  <a:gd name="connsiteY141" fmla="*/ 49699 h 138792"/>
                  <a:gd name="connsiteX142" fmla="*/ 93791 w 298798"/>
                  <a:gd name="connsiteY142" fmla="*/ 49699 h 138792"/>
                  <a:gd name="connsiteX143" fmla="*/ 93034 w 298798"/>
                  <a:gd name="connsiteY143" fmla="*/ 51669 h 138792"/>
                  <a:gd name="connsiteX144" fmla="*/ 92276 w 298798"/>
                  <a:gd name="connsiteY144" fmla="*/ 55457 h 138792"/>
                  <a:gd name="connsiteX145" fmla="*/ 91518 w 298798"/>
                  <a:gd name="connsiteY145" fmla="*/ 56972 h 138792"/>
                  <a:gd name="connsiteX146" fmla="*/ 90609 w 298798"/>
                  <a:gd name="connsiteY146" fmla="*/ 55305 h 138792"/>
                  <a:gd name="connsiteX147" fmla="*/ 88791 w 298798"/>
                  <a:gd name="connsiteY147" fmla="*/ 50002 h 138792"/>
                  <a:gd name="connsiteX148" fmla="*/ 86518 w 298798"/>
                  <a:gd name="connsiteY148" fmla="*/ 48335 h 138792"/>
                  <a:gd name="connsiteX149" fmla="*/ 85155 w 298798"/>
                  <a:gd name="connsiteY149" fmla="*/ 48032 h 138792"/>
                  <a:gd name="connsiteX150" fmla="*/ 83639 w 298798"/>
                  <a:gd name="connsiteY150" fmla="*/ 48184 h 138792"/>
                  <a:gd name="connsiteX151" fmla="*/ 83336 w 298798"/>
                  <a:gd name="connsiteY151" fmla="*/ 47729 h 138792"/>
                  <a:gd name="connsiteX152" fmla="*/ 84246 w 298798"/>
                  <a:gd name="connsiteY152" fmla="*/ 46365 h 138792"/>
                  <a:gd name="connsiteX153" fmla="*/ 84851 w 298798"/>
                  <a:gd name="connsiteY153" fmla="*/ 44850 h 138792"/>
                  <a:gd name="connsiteX154" fmla="*/ 85155 w 298798"/>
                  <a:gd name="connsiteY154" fmla="*/ 43032 h 138792"/>
                  <a:gd name="connsiteX155" fmla="*/ 84548 w 298798"/>
                  <a:gd name="connsiteY155" fmla="*/ 42274 h 138792"/>
                  <a:gd name="connsiteX156" fmla="*/ 83185 w 298798"/>
                  <a:gd name="connsiteY156" fmla="*/ 42880 h 138792"/>
                  <a:gd name="connsiteX157" fmla="*/ 82730 w 298798"/>
                  <a:gd name="connsiteY157" fmla="*/ 42729 h 138792"/>
                  <a:gd name="connsiteX158" fmla="*/ 83336 w 298798"/>
                  <a:gd name="connsiteY158" fmla="*/ 41517 h 138792"/>
                  <a:gd name="connsiteX159" fmla="*/ 82427 w 298798"/>
                  <a:gd name="connsiteY159" fmla="*/ 40456 h 138792"/>
                  <a:gd name="connsiteX160" fmla="*/ 78488 w 298798"/>
                  <a:gd name="connsiteY160" fmla="*/ 38335 h 138792"/>
                  <a:gd name="connsiteX161" fmla="*/ 77124 w 298798"/>
                  <a:gd name="connsiteY161" fmla="*/ 36365 h 138792"/>
                  <a:gd name="connsiteX162" fmla="*/ 82579 w 298798"/>
                  <a:gd name="connsiteY162" fmla="*/ 37577 h 138792"/>
                  <a:gd name="connsiteX163" fmla="*/ 83791 w 298798"/>
                  <a:gd name="connsiteY163" fmla="*/ 36971 h 138792"/>
                  <a:gd name="connsiteX164" fmla="*/ 84851 w 298798"/>
                  <a:gd name="connsiteY164" fmla="*/ 35607 h 138792"/>
                  <a:gd name="connsiteX165" fmla="*/ 86821 w 298798"/>
                  <a:gd name="connsiteY165" fmla="*/ 29547 h 138792"/>
                  <a:gd name="connsiteX166" fmla="*/ 86670 w 298798"/>
                  <a:gd name="connsiteY166" fmla="*/ 28637 h 138792"/>
                  <a:gd name="connsiteX167" fmla="*/ 84548 w 298798"/>
                  <a:gd name="connsiteY167" fmla="*/ 26668 h 138792"/>
                  <a:gd name="connsiteX168" fmla="*/ 81518 w 298798"/>
                  <a:gd name="connsiteY168" fmla="*/ 25910 h 138792"/>
                  <a:gd name="connsiteX169" fmla="*/ 81063 w 298798"/>
                  <a:gd name="connsiteY169" fmla="*/ 25456 h 138792"/>
                  <a:gd name="connsiteX170" fmla="*/ 83336 w 298798"/>
                  <a:gd name="connsiteY170" fmla="*/ 24395 h 138792"/>
                  <a:gd name="connsiteX171" fmla="*/ 84246 w 298798"/>
                  <a:gd name="connsiteY171" fmla="*/ 23486 h 138792"/>
                  <a:gd name="connsiteX172" fmla="*/ 83942 w 298798"/>
                  <a:gd name="connsiteY172" fmla="*/ 22728 h 138792"/>
                  <a:gd name="connsiteX173" fmla="*/ 78033 w 298798"/>
                  <a:gd name="connsiteY173" fmla="*/ 19849 h 138792"/>
                  <a:gd name="connsiteX174" fmla="*/ 72124 w 298798"/>
                  <a:gd name="connsiteY174" fmla="*/ 14849 h 138792"/>
                  <a:gd name="connsiteX175" fmla="*/ 69245 w 298798"/>
                  <a:gd name="connsiteY175" fmla="*/ 13031 h 138792"/>
                  <a:gd name="connsiteX176" fmla="*/ 68639 w 298798"/>
                  <a:gd name="connsiteY176" fmla="*/ 12273 h 138792"/>
                  <a:gd name="connsiteX177" fmla="*/ 63184 w 298798"/>
                  <a:gd name="connsiteY177" fmla="*/ 10000 h 138792"/>
                  <a:gd name="connsiteX178" fmla="*/ 58941 w 298798"/>
                  <a:gd name="connsiteY178" fmla="*/ 6364 h 138792"/>
                  <a:gd name="connsiteX179" fmla="*/ 56062 w 298798"/>
                  <a:gd name="connsiteY179" fmla="*/ 4394 h 138792"/>
                  <a:gd name="connsiteX180" fmla="*/ 52426 w 298798"/>
                  <a:gd name="connsiteY180" fmla="*/ 3637 h 138792"/>
                  <a:gd name="connsiteX181" fmla="*/ 48032 w 298798"/>
                  <a:gd name="connsiteY181" fmla="*/ 4243 h 138792"/>
                  <a:gd name="connsiteX182" fmla="*/ 43486 w 298798"/>
                  <a:gd name="connsiteY182" fmla="*/ 3940 h 138792"/>
                  <a:gd name="connsiteX183" fmla="*/ 41971 w 298798"/>
                  <a:gd name="connsiteY183" fmla="*/ 4394 h 138792"/>
                  <a:gd name="connsiteX184" fmla="*/ 38638 w 298798"/>
                  <a:gd name="connsiteY184" fmla="*/ 6515 h 138792"/>
                  <a:gd name="connsiteX185" fmla="*/ 37122 w 298798"/>
                  <a:gd name="connsiteY185" fmla="*/ 7728 h 138792"/>
                  <a:gd name="connsiteX186" fmla="*/ 37274 w 298798"/>
                  <a:gd name="connsiteY186" fmla="*/ 8485 h 138792"/>
                  <a:gd name="connsiteX187" fmla="*/ 41214 w 298798"/>
                  <a:gd name="connsiteY187" fmla="*/ 9243 h 138792"/>
                  <a:gd name="connsiteX188" fmla="*/ 45305 w 298798"/>
                  <a:gd name="connsiteY188" fmla="*/ 9243 h 138792"/>
                  <a:gd name="connsiteX189" fmla="*/ 48941 w 298798"/>
                  <a:gd name="connsiteY189" fmla="*/ 8637 h 138792"/>
                  <a:gd name="connsiteX190" fmla="*/ 49395 w 298798"/>
                  <a:gd name="connsiteY190" fmla="*/ 9697 h 138792"/>
                  <a:gd name="connsiteX191" fmla="*/ 50153 w 298798"/>
                  <a:gd name="connsiteY191" fmla="*/ 10152 h 138792"/>
                  <a:gd name="connsiteX192" fmla="*/ 53183 w 298798"/>
                  <a:gd name="connsiteY192" fmla="*/ 10910 h 138792"/>
                  <a:gd name="connsiteX193" fmla="*/ 54547 w 298798"/>
                  <a:gd name="connsiteY193" fmla="*/ 11819 h 138792"/>
                  <a:gd name="connsiteX194" fmla="*/ 53790 w 298798"/>
                  <a:gd name="connsiteY194" fmla="*/ 12273 h 138792"/>
                  <a:gd name="connsiteX195" fmla="*/ 47123 w 298798"/>
                  <a:gd name="connsiteY195" fmla="*/ 12122 h 138792"/>
                  <a:gd name="connsiteX196" fmla="*/ 44244 w 298798"/>
                  <a:gd name="connsiteY196" fmla="*/ 12576 h 138792"/>
                  <a:gd name="connsiteX197" fmla="*/ 42274 w 298798"/>
                  <a:gd name="connsiteY197" fmla="*/ 13334 h 138792"/>
                  <a:gd name="connsiteX198" fmla="*/ 41819 w 298798"/>
                  <a:gd name="connsiteY198" fmla="*/ 14243 h 138792"/>
                  <a:gd name="connsiteX199" fmla="*/ 43941 w 298798"/>
                  <a:gd name="connsiteY199" fmla="*/ 16061 h 138792"/>
                  <a:gd name="connsiteX200" fmla="*/ 45759 w 298798"/>
                  <a:gd name="connsiteY200" fmla="*/ 16970 h 138792"/>
                  <a:gd name="connsiteX201" fmla="*/ 55608 w 298798"/>
                  <a:gd name="connsiteY201" fmla="*/ 20758 h 138792"/>
                  <a:gd name="connsiteX202" fmla="*/ 55911 w 298798"/>
                  <a:gd name="connsiteY202" fmla="*/ 21364 h 138792"/>
                  <a:gd name="connsiteX203" fmla="*/ 56214 w 298798"/>
                  <a:gd name="connsiteY203" fmla="*/ 24092 h 138792"/>
                  <a:gd name="connsiteX204" fmla="*/ 56062 w 298798"/>
                  <a:gd name="connsiteY204" fmla="*/ 27274 h 138792"/>
                  <a:gd name="connsiteX205" fmla="*/ 55760 w 298798"/>
                  <a:gd name="connsiteY205" fmla="*/ 28031 h 138792"/>
                  <a:gd name="connsiteX206" fmla="*/ 52729 w 298798"/>
                  <a:gd name="connsiteY206" fmla="*/ 28183 h 138792"/>
                  <a:gd name="connsiteX207" fmla="*/ 50911 w 298798"/>
                  <a:gd name="connsiteY207" fmla="*/ 30001 h 138792"/>
                  <a:gd name="connsiteX208" fmla="*/ 50759 w 298798"/>
                  <a:gd name="connsiteY208" fmla="*/ 29547 h 138792"/>
                  <a:gd name="connsiteX209" fmla="*/ 51214 w 298798"/>
                  <a:gd name="connsiteY209" fmla="*/ 26516 h 138792"/>
                  <a:gd name="connsiteX210" fmla="*/ 51062 w 298798"/>
                  <a:gd name="connsiteY210" fmla="*/ 25001 h 138792"/>
                  <a:gd name="connsiteX211" fmla="*/ 50759 w 298798"/>
                  <a:gd name="connsiteY211" fmla="*/ 23940 h 138792"/>
                  <a:gd name="connsiteX212" fmla="*/ 49699 w 298798"/>
                  <a:gd name="connsiteY212" fmla="*/ 22728 h 138792"/>
                  <a:gd name="connsiteX213" fmla="*/ 48032 w 298798"/>
                  <a:gd name="connsiteY213" fmla="*/ 22122 h 138792"/>
                  <a:gd name="connsiteX214" fmla="*/ 45456 w 298798"/>
                  <a:gd name="connsiteY214" fmla="*/ 24698 h 138792"/>
                  <a:gd name="connsiteX215" fmla="*/ 44395 w 298798"/>
                  <a:gd name="connsiteY215" fmla="*/ 24849 h 138792"/>
                  <a:gd name="connsiteX216" fmla="*/ 42426 w 298798"/>
                  <a:gd name="connsiteY216" fmla="*/ 24243 h 138792"/>
                  <a:gd name="connsiteX217" fmla="*/ 39850 w 298798"/>
                  <a:gd name="connsiteY217" fmla="*/ 24698 h 138792"/>
                  <a:gd name="connsiteX218" fmla="*/ 39698 w 298798"/>
                  <a:gd name="connsiteY218" fmla="*/ 24092 h 138792"/>
                  <a:gd name="connsiteX219" fmla="*/ 40001 w 298798"/>
                  <a:gd name="connsiteY219" fmla="*/ 22425 h 138792"/>
                  <a:gd name="connsiteX220" fmla="*/ 39698 w 298798"/>
                  <a:gd name="connsiteY220" fmla="*/ 21061 h 138792"/>
                  <a:gd name="connsiteX221" fmla="*/ 38638 w 298798"/>
                  <a:gd name="connsiteY221" fmla="*/ 20001 h 138792"/>
                  <a:gd name="connsiteX222" fmla="*/ 32274 w 298798"/>
                  <a:gd name="connsiteY222" fmla="*/ 16364 h 138792"/>
                  <a:gd name="connsiteX223" fmla="*/ 30152 w 298798"/>
                  <a:gd name="connsiteY223" fmla="*/ 15758 h 138792"/>
                  <a:gd name="connsiteX224" fmla="*/ 28031 w 298798"/>
                  <a:gd name="connsiteY224" fmla="*/ 15758 h 138792"/>
                  <a:gd name="connsiteX225" fmla="*/ 25910 w 298798"/>
                  <a:gd name="connsiteY225" fmla="*/ 16516 h 138792"/>
                  <a:gd name="connsiteX226" fmla="*/ 25910 w 298798"/>
                  <a:gd name="connsiteY226" fmla="*/ 17425 h 138792"/>
                  <a:gd name="connsiteX227" fmla="*/ 25304 w 298798"/>
                  <a:gd name="connsiteY227" fmla="*/ 18485 h 138792"/>
                  <a:gd name="connsiteX228" fmla="*/ 24092 w 298798"/>
                  <a:gd name="connsiteY228" fmla="*/ 18940 h 138792"/>
                  <a:gd name="connsiteX229" fmla="*/ 24243 w 298798"/>
                  <a:gd name="connsiteY229" fmla="*/ 19698 h 138792"/>
                  <a:gd name="connsiteX230" fmla="*/ 27122 w 298798"/>
                  <a:gd name="connsiteY230" fmla="*/ 21516 h 138792"/>
                  <a:gd name="connsiteX231" fmla="*/ 28486 w 298798"/>
                  <a:gd name="connsiteY231" fmla="*/ 22880 h 138792"/>
                  <a:gd name="connsiteX232" fmla="*/ 26971 w 298798"/>
                  <a:gd name="connsiteY232" fmla="*/ 22728 h 138792"/>
                  <a:gd name="connsiteX233" fmla="*/ 20304 w 298798"/>
                  <a:gd name="connsiteY233" fmla="*/ 20758 h 138792"/>
                  <a:gd name="connsiteX234" fmla="*/ 19698 w 298798"/>
                  <a:gd name="connsiteY234" fmla="*/ 21213 h 138792"/>
                  <a:gd name="connsiteX235" fmla="*/ 19395 w 298798"/>
                  <a:gd name="connsiteY235" fmla="*/ 21971 h 138792"/>
                  <a:gd name="connsiteX236" fmla="*/ 19091 w 298798"/>
                  <a:gd name="connsiteY236" fmla="*/ 23183 h 138792"/>
                  <a:gd name="connsiteX237" fmla="*/ 19395 w 298798"/>
                  <a:gd name="connsiteY237" fmla="*/ 24092 h 138792"/>
                  <a:gd name="connsiteX238" fmla="*/ 22122 w 298798"/>
                  <a:gd name="connsiteY238" fmla="*/ 26062 h 138792"/>
                  <a:gd name="connsiteX239" fmla="*/ 26062 w 298798"/>
                  <a:gd name="connsiteY239" fmla="*/ 29395 h 138792"/>
                  <a:gd name="connsiteX240" fmla="*/ 20152 w 298798"/>
                  <a:gd name="connsiteY240" fmla="*/ 29092 h 138792"/>
                  <a:gd name="connsiteX241" fmla="*/ 18182 w 298798"/>
                  <a:gd name="connsiteY241" fmla="*/ 29850 h 138792"/>
                  <a:gd name="connsiteX242" fmla="*/ 17576 w 298798"/>
                  <a:gd name="connsiteY242" fmla="*/ 30759 h 138792"/>
                  <a:gd name="connsiteX243" fmla="*/ 19243 w 298798"/>
                  <a:gd name="connsiteY243" fmla="*/ 32728 h 138792"/>
                  <a:gd name="connsiteX244" fmla="*/ 21061 w 298798"/>
                  <a:gd name="connsiteY244" fmla="*/ 33789 h 138792"/>
                  <a:gd name="connsiteX245" fmla="*/ 24849 w 298798"/>
                  <a:gd name="connsiteY245" fmla="*/ 34698 h 138792"/>
                  <a:gd name="connsiteX246" fmla="*/ 31819 w 298798"/>
                  <a:gd name="connsiteY246" fmla="*/ 34698 h 138792"/>
                  <a:gd name="connsiteX247" fmla="*/ 32577 w 298798"/>
                  <a:gd name="connsiteY247" fmla="*/ 35304 h 138792"/>
                  <a:gd name="connsiteX248" fmla="*/ 29698 w 298798"/>
                  <a:gd name="connsiteY248" fmla="*/ 36365 h 138792"/>
                  <a:gd name="connsiteX249" fmla="*/ 27425 w 298798"/>
                  <a:gd name="connsiteY249" fmla="*/ 37729 h 138792"/>
                  <a:gd name="connsiteX250" fmla="*/ 23637 w 298798"/>
                  <a:gd name="connsiteY250" fmla="*/ 38486 h 138792"/>
                  <a:gd name="connsiteX251" fmla="*/ 15607 w 298798"/>
                  <a:gd name="connsiteY251" fmla="*/ 34547 h 138792"/>
                  <a:gd name="connsiteX252" fmla="*/ 12121 w 298798"/>
                  <a:gd name="connsiteY252" fmla="*/ 33789 h 138792"/>
                  <a:gd name="connsiteX253" fmla="*/ 10455 w 298798"/>
                  <a:gd name="connsiteY253" fmla="*/ 34092 h 138792"/>
                  <a:gd name="connsiteX254" fmla="*/ 10000 w 298798"/>
                  <a:gd name="connsiteY254" fmla="*/ 34850 h 138792"/>
                  <a:gd name="connsiteX255" fmla="*/ 11212 w 298798"/>
                  <a:gd name="connsiteY255" fmla="*/ 36971 h 138792"/>
                  <a:gd name="connsiteX256" fmla="*/ 12576 w 298798"/>
                  <a:gd name="connsiteY256" fmla="*/ 37880 h 138792"/>
                  <a:gd name="connsiteX257" fmla="*/ 12879 w 298798"/>
                  <a:gd name="connsiteY257" fmla="*/ 40002 h 138792"/>
                  <a:gd name="connsiteX258" fmla="*/ 12728 w 298798"/>
                  <a:gd name="connsiteY258" fmla="*/ 41214 h 138792"/>
                  <a:gd name="connsiteX259" fmla="*/ 16970 w 298798"/>
                  <a:gd name="connsiteY259" fmla="*/ 44850 h 138792"/>
                  <a:gd name="connsiteX260" fmla="*/ 13637 w 298798"/>
                  <a:gd name="connsiteY260" fmla="*/ 44093 h 138792"/>
                  <a:gd name="connsiteX261" fmla="*/ 8788 w 298798"/>
                  <a:gd name="connsiteY261" fmla="*/ 41668 h 138792"/>
                  <a:gd name="connsiteX262" fmla="*/ 6212 w 298798"/>
                  <a:gd name="connsiteY262" fmla="*/ 41365 h 138792"/>
                  <a:gd name="connsiteX263" fmla="*/ 3788 w 298798"/>
                  <a:gd name="connsiteY263" fmla="*/ 41971 h 138792"/>
                  <a:gd name="connsiteX264" fmla="*/ 0 w 298798"/>
                  <a:gd name="connsiteY264" fmla="*/ 45305 h 138792"/>
                  <a:gd name="connsiteX265" fmla="*/ 606 w 298798"/>
                  <a:gd name="connsiteY265" fmla="*/ 46517 h 138792"/>
                  <a:gd name="connsiteX266" fmla="*/ 6970 w 298798"/>
                  <a:gd name="connsiteY266" fmla="*/ 47123 h 138792"/>
                  <a:gd name="connsiteX267" fmla="*/ 12576 w 298798"/>
                  <a:gd name="connsiteY267" fmla="*/ 48941 h 138792"/>
                  <a:gd name="connsiteX268" fmla="*/ 15758 w 298798"/>
                  <a:gd name="connsiteY268" fmla="*/ 50608 h 138792"/>
                  <a:gd name="connsiteX269" fmla="*/ 18637 w 298798"/>
                  <a:gd name="connsiteY269" fmla="*/ 50002 h 138792"/>
                  <a:gd name="connsiteX270" fmla="*/ 23940 w 298798"/>
                  <a:gd name="connsiteY270" fmla="*/ 47881 h 138792"/>
                  <a:gd name="connsiteX271" fmla="*/ 37122 w 298798"/>
                  <a:gd name="connsiteY271" fmla="*/ 45002 h 138792"/>
                  <a:gd name="connsiteX272" fmla="*/ 43032 w 298798"/>
                  <a:gd name="connsiteY272" fmla="*/ 42880 h 138792"/>
                  <a:gd name="connsiteX273" fmla="*/ 45607 w 298798"/>
                  <a:gd name="connsiteY273" fmla="*/ 44396 h 138792"/>
                  <a:gd name="connsiteX274" fmla="*/ 50153 w 298798"/>
                  <a:gd name="connsiteY274" fmla="*/ 43486 h 138792"/>
                  <a:gd name="connsiteX275" fmla="*/ 57123 w 298798"/>
                  <a:gd name="connsiteY275" fmla="*/ 44850 h 138792"/>
                  <a:gd name="connsiteX276" fmla="*/ 59245 w 298798"/>
                  <a:gd name="connsiteY276" fmla="*/ 47426 h 138792"/>
                  <a:gd name="connsiteX277" fmla="*/ 67578 w 298798"/>
                  <a:gd name="connsiteY277" fmla="*/ 46820 h 138792"/>
                  <a:gd name="connsiteX278" fmla="*/ 71972 w 298798"/>
                  <a:gd name="connsiteY278" fmla="*/ 48941 h 138792"/>
                  <a:gd name="connsiteX279" fmla="*/ 71821 w 298798"/>
                  <a:gd name="connsiteY279" fmla="*/ 50002 h 138792"/>
                  <a:gd name="connsiteX280" fmla="*/ 70305 w 298798"/>
                  <a:gd name="connsiteY280" fmla="*/ 51062 h 138792"/>
                  <a:gd name="connsiteX281" fmla="*/ 63638 w 298798"/>
                  <a:gd name="connsiteY281" fmla="*/ 53487 h 138792"/>
                  <a:gd name="connsiteX282" fmla="*/ 59245 w 298798"/>
                  <a:gd name="connsiteY282" fmla="*/ 55911 h 138792"/>
                  <a:gd name="connsiteX283" fmla="*/ 54850 w 298798"/>
                  <a:gd name="connsiteY283" fmla="*/ 58790 h 138792"/>
                  <a:gd name="connsiteX284" fmla="*/ 53790 w 298798"/>
                  <a:gd name="connsiteY284" fmla="*/ 60154 h 138792"/>
                  <a:gd name="connsiteX285" fmla="*/ 56820 w 298798"/>
                  <a:gd name="connsiteY285" fmla="*/ 61820 h 138792"/>
                  <a:gd name="connsiteX286" fmla="*/ 65002 w 298798"/>
                  <a:gd name="connsiteY286" fmla="*/ 63184 h 138792"/>
                  <a:gd name="connsiteX287" fmla="*/ 66669 w 298798"/>
                  <a:gd name="connsiteY287" fmla="*/ 63336 h 138792"/>
                  <a:gd name="connsiteX288" fmla="*/ 73791 w 298798"/>
                  <a:gd name="connsiteY288" fmla="*/ 60457 h 138792"/>
                  <a:gd name="connsiteX289" fmla="*/ 74245 w 298798"/>
                  <a:gd name="connsiteY289" fmla="*/ 61063 h 138792"/>
                  <a:gd name="connsiteX290" fmla="*/ 73184 w 298798"/>
                  <a:gd name="connsiteY290" fmla="*/ 64093 h 138792"/>
                  <a:gd name="connsiteX291" fmla="*/ 72427 w 298798"/>
                  <a:gd name="connsiteY291" fmla="*/ 65305 h 138792"/>
                  <a:gd name="connsiteX292" fmla="*/ 70760 w 298798"/>
                  <a:gd name="connsiteY292" fmla="*/ 66669 h 138792"/>
                  <a:gd name="connsiteX293" fmla="*/ 59396 w 298798"/>
                  <a:gd name="connsiteY293" fmla="*/ 66821 h 138792"/>
                  <a:gd name="connsiteX294" fmla="*/ 54244 w 298798"/>
                  <a:gd name="connsiteY294" fmla="*/ 67124 h 138792"/>
                  <a:gd name="connsiteX295" fmla="*/ 51365 w 298798"/>
                  <a:gd name="connsiteY295" fmla="*/ 67730 h 138792"/>
                  <a:gd name="connsiteX296" fmla="*/ 49093 w 298798"/>
                  <a:gd name="connsiteY296" fmla="*/ 67730 h 138792"/>
                  <a:gd name="connsiteX297" fmla="*/ 46214 w 298798"/>
                  <a:gd name="connsiteY297" fmla="*/ 66821 h 138792"/>
                  <a:gd name="connsiteX298" fmla="*/ 45305 w 298798"/>
                  <a:gd name="connsiteY298" fmla="*/ 67427 h 138792"/>
                  <a:gd name="connsiteX299" fmla="*/ 45153 w 298798"/>
                  <a:gd name="connsiteY299" fmla="*/ 67881 h 138792"/>
                  <a:gd name="connsiteX300" fmla="*/ 43183 w 298798"/>
                  <a:gd name="connsiteY300" fmla="*/ 68790 h 138792"/>
                  <a:gd name="connsiteX301" fmla="*/ 37426 w 298798"/>
                  <a:gd name="connsiteY301" fmla="*/ 70306 h 138792"/>
                  <a:gd name="connsiteX302" fmla="*/ 36668 w 298798"/>
                  <a:gd name="connsiteY302" fmla="*/ 69245 h 138792"/>
                  <a:gd name="connsiteX303" fmla="*/ 35001 w 298798"/>
                  <a:gd name="connsiteY303" fmla="*/ 68790 h 138792"/>
                  <a:gd name="connsiteX304" fmla="*/ 33941 w 298798"/>
                  <a:gd name="connsiteY304" fmla="*/ 69093 h 138792"/>
                  <a:gd name="connsiteX305" fmla="*/ 31819 w 298798"/>
                  <a:gd name="connsiteY305" fmla="*/ 70760 h 138792"/>
                  <a:gd name="connsiteX306" fmla="*/ 30759 w 298798"/>
                  <a:gd name="connsiteY306" fmla="*/ 70912 h 138792"/>
                  <a:gd name="connsiteX307" fmla="*/ 27122 w 298798"/>
                  <a:gd name="connsiteY307" fmla="*/ 71215 h 138792"/>
                  <a:gd name="connsiteX308" fmla="*/ 21516 w 298798"/>
                  <a:gd name="connsiteY308" fmla="*/ 72730 h 138792"/>
                  <a:gd name="connsiteX309" fmla="*/ 16819 w 298798"/>
                  <a:gd name="connsiteY309" fmla="*/ 72275 h 138792"/>
                  <a:gd name="connsiteX310" fmla="*/ 15152 w 298798"/>
                  <a:gd name="connsiteY310" fmla="*/ 72578 h 138792"/>
                  <a:gd name="connsiteX311" fmla="*/ 12879 w 298798"/>
                  <a:gd name="connsiteY311" fmla="*/ 73488 h 138792"/>
                  <a:gd name="connsiteX312" fmla="*/ 12273 w 298798"/>
                  <a:gd name="connsiteY312" fmla="*/ 75003 h 138792"/>
                  <a:gd name="connsiteX313" fmla="*/ 13485 w 298798"/>
                  <a:gd name="connsiteY313" fmla="*/ 76972 h 138792"/>
                  <a:gd name="connsiteX314" fmla="*/ 14849 w 298798"/>
                  <a:gd name="connsiteY314" fmla="*/ 78639 h 138792"/>
                  <a:gd name="connsiteX315" fmla="*/ 16364 w 298798"/>
                  <a:gd name="connsiteY315" fmla="*/ 80003 h 138792"/>
                  <a:gd name="connsiteX316" fmla="*/ 18031 w 298798"/>
                  <a:gd name="connsiteY316" fmla="*/ 80458 h 138792"/>
                  <a:gd name="connsiteX317" fmla="*/ 21516 w 298798"/>
                  <a:gd name="connsiteY317" fmla="*/ 79700 h 138792"/>
                  <a:gd name="connsiteX318" fmla="*/ 27425 w 298798"/>
                  <a:gd name="connsiteY318" fmla="*/ 77276 h 138792"/>
                  <a:gd name="connsiteX319" fmla="*/ 30910 w 298798"/>
                  <a:gd name="connsiteY319" fmla="*/ 76669 h 138792"/>
                  <a:gd name="connsiteX320" fmla="*/ 48032 w 298798"/>
                  <a:gd name="connsiteY320" fmla="*/ 78185 h 138792"/>
                  <a:gd name="connsiteX321" fmla="*/ 55002 w 298798"/>
                  <a:gd name="connsiteY321" fmla="*/ 78033 h 138792"/>
                  <a:gd name="connsiteX322" fmla="*/ 59396 w 298798"/>
                  <a:gd name="connsiteY322" fmla="*/ 80760 h 138792"/>
                  <a:gd name="connsiteX323" fmla="*/ 61063 w 298798"/>
                  <a:gd name="connsiteY323" fmla="*/ 81064 h 138792"/>
                  <a:gd name="connsiteX324" fmla="*/ 61366 w 298798"/>
                  <a:gd name="connsiteY324" fmla="*/ 81518 h 138792"/>
                  <a:gd name="connsiteX325" fmla="*/ 58941 w 298798"/>
                  <a:gd name="connsiteY325" fmla="*/ 84549 h 138792"/>
                  <a:gd name="connsiteX326" fmla="*/ 58941 w 298798"/>
                  <a:gd name="connsiteY326" fmla="*/ 85458 h 138792"/>
                  <a:gd name="connsiteX327" fmla="*/ 60002 w 298798"/>
                  <a:gd name="connsiteY327" fmla="*/ 87124 h 138792"/>
                  <a:gd name="connsiteX328" fmla="*/ 60760 w 298798"/>
                  <a:gd name="connsiteY328" fmla="*/ 87882 h 138792"/>
                  <a:gd name="connsiteX329" fmla="*/ 63336 w 298798"/>
                  <a:gd name="connsiteY329" fmla="*/ 89246 h 138792"/>
                  <a:gd name="connsiteX330" fmla="*/ 64851 w 298798"/>
                  <a:gd name="connsiteY330" fmla="*/ 89549 h 138792"/>
                  <a:gd name="connsiteX331" fmla="*/ 69851 w 298798"/>
                  <a:gd name="connsiteY331" fmla="*/ 88185 h 138792"/>
                  <a:gd name="connsiteX332" fmla="*/ 76669 w 298798"/>
                  <a:gd name="connsiteY332" fmla="*/ 84549 h 138792"/>
                  <a:gd name="connsiteX333" fmla="*/ 78033 w 298798"/>
                  <a:gd name="connsiteY333" fmla="*/ 84852 h 138792"/>
                  <a:gd name="connsiteX334" fmla="*/ 78942 w 298798"/>
                  <a:gd name="connsiteY334" fmla="*/ 85458 h 138792"/>
                  <a:gd name="connsiteX335" fmla="*/ 78336 w 298798"/>
                  <a:gd name="connsiteY335" fmla="*/ 86215 h 138792"/>
                  <a:gd name="connsiteX336" fmla="*/ 75912 w 298798"/>
                  <a:gd name="connsiteY336" fmla="*/ 86670 h 138792"/>
                  <a:gd name="connsiteX337" fmla="*/ 69093 w 298798"/>
                  <a:gd name="connsiteY337" fmla="*/ 90306 h 138792"/>
                  <a:gd name="connsiteX338" fmla="*/ 67730 w 298798"/>
                  <a:gd name="connsiteY338" fmla="*/ 93185 h 138792"/>
                  <a:gd name="connsiteX339" fmla="*/ 67730 w 298798"/>
                  <a:gd name="connsiteY339" fmla="*/ 94852 h 138792"/>
                  <a:gd name="connsiteX340" fmla="*/ 68487 w 298798"/>
                  <a:gd name="connsiteY340" fmla="*/ 95610 h 138792"/>
                  <a:gd name="connsiteX341" fmla="*/ 70457 w 298798"/>
                  <a:gd name="connsiteY341" fmla="*/ 95761 h 138792"/>
                  <a:gd name="connsiteX342" fmla="*/ 67578 w 298798"/>
                  <a:gd name="connsiteY342" fmla="*/ 97579 h 138792"/>
                  <a:gd name="connsiteX343" fmla="*/ 66366 w 298798"/>
                  <a:gd name="connsiteY343" fmla="*/ 98640 h 138792"/>
                  <a:gd name="connsiteX344" fmla="*/ 66366 w 298798"/>
                  <a:gd name="connsiteY344" fmla="*/ 99246 h 138792"/>
                  <a:gd name="connsiteX345" fmla="*/ 69093 w 298798"/>
                  <a:gd name="connsiteY345" fmla="*/ 99246 h 138792"/>
                  <a:gd name="connsiteX346" fmla="*/ 77427 w 298798"/>
                  <a:gd name="connsiteY346" fmla="*/ 95458 h 138792"/>
                  <a:gd name="connsiteX347" fmla="*/ 79851 w 298798"/>
                  <a:gd name="connsiteY347" fmla="*/ 95458 h 138792"/>
                  <a:gd name="connsiteX348" fmla="*/ 82427 w 298798"/>
                  <a:gd name="connsiteY348" fmla="*/ 96367 h 138792"/>
                  <a:gd name="connsiteX349" fmla="*/ 78488 w 298798"/>
                  <a:gd name="connsiteY349" fmla="*/ 96973 h 138792"/>
                  <a:gd name="connsiteX350" fmla="*/ 76821 w 298798"/>
                  <a:gd name="connsiteY350" fmla="*/ 97731 h 138792"/>
                  <a:gd name="connsiteX351" fmla="*/ 75306 w 298798"/>
                  <a:gd name="connsiteY351" fmla="*/ 98943 h 138792"/>
                  <a:gd name="connsiteX352" fmla="*/ 74093 w 298798"/>
                  <a:gd name="connsiteY352" fmla="*/ 100458 h 138792"/>
                  <a:gd name="connsiteX353" fmla="*/ 72275 w 298798"/>
                  <a:gd name="connsiteY353" fmla="*/ 103943 h 138792"/>
                  <a:gd name="connsiteX354" fmla="*/ 71518 w 298798"/>
                  <a:gd name="connsiteY354" fmla="*/ 105155 h 138792"/>
                  <a:gd name="connsiteX355" fmla="*/ 69548 w 298798"/>
                  <a:gd name="connsiteY355" fmla="*/ 106216 h 138792"/>
                  <a:gd name="connsiteX356" fmla="*/ 67730 w 298798"/>
                  <a:gd name="connsiteY356" fmla="*/ 108489 h 138792"/>
                  <a:gd name="connsiteX357" fmla="*/ 66215 w 298798"/>
                  <a:gd name="connsiteY357" fmla="*/ 109853 h 138792"/>
                  <a:gd name="connsiteX358" fmla="*/ 62578 w 298798"/>
                  <a:gd name="connsiteY358" fmla="*/ 111216 h 138792"/>
                  <a:gd name="connsiteX359" fmla="*/ 53790 w 298798"/>
                  <a:gd name="connsiteY359" fmla="*/ 113337 h 138792"/>
                  <a:gd name="connsiteX360" fmla="*/ 52426 w 298798"/>
                  <a:gd name="connsiteY360" fmla="*/ 112580 h 138792"/>
                  <a:gd name="connsiteX361" fmla="*/ 51214 w 298798"/>
                  <a:gd name="connsiteY361" fmla="*/ 110762 h 138792"/>
                  <a:gd name="connsiteX362" fmla="*/ 50002 w 298798"/>
                  <a:gd name="connsiteY362" fmla="*/ 109549 h 138792"/>
                  <a:gd name="connsiteX363" fmla="*/ 48638 w 298798"/>
                  <a:gd name="connsiteY363" fmla="*/ 109398 h 138792"/>
                  <a:gd name="connsiteX364" fmla="*/ 47729 w 298798"/>
                  <a:gd name="connsiteY364" fmla="*/ 110913 h 138792"/>
                  <a:gd name="connsiteX365" fmla="*/ 47426 w 298798"/>
                  <a:gd name="connsiteY365" fmla="*/ 112125 h 138792"/>
                  <a:gd name="connsiteX366" fmla="*/ 47881 w 298798"/>
                  <a:gd name="connsiteY366" fmla="*/ 114701 h 138792"/>
                  <a:gd name="connsiteX367" fmla="*/ 48790 w 298798"/>
                  <a:gd name="connsiteY367" fmla="*/ 118792 h 138792"/>
                  <a:gd name="connsiteX368" fmla="*/ 50002 w 298798"/>
                  <a:gd name="connsiteY368" fmla="*/ 120459 h 138792"/>
                  <a:gd name="connsiteX369" fmla="*/ 51214 w 298798"/>
                  <a:gd name="connsiteY369" fmla="*/ 120156 h 138792"/>
                  <a:gd name="connsiteX370" fmla="*/ 57578 w 298798"/>
                  <a:gd name="connsiteY370" fmla="*/ 119853 h 138792"/>
                  <a:gd name="connsiteX371" fmla="*/ 82882 w 298798"/>
                  <a:gd name="connsiteY371" fmla="*/ 119095 h 138792"/>
                  <a:gd name="connsiteX372" fmla="*/ 84548 w 298798"/>
                  <a:gd name="connsiteY372" fmla="*/ 118489 h 138792"/>
                  <a:gd name="connsiteX373" fmla="*/ 88336 w 298798"/>
                  <a:gd name="connsiteY373" fmla="*/ 115762 h 138792"/>
                  <a:gd name="connsiteX374" fmla="*/ 90912 w 298798"/>
                  <a:gd name="connsiteY374" fmla="*/ 115459 h 138792"/>
                  <a:gd name="connsiteX375" fmla="*/ 92276 w 298798"/>
                  <a:gd name="connsiteY375" fmla="*/ 115610 h 138792"/>
                  <a:gd name="connsiteX376" fmla="*/ 92579 w 298798"/>
                  <a:gd name="connsiteY376" fmla="*/ 115913 h 138792"/>
                  <a:gd name="connsiteX377" fmla="*/ 90912 w 298798"/>
                  <a:gd name="connsiteY377" fmla="*/ 117125 h 138792"/>
                  <a:gd name="connsiteX378" fmla="*/ 91367 w 298798"/>
                  <a:gd name="connsiteY378" fmla="*/ 117883 h 138792"/>
                  <a:gd name="connsiteX379" fmla="*/ 94852 w 298798"/>
                  <a:gd name="connsiteY379" fmla="*/ 120004 h 138792"/>
                  <a:gd name="connsiteX380" fmla="*/ 98489 w 298798"/>
                  <a:gd name="connsiteY380" fmla="*/ 121520 h 138792"/>
                  <a:gd name="connsiteX381" fmla="*/ 102579 w 298798"/>
                  <a:gd name="connsiteY381" fmla="*/ 121974 h 138792"/>
                  <a:gd name="connsiteX382" fmla="*/ 102579 w 298798"/>
                  <a:gd name="connsiteY382" fmla="*/ 123186 h 138792"/>
                  <a:gd name="connsiteX383" fmla="*/ 104701 w 298798"/>
                  <a:gd name="connsiteY383" fmla="*/ 124399 h 138792"/>
                  <a:gd name="connsiteX384" fmla="*/ 106216 w 298798"/>
                  <a:gd name="connsiteY384" fmla="*/ 124550 h 138792"/>
                  <a:gd name="connsiteX385" fmla="*/ 109853 w 298798"/>
                  <a:gd name="connsiteY385" fmla="*/ 122126 h 138792"/>
                  <a:gd name="connsiteX386" fmla="*/ 111216 w 298798"/>
                  <a:gd name="connsiteY386" fmla="*/ 121520 h 138792"/>
                  <a:gd name="connsiteX387" fmla="*/ 112580 w 298798"/>
                  <a:gd name="connsiteY387" fmla="*/ 123186 h 138792"/>
                  <a:gd name="connsiteX388" fmla="*/ 112277 w 298798"/>
                  <a:gd name="connsiteY388" fmla="*/ 123489 h 138792"/>
                  <a:gd name="connsiteX389" fmla="*/ 110458 w 298798"/>
                  <a:gd name="connsiteY389" fmla="*/ 123641 h 138792"/>
                  <a:gd name="connsiteX390" fmla="*/ 109701 w 298798"/>
                  <a:gd name="connsiteY390" fmla="*/ 123944 h 138792"/>
                  <a:gd name="connsiteX391" fmla="*/ 109095 w 298798"/>
                  <a:gd name="connsiteY391" fmla="*/ 124702 h 138792"/>
                  <a:gd name="connsiteX392" fmla="*/ 108792 w 298798"/>
                  <a:gd name="connsiteY392" fmla="*/ 125762 h 138792"/>
                  <a:gd name="connsiteX393" fmla="*/ 108943 w 298798"/>
                  <a:gd name="connsiteY393" fmla="*/ 126671 h 138792"/>
                  <a:gd name="connsiteX394" fmla="*/ 111519 w 298798"/>
                  <a:gd name="connsiteY394" fmla="*/ 128793 h 138792"/>
                  <a:gd name="connsiteX395" fmla="*/ 117125 w 298798"/>
                  <a:gd name="connsiteY395" fmla="*/ 132278 h 138792"/>
                  <a:gd name="connsiteX396" fmla="*/ 123792 w 298798"/>
                  <a:gd name="connsiteY396" fmla="*/ 132429 h 138792"/>
                  <a:gd name="connsiteX397" fmla="*/ 128489 w 298798"/>
                  <a:gd name="connsiteY397" fmla="*/ 133187 h 138792"/>
                  <a:gd name="connsiteX398" fmla="*/ 136520 w 298798"/>
                  <a:gd name="connsiteY398" fmla="*/ 135611 h 138792"/>
                  <a:gd name="connsiteX399" fmla="*/ 143036 w 298798"/>
                  <a:gd name="connsiteY399" fmla="*/ 137278 h 138792"/>
                  <a:gd name="connsiteX400" fmla="*/ 159400 w 298798"/>
                  <a:gd name="connsiteY400" fmla="*/ 138793 h 138792"/>
                  <a:gd name="connsiteX401" fmla="*/ 168946 w 298798"/>
                  <a:gd name="connsiteY401" fmla="*/ 136672 h 138792"/>
                  <a:gd name="connsiteX402" fmla="*/ 171067 w 298798"/>
                  <a:gd name="connsiteY402" fmla="*/ 135914 h 138792"/>
                  <a:gd name="connsiteX403" fmla="*/ 170006 w 298798"/>
                  <a:gd name="connsiteY403" fmla="*/ 134096 h 138792"/>
                  <a:gd name="connsiteX404" fmla="*/ 170006 w 298798"/>
                  <a:gd name="connsiteY404" fmla="*/ 133641 h 138792"/>
                  <a:gd name="connsiteX405" fmla="*/ 170309 w 298798"/>
                  <a:gd name="connsiteY405" fmla="*/ 133490 h 138792"/>
                  <a:gd name="connsiteX406" fmla="*/ 171218 w 298798"/>
                  <a:gd name="connsiteY406" fmla="*/ 133338 h 138792"/>
                  <a:gd name="connsiteX407" fmla="*/ 173340 w 298798"/>
                  <a:gd name="connsiteY407" fmla="*/ 134853 h 138792"/>
                  <a:gd name="connsiteX408" fmla="*/ 175006 w 298798"/>
                  <a:gd name="connsiteY408" fmla="*/ 134853 h 138792"/>
                  <a:gd name="connsiteX409" fmla="*/ 178643 w 298798"/>
                  <a:gd name="connsiteY409" fmla="*/ 133187 h 138792"/>
                  <a:gd name="connsiteX410" fmla="*/ 180461 w 298798"/>
                  <a:gd name="connsiteY410" fmla="*/ 130762 h 138792"/>
                  <a:gd name="connsiteX411" fmla="*/ 180310 w 298798"/>
                  <a:gd name="connsiteY411" fmla="*/ 130156 h 138792"/>
                  <a:gd name="connsiteX412" fmla="*/ 179401 w 298798"/>
                  <a:gd name="connsiteY412" fmla="*/ 129550 h 138792"/>
                  <a:gd name="connsiteX413" fmla="*/ 179552 w 298798"/>
                  <a:gd name="connsiteY413" fmla="*/ 128793 h 138792"/>
                  <a:gd name="connsiteX414" fmla="*/ 181673 w 298798"/>
                  <a:gd name="connsiteY414" fmla="*/ 126823 h 138792"/>
                  <a:gd name="connsiteX415" fmla="*/ 182279 w 298798"/>
                  <a:gd name="connsiteY415" fmla="*/ 125459 h 138792"/>
                  <a:gd name="connsiteX416" fmla="*/ 187279 w 298798"/>
                  <a:gd name="connsiteY416" fmla="*/ 124095 h 138792"/>
                  <a:gd name="connsiteX417" fmla="*/ 201977 w 298798"/>
                  <a:gd name="connsiteY417" fmla="*/ 121368 h 138792"/>
                  <a:gd name="connsiteX418" fmla="*/ 206371 w 298798"/>
                  <a:gd name="connsiteY418" fmla="*/ 120004 h 138792"/>
                  <a:gd name="connsiteX419" fmla="*/ 211675 w 298798"/>
                  <a:gd name="connsiteY419" fmla="*/ 119398 h 138792"/>
                  <a:gd name="connsiteX420" fmla="*/ 214402 w 298798"/>
                  <a:gd name="connsiteY420" fmla="*/ 118792 h 138792"/>
                  <a:gd name="connsiteX421" fmla="*/ 219099 w 298798"/>
                  <a:gd name="connsiteY421" fmla="*/ 116671 h 138792"/>
                  <a:gd name="connsiteX422" fmla="*/ 225463 w 298798"/>
                  <a:gd name="connsiteY422" fmla="*/ 111368 h 138792"/>
                  <a:gd name="connsiteX423" fmla="*/ 230311 w 298798"/>
                  <a:gd name="connsiteY423" fmla="*/ 108186 h 138792"/>
                  <a:gd name="connsiteX424" fmla="*/ 236524 w 298798"/>
                  <a:gd name="connsiteY424" fmla="*/ 105307 h 138792"/>
                  <a:gd name="connsiteX425" fmla="*/ 245767 w 298798"/>
                  <a:gd name="connsiteY425" fmla="*/ 101670 h 138792"/>
                  <a:gd name="connsiteX426" fmla="*/ 252282 w 298798"/>
                  <a:gd name="connsiteY426" fmla="*/ 100004 h 138792"/>
                  <a:gd name="connsiteX427" fmla="*/ 258646 w 298798"/>
                  <a:gd name="connsiteY427" fmla="*/ 100004 h 138792"/>
                  <a:gd name="connsiteX428" fmla="*/ 261222 w 298798"/>
                  <a:gd name="connsiteY428" fmla="*/ 98943 h 138792"/>
                  <a:gd name="connsiteX429" fmla="*/ 265010 w 298798"/>
                  <a:gd name="connsiteY429" fmla="*/ 96367 h 138792"/>
                  <a:gd name="connsiteX430" fmla="*/ 269404 w 298798"/>
                  <a:gd name="connsiteY430" fmla="*/ 94700 h 138792"/>
                  <a:gd name="connsiteX431" fmla="*/ 271677 w 298798"/>
                  <a:gd name="connsiteY431" fmla="*/ 93337 h 138792"/>
                  <a:gd name="connsiteX432" fmla="*/ 273646 w 298798"/>
                  <a:gd name="connsiteY432" fmla="*/ 91215 h 138792"/>
                  <a:gd name="connsiteX433" fmla="*/ 274858 w 298798"/>
                  <a:gd name="connsiteY433" fmla="*/ 89397 h 138792"/>
                  <a:gd name="connsiteX434" fmla="*/ 275313 w 298798"/>
                  <a:gd name="connsiteY434" fmla="*/ 87276 h 138792"/>
                  <a:gd name="connsiteX435" fmla="*/ 274404 w 298798"/>
                  <a:gd name="connsiteY435" fmla="*/ 86518 h 138792"/>
                  <a:gd name="connsiteX436" fmla="*/ 273949 w 298798"/>
                  <a:gd name="connsiteY436" fmla="*/ 85003 h 138792"/>
                  <a:gd name="connsiteX437" fmla="*/ 276374 w 298798"/>
                  <a:gd name="connsiteY437" fmla="*/ 83185 h 138792"/>
                  <a:gd name="connsiteX438" fmla="*/ 276071 w 298798"/>
                  <a:gd name="connsiteY438" fmla="*/ 80155 h 138792"/>
                  <a:gd name="connsiteX439" fmla="*/ 278495 w 298798"/>
                  <a:gd name="connsiteY439" fmla="*/ 81064 h 138792"/>
                  <a:gd name="connsiteX440" fmla="*/ 282889 w 298798"/>
                  <a:gd name="connsiteY440" fmla="*/ 81518 h 138792"/>
                  <a:gd name="connsiteX441" fmla="*/ 285465 w 298798"/>
                  <a:gd name="connsiteY441" fmla="*/ 80306 h 138792"/>
                  <a:gd name="connsiteX442" fmla="*/ 288041 w 298798"/>
                  <a:gd name="connsiteY442" fmla="*/ 78488 h 138792"/>
                  <a:gd name="connsiteX443" fmla="*/ 290617 w 298798"/>
                  <a:gd name="connsiteY443" fmla="*/ 75003 h 138792"/>
                  <a:gd name="connsiteX444" fmla="*/ 291374 w 298798"/>
                  <a:gd name="connsiteY444" fmla="*/ 72730 h 138792"/>
                  <a:gd name="connsiteX445" fmla="*/ 291374 w 298798"/>
                  <a:gd name="connsiteY445" fmla="*/ 70760 h 138792"/>
                  <a:gd name="connsiteX446" fmla="*/ 290617 w 298798"/>
                  <a:gd name="connsiteY446" fmla="*/ 69245 h 138792"/>
                  <a:gd name="connsiteX447" fmla="*/ 292738 w 298798"/>
                  <a:gd name="connsiteY447" fmla="*/ 68184 h 138792"/>
                  <a:gd name="connsiteX448" fmla="*/ 296223 w 298798"/>
                  <a:gd name="connsiteY448" fmla="*/ 68184 h 138792"/>
                  <a:gd name="connsiteX449" fmla="*/ 297587 w 298798"/>
                  <a:gd name="connsiteY449" fmla="*/ 67275 h 138792"/>
                  <a:gd name="connsiteX450" fmla="*/ 298496 w 298798"/>
                  <a:gd name="connsiteY450" fmla="*/ 65760 h 138792"/>
                  <a:gd name="connsiteX451" fmla="*/ 298799 w 298798"/>
                  <a:gd name="connsiteY451" fmla="*/ 64548 h 13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298798" h="138792">
                    <a:moveTo>
                      <a:pt x="298799" y="63336"/>
                    </a:moveTo>
                    <a:lnTo>
                      <a:pt x="298193" y="62427"/>
                    </a:lnTo>
                    <a:lnTo>
                      <a:pt x="293344" y="60305"/>
                    </a:lnTo>
                    <a:lnTo>
                      <a:pt x="294708" y="59245"/>
                    </a:lnTo>
                    <a:lnTo>
                      <a:pt x="295617" y="58942"/>
                    </a:lnTo>
                    <a:lnTo>
                      <a:pt x="296223" y="58335"/>
                    </a:lnTo>
                    <a:lnTo>
                      <a:pt x="296526" y="57426"/>
                    </a:lnTo>
                    <a:lnTo>
                      <a:pt x="296526" y="56517"/>
                    </a:lnTo>
                    <a:lnTo>
                      <a:pt x="296071" y="55911"/>
                    </a:lnTo>
                    <a:lnTo>
                      <a:pt x="294253" y="55911"/>
                    </a:lnTo>
                    <a:lnTo>
                      <a:pt x="292889" y="54396"/>
                    </a:lnTo>
                    <a:lnTo>
                      <a:pt x="291980" y="53032"/>
                    </a:lnTo>
                    <a:lnTo>
                      <a:pt x="292587" y="52426"/>
                    </a:lnTo>
                    <a:lnTo>
                      <a:pt x="294708" y="51820"/>
                    </a:lnTo>
                    <a:lnTo>
                      <a:pt x="295768" y="51062"/>
                    </a:lnTo>
                    <a:lnTo>
                      <a:pt x="296071" y="49093"/>
                    </a:lnTo>
                    <a:lnTo>
                      <a:pt x="297132" y="47123"/>
                    </a:lnTo>
                    <a:lnTo>
                      <a:pt x="297132" y="45608"/>
                    </a:lnTo>
                    <a:lnTo>
                      <a:pt x="295617" y="44244"/>
                    </a:lnTo>
                    <a:lnTo>
                      <a:pt x="294708" y="44244"/>
                    </a:lnTo>
                    <a:lnTo>
                      <a:pt x="292587" y="45002"/>
                    </a:lnTo>
                    <a:lnTo>
                      <a:pt x="291071" y="42577"/>
                    </a:lnTo>
                    <a:lnTo>
                      <a:pt x="288495" y="41214"/>
                    </a:lnTo>
                    <a:lnTo>
                      <a:pt x="282132" y="40153"/>
                    </a:lnTo>
                    <a:lnTo>
                      <a:pt x="278344" y="40759"/>
                    </a:lnTo>
                    <a:lnTo>
                      <a:pt x="273646" y="43183"/>
                    </a:lnTo>
                    <a:lnTo>
                      <a:pt x="277737" y="39395"/>
                    </a:lnTo>
                    <a:lnTo>
                      <a:pt x="277889" y="38183"/>
                    </a:lnTo>
                    <a:lnTo>
                      <a:pt x="277131" y="36971"/>
                    </a:lnTo>
                    <a:lnTo>
                      <a:pt x="276525" y="35759"/>
                    </a:lnTo>
                    <a:lnTo>
                      <a:pt x="276525" y="34395"/>
                    </a:lnTo>
                    <a:lnTo>
                      <a:pt x="275919" y="33486"/>
                    </a:lnTo>
                    <a:lnTo>
                      <a:pt x="275010" y="33486"/>
                    </a:lnTo>
                    <a:lnTo>
                      <a:pt x="265919" y="35001"/>
                    </a:lnTo>
                    <a:lnTo>
                      <a:pt x="264101" y="34547"/>
                    </a:lnTo>
                    <a:lnTo>
                      <a:pt x="263646" y="33789"/>
                    </a:lnTo>
                    <a:lnTo>
                      <a:pt x="266070" y="31516"/>
                    </a:lnTo>
                    <a:lnTo>
                      <a:pt x="267889" y="28637"/>
                    </a:lnTo>
                    <a:lnTo>
                      <a:pt x="268343" y="25759"/>
                    </a:lnTo>
                    <a:lnTo>
                      <a:pt x="268191" y="24395"/>
                    </a:lnTo>
                    <a:lnTo>
                      <a:pt x="267586" y="23031"/>
                    </a:lnTo>
                    <a:lnTo>
                      <a:pt x="266373" y="21668"/>
                    </a:lnTo>
                    <a:lnTo>
                      <a:pt x="265161" y="21213"/>
                    </a:lnTo>
                    <a:lnTo>
                      <a:pt x="262131" y="22274"/>
                    </a:lnTo>
                    <a:lnTo>
                      <a:pt x="258949" y="21213"/>
                    </a:lnTo>
                    <a:lnTo>
                      <a:pt x="256070" y="19243"/>
                    </a:lnTo>
                    <a:lnTo>
                      <a:pt x="256070" y="18182"/>
                    </a:lnTo>
                    <a:lnTo>
                      <a:pt x="258494" y="15910"/>
                    </a:lnTo>
                    <a:lnTo>
                      <a:pt x="261676" y="11061"/>
                    </a:lnTo>
                    <a:lnTo>
                      <a:pt x="265161" y="8940"/>
                    </a:lnTo>
                    <a:lnTo>
                      <a:pt x="267434" y="8334"/>
                    </a:lnTo>
                    <a:lnTo>
                      <a:pt x="270464" y="6970"/>
                    </a:lnTo>
                    <a:lnTo>
                      <a:pt x="270313" y="6515"/>
                    </a:lnTo>
                    <a:lnTo>
                      <a:pt x="268040" y="6818"/>
                    </a:lnTo>
                    <a:lnTo>
                      <a:pt x="263192" y="6515"/>
                    </a:lnTo>
                    <a:lnTo>
                      <a:pt x="260161" y="7576"/>
                    </a:lnTo>
                    <a:lnTo>
                      <a:pt x="254858" y="11061"/>
                    </a:lnTo>
                    <a:lnTo>
                      <a:pt x="252737" y="12122"/>
                    </a:lnTo>
                    <a:lnTo>
                      <a:pt x="247585" y="13788"/>
                    </a:lnTo>
                    <a:lnTo>
                      <a:pt x="244403" y="13485"/>
                    </a:lnTo>
                    <a:lnTo>
                      <a:pt x="241524" y="12122"/>
                    </a:lnTo>
                    <a:lnTo>
                      <a:pt x="240009" y="10910"/>
                    </a:lnTo>
                    <a:lnTo>
                      <a:pt x="239706" y="7576"/>
                    </a:lnTo>
                    <a:lnTo>
                      <a:pt x="238494" y="6061"/>
                    </a:lnTo>
                    <a:lnTo>
                      <a:pt x="236069" y="4243"/>
                    </a:lnTo>
                    <a:lnTo>
                      <a:pt x="232281" y="455"/>
                    </a:lnTo>
                    <a:lnTo>
                      <a:pt x="230918" y="0"/>
                    </a:lnTo>
                    <a:lnTo>
                      <a:pt x="225160" y="152"/>
                    </a:lnTo>
                    <a:lnTo>
                      <a:pt x="218493" y="1970"/>
                    </a:lnTo>
                    <a:lnTo>
                      <a:pt x="217129" y="3637"/>
                    </a:lnTo>
                    <a:lnTo>
                      <a:pt x="220160" y="11213"/>
                    </a:lnTo>
                    <a:lnTo>
                      <a:pt x="220008" y="12425"/>
                    </a:lnTo>
                    <a:lnTo>
                      <a:pt x="218644" y="15001"/>
                    </a:lnTo>
                    <a:lnTo>
                      <a:pt x="214856" y="16213"/>
                    </a:lnTo>
                    <a:lnTo>
                      <a:pt x="211523" y="18031"/>
                    </a:lnTo>
                    <a:lnTo>
                      <a:pt x="208947" y="18182"/>
                    </a:lnTo>
                    <a:lnTo>
                      <a:pt x="206674" y="17425"/>
                    </a:lnTo>
                    <a:lnTo>
                      <a:pt x="205462" y="16364"/>
                    </a:lnTo>
                    <a:lnTo>
                      <a:pt x="202886" y="15001"/>
                    </a:lnTo>
                    <a:lnTo>
                      <a:pt x="201371" y="14546"/>
                    </a:lnTo>
                    <a:lnTo>
                      <a:pt x="200462" y="14697"/>
                    </a:lnTo>
                    <a:lnTo>
                      <a:pt x="195462" y="19849"/>
                    </a:lnTo>
                    <a:lnTo>
                      <a:pt x="193189" y="22728"/>
                    </a:lnTo>
                    <a:lnTo>
                      <a:pt x="191825" y="23940"/>
                    </a:lnTo>
                    <a:lnTo>
                      <a:pt x="189856" y="24849"/>
                    </a:lnTo>
                    <a:lnTo>
                      <a:pt x="189552" y="25607"/>
                    </a:lnTo>
                    <a:lnTo>
                      <a:pt x="188643" y="25304"/>
                    </a:lnTo>
                    <a:lnTo>
                      <a:pt x="187279" y="23940"/>
                    </a:lnTo>
                    <a:lnTo>
                      <a:pt x="182128" y="18789"/>
                    </a:lnTo>
                    <a:lnTo>
                      <a:pt x="179703" y="17425"/>
                    </a:lnTo>
                    <a:lnTo>
                      <a:pt x="172279" y="16667"/>
                    </a:lnTo>
                    <a:lnTo>
                      <a:pt x="169097" y="16819"/>
                    </a:lnTo>
                    <a:lnTo>
                      <a:pt x="168491" y="18031"/>
                    </a:lnTo>
                    <a:lnTo>
                      <a:pt x="168643" y="19698"/>
                    </a:lnTo>
                    <a:lnTo>
                      <a:pt x="173188" y="28183"/>
                    </a:lnTo>
                    <a:lnTo>
                      <a:pt x="174552" y="31668"/>
                    </a:lnTo>
                    <a:lnTo>
                      <a:pt x="174400" y="34092"/>
                    </a:lnTo>
                    <a:lnTo>
                      <a:pt x="173946" y="35153"/>
                    </a:lnTo>
                    <a:lnTo>
                      <a:pt x="173340" y="35910"/>
                    </a:lnTo>
                    <a:lnTo>
                      <a:pt x="172734" y="35910"/>
                    </a:lnTo>
                    <a:lnTo>
                      <a:pt x="172127" y="34850"/>
                    </a:lnTo>
                    <a:lnTo>
                      <a:pt x="169703" y="29092"/>
                    </a:lnTo>
                    <a:lnTo>
                      <a:pt x="164703" y="25607"/>
                    </a:lnTo>
                    <a:lnTo>
                      <a:pt x="160915" y="20758"/>
                    </a:lnTo>
                    <a:lnTo>
                      <a:pt x="157884" y="17728"/>
                    </a:lnTo>
                    <a:lnTo>
                      <a:pt x="155915" y="16213"/>
                    </a:lnTo>
                    <a:lnTo>
                      <a:pt x="154096" y="15607"/>
                    </a:lnTo>
                    <a:lnTo>
                      <a:pt x="152278" y="15758"/>
                    </a:lnTo>
                    <a:lnTo>
                      <a:pt x="150005" y="16667"/>
                    </a:lnTo>
                    <a:lnTo>
                      <a:pt x="147278" y="18485"/>
                    </a:lnTo>
                    <a:lnTo>
                      <a:pt x="144550" y="19546"/>
                    </a:lnTo>
                    <a:lnTo>
                      <a:pt x="139399" y="20455"/>
                    </a:lnTo>
                    <a:lnTo>
                      <a:pt x="138187" y="22274"/>
                    </a:lnTo>
                    <a:lnTo>
                      <a:pt x="137429" y="24546"/>
                    </a:lnTo>
                    <a:lnTo>
                      <a:pt x="138035" y="32274"/>
                    </a:lnTo>
                    <a:lnTo>
                      <a:pt x="137732" y="33486"/>
                    </a:lnTo>
                    <a:lnTo>
                      <a:pt x="137278" y="34244"/>
                    </a:lnTo>
                    <a:lnTo>
                      <a:pt x="136520" y="34395"/>
                    </a:lnTo>
                    <a:lnTo>
                      <a:pt x="133641" y="33941"/>
                    </a:lnTo>
                    <a:lnTo>
                      <a:pt x="132126" y="32880"/>
                    </a:lnTo>
                    <a:lnTo>
                      <a:pt x="129247" y="30001"/>
                    </a:lnTo>
                    <a:lnTo>
                      <a:pt x="125914" y="27122"/>
                    </a:lnTo>
                    <a:lnTo>
                      <a:pt x="121822" y="21668"/>
                    </a:lnTo>
                    <a:lnTo>
                      <a:pt x="119701" y="20304"/>
                    </a:lnTo>
                    <a:lnTo>
                      <a:pt x="116822" y="19395"/>
                    </a:lnTo>
                    <a:lnTo>
                      <a:pt x="114550" y="20152"/>
                    </a:lnTo>
                    <a:lnTo>
                      <a:pt x="112731" y="22425"/>
                    </a:lnTo>
                    <a:lnTo>
                      <a:pt x="112277" y="26365"/>
                    </a:lnTo>
                    <a:lnTo>
                      <a:pt x="113034" y="31668"/>
                    </a:lnTo>
                    <a:lnTo>
                      <a:pt x="112731" y="36668"/>
                    </a:lnTo>
                    <a:lnTo>
                      <a:pt x="111216" y="41062"/>
                    </a:lnTo>
                    <a:lnTo>
                      <a:pt x="110004" y="43335"/>
                    </a:lnTo>
                    <a:lnTo>
                      <a:pt x="109246" y="43486"/>
                    </a:lnTo>
                    <a:lnTo>
                      <a:pt x="107428" y="42880"/>
                    </a:lnTo>
                    <a:lnTo>
                      <a:pt x="104701" y="39547"/>
                    </a:lnTo>
                    <a:lnTo>
                      <a:pt x="103943" y="39092"/>
                    </a:lnTo>
                    <a:lnTo>
                      <a:pt x="102277" y="39395"/>
                    </a:lnTo>
                    <a:lnTo>
                      <a:pt x="100458" y="40304"/>
                    </a:lnTo>
                    <a:lnTo>
                      <a:pt x="96822" y="43638"/>
                    </a:lnTo>
                    <a:lnTo>
                      <a:pt x="95761" y="47729"/>
                    </a:lnTo>
                    <a:lnTo>
                      <a:pt x="95155" y="48941"/>
                    </a:lnTo>
                    <a:lnTo>
                      <a:pt x="94549" y="49699"/>
                    </a:lnTo>
                    <a:lnTo>
                      <a:pt x="93791" y="49699"/>
                    </a:lnTo>
                    <a:lnTo>
                      <a:pt x="93034" y="51669"/>
                    </a:lnTo>
                    <a:lnTo>
                      <a:pt x="92276" y="55457"/>
                    </a:lnTo>
                    <a:lnTo>
                      <a:pt x="91518" y="56972"/>
                    </a:lnTo>
                    <a:lnTo>
                      <a:pt x="90609" y="55305"/>
                    </a:lnTo>
                    <a:lnTo>
                      <a:pt x="88791" y="50002"/>
                    </a:lnTo>
                    <a:lnTo>
                      <a:pt x="86518" y="48335"/>
                    </a:lnTo>
                    <a:lnTo>
                      <a:pt x="85155" y="48032"/>
                    </a:lnTo>
                    <a:lnTo>
                      <a:pt x="83639" y="48184"/>
                    </a:lnTo>
                    <a:lnTo>
                      <a:pt x="83336" y="47729"/>
                    </a:lnTo>
                    <a:lnTo>
                      <a:pt x="84246" y="46365"/>
                    </a:lnTo>
                    <a:lnTo>
                      <a:pt x="84851" y="44850"/>
                    </a:lnTo>
                    <a:lnTo>
                      <a:pt x="85155" y="43032"/>
                    </a:lnTo>
                    <a:lnTo>
                      <a:pt x="84548" y="42274"/>
                    </a:lnTo>
                    <a:lnTo>
                      <a:pt x="83185" y="42880"/>
                    </a:lnTo>
                    <a:lnTo>
                      <a:pt x="82730" y="42729"/>
                    </a:lnTo>
                    <a:lnTo>
                      <a:pt x="83336" y="41517"/>
                    </a:lnTo>
                    <a:lnTo>
                      <a:pt x="82427" y="40456"/>
                    </a:lnTo>
                    <a:lnTo>
                      <a:pt x="78488" y="38335"/>
                    </a:lnTo>
                    <a:lnTo>
                      <a:pt x="77124" y="36365"/>
                    </a:lnTo>
                    <a:lnTo>
                      <a:pt x="82579" y="37577"/>
                    </a:lnTo>
                    <a:lnTo>
                      <a:pt x="83791" y="36971"/>
                    </a:lnTo>
                    <a:lnTo>
                      <a:pt x="84851" y="35607"/>
                    </a:lnTo>
                    <a:lnTo>
                      <a:pt x="86821" y="29547"/>
                    </a:lnTo>
                    <a:lnTo>
                      <a:pt x="86670" y="28637"/>
                    </a:lnTo>
                    <a:lnTo>
                      <a:pt x="84548" y="26668"/>
                    </a:lnTo>
                    <a:lnTo>
                      <a:pt x="81518" y="25910"/>
                    </a:lnTo>
                    <a:lnTo>
                      <a:pt x="81063" y="25456"/>
                    </a:lnTo>
                    <a:lnTo>
                      <a:pt x="83336" y="24395"/>
                    </a:lnTo>
                    <a:lnTo>
                      <a:pt x="84246" y="23486"/>
                    </a:lnTo>
                    <a:lnTo>
                      <a:pt x="83942" y="22728"/>
                    </a:lnTo>
                    <a:lnTo>
                      <a:pt x="78033" y="19849"/>
                    </a:lnTo>
                    <a:lnTo>
                      <a:pt x="72124" y="14849"/>
                    </a:lnTo>
                    <a:lnTo>
                      <a:pt x="69245" y="13031"/>
                    </a:lnTo>
                    <a:lnTo>
                      <a:pt x="68639" y="12273"/>
                    </a:lnTo>
                    <a:lnTo>
                      <a:pt x="63184" y="10000"/>
                    </a:lnTo>
                    <a:lnTo>
                      <a:pt x="58941" y="6364"/>
                    </a:lnTo>
                    <a:lnTo>
                      <a:pt x="56062" y="4394"/>
                    </a:lnTo>
                    <a:lnTo>
                      <a:pt x="52426" y="3637"/>
                    </a:lnTo>
                    <a:lnTo>
                      <a:pt x="48032" y="4243"/>
                    </a:lnTo>
                    <a:lnTo>
                      <a:pt x="43486" y="3940"/>
                    </a:lnTo>
                    <a:lnTo>
                      <a:pt x="41971" y="4394"/>
                    </a:lnTo>
                    <a:lnTo>
                      <a:pt x="38638" y="6515"/>
                    </a:lnTo>
                    <a:lnTo>
                      <a:pt x="37122" y="7728"/>
                    </a:lnTo>
                    <a:lnTo>
                      <a:pt x="37274" y="8485"/>
                    </a:lnTo>
                    <a:lnTo>
                      <a:pt x="41214" y="9243"/>
                    </a:lnTo>
                    <a:lnTo>
                      <a:pt x="45305" y="9243"/>
                    </a:lnTo>
                    <a:lnTo>
                      <a:pt x="48941" y="8637"/>
                    </a:lnTo>
                    <a:lnTo>
                      <a:pt x="49395" y="9697"/>
                    </a:lnTo>
                    <a:lnTo>
                      <a:pt x="50153" y="10152"/>
                    </a:lnTo>
                    <a:lnTo>
                      <a:pt x="53183" y="10910"/>
                    </a:lnTo>
                    <a:lnTo>
                      <a:pt x="54547" y="11819"/>
                    </a:lnTo>
                    <a:lnTo>
                      <a:pt x="53790" y="12273"/>
                    </a:lnTo>
                    <a:lnTo>
                      <a:pt x="47123" y="12122"/>
                    </a:lnTo>
                    <a:lnTo>
                      <a:pt x="44244" y="12576"/>
                    </a:lnTo>
                    <a:lnTo>
                      <a:pt x="42274" y="13334"/>
                    </a:lnTo>
                    <a:lnTo>
                      <a:pt x="41819" y="14243"/>
                    </a:lnTo>
                    <a:lnTo>
                      <a:pt x="43941" y="16061"/>
                    </a:lnTo>
                    <a:lnTo>
                      <a:pt x="45759" y="16970"/>
                    </a:lnTo>
                    <a:lnTo>
                      <a:pt x="55608" y="20758"/>
                    </a:lnTo>
                    <a:lnTo>
                      <a:pt x="55911" y="21364"/>
                    </a:lnTo>
                    <a:lnTo>
                      <a:pt x="56214" y="24092"/>
                    </a:lnTo>
                    <a:lnTo>
                      <a:pt x="56062" y="27274"/>
                    </a:lnTo>
                    <a:lnTo>
                      <a:pt x="55760" y="28031"/>
                    </a:lnTo>
                    <a:lnTo>
                      <a:pt x="52729" y="28183"/>
                    </a:lnTo>
                    <a:lnTo>
                      <a:pt x="50911" y="30001"/>
                    </a:lnTo>
                    <a:lnTo>
                      <a:pt x="50759" y="29547"/>
                    </a:lnTo>
                    <a:lnTo>
                      <a:pt x="51214" y="26516"/>
                    </a:lnTo>
                    <a:lnTo>
                      <a:pt x="51062" y="25001"/>
                    </a:lnTo>
                    <a:lnTo>
                      <a:pt x="50759" y="23940"/>
                    </a:lnTo>
                    <a:lnTo>
                      <a:pt x="49699" y="22728"/>
                    </a:lnTo>
                    <a:lnTo>
                      <a:pt x="48032" y="22122"/>
                    </a:lnTo>
                    <a:lnTo>
                      <a:pt x="45456" y="24698"/>
                    </a:lnTo>
                    <a:lnTo>
                      <a:pt x="44395" y="24849"/>
                    </a:lnTo>
                    <a:lnTo>
                      <a:pt x="42426" y="24243"/>
                    </a:lnTo>
                    <a:lnTo>
                      <a:pt x="39850" y="24698"/>
                    </a:lnTo>
                    <a:lnTo>
                      <a:pt x="39698" y="24092"/>
                    </a:lnTo>
                    <a:lnTo>
                      <a:pt x="40001" y="22425"/>
                    </a:lnTo>
                    <a:lnTo>
                      <a:pt x="39698" y="21061"/>
                    </a:lnTo>
                    <a:lnTo>
                      <a:pt x="38638" y="20001"/>
                    </a:lnTo>
                    <a:lnTo>
                      <a:pt x="32274" y="16364"/>
                    </a:lnTo>
                    <a:lnTo>
                      <a:pt x="30152" y="15758"/>
                    </a:lnTo>
                    <a:lnTo>
                      <a:pt x="28031" y="15758"/>
                    </a:lnTo>
                    <a:lnTo>
                      <a:pt x="25910" y="16516"/>
                    </a:lnTo>
                    <a:lnTo>
                      <a:pt x="25910" y="17425"/>
                    </a:lnTo>
                    <a:lnTo>
                      <a:pt x="25304" y="18485"/>
                    </a:lnTo>
                    <a:lnTo>
                      <a:pt x="24092" y="18940"/>
                    </a:lnTo>
                    <a:lnTo>
                      <a:pt x="24243" y="19698"/>
                    </a:lnTo>
                    <a:lnTo>
                      <a:pt x="27122" y="21516"/>
                    </a:lnTo>
                    <a:lnTo>
                      <a:pt x="28486" y="22880"/>
                    </a:lnTo>
                    <a:lnTo>
                      <a:pt x="26971" y="22728"/>
                    </a:lnTo>
                    <a:lnTo>
                      <a:pt x="20304" y="20758"/>
                    </a:lnTo>
                    <a:lnTo>
                      <a:pt x="19698" y="21213"/>
                    </a:lnTo>
                    <a:lnTo>
                      <a:pt x="19395" y="21971"/>
                    </a:lnTo>
                    <a:lnTo>
                      <a:pt x="19091" y="23183"/>
                    </a:lnTo>
                    <a:lnTo>
                      <a:pt x="19395" y="24092"/>
                    </a:lnTo>
                    <a:lnTo>
                      <a:pt x="22122" y="26062"/>
                    </a:lnTo>
                    <a:lnTo>
                      <a:pt x="26062" y="29395"/>
                    </a:lnTo>
                    <a:lnTo>
                      <a:pt x="20152" y="29092"/>
                    </a:lnTo>
                    <a:lnTo>
                      <a:pt x="18182" y="29850"/>
                    </a:lnTo>
                    <a:lnTo>
                      <a:pt x="17576" y="30759"/>
                    </a:lnTo>
                    <a:lnTo>
                      <a:pt x="19243" y="32728"/>
                    </a:lnTo>
                    <a:lnTo>
                      <a:pt x="21061" y="33789"/>
                    </a:lnTo>
                    <a:lnTo>
                      <a:pt x="24849" y="34698"/>
                    </a:lnTo>
                    <a:lnTo>
                      <a:pt x="31819" y="34698"/>
                    </a:lnTo>
                    <a:lnTo>
                      <a:pt x="32577" y="35304"/>
                    </a:lnTo>
                    <a:lnTo>
                      <a:pt x="29698" y="36365"/>
                    </a:lnTo>
                    <a:lnTo>
                      <a:pt x="27425" y="37729"/>
                    </a:lnTo>
                    <a:lnTo>
                      <a:pt x="23637" y="38486"/>
                    </a:lnTo>
                    <a:lnTo>
                      <a:pt x="15607" y="34547"/>
                    </a:lnTo>
                    <a:lnTo>
                      <a:pt x="12121" y="33789"/>
                    </a:lnTo>
                    <a:lnTo>
                      <a:pt x="10455" y="34092"/>
                    </a:lnTo>
                    <a:lnTo>
                      <a:pt x="10000" y="34850"/>
                    </a:lnTo>
                    <a:lnTo>
                      <a:pt x="11212" y="36971"/>
                    </a:lnTo>
                    <a:lnTo>
                      <a:pt x="12576" y="37880"/>
                    </a:lnTo>
                    <a:lnTo>
                      <a:pt x="12879" y="40002"/>
                    </a:lnTo>
                    <a:lnTo>
                      <a:pt x="12728" y="41214"/>
                    </a:lnTo>
                    <a:lnTo>
                      <a:pt x="16970" y="44850"/>
                    </a:lnTo>
                    <a:lnTo>
                      <a:pt x="13637" y="44093"/>
                    </a:lnTo>
                    <a:lnTo>
                      <a:pt x="8788" y="41668"/>
                    </a:lnTo>
                    <a:lnTo>
                      <a:pt x="6212" y="41365"/>
                    </a:lnTo>
                    <a:lnTo>
                      <a:pt x="3788" y="41971"/>
                    </a:lnTo>
                    <a:lnTo>
                      <a:pt x="0" y="45305"/>
                    </a:lnTo>
                    <a:lnTo>
                      <a:pt x="606" y="46517"/>
                    </a:lnTo>
                    <a:lnTo>
                      <a:pt x="6970" y="47123"/>
                    </a:lnTo>
                    <a:lnTo>
                      <a:pt x="12576" y="48941"/>
                    </a:lnTo>
                    <a:lnTo>
                      <a:pt x="15758" y="50608"/>
                    </a:lnTo>
                    <a:lnTo>
                      <a:pt x="18637" y="50002"/>
                    </a:lnTo>
                    <a:lnTo>
                      <a:pt x="23940" y="47881"/>
                    </a:lnTo>
                    <a:lnTo>
                      <a:pt x="37122" y="45002"/>
                    </a:lnTo>
                    <a:lnTo>
                      <a:pt x="43032" y="42880"/>
                    </a:lnTo>
                    <a:lnTo>
                      <a:pt x="45607" y="44396"/>
                    </a:lnTo>
                    <a:lnTo>
                      <a:pt x="50153" y="43486"/>
                    </a:lnTo>
                    <a:lnTo>
                      <a:pt x="57123" y="44850"/>
                    </a:lnTo>
                    <a:lnTo>
                      <a:pt x="59245" y="47426"/>
                    </a:lnTo>
                    <a:lnTo>
                      <a:pt x="67578" y="46820"/>
                    </a:lnTo>
                    <a:lnTo>
                      <a:pt x="71972" y="48941"/>
                    </a:lnTo>
                    <a:lnTo>
                      <a:pt x="71821" y="50002"/>
                    </a:lnTo>
                    <a:lnTo>
                      <a:pt x="70305" y="51062"/>
                    </a:lnTo>
                    <a:lnTo>
                      <a:pt x="63638" y="53487"/>
                    </a:lnTo>
                    <a:lnTo>
                      <a:pt x="59245" y="55911"/>
                    </a:lnTo>
                    <a:lnTo>
                      <a:pt x="54850" y="58790"/>
                    </a:lnTo>
                    <a:lnTo>
                      <a:pt x="53790" y="60154"/>
                    </a:lnTo>
                    <a:lnTo>
                      <a:pt x="56820" y="61820"/>
                    </a:lnTo>
                    <a:lnTo>
                      <a:pt x="65002" y="63184"/>
                    </a:lnTo>
                    <a:lnTo>
                      <a:pt x="66669" y="63336"/>
                    </a:lnTo>
                    <a:lnTo>
                      <a:pt x="73791" y="60457"/>
                    </a:lnTo>
                    <a:lnTo>
                      <a:pt x="74245" y="61063"/>
                    </a:lnTo>
                    <a:lnTo>
                      <a:pt x="73184" y="64093"/>
                    </a:lnTo>
                    <a:lnTo>
                      <a:pt x="72427" y="65305"/>
                    </a:lnTo>
                    <a:lnTo>
                      <a:pt x="70760" y="66669"/>
                    </a:lnTo>
                    <a:lnTo>
                      <a:pt x="59396" y="66821"/>
                    </a:lnTo>
                    <a:lnTo>
                      <a:pt x="54244" y="67124"/>
                    </a:lnTo>
                    <a:lnTo>
                      <a:pt x="51365" y="67730"/>
                    </a:lnTo>
                    <a:lnTo>
                      <a:pt x="49093" y="67730"/>
                    </a:lnTo>
                    <a:lnTo>
                      <a:pt x="46214" y="66821"/>
                    </a:lnTo>
                    <a:lnTo>
                      <a:pt x="45305" y="67427"/>
                    </a:lnTo>
                    <a:lnTo>
                      <a:pt x="45153" y="67881"/>
                    </a:lnTo>
                    <a:lnTo>
                      <a:pt x="43183" y="68790"/>
                    </a:lnTo>
                    <a:lnTo>
                      <a:pt x="37426" y="70306"/>
                    </a:lnTo>
                    <a:lnTo>
                      <a:pt x="36668" y="69245"/>
                    </a:lnTo>
                    <a:lnTo>
                      <a:pt x="35001" y="68790"/>
                    </a:lnTo>
                    <a:lnTo>
                      <a:pt x="33941" y="69093"/>
                    </a:lnTo>
                    <a:lnTo>
                      <a:pt x="31819" y="70760"/>
                    </a:lnTo>
                    <a:lnTo>
                      <a:pt x="30759" y="70912"/>
                    </a:lnTo>
                    <a:lnTo>
                      <a:pt x="27122" y="71215"/>
                    </a:lnTo>
                    <a:lnTo>
                      <a:pt x="21516" y="72730"/>
                    </a:lnTo>
                    <a:lnTo>
                      <a:pt x="16819" y="72275"/>
                    </a:lnTo>
                    <a:lnTo>
                      <a:pt x="15152" y="72578"/>
                    </a:lnTo>
                    <a:lnTo>
                      <a:pt x="12879" y="73488"/>
                    </a:lnTo>
                    <a:lnTo>
                      <a:pt x="12273" y="75003"/>
                    </a:lnTo>
                    <a:lnTo>
                      <a:pt x="13485" y="76972"/>
                    </a:lnTo>
                    <a:lnTo>
                      <a:pt x="14849" y="78639"/>
                    </a:lnTo>
                    <a:lnTo>
                      <a:pt x="16364" y="80003"/>
                    </a:lnTo>
                    <a:lnTo>
                      <a:pt x="18031" y="80458"/>
                    </a:lnTo>
                    <a:lnTo>
                      <a:pt x="21516" y="79700"/>
                    </a:lnTo>
                    <a:lnTo>
                      <a:pt x="27425" y="77276"/>
                    </a:lnTo>
                    <a:lnTo>
                      <a:pt x="30910" y="76669"/>
                    </a:lnTo>
                    <a:lnTo>
                      <a:pt x="48032" y="78185"/>
                    </a:lnTo>
                    <a:lnTo>
                      <a:pt x="55002" y="78033"/>
                    </a:lnTo>
                    <a:lnTo>
                      <a:pt x="59396" y="80760"/>
                    </a:lnTo>
                    <a:lnTo>
                      <a:pt x="61063" y="81064"/>
                    </a:lnTo>
                    <a:lnTo>
                      <a:pt x="61366" y="81518"/>
                    </a:lnTo>
                    <a:lnTo>
                      <a:pt x="58941" y="84549"/>
                    </a:lnTo>
                    <a:lnTo>
                      <a:pt x="58941" y="85458"/>
                    </a:lnTo>
                    <a:lnTo>
                      <a:pt x="60002" y="87124"/>
                    </a:lnTo>
                    <a:lnTo>
                      <a:pt x="60760" y="87882"/>
                    </a:lnTo>
                    <a:lnTo>
                      <a:pt x="63336" y="89246"/>
                    </a:lnTo>
                    <a:lnTo>
                      <a:pt x="64851" y="89549"/>
                    </a:lnTo>
                    <a:lnTo>
                      <a:pt x="69851" y="88185"/>
                    </a:lnTo>
                    <a:lnTo>
                      <a:pt x="76669" y="84549"/>
                    </a:lnTo>
                    <a:lnTo>
                      <a:pt x="78033" y="84852"/>
                    </a:lnTo>
                    <a:lnTo>
                      <a:pt x="78942" y="85458"/>
                    </a:lnTo>
                    <a:lnTo>
                      <a:pt x="78336" y="86215"/>
                    </a:lnTo>
                    <a:lnTo>
                      <a:pt x="75912" y="86670"/>
                    </a:lnTo>
                    <a:lnTo>
                      <a:pt x="69093" y="90306"/>
                    </a:lnTo>
                    <a:lnTo>
                      <a:pt x="67730" y="93185"/>
                    </a:lnTo>
                    <a:lnTo>
                      <a:pt x="67730" y="94852"/>
                    </a:lnTo>
                    <a:lnTo>
                      <a:pt x="68487" y="95610"/>
                    </a:lnTo>
                    <a:lnTo>
                      <a:pt x="70457" y="95761"/>
                    </a:lnTo>
                    <a:lnTo>
                      <a:pt x="67578" y="97579"/>
                    </a:lnTo>
                    <a:lnTo>
                      <a:pt x="66366" y="98640"/>
                    </a:lnTo>
                    <a:lnTo>
                      <a:pt x="66366" y="99246"/>
                    </a:lnTo>
                    <a:lnTo>
                      <a:pt x="69093" y="99246"/>
                    </a:lnTo>
                    <a:lnTo>
                      <a:pt x="77427" y="95458"/>
                    </a:lnTo>
                    <a:lnTo>
                      <a:pt x="79851" y="95458"/>
                    </a:lnTo>
                    <a:lnTo>
                      <a:pt x="82427" y="96367"/>
                    </a:lnTo>
                    <a:lnTo>
                      <a:pt x="78488" y="96973"/>
                    </a:lnTo>
                    <a:lnTo>
                      <a:pt x="76821" y="97731"/>
                    </a:lnTo>
                    <a:lnTo>
                      <a:pt x="75306" y="98943"/>
                    </a:lnTo>
                    <a:lnTo>
                      <a:pt x="74093" y="100458"/>
                    </a:lnTo>
                    <a:lnTo>
                      <a:pt x="72275" y="103943"/>
                    </a:lnTo>
                    <a:lnTo>
                      <a:pt x="71518" y="105155"/>
                    </a:lnTo>
                    <a:lnTo>
                      <a:pt x="69548" y="106216"/>
                    </a:lnTo>
                    <a:lnTo>
                      <a:pt x="67730" y="108489"/>
                    </a:lnTo>
                    <a:lnTo>
                      <a:pt x="66215" y="109853"/>
                    </a:lnTo>
                    <a:lnTo>
                      <a:pt x="62578" y="111216"/>
                    </a:lnTo>
                    <a:lnTo>
                      <a:pt x="53790" y="113337"/>
                    </a:lnTo>
                    <a:lnTo>
                      <a:pt x="52426" y="112580"/>
                    </a:lnTo>
                    <a:lnTo>
                      <a:pt x="51214" y="110762"/>
                    </a:lnTo>
                    <a:lnTo>
                      <a:pt x="50002" y="109549"/>
                    </a:lnTo>
                    <a:lnTo>
                      <a:pt x="48638" y="109398"/>
                    </a:lnTo>
                    <a:lnTo>
                      <a:pt x="47729" y="110913"/>
                    </a:lnTo>
                    <a:lnTo>
                      <a:pt x="47426" y="112125"/>
                    </a:lnTo>
                    <a:lnTo>
                      <a:pt x="47881" y="114701"/>
                    </a:lnTo>
                    <a:lnTo>
                      <a:pt x="48790" y="118792"/>
                    </a:lnTo>
                    <a:lnTo>
                      <a:pt x="50002" y="120459"/>
                    </a:lnTo>
                    <a:lnTo>
                      <a:pt x="51214" y="120156"/>
                    </a:lnTo>
                    <a:lnTo>
                      <a:pt x="57578" y="119853"/>
                    </a:lnTo>
                    <a:lnTo>
                      <a:pt x="82882" y="119095"/>
                    </a:lnTo>
                    <a:lnTo>
                      <a:pt x="84548" y="118489"/>
                    </a:lnTo>
                    <a:lnTo>
                      <a:pt x="88336" y="115762"/>
                    </a:lnTo>
                    <a:lnTo>
                      <a:pt x="90912" y="115459"/>
                    </a:lnTo>
                    <a:lnTo>
                      <a:pt x="92276" y="115610"/>
                    </a:lnTo>
                    <a:lnTo>
                      <a:pt x="92579" y="115913"/>
                    </a:lnTo>
                    <a:lnTo>
                      <a:pt x="90912" y="117125"/>
                    </a:lnTo>
                    <a:lnTo>
                      <a:pt x="91367" y="117883"/>
                    </a:lnTo>
                    <a:lnTo>
                      <a:pt x="94852" y="120004"/>
                    </a:lnTo>
                    <a:lnTo>
                      <a:pt x="98489" y="121520"/>
                    </a:lnTo>
                    <a:lnTo>
                      <a:pt x="102579" y="121974"/>
                    </a:lnTo>
                    <a:lnTo>
                      <a:pt x="102579" y="123186"/>
                    </a:lnTo>
                    <a:lnTo>
                      <a:pt x="104701" y="124399"/>
                    </a:lnTo>
                    <a:lnTo>
                      <a:pt x="106216" y="124550"/>
                    </a:lnTo>
                    <a:lnTo>
                      <a:pt x="109853" y="122126"/>
                    </a:lnTo>
                    <a:lnTo>
                      <a:pt x="111216" y="121520"/>
                    </a:lnTo>
                    <a:lnTo>
                      <a:pt x="112580" y="123186"/>
                    </a:lnTo>
                    <a:lnTo>
                      <a:pt x="112277" y="123489"/>
                    </a:lnTo>
                    <a:lnTo>
                      <a:pt x="110458" y="123641"/>
                    </a:lnTo>
                    <a:lnTo>
                      <a:pt x="109701" y="123944"/>
                    </a:lnTo>
                    <a:lnTo>
                      <a:pt x="109095" y="124702"/>
                    </a:lnTo>
                    <a:lnTo>
                      <a:pt x="108792" y="125762"/>
                    </a:lnTo>
                    <a:lnTo>
                      <a:pt x="108943" y="126671"/>
                    </a:lnTo>
                    <a:lnTo>
                      <a:pt x="111519" y="128793"/>
                    </a:lnTo>
                    <a:lnTo>
                      <a:pt x="117125" y="132278"/>
                    </a:lnTo>
                    <a:lnTo>
                      <a:pt x="123792" y="132429"/>
                    </a:lnTo>
                    <a:lnTo>
                      <a:pt x="128489" y="133187"/>
                    </a:lnTo>
                    <a:lnTo>
                      <a:pt x="136520" y="135611"/>
                    </a:lnTo>
                    <a:lnTo>
                      <a:pt x="143036" y="137278"/>
                    </a:lnTo>
                    <a:lnTo>
                      <a:pt x="159400" y="138793"/>
                    </a:lnTo>
                    <a:lnTo>
                      <a:pt x="168946" y="136672"/>
                    </a:lnTo>
                    <a:lnTo>
                      <a:pt x="171067" y="135914"/>
                    </a:lnTo>
                    <a:lnTo>
                      <a:pt x="170006" y="134096"/>
                    </a:lnTo>
                    <a:lnTo>
                      <a:pt x="170006" y="133641"/>
                    </a:lnTo>
                    <a:lnTo>
                      <a:pt x="170309" y="133490"/>
                    </a:lnTo>
                    <a:lnTo>
                      <a:pt x="171218" y="133338"/>
                    </a:lnTo>
                    <a:lnTo>
                      <a:pt x="173340" y="134853"/>
                    </a:lnTo>
                    <a:lnTo>
                      <a:pt x="175006" y="134853"/>
                    </a:lnTo>
                    <a:lnTo>
                      <a:pt x="178643" y="133187"/>
                    </a:lnTo>
                    <a:lnTo>
                      <a:pt x="180461" y="130762"/>
                    </a:lnTo>
                    <a:lnTo>
                      <a:pt x="180310" y="130156"/>
                    </a:lnTo>
                    <a:lnTo>
                      <a:pt x="179401" y="129550"/>
                    </a:lnTo>
                    <a:lnTo>
                      <a:pt x="179552" y="128793"/>
                    </a:lnTo>
                    <a:lnTo>
                      <a:pt x="181673" y="126823"/>
                    </a:lnTo>
                    <a:lnTo>
                      <a:pt x="182279" y="125459"/>
                    </a:lnTo>
                    <a:lnTo>
                      <a:pt x="187279" y="124095"/>
                    </a:lnTo>
                    <a:lnTo>
                      <a:pt x="201977" y="121368"/>
                    </a:lnTo>
                    <a:lnTo>
                      <a:pt x="206371" y="120004"/>
                    </a:lnTo>
                    <a:lnTo>
                      <a:pt x="211675" y="119398"/>
                    </a:lnTo>
                    <a:lnTo>
                      <a:pt x="214402" y="118792"/>
                    </a:lnTo>
                    <a:lnTo>
                      <a:pt x="219099" y="116671"/>
                    </a:lnTo>
                    <a:lnTo>
                      <a:pt x="225463" y="111368"/>
                    </a:lnTo>
                    <a:lnTo>
                      <a:pt x="230311" y="108186"/>
                    </a:lnTo>
                    <a:lnTo>
                      <a:pt x="236524" y="105307"/>
                    </a:lnTo>
                    <a:lnTo>
                      <a:pt x="245767" y="101670"/>
                    </a:lnTo>
                    <a:lnTo>
                      <a:pt x="252282" y="100004"/>
                    </a:lnTo>
                    <a:lnTo>
                      <a:pt x="258646" y="100004"/>
                    </a:lnTo>
                    <a:lnTo>
                      <a:pt x="261222" y="98943"/>
                    </a:lnTo>
                    <a:lnTo>
                      <a:pt x="265010" y="96367"/>
                    </a:lnTo>
                    <a:lnTo>
                      <a:pt x="269404" y="94700"/>
                    </a:lnTo>
                    <a:lnTo>
                      <a:pt x="271677" y="93337"/>
                    </a:lnTo>
                    <a:lnTo>
                      <a:pt x="273646" y="91215"/>
                    </a:lnTo>
                    <a:lnTo>
                      <a:pt x="274858" y="89397"/>
                    </a:lnTo>
                    <a:lnTo>
                      <a:pt x="275313" y="87276"/>
                    </a:lnTo>
                    <a:lnTo>
                      <a:pt x="274404" y="86518"/>
                    </a:lnTo>
                    <a:lnTo>
                      <a:pt x="273949" y="85003"/>
                    </a:lnTo>
                    <a:lnTo>
                      <a:pt x="276374" y="83185"/>
                    </a:lnTo>
                    <a:lnTo>
                      <a:pt x="276071" y="80155"/>
                    </a:lnTo>
                    <a:lnTo>
                      <a:pt x="278495" y="81064"/>
                    </a:lnTo>
                    <a:lnTo>
                      <a:pt x="282889" y="81518"/>
                    </a:lnTo>
                    <a:lnTo>
                      <a:pt x="285465" y="80306"/>
                    </a:lnTo>
                    <a:lnTo>
                      <a:pt x="288041" y="78488"/>
                    </a:lnTo>
                    <a:lnTo>
                      <a:pt x="290617" y="75003"/>
                    </a:lnTo>
                    <a:lnTo>
                      <a:pt x="291374" y="72730"/>
                    </a:lnTo>
                    <a:lnTo>
                      <a:pt x="291374" y="70760"/>
                    </a:lnTo>
                    <a:lnTo>
                      <a:pt x="290617" y="69245"/>
                    </a:lnTo>
                    <a:lnTo>
                      <a:pt x="292738" y="68184"/>
                    </a:lnTo>
                    <a:lnTo>
                      <a:pt x="296223" y="68184"/>
                    </a:lnTo>
                    <a:lnTo>
                      <a:pt x="297587" y="67275"/>
                    </a:lnTo>
                    <a:lnTo>
                      <a:pt x="298496" y="65760"/>
                    </a:lnTo>
                    <a:lnTo>
                      <a:pt x="298799" y="6454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6" name="Freeform: Shape 3255">
                <a:extLst>
                  <a:ext uri="{FF2B5EF4-FFF2-40B4-BE49-F238E27FC236}">
                    <a16:creationId xmlns:a16="http://schemas.microsoft.com/office/drawing/2014/main" id="{4FB4E4C9-F034-4974-8552-DF7384774084}"/>
                  </a:ext>
                </a:extLst>
              </p:cNvPr>
              <p:cNvSpPr/>
              <p:nvPr/>
            </p:nvSpPr>
            <p:spPr>
              <a:xfrm>
                <a:off x="6981487" y="3420285"/>
                <a:ext cx="527746" cy="446683"/>
              </a:xfrm>
              <a:custGeom>
                <a:avLst/>
                <a:gdLst>
                  <a:gd name="connsiteX0" fmla="*/ 329861 w 527746"/>
                  <a:gd name="connsiteY0" fmla="*/ 390014 h 446683"/>
                  <a:gd name="connsiteX1" fmla="*/ 325315 w 527746"/>
                  <a:gd name="connsiteY1" fmla="*/ 392136 h 446683"/>
                  <a:gd name="connsiteX2" fmla="*/ 321224 w 527746"/>
                  <a:gd name="connsiteY2" fmla="*/ 391075 h 446683"/>
                  <a:gd name="connsiteX3" fmla="*/ 320921 w 527746"/>
                  <a:gd name="connsiteY3" fmla="*/ 391530 h 446683"/>
                  <a:gd name="connsiteX4" fmla="*/ 321982 w 527746"/>
                  <a:gd name="connsiteY4" fmla="*/ 393651 h 446683"/>
                  <a:gd name="connsiteX5" fmla="*/ 321375 w 527746"/>
                  <a:gd name="connsiteY5" fmla="*/ 395015 h 446683"/>
                  <a:gd name="connsiteX6" fmla="*/ 315012 w 527746"/>
                  <a:gd name="connsiteY6" fmla="*/ 398045 h 446683"/>
                  <a:gd name="connsiteX7" fmla="*/ 310011 w 527746"/>
                  <a:gd name="connsiteY7" fmla="*/ 399863 h 446683"/>
                  <a:gd name="connsiteX8" fmla="*/ 308648 w 527746"/>
                  <a:gd name="connsiteY8" fmla="*/ 399560 h 446683"/>
                  <a:gd name="connsiteX9" fmla="*/ 308648 w 527746"/>
                  <a:gd name="connsiteY9" fmla="*/ 400166 h 446683"/>
                  <a:gd name="connsiteX10" fmla="*/ 309102 w 527746"/>
                  <a:gd name="connsiteY10" fmla="*/ 401530 h 446683"/>
                  <a:gd name="connsiteX11" fmla="*/ 309860 w 527746"/>
                  <a:gd name="connsiteY11" fmla="*/ 401681 h 446683"/>
                  <a:gd name="connsiteX12" fmla="*/ 312133 w 527746"/>
                  <a:gd name="connsiteY12" fmla="*/ 401833 h 446683"/>
                  <a:gd name="connsiteX13" fmla="*/ 315466 w 527746"/>
                  <a:gd name="connsiteY13" fmla="*/ 400772 h 446683"/>
                  <a:gd name="connsiteX14" fmla="*/ 319103 w 527746"/>
                  <a:gd name="connsiteY14" fmla="*/ 398803 h 446683"/>
                  <a:gd name="connsiteX15" fmla="*/ 321073 w 527746"/>
                  <a:gd name="connsiteY15" fmla="*/ 398651 h 446683"/>
                  <a:gd name="connsiteX16" fmla="*/ 323800 w 527746"/>
                  <a:gd name="connsiteY16" fmla="*/ 397590 h 446683"/>
                  <a:gd name="connsiteX17" fmla="*/ 325012 w 527746"/>
                  <a:gd name="connsiteY17" fmla="*/ 397590 h 446683"/>
                  <a:gd name="connsiteX18" fmla="*/ 326679 w 527746"/>
                  <a:gd name="connsiteY18" fmla="*/ 398499 h 446683"/>
                  <a:gd name="connsiteX19" fmla="*/ 330467 w 527746"/>
                  <a:gd name="connsiteY19" fmla="*/ 395621 h 446683"/>
                  <a:gd name="connsiteX20" fmla="*/ 333043 w 527746"/>
                  <a:gd name="connsiteY20" fmla="*/ 392136 h 446683"/>
                  <a:gd name="connsiteX21" fmla="*/ 335618 w 527746"/>
                  <a:gd name="connsiteY21" fmla="*/ 391227 h 446683"/>
                  <a:gd name="connsiteX22" fmla="*/ 333800 w 527746"/>
                  <a:gd name="connsiteY22" fmla="*/ 389711 h 446683"/>
                  <a:gd name="connsiteX23" fmla="*/ 329861 w 527746"/>
                  <a:gd name="connsiteY23" fmla="*/ 390014 h 446683"/>
                  <a:gd name="connsiteX24" fmla="*/ 526080 w 527746"/>
                  <a:gd name="connsiteY24" fmla="*/ 387135 h 446683"/>
                  <a:gd name="connsiteX25" fmla="*/ 527747 w 527746"/>
                  <a:gd name="connsiteY25" fmla="*/ 385772 h 446683"/>
                  <a:gd name="connsiteX26" fmla="*/ 527595 w 527746"/>
                  <a:gd name="connsiteY26" fmla="*/ 385014 h 446683"/>
                  <a:gd name="connsiteX27" fmla="*/ 526383 w 527746"/>
                  <a:gd name="connsiteY27" fmla="*/ 383347 h 446683"/>
                  <a:gd name="connsiteX28" fmla="*/ 524717 w 527746"/>
                  <a:gd name="connsiteY28" fmla="*/ 382287 h 446683"/>
                  <a:gd name="connsiteX29" fmla="*/ 523959 w 527746"/>
                  <a:gd name="connsiteY29" fmla="*/ 381984 h 446683"/>
                  <a:gd name="connsiteX30" fmla="*/ 517140 w 527746"/>
                  <a:gd name="connsiteY30" fmla="*/ 383044 h 446683"/>
                  <a:gd name="connsiteX31" fmla="*/ 514262 w 527746"/>
                  <a:gd name="connsiteY31" fmla="*/ 382741 h 446683"/>
                  <a:gd name="connsiteX32" fmla="*/ 512898 w 527746"/>
                  <a:gd name="connsiteY32" fmla="*/ 382135 h 446683"/>
                  <a:gd name="connsiteX33" fmla="*/ 512595 w 527746"/>
                  <a:gd name="connsiteY33" fmla="*/ 381681 h 446683"/>
                  <a:gd name="connsiteX34" fmla="*/ 512898 w 527746"/>
                  <a:gd name="connsiteY34" fmla="*/ 380620 h 446683"/>
                  <a:gd name="connsiteX35" fmla="*/ 512898 w 527746"/>
                  <a:gd name="connsiteY35" fmla="*/ 378953 h 446683"/>
                  <a:gd name="connsiteX36" fmla="*/ 513958 w 527746"/>
                  <a:gd name="connsiteY36" fmla="*/ 376378 h 446683"/>
                  <a:gd name="connsiteX37" fmla="*/ 514262 w 527746"/>
                  <a:gd name="connsiteY37" fmla="*/ 374862 h 446683"/>
                  <a:gd name="connsiteX38" fmla="*/ 513504 w 527746"/>
                  <a:gd name="connsiteY38" fmla="*/ 365923 h 446683"/>
                  <a:gd name="connsiteX39" fmla="*/ 512292 w 527746"/>
                  <a:gd name="connsiteY39" fmla="*/ 360013 h 446683"/>
                  <a:gd name="connsiteX40" fmla="*/ 512898 w 527746"/>
                  <a:gd name="connsiteY40" fmla="*/ 354104 h 446683"/>
                  <a:gd name="connsiteX41" fmla="*/ 512746 w 527746"/>
                  <a:gd name="connsiteY41" fmla="*/ 352892 h 446683"/>
                  <a:gd name="connsiteX42" fmla="*/ 512443 w 527746"/>
                  <a:gd name="connsiteY42" fmla="*/ 352589 h 446683"/>
                  <a:gd name="connsiteX43" fmla="*/ 511534 w 527746"/>
                  <a:gd name="connsiteY43" fmla="*/ 352589 h 446683"/>
                  <a:gd name="connsiteX44" fmla="*/ 507292 w 527746"/>
                  <a:gd name="connsiteY44" fmla="*/ 353043 h 446683"/>
                  <a:gd name="connsiteX45" fmla="*/ 503655 w 527746"/>
                  <a:gd name="connsiteY45" fmla="*/ 349255 h 446683"/>
                  <a:gd name="connsiteX46" fmla="*/ 501382 w 527746"/>
                  <a:gd name="connsiteY46" fmla="*/ 347740 h 446683"/>
                  <a:gd name="connsiteX47" fmla="*/ 495321 w 527746"/>
                  <a:gd name="connsiteY47" fmla="*/ 345922 h 446683"/>
                  <a:gd name="connsiteX48" fmla="*/ 492594 w 527746"/>
                  <a:gd name="connsiteY48" fmla="*/ 345619 h 446683"/>
                  <a:gd name="connsiteX49" fmla="*/ 488654 w 527746"/>
                  <a:gd name="connsiteY49" fmla="*/ 343952 h 446683"/>
                  <a:gd name="connsiteX50" fmla="*/ 485018 w 527746"/>
                  <a:gd name="connsiteY50" fmla="*/ 340316 h 446683"/>
                  <a:gd name="connsiteX51" fmla="*/ 481381 w 527746"/>
                  <a:gd name="connsiteY51" fmla="*/ 336679 h 446683"/>
                  <a:gd name="connsiteX52" fmla="*/ 479866 w 527746"/>
                  <a:gd name="connsiteY52" fmla="*/ 334406 h 446683"/>
                  <a:gd name="connsiteX53" fmla="*/ 478200 w 527746"/>
                  <a:gd name="connsiteY53" fmla="*/ 330467 h 446683"/>
                  <a:gd name="connsiteX54" fmla="*/ 473502 w 527746"/>
                  <a:gd name="connsiteY54" fmla="*/ 322739 h 446683"/>
                  <a:gd name="connsiteX55" fmla="*/ 473502 w 527746"/>
                  <a:gd name="connsiteY55" fmla="*/ 320769 h 446683"/>
                  <a:gd name="connsiteX56" fmla="*/ 472896 w 527746"/>
                  <a:gd name="connsiteY56" fmla="*/ 319557 h 446683"/>
                  <a:gd name="connsiteX57" fmla="*/ 468351 w 527746"/>
                  <a:gd name="connsiteY57" fmla="*/ 314557 h 446683"/>
                  <a:gd name="connsiteX58" fmla="*/ 465169 w 527746"/>
                  <a:gd name="connsiteY58" fmla="*/ 310921 h 446683"/>
                  <a:gd name="connsiteX59" fmla="*/ 460017 w 527746"/>
                  <a:gd name="connsiteY59" fmla="*/ 305163 h 446683"/>
                  <a:gd name="connsiteX60" fmla="*/ 460623 w 527746"/>
                  <a:gd name="connsiteY60" fmla="*/ 304405 h 446683"/>
                  <a:gd name="connsiteX61" fmla="*/ 467138 w 527746"/>
                  <a:gd name="connsiteY61" fmla="*/ 297132 h 446683"/>
                  <a:gd name="connsiteX62" fmla="*/ 473351 w 527746"/>
                  <a:gd name="connsiteY62" fmla="*/ 290162 h 446683"/>
                  <a:gd name="connsiteX63" fmla="*/ 479563 w 527746"/>
                  <a:gd name="connsiteY63" fmla="*/ 283041 h 446683"/>
                  <a:gd name="connsiteX64" fmla="*/ 485776 w 527746"/>
                  <a:gd name="connsiteY64" fmla="*/ 276071 h 446683"/>
                  <a:gd name="connsiteX65" fmla="*/ 486533 w 527746"/>
                  <a:gd name="connsiteY65" fmla="*/ 273647 h 446683"/>
                  <a:gd name="connsiteX66" fmla="*/ 486685 w 527746"/>
                  <a:gd name="connsiteY66" fmla="*/ 268798 h 446683"/>
                  <a:gd name="connsiteX67" fmla="*/ 485018 w 527746"/>
                  <a:gd name="connsiteY67" fmla="*/ 262434 h 446683"/>
                  <a:gd name="connsiteX68" fmla="*/ 482442 w 527746"/>
                  <a:gd name="connsiteY68" fmla="*/ 259555 h 446683"/>
                  <a:gd name="connsiteX69" fmla="*/ 473805 w 527746"/>
                  <a:gd name="connsiteY69" fmla="*/ 258343 h 446683"/>
                  <a:gd name="connsiteX70" fmla="*/ 467290 w 527746"/>
                  <a:gd name="connsiteY70" fmla="*/ 257434 h 446683"/>
                  <a:gd name="connsiteX71" fmla="*/ 460320 w 527746"/>
                  <a:gd name="connsiteY71" fmla="*/ 256525 h 446683"/>
                  <a:gd name="connsiteX72" fmla="*/ 459411 w 527746"/>
                  <a:gd name="connsiteY72" fmla="*/ 256222 h 446683"/>
                  <a:gd name="connsiteX73" fmla="*/ 458653 w 527746"/>
                  <a:gd name="connsiteY73" fmla="*/ 251221 h 446683"/>
                  <a:gd name="connsiteX74" fmla="*/ 458957 w 527746"/>
                  <a:gd name="connsiteY74" fmla="*/ 248949 h 446683"/>
                  <a:gd name="connsiteX75" fmla="*/ 458502 w 527746"/>
                  <a:gd name="connsiteY75" fmla="*/ 244706 h 446683"/>
                  <a:gd name="connsiteX76" fmla="*/ 458502 w 527746"/>
                  <a:gd name="connsiteY76" fmla="*/ 241373 h 446683"/>
                  <a:gd name="connsiteX77" fmla="*/ 459562 w 527746"/>
                  <a:gd name="connsiteY77" fmla="*/ 235918 h 446683"/>
                  <a:gd name="connsiteX78" fmla="*/ 459562 w 527746"/>
                  <a:gd name="connsiteY78" fmla="*/ 233493 h 446683"/>
                  <a:gd name="connsiteX79" fmla="*/ 456380 w 527746"/>
                  <a:gd name="connsiteY79" fmla="*/ 222887 h 446683"/>
                  <a:gd name="connsiteX80" fmla="*/ 454562 w 527746"/>
                  <a:gd name="connsiteY80" fmla="*/ 216978 h 446683"/>
                  <a:gd name="connsiteX81" fmla="*/ 452744 w 527746"/>
                  <a:gd name="connsiteY81" fmla="*/ 210917 h 446683"/>
                  <a:gd name="connsiteX82" fmla="*/ 452290 w 527746"/>
                  <a:gd name="connsiteY82" fmla="*/ 208947 h 446683"/>
                  <a:gd name="connsiteX83" fmla="*/ 452290 w 527746"/>
                  <a:gd name="connsiteY83" fmla="*/ 206523 h 446683"/>
                  <a:gd name="connsiteX84" fmla="*/ 456532 w 527746"/>
                  <a:gd name="connsiteY84" fmla="*/ 200917 h 446683"/>
                  <a:gd name="connsiteX85" fmla="*/ 457896 w 527746"/>
                  <a:gd name="connsiteY85" fmla="*/ 199704 h 446683"/>
                  <a:gd name="connsiteX86" fmla="*/ 460471 w 527746"/>
                  <a:gd name="connsiteY86" fmla="*/ 196825 h 446683"/>
                  <a:gd name="connsiteX87" fmla="*/ 461987 w 527746"/>
                  <a:gd name="connsiteY87" fmla="*/ 195310 h 446683"/>
                  <a:gd name="connsiteX88" fmla="*/ 461684 w 527746"/>
                  <a:gd name="connsiteY88" fmla="*/ 194250 h 446683"/>
                  <a:gd name="connsiteX89" fmla="*/ 458957 w 527746"/>
                  <a:gd name="connsiteY89" fmla="*/ 193643 h 446683"/>
                  <a:gd name="connsiteX90" fmla="*/ 454865 w 527746"/>
                  <a:gd name="connsiteY90" fmla="*/ 193643 h 446683"/>
                  <a:gd name="connsiteX91" fmla="*/ 452592 w 527746"/>
                  <a:gd name="connsiteY91" fmla="*/ 192734 h 446683"/>
                  <a:gd name="connsiteX92" fmla="*/ 450926 w 527746"/>
                  <a:gd name="connsiteY92" fmla="*/ 191219 h 446683"/>
                  <a:gd name="connsiteX93" fmla="*/ 450168 w 527746"/>
                  <a:gd name="connsiteY93" fmla="*/ 188946 h 446683"/>
                  <a:gd name="connsiteX94" fmla="*/ 451229 w 527746"/>
                  <a:gd name="connsiteY94" fmla="*/ 185007 h 446683"/>
                  <a:gd name="connsiteX95" fmla="*/ 450168 w 527746"/>
                  <a:gd name="connsiteY95" fmla="*/ 177279 h 446683"/>
                  <a:gd name="connsiteX96" fmla="*/ 452441 w 527746"/>
                  <a:gd name="connsiteY96" fmla="*/ 173491 h 446683"/>
                  <a:gd name="connsiteX97" fmla="*/ 454411 w 527746"/>
                  <a:gd name="connsiteY97" fmla="*/ 170764 h 446683"/>
                  <a:gd name="connsiteX98" fmla="*/ 461229 w 527746"/>
                  <a:gd name="connsiteY98" fmla="*/ 170461 h 446683"/>
                  <a:gd name="connsiteX99" fmla="*/ 458957 w 527746"/>
                  <a:gd name="connsiteY99" fmla="*/ 167430 h 446683"/>
                  <a:gd name="connsiteX100" fmla="*/ 457896 w 527746"/>
                  <a:gd name="connsiteY100" fmla="*/ 165612 h 446683"/>
                  <a:gd name="connsiteX101" fmla="*/ 457138 w 527746"/>
                  <a:gd name="connsiteY101" fmla="*/ 165158 h 446683"/>
                  <a:gd name="connsiteX102" fmla="*/ 456835 w 527746"/>
                  <a:gd name="connsiteY102" fmla="*/ 164400 h 446683"/>
                  <a:gd name="connsiteX103" fmla="*/ 457138 w 527746"/>
                  <a:gd name="connsiteY103" fmla="*/ 163642 h 446683"/>
                  <a:gd name="connsiteX104" fmla="*/ 458805 w 527746"/>
                  <a:gd name="connsiteY104" fmla="*/ 163339 h 446683"/>
                  <a:gd name="connsiteX105" fmla="*/ 460017 w 527746"/>
                  <a:gd name="connsiteY105" fmla="*/ 162279 h 446683"/>
                  <a:gd name="connsiteX106" fmla="*/ 461987 w 527746"/>
                  <a:gd name="connsiteY106" fmla="*/ 160915 h 446683"/>
                  <a:gd name="connsiteX107" fmla="*/ 463047 w 527746"/>
                  <a:gd name="connsiteY107" fmla="*/ 160309 h 446683"/>
                  <a:gd name="connsiteX108" fmla="*/ 463199 w 527746"/>
                  <a:gd name="connsiteY108" fmla="*/ 158642 h 446683"/>
                  <a:gd name="connsiteX109" fmla="*/ 464108 w 527746"/>
                  <a:gd name="connsiteY109" fmla="*/ 157430 h 446683"/>
                  <a:gd name="connsiteX110" fmla="*/ 465472 w 527746"/>
                  <a:gd name="connsiteY110" fmla="*/ 155915 h 446683"/>
                  <a:gd name="connsiteX111" fmla="*/ 466533 w 527746"/>
                  <a:gd name="connsiteY111" fmla="*/ 154248 h 446683"/>
                  <a:gd name="connsiteX112" fmla="*/ 466229 w 527746"/>
                  <a:gd name="connsiteY112" fmla="*/ 152278 h 446683"/>
                  <a:gd name="connsiteX113" fmla="*/ 467290 w 527746"/>
                  <a:gd name="connsiteY113" fmla="*/ 149854 h 446683"/>
                  <a:gd name="connsiteX114" fmla="*/ 467745 w 527746"/>
                  <a:gd name="connsiteY114" fmla="*/ 148339 h 446683"/>
                  <a:gd name="connsiteX115" fmla="*/ 468502 w 527746"/>
                  <a:gd name="connsiteY115" fmla="*/ 146975 h 446683"/>
                  <a:gd name="connsiteX116" fmla="*/ 467896 w 527746"/>
                  <a:gd name="connsiteY116" fmla="*/ 145005 h 446683"/>
                  <a:gd name="connsiteX117" fmla="*/ 467290 w 527746"/>
                  <a:gd name="connsiteY117" fmla="*/ 143339 h 446683"/>
                  <a:gd name="connsiteX118" fmla="*/ 467138 w 527746"/>
                  <a:gd name="connsiteY118" fmla="*/ 141369 h 446683"/>
                  <a:gd name="connsiteX119" fmla="*/ 468199 w 527746"/>
                  <a:gd name="connsiteY119" fmla="*/ 140914 h 446683"/>
                  <a:gd name="connsiteX120" fmla="*/ 469563 w 527746"/>
                  <a:gd name="connsiteY120" fmla="*/ 140157 h 446683"/>
                  <a:gd name="connsiteX121" fmla="*/ 469866 w 527746"/>
                  <a:gd name="connsiteY121" fmla="*/ 138642 h 446683"/>
                  <a:gd name="connsiteX122" fmla="*/ 470623 w 527746"/>
                  <a:gd name="connsiteY122" fmla="*/ 136672 h 446683"/>
                  <a:gd name="connsiteX123" fmla="*/ 471230 w 527746"/>
                  <a:gd name="connsiteY123" fmla="*/ 135156 h 446683"/>
                  <a:gd name="connsiteX124" fmla="*/ 472139 w 527746"/>
                  <a:gd name="connsiteY124" fmla="*/ 133944 h 446683"/>
                  <a:gd name="connsiteX125" fmla="*/ 472290 w 527746"/>
                  <a:gd name="connsiteY125" fmla="*/ 132732 h 446683"/>
                  <a:gd name="connsiteX126" fmla="*/ 471684 w 527746"/>
                  <a:gd name="connsiteY126" fmla="*/ 130611 h 446683"/>
                  <a:gd name="connsiteX127" fmla="*/ 471078 w 527746"/>
                  <a:gd name="connsiteY127" fmla="*/ 129399 h 446683"/>
                  <a:gd name="connsiteX128" fmla="*/ 470926 w 527746"/>
                  <a:gd name="connsiteY128" fmla="*/ 128035 h 446683"/>
                  <a:gd name="connsiteX129" fmla="*/ 471533 w 527746"/>
                  <a:gd name="connsiteY129" fmla="*/ 126217 h 446683"/>
                  <a:gd name="connsiteX130" fmla="*/ 471381 w 527746"/>
                  <a:gd name="connsiteY130" fmla="*/ 122883 h 446683"/>
                  <a:gd name="connsiteX131" fmla="*/ 470169 w 527746"/>
                  <a:gd name="connsiteY131" fmla="*/ 120459 h 446683"/>
                  <a:gd name="connsiteX132" fmla="*/ 468654 w 527746"/>
                  <a:gd name="connsiteY132" fmla="*/ 119398 h 446683"/>
                  <a:gd name="connsiteX133" fmla="*/ 468805 w 527746"/>
                  <a:gd name="connsiteY133" fmla="*/ 118641 h 446683"/>
                  <a:gd name="connsiteX134" fmla="*/ 469412 w 527746"/>
                  <a:gd name="connsiteY134" fmla="*/ 116974 h 446683"/>
                  <a:gd name="connsiteX135" fmla="*/ 470169 w 527746"/>
                  <a:gd name="connsiteY135" fmla="*/ 115459 h 446683"/>
                  <a:gd name="connsiteX136" fmla="*/ 470169 w 527746"/>
                  <a:gd name="connsiteY136" fmla="*/ 112580 h 446683"/>
                  <a:gd name="connsiteX137" fmla="*/ 469108 w 527746"/>
                  <a:gd name="connsiteY137" fmla="*/ 109550 h 446683"/>
                  <a:gd name="connsiteX138" fmla="*/ 468654 w 527746"/>
                  <a:gd name="connsiteY138" fmla="*/ 105155 h 446683"/>
                  <a:gd name="connsiteX139" fmla="*/ 468957 w 527746"/>
                  <a:gd name="connsiteY139" fmla="*/ 100761 h 446683"/>
                  <a:gd name="connsiteX140" fmla="*/ 467593 w 527746"/>
                  <a:gd name="connsiteY140" fmla="*/ 98488 h 446683"/>
                  <a:gd name="connsiteX141" fmla="*/ 456380 w 527746"/>
                  <a:gd name="connsiteY141" fmla="*/ 98488 h 446683"/>
                  <a:gd name="connsiteX142" fmla="*/ 446380 w 527746"/>
                  <a:gd name="connsiteY142" fmla="*/ 98640 h 446683"/>
                  <a:gd name="connsiteX143" fmla="*/ 445774 w 527746"/>
                  <a:gd name="connsiteY143" fmla="*/ 98186 h 446683"/>
                  <a:gd name="connsiteX144" fmla="*/ 441835 w 527746"/>
                  <a:gd name="connsiteY144" fmla="*/ 92731 h 446683"/>
                  <a:gd name="connsiteX145" fmla="*/ 438653 w 527746"/>
                  <a:gd name="connsiteY145" fmla="*/ 88488 h 446683"/>
                  <a:gd name="connsiteX146" fmla="*/ 435471 w 527746"/>
                  <a:gd name="connsiteY146" fmla="*/ 86064 h 446683"/>
                  <a:gd name="connsiteX147" fmla="*/ 428349 w 527746"/>
                  <a:gd name="connsiteY147" fmla="*/ 83034 h 446683"/>
                  <a:gd name="connsiteX148" fmla="*/ 424864 w 527746"/>
                  <a:gd name="connsiteY148" fmla="*/ 81821 h 446683"/>
                  <a:gd name="connsiteX149" fmla="*/ 421985 w 527746"/>
                  <a:gd name="connsiteY149" fmla="*/ 79548 h 446683"/>
                  <a:gd name="connsiteX150" fmla="*/ 419561 w 527746"/>
                  <a:gd name="connsiteY150" fmla="*/ 76973 h 446683"/>
                  <a:gd name="connsiteX151" fmla="*/ 418955 w 527746"/>
                  <a:gd name="connsiteY151" fmla="*/ 73488 h 446683"/>
                  <a:gd name="connsiteX152" fmla="*/ 418500 w 527746"/>
                  <a:gd name="connsiteY152" fmla="*/ 72275 h 446683"/>
                  <a:gd name="connsiteX153" fmla="*/ 417743 w 527746"/>
                  <a:gd name="connsiteY153" fmla="*/ 71366 h 446683"/>
                  <a:gd name="connsiteX154" fmla="*/ 416985 w 527746"/>
                  <a:gd name="connsiteY154" fmla="*/ 70912 h 446683"/>
                  <a:gd name="connsiteX155" fmla="*/ 416076 w 527746"/>
                  <a:gd name="connsiteY155" fmla="*/ 71063 h 446683"/>
                  <a:gd name="connsiteX156" fmla="*/ 407742 w 527746"/>
                  <a:gd name="connsiteY156" fmla="*/ 66972 h 446683"/>
                  <a:gd name="connsiteX157" fmla="*/ 404409 w 527746"/>
                  <a:gd name="connsiteY157" fmla="*/ 65912 h 446683"/>
                  <a:gd name="connsiteX158" fmla="*/ 401227 w 527746"/>
                  <a:gd name="connsiteY158" fmla="*/ 66821 h 446683"/>
                  <a:gd name="connsiteX159" fmla="*/ 399863 w 527746"/>
                  <a:gd name="connsiteY159" fmla="*/ 66972 h 446683"/>
                  <a:gd name="connsiteX160" fmla="*/ 397136 w 527746"/>
                  <a:gd name="connsiteY160" fmla="*/ 65760 h 446683"/>
                  <a:gd name="connsiteX161" fmla="*/ 393954 w 527746"/>
                  <a:gd name="connsiteY161" fmla="*/ 67275 h 446683"/>
                  <a:gd name="connsiteX162" fmla="*/ 392590 w 527746"/>
                  <a:gd name="connsiteY162" fmla="*/ 67427 h 446683"/>
                  <a:gd name="connsiteX163" fmla="*/ 390772 w 527746"/>
                  <a:gd name="connsiteY163" fmla="*/ 67124 h 446683"/>
                  <a:gd name="connsiteX164" fmla="*/ 389257 w 527746"/>
                  <a:gd name="connsiteY164" fmla="*/ 66518 h 446683"/>
                  <a:gd name="connsiteX165" fmla="*/ 385014 w 527746"/>
                  <a:gd name="connsiteY165" fmla="*/ 62881 h 446683"/>
                  <a:gd name="connsiteX166" fmla="*/ 381529 w 527746"/>
                  <a:gd name="connsiteY166" fmla="*/ 61366 h 446683"/>
                  <a:gd name="connsiteX167" fmla="*/ 378954 w 527746"/>
                  <a:gd name="connsiteY167" fmla="*/ 60457 h 446683"/>
                  <a:gd name="connsiteX168" fmla="*/ 374105 w 527746"/>
                  <a:gd name="connsiteY168" fmla="*/ 59093 h 446683"/>
                  <a:gd name="connsiteX169" fmla="*/ 368953 w 527746"/>
                  <a:gd name="connsiteY169" fmla="*/ 58336 h 446683"/>
                  <a:gd name="connsiteX170" fmla="*/ 366225 w 527746"/>
                  <a:gd name="connsiteY170" fmla="*/ 57730 h 446683"/>
                  <a:gd name="connsiteX171" fmla="*/ 364256 w 527746"/>
                  <a:gd name="connsiteY171" fmla="*/ 56972 h 446683"/>
                  <a:gd name="connsiteX172" fmla="*/ 363802 w 527746"/>
                  <a:gd name="connsiteY172" fmla="*/ 56517 h 446683"/>
                  <a:gd name="connsiteX173" fmla="*/ 363802 w 527746"/>
                  <a:gd name="connsiteY173" fmla="*/ 55154 h 446683"/>
                  <a:gd name="connsiteX174" fmla="*/ 363650 w 527746"/>
                  <a:gd name="connsiteY174" fmla="*/ 53335 h 446683"/>
                  <a:gd name="connsiteX175" fmla="*/ 363044 w 527746"/>
                  <a:gd name="connsiteY175" fmla="*/ 51972 h 446683"/>
                  <a:gd name="connsiteX176" fmla="*/ 361680 w 527746"/>
                  <a:gd name="connsiteY176" fmla="*/ 50456 h 446683"/>
                  <a:gd name="connsiteX177" fmla="*/ 359862 w 527746"/>
                  <a:gd name="connsiteY177" fmla="*/ 49244 h 446683"/>
                  <a:gd name="connsiteX178" fmla="*/ 356680 w 527746"/>
                  <a:gd name="connsiteY178" fmla="*/ 49396 h 446683"/>
                  <a:gd name="connsiteX179" fmla="*/ 351983 w 527746"/>
                  <a:gd name="connsiteY179" fmla="*/ 49244 h 446683"/>
                  <a:gd name="connsiteX180" fmla="*/ 348346 w 527746"/>
                  <a:gd name="connsiteY180" fmla="*/ 48032 h 446683"/>
                  <a:gd name="connsiteX181" fmla="*/ 345467 w 527746"/>
                  <a:gd name="connsiteY181" fmla="*/ 47881 h 446683"/>
                  <a:gd name="connsiteX182" fmla="*/ 341983 w 527746"/>
                  <a:gd name="connsiteY182" fmla="*/ 48032 h 446683"/>
                  <a:gd name="connsiteX183" fmla="*/ 339104 w 527746"/>
                  <a:gd name="connsiteY183" fmla="*/ 48032 h 446683"/>
                  <a:gd name="connsiteX184" fmla="*/ 337134 w 527746"/>
                  <a:gd name="connsiteY184" fmla="*/ 48941 h 446683"/>
                  <a:gd name="connsiteX185" fmla="*/ 335921 w 527746"/>
                  <a:gd name="connsiteY185" fmla="*/ 50002 h 446683"/>
                  <a:gd name="connsiteX186" fmla="*/ 335164 w 527746"/>
                  <a:gd name="connsiteY186" fmla="*/ 53032 h 446683"/>
                  <a:gd name="connsiteX187" fmla="*/ 334406 w 527746"/>
                  <a:gd name="connsiteY187" fmla="*/ 53487 h 446683"/>
                  <a:gd name="connsiteX188" fmla="*/ 333194 w 527746"/>
                  <a:gd name="connsiteY188" fmla="*/ 53638 h 446683"/>
                  <a:gd name="connsiteX189" fmla="*/ 331679 w 527746"/>
                  <a:gd name="connsiteY189" fmla="*/ 53487 h 446683"/>
                  <a:gd name="connsiteX190" fmla="*/ 328345 w 527746"/>
                  <a:gd name="connsiteY190" fmla="*/ 53487 h 446683"/>
                  <a:gd name="connsiteX191" fmla="*/ 322588 w 527746"/>
                  <a:gd name="connsiteY191" fmla="*/ 52881 h 446683"/>
                  <a:gd name="connsiteX192" fmla="*/ 315466 w 527746"/>
                  <a:gd name="connsiteY192" fmla="*/ 52729 h 446683"/>
                  <a:gd name="connsiteX193" fmla="*/ 310011 w 527746"/>
                  <a:gd name="connsiteY193" fmla="*/ 54244 h 446683"/>
                  <a:gd name="connsiteX194" fmla="*/ 305769 w 527746"/>
                  <a:gd name="connsiteY194" fmla="*/ 56517 h 446683"/>
                  <a:gd name="connsiteX195" fmla="*/ 301678 w 527746"/>
                  <a:gd name="connsiteY195" fmla="*/ 58942 h 446683"/>
                  <a:gd name="connsiteX196" fmla="*/ 296829 w 527746"/>
                  <a:gd name="connsiteY196" fmla="*/ 62881 h 446683"/>
                  <a:gd name="connsiteX197" fmla="*/ 296375 w 527746"/>
                  <a:gd name="connsiteY197" fmla="*/ 64245 h 446683"/>
                  <a:gd name="connsiteX198" fmla="*/ 293496 w 527746"/>
                  <a:gd name="connsiteY198" fmla="*/ 71215 h 446683"/>
                  <a:gd name="connsiteX199" fmla="*/ 292284 w 527746"/>
                  <a:gd name="connsiteY199" fmla="*/ 72275 h 446683"/>
                  <a:gd name="connsiteX200" fmla="*/ 290617 w 527746"/>
                  <a:gd name="connsiteY200" fmla="*/ 73033 h 446683"/>
                  <a:gd name="connsiteX201" fmla="*/ 288950 w 527746"/>
                  <a:gd name="connsiteY201" fmla="*/ 73185 h 446683"/>
                  <a:gd name="connsiteX202" fmla="*/ 285617 w 527746"/>
                  <a:gd name="connsiteY202" fmla="*/ 74245 h 446683"/>
                  <a:gd name="connsiteX203" fmla="*/ 281223 w 527746"/>
                  <a:gd name="connsiteY203" fmla="*/ 75912 h 446683"/>
                  <a:gd name="connsiteX204" fmla="*/ 278192 w 527746"/>
                  <a:gd name="connsiteY204" fmla="*/ 76518 h 446683"/>
                  <a:gd name="connsiteX205" fmla="*/ 270616 w 527746"/>
                  <a:gd name="connsiteY205" fmla="*/ 76215 h 446683"/>
                  <a:gd name="connsiteX206" fmla="*/ 271677 w 527746"/>
                  <a:gd name="connsiteY206" fmla="*/ 81367 h 446683"/>
                  <a:gd name="connsiteX207" fmla="*/ 273495 w 527746"/>
                  <a:gd name="connsiteY207" fmla="*/ 88488 h 446683"/>
                  <a:gd name="connsiteX208" fmla="*/ 273646 w 527746"/>
                  <a:gd name="connsiteY208" fmla="*/ 90155 h 446683"/>
                  <a:gd name="connsiteX209" fmla="*/ 273495 w 527746"/>
                  <a:gd name="connsiteY209" fmla="*/ 91822 h 446683"/>
                  <a:gd name="connsiteX210" fmla="*/ 272283 w 527746"/>
                  <a:gd name="connsiteY210" fmla="*/ 92731 h 446683"/>
                  <a:gd name="connsiteX211" fmla="*/ 270465 w 527746"/>
                  <a:gd name="connsiteY211" fmla="*/ 92882 h 446683"/>
                  <a:gd name="connsiteX212" fmla="*/ 266677 w 527746"/>
                  <a:gd name="connsiteY212" fmla="*/ 92731 h 446683"/>
                  <a:gd name="connsiteX213" fmla="*/ 264252 w 527746"/>
                  <a:gd name="connsiteY213" fmla="*/ 91670 h 446683"/>
                  <a:gd name="connsiteX214" fmla="*/ 268343 w 527746"/>
                  <a:gd name="connsiteY214" fmla="*/ 90761 h 446683"/>
                  <a:gd name="connsiteX215" fmla="*/ 270768 w 527746"/>
                  <a:gd name="connsiteY215" fmla="*/ 89246 h 446683"/>
                  <a:gd name="connsiteX216" fmla="*/ 266677 w 527746"/>
                  <a:gd name="connsiteY216" fmla="*/ 89246 h 446683"/>
                  <a:gd name="connsiteX217" fmla="*/ 255918 w 527746"/>
                  <a:gd name="connsiteY217" fmla="*/ 91216 h 446683"/>
                  <a:gd name="connsiteX218" fmla="*/ 223493 w 527746"/>
                  <a:gd name="connsiteY218" fmla="*/ 98943 h 446683"/>
                  <a:gd name="connsiteX219" fmla="*/ 211826 w 527746"/>
                  <a:gd name="connsiteY219" fmla="*/ 99095 h 446683"/>
                  <a:gd name="connsiteX220" fmla="*/ 194250 w 527746"/>
                  <a:gd name="connsiteY220" fmla="*/ 95155 h 446683"/>
                  <a:gd name="connsiteX221" fmla="*/ 188946 w 527746"/>
                  <a:gd name="connsiteY221" fmla="*/ 93034 h 446683"/>
                  <a:gd name="connsiteX222" fmla="*/ 178189 w 527746"/>
                  <a:gd name="connsiteY222" fmla="*/ 86670 h 446683"/>
                  <a:gd name="connsiteX223" fmla="*/ 172885 w 527746"/>
                  <a:gd name="connsiteY223" fmla="*/ 82427 h 446683"/>
                  <a:gd name="connsiteX224" fmla="*/ 169552 w 527746"/>
                  <a:gd name="connsiteY224" fmla="*/ 76518 h 446683"/>
                  <a:gd name="connsiteX225" fmla="*/ 168491 w 527746"/>
                  <a:gd name="connsiteY225" fmla="*/ 75306 h 446683"/>
                  <a:gd name="connsiteX226" fmla="*/ 167279 w 527746"/>
                  <a:gd name="connsiteY226" fmla="*/ 74397 h 446683"/>
                  <a:gd name="connsiteX227" fmla="*/ 163188 w 527746"/>
                  <a:gd name="connsiteY227" fmla="*/ 73185 h 446683"/>
                  <a:gd name="connsiteX228" fmla="*/ 156218 w 527746"/>
                  <a:gd name="connsiteY228" fmla="*/ 72124 h 446683"/>
                  <a:gd name="connsiteX229" fmla="*/ 149248 w 527746"/>
                  <a:gd name="connsiteY229" fmla="*/ 71669 h 446683"/>
                  <a:gd name="connsiteX230" fmla="*/ 146520 w 527746"/>
                  <a:gd name="connsiteY230" fmla="*/ 70912 h 446683"/>
                  <a:gd name="connsiteX231" fmla="*/ 141066 w 527746"/>
                  <a:gd name="connsiteY231" fmla="*/ 68336 h 446683"/>
                  <a:gd name="connsiteX232" fmla="*/ 138641 w 527746"/>
                  <a:gd name="connsiteY232" fmla="*/ 66215 h 446683"/>
                  <a:gd name="connsiteX233" fmla="*/ 136823 w 527746"/>
                  <a:gd name="connsiteY233" fmla="*/ 62730 h 446683"/>
                  <a:gd name="connsiteX234" fmla="*/ 135308 w 527746"/>
                  <a:gd name="connsiteY234" fmla="*/ 59093 h 446683"/>
                  <a:gd name="connsiteX235" fmla="*/ 134399 w 527746"/>
                  <a:gd name="connsiteY235" fmla="*/ 55154 h 446683"/>
                  <a:gd name="connsiteX236" fmla="*/ 133793 w 527746"/>
                  <a:gd name="connsiteY236" fmla="*/ 51063 h 446683"/>
                  <a:gd name="connsiteX237" fmla="*/ 132884 w 527746"/>
                  <a:gd name="connsiteY237" fmla="*/ 43183 h 446683"/>
                  <a:gd name="connsiteX238" fmla="*/ 132884 w 527746"/>
                  <a:gd name="connsiteY238" fmla="*/ 41820 h 446683"/>
                  <a:gd name="connsiteX239" fmla="*/ 132126 w 527746"/>
                  <a:gd name="connsiteY239" fmla="*/ 41820 h 446683"/>
                  <a:gd name="connsiteX240" fmla="*/ 126520 w 527746"/>
                  <a:gd name="connsiteY240" fmla="*/ 43032 h 446683"/>
                  <a:gd name="connsiteX241" fmla="*/ 125308 w 527746"/>
                  <a:gd name="connsiteY241" fmla="*/ 42578 h 446683"/>
                  <a:gd name="connsiteX242" fmla="*/ 120459 w 527746"/>
                  <a:gd name="connsiteY242" fmla="*/ 36971 h 446683"/>
                  <a:gd name="connsiteX243" fmla="*/ 119398 w 527746"/>
                  <a:gd name="connsiteY243" fmla="*/ 36365 h 446683"/>
                  <a:gd name="connsiteX244" fmla="*/ 117277 w 527746"/>
                  <a:gd name="connsiteY244" fmla="*/ 36062 h 446683"/>
                  <a:gd name="connsiteX245" fmla="*/ 116065 w 527746"/>
                  <a:gd name="connsiteY245" fmla="*/ 35153 h 446683"/>
                  <a:gd name="connsiteX246" fmla="*/ 115004 w 527746"/>
                  <a:gd name="connsiteY246" fmla="*/ 33638 h 446683"/>
                  <a:gd name="connsiteX247" fmla="*/ 114398 w 527746"/>
                  <a:gd name="connsiteY247" fmla="*/ 32577 h 446683"/>
                  <a:gd name="connsiteX248" fmla="*/ 109398 w 527746"/>
                  <a:gd name="connsiteY248" fmla="*/ 29547 h 446683"/>
                  <a:gd name="connsiteX249" fmla="*/ 108640 w 527746"/>
                  <a:gd name="connsiteY249" fmla="*/ 28486 h 446683"/>
                  <a:gd name="connsiteX250" fmla="*/ 108489 w 527746"/>
                  <a:gd name="connsiteY250" fmla="*/ 27577 h 446683"/>
                  <a:gd name="connsiteX251" fmla="*/ 109246 w 527746"/>
                  <a:gd name="connsiteY251" fmla="*/ 26668 h 446683"/>
                  <a:gd name="connsiteX252" fmla="*/ 110155 w 527746"/>
                  <a:gd name="connsiteY252" fmla="*/ 25910 h 446683"/>
                  <a:gd name="connsiteX253" fmla="*/ 112580 w 527746"/>
                  <a:gd name="connsiteY253" fmla="*/ 25152 h 446683"/>
                  <a:gd name="connsiteX254" fmla="*/ 115459 w 527746"/>
                  <a:gd name="connsiteY254" fmla="*/ 24547 h 446683"/>
                  <a:gd name="connsiteX255" fmla="*/ 116368 w 527746"/>
                  <a:gd name="connsiteY255" fmla="*/ 24092 h 446683"/>
                  <a:gd name="connsiteX256" fmla="*/ 116822 w 527746"/>
                  <a:gd name="connsiteY256" fmla="*/ 23334 h 446683"/>
                  <a:gd name="connsiteX257" fmla="*/ 116822 w 527746"/>
                  <a:gd name="connsiteY257" fmla="*/ 21971 h 446683"/>
                  <a:gd name="connsiteX258" fmla="*/ 116368 w 527746"/>
                  <a:gd name="connsiteY258" fmla="*/ 20758 h 446683"/>
                  <a:gd name="connsiteX259" fmla="*/ 112277 w 527746"/>
                  <a:gd name="connsiteY259" fmla="*/ 18486 h 446683"/>
                  <a:gd name="connsiteX260" fmla="*/ 111822 w 527746"/>
                  <a:gd name="connsiteY260" fmla="*/ 17425 h 446683"/>
                  <a:gd name="connsiteX261" fmla="*/ 111671 w 527746"/>
                  <a:gd name="connsiteY261" fmla="*/ 16213 h 446683"/>
                  <a:gd name="connsiteX262" fmla="*/ 111974 w 527746"/>
                  <a:gd name="connsiteY262" fmla="*/ 15001 h 446683"/>
                  <a:gd name="connsiteX263" fmla="*/ 112580 w 527746"/>
                  <a:gd name="connsiteY263" fmla="*/ 13940 h 446683"/>
                  <a:gd name="connsiteX264" fmla="*/ 115913 w 527746"/>
                  <a:gd name="connsiteY264" fmla="*/ 12576 h 446683"/>
                  <a:gd name="connsiteX265" fmla="*/ 117731 w 527746"/>
                  <a:gd name="connsiteY265" fmla="*/ 11213 h 446683"/>
                  <a:gd name="connsiteX266" fmla="*/ 116671 w 527746"/>
                  <a:gd name="connsiteY266" fmla="*/ 9697 h 446683"/>
                  <a:gd name="connsiteX267" fmla="*/ 113034 w 527746"/>
                  <a:gd name="connsiteY267" fmla="*/ 6061 h 446683"/>
                  <a:gd name="connsiteX268" fmla="*/ 108792 w 527746"/>
                  <a:gd name="connsiteY268" fmla="*/ 2121 h 446683"/>
                  <a:gd name="connsiteX269" fmla="*/ 105913 w 527746"/>
                  <a:gd name="connsiteY269" fmla="*/ 2121 h 446683"/>
                  <a:gd name="connsiteX270" fmla="*/ 102579 w 527746"/>
                  <a:gd name="connsiteY270" fmla="*/ 3333 h 446683"/>
                  <a:gd name="connsiteX271" fmla="*/ 97428 w 527746"/>
                  <a:gd name="connsiteY271" fmla="*/ 6667 h 446683"/>
                  <a:gd name="connsiteX272" fmla="*/ 94549 w 527746"/>
                  <a:gd name="connsiteY272" fmla="*/ 8182 h 446683"/>
                  <a:gd name="connsiteX273" fmla="*/ 90761 w 527746"/>
                  <a:gd name="connsiteY273" fmla="*/ 10607 h 446683"/>
                  <a:gd name="connsiteX274" fmla="*/ 86670 w 527746"/>
                  <a:gd name="connsiteY274" fmla="*/ 13334 h 446683"/>
                  <a:gd name="connsiteX275" fmla="*/ 83336 w 527746"/>
                  <a:gd name="connsiteY275" fmla="*/ 16213 h 446683"/>
                  <a:gd name="connsiteX276" fmla="*/ 81215 w 527746"/>
                  <a:gd name="connsiteY276" fmla="*/ 18486 h 446683"/>
                  <a:gd name="connsiteX277" fmla="*/ 77427 w 527746"/>
                  <a:gd name="connsiteY277" fmla="*/ 19546 h 446683"/>
                  <a:gd name="connsiteX278" fmla="*/ 75458 w 527746"/>
                  <a:gd name="connsiteY278" fmla="*/ 21516 h 446683"/>
                  <a:gd name="connsiteX279" fmla="*/ 69245 w 527746"/>
                  <a:gd name="connsiteY279" fmla="*/ 27425 h 446683"/>
                  <a:gd name="connsiteX280" fmla="*/ 67427 w 527746"/>
                  <a:gd name="connsiteY280" fmla="*/ 27425 h 446683"/>
                  <a:gd name="connsiteX281" fmla="*/ 62729 w 527746"/>
                  <a:gd name="connsiteY281" fmla="*/ 27274 h 446683"/>
                  <a:gd name="connsiteX282" fmla="*/ 58638 w 527746"/>
                  <a:gd name="connsiteY282" fmla="*/ 28637 h 446683"/>
                  <a:gd name="connsiteX283" fmla="*/ 57123 w 527746"/>
                  <a:gd name="connsiteY283" fmla="*/ 28335 h 446683"/>
                  <a:gd name="connsiteX284" fmla="*/ 51820 w 527746"/>
                  <a:gd name="connsiteY284" fmla="*/ 27425 h 446683"/>
                  <a:gd name="connsiteX285" fmla="*/ 42274 w 527746"/>
                  <a:gd name="connsiteY285" fmla="*/ 25304 h 446683"/>
                  <a:gd name="connsiteX286" fmla="*/ 39698 w 527746"/>
                  <a:gd name="connsiteY286" fmla="*/ 24243 h 446683"/>
                  <a:gd name="connsiteX287" fmla="*/ 37274 w 527746"/>
                  <a:gd name="connsiteY287" fmla="*/ 21364 h 446683"/>
                  <a:gd name="connsiteX288" fmla="*/ 35759 w 527746"/>
                  <a:gd name="connsiteY288" fmla="*/ 20001 h 446683"/>
                  <a:gd name="connsiteX289" fmla="*/ 33638 w 527746"/>
                  <a:gd name="connsiteY289" fmla="*/ 18183 h 446683"/>
                  <a:gd name="connsiteX290" fmla="*/ 31819 w 527746"/>
                  <a:gd name="connsiteY290" fmla="*/ 17576 h 446683"/>
                  <a:gd name="connsiteX291" fmla="*/ 30456 w 527746"/>
                  <a:gd name="connsiteY291" fmla="*/ 16364 h 446683"/>
                  <a:gd name="connsiteX292" fmla="*/ 29698 w 527746"/>
                  <a:gd name="connsiteY292" fmla="*/ 14546 h 446683"/>
                  <a:gd name="connsiteX293" fmla="*/ 28637 w 527746"/>
                  <a:gd name="connsiteY293" fmla="*/ 12879 h 446683"/>
                  <a:gd name="connsiteX294" fmla="*/ 26668 w 527746"/>
                  <a:gd name="connsiteY294" fmla="*/ 10910 h 446683"/>
                  <a:gd name="connsiteX295" fmla="*/ 22274 w 527746"/>
                  <a:gd name="connsiteY295" fmla="*/ 4394 h 446683"/>
                  <a:gd name="connsiteX296" fmla="*/ 21667 w 527746"/>
                  <a:gd name="connsiteY296" fmla="*/ 3637 h 446683"/>
                  <a:gd name="connsiteX297" fmla="*/ 20758 w 527746"/>
                  <a:gd name="connsiteY297" fmla="*/ 3637 h 446683"/>
                  <a:gd name="connsiteX298" fmla="*/ 19243 w 527746"/>
                  <a:gd name="connsiteY298" fmla="*/ 2727 h 446683"/>
                  <a:gd name="connsiteX299" fmla="*/ 15455 w 527746"/>
                  <a:gd name="connsiteY299" fmla="*/ 0 h 446683"/>
                  <a:gd name="connsiteX300" fmla="*/ 13485 w 527746"/>
                  <a:gd name="connsiteY300" fmla="*/ 1212 h 446683"/>
                  <a:gd name="connsiteX301" fmla="*/ 11819 w 527746"/>
                  <a:gd name="connsiteY301" fmla="*/ 3333 h 446683"/>
                  <a:gd name="connsiteX302" fmla="*/ 10000 w 527746"/>
                  <a:gd name="connsiteY302" fmla="*/ 11213 h 446683"/>
                  <a:gd name="connsiteX303" fmla="*/ 8485 w 527746"/>
                  <a:gd name="connsiteY303" fmla="*/ 12122 h 446683"/>
                  <a:gd name="connsiteX304" fmla="*/ 5909 w 527746"/>
                  <a:gd name="connsiteY304" fmla="*/ 12122 h 446683"/>
                  <a:gd name="connsiteX305" fmla="*/ 2727 w 527746"/>
                  <a:gd name="connsiteY305" fmla="*/ 11819 h 446683"/>
                  <a:gd name="connsiteX306" fmla="*/ 606 w 527746"/>
                  <a:gd name="connsiteY306" fmla="*/ 12273 h 446683"/>
                  <a:gd name="connsiteX307" fmla="*/ 0 w 527746"/>
                  <a:gd name="connsiteY307" fmla="*/ 12728 h 446683"/>
                  <a:gd name="connsiteX308" fmla="*/ 303 w 527746"/>
                  <a:gd name="connsiteY308" fmla="*/ 13637 h 446683"/>
                  <a:gd name="connsiteX309" fmla="*/ 909 w 527746"/>
                  <a:gd name="connsiteY309" fmla="*/ 14849 h 446683"/>
                  <a:gd name="connsiteX310" fmla="*/ 1364 w 527746"/>
                  <a:gd name="connsiteY310" fmla="*/ 16516 h 446683"/>
                  <a:gd name="connsiteX311" fmla="*/ 1515 w 527746"/>
                  <a:gd name="connsiteY311" fmla="*/ 17880 h 446683"/>
                  <a:gd name="connsiteX312" fmla="*/ 2727 w 527746"/>
                  <a:gd name="connsiteY312" fmla="*/ 19092 h 446683"/>
                  <a:gd name="connsiteX313" fmla="*/ 4243 w 527746"/>
                  <a:gd name="connsiteY313" fmla="*/ 20304 h 446683"/>
                  <a:gd name="connsiteX314" fmla="*/ 4243 w 527746"/>
                  <a:gd name="connsiteY314" fmla="*/ 21516 h 446683"/>
                  <a:gd name="connsiteX315" fmla="*/ 3940 w 527746"/>
                  <a:gd name="connsiteY315" fmla="*/ 23183 h 446683"/>
                  <a:gd name="connsiteX316" fmla="*/ 3636 w 527746"/>
                  <a:gd name="connsiteY316" fmla="*/ 24395 h 446683"/>
                  <a:gd name="connsiteX317" fmla="*/ 3182 w 527746"/>
                  <a:gd name="connsiteY317" fmla="*/ 25152 h 446683"/>
                  <a:gd name="connsiteX318" fmla="*/ 3940 w 527746"/>
                  <a:gd name="connsiteY318" fmla="*/ 27122 h 446683"/>
                  <a:gd name="connsiteX319" fmla="*/ 5606 w 527746"/>
                  <a:gd name="connsiteY319" fmla="*/ 29395 h 446683"/>
                  <a:gd name="connsiteX320" fmla="*/ 6667 w 527746"/>
                  <a:gd name="connsiteY320" fmla="*/ 30304 h 446683"/>
                  <a:gd name="connsiteX321" fmla="*/ 6212 w 527746"/>
                  <a:gd name="connsiteY321" fmla="*/ 34547 h 446683"/>
                  <a:gd name="connsiteX322" fmla="*/ 6819 w 527746"/>
                  <a:gd name="connsiteY322" fmla="*/ 36517 h 446683"/>
                  <a:gd name="connsiteX323" fmla="*/ 7273 w 527746"/>
                  <a:gd name="connsiteY323" fmla="*/ 39092 h 446683"/>
                  <a:gd name="connsiteX324" fmla="*/ 7121 w 527746"/>
                  <a:gd name="connsiteY324" fmla="*/ 43487 h 446683"/>
                  <a:gd name="connsiteX325" fmla="*/ 7273 w 527746"/>
                  <a:gd name="connsiteY325" fmla="*/ 44547 h 446683"/>
                  <a:gd name="connsiteX326" fmla="*/ 7879 w 527746"/>
                  <a:gd name="connsiteY326" fmla="*/ 44850 h 446683"/>
                  <a:gd name="connsiteX327" fmla="*/ 9394 w 527746"/>
                  <a:gd name="connsiteY327" fmla="*/ 45002 h 446683"/>
                  <a:gd name="connsiteX328" fmla="*/ 10910 w 527746"/>
                  <a:gd name="connsiteY328" fmla="*/ 45456 h 446683"/>
                  <a:gd name="connsiteX329" fmla="*/ 11364 w 527746"/>
                  <a:gd name="connsiteY329" fmla="*/ 46214 h 446683"/>
                  <a:gd name="connsiteX330" fmla="*/ 11364 w 527746"/>
                  <a:gd name="connsiteY330" fmla="*/ 46668 h 446683"/>
                  <a:gd name="connsiteX331" fmla="*/ 9546 w 527746"/>
                  <a:gd name="connsiteY331" fmla="*/ 48638 h 446683"/>
                  <a:gd name="connsiteX332" fmla="*/ 9394 w 527746"/>
                  <a:gd name="connsiteY332" fmla="*/ 50002 h 446683"/>
                  <a:gd name="connsiteX333" fmla="*/ 8788 w 527746"/>
                  <a:gd name="connsiteY333" fmla="*/ 51972 h 446683"/>
                  <a:gd name="connsiteX334" fmla="*/ 8182 w 527746"/>
                  <a:gd name="connsiteY334" fmla="*/ 53184 h 446683"/>
                  <a:gd name="connsiteX335" fmla="*/ 6515 w 527746"/>
                  <a:gd name="connsiteY335" fmla="*/ 55457 h 446683"/>
                  <a:gd name="connsiteX336" fmla="*/ 5455 w 527746"/>
                  <a:gd name="connsiteY336" fmla="*/ 57730 h 446683"/>
                  <a:gd name="connsiteX337" fmla="*/ 5000 w 527746"/>
                  <a:gd name="connsiteY337" fmla="*/ 59548 h 446683"/>
                  <a:gd name="connsiteX338" fmla="*/ 5303 w 527746"/>
                  <a:gd name="connsiteY338" fmla="*/ 60457 h 446683"/>
                  <a:gd name="connsiteX339" fmla="*/ 8333 w 527746"/>
                  <a:gd name="connsiteY339" fmla="*/ 60760 h 446683"/>
                  <a:gd name="connsiteX340" fmla="*/ 10000 w 527746"/>
                  <a:gd name="connsiteY340" fmla="*/ 62124 h 446683"/>
                  <a:gd name="connsiteX341" fmla="*/ 14546 w 527746"/>
                  <a:gd name="connsiteY341" fmla="*/ 64851 h 446683"/>
                  <a:gd name="connsiteX342" fmla="*/ 15304 w 527746"/>
                  <a:gd name="connsiteY342" fmla="*/ 65912 h 446683"/>
                  <a:gd name="connsiteX343" fmla="*/ 14091 w 527746"/>
                  <a:gd name="connsiteY343" fmla="*/ 67578 h 446683"/>
                  <a:gd name="connsiteX344" fmla="*/ 14091 w 527746"/>
                  <a:gd name="connsiteY344" fmla="*/ 68336 h 446683"/>
                  <a:gd name="connsiteX345" fmla="*/ 14698 w 527746"/>
                  <a:gd name="connsiteY345" fmla="*/ 69245 h 446683"/>
                  <a:gd name="connsiteX346" fmla="*/ 15000 w 527746"/>
                  <a:gd name="connsiteY346" fmla="*/ 70760 h 446683"/>
                  <a:gd name="connsiteX347" fmla="*/ 14849 w 527746"/>
                  <a:gd name="connsiteY347" fmla="*/ 72427 h 446683"/>
                  <a:gd name="connsiteX348" fmla="*/ 14849 w 527746"/>
                  <a:gd name="connsiteY348" fmla="*/ 74700 h 446683"/>
                  <a:gd name="connsiteX349" fmla="*/ 15607 w 527746"/>
                  <a:gd name="connsiteY349" fmla="*/ 75003 h 446683"/>
                  <a:gd name="connsiteX350" fmla="*/ 18637 w 527746"/>
                  <a:gd name="connsiteY350" fmla="*/ 77124 h 446683"/>
                  <a:gd name="connsiteX351" fmla="*/ 20758 w 527746"/>
                  <a:gd name="connsiteY351" fmla="*/ 79245 h 446683"/>
                  <a:gd name="connsiteX352" fmla="*/ 20758 w 527746"/>
                  <a:gd name="connsiteY352" fmla="*/ 79851 h 446683"/>
                  <a:gd name="connsiteX353" fmla="*/ 19698 w 527746"/>
                  <a:gd name="connsiteY353" fmla="*/ 81518 h 446683"/>
                  <a:gd name="connsiteX354" fmla="*/ 20001 w 527746"/>
                  <a:gd name="connsiteY354" fmla="*/ 83488 h 446683"/>
                  <a:gd name="connsiteX355" fmla="*/ 20001 w 527746"/>
                  <a:gd name="connsiteY355" fmla="*/ 83943 h 446683"/>
                  <a:gd name="connsiteX356" fmla="*/ 20001 w 527746"/>
                  <a:gd name="connsiteY356" fmla="*/ 84246 h 446683"/>
                  <a:gd name="connsiteX357" fmla="*/ 20910 w 527746"/>
                  <a:gd name="connsiteY357" fmla="*/ 86518 h 446683"/>
                  <a:gd name="connsiteX358" fmla="*/ 23183 w 527746"/>
                  <a:gd name="connsiteY358" fmla="*/ 94852 h 446683"/>
                  <a:gd name="connsiteX359" fmla="*/ 24395 w 527746"/>
                  <a:gd name="connsiteY359" fmla="*/ 95913 h 446683"/>
                  <a:gd name="connsiteX360" fmla="*/ 25910 w 527746"/>
                  <a:gd name="connsiteY360" fmla="*/ 96822 h 446683"/>
                  <a:gd name="connsiteX361" fmla="*/ 26971 w 527746"/>
                  <a:gd name="connsiteY361" fmla="*/ 98034 h 446683"/>
                  <a:gd name="connsiteX362" fmla="*/ 27425 w 527746"/>
                  <a:gd name="connsiteY362" fmla="*/ 99246 h 446683"/>
                  <a:gd name="connsiteX363" fmla="*/ 27274 w 527746"/>
                  <a:gd name="connsiteY363" fmla="*/ 101216 h 446683"/>
                  <a:gd name="connsiteX364" fmla="*/ 27274 w 527746"/>
                  <a:gd name="connsiteY364" fmla="*/ 103489 h 446683"/>
                  <a:gd name="connsiteX365" fmla="*/ 27880 w 527746"/>
                  <a:gd name="connsiteY365" fmla="*/ 105155 h 446683"/>
                  <a:gd name="connsiteX366" fmla="*/ 28789 w 527746"/>
                  <a:gd name="connsiteY366" fmla="*/ 106519 h 446683"/>
                  <a:gd name="connsiteX367" fmla="*/ 29547 w 527746"/>
                  <a:gd name="connsiteY367" fmla="*/ 107125 h 446683"/>
                  <a:gd name="connsiteX368" fmla="*/ 30759 w 527746"/>
                  <a:gd name="connsiteY368" fmla="*/ 107125 h 446683"/>
                  <a:gd name="connsiteX369" fmla="*/ 32122 w 527746"/>
                  <a:gd name="connsiteY369" fmla="*/ 107428 h 446683"/>
                  <a:gd name="connsiteX370" fmla="*/ 33031 w 527746"/>
                  <a:gd name="connsiteY370" fmla="*/ 108640 h 446683"/>
                  <a:gd name="connsiteX371" fmla="*/ 36062 w 527746"/>
                  <a:gd name="connsiteY371" fmla="*/ 118035 h 446683"/>
                  <a:gd name="connsiteX372" fmla="*/ 36365 w 527746"/>
                  <a:gd name="connsiteY372" fmla="*/ 119247 h 446683"/>
                  <a:gd name="connsiteX373" fmla="*/ 37577 w 527746"/>
                  <a:gd name="connsiteY373" fmla="*/ 119701 h 446683"/>
                  <a:gd name="connsiteX374" fmla="*/ 39698 w 527746"/>
                  <a:gd name="connsiteY374" fmla="*/ 119550 h 446683"/>
                  <a:gd name="connsiteX375" fmla="*/ 41820 w 527746"/>
                  <a:gd name="connsiteY375" fmla="*/ 120459 h 446683"/>
                  <a:gd name="connsiteX376" fmla="*/ 44093 w 527746"/>
                  <a:gd name="connsiteY376" fmla="*/ 121974 h 446683"/>
                  <a:gd name="connsiteX377" fmla="*/ 46214 w 527746"/>
                  <a:gd name="connsiteY377" fmla="*/ 124853 h 446683"/>
                  <a:gd name="connsiteX378" fmla="*/ 47729 w 527746"/>
                  <a:gd name="connsiteY378" fmla="*/ 125308 h 446683"/>
                  <a:gd name="connsiteX379" fmla="*/ 52275 w 527746"/>
                  <a:gd name="connsiteY379" fmla="*/ 124853 h 446683"/>
                  <a:gd name="connsiteX380" fmla="*/ 58487 w 527746"/>
                  <a:gd name="connsiteY380" fmla="*/ 125308 h 446683"/>
                  <a:gd name="connsiteX381" fmla="*/ 61366 w 527746"/>
                  <a:gd name="connsiteY381" fmla="*/ 126823 h 446683"/>
                  <a:gd name="connsiteX382" fmla="*/ 61063 w 527746"/>
                  <a:gd name="connsiteY382" fmla="*/ 127732 h 446683"/>
                  <a:gd name="connsiteX383" fmla="*/ 58790 w 527746"/>
                  <a:gd name="connsiteY383" fmla="*/ 128793 h 446683"/>
                  <a:gd name="connsiteX384" fmla="*/ 54850 w 527746"/>
                  <a:gd name="connsiteY384" fmla="*/ 130005 h 446683"/>
                  <a:gd name="connsiteX385" fmla="*/ 53638 w 527746"/>
                  <a:gd name="connsiteY385" fmla="*/ 131975 h 446683"/>
                  <a:gd name="connsiteX386" fmla="*/ 53032 w 527746"/>
                  <a:gd name="connsiteY386" fmla="*/ 134550 h 446683"/>
                  <a:gd name="connsiteX387" fmla="*/ 53184 w 527746"/>
                  <a:gd name="connsiteY387" fmla="*/ 136066 h 446683"/>
                  <a:gd name="connsiteX388" fmla="*/ 54093 w 527746"/>
                  <a:gd name="connsiteY388" fmla="*/ 137732 h 446683"/>
                  <a:gd name="connsiteX389" fmla="*/ 56820 w 527746"/>
                  <a:gd name="connsiteY389" fmla="*/ 140914 h 446683"/>
                  <a:gd name="connsiteX390" fmla="*/ 56972 w 527746"/>
                  <a:gd name="connsiteY390" fmla="*/ 142126 h 446683"/>
                  <a:gd name="connsiteX391" fmla="*/ 57427 w 527746"/>
                  <a:gd name="connsiteY391" fmla="*/ 143793 h 446683"/>
                  <a:gd name="connsiteX392" fmla="*/ 57881 w 527746"/>
                  <a:gd name="connsiteY392" fmla="*/ 144854 h 446683"/>
                  <a:gd name="connsiteX393" fmla="*/ 57275 w 527746"/>
                  <a:gd name="connsiteY393" fmla="*/ 146975 h 446683"/>
                  <a:gd name="connsiteX394" fmla="*/ 54699 w 527746"/>
                  <a:gd name="connsiteY394" fmla="*/ 148490 h 446683"/>
                  <a:gd name="connsiteX395" fmla="*/ 51365 w 527746"/>
                  <a:gd name="connsiteY395" fmla="*/ 150157 h 446683"/>
                  <a:gd name="connsiteX396" fmla="*/ 44699 w 527746"/>
                  <a:gd name="connsiteY396" fmla="*/ 157279 h 446683"/>
                  <a:gd name="connsiteX397" fmla="*/ 44244 w 527746"/>
                  <a:gd name="connsiteY397" fmla="*/ 158794 h 446683"/>
                  <a:gd name="connsiteX398" fmla="*/ 44244 w 527746"/>
                  <a:gd name="connsiteY398" fmla="*/ 163036 h 446683"/>
                  <a:gd name="connsiteX399" fmla="*/ 43638 w 527746"/>
                  <a:gd name="connsiteY399" fmla="*/ 164249 h 446683"/>
                  <a:gd name="connsiteX400" fmla="*/ 41517 w 527746"/>
                  <a:gd name="connsiteY400" fmla="*/ 164249 h 446683"/>
                  <a:gd name="connsiteX401" fmla="*/ 39850 w 527746"/>
                  <a:gd name="connsiteY401" fmla="*/ 164097 h 446683"/>
                  <a:gd name="connsiteX402" fmla="*/ 39698 w 527746"/>
                  <a:gd name="connsiteY402" fmla="*/ 165612 h 446683"/>
                  <a:gd name="connsiteX403" fmla="*/ 38638 w 527746"/>
                  <a:gd name="connsiteY403" fmla="*/ 167582 h 446683"/>
                  <a:gd name="connsiteX404" fmla="*/ 38032 w 527746"/>
                  <a:gd name="connsiteY404" fmla="*/ 169249 h 446683"/>
                  <a:gd name="connsiteX405" fmla="*/ 40456 w 527746"/>
                  <a:gd name="connsiteY405" fmla="*/ 173188 h 446683"/>
                  <a:gd name="connsiteX406" fmla="*/ 40911 w 527746"/>
                  <a:gd name="connsiteY406" fmla="*/ 175310 h 446683"/>
                  <a:gd name="connsiteX407" fmla="*/ 40456 w 527746"/>
                  <a:gd name="connsiteY407" fmla="*/ 177279 h 446683"/>
                  <a:gd name="connsiteX408" fmla="*/ 38183 w 527746"/>
                  <a:gd name="connsiteY408" fmla="*/ 180613 h 446683"/>
                  <a:gd name="connsiteX409" fmla="*/ 36819 w 527746"/>
                  <a:gd name="connsiteY409" fmla="*/ 182886 h 446683"/>
                  <a:gd name="connsiteX410" fmla="*/ 37123 w 527746"/>
                  <a:gd name="connsiteY410" fmla="*/ 183340 h 446683"/>
                  <a:gd name="connsiteX411" fmla="*/ 38941 w 527746"/>
                  <a:gd name="connsiteY411" fmla="*/ 184249 h 446683"/>
                  <a:gd name="connsiteX412" fmla="*/ 44395 w 527746"/>
                  <a:gd name="connsiteY412" fmla="*/ 191522 h 446683"/>
                  <a:gd name="connsiteX413" fmla="*/ 46214 w 527746"/>
                  <a:gd name="connsiteY413" fmla="*/ 194098 h 446683"/>
                  <a:gd name="connsiteX414" fmla="*/ 48487 w 527746"/>
                  <a:gd name="connsiteY414" fmla="*/ 193492 h 446683"/>
                  <a:gd name="connsiteX415" fmla="*/ 49396 w 527746"/>
                  <a:gd name="connsiteY415" fmla="*/ 193492 h 446683"/>
                  <a:gd name="connsiteX416" fmla="*/ 50002 w 527746"/>
                  <a:gd name="connsiteY416" fmla="*/ 193947 h 446683"/>
                  <a:gd name="connsiteX417" fmla="*/ 50456 w 527746"/>
                  <a:gd name="connsiteY417" fmla="*/ 194856 h 446683"/>
                  <a:gd name="connsiteX418" fmla="*/ 50456 w 527746"/>
                  <a:gd name="connsiteY418" fmla="*/ 195916 h 446683"/>
                  <a:gd name="connsiteX419" fmla="*/ 49850 w 527746"/>
                  <a:gd name="connsiteY419" fmla="*/ 197583 h 446683"/>
                  <a:gd name="connsiteX420" fmla="*/ 52729 w 527746"/>
                  <a:gd name="connsiteY420" fmla="*/ 198189 h 446683"/>
                  <a:gd name="connsiteX421" fmla="*/ 53790 w 527746"/>
                  <a:gd name="connsiteY421" fmla="*/ 199856 h 446683"/>
                  <a:gd name="connsiteX422" fmla="*/ 57275 w 527746"/>
                  <a:gd name="connsiteY422" fmla="*/ 205462 h 446683"/>
                  <a:gd name="connsiteX423" fmla="*/ 57123 w 527746"/>
                  <a:gd name="connsiteY423" fmla="*/ 207129 h 446683"/>
                  <a:gd name="connsiteX424" fmla="*/ 55457 w 527746"/>
                  <a:gd name="connsiteY424" fmla="*/ 209856 h 446683"/>
                  <a:gd name="connsiteX425" fmla="*/ 55457 w 527746"/>
                  <a:gd name="connsiteY425" fmla="*/ 211674 h 446683"/>
                  <a:gd name="connsiteX426" fmla="*/ 55760 w 527746"/>
                  <a:gd name="connsiteY426" fmla="*/ 213341 h 446683"/>
                  <a:gd name="connsiteX427" fmla="*/ 56366 w 527746"/>
                  <a:gd name="connsiteY427" fmla="*/ 213947 h 446683"/>
                  <a:gd name="connsiteX428" fmla="*/ 61366 w 527746"/>
                  <a:gd name="connsiteY428" fmla="*/ 214099 h 446683"/>
                  <a:gd name="connsiteX429" fmla="*/ 63487 w 527746"/>
                  <a:gd name="connsiteY429" fmla="*/ 214705 h 446683"/>
                  <a:gd name="connsiteX430" fmla="*/ 68791 w 527746"/>
                  <a:gd name="connsiteY430" fmla="*/ 217584 h 446683"/>
                  <a:gd name="connsiteX431" fmla="*/ 74851 w 527746"/>
                  <a:gd name="connsiteY431" fmla="*/ 221978 h 446683"/>
                  <a:gd name="connsiteX432" fmla="*/ 79700 w 527746"/>
                  <a:gd name="connsiteY432" fmla="*/ 225614 h 446683"/>
                  <a:gd name="connsiteX433" fmla="*/ 83943 w 527746"/>
                  <a:gd name="connsiteY433" fmla="*/ 228645 h 446683"/>
                  <a:gd name="connsiteX434" fmla="*/ 88488 w 527746"/>
                  <a:gd name="connsiteY434" fmla="*/ 228493 h 446683"/>
                  <a:gd name="connsiteX435" fmla="*/ 89700 w 527746"/>
                  <a:gd name="connsiteY435" fmla="*/ 229099 h 446683"/>
                  <a:gd name="connsiteX436" fmla="*/ 90761 w 527746"/>
                  <a:gd name="connsiteY436" fmla="*/ 230009 h 446683"/>
                  <a:gd name="connsiteX437" fmla="*/ 91973 w 527746"/>
                  <a:gd name="connsiteY437" fmla="*/ 232584 h 446683"/>
                  <a:gd name="connsiteX438" fmla="*/ 94549 w 527746"/>
                  <a:gd name="connsiteY438" fmla="*/ 238342 h 446683"/>
                  <a:gd name="connsiteX439" fmla="*/ 96670 w 527746"/>
                  <a:gd name="connsiteY439" fmla="*/ 240312 h 446683"/>
                  <a:gd name="connsiteX440" fmla="*/ 100004 w 527746"/>
                  <a:gd name="connsiteY440" fmla="*/ 244857 h 446683"/>
                  <a:gd name="connsiteX441" fmla="*/ 103186 w 527746"/>
                  <a:gd name="connsiteY441" fmla="*/ 249100 h 446683"/>
                  <a:gd name="connsiteX442" fmla="*/ 101064 w 527746"/>
                  <a:gd name="connsiteY442" fmla="*/ 254858 h 446683"/>
                  <a:gd name="connsiteX443" fmla="*/ 99095 w 527746"/>
                  <a:gd name="connsiteY443" fmla="*/ 260919 h 446683"/>
                  <a:gd name="connsiteX444" fmla="*/ 99095 w 527746"/>
                  <a:gd name="connsiteY444" fmla="*/ 268646 h 446683"/>
                  <a:gd name="connsiteX445" fmla="*/ 99095 w 527746"/>
                  <a:gd name="connsiteY445" fmla="*/ 272889 h 446683"/>
                  <a:gd name="connsiteX446" fmla="*/ 103337 w 527746"/>
                  <a:gd name="connsiteY446" fmla="*/ 273040 h 446683"/>
                  <a:gd name="connsiteX447" fmla="*/ 108034 w 527746"/>
                  <a:gd name="connsiteY447" fmla="*/ 273192 h 446683"/>
                  <a:gd name="connsiteX448" fmla="*/ 108034 w 527746"/>
                  <a:gd name="connsiteY448" fmla="*/ 278192 h 446683"/>
                  <a:gd name="connsiteX449" fmla="*/ 108034 w 527746"/>
                  <a:gd name="connsiteY449" fmla="*/ 283192 h 446683"/>
                  <a:gd name="connsiteX450" fmla="*/ 108034 w 527746"/>
                  <a:gd name="connsiteY450" fmla="*/ 288950 h 446683"/>
                  <a:gd name="connsiteX451" fmla="*/ 109398 w 527746"/>
                  <a:gd name="connsiteY451" fmla="*/ 289253 h 446683"/>
                  <a:gd name="connsiteX452" fmla="*/ 111671 w 527746"/>
                  <a:gd name="connsiteY452" fmla="*/ 290465 h 446683"/>
                  <a:gd name="connsiteX453" fmla="*/ 112580 w 527746"/>
                  <a:gd name="connsiteY453" fmla="*/ 292284 h 446683"/>
                  <a:gd name="connsiteX454" fmla="*/ 113792 w 527746"/>
                  <a:gd name="connsiteY454" fmla="*/ 293344 h 446683"/>
                  <a:gd name="connsiteX455" fmla="*/ 115307 w 527746"/>
                  <a:gd name="connsiteY455" fmla="*/ 293496 h 446683"/>
                  <a:gd name="connsiteX456" fmla="*/ 116671 w 527746"/>
                  <a:gd name="connsiteY456" fmla="*/ 294405 h 446683"/>
                  <a:gd name="connsiteX457" fmla="*/ 118035 w 527746"/>
                  <a:gd name="connsiteY457" fmla="*/ 296072 h 446683"/>
                  <a:gd name="connsiteX458" fmla="*/ 118489 w 527746"/>
                  <a:gd name="connsiteY458" fmla="*/ 297284 h 446683"/>
                  <a:gd name="connsiteX459" fmla="*/ 118186 w 527746"/>
                  <a:gd name="connsiteY459" fmla="*/ 298193 h 446683"/>
                  <a:gd name="connsiteX460" fmla="*/ 118489 w 527746"/>
                  <a:gd name="connsiteY460" fmla="*/ 299708 h 446683"/>
                  <a:gd name="connsiteX461" fmla="*/ 119398 w 527746"/>
                  <a:gd name="connsiteY461" fmla="*/ 301829 h 446683"/>
                  <a:gd name="connsiteX462" fmla="*/ 120610 w 527746"/>
                  <a:gd name="connsiteY462" fmla="*/ 302890 h 446683"/>
                  <a:gd name="connsiteX463" fmla="*/ 122429 w 527746"/>
                  <a:gd name="connsiteY463" fmla="*/ 304102 h 446683"/>
                  <a:gd name="connsiteX464" fmla="*/ 123792 w 527746"/>
                  <a:gd name="connsiteY464" fmla="*/ 303648 h 446683"/>
                  <a:gd name="connsiteX465" fmla="*/ 125914 w 527746"/>
                  <a:gd name="connsiteY465" fmla="*/ 302132 h 446683"/>
                  <a:gd name="connsiteX466" fmla="*/ 130308 w 527746"/>
                  <a:gd name="connsiteY466" fmla="*/ 301981 h 446683"/>
                  <a:gd name="connsiteX467" fmla="*/ 131368 w 527746"/>
                  <a:gd name="connsiteY467" fmla="*/ 301223 h 446683"/>
                  <a:gd name="connsiteX468" fmla="*/ 132732 w 527746"/>
                  <a:gd name="connsiteY468" fmla="*/ 299405 h 446683"/>
                  <a:gd name="connsiteX469" fmla="*/ 132429 w 527746"/>
                  <a:gd name="connsiteY469" fmla="*/ 295768 h 446683"/>
                  <a:gd name="connsiteX470" fmla="*/ 131974 w 527746"/>
                  <a:gd name="connsiteY470" fmla="*/ 293193 h 446683"/>
                  <a:gd name="connsiteX471" fmla="*/ 132732 w 527746"/>
                  <a:gd name="connsiteY471" fmla="*/ 291071 h 446683"/>
                  <a:gd name="connsiteX472" fmla="*/ 136066 w 527746"/>
                  <a:gd name="connsiteY472" fmla="*/ 289405 h 446683"/>
                  <a:gd name="connsiteX473" fmla="*/ 135156 w 527746"/>
                  <a:gd name="connsiteY473" fmla="*/ 287738 h 446683"/>
                  <a:gd name="connsiteX474" fmla="*/ 138641 w 527746"/>
                  <a:gd name="connsiteY474" fmla="*/ 287586 h 446683"/>
                  <a:gd name="connsiteX475" fmla="*/ 141217 w 527746"/>
                  <a:gd name="connsiteY475" fmla="*/ 288647 h 446683"/>
                  <a:gd name="connsiteX476" fmla="*/ 141823 w 527746"/>
                  <a:gd name="connsiteY476" fmla="*/ 290465 h 446683"/>
                  <a:gd name="connsiteX477" fmla="*/ 140308 w 527746"/>
                  <a:gd name="connsiteY477" fmla="*/ 291526 h 446683"/>
                  <a:gd name="connsiteX478" fmla="*/ 137732 w 527746"/>
                  <a:gd name="connsiteY478" fmla="*/ 290617 h 446683"/>
                  <a:gd name="connsiteX479" fmla="*/ 136369 w 527746"/>
                  <a:gd name="connsiteY479" fmla="*/ 290920 h 446683"/>
                  <a:gd name="connsiteX480" fmla="*/ 135005 w 527746"/>
                  <a:gd name="connsiteY480" fmla="*/ 291677 h 446683"/>
                  <a:gd name="connsiteX481" fmla="*/ 135762 w 527746"/>
                  <a:gd name="connsiteY481" fmla="*/ 292890 h 446683"/>
                  <a:gd name="connsiteX482" fmla="*/ 136520 w 527746"/>
                  <a:gd name="connsiteY482" fmla="*/ 293647 h 446683"/>
                  <a:gd name="connsiteX483" fmla="*/ 146824 w 527746"/>
                  <a:gd name="connsiteY483" fmla="*/ 298950 h 446683"/>
                  <a:gd name="connsiteX484" fmla="*/ 150308 w 527746"/>
                  <a:gd name="connsiteY484" fmla="*/ 301981 h 446683"/>
                  <a:gd name="connsiteX485" fmla="*/ 161976 w 527746"/>
                  <a:gd name="connsiteY485" fmla="*/ 296526 h 446683"/>
                  <a:gd name="connsiteX486" fmla="*/ 164400 w 527746"/>
                  <a:gd name="connsiteY486" fmla="*/ 296829 h 446683"/>
                  <a:gd name="connsiteX487" fmla="*/ 165915 w 527746"/>
                  <a:gd name="connsiteY487" fmla="*/ 301375 h 446683"/>
                  <a:gd name="connsiteX488" fmla="*/ 166976 w 527746"/>
                  <a:gd name="connsiteY488" fmla="*/ 305163 h 446683"/>
                  <a:gd name="connsiteX489" fmla="*/ 168643 w 527746"/>
                  <a:gd name="connsiteY489" fmla="*/ 306678 h 446683"/>
                  <a:gd name="connsiteX490" fmla="*/ 172885 w 527746"/>
                  <a:gd name="connsiteY490" fmla="*/ 312436 h 446683"/>
                  <a:gd name="connsiteX491" fmla="*/ 177128 w 527746"/>
                  <a:gd name="connsiteY491" fmla="*/ 316375 h 446683"/>
                  <a:gd name="connsiteX492" fmla="*/ 180007 w 527746"/>
                  <a:gd name="connsiteY492" fmla="*/ 320163 h 446683"/>
                  <a:gd name="connsiteX493" fmla="*/ 180461 w 527746"/>
                  <a:gd name="connsiteY493" fmla="*/ 322588 h 446683"/>
                  <a:gd name="connsiteX494" fmla="*/ 179855 w 527746"/>
                  <a:gd name="connsiteY494" fmla="*/ 326376 h 446683"/>
                  <a:gd name="connsiteX495" fmla="*/ 180613 w 527746"/>
                  <a:gd name="connsiteY495" fmla="*/ 328345 h 446683"/>
                  <a:gd name="connsiteX496" fmla="*/ 183946 w 527746"/>
                  <a:gd name="connsiteY496" fmla="*/ 329255 h 446683"/>
                  <a:gd name="connsiteX497" fmla="*/ 186067 w 527746"/>
                  <a:gd name="connsiteY497" fmla="*/ 330921 h 446683"/>
                  <a:gd name="connsiteX498" fmla="*/ 186067 w 527746"/>
                  <a:gd name="connsiteY498" fmla="*/ 332588 h 446683"/>
                  <a:gd name="connsiteX499" fmla="*/ 185158 w 527746"/>
                  <a:gd name="connsiteY499" fmla="*/ 334861 h 446683"/>
                  <a:gd name="connsiteX500" fmla="*/ 185765 w 527746"/>
                  <a:gd name="connsiteY500" fmla="*/ 336528 h 446683"/>
                  <a:gd name="connsiteX501" fmla="*/ 190007 w 527746"/>
                  <a:gd name="connsiteY501" fmla="*/ 339103 h 446683"/>
                  <a:gd name="connsiteX502" fmla="*/ 191067 w 527746"/>
                  <a:gd name="connsiteY502" fmla="*/ 340770 h 446683"/>
                  <a:gd name="connsiteX503" fmla="*/ 191977 w 527746"/>
                  <a:gd name="connsiteY503" fmla="*/ 347134 h 446683"/>
                  <a:gd name="connsiteX504" fmla="*/ 192886 w 527746"/>
                  <a:gd name="connsiteY504" fmla="*/ 349407 h 446683"/>
                  <a:gd name="connsiteX505" fmla="*/ 196977 w 527746"/>
                  <a:gd name="connsiteY505" fmla="*/ 355771 h 446683"/>
                  <a:gd name="connsiteX506" fmla="*/ 197129 w 527746"/>
                  <a:gd name="connsiteY506" fmla="*/ 358347 h 446683"/>
                  <a:gd name="connsiteX507" fmla="*/ 203644 w 527746"/>
                  <a:gd name="connsiteY507" fmla="*/ 364862 h 446683"/>
                  <a:gd name="connsiteX508" fmla="*/ 205614 w 527746"/>
                  <a:gd name="connsiteY508" fmla="*/ 366225 h 446683"/>
                  <a:gd name="connsiteX509" fmla="*/ 207735 w 527746"/>
                  <a:gd name="connsiteY509" fmla="*/ 366832 h 446683"/>
                  <a:gd name="connsiteX510" fmla="*/ 212584 w 527746"/>
                  <a:gd name="connsiteY510" fmla="*/ 366680 h 446683"/>
                  <a:gd name="connsiteX511" fmla="*/ 217735 w 527746"/>
                  <a:gd name="connsiteY511" fmla="*/ 367438 h 446683"/>
                  <a:gd name="connsiteX512" fmla="*/ 222130 w 527746"/>
                  <a:gd name="connsiteY512" fmla="*/ 370620 h 446683"/>
                  <a:gd name="connsiteX513" fmla="*/ 229857 w 527746"/>
                  <a:gd name="connsiteY513" fmla="*/ 373650 h 446683"/>
                  <a:gd name="connsiteX514" fmla="*/ 233342 w 527746"/>
                  <a:gd name="connsiteY514" fmla="*/ 377287 h 446683"/>
                  <a:gd name="connsiteX515" fmla="*/ 234251 w 527746"/>
                  <a:gd name="connsiteY515" fmla="*/ 380317 h 446683"/>
                  <a:gd name="connsiteX516" fmla="*/ 235766 w 527746"/>
                  <a:gd name="connsiteY516" fmla="*/ 382287 h 446683"/>
                  <a:gd name="connsiteX517" fmla="*/ 243797 w 527746"/>
                  <a:gd name="connsiteY517" fmla="*/ 387590 h 446683"/>
                  <a:gd name="connsiteX518" fmla="*/ 253646 w 527746"/>
                  <a:gd name="connsiteY518" fmla="*/ 391681 h 446683"/>
                  <a:gd name="connsiteX519" fmla="*/ 256676 w 527746"/>
                  <a:gd name="connsiteY519" fmla="*/ 393499 h 446683"/>
                  <a:gd name="connsiteX520" fmla="*/ 258040 w 527746"/>
                  <a:gd name="connsiteY520" fmla="*/ 396227 h 446683"/>
                  <a:gd name="connsiteX521" fmla="*/ 263494 w 527746"/>
                  <a:gd name="connsiteY521" fmla="*/ 399863 h 446683"/>
                  <a:gd name="connsiteX522" fmla="*/ 266677 w 527746"/>
                  <a:gd name="connsiteY522" fmla="*/ 400318 h 446683"/>
                  <a:gd name="connsiteX523" fmla="*/ 273495 w 527746"/>
                  <a:gd name="connsiteY523" fmla="*/ 399560 h 446683"/>
                  <a:gd name="connsiteX524" fmla="*/ 278344 w 527746"/>
                  <a:gd name="connsiteY524" fmla="*/ 400621 h 446683"/>
                  <a:gd name="connsiteX525" fmla="*/ 285920 w 527746"/>
                  <a:gd name="connsiteY525" fmla="*/ 403803 h 446683"/>
                  <a:gd name="connsiteX526" fmla="*/ 289253 w 527746"/>
                  <a:gd name="connsiteY526" fmla="*/ 406075 h 446683"/>
                  <a:gd name="connsiteX527" fmla="*/ 292435 w 527746"/>
                  <a:gd name="connsiteY527" fmla="*/ 406227 h 446683"/>
                  <a:gd name="connsiteX528" fmla="*/ 296223 w 527746"/>
                  <a:gd name="connsiteY528" fmla="*/ 404712 h 446683"/>
                  <a:gd name="connsiteX529" fmla="*/ 303344 w 527746"/>
                  <a:gd name="connsiteY529" fmla="*/ 399712 h 446683"/>
                  <a:gd name="connsiteX530" fmla="*/ 307132 w 527746"/>
                  <a:gd name="connsiteY530" fmla="*/ 397893 h 446683"/>
                  <a:gd name="connsiteX531" fmla="*/ 310618 w 527746"/>
                  <a:gd name="connsiteY531" fmla="*/ 398348 h 446683"/>
                  <a:gd name="connsiteX532" fmla="*/ 313193 w 527746"/>
                  <a:gd name="connsiteY532" fmla="*/ 396681 h 446683"/>
                  <a:gd name="connsiteX533" fmla="*/ 315163 w 527746"/>
                  <a:gd name="connsiteY533" fmla="*/ 393651 h 446683"/>
                  <a:gd name="connsiteX534" fmla="*/ 316830 w 527746"/>
                  <a:gd name="connsiteY534" fmla="*/ 392287 h 446683"/>
                  <a:gd name="connsiteX535" fmla="*/ 324861 w 527746"/>
                  <a:gd name="connsiteY535" fmla="*/ 390469 h 446683"/>
                  <a:gd name="connsiteX536" fmla="*/ 329709 w 527746"/>
                  <a:gd name="connsiteY536" fmla="*/ 387438 h 446683"/>
                  <a:gd name="connsiteX537" fmla="*/ 334255 w 527746"/>
                  <a:gd name="connsiteY537" fmla="*/ 386075 h 446683"/>
                  <a:gd name="connsiteX538" fmla="*/ 336225 w 527746"/>
                  <a:gd name="connsiteY538" fmla="*/ 385772 h 446683"/>
                  <a:gd name="connsiteX539" fmla="*/ 346376 w 527746"/>
                  <a:gd name="connsiteY539" fmla="*/ 387893 h 446683"/>
                  <a:gd name="connsiteX540" fmla="*/ 348649 w 527746"/>
                  <a:gd name="connsiteY540" fmla="*/ 388954 h 446683"/>
                  <a:gd name="connsiteX541" fmla="*/ 351377 w 527746"/>
                  <a:gd name="connsiteY541" fmla="*/ 391681 h 446683"/>
                  <a:gd name="connsiteX542" fmla="*/ 353347 w 527746"/>
                  <a:gd name="connsiteY542" fmla="*/ 394257 h 446683"/>
                  <a:gd name="connsiteX543" fmla="*/ 354861 w 527746"/>
                  <a:gd name="connsiteY543" fmla="*/ 397287 h 446683"/>
                  <a:gd name="connsiteX544" fmla="*/ 355771 w 527746"/>
                  <a:gd name="connsiteY544" fmla="*/ 400772 h 446683"/>
                  <a:gd name="connsiteX545" fmla="*/ 356680 w 527746"/>
                  <a:gd name="connsiteY545" fmla="*/ 409712 h 446683"/>
                  <a:gd name="connsiteX546" fmla="*/ 359407 w 527746"/>
                  <a:gd name="connsiteY546" fmla="*/ 415924 h 446683"/>
                  <a:gd name="connsiteX547" fmla="*/ 359559 w 527746"/>
                  <a:gd name="connsiteY547" fmla="*/ 419409 h 446683"/>
                  <a:gd name="connsiteX548" fmla="*/ 361074 w 527746"/>
                  <a:gd name="connsiteY548" fmla="*/ 422894 h 446683"/>
                  <a:gd name="connsiteX549" fmla="*/ 363044 w 527746"/>
                  <a:gd name="connsiteY549" fmla="*/ 426531 h 446683"/>
                  <a:gd name="connsiteX550" fmla="*/ 373953 w 527746"/>
                  <a:gd name="connsiteY550" fmla="*/ 428500 h 446683"/>
                  <a:gd name="connsiteX551" fmla="*/ 375620 w 527746"/>
                  <a:gd name="connsiteY551" fmla="*/ 430622 h 446683"/>
                  <a:gd name="connsiteX552" fmla="*/ 379408 w 527746"/>
                  <a:gd name="connsiteY552" fmla="*/ 429561 h 446683"/>
                  <a:gd name="connsiteX553" fmla="*/ 381681 w 527746"/>
                  <a:gd name="connsiteY553" fmla="*/ 431077 h 446683"/>
                  <a:gd name="connsiteX554" fmla="*/ 386681 w 527746"/>
                  <a:gd name="connsiteY554" fmla="*/ 432440 h 446683"/>
                  <a:gd name="connsiteX555" fmla="*/ 389711 w 527746"/>
                  <a:gd name="connsiteY555" fmla="*/ 432743 h 446683"/>
                  <a:gd name="connsiteX556" fmla="*/ 395621 w 527746"/>
                  <a:gd name="connsiteY556" fmla="*/ 432440 h 446683"/>
                  <a:gd name="connsiteX557" fmla="*/ 402894 w 527746"/>
                  <a:gd name="connsiteY557" fmla="*/ 433501 h 446683"/>
                  <a:gd name="connsiteX558" fmla="*/ 409712 w 527746"/>
                  <a:gd name="connsiteY558" fmla="*/ 437440 h 446683"/>
                  <a:gd name="connsiteX559" fmla="*/ 414712 w 527746"/>
                  <a:gd name="connsiteY559" fmla="*/ 437137 h 446683"/>
                  <a:gd name="connsiteX560" fmla="*/ 420925 w 527746"/>
                  <a:gd name="connsiteY560" fmla="*/ 435622 h 446683"/>
                  <a:gd name="connsiteX561" fmla="*/ 425319 w 527746"/>
                  <a:gd name="connsiteY561" fmla="*/ 437895 h 446683"/>
                  <a:gd name="connsiteX562" fmla="*/ 430925 w 527746"/>
                  <a:gd name="connsiteY562" fmla="*/ 437895 h 446683"/>
                  <a:gd name="connsiteX563" fmla="*/ 433046 w 527746"/>
                  <a:gd name="connsiteY563" fmla="*/ 438955 h 446683"/>
                  <a:gd name="connsiteX564" fmla="*/ 436531 w 527746"/>
                  <a:gd name="connsiteY564" fmla="*/ 438349 h 446683"/>
                  <a:gd name="connsiteX565" fmla="*/ 446835 w 527746"/>
                  <a:gd name="connsiteY565" fmla="*/ 440471 h 446683"/>
                  <a:gd name="connsiteX566" fmla="*/ 449865 w 527746"/>
                  <a:gd name="connsiteY566" fmla="*/ 436834 h 446683"/>
                  <a:gd name="connsiteX567" fmla="*/ 451986 w 527746"/>
                  <a:gd name="connsiteY567" fmla="*/ 437592 h 446683"/>
                  <a:gd name="connsiteX568" fmla="*/ 452744 w 527746"/>
                  <a:gd name="connsiteY568" fmla="*/ 440016 h 446683"/>
                  <a:gd name="connsiteX569" fmla="*/ 454108 w 527746"/>
                  <a:gd name="connsiteY569" fmla="*/ 441380 h 446683"/>
                  <a:gd name="connsiteX570" fmla="*/ 466229 w 527746"/>
                  <a:gd name="connsiteY570" fmla="*/ 444259 h 446683"/>
                  <a:gd name="connsiteX571" fmla="*/ 469866 w 527746"/>
                  <a:gd name="connsiteY571" fmla="*/ 445471 h 446683"/>
                  <a:gd name="connsiteX572" fmla="*/ 474563 w 527746"/>
                  <a:gd name="connsiteY572" fmla="*/ 446683 h 446683"/>
                  <a:gd name="connsiteX573" fmla="*/ 476684 w 527746"/>
                  <a:gd name="connsiteY573" fmla="*/ 445168 h 446683"/>
                  <a:gd name="connsiteX574" fmla="*/ 477897 w 527746"/>
                  <a:gd name="connsiteY574" fmla="*/ 443956 h 446683"/>
                  <a:gd name="connsiteX575" fmla="*/ 479411 w 527746"/>
                  <a:gd name="connsiteY575" fmla="*/ 443804 h 446683"/>
                  <a:gd name="connsiteX576" fmla="*/ 480169 w 527746"/>
                  <a:gd name="connsiteY576" fmla="*/ 441380 h 446683"/>
                  <a:gd name="connsiteX577" fmla="*/ 480776 w 527746"/>
                  <a:gd name="connsiteY577" fmla="*/ 432743 h 446683"/>
                  <a:gd name="connsiteX578" fmla="*/ 481685 w 527746"/>
                  <a:gd name="connsiteY578" fmla="*/ 429561 h 446683"/>
                  <a:gd name="connsiteX579" fmla="*/ 481381 w 527746"/>
                  <a:gd name="connsiteY579" fmla="*/ 427894 h 446683"/>
                  <a:gd name="connsiteX580" fmla="*/ 481533 w 527746"/>
                  <a:gd name="connsiteY580" fmla="*/ 427440 h 446683"/>
                  <a:gd name="connsiteX581" fmla="*/ 483351 w 527746"/>
                  <a:gd name="connsiteY581" fmla="*/ 425925 h 446683"/>
                  <a:gd name="connsiteX582" fmla="*/ 483806 w 527746"/>
                  <a:gd name="connsiteY582" fmla="*/ 425319 h 446683"/>
                  <a:gd name="connsiteX583" fmla="*/ 484564 w 527746"/>
                  <a:gd name="connsiteY583" fmla="*/ 420924 h 446683"/>
                  <a:gd name="connsiteX584" fmla="*/ 485321 w 527746"/>
                  <a:gd name="connsiteY584" fmla="*/ 415924 h 446683"/>
                  <a:gd name="connsiteX585" fmla="*/ 486230 w 527746"/>
                  <a:gd name="connsiteY585" fmla="*/ 414106 h 446683"/>
                  <a:gd name="connsiteX586" fmla="*/ 486988 w 527746"/>
                  <a:gd name="connsiteY586" fmla="*/ 413652 h 446683"/>
                  <a:gd name="connsiteX587" fmla="*/ 493049 w 527746"/>
                  <a:gd name="connsiteY587" fmla="*/ 411379 h 446683"/>
                  <a:gd name="connsiteX588" fmla="*/ 494109 w 527746"/>
                  <a:gd name="connsiteY588" fmla="*/ 409863 h 446683"/>
                  <a:gd name="connsiteX589" fmla="*/ 497140 w 527746"/>
                  <a:gd name="connsiteY589" fmla="*/ 410167 h 446683"/>
                  <a:gd name="connsiteX590" fmla="*/ 497442 w 527746"/>
                  <a:gd name="connsiteY590" fmla="*/ 409863 h 446683"/>
                  <a:gd name="connsiteX591" fmla="*/ 497746 w 527746"/>
                  <a:gd name="connsiteY591" fmla="*/ 408197 h 446683"/>
                  <a:gd name="connsiteX592" fmla="*/ 499261 w 527746"/>
                  <a:gd name="connsiteY592" fmla="*/ 406379 h 446683"/>
                  <a:gd name="connsiteX593" fmla="*/ 501231 w 527746"/>
                  <a:gd name="connsiteY593" fmla="*/ 404863 h 446683"/>
                  <a:gd name="connsiteX594" fmla="*/ 502746 w 527746"/>
                  <a:gd name="connsiteY594" fmla="*/ 404257 h 446683"/>
                  <a:gd name="connsiteX595" fmla="*/ 508201 w 527746"/>
                  <a:gd name="connsiteY595" fmla="*/ 403348 h 446683"/>
                  <a:gd name="connsiteX596" fmla="*/ 511383 w 527746"/>
                  <a:gd name="connsiteY596" fmla="*/ 401984 h 446683"/>
                  <a:gd name="connsiteX597" fmla="*/ 512292 w 527746"/>
                  <a:gd name="connsiteY597" fmla="*/ 401833 h 446683"/>
                  <a:gd name="connsiteX598" fmla="*/ 520625 w 527746"/>
                  <a:gd name="connsiteY598" fmla="*/ 402136 h 446683"/>
                  <a:gd name="connsiteX599" fmla="*/ 522444 w 527746"/>
                  <a:gd name="connsiteY599" fmla="*/ 401681 h 446683"/>
                  <a:gd name="connsiteX600" fmla="*/ 522747 w 527746"/>
                  <a:gd name="connsiteY600" fmla="*/ 401227 h 446683"/>
                  <a:gd name="connsiteX601" fmla="*/ 523201 w 527746"/>
                  <a:gd name="connsiteY601" fmla="*/ 396227 h 446683"/>
                  <a:gd name="connsiteX602" fmla="*/ 524717 w 527746"/>
                  <a:gd name="connsiteY602" fmla="*/ 395469 h 446683"/>
                  <a:gd name="connsiteX603" fmla="*/ 525019 w 527746"/>
                  <a:gd name="connsiteY603" fmla="*/ 395015 h 446683"/>
                  <a:gd name="connsiteX604" fmla="*/ 524565 w 527746"/>
                  <a:gd name="connsiteY604" fmla="*/ 391530 h 446683"/>
                  <a:gd name="connsiteX605" fmla="*/ 526080 w 527746"/>
                  <a:gd name="connsiteY605" fmla="*/ 387135 h 4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Lst>
                <a:rect l="l" t="t" r="r" b="b"/>
                <a:pathLst>
                  <a:path w="527746" h="446683">
                    <a:moveTo>
                      <a:pt x="329861" y="390014"/>
                    </a:moveTo>
                    <a:lnTo>
                      <a:pt x="325315" y="392136"/>
                    </a:lnTo>
                    <a:lnTo>
                      <a:pt x="321224" y="391075"/>
                    </a:lnTo>
                    <a:lnTo>
                      <a:pt x="320921" y="391530"/>
                    </a:lnTo>
                    <a:lnTo>
                      <a:pt x="321982" y="393651"/>
                    </a:lnTo>
                    <a:lnTo>
                      <a:pt x="321375" y="395015"/>
                    </a:lnTo>
                    <a:lnTo>
                      <a:pt x="315012" y="398045"/>
                    </a:lnTo>
                    <a:lnTo>
                      <a:pt x="310011" y="399863"/>
                    </a:lnTo>
                    <a:lnTo>
                      <a:pt x="308648" y="399560"/>
                    </a:lnTo>
                    <a:lnTo>
                      <a:pt x="308648" y="400166"/>
                    </a:lnTo>
                    <a:lnTo>
                      <a:pt x="309102" y="401530"/>
                    </a:lnTo>
                    <a:lnTo>
                      <a:pt x="309860" y="401681"/>
                    </a:lnTo>
                    <a:lnTo>
                      <a:pt x="312133" y="401833"/>
                    </a:lnTo>
                    <a:lnTo>
                      <a:pt x="315466" y="400772"/>
                    </a:lnTo>
                    <a:lnTo>
                      <a:pt x="319103" y="398803"/>
                    </a:lnTo>
                    <a:lnTo>
                      <a:pt x="321073" y="398651"/>
                    </a:lnTo>
                    <a:lnTo>
                      <a:pt x="323800" y="397590"/>
                    </a:lnTo>
                    <a:lnTo>
                      <a:pt x="325012" y="397590"/>
                    </a:lnTo>
                    <a:lnTo>
                      <a:pt x="326679" y="398499"/>
                    </a:lnTo>
                    <a:lnTo>
                      <a:pt x="330467" y="395621"/>
                    </a:lnTo>
                    <a:lnTo>
                      <a:pt x="333043" y="392136"/>
                    </a:lnTo>
                    <a:lnTo>
                      <a:pt x="335618" y="391227"/>
                    </a:lnTo>
                    <a:lnTo>
                      <a:pt x="333800" y="389711"/>
                    </a:lnTo>
                    <a:lnTo>
                      <a:pt x="329861" y="390014"/>
                    </a:lnTo>
                    <a:close/>
                    <a:moveTo>
                      <a:pt x="526080" y="387135"/>
                    </a:moveTo>
                    <a:lnTo>
                      <a:pt x="527747" y="385772"/>
                    </a:lnTo>
                    <a:lnTo>
                      <a:pt x="527595" y="385014"/>
                    </a:lnTo>
                    <a:lnTo>
                      <a:pt x="526383" y="383347"/>
                    </a:lnTo>
                    <a:lnTo>
                      <a:pt x="524717" y="382287"/>
                    </a:lnTo>
                    <a:lnTo>
                      <a:pt x="523959" y="381984"/>
                    </a:lnTo>
                    <a:lnTo>
                      <a:pt x="517140" y="383044"/>
                    </a:lnTo>
                    <a:lnTo>
                      <a:pt x="514262" y="382741"/>
                    </a:lnTo>
                    <a:lnTo>
                      <a:pt x="512898" y="382135"/>
                    </a:lnTo>
                    <a:lnTo>
                      <a:pt x="512595" y="381681"/>
                    </a:lnTo>
                    <a:lnTo>
                      <a:pt x="512898" y="380620"/>
                    </a:lnTo>
                    <a:lnTo>
                      <a:pt x="512898" y="378953"/>
                    </a:lnTo>
                    <a:lnTo>
                      <a:pt x="513958" y="376378"/>
                    </a:lnTo>
                    <a:lnTo>
                      <a:pt x="514262" y="374862"/>
                    </a:lnTo>
                    <a:lnTo>
                      <a:pt x="513504" y="365923"/>
                    </a:lnTo>
                    <a:lnTo>
                      <a:pt x="512292" y="360013"/>
                    </a:lnTo>
                    <a:lnTo>
                      <a:pt x="512898" y="354104"/>
                    </a:lnTo>
                    <a:lnTo>
                      <a:pt x="512746" y="352892"/>
                    </a:lnTo>
                    <a:lnTo>
                      <a:pt x="512443" y="352589"/>
                    </a:lnTo>
                    <a:lnTo>
                      <a:pt x="511534" y="352589"/>
                    </a:lnTo>
                    <a:lnTo>
                      <a:pt x="507292" y="353043"/>
                    </a:lnTo>
                    <a:lnTo>
                      <a:pt x="503655" y="349255"/>
                    </a:lnTo>
                    <a:lnTo>
                      <a:pt x="501382" y="347740"/>
                    </a:lnTo>
                    <a:lnTo>
                      <a:pt x="495321" y="345922"/>
                    </a:lnTo>
                    <a:lnTo>
                      <a:pt x="492594" y="345619"/>
                    </a:lnTo>
                    <a:lnTo>
                      <a:pt x="488654" y="343952"/>
                    </a:lnTo>
                    <a:lnTo>
                      <a:pt x="485018" y="340316"/>
                    </a:lnTo>
                    <a:lnTo>
                      <a:pt x="481381" y="336679"/>
                    </a:lnTo>
                    <a:lnTo>
                      <a:pt x="479866" y="334406"/>
                    </a:lnTo>
                    <a:lnTo>
                      <a:pt x="478200" y="330467"/>
                    </a:lnTo>
                    <a:lnTo>
                      <a:pt x="473502" y="322739"/>
                    </a:lnTo>
                    <a:lnTo>
                      <a:pt x="473502" y="320769"/>
                    </a:lnTo>
                    <a:lnTo>
                      <a:pt x="472896" y="319557"/>
                    </a:lnTo>
                    <a:lnTo>
                      <a:pt x="468351" y="314557"/>
                    </a:lnTo>
                    <a:lnTo>
                      <a:pt x="465169" y="310921"/>
                    </a:lnTo>
                    <a:lnTo>
                      <a:pt x="460017" y="305163"/>
                    </a:lnTo>
                    <a:lnTo>
                      <a:pt x="460623" y="304405"/>
                    </a:lnTo>
                    <a:lnTo>
                      <a:pt x="467138" y="297132"/>
                    </a:lnTo>
                    <a:lnTo>
                      <a:pt x="473351" y="290162"/>
                    </a:lnTo>
                    <a:lnTo>
                      <a:pt x="479563" y="283041"/>
                    </a:lnTo>
                    <a:lnTo>
                      <a:pt x="485776" y="276071"/>
                    </a:lnTo>
                    <a:lnTo>
                      <a:pt x="486533" y="273647"/>
                    </a:lnTo>
                    <a:lnTo>
                      <a:pt x="486685" y="268798"/>
                    </a:lnTo>
                    <a:lnTo>
                      <a:pt x="485018" y="262434"/>
                    </a:lnTo>
                    <a:lnTo>
                      <a:pt x="482442" y="259555"/>
                    </a:lnTo>
                    <a:lnTo>
                      <a:pt x="473805" y="258343"/>
                    </a:lnTo>
                    <a:lnTo>
                      <a:pt x="467290" y="257434"/>
                    </a:lnTo>
                    <a:lnTo>
                      <a:pt x="460320" y="256525"/>
                    </a:lnTo>
                    <a:lnTo>
                      <a:pt x="459411" y="256222"/>
                    </a:lnTo>
                    <a:lnTo>
                      <a:pt x="458653" y="251221"/>
                    </a:lnTo>
                    <a:lnTo>
                      <a:pt x="458957" y="248949"/>
                    </a:lnTo>
                    <a:lnTo>
                      <a:pt x="458502" y="244706"/>
                    </a:lnTo>
                    <a:lnTo>
                      <a:pt x="458502" y="241373"/>
                    </a:lnTo>
                    <a:lnTo>
                      <a:pt x="459562" y="235918"/>
                    </a:lnTo>
                    <a:lnTo>
                      <a:pt x="459562" y="233493"/>
                    </a:lnTo>
                    <a:lnTo>
                      <a:pt x="456380" y="222887"/>
                    </a:lnTo>
                    <a:lnTo>
                      <a:pt x="454562" y="216978"/>
                    </a:lnTo>
                    <a:lnTo>
                      <a:pt x="452744" y="210917"/>
                    </a:lnTo>
                    <a:lnTo>
                      <a:pt x="452290" y="208947"/>
                    </a:lnTo>
                    <a:lnTo>
                      <a:pt x="452290" y="206523"/>
                    </a:lnTo>
                    <a:lnTo>
                      <a:pt x="456532" y="200917"/>
                    </a:lnTo>
                    <a:lnTo>
                      <a:pt x="457896" y="199704"/>
                    </a:lnTo>
                    <a:lnTo>
                      <a:pt x="460471" y="196825"/>
                    </a:lnTo>
                    <a:lnTo>
                      <a:pt x="461987" y="195310"/>
                    </a:lnTo>
                    <a:lnTo>
                      <a:pt x="461684" y="194250"/>
                    </a:lnTo>
                    <a:lnTo>
                      <a:pt x="458957" y="193643"/>
                    </a:lnTo>
                    <a:lnTo>
                      <a:pt x="454865" y="193643"/>
                    </a:lnTo>
                    <a:lnTo>
                      <a:pt x="452592" y="192734"/>
                    </a:lnTo>
                    <a:lnTo>
                      <a:pt x="450926" y="191219"/>
                    </a:lnTo>
                    <a:lnTo>
                      <a:pt x="450168" y="188946"/>
                    </a:lnTo>
                    <a:lnTo>
                      <a:pt x="451229" y="185007"/>
                    </a:lnTo>
                    <a:lnTo>
                      <a:pt x="450168" y="177279"/>
                    </a:lnTo>
                    <a:lnTo>
                      <a:pt x="452441" y="173491"/>
                    </a:lnTo>
                    <a:lnTo>
                      <a:pt x="454411" y="170764"/>
                    </a:lnTo>
                    <a:lnTo>
                      <a:pt x="461229" y="170461"/>
                    </a:lnTo>
                    <a:lnTo>
                      <a:pt x="458957" y="167430"/>
                    </a:lnTo>
                    <a:lnTo>
                      <a:pt x="457896" y="165612"/>
                    </a:lnTo>
                    <a:lnTo>
                      <a:pt x="457138" y="165158"/>
                    </a:lnTo>
                    <a:lnTo>
                      <a:pt x="456835" y="164400"/>
                    </a:lnTo>
                    <a:lnTo>
                      <a:pt x="457138" y="163642"/>
                    </a:lnTo>
                    <a:lnTo>
                      <a:pt x="458805" y="163339"/>
                    </a:lnTo>
                    <a:lnTo>
                      <a:pt x="460017" y="162279"/>
                    </a:lnTo>
                    <a:lnTo>
                      <a:pt x="461987" y="160915"/>
                    </a:lnTo>
                    <a:lnTo>
                      <a:pt x="463047" y="160309"/>
                    </a:lnTo>
                    <a:lnTo>
                      <a:pt x="463199" y="158642"/>
                    </a:lnTo>
                    <a:lnTo>
                      <a:pt x="464108" y="157430"/>
                    </a:lnTo>
                    <a:lnTo>
                      <a:pt x="465472" y="155915"/>
                    </a:lnTo>
                    <a:lnTo>
                      <a:pt x="466533" y="154248"/>
                    </a:lnTo>
                    <a:lnTo>
                      <a:pt x="466229" y="152278"/>
                    </a:lnTo>
                    <a:lnTo>
                      <a:pt x="467290" y="149854"/>
                    </a:lnTo>
                    <a:lnTo>
                      <a:pt x="467745" y="148339"/>
                    </a:lnTo>
                    <a:lnTo>
                      <a:pt x="468502" y="146975"/>
                    </a:lnTo>
                    <a:lnTo>
                      <a:pt x="467896" y="145005"/>
                    </a:lnTo>
                    <a:lnTo>
                      <a:pt x="467290" y="143339"/>
                    </a:lnTo>
                    <a:lnTo>
                      <a:pt x="467138" y="141369"/>
                    </a:lnTo>
                    <a:lnTo>
                      <a:pt x="468199" y="140914"/>
                    </a:lnTo>
                    <a:lnTo>
                      <a:pt x="469563" y="140157"/>
                    </a:lnTo>
                    <a:lnTo>
                      <a:pt x="469866" y="138642"/>
                    </a:lnTo>
                    <a:lnTo>
                      <a:pt x="470623" y="136672"/>
                    </a:lnTo>
                    <a:lnTo>
                      <a:pt x="471230" y="135156"/>
                    </a:lnTo>
                    <a:lnTo>
                      <a:pt x="472139" y="133944"/>
                    </a:lnTo>
                    <a:lnTo>
                      <a:pt x="472290" y="132732"/>
                    </a:lnTo>
                    <a:lnTo>
                      <a:pt x="471684" y="130611"/>
                    </a:lnTo>
                    <a:lnTo>
                      <a:pt x="471078" y="129399"/>
                    </a:lnTo>
                    <a:lnTo>
                      <a:pt x="470926" y="128035"/>
                    </a:lnTo>
                    <a:lnTo>
                      <a:pt x="471533" y="126217"/>
                    </a:lnTo>
                    <a:lnTo>
                      <a:pt x="471381" y="122883"/>
                    </a:lnTo>
                    <a:lnTo>
                      <a:pt x="470169" y="120459"/>
                    </a:lnTo>
                    <a:lnTo>
                      <a:pt x="468654" y="119398"/>
                    </a:lnTo>
                    <a:lnTo>
                      <a:pt x="468805" y="118641"/>
                    </a:lnTo>
                    <a:lnTo>
                      <a:pt x="469412" y="116974"/>
                    </a:lnTo>
                    <a:lnTo>
                      <a:pt x="470169" y="115459"/>
                    </a:lnTo>
                    <a:lnTo>
                      <a:pt x="470169" y="112580"/>
                    </a:lnTo>
                    <a:lnTo>
                      <a:pt x="469108" y="109550"/>
                    </a:lnTo>
                    <a:lnTo>
                      <a:pt x="468654" y="105155"/>
                    </a:lnTo>
                    <a:lnTo>
                      <a:pt x="468957" y="100761"/>
                    </a:lnTo>
                    <a:lnTo>
                      <a:pt x="467593" y="98488"/>
                    </a:lnTo>
                    <a:lnTo>
                      <a:pt x="456380" y="98488"/>
                    </a:lnTo>
                    <a:lnTo>
                      <a:pt x="446380" y="98640"/>
                    </a:lnTo>
                    <a:lnTo>
                      <a:pt x="445774" y="98186"/>
                    </a:lnTo>
                    <a:lnTo>
                      <a:pt x="441835" y="92731"/>
                    </a:lnTo>
                    <a:lnTo>
                      <a:pt x="438653" y="88488"/>
                    </a:lnTo>
                    <a:lnTo>
                      <a:pt x="435471" y="86064"/>
                    </a:lnTo>
                    <a:lnTo>
                      <a:pt x="428349" y="83034"/>
                    </a:lnTo>
                    <a:lnTo>
                      <a:pt x="424864" y="81821"/>
                    </a:lnTo>
                    <a:lnTo>
                      <a:pt x="421985" y="79548"/>
                    </a:lnTo>
                    <a:lnTo>
                      <a:pt x="419561" y="76973"/>
                    </a:lnTo>
                    <a:lnTo>
                      <a:pt x="418955" y="73488"/>
                    </a:lnTo>
                    <a:lnTo>
                      <a:pt x="418500" y="72275"/>
                    </a:lnTo>
                    <a:lnTo>
                      <a:pt x="417743" y="71366"/>
                    </a:lnTo>
                    <a:lnTo>
                      <a:pt x="416985" y="70912"/>
                    </a:lnTo>
                    <a:lnTo>
                      <a:pt x="416076" y="71063"/>
                    </a:lnTo>
                    <a:lnTo>
                      <a:pt x="407742" y="66972"/>
                    </a:lnTo>
                    <a:lnTo>
                      <a:pt x="404409" y="65912"/>
                    </a:lnTo>
                    <a:lnTo>
                      <a:pt x="401227" y="66821"/>
                    </a:lnTo>
                    <a:lnTo>
                      <a:pt x="399863" y="66972"/>
                    </a:lnTo>
                    <a:lnTo>
                      <a:pt x="397136" y="65760"/>
                    </a:lnTo>
                    <a:lnTo>
                      <a:pt x="393954" y="67275"/>
                    </a:lnTo>
                    <a:lnTo>
                      <a:pt x="392590" y="67427"/>
                    </a:lnTo>
                    <a:lnTo>
                      <a:pt x="390772" y="67124"/>
                    </a:lnTo>
                    <a:lnTo>
                      <a:pt x="389257" y="66518"/>
                    </a:lnTo>
                    <a:lnTo>
                      <a:pt x="385014" y="62881"/>
                    </a:lnTo>
                    <a:lnTo>
                      <a:pt x="381529" y="61366"/>
                    </a:lnTo>
                    <a:lnTo>
                      <a:pt x="378954" y="60457"/>
                    </a:lnTo>
                    <a:lnTo>
                      <a:pt x="374105" y="59093"/>
                    </a:lnTo>
                    <a:lnTo>
                      <a:pt x="368953" y="58336"/>
                    </a:lnTo>
                    <a:lnTo>
                      <a:pt x="366225" y="57730"/>
                    </a:lnTo>
                    <a:lnTo>
                      <a:pt x="364256" y="56972"/>
                    </a:lnTo>
                    <a:lnTo>
                      <a:pt x="363802" y="56517"/>
                    </a:lnTo>
                    <a:lnTo>
                      <a:pt x="363802" y="55154"/>
                    </a:lnTo>
                    <a:lnTo>
                      <a:pt x="363650" y="53335"/>
                    </a:lnTo>
                    <a:lnTo>
                      <a:pt x="363044" y="51972"/>
                    </a:lnTo>
                    <a:lnTo>
                      <a:pt x="361680" y="50456"/>
                    </a:lnTo>
                    <a:lnTo>
                      <a:pt x="359862" y="49244"/>
                    </a:lnTo>
                    <a:lnTo>
                      <a:pt x="356680" y="49396"/>
                    </a:lnTo>
                    <a:lnTo>
                      <a:pt x="351983" y="49244"/>
                    </a:lnTo>
                    <a:lnTo>
                      <a:pt x="348346" y="48032"/>
                    </a:lnTo>
                    <a:lnTo>
                      <a:pt x="345467" y="47881"/>
                    </a:lnTo>
                    <a:lnTo>
                      <a:pt x="341983" y="48032"/>
                    </a:lnTo>
                    <a:lnTo>
                      <a:pt x="339104" y="48032"/>
                    </a:lnTo>
                    <a:lnTo>
                      <a:pt x="337134" y="48941"/>
                    </a:lnTo>
                    <a:lnTo>
                      <a:pt x="335921" y="50002"/>
                    </a:lnTo>
                    <a:lnTo>
                      <a:pt x="335164" y="53032"/>
                    </a:lnTo>
                    <a:lnTo>
                      <a:pt x="334406" y="53487"/>
                    </a:lnTo>
                    <a:lnTo>
                      <a:pt x="333194" y="53638"/>
                    </a:lnTo>
                    <a:lnTo>
                      <a:pt x="331679" y="53487"/>
                    </a:lnTo>
                    <a:lnTo>
                      <a:pt x="328345" y="53487"/>
                    </a:lnTo>
                    <a:lnTo>
                      <a:pt x="322588" y="52881"/>
                    </a:lnTo>
                    <a:lnTo>
                      <a:pt x="315466" y="52729"/>
                    </a:lnTo>
                    <a:lnTo>
                      <a:pt x="310011" y="54244"/>
                    </a:lnTo>
                    <a:lnTo>
                      <a:pt x="305769" y="56517"/>
                    </a:lnTo>
                    <a:lnTo>
                      <a:pt x="301678" y="58942"/>
                    </a:lnTo>
                    <a:lnTo>
                      <a:pt x="296829" y="62881"/>
                    </a:lnTo>
                    <a:lnTo>
                      <a:pt x="296375" y="64245"/>
                    </a:lnTo>
                    <a:lnTo>
                      <a:pt x="293496" y="71215"/>
                    </a:lnTo>
                    <a:lnTo>
                      <a:pt x="292284" y="72275"/>
                    </a:lnTo>
                    <a:lnTo>
                      <a:pt x="290617" y="73033"/>
                    </a:lnTo>
                    <a:lnTo>
                      <a:pt x="288950" y="73185"/>
                    </a:lnTo>
                    <a:lnTo>
                      <a:pt x="285617" y="74245"/>
                    </a:lnTo>
                    <a:lnTo>
                      <a:pt x="281223" y="75912"/>
                    </a:lnTo>
                    <a:lnTo>
                      <a:pt x="278192" y="76518"/>
                    </a:lnTo>
                    <a:lnTo>
                      <a:pt x="270616" y="76215"/>
                    </a:lnTo>
                    <a:lnTo>
                      <a:pt x="271677" y="81367"/>
                    </a:lnTo>
                    <a:lnTo>
                      <a:pt x="273495" y="88488"/>
                    </a:lnTo>
                    <a:lnTo>
                      <a:pt x="273646" y="90155"/>
                    </a:lnTo>
                    <a:lnTo>
                      <a:pt x="273495" y="91822"/>
                    </a:lnTo>
                    <a:lnTo>
                      <a:pt x="272283" y="92731"/>
                    </a:lnTo>
                    <a:lnTo>
                      <a:pt x="270465" y="92882"/>
                    </a:lnTo>
                    <a:lnTo>
                      <a:pt x="266677" y="92731"/>
                    </a:lnTo>
                    <a:lnTo>
                      <a:pt x="264252" y="91670"/>
                    </a:lnTo>
                    <a:lnTo>
                      <a:pt x="268343" y="90761"/>
                    </a:lnTo>
                    <a:lnTo>
                      <a:pt x="270768" y="89246"/>
                    </a:lnTo>
                    <a:lnTo>
                      <a:pt x="266677" y="89246"/>
                    </a:lnTo>
                    <a:lnTo>
                      <a:pt x="255918" y="91216"/>
                    </a:lnTo>
                    <a:lnTo>
                      <a:pt x="223493" y="98943"/>
                    </a:lnTo>
                    <a:lnTo>
                      <a:pt x="211826" y="99095"/>
                    </a:lnTo>
                    <a:lnTo>
                      <a:pt x="194250" y="95155"/>
                    </a:lnTo>
                    <a:lnTo>
                      <a:pt x="188946" y="93034"/>
                    </a:lnTo>
                    <a:lnTo>
                      <a:pt x="178189" y="86670"/>
                    </a:lnTo>
                    <a:lnTo>
                      <a:pt x="172885" y="82427"/>
                    </a:lnTo>
                    <a:lnTo>
                      <a:pt x="169552" y="76518"/>
                    </a:lnTo>
                    <a:lnTo>
                      <a:pt x="168491" y="75306"/>
                    </a:lnTo>
                    <a:lnTo>
                      <a:pt x="167279" y="74397"/>
                    </a:lnTo>
                    <a:lnTo>
                      <a:pt x="163188" y="73185"/>
                    </a:lnTo>
                    <a:lnTo>
                      <a:pt x="156218" y="72124"/>
                    </a:lnTo>
                    <a:lnTo>
                      <a:pt x="149248" y="71669"/>
                    </a:lnTo>
                    <a:lnTo>
                      <a:pt x="146520" y="70912"/>
                    </a:lnTo>
                    <a:lnTo>
                      <a:pt x="141066" y="68336"/>
                    </a:lnTo>
                    <a:lnTo>
                      <a:pt x="138641" y="66215"/>
                    </a:lnTo>
                    <a:lnTo>
                      <a:pt x="136823" y="62730"/>
                    </a:lnTo>
                    <a:lnTo>
                      <a:pt x="135308" y="59093"/>
                    </a:lnTo>
                    <a:lnTo>
                      <a:pt x="134399" y="55154"/>
                    </a:lnTo>
                    <a:lnTo>
                      <a:pt x="133793" y="51063"/>
                    </a:lnTo>
                    <a:lnTo>
                      <a:pt x="132884" y="43183"/>
                    </a:lnTo>
                    <a:lnTo>
                      <a:pt x="132884" y="41820"/>
                    </a:lnTo>
                    <a:lnTo>
                      <a:pt x="132126" y="41820"/>
                    </a:lnTo>
                    <a:lnTo>
                      <a:pt x="126520" y="43032"/>
                    </a:lnTo>
                    <a:lnTo>
                      <a:pt x="125308" y="42578"/>
                    </a:lnTo>
                    <a:lnTo>
                      <a:pt x="120459" y="36971"/>
                    </a:lnTo>
                    <a:lnTo>
                      <a:pt x="119398" y="36365"/>
                    </a:lnTo>
                    <a:lnTo>
                      <a:pt x="117277" y="36062"/>
                    </a:lnTo>
                    <a:lnTo>
                      <a:pt x="116065" y="35153"/>
                    </a:lnTo>
                    <a:lnTo>
                      <a:pt x="115004" y="33638"/>
                    </a:lnTo>
                    <a:lnTo>
                      <a:pt x="114398" y="32577"/>
                    </a:lnTo>
                    <a:lnTo>
                      <a:pt x="109398" y="29547"/>
                    </a:lnTo>
                    <a:lnTo>
                      <a:pt x="108640" y="28486"/>
                    </a:lnTo>
                    <a:lnTo>
                      <a:pt x="108489" y="27577"/>
                    </a:lnTo>
                    <a:lnTo>
                      <a:pt x="109246" y="26668"/>
                    </a:lnTo>
                    <a:lnTo>
                      <a:pt x="110155" y="25910"/>
                    </a:lnTo>
                    <a:lnTo>
                      <a:pt x="112580" y="25152"/>
                    </a:lnTo>
                    <a:lnTo>
                      <a:pt x="115459" y="24547"/>
                    </a:lnTo>
                    <a:lnTo>
                      <a:pt x="116368" y="24092"/>
                    </a:lnTo>
                    <a:lnTo>
                      <a:pt x="116822" y="23334"/>
                    </a:lnTo>
                    <a:lnTo>
                      <a:pt x="116822" y="21971"/>
                    </a:lnTo>
                    <a:lnTo>
                      <a:pt x="116368" y="20758"/>
                    </a:lnTo>
                    <a:lnTo>
                      <a:pt x="112277" y="18486"/>
                    </a:lnTo>
                    <a:lnTo>
                      <a:pt x="111822" y="17425"/>
                    </a:lnTo>
                    <a:lnTo>
                      <a:pt x="111671" y="16213"/>
                    </a:lnTo>
                    <a:lnTo>
                      <a:pt x="111974" y="15001"/>
                    </a:lnTo>
                    <a:lnTo>
                      <a:pt x="112580" y="13940"/>
                    </a:lnTo>
                    <a:lnTo>
                      <a:pt x="115913" y="12576"/>
                    </a:lnTo>
                    <a:lnTo>
                      <a:pt x="117731" y="11213"/>
                    </a:lnTo>
                    <a:lnTo>
                      <a:pt x="116671" y="9697"/>
                    </a:lnTo>
                    <a:lnTo>
                      <a:pt x="113034" y="6061"/>
                    </a:lnTo>
                    <a:lnTo>
                      <a:pt x="108792" y="2121"/>
                    </a:lnTo>
                    <a:lnTo>
                      <a:pt x="105913" y="2121"/>
                    </a:lnTo>
                    <a:lnTo>
                      <a:pt x="102579" y="3333"/>
                    </a:lnTo>
                    <a:lnTo>
                      <a:pt x="97428" y="6667"/>
                    </a:lnTo>
                    <a:lnTo>
                      <a:pt x="94549" y="8182"/>
                    </a:lnTo>
                    <a:lnTo>
                      <a:pt x="90761" y="10607"/>
                    </a:lnTo>
                    <a:lnTo>
                      <a:pt x="86670" y="13334"/>
                    </a:lnTo>
                    <a:lnTo>
                      <a:pt x="83336" y="16213"/>
                    </a:lnTo>
                    <a:lnTo>
                      <a:pt x="81215" y="18486"/>
                    </a:lnTo>
                    <a:lnTo>
                      <a:pt x="77427" y="19546"/>
                    </a:lnTo>
                    <a:lnTo>
                      <a:pt x="75458" y="21516"/>
                    </a:lnTo>
                    <a:lnTo>
                      <a:pt x="69245" y="27425"/>
                    </a:lnTo>
                    <a:lnTo>
                      <a:pt x="67427" y="27425"/>
                    </a:lnTo>
                    <a:lnTo>
                      <a:pt x="62729" y="27274"/>
                    </a:lnTo>
                    <a:lnTo>
                      <a:pt x="58638" y="28637"/>
                    </a:lnTo>
                    <a:lnTo>
                      <a:pt x="57123" y="28335"/>
                    </a:lnTo>
                    <a:lnTo>
                      <a:pt x="51820" y="27425"/>
                    </a:lnTo>
                    <a:lnTo>
                      <a:pt x="42274" y="25304"/>
                    </a:lnTo>
                    <a:lnTo>
                      <a:pt x="39698" y="24243"/>
                    </a:lnTo>
                    <a:lnTo>
                      <a:pt x="37274" y="21364"/>
                    </a:lnTo>
                    <a:lnTo>
                      <a:pt x="35759" y="20001"/>
                    </a:lnTo>
                    <a:lnTo>
                      <a:pt x="33638" y="18183"/>
                    </a:lnTo>
                    <a:lnTo>
                      <a:pt x="31819" y="17576"/>
                    </a:lnTo>
                    <a:lnTo>
                      <a:pt x="30456" y="16364"/>
                    </a:lnTo>
                    <a:lnTo>
                      <a:pt x="29698" y="14546"/>
                    </a:lnTo>
                    <a:lnTo>
                      <a:pt x="28637" y="12879"/>
                    </a:lnTo>
                    <a:lnTo>
                      <a:pt x="26668" y="10910"/>
                    </a:lnTo>
                    <a:lnTo>
                      <a:pt x="22274" y="4394"/>
                    </a:lnTo>
                    <a:lnTo>
                      <a:pt x="21667" y="3637"/>
                    </a:lnTo>
                    <a:lnTo>
                      <a:pt x="20758" y="3637"/>
                    </a:lnTo>
                    <a:lnTo>
                      <a:pt x="19243" y="2727"/>
                    </a:lnTo>
                    <a:lnTo>
                      <a:pt x="15455" y="0"/>
                    </a:lnTo>
                    <a:lnTo>
                      <a:pt x="13485" y="1212"/>
                    </a:lnTo>
                    <a:lnTo>
                      <a:pt x="11819" y="3333"/>
                    </a:lnTo>
                    <a:lnTo>
                      <a:pt x="10000" y="11213"/>
                    </a:lnTo>
                    <a:lnTo>
                      <a:pt x="8485" y="12122"/>
                    </a:lnTo>
                    <a:lnTo>
                      <a:pt x="5909" y="12122"/>
                    </a:lnTo>
                    <a:lnTo>
                      <a:pt x="2727" y="11819"/>
                    </a:lnTo>
                    <a:lnTo>
                      <a:pt x="606" y="12273"/>
                    </a:lnTo>
                    <a:lnTo>
                      <a:pt x="0" y="12728"/>
                    </a:lnTo>
                    <a:lnTo>
                      <a:pt x="303" y="13637"/>
                    </a:lnTo>
                    <a:lnTo>
                      <a:pt x="909" y="14849"/>
                    </a:lnTo>
                    <a:lnTo>
                      <a:pt x="1364" y="16516"/>
                    </a:lnTo>
                    <a:lnTo>
                      <a:pt x="1515" y="17880"/>
                    </a:lnTo>
                    <a:lnTo>
                      <a:pt x="2727" y="19092"/>
                    </a:lnTo>
                    <a:lnTo>
                      <a:pt x="4243" y="20304"/>
                    </a:lnTo>
                    <a:lnTo>
                      <a:pt x="4243" y="21516"/>
                    </a:lnTo>
                    <a:lnTo>
                      <a:pt x="3940" y="23183"/>
                    </a:lnTo>
                    <a:lnTo>
                      <a:pt x="3636" y="24395"/>
                    </a:lnTo>
                    <a:lnTo>
                      <a:pt x="3182" y="25152"/>
                    </a:lnTo>
                    <a:lnTo>
                      <a:pt x="3940" y="27122"/>
                    </a:lnTo>
                    <a:lnTo>
                      <a:pt x="5606" y="29395"/>
                    </a:lnTo>
                    <a:lnTo>
                      <a:pt x="6667" y="30304"/>
                    </a:lnTo>
                    <a:lnTo>
                      <a:pt x="6212" y="34547"/>
                    </a:lnTo>
                    <a:lnTo>
                      <a:pt x="6819" y="36517"/>
                    </a:lnTo>
                    <a:lnTo>
                      <a:pt x="7273" y="39092"/>
                    </a:lnTo>
                    <a:lnTo>
                      <a:pt x="7121" y="43487"/>
                    </a:lnTo>
                    <a:lnTo>
                      <a:pt x="7273" y="44547"/>
                    </a:lnTo>
                    <a:lnTo>
                      <a:pt x="7879" y="44850"/>
                    </a:lnTo>
                    <a:lnTo>
                      <a:pt x="9394" y="45002"/>
                    </a:lnTo>
                    <a:lnTo>
                      <a:pt x="10910" y="45456"/>
                    </a:lnTo>
                    <a:lnTo>
                      <a:pt x="11364" y="46214"/>
                    </a:lnTo>
                    <a:lnTo>
                      <a:pt x="11364" y="46668"/>
                    </a:lnTo>
                    <a:lnTo>
                      <a:pt x="9546" y="48638"/>
                    </a:lnTo>
                    <a:lnTo>
                      <a:pt x="9394" y="50002"/>
                    </a:lnTo>
                    <a:lnTo>
                      <a:pt x="8788" y="51972"/>
                    </a:lnTo>
                    <a:lnTo>
                      <a:pt x="8182" y="53184"/>
                    </a:lnTo>
                    <a:lnTo>
                      <a:pt x="6515" y="55457"/>
                    </a:lnTo>
                    <a:lnTo>
                      <a:pt x="5455" y="57730"/>
                    </a:lnTo>
                    <a:lnTo>
                      <a:pt x="5000" y="59548"/>
                    </a:lnTo>
                    <a:lnTo>
                      <a:pt x="5303" y="60457"/>
                    </a:lnTo>
                    <a:lnTo>
                      <a:pt x="8333" y="60760"/>
                    </a:lnTo>
                    <a:lnTo>
                      <a:pt x="10000" y="62124"/>
                    </a:lnTo>
                    <a:lnTo>
                      <a:pt x="14546" y="64851"/>
                    </a:lnTo>
                    <a:lnTo>
                      <a:pt x="15304" y="65912"/>
                    </a:lnTo>
                    <a:lnTo>
                      <a:pt x="14091" y="67578"/>
                    </a:lnTo>
                    <a:lnTo>
                      <a:pt x="14091" y="68336"/>
                    </a:lnTo>
                    <a:lnTo>
                      <a:pt x="14698" y="69245"/>
                    </a:lnTo>
                    <a:lnTo>
                      <a:pt x="15000" y="70760"/>
                    </a:lnTo>
                    <a:lnTo>
                      <a:pt x="14849" y="72427"/>
                    </a:lnTo>
                    <a:lnTo>
                      <a:pt x="14849" y="74700"/>
                    </a:lnTo>
                    <a:lnTo>
                      <a:pt x="15607" y="75003"/>
                    </a:lnTo>
                    <a:lnTo>
                      <a:pt x="18637" y="77124"/>
                    </a:lnTo>
                    <a:lnTo>
                      <a:pt x="20758" y="79245"/>
                    </a:lnTo>
                    <a:lnTo>
                      <a:pt x="20758" y="79851"/>
                    </a:lnTo>
                    <a:lnTo>
                      <a:pt x="19698" y="81518"/>
                    </a:lnTo>
                    <a:lnTo>
                      <a:pt x="20001" y="83488"/>
                    </a:lnTo>
                    <a:lnTo>
                      <a:pt x="20001" y="83943"/>
                    </a:lnTo>
                    <a:lnTo>
                      <a:pt x="20001" y="84246"/>
                    </a:lnTo>
                    <a:lnTo>
                      <a:pt x="20910" y="86518"/>
                    </a:lnTo>
                    <a:lnTo>
                      <a:pt x="23183" y="94852"/>
                    </a:lnTo>
                    <a:lnTo>
                      <a:pt x="24395" y="95913"/>
                    </a:lnTo>
                    <a:lnTo>
                      <a:pt x="25910" y="96822"/>
                    </a:lnTo>
                    <a:lnTo>
                      <a:pt x="26971" y="98034"/>
                    </a:lnTo>
                    <a:lnTo>
                      <a:pt x="27425" y="99246"/>
                    </a:lnTo>
                    <a:lnTo>
                      <a:pt x="27274" y="101216"/>
                    </a:lnTo>
                    <a:lnTo>
                      <a:pt x="27274" y="103489"/>
                    </a:lnTo>
                    <a:lnTo>
                      <a:pt x="27880" y="105155"/>
                    </a:lnTo>
                    <a:lnTo>
                      <a:pt x="28789" y="106519"/>
                    </a:lnTo>
                    <a:lnTo>
                      <a:pt x="29547" y="107125"/>
                    </a:lnTo>
                    <a:lnTo>
                      <a:pt x="30759" y="107125"/>
                    </a:lnTo>
                    <a:lnTo>
                      <a:pt x="32122" y="107428"/>
                    </a:lnTo>
                    <a:lnTo>
                      <a:pt x="33031" y="108640"/>
                    </a:lnTo>
                    <a:lnTo>
                      <a:pt x="36062" y="118035"/>
                    </a:lnTo>
                    <a:lnTo>
                      <a:pt x="36365" y="119247"/>
                    </a:lnTo>
                    <a:lnTo>
                      <a:pt x="37577" y="119701"/>
                    </a:lnTo>
                    <a:lnTo>
                      <a:pt x="39698" y="119550"/>
                    </a:lnTo>
                    <a:lnTo>
                      <a:pt x="41820" y="120459"/>
                    </a:lnTo>
                    <a:lnTo>
                      <a:pt x="44093" y="121974"/>
                    </a:lnTo>
                    <a:lnTo>
                      <a:pt x="46214" y="124853"/>
                    </a:lnTo>
                    <a:lnTo>
                      <a:pt x="47729" y="125308"/>
                    </a:lnTo>
                    <a:lnTo>
                      <a:pt x="52275" y="124853"/>
                    </a:lnTo>
                    <a:lnTo>
                      <a:pt x="58487" y="125308"/>
                    </a:lnTo>
                    <a:lnTo>
                      <a:pt x="61366" y="126823"/>
                    </a:lnTo>
                    <a:lnTo>
                      <a:pt x="61063" y="127732"/>
                    </a:lnTo>
                    <a:lnTo>
                      <a:pt x="58790" y="128793"/>
                    </a:lnTo>
                    <a:lnTo>
                      <a:pt x="54850" y="130005"/>
                    </a:lnTo>
                    <a:lnTo>
                      <a:pt x="53638" y="131975"/>
                    </a:lnTo>
                    <a:lnTo>
                      <a:pt x="53032" y="134550"/>
                    </a:lnTo>
                    <a:lnTo>
                      <a:pt x="53184" y="136066"/>
                    </a:lnTo>
                    <a:lnTo>
                      <a:pt x="54093" y="137732"/>
                    </a:lnTo>
                    <a:lnTo>
                      <a:pt x="56820" y="140914"/>
                    </a:lnTo>
                    <a:lnTo>
                      <a:pt x="56972" y="142126"/>
                    </a:lnTo>
                    <a:lnTo>
                      <a:pt x="57427" y="143793"/>
                    </a:lnTo>
                    <a:lnTo>
                      <a:pt x="57881" y="144854"/>
                    </a:lnTo>
                    <a:lnTo>
                      <a:pt x="57275" y="146975"/>
                    </a:lnTo>
                    <a:lnTo>
                      <a:pt x="54699" y="148490"/>
                    </a:lnTo>
                    <a:lnTo>
                      <a:pt x="51365" y="150157"/>
                    </a:lnTo>
                    <a:lnTo>
                      <a:pt x="44699" y="157279"/>
                    </a:lnTo>
                    <a:lnTo>
                      <a:pt x="44244" y="158794"/>
                    </a:lnTo>
                    <a:lnTo>
                      <a:pt x="44244" y="163036"/>
                    </a:lnTo>
                    <a:lnTo>
                      <a:pt x="43638" y="164249"/>
                    </a:lnTo>
                    <a:lnTo>
                      <a:pt x="41517" y="164249"/>
                    </a:lnTo>
                    <a:lnTo>
                      <a:pt x="39850" y="164097"/>
                    </a:lnTo>
                    <a:lnTo>
                      <a:pt x="39698" y="165612"/>
                    </a:lnTo>
                    <a:lnTo>
                      <a:pt x="38638" y="167582"/>
                    </a:lnTo>
                    <a:lnTo>
                      <a:pt x="38032" y="169249"/>
                    </a:lnTo>
                    <a:lnTo>
                      <a:pt x="40456" y="173188"/>
                    </a:lnTo>
                    <a:lnTo>
                      <a:pt x="40911" y="175310"/>
                    </a:lnTo>
                    <a:lnTo>
                      <a:pt x="40456" y="177279"/>
                    </a:lnTo>
                    <a:lnTo>
                      <a:pt x="38183" y="180613"/>
                    </a:lnTo>
                    <a:lnTo>
                      <a:pt x="36819" y="182886"/>
                    </a:lnTo>
                    <a:lnTo>
                      <a:pt x="37123" y="183340"/>
                    </a:lnTo>
                    <a:lnTo>
                      <a:pt x="38941" y="184249"/>
                    </a:lnTo>
                    <a:lnTo>
                      <a:pt x="44395" y="191522"/>
                    </a:lnTo>
                    <a:lnTo>
                      <a:pt x="46214" y="194098"/>
                    </a:lnTo>
                    <a:lnTo>
                      <a:pt x="48487" y="193492"/>
                    </a:lnTo>
                    <a:lnTo>
                      <a:pt x="49396" y="193492"/>
                    </a:lnTo>
                    <a:lnTo>
                      <a:pt x="50002" y="193947"/>
                    </a:lnTo>
                    <a:lnTo>
                      <a:pt x="50456" y="194856"/>
                    </a:lnTo>
                    <a:lnTo>
                      <a:pt x="50456" y="195916"/>
                    </a:lnTo>
                    <a:lnTo>
                      <a:pt x="49850" y="197583"/>
                    </a:lnTo>
                    <a:lnTo>
                      <a:pt x="52729" y="198189"/>
                    </a:lnTo>
                    <a:lnTo>
                      <a:pt x="53790" y="199856"/>
                    </a:lnTo>
                    <a:lnTo>
                      <a:pt x="57275" y="205462"/>
                    </a:lnTo>
                    <a:lnTo>
                      <a:pt x="57123" y="207129"/>
                    </a:lnTo>
                    <a:lnTo>
                      <a:pt x="55457" y="209856"/>
                    </a:lnTo>
                    <a:lnTo>
                      <a:pt x="55457" y="211674"/>
                    </a:lnTo>
                    <a:lnTo>
                      <a:pt x="55760" y="213341"/>
                    </a:lnTo>
                    <a:lnTo>
                      <a:pt x="56366" y="213947"/>
                    </a:lnTo>
                    <a:lnTo>
                      <a:pt x="61366" y="214099"/>
                    </a:lnTo>
                    <a:lnTo>
                      <a:pt x="63487" y="214705"/>
                    </a:lnTo>
                    <a:lnTo>
                      <a:pt x="68791" y="217584"/>
                    </a:lnTo>
                    <a:lnTo>
                      <a:pt x="74851" y="221978"/>
                    </a:lnTo>
                    <a:lnTo>
                      <a:pt x="79700" y="225614"/>
                    </a:lnTo>
                    <a:lnTo>
                      <a:pt x="83943" y="228645"/>
                    </a:lnTo>
                    <a:lnTo>
                      <a:pt x="88488" y="228493"/>
                    </a:lnTo>
                    <a:lnTo>
                      <a:pt x="89700" y="229099"/>
                    </a:lnTo>
                    <a:lnTo>
                      <a:pt x="90761" y="230009"/>
                    </a:lnTo>
                    <a:lnTo>
                      <a:pt x="91973" y="232584"/>
                    </a:lnTo>
                    <a:lnTo>
                      <a:pt x="94549" y="238342"/>
                    </a:lnTo>
                    <a:lnTo>
                      <a:pt x="96670" y="240312"/>
                    </a:lnTo>
                    <a:lnTo>
                      <a:pt x="100004" y="244857"/>
                    </a:lnTo>
                    <a:lnTo>
                      <a:pt x="103186" y="249100"/>
                    </a:lnTo>
                    <a:lnTo>
                      <a:pt x="101064" y="254858"/>
                    </a:lnTo>
                    <a:lnTo>
                      <a:pt x="99095" y="260919"/>
                    </a:lnTo>
                    <a:lnTo>
                      <a:pt x="99095" y="268646"/>
                    </a:lnTo>
                    <a:lnTo>
                      <a:pt x="99095" y="272889"/>
                    </a:lnTo>
                    <a:lnTo>
                      <a:pt x="103337" y="273040"/>
                    </a:lnTo>
                    <a:lnTo>
                      <a:pt x="108034" y="273192"/>
                    </a:lnTo>
                    <a:lnTo>
                      <a:pt x="108034" y="278192"/>
                    </a:lnTo>
                    <a:lnTo>
                      <a:pt x="108034" y="283192"/>
                    </a:lnTo>
                    <a:lnTo>
                      <a:pt x="108034" y="288950"/>
                    </a:lnTo>
                    <a:lnTo>
                      <a:pt x="109398" y="289253"/>
                    </a:lnTo>
                    <a:lnTo>
                      <a:pt x="111671" y="290465"/>
                    </a:lnTo>
                    <a:lnTo>
                      <a:pt x="112580" y="292284"/>
                    </a:lnTo>
                    <a:lnTo>
                      <a:pt x="113792" y="293344"/>
                    </a:lnTo>
                    <a:lnTo>
                      <a:pt x="115307" y="293496"/>
                    </a:lnTo>
                    <a:lnTo>
                      <a:pt x="116671" y="294405"/>
                    </a:lnTo>
                    <a:lnTo>
                      <a:pt x="118035" y="296072"/>
                    </a:lnTo>
                    <a:lnTo>
                      <a:pt x="118489" y="297284"/>
                    </a:lnTo>
                    <a:lnTo>
                      <a:pt x="118186" y="298193"/>
                    </a:lnTo>
                    <a:lnTo>
                      <a:pt x="118489" y="299708"/>
                    </a:lnTo>
                    <a:lnTo>
                      <a:pt x="119398" y="301829"/>
                    </a:lnTo>
                    <a:lnTo>
                      <a:pt x="120610" y="302890"/>
                    </a:lnTo>
                    <a:lnTo>
                      <a:pt x="122429" y="304102"/>
                    </a:lnTo>
                    <a:lnTo>
                      <a:pt x="123792" y="303648"/>
                    </a:lnTo>
                    <a:lnTo>
                      <a:pt x="125914" y="302132"/>
                    </a:lnTo>
                    <a:lnTo>
                      <a:pt x="130308" y="301981"/>
                    </a:lnTo>
                    <a:lnTo>
                      <a:pt x="131368" y="301223"/>
                    </a:lnTo>
                    <a:lnTo>
                      <a:pt x="132732" y="299405"/>
                    </a:lnTo>
                    <a:lnTo>
                      <a:pt x="132429" y="295768"/>
                    </a:lnTo>
                    <a:lnTo>
                      <a:pt x="131974" y="293193"/>
                    </a:lnTo>
                    <a:lnTo>
                      <a:pt x="132732" y="291071"/>
                    </a:lnTo>
                    <a:lnTo>
                      <a:pt x="136066" y="289405"/>
                    </a:lnTo>
                    <a:lnTo>
                      <a:pt x="135156" y="287738"/>
                    </a:lnTo>
                    <a:lnTo>
                      <a:pt x="138641" y="287586"/>
                    </a:lnTo>
                    <a:lnTo>
                      <a:pt x="141217" y="288647"/>
                    </a:lnTo>
                    <a:lnTo>
                      <a:pt x="141823" y="290465"/>
                    </a:lnTo>
                    <a:lnTo>
                      <a:pt x="140308" y="291526"/>
                    </a:lnTo>
                    <a:lnTo>
                      <a:pt x="137732" y="290617"/>
                    </a:lnTo>
                    <a:lnTo>
                      <a:pt x="136369" y="290920"/>
                    </a:lnTo>
                    <a:lnTo>
                      <a:pt x="135005" y="291677"/>
                    </a:lnTo>
                    <a:lnTo>
                      <a:pt x="135762" y="292890"/>
                    </a:lnTo>
                    <a:lnTo>
                      <a:pt x="136520" y="293647"/>
                    </a:lnTo>
                    <a:lnTo>
                      <a:pt x="146824" y="298950"/>
                    </a:lnTo>
                    <a:lnTo>
                      <a:pt x="150308" y="301981"/>
                    </a:lnTo>
                    <a:lnTo>
                      <a:pt x="161976" y="296526"/>
                    </a:lnTo>
                    <a:lnTo>
                      <a:pt x="164400" y="296829"/>
                    </a:lnTo>
                    <a:lnTo>
                      <a:pt x="165915" y="301375"/>
                    </a:lnTo>
                    <a:lnTo>
                      <a:pt x="166976" y="305163"/>
                    </a:lnTo>
                    <a:lnTo>
                      <a:pt x="168643" y="306678"/>
                    </a:lnTo>
                    <a:lnTo>
                      <a:pt x="172885" y="312436"/>
                    </a:lnTo>
                    <a:lnTo>
                      <a:pt x="177128" y="316375"/>
                    </a:lnTo>
                    <a:lnTo>
                      <a:pt x="180007" y="320163"/>
                    </a:lnTo>
                    <a:lnTo>
                      <a:pt x="180461" y="322588"/>
                    </a:lnTo>
                    <a:lnTo>
                      <a:pt x="179855" y="326376"/>
                    </a:lnTo>
                    <a:lnTo>
                      <a:pt x="180613" y="328345"/>
                    </a:lnTo>
                    <a:lnTo>
                      <a:pt x="183946" y="329255"/>
                    </a:lnTo>
                    <a:lnTo>
                      <a:pt x="186067" y="330921"/>
                    </a:lnTo>
                    <a:lnTo>
                      <a:pt x="186067" y="332588"/>
                    </a:lnTo>
                    <a:lnTo>
                      <a:pt x="185158" y="334861"/>
                    </a:lnTo>
                    <a:lnTo>
                      <a:pt x="185765" y="336528"/>
                    </a:lnTo>
                    <a:lnTo>
                      <a:pt x="190007" y="339103"/>
                    </a:lnTo>
                    <a:lnTo>
                      <a:pt x="191067" y="340770"/>
                    </a:lnTo>
                    <a:lnTo>
                      <a:pt x="191977" y="347134"/>
                    </a:lnTo>
                    <a:lnTo>
                      <a:pt x="192886" y="349407"/>
                    </a:lnTo>
                    <a:lnTo>
                      <a:pt x="196977" y="355771"/>
                    </a:lnTo>
                    <a:lnTo>
                      <a:pt x="197129" y="358347"/>
                    </a:lnTo>
                    <a:lnTo>
                      <a:pt x="203644" y="364862"/>
                    </a:lnTo>
                    <a:lnTo>
                      <a:pt x="205614" y="366225"/>
                    </a:lnTo>
                    <a:lnTo>
                      <a:pt x="207735" y="366832"/>
                    </a:lnTo>
                    <a:lnTo>
                      <a:pt x="212584" y="366680"/>
                    </a:lnTo>
                    <a:lnTo>
                      <a:pt x="217735" y="367438"/>
                    </a:lnTo>
                    <a:lnTo>
                      <a:pt x="222130" y="370620"/>
                    </a:lnTo>
                    <a:lnTo>
                      <a:pt x="229857" y="373650"/>
                    </a:lnTo>
                    <a:lnTo>
                      <a:pt x="233342" y="377287"/>
                    </a:lnTo>
                    <a:lnTo>
                      <a:pt x="234251" y="380317"/>
                    </a:lnTo>
                    <a:lnTo>
                      <a:pt x="235766" y="382287"/>
                    </a:lnTo>
                    <a:lnTo>
                      <a:pt x="243797" y="387590"/>
                    </a:lnTo>
                    <a:lnTo>
                      <a:pt x="253646" y="391681"/>
                    </a:lnTo>
                    <a:lnTo>
                      <a:pt x="256676" y="393499"/>
                    </a:lnTo>
                    <a:lnTo>
                      <a:pt x="258040" y="396227"/>
                    </a:lnTo>
                    <a:lnTo>
                      <a:pt x="263494" y="399863"/>
                    </a:lnTo>
                    <a:lnTo>
                      <a:pt x="266677" y="400318"/>
                    </a:lnTo>
                    <a:lnTo>
                      <a:pt x="273495" y="399560"/>
                    </a:lnTo>
                    <a:lnTo>
                      <a:pt x="278344" y="400621"/>
                    </a:lnTo>
                    <a:lnTo>
                      <a:pt x="285920" y="403803"/>
                    </a:lnTo>
                    <a:lnTo>
                      <a:pt x="289253" y="406075"/>
                    </a:lnTo>
                    <a:lnTo>
                      <a:pt x="292435" y="406227"/>
                    </a:lnTo>
                    <a:lnTo>
                      <a:pt x="296223" y="404712"/>
                    </a:lnTo>
                    <a:lnTo>
                      <a:pt x="303344" y="399712"/>
                    </a:lnTo>
                    <a:lnTo>
                      <a:pt x="307132" y="397893"/>
                    </a:lnTo>
                    <a:lnTo>
                      <a:pt x="310618" y="398348"/>
                    </a:lnTo>
                    <a:lnTo>
                      <a:pt x="313193" y="396681"/>
                    </a:lnTo>
                    <a:lnTo>
                      <a:pt x="315163" y="393651"/>
                    </a:lnTo>
                    <a:lnTo>
                      <a:pt x="316830" y="392287"/>
                    </a:lnTo>
                    <a:lnTo>
                      <a:pt x="324861" y="390469"/>
                    </a:lnTo>
                    <a:lnTo>
                      <a:pt x="329709" y="387438"/>
                    </a:lnTo>
                    <a:lnTo>
                      <a:pt x="334255" y="386075"/>
                    </a:lnTo>
                    <a:lnTo>
                      <a:pt x="336225" y="385772"/>
                    </a:lnTo>
                    <a:lnTo>
                      <a:pt x="346376" y="387893"/>
                    </a:lnTo>
                    <a:lnTo>
                      <a:pt x="348649" y="388954"/>
                    </a:lnTo>
                    <a:lnTo>
                      <a:pt x="351377" y="391681"/>
                    </a:lnTo>
                    <a:lnTo>
                      <a:pt x="353347" y="394257"/>
                    </a:lnTo>
                    <a:lnTo>
                      <a:pt x="354861" y="397287"/>
                    </a:lnTo>
                    <a:lnTo>
                      <a:pt x="355771" y="400772"/>
                    </a:lnTo>
                    <a:lnTo>
                      <a:pt x="356680" y="409712"/>
                    </a:lnTo>
                    <a:lnTo>
                      <a:pt x="359407" y="415924"/>
                    </a:lnTo>
                    <a:lnTo>
                      <a:pt x="359559" y="419409"/>
                    </a:lnTo>
                    <a:lnTo>
                      <a:pt x="361074" y="422894"/>
                    </a:lnTo>
                    <a:lnTo>
                      <a:pt x="363044" y="426531"/>
                    </a:lnTo>
                    <a:lnTo>
                      <a:pt x="373953" y="428500"/>
                    </a:lnTo>
                    <a:lnTo>
                      <a:pt x="375620" y="430622"/>
                    </a:lnTo>
                    <a:lnTo>
                      <a:pt x="379408" y="429561"/>
                    </a:lnTo>
                    <a:lnTo>
                      <a:pt x="381681" y="431077"/>
                    </a:lnTo>
                    <a:lnTo>
                      <a:pt x="386681" y="432440"/>
                    </a:lnTo>
                    <a:lnTo>
                      <a:pt x="389711" y="432743"/>
                    </a:lnTo>
                    <a:lnTo>
                      <a:pt x="395621" y="432440"/>
                    </a:lnTo>
                    <a:lnTo>
                      <a:pt x="402894" y="433501"/>
                    </a:lnTo>
                    <a:lnTo>
                      <a:pt x="409712" y="437440"/>
                    </a:lnTo>
                    <a:lnTo>
                      <a:pt x="414712" y="437137"/>
                    </a:lnTo>
                    <a:lnTo>
                      <a:pt x="420925" y="435622"/>
                    </a:lnTo>
                    <a:lnTo>
                      <a:pt x="425319" y="437895"/>
                    </a:lnTo>
                    <a:lnTo>
                      <a:pt x="430925" y="437895"/>
                    </a:lnTo>
                    <a:lnTo>
                      <a:pt x="433046" y="438955"/>
                    </a:lnTo>
                    <a:lnTo>
                      <a:pt x="436531" y="438349"/>
                    </a:lnTo>
                    <a:lnTo>
                      <a:pt x="446835" y="440471"/>
                    </a:lnTo>
                    <a:lnTo>
                      <a:pt x="449865" y="436834"/>
                    </a:lnTo>
                    <a:lnTo>
                      <a:pt x="451986" y="437592"/>
                    </a:lnTo>
                    <a:lnTo>
                      <a:pt x="452744" y="440016"/>
                    </a:lnTo>
                    <a:lnTo>
                      <a:pt x="454108" y="441380"/>
                    </a:lnTo>
                    <a:lnTo>
                      <a:pt x="466229" y="444259"/>
                    </a:lnTo>
                    <a:lnTo>
                      <a:pt x="469866" y="445471"/>
                    </a:lnTo>
                    <a:lnTo>
                      <a:pt x="474563" y="446683"/>
                    </a:lnTo>
                    <a:lnTo>
                      <a:pt x="476684" y="445168"/>
                    </a:lnTo>
                    <a:lnTo>
                      <a:pt x="477897" y="443956"/>
                    </a:lnTo>
                    <a:lnTo>
                      <a:pt x="479411" y="443804"/>
                    </a:lnTo>
                    <a:lnTo>
                      <a:pt x="480169" y="441380"/>
                    </a:lnTo>
                    <a:lnTo>
                      <a:pt x="480776" y="432743"/>
                    </a:lnTo>
                    <a:lnTo>
                      <a:pt x="481685" y="429561"/>
                    </a:lnTo>
                    <a:lnTo>
                      <a:pt x="481381" y="427894"/>
                    </a:lnTo>
                    <a:lnTo>
                      <a:pt x="481533" y="427440"/>
                    </a:lnTo>
                    <a:lnTo>
                      <a:pt x="483351" y="425925"/>
                    </a:lnTo>
                    <a:lnTo>
                      <a:pt x="483806" y="425319"/>
                    </a:lnTo>
                    <a:lnTo>
                      <a:pt x="484564" y="420924"/>
                    </a:lnTo>
                    <a:lnTo>
                      <a:pt x="485321" y="415924"/>
                    </a:lnTo>
                    <a:lnTo>
                      <a:pt x="486230" y="414106"/>
                    </a:lnTo>
                    <a:lnTo>
                      <a:pt x="486988" y="413652"/>
                    </a:lnTo>
                    <a:lnTo>
                      <a:pt x="493049" y="411379"/>
                    </a:lnTo>
                    <a:lnTo>
                      <a:pt x="494109" y="409863"/>
                    </a:lnTo>
                    <a:lnTo>
                      <a:pt x="497140" y="410167"/>
                    </a:lnTo>
                    <a:lnTo>
                      <a:pt x="497442" y="409863"/>
                    </a:lnTo>
                    <a:lnTo>
                      <a:pt x="497746" y="408197"/>
                    </a:lnTo>
                    <a:lnTo>
                      <a:pt x="499261" y="406379"/>
                    </a:lnTo>
                    <a:lnTo>
                      <a:pt x="501231" y="404863"/>
                    </a:lnTo>
                    <a:lnTo>
                      <a:pt x="502746" y="404257"/>
                    </a:lnTo>
                    <a:lnTo>
                      <a:pt x="508201" y="403348"/>
                    </a:lnTo>
                    <a:lnTo>
                      <a:pt x="511383" y="401984"/>
                    </a:lnTo>
                    <a:lnTo>
                      <a:pt x="512292" y="401833"/>
                    </a:lnTo>
                    <a:lnTo>
                      <a:pt x="520625" y="402136"/>
                    </a:lnTo>
                    <a:lnTo>
                      <a:pt x="522444" y="401681"/>
                    </a:lnTo>
                    <a:lnTo>
                      <a:pt x="522747" y="401227"/>
                    </a:lnTo>
                    <a:lnTo>
                      <a:pt x="523201" y="396227"/>
                    </a:lnTo>
                    <a:lnTo>
                      <a:pt x="524717" y="395469"/>
                    </a:lnTo>
                    <a:lnTo>
                      <a:pt x="525019" y="395015"/>
                    </a:lnTo>
                    <a:lnTo>
                      <a:pt x="524565" y="391530"/>
                    </a:lnTo>
                    <a:lnTo>
                      <a:pt x="526080" y="38713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7" name="Freeform: Shape 3256">
                <a:extLst>
                  <a:ext uri="{FF2B5EF4-FFF2-40B4-BE49-F238E27FC236}">
                    <a16:creationId xmlns:a16="http://schemas.microsoft.com/office/drawing/2014/main" id="{349C8A55-861C-47C6-BB22-6F58D3ED1026}"/>
                  </a:ext>
                </a:extLst>
              </p:cNvPr>
              <p:cNvSpPr/>
              <p:nvPr/>
            </p:nvSpPr>
            <p:spPr>
              <a:xfrm>
                <a:off x="6837997" y="3495591"/>
                <a:ext cx="267434" cy="253342"/>
              </a:xfrm>
              <a:custGeom>
                <a:avLst/>
                <a:gdLst>
                  <a:gd name="connsiteX0" fmla="*/ 265616 w 267434"/>
                  <a:gd name="connsiteY0" fmla="*/ 225463 h 253342"/>
                  <a:gd name="connsiteX1" fmla="*/ 264404 w 267434"/>
                  <a:gd name="connsiteY1" fmla="*/ 224402 h 253342"/>
                  <a:gd name="connsiteX2" fmla="*/ 263343 w 267434"/>
                  <a:gd name="connsiteY2" fmla="*/ 222281 h 253342"/>
                  <a:gd name="connsiteX3" fmla="*/ 263040 w 267434"/>
                  <a:gd name="connsiteY3" fmla="*/ 220766 h 253342"/>
                  <a:gd name="connsiteX4" fmla="*/ 263494 w 267434"/>
                  <a:gd name="connsiteY4" fmla="*/ 219857 h 253342"/>
                  <a:gd name="connsiteX5" fmla="*/ 263040 w 267434"/>
                  <a:gd name="connsiteY5" fmla="*/ 218644 h 253342"/>
                  <a:gd name="connsiteX6" fmla="*/ 261525 w 267434"/>
                  <a:gd name="connsiteY6" fmla="*/ 216978 h 253342"/>
                  <a:gd name="connsiteX7" fmla="*/ 260161 w 267434"/>
                  <a:gd name="connsiteY7" fmla="*/ 216069 h 253342"/>
                  <a:gd name="connsiteX8" fmla="*/ 258646 w 267434"/>
                  <a:gd name="connsiteY8" fmla="*/ 215917 h 253342"/>
                  <a:gd name="connsiteX9" fmla="*/ 257434 w 267434"/>
                  <a:gd name="connsiteY9" fmla="*/ 214856 h 253342"/>
                  <a:gd name="connsiteX10" fmla="*/ 256525 w 267434"/>
                  <a:gd name="connsiteY10" fmla="*/ 213038 h 253342"/>
                  <a:gd name="connsiteX11" fmla="*/ 254252 w 267434"/>
                  <a:gd name="connsiteY11" fmla="*/ 211826 h 253342"/>
                  <a:gd name="connsiteX12" fmla="*/ 252888 w 267434"/>
                  <a:gd name="connsiteY12" fmla="*/ 211674 h 253342"/>
                  <a:gd name="connsiteX13" fmla="*/ 252888 w 267434"/>
                  <a:gd name="connsiteY13" fmla="*/ 205917 h 253342"/>
                  <a:gd name="connsiteX14" fmla="*/ 252888 w 267434"/>
                  <a:gd name="connsiteY14" fmla="*/ 200917 h 253342"/>
                  <a:gd name="connsiteX15" fmla="*/ 252737 w 267434"/>
                  <a:gd name="connsiteY15" fmla="*/ 195916 h 253342"/>
                  <a:gd name="connsiteX16" fmla="*/ 248039 w 267434"/>
                  <a:gd name="connsiteY16" fmla="*/ 195765 h 253342"/>
                  <a:gd name="connsiteX17" fmla="*/ 243797 w 267434"/>
                  <a:gd name="connsiteY17" fmla="*/ 195613 h 253342"/>
                  <a:gd name="connsiteX18" fmla="*/ 243797 w 267434"/>
                  <a:gd name="connsiteY18" fmla="*/ 191371 h 253342"/>
                  <a:gd name="connsiteX19" fmla="*/ 243797 w 267434"/>
                  <a:gd name="connsiteY19" fmla="*/ 183643 h 253342"/>
                  <a:gd name="connsiteX20" fmla="*/ 245767 w 267434"/>
                  <a:gd name="connsiteY20" fmla="*/ 177582 h 253342"/>
                  <a:gd name="connsiteX21" fmla="*/ 247888 w 267434"/>
                  <a:gd name="connsiteY21" fmla="*/ 171673 h 253342"/>
                  <a:gd name="connsiteX22" fmla="*/ 244706 w 267434"/>
                  <a:gd name="connsiteY22" fmla="*/ 167430 h 253342"/>
                  <a:gd name="connsiteX23" fmla="*/ 241372 w 267434"/>
                  <a:gd name="connsiteY23" fmla="*/ 162885 h 253342"/>
                  <a:gd name="connsiteX24" fmla="*/ 239100 w 267434"/>
                  <a:gd name="connsiteY24" fmla="*/ 160915 h 253342"/>
                  <a:gd name="connsiteX25" fmla="*/ 236524 w 267434"/>
                  <a:gd name="connsiteY25" fmla="*/ 155157 h 253342"/>
                  <a:gd name="connsiteX26" fmla="*/ 235312 w 267434"/>
                  <a:gd name="connsiteY26" fmla="*/ 152733 h 253342"/>
                  <a:gd name="connsiteX27" fmla="*/ 234100 w 267434"/>
                  <a:gd name="connsiteY27" fmla="*/ 151672 h 253342"/>
                  <a:gd name="connsiteX28" fmla="*/ 232887 w 267434"/>
                  <a:gd name="connsiteY28" fmla="*/ 151218 h 253342"/>
                  <a:gd name="connsiteX29" fmla="*/ 228493 w 267434"/>
                  <a:gd name="connsiteY29" fmla="*/ 151369 h 253342"/>
                  <a:gd name="connsiteX30" fmla="*/ 224251 w 267434"/>
                  <a:gd name="connsiteY30" fmla="*/ 148339 h 253342"/>
                  <a:gd name="connsiteX31" fmla="*/ 219402 w 267434"/>
                  <a:gd name="connsiteY31" fmla="*/ 144702 h 253342"/>
                  <a:gd name="connsiteX32" fmla="*/ 213341 w 267434"/>
                  <a:gd name="connsiteY32" fmla="*/ 140157 h 253342"/>
                  <a:gd name="connsiteX33" fmla="*/ 208038 w 267434"/>
                  <a:gd name="connsiteY33" fmla="*/ 137278 h 253342"/>
                  <a:gd name="connsiteX34" fmla="*/ 205917 w 267434"/>
                  <a:gd name="connsiteY34" fmla="*/ 136672 h 253342"/>
                  <a:gd name="connsiteX35" fmla="*/ 200917 w 267434"/>
                  <a:gd name="connsiteY35" fmla="*/ 136520 h 253342"/>
                  <a:gd name="connsiteX36" fmla="*/ 200310 w 267434"/>
                  <a:gd name="connsiteY36" fmla="*/ 135914 h 253342"/>
                  <a:gd name="connsiteX37" fmla="*/ 200008 w 267434"/>
                  <a:gd name="connsiteY37" fmla="*/ 134247 h 253342"/>
                  <a:gd name="connsiteX38" fmla="*/ 200008 w 267434"/>
                  <a:gd name="connsiteY38" fmla="*/ 132581 h 253342"/>
                  <a:gd name="connsiteX39" fmla="*/ 201674 w 267434"/>
                  <a:gd name="connsiteY39" fmla="*/ 129853 h 253342"/>
                  <a:gd name="connsiteX40" fmla="*/ 201826 w 267434"/>
                  <a:gd name="connsiteY40" fmla="*/ 128187 h 253342"/>
                  <a:gd name="connsiteX41" fmla="*/ 198341 w 267434"/>
                  <a:gd name="connsiteY41" fmla="*/ 122580 h 253342"/>
                  <a:gd name="connsiteX42" fmla="*/ 197280 w 267434"/>
                  <a:gd name="connsiteY42" fmla="*/ 120914 h 253342"/>
                  <a:gd name="connsiteX43" fmla="*/ 194250 w 267434"/>
                  <a:gd name="connsiteY43" fmla="*/ 120156 h 253342"/>
                  <a:gd name="connsiteX44" fmla="*/ 194855 w 267434"/>
                  <a:gd name="connsiteY44" fmla="*/ 118489 h 253342"/>
                  <a:gd name="connsiteX45" fmla="*/ 194855 w 267434"/>
                  <a:gd name="connsiteY45" fmla="*/ 117429 h 253342"/>
                  <a:gd name="connsiteX46" fmla="*/ 194553 w 267434"/>
                  <a:gd name="connsiteY46" fmla="*/ 116519 h 253342"/>
                  <a:gd name="connsiteX47" fmla="*/ 193795 w 267434"/>
                  <a:gd name="connsiteY47" fmla="*/ 116216 h 253342"/>
                  <a:gd name="connsiteX48" fmla="*/ 192886 w 267434"/>
                  <a:gd name="connsiteY48" fmla="*/ 116065 h 253342"/>
                  <a:gd name="connsiteX49" fmla="*/ 190613 w 267434"/>
                  <a:gd name="connsiteY49" fmla="*/ 116823 h 253342"/>
                  <a:gd name="connsiteX50" fmla="*/ 188795 w 267434"/>
                  <a:gd name="connsiteY50" fmla="*/ 114247 h 253342"/>
                  <a:gd name="connsiteX51" fmla="*/ 183340 w 267434"/>
                  <a:gd name="connsiteY51" fmla="*/ 106974 h 253342"/>
                  <a:gd name="connsiteX52" fmla="*/ 181673 w 267434"/>
                  <a:gd name="connsiteY52" fmla="*/ 106064 h 253342"/>
                  <a:gd name="connsiteX53" fmla="*/ 181219 w 267434"/>
                  <a:gd name="connsiteY53" fmla="*/ 105610 h 253342"/>
                  <a:gd name="connsiteX54" fmla="*/ 182582 w 267434"/>
                  <a:gd name="connsiteY54" fmla="*/ 103337 h 253342"/>
                  <a:gd name="connsiteX55" fmla="*/ 184856 w 267434"/>
                  <a:gd name="connsiteY55" fmla="*/ 100004 h 253342"/>
                  <a:gd name="connsiteX56" fmla="*/ 185310 w 267434"/>
                  <a:gd name="connsiteY56" fmla="*/ 98034 h 253342"/>
                  <a:gd name="connsiteX57" fmla="*/ 184856 w 267434"/>
                  <a:gd name="connsiteY57" fmla="*/ 95913 h 253342"/>
                  <a:gd name="connsiteX58" fmla="*/ 182431 w 267434"/>
                  <a:gd name="connsiteY58" fmla="*/ 91973 h 253342"/>
                  <a:gd name="connsiteX59" fmla="*/ 183037 w 267434"/>
                  <a:gd name="connsiteY59" fmla="*/ 90155 h 253342"/>
                  <a:gd name="connsiteX60" fmla="*/ 184098 w 267434"/>
                  <a:gd name="connsiteY60" fmla="*/ 88185 h 253342"/>
                  <a:gd name="connsiteX61" fmla="*/ 184098 w 267434"/>
                  <a:gd name="connsiteY61" fmla="*/ 86822 h 253342"/>
                  <a:gd name="connsiteX62" fmla="*/ 185765 w 267434"/>
                  <a:gd name="connsiteY62" fmla="*/ 86973 h 253342"/>
                  <a:gd name="connsiteX63" fmla="*/ 187886 w 267434"/>
                  <a:gd name="connsiteY63" fmla="*/ 86973 h 253342"/>
                  <a:gd name="connsiteX64" fmla="*/ 188492 w 267434"/>
                  <a:gd name="connsiteY64" fmla="*/ 85761 h 253342"/>
                  <a:gd name="connsiteX65" fmla="*/ 188492 w 267434"/>
                  <a:gd name="connsiteY65" fmla="*/ 81670 h 253342"/>
                  <a:gd name="connsiteX66" fmla="*/ 188946 w 267434"/>
                  <a:gd name="connsiteY66" fmla="*/ 80155 h 253342"/>
                  <a:gd name="connsiteX67" fmla="*/ 195613 w 267434"/>
                  <a:gd name="connsiteY67" fmla="*/ 73033 h 253342"/>
                  <a:gd name="connsiteX68" fmla="*/ 198947 w 267434"/>
                  <a:gd name="connsiteY68" fmla="*/ 71366 h 253342"/>
                  <a:gd name="connsiteX69" fmla="*/ 201522 w 267434"/>
                  <a:gd name="connsiteY69" fmla="*/ 70003 h 253342"/>
                  <a:gd name="connsiteX70" fmla="*/ 201977 w 267434"/>
                  <a:gd name="connsiteY70" fmla="*/ 67881 h 253342"/>
                  <a:gd name="connsiteX71" fmla="*/ 201522 w 267434"/>
                  <a:gd name="connsiteY71" fmla="*/ 66669 h 253342"/>
                  <a:gd name="connsiteX72" fmla="*/ 201068 w 267434"/>
                  <a:gd name="connsiteY72" fmla="*/ 65154 h 253342"/>
                  <a:gd name="connsiteX73" fmla="*/ 200917 w 267434"/>
                  <a:gd name="connsiteY73" fmla="*/ 63942 h 253342"/>
                  <a:gd name="connsiteX74" fmla="*/ 198038 w 267434"/>
                  <a:gd name="connsiteY74" fmla="*/ 60760 h 253342"/>
                  <a:gd name="connsiteX75" fmla="*/ 197129 w 267434"/>
                  <a:gd name="connsiteY75" fmla="*/ 59093 h 253342"/>
                  <a:gd name="connsiteX76" fmla="*/ 196977 w 267434"/>
                  <a:gd name="connsiteY76" fmla="*/ 57729 h 253342"/>
                  <a:gd name="connsiteX77" fmla="*/ 197583 w 267434"/>
                  <a:gd name="connsiteY77" fmla="*/ 55002 h 253342"/>
                  <a:gd name="connsiteX78" fmla="*/ 198795 w 267434"/>
                  <a:gd name="connsiteY78" fmla="*/ 53032 h 253342"/>
                  <a:gd name="connsiteX79" fmla="*/ 202735 w 267434"/>
                  <a:gd name="connsiteY79" fmla="*/ 51820 h 253342"/>
                  <a:gd name="connsiteX80" fmla="*/ 205008 w 267434"/>
                  <a:gd name="connsiteY80" fmla="*/ 50911 h 253342"/>
                  <a:gd name="connsiteX81" fmla="*/ 205310 w 267434"/>
                  <a:gd name="connsiteY81" fmla="*/ 50002 h 253342"/>
                  <a:gd name="connsiteX82" fmla="*/ 202432 w 267434"/>
                  <a:gd name="connsiteY82" fmla="*/ 48487 h 253342"/>
                  <a:gd name="connsiteX83" fmla="*/ 196220 w 267434"/>
                  <a:gd name="connsiteY83" fmla="*/ 48032 h 253342"/>
                  <a:gd name="connsiteX84" fmla="*/ 191674 w 267434"/>
                  <a:gd name="connsiteY84" fmla="*/ 48487 h 253342"/>
                  <a:gd name="connsiteX85" fmla="*/ 190158 w 267434"/>
                  <a:gd name="connsiteY85" fmla="*/ 48032 h 253342"/>
                  <a:gd name="connsiteX86" fmla="*/ 188037 w 267434"/>
                  <a:gd name="connsiteY86" fmla="*/ 45153 h 253342"/>
                  <a:gd name="connsiteX87" fmla="*/ 185765 w 267434"/>
                  <a:gd name="connsiteY87" fmla="*/ 43638 h 253342"/>
                  <a:gd name="connsiteX88" fmla="*/ 183643 w 267434"/>
                  <a:gd name="connsiteY88" fmla="*/ 42577 h 253342"/>
                  <a:gd name="connsiteX89" fmla="*/ 181522 w 267434"/>
                  <a:gd name="connsiteY89" fmla="*/ 42880 h 253342"/>
                  <a:gd name="connsiteX90" fmla="*/ 180310 w 267434"/>
                  <a:gd name="connsiteY90" fmla="*/ 42426 h 253342"/>
                  <a:gd name="connsiteX91" fmla="*/ 180007 w 267434"/>
                  <a:gd name="connsiteY91" fmla="*/ 41214 h 253342"/>
                  <a:gd name="connsiteX92" fmla="*/ 176976 w 267434"/>
                  <a:gd name="connsiteY92" fmla="*/ 31819 h 253342"/>
                  <a:gd name="connsiteX93" fmla="*/ 176067 w 267434"/>
                  <a:gd name="connsiteY93" fmla="*/ 30456 h 253342"/>
                  <a:gd name="connsiteX94" fmla="*/ 174703 w 267434"/>
                  <a:gd name="connsiteY94" fmla="*/ 30153 h 253342"/>
                  <a:gd name="connsiteX95" fmla="*/ 173491 w 267434"/>
                  <a:gd name="connsiteY95" fmla="*/ 30153 h 253342"/>
                  <a:gd name="connsiteX96" fmla="*/ 172734 w 267434"/>
                  <a:gd name="connsiteY96" fmla="*/ 29546 h 253342"/>
                  <a:gd name="connsiteX97" fmla="*/ 171825 w 267434"/>
                  <a:gd name="connsiteY97" fmla="*/ 28183 h 253342"/>
                  <a:gd name="connsiteX98" fmla="*/ 171218 w 267434"/>
                  <a:gd name="connsiteY98" fmla="*/ 26516 h 253342"/>
                  <a:gd name="connsiteX99" fmla="*/ 171218 w 267434"/>
                  <a:gd name="connsiteY99" fmla="*/ 24243 h 253342"/>
                  <a:gd name="connsiteX100" fmla="*/ 171370 w 267434"/>
                  <a:gd name="connsiteY100" fmla="*/ 22274 h 253342"/>
                  <a:gd name="connsiteX101" fmla="*/ 170915 w 267434"/>
                  <a:gd name="connsiteY101" fmla="*/ 21061 h 253342"/>
                  <a:gd name="connsiteX102" fmla="*/ 169855 w 267434"/>
                  <a:gd name="connsiteY102" fmla="*/ 19849 h 253342"/>
                  <a:gd name="connsiteX103" fmla="*/ 168491 w 267434"/>
                  <a:gd name="connsiteY103" fmla="*/ 18940 h 253342"/>
                  <a:gd name="connsiteX104" fmla="*/ 167127 w 267434"/>
                  <a:gd name="connsiteY104" fmla="*/ 17880 h 253342"/>
                  <a:gd name="connsiteX105" fmla="*/ 164855 w 267434"/>
                  <a:gd name="connsiteY105" fmla="*/ 9697 h 253342"/>
                  <a:gd name="connsiteX106" fmla="*/ 163946 w 267434"/>
                  <a:gd name="connsiteY106" fmla="*/ 7425 h 253342"/>
                  <a:gd name="connsiteX107" fmla="*/ 163946 w 267434"/>
                  <a:gd name="connsiteY107" fmla="*/ 7121 h 253342"/>
                  <a:gd name="connsiteX108" fmla="*/ 163037 w 267434"/>
                  <a:gd name="connsiteY108" fmla="*/ 6516 h 253342"/>
                  <a:gd name="connsiteX109" fmla="*/ 161370 w 267434"/>
                  <a:gd name="connsiteY109" fmla="*/ 6212 h 253342"/>
                  <a:gd name="connsiteX110" fmla="*/ 159703 w 267434"/>
                  <a:gd name="connsiteY110" fmla="*/ 6061 h 253342"/>
                  <a:gd name="connsiteX111" fmla="*/ 158491 w 267434"/>
                  <a:gd name="connsiteY111" fmla="*/ 6667 h 253342"/>
                  <a:gd name="connsiteX112" fmla="*/ 156672 w 267434"/>
                  <a:gd name="connsiteY112" fmla="*/ 8182 h 253342"/>
                  <a:gd name="connsiteX113" fmla="*/ 154097 w 267434"/>
                  <a:gd name="connsiteY113" fmla="*/ 9849 h 253342"/>
                  <a:gd name="connsiteX114" fmla="*/ 151975 w 267434"/>
                  <a:gd name="connsiteY114" fmla="*/ 11364 h 253342"/>
                  <a:gd name="connsiteX115" fmla="*/ 150763 w 267434"/>
                  <a:gd name="connsiteY115" fmla="*/ 12273 h 253342"/>
                  <a:gd name="connsiteX116" fmla="*/ 149854 w 267434"/>
                  <a:gd name="connsiteY116" fmla="*/ 12122 h 253342"/>
                  <a:gd name="connsiteX117" fmla="*/ 148945 w 267434"/>
                  <a:gd name="connsiteY117" fmla="*/ 11213 h 253342"/>
                  <a:gd name="connsiteX118" fmla="*/ 148642 w 267434"/>
                  <a:gd name="connsiteY118" fmla="*/ 10000 h 253342"/>
                  <a:gd name="connsiteX119" fmla="*/ 148794 w 267434"/>
                  <a:gd name="connsiteY119" fmla="*/ 5303 h 253342"/>
                  <a:gd name="connsiteX120" fmla="*/ 148339 w 267434"/>
                  <a:gd name="connsiteY120" fmla="*/ 3788 h 253342"/>
                  <a:gd name="connsiteX121" fmla="*/ 147278 w 267434"/>
                  <a:gd name="connsiteY121" fmla="*/ 2727 h 253342"/>
                  <a:gd name="connsiteX122" fmla="*/ 146217 w 267434"/>
                  <a:gd name="connsiteY122" fmla="*/ 2121 h 253342"/>
                  <a:gd name="connsiteX123" fmla="*/ 144854 w 267434"/>
                  <a:gd name="connsiteY123" fmla="*/ 1818 h 253342"/>
                  <a:gd name="connsiteX124" fmla="*/ 143490 w 267434"/>
                  <a:gd name="connsiteY124" fmla="*/ 1818 h 253342"/>
                  <a:gd name="connsiteX125" fmla="*/ 141369 w 267434"/>
                  <a:gd name="connsiteY125" fmla="*/ 3182 h 253342"/>
                  <a:gd name="connsiteX126" fmla="*/ 138641 w 267434"/>
                  <a:gd name="connsiteY126" fmla="*/ 4697 h 253342"/>
                  <a:gd name="connsiteX127" fmla="*/ 134247 w 267434"/>
                  <a:gd name="connsiteY127" fmla="*/ 4546 h 253342"/>
                  <a:gd name="connsiteX128" fmla="*/ 131217 w 267434"/>
                  <a:gd name="connsiteY128" fmla="*/ 4243 h 253342"/>
                  <a:gd name="connsiteX129" fmla="*/ 129853 w 267434"/>
                  <a:gd name="connsiteY129" fmla="*/ 3940 h 253342"/>
                  <a:gd name="connsiteX130" fmla="*/ 124096 w 267434"/>
                  <a:gd name="connsiteY130" fmla="*/ 1818 h 253342"/>
                  <a:gd name="connsiteX131" fmla="*/ 122883 w 267434"/>
                  <a:gd name="connsiteY131" fmla="*/ 1667 h 253342"/>
                  <a:gd name="connsiteX132" fmla="*/ 120762 w 267434"/>
                  <a:gd name="connsiteY132" fmla="*/ 758 h 253342"/>
                  <a:gd name="connsiteX133" fmla="*/ 118186 w 267434"/>
                  <a:gd name="connsiteY133" fmla="*/ 152 h 253342"/>
                  <a:gd name="connsiteX134" fmla="*/ 113943 w 267434"/>
                  <a:gd name="connsiteY134" fmla="*/ 1515 h 253342"/>
                  <a:gd name="connsiteX135" fmla="*/ 112125 w 267434"/>
                  <a:gd name="connsiteY135" fmla="*/ 1212 h 253342"/>
                  <a:gd name="connsiteX136" fmla="*/ 109550 w 267434"/>
                  <a:gd name="connsiteY136" fmla="*/ 0 h 253342"/>
                  <a:gd name="connsiteX137" fmla="*/ 108641 w 267434"/>
                  <a:gd name="connsiteY137" fmla="*/ 303 h 253342"/>
                  <a:gd name="connsiteX138" fmla="*/ 105762 w 267434"/>
                  <a:gd name="connsiteY138" fmla="*/ 3788 h 253342"/>
                  <a:gd name="connsiteX139" fmla="*/ 100761 w 267434"/>
                  <a:gd name="connsiteY139" fmla="*/ 7576 h 253342"/>
                  <a:gd name="connsiteX140" fmla="*/ 98186 w 267434"/>
                  <a:gd name="connsiteY140" fmla="*/ 8182 h 253342"/>
                  <a:gd name="connsiteX141" fmla="*/ 98186 w 267434"/>
                  <a:gd name="connsiteY141" fmla="*/ 8637 h 253342"/>
                  <a:gd name="connsiteX142" fmla="*/ 97882 w 267434"/>
                  <a:gd name="connsiteY142" fmla="*/ 9697 h 253342"/>
                  <a:gd name="connsiteX143" fmla="*/ 94852 w 267434"/>
                  <a:gd name="connsiteY143" fmla="*/ 12879 h 253342"/>
                  <a:gd name="connsiteX144" fmla="*/ 90610 w 267434"/>
                  <a:gd name="connsiteY144" fmla="*/ 17122 h 253342"/>
                  <a:gd name="connsiteX145" fmla="*/ 87579 w 267434"/>
                  <a:gd name="connsiteY145" fmla="*/ 19849 h 253342"/>
                  <a:gd name="connsiteX146" fmla="*/ 82579 w 267434"/>
                  <a:gd name="connsiteY146" fmla="*/ 24243 h 253342"/>
                  <a:gd name="connsiteX147" fmla="*/ 78791 w 267434"/>
                  <a:gd name="connsiteY147" fmla="*/ 25304 h 253342"/>
                  <a:gd name="connsiteX148" fmla="*/ 72427 w 267434"/>
                  <a:gd name="connsiteY148" fmla="*/ 26819 h 253342"/>
                  <a:gd name="connsiteX149" fmla="*/ 70609 w 267434"/>
                  <a:gd name="connsiteY149" fmla="*/ 28486 h 253342"/>
                  <a:gd name="connsiteX150" fmla="*/ 69093 w 267434"/>
                  <a:gd name="connsiteY150" fmla="*/ 30910 h 253342"/>
                  <a:gd name="connsiteX151" fmla="*/ 68184 w 267434"/>
                  <a:gd name="connsiteY151" fmla="*/ 34395 h 253342"/>
                  <a:gd name="connsiteX152" fmla="*/ 67881 w 267434"/>
                  <a:gd name="connsiteY152" fmla="*/ 36517 h 253342"/>
                  <a:gd name="connsiteX153" fmla="*/ 67730 w 267434"/>
                  <a:gd name="connsiteY153" fmla="*/ 40608 h 253342"/>
                  <a:gd name="connsiteX154" fmla="*/ 69245 w 267434"/>
                  <a:gd name="connsiteY154" fmla="*/ 44850 h 253342"/>
                  <a:gd name="connsiteX155" fmla="*/ 70609 w 267434"/>
                  <a:gd name="connsiteY155" fmla="*/ 48790 h 253342"/>
                  <a:gd name="connsiteX156" fmla="*/ 70760 w 267434"/>
                  <a:gd name="connsiteY156" fmla="*/ 51517 h 253342"/>
                  <a:gd name="connsiteX157" fmla="*/ 70609 w 267434"/>
                  <a:gd name="connsiteY157" fmla="*/ 54093 h 253342"/>
                  <a:gd name="connsiteX158" fmla="*/ 69245 w 267434"/>
                  <a:gd name="connsiteY158" fmla="*/ 56820 h 253342"/>
                  <a:gd name="connsiteX159" fmla="*/ 67730 w 267434"/>
                  <a:gd name="connsiteY159" fmla="*/ 60608 h 253342"/>
                  <a:gd name="connsiteX160" fmla="*/ 66972 w 267434"/>
                  <a:gd name="connsiteY160" fmla="*/ 65003 h 253342"/>
                  <a:gd name="connsiteX161" fmla="*/ 66517 w 267434"/>
                  <a:gd name="connsiteY161" fmla="*/ 73033 h 253342"/>
                  <a:gd name="connsiteX162" fmla="*/ 66366 w 267434"/>
                  <a:gd name="connsiteY162" fmla="*/ 79851 h 253342"/>
                  <a:gd name="connsiteX163" fmla="*/ 66366 w 267434"/>
                  <a:gd name="connsiteY163" fmla="*/ 81064 h 253342"/>
                  <a:gd name="connsiteX164" fmla="*/ 63639 w 267434"/>
                  <a:gd name="connsiteY164" fmla="*/ 85912 h 253342"/>
                  <a:gd name="connsiteX165" fmla="*/ 60608 w 267434"/>
                  <a:gd name="connsiteY165" fmla="*/ 91519 h 253342"/>
                  <a:gd name="connsiteX166" fmla="*/ 59245 w 267434"/>
                  <a:gd name="connsiteY166" fmla="*/ 92731 h 253342"/>
                  <a:gd name="connsiteX167" fmla="*/ 52426 w 267434"/>
                  <a:gd name="connsiteY167" fmla="*/ 94398 h 253342"/>
                  <a:gd name="connsiteX168" fmla="*/ 45153 w 267434"/>
                  <a:gd name="connsiteY168" fmla="*/ 98640 h 253342"/>
                  <a:gd name="connsiteX169" fmla="*/ 36971 w 267434"/>
                  <a:gd name="connsiteY169" fmla="*/ 103186 h 253342"/>
                  <a:gd name="connsiteX170" fmla="*/ 29547 w 267434"/>
                  <a:gd name="connsiteY170" fmla="*/ 107428 h 253342"/>
                  <a:gd name="connsiteX171" fmla="*/ 21667 w 267434"/>
                  <a:gd name="connsiteY171" fmla="*/ 111671 h 253342"/>
                  <a:gd name="connsiteX172" fmla="*/ 13637 w 267434"/>
                  <a:gd name="connsiteY172" fmla="*/ 116216 h 253342"/>
                  <a:gd name="connsiteX173" fmla="*/ 7879 w 267434"/>
                  <a:gd name="connsiteY173" fmla="*/ 119550 h 253342"/>
                  <a:gd name="connsiteX174" fmla="*/ 0 w 267434"/>
                  <a:gd name="connsiteY174" fmla="*/ 123792 h 253342"/>
                  <a:gd name="connsiteX175" fmla="*/ 1970 w 267434"/>
                  <a:gd name="connsiteY175" fmla="*/ 130611 h 253342"/>
                  <a:gd name="connsiteX176" fmla="*/ 3940 w 267434"/>
                  <a:gd name="connsiteY176" fmla="*/ 137126 h 253342"/>
                  <a:gd name="connsiteX177" fmla="*/ 5909 w 267434"/>
                  <a:gd name="connsiteY177" fmla="*/ 143945 h 253342"/>
                  <a:gd name="connsiteX178" fmla="*/ 7879 w 267434"/>
                  <a:gd name="connsiteY178" fmla="*/ 150612 h 253342"/>
                  <a:gd name="connsiteX179" fmla="*/ 5758 w 267434"/>
                  <a:gd name="connsiteY179" fmla="*/ 151218 h 253342"/>
                  <a:gd name="connsiteX180" fmla="*/ 7424 w 267434"/>
                  <a:gd name="connsiteY180" fmla="*/ 156218 h 253342"/>
                  <a:gd name="connsiteX181" fmla="*/ 10152 w 267434"/>
                  <a:gd name="connsiteY181" fmla="*/ 155460 h 253342"/>
                  <a:gd name="connsiteX182" fmla="*/ 13031 w 267434"/>
                  <a:gd name="connsiteY182" fmla="*/ 154854 h 253342"/>
                  <a:gd name="connsiteX183" fmla="*/ 14243 w 267434"/>
                  <a:gd name="connsiteY183" fmla="*/ 158188 h 253342"/>
                  <a:gd name="connsiteX184" fmla="*/ 10303 w 267434"/>
                  <a:gd name="connsiteY184" fmla="*/ 161673 h 253342"/>
                  <a:gd name="connsiteX185" fmla="*/ 16364 w 267434"/>
                  <a:gd name="connsiteY185" fmla="*/ 162733 h 253342"/>
                  <a:gd name="connsiteX186" fmla="*/ 25455 w 267434"/>
                  <a:gd name="connsiteY186" fmla="*/ 164249 h 253342"/>
                  <a:gd name="connsiteX187" fmla="*/ 34395 w 267434"/>
                  <a:gd name="connsiteY187" fmla="*/ 165612 h 253342"/>
                  <a:gd name="connsiteX188" fmla="*/ 43789 w 267434"/>
                  <a:gd name="connsiteY188" fmla="*/ 167279 h 253342"/>
                  <a:gd name="connsiteX189" fmla="*/ 46668 w 267434"/>
                  <a:gd name="connsiteY189" fmla="*/ 168794 h 253342"/>
                  <a:gd name="connsiteX190" fmla="*/ 55760 w 267434"/>
                  <a:gd name="connsiteY190" fmla="*/ 173794 h 253342"/>
                  <a:gd name="connsiteX191" fmla="*/ 61669 w 267434"/>
                  <a:gd name="connsiteY191" fmla="*/ 177128 h 253342"/>
                  <a:gd name="connsiteX192" fmla="*/ 68487 w 267434"/>
                  <a:gd name="connsiteY192" fmla="*/ 180916 h 253342"/>
                  <a:gd name="connsiteX193" fmla="*/ 76972 w 267434"/>
                  <a:gd name="connsiteY193" fmla="*/ 185765 h 253342"/>
                  <a:gd name="connsiteX194" fmla="*/ 82882 w 267434"/>
                  <a:gd name="connsiteY194" fmla="*/ 188946 h 253342"/>
                  <a:gd name="connsiteX195" fmla="*/ 90306 w 267434"/>
                  <a:gd name="connsiteY195" fmla="*/ 193189 h 253342"/>
                  <a:gd name="connsiteX196" fmla="*/ 96216 w 267434"/>
                  <a:gd name="connsiteY196" fmla="*/ 198038 h 253342"/>
                  <a:gd name="connsiteX197" fmla="*/ 103640 w 267434"/>
                  <a:gd name="connsiteY197" fmla="*/ 204098 h 253342"/>
                  <a:gd name="connsiteX198" fmla="*/ 111822 w 267434"/>
                  <a:gd name="connsiteY198" fmla="*/ 210765 h 253342"/>
                  <a:gd name="connsiteX199" fmla="*/ 118489 w 267434"/>
                  <a:gd name="connsiteY199" fmla="*/ 215917 h 253342"/>
                  <a:gd name="connsiteX200" fmla="*/ 127732 w 267434"/>
                  <a:gd name="connsiteY200" fmla="*/ 223038 h 253342"/>
                  <a:gd name="connsiteX201" fmla="*/ 136823 w 267434"/>
                  <a:gd name="connsiteY201" fmla="*/ 230009 h 253342"/>
                  <a:gd name="connsiteX202" fmla="*/ 145763 w 267434"/>
                  <a:gd name="connsiteY202" fmla="*/ 236827 h 253342"/>
                  <a:gd name="connsiteX203" fmla="*/ 152884 w 267434"/>
                  <a:gd name="connsiteY203" fmla="*/ 242282 h 253342"/>
                  <a:gd name="connsiteX204" fmla="*/ 161976 w 267434"/>
                  <a:gd name="connsiteY204" fmla="*/ 249251 h 253342"/>
                  <a:gd name="connsiteX205" fmla="*/ 162733 w 267434"/>
                  <a:gd name="connsiteY205" fmla="*/ 249555 h 253342"/>
                  <a:gd name="connsiteX206" fmla="*/ 171825 w 267434"/>
                  <a:gd name="connsiteY206" fmla="*/ 250312 h 253342"/>
                  <a:gd name="connsiteX207" fmla="*/ 184098 w 267434"/>
                  <a:gd name="connsiteY207" fmla="*/ 251373 h 253342"/>
                  <a:gd name="connsiteX208" fmla="*/ 196371 w 267434"/>
                  <a:gd name="connsiteY208" fmla="*/ 252434 h 253342"/>
                  <a:gd name="connsiteX209" fmla="*/ 207584 w 267434"/>
                  <a:gd name="connsiteY209" fmla="*/ 253343 h 253342"/>
                  <a:gd name="connsiteX210" fmla="*/ 212281 w 267434"/>
                  <a:gd name="connsiteY210" fmla="*/ 252434 h 253342"/>
                  <a:gd name="connsiteX211" fmla="*/ 216826 w 267434"/>
                  <a:gd name="connsiteY211" fmla="*/ 247585 h 253342"/>
                  <a:gd name="connsiteX212" fmla="*/ 218796 w 267434"/>
                  <a:gd name="connsiteY212" fmla="*/ 245009 h 253342"/>
                  <a:gd name="connsiteX213" fmla="*/ 222584 w 267434"/>
                  <a:gd name="connsiteY213" fmla="*/ 239251 h 253342"/>
                  <a:gd name="connsiteX214" fmla="*/ 224554 w 267434"/>
                  <a:gd name="connsiteY214" fmla="*/ 235312 h 253342"/>
                  <a:gd name="connsiteX215" fmla="*/ 226372 w 267434"/>
                  <a:gd name="connsiteY215" fmla="*/ 230766 h 253342"/>
                  <a:gd name="connsiteX216" fmla="*/ 227887 w 267434"/>
                  <a:gd name="connsiteY216" fmla="*/ 227281 h 253342"/>
                  <a:gd name="connsiteX217" fmla="*/ 228342 w 267434"/>
                  <a:gd name="connsiteY217" fmla="*/ 226675 h 253342"/>
                  <a:gd name="connsiteX218" fmla="*/ 229251 w 267434"/>
                  <a:gd name="connsiteY218" fmla="*/ 225463 h 253342"/>
                  <a:gd name="connsiteX219" fmla="*/ 231221 w 267434"/>
                  <a:gd name="connsiteY219" fmla="*/ 224251 h 253342"/>
                  <a:gd name="connsiteX220" fmla="*/ 234251 w 267434"/>
                  <a:gd name="connsiteY220" fmla="*/ 223190 h 253342"/>
                  <a:gd name="connsiteX221" fmla="*/ 239251 w 267434"/>
                  <a:gd name="connsiteY221" fmla="*/ 222584 h 253342"/>
                  <a:gd name="connsiteX222" fmla="*/ 242736 w 267434"/>
                  <a:gd name="connsiteY222" fmla="*/ 222584 h 253342"/>
                  <a:gd name="connsiteX223" fmla="*/ 243494 w 267434"/>
                  <a:gd name="connsiteY223" fmla="*/ 222735 h 253342"/>
                  <a:gd name="connsiteX224" fmla="*/ 245767 w 267434"/>
                  <a:gd name="connsiteY224" fmla="*/ 223190 h 253342"/>
                  <a:gd name="connsiteX225" fmla="*/ 251979 w 267434"/>
                  <a:gd name="connsiteY225" fmla="*/ 226069 h 253342"/>
                  <a:gd name="connsiteX226" fmla="*/ 251979 w 267434"/>
                  <a:gd name="connsiteY226" fmla="*/ 225160 h 253342"/>
                  <a:gd name="connsiteX227" fmla="*/ 254555 w 267434"/>
                  <a:gd name="connsiteY227" fmla="*/ 224251 h 253342"/>
                  <a:gd name="connsiteX228" fmla="*/ 256373 w 267434"/>
                  <a:gd name="connsiteY228" fmla="*/ 224251 h 253342"/>
                  <a:gd name="connsiteX229" fmla="*/ 262282 w 267434"/>
                  <a:gd name="connsiteY229" fmla="*/ 226826 h 253342"/>
                  <a:gd name="connsiteX230" fmla="*/ 265010 w 267434"/>
                  <a:gd name="connsiteY230" fmla="*/ 227433 h 253342"/>
                  <a:gd name="connsiteX231" fmla="*/ 267434 w 267434"/>
                  <a:gd name="connsiteY231" fmla="*/ 226675 h 25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267434" h="253342">
                    <a:moveTo>
                      <a:pt x="265616" y="225463"/>
                    </a:moveTo>
                    <a:lnTo>
                      <a:pt x="264404" y="224402"/>
                    </a:lnTo>
                    <a:lnTo>
                      <a:pt x="263343" y="222281"/>
                    </a:lnTo>
                    <a:lnTo>
                      <a:pt x="263040" y="220766"/>
                    </a:lnTo>
                    <a:lnTo>
                      <a:pt x="263494" y="219857"/>
                    </a:lnTo>
                    <a:lnTo>
                      <a:pt x="263040" y="218644"/>
                    </a:lnTo>
                    <a:lnTo>
                      <a:pt x="261525" y="216978"/>
                    </a:lnTo>
                    <a:lnTo>
                      <a:pt x="260161" y="216069"/>
                    </a:lnTo>
                    <a:lnTo>
                      <a:pt x="258646" y="215917"/>
                    </a:lnTo>
                    <a:lnTo>
                      <a:pt x="257434" y="214856"/>
                    </a:lnTo>
                    <a:lnTo>
                      <a:pt x="256525" y="213038"/>
                    </a:lnTo>
                    <a:lnTo>
                      <a:pt x="254252" y="211826"/>
                    </a:lnTo>
                    <a:lnTo>
                      <a:pt x="252888" y="211674"/>
                    </a:lnTo>
                    <a:lnTo>
                      <a:pt x="252888" y="205917"/>
                    </a:lnTo>
                    <a:lnTo>
                      <a:pt x="252888" y="200917"/>
                    </a:lnTo>
                    <a:lnTo>
                      <a:pt x="252737" y="195916"/>
                    </a:lnTo>
                    <a:lnTo>
                      <a:pt x="248039" y="195765"/>
                    </a:lnTo>
                    <a:lnTo>
                      <a:pt x="243797" y="195613"/>
                    </a:lnTo>
                    <a:lnTo>
                      <a:pt x="243797" y="191371"/>
                    </a:lnTo>
                    <a:lnTo>
                      <a:pt x="243797" y="183643"/>
                    </a:lnTo>
                    <a:lnTo>
                      <a:pt x="245767" y="177582"/>
                    </a:lnTo>
                    <a:lnTo>
                      <a:pt x="247888" y="171673"/>
                    </a:lnTo>
                    <a:lnTo>
                      <a:pt x="244706" y="167430"/>
                    </a:lnTo>
                    <a:lnTo>
                      <a:pt x="241372" y="162885"/>
                    </a:lnTo>
                    <a:lnTo>
                      <a:pt x="239100" y="160915"/>
                    </a:lnTo>
                    <a:lnTo>
                      <a:pt x="236524" y="155157"/>
                    </a:lnTo>
                    <a:lnTo>
                      <a:pt x="235312" y="152733"/>
                    </a:lnTo>
                    <a:lnTo>
                      <a:pt x="234100" y="151672"/>
                    </a:lnTo>
                    <a:lnTo>
                      <a:pt x="232887" y="151218"/>
                    </a:lnTo>
                    <a:lnTo>
                      <a:pt x="228493" y="151369"/>
                    </a:lnTo>
                    <a:lnTo>
                      <a:pt x="224251" y="148339"/>
                    </a:lnTo>
                    <a:lnTo>
                      <a:pt x="219402" y="144702"/>
                    </a:lnTo>
                    <a:lnTo>
                      <a:pt x="213341" y="140157"/>
                    </a:lnTo>
                    <a:lnTo>
                      <a:pt x="208038" y="137278"/>
                    </a:lnTo>
                    <a:lnTo>
                      <a:pt x="205917" y="136672"/>
                    </a:lnTo>
                    <a:lnTo>
                      <a:pt x="200917" y="136520"/>
                    </a:lnTo>
                    <a:lnTo>
                      <a:pt x="200310" y="135914"/>
                    </a:lnTo>
                    <a:lnTo>
                      <a:pt x="200008" y="134247"/>
                    </a:lnTo>
                    <a:lnTo>
                      <a:pt x="200008" y="132581"/>
                    </a:lnTo>
                    <a:lnTo>
                      <a:pt x="201674" y="129853"/>
                    </a:lnTo>
                    <a:lnTo>
                      <a:pt x="201826" y="128187"/>
                    </a:lnTo>
                    <a:lnTo>
                      <a:pt x="198341" y="122580"/>
                    </a:lnTo>
                    <a:lnTo>
                      <a:pt x="197280" y="120914"/>
                    </a:lnTo>
                    <a:lnTo>
                      <a:pt x="194250" y="120156"/>
                    </a:lnTo>
                    <a:lnTo>
                      <a:pt x="194855" y="118489"/>
                    </a:lnTo>
                    <a:lnTo>
                      <a:pt x="194855" y="117429"/>
                    </a:lnTo>
                    <a:lnTo>
                      <a:pt x="194553" y="116519"/>
                    </a:lnTo>
                    <a:lnTo>
                      <a:pt x="193795" y="116216"/>
                    </a:lnTo>
                    <a:lnTo>
                      <a:pt x="192886" y="116065"/>
                    </a:lnTo>
                    <a:lnTo>
                      <a:pt x="190613" y="116823"/>
                    </a:lnTo>
                    <a:lnTo>
                      <a:pt x="188795" y="114247"/>
                    </a:lnTo>
                    <a:lnTo>
                      <a:pt x="183340" y="106974"/>
                    </a:lnTo>
                    <a:lnTo>
                      <a:pt x="181673" y="106064"/>
                    </a:lnTo>
                    <a:lnTo>
                      <a:pt x="181219" y="105610"/>
                    </a:lnTo>
                    <a:lnTo>
                      <a:pt x="182582" y="103337"/>
                    </a:lnTo>
                    <a:lnTo>
                      <a:pt x="184856" y="100004"/>
                    </a:lnTo>
                    <a:lnTo>
                      <a:pt x="185310" y="98034"/>
                    </a:lnTo>
                    <a:lnTo>
                      <a:pt x="184856" y="95913"/>
                    </a:lnTo>
                    <a:lnTo>
                      <a:pt x="182431" y="91973"/>
                    </a:lnTo>
                    <a:lnTo>
                      <a:pt x="183037" y="90155"/>
                    </a:lnTo>
                    <a:lnTo>
                      <a:pt x="184098" y="88185"/>
                    </a:lnTo>
                    <a:lnTo>
                      <a:pt x="184098" y="86822"/>
                    </a:lnTo>
                    <a:lnTo>
                      <a:pt x="185765" y="86973"/>
                    </a:lnTo>
                    <a:lnTo>
                      <a:pt x="187886" y="86973"/>
                    </a:lnTo>
                    <a:lnTo>
                      <a:pt x="188492" y="85761"/>
                    </a:lnTo>
                    <a:lnTo>
                      <a:pt x="188492" y="81670"/>
                    </a:lnTo>
                    <a:lnTo>
                      <a:pt x="188946" y="80155"/>
                    </a:lnTo>
                    <a:lnTo>
                      <a:pt x="195613" y="73033"/>
                    </a:lnTo>
                    <a:lnTo>
                      <a:pt x="198947" y="71366"/>
                    </a:lnTo>
                    <a:lnTo>
                      <a:pt x="201522" y="70003"/>
                    </a:lnTo>
                    <a:lnTo>
                      <a:pt x="201977" y="67881"/>
                    </a:lnTo>
                    <a:lnTo>
                      <a:pt x="201522" y="66669"/>
                    </a:lnTo>
                    <a:lnTo>
                      <a:pt x="201068" y="65154"/>
                    </a:lnTo>
                    <a:lnTo>
                      <a:pt x="200917" y="63942"/>
                    </a:lnTo>
                    <a:lnTo>
                      <a:pt x="198038" y="60760"/>
                    </a:lnTo>
                    <a:lnTo>
                      <a:pt x="197129" y="59093"/>
                    </a:lnTo>
                    <a:lnTo>
                      <a:pt x="196977" y="57729"/>
                    </a:lnTo>
                    <a:lnTo>
                      <a:pt x="197583" y="55002"/>
                    </a:lnTo>
                    <a:lnTo>
                      <a:pt x="198795" y="53032"/>
                    </a:lnTo>
                    <a:lnTo>
                      <a:pt x="202735" y="51820"/>
                    </a:lnTo>
                    <a:lnTo>
                      <a:pt x="205008" y="50911"/>
                    </a:lnTo>
                    <a:lnTo>
                      <a:pt x="205310" y="50002"/>
                    </a:lnTo>
                    <a:lnTo>
                      <a:pt x="202432" y="48487"/>
                    </a:lnTo>
                    <a:lnTo>
                      <a:pt x="196220" y="48032"/>
                    </a:lnTo>
                    <a:lnTo>
                      <a:pt x="191674" y="48487"/>
                    </a:lnTo>
                    <a:lnTo>
                      <a:pt x="190158" y="48032"/>
                    </a:lnTo>
                    <a:lnTo>
                      <a:pt x="188037" y="45153"/>
                    </a:lnTo>
                    <a:lnTo>
                      <a:pt x="185765" y="43638"/>
                    </a:lnTo>
                    <a:lnTo>
                      <a:pt x="183643" y="42577"/>
                    </a:lnTo>
                    <a:lnTo>
                      <a:pt x="181522" y="42880"/>
                    </a:lnTo>
                    <a:lnTo>
                      <a:pt x="180310" y="42426"/>
                    </a:lnTo>
                    <a:lnTo>
                      <a:pt x="180007" y="41214"/>
                    </a:lnTo>
                    <a:lnTo>
                      <a:pt x="176976" y="31819"/>
                    </a:lnTo>
                    <a:lnTo>
                      <a:pt x="176067" y="30456"/>
                    </a:lnTo>
                    <a:lnTo>
                      <a:pt x="174703" y="30153"/>
                    </a:lnTo>
                    <a:lnTo>
                      <a:pt x="173491" y="30153"/>
                    </a:lnTo>
                    <a:lnTo>
                      <a:pt x="172734" y="29546"/>
                    </a:lnTo>
                    <a:lnTo>
                      <a:pt x="171825" y="28183"/>
                    </a:lnTo>
                    <a:lnTo>
                      <a:pt x="171218" y="26516"/>
                    </a:lnTo>
                    <a:lnTo>
                      <a:pt x="171218" y="24243"/>
                    </a:lnTo>
                    <a:lnTo>
                      <a:pt x="171370" y="22274"/>
                    </a:lnTo>
                    <a:lnTo>
                      <a:pt x="170915" y="21061"/>
                    </a:lnTo>
                    <a:lnTo>
                      <a:pt x="169855" y="19849"/>
                    </a:lnTo>
                    <a:lnTo>
                      <a:pt x="168491" y="18940"/>
                    </a:lnTo>
                    <a:lnTo>
                      <a:pt x="167127" y="17880"/>
                    </a:lnTo>
                    <a:lnTo>
                      <a:pt x="164855" y="9697"/>
                    </a:lnTo>
                    <a:lnTo>
                      <a:pt x="163946" y="7425"/>
                    </a:lnTo>
                    <a:lnTo>
                      <a:pt x="163946" y="7121"/>
                    </a:lnTo>
                    <a:lnTo>
                      <a:pt x="163037" y="6516"/>
                    </a:lnTo>
                    <a:lnTo>
                      <a:pt x="161370" y="6212"/>
                    </a:lnTo>
                    <a:lnTo>
                      <a:pt x="159703" y="6061"/>
                    </a:lnTo>
                    <a:lnTo>
                      <a:pt x="158491" y="6667"/>
                    </a:lnTo>
                    <a:lnTo>
                      <a:pt x="156672" y="8182"/>
                    </a:lnTo>
                    <a:lnTo>
                      <a:pt x="154097" y="9849"/>
                    </a:lnTo>
                    <a:lnTo>
                      <a:pt x="151975" y="11364"/>
                    </a:lnTo>
                    <a:lnTo>
                      <a:pt x="150763" y="12273"/>
                    </a:lnTo>
                    <a:lnTo>
                      <a:pt x="149854" y="12122"/>
                    </a:lnTo>
                    <a:lnTo>
                      <a:pt x="148945" y="11213"/>
                    </a:lnTo>
                    <a:lnTo>
                      <a:pt x="148642" y="10000"/>
                    </a:lnTo>
                    <a:lnTo>
                      <a:pt x="148794" y="5303"/>
                    </a:lnTo>
                    <a:lnTo>
                      <a:pt x="148339" y="3788"/>
                    </a:lnTo>
                    <a:lnTo>
                      <a:pt x="147278" y="2727"/>
                    </a:lnTo>
                    <a:lnTo>
                      <a:pt x="146217" y="2121"/>
                    </a:lnTo>
                    <a:lnTo>
                      <a:pt x="144854" y="1818"/>
                    </a:lnTo>
                    <a:lnTo>
                      <a:pt x="143490" y="1818"/>
                    </a:lnTo>
                    <a:lnTo>
                      <a:pt x="141369" y="3182"/>
                    </a:lnTo>
                    <a:lnTo>
                      <a:pt x="138641" y="4697"/>
                    </a:lnTo>
                    <a:lnTo>
                      <a:pt x="134247" y="4546"/>
                    </a:lnTo>
                    <a:lnTo>
                      <a:pt x="131217" y="4243"/>
                    </a:lnTo>
                    <a:lnTo>
                      <a:pt x="129853" y="3940"/>
                    </a:lnTo>
                    <a:lnTo>
                      <a:pt x="124096" y="1818"/>
                    </a:lnTo>
                    <a:lnTo>
                      <a:pt x="122883" y="1667"/>
                    </a:lnTo>
                    <a:lnTo>
                      <a:pt x="120762" y="758"/>
                    </a:lnTo>
                    <a:lnTo>
                      <a:pt x="118186" y="152"/>
                    </a:lnTo>
                    <a:lnTo>
                      <a:pt x="113943" y="1515"/>
                    </a:lnTo>
                    <a:lnTo>
                      <a:pt x="112125" y="1212"/>
                    </a:lnTo>
                    <a:lnTo>
                      <a:pt x="109550" y="0"/>
                    </a:lnTo>
                    <a:lnTo>
                      <a:pt x="108641" y="303"/>
                    </a:lnTo>
                    <a:lnTo>
                      <a:pt x="105762" y="3788"/>
                    </a:lnTo>
                    <a:lnTo>
                      <a:pt x="100761" y="7576"/>
                    </a:lnTo>
                    <a:lnTo>
                      <a:pt x="98186" y="8182"/>
                    </a:lnTo>
                    <a:lnTo>
                      <a:pt x="98186" y="8637"/>
                    </a:lnTo>
                    <a:lnTo>
                      <a:pt x="97882" y="9697"/>
                    </a:lnTo>
                    <a:lnTo>
                      <a:pt x="94852" y="12879"/>
                    </a:lnTo>
                    <a:lnTo>
                      <a:pt x="90610" y="17122"/>
                    </a:lnTo>
                    <a:lnTo>
                      <a:pt x="87579" y="19849"/>
                    </a:lnTo>
                    <a:lnTo>
                      <a:pt x="82579" y="24243"/>
                    </a:lnTo>
                    <a:lnTo>
                      <a:pt x="78791" y="25304"/>
                    </a:lnTo>
                    <a:lnTo>
                      <a:pt x="72427" y="26819"/>
                    </a:lnTo>
                    <a:lnTo>
                      <a:pt x="70609" y="28486"/>
                    </a:lnTo>
                    <a:lnTo>
                      <a:pt x="69093" y="30910"/>
                    </a:lnTo>
                    <a:lnTo>
                      <a:pt x="68184" y="34395"/>
                    </a:lnTo>
                    <a:lnTo>
                      <a:pt x="67881" y="36517"/>
                    </a:lnTo>
                    <a:lnTo>
                      <a:pt x="67730" y="40608"/>
                    </a:lnTo>
                    <a:lnTo>
                      <a:pt x="69245" y="44850"/>
                    </a:lnTo>
                    <a:lnTo>
                      <a:pt x="70609" y="48790"/>
                    </a:lnTo>
                    <a:lnTo>
                      <a:pt x="70760" y="51517"/>
                    </a:lnTo>
                    <a:lnTo>
                      <a:pt x="70609" y="54093"/>
                    </a:lnTo>
                    <a:lnTo>
                      <a:pt x="69245" y="56820"/>
                    </a:lnTo>
                    <a:lnTo>
                      <a:pt x="67730" y="60608"/>
                    </a:lnTo>
                    <a:lnTo>
                      <a:pt x="66972" y="65003"/>
                    </a:lnTo>
                    <a:lnTo>
                      <a:pt x="66517" y="73033"/>
                    </a:lnTo>
                    <a:lnTo>
                      <a:pt x="66366" y="79851"/>
                    </a:lnTo>
                    <a:lnTo>
                      <a:pt x="66366" y="81064"/>
                    </a:lnTo>
                    <a:lnTo>
                      <a:pt x="63639" y="85912"/>
                    </a:lnTo>
                    <a:lnTo>
                      <a:pt x="60608" y="91519"/>
                    </a:lnTo>
                    <a:lnTo>
                      <a:pt x="59245" y="92731"/>
                    </a:lnTo>
                    <a:lnTo>
                      <a:pt x="52426" y="94398"/>
                    </a:lnTo>
                    <a:lnTo>
                      <a:pt x="45153" y="98640"/>
                    </a:lnTo>
                    <a:lnTo>
                      <a:pt x="36971" y="103186"/>
                    </a:lnTo>
                    <a:lnTo>
                      <a:pt x="29547" y="107428"/>
                    </a:lnTo>
                    <a:lnTo>
                      <a:pt x="21667" y="111671"/>
                    </a:lnTo>
                    <a:lnTo>
                      <a:pt x="13637" y="116216"/>
                    </a:lnTo>
                    <a:lnTo>
                      <a:pt x="7879" y="119550"/>
                    </a:lnTo>
                    <a:lnTo>
                      <a:pt x="0" y="123792"/>
                    </a:lnTo>
                    <a:lnTo>
                      <a:pt x="1970" y="130611"/>
                    </a:lnTo>
                    <a:lnTo>
                      <a:pt x="3940" y="137126"/>
                    </a:lnTo>
                    <a:lnTo>
                      <a:pt x="5909" y="143945"/>
                    </a:lnTo>
                    <a:lnTo>
                      <a:pt x="7879" y="150612"/>
                    </a:lnTo>
                    <a:lnTo>
                      <a:pt x="5758" y="151218"/>
                    </a:lnTo>
                    <a:lnTo>
                      <a:pt x="7424" y="156218"/>
                    </a:lnTo>
                    <a:lnTo>
                      <a:pt x="10152" y="155460"/>
                    </a:lnTo>
                    <a:lnTo>
                      <a:pt x="13031" y="154854"/>
                    </a:lnTo>
                    <a:lnTo>
                      <a:pt x="14243" y="158188"/>
                    </a:lnTo>
                    <a:lnTo>
                      <a:pt x="10303" y="161673"/>
                    </a:lnTo>
                    <a:lnTo>
                      <a:pt x="16364" y="162733"/>
                    </a:lnTo>
                    <a:lnTo>
                      <a:pt x="25455" y="164249"/>
                    </a:lnTo>
                    <a:lnTo>
                      <a:pt x="34395" y="165612"/>
                    </a:lnTo>
                    <a:lnTo>
                      <a:pt x="43789" y="167279"/>
                    </a:lnTo>
                    <a:lnTo>
                      <a:pt x="46668" y="168794"/>
                    </a:lnTo>
                    <a:lnTo>
                      <a:pt x="55760" y="173794"/>
                    </a:lnTo>
                    <a:lnTo>
                      <a:pt x="61669" y="177128"/>
                    </a:lnTo>
                    <a:lnTo>
                      <a:pt x="68487" y="180916"/>
                    </a:lnTo>
                    <a:lnTo>
                      <a:pt x="76972" y="185765"/>
                    </a:lnTo>
                    <a:lnTo>
                      <a:pt x="82882" y="188946"/>
                    </a:lnTo>
                    <a:lnTo>
                      <a:pt x="90306" y="193189"/>
                    </a:lnTo>
                    <a:lnTo>
                      <a:pt x="96216" y="198038"/>
                    </a:lnTo>
                    <a:lnTo>
                      <a:pt x="103640" y="204098"/>
                    </a:lnTo>
                    <a:lnTo>
                      <a:pt x="111822" y="210765"/>
                    </a:lnTo>
                    <a:lnTo>
                      <a:pt x="118489" y="215917"/>
                    </a:lnTo>
                    <a:lnTo>
                      <a:pt x="127732" y="223038"/>
                    </a:lnTo>
                    <a:lnTo>
                      <a:pt x="136823" y="230009"/>
                    </a:lnTo>
                    <a:lnTo>
                      <a:pt x="145763" y="236827"/>
                    </a:lnTo>
                    <a:lnTo>
                      <a:pt x="152884" y="242282"/>
                    </a:lnTo>
                    <a:lnTo>
                      <a:pt x="161976" y="249251"/>
                    </a:lnTo>
                    <a:lnTo>
                      <a:pt x="162733" y="249555"/>
                    </a:lnTo>
                    <a:lnTo>
                      <a:pt x="171825" y="250312"/>
                    </a:lnTo>
                    <a:lnTo>
                      <a:pt x="184098" y="251373"/>
                    </a:lnTo>
                    <a:lnTo>
                      <a:pt x="196371" y="252434"/>
                    </a:lnTo>
                    <a:lnTo>
                      <a:pt x="207584" y="253343"/>
                    </a:lnTo>
                    <a:lnTo>
                      <a:pt x="212281" y="252434"/>
                    </a:lnTo>
                    <a:lnTo>
                      <a:pt x="216826" y="247585"/>
                    </a:lnTo>
                    <a:lnTo>
                      <a:pt x="218796" y="245009"/>
                    </a:lnTo>
                    <a:lnTo>
                      <a:pt x="222584" y="239251"/>
                    </a:lnTo>
                    <a:lnTo>
                      <a:pt x="224554" y="235312"/>
                    </a:lnTo>
                    <a:lnTo>
                      <a:pt x="226372" y="230766"/>
                    </a:lnTo>
                    <a:lnTo>
                      <a:pt x="227887" y="227281"/>
                    </a:lnTo>
                    <a:lnTo>
                      <a:pt x="228342" y="226675"/>
                    </a:lnTo>
                    <a:lnTo>
                      <a:pt x="229251" y="225463"/>
                    </a:lnTo>
                    <a:lnTo>
                      <a:pt x="231221" y="224251"/>
                    </a:lnTo>
                    <a:lnTo>
                      <a:pt x="234251" y="223190"/>
                    </a:lnTo>
                    <a:lnTo>
                      <a:pt x="239251" y="222584"/>
                    </a:lnTo>
                    <a:lnTo>
                      <a:pt x="242736" y="222584"/>
                    </a:lnTo>
                    <a:lnTo>
                      <a:pt x="243494" y="222735"/>
                    </a:lnTo>
                    <a:lnTo>
                      <a:pt x="245767" y="223190"/>
                    </a:lnTo>
                    <a:lnTo>
                      <a:pt x="251979" y="226069"/>
                    </a:lnTo>
                    <a:lnTo>
                      <a:pt x="251979" y="225160"/>
                    </a:lnTo>
                    <a:lnTo>
                      <a:pt x="254555" y="224251"/>
                    </a:lnTo>
                    <a:lnTo>
                      <a:pt x="256373" y="224251"/>
                    </a:lnTo>
                    <a:lnTo>
                      <a:pt x="262282" y="226826"/>
                    </a:lnTo>
                    <a:lnTo>
                      <a:pt x="265010" y="227433"/>
                    </a:lnTo>
                    <a:lnTo>
                      <a:pt x="267434" y="2266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8" name="Freeform: Shape 3257">
                <a:extLst>
                  <a:ext uri="{FF2B5EF4-FFF2-40B4-BE49-F238E27FC236}">
                    <a16:creationId xmlns:a16="http://schemas.microsoft.com/office/drawing/2014/main" id="{CEE86C15-31A8-4625-B729-E9A7910F1FCC}"/>
                  </a:ext>
                </a:extLst>
              </p:cNvPr>
              <p:cNvSpPr/>
              <p:nvPr/>
            </p:nvSpPr>
            <p:spPr>
              <a:xfrm>
                <a:off x="7756667" y="4758667"/>
                <a:ext cx="4090" cy="5909"/>
              </a:xfrm>
              <a:custGeom>
                <a:avLst/>
                <a:gdLst>
                  <a:gd name="connsiteX0" fmla="*/ 3939 w 4090"/>
                  <a:gd name="connsiteY0" fmla="*/ 1061 h 5909"/>
                  <a:gd name="connsiteX1" fmla="*/ 2727 w 4090"/>
                  <a:gd name="connsiteY1" fmla="*/ 0 h 5909"/>
                  <a:gd name="connsiteX2" fmla="*/ 2424 w 4090"/>
                  <a:gd name="connsiteY2" fmla="*/ 303 h 5909"/>
                  <a:gd name="connsiteX3" fmla="*/ 3182 w 4090"/>
                  <a:gd name="connsiteY3" fmla="*/ 1515 h 5909"/>
                  <a:gd name="connsiteX4" fmla="*/ 3485 w 4090"/>
                  <a:gd name="connsiteY4" fmla="*/ 2424 h 5909"/>
                  <a:gd name="connsiteX5" fmla="*/ 3182 w 4090"/>
                  <a:gd name="connsiteY5" fmla="*/ 3182 h 5909"/>
                  <a:gd name="connsiteX6" fmla="*/ 3333 w 4090"/>
                  <a:gd name="connsiteY6" fmla="*/ 3940 h 5909"/>
                  <a:gd name="connsiteX7" fmla="*/ 2727 w 4090"/>
                  <a:gd name="connsiteY7" fmla="*/ 4697 h 5909"/>
                  <a:gd name="connsiteX8" fmla="*/ 2121 w 4090"/>
                  <a:gd name="connsiteY8" fmla="*/ 2121 h 5909"/>
                  <a:gd name="connsiteX9" fmla="*/ 757 w 4090"/>
                  <a:gd name="connsiteY9" fmla="*/ 1212 h 5909"/>
                  <a:gd name="connsiteX10" fmla="*/ 0 w 4090"/>
                  <a:gd name="connsiteY10" fmla="*/ 1212 h 5909"/>
                  <a:gd name="connsiteX11" fmla="*/ 1667 w 4090"/>
                  <a:gd name="connsiteY11" fmla="*/ 3030 h 5909"/>
                  <a:gd name="connsiteX12" fmla="*/ 2273 w 4090"/>
                  <a:gd name="connsiteY12" fmla="*/ 5909 h 5909"/>
                  <a:gd name="connsiteX13" fmla="*/ 3333 w 4090"/>
                  <a:gd name="connsiteY13" fmla="*/ 5303 h 5909"/>
                  <a:gd name="connsiteX14" fmla="*/ 3939 w 4090"/>
                  <a:gd name="connsiteY14" fmla="*/ 4243 h 5909"/>
                  <a:gd name="connsiteX15" fmla="*/ 4091 w 4090"/>
                  <a:gd name="connsiteY15" fmla="*/ 1970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0" h="5909">
                    <a:moveTo>
                      <a:pt x="3939" y="1061"/>
                    </a:moveTo>
                    <a:lnTo>
                      <a:pt x="2727" y="0"/>
                    </a:lnTo>
                    <a:lnTo>
                      <a:pt x="2424" y="303"/>
                    </a:lnTo>
                    <a:lnTo>
                      <a:pt x="3182" y="1515"/>
                    </a:lnTo>
                    <a:lnTo>
                      <a:pt x="3485" y="2424"/>
                    </a:lnTo>
                    <a:lnTo>
                      <a:pt x="3182" y="3182"/>
                    </a:lnTo>
                    <a:lnTo>
                      <a:pt x="3333" y="3940"/>
                    </a:lnTo>
                    <a:lnTo>
                      <a:pt x="2727" y="4697"/>
                    </a:lnTo>
                    <a:lnTo>
                      <a:pt x="2121" y="2121"/>
                    </a:lnTo>
                    <a:lnTo>
                      <a:pt x="757" y="1212"/>
                    </a:lnTo>
                    <a:lnTo>
                      <a:pt x="0" y="1212"/>
                    </a:lnTo>
                    <a:lnTo>
                      <a:pt x="1667" y="3030"/>
                    </a:lnTo>
                    <a:lnTo>
                      <a:pt x="2273" y="5909"/>
                    </a:lnTo>
                    <a:lnTo>
                      <a:pt x="3333" y="5303"/>
                    </a:lnTo>
                    <a:lnTo>
                      <a:pt x="3939" y="4243"/>
                    </a:lnTo>
                    <a:lnTo>
                      <a:pt x="4091" y="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9" name="Freeform: Shape 3258">
                <a:extLst>
                  <a:ext uri="{FF2B5EF4-FFF2-40B4-BE49-F238E27FC236}">
                    <a16:creationId xmlns:a16="http://schemas.microsoft.com/office/drawing/2014/main" id="{A001EA30-589B-4FB8-AA6E-99729D4D9F43}"/>
                  </a:ext>
                </a:extLst>
              </p:cNvPr>
              <p:cNvSpPr/>
              <p:nvPr/>
            </p:nvSpPr>
            <p:spPr>
              <a:xfrm>
                <a:off x="7644239" y="3553472"/>
                <a:ext cx="798060" cy="825030"/>
              </a:xfrm>
              <a:custGeom>
                <a:avLst/>
                <a:gdLst>
                  <a:gd name="connsiteX0" fmla="*/ 670934 w 798060"/>
                  <a:gd name="connsiteY0" fmla="*/ 756694 h 825030"/>
                  <a:gd name="connsiteX1" fmla="*/ 670328 w 798060"/>
                  <a:gd name="connsiteY1" fmla="*/ 756997 h 825030"/>
                  <a:gd name="connsiteX2" fmla="*/ 669570 w 798060"/>
                  <a:gd name="connsiteY2" fmla="*/ 757755 h 825030"/>
                  <a:gd name="connsiteX3" fmla="*/ 669722 w 798060"/>
                  <a:gd name="connsiteY3" fmla="*/ 758816 h 825030"/>
                  <a:gd name="connsiteX4" fmla="*/ 670479 w 798060"/>
                  <a:gd name="connsiteY4" fmla="*/ 759725 h 825030"/>
                  <a:gd name="connsiteX5" fmla="*/ 671692 w 798060"/>
                  <a:gd name="connsiteY5" fmla="*/ 759573 h 825030"/>
                  <a:gd name="connsiteX6" fmla="*/ 672298 w 798060"/>
                  <a:gd name="connsiteY6" fmla="*/ 758513 h 825030"/>
                  <a:gd name="connsiteX7" fmla="*/ 671692 w 798060"/>
                  <a:gd name="connsiteY7" fmla="*/ 756694 h 825030"/>
                  <a:gd name="connsiteX8" fmla="*/ 670934 w 798060"/>
                  <a:gd name="connsiteY8" fmla="*/ 756694 h 825030"/>
                  <a:gd name="connsiteX9" fmla="*/ 668964 w 798060"/>
                  <a:gd name="connsiteY9" fmla="*/ 695632 h 825030"/>
                  <a:gd name="connsiteX10" fmla="*/ 667601 w 798060"/>
                  <a:gd name="connsiteY10" fmla="*/ 694419 h 825030"/>
                  <a:gd name="connsiteX11" fmla="*/ 667449 w 798060"/>
                  <a:gd name="connsiteY11" fmla="*/ 696692 h 825030"/>
                  <a:gd name="connsiteX12" fmla="*/ 666389 w 798060"/>
                  <a:gd name="connsiteY12" fmla="*/ 697753 h 825030"/>
                  <a:gd name="connsiteX13" fmla="*/ 667752 w 798060"/>
                  <a:gd name="connsiteY13" fmla="*/ 698510 h 825030"/>
                  <a:gd name="connsiteX14" fmla="*/ 669116 w 798060"/>
                  <a:gd name="connsiteY14" fmla="*/ 697904 h 825030"/>
                  <a:gd name="connsiteX15" fmla="*/ 668964 w 798060"/>
                  <a:gd name="connsiteY15" fmla="*/ 697147 h 825030"/>
                  <a:gd name="connsiteX16" fmla="*/ 668964 w 798060"/>
                  <a:gd name="connsiteY16" fmla="*/ 695632 h 825030"/>
                  <a:gd name="connsiteX17" fmla="*/ 677298 w 798060"/>
                  <a:gd name="connsiteY17" fmla="*/ 666085 h 825030"/>
                  <a:gd name="connsiteX18" fmla="*/ 676540 w 798060"/>
                  <a:gd name="connsiteY18" fmla="*/ 657448 h 825030"/>
                  <a:gd name="connsiteX19" fmla="*/ 674419 w 798060"/>
                  <a:gd name="connsiteY19" fmla="*/ 654872 h 825030"/>
                  <a:gd name="connsiteX20" fmla="*/ 675025 w 798060"/>
                  <a:gd name="connsiteY20" fmla="*/ 653963 h 825030"/>
                  <a:gd name="connsiteX21" fmla="*/ 676086 w 798060"/>
                  <a:gd name="connsiteY21" fmla="*/ 651539 h 825030"/>
                  <a:gd name="connsiteX22" fmla="*/ 677601 w 798060"/>
                  <a:gd name="connsiteY22" fmla="*/ 650781 h 825030"/>
                  <a:gd name="connsiteX23" fmla="*/ 678662 w 798060"/>
                  <a:gd name="connsiteY23" fmla="*/ 648963 h 825030"/>
                  <a:gd name="connsiteX24" fmla="*/ 679268 w 798060"/>
                  <a:gd name="connsiteY24" fmla="*/ 647145 h 825030"/>
                  <a:gd name="connsiteX25" fmla="*/ 679419 w 798060"/>
                  <a:gd name="connsiteY25" fmla="*/ 646236 h 825030"/>
                  <a:gd name="connsiteX26" fmla="*/ 677904 w 798060"/>
                  <a:gd name="connsiteY26" fmla="*/ 643963 h 825030"/>
                  <a:gd name="connsiteX27" fmla="*/ 679571 w 798060"/>
                  <a:gd name="connsiteY27" fmla="*/ 642145 h 825030"/>
                  <a:gd name="connsiteX28" fmla="*/ 679268 w 798060"/>
                  <a:gd name="connsiteY28" fmla="*/ 641084 h 825030"/>
                  <a:gd name="connsiteX29" fmla="*/ 679116 w 798060"/>
                  <a:gd name="connsiteY29" fmla="*/ 638054 h 825030"/>
                  <a:gd name="connsiteX30" fmla="*/ 678207 w 798060"/>
                  <a:gd name="connsiteY30" fmla="*/ 638054 h 825030"/>
                  <a:gd name="connsiteX31" fmla="*/ 675328 w 798060"/>
                  <a:gd name="connsiteY31" fmla="*/ 639720 h 825030"/>
                  <a:gd name="connsiteX32" fmla="*/ 673510 w 798060"/>
                  <a:gd name="connsiteY32" fmla="*/ 643205 h 825030"/>
                  <a:gd name="connsiteX33" fmla="*/ 673662 w 798060"/>
                  <a:gd name="connsiteY33" fmla="*/ 646690 h 825030"/>
                  <a:gd name="connsiteX34" fmla="*/ 672298 w 798060"/>
                  <a:gd name="connsiteY34" fmla="*/ 651993 h 825030"/>
                  <a:gd name="connsiteX35" fmla="*/ 672904 w 798060"/>
                  <a:gd name="connsiteY35" fmla="*/ 653054 h 825030"/>
                  <a:gd name="connsiteX36" fmla="*/ 672298 w 798060"/>
                  <a:gd name="connsiteY36" fmla="*/ 656539 h 825030"/>
                  <a:gd name="connsiteX37" fmla="*/ 670783 w 798060"/>
                  <a:gd name="connsiteY37" fmla="*/ 658206 h 825030"/>
                  <a:gd name="connsiteX38" fmla="*/ 670479 w 798060"/>
                  <a:gd name="connsiteY38" fmla="*/ 659418 h 825030"/>
                  <a:gd name="connsiteX39" fmla="*/ 670934 w 798060"/>
                  <a:gd name="connsiteY39" fmla="*/ 662448 h 825030"/>
                  <a:gd name="connsiteX40" fmla="*/ 670177 w 798060"/>
                  <a:gd name="connsiteY40" fmla="*/ 663964 h 825030"/>
                  <a:gd name="connsiteX41" fmla="*/ 669874 w 798060"/>
                  <a:gd name="connsiteY41" fmla="*/ 666085 h 825030"/>
                  <a:gd name="connsiteX42" fmla="*/ 669874 w 798060"/>
                  <a:gd name="connsiteY42" fmla="*/ 671237 h 825030"/>
                  <a:gd name="connsiteX43" fmla="*/ 670328 w 798060"/>
                  <a:gd name="connsiteY43" fmla="*/ 671843 h 825030"/>
                  <a:gd name="connsiteX44" fmla="*/ 671540 w 798060"/>
                  <a:gd name="connsiteY44" fmla="*/ 672752 h 825030"/>
                  <a:gd name="connsiteX45" fmla="*/ 671843 w 798060"/>
                  <a:gd name="connsiteY45" fmla="*/ 674873 h 825030"/>
                  <a:gd name="connsiteX46" fmla="*/ 671389 w 798060"/>
                  <a:gd name="connsiteY46" fmla="*/ 675176 h 825030"/>
                  <a:gd name="connsiteX47" fmla="*/ 669419 w 798060"/>
                  <a:gd name="connsiteY47" fmla="*/ 675176 h 825030"/>
                  <a:gd name="connsiteX48" fmla="*/ 668964 w 798060"/>
                  <a:gd name="connsiteY48" fmla="*/ 675782 h 825030"/>
                  <a:gd name="connsiteX49" fmla="*/ 668055 w 798060"/>
                  <a:gd name="connsiteY49" fmla="*/ 678055 h 825030"/>
                  <a:gd name="connsiteX50" fmla="*/ 667752 w 798060"/>
                  <a:gd name="connsiteY50" fmla="*/ 680782 h 825030"/>
                  <a:gd name="connsiteX51" fmla="*/ 667146 w 798060"/>
                  <a:gd name="connsiteY51" fmla="*/ 682601 h 825030"/>
                  <a:gd name="connsiteX52" fmla="*/ 666086 w 798060"/>
                  <a:gd name="connsiteY52" fmla="*/ 683055 h 825030"/>
                  <a:gd name="connsiteX53" fmla="*/ 665176 w 798060"/>
                  <a:gd name="connsiteY53" fmla="*/ 684570 h 825030"/>
                  <a:gd name="connsiteX54" fmla="*/ 665934 w 798060"/>
                  <a:gd name="connsiteY54" fmla="*/ 685631 h 825030"/>
                  <a:gd name="connsiteX55" fmla="*/ 666389 w 798060"/>
                  <a:gd name="connsiteY55" fmla="*/ 688813 h 825030"/>
                  <a:gd name="connsiteX56" fmla="*/ 668964 w 798060"/>
                  <a:gd name="connsiteY56" fmla="*/ 693813 h 825030"/>
                  <a:gd name="connsiteX57" fmla="*/ 669874 w 798060"/>
                  <a:gd name="connsiteY57" fmla="*/ 694571 h 825030"/>
                  <a:gd name="connsiteX58" fmla="*/ 670479 w 798060"/>
                  <a:gd name="connsiteY58" fmla="*/ 693965 h 825030"/>
                  <a:gd name="connsiteX59" fmla="*/ 671692 w 798060"/>
                  <a:gd name="connsiteY59" fmla="*/ 691086 h 825030"/>
                  <a:gd name="connsiteX60" fmla="*/ 671692 w 798060"/>
                  <a:gd name="connsiteY60" fmla="*/ 687601 h 825030"/>
                  <a:gd name="connsiteX61" fmla="*/ 672601 w 798060"/>
                  <a:gd name="connsiteY61" fmla="*/ 684570 h 825030"/>
                  <a:gd name="connsiteX62" fmla="*/ 672601 w 798060"/>
                  <a:gd name="connsiteY62" fmla="*/ 683358 h 825030"/>
                  <a:gd name="connsiteX63" fmla="*/ 671692 w 798060"/>
                  <a:gd name="connsiteY63" fmla="*/ 682752 h 825030"/>
                  <a:gd name="connsiteX64" fmla="*/ 671237 w 798060"/>
                  <a:gd name="connsiteY64" fmla="*/ 681237 h 825030"/>
                  <a:gd name="connsiteX65" fmla="*/ 672298 w 798060"/>
                  <a:gd name="connsiteY65" fmla="*/ 680025 h 825030"/>
                  <a:gd name="connsiteX66" fmla="*/ 672601 w 798060"/>
                  <a:gd name="connsiteY66" fmla="*/ 678813 h 825030"/>
                  <a:gd name="connsiteX67" fmla="*/ 674419 w 798060"/>
                  <a:gd name="connsiteY67" fmla="*/ 675934 h 825030"/>
                  <a:gd name="connsiteX68" fmla="*/ 674722 w 798060"/>
                  <a:gd name="connsiteY68" fmla="*/ 674722 h 825030"/>
                  <a:gd name="connsiteX69" fmla="*/ 674267 w 798060"/>
                  <a:gd name="connsiteY69" fmla="*/ 668964 h 825030"/>
                  <a:gd name="connsiteX70" fmla="*/ 676086 w 798060"/>
                  <a:gd name="connsiteY70" fmla="*/ 668509 h 825030"/>
                  <a:gd name="connsiteX71" fmla="*/ 677298 w 798060"/>
                  <a:gd name="connsiteY71" fmla="*/ 666085 h 825030"/>
                  <a:gd name="connsiteX72" fmla="*/ 132278 w 798060"/>
                  <a:gd name="connsiteY72" fmla="*/ 782301 h 825030"/>
                  <a:gd name="connsiteX73" fmla="*/ 131823 w 798060"/>
                  <a:gd name="connsiteY73" fmla="*/ 783210 h 825030"/>
                  <a:gd name="connsiteX74" fmla="*/ 131369 w 798060"/>
                  <a:gd name="connsiteY74" fmla="*/ 783513 h 825030"/>
                  <a:gd name="connsiteX75" fmla="*/ 131065 w 798060"/>
                  <a:gd name="connsiteY75" fmla="*/ 783210 h 825030"/>
                  <a:gd name="connsiteX76" fmla="*/ 131065 w 798060"/>
                  <a:gd name="connsiteY76" fmla="*/ 783513 h 825030"/>
                  <a:gd name="connsiteX77" fmla="*/ 131217 w 798060"/>
                  <a:gd name="connsiteY77" fmla="*/ 783816 h 825030"/>
                  <a:gd name="connsiteX78" fmla="*/ 131520 w 798060"/>
                  <a:gd name="connsiteY78" fmla="*/ 783816 h 825030"/>
                  <a:gd name="connsiteX79" fmla="*/ 131975 w 798060"/>
                  <a:gd name="connsiteY79" fmla="*/ 783665 h 825030"/>
                  <a:gd name="connsiteX80" fmla="*/ 132429 w 798060"/>
                  <a:gd name="connsiteY80" fmla="*/ 783362 h 825030"/>
                  <a:gd name="connsiteX81" fmla="*/ 132732 w 798060"/>
                  <a:gd name="connsiteY81" fmla="*/ 782756 h 825030"/>
                  <a:gd name="connsiteX82" fmla="*/ 132884 w 798060"/>
                  <a:gd name="connsiteY82" fmla="*/ 782301 h 825030"/>
                  <a:gd name="connsiteX83" fmla="*/ 132732 w 798060"/>
                  <a:gd name="connsiteY83" fmla="*/ 782150 h 825030"/>
                  <a:gd name="connsiteX84" fmla="*/ 132278 w 798060"/>
                  <a:gd name="connsiteY84" fmla="*/ 782301 h 825030"/>
                  <a:gd name="connsiteX85" fmla="*/ 670177 w 798060"/>
                  <a:gd name="connsiteY85" fmla="*/ 654721 h 825030"/>
                  <a:gd name="connsiteX86" fmla="*/ 669570 w 798060"/>
                  <a:gd name="connsiteY86" fmla="*/ 654418 h 825030"/>
                  <a:gd name="connsiteX87" fmla="*/ 669116 w 798060"/>
                  <a:gd name="connsiteY87" fmla="*/ 654569 h 825030"/>
                  <a:gd name="connsiteX88" fmla="*/ 668661 w 798060"/>
                  <a:gd name="connsiteY88" fmla="*/ 655024 h 825030"/>
                  <a:gd name="connsiteX89" fmla="*/ 668813 w 798060"/>
                  <a:gd name="connsiteY89" fmla="*/ 658812 h 825030"/>
                  <a:gd name="connsiteX90" fmla="*/ 669722 w 798060"/>
                  <a:gd name="connsiteY90" fmla="*/ 656994 h 825030"/>
                  <a:gd name="connsiteX91" fmla="*/ 670177 w 798060"/>
                  <a:gd name="connsiteY91" fmla="*/ 654721 h 825030"/>
                  <a:gd name="connsiteX92" fmla="*/ 664116 w 798060"/>
                  <a:gd name="connsiteY92" fmla="*/ 711238 h 825030"/>
                  <a:gd name="connsiteX93" fmla="*/ 662449 w 798060"/>
                  <a:gd name="connsiteY93" fmla="*/ 712147 h 825030"/>
                  <a:gd name="connsiteX94" fmla="*/ 660328 w 798060"/>
                  <a:gd name="connsiteY94" fmla="*/ 714117 h 825030"/>
                  <a:gd name="connsiteX95" fmla="*/ 659873 w 798060"/>
                  <a:gd name="connsiteY95" fmla="*/ 715329 h 825030"/>
                  <a:gd name="connsiteX96" fmla="*/ 660479 w 798060"/>
                  <a:gd name="connsiteY96" fmla="*/ 718057 h 825030"/>
                  <a:gd name="connsiteX97" fmla="*/ 660328 w 798060"/>
                  <a:gd name="connsiteY97" fmla="*/ 720935 h 825030"/>
                  <a:gd name="connsiteX98" fmla="*/ 663207 w 798060"/>
                  <a:gd name="connsiteY98" fmla="*/ 721693 h 825030"/>
                  <a:gd name="connsiteX99" fmla="*/ 663964 w 798060"/>
                  <a:gd name="connsiteY99" fmla="*/ 720784 h 825030"/>
                  <a:gd name="connsiteX100" fmla="*/ 665934 w 798060"/>
                  <a:gd name="connsiteY100" fmla="*/ 716693 h 825030"/>
                  <a:gd name="connsiteX101" fmla="*/ 665328 w 798060"/>
                  <a:gd name="connsiteY101" fmla="*/ 714117 h 825030"/>
                  <a:gd name="connsiteX102" fmla="*/ 664116 w 798060"/>
                  <a:gd name="connsiteY102" fmla="*/ 711238 h 825030"/>
                  <a:gd name="connsiteX103" fmla="*/ 124247 w 798060"/>
                  <a:gd name="connsiteY103" fmla="*/ 701692 h 825030"/>
                  <a:gd name="connsiteX104" fmla="*/ 123944 w 798060"/>
                  <a:gd name="connsiteY104" fmla="*/ 702450 h 825030"/>
                  <a:gd name="connsiteX105" fmla="*/ 123944 w 798060"/>
                  <a:gd name="connsiteY105" fmla="*/ 702904 h 825030"/>
                  <a:gd name="connsiteX106" fmla="*/ 124096 w 798060"/>
                  <a:gd name="connsiteY106" fmla="*/ 702753 h 825030"/>
                  <a:gd name="connsiteX107" fmla="*/ 124247 w 798060"/>
                  <a:gd name="connsiteY107" fmla="*/ 702450 h 825030"/>
                  <a:gd name="connsiteX108" fmla="*/ 124399 w 798060"/>
                  <a:gd name="connsiteY108" fmla="*/ 701692 h 825030"/>
                  <a:gd name="connsiteX109" fmla="*/ 124550 w 798060"/>
                  <a:gd name="connsiteY109" fmla="*/ 701238 h 825030"/>
                  <a:gd name="connsiteX110" fmla="*/ 124399 w 798060"/>
                  <a:gd name="connsiteY110" fmla="*/ 701238 h 825030"/>
                  <a:gd name="connsiteX111" fmla="*/ 124247 w 798060"/>
                  <a:gd name="connsiteY111" fmla="*/ 701692 h 825030"/>
                  <a:gd name="connsiteX112" fmla="*/ 700026 w 798060"/>
                  <a:gd name="connsiteY112" fmla="*/ 811545 h 825030"/>
                  <a:gd name="connsiteX113" fmla="*/ 696238 w 798060"/>
                  <a:gd name="connsiteY113" fmla="*/ 813060 h 825030"/>
                  <a:gd name="connsiteX114" fmla="*/ 695480 w 798060"/>
                  <a:gd name="connsiteY114" fmla="*/ 814424 h 825030"/>
                  <a:gd name="connsiteX115" fmla="*/ 695480 w 798060"/>
                  <a:gd name="connsiteY115" fmla="*/ 817757 h 825030"/>
                  <a:gd name="connsiteX116" fmla="*/ 696844 w 798060"/>
                  <a:gd name="connsiteY116" fmla="*/ 818212 h 825030"/>
                  <a:gd name="connsiteX117" fmla="*/ 700178 w 798060"/>
                  <a:gd name="connsiteY117" fmla="*/ 825030 h 825030"/>
                  <a:gd name="connsiteX118" fmla="*/ 701844 w 798060"/>
                  <a:gd name="connsiteY118" fmla="*/ 822757 h 825030"/>
                  <a:gd name="connsiteX119" fmla="*/ 702905 w 798060"/>
                  <a:gd name="connsiteY119" fmla="*/ 818818 h 825030"/>
                  <a:gd name="connsiteX120" fmla="*/ 700935 w 798060"/>
                  <a:gd name="connsiteY120" fmla="*/ 812454 h 825030"/>
                  <a:gd name="connsiteX121" fmla="*/ 700026 w 798060"/>
                  <a:gd name="connsiteY121" fmla="*/ 811545 h 825030"/>
                  <a:gd name="connsiteX122" fmla="*/ 796242 w 798060"/>
                  <a:gd name="connsiteY122" fmla="*/ 226069 h 825030"/>
                  <a:gd name="connsiteX123" fmla="*/ 795181 w 798060"/>
                  <a:gd name="connsiteY123" fmla="*/ 224402 h 825030"/>
                  <a:gd name="connsiteX124" fmla="*/ 795333 w 798060"/>
                  <a:gd name="connsiteY124" fmla="*/ 222432 h 825030"/>
                  <a:gd name="connsiteX125" fmla="*/ 795636 w 798060"/>
                  <a:gd name="connsiteY125" fmla="*/ 220614 h 825030"/>
                  <a:gd name="connsiteX126" fmla="*/ 794727 w 798060"/>
                  <a:gd name="connsiteY126" fmla="*/ 220008 h 825030"/>
                  <a:gd name="connsiteX127" fmla="*/ 790787 w 798060"/>
                  <a:gd name="connsiteY127" fmla="*/ 216977 h 825030"/>
                  <a:gd name="connsiteX128" fmla="*/ 788817 w 798060"/>
                  <a:gd name="connsiteY128" fmla="*/ 216068 h 825030"/>
                  <a:gd name="connsiteX129" fmla="*/ 786242 w 798060"/>
                  <a:gd name="connsiteY129" fmla="*/ 216977 h 825030"/>
                  <a:gd name="connsiteX130" fmla="*/ 782150 w 798060"/>
                  <a:gd name="connsiteY130" fmla="*/ 216220 h 825030"/>
                  <a:gd name="connsiteX131" fmla="*/ 780635 w 798060"/>
                  <a:gd name="connsiteY131" fmla="*/ 216068 h 825030"/>
                  <a:gd name="connsiteX132" fmla="*/ 777302 w 798060"/>
                  <a:gd name="connsiteY132" fmla="*/ 213644 h 825030"/>
                  <a:gd name="connsiteX133" fmla="*/ 775938 w 798060"/>
                  <a:gd name="connsiteY133" fmla="*/ 213341 h 825030"/>
                  <a:gd name="connsiteX134" fmla="*/ 771089 w 798060"/>
                  <a:gd name="connsiteY134" fmla="*/ 215008 h 825030"/>
                  <a:gd name="connsiteX135" fmla="*/ 770029 w 798060"/>
                  <a:gd name="connsiteY135" fmla="*/ 216068 h 825030"/>
                  <a:gd name="connsiteX136" fmla="*/ 769422 w 798060"/>
                  <a:gd name="connsiteY136" fmla="*/ 216068 h 825030"/>
                  <a:gd name="connsiteX137" fmla="*/ 768211 w 798060"/>
                  <a:gd name="connsiteY137" fmla="*/ 215462 h 825030"/>
                  <a:gd name="connsiteX138" fmla="*/ 767150 w 798060"/>
                  <a:gd name="connsiteY138" fmla="*/ 214705 h 825030"/>
                  <a:gd name="connsiteX139" fmla="*/ 767150 w 798060"/>
                  <a:gd name="connsiteY139" fmla="*/ 214250 h 825030"/>
                  <a:gd name="connsiteX140" fmla="*/ 768513 w 798060"/>
                  <a:gd name="connsiteY140" fmla="*/ 213038 h 825030"/>
                  <a:gd name="connsiteX141" fmla="*/ 768665 w 798060"/>
                  <a:gd name="connsiteY141" fmla="*/ 212129 h 825030"/>
                  <a:gd name="connsiteX142" fmla="*/ 768665 w 798060"/>
                  <a:gd name="connsiteY142" fmla="*/ 211220 h 825030"/>
                  <a:gd name="connsiteX143" fmla="*/ 770483 w 798060"/>
                  <a:gd name="connsiteY143" fmla="*/ 208795 h 825030"/>
                  <a:gd name="connsiteX144" fmla="*/ 775483 w 798060"/>
                  <a:gd name="connsiteY144" fmla="*/ 204098 h 825030"/>
                  <a:gd name="connsiteX145" fmla="*/ 774574 w 798060"/>
                  <a:gd name="connsiteY145" fmla="*/ 202129 h 825030"/>
                  <a:gd name="connsiteX146" fmla="*/ 772605 w 798060"/>
                  <a:gd name="connsiteY146" fmla="*/ 198341 h 825030"/>
                  <a:gd name="connsiteX147" fmla="*/ 772301 w 798060"/>
                  <a:gd name="connsiteY147" fmla="*/ 196522 h 825030"/>
                  <a:gd name="connsiteX148" fmla="*/ 771392 w 798060"/>
                  <a:gd name="connsiteY148" fmla="*/ 195613 h 825030"/>
                  <a:gd name="connsiteX149" fmla="*/ 768968 w 798060"/>
                  <a:gd name="connsiteY149" fmla="*/ 196371 h 825030"/>
                  <a:gd name="connsiteX150" fmla="*/ 763968 w 798060"/>
                  <a:gd name="connsiteY150" fmla="*/ 199856 h 825030"/>
                  <a:gd name="connsiteX151" fmla="*/ 763210 w 798060"/>
                  <a:gd name="connsiteY151" fmla="*/ 199401 h 825030"/>
                  <a:gd name="connsiteX152" fmla="*/ 763362 w 798060"/>
                  <a:gd name="connsiteY152" fmla="*/ 198189 h 825030"/>
                  <a:gd name="connsiteX153" fmla="*/ 762907 w 798060"/>
                  <a:gd name="connsiteY153" fmla="*/ 194704 h 825030"/>
                  <a:gd name="connsiteX154" fmla="*/ 764574 w 798060"/>
                  <a:gd name="connsiteY154" fmla="*/ 193643 h 825030"/>
                  <a:gd name="connsiteX155" fmla="*/ 766998 w 798060"/>
                  <a:gd name="connsiteY155" fmla="*/ 192280 h 825030"/>
                  <a:gd name="connsiteX156" fmla="*/ 768817 w 798060"/>
                  <a:gd name="connsiteY156" fmla="*/ 190764 h 825030"/>
                  <a:gd name="connsiteX157" fmla="*/ 769271 w 798060"/>
                  <a:gd name="connsiteY157" fmla="*/ 189552 h 825030"/>
                  <a:gd name="connsiteX158" fmla="*/ 768817 w 798060"/>
                  <a:gd name="connsiteY158" fmla="*/ 189249 h 825030"/>
                  <a:gd name="connsiteX159" fmla="*/ 766089 w 798060"/>
                  <a:gd name="connsiteY159" fmla="*/ 189704 h 825030"/>
                  <a:gd name="connsiteX160" fmla="*/ 765029 w 798060"/>
                  <a:gd name="connsiteY160" fmla="*/ 188946 h 825030"/>
                  <a:gd name="connsiteX161" fmla="*/ 763210 w 798060"/>
                  <a:gd name="connsiteY161" fmla="*/ 185764 h 825030"/>
                  <a:gd name="connsiteX162" fmla="*/ 761846 w 798060"/>
                  <a:gd name="connsiteY162" fmla="*/ 184552 h 825030"/>
                  <a:gd name="connsiteX163" fmla="*/ 760634 w 798060"/>
                  <a:gd name="connsiteY163" fmla="*/ 183794 h 825030"/>
                  <a:gd name="connsiteX164" fmla="*/ 756543 w 798060"/>
                  <a:gd name="connsiteY164" fmla="*/ 185461 h 825030"/>
                  <a:gd name="connsiteX165" fmla="*/ 751695 w 798060"/>
                  <a:gd name="connsiteY165" fmla="*/ 187734 h 825030"/>
                  <a:gd name="connsiteX166" fmla="*/ 746391 w 798060"/>
                  <a:gd name="connsiteY166" fmla="*/ 190916 h 825030"/>
                  <a:gd name="connsiteX167" fmla="*/ 746391 w 798060"/>
                  <a:gd name="connsiteY167" fmla="*/ 192583 h 825030"/>
                  <a:gd name="connsiteX168" fmla="*/ 745785 w 798060"/>
                  <a:gd name="connsiteY168" fmla="*/ 193037 h 825030"/>
                  <a:gd name="connsiteX169" fmla="*/ 744725 w 798060"/>
                  <a:gd name="connsiteY169" fmla="*/ 194098 h 825030"/>
                  <a:gd name="connsiteX170" fmla="*/ 743664 w 798060"/>
                  <a:gd name="connsiteY170" fmla="*/ 195462 h 825030"/>
                  <a:gd name="connsiteX171" fmla="*/ 742755 w 798060"/>
                  <a:gd name="connsiteY171" fmla="*/ 195916 h 825030"/>
                  <a:gd name="connsiteX172" fmla="*/ 741694 w 798060"/>
                  <a:gd name="connsiteY172" fmla="*/ 195916 h 825030"/>
                  <a:gd name="connsiteX173" fmla="*/ 739725 w 798060"/>
                  <a:gd name="connsiteY173" fmla="*/ 195462 h 825030"/>
                  <a:gd name="connsiteX174" fmla="*/ 736088 w 798060"/>
                  <a:gd name="connsiteY174" fmla="*/ 193795 h 825030"/>
                  <a:gd name="connsiteX175" fmla="*/ 732148 w 798060"/>
                  <a:gd name="connsiteY175" fmla="*/ 192431 h 825030"/>
                  <a:gd name="connsiteX176" fmla="*/ 731239 w 798060"/>
                  <a:gd name="connsiteY176" fmla="*/ 192583 h 825030"/>
                  <a:gd name="connsiteX177" fmla="*/ 725784 w 798060"/>
                  <a:gd name="connsiteY177" fmla="*/ 191674 h 825030"/>
                  <a:gd name="connsiteX178" fmla="*/ 725633 w 798060"/>
                  <a:gd name="connsiteY178" fmla="*/ 190916 h 825030"/>
                  <a:gd name="connsiteX179" fmla="*/ 724875 w 798060"/>
                  <a:gd name="connsiteY179" fmla="*/ 189401 h 825030"/>
                  <a:gd name="connsiteX180" fmla="*/ 723360 w 798060"/>
                  <a:gd name="connsiteY180" fmla="*/ 188037 h 825030"/>
                  <a:gd name="connsiteX181" fmla="*/ 721845 w 798060"/>
                  <a:gd name="connsiteY181" fmla="*/ 187582 h 825030"/>
                  <a:gd name="connsiteX182" fmla="*/ 717603 w 798060"/>
                  <a:gd name="connsiteY182" fmla="*/ 190461 h 825030"/>
                  <a:gd name="connsiteX183" fmla="*/ 712754 w 798060"/>
                  <a:gd name="connsiteY183" fmla="*/ 192583 h 825030"/>
                  <a:gd name="connsiteX184" fmla="*/ 710027 w 798060"/>
                  <a:gd name="connsiteY184" fmla="*/ 195158 h 825030"/>
                  <a:gd name="connsiteX185" fmla="*/ 707754 w 798060"/>
                  <a:gd name="connsiteY185" fmla="*/ 197583 h 825030"/>
                  <a:gd name="connsiteX186" fmla="*/ 705178 w 798060"/>
                  <a:gd name="connsiteY186" fmla="*/ 198037 h 825030"/>
                  <a:gd name="connsiteX187" fmla="*/ 705026 w 798060"/>
                  <a:gd name="connsiteY187" fmla="*/ 199553 h 825030"/>
                  <a:gd name="connsiteX188" fmla="*/ 703966 w 798060"/>
                  <a:gd name="connsiteY188" fmla="*/ 200916 h 825030"/>
                  <a:gd name="connsiteX189" fmla="*/ 701996 w 798060"/>
                  <a:gd name="connsiteY189" fmla="*/ 202583 h 825030"/>
                  <a:gd name="connsiteX190" fmla="*/ 698056 w 798060"/>
                  <a:gd name="connsiteY190" fmla="*/ 204704 h 825030"/>
                  <a:gd name="connsiteX191" fmla="*/ 695480 w 798060"/>
                  <a:gd name="connsiteY191" fmla="*/ 205917 h 825030"/>
                  <a:gd name="connsiteX192" fmla="*/ 687147 w 798060"/>
                  <a:gd name="connsiteY192" fmla="*/ 206977 h 825030"/>
                  <a:gd name="connsiteX193" fmla="*/ 684116 w 798060"/>
                  <a:gd name="connsiteY193" fmla="*/ 207735 h 825030"/>
                  <a:gd name="connsiteX194" fmla="*/ 682904 w 798060"/>
                  <a:gd name="connsiteY194" fmla="*/ 208947 h 825030"/>
                  <a:gd name="connsiteX195" fmla="*/ 681541 w 798060"/>
                  <a:gd name="connsiteY195" fmla="*/ 211826 h 825030"/>
                  <a:gd name="connsiteX196" fmla="*/ 680480 w 798060"/>
                  <a:gd name="connsiteY196" fmla="*/ 214553 h 825030"/>
                  <a:gd name="connsiteX197" fmla="*/ 678207 w 798060"/>
                  <a:gd name="connsiteY197" fmla="*/ 216826 h 825030"/>
                  <a:gd name="connsiteX198" fmla="*/ 673965 w 798060"/>
                  <a:gd name="connsiteY198" fmla="*/ 219705 h 825030"/>
                  <a:gd name="connsiteX199" fmla="*/ 668964 w 798060"/>
                  <a:gd name="connsiteY199" fmla="*/ 222129 h 825030"/>
                  <a:gd name="connsiteX200" fmla="*/ 667601 w 798060"/>
                  <a:gd name="connsiteY200" fmla="*/ 223644 h 825030"/>
                  <a:gd name="connsiteX201" fmla="*/ 667298 w 798060"/>
                  <a:gd name="connsiteY201" fmla="*/ 224554 h 825030"/>
                  <a:gd name="connsiteX202" fmla="*/ 667904 w 798060"/>
                  <a:gd name="connsiteY202" fmla="*/ 224857 h 825030"/>
                  <a:gd name="connsiteX203" fmla="*/ 668510 w 798060"/>
                  <a:gd name="connsiteY203" fmla="*/ 225614 h 825030"/>
                  <a:gd name="connsiteX204" fmla="*/ 668510 w 798060"/>
                  <a:gd name="connsiteY204" fmla="*/ 226675 h 825030"/>
                  <a:gd name="connsiteX205" fmla="*/ 667904 w 798060"/>
                  <a:gd name="connsiteY205" fmla="*/ 227887 h 825030"/>
                  <a:gd name="connsiteX206" fmla="*/ 664722 w 798060"/>
                  <a:gd name="connsiteY206" fmla="*/ 230008 h 825030"/>
                  <a:gd name="connsiteX207" fmla="*/ 662903 w 798060"/>
                  <a:gd name="connsiteY207" fmla="*/ 230917 h 825030"/>
                  <a:gd name="connsiteX208" fmla="*/ 661085 w 798060"/>
                  <a:gd name="connsiteY208" fmla="*/ 231524 h 825030"/>
                  <a:gd name="connsiteX209" fmla="*/ 659115 w 798060"/>
                  <a:gd name="connsiteY209" fmla="*/ 231675 h 825030"/>
                  <a:gd name="connsiteX210" fmla="*/ 657146 w 798060"/>
                  <a:gd name="connsiteY210" fmla="*/ 231372 h 825030"/>
                  <a:gd name="connsiteX211" fmla="*/ 656540 w 798060"/>
                  <a:gd name="connsiteY211" fmla="*/ 231069 h 825030"/>
                  <a:gd name="connsiteX212" fmla="*/ 655782 w 798060"/>
                  <a:gd name="connsiteY212" fmla="*/ 231524 h 825030"/>
                  <a:gd name="connsiteX213" fmla="*/ 653964 w 798060"/>
                  <a:gd name="connsiteY213" fmla="*/ 231978 h 825030"/>
                  <a:gd name="connsiteX214" fmla="*/ 652448 w 798060"/>
                  <a:gd name="connsiteY214" fmla="*/ 232130 h 825030"/>
                  <a:gd name="connsiteX215" fmla="*/ 649115 w 798060"/>
                  <a:gd name="connsiteY215" fmla="*/ 234403 h 825030"/>
                  <a:gd name="connsiteX216" fmla="*/ 647297 w 798060"/>
                  <a:gd name="connsiteY216" fmla="*/ 234403 h 825030"/>
                  <a:gd name="connsiteX217" fmla="*/ 645024 w 798060"/>
                  <a:gd name="connsiteY217" fmla="*/ 233948 h 825030"/>
                  <a:gd name="connsiteX218" fmla="*/ 641993 w 798060"/>
                  <a:gd name="connsiteY218" fmla="*/ 233493 h 825030"/>
                  <a:gd name="connsiteX219" fmla="*/ 639721 w 798060"/>
                  <a:gd name="connsiteY219" fmla="*/ 233493 h 825030"/>
                  <a:gd name="connsiteX220" fmla="*/ 639570 w 798060"/>
                  <a:gd name="connsiteY220" fmla="*/ 234099 h 825030"/>
                  <a:gd name="connsiteX221" fmla="*/ 638812 w 798060"/>
                  <a:gd name="connsiteY221" fmla="*/ 235918 h 825030"/>
                  <a:gd name="connsiteX222" fmla="*/ 638357 w 798060"/>
                  <a:gd name="connsiteY222" fmla="*/ 237887 h 825030"/>
                  <a:gd name="connsiteX223" fmla="*/ 638812 w 798060"/>
                  <a:gd name="connsiteY223" fmla="*/ 239403 h 825030"/>
                  <a:gd name="connsiteX224" fmla="*/ 640479 w 798060"/>
                  <a:gd name="connsiteY224" fmla="*/ 241221 h 825030"/>
                  <a:gd name="connsiteX225" fmla="*/ 642751 w 798060"/>
                  <a:gd name="connsiteY225" fmla="*/ 242736 h 825030"/>
                  <a:gd name="connsiteX226" fmla="*/ 645781 w 798060"/>
                  <a:gd name="connsiteY226" fmla="*/ 242888 h 825030"/>
                  <a:gd name="connsiteX227" fmla="*/ 648509 w 798060"/>
                  <a:gd name="connsiteY227" fmla="*/ 242281 h 825030"/>
                  <a:gd name="connsiteX228" fmla="*/ 649569 w 798060"/>
                  <a:gd name="connsiteY228" fmla="*/ 242585 h 825030"/>
                  <a:gd name="connsiteX229" fmla="*/ 651085 w 798060"/>
                  <a:gd name="connsiteY229" fmla="*/ 245160 h 825030"/>
                  <a:gd name="connsiteX230" fmla="*/ 652146 w 798060"/>
                  <a:gd name="connsiteY230" fmla="*/ 247282 h 825030"/>
                  <a:gd name="connsiteX231" fmla="*/ 650782 w 798060"/>
                  <a:gd name="connsiteY231" fmla="*/ 249555 h 825030"/>
                  <a:gd name="connsiteX232" fmla="*/ 650024 w 798060"/>
                  <a:gd name="connsiteY232" fmla="*/ 251524 h 825030"/>
                  <a:gd name="connsiteX233" fmla="*/ 649721 w 798060"/>
                  <a:gd name="connsiteY233" fmla="*/ 252888 h 825030"/>
                  <a:gd name="connsiteX234" fmla="*/ 649873 w 798060"/>
                  <a:gd name="connsiteY234" fmla="*/ 253494 h 825030"/>
                  <a:gd name="connsiteX235" fmla="*/ 650782 w 798060"/>
                  <a:gd name="connsiteY235" fmla="*/ 254555 h 825030"/>
                  <a:gd name="connsiteX236" fmla="*/ 651843 w 798060"/>
                  <a:gd name="connsiteY236" fmla="*/ 256524 h 825030"/>
                  <a:gd name="connsiteX237" fmla="*/ 651994 w 798060"/>
                  <a:gd name="connsiteY237" fmla="*/ 258343 h 825030"/>
                  <a:gd name="connsiteX238" fmla="*/ 651388 w 798060"/>
                  <a:gd name="connsiteY238" fmla="*/ 259555 h 825030"/>
                  <a:gd name="connsiteX239" fmla="*/ 650024 w 798060"/>
                  <a:gd name="connsiteY239" fmla="*/ 260161 h 825030"/>
                  <a:gd name="connsiteX240" fmla="*/ 648509 w 798060"/>
                  <a:gd name="connsiteY240" fmla="*/ 260010 h 825030"/>
                  <a:gd name="connsiteX241" fmla="*/ 647297 w 798060"/>
                  <a:gd name="connsiteY241" fmla="*/ 260010 h 825030"/>
                  <a:gd name="connsiteX242" fmla="*/ 645781 w 798060"/>
                  <a:gd name="connsiteY242" fmla="*/ 260161 h 825030"/>
                  <a:gd name="connsiteX243" fmla="*/ 643358 w 798060"/>
                  <a:gd name="connsiteY243" fmla="*/ 260767 h 825030"/>
                  <a:gd name="connsiteX244" fmla="*/ 641084 w 798060"/>
                  <a:gd name="connsiteY244" fmla="*/ 261676 h 825030"/>
                  <a:gd name="connsiteX245" fmla="*/ 636842 w 798060"/>
                  <a:gd name="connsiteY245" fmla="*/ 261525 h 825030"/>
                  <a:gd name="connsiteX246" fmla="*/ 635175 w 798060"/>
                  <a:gd name="connsiteY246" fmla="*/ 259706 h 825030"/>
                  <a:gd name="connsiteX247" fmla="*/ 634417 w 798060"/>
                  <a:gd name="connsiteY247" fmla="*/ 259706 h 825030"/>
                  <a:gd name="connsiteX248" fmla="*/ 630629 w 798060"/>
                  <a:gd name="connsiteY248" fmla="*/ 261979 h 825030"/>
                  <a:gd name="connsiteX249" fmla="*/ 626387 w 798060"/>
                  <a:gd name="connsiteY249" fmla="*/ 261525 h 825030"/>
                  <a:gd name="connsiteX250" fmla="*/ 618811 w 798060"/>
                  <a:gd name="connsiteY250" fmla="*/ 262282 h 825030"/>
                  <a:gd name="connsiteX251" fmla="*/ 615629 w 798060"/>
                  <a:gd name="connsiteY251" fmla="*/ 262434 h 825030"/>
                  <a:gd name="connsiteX252" fmla="*/ 612296 w 798060"/>
                  <a:gd name="connsiteY252" fmla="*/ 262131 h 825030"/>
                  <a:gd name="connsiteX253" fmla="*/ 610629 w 798060"/>
                  <a:gd name="connsiteY253" fmla="*/ 261676 h 825030"/>
                  <a:gd name="connsiteX254" fmla="*/ 607598 w 798060"/>
                  <a:gd name="connsiteY254" fmla="*/ 260161 h 825030"/>
                  <a:gd name="connsiteX255" fmla="*/ 604871 w 798060"/>
                  <a:gd name="connsiteY255" fmla="*/ 258949 h 825030"/>
                  <a:gd name="connsiteX256" fmla="*/ 601992 w 798060"/>
                  <a:gd name="connsiteY256" fmla="*/ 260010 h 825030"/>
                  <a:gd name="connsiteX257" fmla="*/ 600931 w 798060"/>
                  <a:gd name="connsiteY257" fmla="*/ 260161 h 825030"/>
                  <a:gd name="connsiteX258" fmla="*/ 598659 w 798060"/>
                  <a:gd name="connsiteY258" fmla="*/ 262888 h 825030"/>
                  <a:gd name="connsiteX259" fmla="*/ 593810 w 798060"/>
                  <a:gd name="connsiteY259" fmla="*/ 263798 h 825030"/>
                  <a:gd name="connsiteX260" fmla="*/ 588961 w 798060"/>
                  <a:gd name="connsiteY260" fmla="*/ 264404 h 825030"/>
                  <a:gd name="connsiteX261" fmla="*/ 587446 w 798060"/>
                  <a:gd name="connsiteY261" fmla="*/ 264100 h 825030"/>
                  <a:gd name="connsiteX262" fmla="*/ 584719 w 798060"/>
                  <a:gd name="connsiteY262" fmla="*/ 263949 h 825030"/>
                  <a:gd name="connsiteX263" fmla="*/ 584567 w 798060"/>
                  <a:gd name="connsiteY263" fmla="*/ 263343 h 825030"/>
                  <a:gd name="connsiteX264" fmla="*/ 584719 w 798060"/>
                  <a:gd name="connsiteY264" fmla="*/ 262737 h 825030"/>
                  <a:gd name="connsiteX265" fmla="*/ 584113 w 798060"/>
                  <a:gd name="connsiteY265" fmla="*/ 262282 h 825030"/>
                  <a:gd name="connsiteX266" fmla="*/ 583052 w 798060"/>
                  <a:gd name="connsiteY266" fmla="*/ 261828 h 825030"/>
                  <a:gd name="connsiteX267" fmla="*/ 581082 w 798060"/>
                  <a:gd name="connsiteY267" fmla="*/ 261676 h 825030"/>
                  <a:gd name="connsiteX268" fmla="*/ 578658 w 798060"/>
                  <a:gd name="connsiteY268" fmla="*/ 261070 h 825030"/>
                  <a:gd name="connsiteX269" fmla="*/ 577294 w 798060"/>
                  <a:gd name="connsiteY269" fmla="*/ 260464 h 825030"/>
                  <a:gd name="connsiteX270" fmla="*/ 572294 w 798060"/>
                  <a:gd name="connsiteY270" fmla="*/ 261373 h 825030"/>
                  <a:gd name="connsiteX271" fmla="*/ 569415 w 798060"/>
                  <a:gd name="connsiteY271" fmla="*/ 260010 h 825030"/>
                  <a:gd name="connsiteX272" fmla="*/ 566082 w 798060"/>
                  <a:gd name="connsiteY272" fmla="*/ 258040 h 825030"/>
                  <a:gd name="connsiteX273" fmla="*/ 564415 w 798060"/>
                  <a:gd name="connsiteY273" fmla="*/ 257131 h 825030"/>
                  <a:gd name="connsiteX274" fmla="*/ 563809 w 798060"/>
                  <a:gd name="connsiteY274" fmla="*/ 254100 h 825030"/>
                  <a:gd name="connsiteX275" fmla="*/ 563203 w 798060"/>
                  <a:gd name="connsiteY275" fmla="*/ 253191 h 825030"/>
                  <a:gd name="connsiteX276" fmla="*/ 561839 w 798060"/>
                  <a:gd name="connsiteY276" fmla="*/ 252130 h 825030"/>
                  <a:gd name="connsiteX277" fmla="*/ 561081 w 798060"/>
                  <a:gd name="connsiteY277" fmla="*/ 250918 h 825030"/>
                  <a:gd name="connsiteX278" fmla="*/ 561688 w 798060"/>
                  <a:gd name="connsiteY278" fmla="*/ 249706 h 825030"/>
                  <a:gd name="connsiteX279" fmla="*/ 565021 w 798060"/>
                  <a:gd name="connsiteY279" fmla="*/ 247433 h 825030"/>
                  <a:gd name="connsiteX280" fmla="*/ 565324 w 798060"/>
                  <a:gd name="connsiteY280" fmla="*/ 246827 h 825030"/>
                  <a:gd name="connsiteX281" fmla="*/ 563657 w 798060"/>
                  <a:gd name="connsiteY281" fmla="*/ 245463 h 825030"/>
                  <a:gd name="connsiteX282" fmla="*/ 561839 w 798060"/>
                  <a:gd name="connsiteY282" fmla="*/ 243494 h 825030"/>
                  <a:gd name="connsiteX283" fmla="*/ 561385 w 798060"/>
                  <a:gd name="connsiteY283" fmla="*/ 240766 h 825030"/>
                  <a:gd name="connsiteX284" fmla="*/ 563657 w 798060"/>
                  <a:gd name="connsiteY284" fmla="*/ 233493 h 825030"/>
                  <a:gd name="connsiteX285" fmla="*/ 564112 w 798060"/>
                  <a:gd name="connsiteY285" fmla="*/ 230463 h 825030"/>
                  <a:gd name="connsiteX286" fmla="*/ 563506 w 798060"/>
                  <a:gd name="connsiteY286" fmla="*/ 229251 h 825030"/>
                  <a:gd name="connsiteX287" fmla="*/ 562900 w 798060"/>
                  <a:gd name="connsiteY287" fmla="*/ 226372 h 825030"/>
                  <a:gd name="connsiteX288" fmla="*/ 561536 w 798060"/>
                  <a:gd name="connsiteY288" fmla="*/ 225463 h 825030"/>
                  <a:gd name="connsiteX289" fmla="*/ 557900 w 798060"/>
                  <a:gd name="connsiteY289" fmla="*/ 223948 h 825030"/>
                  <a:gd name="connsiteX290" fmla="*/ 556688 w 798060"/>
                  <a:gd name="connsiteY290" fmla="*/ 223948 h 825030"/>
                  <a:gd name="connsiteX291" fmla="*/ 555475 w 798060"/>
                  <a:gd name="connsiteY291" fmla="*/ 225008 h 825030"/>
                  <a:gd name="connsiteX292" fmla="*/ 554263 w 798060"/>
                  <a:gd name="connsiteY292" fmla="*/ 225614 h 825030"/>
                  <a:gd name="connsiteX293" fmla="*/ 552596 w 798060"/>
                  <a:gd name="connsiteY293" fmla="*/ 226220 h 825030"/>
                  <a:gd name="connsiteX294" fmla="*/ 548505 w 798060"/>
                  <a:gd name="connsiteY294" fmla="*/ 227432 h 825030"/>
                  <a:gd name="connsiteX295" fmla="*/ 544869 w 798060"/>
                  <a:gd name="connsiteY295" fmla="*/ 228039 h 825030"/>
                  <a:gd name="connsiteX296" fmla="*/ 543960 w 798060"/>
                  <a:gd name="connsiteY296" fmla="*/ 228493 h 825030"/>
                  <a:gd name="connsiteX297" fmla="*/ 543657 w 798060"/>
                  <a:gd name="connsiteY297" fmla="*/ 229402 h 825030"/>
                  <a:gd name="connsiteX298" fmla="*/ 543960 w 798060"/>
                  <a:gd name="connsiteY298" fmla="*/ 230463 h 825030"/>
                  <a:gd name="connsiteX299" fmla="*/ 545020 w 798060"/>
                  <a:gd name="connsiteY299" fmla="*/ 231220 h 825030"/>
                  <a:gd name="connsiteX300" fmla="*/ 545172 w 798060"/>
                  <a:gd name="connsiteY300" fmla="*/ 232584 h 825030"/>
                  <a:gd name="connsiteX301" fmla="*/ 545020 w 798060"/>
                  <a:gd name="connsiteY301" fmla="*/ 234099 h 825030"/>
                  <a:gd name="connsiteX302" fmla="*/ 543960 w 798060"/>
                  <a:gd name="connsiteY302" fmla="*/ 237281 h 825030"/>
                  <a:gd name="connsiteX303" fmla="*/ 542899 w 798060"/>
                  <a:gd name="connsiteY303" fmla="*/ 239554 h 825030"/>
                  <a:gd name="connsiteX304" fmla="*/ 541687 w 798060"/>
                  <a:gd name="connsiteY304" fmla="*/ 244251 h 825030"/>
                  <a:gd name="connsiteX305" fmla="*/ 540626 w 798060"/>
                  <a:gd name="connsiteY305" fmla="*/ 252282 h 825030"/>
                  <a:gd name="connsiteX306" fmla="*/ 540929 w 798060"/>
                  <a:gd name="connsiteY306" fmla="*/ 253645 h 825030"/>
                  <a:gd name="connsiteX307" fmla="*/ 544111 w 798060"/>
                  <a:gd name="connsiteY307" fmla="*/ 258191 h 825030"/>
                  <a:gd name="connsiteX308" fmla="*/ 545324 w 798060"/>
                  <a:gd name="connsiteY308" fmla="*/ 261676 h 825030"/>
                  <a:gd name="connsiteX309" fmla="*/ 545475 w 798060"/>
                  <a:gd name="connsiteY309" fmla="*/ 264100 h 825030"/>
                  <a:gd name="connsiteX310" fmla="*/ 544111 w 798060"/>
                  <a:gd name="connsiteY310" fmla="*/ 268192 h 825030"/>
                  <a:gd name="connsiteX311" fmla="*/ 542596 w 798060"/>
                  <a:gd name="connsiteY311" fmla="*/ 272737 h 825030"/>
                  <a:gd name="connsiteX312" fmla="*/ 541838 w 798060"/>
                  <a:gd name="connsiteY312" fmla="*/ 273798 h 825030"/>
                  <a:gd name="connsiteX313" fmla="*/ 540929 w 798060"/>
                  <a:gd name="connsiteY313" fmla="*/ 274101 h 825030"/>
                  <a:gd name="connsiteX314" fmla="*/ 536990 w 798060"/>
                  <a:gd name="connsiteY314" fmla="*/ 272434 h 825030"/>
                  <a:gd name="connsiteX315" fmla="*/ 534262 w 798060"/>
                  <a:gd name="connsiteY315" fmla="*/ 272586 h 825030"/>
                  <a:gd name="connsiteX316" fmla="*/ 531081 w 798060"/>
                  <a:gd name="connsiteY316" fmla="*/ 273495 h 825030"/>
                  <a:gd name="connsiteX317" fmla="*/ 527747 w 798060"/>
                  <a:gd name="connsiteY317" fmla="*/ 273343 h 825030"/>
                  <a:gd name="connsiteX318" fmla="*/ 525019 w 798060"/>
                  <a:gd name="connsiteY318" fmla="*/ 272889 h 825030"/>
                  <a:gd name="connsiteX319" fmla="*/ 521535 w 798060"/>
                  <a:gd name="connsiteY319" fmla="*/ 274707 h 825030"/>
                  <a:gd name="connsiteX320" fmla="*/ 518201 w 798060"/>
                  <a:gd name="connsiteY320" fmla="*/ 273646 h 825030"/>
                  <a:gd name="connsiteX321" fmla="*/ 516080 w 798060"/>
                  <a:gd name="connsiteY321" fmla="*/ 272434 h 825030"/>
                  <a:gd name="connsiteX322" fmla="*/ 514716 w 798060"/>
                  <a:gd name="connsiteY322" fmla="*/ 269252 h 825030"/>
                  <a:gd name="connsiteX323" fmla="*/ 514110 w 798060"/>
                  <a:gd name="connsiteY323" fmla="*/ 268798 h 825030"/>
                  <a:gd name="connsiteX324" fmla="*/ 507140 w 798060"/>
                  <a:gd name="connsiteY324" fmla="*/ 272131 h 825030"/>
                  <a:gd name="connsiteX325" fmla="*/ 505474 w 798060"/>
                  <a:gd name="connsiteY325" fmla="*/ 272283 h 825030"/>
                  <a:gd name="connsiteX326" fmla="*/ 501231 w 798060"/>
                  <a:gd name="connsiteY326" fmla="*/ 270464 h 825030"/>
                  <a:gd name="connsiteX327" fmla="*/ 497746 w 798060"/>
                  <a:gd name="connsiteY327" fmla="*/ 268646 h 825030"/>
                  <a:gd name="connsiteX328" fmla="*/ 496382 w 798060"/>
                  <a:gd name="connsiteY328" fmla="*/ 268192 h 825030"/>
                  <a:gd name="connsiteX329" fmla="*/ 493049 w 798060"/>
                  <a:gd name="connsiteY329" fmla="*/ 267434 h 825030"/>
                  <a:gd name="connsiteX330" fmla="*/ 490018 w 798060"/>
                  <a:gd name="connsiteY330" fmla="*/ 266979 h 825030"/>
                  <a:gd name="connsiteX331" fmla="*/ 486685 w 798060"/>
                  <a:gd name="connsiteY331" fmla="*/ 265919 h 825030"/>
                  <a:gd name="connsiteX332" fmla="*/ 482594 w 798060"/>
                  <a:gd name="connsiteY332" fmla="*/ 267282 h 825030"/>
                  <a:gd name="connsiteX333" fmla="*/ 480927 w 798060"/>
                  <a:gd name="connsiteY333" fmla="*/ 267131 h 825030"/>
                  <a:gd name="connsiteX334" fmla="*/ 479412 w 798060"/>
                  <a:gd name="connsiteY334" fmla="*/ 266070 h 825030"/>
                  <a:gd name="connsiteX335" fmla="*/ 478654 w 798060"/>
                  <a:gd name="connsiteY335" fmla="*/ 263949 h 825030"/>
                  <a:gd name="connsiteX336" fmla="*/ 478503 w 798060"/>
                  <a:gd name="connsiteY336" fmla="*/ 261979 h 825030"/>
                  <a:gd name="connsiteX337" fmla="*/ 477139 w 798060"/>
                  <a:gd name="connsiteY337" fmla="*/ 260616 h 825030"/>
                  <a:gd name="connsiteX338" fmla="*/ 475018 w 798060"/>
                  <a:gd name="connsiteY338" fmla="*/ 260312 h 825030"/>
                  <a:gd name="connsiteX339" fmla="*/ 471987 w 798060"/>
                  <a:gd name="connsiteY339" fmla="*/ 261525 h 825030"/>
                  <a:gd name="connsiteX340" fmla="*/ 467442 w 798060"/>
                  <a:gd name="connsiteY340" fmla="*/ 263191 h 825030"/>
                  <a:gd name="connsiteX341" fmla="*/ 465926 w 798060"/>
                  <a:gd name="connsiteY341" fmla="*/ 262888 h 825030"/>
                  <a:gd name="connsiteX342" fmla="*/ 464563 w 798060"/>
                  <a:gd name="connsiteY342" fmla="*/ 262434 h 825030"/>
                  <a:gd name="connsiteX343" fmla="*/ 464108 w 798060"/>
                  <a:gd name="connsiteY343" fmla="*/ 261979 h 825030"/>
                  <a:gd name="connsiteX344" fmla="*/ 463502 w 798060"/>
                  <a:gd name="connsiteY344" fmla="*/ 260010 h 825030"/>
                  <a:gd name="connsiteX345" fmla="*/ 462745 w 798060"/>
                  <a:gd name="connsiteY345" fmla="*/ 259555 h 825030"/>
                  <a:gd name="connsiteX346" fmla="*/ 461684 w 798060"/>
                  <a:gd name="connsiteY346" fmla="*/ 259555 h 825030"/>
                  <a:gd name="connsiteX347" fmla="*/ 459866 w 798060"/>
                  <a:gd name="connsiteY347" fmla="*/ 259100 h 825030"/>
                  <a:gd name="connsiteX348" fmla="*/ 457593 w 798060"/>
                  <a:gd name="connsiteY348" fmla="*/ 257737 h 825030"/>
                  <a:gd name="connsiteX349" fmla="*/ 450774 w 798060"/>
                  <a:gd name="connsiteY349" fmla="*/ 254403 h 825030"/>
                  <a:gd name="connsiteX350" fmla="*/ 449865 w 798060"/>
                  <a:gd name="connsiteY350" fmla="*/ 252888 h 825030"/>
                  <a:gd name="connsiteX351" fmla="*/ 449865 w 798060"/>
                  <a:gd name="connsiteY351" fmla="*/ 249555 h 825030"/>
                  <a:gd name="connsiteX352" fmla="*/ 449411 w 798060"/>
                  <a:gd name="connsiteY352" fmla="*/ 248191 h 825030"/>
                  <a:gd name="connsiteX353" fmla="*/ 448502 w 798060"/>
                  <a:gd name="connsiteY353" fmla="*/ 246827 h 825030"/>
                  <a:gd name="connsiteX354" fmla="*/ 445016 w 798060"/>
                  <a:gd name="connsiteY354" fmla="*/ 245312 h 825030"/>
                  <a:gd name="connsiteX355" fmla="*/ 438198 w 798060"/>
                  <a:gd name="connsiteY355" fmla="*/ 243039 h 825030"/>
                  <a:gd name="connsiteX356" fmla="*/ 434410 w 798060"/>
                  <a:gd name="connsiteY356" fmla="*/ 241221 h 825030"/>
                  <a:gd name="connsiteX357" fmla="*/ 432592 w 798060"/>
                  <a:gd name="connsiteY357" fmla="*/ 242130 h 825030"/>
                  <a:gd name="connsiteX358" fmla="*/ 429107 w 798060"/>
                  <a:gd name="connsiteY358" fmla="*/ 242888 h 825030"/>
                  <a:gd name="connsiteX359" fmla="*/ 427289 w 798060"/>
                  <a:gd name="connsiteY359" fmla="*/ 244554 h 825030"/>
                  <a:gd name="connsiteX360" fmla="*/ 425016 w 798060"/>
                  <a:gd name="connsiteY360" fmla="*/ 243948 h 825030"/>
                  <a:gd name="connsiteX361" fmla="*/ 419713 w 798060"/>
                  <a:gd name="connsiteY361" fmla="*/ 242130 h 825030"/>
                  <a:gd name="connsiteX362" fmla="*/ 416834 w 798060"/>
                  <a:gd name="connsiteY362" fmla="*/ 241827 h 825030"/>
                  <a:gd name="connsiteX363" fmla="*/ 415167 w 798060"/>
                  <a:gd name="connsiteY363" fmla="*/ 242433 h 825030"/>
                  <a:gd name="connsiteX364" fmla="*/ 414712 w 798060"/>
                  <a:gd name="connsiteY364" fmla="*/ 243494 h 825030"/>
                  <a:gd name="connsiteX365" fmla="*/ 412591 w 798060"/>
                  <a:gd name="connsiteY365" fmla="*/ 244706 h 825030"/>
                  <a:gd name="connsiteX366" fmla="*/ 410470 w 798060"/>
                  <a:gd name="connsiteY366" fmla="*/ 243797 h 825030"/>
                  <a:gd name="connsiteX367" fmla="*/ 406379 w 798060"/>
                  <a:gd name="connsiteY367" fmla="*/ 242585 h 825030"/>
                  <a:gd name="connsiteX368" fmla="*/ 402742 w 798060"/>
                  <a:gd name="connsiteY368" fmla="*/ 241979 h 825030"/>
                  <a:gd name="connsiteX369" fmla="*/ 397287 w 798060"/>
                  <a:gd name="connsiteY369" fmla="*/ 240463 h 825030"/>
                  <a:gd name="connsiteX370" fmla="*/ 396681 w 798060"/>
                  <a:gd name="connsiteY370" fmla="*/ 238191 h 825030"/>
                  <a:gd name="connsiteX371" fmla="*/ 395772 w 798060"/>
                  <a:gd name="connsiteY371" fmla="*/ 235918 h 825030"/>
                  <a:gd name="connsiteX372" fmla="*/ 394409 w 798060"/>
                  <a:gd name="connsiteY372" fmla="*/ 235463 h 825030"/>
                  <a:gd name="connsiteX373" fmla="*/ 389560 w 798060"/>
                  <a:gd name="connsiteY373" fmla="*/ 235918 h 825030"/>
                  <a:gd name="connsiteX374" fmla="*/ 385014 w 798060"/>
                  <a:gd name="connsiteY374" fmla="*/ 233493 h 825030"/>
                  <a:gd name="connsiteX375" fmla="*/ 380166 w 798060"/>
                  <a:gd name="connsiteY375" fmla="*/ 230311 h 825030"/>
                  <a:gd name="connsiteX376" fmla="*/ 378045 w 798060"/>
                  <a:gd name="connsiteY376" fmla="*/ 229251 h 825030"/>
                  <a:gd name="connsiteX377" fmla="*/ 376681 w 798060"/>
                  <a:gd name="connsiteY377" fmla="*/ 228796 h 825030"/>
                  <a:gd name="connsiteX378" fmla="*/ 375468 w 798060"/>
                  <a:gd name="connsiteY378" fmla="*/ 229251 h 825030"/>
                  <a:gd name="connsiteX379" fmla="*/ 374105 w 798060"/>
                  <a:gd name="connsiteY379" fmla="*/ 230008 h 825030"/>
                  <a:gd name="connsiteX380" fmla="*/ 372893 w 798060"/>
                  <a:gd name="connsiteY380" fmla="*/ 230160 h 825030"/>
                  <a:gd name="connsiteX381" fmla="*/ 370317 w 798060"/>
                  <a:gd name="connsiteY381" fmla="*/ 228796 h 825030"/>
                  <a:gd name="connsiteX382" fmla="*/ 366983 w 798060"/>
                  <a:gd name="connsiteY382" fmla="*/ 226826 h 825030"/>
                  <a:gd name="connsiteX383" fmla="*/ 362892 w 798060"/>
                  <a:gd name="connsiteY383" fmla="*/ 224402 h 825030"/>
                  <a:gd name="connsiteX384" fmla="*/ 358044 w 798060"/>
                  <a:gd name="connsiteY384" fmla="*/ 221069 h 825030"/>
                  <a:gd name="connsiteX385" fmla="*/ 356074 w 798060"/>
                  <a:gd name="connsiteY385" fmla="*/ 219099 h 825030"/>
                  <a:gd name="connsiteX386" fmla="*/ 355165 w 798060"/>
                  <a:gd name="connsiteY386" fmla="*/ 217735 h 825030"/>
                  <a:gd name="connsiteX387" fmla="*/ 354104 w 798060"/>
                  <a:gd name="connsiteY387" fmla="*/ 216372 h 825030"/>
                  <a:gd name="connsiteX388" fmla="*/ 350013 w 798060"/>
                  <a:gd name="connsiteY388" fmla="*/ 214099 h 825030"/>
                  <a:gd name="connsiteX389" fmla="*/ 346680 w 798060"/>
                  <a:gd name="connsiteY389" fmla="*/ 212280 h 825030"/>
                  <a:gd name="connsiteX390" fmla="*/ 342740 w 798060"/>
                  <a:gd name="connsiteY390" fmla="*/ 210159 h 825030"/>
                  <a:gd name="connsiteX391" fmla="*/ 342134 w 798060"/>
                  <a:gd name="connsiteY391" fmla="*/ 209705 h 825030"/>
                  <a:gd name="connsiteX392" fmla="*/ 340619 w 798060"/>
                  <a:gd name="connsiteY392" fmla="*/ 208492 h 825030"/>
                  <a:gd name="connsiteX393" fmla="*/ 338346 w 798060"/>
                  <a:gd name="connsiteY393" fmla="*/ 206977 h 825030"/>
                  <a:gd name="connsiteX394" fmla="*/ 336528 w 798060"/>
                  <a:gd name="connsiteY394" fmla="*/ 206523 h 825030"/>
                  <a:gd name="connsiteX395" fmla="*/ 335922 w 798060"/>
                  <a:gd name="connsiteY395" fmla="*/ 207432 h 825030"/>
                  <a:gd name="connsiteX396" fmla="*/ 335467 w 798060"/>
                  <a:gd name="connsiteY396" fmla="*/ 208341 h 825030"/>
                  <a:gd name="connsiteX397" fmla="*/ 333800 w 798060"/>
                  <a:gd name="connsiteY397" fmla="*/ 208189 h 825030"/>
                  <a:gd name="connsiteX398" fmla="*/ 331225 w 798060"/>
                  <a:gd name="connsiteY398" fmla="*/ 206523 h 825030"/>
                  <a:gd name="connsiteX399" fmla="*/ 328497 w 798060"/>
                  <a:gd name="connsiteY399" fmla="*/ 204856 h 825030"/>
                  <a:gd name="connsiteX400" fmla="*/ 326376 w 798060"/>
                  <a:gd name="connsiteY400" fmla="*/ 203341 h 825030"/>
                  <a:gd name="connsiteX401" fmla="*/ 324254 w 798060"/>
                  <a:gd name="connsiteY401" fmla="*/ 201674 h 825030"/>
                  <a:gd name="connsiteX402" fmla="*/ 323800 w 798060"/>
                  <a:gd name="connsiteY402" fmla="*/ 200462 h 825030"/>
                  <a:gd name="connsiteX403" fmla="*/ 324709 w 798060"/>
                  <a:gd name="connsiteY403" fmla="*/ 196825 h 825030"/>
                  <a:gd name="connsiteX404" fmla="*/ 325921 w 798060"/>
                  <a:gd name="connsiteY404" fmla="*/ 193643 h 825030"/>
                  <a:gd name="connsiteX405" fmla="*/ 326982 w 798060"/>
                  <a:gd name="connsiteY405" fmla="*/ 192886 h 825030"/>
                  <a:gd name="connsiteX406" fmla="*/ 328649 w 798060"/>
                  <a:gd name="connsiteY406" fmla="*/ 190764 h 825030"/>
                  <a:gd name="connsiteX407" fmla="*/ 329255 w 798060"/>
                  <a:gd name="connsiteY407" fmla="*/ 187128 h 825030"/>
                  <a:gd name="connsiteX408" fmla="*/ 329255 w 798060"/>
                  <a:gd name="connsiteY408" fmla="*/ 183946 h 825030"/>
                  <a:gd name="connsiteX409" fmla="*/ 330921 w 798060"/>
                  <a:gd name="connsiteY409" fmla="*/ 179552 h 825030"/>
                  <a:gd name="connsiteX410" fmla="*/ 333195 w 798060"/>
                  <a:gd name="connsiteY410" fmla="*/ 174855 h 825030"/>
                  <a:gd name="connsiteX411" fmla="*/ 337285 w 798060"/>
                  <a:gd name="connsiteY411" fmla="*/ 169855 h 825030"/>
                  <a:gd name="connsiteX412" fmla="*/ 339104 w 798060"/>
                  <a:gd name="connsiteY412" fmla="*/ 168188 h 825030"/>
                  <a:gd name="connsiteX413" fmla="*/ 341073 w 798060"/>
                  <a:gd name="connsiteY413" fmla="*/ 166976 h 825030"/>
                  <a:gd name="connsiteX414" fmla="*/ 344861 w 798060"/>
                  <a:gd name="connsiteY414" fmla="*/ 163188 h 825030"/>
                  <a:gd name="connsiteX415" fmla="*/ 345619 w 798060"/>
                  <a:gd name="connsiteY415" fmla="*/ 162582 h 825030"/>
                  <a:gd name="connsiteX416" fmla="*/ 347286 w 798060"/>
                  <a:gd name="connsiteY416" fmla="*/ 161673 h 825030"/>
                  <a:gd name="connsiteX417" fmla="*/ 348952 w 798060"/>
                  <a:gd name="connsiteY417" fmla="*/ 161369 h 825030"/>
                  <a:gd name="connsiteX418" fmla="*/ 350165 w 798060"/>
                  <a:gd name="connsiteY418" fmla="*/ 161824 h 825030"/>
                  <a:gd name="connsiteX419" fmla="*/ 349559 w 798060"/>
                  <a:gd name="connsiteY419" fmla="*/ 159703 h 825030"/>
                  <a:gd name="connsiteX420" fmla="*/ 346528 w 798060"/>
                  <a:gd name="connsiteY420" fmla="*/ 158036 h 825030"/>
                  <a:gd name="connsiteX421" fmla="*/ 343043 w 798060"/>
                  <a:gd name="connsiteY421" fmla="*/ 155915 h 825030"/>
                  <a:gd name="connsiteX422" fmla="*/ 341225 w 798060"/>
                  <a:gd name="connsiteY422" fmla="*/ 154248 h 825030"/>
                  <a:gd name="connsiteX423" fmla="*/ 339255 w 798060"/>
                  <a:gd name="connsiteY423" fmla="*/ 153187 h 825030"/>
                  <a:gd name="connsiteX424" fmla="*/ 337437 w 798060"/>
                  <a:gd name="connsiteY424" fmla="*/ 152733 h 825030"/>
                  <a:gd name="connsiteX425" fmla="*/ 333800 w 798060"/>
                  <a:gd name="connsiteY425" fmla="*/ 151369 h 825030"/>
                  <a:gd name="connsiteX426" fmla="*/ 329709 w 798060"/>
                  <a:gd name="connsiteY426" fmla="*/ 149854 h 825030"/>
                  <a:gd name="connsiteX427" fmla="*/ 327740 w 798060"/>
                  <a:gd name="connsiteY427" fmla="*/ 149702 h 825030"/>
                  <a:gd name="connsiteX428" fmla="*/ 327588 w 798060"/>
                  <a:gd name="connsiteY428" fmla="*/ 148642 h 825030"/>
                  <a:gd name="connsiteX429" fmla="*/ 328194 w 798060"/>
                  <a:gd name="connsiteY429" fmla="*/ 146369 h 825030"/>
                  <a:gd name="connsiteX430" fmla="*/ 327891 w 798060"/>
                  <a:gd name="connsiteY430" fmla="*/ 144096 h 825030"/>
                  <a:gd name="connsiteX431" fmla="*/ 326679 w 798060"/>
                  <a:gd name="connsiteY431" fmla="*/ 143187 h 825030"/>
                  <a:gd name="connsiteX432" fmla="*/ 324861 w 798060"/>
                  <a:gd name="connsiteY432" fmla="*/ 143490 h 825030"/>
                  <a:gd name="connsiteX433" fmla="*/ 320618 w 798060"/>
                  <a:gd name="connsiteY433" fmla="*/ 140308 h 825030"/>
                  <a:gd name="connsiteX434" fmla="*/ 320618 w 798060"/>
                  <a:gd name="connsiteY434" fmla="*/ 140308 h 825030"/>
                  <a:gd name="connsiteX435" fmla="*/ 320466 w 798060"/>
                  <a:gd name="connsiteY435" fmla="*/ 140308 h 825030"/>
                  <a:gd name="connsiteX436" fmla="*/ 320466 w 798060"/>
                  <a:gd name="connsiteY436" fmla="*/ 140157 h 825030"/>
                  <a:gd name="connsiteX437" fmla="*/ 319254 w 798060"/>
                  <a:gd name="connsiteY437" fmla="*/ 139248 h 825030"/>
                  <a:gd name="connsiteX438" fmla="*/ 317133 w 798060"/>
                  <a:gd name="connsiteY438" fmla="*/ 137884 h 825030"/>
                  <a:gd name="connsiteX439" fmla="*/ 313497 w 798060"/>
                  <a:gd name="connsiteY439" fmla="*/ 138035 h 825030"/>
                  <a:gd name="connsiteX440" fmla="*/ 310769 w 798060"/>
                  <a:gd name="connsiteY440" fmla="*/ 138490 h 825030"/>
                  <a:gd name="connsiteX441" fmla="*/ 308799 w 798060"/>
                  <a:gd name="connsiteY441" fmla="*/ 137126 h 825030"/>
                  <a:gd name="connsiteX442" fmla="*/ 305920 w 798060"/>
                  <a:gd name="connsiteY442" fmla="*/ 135005 h 825030"/>
                  <a:gd name="connsiteX443" fmla="*/ 305466 w 798060"/>
                  <a:gd name="connsiteY443" fmla="*/ 134550 h 825030"/>
                  <a:gd name="connsiteX444" fmla="*/ 305163 w 798060"/>
                  <a:gd name="connsiteY444" fmla="*/ 134399 h 825030"/>
                  <a:gd name="connsiteX445" fmla="*/ 304557 w 798060"/>
                  <a:gd name="connsiteY445" fmla="*/ 133793 h 825030"/>
                  <a:gd name="connsiteX446" fmla="*/ 301678 w 798060"/>
                  <a:gd name="connsiteY446" fmla="*/ 129702 h 825030"/>
                  <a:gd name="connsiteX447" fmla="*/ 298193 w 798060"/>
                  <a:gd name="connsiteY447" fmla="*/ 124853 h 825030"/>
                  <a:gd name="connsiteX448" fmla="*/ 296526 w 798060"/>
                  <a:gd name="connsiteY448" fmla="*/ 124095 h 825030"/>
                  <a:gd name="connsiteX449" fmla="*/ 295617 w 798060"/>
                  <a:gd name="connsiteY449" fmla="*/ 124398 h 825030"/>
                  <a:gd name="connsiteX450" fmla="*/ 294556 w 798060"/>
                  <a:gd name="connsiteY450" fmla="*/ 126974 h 825030"/>
                  <a:gd name="connsiteX451" fmla="*/ 293799 w 798060"/>
                  <a:gd name="connsiteY451" fmla="*/ 126671 h 825030"/>
                  <a:gd name="connsiteX452" fmla="*/ 292587 w 798060"/>
                  <a:gd name="connsiteY452" fmla="*/ 126823 h 825030"/>
                  <a:gd name="connsiteX453" fmla="*/ 291072 w 798060"/>
                  <a:gd name="connsiteY453" fmla="*/ 127732 h 825030"/>
                  <a:gd name="connsiteX454" fmla="*/ 289556 w 798060"/>
                  <a:gd name="connsiteY454" fmla="*/ 128035 h 825030"/>
                  <a:gd name="connsiteX455" fmla="*/ 288647 w 798060"/>
                  <a:gd name="connsiteY455" fmla="*/ 127732 h 825030"/>
                  <a:gd name="connsiteX456" fmla="*/ 288193 w 798060"/>
                  <a:gd name="connsiteY456" fmla="*/ 127126 h 825030"/>
                  <a:gd name="connsiteX457" fmla="*/ 288647 w 798060"/>
                  <a:gd name="connsiteY457" fmla="*/ 123792 h 825030"/>
                  <a:gd name="connsiteX458" fmla="*/ 287738 w 798060"/>
                  <a:gd name="connsiteY458" fmla="*/ 122732 h 825030"/>
                  <a:gd name="connsiteX459" fmla="*/ 288496 w 798060"/>
                  <a:gd name="connsiteY459" fmla="*/ 120307 h 825030"/>
                  <a:gd name="connsiteX460" fmla="*/ 289859 w 798060"/>
                  <a:gd name="connsiteY460" fmla="*/ 118338 h 825030"/>
                  <a:gd name="connsiteX461" fmla="*/ 288496 w 798060"/>
                  <a:gd name="connsiteY461" fmla="*/ 116822 h 825030"/>
                  <a:gd name="connsiteX462" fmla="*/ 286829 w 798060"/>
                  <a:gd name="connsiteY462" fmla="*/ 114701 h 825030"/>
                  <a:gd name="connsiteX463" fmla="*/ 286678 w 798060"/>
                  <a:gd name="connsiteY463" fmla="*/ 112731 h 825030"/>
                  <a:gd name="connsiteX464" fmla="*/ 287587 w 798060"/>
                  <a:gd name="connsiteY464" fmla="*/ 110307 h 825030"/>
                  <a:gd name="connsiteX465" fmla="*/ 285920 w 798060"/>
                  <a:gd name="connsiteY465" fmla="*/ 108034 h 825030"/>
                  <a:gd name="connsiteX466" fmla="*/ 287587 w 798060"/>
                  <a:gd name="connsiteY466" fmla="*/ 110307 h 825030"/>
                  <a:gd name="connsiteX467" fmla="*/ 287587 w 798060"/>
                  <a:gd name="connsiteY467" fmla="*/ 110458 h 825030"/>
                  <a:gd name="connsiteX468" fmla="*/ 288041 w 798060"/>
                  <a:gd name="connsiteY468" fmla="*/ 108337 h 825030"/>
                  <a:gd name="connsiteX469" fmla="*/ 287738 w 798060"/>
                  <a:gd name="connsiteY469" fmla="*/ 107580 h 825030"/>
                  <a:gd name="connsiteX470" fmla="*/ 286374 w 798060"/>
                  <a:gd name="connsiteY470" fmla="*/ 106368 h 825030"/>
                  <a:gd name="connsiteX471" fmla="*/ 281374 w 798060"/>
                  <a:gd name="connsiteY471" fmla="*/ 100610 h 825030"/>
                  <a:gd name="connsiteX472" fmla="*/ 281071 w 798060"/>
                  <a:gd name="connsiteY472" fmla="*/ 100004 h 825030"/>
                  <a:gd name="connsiteX473" fmla="*/ 280162 w 798060"/>
                  <a:gd name="connsiteY473" fmla="*/ 98034 h 825030"/>
                  <a:gd name="connsiteX474" fmla="*/ 279708 w 798060"/>
                  <a:gd name="connsiteY474" fmla="*/ 95155 h 825030"/>
                  <a:gd name="connsiteX475" fmla="*/ 279101 w 798060"/>
                  <a:gd name="connsiteY475" fmla="*/ 93034 h 825030"/>
                  <a:gd name="connsiteX476" fmla="*/ 278344 w 798060"/>
                  <a:gd name="connsiteY476" fmla="*/ 91367 h 825030"/>
                  <a:gd name="connsiteX477" fmla="*/ 278344 w 798060"/>
                  <a:gd name="connsiteY477" fmla="*/ 90609 h 825030"/>
                  <a:gd name="connsiteX478" fmla="*/ 278950 w 798060"/>
                  <a:gd name="connsiteY478" fmla="*/ 90155 h 825030"/>
                  <a:gd name="connsiteX479" fmla="*/ 282132 w 798060"/>
                  <a:gd name="connsiteY479" fmla="*/ 89700 h 825030"/>
                  <a:gd name="connsiteX480" fmla="*/ 285011 w 798060"/>
                  <a:gd name="connsiteY480" fmla="*/ 89397 h 825030"/>
                  <a:gd name="connsiteX481" fmla="*/ 286980 w 798060"/>
                  <a:gd name="connsiteY481" fmla="*/ 88791 h 825030"/>
                  <a:gd name="connsiteX482" fmla="*/ 287889 w 798060"/>
                  <a:gd name="connsiteY482" fmla="*/ 90003 h 825030"/>
                  <a:gd name="connsiteX483" fmla="*/ 288344 w 798060"/>
                  <a:gd name="connsiteY483" fmla="*/ 91821 h 825030"/>
                  <a:gd name="connsiteX484" fmla="*/ 288799 w 798060"/>
                  <a:gd name="connsiteY484" fmla="*/ 92731 h 825030"/>
                  <a:gd name="connsiteX485" fmla="*/ 290617 w 798060"/>
                  <a:gd name="connsiteY485" fmla="*/ 94397 h 825030"/>
                  <a:gd name="connsiteX486" fmla="*/ 292890 w 798060"/>
                  <a:gd name="connsiteY486" fmla="*/ 96064 h 825030"/>
                  <a:gd name="connsiteX487" fmla="*/ 295011 w 798060"/>
                  <a:gd name="connsiteY487" fmla="*/ 95913 h 825030"/>
                  <a:gd name="connsiteX488" fmla="*/ 296981 w 798060"/>
                  <a:gd name="connsiteY488" fmla="*/ 95155 h 825030"/>
                  <a:gd name="connsiteX489" fmla="*/ 298648 w 798060"/>
                  <a:gd name="connsiteY489" fmla="*/ 92427 h 825030"/>
                  <a:gd name="connsiteX490" fmla="*/ 299860 w 798060"/>
                  <a:gd name="connsiteY490" fmla="*/ 91821 h 825030"/>
                  <a:gd name="connsiteX491" fmla="*/ 301223 w 798060"/>
                  <a:gd name="connsiteY491" fmla="*/ 91670 h 825030"/>
                  <a:gd name="connsiteX492" fmla="*/ 301072 w 798060"/>
                  <a:gd name="connsiteY492" fmla="*/ 89700 h 825030"/>
                  <a:gd name="connsiteX493" fmla="*/ 301526 w 798060"/>
                  <a:gd name="connsiteY493" fmla="*/ 85458 h 825030"/>
                  <a:gd name="connsiteX494" fmla="*/ 301375 w 798060"/>
                  <a:gd name="connsiteY494" fmla="*/ 83791 h 825030"/>
                  <a:gd name="connsiteX495" fmla="*/ 300769 w 798060"/>
                  <a:gd name="connsiteY495" fmla="*/ 82276 h 825030"/>
                  <a:gd name="connsiteX496" fmla="*/ 300921 w 798060"/>
                  <a:gd name="connsiteY496" fmla="*/ 80609 h 825030"/>
                  <a:gd name="connsiteX497" fmla="*/ 300769 w 798060"/>
                  <a:gd name="connsiteY497" fmla="*/ 78185 h 825030"/>
                  <a:gd name="connsiteX498" fmla="*/ 299254 w 798060"/>
                  <a:gd name="connsiteY498" fmla="*/ 76518 h 825030"/>
                  <a:gd name="connsiteX499" fmla="*/ 298193 w 798060"/>
                  <a:gd name="connsiteY499" fmla="*/ 75912 h 825030"/>
                  <a:gd name="connsiteX500" fmla="*/ 298042 w 798060"/>
                  <a:gd name="connsiteY500" fmla="*/ 75003 h 825030"/>
                  <a:gd name="connsiteX501" fmla="*/ 298496 w 798060"/>
                  <a:gd name="connsiteY501" fmla="*/ 73336 h 825030"/>
                  <a:gd name="connsiteX502" fmla="*/ 298799 w 798060"/>
                  <a:gd name="connsiteY502" fmla="*/ 71366 h 825030"/>
                  <a:gd name="connsiteX503" fmla="*/ 298193 w 798060"/>
                  <a:gd name="connsiteY503" fmla="*/ 69699 h 825030"/>
                  <a:gd name="connsiteX504" fmla="*/ 296981 w 798060"/>
                  <a:gd name="connsiteY504" fmla="*/ 68942 h 825030"/>
                  <a:gd name="connsiteX505" fmla="*/ 295466 w 798060"/>
                  <a:gd name="connsiteY505" fmla="*/ 67730 h 825030"/>
                  <a:gd name="connsiteX506" fmla="*/ 293647 w 798060"/>
                  <a:gd name="connsiteY506" fmla="*/ 66063 h 825030"/>
                  <a:gd name="connsiteX507" fmla="*/ 292738 w 798060"/>
                  <a:gd name="connsiteY507" fmla="*/ 64851 h 825030"/>
                  <a:gd name="connsiteX508" fmla="*/ 291375 w 798060"/>
                  <a:gd name="connsiteY508" fmla="*/ 63487 h 825030"/>
                  <a:gd name="connsiteX509" fmla="*/ 289708 w 798060"/>
                  <a:gd name="connsiteY509" fmla="*/ 61366 h 825030"/>
                  <a:gd name="connsiteX510" fmla="*/ 289405 w 798060"/>
                  <a:gd name="connsiteY510" fmla="*/ 56820 h 825030"/>
                  <a:gd name="connsiteX511" fmla="*/ 289253 w 798060"/>
                  <a:gd name="connsiteY511" fmla="*/ 51971 h 825030"/>
                  <a:gd name="connsiteX512" fmla="*/ 288647 w 798060"/>
                  <a:gd name="connsiteY512" fmla="*/ 49547 h 825030"/>
                  <a:gd name="connsiteX513" fmla="*/ 287738 w 798060"/>
                  <a:gd name="connsiteY513" fmla="*/ 45759 h 825030"/>
                  <a:gd name="connsiteX514" fmla="*/ 287889 w 798060"/>
                  <a:gd name="connsiteY514" fmla="*/ 44395 h 825030"/>
                  <a:gd name="connsiteX515" fmla="*/ 288496 w 798060"/>
                  <a:gd name="connsiteY515" fmla="*/ 43335 h 825030"/>
                  <a:gd name="connsiteX516" fmla="*/ 293344 w 798060"/>
                  <a:gd name="connsiteY516" fmla="*/ 40153 h 825030"/>
                  <a:gd name="connsiteX517" fmla="*/ 294405 w 798060"/>
                  <a:gd name="connsiteY517" fmla="*/ 38941 h 825030"/>
                  <a:gd name="connsiteX518" fmla="*/ 294556 w 798060"/>
                  <a:gd name="connsiteY518" fmla="*/ 38032 h 825030"/>
                  <a:gd name="connsiteX519" fmla="*/ 294405 w 798060"/>
                  <a:gd name="connsiteY519" fmla="*/ 36668 h 825030"/>
                  <a:gd name="connsiteX520" fmla="*/ 293496 w 798060"/>
                  <a:gd name="connsiteY520" fmla="*/ 35153 h 825030"/>
                  <a:gd name="connsiteX521" fmla="*/ 291526 w 798060"/>
                  <a:gd name="connsiteY521" fmla="*/ 33940 h 825030"/>
                  <a:gd name="connsiteX522" fmla="*/ 288799 w 798060"/>
                  <a:gd name="connsiteY522" fmla="*/ 31971 h 825030"/>
                  <a:gd name="connsiteX523" fmla="*/ 286223 w 798060"/>
                  <a:gd name="connsiteY523" fmla="*/ 30001 h 825030"/>
                  <a:gd name="connsiteX524" fmla="*/ 281980 w 798060"/>
                  <a:gd name="connsiteY524" fmla="*/ 28789 h 825030"/>
                  <a:gd name="connsiteX525" fmla="*/ 276829 w 798060"/>
                  <a:gd name="connsiteY525" fmla="*/ 27274 h 825030"/>
                  <a:gd name="connsiteX526" fmla="*/ 275616 w 798060"/>
                  <a:gd name="connsiteY526" fmla="*/ 25758 h 825030"/>
                  <a:gd name="connsiteX527" fmla="*/ 274404 w 798060"/>
                  <a:gd name="connsiteY527" fmla="*/ 22122 h 825030"/>
                  <a:gd name="connsiteX528" fmla="*/ 272283 w 798060"/>
                  <a:gd name="connsiteY528" fmla="*/ 16667 h 825030"/>
                  <a:gd name="connsiteX529" fmla="*/ 270010 w 798060"/>
                  <a:gd name="connsiteY529" fmla="*/ 10910 h 825030"/>
                  <a:gd name="connsiteX530" fmla="*/ 268344 w 798060"/>
                  <a:gd name="connsiteY530" fmla="*/ 7273 h 825030"/>
                  <a:gd name="connsiteX531" fmla="*/ 268192 w 798060"/>
                  <a:gd name="connsiteY531" fmla="*/ 5606 h 825030"/>
                  <a:gd name="connsiteX532" fmla="*/ 269253 w 798060"/>
                  <a:gd name="connsiteY532" fmla="*/ 1212 h 825030"/>
                  <a:gd name="connsiteX533" fmla="*/ 269101 w 798060"/>
                  <a:gd name="connsiteY533" fmla="*/ 303 h 825030"/>
                  <a:gd name="connsiteX534" fmla="*/ 268192 w 798060"/>
                  <a:gd name="connsiteY534" fmla="*/ 0 h 825030"/>
                  <a:gd name="connsiteX535" fmla="*/ 266525 w 798060"/>
                  <a:gd name="connsiteY535" fmla="*/ 606 h 825030"/>
                  <a:gd name="connsiteX536" fmla="*/ 265161 w 798060"/>
                  <a:gd name="connsiteY536" fmla="*/ 1364 h 825030"/>
                  <a:gd name="connsiteX537" fmla="*/ 263949 w 798060"/>
                  <a:gd name="connsiteY537" fmla="*/ 1061 h 825030"/>
                  <a:gd name="connsiteX538" fmla="*/ 262889 w 798060"/>
                  <a:gd name="connsiteY538" fmla="*/ 303 h 825030"/>
                  <a:gd name="connsiteX539" fmla="*/ 262586 w 798060"/>
                  <a:gd name="connsiteY539" fmla="*/ 0 h 825030"/>
                  <a:gd name="connsiteX540" fmla="*/ 259858 w 798060"/>
                  <a:gd name="connsiteY540" fmla="*/ 1667 h 825030"/>
                  <a:gd name="connsiteX541" fmla="*/ 256373 w 798060"/>
                  <a:gd name="connsiteY541" fmla="*/ 3636 h 825030"/>
                  <a:gd name="connsiteX542" fmla="*/ 252282 w 798060"/>
                  <a:gd name="connsiteY542" fmla="*/ 6061 h 825030"/>
                  <a:gd name="connsiteX543" fmla="*/ 248646 w 798060"/>
                  <a:gd name="connsiteY543" fmla="*/ 8182 h 825030"/>
                  <a:gd name="connsiteX544" fmla="*/ 245312 w 798060"/>
                  <a:gd name="connsiteY544" fmla="*/ 10152 h 825030"/>
                  <a:gd name="connsiteX545" fmla="*/ 241979 w 798060"/>
                  <a:gd name="connsiteY545" fmla="*/ 12122 h 825030"/>
                  <a:gd name="connsiteX546" fmla="*/ 241524 w 798060"/>
                  <a:gd name="connsiteY546" fmla="*/ 13637 h 825030"/>
                  <a:gd name="connsiteX547" fmla="*/ 240767 w 798060"/>
                  <a:gd name="connsiteY547" fmla="*/ 15758 h 825030"/>
                  <a:gd name="connsiteX548" fmla="*/ 237736 w 798060"/>
                  <a:gd name="connsiteY548" fmla="*/ 17425 h 825030"/>
                  <a:gd name="connsiteX549" fmla="*/ 234706 w 798060"/>
                  <a:gd name="connsiteY549" fmla="*/ 18637 h 825030"/>
                  <a:gd name="connsiteX550" fmla="*/ 233948 w 798060"/>
                  <a:gd name="connsiteY550" fmla="*/ 19395 h 825030"/>
                  <a:gd name="connsiteX551" fmla="*/ 233645 w 798060"/>
                  <a:gd name="connsiteY551" fmla="*/ 20304 h 825030"/>
                  <a:gd name="connsiteX552" fmla="*/ 232130 w 798060"/>
                  <a:gd name="connsiteY552" fmla="*/ 22122 h 825030"/>
                  <a:gd name="connsiteX553" fmla="*/ 229403 w 798060"/>
                  <a:gd name="connsiteY553" fmla="*/ 23637 h 825030"/>
                  <a:gd name="connsiteX554" fmla="*/ 227130 w 798060"/>
                  <a:gd name="connsiteY554" fmla="*/ 23486 h 825030"/>
                  <a:gd name="connsiteX555" fmla="*/ 225615 w 798060"/>
                  <a:gd name="connsiteY555" fmla="*/ 23031 h 825030"/>
                  <a:gd name="connsiteX556" fmla="*/ 217887 w 798060"/>
                  <a:gd name="connsiteY556" fmla="*/ 25758 h 825030"/>
                  <a:gd name="connsiteX557" fmla="*/ 214251 w 798060"/>
                  <a:gd name="connsiteY557" fmla="*/ 25758 h 825030"/>
                  <a:gd name="connsiteX558" fmla="*/ 211372 w 798060"/>
                  <a:gd name="connsiteY558" fmla="*/ 27577 h 825030"/>
                  <a:gd name="connsiteX559" fmla="*/ 209250 w 798060"/>
                  <a:gd name="connsiteY559" fmla="*/ 29243 h 825030"/>
                  <a:gd name="connsiteX560" fmla="*/ 205008 w 798060"/>
                  <a:gd name="connsiteY560" fmla="*/ 31062 h 825030"/>
                  <a:gd name="connsiteX561" fmla="*/ 202129 w 798060"/>
                  <a:gd name="connsiteY561" fmla="*/ 31062 h 825030"/>
                  <a:gd name="connsiteX562" fmla="*/ 197886 w 798060"/>
                  <a:gd name="connsiteY562" fmla="*/ 30001 h 825030"/>
                  <a:gd name="connsiteX563" fmla="*/ 192734 w 798060"/>
                  <a:gd name="connsiteY563" fmla="*/ 28031 h 825030"/>
                  <a:gd name="connsiteX564" fmla="*/ 190613 w 798060"/>
                  <a:gd name="connsiteY564" fmla="*/ 26819 h 825030"/>
                  <a:gd name="connsiteX565" fmla="*/ 188795 w 798060"/>
                  <a:gd name="connsiteY565" fmla="*/ 26819 h 825030"/>
                  <a:gd name="connsiteX566" fmla="*/ 184249 w 798060"/>
                  <a:gd name="connsiteY566" fmla="*/ 26516 h 825030"/>
                  <a:gd name="connsiteX567" fmla="*/ 179855 w 798060"/>
                  <a:gd name="connsiteY567" fmla="*/ 25607 h 825030"/>
                  <a:gd name="connsiteX568" fmla="*/ 174552 w 798060"/>
                  <a:gd name="connsiteY568" fmla="*/ 24395 h 825030"/>
                  <a:gd name="connsiteX569" fmla="*/ 171976 w 798060"/>
                  <a:gd name="connsiteY569" fmla="*/ 23940 h 825030"/>
                  <a:gd name="connsiteX570" fmla="*/ 166522 w 798060"/>
                  <a:gd name="connsiteY570" fmla="*/ 22880 h 825030"/>
                  <a:gd name="connsiteX571" fmla="*/ 163037 w 798060"/>
                  <a:gd name="connsiteY571" fmla="*/ 24243 h 825030"/>
                  <a:gd name="connsiteX572" fmla="*/ 159855 w 798060"/>
                  <a:gd name="connsiteY572" fmla="*/ 25455 h 825030"/>
                  <a:gd name="connsiteX573" fmla="*/ 157279 w 798060"/>
                  <a:gd name="connsiteY573" fmla="*/ 26364 h 825030"/>
                  <a:gd name="connsiteX574" fmla="*/ 155158 w 798060"/>
                  <a:gd name="connsiteY574" fmla="*/ 30152 h 825030"/>
                  <a:gd name="connsiteX575" fmla="*/ 154248 w 798060"/>
                  <a:gd name="connsiteY575" fmla="*/ 31516 h 825030"/>
                  <a:gd name="connsiteX576" fmla="*/ 153188 w 798060"/>
                  <a:gd name="connsiteY576" fmla="*/ 33486 h 825030"/>
                  <a:gd name="connsiteX577" fmla="*/ 152733 w 798060"/>
                  <a:gd name="connsiteY577" fmla="*/ 34850 h 825030"/>
                  <a:gd name="connsiteX578" fmla="*/ 153188 w 798060"/>
                  <a:gd name="connsiteY578" fmla="*/ 36517 h 825030"/>
                  <a:gd name="connsiteX579" fmla="*/ 156370 w 798060"/>
                  <a:gd name="connsiteY579" fmla="*/ 37729 h 825030"/>
                  <a:gd name="connsiteX580" fmla="*/ 157733 w 798060"/>
                  <a:gd name="connsiteY580" fmla="*/ 39244 h 825030"/>
                  <a:gd name="connsiteX581" fmla="*/ 157885 w 798060"/>
                  <a:gd name="connsiteY581" fmla="*/ 40607 h 825030"/>
                  <a:gd name="connsiteX582" fmla="*/ 156824 w 798060"/>
                  <a:gd name="connsiteY582" fmla="*/ 41971 h 825030"/>
                  <a:gd name="connsiteX583" fmla="*/ 155915 w 798060"/>
                  <a:gd name="connsiteY583" fmla="*/ 43032 h 825030"/>
                  <a:gd name="connsiteX584" fmla="*/ 155915 w 798060"/>
                  <a:gd name="connsiteY584" fmla="*/ 44093 h 825030"/>
                  <a:gd name="connsiteX585" fmla="*/ 156370 w 798060"/>
                  <a:gd name="connsiteY585" fmla="*/ 45153 h 825030"/>
                  <a:gd name="connsiteX586" fmla="*/ 157127 w 798060"/>
                  <a:gd name="connsiteY586" fmla="*/ 45911 h 825030"/>
                  <a:gd name="connsiteX587" fmla="*/ 161521 w 798060"/>
                  <a:gd name="connsiteY587" fmla="*/ 46365 h 825030"/>
                  <a:gd name="connsiteX588" fmla="*/ 164097 w 798060"/>
                  <a:gd name="connsiteY588" fmla="*/ 46365 h 825030"/>
                  <a:gd name="connsiteX589" fmla="*/ 165158 w 798060"/>
                  <a:gd name="connsiteY589" fmla="*/ 46820 h 825030"/>
                  <a:gd name="connsiteX590" fmla="*/ 165309 w 798060"/>
                  <a:gd name="connsiteY590" fmla="*/ 48183 h 825030"/>
                  <a:gd name="connsiteX591" fmla="*/ 164400 w 798060"/>
                  <a:gd name="connsiteY591" fmla="*/ 50002 h 825030"/>
                  <a:gd name="connsiteX592" fmla="*/ 160612 w 798060"/>
                  <a:gd name="connsiteY592" fmla="*/ 51517 h 825030"/>
                  <a:gd name="connsiteX593" fmla="*/ 158491 w 798060"/>
                  <a:gd name="connsiteY593" fmla="*/ 53032 h 825030"/>
                  <a:gd name="connsiteX594" fmla="*/ 157885 w 798060"/>
                  <a:gd name="connsiteY594" fmla="*/ 55154 h 825030"/>
                  <a:gd name="connsiteX595" fmla="*/ 157885 w 798060"/>
                  <a:gd name="connsiteY595" fmla="*/ 56820 h 825030"/>
                  <a:gd name="connsiteX596" fmla="*/ 158642 w 798060"/>
                  <a:gd name="connsiteY596" fmla="*/ 57881 h 825030"/>
                  <a:gd name="connsiteX597" fmla="*/ 160460 w 798060"/>
                  <a:gd name="connsiteY597" fmla="*/ 59093 h 825030"/>
                  <a:gd name="connsiteX598" fmla="*/ 162127 w 798060"/>
                  <a:gd name="connsiteY598" fmla="*/ 60457 h 825030"/>
                  <a:gd name="connsiteX599" fmla="*/ 162582 w 798060"/>
                  <a:gd name="connsiteY599" fmla="*/ 61669 h 825030"/>
                  <a:gd name="connsiteX600" fmla="*/ 162430 w 798060"/>
                  <a:gd name="connsiteY600" fmla="*/ 63184 h 825030"/>
                  <a:gd name="connsiteX601" fmla="*/ 161824 w 798060"/>
                  <a:gd name="connsiteY601" fmla="*/ 65305 h 825030"/>
                  <a:gd name="connsiteX602" fmla="*/ 160006 w 798060"/>
                  <a:gd name="connsiteY602" fmla="*/ 67881 h 825030"/>
                  <a:gd name="connsiteX603" fmla="*/ 158491 w 798060"/>
                  <a:gd name="connsiteY603" fmla="*/ 69699 h 825030"/>
                  <a:gd name="connsiteX604" fmla="*/ 158339 w 798060"/>
                  <a:gd name="connsiteY604" fmla="*/ 70306 h 825030"/>
                  <a:gd name="connsiteX605" fmla="*/ 158794 w 798060"/>
                  <a:gd name="connsiteY605" fmla="*/ 71215 h 825030"/>
                  <a:gd name="connsiteX606" fmla="*/ 160006 w 798060"/>
                  <a:gd name="connsiteY606" fmla="*/ 72578 h 825030"/>
                  <a:gd name="connsiteX607" fmla="*/ 162127 w 798060"/>
                  <a:gd name="connsiteY607" fmla="*/ 74700 h 825030"/>
                  <a:gd name="connsiteX608" fmla="*/ 164703 w 798060"/>
                  <a:gd name="connsiteY608" fmla="*/ 76366 h 825030"/>
                  <a:gd name="connsiteX609" fmla="*/ 166370 w 798060"/>
                  <a:gd name="connsiteY609" fmla="*/ 76821 h 825030"/>
                  <a:gd name="connsiteX610" fmla="*/ 166976 w 798060"/>
                  <a:gd name="connsiteY610" fmla="*/ 77275 h 825030"/>
                  <a:gd name="connsiteX611" fmla="*/ 167431 w 798060"/>
                  <a:gd name="connsiteY611" fmla="*/ 79245 h 825030"/>
                  <a:gd name="connsiteX612" fmla="*/ 167582 w 798060"/>
                  <a:gd name="connsiteY612" fmla="*/ 81215 h 825030"/>
                  <a:gd name="connsiteX613" fmla="*/ 166976 w 798060"/>
                  <a:gd name="connsiteY613" fmla="*/ 82730 h 825030"/>
                  <a:gd name="connsiteX614" fmla="*/ 168340 w 798060"/>
                  <a:gd name="connsiteY614" fmla="*/ 83942 h 825030"/>
                  <a:gd name="connsiteX615" fmla="*/ 171825 w 798060"/>
                  <a:gd name="connsiteY615" fmla="*/ 83942 h 825030"/>
                  <a:gd name="connsiteX616" fmla="*/ 174703 w 798060"/>
                  <a:gd name="connsiteY616" fmla="*/ 84549 h 825030"/>
                  <a:gd name="connsiteX617" fmla="*/ 175916 w 798060"/>
                  <a:gd name="connsiteY617" fmla="*/ 83942 h 825030"/>
                  <a:gd name="connsiteX618" fmla="*/ 176825 w 798060"/>
                  <a:gd name="connsiteY618" fmla="*/ 84397 h 825030"/>
                  <a:gd name="connsiteX619" fmla="*/ 176219 w 798060"/>
                  <a:gd name="connsiteY619" fmla="*/ 88943 h 825030"/>
                  <a:gd name="connsiteX620" fmla="*/ 176673 w 798060"/>
                  <a:gd name="connsiteY620" fmla="*/ 91670 h 825030"/>
                  <a:gd name="connsiteX621" fmla="*/ 177431 w 798060"/>
                  <a:gd name="connsiteY621" fmla="*/ 92427 h 825030"/>
                  <a:gd name="connsiteX622" fmla="*/ 180310 w 798060"/>
                  <a:gd name="connsiteY622" fmla="*/ 93488 h 825030"/>
                  <a:gd name="connsiteX623" fmla="*/ 185765 w 798060"/>
                  <a:gd name="connsiteY623" fmla="*/ 93337 h 825030"/>
                  <a:gd name="connsiteX624" fmla="*/ 188946 w 798060"/>
                  <a:gd name="connsiteY624" fmla="*/ 94549 h 825030"/>
                  <a:gd name="connsiteX625" fmla="*/ 192432 w 798060"/>
                  <a:gd name="connsiteY625" fmla="*/ 96064 h 825030"/>
                  <a:gd name="connsiteX626" fmla="*/ 194250 w 798060"/>
                  <a:gd name="connsiteY626" fmla="*/ 97731 h 825030"/>
                  <a:gd name="connsiteX627" fmla="*/ 195159 w 798060"/>
                  <a:gd name="connsiteY627" fmla="*/ 98943 h 825030"/>
                  <a:gd name="connsiteX628" fmla="*/ 194856 w 798060"/>
                  <a:gd name="connsiteY628" fmla="*/ 100913 h 825030"/>
                  <a:gd name="connsiteX629" fmla="*/ 192886 w 798060"/>
                  <a:gd name="connsiteY629" fmla="*/ 103186 h 825030"/>
                  <a:gd name="connsiteX630" fmla="*/ 189704 w 798060"/>
                  <a:gd name="connsiteY630" fmla="*/ 104246 h 825030"/>
                  <a:gd name="connsiteX631" fmla="*/ 187886 w 798060"/>
                  <a:gd name="connsiteY631" fmla="*/ 104701 h 825030"/>
                  <a:gd name="connsiteX632" fmla="*/ 178795 w 798060"/>
                  <a:gd name="connsiteY632" fmla="*/ 108943 h 825030"/>
                  <a:gd name="connsiteX633" fmla="*/ 175916 w 798060"/>
                  <a:gd name="connsiteY633" fmla="*/ 110762 h 825030"/>
                  <a:gd name="connsiteX634" fmla="*/ 173794 w 798060"/>
                  <a:gd name="connsiteY634" fmla="*/ 112883 h 825030"/>
                  <a:gd name="connsiteX635" fmla="*/ 173037 w 798060"/>
                  <a:gd name="connsiteY635" fmla="*/ 114550 h 825030"/>
                  <a:gd name="connsiteX636" fmla="*/ 172582 w 798060"/>
                  <a:gd name="connsiteY636" fmla="*/ 116065 h 825030"/>
                  <a:gd name="connsiteX637" fmla="*/ 174552 w 798060"/>
                  <a:gd name="connsiteY637" fmla="*/ 121823 h 825030"/>
                  <a:gd name="connsiteX638" fmla="*/ 174855 w 798060"/>
                  <a:gd name="connsiteY638" fmla="*/ 123641 h 825030"/>
                  <a:gd name="connsiteX639" fmla="*/ 173188 w 798060"/>
                  <a:gd name="connsiteY639" fmla="*/ 129853 h 825030"/>
                  <a:gd name="connsiteX640" fmla="*/ 172734 w 798060"/>
                  <a:gd name="connsiteY640" fmla="*/ 132126 h 825030"/>
                  <a:gd name="connsiteX641" fmla="*/ 173340 w 798060"/>
                  <a:gd name="connsiteY641" fmla="*/ 133641 h 825030"/>
                  <a:gd name="connsiteX642" fmla="*/ 175310 w 798060"/>
                  <a:gd name="connsiteY642" fmla="*/ 134247 h 825030"/>
                  <a:gd name="connsiteX643" fmla="*/ 175764 w 798060"/>
                  <a:gd name="connsiteY643" fmla="*/ 135611 h 825030"/>
                  <a:gd name="connsiteX644" fmla="*/ 175916 w 798060"/>
                  <a:gd name="connsiteY644" fmla="*/ 136672 h 825030"/>
                  <a:gd name="connsiteX645" fmla="*/ 172582 w 798060"/>
                  <a:gd name="connsiteY645" fmla="*/ 138944 h 825030"/>
                  <a:gd name="connsiteX646" fmla="*/ 169097 w 798060"/>
                  <a:gd name="connsiteY646" fmla="*/ 140914 h 825030"/>
                  <a:gd name="connsiteX647" fmla="*/ 168036 w 798060"/>
                  <a:gd name="connsiteY647" fmla="*/ 140914 h 825030"/>
                  <a:gd name="connsiteX648" fmla="*/ 164703 w 798060"/>
                  <a:gd name="connsiteY648" fmla="*/ 144702 h 825030"/>
                  <a:gd name="connsiteX649" fmla="*/ 159097 w 798060"/>
                  <a:gd name="connsiteY649" fmla="*/ 152127 h 825030"/>
                  <a:gd name="connsiteX650" fmla="*/ 156067 w 798060"/>
                  <a:gd name="connsiteY650" fmla="*/ 154702 h 825030"/>
                  <a:gd name="connsiteX651" fmla="*/ 155915 w 798060"/>
                  <a:gd name="connsiteY651" fmla="*/ 155915 h 825030"/>
                  <a:gd name="connsiteX652" fmla="*/ 155612 w 798060"/>
                  <a:gd name="connsiteY652" fmla="*/ 157127 h 825030"/>
                  <a:gd name="connsiteX653" fmla="*/ 156824 w 798060"/>
                  <a:gd name="connsiteY653" fmla="*/ 159248 h 825030"/>
                  <a:gd name="connsiteX654" fmla="*/ 157127 w 798060"/>
                  <a:gd name="connsiteY654" fmla="*/ 161066 h 825030"/>
                  <a:gd name="connsiteX655" fmla="*/ 155915 w 798060"/>
                  <a:gd name="connsiteY655" fmla="*/ 162885 h 825030"/>
                  <a:gd name="connsiteX656" fmla="*/ 153793 w 798060"/>
                  <a:gd name="connsiteY656" fmla="*/ 165006 h 825030"/>
                  <a:gd name="connsiteX657" fmla="*/ 149703 w 798060"/>
                  <a:gd name="connsiteY657" fmla="*/ 166824 h 825030"/>
                  <a:gd name="connsiteX658" fmla="*/ 144551 w 798060"/>
                  <a:gd name="connsiteY658" fmla="*/ 168642 h 825030"/>
                  <a:gd name="connsiteX659" fmla="*/ 142278 w 798060"/>
                  <a:gd name="connsiteY659" fmla="*/ 169703 h 825030"/>
                  <a:gd name="connsiteX660" fmla="*/ 140460 w 798060"/>
                  <a:gd name="connsiteY660" fmla="*/ 174552 h 825030"/>
                  <a:gd name="connsiteX661" fmla="*/ 138793 w 798060"/>
                  <a:gd name="connsiteY661" fmla="*/ 179400 h 825030"/>
                  <a:gd name="connsiteX662" fmla="*/ 138036 w 798060"/>
                  <a:gd name="connsiteY662" fmla="*/ 181219 h 825030"/>
                  <a:gd name="connsiteX663" fmla="*/ 135157 w 798060"/>
                  <a:gd name="connsiteY663" fmla="*/ 186825 h 825030"/>
                  <a:gd name="connsiteX664" fmla="*/ 130308 w 798060"/>
                  <a:gd name="connsiteY664" fmla="*/ 195007 h 825030"/>
                  <a:gd name="connsiteX665" fmla="*/ 129096 w 798060"/>
                  <a:gd name="connsiteY665" fmla="*/ 196825 h 825030"/>
                  <a:gd name="connsiteX666" fmla="*/ 121520 w 798060"/>
                  <a:gd name="connsiteY666" fmla="*/ 200765 h 825030"/>
                  <a:gd name="connsiteX667" fmla="*/ 113792 w 798060"/>
                  <a:gd name="connsiteY667" fmla="*/ 205007 h 825030"/>
                  <a:gd name="connsiteX668" fmla="*/ 112429 w 798060"/>
                  <a:gd name="connsiteY668" fmla="*/ 206674 h 825030"/>
                  <a:gd name="connsiteX669" fmla="*/ 110913 w 798060"/>
                  <a:gd name="connsiteY669" fmla="*/ 210614 h 825030"/>
                  <a:gd name="connsiteX670" fmla="*/ 109398 w 798060"/>
                  <a:gd name="connsiteY670" fmla="*/ 214856 h 825030"/>
                  <a:gd name="connsiteX671" fmla="*/ 108034 w 798060"/>
                  <a:gd name="connsiteY671" fmla="*/ 217129 h 825030"/>
                  <a:gd name="connsiteX672" fmla="*/ 103034 w 798060"/>
                  <a:gd name="connsiteY672" fmla="*/ 222129 h 825030"/>
                  <a:gd name="connsiteX673" fmla="*/ 101367 w 798060"/>
                  <a:gd name="connsiteY673" fmla="*/ 225917 h 825030"/>
                  <a:gd name="connsiteX674" fmla="*/ 100913 w 798060"/>
                  <a:gd name="connsiteY674" fmla="*/ 228493 h 825030"/>
                  <a:gd name="connsiteX675" fmla="*/ 96670 w 798060"/>
                  <a:gd name="connsiteY675" fmla="*/ 229857 h 825030"/>
                  <a:gd name="connsiteX676" fmla="*/ 91973 w 798060"/>
                  <a:gd name="connsiteY676" fmla="*/ 231220 h 825030"/>
                  <a:gd name="connsiteX677" fmla="*/ 85003 w 798060"/>
                  <a:gd name="connsiteY677" fmla="*/ 231675 h 825030"/>
                  <a:gd name="connsiteX678" fmla="*/ 82124 w 798060"/>
                  <a:gd name="connsiteY678" fmla="*/ 232433 h 825030"/>
                  <a:gd name="connsiteX679" fmla="*/ 73639 w 798060"/>
                  <a:gd name="connsiteY679" fmla="*/ 235918 h 825030"/>
                  <a:gd name="connsiteX680" fmla="*/ 71518 w 798060"/>
                  <a:gd name="connsiteY680" fmla="*/ 236069 h 825030"/>
                  <a:gd name="connsiteX681" fmla="*/ 69851 w 798060"/>
                  <a:gd name="connsiteY681" fmla="*/ 235463 h 825030"/>
                  <a:gd name="connsiteX682" fmla="*/ 68639 w 798060"/>
                  <a:gd name="connsiteY682" fmla="*/ 234251 h 825030"/>
                  <a:gd name="connsiteX683" fmla="*/ 67427 w 798060"/>
                  <a:gd name="connsiteY683" fmla="*/ 232281 h 825030"/>
                  <a:gd name="connsiteX684" fmla="*/ 66821 w 798060"/>
                  <a:gd name="connsiteY684" fmla="*/ 229251 h 825030"/>
                  <a:gd name="connsiteX685" fmla="*/ 65154 w 798060"/>
                  <a:gd name="connsiteY685" fmla="*/ 227887 h 825030"/>
                  <a:gd name="connsiteX686" fmla="*/ 62881 w 798060"/>
                  <a:gd name="connsiteY686" fmla="*/ 226675 h 825030"/>
                  <a:gd name="connsiteX687" fmla="*/ 60608 w 798060"/>
                  <a:gd name="connsiteY687" fmla="*/ 226675 h 825030"/>
                  <a:gd name="connsiteX688" fmla="*/ 58336 w 798060"/>
                  <a:gd name="connsiteY688" fmla="*/ 227887 h 825030"/>
                  <a:gd name="connsiteX689" fmla="*/ 56366 w 798060"/>
                  <a:gd name="connsiteY689" fmla="*/ 229251 h 825030"/>
                  <a:gd name="connsiteX690" fmla="*/ 55002 w 798060"/>
                  <a:gd name="connsiteY690" fmla="*/ 230463 h 825030"/>
                  <a:gd name="connsiteX691" fmla="*/ 53638 w 798060"/>
                  <a:gd name="connsiteY691" fmla="*/ 231827 h 825030"/>
                  <a:gd name="connsiteX692" fmla="*/ 51062 w 798060"/>
                  <a:gd name="connsiteY692" fmla="*/ 236372 h 825030"/>
                  <a:gd name="connsiteX693" fmla="*/ 46820 w 798060"/>
                  <a:gd name="connsiteY693" fmla="*/ 242888 h 825030"/>
                  <a:gd name="connsiteX694" fmla="*/ 42123 w 798060"/>
                  <a:gd name="connsiteY694" fmla="*/ 247585 h 825030"/>
                  <a:gd name="connsiteX695" fmla="*/ 40456 w 798060"/>
                  <a:gd name="connsiteY695" fmla="*/ 248948 h 825030"/>
                  <a:gd name="connsiteX696" fmla="*/ 39395 w 798060"/>
                  <a:gd name="connsiteY696" fmla="*/ 250009 h 825030"/>
                  <a:gd name="connsiteX697" fmla="*/ 37880 w 798060"/>
                  <a:gd name="connsiteY697" fmla="*/ 251524 h 825030"/>
                  <a:gd name="connsiteX698" fmla="*/ 36971 w 798060"/>
                  <a:gd name="connsiteY698" fmla="*/ 253039 h 825030"/>
                  <a:gd name="connsiteX699" fmla="*/ 35759 w 798060"/>
                  <a:gd name="connsiteY699" fmla="*/ 258040 h 825030"/>
                  <a:gd name="connsiteX700" fmla="*/ 35153 w 798060"/>
                  <a:gd name="connsiteY700" fmla="*/ 262434 h 825030"/>
                  <a:gd name="connsiteX701" fmla="*/ 35456 w 798060"/>
                  <a:gd name="connsiteY701" fmla="*/ 263343 h 825030"/>
                  <a:gd name="connsiteX702" fmla="*/ 36214 w 798060"/>
                  <a:gd name="connsiteY702" fmla="*/ 264100 h 825030"/>
                  <a:gd name="connsiteX703" fmla="*/ 38789 w 798060"/>
                  <a:gd name="connsiteY703" fmla="*/ 265313 h 825030"/>
                  <a:gd name="connsiteX704" fmla="*/ 42426 w 798060"/>
                  <a:gd name="connsiteY704" fmla="*/ 267434 h 825030"/>
                  <a:gd name="connsiteX705" fmla="*/ 47274 w 798060"/>
                  <a:gd name="connsiteY705" fmla="*/ 268646 h 825030"/>
                  <a:gd name="connsiteX706" fmla="*/ 51366 w 798060"/>
                  <a:gd name="connsiteY706" fmla="*/ 268798 h 825030"/>
                  <a:gd name="connsiteX707" fmla="*/ 52881 w 798060"/>
                  <a:gd name="connsiteY707" fmla="*/ 269707 h 825030"/>
                  <a:gd name="connsiteX708" fmla="*/ 53790 w 798060"/>
                  <a:gd name="connsiteY708" fmla="*/ 270919 h 825030"/>
                  <a:gd name="connsiteX709" fmla="*/ 54093 w 798060"/>
                  <a:gd name="connsiteY709" fmla="*/ 271980 h 825030"/>
                  <a:gd name="connsiteX710" fmla="*/ 53941 w 798060"/>
                  <a:gd name="connsiteY710" fmla="*/ 275616 h 825030"/>
                  <a:gd name="connsiteX711" fmla="*/ 53487 w 798060"/>
                  <a:gd name="connsiteY711" fmla="*/ 279556 h 825030"/>
                  <a:gd name="connsiteX712" fmla="*/ 51972 w 798060"/>
                  <a:gd name="connsiteY712" fmla="*/ 283647 h 825030"/>
                  <a:gd name="connsiteX713" fmla="*/ 51972 w 798060"/>
                  <a:gd name="connsiteY713" fmla="*/ 286071 h 825030"/>
                  <a:gd name="connsiteX714" fmla="*/ 52578 w 798060"/>
                  <a:gd name="connsiteY714" fmla="*/ 288344 h 825030"/>
                  <a:gd name="connsiteX715" fmla="*/ 57124 w 798060"/>
                  <a:gd name="connsiteY715" fmla="*/ 294253 h 825030"/>
                  <a:gd name="connsiteX716" fmla="*/ 58790 w 798060"/>
                  <a:gd name="connsiteY716" fmla="*/ 294859 h 825030"/>
                  <a:gd name="connsiteX717" fmla="*/ 62124 w 798060"/>
                  <a:gd name="connsiteY717" fmla="*/ 295011 h 825030"/>
                  <a:gd name="connsiteX718" fmla="*/ 63639 w 798060"/>
                  <a:gd name="connsiteY718" fmla="*/ 294859 h 825030"/>
                  <a:gd name="connsiteX719" fmla="*/ 65305 w 798060"/>
                  <a:gd name="connsiteY719" fmla="*/ 294253 h 825030"/>
                  <a:gd name="connsiteX720" fmla="*/ 66518 w 798060"/>
                  <a:gd name="connsiteY720" fmla="*/ 294708 h 825030"/>
                  <a:gd name="connsiteX721" fmla="*/ 67427 w 798060"/>
                  <a:gd name="connsiteY721" fmla="*/ 295465 h 825030"/>
                  <a:gd name="connsiteX722" fmla="*/ 67730 w 798060"/>
                  <a:gd name="connsiteY722" fmla="*/ 296678 h 825030"/>
                  <a:gd name="connsiteX723" fmla="*/ 67579 w 798060"/>
                  <a:gd name="connsiteY723" fmla="*/ 302587 h 825030"/>
                  <a:gd name="connsiteX724" fmla="*/ 68942 w 798060"/>
                  <a:gd name="connsiteY724" fmla="*/ 305314 h 825030"/>
                  <a:gd name="connsiteX725" fmla="*/ 71669 w 798060"/>
                  <a:gd name="connsiteY725" fmla="*/ 308951 h 825030"/>
                  <a:gd name="connsiteX726" fmla="*/ 73791 w 798060"/>
                  <a:gd name="connsiteY726" fmla="*/ 313042 h 825030"/>
                  <a:gd name="connsiteX727" fmla="*/ 75760 w 798060"/>
                  <a:gd name="connsiteY727" fmla="*/ 318042 h 825030"/>
                  <a:gd name="connsiteX728" fmla="*/ 77730 w 798060"/>
                  <a:gd name="connsiteY728" fmla="*/ 321981 h 825030"/>
                  <a:gd name="connsiteX729" fmla="*/ 78488 w 798060"/>
                  <a:gd name="connsiteY729" fmla="*/ 323951 h 825030"/>
                  <a:gd name="connsiteX730" fmla="*/ 77276 w 798060"/>
                  <a:gd name="connsiteY730" fmla="*/ 324860 h 825030"/>
                  <a:gd name="connsiteX731" fmla="*/ 76518 w 798060"/>
                  <a:gd name="connsiteY731" fmla="*/ 325921 h 825030"/>
                  <a:gd name="connsiteX732" fmla="*/ 76367 w 798060"/>
                  <a:gd name="connsiteY732" fmla="*/ 327285 h 825030"/>
                  <a:gd name="connsiteX733" fmla="*/ 76669 w 798060"/>
                  <a:gd name="connsiteY733" fmla="*/ 328648 h 825030"/>
                  <a:gd name="connsiteX734" fmla="*/ 76518 w 798060"/>
                  <a:gd name="connsiteY734" fmla="*/ 329709 h 825030"/>
                  <a:gd name="connsiteX735" fmla="*/ 77427 w 798060"/>
                  <a:gd name="connsiteY735" fmla="*/ 330921 h 825030"/>
                  <a:gd name="connsiteX736" fmla="*/ 78488 w 798060"/>
                  <a:gd name="connsiteY736" fmla="*/ 331376 h 825030"/>
                  <a:gd name="connsiteX737" fmla="*/ 78488 w 798060"/>
                  <a:gd name="connsiteY737" fmla="*/ 332285 h 825030"/>
                  <a:gd name="connsiteX738" fmla="*/ 76821 w 798060"/>
                  <a:gd name="connsiteY738" fmla="*/ 333346 h 825030"/>
                  <a:gd name="connsiteX739" fmla="*/ 75306 w 798060"/>
                  <a:gd name="connsiteY739" fmla="*/ 333346 h 825030"/>
                  <a:gd name="connsiteX740" fmla="*/ 74094 w 798060"/>
                  <a:gd name="connsiteY740" fmla="*/ 333951 h 825030"/>
                  <a:gd name="connsiteX741" fmla="*/ 71821 w 798060"/>
                  <a:gd name="connsiteY741" fmla="*/ 336376 h 825030"/>
                  <a:gd name="connsiteX742" fmla="*/ 70760 w 798060"/>
                  <a:gd name="connsiteY742" fmla="*/ 336830 h 825030"/>
                  <a:gd name="connsiteX743" fmla="*/ 69397 w 798060"/>
                  <a:gd name="connsiteY743" fmla="*/ 336982 h 825030"/>
                  <a:gd name="connsiteX744" fmla="*/ 67881 w 798060"/>
                  <a:gd name="connsiteY744" fmla="*/ 336679 h 825030"/>
                  <a:gd name="connsiteX745" fmla="*/ 65760 w 798060"/>
                  <a:gd name="connsiteY745" fmla="*/ 335770 h 825030"/>
                  <a:gd name="connsiteX746" fmla="*/ 65154 w 798060"/>
                  <a:gd name="connsiteY746" fmla="*/ 334255 h 825030"/>
                  <a:gd name="connsiteX747" fmla="*/ 65457 w 798060"/>
                  <a:gd name="connsiteY747" fmla="*/ 332739 h 825030"/>
                  <a:gd name="connsiteX748" fmla="*/ 65003 w 798060"/>
                  <a:gd name="connsiteY748" fmla="*/ 331830 h 825030"/>
                  <a:gd name="connsiteX749" fmla="*/ 63487 w 798060"/>
                  <a:gd name="connsiteY749" fmla="*/ 331982 h 825030"/>
                  <a:gd name="connsiteX750" fmla="*/ 58033 w 798060"/>
                  <a:gd name="connsiteY750" fmla="*/ 333649 h 825030"/>
                  <a:gd name="connsiteX751" fmla="*/ 52881 w 798060"/>
                  <a:gd name="connsiteY751" fmla="*/ 335618 h 825030"/>
                  <a:gd name="connsiteX752" fmla="*/ 51972 w 798060"/>
                  <a:gd name="connsiteY752" fmla="*/ 336982 h 825030"/>
                  <a:gd name="connsiteX753" fmla="*/ 50760 w 798060"/>
                  <a:gd name="connsiteY753" fmla="*/ 338346 h 825030"/>
                  <a:gd name="connsiteX754" fmla="*/ 48335 w 798060"/>
                  <a:gd name="connsiteY754" fmla="*/ 338952 h 825030"/>
                  <a:gd name="connsiteX755" fmla="*/ 44850 w 798060"/>
                  <a:gd name="connsiteY755" fmla="*/ 339103 h 825030"/>
                  <a:gd name="connsiteX756" fmla="*/ 42426 w 798060"/>
                  <a:gd name="connsiteY756" fmla="*/ 338952 h 825030"/>
                  <a:gd name="connsiteX757" fmla="*/ 40153 w 798060"/>
                  <a:gd name="connsiteY757" fmla="*/ 337437 h 825030"/>
                  <a:gd name="connsiteX758" fmla="*/ 38032 w 798060"/>
                  <a:gd name="connsiteY758" fmla="*/ 336073 h 825030"/>
                  <a:gd name="connsiteX759" fmla="*/ 34850 w 798060"/>
                  <a:gd name="connsiteY759" fmla="*/ 336073 h 825030"/>
                  <a:gd name="connsiteX760" fmla="*/ 29092 w 798060"/>
                  <a:gd name="connsiteY760" fmla="*/ 336224 h 825030"/>
                  <a:gd name="connsiteX761" fmla="*/ 25910 w 798060"/>
                  <a:gd name="connsiteY761" fmla="*/ 336224 h 825030"/>
                  <a:gd name="connsiteX762" fmla="*/ 24092 w 798060"/>
                  <a:gd name="connsiteY762" fmla="*/ 335770 h 825030"/>
                  <a:gd name="connsiteX763" fmla="*/ 22274 w 798060"/>
                  <a:gd name="connsiteY763" fmla="*/ 336224 h 825030"/>
                  <a:gd name="connsiteX764" fmla="*/ 20001 w 798060"/>
                  <a:gd name="connsiteY764" fmla="*/ 335618 h 825030"/>
                  <a:gd name="connsiteX765" fmla="*/ 18940 w 798060"/>
                  <a:gd name="connsiteY765" fmla="*/ 336376 h 825030"/>
                  <a:gd name="connsiteX766" fmla="*/ 18031 w 798060"/>
                  <a:gd name="connsiteY766" fmla="*/ 336376 h 825030"/>
                  <a:gd name="connsiteX767" fmla="*/ 17274 w 798060"/>
                  <a:gd name="connsiteY767" fmla="*/ 335012 h 825030"/>
                  <a:gd name="connsiteX768" fmla="*/ 16819 w 798060"/>
                  <a:gd name="connsiteY768" fmla="*/ 334861 h 825030"/>
                  <a:gd name="connsiteX769" fmla="*/ 16213 w 798060"/>
                  <a:gd name="connsiteY769" fmla="*/ 335012 h 825030"/>
                  <a:gd name="connsiteX770" fmla="*/ 15758 w 798060"/>
                  <a:gd name="connsiteY770" fmla="*/ 335467 h 825030"/>
                  <a:gd name="connsiteX771" fmla="*/ 15455 w 798060"/>
                  <a:gd name="connsiteY771" fmla="*/ 336224 h 825030"/>
                  <a:gd name="connsiteX772" fmla="*/ 15304 w 798060"/>
                  <a:gd name="connsiteY772" fmla="*/ 344861 h 825030"/>
                  <a:gd name="connsiteX773" fmla="*/ 11516 w 798060"/>
                  <a:gd name="connsiteY773" fmla="*/ 344861 h 825030"/>
                  <a:gd name="connsiteX774" fmla="*/ 8788 w 798060"/>
                  <a:gd name="connsiteY774" fmla="*/ 344861 h 825030"/>
                  <a:gd name="connsiteX775" fmla="*/ 5910 w 798060"/>
                  <a:gd name="connsiteY775" fmla="*/ 345316 h 825030"/>
                  <a:gd name="connsiteX776" fmla="*/ 3182 w 798060"/>
                  <a:gd name="connsiteY776" fmla="*/ 345922 h 825030"/>
                  <a:gd name="connsiteX777" fmla="*/ 1818 w 798060"/>
                  <a:gd name="connsiteY777" fmla="*/ 346679 h 825030"/>
                  <a:gd name="connsiteX778" fmla="*/ 0 w 798060"/>
                  <a:gd name="connsiteY778" fmla="*/ 347891 h 825030"/>
                  <a:gd name="connsiteX779" fmla="*/ 758 w 798060"/>
                  <a:gd name="connsiteY779" fmla="*/ 351528 h 825030"/>
                  <a:gd name="connsiteX780" fmla="*/ 1970 w 798060"/>
                  <a:gd name="connsiteY780" fmla="*/ 355316 h 825030"/>
                  <a:gd name="connsiteX781" fmla="*/ 5000 w 798060"/>
                  <a:gd name="connsiteY781" fmla="*/ 354710 h 825030"/>
                  <a:gd name="connsiteX782" fmla="*/ 7273 w 798060"/>
                  <a:gd name="connsiteY782" fmla="*/ 352134 h 825030"/>
                  <a:gd name="connsiteX783" fmla="*/ 9243 w 798060"/>
                  <a:gd name="connsiteY783" fmla="*/ 350922 h 825030"/>
                  <a:gd name="connsiteX784" fmla="*/ 13182 w 798060"/>
                  <a:gd name="connsiteY784" fmla="*/ 349255 h 825030"/>
                  <a:gd name="connsiteX785" fmla="*/ 16819 w 798060"/>
                  <a:gd name="connsiteY785" fmla="*/ 348043 h 825030"/>
                  <a:gd name="connsiteX786" fmla="*/ 12728 w 798060"/>
                  <a:gd name="connsiteY786" fmla="*/ 350922 h 825030"/>
                  <a:gd name="connsiteX787" fmla="*/ 8031 w 798060"/>
                  <a:gd name="connsiteY787" fmla="*/ 354558 h 825030"/>
                  <a:gd name="connsiteX788" fmla="*/ 6970 w 798060"/>
                  <a:gd name="connsiteY788" fmla="*/ 356225 h 825030"/>
                  <a:gd name="connsiteX789" fmla="*/ 10000 w 798060"/>
                  <a:gd name="connsiteY789" fmla="*/ 362134 h 825030"/>
                  <a:gd name="connsiteX790" fmla="*/ 13031 w 798060"/>
                  <a:gd name="connsiteY790" fmla="*/ 367135 h 825030"/>
                  <a:gd name="connsiteX791" fmla="*/ 17879 w 798060"/>
                  <a:gd name="connsiteY791" fmla="*/ 371074 h 825030"/>
                  <a:gd name="connsiteX792" fmla="*/ 29395 w 798060"/>
                  <a:gd name="connsiteY792" fmla="*/ 376983 h 825030"/>
                  <a:gd name="connsiteX793" fmla="*/ 41062 w 798060"/>
                  <a:gd name="connsiteY793" fmla="*/ 379559 h 825030"/>
                  <a:gd name="connsiteX794" fmla="*/ 43184 w 798060"/>
                  <a:gd name="connsiteY794" fmla="*/ 379105 h 825030"/>
                  <a:gd name="connsiteX795" fmla="*/ 46214 w 798060"/>
                  <a:gd name="connsiteY795" fmla="*/ 376832 h 825030"/>
                  <a:gd name="connsiteX796" fmla="*/ 53487 w 798060"/>
                  <a:gd name="connsiteY796" fmla="*/ 374256 h 825030"/>
                  <a:gd name="connsiteX797" fmla="*/ 55457 w 798060"/>
                  <a:gd name="connsiteY797" fmla="*/ 373650 h 825030"/>
                  <a:gd name="connsiteX798" fmla="*/ 57124 w 798060"/>
                  <a:gd name="connsiteY798" fmla="*/ 373498 h 825030"/>
                  <a:gd name="connsiteX799" fmla="*/ 59548 w 798060"/>
                  <a:gd name="connsiteY799" fmla="*/ 374407 h 825030"/>
                  <a:gd name="connsiteX800" fmla="*/ 60305 w 798060"/>
                  <a:gd name="connsiteY800" fmla="*/ 373498 h 825030"/>
                  <a:gd name="connsiteX801" fmla="*/ 61063 w 798060"/>
                  <a:gd name="connsiteY801" fmla="*/ 371832 h 825030"/>
                  <a:gd name="connsiteX802" fmla="*/ 62124 w 798060"/>
                  <a:gd name="connsiteY802" fmla="*/ 370468 h 825030"/>
                  <a:gd name="connsiteX803" fmla="*/ 63639 w 798060"/>
                  <a:gd name="connsiteY803" fmla="*/ 370165 h 825030"/>
                  <a:gd name="connsiteX804" fmla="*/ 64245 w 798060"/>
                  <a:gd name="connsiteY804" fmla="*/ 371529 h 825030"/>
                  <a:gd name="connsiteX805" fmla="*/ 64396 w 798060"/>
                  <a:gd name="connsiteY805" fmla="*/ 372589 h 825030"/>
                  <a:gd name="connsiteX806" fmla="*/ 62426 w 798060"/>
                  <a:gd name="connsiteY806" fmla="*/ 373498 h 825030"/>
                  <a:gd name="connsiteX807" fmla="*/ 59396 w 798060"/>
                  <a:gd name="connsiteY807" fmla="*/ 377893 h 825030"/>
                  <a:gd name="connsiteX808" fmla="*/ 55305 w 798060"/>
                  <a:gd name="connsiteY808" fmla="*/ 384862 h 825030"/>
                  <a:gd name="connsiteX809" fmla="*/ 52729 w 798060"/>
                  <a:gd name="connsiteY809" fmla="*/ 385469 h 825030"/>
                  <a:gd name="connsiteX810" fmla="*/ 50608 w 798060"/>
                  <a:gd name="connsiteY810" fmla="*/ 385620 h 825030"/>
                  <a:gd name="connsiteX811" fmla="*/ 45456 w 798060"/>
                  <a:gd name="connsiteY811" fmla="*/ 388347 h 825030"/>
                  <a:gd name="connsiteX812" fmla="*/ 42881 w 798060"/>
                  <a:gd name="connsiteY812" fmla="*/ 387893 h 825030"/>
                  <a:gd name="connsiteX813" fmla="*/ 40911 w 798060"/>
                  <a:gd name="connsiteY813" fmla="*/ 389711 h 825030"/>
                  <a:gd name="connsiteX814" fmla="*/ 38032 w 798060"/>
                  <a:gd name="connsiteY814" fmla="*/ 389560 h 825030"/>
                  <a:gd name="connsiteX815" fmla="*/ 30607 w 798060"/>
                  <a:gd name="connsiteY815" fmla="*/ 393045 h 825030"/>
                  <a:gd name="connsiteX816" fmla="*/ 29547 w 798060"/>
                  <a:gd name="connsiteY816" fmla="*/ 392590 h 825030"/>
                  <a:gd name="connsiteX817" fmla="*/ 28334 w 798060"/>
                  <a:gd name="connsiteY817" fmla="*/ 391529 h 825030"/>
                  <a:gd name="connsiteX818" fmla="*/ 26668 w 798060"/>
                  <a:gd name="connsiteY818" fmla="*/ 389257 h 825030"/>
                  <a:gd name="connsiteX819" fmla="*/ 24546 w 798060"/>
                  <a:gd name="connsiteY819" fmla="*/ 388650 h 825030"/>
                  <a:gd name="connsiteX820" fmla="*/ 22728 w 798060"/>
                  <a:gd name="connsiteY820" fmla="*/ 390166 h 825030"/>
                  <a:gd name="connsiteX821" fmla="*/ 22425 w 798060"/>
                  <a:gd name="connsiteY821" fmla="*/ 392893 h 825030"/>
                  <a:gd name="connsiteX822" fmla="*/ 23486 w 798060"/>
                  <a:gd name="connsiteY822" fmla="*/ 395621 h 825030"/>
                  <a:gd name="connsiteX823" fmla="*/ 28486 w 798060"/>
                  <a:gd name="connsiteY823" fmla="*/ 401530 h 825030"/>
                  <a:gd name="connsiteX824" fmla="*/ 33789 w 798060"/>
                  <a:gd name="connsiteY824" fmla="*/ 405924 h 825030"/>
                  <a:gd name="connsiteX825" fmla="*/ 38032 w 798060"/>
                  <a:gd name="connsiteY825" fmla="*/ 410469 h 825030"/>
                  <a:gd name="connsiteX826" fmla="*/ 43638 w 798060"/>
                  <a:gd name="connsiteY826" fmla="*/ 415470 h 825030"/>
                  <a:gd name="connsiteX827" fmla="*/ 51517 w 798060"/>
                  <a:gd name="connsiteY827" fmla="*/ 424712 h 825030"/>
                  <a:gd name="connsiteX828" fmla="*/ 54093 w 798060"/>
                  <a:gd name="connsiteY828" fmla="*/ 427137 h 825030"/>
                  <a:gd name="connsiteX829" fmla="*/ 63942 w 798060"/>
                  <a:gd name="connsiteY829" fmla="*/ 434410 h 825030"/>
                  <a:gd name="connsiteX830" fmla="*/ 70306 w 798060"/>
                  <a:gd name="connsiteY830" fmla="*/ 437289 h 825030"/>
                  <a:gd name="connsiteX831" fmla="*/ 74700 w 798060"/>
                  <a:gd name="connsiteY831" fmla="*/ 438046 h 825030"/>
                  <a:gd name="connsiteX832" fmla="*/ 78639 w 798060"/>
                  <a:gd name="connsiteY832" fmla="*/ 437289 h 825030"/>
                  <a:gd name="connsiteX833" fmla="*/ 88791 w 798060"/>
                  <a:gd name="connsiteY833" fmla="*/ 433501 h 825030"/>
                  <a:gd name="connsiteX834" fmla="*/ 93640 w 798060"/>
                  <a:gd name="connsiteY834" fmla="*/ 430622 h 825030"/>
                  <a:gd name="connsiteX835" fmla="*/ 105762 w 798060"/>
                  <a:gd name="connsiteY835" fmla="*/ 425318 h 825030"/>
                  <a:gd name="connsiteX836" fmla="*/ 107428 w 798060"/>
                  <a:gd name="connsiteY836" fmla="*/ 423349 h 825030"/>
                  <a:gd name="connsiteX837" fmla="*/ 112277 w 798060"/>
                  <a:gd name="connsiteY837" fmla="*/ 414561 h 825030"/>
                  <a:gd name="connsiteX838" fmla="*/ 112277 w 798060"/>
                  <a:gd name="connsiteY838" fmla="*/ 410924 h 825030"/>
                  <a:gd name="connsiteX839" fmla="*/ 111065 w 798060"/>
                  <a:gd name="connsiteY839" fmla="*/ 408954 h 825030"/>
                  <a:gd name="connsiteX840" fmla="*/ 110004 w 798060"/>
                  <a:gd name="connsiteY840" fmla="*/ 407591 h 825030"/>
                  <a:gd name="connsiteX841" fmla="*/ 108186 w 798060"/>
                  <a:gd name="connsiteY841" fmla="*/ 406985 h 825030"/>
                  <a:gd name="connsiteX842" fmla="*/ 106368 w 798060"/>
                  <a:gd name="connsiteY842" fmla="*/ 406227 h 825030"/>
                  <a:gd name="connsiteX843" fmla="*/ 107428 w 798060"/>
                  <a:gd name="connsiteY843" fmla="*/ 405015 h 825030"/>
                  <a:gd name="connsiteX844" fmla="*/ 107883 w 798060"/>
                  <a:gd name="connsiteY844" fmla="*/ 403348 h 825030"/>
                  <a:gd name="connsiteX845" fmla="*/ 109701 w 798060"/>
                  <a:gd name="connsiteY845" fmla="*/ 401530 h 825030"/>
                  <a:gd name="connsiteX846" fmla="*/ 111974 w 798060"/>
                  <a:gd name="connsiteY846" fmla="*/ 400318 h 825030"/>
                  <a:gd name="connsiteX847" fmla="*/ 112731 w 798060"/>
                  <a:gd name="connsiteY847" fmla="*/ 398499 h 825030"/>
                  <a:gd name="connsiteX848" fmla="*/ 113641 w 798060"/>
                  <a:gd name="connsiteY848" fmla="*/ 395621 h 825030"/>
                  <a:gd name="connsiteX849" fmla="*/ 111822 w 798060"/>
                  <a:gd name="connsiteY849" fmla="*/ 393954 h 825030"/>
                  <a:gd name="connsiteX850" fmla="*/ 110156 w 798060"/>
                  <a:gd name="connsiteY850" fmla="*/ 393196 h 825030"/>
                  <a:gd name="connsiteX851" fmla="*/ 114247 w 798060"/>
                  <a:gd name="connsiteY851" fmla="*/ 393196 h 825030"/>
                  <a:gd name="connsiteX852" fmla="*/ 117580 w 798060"/>
                  <a:gd name="connsiteY852" fmla="*/ 393802 h 825030"/>
                  <a:gd name="connsiteX853" fmla="*/ 121217 w 798060"/>
                  <a:gd name="connsiteY853" fmla="*/ 392893 h 825030"/>
                  <a:gd name="connsiteX854" fmla="*/ 124247 w 798060"/>
                  <a:gd name="connsiteY854" fmla="*/ 393348 h 825030"/>
                  <a:gd name="connsiteX855" fmla="*/ 127126 w 798060"/>
                  <a:gd name="connsiteY855" fmla="*/ 394257 h 825030"/>
                  <a:gd name="connsiteX856" fmla="*/ 124399 w 798060"/>
                  <a:gd name="connsiteY856" fmla="*/ 395014 h 825030"/>
                  <a:gd name="connsiteX857" fmla="*/ 122126 w 798060"/>
                  <a:gd name="connsiteY857" fmla="*/ 395166 h 825030"/>
                  <a:gd name="connsiteX858" fmla="*/ 120005 w 798060"/>
                  <a:gd name="connsiteY858" fmla="*/ 396226 h 825030"/>
                  <a:gd name="connsiteX859" fmla="*/ 119096 w 798060"/>
                  <a:gd name="connsiteY859" fmla="*/ 401530 h 825030"/>
                  <a:gd name="connsiteX860" fmla="*/ 121671 w 798060"/>
                  <a:gd name="connsiteY860" fmla="*/ 401984 h 825030"/>
                  <a:gd name="connsiteX861" fmla="*/ 123944 w 798060"/>
                  <a:gd name="connsiteY861" fmla="*/ 401681 h 825030"/>
                  <a:gd name="connsiteX862" fmla="*/ 122429 w 798060"/>
                  <a:gd name="connsiteY862" fmla="*/ 402590 h 825030"/>
                  <a:gd name="connsiteX863" fmla="*/ 121065 w 798060"/>
                  <a:gd name="connsiteY863" fmla="*/ 404257 h 825030"/>
                  <a:gd name="connsiteX864" fmla="*/ 119701 w 798060"/>
                  <a:gd name="connsiteY864" fmla="*/ 409409 h 825030"/>
                  <a:gd name="connsiteX865" fmla="*/ 127884 w 798060"/>
                  <a:gd name="connsiteY865" fmla="*/ 409712 h 825030"/>
                  <a:gd name="connsiteX866" fmla="*/ 131672 w 798060"/>
                  <a:gd name="connsiteY866" fmla="*/ 409257 h 825030"/>
                  <a:gd name="connsiteX867" fmla="*/ 135308 w 798060"/>
                  <a:gd name="connsiteY867" fmla="*/ 407894 h 825030"/>
                  <a:gd name="connsiteX868" fmla="*/ 132884 w 798060"/>
                  <a:gd name="connsiteY868" fmla="*/ 409409 h 825030"/>
                  <a:gd name="connsiteX869" fmla="*/ 127126 w 798060"/>
                  <a:gd name="connsiteY869" fmla="*/ 411682 h 825030"/>
                  <a:gd name="connsiteX870" fmla="*/ 124550 w 798060"/>
                  <a:gd name="connsiteY870" fmla="*/ 413652 h 825030"/>
                  <a:gd name="connsiteX871" fmla="*/ 121671 w 798060"/>
                  <a:gd name="connsiteY871" fmla="*/ 416227 h 825030"/>
                  <a:gd name="connsiteX872" fmla="*/ 123186 w 798060"/>
                  <a:gd name="connsiteY872" fmla="*/ 416379 h 825030"/>
                  <a:gd name="connsiteX873" fmla="*/ 125005 w 798060"/>
                  <a:gd name="connsiteY873" fmla="*/ 415924 h 825030"/>
                  <a:gd name="connsiteX874" fmla="*/ 123641 w 798060"/>
                  <a:gd name="connsiteY874" fmla="*/ 416985 h 825030"/>
                  <a:gd name="connsiteX875" fmla="*/ 121975 w 798060"/>
                  <a:gd name="connsiteY875" fmla="*/ 418803 h 825030"/>
                  <a:gd name="connsiteX876" fmla="*/ 123793 w 798060"/>
                  <a:gd name="connsiteY876" fmla="*/ 424258 h 825030"/>
                  <a:gd name="connsiteX877" fmla="*/ 125459 w 798060"/>
                  <a:gd name="connsiteY877" fmla="*/ 425622 h 825030"/>
                  <a:gd name="connsiteX878" fmla="*/ 127126 w 798060"/>
                  <a:gd name="connsiteY878" fmla="*/ 425925 h 825030"/>
                  <a:gd name="connsiteX879" fmla="*/ 127429 w 798060"/>
                  <a:gd name="connsiteY879" fmla="*/ 426834 h 825030"/>
                  <a:gd name="connsiteX880" fmla="*/ 127884 w 798060"/>
                  <a:gd name="connsiteY880" fmla="*/ 430622 h 825030"/>
                  <a:gd name="connsiteX881" fmla="*/ 128944 w 798060"/>
                  <a:gd name="connsiteY881" fmla="*/ 434107 h 825030"/>
                  <a:gd name="connsiteX882" fmla="*/ 129399 w 798060"/>
                  <a:gd name="connsiteY882" fmla="*/ 438501 h 825030"/>
                  <a:gd name="connsiteX883" fmla="*/ 129096 w 798060"/>
                  <a:gd name="connsiteY883" fmla="*/ 441683 h 825030"/>
                  <a:gd name="connsiteX884" fmla="*/ 124399 w 798060"/>
                  <a:gd name="connsiteY884" fmla="*/ 455471 h 825030"/>
                  <a:gd name="connsiteX885" fmla="*/ 123338 w 798060"/>
                  <a:gd name="connsiteY885" fmla="*/ 462441 h 825030"/>
                  <a:gd name="connsiteX886" fmla="*/ 123489 w 798060"/>
                  <a:gd name="connsiteY886" fmla="*/ 463350 h 825030"/>
                  <a:gd name="connsiteX887" fmla="*/ 124096 w 798060"/>
                  <a:gd name="connsiteY887" fmla="*/ 464562 h 825030"/>
                  <a:gd name="connsiteX888" fmla="*/ 124853 w 798060"/>
                  <a:gd name="connsiteY888" fmla="*/ 469562 h 825030"/>
                  <a:gd name="connsiteX889" fmla="*/ 126823 w 798060"/>
                  <a:gd name="connsiteY889" fmla="*/ 471229 h 825030"/>
                  <a:gd name="connsiteX890" fmla="*/ 125611 w 798060"/>
                  <a:gd name="connsiteY890" fmla="*/ 473199 h 825030"/>
                  <a:gd name="connsiteX891" fmla="*/ 125763 w 798060"/>
                  <a:gd name="connsiteY891" fmla="*/ 474260 h 825030"/>
                  <a:gd name="connsiteX892" fmla="*/ 126368 w 798060"/>
                  <a:gd name="connsiteY892" fmla="*/ 475623 h 825030"/>
                  <a:gd name="connsiteX893" fmla="*/ 131823 w 798060"/>
                  <a:gd name="connsiteY893" fmla="*/ 478048 h 825030"/>
                  <a:gd name="connsiteX894" fmla="*/ 126974 w 798060"/>
                  <a:gd name="connsiteY894" fmla="*/ 477442 h 825030"/>
                  <a:gd name="connsiteX895" fmla="*/ 126520 w 798060"/>
                  <a:gd name="connsiteY895" fmla="*/ 478805 h 825030"/>
                  <a:gd name="connsiteX896" fmla="*/ 126672 w 798060"/>
                  <a:gd name="connsiteY896" fmla="*/ 479715 h 825030"/>
                  <a:gd name="connsiteX897" fmla="*/ 126672 w 798060"/>
                  <a:gd name="connsiteY897" fmla="*/ 483654 h 825030"/>
                  <a:gd name="connsiteX898" fmla="*/ 127581 w 798060"/>
                  <a:gd name="connsiteY898" fmla="*/ 486533 h 825030"/>
                  <a:gd name="connsiteX899" fmla="*/ 129399 w 798060"/>
                  <a:gd name="connsiteY899" fmla="*/ 485472 h 825030"/>
                  <a:gd name="connsiteX900" fmla="*/ 131369 w 798060"/>
                  <a:gd name="connsiteY900" fmla="*/ 481533 h 825030"/>
                  <a:gd name="connsiteX901" fmla="*/ 132278 w 798060"/>
                  <a:gd name="connsiteY901" fmla="*/ 485321 h 825030"/>
                  <a:gd name="connsiteX902" fmla="*/ 131520 w 798060"/>
                  <a:gd name="connsiteY902" fmla="*/ 487897 h 825030"/>
                  <a:gd name="connsiteX903" fmla="*/ 129399 w 798060"/>
                  <a:gd name="connsiteY903" fmla="*/ 492139 h 825030"/>
                  <a:gd name="connsiteX904" fmla="*/ 128641 w 798060"/>
                  <a:gd name="connsiteY904" fmla="*/ 494867 h 825030"/>
                  <a:gd name="connsiteX905" fmla="*/ 128793 w 798060"/>
                  <a:gd name="connsiteY905" fmla="*/ 495927 h 825030"/>
                  <a:gd name="connsiteX906" fmla="*/ 130005 w 798060"/>
                  <a:gd name="connsiteY906" fmla="*/ 497745 h 825030"/>
                  <a:gd name="connsiteX907" fmla="*/ 130763 w 798060"/>
                  <a:gd name="connsiteY907" fmla="*/ 503655 h 825030"/>
                  <a:gd name="connsiteX908" fmla="*/ 131520 w 798060"/>
                  <a:gd name="connsiteY908" fmla="*/ 506685 h 825030"/>
                  <a:gd name="connsiteX909" fmla="*/ 132126 w 798060"/>
                  <a:gd name="connsiteY909" fmla="*/ 511231 h 825030"/>
                  <a:gd name="connsiteX910" fmla="*/ 133641 w 798060"/>
                  <a:gd name="connsiteY910" fmla="*/ 516534 h 825030"/>
                  <a:gd name="connsiteX911" fmla="*/ 136672 w 798060"/>
                  <a:gd name="connsiteY911" fmla="*/ 524565 h 825030"/>
                  <a:gd name="connsiteX912" fmla="*/ 136520 w 798060"/>
                  <a:gd name="connsiteY912" fmla="*/ 527140 h 825030"/>
                  <a:gd name="connsiteX913" fmla="*/ 138945 w 798060"/>
                  <a:gd name="connsiteY913" fmla="*/ 536383 h 825030"/>
                  <a:gd name="connsiteX914" fmla="*/ 141672 w 798060"/>
                  <a:gd name="connsiteY914" fmla="*/ 556990 h 825030"/>
                  <a:gd name="connsiteX915" fmla="*/ 144854 w 798060"/>
                  <a:gd name="connsiteY915" fmla="*/ 565627 h 825030"/>
                  <a:gd name="connsiteX916" fmla="*/ 145460 w 798060"/>
                  <a:gd name="connsiteY916" fmla="*/ 568354 h 825030"/>
                  <a:gd name="connsiteX917" fmla="*/ 149096 w 798060"/>
                  <a:gd name="connsiteY917" fmla="*/ 573506 h 825030"/>
                  <a:gd name="connsiteX918" fmla="*/ 151066 w 798060"/>
                  <a:gd name="connsiteY918" fmla="*/ 578051 h 825030"/>
                  <a:gd name="connsiteX919" fmla="*/ 152582 w 798060"/>
                  <a:gd name="connsiteY919" fmla="*/ 579567 h 825030"/>
                  <a:gd name="connsiteX920" fmla="*/ 155309 w 798060"/>
                  <a:gd name="connsiteY920" fmla="*/ 579567 h 825030"/>
                  <a:gd name="connsiteX921" fmla="*/ 153642 w 798060"/>
                  <a:gd name="connsiteY921" fmla="*/ 581991 h 825030"/>
                  <a:gd name="connsiteX922" fmla="*/ 154854 w 798060"/>
                  <a:gd name="connsiteY922" fmla="*/ 582900 h 825030"/>
                  <a:gd name="connsiteX923" fmla="*/ 155915 w 798060"/>
                  <a:gd name="connsiteY923" fmla="*/ 584415 h 825030"/>
                  <a:gd name="connsiteX924" fmla="*/ 158036 w 798060"/>
                  <a:gd name="connsiteY924" fmla="*/ 586840 h 825030"/>
                  <a:gd name="connsiteX925" fmla="*/ 154400 w 798060"/>
                  <a:gd name="connsiteY925" fmla="*/ 586840 h 825030"/>
                  <a:gd name="connsiteX926" fmla="*/ 156672 w 798060"/>
                  <a:gd name="connsiteY926" fmla="*/ 589415 h 825030"/>
                  <a:gd name="connsiteX927" fmla="*/ 158491 w 798060"/>
                  <a:gd name="connsiteY927" fmla="*/ 595931 h 825030"/>
                  <a:gd name="connsiteX928" fmla="*/ 161067 w 798060"/>
                  <a:gd name="connsiteY928" fmla="*/ 599416 h 825030"/>
                  <a:gd name="connsiteX929" fmla="*/ 162430 w 798060"/>
                  <a:gd name="connsiteY929" fmla="*/ 600779 h 825030"/>
                  <a:gd name="connsiteX930" fmla="*/ 166067 w 798060"/>
                  <a:gd name="connsiteY930" fmla="*/ 606083 h 825030"/>
                  <a:gd name="connsiteX931" fmla="*/ 167582 w 798060"/>
                  <a:gd name="connsiteY931" fmla="*/ 607749 h 825030"/>
                  <a:gd name="connsiteX932" fmla="*/ 169097 w 798060"/>
                  <a:gd name="connsiteY932" fmla="*/ 609871 h 825030"/>
                  <a:gd name="connsiteX933" fmla="*/ 170461 w 798060"/>
                  <a:gd name="connsiteY933" fmla="*/ 612143 h 825030"/>
                  <a:gd name="connsiteX934" fmla="*/ 170915 w 798060"/>
                  <a:gd name="connsiteY934" fmla="*/ 614568 h 825030"/>
                  <a:gd name="connsiteX935" fmla="*/ 172885 w 798060"/>
                  <a:gd name="connsiteY935" fmla="*/ 619871 h 825030"/>
                  <a:gd name="connsiteX936" fmla="*/ 172885 w 798060"/>
                  <a:gd name="connsiteY936" fmla="*/ 621235 h 825030"/>
                  <a:gd name="connsiteX937" fmla="*/ 173794 w 798060"/>
                  <a:gd name="connsiteY937" fmla="*/ 624568 h 825030"/>
                  <a:gd name="connsiteX938" fmla="*/ 176825 w 798060"/>
                  <a:gd name="connsiteY938" fmla="*/ 630023 h 825030"/>
                  <a:gd name="connsiteX939" fmla="*/ 178491 w 798060"/>
                  <a:gd name="connsiteY939" fmla="*/ 635023 h 825030"/>
                  <a:gd name="connsiteX940" fmla="*/ 178795 w 798060"/>
                  <a:gd name="connsiteY940" fmla="*/ 637296 h 825030"/>
                  <a:gd name="connsiteX941" fmla="*/ 178795 w 798060"/>
                  <a:gd name="connsiteY941" fmla="*/ 639417 h 825030"/>
                  <a:gd name="connsiteX942" fmla="*/ 181219 w 798060"/>
                  <a:gd name="connsiteY942" fmla="*/ 651236 h 825030"/>
                  <a:gd name="connsiteX943" fmla="*/ 182128 w 798060"/>
                  <a:gd name="connsiteY943" fmla="*/ 653963 h 825030"/>
                  <a:gd name="connsiteX944" fmla="*/ 183946 w 798060"/>
                  <a:gd name="connsiteY944" fmla="*/ 657600 h 825030"/>
                  <a:gd name="connsiteX945" fmla="*/ 186067 w 798060"/>
                  <a:gd name="connsiteY945" fmla="*/ 665327 h 825030"/>
                  <a:gd name="connsiteX946" fmla="*/ 192886 w 798060"/>
                  <a:gd name="connsiteY946" fmla="*/ 679267 h 825030"/>
                  <a:gd name="connsiteX947" fmla="*/ 193795 w 798060"/>
                  <a:gd name="connsiteY947" fmla="*/ 680176 h 825030"/>
                  <a:gd name="connsiteX948" fmla="*/ 196068 w 798060"/>
                  <a:gd name="connsiteY948" fmla="*/ 681995 h 825030"/>
                  <a:gd name="connsiteX949" fmla="*/ 199099 w 798060"/>
                  <a:gd name="connsiteY949" fmla="*/ 686086 h 825030"/>
                  <a:gd name="connsiteX950" fmla="*/ 201826 w 798060"/>
                  <a:gd name="connsiteY950" fmla="*/ 689116 h 825030"/>
                  <a:gd name="connsiteX951" fmla="*/ 205159 w 798060"/>
                  <a:gd name="connsiteY951" fmla="*/ 695632 h 825030"/>
                  <a:gd name="connsiteX952" fmla="*/ 207280 w 798060"/>
                  <a:gd name="connsiteY952" fmla="*/ 698510 h 825030"/>
                  <a:gd name="connsiteX953" fmla="*/ 210614 w 798060"/>
                  <a:gd name="connsiteY953" fmla="*/ 706844 h 825030"/>
                  <a:gd name="connsiteX954" fmla="*/ 212735 w 798060"/>
                  <a:gd name="connsiteY954" fmla="*/ 714420 h 825030"/>
                  <a:gd name="connsiteX955" fmla="*/ 217432 w 798060"/>
                  <a:gd name="connsiteY955" fmla="*/ 724875 h 825030"/>
                  <a:gd name="connsiteX956" fmla="*/ 218190 w 798060"/>
                  <a:gd name="connsiteY956" fmla="*/ 726996 h 825030"/>
                  <a:gd name="connsiteX957" fmla="*/ 220311 w 798060"/>
                  <a:gd name="connsiteY957" fmla="*/ 730481 h 825030"/>
                  <a:gd name="connsiteX958" fmla="*/ 220008 w 798060"/>
                  <a:gd name="connsiteY958" fmla="*/ 731542 h 825030"/>
                  <a:gd name="connsiteX959" fmla="*/ 220160 w 798060"/>
                  <a:gd name="connsiteY959" fmla="*/ 733663 h 825030"/>
                  <a:gd name="connsiteX960" fmla="*/ 220918 w 798060"/>
                  <a:gd name="connsiteY960" fmla="*/ 735330 h 825030"/>
                  <a:gd name="connsiteX961" fmla="*/ 221675 w 798060"/>
                  <a:gd name="connsiteY961" fmla="*/ 735481 h 825030"/>
                  <a:gd name="connsiteX962" fmla="*/ 224402 w 798060"/>
                  <a:gd name="connsiteY962" fmla="*/ 738057 h 825030"/>
                  <a:gd name="connsiteX963" fmla="*/ 227433 w 798060"/>
                  <a:gd name="connsiteY963" fmla="*/ 748664 h 825030"/>
                  <a:gd name="connsiteX964" fmla="*/ 226372 w 798060"/>
                  <a:gd name="connsiteY964" fmla="*/ 749118 h 825030"/>
                  <a:gd name="connsiteX965" fmla="*/ 225160 w 798060"/>
                  <a:gd name="connsiteY965" fmla="*/ 748512 h 825030"/>
                  <a:gd name="connsiteX966" fmla="*/ 225008 w 798060"/>
                  <a:gd name="connsiteY966" fmla="*/ 743966 h 825030"/>
                  <a:gd name="connsiteX967" fmla="*/ 224251 w 798060"/>
                  <a:gd name="connsiteY967" fmla="*/ 740633 h 825030"/>
                  <a:gd name="connsiteX968" fmla="*/ 222584 w 798060"/>
                  <a:gd name="connsiteY968" fmla="*/ 738360 h 825030"/>
                  <a:gd name="connsiteX969" fmla="*/ 221372 w 798060"/>
                  <a:gd name="connsiteY969" fmla="*/ 737906 h 825030"/>
                  <a:gd name="connsiteX970" fmla="*/ 222736 w 798060"/>
                  <a:gd name="connsiteY970" fmla="*/ 744724 h 825030"/>
                  <a:gd name="connsiteX971" fmla="*/ 223645 w 798060"/>
                  <a:gd name="connsiteY971" fmla="*/ 750936 h 825030"/>
                  <a:gd name="connsiteX972" fmla="*/ 225766 w 798060"/>
                  <a:gd name="connsiteY972" fmla="*/ 756846 h 825030"/>
                  <a:gd name="connsiteX973" fmla="*/ 226220 w 798060"/>
                  <a:gd name="connsiteY973" fmla="*/ 757603 h 825030"/>
                  <a:gd name="connsiteX974" fmla="*/ 227130 w 798060"/>
                  <a:gd name="connsiteY974" fmla="*/ 758058 h 825030"/>
                  <a:gd name="connsiteX975" fmla="*/ 227736 w 798060"/>
                  <a:gd name="connsiteY975" fmla="*/ 758816 h 825030"/>
                  <a:gd name="connsiteX976" fmla="*/ 228039 w 798060"/>
                  <a:gd name="connsiteY976" fmla="*/ 760785 h 825030"/>
                  <a:gd name="connsiteX977" fmla="*/ 230008 w 798060"/>
                  <a:gd name="connsiteY977" fmla="*/ 765937 h 825030"/>
                  <a:gd name="connsiteX978" fmla="*/ 231827 w 798060"/>
                  <a:gd name="connsiteY978" fmla="*/ 767452 h 825030"/>
                  <a:gd name="connsiteX979" fmla="*/ 241372 w 798060"/>
                  <a:gd name="connsiteY979" fmla="*/ 779422 h 825030"/>
                  <a:gd name="connsiteX980" fmla="*/ 244100 w 798060"/>
                  <a:gd name="connsiteY980" fmla="*/ 781998 h 825030"/>
                  <a:gd name="connsiteX981" fmla="*/ 250615 w 798060"/>
                  <a:gd name="connsiteY981" fmla="*/ 786695 h 825030"/>
                  <a:gd name="connsiteX982" fmla="*/ 256525 w 798060"/>
                  <a:gd name="connsiteY982" fmla="*/ 788514 h 825030"/>
                  <a:gd name="connsiteX983" fmla="*/ 258494 w 798060"/>
                  <a:gd name="connsiteY983" fmla="*/ 787150 h 825030"/>
                  <a:gd name="connsiteX984" fmla="*/ 263495 w 798060"/>
                  <a:gd name="connsiteY984" fmla="*/ 785483 h 825030"/>
                  <a:gd name="connsiteX985" fmla="*/ 271374 w 798060"/>
                  <a:gd name="connsiteY985" fmla="*/ 780180 h 825030"/>
                  <a:gd name="connsiteX986" fmla="*/ 273192 w 798060"/>
                  <a:gd name="connsiteY986" fmla="*/ 776695 h 825030"/>
                  <a:gd name="connsiteX987" fmla="*/ 273495 w 798060"/>
                  <a:gd name="connsiteY987" fmla="*/ 772604 h 825030"/>
                  <a:gd name="connsiteX988" fmla="*/ 275010 w 798060"/>
                  <a:gd name="connsiteY988" fmla="*/ 766392 h 825030"/>
                  <a:gd name="connsiteX989" fmla="*/ 277283 w 798060"/>
                  <a:gd name="connsiteY989" fmla="*/ 763664 h 825030"/>
                  <a:gd name="connsiteX990" fmla="*/ 281374 w 798060"/>
                  <a:gd name="connsiteY990" fmla="*/ 760482 h 825030"/>
                  <a:gd name="connsiteX991" fmla="*/ 296678 w 798060"/>
                  <a:gd name="connsiteY991" fmla="*/ 755937 h 825030"/>
                  <a:gd name="connsiteX992" fmla="*/ 303042 w 798060"/>
                  <a:gd name="connsiteY992" fmla="*/ 756240 h 825030"/>
                  <a:gd name="connsiteX993" fmla="*/ 308497 w 798060"/>
                  <a:gd name="connsiteY993" fmla="*/ 758058 h 825030"/>
                  <a:gd name="connsiteX994" fmla="*/ 306981 w 798060"/>
                  <a:gd name="connsiteY994" fmla="*/ 756391 h 825030"/>
                  <a:gd name="connsiteX995" fmla="*/ 304709 w 798060"/>
                  <a:gd name="connsiteY995" fmla="*/ 755482 h 825030"/>
                  <a:gd name="connsiteX996" fmla="*/ 300163 w 798060"/>
                  <a:gd name="connsiteY996" fmla="*/ 754876 h 825030"/>
                  <a:gd name="connsiteX997" fmla="*/ 297738 w 798060"/>
                  <a:gd name="connsiteY997" fmla="*/ 754270 h 825030"/>
                  <a:gd name="connsiteX998" fmla="*/ 295920 w 798060"/>
                  <a:gd name="connsiteY998" fmla="*/ 752603 h 825030"/>
                  <a:gd name="connsiteX999" fmla="*/ 295011 w 798060"/>
                  <a:gd name="connsiteY999" fmla="*/ 750936 h 825030"/>
                  <a:gd name="connsiteX1000" fmla="*/ 295617 w 798060"/>
                  <a:gd name="connsiteY1000" fmla="*/ 747906 h 825030"/>
                  <a:gd name="connsiteX1001" fmla="*/ 297132 w 798060"/>
                  <a:gd name="connsiteY1001" fmla="*/ 744724 h 825030"/>
                  <a:gd name="connsiteX1002" fmla="*/ 304254 w 798060"/>
                  <a:gd name="connsiteY1002" fmla="*/ 735027 h 825030"/>
                  <a:gd name="connsiteX1003" fmla="*/ 304102 w 798060"/>
                  <a:gd name="connsiteY1003" fmla="*/ 731239 h 825030"/>
                  <a:gd name="connsiteX1004" fmla="*/ 305769 w 798060"/>
                  <a:gd name="connsiteY1004" fmla="*/ 728966 h 825030"/>
                  <a:gd name="connsiteX1005" fmla="*/ 307890 w 798060"/>
                  <a:gd name="connsiteY1005" fmla="*/ 727602 h 825030"/>
                  <a:gd name="connsiteX1006" fmla="*/ 311678 w 798060"/>
                  <a:gd name="connsiteY1006" fmla="*/ 726996 h 825030"/>
                  <a:gd name="connsiteX1007" fmla="*/ 313194 w 798060"/>
                  <a:gd name="connsiteY1007" fmla="*/ 727451 h 825030"/>
                  <a:gd name="connsiteX1008" fmla="*/ 315315 w 798060"/>
                  <a:gd name="connsiteY1008" fmla="*/ 727754 h 825030"/>
                  <a:gd name="connsiteX1009" fmla="*/ 317739 w 798060"/>
                  <a:gd name="connsiteY1009" fmla="*/ 727602 h 825030"/>
                  <a:gd name="connsiteX1010" fmla="*/ 320012 w 798060"/>
                  <a:gd name="connsiteY1010" fmla="*/ 727148 h 825030"/>
                  <a:gd name="connsiteX1011" fmla="*/ 320315 w 798060"/>
                  <a:gd name="connsiteY1011" fmla="*/ 714874 h 825030"/>
                  <a:gd name="connsiteX1012" fmla="*/ 320315 w 798060"/>
                  <a:gd name="connsiteY1012" fmla="*/ 703056 h 825030"/>
                  <a:gd name="connsiteX1013" fmla="*/ 320012 w 798060"/>
                  <a:gd name="connsiteY1013" fmla="*/ 701086 h 825030"/>
                  <a:gd name="connsiteX1014" fmla="*/ 318952 w 798060"/>
                  <a:gd name="connsiteY1014" fmla="*/ 699116 h 825030"/>
                  <a:gd name="connsiteX1015" fmla="*/ 316073 w 798060"/>
                  <a:gd name="connsiteY1015" fmla="*/ 699874 h 825030"/>
                  <a:gd name="connsiteX1016" fmla="*/ 317588 w 798060"/>
                  <a:gd name="connsiteY1016" fmla="*/ 698207 h 825030"/>
                  <a:gd name="connsiteX1017" fmla="*/ 318800 w 798060"/>
                  <a:gd name="connsiteY1017" fmla="*/ 696086 h 825030"/>
                  <a:gd name="connsiteX1018" fmla="*/ 317739 w 798060"/>
                  <a:gd name="connsiteY1018" fmla="*/ 692601 h 825030"/>
                  <a:gd name="connsiteX1019" fmla="*/ 318194 w 798060"/>
                  <a:gd name="connsiteY1019" fmla="*/ 689419 h 825030"/>
                  <a:gd name="connsiteX1020" fmla="*/ 320618 w 798060"/>
                  <a:gd name="connsiteY1020" fmla="*/ 681237 h 825030"/>
                  <a:gd name="connsiteX1021" fmla="*/ 323951 w 798060"/>
                  <a:gd name="connsiteY1021" fmla="*/ 674418 h 825030"/>
                  <a:gd name="connsiteX1022" fmla="*/ 325467 w 798060"/>
                  <a:gd name="connsiteY1022" fmla="*/ 672752 h 825030"/>
                  <a:gd name="connsiteX1023" fmla="*/ 328346 w 798060"/>
                  <a:gd name="connsiteY1023" fmla="*/ 668509 h 825030"/>
                  <a:gd name="connsiteX1024" fmla="*/ 330770 w 798060"/>
                  <a:gd name="connsiteY1024" fmla="*/ 661994 h 825030"/>
                  <a:gd name="connsiteX1025" fmla="*/ 333800 w 798060"/>
                  <a:gd name="connsiteY1025" fmla="*/ 643508 h 825030"/>
                  <a:gd name="connsiteX1026" fmla="*/ 332437 w 798060"/>
                  <a:gd name="connsiteY1026" fmla="*/ 641387 h 825030"/>
                  <a:gd name="connsiteX1027" fmla="*/ 327588 w 798060"/>
                  <a:gd name="connsiteY1027" fmla="*/ 638811 h 825030"/>
                  <a:gd name="connsiteX1028" fmla="*/ 326224 w 798060"/>
                  <a:gd name="connsiteY1028" fmla="*/ 636690 h 825030"/>
                  <a:gd name="connsiteX1029" fmla="*/ 328800 w 798060"/>
                  <a:gd name="connsiteY1029" fmla="*/ 633659 h 825030"/>
                  <a:gd name="connsiteX1030" fmla="*/ 330921 w 798060"/>
                  <a:gd name="connsiteY1030" fmla="*/ 636690 h 825030"/>
                  <a:gd name="connsiteX1031" fmla="*/ 331830 w 798060"/>
                  <a:gd name="connsiteY1031" fmla="*/ 638963 h 825030"/>
                  <a:gd name="connsiteX1032" fmla="*/ 332891 w 798060"/>
                  <a:gd name="connsiteY1032" fmla="*/ 640023 h 825030"/>
                  <a:gd name="connsiteX1033" fmla="*/ 331225 w 798060"/>
                  <a:gd name="connsiteY1033" fmla="*/ 634417 h 825030"/>
                  <a:gd name="connsiteX1034" fmla="*/ 331225 w 798060"/>
                  <a:gd name="connsiteY1034" fmla="*/ 631993 h 825030"/>
                  <a:gd name="connsiteX1035" fmla="*/ 330618 w 798060"/>
                  <a:gd name="connsiteY1035" fmla="*/ 629720 h 825030"/>
                  <a:gd name="connsiteX1036" fmla="*/ 328346 w 798060"/>
                  <a:gd name="connsiteY1036" fmla="*/ 624114 h 825030"/>
                  <a:gd name="connsiteX1037" fmla="*/ 327437 w 798060"/>
                  <a:gd name="connsiteY1037" fmla="*/ 619871 h 825030"/>
                  <a:gd name="connsiteX1038" fmla="*/ 328042 w 798060"/>
                  <a:gd name="connsiteY1038" fmla="*/ 617750 h 825030"/>
                  <a:gd name="connsiteX1039" fmla="*/ 328952 w 798060"/>
                  <a:gd name="connsiteY1039" fmla="*/ 615931 h 825030"/>
                  <a:gd name="connsiteX1040" fmla="*/ 329255 w 798060"/>
                  <a:gd name="connsiteY1040" fmla="*/ 612295 h 825030"/>
                  <a:gd name="connsiteX1041" fmla="*/ 328952 w 798060"/>
                  <a:gd name="connsiteY1041" fmla="*/ 609568 h 825030"/>
                  <a:gd name="connsiteX1042" fmla="*/ 327133 w 798060"/>
                  <a:gd name="connsiteY1042" fmla="*/ 603507 h 825030"/>
                  <a:gd name="connsiteX1043" fmla="*/ 325921 w 798060"/>
                  <a:gd name="connsiteY1043" fmla="*/ 595779 h 825030"/>
                  <a:gd name="connsiteX1044" fmla="*/ 327285 w 798060"/>
                  <a:gd name="connsiteY1044" fmla="*/ 588809 h 825030"/>
                  <a:gd name="connsiteX1045" fmla="*/ 332588 w 798060"/>
                  <a:gd name="connsiteY1045" fmla="*/ 578051 h 825030"/>
                  <a:gd name="connsiteX1046" fmla="*/ 335164 w 798060"/>
                  <a:gd name="connsiteY1046" fmla="*/ 575779 h 825030"/>
                  <a:gd name="connsiteX1047" fmla="*/ 342285 w 798060"/>
                  <a:gd name="connsiteY1047" fmla="*/ 572900 h 825030"/>
                  <a:gd name="connsiteX1048" fmla="*/ 343952 w 798060"/>
                  <a:gd name="connsiteY1048" fmla="*/ 573051 h 825030"/>
                  <a:gd name="connsiteX1049" fmla="*/ 345922 w 798060"/>
                  <a:gd name="connsiteY1049" fmla="*/ 573657 h 825030"/>
                  <a:gd name="connsiteX1050" fmla="*/ 347134 w 798060"/>
                  <a:gd name="connsiteY1050" fmla="*/ 576536 h 825030"/>
                  <a:gd name="connsiteX1051" fmla="*/ 348195 w 798060"/>
                  <a:gd name="connsiteY1051" fmla="*/ 576082 h 825030"/>
                  <a:gd name="connsiteX1052" fmla="*/ 349710 w 798060"/>
                  <a:gd name="connsiteY1052" fmla="*/ 576688 h 825030"/>
                  <a:gd name="connsiteX1053" fmla="*/ 351377 w 798060"/>
                  <a:gd name="connsiteY1053" fmla="*/ 576688 h 825030"/>
                  <a:gd name="connsiteX1054" fmla="*/ 351831 w 798060"/>
                  <a:gd name="connsiteY1054" fmla="*/ 575324 h 825030"/>
                  <a:gd name="connsiteX1055" fmla="*/ 352892 w 798060"/>
                  <a:gd name="connsiteY1055" fmla="*/ 573354 h 825030"/>
                  <a:gd name="connsiteX1056" fmla="*/ 355619 w 798060"/>
                  <a:gd name="connsiteY1056" fmla="*/ 571081 h 825030"/>
                  <a:gd name="connsiteX1057" fmla="*/ 358498 w 798060"/>
                  <a:gd name="connsiteY1057" fmla="*/ 562596 h 825030"/>
                  <a:gd name="connsiteX1058" fmla="*/ 359862 w 798060"/>
                  <a:gd name="connsiteY1058" fmla="*/ 560627 h 825030"/>
                  <a:gd name="connsiteX1059" fmla="*/ 363044 w 798060"/>
                  <a:gd name="connsiteY1059" fmla="*/ 559869 h 825030"/>
                  <a:gd name="connsiteX1060" fmla="*/ 371529 w 798060"/>
                  <a:gd name="connsiteY1060" fmla="*/ 560778 h 825030"/>
                  <a:gd name="connsiteX1061" fmla="*/ 372893 w 798060"/>
                  <a:gd name="connsiteY1061" fmla="*/ 560930 h 825030"/>
                  <a:gd name="connsiteX1062" fmla="*/ 383348 w 798060"/>
                  <a:gd name="connsiteY1062" fmla="*/ 556535 h 825030"/>
                  <a:gd name="connsiteX1063" fmla="*/ 386530 w 798060"/>
                  <a:gd name="connsiteY1063" fmla="*/ 554414 h 825030"/>
                  <a:gd name="connsiteX1064" fmla="*/ 388348 w 798060"/>
                  <a:gd name="connsiteY1064" fmla="*/ 551535 h 825030"/>
                  <a:gd name="connsiteX1065" fmla="*/ 388651 w 798060"/>
                  <a:gd name="connsiteY1065" fmla="*/ 550323 h 825030"/>
                  <a:gd name="connsiteX1066" fmla="*/ 389257 w 798060"/>
                  <a:gd name="connsiteY1066" fmla="*/ 548202 h 825030"/>
                  <a:gd name="connsiteX1067" fmla="*/ 388954 w 798060"/>
                  <a:gd name="connsiteY1067" fmla="*/ 546990 h 825030"/>
                  <a:gd name="connsiteX1068" fmla="*/ 387742 w 798060"/>
                  <a:gd name="connsiteY1068" fmla="*/ 545474 h 825030"/>
                  <a:gd name="connsiteX1069" fmla="*/ 386984 w 798060"/>
                  <a:gd name="connsiteY1069" fmla="*/ 543808 h 825030"/>
                  <a:gd name="connsiteX1070" fmla="*/ 387136 w 798060"/>
                  <a:gd name="connsiteY1070" fmla="*/ 542596 h 825030"/>
                  <a:gd name="connsiteX1071" fmla="*/ 389105 w 798060"/>
                  <a:gd name="connsiteY1071" fmla="*/ 539262 h 825030"/>
                  <a:gd name="connsiteX1072" fmla="*/ 395469 w 798060"/>
                  <a:gd name="connsiteY1072" fmla="*/ 534262 h 825030"/>
                  <a:gd name="connsiteX1073" fmla="*/ 405924 w 798060"/>
                  <a:gd name="connsiteY1073" fmla="*/ 528959 h 825030"/>
                  <a:gd name="connsiteX1074" fmla="*/ 411985 w 798060"/>
                  <a:gd name="connsiteY1074" fmla="*/ 524868 h 825030"/>
                  <a:gd name="connsiteX1075" fmla="*/ 417137 w 798060"/>
                  <a:gd name="connsiteY1075" fmla="*/ 519867 h 825030"/>
                  <a:gd name="connsiteX1076" fmla="*/ 422137 w 798060"/>
                  <a:gd name="connsiteY1076" fmla="*/ 513807 h 825030"/>
                  <a:gd name="connsiteX1077" fmla="*/ 424410 w 798060"/>
                  <a:gd name="connsiteY1077" fmla="*/ 511988 h 825030"/>
                  <a:gd name="connsiteX1078" fmla="*/ 436683 w 798060"/>
                  <a:gd name="connsiteY1078" fmla="*/ 505776 h 825030"/>
                  <a:gd name="connsiteX1079" fmla="*/ 438804 w 798060"/>
                  <a:gd name="connsiteY1079" fmla="*/ 502746 h 825030"/>
                  <a:gd name="connsiteX1080" fmla="*/ 446532 w 798060"/>
                  <a:gd name="connsiteY1080" fmla="*/ 494563 h 825030"/>
                  <a:gd name="connsiteX1081" fmla="*/ 450471 w 798060"/>
                  <a:gd name="connsiteY1081" fmla="*/ 489109 h 825030"/>
                  <a:gd name="connsiteX1082" fmla="*/ 452744 w 798060"/>
                  <a:gd name="connsiteY1082" fmla="*/ 486836 h 825030"/>
                  <a:gd name="connsiteX1083" fmla="*/ 454411 w 798060"/>
                  <a:gd name="connsiteY1083" fmla="*/ 484412 h 825030"/>
                  <a:gd name="connsiteX1084" fmla="*/ 455017 w 798060"/>
                  <a:gd name="connsiteY1084" fmla="*/ 482290 h 825030"/>
                  <a:gd name="connsiteX1085" fmla="*/ 467442 w 798060"/>
                  <a:gd name="connsiteY1085" fmla="*/ 471532 h 825030"/>
                  <a:gd name="connsiteX1086" fmla="*/ 473351 w 798060"/>
                  <a:gd name="connsiteY1086" fmla="*/ 468199 h 825030"/>
                  <a:gd name="connsiteX1087" fmla="*/ 473200 w 798060"/>
                  <a:gd name="connsiteY1087" fmla="*/ 467290 h 825030"/>
                  <a:gd name="connsiteX1088" fmla="*/ 471381 w 798060"/>
                  <a:gd name="connsiteY1088" fmla="*/ 466684 h 825030"/>
                  <a:gd name="connsiteX1089" fmla="*/ 467442 w 798060"/>
                  <a:gd name="connsiteY1089" fmla="*/ 468805 h 825030"/>
                  <a:gd name="connsiteX1090" fmla="*/ 466078 w 798060"/>
                  <a:gd name="connsiteY1090" fmla="*/ 468956 h 825030"/>
                  <a:gd name="connsiteX1091" fmla="*/ 465624 w 798060"/>
                  <a:gd name="connsiteY1091" fmla="*/ 468199 h 825030"/>
                  <a:gd name="connsiteX1092" fmla="*/ 467896 w 798060"/>
                  <a:gd name="connsiteY1092" fmla="*/ 464259 h 825030"/>
                  <a:gd name="connsiteX1093" fmla="*/ 473654 w 798060"/>
                  <a:gd name="connsiteY1093" fmla="*/ 460320 h 825030"/>
                  <a:gd name="connsiteX1094" fmla="*/ 474866 w 798060"/>
                  <a:gd name="connsiteY1094" fmla="*/ 460623 h 825030"/>
                  <a:gd name="connsiteX1095" fmla="*/ 476230 w 798060"/>
                  <a:gd name="connsiteY1095" fmla="*/ 461229 h 825030"/>
                  <a:gd name="connsiteX1096" fmla="*/ 476381 w 798060"/>
                  <a:gd name="connsiteY1096" fmla="*/ 464411 h 825030"/>
                  <a:gd name="connsiteX1097" fmla="*/ 475018 w 798060"/>
                  <a:gd name="connsiteY1097" fmla="*/ 465168 h 825030"/>
                  <a:gd name="connsiteX1098" fmla="*/ 474563 w 798060"/>
                  <a:gd name="connsiteY1098" fmla="*/ 466078 h 825030"/>
                  <a:gd name="connsiteX1099" fmla="*/ 476685 w 798060"/>
                  <a:gd name="connsiteY1099" fmla="*/ 466229 h 825030"/>
                  <a:gd name="connsiteX1100" fmla="*/ 484261 w 798060"/>
                  <a:gd name="connsiteY1100" fmla="*/ 463502 h 825030"/>
                  <a:gd name="connsiteX1101" fmla="*/ 494261 w 798060"/>
                  <a:gd name="connsiteY1101" fmla="*/ 460623 h 825030"/>
                  <a:gd name="connsiteX1102" fmla="*/ 495928 w 798060"/>
                  <a:gd name="connsiteY1102" fmla="*/ 460017 h 825030"/>
                  <a:gd name="connsiteX1103" fmla="*/ 496534 w 798060"/>
                  <a:gd name="connsiteY1103" fmla="*/ 459259 h 825030"/>
                  <a:gd name="connsiteX1104" fmla="*/ 496837 w 798060"/>
                  <a:gd name="connsiteY1104" fmla="*/ 458047 h 825030"/>
                  <a:gd name="connsiteX1105" fmla="*/ 495019 w 798060"/>
                  <a:gd name="connsiteY1105" fmla="*/ 456229 h 825030"/>
                  <a:gd name="connsiteX1106" fmla="*/ 496382 w 798060"/>
                  <a:gd name="connsiteY1106" fmla="*/ 456229 h 825030"/>
                  <a:gd name="connsiteX1107" fmla="*/ 498655 w 798060"/>
                  <a:gd name="connsiteY1107" fmla="*/ 457592 h 825030"/>
                  <a:gd name="connsiteX1108" fmla="*/ 500625 w 798060"/>
                  <a:gd name="connsiteY1108" fmla="*/ 455320 h 825030"/>
                  <a:gd name="connsiteX1109" fmla="*/ 502140 w 798060"/>
                  <a:gd name="connsiteY1109" fmla="*/ 453047 h 825030"/>
                  <a:gd name="connsiteX1110" fmla="*/ 508958 w 798060"/>
                  <a:gd name="connsiteY1110" fmla="*/ 449107 h 825030"/>
                  <a:gd name="connsiteX1111" fmla="*/ 509413 w 798060"/>
                  <a:gd name="connsiteY1111" fmla="*/ 447895 h 825030"/>
                  <a:gd name="connsiteX1112" fmla="*/ 509262 w 798060"/>
                  <a:gd name="connsiteY1112" fmla="*/ 446077 h 825030"/>
                  <a:gd name="connsiteX1113" fmla="*/ 511231 w 798060"/>
                  <a:gd name="connsiteY1113" fmla="*/ 442743 h 825030"/>
                  <a:gd name="connsiteX1114" fmla="*/ 513655 w 798060"/>
                  <a:gd name="connsiteY1114" fmla="*/ 440319 h 825030"/>
                  <a:gd name="connsiteX1115" fmla="*/ 515019 w 798060"/>
                  <a:gd name="connsiteY1115" fmla="*/ 438046 h 825030"/>
                  <a:gd name="connsiteX1116" fmla="*/ 513959 w 798060"/>
                  <a:gd name="connsiteY1116" fmla="*/ 436834 h 825030"/>
                  <a:gd name="connsiteX1117" fmla="*/ 512746 w 798060"/>
                  <a:gd name="connsiteY1117" fmla="*/ 430622 h 825030"/>
                  <a:gd name="connsiteX1118" fmla="*/ 511231 w 798060"/>
                  <a:gd name="connsiteY1118" fmla="*/ 426682 h 825030"/>
                  <a:gd name="connsiteX1119" fmla="*/ 511686 w 798060"/>
                  <a:gd name="connsiteY1119" fmla="*/ 423046 h 825030"/>
                  <a:gd name="connsiteX1120" fmla="*/ 514262 w 798060"/>
                  <a:gd name="connsiteY1120" fmla="*/ 419409 h 825030"/>
                  <a:gd name="connsiteX1121" fmla="*/ 518201 w 798060"/>
                  <a:gd name="connsiteY1121" fmla="*/ 415621 h 825030"/>
                  <a:gd name="connsiteX1122" fmla="*/ 520928 w 798060"/>
                  <a:gd name="connsiteY1122" fmla="*/ 414409 h 825030"/>
                  <a:gd name="connsiteX1123" fmla="*/ 533960 w 798060"/>
                  <a:gd name="connsiteY1123" fmla="*/ 411379 h 825030"/>
                  <a:gd name="connsiteX1124" fmla="*/ 537899 w 798060"/>
                  <a:gd name="connsiteY1124" fmla="*/ 409257 h 825030"/>
                  <a:gd name="connsiteX1125" fmla="*/ 541384 w 798060"/>
                  <a:gd name="connsiteY1125" fmla="*/ 406530 h 825030"/>
                  <a:gd name="connsiteX1126" fmla="*/ 544111 w 798060"/>
                  <a:gd name="connsiteY1126" fmla="*/ 401530 h 825030"/>
                  <a:gd name="connsiteX1127" fmla="*/ 545626 w 798060"/>
                  <a:gd name="connsiteY1127" fmla="*/ 400166 h 825030"/>
                  <a:gd name="connsiteX1128" fmla="*/ 547142 w 798060"/>
                  <a:gd name="connsiteY1128" fmla="*/ 398045 h 825030"/>
                  <a:gd name="connsiteX1129" fmla="*/ 545020 w 798060"/>
                  <a:gd name="connsiteY1129" fmla="*/ 396378 h 825030"/>
                  <a:gd name="connsiteX1130" fmla="*/ 543050 w 798060"/>
                  <a:gd name="connsiteY1130" fmla="*/ 395469 h 825030"/>
                  <a:gd name="connsiteX1131" fmla="*/ 541687 w 798060"/>
                  <a:gd name="connsiteY1131" fmla="*/ 394257 h 825030"/>
                  <a:gd name="connsiteX1132" fmla="*/ 541081 w 798060"/>
                  <a:gd name="connsiteY1132" fmla="*/ 390772 h 825030"/>
                  <a:gd name="connsiteX1133" fmla="*/ 542596 w 798060"/>
                  <a:gd name="connsiteY1133" fmla="*/ 393954 h 825030"/>
                  <a:gd name="connsiteX1134" fmla="*/ 545172 w 798060"/>
                  <a:gd name="connsiteY1134" fmla="*/ 395317 h 825030"/>
                  <a:gd name="connsiteX1135" fmla="*/ 548202 w 798060"/>
                  <a:gd name="connsiteY1135" fmla="*/ 397590 h 825030"/>
                  <a:gd name="connsiteX1136" fmla="*/ 547748 w 798060"/>
                  <a:gd name="connsiteY1136" fmla="*/ 400621 h 825030"/>
                  <a:gd name="connsiteX1137" fmla="*/ 545475 w 798060"/>
                  <a:gd name="connsiteY1137" fmla="*/ 407439 h 825030"/>
                  <a:gd name="connsiteX1138" fmla="*/ 544263 w 798060"/>
                  <a:gd name="connsiteY1138" fmla="*/ 410318 h 825030"/>
                  <a:gd name="connsiteX1139" fmla="*/ 546081 w 798060"/>
                  <a:gd name="connsiteY1139" fmla="*/ 411985 h 825030"/>
                  <a:gd name="connsiteX1140" fmla="*/ 549717 w 798060"/>
                  <a:gd name="connsiteY1140" fmla="*/ 412439 h 825030"/>
                  <a:gd name="connsiteX1141" fmla="*/ 550475 w 798060"/>
                  <a:gd name="connsiteY1141" fmla="*/ 410318 h 825030"/>
                  <a:gd name="connsiteX1142" fmla="*/ 550626 w 798060"/>
                  <a:gd name="connsiteY1142" fmla="*/ 408500 h 825030"/>
                  <a:gd name="connsiteX1143" fmla="*/ 551081 w 798060"/>
                  <a:gd name="connsiteY1143" fmla="*/ 409560 h 825030"/>
                  <a:gd name="connsiteX1144" fmla="*/ 554869 w 798060"/>
                  <a:gd name="connsiteY1144" fmla="*/ 412742 h 825030"/>
                  <a:gd name="connsiteX1145" fmla="*/ 558657 w 798060"/>
                  <a:gd name="connsiteY1145" fmla="*/ 411379 h 825030"/>
                  <a:gd name="connsiteX1146" fmla="*/ 559112 w 798060"/>
                  <a:gd name="connsiteY1146" fmla="*/ 409863 h 825030"/>
                  <a:gd name="connsiteX1147" fmla="*/ 558202 w 798060"/>
                  <a:gd name="connsiteY1147" fmla="*/ 406530 h 825030"/>
                  <a:gd name="connsiteX1148" fmla="*/ 560324 w 798060"/>
                  <a:gd name="connsiteY1148" fmla="*/ 398196 h 825030"/>
                  <a:gd name="connsiteX1149" fmla="*/ 560779 w 798060"/>
                  <a:gd name="connsiteY1149" fmla="*/ 399711 h 825030"/>
                  <a:gd name="connsiteX1150" fmla="*/ 562142 w 798060"/>
                  <a:gd name="connsiteY1150" fmla="*/ 400015 h 825030"/>
                  <a:gd name="connsiteX1151" fmla="*/ 562748 w 798060"/>
                  <a:gd name="connsiteY1151" fmla="*/ 400621 h 825030"/>
                  <a:gd name="connsiteX1152" fmla="*/ 563051 w 798060"/>
                  <a:gd name="connsiteY1152" fmla="*/ 401530 h 825030"/>
                  <a:gd name="connsiteX1153" fmla="*/ 561688 w 798060"/>
                  <a:gd name="connsiteY1153" fmla="*/ 409257 h 825030"/>
                  <a:gd name="connsiteX1154" fmla="*/ 561839 w 798060"/>
                  <a:gd name="connsiteY1154" fmla="*/ 411227 h 825030"/>
                  <a:gd name="connsiteX1155" fmla="*/ 562294 w 798060"/>
                  <a:gd name="connsiteY1155" fmla="*/ 412439 h 825030"/>
                  <a:gd name="connsiteX1156" fmla="*/ 563203 w 798060"/>
                  <a:gd name="connsiteY1156" fmla="*/ 413500 h 825030"/>
                  <a:gd name="connsiteX1157" fmla="*/ 565627 w 798060"/>
                  <a:gd name="connsiteY1157" fmla="*/ 411379 h 825030"/>
                  <a:gd name="connsiteX1158" fmla="*/ 566233 w 798060"/>
                  <a:gd name="connsiteY1158" fmla="*/ 408954 h 825030"/>
                  <a:gd name="connsiteX1159" fmla="*/ 567597 w 798060"/>
                  <a:gd name="connsiteY1159" fmla="*/ 411530 h 825030"/>
                  <a:gd name="connsiteX1160" fmla="*/ 569264 w 798060"/>
                  <a:gd name="connsiteY1160" fmla="*/ 411833 h 825030"/>
                  <a:gd name="connsiteX1161" fmla="*/ 571536 w 798060"/>
                  <a:gd name="connsiteY1161" fmla="*/ 411530 h 825030"/>
                  <a:gd name="connsiteX1162" fmla="*/ 571234 w 798060"/>
                  <a:gd name="connsiteY1162" fmla="*/ 408500 h 825030"/>
                  <a:gd name="connsiteX1163" fmla="*/ 570627 w 798060"/>
                  <a:gd name="connsiteY1163" fmla="*/ 406378 h 825030"/>
                  <a:gd name="connsiteX1164" fmla="*/ 568657 w 798060"/>
                  <a:gd name="connsiteY1164" fmla="*/ 403348 h 825030"/>
                  <a:gd name="connsiteX1165" fmla="*/ 570779 w 798060"/>
                  <a:gd name="connsiteY1165" fmla="*/ 403348 h 825030"/>
                  <a:gd name="connsiteX1166" fmla="*/ 571385 w 798060"/>
                  <a:gd name="connsiteY1166" fmla="*/ 398954 h 825030"/>
                  <a:gd name="connsiteX1167" fmla="*/ 571536 w 798060"/>
                  <a:gd name="connsiteY1167" fmla="*/ 396226 h 825030"/>
                  <a:gd name="connsiteX1168" fmla="*/ 571385 w 798060"/>
                  <a:gd name="connsiteY1168" fmla="*/ 393651 h 825030"/>
                  <a:gd name="connsiteX1169" fmla="*/ 569264 w 798060"/>
                  <a:gd name="connsiteY1169" fmla="*/ 386832 h 825030"/>
                  <a:gd name="connsiteX1170" fmla="*/ 567900 w 798060"/>
                  <a:gd name="connsiteY1170" fmla="*/ 383347 h 825030"/>
                  <a:gd name="connsiteX1171" fmla="*/ 568052 w 798060"/>
                  <a:gd name="connsiteY1171" fmla="*/ 382287 h 825030"/>
                  <a:gd name="connsiteX1172" fmla="*/ 567900 w 798060"/>
                  <a:gd name="connsiteY1172" fmla="*/ 381832 h 825030"/>
                  <a:gd name="connsiteX1173" fmla="*/ 567294 w 798060"/>
                  <a:gd name="connsiteY1173" fmla="*/ 377438 h 825030"/>
                  <a:gd name="connsiteX1174" fmla="*/ 566385 w 798060"/>
                  <a:gd name="connsiteY1174" fmla="*/ 374711 h 825030"/>
                  <a:gd name="connsiteX1175" fmla="*/ 565930 w 798060"/>
                  <a:gd name="connsiteY1175" fmla="*/ 371832 h 825030"/>
                  <a:gd name="connsiteX1176" fmla="*/ 568052 w 798060"/>
                  <a:gd name="connsiteY1176" fmla="*/ 367589 h 825030"/>
                  <a:gd name="connsiteX1177" fmla="*/ 567142 w 798060"/>
                  <a:gd name="connsiteY1177" fmla="*/ 366983 h 825030"/>
                  <a:gd name="connsiteX1178" fmla="*/ 564718 w 798060"/>
                  <a:gd name="connsiteY1178" fmla="*/ 366377 h 825030"/>
                  <a:gd name="connsiteX1179" fmla="*/ 562445 w 798060"/>
                  <a:gd name="connsiteY1179" fmla="*/ 365619 h 825030"/>
                  <a:gd name="connsiteX1180" fmla="*/ 561839 w 798060"/>
                  <a:gd name="connsiteY1180" fmla="*/ 364559 h 825030"/>
                  <a:gd name="connsiteX1181" fmla="*/ 562900 w 798060"/>
                  <a:gd name="connsiteY1181" fmla="*/ 360468 h 825030"/>
                  <a:gd name="connsiteX1182" fmla="*/ 561688 w 798060"/>
                  <a:gd name="connsiteY1182" fmla="*/ 358801 h 825030"/>
                  <a:gd name="connsiteX1183" fmla="*/ 560021 w 798060"/>
                  <a:gd name="connsiteY1183" fmla="*/ 357134 h 825030"/>
                  <a:gd name="connsiteX1184" fmla="*/ 559566 w 798060"/>
                  <a:gd name="connsiteY1184" fmla="*/ 356528 h 825030"/>
                  <a:gd name="connsiteX1185" fmla="*/ 558960 w 798060"/>
                  <a:gd name="connsiteY1185" fmla="*/ 355619 h 825030"/>
                  <a:gd name="connsiteX1186" fmla="*/ 558202 w 798060"/>
                  <a:gd name="connsiteY1186" fmla="*/ 353498 h 825030"/>
                  <a:gd name="connsiteX1187" fmla="*/ 559718 w 798060"/>
                  <a:gd name="connsiteY1187" fmla="*/ 349104 h 825030"/>
                  <a:gd name="connsiteX1188" fmla="*/ 561839 w 798060"/>
                  <a:gd name="connsiteY1188" fmla="*/ 344103 h 825030"/>
                  <a:gd name="connsiteX1189" fmla="*/ 562294 w 798060"/>
                  <a:gd name="connsiteY1189" fmla="*/ 342134 h 825030"/>
                  <a:gd name="connsiteX1190" fmla="*/ 562597 w 798060"/>
                  <a:gd name="connsiteY1190" fmla="*/ 338800 h 825030"/>
                  <a:gd name="connsiteX1191" fmla="*/ 562748 w 798060"/>
                  <a:gd name="connsiteY1191" fmla="*/ 337437 h 825030"/>
                  <a:gd name="connsiteX1192" fmla="*/ 562445 w 798060"/>
                  <a:gd name="connsiteY1192" fmla="*/ 336224 h 825030"/>
                  <a:gd name="connsiteX1193" fmla="*/ 560172 w 798060"/>
                  <a:gd name="connsiteY1193" fmla="*/ 334709 h 825030"/>
                  <a:gd name="connsiteX1194" fmla="*/ 556233 w 798060"/>
                  <a:gd name="connsiteY1194" fmla="*/ 334103 h 825030"/>
                  <a:gd name="connsiteX1195" fmla="*/ 553505 w 798060"/>
                  <a:gd name="connsiteY1195" fmla="*/ 332891 h 825030"/>
                  <a:gd name="connsiteX1196" fmla="*/ 551839 w 798060"/>
                  <a:gd name="connsiteY1196" fmla="*/ 331073 h 825030"/>
                  <a:gd name="connsiteX1197" fmla="*/ 550475 w 798060"/>
                  <a:gd name="connsiteY1197" fmla="*/ 330315 h 825030"/>
                  <a:gd name="connsiteX1198" fmla="*/ 548808 w 798060"/>
                  <a:gd name="connsiteY1198" fmla="*/ 330921 h 825030"/>
                  <a:gd name="connsiteX1199" fmla="*/ 546687 w 798060"/>
                  <a:gd name="connsiteY1199" fmla="*/ 330163 h 825030"/>
                  <a:gd name="connsiteX1200" fmla="*/ 544869 w 798060"/>
                  <a:gd name="connsiteY1200" fmla="*/ 328345 h 825030"/>
                  <a:gd name="connsiteX1201" fmla="*/ 543354 w 798060"/>
                  <a:gd name="connsiteY1201" fmla="*/ 326073 h 825030"/>
                  <a:gd name="connsiteX1202" fmla="*/ 543505 w 798060"/>
                  <a:gd name="connsiteY1202" fmla="*/ 325012 h 825030"/>
                  <a:gd name="connsiteX1203" fmla="*/ 543960 w 798060"/>
                  <a:gd name="connsiteY1203" fmla="*/ 323648 h 825030"/>
                  <a:gd name="connsiteX1204" fmla="*/ 546838 w 798060"/>
                  <a:gd name="connsiteY1204" fmla="*/ 317739 h 825030"/>
                  <a:gd name="connsiteX1205" fmla="*/ 547899 w 798060"/>
                  <a:gd name="connsiteY1205" fmla="*/ 317587 h 825030"/>
                  <a:gd name="connsiteX1206" fmla="*/ 550324 w 798060"/>
                  <a:gd name="connsiteY1206" fmla="*/ 318648 h 825030"/>
                  <a:gd name="connsiteX1207" fmla="*/ 551233 w 798060"/>
                  <a:gd name="connsiteY1207" fmla="*/ 318648 h 825030"/>
                  <a:gd name="connsiteX1208" fmla="*/ 552900 w 798060"/>
                  <a:gd name="connsiteY1208" fmla="*/ 316375 h 825030"/>
                  <a:gd name="connsiteX1209" fmla="*/ 555172 w 798060"/>
                  <a:gd name="connsiteY1209" fmla="*/ 309860 h 825030"/>
                  <a:gd name="connsiteX1210" fmla="*/ 558354 w 798060"/>
                  <a:gd name="connsiteY1210" fmla="*/ 309860 h 825030"/>
                  <a:gd name="connsiteX1211" fmla="*/ 561233 w 798060"/>
                  <a:gd name="connsiteY1211" fmla="*/ 310011 h 825030"/>
                  <a:gd name="connsiteX1212" fmla="*/ 563203 w 798060"/>
                  <a:gd name="connsiteY1212" fmla="*/ 310314 h 825030"/>
                  <a:gd name="connsiteX1213" fmla="*/ 565173 w 798060"/>
                  <a:gd name="connsiteY1213" fmla="*/ 310163 h 825030"/>
                  <a:gd name="connsiteX1214" fmla="*/ 567142 w 798060"/>
                  <a:gd name="connsiteY1214" fmla="*/ 309708 h 825030"/>
                  <a:gd name="connsiteX1215" fmla="*/ 568203 w 798060"/>
                  <a:gd name="connsiteY1215" fmla="*/ 308951 h 825030"/>
                  <a:gd name="connsiteX1216" fmla="*/ 568809 w 798060"/>
                  <a:gd name="connsiteY1216" fmla="*/ 307890 h 825030"/>
                  <a:gd name="connsiteX1217" fmla="*/ 568657 w 798060"/>
                  <a:gd name="connsiteY1217" fmla="*/ 306981 h 825030"/>
                  <a:gd name="connsiteX1218" fmla="*/ 566233 w 798060"/>
                  <a:gd name="connsiteY1218" fmla="*/ 305769 h 825030"/>
                  <a:gd name="connsiteX1219" fmla="*/ 565324 w 798060"/>
                  <a:gd name="connsiteY1219" fmla="*/ 304860 h 825030"/>
                  <a:gd name="connsiteX1220" fmla="*/ 564718 w 798060"/>
                  <a:gd name="connsiteY1220" fmla="*/ 302284 h 825030"/>
                  <a:gd name="connsiteX1221" fmla="*/ 563960 w 798060"/>
                  <a:gd name="connsiteY1221" fmla="*/ 301223 h 825030"/>
                  <a:gd name="connsiteX1222" fmla="*/ 559112 w 798060"/>
                  <a:gd name="connsiteY1222" fmla="*/ 301072 h 825030"/>
                  <a:gd name="connsiteX1223" fmla="*/ 556688 w 798060"/>
                  <a:gd name="connsiteY1223" fmla="*/ 299859 h 825030"/>
                  <a:gd name="connsiteX1224" fmla="*/ 555324 w 798060"/>
                  <a:gd name="connsiteY1224" fmla="*/ 298799 h 825030"/>
                  <a:gd name="connsiteX1225" fmla="*/ 552900 w 798060"/>
                  <a:gd name="connsiteY1225" fmla="*/ 295162 h 825030"/>
                  <a:gd name="connsiteX1226" fmla="*/ 549869 w 798060"/>
                  <a:gd name="connsiteY1226" fmla="*/ 292435 h 825030"/>
                  <a:gd name="connsiteX1227" fmla="*/ 546990 w 798060"/>
                  <a:gd name="connsiteY1227" fmla="*/ 291829 h 825030"/>
                  <a:gd name="connsiteX1228" fmla="*/ 545929 w 798060"/>
                  <a:gd name="connsiteY1228" fmla="*/ 290920 h 825030"/>
                  <a:gd name="connsiteX1229" fmla="*/ 545324 w 798060"/>
                  <a:gd name="connsiteY1229" fmla="*/ 289556 h 825030"/>
                  <a:gd name="connsiteX1230" fmla="*/ 545626 w 798060"/>
                  <a:gd name="connsiteY1230" fmla="*/ 287586 h 825030"/>
                  <a:gd name="connsiteX1231" fmla="*/ 546536 w 798060"/>
                  <a:gd name="connsiteY1231" fmla="*/ 285768 h 825030"/>
                  <a:gd name="connsiteX1232" fmla="*/ 547142 w 798060"/>
                  <a:gd name="connsiteY1232" fmla="*/ 283798 h 825030"/>
                  <a:gd name="connsiteX1233" fmla="*/ 549414 w 798060"/>
                  <a:gd name="connsiteY1233" fmla="*/ 281222 h 825030"/>
                  <a:gd name="connsiteX1234" fmla="*/ 552142 w 798060"/>
                  <a:gd name="connsiteY1234" fmla="*/ 278950 h 825030"/>
                  <a:gd name="connsiteX1235" fmla="*/ 553354 w 798060"/>
                  <a:gd name="connsiteY1235" fmla="*/ 277434 h 825030"/>
                  <a:gd name="connsiteX1236" fmla="*/ 555021 w 798060"/>
                  <a:gd name="connsiteY1236" fmla="*/ 275768 h 825030"/>
                  <a:gd name="connsiteX1237" fmla="*/ 555172 w 798060"/>
                  <a:gd name="connsiteY1237" fmla="*/ 274859 h 825030"/>
                  <a:gd name="connsiteX1238" fmla="*/ 554869 w 798060"/>
                  <a:gd name="connsiteY1238" fmla="*/ 273798 h 825030"/>
                  <a:gd name="connsiteX1239" fmla="*/ 553505 w 798060"/>
                  <a:gd name="connsiteY1239" fmla="*/ 272737 h 825030"/>
                  <a:gd name="connsiteX1240" fmla="*/ 552596 w 798060"/>
                  <a:gd name="connsiteY1240" fmla="*/ 272434 h 825030"/>
                  <a:gd name="connsiteX1241" fmla="*/ 552445 w 798060"/>
                  <a:gd name="connsiteY1241" fmla="*/ 271828 h 825030"/>
                  <a:gd name="connsiteX1242" fmla="*/ 553051 w 798060"/>
                  <a:gd name="connsiteY1242" fmla="*/ 270161 h 825030"/>
                  <a:gd name="connsiteX1243" fmla="*/ 554414 w 798060"/>
                  <a:gd name="connsiteY1243" fmla="*/ 270010 h 825030"/>
                  <a:gd name="connsiteX1244" fmla="*/ 557142 w 798060"/>
                  <a:gd name="connsiteY1244" fmla="*/ 271525 h 825030"/>
                  <a:gd name="connsiteX1245" fmla="*/ 559869 w 798060"/>
                  <a:gd name="connsiteY1245" fmla="*/ 274101 h 825030"/>
                  <a:gd name="connsiteX1246" fmla="*/ 561536 w 798060"/>
                  <a:gd name="connsiteY1246" fmla="*/ 276374 h 825030"/>
                  <a:gd name="connsiteX1247" fmla="*/ 561536 w 798060"/>
                  <a:gd name="connsiteY1247" fmla="*/ 278192 h 825030"/>
                  <a:gd name="connsiteX1248" fmla="*/ 562597 w 798060"/>
                  <a:gd name="connsiteY1248" fmla="*/ 278495 h 825030"/>
                  <a:gd name="connsiteX1249" fmla="*/ 563657 w 798060"/>
                  <a:gd name="connsiteY1249" fmla="*/ 278495 h 825030"/>
                  <a:gd name="connsiteX1250" fmla="*/ 565476 w 798060"/>
                  <a:gd name="connsiteY1250" fmla="*/ 279253 h 825030"/>
                  <a:gd name="connsiteX1251" fmla="*/ 567294 w 798060"/>
                  <a:gd name="connsiteY1251" fmla="*/ 278950 h 825030"/>
                  <a:gd name="connsiteX1252" fmla="*/ 568506 w 798060"/>
                  <a:gd name="connsiteY1252" fmla="*/ 279404 h 825030"/>
                  <a:gd name="connsiteX1253" fmla="*/ 569264 w 798060"/>
                  <a:gd name="connsiteY1253" fmla="*/ 279253 h 825030"/>
                  <a:gd name="connsiteX1254" fmla="*/ 569567 w 798060"/>
                  <a:gd name="connsiteY1254" fmla="*/ 278192 h 825030"/>
                  <a:gd name="connsiteX1255" fmla="*/ 568657 w 798060"/>
                  <a:gd name="connsiteY1255" fmla="*/ 276677 h 825030"/>
                  <a:gd name="connsiteX1256" fmla="*/ 568052 w 798060"/>
                  <a:gd name="connsiteY1256" fmla="*/ 275616 h 825030"/>
                  <a:gd name="connsiteX1257" fmla="*/ 568809 w 798060"/>
                  <a:gd name="connsiteY1257" fmla="*/ 274555 h 825030"/>
                  <a:gd name="connsiteX1258" fmla="*/ 569718 w 798060"/>
                  <a:gd name="connsiteY1258" fmla="*/ 274404 h 825030"/>
                  <a:gd name="connsiteX1259" fmla="*/ 570627 w 798060"/>
                  <a:gd name="connsiteY1259" fmla="*/ 274707 h 825030"/>
                  <a:gd name="connsiteX1260" fmla="*/ 571991 w 798060"/>
                  <a:gd name="connsiteY1260" fmla="*/ 275616 h 825030"/>
                  <a:gd name="connsiteX1261" fmla="*/ 572900 w 798060"/>
                  <a:gd name="connsiteY1261" fmla="*/ 277586 h 825030"/>
                  <a:gd name="connsiteX1262" fmla="*/ 573052 w 798060"/>
                  <a:gd name="connsiteY1262" fmla="*/ 280616 h 825030"/>
                  <a:gd name="connsiteX1263" fmla="*/ 575173 w 798060"/>
                  <a:gd name="connsiteY1263" fmla="*/ 283495 h 825030"/>
                  <a:gd name="connsiteX1264" fmla="*/ 578052 w 798060"/>
                  <a:gd name="connsiteY1264" fmla="*/ 285465 h 825030"/>
                  <a:gd name="connsiteX1265" fmla="*/ 580325 w 798060"/>
                  <a:gd name="connsiteY1265" fmla="*/ 286374 h 825030"/>
                  <a:gd name="connsiteX1266" fmla="*/ 583052 w 798060"/>
                  <a:gd name="connsiteY1266" fmla="*/ 286980 h 825030"/>
                  <a:gd name="connsiteX1267" fmla="*/ 585325 w 798060"/>
                  <a:gd name="connsiteY1267" fmla="*/ 286374 h 825030"/>
                  <a:gd name="connsiteX1268" fmla="*/ 586386 w 798060"/>
                  <a:gd name="connsiteY1268" fmla="*/ 284404 h 825030"/>
                  <a:gd name="connsiteX1269" fmla="*/ 585931 w 798060"/>
                  <a:gd name="connsiteY1269" fmla="*/ 282586 h 825030"/>
                  <a:gd name="connsiteX1270" fmla="*/ 586234 w 798060"/>
                  <a:gd name="connsiteY1270" fmla="*/ 281071 h 825030"/>
                  <a:gd name="connsiteX1271" fmla="*/ 587143 w 798060"/>
                  <a:gd name="connsiteY1271" fmla="*/ 280162 h 825030"/>
                  <a:gd name="connsiteX1272" fmla="*/ 588507 w 798060"/>
                  <a:gd name="connsiteY1272" fmla="*/ 280162 h 825030"/>
                  <a:gd name="connsiteX1273" fmla="*/ 589567 w 798060"/>
                  <a:gd name="connsiteY1273" fmla="*/ 281374 h 825030"/>
                  <a:gd name="connsiteX1274" fmla="*/ 592598 w 798060"/>
                  <a:gd name="connsiteY1274" fmla="*/ 288041 h 825030"/>
                  <a:gd name="connsiteX1275" fmla="*/ 591992 w 798060"/>
                  <a:gd name="connsiteY1275" fmla="*/ 291071 h 825030"/>
                  <a:gd name="connsiteX1276" fmla="*/ 592749 w 798060"/>
                  <a:gd name="connsiteY1276" fmla="*/ 299253 h 825030"/>
                  <a:gd name="connsiteX1277" fmla="*/ 591992 w 798060"/>
                  <a:gd name="connsiteY1277" fmla="*/ 304556 h 825030"/>
                  <a:gd name="connsiteX1278" fmla="*/ 592143 w 798060"/>
                  <a:gd name="connsiteY1278" fmla="*/ 305769 h 825030"/>
                  <a:gd name="connsiteX1279" fmla="*/ 592446 w 798060"/>
                  <a:gd name="connsiteY1279" fmla="*/ 306678 h 825030"/>
                  <a:gd name="connsiteX1280" fmla="*/ 592901 w 798060"/>
                  <a:gd name="connsiteY1280" fmla="*/ 306981 h 825030"/>
                  <a:gd name="connsiteX1281" fmla="*/ 593810 w 798060"/>
                  <a:gd name="connsiteY1281" fmla="*/ 306981 h 825030"/>
                  <a:gd name="connsiteX1282" fmla="*/ 597598 w 798060"/>
                  <a:gd name="connsiteY1282" fmla="*/ 308042 h 825030"/>
                  <a:gd name="connsiteX1283" fmla="*/ 600780 w 798060"/>
                  <a:gd name="connsiteY1283" fmla="*/ 309102 h 825030"/>
                  <a:gd name="connsiteX1284" fmla="*/ 604417 w 798060"/>
                  <a:gd name="connsiteY1284" fmla="*/ 310163 h 825030"/>
                  <a:gd name="connsiteX1285" fmla="*/ 609568 w 798060"/>
                  <a:gd name="connsiteY1285" fmla="*/ 310921 h 825030"/>
                  <a:gd name="connsiteX1286" fmla="*/ 612750 w 798060"/>
                  <a:gd name="connsiteY1286" fmla="*/ 310617 h 825030"/>
                  <a:gd name="connsiteX1287" fmla="*/ 614265 w 798060"/>
                  <a:gd name="connsiteY1287" fmla="*/ 310617 h 825030"/>
                  <a:gd name="connsiteX1288" fmla="*/ 617447 w 798060"/>
                  <a:gd name="connsiteY1288" fmla="*/ 310921 h 825030"/>
                  <a:gd name="connsiteX1289" fmla="*/ 625932 w 798060"/>
                  <a:gd name="connsiteY1289" fmla="*/ 310466 h 825030"/>
                  <a:gd name="connsiteX1290" fmla="*/ 632903 w 798060"/>
                  <a:gd name="connsiteY1290" fmla="*/ 310314 h 825030"/>
                  <a:gd name="connsiteX1291" fmla="*/ 635782 w 798060"/>
                  <a:gd name="connsiteY1291" fmla="*/ 311072 h 825030"/>
                  <a:gd name="connsiteX1292" fmla="*/ 638054 w 798060"/>
                  <a:gd name="connsiteY1292" fmla="*/ 311375 h 825030"/>
                  <a:gd name="connsiteX1293" fmla="*/ 645781 w 798060"/>
                  <a:gd name="connsiteY1293" fmla="*/ 310769 h 825030"/>
                  <a:gd name="connsiteX1294" fmla="*/ 653661 w 798060"/>
                  <a:gd name="connsiteY1294" fmla="*/ 310466 h 825030"/>
                  <a:gd name="connsiteX1295" fmla="*/ 657903 w 798060"/>
                  <a:gd name="connsiteY1295" fmla="*/ 312132 h 825030"/>
                  <a:gd name="connsiteX1296" fmla="*/ 662449 w 798060"/>
                  <a:gd name="connsiteY1296" fmla="*/ 314860 h 825030"/>
                  <a:gd name="connsiteX1297" fmla="*/ 665025 w 798060"/>
                  <a:gd name="connsiteY1297" fmla="*/ 316981 h 825030"/>
                  <a:gd name="connsiteX1298" fmla="*/ 665479 w 798060"/>
                  <a:gd name="connsiteY1298" fmla="*/ 318193 h 825030"/>
                  <a:gd name="connsiteX1299" fmla="*/ 665176 w 798060"/>
                  <a:gd name="connsiteY1299" fmla="*/ 319254 h 825030"/>
                  <a:gd name="connsiteX1300" fmla="*/ 664267 w 798060"/>
                  <a:gd name="connsiteY1300" fmla="*/ 319860 h 825030"/>
                  <a:gd name="connsiteX1301" fmla="*/ 662601 w 798060"/>
                  <a:gd name="connsiteY1301" fmla="*/ 319860 h 825030"/>
                  <a:gd name="connsiteX1302" fmla="*/ 658964 w 798060"/>
                  <a:gd name="connsiteY1302" fmla="*/ 318497 h 825030"/>
                  <a:gd name="connsiteX1303" fmla="*/ 658358 w 798060"/>
                  <a:gd name="connsiteY1303" fmla="*/ 318951 h 825030"/>
                  <a:gd name="connsiteX1304" fmla="*/ 658358 w 798060"/>
                  <a:gd name="connsiteY1304" fmla="*/ 321678 h 825030"/>
                  <a:gd name="connsiteX1305" fmla="*/ 658206 w 798060"/>
                  <a:gd name="connsiteY1305" fmla="*/ 322133 h 825030"/>
                  <a:gd name="connsiteX1306" fmla="*/ 657449 w 798060"/>
                  <a:gd name="connsiteY1306" fmla="*/ 324557 h 825030"/>
                  <a:gd name="connsiteX1307" fmla="*/ 655176 w 798060"/>
                  <a:gd name="connsiteY1307" fmla="*/ 330163 h 825030"/>
                  <a:gd name="connsiteX1308" fmla="*/ 654722 w 798060"/>
                  <a:gd name="connsiteY1308" fmla="*/ 332588 h 825030"/>
                  <a:gd name="connsiteX1309" fmla="*/ 654267 w 798060"/>
                  <a:gd name="connsiteY1309" fmla="*/ 333194 h 825030"/>
                  <a:gd name="connsiteX1310" fmla="*/ 653661 w 798060"/>
                  <a:gd name="connsiteY1310" fmla="*/ 333497 h 825030"/>
                  <a:gd name="connsiteX1311" fmla="*/ 651994 w 798060"/>
                  <a:gd name="connsiteY1311" fmla="*/ 333649 h 825030"/>
                  <a:gd name="connsiteX1312" fmla="*/ 650630 w 798060"/>
                  <a:gd name="connsiteY1312" fmla="*/ 334103 h 825030"/>
                  <a:gd name="connsiteX1313" fmla="*/ 650024 w 798060"/>
                  <a:gd name="connsiteY1313" fmla="*/ 335012 h 825030"/>
                  <a:gd name="connsiteX1314" fmla="*/ 649115 w 798060"/>
                  <a:gd name="connsiteY1314" fmla="*/ 336830 h 825030"/>
                  <a:gd name="connsiteX1315" fmla="*/ 648509 w 798060"/>
                  <a:gd name="connsiteY1315" fmla="*/ 338649 h 825030"/>
                  <a:gd name="connsiteX1316" fmla="*/ 647600 w 798060"/>
                  <a:gd name="connsiteY1316" fmla="*/ 339255 h 825030"/>
                  <a:gd name="connsiteX1317" fmla="*/ 645630 w 798060"/>
                  <a:gd name="connsiteY1317" fmla="*/ 338194 h 825030"/>
                  <a:gd name="connsiteX1318" fmla="*/ 644418 w 798060"/>
                  <a:gd name="connsiteY1318" fmla="*/ 338346 h 825030"/>
                  <a:gd name="connsiteX1319" fmla="*/ 642903 w 798060"/>
                  <a:gd name="connsiteY1319" fmla="*/ 338800 h 825030"/>
                  <a:gd name="connsiteX1320" fmla="*/ 641388 w 798060"/>
                  <a:gd name="connsiteY1320" fmla="*/ 339861 h 825030"/>
                  <a:gd name="connsiteX1321" fmla="*/ 640327 w 798060"/>
                  <a:gd name="connsiteY1321" fmla="*/ 341225 h 825030"/>
                  <a:gd name="connsiteX1322" fmla="*/ 639115 w 798060"/>
                  <a:gd name="connsiteY1322" fmla="*/ 341679 h 825030"/>
                  <a:gd name="connsiteX1323" fmla="*/ 635478 w 798060"/>
                  <a:gd name="connsiteY1323" fmla="*/ 341376 h 825030"/>
                  <a:gd name="connsiteX1324" fmla="*/ 634721 w 798060"/>
                  <a:gd name="connsiteY1324" fmla="*/ 341528 h 825030"/>
                  <a:gd name="connsiteX1325" fmla="*/ 634266 w 798060"/>
                  <a:gd name="connsiteY1325" fmla="*/ 342437 h 825030"/>
                  <a:gd name="connsiteX1326" fmla="*/ 633963 w 798060"/>
                  <a:gd name="connsiteY1326" fmla="*/ 343649 h 825030"/>
                  <a:gd name="connsiteX1327" fmla="*/ 631084 w 798060"/>
                  <a:gd name="connsiteY1327" fmla="*/ 346528 h 825030"/>
                  <a:gd name="connsiteX1328" fmla="*/ 630024 w 798060"/>
                  <a:gd name="connsiteY1328" fmla="*/ 351073 h 825030"/>
                  <a:gd name="connsiteX1329" fmla="*/ 629115 w 798060"/>
                  <a:gd name="connsiteY1329" fmla="*/ 353952 h 825030"/>
                  <a:gd name="connsiteX1330" fmla="*/ 629266 w 798060"/>
                  <a:gd name="connsiteY1330" fmla="*/ 356225 h 825030"/>
                  <a:gd name="connsiteX1331" fmla="*/ 631690 w 798060"/>
                  <a:gd name="connsiteY1331" fmla="*/ 362134 h 825030"/>
                  <a:gd name="connsiteX1332" fmla="*/ 633357 w 798060"/>
                  <a:gd name="connsiteY1332" fmla="*/ 369862 h 825030"/>
                  <a:gd name="connsiteX1333" fmla="*/ 633963 w 798060"/>
                  <a:gd name="connsiteY1333" fmla="*/ 370619 h 825030"/>
                  <a:gd name="connsiteX1334" fmla="*/ 634569 w 798060"/>
                  <a:gd name="connsiteY1334" fmla="*/ 370923 h 825030"/>
                  <a:gd name="connsiteX1335" fmla="*/ 634872 w 798060"/>
                  <a:gd name="connsiteY1335" fmla="*/ 370771 h 825030"/>
                  <a:gd name="connsiteX1336" fmla="*/ 634872 w 798060"/>
                  <a:gd name="connsiteY1336" fmla="*/ 369104 h 825030"/>
                  <a:gd name="connsiteX1337" fmla="*/ 635024 w 798060"/>
                  <a:gd name="connsiteY1337" fmla="*/ 367135 h 825030"/>
                  <a:gd name="connsiteX1338" fmla="*/ 635782 w 798060"/>
                  <a:gd name="connsiteY1338" fmla="*/ 366680 h 825030"/>
                  <a:gd name="connsiteX1339" fmla="*/ 636842 w 798060"/>
                  <a:gd name="connsiteY1339" fmla="*/ 367135 h 825030"/>
                  <a:gd name="connsiteX1340" fmla="*/ 637751 w 798060"/>
                  <a:gd name="connsiteY1340" fmla="*/ 368801 h 825030"/>
                  <a:gd name="connsiteX1341" fmla="*/ 638812 w 798060"/>
                  <a:gd name="connsiteY1341" fmla="*/ 371832 h 825030"/>
                  <a:gd name="connsiteX1342" fmla="*/ 640024 w 798060"/>
                  <a:gd name="connsiteY1342" fmla="*/ 373044 h 825030"/>
                  <a:gd name="connsiteX1343" fmla="*/ 641842 w 798060"/>
                  <a:gd name="connsiteY1343" fmla="*/ 373347 h 825030"/>
                  <a:gd name="connsiteX1344" fmla="*/ 643963 w 798060"/>
                  <a:gd name="connsiteY1344" fmla="*/ 372589 h 825030"/>
                  <a:gd name="connsiteX1345" fmla="*/ 645479 w 798060"/>
                  <a:gd name="connsiteY1345" fmla="*/ 371226 h 825030"/>
                  <a:gd name="connsiteX1346" fmla="*/ 646085 w 798060"/>
                  <a:gd name="connsiteY1346" fmla="*/ 369710 h 825030"/>
                  <a:gd name="connsiteX1347" fmla="*/ 645630 w 798060"/>
                  <a:gd name="connsiteY1347" fmla="*/ 366680 h 825030"/>
                  <a:gd name="connsiteX1348" fmla="*/ 645479 w 798060"/>
                  <a:gd name="connsiteY1348" fmla="*/ 364407 h 825030"/>
                  <a:gd name="connsiteX1349" fmla="*/ 646388 w 798060"/>
                  <a:gd name="connsiteY1349" fmla="*/ 362286 h 825030"/>
                  <a:gd name="connsiteX1350" fmla="*/ 649873 w 798060"/>
                  <a:gd name="connsiteY1350" fmla="*/ 359104 h 825030"/>
                  <a:gd name="connsiteX1351" fmla="*/ 650327 w 798060"/>
                  <a:gd name="connsiteY1351" fmla="*/ 358195 h 825030"/>
                  <a:gd name="connsiteX1352" fmla="*/ 650024 w 798060"/>
                  <a:gd name="connsiteY1352" fmla="*/ 355467 h 825030"/>
                  <a:gd name="connsiteX1353" fmla="*/ 650024 w 798060"/>
                  <a:gd name="connsiteY1353" fmla="*/ 352892 h 825030"/>
                  <a:gd name="connsiteX1354" fmla="*/ 651388 w 798060"/>
                  <a:gd name="connsiteY1354" fmla="*/ 352740 h 825030"/>
                  <a:gd name="connsiteX1355" fmla="*/ 653206 w 798060"/>
                  <a:gd name="connsiteY1355" fmla="*/ 353195 h 825030"/>
                  <a:gd name="connsiteX1356" fmla="*/ 655479 w 798060"/>
                  <a:gd name="connsiteY1356" fmla="*/ 351982 h 825030"/>
                  <a:gd name="connsiteX1357" fmla="*/ 656236 w 798060"/>
                  <a:gd name="connsiteY1357" fmla="*/ 351982 h 825030"/>
                  <a:gd name="connsiteX1358" fmla="*/ 657146 w 798060"/>
                  <a:gd name="connsiteY1358" fmla="*/ 353346 h 825030"/>
                  <a:gd name="connsiteX1359" fmla="*/ 658813 w 798060"/>
                  <a:gd name="connsiteY1359" fmla="*/ 353043 h 825030"/>
                  <a:gd name="connsiteX1360" fmla="*/ 660024 w 798060"/>
                  <a:gd name="connsiteY1360" fmla="*/ 358498 h 825030"/>
                  <a:gd name="connsiteX1361" fmla="*/ 661237 w 798060"/>
                  <a:gd name="connsiteY1361" fmla="*/ 363347 h 825030"/>
                  <a:gd name="connsiteX1362" fmla="*/ 661237 w 798060"/>
                  <a:gd name="connsiteY1362" fmla="*/ 365619 h 825030"/>
                  <a:gd name="connsiteX1363" fmla="*/ 661388 w 798060"/>
                  <a:gd name="connsiteY1363" fmla="*/ 370619 h 825030"/>
                  <a:gd name="connsiteX1364" fmla="*/ 661994 w 798060"/>
                  <a:gd name="connsiteY1364" fmla="*/ 374711 h 825030"/>
                  <a:gd name="connsiteX1365" fmla="*/ 662903 w 798060"/>
                  <a:gd name="connsiteY1365" fmla="*/ 375620 h 825030"/>
                  <a:gd name="connsiteX1366" fmla="*/ 663964 w 798060"/>
                  <a:gd name="connsiteY1366" fmla="*/ 377741 h 825030"/>
                  <a:gd name="connsiteX1367" fmla="*/ 664873 w 798060"/>
                  <a:gd name="connsiteY1367" fmla="*/ 380317 h 825030"/>
                  <a:gd name="connsiteX1368" fmla="*/ 665631 w 798060"/>
                  <a:gd name="connsiteY1368" fmla="*/ 381681 h 825030"/>
                  <a:gd name="connsiteX1369" fmla="*/ 666086 w 798060"/>
                  <a:gd name="connsiteY1369" fmla="*/ 386226 h 825030"/>
                  <a:gd name="connsiteX1370" fmla="*/ 666691 w 798060"/>
                  <a:gd name="connsiteY1370" fmla="*/ 389560 h 825030"/>
                  <a:gd name="connsiteX1371" fmla="*/ 667449 w 798060"/>
                  <a:gd name="connsiteY1371" fmla="*/ 399863 h 825030"/>
                  <a:gd name="connsiteX1372" fmla="*/ 667752 w 798060"/>
                  <a:gd name="connsiteY1372" fmla="*/ 401833 h 825030"/>
                  <a:gd name="connsiteX1373" fmla="*/ 669267 w 798060"/>
                  <a:gd name="connsiteY1373" fmla="*/ 400924 h 825030"/>
                  <a:gd name="connsiteX1374" fmla="*/ 669874 w 798060"/>
                  <a:gd name="connsiteY1374" fmla="*/ 399863 h 825030"/>
                  <a:gd name="connsiteX1375" fmla="*/ 670479 w 798060"/>
                  <a:gd name="connsiteY1375" fmla="*/ 398196 h 825030"/>
                  <a:gd name="connsiteX1376" fmla="*/ 670934 w 798060"/>
                  <a:gd name="connsiteY1376" fmla="*/ 397439 h 825030"/>
                  <a:gd name="connsiteX1377" fmla="*/ 671843 w 798060"/>
                  <a:gd name="connsiteY1377" fmla="*/ 397439 h 825030"/>
                  <a:gd name="connsiteX1378" fmla="*/ 673207 w 798060"/>
                  <a:gd name="connsiteY1378" fmla="*/ 398196 h 825030"/>
                  <a:gd name="connsiteX1379" fmla="*/ 675480 w 798060"/>
                  <a:gd name="connsiteY1379" fmla="*/ 400924 h 825030"/>
                  <a:gd name="connsiteX1380" fmla="*/ 676995 w 798060"/>
                  <a:gd name="connsiteY1380" fmla="*/ 401530 h 825030"/>
                  <a:gd name="connsiteX1381" fmla="*/ 678510 w 798060"/>
                  <a:gd name="connsiteY1381" fmla="*/ 401075 h 825030"/>
                  <a:gd name="connsiteX1382" fmla="*/ 680025 w 798060"/>
                  <a:gd name="connsiteY1382" fmla="*/ 396984 h 825030"/>
                  <a:gd name="connsiteX1383" fmla="*/ 680632 w 798060"/>
                  <a:gd name="connsiteY1383" fmla="*/ 395923 h 825030"/>
                  <a:gd name="connsiteX1384" fmla="*/ 681389 w 798060"/>
                  <a:gd name="connsiteY1384" fmla="*/ 395166 h 825030"/>
                  <a:gd name="connsiteX1385" fmla="*/ 682753 w 798060"/>
                  <a:gd name="connsiteY1385" fmla="*/ 395317 h 825030"/>
                  <a:gd name="connsiteX1386" fmla="*/ 683510 w 798060"/>
                  <a:gd name="connsiteY1386" fmla="*/ 394560 h 825030"/>
                  <a:gd name="connsiteX1387" fmla="*/ 683813 w 798060"/>
                  <a:gd name="connsiteY1387" fmla="*/ 392742 h 825030"/>
                  <a:gd name="connsiteX1388" fmla="*/ 683813 w 798060"/>
                  <a:gd name="connsiteY1388" fmla="*/ 390772 h 825030"/>
                  <a:gd name="connsiteX1389" fmla="*/ 682298 w 798060"/>
                  <a:gd name="connsiteY1389" fmla="*/ 385469 h 825030"/>
                  <a:gd name="connsiteX1390" fmla="*/ 681843 w 798060"/>
                  <a:gd name="connsiteY1390" fmla="*/ 383044 h 825030"/>
                  <a:gd name="connsiteX1391" fmla="*/ 681541 w 798060"/>
                  <a:gd name="connsiteY1391" fmla="*/ 380620 h 825030"/>
                  <a:gd name="connsiteX1392" fmla="*/ 682450 w 798060"/>
                  <a:gd name="connsiteY1392" fmla="*/ 378044 h 825030"/>
                  <a:gd name="connsiteX1393" fmla="*/ 683813 w 798060"/>
                  <a:gd name="connsiteY1393" fmla="*/ 375165 h 825030"/>
                  <a:gd name="connsiteX1394" fmla="*/ 683510 w 798060"/>
                  <a:gd name="connsiteY1394" fmla="*/ 372589 h 825030"/>
                  <a:gd name="connsiteX1395" fmla="*/ 683813 w 798060"/>
                  <a:gd name="connsiteY1395" fmla="*/ 371529 h 825030"/>
                  <a:gd name="connsiteX1396" fmla="*/ 684874 w 798060"/>
                  <a:gd name="connsiteY1396" fmla="*/ 371377 h 825030"/>
                  <a:gd name="connsiteX1397" fmla="*/ 686238 w 798060"/>
                  <a:gd name="connsiteY1397" fmla="*/ 371983 h 825030"/>
                  <a:gd name="connsiteX1398" fmla="*/ 687753 w 798060"/>
                  <a:gd name="connsiteY1398" fmla="*/ 371529 h 825030"/>
                  <a:gd name="connsiteX1399" fmla="*/ 688814 w 798060"/>
                  <a:gd name="connsiteY1399" fmla="*/ 370013 h 825030"/>
                  <a:gd name="connsiteX1400" fmla="*/ 689268 w 798060"/>
                  <a:gd name="connsiteY1400" fmla="*/ 368650 h 825030"/>
                  <a:gd name="connsiteX1401" fmla="*/ 690026 w 798060"/>
                  <a:gd name="connsiteY1401" fmla="*/ 362741 h 825030"/>
                  <a:gd name="connsiteX1402" fmla="*/ 690480 w 798060"/>
                  <a:gd name="connsiteY1402" fmla="*/ 357286 h 825030"/>
                  <a:gd name="connsiteX1403" fmla="*/ 690632 w 798060"/>
                  <a:gd name="connsiteY1403" fmla="*/ 352892 h 825030"/>
                  <a:gd name="connsiteX1404" fmla="*/ 689420 w 798060"/>
                  <a:gd name="connsiteY1404" fmla="*/ 350316 h 825030"/>
                  <a:gd name="connsiteX1405" fmla="*/ 687601 w 798060"/>
                  <a:gd name="connsiteY1405" fmla="*/ 343194 h 825030"/>
                  <a:gd name="connsiteX1406" fmla="*/ 688056 w 798060"/>
                  <a:gd name="connsiteY1406" fmla="*/ 341982 h 825030"/>
                  <a:gd name="connsiteX1407" fmla="*/ 688814 w 798060"/>
                  <a:gd name="connsiteY1407" fmla="*/ 341679 h 825030"/>
                  <a:gd name="connsiteX1408" fmla="*/ 691389 w 798060"/>
                  <a:gd name="connsiteY1408" fmla="*/ 344103 h 825030"/>
                  <a:gd name="connsiteX1409" fmla="*/ 692602 w 798060"/>
                  <a:gd name="connsiteY1409" fmla="*/ 344558 h 825030"/>
                  <a:gd name="connsiteX1410" fmla="*/ 694571 w 798060"/>
                  <a:gd name="connsiteY1410" fmla="*/ 344103 h 825030"/>
                  <a:gd name="connsiteX1411" fmla="*/ 696541 w 798060"/>
                  <a:gd name="connsiteY1411" fmla="*/ 343497 h 825030"/>
                  <a:gd name="connsiteX1412" fmla="*/ 697905 w 798060"/>
                  <a:gd name="connsiteY1412" fmla="*/ 343497 h 825030"/>
                  <a:gd name="connsiteX1413" fmla="*/ 699875 w 798060"/>
                  <a:gd name="connsiteY1413" fmla="*/ 344406 h 825030"/>
                  <a:gd name="connsiteX1414" fmla="*/ 702602 w 798060"/>
                  <a:gd name="connsiteY1414" fmla="*/ 345316 h 825030"/>
                  <a:gd name="connsiteX1415" fmla="*/ 706844 w 798060"/>
                  <a:gd name="connsiteY1415" fmla="*/ 346528 h 825030"/>
                  <a:gd name="connsiteX1416" fmla="*/ 708663 w 798060"/>
                  <a:gd name="connsiteY1416" fmla="*/ 347437 h 825030"/>
                  <a:gd name="connsiteX1417" fmla="*/ 710178 w 798060"/>
                  <a:gd name="connsiteY1417" fmla="*/ 347285 h 825030"/>
                  <a:gd name="connsiteX1418" fmla="*/ 711390 w 798060"/>
                  <a:gd name="connsiteY1418" fmla="*/ 344558 h 825030"/>
                  <a:gd name="connsiteX1419" fmla="*/ 712754 w 798060"/>
                  <a:gd name="connsiteY1419" fmla="*/ 340467 h 825030"/>
                  <a:gd name="connsiteX1420" fmla="*/ 714724 w 798060"/>
                  <a:gd name="connsiteY1420" fmla="*/ 334406 h 825030"/>
                  <a:gd name="connsiteX1421" fmla="*/ 716996 w 798060"/>
                  <a:gd name="connsiteY1421" fmla="*/ 330012 h 825030"/>
                  <a:gd name="connsiteX1422" fmla="*/ 717603 w 798060"/>
                  <a:gd name="connsiteY1422" fmla="*/ 328800 h 825030"/>
                  <a:gd name="connsiteX1423" fmla="*/ 720178 w 798060"/>
                  <a:gd name="connsiteY1423" fmla="*/ 325163 h 825030"/>
                  <a:gd name="connsiteX1424" fmla="*/ 722603 w 798060"/>
                  <a:gd name="connsiteY1424" fmla="*/ 321375 h 825030"/>
                  <a:gd name="connsiteX1425" fmla="*/ 724724 w 798060"/>
                  <a:gd name="connsiteY1425" fmla="*/ 316678 h 825030"/>
                  <a:gd name="connsiteX1426" fmla="*/ 725936 w 798060"/>
                  <a:gd name="connsiteY1426" fmla="*/ 313193 h 825030"/>
                  <a:gd name="connsiteX1427" fmla="*/ 725784 w 798060"/>
                  <a:gd name="connsiteY1427" fmla="*/ 311830 h 825030"/>
                  <a:gd name="connsiteX1428" fmla="*/ 725027 w 798060"/>
                  <a:gd name="connsiteY1428" fmla="*/ 310617 h 825030"/>
                  <a:gd name="connsiteX1429" fmla="*/ 723360 w 798060"/>
                  <a:gd name="connsiteY1429" fmla="*/ 309860 h 825030"/>
                  <a:gd name="connsiteX1430" fmla="*/ 721996 w 798060"/>
                  <a:gd name="connsiteY1430" fmla="*/ 309102 h 825030"/>
                  <a:gd name="connsiteX1431" fmla="*/ 721694 w 798060"/>
                  <a:gd name="connsiteY1431" fmla="*/ 308344 h 825030"/>
                  <a:gd name="connsiteX1432" fmla="*/ 721694 w 798060"/>
                  <a:gd name="connsiteY1432" fmla="*/ 307587 h 825030"/>
                  <a:gd name="connsiteX1433" fmla="*/ 722451 w 798060"/>
                  <a:gd name="connsiteY1433" fmla="*/ 305314 h 825030"/>
                  <a:gd name="connsiteX1434" fmla="*/ 723663 w 798060"/>
                  <a:gd name="connsiteY1434" fmla="*/ 302738 h 825030"/>
                  <a:gd name="connsiteX1435" fmla="*/ 724875 w 798060"/>
                  <a:gd name="connsiteY1435" fmla="*/ 301375 h 825030"/>
                  <a:gd name="connsiteX1436" fmla="*/ 728058 w 798060"/>
                  <a:gd name="connsiteY1436" fmla="*/ 299556 h 825030"/>
                  <a:gd name="connsiteX1437" fmla="*/ 730179 w 798060"/>
                  <a:gd name="connsiteY1437" fmla="*/ 297284 h 825030"/>
                  <a:gd name="connsiteX1438" fmla="*/ 732451 w 798060"/>
                  <a:gd name="connsiteY1438" fmla="*/ 294253 h 825030"/>
                  <a:gd name="connsiteX1439" fmla="*/ 733664 w 798060"/>
                  <a:gd name="connsiteY1439" fmla="*/ 292283 h 825030"/>
                  <a:gd name="connsiteX1440" fmla="*/ 734270 w 798060"/>
                  <a:gd name="connsiteY1440" fmla="*/ 288192 h 825030"/>
                  <a:gd name="connsiteX1441" fmla="*/ 735027 w 798060"/>
                  <a:gd name="connsiteY1441" fmla="*/ 287435 h 825030"/>
                  <a:gd name="connsiteX1442" fmla="*/ 736391 w 798060"/>
                  <a:gd name="connsiteY1442" fmla="*/ 286071 h 825030"/>
                  <a:gd name="connsiteX1443" fmla="*/ 737452 w 798060"/>
                  <a:gd name="connsiteY1443" fmla="*/ 284556 h 825030"/>
                  <a:gd name="connsiteX1444" fmla="*/ 737300 w 798060"/>
                  <a:gd name="connsiteY1444" fmla="*/ 283647 h 825030"/>
                  <a:gd name="connsiteX1445" fmla="*/ 736694 w 798060"/>
                  <a:gd name="connsiteY1445" fmla="*/ 283041 h 825030"/>
                  <a:gd name="connsiteX1446" fmla="*/ 735634 w 798060"/>
                  <a:gd name="connsiteY1446" fmla="*/ 280162 h 825030"/>
                  <a:gd name="connsiteX1447" fmla="*/ 735179 w 798060"/>
                  <a:gd name="connsiteY1447" fmla="*/ 275616 h 825030"/>
                  <a:gd name="connsiteX1448" fmla="*/ 735482 w 798060"/>
                  <a:gd name="connsiteY1448" fmla="*/ 271980 h 825030"/>
                  <a:gd name="connsiteX1449" fmla="*/ 736239 w 798060"/>
                  <a:gd name="connsiteY1449" fmla="*/ 270464 h 825030"/>
                  <a:gd name="connsiteX1450" fmla="*/ 737300 w 798060"/>
                  <a:gd name="connsiteY1450" fmla="*/ 268343 h 825030"/>
                  <a:gd name="connsiteX1451" fmla="*/ 739270 w 798060"/>
                  <a:gd name="connsiteY1451" fmla="*/ 266979 h 825030"/>
                  <a:gd name="connsiteX1452" fmla="*/ 742149 w 798060"/>
                  <a:gd name="connsiteY1452" fmla="*/ 266070 h 825030"/>
                  <a:gd name="connsiteX1453" fmla="*/ 746543 w 798060"/>
                  <a:gd name="connsiteY1453" fmla="*/ 263646 h 825030"/>
                  <a:gd name="connsiteX1454" fmla="*/ 754119 w 798060"/>
                  <a:gd name="connsiteY1454" fmla="*/ 257888 h 825030"/>
                  <a:gd name="connsiteX1455" fmla="*/ 756846 w 798060"/>
                  <a:gd name="connsiteY1455" fmla="*/ 256070 h 825030"/>
                  <a:gd name="connsiteX1456" fmla="*/ 758665 w 798060"/>
                  <a:gd name="connsiteY1456" fmla="*/ 255161 h 825030"/>
                  <a:gd name="connsiteX1457" fmla="*/ 760483 w 798060"/>
                  <a:gd name="connsiteY1457" fmla="*/ 252736 h 825030"/>
                  <a:gd name="connsiteX1458" fmla="*/ 762907 w 798060"/>
                  <a:gd name="connsiteY1458" fmla="*/ 250161 h 825030"/>
                  <a:gd name="connsiteX1459" fmla="*/ 766392 w 798060"/>
                  <a:gd name="connsiteY1459" fmla="*/ 248797 h 825030"/>
                  <a:gd name="connsiteX1460" fmla="*/ 768665 w 798060"/>
                  <a:gd name="connsiteY1460" fmla="*/ 248342 h 825030"/>
                  <a:gd name="connsiteX1461" fmla="*/ 779423 w 798060"/>
                  <a:gd name="connsiteY1461" fmla="*/ 246524 h 825030"/>
                  <a:gd name="connsiteX1462" fmla="*/ 781241 w 798060"/>
                  <a:gd name="connsiteY1462" fmla="*/ 246827 h 825030"/>
                  <a:gd name="connsiteX1463" fmla="*/ 783059 w 798060"/>
                  <a:gd name="connsiteY1463" fmla="*/ 247888 h 825030"/>
                  <a:gd name="connsiteX1464" fmla="*/ 785332 w 798060"/>
                  <a:gd name="connsiteY1464" fmla="*/ 251373 h 825030"/>
                  <a:gd name="connsiteX1465" fmla="*/ 787302 w 798060"/>
                  <a:gd name="connsiteY1465" fmla="*/ 252736 h 825030"/>
                  <a:gd name="connsiteX1466" fmla="*/ 789575 w 798060"/>
                  <a:gd name="connsiteY1466" fmla="*/ 253645 h 825030"/>
                  <a:gd name="connsiteX1467" fmla="*/ 791393 w 798060"/>
                  <a:gd name="connsiteY1467" fmla="*/ 253191 h 825030"/>
                  <a:gd name="connsiteX1468" fmla="*/ 791393 w 798060"/>
                  <a:gd name="connsiteY1468" fmla="*/ 251827 h 825030"/>
                  <a:gd name="connsiteX1469" fmla="*/ 785938 w 798060"/>
                  <a:gd name="connsiteY1469" fmla="*/ 243797 h 825030"/>
                  <a:gd name="connsiteX1470" fmla="*/ 785484 w 798060"/>
                  <a:gd name="connsiteY1470" fmla="*/ 241524 h 825030"/>
                  <a:gd name="connsiteX1471" fmla="*/ 785332 w 798060"/>
                  <a:gd name="connsiteY1471" fmla="*/ 239403 h 825030"/>
                  <a:gd name="connsiteX1472" fmla="*/ 785938 w 798060"/>
                  <a:gd name="connsiteY1472" fmla="*/ 237736 h 825030"/>
                  <a:gd name="connsiteX1473" fmla="*/ 787605 w 798060"/>
                  <a:gd name="connsiteY1473" fmla="*/ 236069 h 825030"/>
                  <a:gd name="connsiteX1474" fmla="*/ 790030 w 798060"/>
                  <a:gd name="connsiteY1474" fmla="*/ 234251 h 825030"/>
                  <a:gd name="connsiteX1475" fmla="*/ 793060 w 798060"/>
                  <a:gd name="connsiteY1475" fmla="*/ 231978 h 825030"/>
                  <a:gd name="connsiteX1476" fmla="*/ 794878 w 798060"/>
                  <a:gd name="connsiteY1476" fmla="*/ 230463 h 825030"/>
                  <a:gd name="connsiteX1477" fmla="*/ 796999 w 798060"/>
                  <a:gd name="connsiteY1477" fmla="*/ 230008 h 825030"/>
                  <a:gd name="connsiteX1478" fmla="*/ 797757 w 798060"/>
                  <a:gd name="connsiteY1478" fmla="*/ 229099 h 825030"/>
                  <a:gd name="connsiteX1479" fmla="*/ 798060 w 798060"/>
                  <a:gd name="connsiteY1479" fmla="*/ 227736 h 825030"/>
                  <a:gd name="connsiteX1480" fmla="*/ 796242 w 798060"/>
                  <a:gd name="connsiteY1480" fmla="*/ 226069 h 825030"/>
                  <a:gd name="connsiteX1481" fmla="*/ 696390 w 798060"/>
                  <a:gd name="connsiteY1481" fmla="*/ 806848 h 825030"/>
                  <a:gd name="connsiteX1482" fmla="*/ 695329 w 798060"/>
                  <a:gd name="connsiteY1482" fmla="*/ 807757 h 825030"/>
                  <a:gd name="connsiteX1483" fmla="*/ 694268 w 798060"/>
                  <a:gd name="connsiteY1483" fmla="*/ 808363 h 825030"/>
                  <a:gd name="connsiteX1484" fmla="*/ 693814 w 798060"/>
                  <a:gd name="connsiteY1484" fmla="*/ 809423 h 825030"/>
                  <a:gd name="connsiteX1485" fmla="*/ 694875 w 798060"/>
                  <a:gd name="connsiteY1485" fmla="*/ 810939 h 825030"/>
                  <a:gd name="connsiteX1486" fmla="*/ 697450 w 798060"/>
                  <a:gd name="connsiteY1486" fmla="*/ 808363 h 825030"/>
                  <a:gd name="connsiteX1487" fmla="*/ 696390 w 798060"/>
                  <a:gd name="connsiteY1487" fmla="*/ 806848 h 825030"/>
                  <a:gd name="connsiteX1488" fmla="*/ 677450 w 798060"/>
                  <a:gd name="connsiteY1488" fmla="*/ 680025 h 825030"/>
                  <a:gd name="connsiteX1489" fmla="*/ 676389 w 798060"/>
                  <a:gd name="connsiteY1489" fmla="*/ 680782 h 825030"/>
                  <a:gd name="connsiteX1490" fmla="*/ 677146 w 798060"/>
                  <a:gd name="connsiteY1490" fmla="*/ 681995 h 825030"/>
                  <a:gd name="connsiteX1491" fmla="*/ 679419 w 798060"/>
                  <a:gd name="connsiteY1491" fmla="*/ 683661 h 825030"/>
                  <a:gd name="connsiteX1492" fmla="*/ 678207 w 798060"/>
                  <a:gd name="connsiteY1492" fmla="*/ 679873 h 825030"/>
                  <a:gd name="connsiteX1493" fmla="*/ 677450 w 798060"/>
                  <a:gd name="connsiteY1493" fmla="*/ 680025 h 825030"/>
                  <a:gd name="connsiteX1494" fmla="*/ 680177 w 798060"/>
                  <a:gd name="connsiteY1494" fmla="*/ 781089 h 825030"/>
                  <a:gd name="connsiteX1495" fmla="*/ 679571 w 798060"/>
                  <a:gd name="connsiteY1495" fmla="*/ 781695 h 825030"/>
                  <a:gd name="connsiteX1496" fmla="*/ 679268 w 798060"/>
                  <a:gd name="connsiteY1496" fmla="*/ 783210 h 825030"/>
                  <a:gd name="connsiteX1497" fmla="*/ 680632 w 798060"/>
                  <a:gd name="connsiteY1497" fmla="*/ 784726 h 825030"/>
                  <a:gd name="connsiteX1498" fmla="*/ 682147 w 798060"/>
                  <a:gd name="connsiteY1498" fmla="*/ 784877 h 825030"/>
                  <a:gd name="connsiteX1499" fmla="*/ 681389 w 798060"/>
                  <a:gd name="connsiteY1499" fmla="*/ 783816 h 825030"/>
                  <a:gd name="connsiteX1500" fmla="*/ 680177 w 798060"/>
                  <a:gd name="connsiteY1500" fmla="*/ 781089 h 825030"/>
                  <a:gd name="connsiteX1501" fmla="*/ 687753 w 798060"/>
                  <a:gd name="connsiteY1501" fmla="*/ 790180 h 825030"/>
                  <a:gd name="connsiteX1502" fmla="*/ 686692 w 798060"/>
                  <a:gd name="connsiteY1502" fmla="*/ 790483 h 825030"/>
                  <a:gd name="connsiteX1503" fmla="*/ 685935 w 798060"/>
                  <a:gd name="connsiteY1503" fmla="*/ 791696 h 825030"/>
                  <a:gd name="connsiteX1504" fmla="*/ 686844 w 798060"/>
                  <a:gd name="connsiteY1504" fmla="*/ 792908 h 825030"/>
                  <a:gd name="connsiteX1505" fmla="*/ 687450 w 798060"/>
                  <a:gd name="connsiteY1505" fmla="*/ 794120 h 825030"/>
                  <a:gd name="connsiteX1506" fmla="*/ 689571 w 798060"/>
                  <a:gd name="connsiteY1506" fmla="*/ 794120 h 825030"/>
                  <a:gd name="connsiteX1507" fmla="*/ 689723 w 798060"/>
                  <a:gd name="connsiteY1507" fmla="*/ 793514 h 825030"/>
                  <a:gd name="connsiteX1508" fmla="*/ 689420 w 798060"/>
                  <a:gd name="connsiteY1508" fmla="*/ 792150 h 825030"/>
                  <a:gd name="connsiteX1509" fmla="*/ 687753 w 798060"/>
                  <a:gd name="connsiteY1509" fmla="*/ 790180 h 825030"/>
                  <a:gd name="connsiteX1510" fmla="*/ 691996 w 798060"/>
                  <a:gd name="connsiteY1510" fmla="*/ 784877 h 825030"/>
                  <a:gd name="connsiteX1511" fmla="*/ 690935 w 798060"/>
                  <a:gd name="connsiteY1511" fmla="*/ 784574 h 825030"/>
                  <a:gd name="connsiteX1512" fmla="*/ 689874 w 798060"/>
                  <a:gd name="connsiteY1512" fmla="*/ 786089 h 825030"/>
                  <a:gd name="connsiteX1513" fmla="*/ 690026 w 798060"/>
                  <a:gd name="connsiteY1513" fmla="*/ 787756 h 825030"/>
                  <a:gd name="connsiteX1514" fmla="*/ 690329 w 798060"/>
                  <a:gd name="connsiteY1514" fmla="*/ 788665 h 825030"/>
                  <a:gd name="connsiteX1515" fmla="*/ 690329 w 798060"/>
                  <a:gd name="connsiteY1515" fmla="*/ 789271 h 825030"/>
                  <a:gd name="connsiteX1516" fmla="*/ 690480 w 798060"/>
                  <a:gd name="connsiteY1516" fmla="*/ 790029 h 825030"/>
                  <a:gd name="connsiteX1517" fmla="*/ 690783 w 798060"/>
                  <a:gd name="connsiteY1517" fmla="*/ 790180 h 825030"/>
                  <a:gd name="connsiteX1518" fmla="*/ 691996 w 798060"/>
                  <a:gd name="connsiteY1518" fmla="*/ 789120 h 825030"/>
                  <a:gd name="connsiteX1519" fmla="*/ 691238 w 798060"/>
                  <a:gd name="connsiteY1519" fmla="*/ 786241 h 825030"/>
                  <a:gd name="connsiteX1520" fmla="*/ 691996 w 798060"/>
                  <a:gd name="connsiteY1520" fmla="*/ 784877 h 82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Lst>
                <a:rect l="l" t="t" r="r" b="b"/>
                <a:pathLst>
                  <a:path w="798060" h="825030">
                    <a:moveTo>
                      <a:pt x="670934" y="756694"/>
                    </a:moveTo>
                    <a:lnTo>
                      <a:pt x="670328" y="756997"/>
                    </a:lnTo>
                    <a:lnTo>
                      <a:pt x="669570" y="757755"/>
                    </a:lnTo>
                    <a:lnTo>
                      <a:pt x="669722" y="758816"/>
                    </a:lnTo>
                    <a:lnTo>
                      <a:pt x="670479" y="759725"/>
                    </a:lnTo>
                    <a:lnTo>
                      <a:pt x="671692" y="759573"/>
                    </a:lnTo>
                    <a:lnTo>
                      <a:pt x="672298" y="758513"/>
                    </a:lnTo>
                    <a:lnTo>
                      <a:pt x="671692" y="756694"/>
                    </a:lnTo>
                    <a:lnTo>
                      <a:pt x="670934" y="756694"/>
                    </a:lnTo>
                    <a:close/>
                    <a:moveTo>
                      <a:pt x="668964" y="695632"/>
                    </a:moveTo>
                    <a:lnTo>
                      <a:pt x="667601" y="694419"/>
                    </a:lnTo>
                    <a:lnTo>
                      <a:pt x="667449" y="696692"/>
                    </a:lnTo>
                    <a:lnTo>
                      <a:pt x="666389" y="697753"/>
                    </a:lnTo>
                    <a:lnTo>
                      <a:pt x="667752" y="698510"/>
                    </a:lnTo>
                    <a:lnTo>
                      <a:pt x="669116" y="697904"/>
                    </a:lnTo>
                    <a:lnTo>
                      <a:pt x="668964" y="697147"/>
                    </a:lnTo>
                    <a:lnTo>
                      <a:pt x="668964" y="695632"/>
                    </a:lnTo>
                    <a:close/>
                    <a:moveTo>
                      <a:pt x="677298" y="666085"/>
                    </a:moveTo>
                    <a:lnTo>
                      <a:pt x="676540" y="657448"/>
                    </a:lnTo>
                    <a:lnTo>
                      <a:pt x="674419" y="654872"/>
                    </a:lnTo>
                    <a:lnTo>
                      <a:pt x="675025" y="653963"/>
                    </a:lnTo>
                    <a:lnTo>
                      <a:pt x="676086" y="651539"/>
                    </a:lnTo>
                    <a:lnTo>
                      <a:pt x="677601" y="650781"/>
                    </a:lnTo>
                    <a:lnTo>
                      <a:pt x="678662" y="648963"/>
                    </a:lnTo>
                    <a:lnTo>
                      <a:pt x="679268" y="647145"/>
                    </a:lnTo>
                    <a:lnTo>
                      <a:pt x="679419" y="646236"/>
                    </a:lnTo>
                    <a:lnTo>
                      <a:pt x="677904" y="643963"/>
                    </a:lnTo>
                    <a:lnTo>
                      <a:pt x="679571" y="642145"/>
                    </a:lnTo>
                    <a:lnTo>
                      <a:pt x="679268" y="641084"/>
                    </a:lnTo>
                    <a:lnTo>
                      <a:pt x="679116" y="638054"/>
                    </a:lnTo>
                    <a:lnTo>
                      <a:pt x="678207" y="638054"/>
                    </a:lnTo>
                    <a:lnTo>
                      <a:pt x="675328" y="639720"/>
                    </a:lnTo>
                    <a:lnTo>
                      <a:pt x="673510" y="643205"/>
                    </a:lnTo>
                    <a:lnTo>
                      <a:pt x="673662" y="646690"/>
                    </a:lnTo>
                    <a:lnTo>
                      <a:pt x="672298" y="651993"/>
                    </a:lnTo>
                    <a:lnTo>
                      <a:pt x="672904" y="653054"/>
                    </a:lnTo>
                    <a:lnTo>
                      <a:pt x="672298" y="656539"/>
                    </a:lnTo>
                    <a:lnTo>
                      <a:pt x="670783" y="658206"/>
                    </a:lnTo>
                    <a:lnTo>
                      <a:pt x="670479" y="659418"/>
                    </a:lnTo>
                    <a:lnTo>
                      <a:pt x="670934" y="662448"/>
                    </a:lnTo>
                    <a:lnTo>
                      <a:pt x="670177" y="663964"/>
                    </a:lnTo>
                    <a:lnTo>
                      <a:pt x="669874" y="666085"/>
                    </a:lnTo>
                    <a:lnTo>
                      <a:pt x="669874" y="671237"/>
                    </a:lnTo>
                    <a:lnTo>
                      <a:pt x="670328" y="671843"/>
                    </a:lnTo>
                    <a:lnTo>
                      <a:pt x="671540" y="672752"/>
                    </a:lnTo>
                    <a:lnTo>
                      <a:pt x="671843" y="674873"/>
                    </a:lnTo>
                    <a:lnTo>
                      <a:pt x="671389" y="675176"/>
                    </a:lnTo>
                    <a:lnTo>
                      <a:pt x="669419" y="675176"/>
                    </a:lnTo>
                    <a:lnTo>
                      <a:pt x="668964" y="675782"/>
                    </a:lnTo>
                    <a:lnTo>
                      <a:pt x="668055" y="678055"/>
                    </a:lnTo>
                    <a:lnTo>
                      <a:pt x="667752" y="680782"/>
                    </a:lnTo>
                    <a:lnTo>
                      <a:pt x="667146" y="682601"/>
                    </a:lnTo>
                    <a:lnTo>
                      <a:pt x="666086" y="683055"/>
                    </a:lnTo>
                    <a:lnTo>
                      <a:pt x="665176" y="684570"/>
                    </a:lnTo>
                    <a:lnTo>
                      <a:pt x="665934" y="685631"/>
                    </a:lnTo>
                    <a:lnTo>
                      <a:pt x="666389" y="688813"/>
                    </a:lnTo>
                    <a:lnTo>
                      <a:pt x="668964" y="693813"/>
                    </a:lnTo>
                    <a:lnTo>
                      <a:pt x="669874" y="694571"/>
                    </a:lnTo>
                    <a:lnTo>
                      <a:pt x="670479" y="693965"/>
                    </a:lnTo>
                    <a:lnTo>
                      <a:pt x="671692" y="691086"/>
                    </a:lnTo>
                    <a:lnTo>
                      <a:pt x="671692" y="687601"/>
                    </a:lnTo>
                    <a:lnTo>
                      <a:pt x="672601" y="684570"/>
                    </a:lnTo>
                    <a:lnTo>
                      <a:pt x="672601" y="683358"/>
                    </a:lnTo>
                    <a:lnTo>
                      <a:pt x="671692" y="682752"/>
                    </a:lnTo>
                    <a:lnTo>
                      <a:pt x="671237" y="681237"/>
                    </a:lnTo>
                    <a:lnTo>
                      <a:pt x="672298" y="680025"/>
                    </a:lnTo>
                    <a:lnTo>
                      <a:pt x="672601" y="678813"/>
                    </a:lnTo>
                    <a:lnTo>
                      <a:pt x="674419" y="675934"/>
                    </a:lnTo>
                    <a:lnTo>
                      <a:pt x="674722" y="674722"/>
                    </a:lnTo>
                    <a:lnTo>
                      <a:pt x="674267" y="668964"/>
                    </a:lnTo>
                    <a:lnTo>
                      <a:pt x="676086" y="668509"/>
                    </a:lnTo>
                    <a:lnTo>
                      <a:pt x="677298" y="666085"/>
                    </a:lnTo>
                    <a:close/>
                    <a:moveTo>
                      <a:pt x="132278" y="782301"/>
                    </a:moveTo>
                    <a:lnTo>
                      <a:pt x="131823" y="783210"/>
                    </a:lnTo>
                    <a:lnTo>
                      <a:pt x="131369" y="783513"/>
                    </a:lnTo>
                    <a:lnTo>
                      <a:pt x="131065" y="783210"/>
                    </a:lnTo>
                    <a:lnTo>
                      <a:pt x="131065" y="783513"/>
                    </a:lnTo>
                    <a:lnTo>
                      <a:pt x="131217" y="783816"/>
                    </a:lnTo>
                    <a:lnTo>
                      <a:pt x="131520" y="783816"/>
                    </a:lnTo>
                    <a:lnTo>
                      <a:pt x="131975" y="783665"/>
                    </a:lnTo>
                    <a:lnTo>
                      <a:pt x="132429" y="783362"/>
                    </a:lnTo>
                    <a:lnTo>
                      <a:pt x="132732" y="782756"/>
                    </a:lnTo>
                    <a:lnTo>
                      <a:pt x="132884" y="782301"/>
                    </a:lnTo>
                    <a:lnTo>
                      <a:pt x="132732" y="782150"/>
                    </a:lnTo>
                    <a:lnTo>
                      <a:pt x="132278" y="782301"/>
                    </a:lnTo>
                    <a:close/>
                    <a:moveTo>
                      <a:pt x="670177" y="654721"/>
                    </a:moveTo>
                    <a:lnTo>
                      <a:pt x="669570" y="654418"/>
                    </a:lnTo>
                    <a:lnTo>
                      <a:pt x="669116" y="654569"/>
                    </a:lnTo>
                    <a:lnTo>
                      <a:pt x="668661" y="655024"/>
                    </a:lnTo>
                    <a:lnTo>
                      <a:pt x="668813" y="658812"/>
                    </a:lnTo>
                    <a:lnTo>
                      <a:pt x="669722" y="656994"/>
                    </a:lnTo>
                    <a:lnTo>
                      <a:pt x="670177" y="654721"/>
                    </a:lnTo>
                    <a:close/>
                    <a:moveTo>
                      <a:pt x="664116" y="711238"/>
                    </a:moveTo>
                    <a:lnTo>
                      <a:pt x="662449" y="712147"/>
                    </a:lnTo>
                    <a:lnTo>
                      <a:pt x="660328" y="714117"/>
                    </a:lnTo>
                    <a:lnTo>
                      <a:pt x="659873" y="715329"/>
                    </a:lnTo>
                    <a:lnTo>
                      <a:pt x="660479" y="718057"/>
                    </a:lnTo>
                    <a:lnTo>
                      <a:pt x="660328" y="720935"/>
                    </a:lnTo>
                    <a:lnTo>
                      <a:pt x="663207" y="721693"/>
                    </a:lnTo>
                    <a:lnTo>
                      <a:pt x="663964" y="720784"/>
                    </a:lnTo>
                    <a:lnTo>
                      <a:pt x="665934" y="716693"/>
                    </a:lnTo>
                    <a:lnTo>
                      <a:pt x="665328" y="714117"/>
                    </a:lnTo>
                    <a:lnTo>
                      <a:pt x="664116" y="711238"/>
                    </a:lnTo>
                    <a:close/>
                    <a:moveTo>
                      <a:pt x="124247" y="701692"/>
                    </a:moveTo>
                    <a:lnTo>
                      <a:pt x="123944" y="702450"/>
                    </a:lnTo>
                    <a:lnTo>
                      <a:pt x="123944" y="702904"/>
                    </a:lnTo>
                    <a:lnTo>
                      <a:pt x="124096" y="702753"/>
                    </a:lnTo>
                    <a:lnTo>
                      <a:pt x="124247" y="702450"/>
                    </a:lnTo>
                    <a:lnTo>
                      <a:pt x="124399" y="701692"/>
                    </a:lnTo>
                    <a:lnTo>
                      <a:pt x="124550" y="701238"/>
                    </a:lnTo>
                    <a:lnTo>
                      <a:pt x="124399" y="701238"/>
                    </a:lnTo>
                    <a:lnTo>
                      <a:pt x="124247" y="701692"/>
                    </a:lnTo>
                    <a:close/>
                    <a:moveTo>
                      <a:pt x="700026" y="811545"/>
                    </a:moveTo>
                    <a:lnTo>
                      <a:pt x="696238" y="813060"/>
                    </a:lnTo>
                    <a:lnTo>
                      <a:pt x="695480" y="814424"/>
                    </a:lnTo>
                    <a:lnTo>
                      <a:pt x="695480" y="817757"/>
                    </a:lnTo>
                    <a:lnTo>
                      <a:pt x="696844" y="818212"/>
                    </a:lnTo>
                    <a:lnTo>
                      <a:pt x="700178" y="825030"/>
                    </a:lnTo>
                    <a:lnTo>
                      <a:pt x="701844" y="822757"/>
                    </a:lnTo>
                    <a:lnTo>
                      <a:pt x="702905" y="818818"/>
                    </a:lnTo>
                    <a:lnTo>
                      <a:pt x="700935" y="812454"/>
                    </a:lnTo>
                    <a:lnTo>
                      <a:pt x="700026" y="811545"/>
                    </a:lnTo>
                    <a:close/>
                    <a:moveTo>
                      <a:pt x="796242" y="226069"/>
                    </a:moveTo>
                    <a:lnTo>
                      <a:pt x="795181" y="224402"/>
                    </a:lnTo>
                    <a:lnTo>
                      <a:pt x="795333" y="222432"/>
                    </a:lnTo>
                    <a:lnTo>
                      <a:pt x="795636" y="220614"/>
                    </a:lnTo>
                    <a:lnTo>
                      <a:pt x="794727" y="220008"/>
                    </a:lnTo>
                    <a:lnTo>
                      <a:pt x="790787" y="216977"/>
                    </a:lnTo>
                    <a:lnTo>
                      <a:pt x="788817" y="216068"/>
                    </a:lnTo>
                    <a:lnTo>
                      <a:pt x="786242" y="216977"/>
                    </a:lnTo>
                    <a:lnTo>
                      <a:pt x="782150" y="216220"/>
                    </a:lnTo>
                    <a:lnTo>
                      <a:pt x="780635" y="216068"/>
                    </a:lnTo>
                    <a:lnTo>
                      <a:pt x="777302" y="213644"/>
                    </a:lnTo>
                    <a:lnTo>
                      <a:pt x="775938" y="213341"/>
                    </a:lnTo>
                    <a:lnTo>
                      <a:pt x="771089" y="215008"/>
                    </a:lnTo>
                    <a:lnTo>
                      <a:pt x="770029" y="216068"/>
                    </a:lnTo>
                    <a:lnTo>
                      <a:pt x="769422" y="216068"/>
                    </a:lnTo>
                    <a:lnTo>
                      <a:pt x="768211" y="215462"/>
                    </a:lnTo>
                    <a:lnTo>
                      <a:pt x="767150" y="214705"/>
                    </a:lnTo>
                    <a:lnTo>
                      <a:pt x="767150" y="214250"/>
                    </a:lnTo>
                    <a:lnTo>
                      <a:pt x="768513" y="213038"/>
                    </a:lnTo>
                    <a:lnTo>
                      <a:pt x="768665" y="212129"/>
                    </a:lnTo>
                    <a:lnTo>
                      <a:pt x="768665" y="211220"/>
                    </a:lnTo>
                    <a:lnTo>
                      <a:pt x="770483" y="208795"/>
                    </a:lnTo>
                    <a:lnTo>
                      <a:pt x="775483" y="204098"/>
                    </a:lnTo>
                    <a:lnTo>
                      <a:pt x="774574" y="202129"/>
                    </a:lnTo>
                    <a:lnTo>
                      <a:pt x="772605" y="198341"/>
                    </a:lnTo>
                    <a:lnTo>
                      <a:pt x="772301" y="196522"/>
                    </a:lnTo>
                    <a:lnTo>
                      <a:pt x="771392" y="195613"/>
                    </a:lnTo>
                    <a:lnTo>
                      <a:pt x="768968" y="196371"/>
                    </a:lnTo>
                    <a:lnTo>
                      <a:pt x="763968" y="199856"/>
                    </a:lnTo>
                    <a:lnTo>
                      <a:pt x="763210" y="199401"/>
                    </a:lnTo>
                    <a:lnTo>
                      <a:pt x="763362" y="198189"/>
                    </a:lnTo>
                    <a:lnTo>
                      <a:pt x="762907" y="194704"/>
                    </a:lnTo>
                    <a:lnTo>
                      <a:pt x="764574" y="193643"/>
                    </a:lnTo>
                    <a:lnTo>
                      <a:pt x="766998" y="192280"/>
                    </a:lnTo>
                    <a:lnTo>
                      <a:pt x="768817" y="190764"/>
                    </a:lnTo>
                    <a:lnTo>
                      <a:pt x="769271" y="189552"/>
                    </a:lnTo>
                    <a:lnTo>
                      <a:pt x="768817" y="189249"/>
                    </a:lnTo>
                    <a:lnTo>
                      <a:pt x="766089" y="189704"/>
                    </a:lnTo>
                    <a:lnTo>
                      <a:pt x="765029" y="188946"/>
                    </a:lnTo>
                    <a:lnTo>
                      <a:pt x="763210" y="185764"/>
                    </a:lnTo>
                    <a:lnTo>
                      <a:pt x="761846" y="184552"/>
                    </a:lnTo>
                    <a:lnTo>
                      <a:pt x="760634" y="183794"/>
                    </a:lnTo>
                    <a:lnTo>
                      <a:pt x="756543" y="185461"/>
                    </a:lnTo>
                    <a:lnTo>
                      <a:pt x="751695" y="187734"/>
                    </a:lnTo>
                    <a:lnTo>
                      <a:pt x="746391" y="190916"/>
                    </a:lnTo>
                    <a:lnTo>
                      <a:pt x="746391" y="192583"/>
                    </a:lnTo>
                    <a:lnTo>
                      <a:pt x="745785" y="193037"/>
                    </a:lnTo>
                    <a:lnTo>
                      <a:pt x="744725" y="194098"/>
                    </a:lnTo>
                    <a:lnTo>
                      <a:pt x="743664" y="195462"/>
                    </a:lnTo>
                    <a:lnTo>
                      <a:pt x="742755" y="195916"/>
                    </a:lnTo>
                    <a:lnTo>
                      <a:pt x="741694" y="195916"/>
                    </a:lnTo>
                    <a:lnTo>
                      <a:pt x="739725" y="195462"/>
                    </a:lnTo>
                    <a:lnTo>
                      <a:pt x="736088" y="193795"/>
                    </a:lnTo>
                    <a:lnTo>
                      <a:pt x="732148" y="192431"/>
                    </a:lnTo>
                    <a:lnTo>
                      <a:pt x="731239" y="192583"/>
                    </a:lnTo>
                    <a:lnTo>
                      <a:pt x="725784" y="191674"/>
                    </a:lnTo>
                    <a:lnTo>
                      <a:pt x="725633" y="190916"/>
                    </a:lnTo>
                    <a:lnTo>
                      <a:pt x="724875" y="189401"/>
                    </a:lnTo>
                    <a:lnTo>
                      <a:pt x="723360" y="188037"/>
                    </a:lnTo>
                    <a:lnTo>
                      <a:pt x="721845" y="187582"/>
                    </a:lnTo>
                    <a:lnTo>
                      <a:pt x="717603" y="190461"/>
                    </a:lnTo>
                    <a:lnTo>
                      <a:pt x="712754" y="192583"/>
                    </a:lnTo>
                    <a:lnTo>
                      <a:pt x="710027" y="195158"/>
                    </a:lnTo>
                    <a:lnTo>
                      <a:pt x="707754" y="197583"/>
                    </a:lnTo>
                    <a:lnTo>
                      <a:pt x="705178" y="198037"/>
                    </a:lnTo>
                    <a:lnTo>
                      <a:pt x="705026" y="199553"/>
                    </a:lnTo>
                    <a:lnTo>
                      <a:pt x="703966" y="200916"/>
                    </a:lnTo>
                    <a:lnTo>
                      <a:pt x="701996" y="202583"/>
                    </a:lnTo>
                    <a:lnTo>
                      <a:pt x="698056" y="204704"/>
                    </a:lnTo>
                    <a:lnTo>
                      <a:pt x="695480" y="205917"/>
                    </a:lnTo>
                    <a:lnTo>
                      <a:pt x="687147" y="206977"/>
                    </a:lnTo>
                    <a:lnTo>
                      <a:pt x="684116" y="207735"/>
                    </a:lnTo>
                    <a:lnTo>
                      <a:pt x="682904" y="208947"/>
                    </a:lnTo>
                    <a:lnTo>
                      <a:pt x="681541" y="211826"/>
                    </a:lnTo>
                    <a:lnTo>
                      <a:pt x="680480" y="214553"/>
                    </a:lnTo>
                    <a:lnTo>
                      <a:pt x="678207" y="216826"/>
                    </a:lnTo>
                    <a:lnTo>
                      <a:pt x="673965" y="219705"/>
                    </a:lnTo>
                    <a:lnTo>
                      <a:pt x="668964" y="222129"/>
                    </a:lnTo>
                    <a:lnTo>
                      <a:pt x="667601" y="223644"/>
                    </a:lnTo>
                    <a:lnTo>
                      <a:pt x="667298" y="224554"/>
                    </a:lnTo>
                    <a:lnTo>
                      <a:pt x="667904" y="224857"/>
                    </a:lnTo>
                    <a:lnTo>
                      <a:pt x="668510" y="225614"/>
                    </a:lnTo>
                    <a:lnTo>
                      <a:pt x="668510" y="226675"/>
                    </a:lnTo>
                    <a:lnTo>
                      <a:pt x="667904" y="227887"/>
                    </a:lnTo>
                    <a:lnTo>
                      <a:pt x="664722" y="230008"/>
                    </a:lnTo>
                    <a:lnTo>
                      <a:pt x="662903" y="230917"/>
                    </a:lnTo>
                    <a:lnTo>
                      <a:pt x="661085" y="231524"/>
                    </a:lnTo>
                    <a:lnTo>
                      <a:pt x="659115" y="231675"/>
                    </a:lnTo>
                    <a:lnTo>
                      <a:pt x="657146" y="231372"/>
                    </a:lnTo>
                    <a:lnTo>
                      <a:pt x="656540" y="231069"/>
                    </a:lnTo>
                    <a:lnTo>
                      <a:pt x="655782" y="231524"/>
                    </a:lnTo>
                    <a:lnTo>
                      <a:pt x="653964" y="231978"/>
                    </a:lnTo>
                    <a:lnTo>
                      <a:pt x="652448" y="232130"/>
                    </a:lnTo>
                    <a:lnTo>
                      <a:pt x="649115" y="234403"/>
                    </a:lnTo>
                    <a:lnTo>
                      <a:pt x="647297" y="234403"/>
                    </a:lnTo>
                    <a:lnTo>
                      <a:pt x="645024" y="233948"/>
                    </a:lnTo>
                    <a:lnTo>
                      <a:pt x="641993" y="233493"/>
                    </a:lnTo>
                    <a:lnTo>
                      <a:pt x="639721" y="233493"/>
                    </a:lnTo>
                    <a:lnTo>
                      <a:pt x="639570" y="234099"/>
                    </a:lnTo>
                    <a:lnTo>
                      <a:pt x="638812" y="235918"/>
                    </a:lnTo>
                    <a:lnTo>
                      <a:pt x="638357" y="237887"/>
                    </a:lnTo>
                    <a:lnTo>
                      <a:pt x="638812" y="239403"/>
                    </a:lnTo>
                    <a:lnTo>
                      <a:pt x="640479" y="241221"/>
                    </a:lnTo>
                    <a:lnTo>
                      <a:pt x="642751" y="242736"/>
                    </a:lnTo>
                    <a:lnTo>
                      <a:pt x="645781" y="242888"/>
                    </a:lnTo>
                    <a:lnTo>
                      <a:pt x="648509" y="242281"/>
                    </a:lnTo>
                    <a:lnTo>
                      <a:pt x="649569" y="242585"/>
                    </a:lnTo>
                    <a:lnTo>
                      <a:pt x="651085" y="245160"/>
                    </a:lnTo>
                    <a:lnTo>
                      <a:pt x="652146" y="247282"/>
                    </a:lnTo>
                    <a:lnTo>
                      <a:pt x="650782" y="249555"/>
                    </a:lnTo>
                    <a:lnTo>
                      <a:pt x="650024" y="251524"/>
                    </a:lnTo>
                    <a:lnTo>
                      <a:pt x="649721" y="252888"/>
                    </a:lnTo>
                    <a:lnTo>
                      <a:pt x="649873" y="253494"/>
                    </a:lnTo>
                    <a:lnTo>
                      <a:pt x="650782" y="254555"/>
                    </a:lnTo>
                    <a:lnTo>
                      <a:pt x="651843" y="256524"/>
                    </a:lnTo>
                    <a:lnTo>
                      <a:pt x="651994" y="258343"/>
                    </a:lnTo>
                    <a:lnTo>
                      <a:pt x="651388" y="259555"/>
                    </a:lnTo>
                    <a:lnTo>
                      <a:pt x="650024" y="260161"/>
                    </a:lnTo>
                    <a:lnTo>
                      <a:pt x="648509" y="260010"/>
                    </a:lnTo>
                    <a:lnTo>
                      <a:pt x="647297" y="260010"/>
                    </a:lnTo>
                    <a:lnTo>
                      <a:pt x="645781" y="260161"/>
                    </a:lnTo>
                    <a:lnTo>
                      <a:pt x="643358" y="260767"/>
                    </a:lnTo>
                    <a:lnTo>
                      <a:pt x="641084" y="261676"/>
                    </a:lnTo>
                    <a:lnTo>
                      <a:pt x="636842" y="261525"/>
                    </a:lnTo>
                    <a:lnTo>
                      <a:pt x="635175" y="259706"/>
                    </a:lnTo>
                    <a:lnTo>
                      <a:pt x="634417" y="259706"/>
                    </a:lnTo>
                    <a:lnTo>
                      <a:pt x="630629" y="261979"/>
                    </a:lnTo>
                    <a:lnTo>
                      <a:pt x="626387" y="261525"/>
                    </a:lnTo>
                    <a:lnTo>
                      <a:pt x="618811" y="262282"/>
                    </a:lnTo>
                    <a:lnTo>
                      <a:pt x="615629" y="262434"/>
                    </a:lnTo>
                    <a:lnTo>
                      <a:pt x="612296" y="262131"/>
                    </a:lnTo>
                    <a:lnTo>
                      <a:pt x="610629" y="261676"/>
                    </a:lnTo>
                    <a:lnTo>
                      <a:pt x="607598" y="260161"/>
                    </a:lnTo>
                    <a:lnTo>
                      <a:pt x="604871" y="258949"/>
                    </a:lnTo>
                    <a:lnTo>
                      <a:pt x="601992" y="260010"/>
                    </a:lnTo>
                    <a:lnTo>
                      <a:pt x="600931" y="260161"/>
                    </a:lnTo>
                    <a:lnTo>
                      <a:pt x="598659" y="262888"/>
                    </a:lnTo>
                    <a:lnTo>
                      <a:pt x="593810" y="263798"/>
                    </a:lnTo>
                    <a:lnTo>
                      <a:pt x="588961" y="264404"/>
                    </a:lnTo>
                    <a:lnTo>
                      <a:pt x="587446" y="264100"/>
                    </a:lnTo>
                    <a:lnTo>
                      <a:pt x="584719" y="263949"/>
                    </a:lnTo>
                    <a:lnTo>
                      <a:pt x="584567" y="263343"/>
                    </a:lnTo>
                    <a:lnTo>
                      <a:pt x="584719" y="262737"/>
                    </a:lnTo>
                    <a:lnTo>
                      <a:pt x="584113" y="262282"/>
                    </a:lnTo>
                    <a:lnTo>
                      <a:pt x="583052" y="261828"/>
                    </a:lnTo>
                    <a:lnTo>
                      <a:pt x="581082" y="261676"/>
                    </a:lnTo>
                    <a:lnTo>
                      <a:pt x="578658" y="261070"/>
                    </a:lnTo>
                    <a:lnTo>
                      <a:pt x="577294" y="260464"/>
                    </a:lnTo>
                    <a:lnTo>
                      <a:pt x="572294" y="261373"/>
                    </a:lnTo>
                    <a:lnTo>
                      <a:pt x="569415" y="260010"/>
                    </a:lnTo>
                    <a:lnTo>
                      <a:pt x="566082" y="258040"/>
                    </a:lnTo>
                    <a:lnTo>
                      <a:pt x="564415" y="257131"/>
                    </a:lnTo>
                    <a:lnTo>
                      <a:pt x="563809" y="254100"/>
                    </a:lnTo>
                    <a:lnTo>
                      <a:pt x="563203" y="253191"/>
                    </a:lnTo>
                    <a:lnTo>
                      <a:pt x="561839" y="252130"/>
                    </a:lnTo>
                    <a:lnTo>
                      <a:pt x="561081" y="250918"/>
                    </a:lnTo>
                    <a:lnTo>
                      <a:pt x="561688" y="249706"/>
                    </a:lnTo>
                    <a:lnTo>
                      <a:pt x="565021" y="247433"/>
                    </a:lnTo>
                    <a:lnTo>
                      <a:pt x="565324" y="246827"/>
                    </a:lnTo>
                    <a:lnTo>
                      <a:pt x="563657" y="245463"/>
                    </a:lnTo>
                    <a:lnTo>
                      <a:pt x="561839" y="243494"/>
                    </a:lnTo>
                    <a:lnTo>
                      <a:pt x="561385" y="240766"/>
                    </a:lnTo>
                    <a:lnTo>
                      <a:pt x="563657" y="233493"/>
                    </a:lnTo>
                    <a:lnTo>
                      <a:pt x="564112" y="230463"/>
                    </a:lnTo>
                    <a:lnTo>
                      <a:pt x="563506" y="229251"/>
                    </a:lnTo>
                    <a:lnTo>
                      <a:pt x="562900" y="226372"/>
                    </a:lnTo>
                    <a:lnTo>
                      <a:pt x="561536" y="225463"/>
                    </a:lnTo>
                    <a:lnTo>
                      <a:pt x="557900" y="223948"/>
                    </a:lnTo>
                    <a:lnTo>
                      <a:pt x="556688" y="223948"/>
                    </a:lnTo>
                    <a:lnTo>
                      <a:pt x="555475" y="225008"/>
                    </a:lnTo>
                    <a:lnTo>
                      <a:pt x="554263" y="225614"/>
                    </a:lnTo>
                    <a:lnTo>
                      <a:pt x="552596" y="226220"/>
                    </a:lnTo>
                    <a:lnTo>
                      <a:pt x="548505" y="227432"/>
                    </a:lnTo>
                    <a:lnTo>
                      <a:pt x="544869" y="228039"/>
                    </a:lnTo>
                    <a:lnTo>
                      <a:pt x="543960" y="228493"/>
                    </a:lnTo>
                    <a:lnTo>
                      <a:pt x="543657" y="229402"/>
                    </a:lnTo>
                    <a:lnTo>
                      <a:pt x="543960" y="230463"/>
                    </a:lnTo>
                    <a:lnTo>
                      <a:pt x="545020" y="231220"/>
                    </a:lnTo>
                    <a:lnTo>
                      <a:pt x="545172" y="232584"/>
                    </a:lnTo>
                    <a:lnTo>
                      <a:pt x="545020" y="234099"/>
                    </a:lnTo>
                    <a:lnTo>
                      <a:pt x="543960" y="237281"/>
                    </a:lnTo>
                    <a:lnTo>
                      <a:pt x="542899" y="239554"/>
                    </a:lnTo>
                    <a:lnTo>
                      <a:pt x="541687" y="244251"/>
                    </a:lnTo>
                    <a:lnTo>
                      <a:pt x="540626" y="252282"/>
                    </a:lnTo>
                    <a:lnTo>
                      <a:pt x="540929" y="253645"/>
                    </a:lnTo>
                    <a:lnTo>
                      <a:pt x="544111" y="258191"/>
                    </a:lnTo>
                    <a:lnTo>
                      <a:pt x="545324" y="261676"/>
                    </a:lnTo>
                    <a:lnTo>
                      <a:pt x="545475" y="264100"/>
                    </a:lnTo>
                    <a:lnTo>
                      <a:pt x="544111" y="268192"/>
                    </a:lnTo>
                    <a:lnTo>
                      <a:pt x="542596" y="272737"/>
                    </a:lnTo>
                    <a:lnTo>
                      <a:pt x="541838" y="273798"/>
                    </a:lnTo>
                    <a:lnTo>
                      <a:pt x="540929" y="274101"/>
                    </a:lnTo>
                    <a:lnTo>
                      <a:pt x="536990" y="272434"/>
                    </a:lnTo>
                    <a:lnTo>
                      <a:pt x="534262" y="272586"/>
                    </a:lnTo>
                    <a:lnTo>
                      <a:pt x="531081" y="273495"/>
                    </a:lnTo>
                    <a:lnTo>
                      <a:pt x="527747" y="273343"/>
                    </a:lnTo>
                    <a:lnTo>
                      <a:pt x="525019" y="272889"/>
                    </a:lnTo>
                    <a:lnTo>
                      <a:pt x="521535" y="274707"/>
                    </a:lnTo>
                    <a:lnTo>
                      <a:pt x="518201" y="273646"/>
                    </a:lnTo>
                    <a:lnTo>
                      <a:pt x="516080" y="272434"/>
                    </a:lnTo>
                    <a:lnTo>
                      <a:pt x="514716" y="269252"/>
                    </a:lnTo>
                    <a:lnTo>
                      <a:pt x="514110" y="268798"/>
                    </a:lnTo>
                    <a:lnTo>
                      <a:pt x="507140" y="272131"/>
                    </a:lnTo>
                    <a:lnTo>
                      <a:pt x="505474" y="272283"/>
                    </a:lnTo>
                    <a:lnTo>
                      <a:pt x="501231" y="270464"/>
                    </a:lnTo>
                    <a:lnTo>
                      <a:pt x="497746" y="268646"/>
                    </a:lnTo>
                    <a:lnTo>
                      <a:pt x="496382" y="268192"/>
                    </a:lnTo>
                    <a:lnTo>
                      <a:pt x="493049" y="267434"/>
                    </a:lnTo>
                    <a:lnTo>
                      <a:pt x="490018" y="266979"/>
                    </a:lnTo>
                    <a:lnTo>
                      <a:pt x="486685" y="265919"/>
                    </a:lnTo>
                    <a:lnTo>
                      <a:pt x="482594" y="267282"/>
                    </a:lnTo>
                    <a:lnTo>
                      <a:pt x="480927" y="267131"/>
                    </a:lnTo>
                    <a:lnTo>
                      <a:pt x="479412" y="266070"/>
                    </a:lnTo>
                    <a:lnTo>
                      <a:pt x="478654" y="263949"/>
                    </a:lnTo>
                    <a:lnTo>
                      <a:pt x="478503" y="261979"/>
                    </a:lnTo>
                    <a:lnTo>
                      <a:pt x="477139" y="260616"/>
                    </a:lnTo>
                    <a:lnTo>
                      <a:pt x="475018" y="260312"/>
                    </a:lnTo>
                    <a:lnTo>
                      <a:pt x="471987" y="261525"/>
                    </a:lnTo>
                    <a:lnTo>
                      <a:pt x="467442" y="263191"/>
                    </a:lnTo>
                    <a:lnTo>
                      <a:pt x="465926" y="262888"/>
                    </a:lnTo>
                    <a:lnTo>
                      <a:pt x="464563" y="262434"/>
                    </a:lnTo>
                    <a:lnTo>
                      <a:pt x="464108" y="261979"/>
                    </a:lnTo>
                    <a:lnTo>
                      <a:pt x="463502" y="260010"/>
                    </a:lnTo>
                    <a:lnTo>
                      <a:pt x="462745" y="259555"/>
                    </a:lnTo>
                    <a:lnTo>
                      <a:pt x="461684" y="259555"/>
                    </a:lnTo>
                    <a:lnTo>
                      <a:pt x="459866" y="259100"/>
                    </a:lnTo>
                    <a:lnTo>
                      <a:pt x="457593" y="257737"/>
                    </a:lnTo>
                    <a:lnTo>
                      <a:pt x="450774" y="254403"/>
                    </a:lnTo>
                    <a:lnTo>
                      <a:pt x="449865" y="252888"/>
                    </a:lnTo>
                    <a:lnTo>
                      <a:pt x="449865" y="249555"/>
                    </a:lnTo>
                    <a:lnTo>
                      <a:pt x="449411" y="248191"/>
                    </a:lnTo>
                    <a:lnTo>
                      <a:pt x="448502" y="246827"/>
                    </a:lnTo>
                    <a:lnTo>
                      <a:pt x="445016" y="245312"/>
                    </a:lnTo>
                    <a:lnTo>
                      <a:pt x="438198" y="243039"/>
                    </a:lnTo>
                    <a:lnTo>
                      <a:pt x="434410" y="241221"/>
                    </a:lnTo>
                    <a:lnTo>
                      <a:pt x="432592" y="242130"/>
                    </a:lnTo>
                    <a:lnTo>
                      <a:pt x="429107" y="242888"/>
                    </a:lnTo>
                    <a:lnTo>
                      <a:pt x="427289" y="244554"/>
                    </a:lnTo>
                    <a:lnTo>
                      <a:pt x="425016" y="243948"/>
                    </a:lnTo>
                    <a:lnTo>
                      <a:pt x="419713" y="242130"/>
                    </a:lnTo>
                    <a:lnTo>
                      <a:pt x="416834" y="241827"/>
                    </a:lnTo>
                    <a:lnTo>
                      <a:pt x="415167" y="242433"/>
                    </a:lnTo>
                    <a:lnTo>
                      <a:pt x="414712" y="243494"/>
                    </a:lnTo>
                    <a:lnTo>
                      <a:pt x="412591" y="244706"/>
                    </a:lnTo>
                    <a:lnTo>
                      <a:pt x="410470" y="243797"/>
                    </a:lnTo>
                    <a:lnTo>
                      <a:pt x="406379" y="242585"/>
                    </a:lnTo>
                    <a:lnTo>
                      <a:pt x="402742" y="241979"/>
                    </a:lnTo>
                    <a:lnTo>
                      <a:pt x="397287" y="240463"/>
                    </a:lnTo>
                    <a:lnTo>
                      <a:pt x="396681" y="238191"/>
                    </a:lnTo>
                    <a:lnTo>
                      <a:pt x="395772" y="235918"/>
                    </a:lnTo>
                    <a:lnTo>
                      <a:pt x="394409" y="235463"/>
                    </a:lnTo>
                    <a:lnTo>
                      <a:pt x="389560" y="235918"/>
                    </a:lnTo>
                    <a:lnTo>
                      <a:pt x="385014" y="233493"/>
                    </a:lnTo>
                    <a:lnTo>
                      <a:pt x="380166" y="230311"/>
                    </a:lnTo>
                    <a:lnTo>
                      <a:pt x="378045" y="229251"/>
                    </a:lnTo>
                    <a:lnTo>
                      <a:pt x="376681" y="228796"/>
                    </a:lnTo>
                    <a:lnTo>
                      <a:pt x="375468" y="229251"/>
                    </a:lnTo>
                    <a:lnTo>
                      <a:pt x="374105" y="230008"/>
                    </a:lnTo>
                    <a:lnTo>
                      <a:pt x="372893" y="230160"/>
                    </a:lnTo>
                    <a:lnTo>
                      <a:pt x="370317" y="228796"/>
                    </a:lnTo>
                    <a:lnTo>
                      <a:pt x="366983" y="226826"/>
                    </a:lnTo>
                    <a:lnTo>
                      <a:pt x="362892" y="224402"/>
                    </a:lnTo>
                    <a:lnTo>
                      <a:pt x="358044" y="221069"/>
                    </a:lnTo>
                    <a:lnTo>
                      <a:pt x="356074" y="219099"/>
                    </a:lnTo>
                    <a:lnTo>
                      <a:pt x="355165" y="217735"/>
                    </a:lnTo>
                    <a:lnTo>
                      <a:pt x="354104" y="216372"/>
                    </a:lnTo>
                    <a:lnTo>
                      <a:pt x="350013" y="214099"/>
                    </a:lnTo>
                    <a:lnTo>
                      <a:pt x="346680" y="212280"/>
                    </a:lnTo>
                    <a:lnTo>
                      <a:pt x="342740" y="210159"/>
                    </a:lnTo>
                    <a:lnTo>
                      <a:pt x="342134" y="209705"/>
                    </a:lnTo>
                    <a:lnTo>
                      <a:pt x="340619" y="208492"/>
                    </a:lnTo>
                    <a:lnTo>
                      <a:pt x="338346" y="206977"/>
                    </a:lnTo>
                    <a:lnTo>
                      <a:pt x="336528" y="206523"/>
                    </a:lnTo>
                    <a:lnTo>
                      <a:pt x="335922" y="207432"/>
                    </a:lnTo>
                    <a:lnTo>
                      <a:pt x="335467" y="208341"/>
                    </a:lnTo>
                    <a:lnTo>
                      <a:pt x="333800" y="208189"/>
                    </a:lnTo>
                    <a:lnTo>
                      <a:pt x="331225" y="206523"/>
                    </a:lnTo>
                    <a:lnTo>
                      <a:pt x="328497" y="204856"/>
                    </a:lnTo>
                    <a:lnTo>
                      <a:pt x="326376" y="203341"/>
                    </a:lnTo>
                    <a:lnTo>
                      <a:pt x="324254" y="201674"/>
                    </a:lnTo>
                    <a:lnTo>
                      <a:pt x="323800" y="200462"/>
                    </a:lnTo>
                    <a:lnTo>
                      <a:pt x="324709" y="196825"/>
                    </a:lnTo>
                    <a:lnTo>
                      <a:pt x="325921" y="193643"/>
                    </a:lnTo>
                    <a:lnTo>
                      <a:pt x="326982" y="192886"/>
                    </a:lnTo>
                    <a:lnTo>
                      <a:pt x="328649" y="190764"/>
                    </a:lnTo>
                    <a:lnTo>
                      <a:pt x="329255" y="187128"/>
                    </a:lnTo>
                    <a:lnTo>
                      <a:pt x="329255" y="183946"/>
                    </a:lnTo>
                    <a:lnTo>
                      <a:pt x="330921" y="179552"/>
                    </a:lnTo>
                    <a:lnTo>
                      <a:pt x="333195" y="174855"/>
                    </a:lnTo>
                    <a:lnTo>
                      <a:pt x="337285" y="169855"/>
                    </a:lnTo>
                    <a:lnTo>
                      <a:pt x="339104" y="168188"/>
                    </a:lnTo>
                    <a:lnTo>
                      <a:pt x="341073" y="166976"/>
                    </a:lnTo>
                    <a:lnTo>
                      <a:pt x="344861" y="163188"/>
                    </a:lnTo>
                    <a:lnTo>
                      <a:pt x="345619" y="162582"/>
                    </a:lnTo>
                    <a:lnTo>
                      <a:pt x="347286" y="161673"/>
                    </a:lnTo>
                    <a:lnTo>
                      <a:pt x="348952" y="161369"/>
                    </a:lnTo>
                    <a:lnTo>
                      <a:pt x="350165" y="161824"/>
                    </a:lnTo>
                    <a:lnTo>
                      <a:pt x="349559" y="159703"/>
                    </a:lnTo>
                    <a:lnTo>
                      <a:pt x="346528" y="158036"/>
                    </a:lnTo>
                    <a:lnTo>
                      <a:pt x="343043" y="155915"/>
                    </a:lnTo>
                    <a:lnTo>
                      <a:pt x="341225" y="154248"/>
                    </a:lnTo>
                    <a:lnTo>
                      <a:pt x="339255" y="153187"/>
                    </a:lnTo>
                    <a:lnTo>
                      <a:pt x="337437" y="152733"/>
                    </a:lnTo>
                    <a:lnTo>
                      <a:pt x="333800" y="151369"/>
                    </a:lnTo>
                    <a:lnTo>
                      <a:pt x="329709" y="149854"/>
                    </a:lnTo>
                    <a:lnTo>
                      <a:pt x="327740" y="149702"/>
                    </a:lnTo>
                    <a:lnTo>
                      <a:pt x="327588" y="148642"/>
                    </a:lnTo>
                    <a:lnTo>
                      <a:pt x="328194" y="146369"/>
                    </a:lnTo>
                    <a:lnTo>
                      <a:pt x="327891" y="144096"/>
                    </a:lnTo>
                    <a:lnTo>
                      <a:pt x="326679" y="143187"/>
                    </a:lnTo>
                    <a:lnTo>
                      <a:pt x="324861" y="143490"/>
                    </a:lnTo>
                    <a:lnTo>
                      <a:pt x="320618" y="140308"/>
                    </a:lnTo>
                    <a:lnTo>
                      <a:pt x="320618" y="140308"/>
                    </a:lnTo>
                    <a:lnTo>
                      <a:pt x="320466" y="140308"/>
                    </a:lnTo>
                    <a:lnTo>
                      <a:pt x="320466" y="140157"/>
                    </a:lnTo>
                    <a:lnTo>
                      <a:pt x="319254" y="139248"/>
                    </a:lnTo>
                    <a:lnTo>
                      <a:pt x="317133" y="137884"/>
                    </a:lnTo>
                    <a:lnTo>
                      <a:pt x="313497" y="138035"/>
                    </a:lnTo>
                    <a:lnTo>
                      <a:pt x="310769" y="138490"/>
                    </a:lnTo>
                    <a:lnTo>
                      <a:pt x="308799" y="137126"/>
                    </a:lnTo>
                    <a:lnTo>
                      <a:pt x="305920" y="135005"/>
                    </a:lnTo>
                    <a:lnTo>
                      <a:pt x="305466" y="134550"/>
                    </a:lnTo>
                    <a:lnTo>
                      <a:pt x="305163" y="134399"/>
                    </a:lnTo>
                    <a:lnTo>
                      <a:pt x="304557" y="133793"/>
                    </a:lnTo>
                    <a:lnTo>
                      <a:pt x="301678" y="129702"/>
                    </a:lnTo>
                    <a:lnTo>
                      <a:pt x="298193" y="124853"/>
                    </a:lnTo>
                    <a:lnTo>
                      <a:pt x="296526" y="124095"/>
                    </a:lnTo>
                    <a:lnTo>
                      <a:pt x="295617" y="124398"/>
                    </a:lnTo>
                    <a:lnTo>
                      <a:pt x="294556" y="126974"/>
                    </a:lnTo>
                    <a:lnTo>
                      <a:pt x="293799" y="126671"/>
                    </a:lnTo>
                    <a:lnTo>
                      <a:pt x="292587" y="126823"/>
                    </a:lnTo>
                    <a:lnTo>
                      <a:pt x="291072" y="127732"/>
                    </a:lnTo>
                    <a:lnTo>
                      <a:pt x="289556" y="128035"/>
                    </a:lnTo>
                    <a:lnTo>
                      <a:pt x="288647" y="127732"/>
                    </a:lnTo>
                    <a:lnTo>
                      <a:pt x="288193" y="127126"/>
                    </a:lnTo>
                    <a:lnTo>
                      <a:pt x="288647" y="123792"/>
                    </a:lnTo>
                    <a:lnTo>
                      <a:pt x="287738" y="122732"/>
                    </a:lnTo>
                    <a:lnTo>
                      <a:pt x="288496" y="120307"/>
                    </a:lnTo>
                    <a:lnTo>
                      <a:pt x="289859" y="118338"/>
                    </a:lnTo>
                    <a:lnTo>
                      <a:pt x="288496" y="116822"/>
                    </a:lnTo>
                    <a:lnTo>
                      <a:pt x="286829" y="114701"/>
                    </a:lnTo>
                    <a:lnTo>
                      <a:pt x="286678" y="112731"/>
                    </a:lnTo>
                    <a:lnTo>
                      <a:pt x="287587" y="110307"/>
                    </a:lnTo>
                    <a:lnTo>
                      <a:pt x="285920" y="108034"/>
                    </a:lnTo>
                    <a:lnTo>
                      <a:pt x="287587" y="110307"/>
                    </a:lnTo>
                    <a:lnTo>
                      <a:pt x="287587" y="110458"/>
                    </a:lnTo>
                    <a:lnTo>
                      <a:pt x="288041" y="108337"/>
                    </a:lnTo>
                    <a:lnTo>
                      <a:pt x="287738" y="107580"/>
                    </a:lnTo>
                    <a:lnTo>
                      <a:pt x="286374" y="106368"/>
                    </a:lnTo>
                    <a:lnTo>
                      <a:pt x="281374" y="100610"/>
                    </a:lnTo>
                    <a:lnTo>
                      <a:pt x="281071" y="100004"/>
                    </a:lnTo>
                    <a:lnTo>
                      <a:pt x="280162" y="98034"/>
                    </a:lnTo>
                    <a:lnTo>
                      <a:pt x="279708" y="95155"/>
                    </a:lnTo>
                    <a:lnTo>
                      <a:pt x="279101" y="93034"/>
                    </a:lnTo>
                    <a:lnTo>
                      <a:pt x="278344" y="91367"/>
                    </a:lnTo>
                    <a:lnTo>
                      <a:pt x="278344" y="90609"/>
                    </a:lnTo>
                    <a:lnTo>
                      <a:pt x="278950" y="90155"/>
                    </a:lnTo>
                    <a:lnTo>
                      <a:pt x="282132" y="89700"/>
                    </a:lnTo>
                    <a:lnTo>
                      <a:pt x="285011" y="89397"/>
                    </a:lnTo>
                    <a:lnTo>
                      <a:pt x="286980" y="88791"/>
                    </a:lnTo>
                    <a:lnTo>
                      <a:pt x="287889" y="90003"/>
                    </a:lnTo>
                    <a:lnTo>
                      <a:pt x="288344" y="91821"/>
                    </a:lnTo>
                    <a:lnTo>
                      <a:pt x="288799" y="92731"/>
                    </a:lnTo>
                    <a:lnTo>
                      <a:pt x="290617" y="94397"/>
                    </a:lnTo>
                    <a:lnTo>
                      <a:pt x="292890" y="96064"/>
                    </a:lnTo>
                    <a:lnTo>
                      <a:pt x="295011" y="95913"/>
                    </a:lnTo>
                    <a:lnTo>
                      <a:pt x="296981" y="95155"/>
                    </a:lnTo>
                    <a:lnTo>
                      <a:pt x="298648" y="92427"/>
                    </a:lnTo>
                    <a:lnTo>
                      <a:pt x="299860" y="91821"/>
                    </a:lnTo>
                    <a:lnTo>
                      <a:pt x="301223" y="91670"/>
                    </a:lnTo>
                    <a:lnTo>
                      <a:pt x="301072" y="89700"/>
                    </a:lnTo>
                    <a:lnTo>
                      <a:pt x="301526" y="85458"/>
                    </a:lnTo>
                    <a:lnTo>
                      <a:pt x="301375" y="83791"/>
                    </a:lnTo>
                    <a:lnTo>
                      <a:pt x="300769" y="82276"/>
                    </a:lnTo>
                    <a:lnTo>
                      <a:pt x="300921" y="80609"/>
                    </a:lnTo>
                    <a:lnTo>
                      <a:pt x="300769" y="78185"/>
                    </a:lnTo>
                    <a:lnTo>
                      <a:pt x="299254" y="76518"/>
                    </a:lnTo>
                    <a:lnTo>
                      <a:pt x="298193" y="75912"/>
                    </a:lnTo>
                    <a:lnTo>
                      <a:pt x="298042" y="75003"/>
                    </a:lnTo>
                    <a:lnTo>
                      <a:pt x="298496" y="73336"/>
                    </a:lnTo>
                    <a:lnTo>
                      <a:pt x="298799" y="71366"/>
                    </a:lnTo>
                    <a:lnTo>
                      <a:pt x="298193" y="69699"/>
                    </a:lnTo>
                    <a:lnTo>
                      <a:pt x="296981" y="68942"/>
                    </a:lnTo>
                    <a:lnTo>
                      <a:pt x="295466" y="67730"/>
                    </a:lnTo>
                    <a:lnTo>
                      <a:pt x="293647" y="66063"/>
                    </a:lnTo>
                    <a:lnTo>
                      <a:pt x="292738" y="64851"/>
                    </a:lnTo>
                    <a:lnTo>
                      <a:pt x="291375" y="63487"/>
                    </a:lnTo>
                    <a:lnTo>
                      <a:pt x="289708" y="61366"/>
                    </a:lnTo>
                    <a:lnTo>
                      <a:pt x="289405" y="56820"/>
                    </a:lnTo>
                    <a:lnTo>
                      <a:pt x="289253" y="51971"/>
                    </a:lnTo>
                    <a:lnTo>
                      <a:pt x="288647" y="49547"/>
                    </a:lnTo>
                    <a:lnTo>
                      <a:pt x="287738" y="45759"/>
                    </a:lnTo>
                    <a:lnTo>
                      <a:pt x="287889" y="44395"/>
                    </a:lnTo>
                    <a:lnTo>
                      <a:pt x="288496" y="43335"/>
                    </a:lnTo>
                    <a:lnTo>
                      <a:pt x="293344" y="40153"/>
                    </a:lnTo>
                    <a:lnTo>
                      <a:pt x="294405" y="38941"/>
                    </a:lnTo>
                    <a:lnTo>
                      <a:pt x="294556" y="38032"/>
                    </a:lnTo>
                    <a:lnTo>
                      <a:pt x="294405" y="36668"/>
                    </a:lnTo>
                    <a:lnTo>
                      <a:pt x="293496" y="35153"/>
                    </a:lnTo>
                    <a:lnTo>
                      <a:pt x="291526" y="33940"/>
                    </a:lnTo>
                    <a:lnTo>
                      <a:pt x="288799" y="31971"/>
                    </a:lnTo>
                    <a:lnTo>
                      <a:pt x="286223" y="30001"/>
                    </a:lnTo>
                    <a:lnTo>
                      <a:pt x="281980" y="28789"/>
                    </a:lnTo>
                    <a:lnTo>
                      <a:pt x="276829" y="27274"/>
                    </a:lnTo>
                    <a:lnTo>
                      <a:pt x="275616" y="25758"/>
                    </a:lnTo>
                    <a:lnTo>
                      <a:pt x="274404" y="22122"/>
                    </a:lnTo>
                    <a:lnTo>
                      <a:pt x="272283" y="16667"/>
                    </a:lnTo>
                    <a:lnTo>
                      <a:pt x="270010" y="10910"/>
                    </a:lnTo>
                    <a:lnTo>
                      <a:pt x="268344" y="7273"/>
                    </a:lnTo>
                    <a:lnTo>
                      <a:pt x="268192" y="5606"/>
                    </a:lnTo>
                    <a:lnTo>
                      <a:pt x="269253" y="1212"/>
                    </a:lnTo>
                    <a:lnTo>
                      <a:pt x="269101" y="303"/>
                    </a:lnTo>
                    <a:lnTo>
                      <a:pt x="268192" y="0"/>
                    </a:lnTo>
                    <a:lnTo>
                      <a:pt x="266525" y="606"/>
                    </a:lnTo>
                    <a:lnTo>
                      <a:pt x="265161" y="1364"/>
                    </a:lnTo>
                    <a:lnTo>
                      <a:pt x="263949" y="1061"/>
                    </a:lnTo>
                    <a:lnTo>
                      <a:pt x="262889" y="303"/>
                    </a:lnTo>
                    <a:lnTo>
                      <a:pt x="262586" y="0"/>
                    </a:lnTo>
                    <a:lnTo>
                      <a:pt x="259858" y="1667"/>
                    </a:lnTo>
                    <a:lnTo>
                      <a:pt x="256373" y="3636"/>
                    </a:lnTo>
                    <a:lnTo>
                      <a:pt x="252282" y="6061"/>
                    </a:lnTo>
                    <a:lnTo>
                      <a:pt x="248646" y="8182"/>
                    </a:lnTo>
                    <a:lnTo>
                      <a:pt x="245312" y="10152"/>
                    </a:lnTo>
                    <a:lnTo>
                      <a:pt x="241979" y="12122"/>
                    </a:lnTo>
                    <a:lnTo>
                      <a:pt x="241524" y="13637"/>
                    </a:lnTo>
                    <a:lnTo>
                      <a:pt x="240767" y="15758"/>
                    </a:lnTo>
                    <a:lnTo>
                      <a:pt x="237736" y="17425"/>
                    </a:lnTo>
                    <a:lnTo>
                      <a:pt x="234706" y="18637"/>
                    </a:lnTo>
                    <a:lnTo>
                      <a:pt x="233948" y="19395"/>
                    </a:lnTo>
                    <a:lnTo>
                      <a:pt x="233645" y="20304"/>
                    </a:lnTo>
                    <a:lnTo>
                      <a:pt x="232130" y="22122"/>
                    </a:lnTo>
                    <a:lnTo>
                      <a:pt x="229403" y="23637"/>
                    </a:lnTo>
                    <a:lnTo>
                      <a:pt x="227130" y="23486"/>
                    </a:lnTo>
                    <a:lnTo>
                      <a:pt x="225615" y="23031"/>
                    </a:lnTo>
                    <a:lnTo>
                      <a:pt x="217887" y="25758"/>
                    </a:lnTo>
                    <a:lnTo>
                      <a:pt x="214251" y="25758"/>
                    </a:lnTo>
                    <a:lnTo>
                      <a:pt x="211372" y="27577"/>
                    </a:lnTo>
                    <a:lnTo>
                      <a:pt x="209250" y="29243"/>
                    </a:lnTo>
                    <a:lnTo>
                      <a:pt x="205008" y="31062"/>
                    </a:lnTo>
                    <a:lnTo>
                      <a:pt x="202129" y="31062"/>
                    </a:lnTo>
                    <a:lnTo>
                      <a:pt x="197886" y="30001"/>
                    </a:lnTo>
                    <a:lnTo>
                      <a:pt x="192734" y="28031"/>
                    </a:lnTo>
                    <a:lnTo>
                      <a:pt x="190613" y="26819"/>
                    </a:lnTo>
                    <a:lnTo>
                      <a:pt x="188795" y="26819"/>
                    </a:lnTo>
                    <a:lnTo>
                      <a:pt x="184249" y="26516"/>
                    </a:lnTo>
                    <a:lnTo>
                      <a:pt x="179855" y="25607"/>
                    </a:lnTo>
                    <a:lnTo>
                      <a:pt x="174552" y="24395"/>
                    </a:lnTo>
                    <a:lnTo>
                      <a:pt x="171976" y="23940"/>
                    </a:lnTo>
                    <a:lnTo>
                      <a:pt x="166522" y="22880"/>
                    </a:lnTo>
                    <a:lnTo>
                      <a:pt x="163037" y="24243"/>
                    </a:lnTo>
                    <a:lnTo>
                      <a:pt x="159855" y="25455"/>
                    </a:lnTo>
                    <a:lnTo>
                      <a:pt x="157279" y="26364"/>
                    </a:lnTo>
                    <a:lnTo>
                      <a:pt x="155158" y="30152"/>
                    </a:lnTo>
                    <a:lnTo>
                      <a:pt x="154248" y="31516"/>
                    </a:lnTo>
                    <a:lnTo>
                      <a:pt x="153188" y="33486"/>
                    </a:lnTo>
                    <a:lnTo>
                      <a:pt x="152733" y="34850"/>
                    </a:lnTo>
                    <a:lnTo>
                      <a:pt x="153188" y="36517"/>
                    </a:lnTo>
                    <a:lnTo>
                      <a:pt x="156370" y="37729"/>
                    </a:lnTo>
                    <a:lnTo>
                      <a:pt x="157733" y="39244"/>
                    </a:lnTo>
                    <a:lnTo>
                      <a:pt x="157885" y="40607"/>
                    </a:lnTo>
                    <a:lnTo>
                      <a:pt x="156824" y="41971"/>
                    </a:lnTo>
                    <a:lnTo>
                      <a:pt x="155915" y="43032"/>
                    </a:lnTo>
                    <a:lnTo>
                      <a:pt x="155915" y="44093"/>
                    </a:lnTo>
                    <a:lnTo>
                      <a:pt x="156370" y="45153"/>
                    </a:lnTo>
                    <a:lnTo>
                      <a:pt x="157127" y="45911"/>
                    </a:lnTo>
                    <a:lnTo>
                      <a:pt x="161521" y="46365"/>
                    </a:lnTo>
                    <a:lnTo>
                      <a:pt x="164097" y="46365"/>
                    </a:lnTo>
                    <a:lnTo>
                      <a:pt x="165158" y="46820"/>
                    </a:lnTo>
                    <a:lnTo>
                      <a:pt x="165309" y="48183"/>
                    </a:lnTo>
                    <a:lnTo>
                      <a:pt x="164400" y="50002"/>
                    </a:lnTo>
                    <a:lnTo>
                      <a:pt x="160612" y="51517"/>
                    </a:lnTo>
                    <a:lnTo>
                      <a:pt x="158491" y="53032"/>
                    </a:lnTo>
                    <a:lnTo>
                      <a:pt x="157885" y="55154"/>
                    </a:lnTo>
                    <a:lnTo>
                      <a:pt x="157885" y="56820"/>
                    </a:lnTo>
                    <a:lnTo>
                      <a:pt x="158642" y="57881"/>
                    </a:lnTo>
                    <a:lnTo>
                      <a:pt x="160460" y="59093"/>
                    </a:lnTo>
                    <a:lnTo>
                      <a:pt x="162127" y="60457"/>
                    </a:lnTo>
                    <a:lnTo>
                      <a:pt x="162582" y="61669"/>
                    </a:lnTo>
                    <a:lnTo>
                      <a:pt x="162430" y="63184"/>
                    </a:lnTo>
                    <a:lnTo>
                      <a:pt x="161824" y="65305"/>
                    </a:lnTo>
                    <a:lnTo>
                      <a:pt x="160006" y="67881"/>
                    </a:lnTo>
                    <a:lnTo>
                      <a:pt x="158491" y="69699"/>
                    </a:lnTo>
                    <a:lnTo>
                      <a:pt x="158339" y="70306"/>
                    </a:lnTo>
                    <a:lnTo>
                      <a:pt x="158794" y="71215"/>
                    </a:lnTo>
                    <a:lnTo>
                      <a:pt x="160006" y="72578"/>
                    </a:lnTo>
                    <a:lnTo>
                      <a:pt x="162127" y="74700"/>
                    </a:lnTo>
                    <a:lnTo>
                      <a:pt x="164703" y="76366"/>
                    </a:lnTo>
                    <a:lnTo>
                      <a:pt x="166370" y="76821"/>
                    </a:lnTo>
                    <a:lnTo>
                      <a:pt x="166976" y="77275"/>
                    </a:lnTo>
                    <a:lnTo>
                      <a:pt x="167431" y="79245"/>
                    </a:lnTo>
                    <a:lnTo>
                      <a:pt x="167582" y="81215"/>
                    </a:lnTo>
                    <a:lnTo>
                      <a:pt x="166976" y="82730"/>
                    </a:lnTo>
                    <a:lnTo>
                      <a:pt x="168340" y="83942"/>
                    </a:lnTo>
                    <a:lnTo>
                      <a:pt x="171825" y="83942"/>
                    </a:lnTo>
                    <a:lnTo>
                      <a:pt x="174703" y="84549"/>
                    </a:lnTo>
                    <a:lnTo>
                      <a:pt x="175916" y="83942"/>
                    </a:lnTo>
                    <a:lnTo>
                      <a:pt x="176825" y="84397"/>
                    </a:lnTo>
                    <a:lnTo>
                      <a:pt x="176219" y="88943"/>
                    </a:lnTo>
                    <a:lnTo>
                      <a:pt x="176673" y="91670"/>
                    </a:lnTo>
                    <a:lnTo>
                      <a:pt x="177431" y="92427"/>
                    </a:lnTo>
                    <a:lnTo>
                      <a:pt x="180310" y="93488"/>
                    </a:lnTo>
                    <a:lnTo>
                      <a:pt x="185765" y="93337"/>
                    </a:lnTo>
                    <a:lnTo>
                      <a:pt x="188946" y="94549"/>
                    </a:lnTo>
                    <a:lnTo>
                      <a:pt x="192432" y="96064"/>
                    </a:lnTo>
                    <a:lnTo>
                      <a:pt x="194250" y="97731"/>
                    </a:lnTo>
                    <a:lnTo>
                      <a:pt x="195159" y="98943"/>
                    </a:lnTo>
                    <a:lnTo>
                      <a:pt x="194856" y="100913"/>
                    </a:lnTo>
                    <a:lnTo>
                      <a:pt x="192886" y="103186"/>
                    </a:lnTo>
                    <a:lnTo>
                      <a:pt x="189704" y="104246"/>
                    </a:lnTo>
                    <a:lnTo>
                      <a:pt x="187886" y="104701"/>
                    </a:lnTo>
                    <a:lnTo>
                      <a:pt x="178795" y="108943"/>
                    </a:lnTo>
                    <a:lnTo>
                      <a:pt x="175916" y="110762"/>
                    </a:lnTo>
                    <a:lnTo>
                      <a:pt x="173794" y="112883"/>
                    </a:lnTo>
                    <a:lnTo>
                      <a:pt x="173037" y="114550"/>
                    </a:lnTo>
                    <a:lnTo>
                      <a:pt x="172582" y="116065"/>
                    </a:lnTo>
                    <a:lnTo>
                      <a:pt x="174552" y="121823"/>
                    </a:lnTo>
                    <a:lnTo>
                      <a:pt x="174855" y="123641"/>
                    </a:lnTo>
                    <a:lnTo>
                      <a:pt x="173188" y="129853"/>
                    </a:lnTo>
                    <a:lnTo>
                      <a:pt x="172734" y="132126"/>
                    </a:lnTo>
                    <a:lnTo>
                      <a:pt x="173340" y="133641"/>
                    </a:lnTo>
                    <a:lnTo>
                      <a:pt x="175310" y="134247"/>
                    </a:lnTo>
                    <a:lnTo>
                      <a:pt x="175764" y="135611"/>
                    </a:lnTo>
                    <a:lnTo>
                      <a:pt x="175916" y="136672"/>
                    </a:lnTo>
                    <a:lnTo>
                      <a:pt x="172582" y="138944"/>
                    </a:lnTo>
                    <a:lnTo>
                      <a:pt x="169097" y="140914"/>
                    </a:lnTo>
                    <a:lnTo>
                      <a:pt x="168036" y="140914"/>
                    </a:lnTo>
                    <a:lnTo>
                      <a:pt x="164703" y="144702"/>
                    </a:lnTo>
                    <a:lnTo>
                      <a:pt x="159097" y="152127"/>
                    </a:lnTo>
                    <a:lnTo>
                      <a:pt x="156067" y="154702"/>
                    </a:lnTo>
                    <a:lnTo>
                      <a:pt x="155915" y="155915"/>
                    </a:lnTo>
                    <a:lnTo>
                      <a:pt x="155612" y="157127"/>
                    </a:lnTo>
                    <a:lnTo>
                      <a:pt x="156824" y="159248"/>
                    </a:lnTo>
                    <a:lnTo>
                      <a:pt x="157127" y="161066"/>
                    </a:lnTo>
                    <a:lnTo>
                      <a:pt x="155915" y="162885"/>
                    </a:lnTo>
                    <a:lnTo>
                      <a:pt x="153793" y="165006"/>
                    </a:lnTo>
                    <a:lnTo>
                      <a:pt x="149703" y="166824"/>
                    </a:lnTo>
                    <a:lnTo>
                      <a:pt x="144551" y="168642"/>
                    </a:lnTo>
                    <a:lnTo>
                      <a:pt x="142278" y="169703"/>
                    </a:lnTo>
                    <a:lnTo>
                      <a:pt x="140460" y="174552"/>
                    </a:lnTo>
                    <a:lnTo>
                      <a:pt x="138793" y="179400"/>
                    </a:lnTo>
                    <a:lnTo>
                      <a:pt x="138036" y="181219"/>
                    </a:lnTo>
                    <a:lnTo>
                      <a:pt x="135157" y="186825"/>
                    </a:lnTo>
                    <a:lnTo>
                      <a:pt x="130308" y="195007"/>
                    </a:lnTo>
                    <a:lnTo>
                      <a:pt x="129096" y="196825"/>
                    </a:lnTo>
                    <a:lnTo>
                      <a:pt x="121520" y="200765"/>
                    </a:lnTo>
                    <a:lnTo>
                      <a:pt x="113792" y="205007"/>
                    </a:lnTo>
                    <a:lnTo>
                      <a:pt x="112429" y="206674"/>
                    </a:lnTo>
                    <a:lnTo>
                      <a:pt x="110913" y="210614"/>
                    </a:lnTo>
                    <a:lnTo>
                      <a:pt x="109398" y="214856"/>
                    </a:lnTo>
                    <a:lnTo>
                      <a:pt x="108034" y="217129"/>
                    </a:lnTo>
                    <a:lnTo>
                      <a:pt x="103034" y="222129"/>
                    </a:lnTo>
                    <a:lnTo>
                      <a:pt x="101367" y="225917"/>
                    </a:lnTo>
                    <a:lnTo>
                      <a:pt x="100913" y="228493"/>
                    </a:lnTo>
                    <a:lnTo>
                      <a:pt x="96670" y="229857"/>
                    </a:lnTo>
                    <a:lnTo>
                      <a:pt x="91973" y="231220"/>
                    </a:lnTo>
                    <a:lnTo>
                      <a:pt x="85003" y="231675"/>
                    </a:lnTo>
                    <a:lnTo>
                      <a:pt x="82124" y="232433"/>
                    </a:lnTo>
                    <a:lnTo>
                      <a:pt x="73639" y="235918"/>
                    </a:lnTo>
                    <a:lnTo>
                      <a:pt x="71518" y="236069"/>
                    </a:lnTo>
                    <a:lnTo>
                      <a:pt x="69851" y="235463"/>
                    </a:lnTo>
                    <a:lnTo>
                      <a:pt x="68639" y="234251"/>
                    </a:lnTo>
                    <a:lnTo>
                      <a:pt x="67427" y="232281"/>
                    </a:lnTo>
                    <a:lnTo>
                      <a:pt x="66821" y="229251"/>
                    </a:lnTo>
                    <a:lnTo>
                      <a:pt x="65154" y="227887"/>
                    </a:lnTo>
                    <a:lnTo>
                      <a:pt x="62881" y="226675"/>
                    </a:lnTo>
                    <a:lnTo>
                      <a:pt x="60608" y="226675"/>
                    </a:lnTo>
                    <a:lnTo>
                      <a:pt x="58336" y="227887"/>
                    </a:lnTo>
                    <a:lnTo>
                      <a:pt x="56366" y="229251"/>
                    </a:lnTo>
                    <a:lnTo>
                      <a:pt x="55002" y="230463"/>
                    </a:lnTo>
                    <a:lnTo>
                      <a:pt x="53638" y="231827"/>
                    </a:lnTo>
                    <a:lnTo>
                      <a:pt x="51062" y="236372"/>
                    </a:lnTo>
                    <a:lnTo>
                      <a:pt x="46820" y="242888"/>
                    </a:lnTo>
                    <a:lnTo>
                      <a:pt x="42123" y="247585"/>
                    </a:lnTo>
                    <a:lnTo>
                      <a:pt x="40456" y="248948"/>
                    </a:lnTo>
                    <a:lnTo>
                      <a:pt x="39395" y="250009"/>
                    </a:lnTo>
                    <a:lnTo>
                      <a:pt x="37880" y="251524"/>
                    </a:lnTo>
                    <a:lnTo>
                      <a:pt x="36971" y="253039"/>
                    </a:lnTo>
                    <a:lnTo>
                      <a:pt x="35759" y="258040"/>
                    </a:lnTo>
                    <a:lnTo>
                      <a:pt x="35153" y="262434"/>
                    </a:lnTo>
                    <a:lnTo>
                      <a:pt x="35456" y="263343"/>
                    </a:lnTo>
                    <a:lnTo>
                      <a:pt x="36214" y="264100"/>
                    </a:lnTo>
                    <a:lnTo>
                      <a:pt x="38789" y="265313"/>
                    </a:lnTo>
                    <a:lnTo>
                      <a:pt x="42426" y="267434"/>
                    </a:lnTo>
                    <a:lnTo>
                      <a:pt x="47274" y="268646"/>
                    </a:lnTo>
                    <a:lnTo>
                      <a:pt x="51366" y="268798"/>
                    </a:lnTo>
                    <a:lnTo>
                      <a:pt x="52881" y="269707"/>
                    </a:lnTo>
                    <a:lnTo>
                      <a:pt x="53790" y="270919"/>
                    </a:lnTo>
                    <a:lnTo>
                      <a:pt x="54093" y="271980"/>
                    </a:lnTo>
                    <a:lnTo>
                      <a:pt x="53941" y="275616"/>
                    </a:lnTo>
                    <a:lnTo>
                      <a:pt x="53487" y="279556"/>
                    </a:lnTo>
                    <a:lnTo>
                      <a:pt x="51972" y="283647"/>
                    </a:lnTo>
                    <a:lnTo>
                      <a:pt x="51972" y="286071"/>
                    </a:lnTo>
                    <a:lnTo>
                      <a:pt x="52578" y="288344"/>
                    </a:lnTo>
                    <a:lnTo>
                      <a:pt x="57124" y="294253"/>
                    </a:lnTo>
                    <a:lnTo>
                      <a:pt x="58790" y="294859"/>
                    </a:lnTo>
                    <a:lnTo>
                      <a:pt x="62124" y="295011"/>
                    </a:lnTo>
                    <a:lnTo>
                      <a:pt x="63639" y="294859"/>
                    </a:lnTo>
                    <a:lnTo>
                      <a:pt x="65305" y="294253"/>
                    </a:lnTo>
                    <a:lnTo>
                      <a:pt x="66518" y="294708"/>
                    </a:lnTo>
                    <a:lnTo>
                      <a:pt x="67427" y="295465"/>
                    </a:lnTo>
                    <a:lnTo>
                      <a:pt x="67730" y="296678"/>
                    </a:lnTo>
                    <a:lnTo>
                      <a:pt x="67579" y="302587"/>
                    </a:lnTo>
                    <a:lnTo>
                      <a:pt x="68942" y="305314"/>
                    </a:lnTo>
                    <a:lnTo>
                      <a:pt x="71669" y="308951"/>
                    </a:lnTo>
                    <a:lnTo>
                      <a:pt x="73791" y="313042"/>
                    </a:lnTo>
                    <a:lnTo>
                      <a:pt x="75760" y="318042"/>
                    </a:lnTo>
                    <a:lnTo>
                      <a:pt x="77730" y="321981"/>
                    </a:lnTo>
                    <a:lnTo>
                      <a:pt x="78488" y="323951"/>
                    </a:lnTo>
                    <a:lnTo>
                      <a:pt x="77276" y="324860"/>
                    </a:lnTo>
                    <a:lnTo>
                      <a:pt x="76518" y="325921"/>
                    </a:lnTo>
                    <a:lnTo>
                      <a:pt x="76367" y="327285"/>
                    </a:lnTo>
                    <a:lnTo>
                      <a:pt x="76669" y="328648"/>
                    </a:lnTo>
                    <a:lnTo>
                      <a:pt x="76518" y="329709"/>
                    </a:lnTo>
                    <a:lnTo>
                      <a:pt x="77427" y="330921"/>
                    </a:lnTo>
                    <a:lnTo>
                      <a:pt x="78488" y="331376"/>
                    </a:lnTo>
                    <a:lnTo>
                      <a:pt x="78488" y="332285"/>
                    </a:lnTo>
                    <a:lnTo>
                      <a:pt x="76821" y="333346"/>
                    </a:lnTo>
                    <a:lnTo>
                      <a:pt x="75306" y="333346"/>
                    </a:lnTo>
                    <a:lnTo>
                      <a:pt x="74094" y="333951"/>
                    </a:lnTo>
                    <a:lnTo>
                      <a:pt x="71821" y="336376"/>
                    </a:lnTo>
                    <a:lnTo>
                      <a:pt x="70760" y="336830"/>
                    </a:lnTo>
                    <a:lnTo>
                      <a:pt x="69397" y="336982"/>
                    </a:lnTo>
                    <a:lnTo>
                      <a:pt x="67881" y="336679"/>
                    </a:lnTo>
                    <a:lnTo>
                      <a:pt x="65760" y="335770"/>
                    </a:lnTo>
                    <a:lnTo>
                      <a:pt x="65154" y="334255"/>
                    </a:lnTo>
                    <a:lnTo>
                      <a:pt x="65457" y="332739"/>
                    </a:lnTo>
                    <a:lnTo>
                      <a:pt x="65003" y="331830"/>
                    </a:lnTo>
                    <a:lnTo>
                      <a:pt x="63487" y="331982"/>
                    </a:lnTo>
                    <a:lnTo>
                      <a:pt x="58033" y="333649"/>
                    </a:lnTo>
                    <a:lnTo>
                      <a:pt x="52881" y="335618"/>
                    </a:lnTo>
                    <a:lnTo>
                      <a:pt x="51972" y="336982"/>
                    </a:lnTo>
                    <a:lnTo>
                      <a:pt x="50760" y="338346"/>
                    </a:lnTo>
                    <a:lnTo>
                      <a:pt x="48335" y="338952"/>
                    </a:lnTo>
                    <a:lnTo>
                      <a:pt x="44850" y="339103"/>
                    </a:lnTo>
                    <a:lnTo>
                      <a:pt x="42426" y="338952"/>
                    </a:lnTo>
                    <a:lnTo>
                      <a:pt x="40153" y="337437"/>
                    </a:lnTo>
                    <a:lnTo>
                      <a:pt x="38032" y="336073"/>
                    </a:lnTo>
                    <a:lnTo>
                      <a:pt x="34850" y="336073"/>
                    </a:lnTo>
                    <a:lnTo>
                      <a:pt x="29092" y="336224"/>
                    </a:lnTo>
                    <a:lnTo>
                      <a:pt x="25910" y="336224"/>
                    </a:lnTo>
                    <a:lnTo>
                      <a:pt x="24092" y="335770"/>
                    </a:lnTo>
                    <a:lnTo>
                      <a:pt x="22274" y="336224"/>
                    </a:lnTo>
                    <a:lnTo>
                      <a:pt x="20001" y="335618"/>
                    </a:lnTo>
                    <a:lnTo>
                      <a:pt x="18940" y="336376"/>
                    </a:lnTo>
                    <a:lnTo>
                      <a:pt x="18031" y="336376"/>
                    </a:lnTo>
                    <a:lnTo>
                      <a:pt x="17274" y="335012"/>
                    </a:lnTo>
                    <a:lnTo>
                      <a:pt x="16819" y="334861"/>
                    </a:lnTo>
                    <a:lnTo>
                      <a:pt x="16213" y="335012"/>
                    </a:lnTo>
                    <a:lnTo>
                      <a:pt x="15758" y="335467"/>
                    </a:lnTo>
                    <a:lnTo>
                      <a:pt x="15455" y="336224"/>
                    </a:lnTo>
                    <a:lnTo>
                      <a:pt x="15304" y="344861"/>
                    </a:lnTo>
                    <a:lnTo>
                      <a:pt x="11516" y="344861"/>
                    </a:lnTo>
                    <a:lnTo>
                      <a:pt x="8788" y="344861"/>
                    </a:lnTo>
                    <a:lnTo>
                      <a:pt x="5910" y="345316"/>
                    </a:lnTo>
                    <a:lnTo>
                      <a:pt x="3182" y="345922"/>
                    </a:lnTo>
                    <a:lnTo>
                      <a:pt x="1818" y="346679"/>
                    </a:lnTo>
                    <a:lnTo>
                      <a:pt x="0" y="347891"/>
                    </a:lnTo>
                    <a:lnTo>
                      <a:pt x="758" y="351528"/>
                    </a:lnTo>
                    <a:lnTo>
                      <a:pt x="1970" y="355316"/>
                    </a:lnTo>
                    <a:lnTo>
                      <a:pt x="5000" y="354710"/>
                    </a:lnTo>
                    <a:lnTo>
                      <a:pt x="7273" y="352134"/>
                    </a:lnTo>
                    <a:lnTo>
                      <a:pt x="9243" y="350922"/>
                    </a:lnTo>
                    <a:lnTo>
                      <a:pt x="13182" y="349255"/>
                    </a:lnTo>
                    <a:lnTo>
                      <a:pt x="16819" y="348043"/>
                    </a:lnTo>
                    <a:lnTo>
                      <a:pt x="12728" y="350922"/>
                    </a:lnTo>
                    <a:lnTo>
                      <a:pt x="8031" y="354558"/>
                    </a:lnTo>
                    <a:lnTo>
                      <a:pt x="6970" y="356225"/>
                    </a:lnTo>
                    <a:lnTo>
                      <a:pt x="10000" y="362134"/>
                    </a:lnTo>
                    <a:lnTo>
                      <a:pt x="13031" y="367135"/>
                    </a:lnTo>
                    <a:lnTo>
                      <a:pt x="17879" y="371074"/>
                    </a:lnTo>
                    <a:lnTo>
                      <a:pt x="29395" y="376983"/>
                    </a:lnTo>
                    <a:lnTo>
                      <a:pt x="41062" y="379559"/>
                    </a:lnTo>
                    <a:lnTo>
                      <a:pt x="43184" y="379105"/>
                    </a:lnTo>
                    <a:lnTo>
                      <a:pt x="46214" y="376832"/>
                    </a:lnTo>
                    <a:lnTo>
                      <a:pt x="53487" y="374256"/>
                    </a:lnTo>
                    <a:lnTo>
                      <a:pt x="55457" y="373650"/>
                    </a:lnTo>
                    <a:lnTo>
                      <a:pt x="57124" y="373498"/>
                    </a:lnTo>
                    <a:lnTo>
                      <a:pt x="59548" y="374407"/>
                    </a:lnTo>
                    <a:lnTo>
                      <a:pt x="60305" y="373498"/>
                    </a:lnTo>
                    <a:lnTo>
                      <a:pt x="61063" y="371832"/>
                    </a:lnTo>
                    <a:lnTo>
                      <a:pt x="62124" y="370468"/>
                    </a:lnTo>
                    <a:lnTo>
                      <a:pt x="63639" y="370165"/>
                    </a:lnTo>
                    <a:lnTo>
                      <a:pt x="64245" y="371529"/>
                    </a:lnTo>
                    <a:lnTo>
                      <a:pt x="64396" y="372589"/>
                    </a:lnTo>
                    <a:lnTo>
                      <a:pt x="62426" y="373498"/>
                    </a:lnTo>
                    <a:lnTo>
                      <a:pt x="59396" y="377893"/>
                    </a:lnTo>
                    <a:lnTo>
                      <a:pt x="55305" y="384862"/>
                    </a:lnTo>
                    <a:lnTo>
                      <a:pt x="52729" y="385469"/>
                    </a:lnTo>
                    <a:lnTo>
                      <a:pt x="50608" y="385620"/>
                    </a:lnTo>
                    <a:lnTo>
                      <a:pt x="45456" y="388347"/>
                    </a:lnTo>
                    <a:lnTo>
                      <a:pt x="42881" y="387893"/>
                    </a:lnTo>
                    <a:lnTo>
                      <a:pt x="40911" y="389711"/>
                    </a:lnTo>
                    <a:lnTo>
                      <a:pt x="38032" y="389560"/>
                    </a:lnTo>
                    <a:lnTo>
                      <a:pt x="30607" y="393045"/>
                    </a:lnTo>
                    <a:lnTo>
                      <a:pt x="29547" y="392590"/>
                    </a:lnTo>
                    <a:lnTo>
                      <a:pt x="28334" y="391529"/>
                    </a:lnTo>
                    <a:lnTo>
                      <a:pt x="26668" y="389257"/>
                    </a:lnTo>
                    <a:lnTo>
                      <a:pt x="24546" y="388650"/>
                    </a:lnTo>
                    <a:lnTo>
                      <a:pt x="22728" y="390166"/>
                    </a:lnTo>
                    <a:lnTo>
                      <a:pt x="22425" y="392893"/>
                    </a:lnTo>
                    <a:lnTo>
                      <a:pt x="23486" y="395621"/>
                    </a:lnTo>
                    <a:lnTo>
                      <a:pt x="28486" y="401530"/>
                    </a:lnTo>
                    <a:lnTo>
                      <a:pt x="33789" y="405924"/>
                    </a:lnTo>
                    <a:lnTo>
                      <a:pt x="38032" y="410469"/>
                    </a:lnTo>
                    <a:lnTo>
                      <a:pt x="43638" y="415470"/>
                    </a:lnTo>
                    <a:lnTo>
                      <a:pt x="51517" y="424712"/>
                    </a:lnTo>
                    <a:lnTo>
                      <a:pt x="54093" y="427137"/>
                    </a:lnTo>
                    <a:lnTo>
                      <a:pt x="63942" y="434410"/>
                    </a:lnTo>
                    <a:lnTo>
                      <a:pt x="70306" y="437289"/>
                    </a:lnTo>
                    <a:lnTo>
                      <a:pt x="74700" y="438046"/>
                    </a:lnTo>
                    <a:lnTo>
                      <a:pt x="78639" y="437289"/>
                    </a:lnTo>
                    <a:lnTo>
                      <a:pt x="88791" y="433501"/>
                    </a:lnTo>
                    <a:lnTo>
                      <a:pt x="93640" y="430622"/>
                    </a:lnTo>
                    <a:lnTo>
                      <a:pt x="105762" y="425318"/>
                    </a:lnTo>
                    <a:lnTo>
                      <a:pt x="107428" y="423349"/>
                    </a:lnTo>
                    <a:lnTo>
                      <a:pt x="112277" y="414561"/>
                    </a:lnTo>
                    <a:lnTo>
                      <a:pt x="112277" y="410924"/>
                    </a:lnTo>
                    <a:lnTo>
                      <a:pt x="111065" y="408954"/>
                    </a:lnTo>
                    <a:lnTo>
                      <a:pt x="110004" y="407591"/>
                    </a:lnTo>
                    <a:lnTo>
                      <a:pt x="108186" y="406985"/>
                    </a:lnTo>
                    <a:lnTo>
                      <a:pt x="106368" y="406227"/>
                    </a:lnTo>
                    <a:lnTo>
                      <a:pt x="107428" y="405015"/>
                    </a:lnTo>
                    <a:lnTo>
                      <a:pt x="107883" y="403348"/>
                    </a:lnTo>
                    <a:lnTo>
                      <a:pt x="109701" y="401530"/>
                    </a:lnTo>
                    <a:lnTo>
                      <a:pt x="111974" y="400318"/>
                    </a:lnTo>
                    <a:lnTo>
                      <a:pt x="112731" y="398499"/>
                    </a:lnTo>
                    <a:lnTo>
                      <a:pt x="113641" y="395621"/>
                    </a:lnTo>
                    <a:lnTo>
                      <a:pt x="111822" y="393954"/>
                    </a:lnTo>
                    <a:lnTo>
                      <a:pt x="110156" y="393196"/>
                    </a:lnTo>
                    <a:lnTo>
                      <a:pt x="114247" y="393196"/>
                    </a:lnTo>
                    <a:lnTo>
                      <a:pt x="117580" y="393802"/>
                    </a:lnTo>
                    <a:lnTo>
                      <a:pt x="121217" y="392893"/>
                    </a:lnTo>
                    <a:lnTo>
                      <a:pt x="124247" y="393348"/>
                    </a:lnTo>
                    <a:lnTo>
                      <a:pt x="127126" y="394257"/>
                    </a:lnTo>
                    <a:lnTo>
                      <a:pt x="124399" y="395014"/>
                    </a:lnTo>
                    <a:lnTo>
                      <a:pt x="122126" y="395166"/>
                    </a:lnTo>
                    <a:lnTo>
                      <a:pt x="120005" y="396226"/>
                    </a:lnTo>
                    <a:lnTo>
                      <a:pt x="119096" y="401530"/>
                    </a:lnTo>
                    <a:lnTo>
                      <a:pt x="121671" y="401984"/>
                    </a:lnTo>
                    <a:lnTo>
                      <a:pt x="123944" y="401681"/>
                    </a:lnTo>
                    <a:lnTo>
                      <a:pt x="122429" y="402590"/>
                    </a:lnTo>
                    <a:lnTo>
                      <a:pt x="121065" y="404257"/>
                    </a:lnTo>
                    <a:lnTo>
                      <a:pt x="119701" y="409409"/>
                    </a:lnTo>
                    <a:lnTo>
                      <a:pt x="127884" y="409712"/>
                    </a:lnTo>
                    <a:lnTo>
                      <a:pt x="131672" y="409257"/>
                    </a:lnTo>
                    <a:lnTo>
                      <a:pt x="135308" y="407894"/>
                    </a:lnTo>
                    <a:lnTo>
                      <a:pt x="132884" y="409409"/>
                    </a:lnTo>
                    <a:lnTo>
                      <a:pt x="127126" y="411682"/>
                    </a:lnTo>
                    <a:lnTo>
                      <a:pt x="124550" y="413652"/>
                    </a:lnTo>
                    <a:lnTo>
                      <a:pt x="121671" y="416227"/>
                    </a:lnTo>
                    <a:lnTo>
                      <a:pt x="123186" y="416379"/>
                    </a:lnTo>
                    <a:lnTo>
                      <a:pt x="125005" y="415924"/>
                    </a:lnTo>
                    <a:lnTo>
                      <a:pt x="123641" y="416985"/>
                    </a:lnTo>
                    <a:lnTo>
                      <a:pt x="121975" y="418803"/>
                    </a:lnTo>
                    <a:lnTo>
                      <a:pt x="123793" y="424258"/>
                    </a:lnTo>
                    <a:lnTo>
                      <a:pt x="125459" y="425622"/>
                    </a:lnTo>
                    <a:lnTo>
                      <a:pt x="127126" y="425925"/>
                    </a:lnTo>
                    <a:lnTo>
                      <a:pt x="127429" y="426834"/>
                    </a:lnTo>
                    <a:lnTo>
                      <a:pt x="127884" y="430622"/>
                    </a:lnTo>
                    <a:lnTo>
                      <a:pt x="128944" y="434107"/>
                    </a:lnTo>
                    <a:lnTo>
                      <a:pt x="129399" y="438501"/>
                    </a:lnTo>
                    <a:lnTo>
                      <a:pt x="129096" y="441683"/>
                    </a:lnTo>
                    <a:lnTo>
                      <a:pt x="124399" y="455471"/>
                    </a:lnTo>
                    <a:lnTo>
                      <a:pt x="123338" y="462441"/>
                    </a:lnTo>
                    <a:lnTo>
                      <a:pt x="123489" y="463350"/>
                    </a:lnTo>
                    <a:lnTo>
                      <a:pt x="124096" y="464562"/>
                    </a:lnTo>
                    <a:lnTo>
                      <a:pt x="124853" y="469562"/>
                    </a:lnTo>
                    <a:lnTo>
                      <a:pt x="126823" y="471229"/>
                    </a:lnTo>
                    <a:lnTo>
                      <a:pt x="125611" y="473199"/>
                    </a:lnTo>
                    <a:lnTo>
                      <a:pt x="125763" y="474260"/>
                    </a:lnTo>
                    <a:lnTo>
                      <a:pt x="126368" y="475623"/>
                    </a:lnTo>
                    <a:lnTo>
                      <a:pt x="131823" y="478048"/>
                    </a:lnTo>
                    <a:lnTo>
                      <a:pt x="126974" y="477442"/>
                    </a:lnTo>
                    <a:lnTo>
                      <a:pt x="126520" y="478805"/>
                    </a:lnTo>
                    <a:lnTo>
                      <a:pt x="126672" y="479715"/>
                    </a:lnTo>
                    <a:lnTo>
                      <a:pt x="126672" y="483654"/>
                    </a:lnTo>
                    <a:lnTo>
                      <a:pt x="127581" y="486533"/>
                    </a:lnTo>
                    <a:lnTo>
                      <a:pt x="129399" y="485472"/>
                    </a:lnTo>
                    <a:lnTo>
                      <a:pt x="131369" y="481533"/>
                    </a:lnTo>
                    <a:lnTo>
                      <a:pt x="132278" y="485321"/>
                    </a:lnTo>
                    <a:lnTo>
                      <a:pt x="131520" y="487897"/>
                    </a:lnTo>
                    <a:lnTo>
                      <a:pt x="129399" y="492139"/>
                    </a:lnTo>
                    <a:lnTo>
                      <a:pt x="128641" y="494867"/>
                    </a:lnTo>
                    <a:lnTo>
                      <a:pt x="128793" y="495927"/>
                    </a:lnTo>
                    <a:lnTo>
                      <a:pt x="130005" y="497745"/>
                    </a:lnTo>
                    <a:lnTo>
                      <a:pt x="130763" y="503655"/>
                    </a:lnTo>
                    <a:lnTo>
                      <a:pt x="131520" y="506685"/>
                    </a:lnTo>
                    <a:lnTo>
                      <a:pt x="132126" y="511231"/>
                    </a:lnTo>
                    <a:lnTo>
                      <a:pt x="133641" y="516534"/>
                    </a:lnTo>
                    <a:lnTo>
                      <a:pt x="136672" y="524565"/>
                    </a:lnTo>
                    <a:lnTo>
                      <a:pt x="136520" y="527140"/>
                    </a:lnTo>
                    <a:lnTo>
                      <a:pt x="138945" y="536383"/>
                    </a:lnTo>
                    <a:lnTo>
                      <a:pt x="141672" y="556990"/>
                    </a:lnTo>
                    <a:lnTo>
                      <a:pt x="144854" y="565627"/>
                    </a:lnTo>
                    <a:lnTo>
                      <a:pt x="145460" y="568354"/>
                    </a:lnTo>
                    <a:lnTo>
                      <a:pt x="149096" y="573506"/>
                    </a:lnTo>
                    <a:lnTo>
                      <a:pt x="151066" y="578051"/>
                    </a:lnTo>
                    <a:lnTo>
                      <a:pt x="152582" y="579567"/>
                    </a:lnTo>
                    <a:lnTo>
                      <a:pt x="155309" y="579567"/>
                    </a:lnTo>
                    <a:lnTo>
                      <a:pt x="153642" y="581991"/>
                    </a:lnTo>
                    <a:lnTo>
                      <a:pt x="154854" y="582900"/>
                    </a:lnTo>
                    <a:lnTo>
                      <a:pt x="155915" y="584415"/>
                    </a:lnTo>
                    <a:lnTo>
                      <a:pt x="158036" y="586840"/>
                    </a:lnTo>
                    <a:lnTo>
                      <a:pt x="154400" y="586840"/>
                    </a:lnTo>
                    <a:lnTo>
                      <a:pt x="156672" y="589415"/>
                    </a:lnTo>
                    <a:lnTo>
                      <a:pt x="158491" y="595931"/>
                    </a:lnTo>
                    <a:lnTo>
                      <a:pt x="161067" y="599416"/>
                    </a:lnTo>
                    <a:lnTo>
                      <a:pt x="162430" y="600779"/>
                    </a:lnTo>
                    <a:lnTo>
                      <a:pt x="166067" y="606083"/>
                    </a:lnTo>
                    <a:lnTo>
                      <a:pt x="167582" y="607749"/>
                    </a:lnTo>
                    <a:lnTo>
                      <a:pt x="169097" y="609871"/>
                    </a:lnTo>
                    <a:lnTo>
                      <a:pt x="170461" y="612143"/>
                    </a:lnTo>
                    <a:lnTo>
                      <a:pt x="170915" y="614568"/>
                    </a:lnTo>
                    <a:lnTo>
                      <a:pt x="172885" y="619871"/>
                    </a:lnTo>
                    <a:lnTo>
                      <a:pt x="172885" y="621235"/>
                    </a:lnTo>
                    <a:lnTo>
                      <a:pt x="173794" y="624568"/>
                    </a:lnTo>
                    <a:lnTo>
                      <a:pt x="176825" y="630023"/>
                    </a:lnTo>
                    <a:lnTo>
                      <a:pt x="178491" y="635023"/>
                    </a:lnTo>
                    <a:lnTo>
                      <a:pt x="178795" y="637296"/>
                    </a:lnTo>
                    <a:lnTo>
                      <a:pt x="178795" y="639417"/>
                    </a:lnTo>
                    <a:lnTo>
                      <a:pt x="181219" y="651236"/>
                    </a:lnTo>
                    <a:lnTo>
                      <a:pt x="182128" y="653963"/>
                    </a:lnTo>
                    <a:lnTo>
                      <a:pt x="183946" y="657600"/>
                    </a:lnTo>
                    <a:lnTo>
                      <a:pt x="186067" y="665327"/>
                    </a:lnTo>
                    <a:lnTo>
                      <a:pt x="192886" y="679267"/>
                    </a:lnTo>
                    <a:lnTo>
                      <a:pt x="193795" y="680176"/>
                    </a:lnTo>
                    <a:lnTo>
                      <a:pt x="196068" y="681995"/>
                    </a:lnTo>
                    <a:lnTo>
                      <a:pt x="199099" y="686086"/>
                    </a:lnTo>
                    <a:lnTo>
                      <a:pt x="201826" y="689116"/>
                    </a:lnTo>
                    <a:lnTo>
                      <a:pt x="205159" y="695632"/>
                    </a:lnTo>
                    <a:lnTo>
                      <a:pt x="207280" y="698510"/>
                    </a:lnTo>
                    <a:lnTo>
                      <a:pt x="210614" y="706844"/>
                    </a:lnTo>
                    <a:lnTo>
                      <a:pt x="212735" y="714420"/>
                    </a:lnTo>
                    <a:lnTo>
                      <a:pt x="217432" y="724875"/>
                    </a:lnTo>
                    <a:lnTo>
                      <a:pt x="218190" y="726996"/>
                    </a:lnTo>
                    <a:lnTo>
                      <a:pt x="220311" y="730481"/>
                    </a:lnTo>
                    <a:lnTo>
                      <a:pt x="220008" y="731542"/>
                    </a:lnTo>
                    <a:lnTo>
                      <a:pt x="220160" y="733663"/>
                    </a:lnTo>
                    <a:lnTo>
                      <a:pt x="220918" y="735330"/>
                    </a:lnTo>
                    <a:lnTo>
                      <a:pt x="221675" y="735481"/>
                    </a:lnTo>
                    <a:lnTo>
                      <a:pt x="224402" y="738057"/>
                    </a:lnTo>
                    <a:lnTo>
                      <a:pt x="227433" y="748664"/>
                    </a:lnTo>
                    <a:lnTo>
                      <a:pt x="226372" y="749118"/>
                    </a:lnTo>
                    <a:lnTo>
                      <a:pt x="225160" y="748512"/>
                    </a:lnTo>
                    <a:lnTo>
                      <a:pt x="225008" y="743966"/>
                    </a:lnTo>
                    <a:lnTo>
                      <a:pt x="224251" y="740633"/>
                    </a:lnTo>
                    <a:lnTo>
                      <a:pt x="222584" y="738360"/>
                    </a:lnTo>
                    <a:lnTo>
                      <a:pt x="221372" y="737906"/>
                    </a:lnTo>
                    <a:lnTo>
                      <a:pt x="222736" y="744724"/>
                    </a:lnTo>
                    <a:lnTo>
                      <a:pt x="223645" y="750936"/>
                    </a:lnTo>
                    <a:lnTo>
                      <a:pt x="225766" y="756846"/>
                    </a:lnTo>
                    <a:lnTo>
                      <a:pt x="226220" y="757603"/>
                    </a:lnTo>
                    <a:lnTo>
                      <a:pt x="227130" y="758058"/>
                    </a:lnTo>
                    <a:lnTo>
                      <a:pt x="227736" y="758816"/>
                    </a:lnTo>
                    <a:lnTo>
                      <a:pt x="228039" y="760785"/>
                    </a:lnTo>
                    <a:lnTo>
                      <a:pt x="230008" y="765937"/>
                    </a:lnTo>
                    <a:lnTo>
                      <a:pt x="231827" y="767452"/>
                    </a:lnTo>
                    <a:lnTo>
                      <a:pt x="241372" y="779422"/>
                    </a:lnTo>
                    <a:lnTo>
                      <a:pt x="244100" y="781998"/>
                    </a:lnTo>
                    <a:lnTo>
                      <a:pt x="250615" y="786695"/>
                    </a:lnTo>
                    <a:lnTo>
                      <a:pt x="256525" y="788514"/>
                    </a:lnTo>
                    <a:lnTo>
                      <a:pt x="258494" y="787150"/>
                    </a:lnTo>
                    <a:lnTo>
                      <a:pt x="263495" y="785483"/>
                    </a:lnTo>
                    <a:lnTo>
                      <a:pt x="271374" y="780180"/>
                    </a:lnTo>
                    <a:lnTo>
                      <a:pt x="273192" y="776695"/>
                    </a:lnTo>
                    <a:lnTo>
                      <a:pt x="273495" y="772604"/>
                    </a:lnTo>
                    <a:lnTo>
                      <a:pt x="275010" y="766392"/>
                    </a:lnTo>
                    <a:lnTo>
                      <a:pt x="277283" y="763664"/>
                    </a:lnTo>
                    <a:lnTo>
                      <a:pt x="281374" y="760482"/>
                    </a:lnTo>
                    <a:lnTo>
                      <a:pt x="296678" y="755937"/>
                    </a:lnTo>
                    <a:lnTo>
                      <a:pt x="303042" y="756240"/>
                    </a:lnTo>
                    <a:lnTo>
                      <a:pt x="308497" y="758058"/>
                    </a:lnTo>
                    <a:lnTo>
                      <a:pt x="306981" y="756391"/>
                    </a:lnTo>
                    <a:lnTo>
                      <a:pt x="304709" y="755482"/>
                    </a:lnTo>
                    <a:lnTo>
                      <a:pt x="300163" y="754876"/>
                    </a:lnTo>
                    <a:lnTo>
                      <a:pt x="297738" y="754270"/>
                    </a:lnTo>
                    <a:lnTo>
                      <a:pt x="295920" y="752603"/>
                    </a:lnTo>
                    <a:lnTo>
                      <a:pt x="295011" y="750936"/>
                    </a:lnTo>
                    <a:lnTo>
                      <a:pt x="295617" y="747906"/>
                    </a:lnTo>
                    <a:lnTo>
                      <a:pt x="297132" y="744724"/>
                    </a:lnTo>
                    <a:lnTo>
                      <a:pt x="304254" y="735027"/>
                    </a:lnTo>
                    <a:lnTo>
                      <a:pt x="304102" y="731239"/>
                    </a:lnTo>
                    <a:lnTo>
                      <a:pt x="305769" y="728966"/>
                    </a:lnTo>
                    <a:lnTo>
                      <a:pt x="307890" y="727602"/>
                    </a:lnTo>
                    <a:lnTo>
                      <a:pt x="311678" y="726996"/>
                    </a:lnTo>
                    <a:lnTo>
                      <a:pt x="313194" y="727451"/>
                    </a:lnTo>
                    <a:lnTo>
                      <a:pt x="315315" y="727754"/>
                    </a:lnTo>
                    <a:lnTo>
                      <a:pt x="317739" y="727602"/>
                    </a:lnTo>
                    <a:lnTo>
                      <a:pt x="320012" y="727148"/>
                    </a:lnTo>
                    <a:lnTo>
                      <a:pt x="320315" y="714874"/>
                    </a:lnTo>
                    <a:lnTo>
                      <a:pt x="320315" y="703056"/>
                    </a:lnTo>
                    <a:lnTo>
                      <a:pt x="320012" y="701086"/>
                    </a:lnTo>
                    <a:lnTo>
                      <a:pt x="318952" y="699116"/>
                    </a:lnTo>
                    <a:lnTo>
                      <a:pt x="316073" y="699874"/>
                    </a:lnTo>
                    <a:lnTo>
                      <a:pt x="317588" y="698207"/>
                    </a:lnTo>
                    <a:lnTo>
                      <a:pt x="318800" y="696086"/>
                    </a:lnTo>
                    <a:lnTo>
                      <a:pt x="317739" y="692601"/>
                    </a:lnTo>
                    <a:lnTo>
                      <a:pt x="318194" y="689419"/>
                    </a:lnTo>
                    <a:lnTo>
                      <a:pt x="320618" y="681237"/>
                    </a:lnTo>
                    <a:lnTo>
                      <a:pt x="323951" y="674418"/>
                    </a:lnTo>
                    <a:lnTo>
                      <a:pt x="325467" y="672752"/>
                    </a:lnTo>
                    <a:lnTo>
                      <a:pt x="328346" y="668509"/>
                    </a:lnTo>
                    <a:lnTo>
                      <a:pt x="330770" y="661994"/>
                    </a:lnTo>
                    <a:lnTo>
                      <a:pt x="333800" y="643508"/>
                    </a:lnTo>
                    <a:lnTo>
                      <a:pt x="332437" y="641387"/>
                    </a:lnTo>
                    <a:lnTo>
                      <a:pt x="327588" y="638811"/>
                    </a:lnTo>
                    <a:lnTo>
                      <a:pt x="326224" y="636690"/>
                    </a:lnTo>
                    <a:lnTo>
                      <a:pt x="328800" y="633659"/>
                    </a:lnTo>
                    <a:lnTo>
                      <a:pt x="330921" y="636690"/>
                    </a:lnTo>
                    <a:lnTo>
                      <a:pt x="331830" y="638963"/>
                    </a:lnTo>
                    <a:lnTo>
                      <a:pt x="332891" y="640023"/>
                    </a:lnTo>
                    <a:lnTo>
                      <a:pt x="331225" y="634417"/>
                    </a:lnTo>
                    <a:lnTo>
                      <a:pt x="331225" y="631993"/>
                    </a:lnTo>
                    <a:lnTo>
                      <a:pt x="330618" y="629720"/>
                    </a:lnTo>
                    <a:lnTo>
                      <a:pt x="328346" y="624114"/>
                    </a:lnTo>
                    <a:lnTo>
                      <a:pt x="327437" y="619871"/>
                    </a:lnTo>
                    <a:lnTo>
                      <a:pt x="328042" y="617750"/>
                    </a:lnTo>
                    <a:lnTo>
                      <a:pt x="328952" y="615931"/>
                    </a:lnTo>
                    <a:lnTo>
                      <a:pt x="329255" y="612295"/>
                    </a:lnTo>
                    <a:lnTo>
                      <a:pt x="328952" y="609568"/>
                    </a:lnTo>
                    <a:lnTo>
                      <a:pt x="327133" y="603507"/>
                    </a:lnTo>
                    <a:lnTo>
                      <a:pt x="325921" y="595779"/>
                    </a:lnTo>
                    <a:lnTo>
                      <a:pt x="327285" y="588809"/>
                    </a:lnTo>
                    <a:lnTo>
                      <a:pt x="332588" y="578051"/>
                    </a:lnTo>
                    <a:lnTo>
                      <a:pt x="335164" y="575779"/>
                    </a:lnTo>
                    <a:lnTo>
                      <a:pt x="342285" y="572900"/>
                    </a:lnTo>
                    <a:lnTo>
                      <a:pt x="343952" y="573051"/>
                    </a:lnTo>
                    <a:lnTo>
                      <a:pt x="345922" y="573657"/>
                    </a:lnTo>
                    <a:lnTo>
                      <a:pt x="347134" y="576536"/>
                    </a:lnTo>
                    <a:lnTo>
                      <a:pt x="348195" y="576082"/>
                    </a:lnTo>
                    <a:lnTo>
                      <a:pt x="349710" y="576688"/>
                    </a:lnTo>
                    <a:lnTo>
                      <a:pt x="351377" y="576688"/>
                    </a:lnTo>
                    <a:lnTo>
                      <a:pt x="351831" y="575324"/>
                    </a:lnTo>
                    <a:lnTo>
                      <a:pt x="352892" y="573354"/>
                    </a:lnTo>
                    <a:lnTo>
                      <a:pt x="355619" y="571081"/>
                    </a:lnTo>
                    <a:lnTo>
                      <a:pt x="358498" y="562596"/>
                    </a:lnTo>
                    <a:lnTo>
                      <a:pt x="359862" y="560627"/>
                    </a:lnTo>
                    <a:lnTo>
                      <a:pt x="363044" y="559869"/>
                    </a:lnTo>
                    <a:lnTo>
                      <a:pt x="371529" y="560778"/>
                    </a:lnTo>
                    <a:lnTo>
                      <a:pt x="372893" y="560930"/>
                    </a:lnTo>
                    <a:lnTo>
                      <a:pt x="383348" y="556535"/>
                    </a:lnTo>
                    <a:lnTo>
                      <a:pt x="386530" y="554414"/>
                    </a:lnTo>
                    <a:lnTo>
                      <a:pt x="388348" y="551535"/>
                    </a:lnTo>
                    <a:lnTo>
                      <a:pt x="388651" y="550323"/>
                    </a:lnTo>
                    <a:lnTo>
                      <a:pt x="389257" y="548202"/>
                    </a:lnTo>
                    <a:lnTo>
                      <a:pt x="388954" y="546990"/>
                    </a:lnTo>
                    <a:lnTo>
                      <a:pt x="387742" y="545474"/>
                    </a:lnTo>
                    <a:lnTo>
                      <a:pt x="386984" y="543808"/>
                    </a:lnTo>
                    <a:lnTo>
                      <a:pt x="387136" y="542596"/>
                    </a:lnTo>
                    <a:lnTo>
                      <a:pt x="389105" y="539262"/>
                    </a:lnTo>
                    <a:lnTo>
                      <a:pt x="395469" y="534262"/>
                    </a:lnTo>
                    <a:lnTo>
                      <a:pt x="405924" y="528959"/>
                    </a:lnTo>
                    <a:lnTo>
                      <a:pt x="411985" y="524868"/>
                    </a:lnTo>
                    <a:lnTo>
                      <a:pt x="417137" y="519867"/>
                    </a:lnTo>
                    <a:lnTo>
                      <a:pt x="422137" y="513807"/>
                    </a:lnTo>
                    <a:lnTo>
                      <a:pt x="424410" y="511988"/>
                    </a:lnTo>
                    <a:lnTo>
                      <a:pt x="436683" y="505776"/>
                    </a:lnTo>
                    <a:lnTo>
                      <a:pt x="438804" y="502746"/>
                    </a:lnTo>
                    <a:lnTo>
                      <a:pt x="446532" y="494563"/>
                    </a:lnTo>
                    <a:lnTo>
                      <a:pt x="450471" y="489109"/>
                    </a:lnTo>
                    <a:lnTo>
                      <a:pt x="452744" y="486836"/>
                    </a:lnTo>
                    <a:lnTo>
                      <a:pt x="454411" y="484412"/>
                    </a:lnTo>
                    <a:lnTo>
                      <a:pt x="455017" y="482290"/>
                    </a:lnTo>
                    <a:lnTo>
                      <a:pt x="467442" y="471532"/>
                    </a:lnTo>
                    <a:lnTo>
                      <a:pt x="473351" y="468199"/>
                    </a:lnTo>
                    <a:lnTo>
                      <a:pt x="473200" y="467290"/>
                    </a:lnTo>
                    <a:lnTo>
                      <a:pt x="471381" y="466684"/>
                    </a:lnTo>
                    <a:lnTo>
                      <a:pt x="467442" y="468805"/>
                    </a:lnTo>
                    <a:lnTo>
                      <a:pt x="466078" y="468956"/>
                    </a:lnTo>
                    <a:lnTo>
                      <a:pt x="465624" y="468199"/>
                    </a:lnTo>
                    <a:lnTo>
                      <a:pt x="467896" y="464259"/>
                    </a:lnTo>
                    <a:lnTo>
                      <a:pt x="473654" y="460320"/>
                    </a:lnTo>
                    <a:lnTo>
                      <a:pt x="474866" y="460623"/>
                    </a:lnTo>
                    <a:lnTo>
                      <a:pt x="476230" y="461229"/>
                    </a:lnTo>
                    <a:lnTo>
                      <a:pt x="476381" y="464411"/>
                    </a:lnTo>
                    <a:lnTo>
                      <a:pt x="475018" y="465168"/>
                    </a:lnTo>
                    <a:lnTo>
                      <a:pt x="474563" y="466078"/>
                    </a:lnTo>
                    <a:lnTo>
                      <a:pt x="476685" y="466229"/>
                    </a:lnTo>
                    <a:lnTo>
                      <a:pt x="484261" y="463502"/>
                    </a:lnTo>
                    <a:lnTo>
                      <a:pt x="494261" y="460623"/>
                    </a:lnTo>
                    <a:lnTo>
                      <a:pt x="495928" y="460017"/>
                    </a:lnTo>
                    <a:lnTo>
                      <a:pt x="496534" y="459259"/>
                    </a:lnTo>
                    <a:lnTo>
                      <a:pt x="496837" y="458047"/>
                    </a:lnTo>
                    <a:lnTo>
                      <a:pt x="495019" y="456229"/>
                    </a:lnTo>
                    <a:lnTo>
                      <a:pt x="496382" y="456229"/>
                    </a:lnTo>
                    <a:lnTo>
                      <a:pt x="498655" y="457592"/>
                    </a:lnTo>
                    <a:lnTo>
                      <a:pt x="500625" y="455320"/>
                    </a:lnTo>
                    <a:lnTo>
                      <a:pt x="502140" y="453047"/>
                    </a:lnTo>
                    <a:lnTo>
                      <a:pt x="508958" y="449107"/>
                    </a:lnTo>
                    <a:lnTo>
                      <a:pt x="509413" y="447895"/>
                    </a:lnTo>
                    <a:lnTo>
                      <a:pt x="509262" y="446077"/>
                    </a:lnTo>
                    <a:lnTo>
                      <a:pt x="511231" y="442743"/>
                    </a:lnTo>
                    <a:lnTo>
                      <a:pt x="513655" y="440319"/>
                    </a:lnTo>
                    <a:lnTo>
                      <a:pt x="515019" y="438046"/>
                    </a:lnTo>
                    <a:lnTo>
                      <a:pt x="513959" y="436834"/>
                    </a:lnTo>
                    <a:lnTo>
                      <a:pt x="512746" y="430622"/>
                    </a:lnTo>
                    <a:lnTo>
                      <a:pt x="511231" y="426682"/>
                    </a:lnTo>
                    <a:lnTo>
                      <a:pt x="511686" y="423046"/>
                    </a:lnTo>
                    <a:lnTo>
                      <a:pt x="514262" y="419409"/>
                    </a:lnTo>
                    <a:lnTo>
                      <a:pt x="518201" y="415621"/>
                    </a:lnTo>
                    <a:lnTo>
                      <a:pt x="520928" y="414409"/>
                    </a:lnTo>
                    <a:lnTo>
                      <a:pt x="533960" y="411379"/>
                    </a:lnTo>
                    <a:lnTo>
                      <a:pt x="537899" y="409257"/>
                    </a:lnTo>
                    <a:lnTo>
                      <a:pt x="541384" y="406530"/>
                    </a:lnTo>
                    <a:lnTo>
                      <a:pt x="544111" y="401530"/>
                    </a:lnTo>
                    <a:lnTo>
                      <a:pt x="545626" y="400166"/>
                    </a:lnTo>
                    <a:lnTo>
                      <a:pt x="547142" y="398045"/>
                    </a:lnTo>
                    <a:lnTo>
                      <a:pt x="545020" y="396378"/>
                    </a:lnTo>
                    <a:lnTo>
                      <a:pt x="543050" y="395469"/>
                    </a:lnTo>
                    <a:lnTo>
                      <a:pt x="541687" y="394257"/>
                    </a:lnTo>
                    <a:lnTo>
                      <a:pt x="541081" y="390772"/>
                    </a:lnTo>
                    <a:lnTo>
                      <a:pt x="542596" y="393954"/>
                    </a:lnTo>
                    <a:lnTo>
                      <a:pt x="545172" y="395317"/>
                    </a:lnTo>
                    <a:lnTo>
                      <a:pt x="548202" y="397590"/>
                    </a:lnTo>
                    <a:lnTo>
                      <a:pt x="547748" y="400621"/>
                    </a:lnTo>
                    <a:lnTo>
                      <a:pt x="545475" y="407439"/>
                    </a:lnTo>
                    <a:lnTo>
                      <a:pt x="544263" y="410318"/>
                    </a:lnTo>
                    <a:lnTo>
                      <a:pt x="546081" y="411985"/>
                    </a:lnTo>
                    <a:lnTo>
                      <a:pt x="549717" y="412439"/>
                    </a:lnTo>
                    <a:lnTo>
                      <a:pt x="550475" y="410318"/>
                    </a:lnTo>
                    <a:lnTo>
                      <a:pt x="550626" y="408500"/>
                    </a:lnTo>
                    <a:lnTo>
                      <a:pt x="551081" y="409560"/>
                    </a:lnTo>
                    <a:lnTo>
                      <a:pt x="554869" y="412742"/>
                    </a:lnTo>
                    <a:lnTo>
                      <a:pt x="558657" y="411379"/>
                    </a:lnTo>
                    <a:lnTo>
                      <a:pt x="559112" y="409863"/>
                    </a:lnTo>
                    <a:lnTo>
                      <a:pt x="558202" y="406530"/>
                    </a:lnTo>
                    <a:lnTo>
                      <a:pt x="560324" y="398196"/>
                    </a:lnTo>
                    <a:lnTo>
                      <a:pt x="560779" y="399711"/>
                    </a:lnTo>
                    <a:lnTo>
                      <a:pt x="562142" y="400015"/>
                    </a:lnTo>
                    <a:lnTo>
                      <a:pt x="562748" y="400621"/>
                    </a:lnTo>
                    <a:lnTo>
                      <a:pt x="563051" y="401530"/>
                    </a:lnTo>
                    <a:lnTo>
                      <a:pt x="561688" y="409257"/>
                    </a:lnTo>
                    <a:lnTo>
                      <a:pt x="561839" y="411227"/>
                    </a:lnTo>
                    <a:lnTo>
                      <a:pt x="562294" y="412439"/>
                    </a:lnTo>
                    <a:lnTo>
                      <a:pt x="563203" y="413500"/>
                    </a:lnTo>
                    <a:lnTo>
                      <a:pt x="565627" y="411379"/>
                    </a:lnTo>
                    <a:lnTo>
                      <a:pt x="566233" y="408954"/>
                    </a:lnTo>
                    <a:lnTo>
                      <a:pt x="567597" y="411530"/>
                    </a:lnTo>
                    <a:lnTo>
                      <a:pt x="569264" y="411833"/>
                    </a:lnTo>
                    <a:lnTo>
                      <a:pt x="571536" y="411530"/>
                    </a:lnTo>
                    <a:lnTo>
                      <a:pt x="571234" y="408500"/>
                    </a:lnTo>
                    <a:lnTo>
                      <a:pt x="570627" y="406378"/>
                    </a:lnTo>
                    <a:lnTo>
                      <a:pt x="568657" y="403348"/>
                    </a:lnTo>
                    <a:lnTo>
                      <a:pt x="570779" y="403348"/>
                    </a:lnTo>
                    <a:lnTo>
                      <a:pt x="571385" y="398954"/>
                    </a:lnTo>
                    <a:lnTo>
                      <a:pt x="571536" y="396226"/>
                    </a:lnTo>
                    <a:lnTo>
                      <a:pt x="571385" y="393651"/>
                    </a:lnTo>
                    <a:lnTo>
                      <a:pt x="569264" y="386832"/>
                    </a:lnTo>
                    <a:lnTo>
                      <a:pt x="567900" y="383347"/>
                    </a:lnTo>
                    <a:lnTo>
                      <a:pt x="568052" y="382287"/>
                    </a:lnTo>
                    <a:lnTo>
                      <a:pt x="567900" y="381832"/>
                    </a:lnTo>
                    <a:lnTo>
                      <a:pt x="567294" y="377438"/>
                    </a:lnTo>
                    <a:lnTo>
                      <a:pt x="566385" y="374711"/>
                    </a:lnTo>
                    <a:lnTo>
                      <a:pt x="565930" y="371832"/>
                    </a:lnTo>
                    <a:lnTo>
                      <a:pt x="568052" y="367589"/>
                    </a:lnTo>
                    <a:lnTo>
                      <a:pt x="567142" y="366983"/>
                    </a:lnTo>
                    <a:lnTo>
                      <a:pt x="564718" y="366377"/>
                    </a:lnTo>
                    <a:lnTo>
                      <a:pt x="562445" y="365619"/>
                    </a:lnTo>
                    <a:lnTo>
                      <a:pt x="561839" y="364559"/>
                    </a:lnTo>
                    <a:lnTo>
                      <a:pt x="562900" y="360468"/>
                    </a:lnTo>
                    <a:lnTo>
                      <a:pt x="561688" y="358801"/>
                    </a:lnTo>
                    <a:lnTo>
                      <a:pt x="560021" y="357134"/>
                    </a:lnTo>
                    <a:lnTo>
                      <a:pt x="559566" y="356528"/>
                    </a:lnTo>
                    <a:lnTo>
                      <a:pt x="558960" y="355619"/>
                    </a:lnTo>
                    <a:lnTo>
                      <a:pt x="558202" y="353498"/>
                    </a:lnTo>
                    <a:lnTo>
                      <a:pt x="559718" y="349104"/>
                    </a:lnTo>
                    <a:lnTo>
                      <a:pt x="561839" y="344103"/>
                    </a:lnTo>
                    <a:lnTo>
                      <a:pt x="562294" y="342134"/>
                    </a:lnTo>
                    <a:lnTo>
                      <a:pt x="562597" y="338800"/>
                    </a:lnTo>
                    <a:lnTo>
                      <a:pt x="562748" y="337437"/>
                    </a:lnTo>
                    <a:lnTo>
                      <a:pt x="562445" y="336224"/>
                    </a:lnTo>
                    <a:lnTo>
                      <a:pt x="560172" y="334709"/>
                    </a:lnTo>
                    <a:lnTo>
                      <a:pt x="556233" y="334103"/>
                    </a:lnTo>
                    <a:lnTo>
                      <a:pt x="553505" y="332891"/>
                    </a:lnTo>
                    <a:lnTo>
                      <a:pt x="551839" y="331073"/>
                    </a:lnTo>
                    <a:lnTo>
                      <a:pt x="550475" y="330315"/>
                    </a:lnTo>
                    <a:lnTo>
                      <a:pt x="548808" y="330921"/>
                    </a:lnTo>
                    <a:lnTo>
                      <a:pt x="546687" y="330163"/>
                    </a:lnTo>
                    <a:lnTo>
                      <a:pt x="544869" y="328345"/>
                    </a:lnTo>
                    <a:lnTo>
                      <a:pt x="543354" y="326073"/>
                    </a:lnTo>
                    <a:lnTo>
                      <a:pt x="543505" y="325012"/>
                    </a:lnTo>
                    <a:lnTo>
                      <a:pt x="543960" y="323648"/>
                    </a:lnTo>
                    <a:lnTo>
                      <a:pt x="546838" y="317739"/>
                    </a:lnTo>
                    <a:lnTo>
                      <a:pt x="547899" y="317587"/>
                    </a:lnTo>
                    <a:lnTo>
                      <a:pt x="550324" y="318648"/>
                    </a:lnTo>
                    <a:lnTo>
                      <a:pt x="551233" y="318648"/>
                    </a:lnTo>
                    <a:lnTo>
                      <a:pt x="552900" y="316375"/>
                    </a:lnTo>
                    <a:lnTo>
                      <a:pt x="555172" y="309860"/>
                    </a:lnTo>
                    <a:lnTo>
                      <a:pt x="558354" y="309860"/>
                    </a:lnTo>
                    <a:lnTo>
                      <a:pt x="561233" y="310011"/>
                    </a:lnTo>
                    <a:lnTo>
                      <a:pt x="563203" y="310314"/>
                    </a:lnTo>
                    <a:lnTo>
                      <a:pt x="565173" y="310163"/>
                    </a:lnTo>
                    <a:lnTo>
                      <a:pt x="567142" y="309708"/>
                    </a:lnTo>
                    <a:lnTo>
                      <a:pt x="568203" y="308951"/>
                    </a:lnTo>
                    <a:lnTo>
                      <a:pt x="568809" y="307890"/>
                    </a:lnTo>
                    <a:lnTo>
                      <a:pt x="568657" y="306981"/>
                    </a:lnTo>
                    <a:lnTo>
                      <a:pt x="566233" y="305769"/>
                    </a:lnTo>
                    <a:lnTo>
                      <a:pt x="565324" y="304860"/>
                    </a:lnTo>
                    <a:lnTo>
                      <a:pt x="564718" y="302284"/>
                    </a:lnTo>
                    <a:lnTo>
                      <a:pt x="563960" y="301223"/>
                    </a:lnTo>
                    <a:lnTo>
                      <a:pt x="559112" y="301072"/>
                    </a:lnTo>
                    <a:lnTo>
                      <a:pt x="556688" y="299859"/>
                    </a:lnTo>
                    <a:lnTo>
                      <a:pt x="555324" y="298799"/>
                    </a:lnTo>
                    <a:lnTo>
                      <a:pt x="552900" y="295162"/>
                    </a:lnTo>
                    <a:lnTo>
                      <a:pt x="549869" y="292435"/>
                    </a:lnTo>
                    <a:lnTo>
                      <a:pt x="546990" y="291829"/>
                    </a:lnTo>
                    <a:lnTo>
                      <a:pt x="545929" y="290920"/>
                    </a:lnTo>
                    <a:lnTo>
                      <a:pt x="545324" y="289556"/>
                    </a:lnTo>
                    <a:lnTo>
                      <a:pt x="545626" y="287586"/>
                    </a:lnTo>
                    <a:lnTo>
                      <a:pt x="546536" y="285768"/>
                    </a:lnTo>
                    <a:lnTo>
                      <a:pt x="547142" y="283798"/>
                    </a:lnTo>
                    <a:lnTo>
                      <a:pt x="549414" y="281222"/>
                    </a:lnTo>
                    <a:lnTo>
                      <a:pt x="552142" y="278950"/>
                    </a:lnTo>
                    <a:lnTo>
                      <a:pt x="553354" y="277434"/>
                    </a:lnTo>
                    <a:lnTo>
                      <a:pt x="555021" y="275768"/>
                    </a:lnTo>
                    <a:lnTo>
                      <a:pt x="555172" y="274859"/>
                    </a:lnTo>
                    <a:lnTo>
                      <a:pt x="554869" y="273798"/>
                    </a:lnTo>
                    <a:lnTo>
                      <a:pt x="553505" y="272737"/>
                    </a:lnTo>
                    <a:lnTo>
                      <a:pt x="552596" y="272434"/>
                    </a:lnTo>
                    <a:lnTo>
                      <a:pt x="552445" y="271828"/>
                    </a:lnTo>
                    <a:lnTo>
                      <a:pt x="553051" y="270161"/>
                    </a:lnTo>
                    <a:lnTo>
                      <a:pt x="554414" y="270010"/>
                    </a:lnTo>
                    <a:lnTo>
                      <a:pt x="557142" y="271525"/>
                    </a:lnTo>
                    <a:lnTo>
                      <a:pt x="559869" y="274101"/>
                    </a:lnTo>
                    <a:lnTo>
                      <a:pt x="561536" y="276374"/>
                    </a:lnTo>
                    <a:lnTo>
                      <a:pt x="561536" y="278192"/>
                    </a:lnTo>
                    <a:lnTo>
                      <a:pt x="562597" y="278495"/>
                    </a:lnTo>
                    <a:lnTo>
                      <a:pt x="563657" y="278495"/>
                    </a:lnTo>
                    <a:lnTo>
                      <a:pt x="565476" y="279253"/>
                    </a:lnTo>
                    <a:lnTo>
                      <a:pt x="567294" y="278950"/>
                    </a:lnTo>
                    <a:lnTo>
                      <a:pt x="568506" y="279404"/>
                    </a:lnTo>
                    <a:lnTo>
                      <a:pt x="569264" y="279253"/>
                    </a:lnTo>
                    <a:lnTo>
                      <a:pt x="569567" y="278192"/>
                    </a:lnTo>
                    <a:lnTo>
                      <a:pt x="568657" y="276677"/>
                    </a:lnTo>
                    <a:lnTo>
                      <a:pt x="568052" y="275616"/>
                    </a:lnTo>
                    <a:lnTo>
                      <a:pt x="568809" y="274555"/>
                    </a:lnTo>
                    <a:lnTo>
                      <a:pt x="569718" y="274404"/>
                    </a:lnTo>
                    <a:lnTo>
                      <a:pt x="570627" y="274707"/>
                    </a:lnTo>
                    <a:lnTo>
                      <a:pt x="571991" y="275616"/>
                    </a:lnTo>
                    <a:lnTo>
                      <a:pt x="572900" y="277586"/>
                    </a:lnTo>
                    <a:lnTo>
                      <a:pt x="573052" y="280616"/>
                    </a:lnTo>
                    <a:lnTo>
                      <a:pt x="575173" y="283495"/>
                    </a:lnTo>
                    <a:lnTo>
                      <a:pt x="578052" y="285465"/>
                    </a:lnTo>
                    <a:lnTo>
                      <a:pt x="580325" y="286374"/>
                    </a:lnTo>
                    <a:lnTo>
                      <a:pt x="583052" y="286980"/>
                    </a:lnTo>
                    <a:lnTo>
                      <a:pt x="585325" y="286374"/>
                    </a:lnTo>
                    <a:lnTo>
                      <a:pt x="586386" y="284404"/>
                    </a:lnTo>
                    <a:lnTo>
                      <a:pt x="585931" y="282586"/>
                    </a:lnTo>
                    <a:lnTo>
                      <a:pt x="586234" y="281071"/>
                    </a:lnTo>
                    <a:lnTo>
                      <a:pt x="587143" y="280162"/>
                    </a:lnTo>
                    <a:lnTo>
                      <a:pt x="588507" y="280162"/>
                    </a:lnTo>
                    <a:lnTo>
                      <a:pt x="589567" y="281374"/>
                    </a:lnTo>
                    <a:lnTo>
                      <a:pt x="592598" y="288041"/>
                    </a:lnTo>
                    <a:lnTo>
                      <a:pt x="591992" y="291071"/>
                    </a:lnTo>
                    <a:lnTo>
                      <a:pt x="592749" y="299253"/>
                    </a:lnTo>
                    <a:lnTo>
                      <a:pt x="591992" y="304556"/>
                    </a:lnTo>
                    <a:lnTo>
                      <a:pt x="592143" y="305769"/>
                    </a:lnTo>
                    <a:lnTo>
                      <a:pt x="592446" y="306678"/>
                    </a:lnTo>
                    <a:lnTo>
                      <a:pt x="592901" y="306981"/>
                    </a:lnTo>
                    <a:lnTo>
                      <a:pt x="593810" y="306981"/>
                    </a:lnTo>
                    <a:lnTo>
                      <a:pt x="597598" y="308042"/>
                    </a:lnTo>
                    <a:lnTo>
                      <a:pt x="600780" y="309102"/>
                    </a:lnTo>
                    <a:lnTo>
                      <a:pt x="604417" y="310163"/>
                    </a:lnTo>
                    <a:lnTo>
                      <a:pt x="609568" y="310921"/>
                    </a:lnTo>
                    <a:lnTo>
                      <a:pt x="612750" y="310617"/>
                    </a:lnTo>
                    <a:lnTo>
                      <a:pt x="614265" y="310617"/>
                    </a:lnTo>
                    <a:lnTo>
                      <a:pt x="617447" y="310921"/>
                    </a:lnTo>
                    <a:lnTo>
                      <a:pt x="625932" y="310466"/>
                    </a:lnTo>
                    <a:lnTo>
                      <a:pt x="632903" y="310314"/>
                    </a:lnTo>
                    <a:lnTo>
                      <a:pt x="635782" y="311072"/>
                    </a:lnTo>
                    <a:lnTo>
                      <a:pt x="638054" y="311375"/>
                    </a:lnTo>
                    <a:lnTo>
                      <a:pt x="645781" y="310769"/>
                    </a:lnTo>
                    <a:lnTo>
                      <a:pt x="653661" y="310466"/>
                    </a:lnTo>
                    <a:lnTo>
                      <a:pt x="657903" y="312132"/>
                    </a:lnTo>
                    <a:lnTo>
                      <a:pt x="662449" y="314860"/>
                    </a:lnTo>
                    <a:lnTo>
                      <a:pt x="665025" y="316981"/>
                    </a:lnTo>
                    <a:lnTo>
                      <a:pt x="665479" y="318193"/>
                    </a:lnTo>
                    <a:lnTo>
                      <a:pt x="665176" y="319254"/>
                    </a:lnTo>
                    <a:lnTo>
                      <a:pt x="664267" y="319860"/>
                    </a:lnTo>
                    <a:lnTo>
                      <a:pt x="662601" y="319860"/>
                    </a:lnTo>
                    <a:lnTo>
                      <a:pt x="658964" y="318497"/>
                    </a:lnTo>
                    <a:lnTo>
                      <a:pt x="658358" y="318951"/>
                    </a:lnTo>
                    <a:lnTo>
                      <a:pt x="658358" y="321678"/>
                    </a:lnTo>
                    <a:lnTo>
                      <a:pt x="658206" y="322133"/>
                    </a:lnTo>
                    <a:lnTo>
                      <a:pt x="657449" y="324557"/>
                    </a:lnTo>
                    <a:lnTo>
                      <a:pt x="655176" y="330163"/>
                    </a:lnTo>
                    <a:lnTo>
                      <a:pt x="654722" y="332588"/>
                    </a:lnTo>
                    <a:lnTo>
                      <a:pt x="654267" y="333194"/>
                    </a:lnTo>
                    <a:lnTo>
                      <a:pt x="653661" y="333497"/>
                    </a:lnTo>
                    <a:lnTo>
                      <a:pt x="651994" y="333649"/>
                    </a:lnTo>
                    <a:lnTo>
                      <a:pt x="650630" y="334103"/>
                    </a:lnTo>
                    <a:lnTo>
                      <a:pt x="650024" y="335012"/>
                    </a:lnTo>
                    <a:lnTo>
                      <a:pt x="649115" y="336830"/>
                    </a:lnTo>
                    <a:lnTo>
                      <a:pt x="648509" y="338649"/>
                    </a:lnTo>
                    <a:lnTo>
                      <a:pt x="647600" y="339255"/>
                    </a:lnTo>
                    <a:lnTo>
                      <a:pt x="645630" y="338194"/>
                    </a:lnTo>
                    <a:lnTo>
                      <a:pt x="644418" y="338346"/>
                    </a:lnTo>
                    <a:lnTo>
                      <a:pt x="642903" y="338800"/>
                    </a:lnTo>
                    <a:lnTo>
                      <a:pt x="641388" y="339861"/>
                    </a:lnTo>
                    <a:lnTo>
                      <a:pt x="640327" y="341225"/>
                    </a:lnTo>
                    <a:lnTo>
                      <a:pt x="639115" y="341679"/>
                    </a:lnTo>
                    <a:lnTo>
                      <a:pt x="635478" y="341376"/>
                    </a:lnTo>
                    <a:lnTo>
                      <a:pt x="634721" y="341528"/>
                    </a:lnTo>
                    <a:lnTo>
                      <a:pt x="634266" y="342437"/>
                    </a:lnTo>
                    <a:lnTo>
                      <a:pt x="633963" y="343649"/>
                    </a:lnTo>
                    <a:lnTo>
                      <a:pt x="631084" y="346528"/>
                    </a:lnTo>
                    <a:lnTo>
                      <a:pt x="630024" y="351073"/>
                    </a:lnTo>
                    <a:lnTo>
                      <a:pt x="629115" y="353952"/>
                    </a:lnTo>
                    <a:lnTo>
                      <a:pt x="629266" y="356225"/>
                    </a:lnTo>
                    <a:lnTo>
                      <a:pt x="631690" y="362134"/>
                    </a:lnTo>
                    <a:lnTo>
                      <a:pt x="633357" y="369862"/>
                    </a:lnTo>
                    <a:lnTo>
                      <a:pt x="633963" y="370619"/>
                    </a:lnTo>
                    <a:lnTo>
                      <a:pt x="634569" y="370923"/>
                    </a:lnTo>
                    <a:lnTo>
                      <a:pt x="634872" y="370771"/>
                    </a:lnTo>
                    <a:lnTo>
                      <a:pt x="634872" y="369104"/>
                    </a:lnTo>
                    <a:lnTo>
                      <a:pt x="635024" y="367135"/>
                    </a:lnTo>
                    <a:lnTo>
                      <a:pt x="635782" y="366680"/>
                    </a:lnTo>
                    <a:lnTo>
                      <a:pt x="636842" y="367135"/>
                    </a:lnTo>
                    <a:lnTo>
                      <a:pt x="637751" y="368801"/>
                    </a:lnTo>
                    <a:lnTo>
                      <a:pt x="638812" y="371832"/>
                    </a:lnTo>
                    <a:lnTo>
                      <a:pt x="640024" y="373044"/>
                    </a:lnTo>
                    <a:lnTo>
                      <a:pt x="641842" y="373347"/>
                    </a:lnTo>
                    <a:lnTo>
                      <a:pt x="643963" y="372589"/>
                    </a:lnTo>
                    <a:lnTo>
                      <a:pt x="645479" y="371226"/>
                    </a:lnTo>
                    <a:lnTo>
                      <a:pt x="646085" y="369710"/>
                    </a:lnTo>
                    <a:lnTo>
                      <a:pt x="645630" y="366680"/>
                    </a:lnTo>
                    <a:lnTo>
                      <a:pt x="645479" y="364407"/>
                    </a:lnTo>
                    <a:lnTo>
                      <a:pt x="646388" y="362286"/>
                    </a:lnTo>
                    <a:lnTo>
                      <a:pt x="649873" y="359104"/>
                    </a:lnTo>
                    <a:lnTo>
                      <a:pt x="650327" y="358195"/>
                    </a:lnTo>
                    <a:lnTo>
                      <a:pt x="650024" y="355467"/>
                    </a:lnTo>
                    <a:lnTo>
                      <a:pt x="650024" y="352892"/>
                    </a:lnTo>
                    <a:lnTo>
                      <a:pt x="651388" y="352740"/>
                    </a:lnTo>
                    <a:lnTo>
                      <a:pt x="653206" y="353195"/>
                    </a:lnTo>
                    <a:lnTo>
                      <a:pt x="655479" y="351982"/>
                    </a:lnTo>
                    <a:lnTo>
                      <a:pt x="656236" y="351982"/>
                    </a:lnTo>
                    <a:lnTo>
                      <a:pt x="657146" y="353346"/>
                    </a:lnTo>
                    <a:lnTo>
                      <a:pt x="658813" y="353043"/>
                    </a:lnTo>
                    <a:lnTo>
                      <a:pt x="660024" y="358498"/>
                    </a:lnTo>
                    <a:lnTo>
                      <a:pt x="661237" y="363347"/>
                    </a:lnTo>
                    <a:lnTo>
                      <a:pt x="661237" y="365619"/>
                    </a:lnTo>
                    <a:lnTo>
                      <a:pt x="661388" y="370619"/>
                    </a:lnTo>
                    <a:lnTo>
                      <a:pt x="661994" y="374711"/>
                    </a:lnTo>
                    <a:lnTo>
                      <a:pt x="662903" y="375620"/>
                    </a:lnTo>
                    <a:lnTo>
                      <a:pt x="663964" y="377741"/>
                    </a:lnTo>
                    <a:lnTo>
                      <a:pt x="664873" y="380317"/>
                    </a:lnTo>
                    <a:lnTo>
                      <a:pt x="665631" y="381681"/>
                    </a:lnTo>
                    <a:lnTo>
                      <a:pt x="666086" y="386226"/>
                    </a:lnTo>
                    <a:lnTo>
                      <a:pt x="666691" y="389560"/>
                    </a:lnTo>
                    <a:lnTo>
                      <a:pt x="667449" y="399863"/>
                    </a:lnTo>
                    <a:lnTo>
                      <a:pt x="667752" y="401833"/>
                    </a:lnTo>
                    <a:lnTo>
                      <a:pt x="669267" y="400924"/>
                    </a:lnTo>
                    <a:lnTo>
                      <a:pt x="669874" y="399863"/>
                    </a:lnTo>
                    <a:lnTo>
                      <a:pt x="670479" y="398196"/>
                    </a:lnTo>
                    <a:lnTo>
                      <a:pt x="670934" y="397439"/>
                    </a:lnTo>
                    <a:lnTo>
                      <a:pt x="671843" y="397439"/>
                    </a:lnTo>
                    <a:lnTo>
                      <a:pt x="673207" y="398196"/>
                    </a:lnTo>
                    <a:lnTo>
                      <a:pt x="675480" y="400924"/>
                    </a:lnTo>
                    <a:lnTo>
                      <a:pt x="676995" y="401530"/>
                    </a:lnTo>
                    <a:lnTo>
                      <a:pt x="678510" y="401075"/>
                    </a:lnTo>
                    <a:lnTo>
                      <a:pt x="680025" y="396984"/>
                    </a:lnTo>
                    <a:lnTo>
                      <a:pt x="680632" y="395923"/>
                    </a:lnTo>
                    <a:lnTo>
                      <a:pt x="681389" y="395166"/>
                    </a:lnTo>
                    <a:lnTo>
                      <a:pt x="682753" y="395317"/>
                    </a:lnTo>
                    <a:lnTo>
                      <a:pt x="683510" y="394560"/>
                    </a:lnTo>
                    <a:lnTo>
                      <a:pt x="683813" y="392742"/>
                    </a:lnTo>
                    <a:lnTo>
                      <a:pt x="683813" y="390772"/>
                    </a:lnTo>
                    <a:lnTo>
                      <a:pt x="682298" y="385469"/>
                    </a:lnTo>
                    <a:lnTo>
                      <a:pt x="681843" y="383044"/>
                    </a:lnTo>
                    <a:lnTo>
                      <a:pt x="681541" y="380620"/>
                    </a:lnTo>
                    <a:lnTo>
                      <a:pt x="682450" y="378044"/>
                    </a:lnTo>
                    <a:lnTo>
                      <a:pt x="683813" y="375165"/>
                    </a:lnTo>
                    <a:lnTo>
                      <a:pt x="683510" y="372589"/>
                    </a:lnTo>
                    <a:lnTo>
                      <a:pt x="683813" y="371529"/>
                    </a:lnTo>
                    <a:lnTo>
                      <a:pt x="684874" y="371377"/>
                    </a:lnTo>
                    <a:lnTo>
                      <a:pt x="686238" y="371983"/>
                    </a:lnTo>
                    <a:lnTo>
                      <a:pt x="687753" y="371529"/>
                    </a:lnTo>
                    <a:lnTo>
                      <a:pt x="688814" y="370013"/>
                    </a:lnTo>
                    <a:lnTo>
                      <a:pt x="689268" y="368650"/>
                    </a:lnTo>
                    <a:lnTo>
                      <a:pt x="690026" y="362741"/>
                    </a:lnTo>
                    <a:lnTo>
                      <a:pt x="690480" y="357286"/>
                    </a:lnTo>
                    <a:lnTo>
                      <a:pt x="690632" y="352892"/>
                    </a:lnTo>
                    <a:lnTo>
                      <a:pt x="689420" y="350316"/>
                    </a:lnTo>
                    <a:lnTo>
                      <a:pt x="687601" y="343194"/>
                    </a:lnTo>
                    <a:lnTo>
                      <a:pt x="688056" y="341982"/>
                    </a:lnTo>
                    <a:lnTo>
                      <a:pt x="688814" y="341679"/>
                    </a:lnTo>
                    <a:lnTo>
                      <a:pt x="691389" y="344103"/>
                    </a:lnTo>
                    <a:lnTo>
                      <a:pt x="692602" y="344558"/>
                    </a:lnTo>
                    <a:lnTo>
                      <a:pt x="694571" y="344103"/>
                    </a:lnTo>
                    <a:lnTo>
                      <a:pt x="696541" y="343497"/>
                    </a:lnTo>
                    <a:lnTo>
                      <a:pt x="697905" y="343497"/>
                    </a:lnTo>
                    <a:lnTo>
                      <a:pt x="699875" y="344406"/>
                    </a:lnTo>
                    <a:lnTo>
                      <a:pt x="702602" y="345316"/>
                    </a:lnTo>
                    <a:lnTo>
                      <a:pt x="706844" y="346528"/>
                    </a:lnTo>
                    <a:lnTo>
                      <a:pt x="708663" y="347437"/>
                    </a:lnTo>
                    <a:lnTo>
                      <a:pt x="710178" y="347285"/>
                    </a:lnTo>
                    <a:lnTo>
                      <a:pt x="711390" y="344558"/>
                    </a:lnTo>
                    <a:lnTo>
                      <a:pt x="712754" y="340467"/>
                    </a:lnTo>
                    <a:lnTo>
                      <a:pt x="714724" y="334406"/>
                    </a:lnTo>
                    <a:lnTo>
                      <a:pt x="716996" y="330012"/>
                    </a:lnTo>
                    <a:lnTo>
                      <a:pt x="717603" y="328800"/>
                    </a:lnTo>
                    <a:lnTo>
                      <a:pt x="720178" y="325163"/>
                    </a:lnTo>
                    <a:lnTo>
                      <a:pt x="722603" y="321375"/>
                    </a:lnTo>
                    <a:lnTo>
                      <a:pt x="724724" y="316678"/>
                    </a:lnTo>
                    <a:lnTo>
                      <a:pt x="725936" y="313193"/>
                    </a:lnTo>
                    <a:lnTo>
                      <a:pt x="725784" y="311830"/>
                    </a:lnTo>
                    <a:lnTo>
                      <a:pt x="725027" y="310617"/>
                    </a:lnTo>
                    <a:lnTo>
                      <a:pt x="723360" y="309860"/>
                    </a:lnTo>
                    <a:lnTo>
                      <a:pt x="721996" y="309102"/>
                    </a:lnTo>
                    <a:lnTo>
                      <a:pt x="721694" y="308344"/>
                    </a:lnTo>
                    <a:lnTo>
                      <a:pt x="721694" y="307587"/>
                    </a:lnTo>
                    <a:lnTo>
                      <a:pt x="722451" y="305314"/>
                    </a:lnTo>
                    <a:lnTo>
                      <a:pt x="723663" y="302738"/>
                    </a:lnTo>
                    <a:lnTo>
                      <a:pt x="724875" y="301375"/>
                    </a:lnTo>
                    <a:lnTo>
                      <a:pt x="728058" y="299556"/>
                    </a:lnTo>
                    <a:lnTo>
                      <a:pt x="730179" y="297284"/>
                    </a:lnTo>
                    <a:lnTo>
                      <a:pt x="732451" y="294253"/>
                    </a:lnTo>
                    <a:lnTo>
                      <a:pt x="733664" y="292283"/>
                    </a:lnTo>
                    <a:lnTo>
                      <a:pt x="734270" y="288192"/>
                    </a:lnTo>
                    <a:lnTo>
                      <a:pt x="735027" y="287435"/>
                    </a:lnTo>
                    <a:lnTo>
                      <a:pt x="736391" y="286071"/>
                    </a:lnTo>
                    <a:lnTo>
                      <a:pt x="737452" y="284556"/>
                    </a:lnTo>
                    <a:lnTo>
                      <a:pt x="737300" y="283647"/>
                    </a:lnTo>
                    <a:lnTo>
                      <a:pt x="736694" y="283041"/>
                    </a:lnTo>
                    <a:lnTo>
                      <a:pt x="735634" y="280162"/>
                    </a:lnTo>
                    <a:lnTo>
                      <a:pt x="735179" y="275616"/>
                    </a:lnTo>
                    <a:lnTo>
                      <a:pt x="735482" y="271980"/>
                    </a:lnTo>
                    <a:lnTo>
                      <a:pt x="736239" y="270464"/>
                    </a:lnTo>
                    <a:lnTo>
                      <a:pt x="737300" y="268343"/>
                    </a:lnTo>
                    <a:lnTo>
                      <a:pt x="739270" y="266979"/>
                    </a:lnTo>
                    <a:lnTo>
                      <a:pt x="742149" y="266070"/>
                    </a:lnTo>
                    <a:lnTo>
                      <a:pt x="746543" y="263646"/>
                    </a:lnTo>
                    <a:lnTo>
                      <a:pt x="754119" y="257888"/>
                    </a:lnTo>
                    <a:lnTo>
                      <a:pt x="756846" y="256070"/>
                    </a:lnTo>
                    <a:lnTo>
                      <a:pt x="758665" y="255161"/>
                    </a:lnTo>
                    <a:lnTo>
                      <a:pt x="760483" y="252736"/>
                    </a:lnTo>
                    <a:lnTo>
                      <a:pt x="762907" y="250161"/>
                    </a:lnTo>
                    <a:lnTo>
                      <a:pt x="766392" y="248797"/>
                    </a:lnTo>
                    <a:lnTo>
                      <a:pt x="768665" y="248342"/>
                    </a:lnTo>
                    <a:lnTo>
                      <a:pt x="779423" y="246524"/>
                    </a:lnTo>
                    <a:lnTo>
                      <a:pt x="781241" y="246827"/>
                    </a:lnTo>
                    <a:lnTo>
                      <a:pt x="783059" y="247888"/>
                    </a:lnTo>
                    <a:lnTo>
                      <a:pt x="785332" y="251373"/>
                    </a:lnTo>
                    <a:lnTo>
                      <a:pt x="787302" y="252736"/>
                    </a:lnTo>
                    <a:lnTo>
                      <a:pt x="789575" y="253645"/>
                    </a:lnTo>
                    <a:lnTo>
                      <a:pt x="791393" y="253191"/>
                    </a:lnTo>
                    <a:lnTo>
                      <a:pt x="791393" y="251827"/>
                    </a:lnTo>
                    <a:lnTo>
                      <a:pt x="785938" y="243797"/>
                    </a:lnTo>
                    <a:lnTo>
                      <a:pt x="785484" y="241524"/>
                    </a:lnTo>
                    <a:lnTo>
                      <a:pt x="785332" y="239403"/>
                    </a:lnTo>
                    <a:lnTo>
                      <a:pt x="785938" y="237736"/>
                    </a:lnTo>
                    <a:lnTo>
                      <a:pt x="787605" y="236069"/>
                    </a:lnTo>
                    <a:lnTo>
                      <a:pt x="790030" y="234251"/>
                    </a:lnTo>
                    <a:lnTo>
                      <a:pt x="793060" y="231978"/>
                    </a:lnTo>
                    <a:lnTo>
                      <a:pt x="794878" y="230463"/>
                    </a:lnTo>
                    <a:lnTo>
                      <a:pt x="796999" y="230008"/>
                    </a:lnTo>
                    <a:lnTo>
                      <a:pt x="797757" y="229099"/>
                    </a:lnTo>
                    <a:lnTo>
                      <a:pt x="798060" y="227736"/>
                    </a:lnTo>
                    <a:lnTo>
                      <a:pt x="796242" y="226069"/>
                    </a:lnTo>
                    <a:close/>
                    <a:moveTo>
                      <a:pt x="696390" y="806848"/>
                    </a:moveTo>
                    <a:lnTo>
                      <a:pt x="695329" y="807757"/>
                    </a:lnTo>
                    <a:lnTo>
                      <a:pt x="694268" y="808363"/>
                    </a:lnTo>
                    <a:lnTo>
                      <a:pt x="693814" y="809423"/>
                    </a:lnTo>
                    <a:lnTo>
                      <a:pt x="694875" y="810939"/>
                    </a:lnTo>
                    <a:lnTo>
                      <a:pt x="697450" y="808363"/>
                    </a:lnTo>
                    <a:lnTo>
                      <a:pt x="696390" y="806848"/>
                    </a:lnTo>
                    <a:close/>
                    <a:moveTo>
                      <a:pt x="677450" y="680025"/>
                    </a:moveTo>
                    <a:lnTo>
                      <a:pt x="676389" y="680782"/>
                    </a:lnTo>
                    <a:lnTo>
                      <a:pt x="677146" y="681995"/>
                    </a:lnTo>
                    <a:lnTo>
                      <a:pt x="679419" y="683661"/>
                    </a:lnTo>
                    <a:lnTo>
                      <a:pt x="678207" y="679873"/>
                    </a:lnTo>
                    <a:lnTo>
                      <a:pt x="677450" y="680025"/>
                    </a:lnTo>
                    <a:close/>
                    <a:moveTo>
                      <a:pt x="680177" y="781089"/>
                    </a:moveTo>
                    <a:lnTo>
                      <a:pt x="679571" y="781695"/>
                    </a:lnTo>
                    <a:lnTo>
                      <a:pt x="679268" y="783210"/>
                    </a:lnTo>
                    <a:lnTo>
                      <a:pt x="680632" y="784726"/>
                    </a:lnTo>
                    <a:lnTo>
                      <a:pt x="682147" y="784877"/>
                    </a:lnTo>
                    <a:lnTo>
                      <a:pt x="681389" y="783816"/>
                    </a:lnTo>
                    <a:lnTo>
                      <a:pt x="680177" y="781089"/>
                    </a:lnTo>
                    <a:close/>
                    <a:moveTo>
                      <a:pt x="687753" y="790180"/>
                    </a:moveTo>
                    <a:lnTo>
                      <a:pt x="686692" y="790483"/>
                    </a:lnTo>
                    <a:lnTo>
                      <a:pt x="685935" y="791696"/>
                    </a:lnTo>
                    <a:lnTo>
                      <a:pt x="686844" y="792908"/>
                    </a:lnTo>
                    <a:lnTo>
                      <a:pt x="687450" y="794120"/>
                    </a:lnTo>
                    <a:lnTo>
                      <a:pt x="689571" y="794120"/>
                    </a:lnTo>
                    <a:lnTo>
                      <a:pt x="689723" y="793514"/>
                    </a:lnTo>
                    <a:lnTo>
                      <a:pt x="689420" y="792150"/>
                    </a:lnTo>
                    <a:lnTo>
                      <a:pt x="687753" y="790180"/>
                    </a:lnTo>
                    <a:close/>
                    <a:moveTo>
                      <a:pt x="691996" y="784877"/>
                    </a:moveTo>
                    <a:lnTo>
                      <a:pt x="690935" y="784574"/>
                    </a:lnTo>
                    <a:lnTo>
                      <a:pt x="689874" y="786089"/>
                    </a:lnTo>
                    <a:lnTo>
                      <a:pt x="690026" y="787756"/>
                    </a:lnTo>
                    <a:lnTo>
                      <a:pt x="690329" y="788665"/>
                    </a:lnTo>
                    <a:lnTo>
                      <a:pt x="690329" y="789271"/>
                    </a:lnTo>
                    <a:lnTo>
                      <a:pt x="690480" y="790029"/>
                    </a:lnTo>
                    <a:lnTo>
                      <a:pt x="690783" y="790180"/>
                    </a:lnTo>
                    <a:lnTo>
                      <a:pt x="691996" y="789120"/>
                    </a:lnTo>
                    <a:lnTo>
                      <a:pt x="691238" y="786241"/>
                    </a:lnTo>
                    <a:lnTo>
                      <a:pt x="691996" y="7848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0" name="Freeform: Shape 3259">
                <a:extLst>
                  <a:ext uri="{FF2B5EF4-FFF2-40B4-BE49-F238E27FC236}">
                    <a16:creationId xmlns:a16="http://schemas.microsoft.com/office/drawing/2014/main" id="{5508DAAD-BAA5-44F8-95E4-CAE6BE7E9D15}"/>
                  </a:ext>
                </a:extLst>
              </p:cNvPr>
              <p:cNvSpPr/>
              <p:nvPr/>
            </p:nvSpPr>
            <p:spPr>
              <a:xfrm>
                <a:off x="6714204" y="3617565"/>
                <a:ext cx="45607" cy="119095"/>
              </a:xfrm>
              <a:custGeom>
                <a:avLst/>
                <a:gdLst>
                  <a:gd name="connsiteX0" fmla="*/ 44699 w 45607"/>
                  <a:gd name="connsiteY0" fmla="*/ 13334 h 119095"/>
                  <a:gd name="connsiteX1" fmla="*/ 44396 w 45607"/>
                  <a:gd name="connsiteY1" fmla="*/ 11970 h 119095"/>
                  <a:gd name="connsiteX2" fmla="*/ 44396 w 45607"/>
                  <a:gd name="connsiteY2" fmla="*/ 10455 h 119095"/>
                  <a:gd name="connsiteX3" fmla="*/ 45456 w 45607"/>
                  <a:gd name="connsiteY3" fmla="*/ 9091 h 119095"/>
                  <a:gd name="connsiteX4" fmla="*/ 44850 w 45607"/>
                  <a:gd name="connsiteY4" fmla="*/ 7273 h 119095"/>
                  <a:gd name="connsiteX5" fmla="*/ 44093 w 45607"/>
                  <a:gd name="connsiteY5" fmla="*/ 5606 h 119095"/>
                  <a:gd name="connsiteX6" fmla="*/ 43487 w 45607"/>
                  <a:gd name="connsiteY6" fmla="*/ 4697 h 119095"/>
                  <a:gd name="connsiteX7" fmla="*/ 43487 w 45607"/>
                  <a:gd name="connsiteY7" fmla="*/ 3182 h 119095"/>
                  <a:gd name="connsiteX8" fmla="*/ 43941 w 45607"/>
                  <a:gd name="connsiteY8" fmla="*/ 1970 h 119095"/>
                  <a:gd name="connsiteX9" fmla="*/ 44396 w 45607"/>
                  <a:gd name="connsiteY9" fmla="*/ 0 h 119095"/>
                  <a:gd name="connsiteX10" fmla="*/ 43638 w 45607"/>
                  <a:gd name="connsiteY10" fmla="*/ 606 h 119095"/>
                  <a:gd name="connsiteX11" fmla="*/ 42123 w 45607"/>
                  <a:gd name="connsiteY11" fmla="*/ 1970 h 119095"/>
                  <a:gd name="connsiteX12" fmla="*/ 40759 w 45607"/>
                  <a:gd name="connsiteY12" fmla="*/ 3030 h 119095"/>
                  <a:gd name="connsiteX13" fmla="*/ 37729 w 45607"/>
                  <a:gd name="connsiteY13" fmla="*/ 4849 h 119095"/>
                  <a:gd name="connsiteX14" fmla="*/ 37123 w 45607"/>
                  <a:gd name="connsiteY14" fmla="*/ 5909 h 119095"/>
                  <a:gd name="connsiteX15" fmla="*/ 36517 w 45607"/>
                  <a:gd name="connsiteY15" fmla="*/ 5000 h 119095"/>
                  <a:gd name="connsiteX16" fmla="*/ 35153 w 45607"/>
                  <a:gd name="connsiteY16" fmla="*/ 5606 h 119095"/>
                  <a:gd name="connsiteX17" fmla="*/ 34092 w 45607"/>
                  <a:gd name="connsiteY17" fmla="*/ 9546 h 119095"/>
                  <a:gd name="connsiteX18" fmla="*/ 31819 w 45607"/>
                  <a:gd name="connsiteY18" fmla="*/ 10910 h 119095"/>
                  <a:gd name="connsiteX19" fmla="*/ 29092 w 45607"/>
                  <a:gd name="connsiteY19" fmla="*/ 10758 h 119095"/>
                  <a:gd name="connsiteX20" fmla="*/ 26668 w 45607"/>
                  <a:gd name="connsiteY20" fmla="*/ 10455 h 119095"/>
                  <a:gd name="connsiteX21" fmla="*/ 23637 w 45607"/>
                  <a:gd name="connsiteY21" fmla="*/ 10606 h 119095"/>
                  <a:gd name="connsiteX22" fmla="*/ 22728 w 45607"/>
                  <a:gd name="connsiteY22" fmla="*/ 14243 h 119095"/>
                  <a:gd name="connsiteX23" fmla="*/ 20759 w 45607"/>
                  <a:gd name="connsiteY23" fmla="*/ 18486 h 119095"/>
                  <a:gd name="connsiteX24" fmla="*/ 18486 w 45607"/>
                  <a:gd name="connsiteY24" fmla="*/ 25001 h 119095"/>
                  <a:gd name="connsiteX25" fmla="*/ 15304 w 45607"/>
                  <a:gd name="connsiteY25" fmla="*/ 37577 h 119095"/>
                  <a:gd name="connsiteX26" fmla="*/ 11819 w 45607"/>
                  <a:gd name="connsiteY26" fmla="*/ 46668 h 119095"/>
                  <a:gd name="connsiteX27" fmla="*/ 6516 w 45607"/>
                  <a:gd name="connsiteY27" fmla="*/ 55760 h 119095"/>
                  <a:gd name="connsiteX28" fmla="*/ 6364 w 45607"/>
                  <a:gd name="connsiteY28" fmla="*/ 56063 h 119095"/>
                  <a:gd name="connsiteX29" fmla="*/ 7576 w 45607"/>
                  <a:gd name="connsiteY29" fmla="*/ 57426 h 119095"/>
                  <a:gd name="connsiteX30" fmla="*/ 7576 w 45607"/>
                  <a:gd name="connsiteY30" fmla="*/ 57881 h 119095"/>
                  <a:gd name="connsiteX31" fmla="*/ 2879 w 45607"/>
                  <a:gd name="connsiteY31" fmla="*/ 62730 h 119095"/>
                  <a:gd name="connsiteX32" fmla="*/ 2728 w 45607"/>
                  <a:gd name="connsiteY32" fmla="*/ 64851 h 119095"/>
                  <a:gd name="connsiteX33" fmla="*/ 0 w 45607"/>
                  <a:gd name="connsiteY33" fmla="*/ 67427 h 119095"/>
                  <a:gd name="connsiteX34" fmla="*/ 2273 w 45607"/>
                  <a:gd name="connsiteY34" fmla="*/ 73790 h 119095"/>
                  <a:gd name="connsiteX35" fmla="*/ 4243 w 45607"/>
                  <a:gd name="connsiteY35" fmla="*/ 78791 h 119095"/>
                  <a:gd name="connsiteX36" fmla="*/ 6667 w 45607"/>
                  <a:gd name="connsiteY36" fmla="*/ 85761 h 119095"/>
                  <a:gd name="connsiteX37" fmla="*/ 7425 w 45607"/>
                  <a:gd name="connsiteY37" fmla="*/ 88337 h 119095"/>
                  <a:gd name="connsiteX38" fmla="*/ 7728 w 45607"/>
                  <a:gd name="connsiteY38" fmla="*/ 90306 h 119095"/>
                  <a:gd name="connsiteX39" fmla="*/ 11213 w 45607"/>
                  <a:gd name="connsiteY39" fmla="*/ 97882 h 119095"/>
                  <a:gd name="connsiteX40" fmla="*/ 13334 w 45607"/>
                  <a:gd name="connsiteY40" fmla="*/ 104095 h 119095"/>
                  <a:gd name="connsiteX41" fmla="*/ 14849 w 45607"/>
                  <a:gd name="connsiteY41" fmla="*/ 109095 h 119095"/>
                  <a:gd name="connsiteX42" fmla="*/ 17122 w 45607"/>
                  <a:gd name="connsiteY42" fmla="*/ 116519 h 119095"/>
                  <a:gd name="connsiteX43" fmla="*/ 18031 w 45607"/>
                  <a:gd name="connsiteY43" fmla="*/ 119095 h 119095"/>
                  <a:gd name="connsiteX44" fmla="*/ 19849 w 45607"/>
                  <a:gd name="connsiteY44" fmla="*/ 116823 h 119095"/>
                  <a:gd name="connsiteX45" fmla="*/ 21213 w 45607"/>
                  <a:gd name="connsiteY45" fmla="*/ 109852 h 119095"/>
                  <a:gd name="connsiteX46" fmla="*/ 22122 w 45607"/>
                  <a:gd name="connsiteY46" fmla="*/ 106671 h 119095"/>
                  <a:gd name="connsiteX47" fmla="*/ 22425 w 45607"/>
                  <a:gd name="connsiteY47" fmla="*/ 104246 h 119095"/>
                  <a:gd name="connsiteX48" fmla="*/ 24547 w 45607"/>
                  <a:gd name="connsiteY48" fmla="*/ 99398 h 119095"/>
                  <a:gd name="connsiteX49" fmla="*/ 24243 w 45607"/>
                  <a:gd name="connsiteY49" fmla="*/ 97731 h 119095"/>
                  <a:gd name="connsiteX50" fmla="*/ 24698 w 45607"/>
                  <a:gd name="connsiteY50" fmla="*/ 92125 h 119095"/>
                  <a:gd name="connsiteX51" fmla="*/ 24395 w 45607"/>
                  <a:gd name="connsiteY51" fmla="*/ 90912 h 119095"/>
                  <a:gd name="connsiteX52" fmla="*/ 25304 w 45607"/>
                  <a:gd name="connsiteY52" fmla="*/ 87882 h 119095"/>
                  <a:gd name="connsiteX53" fmla="*/ 27122 w 45607"/>
                  <a:gd name="connsiteY53" fmla="*/ 83488 h 119095"/>
                  <a:gd name="connsiteX54" fmla="*/ 28789 w 45607"/>
                  <a:gd name="connsiteY54" fmla="*/ 79548 h 119095"/>
                  <a:gd name="connsiteX55" fmla="*/ 29395 w 45607"/>
                  <a:gd name="connsiteY55" fmla="*/ 77882 h 119095"/>
                  <a:gd name="connsiteX56" fmla="*/ 31062 w 45607"/>
                  <a:gd name="connsiteY56" fmla="*/ 74245 h 119095"/>
                  <a:gd name="connsiteX57" fmla="*/ 32577 w 45607"/>
                  <a:gd name="connsiteY57" fmla="*/ 69700 h 119095"/>
                  <a:gd name="connsiteX58" fmla="*/ 31819 w 45607"/>
                  <a:gd name="connsiteY58" fmla="*/ 67124 h 119095"/>
                  <a:gd name="connsiteX59" fmla="*/ 31517 w 45607"/>
                  <a:gd name="connsiteY59" fmla="*/ 66669 h 119095"/>
                  <a:gd name="connsiteX60" fmla="*/ 32274 w 45607"/>
                  <a:gd name="connsiteY60" fmla="*/ 63942 h 119095"/>
                  <a:gd name="connsiteX61" fmla="*/ 32123 w 45607"/>
                  <a:gd name="connsiteY61" fmla="*/ 63790 h 119095"/>
                  <a:gd name="connsiteX62" fmla="*/ 32880 w 45607"/>
                  <a:gd name="connsiteY62" fmla="*/ 59245 h 119095"/>
                  <a:gd name="connsiteX63" fmla="*/ 31819 w 45607"/>
                  <a:gd name="connsiteY63" fmla="*/ 59093 h 119095"/>
                  <a:gd name="connsiteX64" fmla="*/ 28183 w 45607"/>
                  <a:gd name="connsiteY64" fmla="*/ 60911 h 119095"/>
                  <a:gd name="connsiteX65" fmla="*/ 23334 w 45607"/>
                  <a:gd name="connsiteY65" fmla="*/ 62578 h 119095"/>
                  <a:gd name="connsiteX66" fmla="*/ 18031 w 45607"/>
                  <a:gd name="connsiteY66" fmla="*/ 63033 h 119095"/>
                  <a:gd name="connsiteX67" fmla="*/ 17274 w 45607"/>
                  <a:gd name="connsiteY67" fmla="*/ 62578 h 119095"/>
                  <a:gd name="connsiteX68" fmla="*/ 17122 w 45607"/>
                  <a:gd name="connsiteY68" fmla="*/ 61669 h 119095"/>
                  <a:gd name="connsiteX69" fmla="*/ 18637 w 45607"/>
                  <a:gd name="connsiteY69" fmla="*/ 57578 h 119095"/>
                  <a:gd name="connsiteX70" fmla="*/ 19243 w 45607"/>
                  <a:gd name="connsiteY70" fmla="*/ 55457 h 119095"/>
                  <a:gd name="connsiteX71" fmla="*/ 21516 w 45607"/>
                  <a:gd name="connsiteY71" fmla="*/ 53335 h 119095"/>
                  <a:gd name="connsiteX72" fmla="*/ 24850 w 45607"/>
                  <a:gd name="connsiteY72" fmla="*/ 51517 h 119095"/>
                  <a:gd name="connsiteX73" fmla="*/ 26213 w 45607"/>
                  <a:gd name="connsiteY73" fmla="*/ 51062 h 119095"/>
                  <a:gd name="connsiteX74" fmla="*/ 26062 w 45607"/>
                  <a:gd name="connsiteY74" fmla="*/ 50305 h 119095"/>
                  <a:gd name="connsiteX75" fmla="*/ 24092 w 45607"/>
                  <a:gd name="connsiteY75" fmla="*/ 49093 h 119095"/>
                  <a:gd name="connsiteX76" fmla="*/ 22122 w 45607"/>
                  <a:gd name="connsiteY76" fmla="*/ 48487 h 119095"/>
                  <a:gd name="connsiteX77" fmla="*/ 20153 w 45607"/>
                  <a:gd name="connsiteY77" fmla="*/ 49093 h 119095"/>
                  <a:gd name="connsiteX78" fmla="*/ 19546 w 45607"/>
                  <a:gd name="connsiteY78" fmla="*/ 48790 h 119095"/>
                  <a:gd name="connsiteX79" fmla="*/ 19395 w 45607"/>
                  <a:gd name="connsiteY79" fmla="*/ 48335 h 119095"/>
                  <a:gd name="connsiteX80" fmla="*/ 20001 w 45607"/>
                  <a:gd name="connsiteY80" fmla="*/ 47577 h 119095"/>
                  <a:gd name="connsiteX81" fmla="*/ 20304 w 45607"/>
                  <a:gd name="connsiteY81" fmla="*/ 46214 h 119095"/>
                  <a:gd name="connsiteX82" fmla="*/ 20001 w 45607"/>
                  <a:gd name="connsiteY82" fmla="*/ 43789 h 119095"/>
                  <a:gd name="connsiteX83" fmla="*/ 19849 w 45607"/>
                  <a:gd name="connsiteY83" fmla="*/ 40911 h 119095"/>
                  <a:gd name="connsiteX84" fmla="*/ 19395 w 45607"/>
                  <a:gd name="connsiteY84" fmla="*/ 38638 h 119095"/>
                  <a:gd name="connsiteX85" fmla="*/ 20607 w 45607"/>
                  <a:gd name="connsiteY85" fmla="*/ 35001 h 119095"/>
                  <a:gd name="connsiteX86" fmla="*/ 20910 w 45607"/>
                  <a:gd name="connsiteY86" fmla="*/ 33335 h 119095"/>
                  <a:gd name="connsiteX87" fmla="*/ 22425 w 45607"/>
                  <a:gd name="connsiteY87" fmla="*/ 29546 h 119095"/>
                  <a:gd name="connsiteX88" fmla="*/ 25910 w 45607"/>
                  <a:gd name="connsiteY88" fmla="*/ 27274 h 119095"/>
                  <a:gd name="connsiteX89" fmla="*/ 28941 w 45607"/>
                  <a:gd name="connsiteY89" fmla="*/ 28031 h 119095"/>
                  <a:gd name="connsiteX90" fmla="*/ 30456 w 45607"/>
                  <a:gd name="connsiteY90" fmla="*/ 28183 h 119095"/>
                  <a:gd name="connsiteX91" fmla="*/ 31213 w 45607"/>
                  <a:gd name="connsiteY91" fmla="*/ 28637 h 119095"/>
                  <a:gd name="connsiteX92" fmla="*/ 31668 w 45607"/>
                  <a:gd name="connsiteY92" fmla="*/ 29850 h 119095"/>
                  <a:gd name="connsiteX93" fmla="*/ 33789 w 45607"/>
                  <a:gd name="connsiteY93" fmla="*/ 31365 h 119095"/>
                  <a:gd name="connsiteX94" fmla="*/ 35759 w 45607"/>
                  <a:gd name="connsiteY94" fmla="*/ 31516 h 119095"/>
                  <a:gd name="connsiteX95" fmla="*/ 36214 w 45607"/>
                  <a:gd name="connsiteY95" fmla="*/ 24698 h 119095"/>
                  <a:gd name="connsiteX96" fmla="*/ 36214 w 45607"/>
                  <a:gd name="connsiteY96" fmla="*/ 24092 h 119095"/>
                  <a:gd name="connsiteX97" fmla="*/ 36820 w 45607"/>
                  <a:gd name="connsiteY97" fmla="*/ 23334 h 119095"/>
                  <a:gd name="connsiteX98" fmla="*/ 37274 w 45607"/>
                  <a:gd name="connsiteY98" fmla="*/ 22880 h 119095"/>
                  <a:gd name="connsiteX99" fmla="*/ 40759 w 45607"/>
                  <a:gd name="connsiteY99" fmla="*/ 21516 h 119095"/>
                  <a:gd name="connsiteX100" fmla="*/ 42123 w 45607"/>
                  <a:gd name="connsiteY100" fmla="*/ 21213 h 119095"/>
                  <a:gd name="connsiteX101" fmla="*/ 42577 w 45607"/>
                  <a:gd name="connsiteY101" fmla="*/ 19849 h 119095"/>
                  <a:gd name="connsiteX102" fmla="*/ 44093 w 45607"/>
                  <a:gd name="connsiteY102" fmla="*/ 17425 h 119095"/>
                  <a:gd name="connsiteX103" fmla="*/ 45608 w 45607"/>
                  <a:gd name="connsiteY103" fmla="*/ 14698 h 11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5607" h="119095">
                    <a:moveTo>
                      <a:pt x="44699" y="13334"/>
                    </a:moveTo>
                    <a:lnTo>
                      <a:pt x="44396" y="11970"/>
                    </a:lnTo>
                    <a:lnTo>
                      <a:pt x="44396" y="10455"/>
                    </a:lnTo>
                    <a:lnTo>
                      <a:pt x="45456" y="9091"/>
                    </a:lnTo>
                    <a:lnTo>
                      <a:pt x="44850" y="7273"/>
                    </a:lnTo>
                    <a:lnTo>
                      <a:pt x="44093" y="5606"/>
                    </a:lnTo>
                    <a:lnTo>
                      <a:pt x="43487" y="4697"/>
                    </a:lnTo>
                    <a:lnTo>
                      <a:pt x="43487" y="3182"/>
                    </a:lnTo>
                    <a:lnTo>
                      <a:pt x="43941" y="1970"/>
                    </a:lnTo>
                    <a:lnTo>
                      <a:pt x="44396" y="0"/>
                    </a:lnTo>
                    <a:lnTo>
                      <a:pt x="43638" y="606"/>
                    </a:lnTo>
                    <a:lnTo>
                      <a:pt x="42123" y="1970"/>
                    </a:lnTo>
                    <a:lnTo>
                      <a:pt x="40759" y="3030"/>
                    </a:lnTo>
                    <a:lnTo>
                      <a:pt x="37729" y="4849"/>
                    </a:lnTo>
                    <a:lnTo>
                      <a:pt x="37123" y="5909"/>
                    </a:lnTo>
                    <a:lnTo>
                      <a:pt x="36517" y="5000"/>
                    </a:lnTo>
                    <a:lnTo>
                      <a:pt x="35153" y="5606"/>
                    </a:lnTo>
                    <a:lnTo>
                      <a:pt x="34092" y="9546"/>
                    </a:lnTo>
                    <a:lnTo>
                      <a:pt x="31819" y="10910"/>
                    </a:lnTo>
                    <a:lnTo>
                      <a:pt x="29092" y="10758"/>
                    </a:lnTo>
                    <a:lnTo>
                      <a:pt x="26668" y="10455"/>
                    </a:lnTo>
                    <a:lnTo>
                      <a:pt x="23637" y="10606"/>
                    </a:lnTo>
                    <a:lnTo>
                      <a:pt x="22728" y="14243"/>
                    </a:lnTo>
                    <a:lnTo>
                      <a:pt x="20759" y="18486"/>
                    </a:lnTo>
                    <a:lnTo>
                      <a:pt x="18486" y="25001"/>
                    </a:lnTo>
                    <a:lnTo>
                      <a:pt x="15304" y="37577"/>
                    </a:lnTo>
                    <a:lnTo>
                      <a:pt x="11819" y="46668"/>
                    </a:lnTo>
                    <a:lnTo>
                      <a:pt x="6516" y="55760"/>
                    </a:lnTo>
                    <a:lnTo>
                      <a:pt x="6364" y="56063"/>
                    </a:lnTo>
                    <a:lnTo>
                      <a:pt x="7576" y="57426"/>
                    </a:lnTo>
                    <a:lnTo>
                      <a:pt x="7576" y="57881"/>
                    </a:lnTo>
                    <a:lnTo>
                      <a:pt x="2879" y="62730"/>
                    </a:lnTo>
                    <a:lnTo>
                      <a:pt x="2728" y="64851"/>
                    </a:lnTo>
                    <a:lnTo>
                      <a:pt x="0" y="67427"/>
                    </a:lnTo>
                    <a:lnTo>
                      <a:pt x="2273" y="73790"/>
                    </a:lnTo>
                    <a:lnTo>
                      <a:pt x="4243" y="78791"/>
                    </a:lnTo>
                    <a:lnTo>
                      <a:pt x="6667" y="85761"/>
                    </a:lnTo>
                    <a:lnTo>
                      <a:pt x="7425" y="88337"/>
                    </a:lnTo>
                    <a:lnTo>
                      <a:pt x="7728" y="90306"/>
                    </a:lnTo>
                    <a:lnTo>
                      <a:pt x="11213" y="97882"/>
                    </a:lnTo>
                    <a:lnTo>
                      <a:pt x="13334" y="104095"/>
                    </a:lnTo>
                    <a:lnTo>
                      <a:pt x="14849" y="109095"/>
                    </a:lnTo>
                    <a:lnTo>
                      <a:pt x="17122" y="116519"/>
                    </a:lnTo>
                    <a:lnTo>
                      <a:pt x="18031" y="119095"/>
                    </a:lnTo>
                    <a:lnTo>
                      <a:pt x="19849" y="116823"/>
                    </a:lnTo>
                    <a:lnTo>
                      <a:pt x="21213" y="109852"/>
                    </a:lnTo>
                    <a:lnTo>
                      <a:pt x="22122" y="106671"/>
                    </a:lnTo>
                    <a:lnTo>
                      <a:pt x="22425" y="104246"/>
                    </a:lnTo>
                    <a:lnTo>
                      <a:pt x="24547" y="99398"/>
                    </a:lnTo>
                    <a:lnTo>
                      <a:pt x="24243" y="97731"/>
                    </a:lnTo>
                    <a:lnTo>
                      <a:pt x="24698" y="92125"/>
                    </a:lnTo>
                    <a:lnTo>
                      <a:pt x="24395" y="90912"/>
                    </a:lnTo>
                    <a:lnTo>
                      <a:pt x="25304" y="87882"/>
                    </a:lnTo>
                    <a:lnTo>
                      <a:pt x="27122" y="83488"/>
                    </a:lnTo>
                    <a:lnTo>
                      <a:pt x="28789" y="79548"/>
                    </a:lnTo>
                    <a:lnTo>
                      <a:pt x="29395" y="77882"/>
                    </a:lnTo>
                    <a:lnTo>
                      <a:pt x="31062" y="74245"/>
                    </a:lnTo>
                    <a:lnTo>
                      <a:pt x="32577" y="69700"/>
                    </a:lnTo>
                    <a:lnTo>
                      <a:pt x="31819" y="67124"/>
                    </a:lnTo>
                    <a:lnTo>
                      <a:pt x="31517" y="66669"/>
                    </a:lnTo>
                    <a:lnTo>
                      <a:pt x="32274" y="63942"/>
                    </a:lnTo>
                    <a:lnTo>
                      <a:pt x="32123" y="63790"/>
                    </a:lnTo>
                    <a:lnTo>
                      <a:pt x="32880" y="59245"/>
                    </a:lnTo>
                    <a:lnTo>
                      <a:pt x="31819" y="59093"/>
                    </a:lnTo>
                    <a:lnTo>
                      <a:pt x="28183" y="60911"/>
                    </a:lnTo>
                    <a:lnTo>
                      <a:pt x="23334" y="62578"/>
                    </a:lnTo>
                    <a:lnTo>
                      <a:pt x="18031" y="63033"/>
                    </a:lnTo>
                    <a:lnTo>
                      <a:pt x="17274" y="62578"/>
                    </a:lnTo>
                    <a:lnTo>
                      <a:pt x="17122" y="61669"/>
                    </a:lnTo>
                    <a:lnTo>
                      <a:pt x="18637" y="57578"/>
                    </a:lnTo>
                    <a:lnTo>
                      <a:pt x="19243" y="55457"/>
                    </a:lnTo>
                    <a:lnTo>
                      <a:pt x="21516" y="53335"/>
                    </a:lnTo>
                    <a:lnTo>
                      <a:pt x="24850" y="51517"/>
                    </a:lnTo>
                    <a:lnTo>
                      <a:pt x="26213" y="51062"/>
                    </a:lnTo>
                    <a:lnTo>
                      <a:pt x="26062" y="50305"/>
                    </a:lnTo>
                    <a:lnTo>
                      <a:pt x="24092" y="49093"/>
                    </a:lnTo>
                    <a:lnTo>
                      <a:pt x="22122" y="48487"/>
                    </a:lnTo>
                    <a:lnTo>
                      <a:pt x="20153" y="49093"/>
                    </a:lnTo>
                    <a:lnTo>
                      <a:pt x="19546" y="48790"/>
                    </a:lnTo>
                    <a:lnTo>
                      <a:pt x="19395" y="48335"/>
                    </a:lnTo>
                    <a:lnTo>
                      <a:pt x="20001" y="47577"/>
                    </a:lnTo>
                    <a:lnTo>
                      <a:pt x="20304" y="46214"/>
                    </a:lnTo>
                    <a:lnTo>
                      <a:pt x="20001" y="43789"/>
                    </a:lnTo>
                    <a:lnTo>
                      <a:pt x="19849" y="40911"/>
                    </a:lnTo>
                    <a:lnTo>
                      <a:pt x="19395" y="38638"/>
                    </a:lnTo>
                    <a:lnTo>
                      <a:pt x="20607" y="35001"/>
                    </a:lnTo>
                    <a:lnTo>
                      <a:pt x="20910" y="33335"/>
                    </a:lnTo>
                    <a:lnTo>
                      <a:pt x="22425" y="29546"/>
                    </a:lnTo>
                    <a:lnTo>
                      <a:pt x="25910" y="27274"/>
                    </a:lnTo>
                    <a:lnTo>
                      <a:pt x="28941" y="28031"/>
                    </a:lnTo>
                    <a:lnTo>
                      <a:pt x="30456" y="28183"/>
                    </a:lnTo>
                    <a:lnTo>
                      <a:pt x="31213" y="28637"/>
                    </a:lnTo>
                    <a:lnTo>
                      <a:pt x="31668" y="29850"/>
                    </a:lnTo>
                    <a:lnTo>
                      <a:pt x="33789" y="31365"/>
                    </a:lnTo>
                    <a:lnTo>
                      <a:pt x="35759" y="31516"/>
                    </a:lnTo>
                    <a:lnTo>
                      <a:pt x="36214" y="24698"/>
                    </a:lnTo>
                    <a:lnTo>
                      <a:pt x="36214" y="24092"/>
                    </a:lnTo>
                    <a:lnTo>
                      <a:pt x="36820" y="23334"/>
                    </a:lnTo>
                    <a:lnTo>
                      <a:pt x="37274" y="22880"/>
                    </a:lnTo>
                    <a:lnTo>
                      <a:pt x="40759" y="21516"/>
                    </a:lnTo>
                    <a:lnTo>
                      <a:pt x="42123" y="21213"/>
                    </a:lnTo>
                    <a:lnTo>
                      <a:pt x="42577" y="19849"/>
                    </a:lnTo>
                    <a:lnTo>
                      <a:pt x="44093" y="17425"/>
                    </a:lnTo>
                    <a:lnTo>
                      <a:pt x="45608" y="1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1" name="Freeform: Shape 3260">
                <a:extLst>
                  <a:ext uri="{FF2B5EF4-FFF2-40B4-BE49-F238E27FC236}">
                    <a16:creationId xmlns:a16="http://schemas.microsoft.com/office/drawing/2014/main" id="{EFF6E648-5A0B-475F-BA1F-F37293CB9DA7}"/>
                  </a:ext>
                </a:extLst>
              </p:cNvPr>
              <p:cNvSpPr/>
              <p:nvPr/>
            </p:nvSpPr>
            <p:spPr>
              <a:xfrm>
                <a:off x="5492644" y="2876174"/>
                <a:ext cx="119095" cy="144853"/>
              </a:xfrm>
              <a:custGeom>
                <a:avLst/>
                <a:gdLst>
                  <a:gd name="connsiteX0" fmla="*/ 119096 w 119095"/>
                  <a:gd name="connsiteY0" fmla="*/ 85306 h 144853"/>
                  <a:gd name="connsiteX1" fmla="*/ 118338 w 119095"/>
                  <a:gd name="connsiteY1" fmla="*/ 82579 h 144853"/>
                  <a:gd name="connsiteX2" fmla="*/ 116671 w 119095"/>
                  <a:gd name="connsiteY2" fmla="*/ 77579 h 144853"/>
                  <a:gd name="connsiteX3" fmla="*/ 116217 w 119095"/>
                  <a:gd name="connsiteY3" fmla="*/ 75154 h 144853"/>
                  <a:gd name="connsiteX4" fmla="*/ 116823 w 119095"/>
                  <a:gd name="connsiteY4" fmla="*/ 74245 h 144853"/>
                  <a:gd name="connsiteX5" fmla="*/ 116520 w 119095"/>
                  <a:gd name="connsiteY5" fmla="*/ 71669 h 144853"/>
                  <a:gd name="connsiteX6" fmla="*/ 116671 w 119095"/>
                  <a:gd name="connsiteY6" fmla="*/ 70154 h 144853"/>
                  <a:gd name="connsiteX7" fmla="*/ 116368 w 119095"/>
                  <a:gd name="connsiteY7" fmla="*/ 67275 h 144853"/>
                  <a:gd name="connsiteX8" fmla="*/ 114853 w 119095"/>
                  <a:gd name="connsiteY8" fmla="*/ 64851 h 144853"/>
                  <a:gd name="connsiteX9" fmla="*/ 113944 w 119095"/>
                  <a:gd name="connsiteY9" fmla="*/ 60911 h 144853"/>
                  <a:gd name="connsiteX10" fmla="*/ 112883 w 119095"/>
                  <a:gd name="connsiteY10" fmla="*/ 57426 h 144853"/>
                  <a:gd name="connsiteX11" fmla="*/ 111520 w 119095"/>
                  <a:gd name="connsiteY11" fmla="*/ 55911 h 144853"/>
                  <a:gd name="connsiteX12" fmla="*/ 110762 w 119095"/>
                  <a:gd name="connsiteY12" fmla="*/ 53638 h 144853"/>
                  <a:gd name="connsiteX13" fmla="*/ 110762 w 119095"/>
                  <a:gd name="connsiteY13" fmla="*/ 51972 h 144853"/>
                  <a:gd name="connsiteX14" fmla="*/ 111822 w 119095"/>
                  <a:gd name="connsiteY14" fmla="*/ 51063 h 144853"/>
                  <a:gd name="connsiteX15" fmla="*/ 113944 w 119095"/>
                  <a:gd name="connsiteY15" fmla="*/ 51366 h 144853"/>
                  <a:gd name="connsiteX16" fmla="*/ 115913 w 119095"/>
                  <a:gd name="connsiteY16" fmla="*/ 50911 h 144853"/>
                  <a:gd name="connsiteX17" fmla="*/ 115459 w 119095"/>
                  <a:gd name="connsiteY17" fmla="*/ 49547 h 144853"/>
                  <a:gd name="connsiteX18" fmla="*/ 114247 w 119095"/>
                  <a:gd name="connsiteY18" fmla="*/ 48184 h 144853"/>
                  <a:gd name="connsiteX19" fmla="*/ 111974 w 119095"/>
                  <a:gd name="connsiteY19" fmla="*/ 47881 h 144853"/>
                  <a:gd name="connsiteX20" fmla="*/ 110307 w 119095"/>
                  <a:gd name="connsiteY20" fmla="*/ 48487 h 144853"/>
                  <a:gd name="connsiteX21" fmla="*/ 109247 w 119095"/>
                  <a:gd name="connsiteY21" fmla="*/ 49093 h 144853"/>
                  <a:gd name="connsiteX22" fmla="*/ 108186 w 119095"/>
                  <a:gd name="connsiteY22" fmla="*/ 48941 h 144853"/>
                  <a:gd name="connsiteX23" fmla="*/ 105307 w 119095"/>
                  <a:gd name="connsiteY23" fmla="*/ 49244 h 144853"/>
                  <a:gd name="connsiteX24" fmla="*/ 102580 w 119095"/>
                  <a:gd name="connsiteY24" fmla="*/ 49244 h 144853"/>
                  <a:gd name="connsiteX25" fmla="*/ 102125 w 119095"/>
                  <a:gd name="connsiteY25" fmla="*/ 48335 h 144853"/>
                  <a:gd name="connsiteX26" fmla="*/ 102580 w 119095"/>
                  <a:gd name="connsiteY26" fmla="*/ 45305 h 144853"/>
                  <a:gd name="connsiteX27" fmla="*/ 101974 w 119095"/>
                  <a:gd name="connsiteY27" fmla="*/ 44547 h 144853"/>
                  <a:gd name="connsiteX28" fmla="*/ 99246 w 119095"/>
                  <a:gd name="connsiteY28" fmla="*/ 44093 h 144853"/>
                  <a:gd name="connsiteX29" fmla="*/ 98186 w 119095"/>
                  <a:gd name="connsiteY29" fmla="*/ 43335 h 144853"/>
                  <a:gd name="connsiteX30" fmla="*/ 96670 w 119095"/>
                  <a:gd name="connsiteY30" fmla="*/ 41365 h 144853"/>
                  <a:gd name="connsiteX31" fmla="*/ 96367 w 119095"/>
                  <a:gd name="connsiteY31" fmla="*/ 40456 h 144853"/>
                  <a:gd name="connsiteX32" fmla="*/ 96216 w 119095"/>
                  <a:gd name="connsiteY32" fmla="*/ 39092 h 144853"/>
                  <a:gd name="connsiteX33" fmla="*/ 94549 w 119095"/>
                  <a:gd name="connsiteY33" fmla="*/ 37426 h 144853"/>
                  <a:gd name="connsiteX34" fmla="*/ 92579 w 119095"/>
                  <a:gd name="connsiteY34" fmla="*/ 36213 h 144853"/>
                  <a:gd name="connsiteX35" fmla="*/ 91367 w 119095"/>
                  <a:gd name="connsiteY35" fmla="*/ 36213 h 144853"/>
                  <a:gd name="connsiteX36" fmla="*/ 89094 w 119095"/>
                  <a:gd name="connsiteY36" fmla="*/ 38183 h 144853"/>
                  <a:gd name="connsiteX37" fmla="*/ 87276 w 119095"/>
                  <a:gd name="connsiteY37" fmla="*/ 40153 h 144853"/>
                  <a:gd name="connsiteX38" fmla="*/ 87882 w 119095"/>
                  <a:gd name="connsiteY38" fmla="*/ 41214 h 144853"/>
                  <a:gd name="connsiteX39" fmla="*/ 88488 w 119095"/>
                  <a:gd name="connsiteY39" fmla="*/ 42577 h 144853"/>
                  <a:gd name="connsiteX40" fmla="*/ 87428 w 119095"/>
                  <a:gd name="connsiteY40" fmla="*/ 43486 h 144853"/>
                  <a:gd name="connsiteX41" fmla="*/ 84246 w 119095"/>
                  <a:gd name="connsiteY41" fmla="*/ 45608 h 144853"/>
                  <a:gd name="connsiteX42" fmla="*/ 83791 w 119095"/>
                  <a:gd name="connsiteY42" fmla="*/ 46517 h 144853"/>
                  <a:gd name="connsiteX43" fmla="*/ 82882 w 119095"/>
                  <a:gd name="connsiteY43" fmla="*/ 46971 h 144853"/>
                  <a:gd name="connsiteX44" fmla="*/ 81367 w 119095"/>
                  <a:gd name="connsiteY44" fmla="*/ 46365 h 144853"/>
                  <a:gd name="connsiteX45" fmla="*/ 77730 w 119095"/>
                  <a:gd name="connsiteY45" fmla="*/ 46517 h 144853"/>
                  <a:gd name="connsiteX46" fmla="*/ 76064 w 119095"/>
                  <a:gd name="connsiteY46" fmla="*/ 46062 h 144853"/>
                  <a:gd name="connsiteX47" fmla="*/ 74094 w 119095"/>
                  <a:gd name="connsiteY47" fmla="*/ 44396 h 144853"/>
                  <a:gd name="connsiteX48" fmla="*/ 69245 w 119095"/>
                  <a:gd name="connsiteY48" fmla="*/ 43335 h 144853"/>
                  <a:gd name="connsiteX49" fmla="*/ 68488 w 119095"/>
                  <a:gd name="connsiteY49" fmla="*/ 40759 h 144853"/>
                  <a:gd name="connsiteX50" fmla="*/ 67579 w 119095"/>
                  <a:gd name="connsiteY50" fmla="*/ 40305 h 144853"/>
                  <a:gd name="connsiteX51" fmla="*/ 62124 w 119095"/>
                  <a:gd name="connsiteY51" fmla="*/ 35910 h 144853"/>
                  <a:gd name="connsiteX52" fmla="*/ 61366 w 119095"/>
                  <a:gd name="connsiteY52" fmla="*/ 34395 h 144853"/>
                  <a:gd name="connsiteX53" fmla="*/ 62124 w 119095"/>
                  <a:gd name="connsiteY53" fmla="*/ 33486 h 144853"/>
                  <a:gd name="connsiteX54" fmla="*/ 64093 w 119095"/>
                  <a:gd name="connsiteY54" fmla="*/ 32122 h 144853"/>
                  <a:gd name="connsiteX55" fmla="*/ 70912 w 119095"/>
                  <a:gd name="connsiteY55" fmla="*/ 29850 h 144853"/>
                  <a:gd name="connsiteX56" fmla="*/ 71972 w 119095"/>
                  <a:gd name="connsiteY56" fmla="*/ 28941 h 144853"/>
                  <a:gd name="connsiteX57" fmla="*/ 72124 w 119095"/>
                  <a:gd name="connsiteY57" fmla="*/ 28183 h 144853"/>
                  <a:gd name="connsiteX58" fmla="*/ 70154 w 119095"/>
                  <a:gd name="connsiteY58" fmla="*/ 27274 h 144853"/>
                  <a:gd name="connsiteX59" fmla="*/ 68336 w 119095"/>
                  <a:gd name="connsiteY59" fmla="*/ 26213 h 144853"/>
                  <a:gd name="connsiteX60" fmla="*/ 67730 w 119095"/>
                  <a:gd name="connsiteY60" fmla="*/ 25607 h 144853"/>
                  <a:gd name="connsiteX61" fmla="*/ 67730 w 119095"/>
                  <a:gd name="connsiteY61" fmla="*/ 25001 h 144853"/>
                  <a:gd name="connsiteX62" fmla="*/ 68791 w 119095"/>
                  <a:gd name="connsiteY62" fmla="*/ 24243 h 144853"/>
                  <a:gd name="connsiteX63" fmla="*/ 70912 w 119095"/>
                  <a:gd name="connsiteY63" fmla="*/ 24243 h 144853"/>
                  <a:gd name="connsiteX64" fmla="*/ 72579 w 119095"/>
                  <a:gd name="connsiteY64" fmla="*/ 24546 h 144853"/>
                  <a:gd name="connsiteX65" fmla="*/ 73942 w 119095"/>
                  <a:gd name="connsiteY65" fmla="*/ 23940 h 144853"/>
                  <a:gd name="connsiteX66" fmla="*/ 76215 w 119095"/>
                  <a:gd name="connsiteY66" fmla="*/ 23334 h 144853"/>
                  <a:gd name="connsiteX67" fmla="*/ 77730 w 119095"/>
                  <a:gd name="connsiteY67" fmla="*/ 22425 h 144853"/>
                  <a:gd name="connsiteX68" fmla="*/ 79094 w 119095"/>
                  <a:gd name="connsiteY68" fmla="*/ 20304 h 144853"/>
                  <a:gd name="connsiteX69" fmla="*/ 80457 w 119095"/>
                  <a:gd name="connsiteY69" fmla="*/ 18334 h 144853"/>
                  <a:gd name="connsiteX70" fmla="*/ 80609 w 119095"/>
                  <a:gd name="connsiteY70" fmla="*/ 17273 h 144853"/>
                  <a:gd name="connsiteX71" fmla="*/ 81821 w 119095"/>
                  <a:gd name="connsiteY71" fmla="*/ 13485 h 144853"/>
                  <a:gd name="connsiteX72" fmla="*/ 82427 w 119095"/>
                  <a:gd name="connsiteY72" fmla="*/ 12576 h 144853"/>
                  <a:gd name="connsiteX73" fmla="*/ 86822 w 119095"/>
                  <a:gd name="connsiteY73" fmla="*/ 10152 h 144853"/>
                  <a:gd name="connsiteX74" fmla="*/ 88034 w 119095"/>
                  <a:gd name="connsiteY74" fmla="*/ 8485 h 144853"/>
                  <a:gd name="connsiteX75" fmla="*/ 91216 w 119095"/>
                  <a:gd name="connsiteY75" fmla="*/ 6970 h 144853"/>
                  <a:gd name="connsiteX76" fmla="*/ 93791 w 119095"/>
                  <a:gd name="connsiteY76" fmla="*/ 4697 h 144853"/>
                  <a:gd name="connsiteX77" fmla="*/ 91064 w 119095"/>
                  <a:gd name="connsiteY77" fmla="*/ 3636 h 144853"/>
                  <a:gd name="connsiteX78" fmla="*/ 88488 w 119095"/>
                  <a:gd name="connsiteY78" fmla="*/ 2273 h 144853"/>
                  <a:gd name="connsiteX79" fmla="*/ 86064 w 119095"/>
                  <a:gd name="connsiteY79" fmla="*/ 455 h 144853"/>
                  <a:gd name="connsiteX80" fmla="*/ 84397 w 119095"/>
                  <a:gd name="connsiteY80" fmla="*/ 0 h 144853"/>
                  <a:gd name="connsiteX81" fmla="*/ 82882 w 119095"/>
                  <a:gd name="connsiteY81" fmla="*/ 152 h 144853"/>
                  <a:gd name="connsiteX82" fmla="*/ 84700 w 119095"/>
                  <a:gd name="connsiteY82" fmla="*/ 2424 h 144853"/>
                  <a:gd name="connsiteX83" fmla="*/ 80457 w 119095"/>
                  <a:gd name="connsiteY83" fmla="*/ 3030 h 144853"/>
                  <a:gd name="connsiteX84" fmla="*/ 78791 w 119095"/>
                  <a:gd name="connsiteY84" fmla="*/ 4394 h 144853"/>
                  <a:gd name="connsiteX85" fmla="*/ 78488 w 119095"/>
                  <a:gd name="connsiteY85" fmla="*/ 6515 h 144853"/>
                  <a:gd name="connsiteX86" fmla="*/ 79246 w 119095"/>
                  <a:gd name="connsiteY86" fmla="*/ 8334 h 144853"/>
                  <a:gd name="connsiteX87" fmla="*/ 79700 w 119095"/>
                  <a:gd name="connsiteY87" fmla="*/ 10455 h 144853"/>
                  <a:gd name="connsiteX88" fmla="*/ 79852 w 119095"/>
                  <a:gd name="connsiteY88" fmla="*/ 12122 h 144853"/>
                  <a:gd name="connsiteX89" fmla="*/ 76973 w 119095"/>
                  <a:gd name="connsiteY89" fmla="*/ 14091 h 144853"/>
                  <a:gd name="connsiteX90" fmla="*/ 75003 w 119095"/>
                  <a:gd name="connsiteY90" fmla="*/ 15001 h 144853"/>
                  <a:gd name="connsiteX91" fmla="*/ 76821 w 119095"/>
                  <a:gd name="connsiteY91" fmla="*/ 12879 h 144853"/>
                  <a:gd name="connsiteX92" fmla="*/ 75609 w 119095"/>
                  <a:gd name="connsiteY92" fmla="*/ 11667 h 144853"/>
                  <a:gd name="connsiteX93" fmla="*/ 76973 w 119095"/>
                  <a:gd name="connsiteY93" fmla="*/ 10607 h 144853"/>
                  <a:gd name="connsiteX94" fmla="*/ 77730 w 119095"/>
                  <a:gd name="connsiteY94" fmla="*/ 9091 h 144853"/>
                  <a:gd name="connsiteX95" fmla="*/ 77427 w 119095"/>
                  <a:gd name="connsiteY95" fmla="*/ 7273 h 144853"/>
                  <a:gd name="connsiteX96" fmla="*/ 76215 w 119095"/>
                  <a:gd name="connsiteY96" fmla="*/ 6212 h 144853"/>
                  <a:gd name="connsiteX97" fmla="*/ 75760 w 119095"/>
                  <a:gd name="connsiteY97" fmla="*/ 4546 h 144853"/>
                  <a:gd name="connsiteX98" fmla="*/ 74700 w 119095"/>
                  <a:gd name="connsiteY98" fmla="*/ 4091 h 144853"/>
                  <a:gd name="connsiteX99" fmla="*/ 72124 w 119095"/>
                  <a:gd name="connsiteY99" fmla="*/ 4394 h 144853"/>
                  <a:gd name="connsiteX100" fmla="*/ 72427 w 119095"/>
                  <a:gd name="connsiteY100" fmla="*/ 6819 h 144853"/>
                  <a:gd name="connsiteX101" fmla="*/ 70912 w 119095"/>
                  <a:gd name="connsiteY101" fmla="*/ 6212 h 144853"/>
                  <a:gd name="connsiteX102" fmla="*/ 66669 w 119095"/>
                  <a:gd name="connsiteY102" fmla="*/ 6515 h 144853"/>
                  <a:gd name="connsiteX103" fmla="*/ 65305 w 119095"/>
                  <a:gd name="connsiteY103" fmla="*/ 6364 h 144853"/>
                  <a:gd name="connsiteX104" fmla="*/ 61669 w 119095"/>
                  <a:gd name="connsiteY104" fmla="*/ 7728 h 144853"/>
                  <a:gd name="connsiteX105" fmla="*/ 57881 w 119095"/>
                  <a:gd name="connsiteY105" fmla="*/ 8182 h 144853"/>
                  <a:gd name="connsiteX106" fmla="*/ 57124 w 119095"/>
                  <a:gd name="connsiteY106" fmla="*/ 9697 h 144853"/>
                  <a:gd name="connsiteX107" fmla="*/ 56517 w 119095"/>
                  <a:gd name="connsiteY107" fmla="*/ 11667 h 144853"/>
                  <a:gd name="connsiteX108" fmla="*/ 54699 w 119095"/>
                  <a:gd name="connsiteY108" fmla="*/ 13031 h 144853"/>
                  <a:gd name="connsiteX109" fmla="*/ 54245 w 119095"/>
                  <a:gd name="connsiteY109" fmla="*/ 15152 h 144853"/>
                  <a:gd name="connsiteX110" fmla="*/ 55154 w 119095"/>
                  <a:gd name="connsiteY110" fmla="*/ 18031 h 144853"/>
                  <a:gd name="connsiteX111" fmla="*/ 52578 w 119095"/>
                  <a:gd name="connsiteY111" fmla="*/ 20304 h 144853"/>
                  <a:gd name="connsiteX112" fmla="*/ 51062 w 119095"/>
                  <a:gd name="connsiteY112" fmla="*/ 21213 h 144853"/>
                  <a:gd name="connsiteX113" fmla="*/ 50760 w 119095"/>
                  <a:gd name="connsiteY113" fmla="*/ 22274 h 144853"/>
                  <a:gd name="connsiteX114" fmla="*/ 47729 w 119095"/>
                  <a:gd name="connsiteY114" fmla="*/ 23183 h 144853"/>
                  <a:gd name="connsiteX115" fmla="*/ 45911 w 119095"/>
                  <a:gd name="connsiteY115" fmla="*/ 24243 h 144853"/>
                  <a:gd name="connsiteX116" fmla="*/ 44547 w 119095"/>
                  <a:gd name="connsiteY116" fmla="*/ 26213 h 144853"/>
                  <a:gd name="connsiteX117" fmla="*/ 53032 w 119095"/>
                  <a:gd name="connsiteY117" fmla="*/ 28941 h 144853"/>
                  <a:gd name="connsiteX118" fmla="*/ 61821 w 119095"/>
                  <a:gd name="connsiteY118" fmla="*/ 27728 h 144853"/>
                  <a:gd name="connsiteX119" fmla="*/ 60154 w 119095"/>
                  <a:gd name="connsiteY119" fmla="*/ 30001 h 144853"/>
                  <a:gd name="connsiteX120" fmla="*/ 59093 w 119095"/>
                  <a:gd name="connsiteY120" fmla="*/ 32729 h 144853"/>
                  <a:gd name="connsiteX121" fmla="*/ 57578 w 119095"/>
                  <a:gd name="connsiteY121" fmla="*/ 33638 h 144853"/>
                  <a:gd name="connsiteX122" fmla="*/ 54093 w 119095"/>
                  <a:gd name="connsiteY122" fmla="*/ 34547 h 144853"/>
                  <a:gd name="connsiteX123" fmla="*/ 52578 w 119095"/>
                  <a:gd name="connsiteY123" fmla="*/ 35304 h 144853"/>
                  <a:gd name="connsiteX124" fmla="*/ 50305 w 119095"/>
                  <a:gd name="connsiteY124" fmla="*/ 36820 h 144853"/>
                  <a:gd name="connsiteX125" fmla="*/ 48487 w 119095"/>
                  <a:gd name="connsiteY125" fmla="*/ 38941 h 144853"/>
                  <a:gd name="connsiteX126" fmla="*/ 50002 w 119095"/>
                  <a:gd name="connsiteY126" fmla="*/ 40608 h 144853"/>
                  <a:gd name="connsiteX127" fmla="*/ 50608 w 119095"/>
                  <a:gd name="connsiteY127" fmla="*/ 43032 h 144853"/>
                  <a:gd name="connsiteX128" fmla="*/ 49396 w 119095"/>
                  <a:gd name="connsiteY128" fmla="*/ 43486 h 144853"/>
                  <a:gd name="connsiteX129" fmla="*/ 45002 w 119095"/>
                  <a:gd name="connsiteY129" fmla="*/ 42274 h 144853"/>
                  <a:gd name="connsiteX130" fmla="*/ 38032 w 119095"/>
                  <a:gd name="connsiteY130" fmla="*/ 41365 h 144853"/>
                  <a:gd name="connsiteX131" fmla="*/ 37123 w 119095"/>
                  <a:gd name="connsiteY131" fmla="*/ 41668 h 144853"/>
                  <a:gd name="connsiteX132" fmla="*/ 35305 w 119095"/>
                  <a:gd name="connsiteY132" fmla="*/ 43789 h 144853"/>
                  <a:gd name="connsiteX133" fmla="*/ 34092 w 119095"/>
                  <a:gd name="connsiteY133" fmla="*/ 44396 h 144853"/>
                  <a:gd name="connsiteX134" fmla="*/ 29395 w 119095"/>
                  <a:gd name="connsiteY134" fmla="*/ 41062 h 144853"/>
                  <a:gd name="connsiteX135" fmla="*/ 22577 w 119095"/>
                  <a:gd name="connsiteY135" fmla="*/ 40759 h 144853"/>
                  <a:gd name="connsiteX136" fmla="*/ 18334 w 119095"/>
                  <a:gd name="connsiteY136" fmla="*/ 41062 h 144853"/>
                  <a:gd name="connsiteX137" fmla="*/ 15455 w 119095"/>
                  <a:gd name="connsiteY137" fmla="*/ 42274 h 144853"/>
                  <a:gd name="connsiteX138" fmla="*/ 12425 w 119095"/>
                  <a:gd name="connsiteY138" fmla="*/ 42274 h 144853"/>
                  <a:gd name="connsiteX139" fmla="*/ 10758 w 119095"/>
                  <a:gd name="connsiteY139" fmla="*/ 41971 h 144853"/>
                  <a:gd name="connsiteX140" fmla="*/ 9091 w 119095"/>
                  <a:gd name="connsiteY140" fmla="*/ 42729 h 144853"/>
                  <a:gd name="connsiteX141" fmla="*/ 8182 w 119095"/>
                  <a:gd name="connsiteY141" fmla="*/ 44244 h 144853"/>
                  <a:gd name="connsiteX142" fmla="*/ 8031 w 119095"/>
                  <a:gd name="connsiteY142" fmla="*/ 46517 h 144853"/>
                  <a:gd name="connsiteX143" fmla="*/ 11213 w 119095"/>
                  <a:gd name="connsiteY143" fmla="*/ 45305 h 144853"/>
                  <a:gd name="connsiteX144" fmla="*/ 12122 w 119095"/>
                  <a:gd name="connsiteY144" fmla="*/ 46971 h 144853"/>
                  <a:gd name="connsiteX145" fmla="*/ 12425 w 119095"/>
                  <a:gd name="connsiteY145" fmla="*/ 49396 h 144853"/>
                  <a:gd name="connsiteX146" fmla="*/ 14546 w 119095"/>
                  <a:gd name="connsiteY146" fmla="*/ 48638 h 144853"/>
                  <a:gd name="connsiteX147" fmla="*/ 14698 w 119095"/>
                  <a:gd name="connsiteY147" fmla="*/ 50456 h 144853"/>
                  <a:gd name="connsiteX148" fmla="*/ 14546 w 119095"/>
                  <a:gd name="connsiteY148" fmla="*/ 52123 h 144853"/>
                  <a:gd name="connsiteX149" fmla="*/ 13486 w 119095"/>
                  <a:gd name="connsiteY149" fmla="*/ 54699 h 144853"/>
                  <a:gd name="connsiteX150" fmla="*/ 13031 w 119095"/>
                  <a:gd name="connsiteY150" fmla="*/ 57426 h 144853"/>
                  <a:gd name="connsiteX151" fmla="*/ 17576 w 119095"/>
                  <a:gd name="connsiteY151" fmla="*/ 56366 h 144853"/>
                  <a:gd name="connsiteX152" fmla="*/ 22122 w 119095"/>
                  <a:gd name="connsiteY152" fmla="*/ 56820 h 144853"/>
                  <a:gd name="connsiteX153" fmla="*/ 21819 w 119095"/>
                  <a:gd name="connsiteY153" fmla="*/ 58335 h 144853"/>
                  <a:gd name="connsiteX154" fmla="*/ 22122 w 119095"/>
                  <a:gd name="connsiteY154" fmla="*/ 59699 h 144853"/>
                  <a:gd name="connsiteX155" fmla="*/ 17576 w 119095"/>
                  <a:gd name="connsiteY155" fmla="*/ 60608 h 144853"/>
                  <a:gd name="connsiteX156" fmla="*/ 13334 w 119095"/>
                  <a:gd name="connsiteY156" fmla="*/ 62578 h 144853"/>
                  <a:gd name="connsiteX157" fmla="*/ 13334 w 119095"/>
                  <a:gd name="connsiteY157" fmla="*/ 62881 h 144853"/>
                  <a:gd name="connsiteX158" fmla="*/ 13334 w 119095"/>
                  <a:gd name="connsiteY158" fmla="*/ 64245 h 144853"/>
                  <a:gd name="connsiteX159" fmla="*/ 14849 w 119095"/>
                  <a:gd name="connsiteY159" fmla="*/ 65154 h 144853"/>
                  <a:gd name="connsiteX160" fmla="*/ 18486 w 119095"/>
                  <a:gd name="connsiteY160" fmla="*/ 66215 h 144853"/>
                  <a:gd name="connsiteX161" fmla="*/ 14243 w 119095"/>
                  <a:gd name="connsiteY161" fmla="*/ 66669 h 144853"/>
                  <a:gd name="connsiteX162" fmla="*/ 10910 w 119095"/>
                  <a:gd name="connsiteY162" fmla="*/ 67730 h 144853"/>
                  <a:gd name="connsiteX163" fmla="*/ 9243 w 119095"/>
                  <a:gd name="connsiteY163" fmla="*/ 67427 h 144853"/>
                  <a:gd name="connsiteX164" fmla="*/ 7728 w 119095"/>
                  <a:gd name="connsiteY164" fmla="*/ 68184 h 144853"/>
                  <a:gd name="connsiteX165" fmla="*/ 8031 w 119095"/>
                  <a:gd name="connsiteY165" fmla="*/ 69699 h 144853"/>
                  <a:gd name="connsiteX166" fmla="*/ 9394 w 119095"/>
                  <a:gd name="connsiteY166" fmla="*/ 70912 h 144853"/>
                  <a:gd name="connsiteX167" fmla="*/ 8334 w 119095"/>
                  <a:gd name="connsiteY167" fmla="*/ 72124 h 144853"/>
                  <a:gd name="connsiteX168" fmla="*/ 8334 w 119095"/>
                  <a:gd name="connsiteY168" fmla="*/ 73336 h 144853"/>
                  <a:gd name="connsiteX169" fmla="*/ 10758 w 119095"/>
                  <a:gd name="connsiteY169" fmla="*/ 73942 h 144853"/>
                  <a:gd name="connsiteX170" fmla="*/ 13637 w 119095"/>
                  <a:gd name="connsiteY170" fmla="*/ 73488 h 144853"/>
                  <a:gd name="connsiteX171" fmla="*/ 16516 w 119095"/>
                  <a:gd name="connsiteY171" fmla="*/ 73942 h 144853"/>
                  <a:gd name="connsiteX172" fmla="*/ 14243 w 119095"/>
                  <a:gd name="connsiteY172" fmla="*/ 75912 h 144853"/>
                  <a:gd name="connsiteX173" fmla="*/ 15607 w 119095"/>
                  <a:gd name="connsiteY173" fmla="*/ 76670 h 144853"/>
                  <a:gd name="connsiteX174" fmla="*/ 16970 w 119095"/>
                  <a:gd name="connsiteY174" fmla="*/ 76670 h 144853"/>
                  <a:gd name="connsiteX175" fmla="*/ 18940 w 119095"/>
                  <a:gd name="connsiteY175" fmla="*/ 76063 h 144853"/>
                  <a:gd name="connsiteX176" fmla="*/ 20910 w 119095"/>
                  <a:gd name="connsiteY176" fmla="*/ 76063 h 144853"/>
                  <a:gd name="connsiteX177" fmla="*/ 21516 w 119095"/>
                  <a:gd name="connsiteY177" fmla="*/ 76518 h 144853"/>
                  <a:gd name="connsiteX178" fmla="*/ 22122 w 119095"/>
                  <a:gd name="connsiteY178" fmla="*/ 78488 h 144853"/>
                  <a:gd name="connsiteX179" fmla="*/ 22880 w 119095"/>
                  <a:gd name="connsiteY179" fmla="*/ 79245 h 144853"/>
                  <a:gd name="connsiteX180" fmla="*/ 23941 w 119095"/>
                  <a:gd name="connsiteY180" fmla="*/ 79700 h 144853"/>
                  <a:gd name="connsiteX181" fmla="*/ 25153 w 119095"/>
                  <a:gd name="connsiteY181" fmla="*/ 79851 h 144853"/>
                  <a:gd name="connsiteX182" fmla="*/ 34244 w 119095"/>
                  <a:gd name="connsiteY182" fmla="*/ 79245 h 144853"/>
                  <a:gd name="connsiteX183" fmla="*/ 37123 w 119095"/>
                  <a:gd name="connsiteY183" fmla="*/ 79851 h 144853"/>
                  <a:gd name="connsiteX184" fmla="*/ 40002 w 119095"/>
                  <a:gd name="connsiteY184" fmla="*/ 80912 h 144853"/>
                  <a:gd name="connsiteX185" fmla="*/ 38184 w 119095"/>
                  <a:gd name="connsiteY185" fmla="*/ 82579 h 144853"/>
                  <a:gd name="connsiteX186" fmla="*/ 37426 w 119095"/>
                  <a:gd name="connsiteY186" fmla="*/ 82882 h 144853"/>
                  <a:gd name="connsiteX187" fmla="*/ 36517 w 119095"/>
                  <a:gd name="connsiteY187" fmla="*/ 82882 h 144853"/>
                  <a:gd name="connsiteX188" fmla="*/ 34396 w 119095"/>
                  <a:gd name="connsiteY188" fmla="*/ 83791 h 144853"/>
                  <a:gd name="connsiteX189" fmla="*/ 31517 w 119095"/>
                  <a:gd name="connsiteY189" fmla="*/ 83942 h 144853"/>
                  <a:gd name="connsiteX190" fmla="*/ 30001 w 119095"/>
                  <a:gd name="connsiteY190" fmla="*/ 85003 h 144853"/>
                  <a:gd name="connsiteX191" fmla="*/ 25607 w 119095"/>
                  <a:gd name="connsiteY191" fmla="*/ 90609 h 144853"/>
                  <a:gd name="connsiteX192" fmla="*/ 26819 w 119095"/>
                  <a:gd name="connsiteY192" fmla="*/ 91367 h 144853"/>
                  <a:gd name="connsiteX193" fmla="*/ 27425 w 119095"/>
                  <a:gd name="connsiteY193" fmla="*/ 92579 h 144853"/>
                  <a:gd name="connsiteX194" fmla="*/ 25455 w 119095"/>
                  <a:gd name="connsiteY194" fmla="*/ 95307 h 144853"/>
                  <a:gd name="connsiteX195" fmla="*/ 24092 w 119095"/>
                  <a:gd name="connsiteY195" fmla="*/ 96822 h 144853"/>
                  <a:gd name="connsiteX196" fmla="*/ 17879 w 119095"/>
                  <a:gd name="connsiteY196" fmla="*/ 101670 h 144853"/>
                  <a:gd name="connsiteX197" fmla="*/ 13031 w 119095"/>
                  <a:gd name="connsiteY197" fmla="*/ 104549 h 144853"/>
                  <a:gd name="connsiteX198" fmla="*/ 17122 w 119095"/>
                  <a:gd name="connsiteY198" fmla="*/ 104246 h 144853"/>
                  <a:gd name="connsiteX199" fmla="*/ 21062 w 119095"/>
                  <a:gd name="connsiteY199" fmla="*/ 102731 h 144853"/>
                  <a:gd name="connsiteX200" fmla="*/ 21819 w 119095"/>
                  <a:gd name="connsiteY200" fmla="*/ 101973 h 144853"/>
                  <a:gd name="connsiteX201" fmla="*/ 22577 w 119095"/>
                  <a:gd name="connsiteY201" fmla="*/ 101519 h 144853"/>
                  <a:gd name="connsiteX202" fmla="*/ 25304 w 119095"/>
                  <a:gd name="connsiteY202" fmla="*/ 102580 h 144853"/>
                  <a:gd name="connsiteX203" fmla="*/ 27122 w 119095"/>
                  <a:gd name="connsiteY203" fmla="*/ 102883 h 144853"/>
                  <a:gd name="connsiteX204" fmla="*/ 33183 w 119095"/>
                  <a:gd name="connsiteY204" fmla="*/ 102276 h 144853"/>
                  <a:gd name="connsiteX205" fmla="*/ 35305 w 119095"/>
                  <a:gd name="connsiteY205" fmla="*/ 101064 h 144853"/>
                  <a:gd name="connsiteX206" fmla="*/ 38184 w 119095"/>
                  <a:gd name="connsiteY206" fmla="*/ 97882 h 144853"/>
                  <a:gd name="connsiteX207" fmla="*/ 40002 w 119095"/>
                  <a:gd name="connsiteY207" fmla="*/ 99549 h 144853"/>
                  <a:gd name="connsiteX208" fmla="*/ 43790 w 119095"/>
                  <a:gd name="connsiteY208" fmla="*/ 100761 h 144853"/>
                  <a:gd name="connsiteX209" fmla="*/ 36365 w 119095"/>
                  <a:gd name="connsiteY209" fmla="*/ 102883 h 144853"/>
                  <a:gd name="connsiteX210" fmla="*/ 28789 w 119095"/>
                  <a:gd name="connsiteY210" fmla="*/ 104398 h 144853"/>
                  <a:gd name="connsiteX211" fmla="*/ 21819 w 119095"/>
                  <a:gd name="connsiteY211" fmla="*/ 105155 h 144853"/>
                  <a:gd name="connsiteX212" fmla="*/ 20607 w 119095"/>
                  <a:gd name="connsiteY212" fmla="*/ 105610 h 144853"/>
                  <a:gd name="connsiteX213" fmla="*/ 17122 w 119095"/>
                  <a:gd name="connsiteY213" fmla="*/ 108640 h 144853"/>
                  <a:gd name="connsiteX214" fmla="*/ 15001 w 119095"/>
                  <a:gd name="connsiteY214" fmla="*/ 109550 h 144853"/>
                  <a:gd name="connsiteX215" fmla="*/ 13182 w 119095"/>
                  <a:gd name="connsiteY215" fmla="*/ 110913 h 144853"/>
                  <a:gd name="connsiteX216" fmla="*/ 14698 w 119095"/>
                  <a:gd name="connsiteY216" fmla="*/ 111974 h 144853"/>
                  <a:gd name="connsiteX217" fmla="*/ 15001 w 119095"/>
                  <a:gd name="connsiteY217" fmla="*/ 115004 h 144853"/>
                  <a:gd name="connsiteX218" fmla="*/ 16819 w 119095"/>
                  <a:gd name="connsiteY218" fmla="*/ 116519 h 144853"/>
                  <a:gd name="connsiteX219" fmla="*/ 12273 w 119095"/>
                  <a:gd name="connsiteY219" fmla="*/ 116974 h 144853"/>
                  <a:gd name="connsiteX220" fmla="*/ 10758 w 119095"/>
                  <a:gd name="connsiteY220" fmla="*/ 116216 h 144853"/>
                  <a:gd name="connsiteX221" fmla="*/ 8940 w 119095"/>
                  <a:gd name="connsiteY221" fmla="*/ 115610 h 144853"/>
                  <a:gd name="connsiteX222" fmla="*/ 6970 w 119095"/>
                  <a:gd name="connsiteY222" fmla="*/ 115459 h 144853"/>
                  <a:gd name="connsiteX223" fmla="*/ 4849 w 119095"/>
                  <a:gd name="connsiteY223" fmla="*/ 115913 h 144853"/>
                  <a:gd name="connsiteX224" fmla="*/ 909 w 119095"/>
                  <a:gd name="connsiteY224" fmla="*/ 118338 h 144853"/>
                  <a:gd name="connsiteX225" fmla="*/ 152 w 119095"/>
                  <a:gd name="connsiteY225" fmla="*/ 119701 h 144853"/>
                  <a:gd name="connsiteX226" fmla="*/ 0 w 119095"/>
                  <a:gd name="connsiteY226" fmla="*/ 120914 h 144853"/>
                  <a:gd name="connsiteX227" fmla="*/ 3788 w 119095"/>
                  <a:gd name="connsiteY227" fmla="*/ 121217 h 144853"/>
                  <a:gd name="connsiteX228" fmla="*/ 11819 w 119095"/>
                  <a:gd name="connsiteY228" fmla="*/ 120762 h 144853"/>
                  <a:gd name="connsiteX229" fmla="*/ 13031 w 119095"/>
                  <a:gd name="connsiteY229" fmla="*/ 121217 h 144853"/>
                  <a:gd name="connsiteX230" fmla="*/ 11970 w 119095"/>
                  <a:gd name="connsiteY230" fmla="*/ 122732 h 144853"/>
                  <a:gd name="connsiteX231" fmla="*/ 9243 w 119095"/>
                  <a:gd name="connsiteY231" fmla="*/ 124095 h 144853"/>
                  <a:gd name="connsiteX232" fmla="*/ 6515 w 119095"/>
                  <a:gd name="connsiteY232" fmla="*/ 125005 h 144853"/>
                  <a:gd name="connsiteX233" fmla="*/ 4243 w 119095"/>
                  <a:gd name="connsiteY233" fmla="*/ 126671 h 144853"/>
                  <a:gd name="connsiteX234" fmla="*/ 152 w 119095"/>
                  <a:gd name="connsiteY234" fmla="*/ 130459 h 144853"/>
                  <a:gd name="connsiteX235" fmla="*/ 1212 w 119095"/>
                  <a:gd name="connsiteY235" fmla="*/ 133035 h 144853"/>
                  <a:gd name="connsiteX236" fmla="*/ 3940 w 119095"/>
                  <a:gd name="connsiteY236" fmla="*/ 132581 h 144853"/>
                  <a:gd name="connsiteX237" fmla="*/ 4697 w 119095"/>
                  <a:gd name="connsiteY237" fmla="*/ 133641 h 144853"/>
                  <a:gd name="connsiteX238" fmla="*/ 8182 w 119095"/>
                  <a:gd name="connsiteY238" fmla="*/ 134096 h 144853"/>
                  <a:gd name="connsiteX239" fmla="*/ 21516 w 119095"/>
                  <a:gd name="connsiteY239" fmla="*/ 130308 h 144853"/>
                  <a:gd name="connsiteX240" fmla="*/ 17425 w 119095"/>
                  <a:gd name="connsiteY240" fmla="*/ 132126 h 144853"/>
                  <a:gd name="connsiteX241" fmla="*/ 15910 w 119095"/>
                  <a:gd name="connsiteY241" fmla="*/ 133793 h 144853"/>
                  <a:gd name="connsiteX242" fmla="*/ 14698 w 119095"/>
                  <a:gd name="connsiteY242" fmla="*/ 134247 h 144853"/>
                  <a:gd name="connsiteX243" fmla="*/ 12576 w 119095"/>
                  <a:gd name="connsiteY243" fmla="*/ 135611 h 144853"/>
                  <a:gd name="connsiteX244" fmla="*/ 8637 w 119095"/>
                  <a:gd name="connsiteY244" fmla="*/ 138338 h 144853"/>
                  <a:gd name="connsiteX245" fmla="*/ 7273 w 119095"/>
                  <a:gd name="connsiteY245" fmla="*/ 140308 h 144853"/>
                  <a:gd name="connsiteX246" fmla="*/ 10303 w 119095"/>
                  <a:gd name="connsiteY246" fmla="*/ 139854 h 144853"/>
                  <a:gd name="connsiteX247" fmla="*/ 13334 w 119095"/>
                  <a:gd name="connsiteY247" fmla="*/ 138490 h 144853"/>
                  <a:gd name="connsiteX248" fmla="*/ 22122 w 119095"/>
                  <a:gd name="connsiteY248" fmla="*/ 136975 h 144853"/>
                  <a:gd name="connsiteX249" fmla="*/ 23637 w 119095"/>
                  <a:gd name="connsiteY249" fmla="*/ 137278 h 144853"/>
                  <a:gd name="connsiteX250" fmla="*/ 23183 w 119095"/>
                  <a:gd name="connsiteY250" fmla="*/ 137884 h 144853"/>
                  <a:gd name="connsiteX251" fmla="*/ 18637 w 119095"/>
                  <a:gd name="connsiteY251" fmla="*/ 140157 h 144853"/>
                  <a:gd name="connsiteX252" fmla="*/ 15152 w 119095"/>
                  <a:gd name="connsiteY252" fmla="*/ 144551 h 144853"/>
                  <a:gd name="connsiteX253" fmla="*/ 17879 w 119095"/>
                  <a:gd name="connsiteY253" fmla="*/ 144854 h 144853"/>
                  <a:gd name="connsiteX254" fmla="*/ 23486 w 119095"/>
                  <a:gd name="connsiteY254" fmla="*/ 143036 h 144853"/>
                  <a:gd name="connsiteX255" fmla="*/ 25455 w 119095"/>
                  <a:gd name="connsiteY255" fmla="*/ 142732 h 144853"/>
                  <a:gd name="connsiteX256" fmla="*/ 27425 w 119095"/>
                  <a:gd name="connsiteY256" fmla="*/ 143036 h 144853"/>
                  <a:gd name="connsiteX257" fmla="*/ 29243 w 119095"/>
                  <a:gd name="connsiteY257" fmla="*/ 143793 h 144853"/>
                  <a:gd name="connsiteX258" fmla="*/ 30001 w 119095"/>
                  <a:gd name="connsiteY258" fmla="*/ 143793 h 144853"/>
                  <a:gd name="connsiteX259" fmla="*/ 43184 w 119095"/>
                  <a:gd name="connsiteY259" fmla="*/ 140611 h 144853"/>
                  <a:gd name="connsiteX260" fmla="*/ 45305 w 119095"/>
                  <a:gd name="connsiteY260" fmla="*/ 138793 h 144853"/>
                  <a:gd name="connsiteX261" fmla="*/ 49244 w 119095"/>
                  <a:gd name="connsiteY261" fmla="*/ 138187 h 144853"/>
                  <a:gd name="connsiteX262" fmla="*/ 52275 w 119095"/>
                  <a:gd name="connsiteY262" fmla="*/ 136217 h 144853"/>
                  <a:gd name="connsiteX263" fmla="*/ 54245 w 119095"/>
                  <a:gd name="connsiteY263" fmla="*/ 136066 h 144853"/>
                  <a:gd name="connsiteX264" fmla="*/ 55911 w 119095"/>
                  <a:gd name="connsiteY264" fmla="*/ 135005 h 144853"/>
                  <a:gd name="connsiteX265" fmla="*/ 56215 w 119095"/>
                  <a:gd name="connsiteY265" fmla="*/ 133035 h 144853"/>
                  <a:gd name="connsiteX266" fmla="*/ 55911 w 119095"/>
                  <a:gd name="connsiteY266" fmla="*/ 131065 h 144853"/>
                  <a:gd name="connsiteX267" fmla="*/ 55305 w 119095"/>
                  <a:gd name="connsiteY267" fmla="*/ 130005 h 144853"/>
                  <a:gd name="connsiteX268" fmla="*/ 54245 w 119095"/>
                  <a:gd name="connsiteY268" fmla="*/ 129550 h 144853"/>
                  <a:gd name="connsiteX269" fmla="*/ 57427 w 119095"/>
                  <a:gd name="connsiteY269" fmla="*/ 129550 h 144853"/>
                  <a:gd name="connsiteX270" fmla="*/ 58336 w 119095"/>
                  <a:gd name="connsiteY270" fmla="*/ 130005 h 144853"/>
                  <a:gd name="connsiteX271" fmla="*/ 59245 w 119095"/>
                  <a:gd name="connsiteY271" fmla="*/ 130914 h 144853"/>
                  <a:gd name="connsiteX272" fmla="*/ 61366 w 119095"/>
                  <a:gd name="connsiteY272" fmla="*/ 132429 h 144853"/>
                  <a:gd name="connsiteX273" fmla="*/ 63791 w 119095"/>
                  <a:gd name="connsiteY273" fmla="*/ 131975 h 144853"/>
                  <a:gd name="connsiteX274" fmla="*/ 66669 w 119095"/>
                  <a:gd name="connsiteY274" fmla="*/ 130459 h 144853"/>
                  <a:gd name="connsiteX275" fmla="*/ 68942 w 119095"/>
                  <a:gd name="connsiteY275" fmla="*/ 127883 h 144853"/>
                  <a:gd name="connsiteX276" fmla="*/ 69851 w 119095"/>
                  <a:gd name="connsiteY276" fmla="*/ 127429 h 144853"/>
                  <a:gd name="connsiteX277" fmla="*/ 74548 w 119095"/>
                  <a:gd name="connsiteY277" fmla="*/ 126217 h 144853"/>
                  <a:gd name="connsiteX278" fmla="*/ 75609 w 119095"/>
                  <a:gd name="connsiteY278" fmla="*/ 125762 h 144853"/>
                  <a:gd name="connsiteX279" fmla="*/ 76518 w 119095"/>
                  <a:gd name="connsiteY279" fmla="*/ 124853 h 144853"/>
                  <a:gd name="connsiteX280" fmla="*/ 77276 w 119095"/>
                  <a:gd name="connsiteY280" fmla="*/ 123338 h 144853"/>
                  <a:gd name="connsiteX281" fmla="*/ 78185 w 119095"/>
                  <a:gd name="connsiteY281" fmla="*/ 121974 h 144853"/>
                  <a:gd name="connsiteX282" fmla="*/ 80609 w 119095"/>
                  <a:gd name="connsiteY282" fmla="*/ 121065 h 144853"/>
                  <a:gd name="connsiteX283" fmla="*/ 86822 w 119095"/>
                  <a:gd name="connsiteY283" fmla="*/ 120307 h 144853"/>
                  <a:gd name="connsiteX284" fmla="*/ 90458 w 119095"/>
                  <a:gd name="connsiteY284" fmla="*/ 120459 h 144853"/>
                  <a:gd name="connsiteX285" fmla="*/ 92579 w 119095"/>
                  <a:gd name="connsiteY285" fmla="*/ 119550 h 144853"/>
                  <a:gd name="connsiteX286" fmla="*/ 93640 w 119095"/>
                  <a:gd name="connsiteY286" fmla="*/ 116519 h 144853"/>
                  <a:gd name="connsiteX287" fmla="*/ 95004 w 119095"/>
                  <a:gd name="connsiteY287" fmla="*/ 119550 h 144853"/>
                  <a:gd name="connsiteX288" fmla="*/ 95610 w 119095"/>
                  <a:gd name="connsiteY288" fmla="*/ 119853 h 144853"/>
                  <a:gd name="connsiteX289" fmla="*/ 96519 w 119095"/>
                  <a:gd name="connsiteY289" fmla="*/ 119095 h 144853"/>
                  <a:gd name="connsiteX290" fmla="*/ 98640 w 119095"/>
                  <a:gd name="connsiteY290" fmla="*/ 117883 h 144853"/>
                  <a:gd name="connsiteX291" fmla="*/ 100913 w 119095"/>
                  <a:gd name="connsiteY291" fmla="*/ 117732 h 144853"/>
                  <a:gd name="connsiteX292" fmla="*/ 104701 w 119095"/>
                  <a:gd name="connsiteY292" fmla="*/ 118641 h 144853"/>
                  <a:gd name="connsiteX293" fmla="*/ 108034 w 119095"/>
                  <a:gd name="connsiteY293" fmla="*/ 118186 h 144853"/>
                  <a:gd name="connsiteX294" fmla="*/ 111065 w 119095"/>
                  <a:gd name="connsiteY294" fmla="*/ 116519 h 144853"/>
                  <a:gd name="connsiteX295" fmla="*/ 107277 w 119095"/>
                  <a:gd name="connsiteY295" fmla="*/ 112883 h 144853"/>
                  <a:gd name="connsiteX296" fmla="*/ 108943 w 119095"/>
                  <a:gd name="connsiteY296" fmla="*/ 112125 h 144853"/>
                  <a:gd name="connsiteX297" fmla="*/ 110459 w 119095"/>
                  <a:gd name="connsiteY297" fmla="*/ 110762 h 144853"/>
                  <a:gd name="connsiteX298" fmla="*/ 113944 w 119095"/>
                  <a:gd name="connsiteY298" fmla="*/ 105610 h 144853"/>
                  <a:gd name="connsiteX299" fmla="*/ 114398 w 119095"/>
                  <a:gd name="connsiteY299" fmla="*/ 101216 h 144853"/>
                  <a:gd name="connsiteX300" fmla="*/ 115156 w 119095"/>
                  <a:gd name="connsiteY300" fmla="*/ 98488 h 144853"/>
                  <a:gd name="connsiteX301" fmla="*/ 116217 w 119095"/>
                  <a:gd name="connsiteY301" fmla="*/ 95913 h 144853"/>
                  <a:gd name="connsiteX302" fmla="*/ 117883 w 119095"/>
                  <a:gd name="connsiteY302" fmla="*/ 93791 h 144853"/>
                  <a:gd name="connsiteX303" fmla="*/ 119096 w 119095"/>
                  <a:gd name="connsiteY303" fmla="*/ 91519 h 144853"/>
                  <a:gd name="connsiteX304" fmla="*/ 119096 w 119095"/>
                  <a:gd name="connsiteY304" fmla="*/ 85306 h 144853"/>
                  <a:gd name="connsiteX305" fmla="*/ 10152 w 119095"/>
                  <a:gd name="connsiteY305" fmla="*/ 54396 h 144853"/>
                  <a:gd name="connsiteX306" fmla="*/ 12122 w 119095"/>
                  <a:gd name="connsiteY306" fmla="*/ 55760 h 144853"/>
                  <a:gd name="connsiteX307" fmla="*/ 12273 w 119095"/>
                  <a:gd name="connsiteY307" fmla="*/ 54699 h 144853"/>
                  <a:gd name="connsiteX308" fmla="*/ 12122 w 119095"/>
                  <a:gd name="connsiteY308" fmla="*/ 51972 h 144853"/>
                  <a:gd name="connsiteX309" fmla="*/ 11061 w 119095"/>
                  <a:gd name="connsiteY309" fmla="*/ 51366 h 144853"/>
                  <a:gd name="connsiteX310" fmla="*/ 7121 w 119095"/>
                  <a:gd name="connsiteY310" fmla="*/ 51366 h 144853"/>
                  <a:gd name="connsiteX311" fmla="*/ 6061 w 119095"/>
                  <a:gd name="connsiteY311" fmla="*/ 50911 h 144853"/>
                  <a:gd name="connsiteX312" fmla="*/ 3788 w 119095"/>
                  <a:gd name="connsiteY312" fmla="*/ 52426 h 144853"/>
                  <a:gd name="connsiteX313" fmla="*/ 9394 w 119095"/>
                  <a:gd name="connsiteY313" fmla="*/ 53032 h 144853"/>
                  <a:gd name="connsiteX314" fmla="*/ 10152 w 119095"/>
                  <a:gd name="connsiteY314" fmla="*/ 54396 h 14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19095" h="144853">
                    <a:moveTo>
                      <a:pt x="119096" y="85306"/>
                    </a:moveTo>
                    <a:lnTo>
                      <a:pt x="118338" y="82579"/>
                    </a:lnTo>
                    <a:lnTo>
                      <a:pt x="116671" y="77579"/>
                    </a:lnTo>
                    <a:lnTo>
                      <a:pt x="116217" y="75154"/>
                    </a:lnTo>
                    <a:lnTo>
                      <a:pt x="116823" y="74245"/>
                    </a:lnTo>
                    <a:lnTo>
                      <a:pt x="116520" y="71669"/>
                    </a:lnTo>
                    <a:lnTo>
                      <a:pt x="116671" y="70154"/>
                    </a:lnTo>
                    <a:lnTo>
                      <a:pt x="116368" y="67275"/>
                    </a:lnTo>
                    <a:lnTo>
                      <a:pt x="114853" y="64851"/>
                    </a:lnTo>
                    <a:lnTo>
                      <a:pt x="113944" y="60911"/>
                    </a:lnTo>
                    <a:lnTo>
                      <a:pt x="112883" y="57426"/>
                    </a:lnTo>
                    <a:lnTo>
                      <a:pt x="111520" y="55911"/>
                    </a:lnTo>
                    <a:lnTo>
                      <a:pt x="110762" y="53638"/>
                    </a:lnTo>
                    <a:lnTo>
                      <a:pt x="110762" y="51972"/>
                    </a:lnTo>
                    <a:lnTo>
                      <a:pt x="111822" y="51063"/>
                    </a:lnTo>
                    <a:lnTo>
                      <a:pt x="113944" y="51366"/>
                    </a:lnTo>
                    <a:lnTo>
                      <a:pt x="115913" y="50911"/>
                    </a:lnTo>
                    <a:lnTo>
                      <a:pt x="115459" y="49547"/>
                    </a:lnTo>
                    <a:lnTo>
                      <a:pt x="114247" y="48184"/>
                    </a:lnTo>
                    <a:lnTo>
                      <a:pt x="111974" y="47881"/>
                    </a:lnTo>
                    <a:lnTo>
                      <a:pt x="110307" y="48487"/>
                    </a:lnTo>
                    <a:lnTo>
                      <a:pt x="109247" y="49093"/>
                    </a:lnTo>
                    <a:lnTo>
                      <a:pt x="108186" y="48941"/>
                    </a:lnTo>
                    <a:lnTo>
                      <a:pt x="105307" y="49244"/>
                    </a:lnTo>
                    <a:lnTo>
                      <a:pt x="102580" y="49244"/>
                    </a:lnTo>
                    <a:lnTo>
                      <a:pt x="102125" y="48335"/>
                    </a:lnTo>
                    <a:lnTo>
                      <a:pt x="102580" y="45305"/>
                    </a:lnTo>
                    <a:lnTo>
                      <a:pt x="101974" y="44547"/>
                    </a:lnTo>
                    <a:lnTo>
                      <a:pt x="99246" y="44093"/>
                    </a:lnTo>
                    <a:lnTo>
                      <a:pt x="98186" y="43335"/>
                    </a:lnTo>
                    <a:lnTo>
                      <a:pt x="96670" y="41365"/>
                    </a:lnTo>
                    <a:lnTo>
                      <a:pt x="96367" y="40456"/>
                    </a:lnTo>
                    <a:lnTo>
                      <a:pt x="96216" y="39092"/>
                    </a:lnTo>
                    <a:lnTo>
                      <a:pt x="94549" y="37426"/>
                    </a:lnTo>
                    <a:lnTo>
                      <a:pt x="92579" y="36213"/>
                    </a:lnTo>
                    <a:lnTo>
                      <a:pt x="91367" y="36213"/>
                    </a:lnTo>
                    <a:lnTo>
                      <a:pt x="89094" y="38183"/>
                    </a:lnTo>
                    <a:lnTo>
                      <a:pt x="87276" y="40153"/>
                    </a:lnTo>
                    <a:lnTo>
                      <a:pt x="87882" y="41214"/>
                    </a:lnTo>
                    <a:lnTo>
                      <a:pt x="88488" y="42577"/>
                    </a:lnTo>
                    <a:lnTo>
                      <a:pt x="87428" y="43486"/>
                    </a:lnTo>
                    <a:lnTo>
                      <a:pt x="84246" y="45608"/>
                    </a:lnTo>
                    <a:lnTo>
                      <a:pt x="83791" y="46517"/>
                    </a:lnTo>
                    <a:lnTo>
                      <a:pt x="82882" y="46971"/>
                    </a:lnTo>
                    <a:lnTo>
                      <a:pt x="81367" y="46365"/>
                    </a:lnTo>
                    <a:lnTo>
                      <a:pt x="77730" y="46517"/>
                    </a:lnTo>
                    <a:lnTo>
                      <a:pt x="76064" y="46062"/>
                    </a:lnTo>
                    <a:lnTo>
                      <a:pt x="74094" y="44396"/>
                    </a:lnTo>
                    <a:lnTo>
                      <a:pt x="69245" y="43335"/>
                    </a:lnTo>
                    <a:lnTo>
                      <a:pt x="68488" y="40759"/>
                    </a:lnTo>
                    <a:lnTo>
                      <a:pt x="67579" y="40305"/>
                    </a:lnTo>
                    <a:lnTo>
                      <a:pt x="62124" y="35910"/>
                    </a:lnTo>
                    <a:lnTo>
                      <a:pt x="61366" y="34395"/>
                    </a:lnTo>
                    <a:lnTo>
                      <a:pt x="62124" y="33486"/>
                    </a:lnTo>
                    <a:lnTo>
                      <a:pt x="64093" y="32122"/>
                    </a:lnTo>
                    <a:lnTo>
                      <a:pt x="70912" y="29850"/>
                    </a:lnTo>
                    <a:lnTo>
                      <a:pt x="71972" y="28941"/>
                    </a:lnTo>
                    <a:lnTo>
                      <a:pt x="72124" y="28183"/>
                    </a:lnTo>
                    <a:lnTo>
                      <a:pt x="70154" y="27274"/>
                    </a:lnTo>
                    <a:lnTo>
                      <a:pt x="68336" y="26213"/>
                    </a:lnTo>
                    <a:lnTo>
                      <a:pt x="67730" y="25607"/>
                    </a:lnTo>
                    <a:lnTo>
                      <a:pt x="67730" y="25001"/>
                    </a:lnTo>
                    <a:lnTo>
                      <a:pt x="68791" y="24243"/>
                    </a:lnTo>
                    <a:lnTo>
                      <a:pt x="70912" y="24243"/>
                    </a:lnTo>
                    <a:lnTo>
                      <a:pt x="72579" y="24546"/>
                    </a:lnTo>
                    <a:lnTo>
                      <a:pt x="73942" y="23940"/>
                    </a:lnTo>
                    <a:lnTo>
                      <a:pt x="76215" y="23334"/>
                    </a:lnTo>
                    <a:lnTo>
                      <a:pt x="77730" y="22425"/>
                    </a:lnTo>
                    <a:lnTo>
                      <a:pt x="79094" y="20304"/>
                    </a:lnTo>
                    <a:lnTo>
                      <a:pt x="80457" y="18334"/>
                    </a:lnTo>
                    <a:lnTo>
                      <a:pt x="80609" y="17273"/>
                    </a:lnTo>
                    <a:lnTo>
                      <a:pt x="81821" y="13485"/>
                    </a:lnTo>
                    <a:lnTo>
                      <a:pt x="82427" y="12576"/>
                    </a:lnTo>
                    <a:lnTo>
                      <a:pt x="86822" y="10152"/>
                    </a:lnTo>
                    <a:lnTo>
                      <a:pt x="88034" y="8485"/>
                    </a:lnTo>
                    <a:lnTo>
                      <a:pt x="91216" y="6970"/>
                    </a:lnTo>
                    <a:lnTo>
                      <a:pt x="93791" y="4697"/>
                    </a:lnTo>
                    <a:lnTo>
                      <a:pt x="91064" y="3636"/>
                    </a:lnTo>
                    <a:lnTo>
                      <a:pt x="88488" y="2273"/>
                    </a:lnTo>
                    <a:lnTo>
                      <a:pt x="86064" y="455"/>
                    </a:lnTo>
                    <a:lnTo>
                      <a:pt x="84397" y="0"/>
                    </a:lnTo>
                    <a:lnTo>
                      <a:pt x="82882" y="152"/>
                    </a:lnTo>
                    <a:lnTo>
                      <a:pt x="84700" y="2424"/>
                    </a:lnTo>
                    <a:lnTo>
                      <a:pt x="80457" y="3030"/>
                    </a:lnTo>
                    <a:lnTo>
                      <a:pt x="78791" y="4394"/>
                    </a:lnTo>
                    <a:lnTo>
                      <a:pt x="78488" y="6515"/>
                    </a:lnTo>
                    <a:lnTo>
                      <a:pt x="79246" y="8334"/>
                    </a:lnTo>
                    <a:lnTo>
                      <a:pt x="79700" y="10455"/>
                    </a:lnTo>
                    <a:lnTo>
                      <a:pt x="79852" y="12122"/>
                    </a:lnTo>
                    <a:lnTo>
                      <a:pt x="76973" y="14091"/>
                    </a:lnTo>
                    <a:lnTo>
                      <a:pt x="75003" y="15001"/>
                    </a:lnTo>
                    <a:lnTo>
                      <a:pt x="76821" y="12879"/>
                    </a:lnTo>
                    <a:lnTo>
                      <a:pt x="75609" y="11667"/>
                    </a:lnTo>
                    <a:lnTo>
                      <a:pt x="76973" y="10607"/>
                    </a:lnTo>
                    <a:lnTo>
                      <a:pt x="77730" y="9091"/>
                    </a:lnTo>
                    <a:lnTo>
                      <a:pt x="77427" y="7273"/>
                    </a:lnTo>
                    <a:lnTo>
                      <a:pt x="76215" y="6212"/>
                    </a:lnTo>
                    <a:lnTo>
                      <a:pt x="75760" y="4546"/>
                    </a:lnTo>
                    <a:lnTo>
                      <a:pt x="74700" y="4091"/>
                    </a:lnTo>
                    <a:lnTo>
                      <a:pt x="72124" y="4394"/>
                    </a:lnTo>
                    <a:lnTo>
                      <a:pt x="72427" y="6819"/>
                    </a:lnTo>
                    <a:lnTo>
                      <a:pt x="70912" y="6212"/>
                    </a:lnTo>
                    <a:lnTo>
                      <a:pt x="66669" y="6515"/>
                    </a:lnTo>
                    <a:lnTo>
                      <a:pt x="65305" y="6364"/>
                    </a:lnTo>
                    <a:lnTo>
                      <a:pt x="61669" y="7728"/>
                    </a:lnTo>
                    <a:lnTo>
                      <a:pt x="57881" y="8182"/>
                    </a:lnTo>
                    <a:lnTo>
                      <a:pt x="57124" y="9697"/>
                    </a:lnTo>
                    <a:lnTo>
                      <a:pt x="56517" y="11667"/>
                    </a:lnTo>
                    <a:lnTo>
                      <a:pt x="54699" y="13031"/>
                    </a:lnTo>
                    <a:lnTo>
                      <a:pt x="54245" y="15152"/>
                    </a:lnTo>
                    <a:lnTo>
                      <a:pt x="55154" y="18031"/>
                    </a:lnTo>
                    <a:lnTo>
                      <a:pt x="52578" y="20304"/>
                    </a:lnTo>
                    <a:lnTo>
                      <a:pt x="51062" y="21213"/>
                    </a:lnTo>
                    <a:lnTo>
                      <a:pt x="50760" y="22274"/>
                    </a:lnTo>
                    <a:lnTo>
                      <a:pt x="47729" y="23183"/>
                    </a:lnTo>
                    <a:lnTo>
                      <a:pt x="45911" y="24243"/>
                    </a:lnTo>
                    <a:lnTo>
                      <a:pt x="44547" y="26213"/>
                    </a:lnTo>
                    <a:lnTo>
                      <a:pt x="53032" y="28941"/>
                    </a:lnTo>
                    <a:lnTo>
                      <a:pt x="61821" y="27728"/>
                    </a:lnTo>
                    <a:lnTo>
                      <a:pt x="60154" y="30001"/>
                    </a:lnTo>
                    <a:lnTo>
                      <a:pt x="59093" y="32729"/>
                    </a:lnTo>
                    <a:lnTo>
                      <a:pt x="57578" y="33638"/>
                    </a:lnTo>
                    <a:lnTo>
                      <a:pt x="54093" y="34547"/>
                    </a:lnTo>
                    <a:lnTo>
                      <a:pt x="52578" y="35304"/>
                    </a:lnTo>
                    <a:lnTo>
                      <a:pt x="50305" y="36820"/>
                    </a:lnTo>
                    <a:lnTo>
                      <a:pt x="48487" y="38941"/>
                    </a:lnTo>
                    <a:lnTo>
                      <a:pt x="50002" y="40608"/>
                    </a:lnTo>
                    <a:lnTo>
                      <a:pt x="50608" y="43032"/>
                    </a:lnTo>
                    <a:lnTo>
                      <a:pt x="49396" y="43486"/>
                    </a:lnTo>
                    <a:lnTo>
                      <a:pt x="45002" y="42274"/>
                    </a:lnTo>
                    <a:lnTo>
                      <a:pt x="38032" y="41365"/>
                    </a:lnTo>
                    <a:lnTo>
                      <a:pt x="37123" y="41668"/>
                    </a:lnTo>
                    <a:lnTo>
                      <a:pt x="35305" y="43789"/>
                    </a:lnTo>
                    <a:lnTo>
                      <a:pt x="34092" y="44396"/>
                    </a:lnTo>
                    <a:lnTo>
                      <a:pt x="29395" y="41062"/>
                    </a:lnTo>
                    <a:lnTo>
                      <a:pt x="22577" y="40759"/>
                    </a:lnTo>
                    <a:lnTo>
                      <a:pt x="18334" y="41062"/>
                    </a:lnTo>
                    <a:lnTo>
                      <a:pt x="15455" y="42274"/>
                    </a:lnTo>
                    <a:lnTo>
                      <a:pt x="12425" y="42274"/>
                    </a:lnTo>
                    <a:lnTo>
                      <a:pt x="10758" y="41971"/>
                    </a:lnTo>
                    <a:lnTo>
                      <a:pt x="9091" y="42729"/>
                    </a:lnTo>
                    <a:lnTo>
                      <a:pt x="8182" y="44244"/>
                    </a:lnTo>
                    <a:lnTo>
                      <a:pt x="8031" y="46517"/>
                    </a:lnTo>
                    <a:lnTo>
                      <a:pt x="11213" y="45305"/>
                    </a:lnTo>
                    <a:lnTo>
                      <a:pt x="12122" y="46971"/>
                    </a:lnTo>
                    <a:lnTo>
                      <a:pt x="12425" y="49396"/>
                    </a:lnTo>
                    <a:lnTo>
                      <a:pt x="14546" y="48638"/>
                    </a:lnTo>
                    <a:lnTo>
                      <a:pt x="14698" y="50456"/>
                    </a:lnTo>
                    <a:lnTo>
                      <a:pt x="14546" y="52123"/>
                    </a:lnTo>
                    <a:lnTo>
                      <a:pt x="13486" y="54699"/>
                    </a:lnTo>
                    <a:lnTo>
                      <a:pt x="13031" y="57426"/>
                    </a:lnTo>
                    <a:lnTo>
                      <a:pt x="17576" y="56366"/>
                    </a:lnTo>
                    <a:lnTo>
                      <a:pt x="22122" y="56820"/>
                    </a:lnTo>
                    <a:lnTo>
                      <a:pt x="21819" y="58335"/>
                    </a:lnTo>
                    <a:lnTo>
                      <a:pt x="22122" y="59699"/>
                    </a:lnTo>
                    <a:lnTo>
                      <a:pt x="17576" y="60608"/>
                    </a:lnTo>
                    <a:lnTo>
                      <a:pt x="13334" y="62578"/>
                    </a:lnTo>
                    <a:lnTo>
                      <a:pt x="13334" y="62881"/>
                    </a:lnTo>
                    <a:lnTo>
                      <a:pt x="13334" y="64245"/>
                    </a:lnTo>
                    <a:lnTo>
                      <a:pt x="14849" y="65154"/>
                    </a:lnTo>
                    <a:lnTo>
                      <a:pt x="18486" y="66215"/>
                    </a:lnTo>
                    <a:lnTo>
                      <a:pt x="14243" y="66669"/>
                    </a:lnTo>
                    <a:lnTo>
                      <a:pt x="10910" y="67730"/>
                    </a:lnTo>
                    <a:lnTo>
                      <a:pt x="9243" y="67427"/>
                    </a:lnTo>
                    <a:lnTo>
                      <a:pt x="7728" y="68184"/>
                    </a:lnTo>
                    <a:lnTo>
                      <a:pt x="8031" y="69699"/>
                    </a:lnTo>
                    <a:lnTo>
                      <a:pt x="9394" y="70912"/>
                    </a:lnTo>
                    <a:lnTo>
                      <a:pt x="8334" y="72124"/>
                    </a:lnTo>
                    <a:lnTo>
                      <a:pt x="8334" y="73336"/>
                    </a:lnTo>
                    <a:lnTo>
                      <a:pt x="10758" y="73942"/>
                    </a:lnTo>
                    <a:lnTo>
                      <a:pt x="13637" y="73488"/>
                    </a:lnTo>
                    <a:lnTo>
                      <a:pt x="16516" y="73942"/>
                    </a:lnTo>
                    <a:lnTo>
                      <a:pt x="14243" y="75912"/>
                    </a:lnTo>
                    <a:lnTo>
                      <a:pt x="15607" y="76670"/>
                    </a:lnTo>
                    <a:lnTo>
                      <a:pt x="16970" y="76670"/>
                    </a:lnTo>
                    <a:lnTo>
                      <a:pt x="18940" y="76063"/>
                    </a:lnTo>
                    <a:lnTo>
                      <a:pt x="20910" y="76063"/>
                    </a:lnTo>
                    <a:lnTo>
                      <a:pt x="21516" y="76518"/>
                    </a:lnTo>
                    <a:lnTo>
                      <a:pt x="22122" y="78488"/>
                    </a:lnTo>
                    <a:lnTo>
                      <a:pt x="22880" y="79245"/>
                    </a:lnTo>
                    <a:lnTo>
                      <a:pt x="23941" y="79700"/>
                    </a:lnTo>
                    <a:lnTo>
                      <a:pt x="25153" y="79851"/>
                    </a:lnTo>
                    <a:lnTo>
                      <a:pt x="34244" y="79245"/>
                    </a:lnTo>
                    <a:lnTo>
                      <a:pt x="37123" y="79851"/>
                    </a:lnTo>
                    <a:lnTo>
                      <a:pt x="40002" y="80912"/>
                    </a:lnTo>
                    <a:lnTo>
                      <a:pt x="38184" y="82579"/>
                    </a:lnTo>
                    <a:lnTo>
                      <a:pt x="37426" y="82882"/>
                    </a:lnTo>
                    <a:lnTo>
                      <a:pt x="36517" y="82882"/>
                    </a:lnTo>
                    <a:lnTo>
                      <a:pt x="34396" y="83791"/>
                    </a:lnTo>
                    <a:lnTo>
                      <a:pt x="31517" y="83942"/>
                    </a:lnTo>
                    <a:lnTo>
                      <a:pt x="30001" y="85003"/>
                    </a:lnTo>
                    <a:lnTo>
                      <a:pt x="25607" y="90609"/>
                    </a:lnTo>
                    <a:lnTo>
                      <a:pt x="26819" y="91367"/>
                    </a:lnTo>
                    <a:lnTo>
                      <a:pt x="27425" y="92579"/>
                    </a:lnTo>
                    <a:lnTo>
                      <a:pt x="25455" y="95307"/>
                    </a:lnTo>
                    <a:lnTo>
                      <a:pt x="24092" y="96822"/>
                    </a:lnTo>
                    <a:lnTo>
                      <a:pt x="17879" y="101670"/>
                    </a:lnTo>
                    <a:lnTo>
                      <a:pt x="13031" y="104549"/>
                    </a:lnTo>
                    <a:lnTo>
                      <a:pt x="17122" y="104246"/>
                    </a:lnTo>
                    <a:lnTo>
                      <a:pt x="21062" y="102731"/>
                    </a:lnTo>
                    <a:lnTo>
                      <a:pt x="21819" y="101973"/>
                    </a:lnTo>
                    <a:lnTo>
                      <a:pt x="22577" y="101519"/>
                    </a:lnTo>
                    <a:lnTo>
                      <a:pt x="25304" y="102580"/>
                    </a:lnTo>
                    <a:lnTo>
                      <a:pt x="27122" y="102883"/>
                    </a:lnTo>
                    <a:lnTo>
                      <a:pt x="33183" y="102276"/>
                    </a:lnTo>
                    <a:lnTo>
                      <a:pt x="35305" y="101064"/>
                    </a:lnTo>
                    <a:lnTo>
                      <a:pt x="38184" y="97882"/>
                    </a:lnTo>
                    <a:lnTo>
                      <a:pt x="40002" y="99549"/>
                    </a:lnTo>
                    <a:lnTo>
                      <a:pt x="43790" y="100761"/>
                    </a:lnTo>
                    <a:lnTo>
                      <a:pt x="36365" y="102883"/>
                    </a:lnTo>
                    <a:lnTo>
                      <a:pt x="28789" y="104398"/>
                    </a:lnTo>
                    <a:lnTo>
                      <a:pt x="21819" y="105155"/>
                    </a:lnTo>
                    <a:lnTo>
                      <a:pt x="20607" y="105610"/>
                    </a:lnTo>
                    <a:lnTo>
                      <a:pt x="17122" y="108640"/>
                    </a:lnTo>
                    <a:lnTo>
                      <a:pt x="15001" y="109550"/>
                    </a:lnTo>
                    <a:lnTo>
                      <a:pt x="13182" y="110913"/>
                    </a:lnTo>
                    <a:lnTo>
                      <a:pt x="14698" y="111974"/>
                    </a:lnTo>
                    <a:lnTo>
                      <a:pt x="15001" y="115004"/>
                    </a:lnTo>
                    <a:lnTo>
                      <a:pt x="16819" y="116519"/>
                    </a:lnTo>
                    <a:lnTo>
                      <a:pt x="12273" y="116974"/>
                    </a:lnTo>
                    <a:lnTo>
                      <a:pt x="10758" y="116216"/>
                    </a:lnTo>
                    <a:lnTo>
                      <a:pt x="8940" y="115610"/>
                    </a:lnTo>
                    <a:lnTo>
                      <a:pt x="6970" y="115459"/>
                    </a:lnTo>
                    <a:lnTo>
                      <a:pt x="4849" y="115913"/>
                    </a:lnTo>
                    <a:lnTo>
                      <a:pt x="909" y="118338"/>
                    </a:lnTo>
                    <a:lnTo>
                      <a:pt x="152" y="119701"/>
                    </a:lnTo>
                    <a:lnTo>
                      <a:pt x="0" y="120914"/>
                    </a:lnTo>
                    <a:lnTo>
                      <a:pt x="3788" y="121217"/>
                    </a:lnTo>
                    <a:lnTo>
                      <a:pt x="11819" y="120762"/>
                    </a:lnTo>
                    <a:lnTo>
                      <a:pt x="13031" y="121217"/>
                    </a:lnTo>
                    <a:lnTo>
                      <a:pt x="11970" y="122732"/>
                    </a:lnTo>
                    <a:lnTo>
                      <a:pt x="9243" y="124095"/>
                    </a:lnTo>
                    <a:lnTo>
                      <a:pt x="6515" y="125005"/>
                    </a:lnTo>
                    <a:lnTo>
                      <a:pt x="4243" y="126671"/>
                    </a:lnTo>
                    <a:lnTo>
                      <a:pt x="152" y="130459"/>
                    </a:lnTo>
                    <a:lnTo>
                      <a:pt x="1212" y="133035"/>
                    </a:lnTo>
                    <a:lnTo>
                      <a:pt x="3940" y="132581"/>
                    </a:lnTo>
                    <a:lnTo>
                      <a:pt x="4697" y="133641"/>
                    </a:lnTo>
                    <a:lnTo>
                      <a:pt x="8182" y="134096"/>
                    </a:lnTo>
                    <a:lnTo>
                      <a:pt x="21516" y="130308"/>
                    </a:lnTo>
                    <a:lnTo>
                      <a:pt x="17425" y="132126"/>
                    </a:lnTo>
                    <a:lnTo>
                      <a:pt x="15910" y="133793"/>
                    </a:lnTo>
                    <a:lnTo>
                      <a:pt x="14698" y="134247"/>
                    </a:lnTo>
                    <a:lnTo>
                      <a:pt x="12576" y="135611"/>
                    </a:lnTo>
                    <a:lnTo>
                      <a:pt x="8637" y="138338"/>
                    </a:lnTo>
                    <a:lnTo>
                      <a:pt x="7273" y="140308"/>
                    </a:lnTo>
                    <a:lnTo>
                      <a:pt x="10303" y="139854"/>
                    </a:lnTo>
                    <a:lnTo>
                      <a:pt x="13334" y="138490"/>
                    </a:lnTo>
                    <a:lnTo>
                      <a:pt x="22122" y="136975"/>
                    </a:lnTo>
                    <a:lnTo>
                      <a:pt x="23637" y="137278"/>
                    </a:lnTo>
                    <a:lnTo>
                      <a:pt x="23183" y="137884"/>
                    </a:lnTo>
                    <a:lnTo>
                      <a:pt x="18637" y="140157"/>
                    </a:lnTo>
                    <a:lnTo>
                      <a:pt x="15152" y="144551"/>
                    </a:lnTo>
                    <a:lnTo>
                      <a:pt x="17879" y="144854"/>
                    </a:lnTo>
                    <a:lnTo>
                      <a:pt x="23486" y="143036"/>
                    </a:lnTo>
                    <a:lnTo>
                      <a:pt x="25455" y="142732"/>
                    </a:lnTo>
                    <a:lnTo>
                      <a:pt x="27425" y="143036"/>
                    </a:lnTo>
                    <a:lnTo>
                      <a:pt x="29243" y="143793"/>
                    </a:lnTo>
                    <a:lnTo>
                      <a:pt x="30001" y="143793"/>
                    </a:lnTo>
                    <a:lnTo>
                      <a:pt x="43184" y="140611"/>
                    </a:lnTo>
                    <a:lnTo>
                      <a:pt x="45305" y="138793"/>
                    </a:lnTo>
                    <a:lnTo>
                      <a:pt x="49244" y="138187"/>
                    </a:lnTo>
                    <a:lnTo>
                      <a:pt x="52275" y="136217"/>
                    </a:lnTo>
                    <a:lnTo>
                      <a:pt x="54245" y="136066"/>
                    </a:lnTo>
                    <a:lnTo>
                      <a:pt x="55911" y="135005"/>
                    </a:lnTo>
                    <a:lnTo>
                      <a:pt x="56215" y="133035"/>
                    </a:lnTo>
                    <a:lnTo>
                      <a:pt x="55911" y="131065"/>
                    </a:lnTo>
                    <a:lnTo>
                      <a:pt x="55305" y="130005"/>
                    </a:lnTo>
                    <a:lnTo>
                      <a:pt x="54245" y="129550"/>
                    </a:lnTo>
                    <a:lnTo>
                      <a:pt x="57427" y="129550"/>
                    </a:lnTo>
                    <a:lnTo>
                      <a:pt x="58336" y="130005"/>
                    </a:lnTo>
                    <a:lnTo>
                      <a:pt x="59245" y="130914"/>
                    </a:lnTo>
                    <a:lnTo>
                      <a:pt x="61366" y="132429"/>
                    </a:lnTo>
                    <a:lnTo>
                      <a:pt x="63791" y="131975"/>
                    </a:lnTo>
                    <a:lnTo>
                      <a:pt x="66669" y="130459"/>
                    </a:lnTo>
                    <a:lnTo>
                      <a:pt x="68942" y="127883"/>
                    </a:lnTo>
                    <a:lnTo>
                      <a:pt x="69851" y="127429"/>
                    </a:lnTo>
                    <a:lnTo>
                      <a:pt x="74548" y="126217"/>
                    </a:lnTo>
                    <a:lnTo>
                      <a:pt x="75609" y="125762"/>
                    </a:lnTo>
                    <a:lnTo>
                      <a:pt x="76518" y="124853"/>
                    </a:lnTo>
                    <a:lnTo>
                      <a:pt x="77276" y="123338"/>
                    </a:lnTo>
                    <a:lnTo>
                      <a:pt x="78185" y="121974"/>
                    </a:lnTo>
                    <a:lnTo>
                      <a:pt x="80609" y="121065"/>
                    </a:lnTo>
                    <a:lnTo>
                      <a:pt x="86822" y="120307"/>
                    </a:lnTo>
                    <a:lnTo>
                      <a:pt x="90458" y="120459"/>
                    </a:lnTo>
                    <a:lnTo>
                      <a:pt x="92579" y="119550"/>
                    </a:lnTo>
                    <a:lnTo>
                      <a:pt x="93640" y="116519"/>
                    </a:lnTo>
                    <a:lnTo>
                      <a:pt x="95004" y="119550"/>
                    </a:lnTo>
                    <a:lnTo>
                      <a:pt x="95610" y="119853"/>
                    </a:lnTo>
                    <a:lnTo>
                      <a:pt x="96519" y="119095"/>
                    </a:lnTo>
                    <a:lnTo>
                      <a:pt x="98640" y="117883"/>
                    </a:lnTo>
                    <a:lnTo>
                      <a:pt x="100913" y="117732"/>
                    </a:lnTo>
                    <a:lnTo>
                      <a:pt x="104701" y="118641"/>
                    </a:lnTo>
                    <a:lnTo>
                      <a:pt x="108034" y="118186"/>
                    </a:lnTo>
                    <a:lnTo>
                      <a:pt x="111065" y="116519"/>
                    </a:lnTo>
                    <a:lnTo>
                      <a:pt x="107277" y="112883"/>
                    </a:lnTo>
                    <a:lnTo>
                      <a:pt x="108943" y="112125"/>
                    </a:lnTo>
                    <a:lnTo>
                      <a:pt x="110459" y="110762"/>
                    </a:lnTo>
                    <a:lnTo>
                      <a:pt x="113944" y="105610"/>
                    </a:lnTo>
                    <a:lnTo>
                      <a:pt x="114398" y="101216"/>
                    </a:lnTo>
                    <a:lnTo>
                      <a:pt x="115156" y="98488"/>
                    </a:lnTo>
                    <a:lnTo>
                      <a:pt x="116217" y="95913"/>
                    </a:lnTo>
                    <a:lnTo>
                      <a:pt x="117883" y="93791"/>
                    </a:lnTo>
                    <a:lnTo>
                      <a:pt x="119096" y="91519"/>
                    </a:lnTo>
                    <a:lnTo>
                      <a:pt x="119096" y="85306"/>
                    </a:lnTo>
                    <a:close/>
                    <a:moveTo>
                      <a:pt x="10152" y="54396"/>
                    </a:moveTo>
                    <a:lnTo>
                      <a:pt x="12122" y="55760"/>
                    </a:lnTo>
                    <a:lnTo>
                      <a:pt x="12273" y="54699"/>
                    </a:lnTo>
                    <a:lnTo>
                      <a:pt x="12122" y="51972"/>
                    </a:lnTo>
                    <a:lnTo>
                      <a:pt x="11061" y="51366"/>
                    </a:lnTo>
                    <a:lnTo>
                      <a:pt x="7121" y="51366"/>
                    </a:lnTo>
                    <a:lnTo>
                      <a:pt x="6061" y="50911"/>
                    </a:lnTo>
                    <a:lnTo>
                      <a:pt x="3788" y="52426"/>
                    </a:lnTo>
                    <a:lnTo>
                      <a:pt x="9394" y="53032"/>
                    </a:lnTo>
                    <a:lnTo>
                      <a:pt x="10152" y="543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2" name="Freeform: Shape 3261">
                <a:extLst>
                  <a:ext uri="{FF2B5EF4-FFF2-40B4-BE49-F238E27FC236}">
                    <a16:creationId xmlns:a16="http://schemas.microsoft.com/office/drawing/2014/main" id="{328CEEA1-D49C-4880-A71F-BCB45EBE0DFD}"/>
                  </a:ext>
                </a:extLst>
              </p:cNvPr>
              <p:cNvSpPr/>
              <p:nvPr/>
            </p:nvSpPr>
            <p:spPr>
              <a:xfrm>
                <a:off x="8381539" y="4401381"/>
                <a:ext cx="1253076" cy="458350"/>
              </a:xfrm>
              <a:custGeom>
                <a:avLst/>
                <a:gdLst>
                  <a:gd name="connsiteX0" fmla="*/ 353044 w 1253076"/>
                  <a:gd name="connsiteY0" fmla="*/ 55911 h 458350"/>
                  <a:gd name="connsiteX1" fmla="*/ 357286 w 1253076"/>
                  <a:gd name="connsiteY1" fmla="*/ 56972 h 458350"/>
                  <a:gd name="connsiteX2" fmla="*/ 357135 w 1253076"/>
                  <a:gd name="connsiteY2" fmla="*/ 57730 h 458350"/>
                  <a:gd name="connsiteX3" fmla="*/ 356528 w 1253076"/>
                  <a:gd name="connsiteY3" fmla="*/ 58032 h 458350"/>
                  <a:gd name="connsiteX4" fmla="*/ 355771 w 1253076"/>
                  <a:gd name="connsiteY4" fmla="*/ 58184 h 458350"/>
                  <a:gd name="connsiteX5" fmla="*/ 353498 w 1253076"/>
                  <a:gd name="connsiteY5" fmla="*/ 59851 h 458350"/>
                  <a:gd name="connsiteX6" fmla="*/ 355619 w 1253076"/>
                  <a:gd name="connsiteY6" fmla="*/ 61214 h 458350"/>
                  <a:gd name="connsiteX7" fmla="*/ 359407 w 1253076"/>
                  <a:gd name="connsiteY7" fmla="*/ 60154 h 458350"/>
                  <a:gd name="connsiteX8" fmla="*/ 361529 w 1253076"/>
                  <a:gd name="connsiteY8" fmla="*/ 56214 h 458350"/>
                  <a:gd name="connsiteX9" fmla="*/ 361680 w 1253076"/>
                  <a:gd name="connsiteY9" fmla="*/ 55154 h 458350"/>
                  <a:gd name="connsiteX10" fmla="*/ 361529 w 1253076"/>
                  <a:gd name="connsiteY10" fmla="*/ 52123 h 458350"/>
                  <a:gd name="connsiteX11" fmla="*/ 357741 w 1253076"/>
                  <a:gd name="connsiteY11" fmla="*/ 47577 h 458350"/>
                  <a:gd name="connsiteX12" fmla="*/ 357589 w 1253076"/>
                  <a:gd name="connsiteY12" fmla="*/ 45759 h 458350"/>
                  <a:gd name="connsiteX13" fmla="*/ 356377 w 1253076"/>
                  <a:gd name="connsiteY13" fmla="*/ 46214 h 458350"/>
                  <a:gd name="connsiteX14" fmla="*/ 350922 w 1253076"/>
                  <a:gd name="connsiteY14" fmla="*/ 50456 h 458350"/>
                  <a:gd name="connsiteX15" fmla="*/ 350922 w 1253076"/>
                  <a:gd name="connsiteY15" fmla="*/ 52123 h 458350"/>
                  <a:gd name="connsiteX16" fmla="*/ 352134 w 1253076"/>
                  <a:gd name="connsiteY16" fmla="*/ 54699 h 458350"/>
                  <a:gd name="connsiteX17" fmla="*/ 353044 w 1253076"/>
                  <a:gd name="connsiteY17" fmla="*/ 55911 h 458350"/>
                  <a:gd name="connsiteX18" fmla="*/ 339255 w 1253076"/>
                  <a:gd name="connsiteY18" fmla="*/ 240615 h 458350"/>
                  <a:gd name="connsiteX19" fmla="*/ 339406 w 1253076"/>
                  <a:gd name="connsiteY19" fmla="*/ 241524 h 458350"/>
                  <a:gd name="connsiteX20" fmla="*/ 339558 w 1253076"/>
                  <a:gd name="connsiteY20" fmla="*/ 243797 h 458350"/>
                  <a:gd name="connsiteX21" fmla="*/ 340770 w 1253076"/>
                  <a:gd name="connsiteY21" fmla="*/ 245615 h 458350"/>
                  <a:gd name="connsiteX22" fmla="*/ 340164 w 1253076"/>
                  <a:gd name="connsiteY22" fmla="*/ 247888 h 458350"/>
                  <a:gd name="connsiteX23" fmla="*/ 341376 w 1253076"/>
                  <a:gd name="connsiteY23" fmla="*/ 247736 h 458350"/>
                  <a:gd name="connsiteX24" fmla="*/ 345771 w 1253076"/>
                  <a:gd name="connsiteY24" fmla="*/ 246524 h 458350"/>
                  <a:gd name="connsiteX25" fmla="*/ 346225 w 1253076"/>
                  <a:gd name="connsiteY25" fmla="*/ 244706 h 458350"/>
                  <a:gd name="connsiteX26" fmla="*/ 346831 w 1253076"/>
                  <a:gd name="connsiteY26" fmla="*/ 244403 h 458350"/>
                  <a:gd name="connsiteX27" fmla="*/ 349104 w 1253076"/>
                  <a:gd name="connsiteY27" fmla="*/ 245615 h 458350"/>
                  <a:gd name="connsiteX28" fmla="*/ 349861 w 1253076"/>
                  <a:gd name="connsiteY28" fmla="*/ 246676 h 458350"/>
                  <a:gd name="connsiteX29" fmla="*/ 350165 w 1253076"/>
                  <a:gd name="connsiteY29" fmla="*/ 248191 h 458350"/>
                  <a:gd name="connsiteX30" fmla="*/ 352286 w 1253076"/>
                  <a:gd name="connsiteY30" fmla="*/ 248342 h 458350"/>
                  <a:gd name="connsiteX31" fmla="*/ 353044 w 1253076"/>
                  <a:gd name="connsiteY31" fmla="*/ 247433 h 458350"/>
                  <a:gd name="connsiteX32" fmla="*/ 355316 w 1253076"/>
                  <a:gd name="connsiteY32" fmla="*/ 246070 h 458350"/>
                  <a:gd name="connsiteX33" fmla="*/ 355922 w 1253076"/>
                  <a:gd name="connsiteY33" fmla="*/ 245009 h 458350"/>
                  <a:gd name="connsiteX34" fmla="*/ 356377 w 1253076"/>
                  <a:gd name="connsiteY34" fmla="*/ 242130 h 458350"/>
                  <a:gd name="connsiteX35" fmla="*/ 358650 w 1253076"/>
                  <a:gd name="connsiteY35" fmla="*/ 237585 h 458350"/>
                  <a:gd name="connsiteX36" fmla="*/ 356528 w 1253076"/>
                  <a:gd name="connsiteY36" fmla="*/ 233948 h 458350"/>
                  <a:gd name="connsiteX37" fmla="*/ 352740 w 1253076"/>
                  <a:gd name="connsiteY37" fmla="*/ 231221 h 458350"/>
                  <a:gd name="connsiteX38" fmla="*/ 347286 w 1253076"/>
                  <a:gd name="connsiteY38" fmla="*/ 230160 h 458350"/>
                  <a:gd name="connsiteX39" fmla="*/ 346225 w 1253076"/>
                  <a:gd name="connsiteY39" fmla="*/ 229402 h 458350"/>
                  <a:gd name="connsiteX40" fmla="*/ 341528 w 1253076"/>
                  <a:gd name="connsiteY40" fmla="*/ 230312 h 458350"/>
                  <a:gd name="connsiteX41" fmla="*/ 340922 w 1253076"/>
                  <a:gd name="connsiteY41" fmla="*/ 234857 h 458350"/>
                  <a:gd name="connsiteX42" fmla="*/ 339710 w 1253076"/>
                  <a:gd name="connsiteY42" fmla="*/ 236675 h 458350"/>
                  <a:gd name="connsiteX43" fmla="*/ 339861 w 1253076"/>
                  <a:gd name="connsiteY43" fmla="*/ 238342 h 458350"/>
                  <a:gd name="connsiteX44" fmla="*/ 338801 w 1253076"/>
                  <a:gd name="connsiteY44" fmla="*/ 239857 h 458350"/>
                  <a:gd name="connsiteX45" fmla="*/ 339255 w 1253076"/>
                  <a:gd name="connsiteY45" fmla="*/ 240615 h 458350"/>
                  <a:gd name="connsiteX46" fmla="*/ 335164 w 1253076"/>
                  <a:gd name="connsiteY46" fmla="*/ 240160 h 458350"/>
                  <a:gd name="connsiteX47" fmla="*/ 336225 w 1253076"/>
                  <a:gd name="connsiteY47" fmla="*/ 239403 h 458350"/>
                  <a:gd name="connsiteX48" fmla="*/ 336982 w 1253076"/>
                  <a:gd name="connsiteY48" fmla="*/ 237888 h 458350"/>
                  <a:gd name="connsiteX49" fmla="*/ 336225 w 1253076"/>
                  <a:gd name="connsiteY49" fmla="*/ 237585 h 458350"/>
                  <a:gd name="connsiteX50" fmla="*/ 334709 w 1253076"/>
                  <a:gd name="connsiteY50" fmla="*/ 237736 h 458350"/>
                  <a:gd name="connsiteX51" fmla="*/ 334255 w 1253076"/>
                  <a:gd name="connsiteY51" fmla="*/ 238645 h 458350"/>
                  <a:gd name="connsiteX52" fmla="*/ 334406 w 1253076"/>
                  <a:gd name="connsiteY52" fmla="*/ 239403 h 458350"/>
                  <a:gd name="connsiteX53" fmla="*/ 335164 w 1253076"/>
                  <a:gd name="connsiteY53" fmla="*/ 240160 h 458350"/>
                  <a:gd name="connsiteX54" fmla="*/ 287889 w 1253076"/>
                  <a:gd name="connsiteY54" fmla="*/ 80761 h 458350"/>
                  <a:gd name="connsiteX55" fmla="*/ 287889 w 1253076"/>
                  <a:gd name="connsiteY55" fmla="*/ 82124 h 458350"/>
                  <a:gd name="connsiteX56" fmla="*/ 288192 w 1253076"/>
                  <a:gd name="connsiteY56" fmla="*/ 82882 h 458350"/>
                  <a:gd name="connsiteX57" fmla="*/ 289405 w 1253076"/>
                  <a:gd name="connsiteY57" fmla="*/ 82730 h 458350"/>
                  <a:gd name="connsiteX58" fmla="*/ 290768 w 1253076"/>
                  <a:gd name="connsiteY58" fmla="*/ 81670 h 458350"/>
                  <a:gd name="connsiteX59" fmla="*/ 291526 w 1253076"/>
                  <a:gd name="connsiteY59" fmla="*/ 79700 h 458350"/>
                  <a:gd name="connsiteX60" fmla="*/ 291071 w 1253076"/>
                  <a:gd name="connsiteY60" fmla="*/ 79548 h 458350"/>
                  <a:gd name="connsiteX61" fmla="*/ 290314 w 1253076"/>
                  <a:gd name="connsiteY61" fmla="*/ 79245 h 458350"/>
                  <a:gd name="connsiteX62" fmla="*/ 289405 w 1253076"/>
                  <a:gd name="connsiteY62" fmla="*/ 78791 h 458350"/>
                  <a:gd name="connsiteX63" fmla="*/ 288647 w 1253076"/>
                  <a:gd name="connsiteY63" fmla="*/ 78185 h 458350"/>
                  <a:gd name="connsiteX64" fmla="*/ 287587 w 1253076"/>
                  <a:gd name="connsiteY64" fmla="*/ 77427 h 458350"/>
                  <a:gd name="connsiteX65" fmla="*/ 287587 w 1253076"/>
                  <a:gd name="connsiteY65" fmla="*/ 78791 h 458350"/>
                  <a:gd name="connsiteX66" fmla="*/ 287889 w 1253076"/>
                  <a:gd name="connsiteY66" fmla="*/ 79548 h 458350"/>
                  <a:gd name="connsiteX67" fmla="*/ 287889 w 1253076"/>
                  <a:gd name="connsiteY67" fmla="*/ 80761 h 458350"/>
                  <a:gd name="connsiteX68" fmla="*/ 303648 w 1253076"/>
                  <a:gd name="connsiteY68" fmla="*/ 76670 h 458350"/>
                  <a:gd name="connsiteX69" fmla="*/ 303648 w 1253076"/>
                  <a:gd name="connsiteY69" fmla="*/ 74851 h 458350"/>
                  <a:gd name="connsiteX70" fmla="*/ 303193 w 1253076"/>
                  <a:gd name="connsiteY70" fmla="*/ 73185 h 458350"/>
                  <a:gd name="connsiteX71" fmla="*/ 301830 w 1253076"/>
                  <a:gd name="connsiteY71" fmla="*/ 72882 h 458350"/>
                  <a:gd name="connsiteX72" fmla="*/ 301223 w 1253076"/>
                  <a:gd name="connsiteY72" fmla="*/ 73488 h 458350"/>
                  <a:gd name="connsiteX73" fmla="*/ 301526 w 1253076"/>
                  <a:gd name="connsiteY73" fmla="*/ 75609 h 458350"/>
                  <a:gd name="connsiteX74" fmla="*/ 303648 w 1253076"/>
                  <a:gd name="connsiteY74" fmla="*/ 76670 h 458350"/>
                  <a:gd name="connsiteX75" fmla="*/ 276525 w 1253076"/>
                  <a:gd name="connsiteY75" fmla="*/ 218190 h 458350"/>
                  <a:gd name="connsiteX76" fmla="*/ 277889 w 1253076"/>
                  <a:gd name="connsiteY76" fmla="*/ 218493 h 458350"/>
                  <a:gd name="connsiteX77" fmla="*/ 283647 w 1253076"/>
                  <a:gd name="connsiteY77" fmla="*/ 217281 h 458350"/>
                  <a:gd name="connsiteX78" fmla="*/ 284859 w 1253076"/>
                  <a:gd name="connsiteY78" fmla="*/ 217887 h 458350"/>
                  <a:gd name="connsiteX79" fmla="*/ 287738 w 1253076"/>
                  <a:gd name="connsiteY79" fmla="*/ 218644 h 458350"/>
                  <a:gd name="connsiteX80" fmla="*/ 290011 w 1253076"/>
                  <a:gd name="connsiteY80" fmla="*/ 220008 h 458350"/>
                  <a:gd name="connsiteX81" fmla="*/ 290617 w 1253076"/>
                  <a:gd name="connsiteY81" fmla="*/ 223493 h 458350"/>
                  <a:gd name="connsiteX82" fmla="*/ 292132 w 1253076"/>
                  <a:gd name="connsiteY82" fmla="*/ 226372 h 458350"/>
                  <a:gd name="connsiteX83" fmla="*/ 293344 w 1253076"/>
                  <a:gd name="connsiteY83" fmla="*/ 227433 h 458350"/>
                  <a:gd name="connsiteX84" fmla="*/ 294254 w 1253076"/>
                  <a:gd name="connsiteY84" fmla="*/ 228493 h 458350"/>
                  <a:gd name="connsiteX85" fmla="*/ 293344 w 1253076"/>
                  <a:gd name="connsiteY85" fmla="*/ 232584 h 458350"/>
                  <a:gd name="connsiteX86" fmla="*/ 294102 w 1253076"/>
                  <a:gd name="connsiteY86" fmla="*/ 235312 h 458350"/>
                  <a:gd name="connsiteX87" fmla="*/ 295768 w 1253076"/>
                  <a:gd name="connsiteY87" fmla="*/ 237585 h 458350"/>
                  <a:gd name="connsiteX88" fmla="*/ 299254 w 1253076"/>
                  <a:gd name="connsiteY88" fmla="*/ 238342 h 458350"/>
                  <a:gd name="connsiteX89" fmla="*/ 302587 w 1253076"/>
                  <a:gd name="connsiteY89" fmla="*/ 239403 h 458350"/>
                  <a:gd name="connsiteX90" fmla="*/ 305163 w 1253076"/>
                  <a:gd name="connsiteY90" fmla="*/ 240918 h 458350"/>
                  <a:gd name="connsiteX91" fmla="*/ 306678 w 1253076"/>
                  <a:gd name="connsiteY91" fmla="*/ 241373 h 458350"/>
                  <a:gd name="connsiteX92" fmla="*/ 308042 w 1253076"/>
                  <a:gd name="connsiteY92" fmla="*/ 242130 h 458350"/>
                  <a:gd name="connsiteX93" fmla="*/ 309406 w 1253076"/>
                  <a:gd name="connsiteY93" fmla="*/ 243039 h 458350"/>
                  <a:gd name="connsiteX94" fmla="*/ 310769 w 1253076"/>
                  <a:gd name="connsiteY94" fmla="*/ 243797 h 458350"/>
                  <a:gd name="connsiteX95" fmla="*/ 312587 w 1253076"/>
                  <a:gd name="connsiteY95" fmla="*/ 244251 h 458350"/>
                  <a:gd name="connsiteX96" fmla="*/ 314103 w 1253076"/>
                  <a:gd name="connsiteY96" fmla="*/ 244251 h 458350"/>
                  <a:gd name="connsiteX97" fmla="*/ 313799 w 1253076"/>
                  <a:gd name="connsiteY97" fmla="*/ 242282 h 458350"/>
                  <a:gd name="connsiteX98" fmla="*/ 312739 w 1253076"/>
                  <a:gd name="connsiteY98" fmla="*/ 240463 h 458350"/>
                  <a:gd name="connsiteX99" fmla="*/ 312587 w 1253076"/>
                  <a:gd name="connsiteY99" fmla="*/ 239403 h 458350"/>
                  <a:gd name="connsiteX100" fmla="*/ 314406 w 1253076"/>
                  <a:gd name="connsiteY100" fmla="*/ 234251 h 458350"/>
                  <a:gd name="connsiteX101" fmla="*/ 315163 w 1253076"/>
                  <a:gd name="connsiteY101" fmla="*/ 233039 h 458350"/>
                  <a:gd name="connsiteX102" fmla="*/ 316224 w 1253076"/>
                  <a:gd name="connsiteY102" fmla="*/ 231978 h 458350"/>
                  <a:gd name="connsiteX103" fmla="*/ 318194 w 1253076"/>
                  <a:gd name="connsiteY103" fmla="*/ 230766 h 458350"/>
                  <a:gd name="connsiteX104" fmla="*/ 305769 w 1253076"/>
                  <a:gd name="connsiteY104" fmla="*/ 227887 h 458350"/>
                  <a:gd name="connsiteX105" fmla="*/ 301526 w 1253076"/>
                  <a:gd name="connsiteY105" fmla="*/ 220311 h 458350"/>
                  <a:gd name="connsiteX106" fmla="*/ 300163 w 1253076"/>
                  <a:gd name="connsiteY106" fmla="*/ 211523 h 458350"/>
                  <a:gd name="connsiteX107" fmla="*/ 299254 w 1253076"/>
                  <a:gd name="connsiteY107" fmla="*/ 209705 h 458350"/>
                  <a:gd name="connsiteX108" fmla="*/ 297890 w 1253076"/>
                  <a:gd name="connsiteY108" fmla="*/ 208038 h 458350"/>
                  <a:gd name="connsiteX109" fmla="*/ 296981 w 1253076"/>
                  <a:gd name="connsiteY109" fmla="*/ 206220 h 458350"/>
                  <a:gd name="connsiteX110" fmla="*/ 296526 w 1253076"/>
                  <a:gd name="connsiteY110" fmla="*/ 204098 h 458350"/>
                  <a:gd name="connsiteX111" fmla="*/ 295314 w 1253076"/>
                  <a:gd name="connsiteY111" fmla="*/ 202583 h 458350"/>
                  <a:gd name="connsiteX112" fmla="*/ 293344 w 1253076"/>
                  <a:gd name="connsiteY112" fmla="*/ 201674 h 458350"/>
                  <a:gd name="connsiteX113" fmla="*/ 290768 w 1253076"/>
                  <a:gd name="connsiteY113" fmla="*/ 201674 h 458350"/>
                  <a:gd name="connsiteX114" fmla="*/ 288192 w 1253076"/>
                  <a:gd name="connsiteY114" fmla="*/ 202432 h 458350"/>
                  <a:gd name="connsiteX115" fmla="*/ 289102 w 1253076"/>
                  <a:gd name="connsiteY115" fmla="*/ 205765 h 458350"/>
                  <a:gd name="connsiteX116" fmla="*/ 287587 w 1253076"/>
                  <a:gd name="connsiteY116" fmla="*/ 207735 h 458350"/>
                  <a:gd name="connsiteX117" fmla="*/ 286678 w 1253076"/>
                  <a:gd name="connsiteY117" fmla="*/ 206371 h 458350"/>
                  <a:gd name="connsiteX118" fmla="*/ 285920 w 1253076"/>
                  <a:gd name="connsiteY118" fmla="*/ 204401 h 458350"/>
                  <a:gd name="connsiteX119" fmla="*/ 284404 w 1253076"/>
                  <a:gd name="connsiteY119" fmla="*/ 202129 h 458350"/>
                  <a:gd name="connsiteX120" fmla="*/ 280920 w 1253076"/>
                  <a:gd name="connsiteY120" fmla="*/ 203492 h 458350"/>
                  <a:gd name="connsiteX121" fmla="*/ 279707 w 1253076"/>
                  <a:gd name="connsiteY121" fmla="*/ 204553 h 458350"/>
                  <a:gd name="connsiteX122" fmla="*/ 278647 w 1253076"/>
                  <a:gd name="connsiteY122" fmla="*/ 205765 h 458350"/>
                  <a:gd name="connsiteX123" fmla="*/ 278344 w 1253076"/>
                  <a:gd name="connsiteY123" fmla="*/ 207129 h 458350"/>
                  <a:gd name="connsiteX124" fmla="*/ 278950 w 1253076"/>
                  <a:gd name="connsiteY124" fmla="*/ 208341 h 458350"/>
                  <a:gd name="connsiteX125" fmla="*/ 278647 w 1253076"/>
                  <a:gd name="connsiteY125" fmla="*/ 210008 h 458350"/>
                  <a:gd name="connsiteX126" fmla="*/ 276980 w 1253076"/>
                  <a:gd name="connsiteY126" fmla="*/ 211372 h 458350"/>
                  <a:gd name="connsiteX127" fmla="*/ 273495 w 1253076"/>
                  <a:gd name="connsiteY127" fmla="*/ 212887 h 458350"/>
                  <a:gd name="connsiteX128" fmla="*/ 271980 w 1253076"/>
                  <a:gd name="connsiteY128" fmla="*/ 214402 h 458350"/>
                  <a:gd name="connsiteX129" fmla="*/ 271828 w 1253076"/>
                  <a:gd name="connsiteY129" fmla="*/ 216372 h 458350"/>
                  <a:gd name="connsiteX130" fmla="*/ 275010 w 1253076"/>
                  <a:gd name="connsiteY130" fmla="*/ 217432 h 458350"/>
                  <a:gd name="connsiteX131" fmla="*/ 276525 w 1253076"/>
                  <a:gd name="connsiteY131" fmla="*/ 218190 h 458350"/>
                  <a:gd name="connsiteX132" fmla="*/ 776999 w 1253076"/>
                  <a:gd name="connsiteY132" fmla="*/ 306678 h 458350"/>
                  <a:gd name="connsiteX133" fmla="*/ 778059 w 1253076"/>
                  <a:gd name="connsiteY133" fmla="*/ 306829 h 458350"/>
                  <a:gd name="connsiteX134" fmla="*/ 778211 w 1253076"/>
                  <a:gd name="connsiteY134" fmla="*/ 304102 h 458350"/>
                  <a:gd name="connsiteX135" fmla="*/ 776393 w 1253076"/>
                  <a:gd name="connsiteY135" fmla="*/ 303496 h 458350"/>
                  <a:gd name="connsiteX136" fmla="*/ 775938 w 1253076"/>
                  <a:gd name="connsiteY136" fmla="*/ 304102 h 458350"/>
                  <a:gd name="connsiteX137" fmla="*/ 775938 w 1253076"/>
                  <a:gd name="connsiteY137" fmla="*/ 304860 h 458350"/>
                  <a:gd name="connsiteX138" fmla="*/ 776241 w 1253076"/>
                  <a:gd name="connsiteY138" fmla="*/ 305769 h 458350"/>
                  <a:gd name="connsiteX139" fmla="*/ 776999 w 1253076"/>
                  <a:gd name="connsiteY139" fmla="*/ 306678 h 458350"/>
                  <a:gd name="connsiteX140" fmla="*/ 316224 w 1253076"/>
                  <a:gd name="connsiteY140" fmla="*/ 240463 h 458350"/>
                  <a:gd name="connsiteX141" fmla="*/ 316375 w 1253076"/>
                  <a:gd name="connsiteY141" fmla="*/ 241221 h 458350"/>
                  <a:gd name="connsiteX142" fmla="*/ 317133 w 1253076"/>
                  <a:gd name="connsiteY142" fmla="*/ 241979 h 458350"/>
                  <a:gd name="connsiteX143" fmla="*/ 318194 w 1253076"/>
                  <a:gd name="connsiteY143" fmla="*/ 242736 h 458350"/>
                  <a:gd name="connsiteX144" fmla="*/ 319709 w 1253076"/>
                  <a:gd name="connsiteY144" fmla="*/ 243039 h 458350"/>
                  <a:gd name="connsiteX145" fmla="*/ 320163 w 1253076"/>
                  <a:gd name="connsiteY145" fmla="*/ 242433 h 458350"/>
                  <a:gd name="connsiteX146" fmla="*/ 320770 w 1253076"/>
                  <a:gd name="connsiteY146" fmla="*/ 240463 h 458350"/>
                  <a:gd name="connsiteX147" fmla="*/ 317587 w 1253076"/>
                  <a:gd name="connsiteY147" fmla="*/ 239554 h 458350"/>
                  <a:gd name="connsiteX148" fmla="*/ 316224 w 1253076"/>
                  <a:gd name="connsiteY148" fmla="*/ 240463 h 458350"/>
                  <a:gd name="connsiteX149" fmla="*/ 696238 w 1253076"/>
                  <a:gd name="connsiteY149" fmla="*/ 351680 h 458350"/>
                  <a:gd name="connsiteX150" fmla="*/ 696389 w 1253076"/>
                  <a:gd name="connsiteY150" fmla="*/ 354407 h 458350"/>
                  <a:gd name="connsiteX151" fmla="*/ 697298 w 1253076"/>
                  <a:gd name="connsiteY151" fmla="*/ 354710 h 458350"/>
                  <a:gd name="connsiteX152" fmla="*/ 700026 w 1253076"/>
                  <a:gd name="connsiteY152" fmla="*/ 354559 h 458350"/>
                  <a:gd name="connsiteX153" fmla="*/ 700177 w 1253076"/>
                  <a:gd name="connsiteY153" fmla="*/ 353043 h 458350"/>
                  <a:gd name="connsiteX154" fmla="*/ 699117 w 1253076"/>
                  <a:gd name="connsiteY154" fmla="*/ 352892 h 458350"/>
                  <a:gd name="connsiteX155" fmla="*/ 696238 w 1253076"/>
                  <a:gd name="connsiteY155" fmla="*/ 351680 h 458350"/>
                  <a:gd name="connsiteX156" fmla="*/ 728815 w 1253076"/>
                  <a:gd name="connsiteY156" fmla="*/ 302284 h 458350"/>
                  <a:gd name="connsiteX157" fmla="*/ 728512 w 1253076"/>
                  <a:gd name="connsiteY157" fmla="*/ 303799 h 458350"/>
                  <a:gd name="connsiteX158" fmla="*/ 729876 w 1253076"/>
                  <a:gd name="connsiteY158" fmla="*/ 306375 h 458350"/>
                  <a:gd name="connsiteX159" fmla="*/ 733209 w 1253076"/>
                  <a:gd name="connsiteY159" fmla="*/ 309557 h 458350"/>
                  <a:gd name="connsiteX160" fmla="*/ 734876 w 1253076"/>
                  <a:gd name="connsiteY160" fmla="*/ 308799 h 458350"/>
                  <a:gd name="connsiteX161" fmla="*/ 735330 w 1253076"/>
                  <a:gd name="connsiteY161" fmla="*/ 302890 h 458350"/>
                  <a:gd name="connsiteX162" fmla="*/ 734725 w 1253076"/>
                  <a:gd name="connsiteY162" fmla="*/ 301223 h 458350"/>
                  <a:gd name="connsiteX163" fmla="*/ 733664 w 1253076"/>
                  <a:gd name="connsiteY163" fmla="*/ 300769 h 458350"/>
                  <a:gd name="connsiteX164" fmla="*/ 732755 w 1253076"/>
                  <a:gd name="connsiteY164" fmla="*/ 298950 h 458350"/>
                  <a:gd name="connsiteX165" fmla="*/ 731391 w 1253076"/>
                  <a:gd name="connsiteY165" fmla="*/ 298799 h 458350"/>
                  <a:gd name="connsiteX166" fmla="*/ 730027 w 1253076"/>
                  <a:gd name="connsiteY166" fmla="*/ 299405 h 458350"/>
                  <a:gd name="connsiteX167" fmla="*/ 730179 w 1253076"/>
                  <a:gd name="connsiteY167" fmla="*/ 300769 h 458350"/>
                  <a:gd name="connsiteX168" fmla="*/ 729724 w 1253076"/>
                  <a:gd name="connsiteY168" fmla="*/ 301072 h 458350"/>
                  <a:gd name="connsiteX169" fmla="*/ 728815 w 1253076"/>
                  <a:gd name="connsiteY169" fmla="*/ 302284 h 458350"/>
                  <a:gd name="connsiteX170" fmla="*/ 622145 w 1253076"/>
                  <a:gd name="connsiteY170" fmla="*/ 50456 h 458350"/>
                  <a:gd name="connsiteX171" fmla="*/ 621993 w 1253076"/>
                  <a:gd name="connsiteY171" fmla="*/ 49396 h 458350"/>
                  <a:gd name="connsiteX172" fmla="*/ 621084 w 1253076"/>
                  <a:gd name="connsiteY172" fmla="*/ 46820 h 458350"/>
                  <a:gd name="connsiteX173" fmla="*/ 617296 w 1253076"/>
                  <a:gd name="connsiteY173" fmla="*/ 47275 h 458350"/>
                  <a:gd name="connsiteX174" fmla="*/ 614719 w 1253076"/>
                  <a:gd name="connsiteY174" fmla="*/ 47275 h 458350"/>
                  <a:gd name="connsiteX175" fmla="*/ 614114 w 1253076"/>
                  <a:gd name="connsiteY175" fmla="*/ 48638 h 458350"/>
                  <a:gd name="connsiteX176" fmla="*/ 617144 w 1253076"/>
                  <a:gd name="connsiteY176" fmla="*/ 51820 h 458350"/>
                  <a:gd name="connsiteX177" fmla="*/ 622145 w 1253076"/>
                  <a:gd name="connsiteY177" fmla="*/ 50456 h 458350"/>
                  <a:gd name="connsiteX178" fmla="*/ 726845 w 1253076"/>
                  <a:gd name="connsiteY178" fmla="*/ 171825 h 458350"/>
                  <a:gd name="connsiteX179" fmla="*/ 724724 w 1253076"/>
                  <a:gd name="connsiteY179" fmla="*/ 173794 h 458350"/>
                  <a:gd name="connsiteX180" fmla="*/ 724270 w 1253076"/>
                  <a:gd name="connsiteY180" fmla="*/ 175006 h 458350"/>
                  <a:gd name="connsiteX181" fmla="*/ 725027 w 1253076"/>
                  <a:gd name="connsiteY181" fmla="*/ 175006 h 458350"/>
                  <a:gd name="connsiteX182" fmla="*/ 726088 w 1253076"/>
                  <a:gd name="connsiteY182" fmla="*/ 174249 h 458350"/>
                  <a:gd name="connsiteX183" fmla="*/ 726997 w 1253076"/>
                  <a:gd name="connsiteY183" fmla="*/ 174097 h 458350"/>
                  <a:gd name="connsiteX184" fmla="*/ 729421 w 1253076"/>
                  <a:gd name="connsiteY184" fmla="*/ 174097 h 458350"/>
                  <a:gd name="connsiteX185" fmla="*/ 730330 w 1253076"/>
                  <a:gd name="connsiteY185" fmla="*/ 174400 h 458350"/>
                  <a:gd name="connsiteX186" fmla="*/ 731088 w 1253076"/>
                  <a:gd name="connsiteY186" fmla="*/ 173037 h 458350"/>
                  <a:gd name="connsiteX187" fmla="*/ 729876 w 1253076"/>
                  <a:gd name="connsiteY187" fmla="*/ 171825 h 458350"/>
                  <a:gd name="connsiteX188" fmla="*/ 728058 w 1253076"/>
                  <a:gd name="connsiteY188" fmla="*/ 172128 h 458350"/>
                  <a:gd name="connsiteX189" fmla="*/ 726845 w 1253076"/>
                  <a:gd name="connsiteY189" fmla="*/ 171825 h 458350"/>
                  <a:gd name="connsiteX190" fmla="*/ 653660 w 1253076"/>
                  <a:gd name="connsiteY190" fmla="*/ 382438 h 458350"/>
                  <a:gd name="connsiteX191" fmla="*/ 652449 w 1253076"/>
                  <a:gd name="connsiteY191" fmla="*/ 382893 h 458350"/>
                  <a:gd name="connsiteX192" fmla="*/ 651994 w 1253076"/>
                  <a:gd name="connsiteY192" fmla="*/ 384105 h 458350"/>
                  <a:gd name="connsiteX193" fmla="*/ 652297 w 1253076"/>
                  <a:gd name="connsiteY193" fmla="*/ 385166 h 458350"/>
                  <a:gd name="connsiteX194" fmla="*/ 653509 w 1253076"/>
                  <a:gd name="connsiteY194" fmla="*/ 385166 h 458350"/>
                  <a:gd name="connsiteX195" fmla="*/ 654419 w 1253076"/>
                  <a:gd name="connsiteY195" fmla="*/ 384711 h 458350"/>
                  <a:gd name="connsiteX196" fmla="*/ 655176 w 1253076"/>
                  <a:gd name="connsiteY196" fmla="*/ 383954 h 458350"/>
                  <a:gd name="connsiteX197" fmla="*/ 655024 w 1253076"/>
                  <a:gd name="connsiteY197" fmla="*/ 383347 h 458350"/>
                  <a:gd name="connsiteX198" fmla="*/ 654115 w 1253076"/>
                  <a:gd name="connsiteY198" fmla="*/ 382287 h 458350"/>
                  <a:gd name="connsiteX199" fmla="*/ 653660 w 1253076"/>
                  <a:gd name="connsiteY199" fmla="*/ 382438 h 458350"/>
                  <a:gd name="connsiteX200" fmla="*/ 691541 w 1253076"/>
                  <a:gd name="connsiteY200" fmla="*/ 330921 h 458350"/>
                  <a:gd name="connsiteX201" fmla="*/ 691692 w 1253076"/>
                  <a:gd name="connsiteY201" fmla="*/ 335012 h 458350"/>
                  <a:gd name="connsiteX202" fmla="*/ 692147 w 1253076"/>
                  <a:gd name="connsiteY202" fmla="*/ 336679 h 458350"/>
                  <a:gd name="connsiteX203" fmla="*/ 693208 w 1253076"/>
                  <a:gd name="connsiteY203" fmla="*/ 332133 h 458350"/>
                  <a:gd name="connsiteX204" fmla="*/ 693814 w 1253076"/>
                  <a:gd name="connsiteY204" fmla="*/ 323194 h 458350"/>
                  <a:gd name="connsiteX205" fmla="*/ 693359 w 1253076"/>
                  <a:gd name="connsiteY205" fmla="*/ 321375 h 458350"/>
                  <a:gd name="connsiteX206" fmla="*/ 691844 w 1253076"/>
                  <a:gd name="connsiteY206" fmla="*/ 317891 h 458350"/>
                  <a:gd name="connsiteX207" fmla="*/ 690935 w 1253076"/>
                  <a:gd name="connsiteY207" fmla="*/ 320618 h 458350"/>
                  <a:gd name="connsiteX208" fmla="*/ 691087 w 1253076"/>
                  <a:gd name="connsiteY208" fmla="*/ 326527 h 458350"/>
                  <a:gd name="connsiteX209" fmla="*/ 690631 w 1253076"/>
                  <a:gd name="connsiteY209" fmla="*/ 328800 h 458350"/>
                  <a:gd name="connsiteX210" fmla="*/ 691541 w 1253076"/>
                  <a:gd name="connsiteY210" fmla="*/ 330921 h 458350"/>
                  <a:gd name="connsiteX211" fmla="*/ 666237 w 1253076"/>
                  <a:gd name="connsiteY211" fmla="*/ 394711 h 458350"/>
                  <a:gd name="connsiteX212" fmla="*/ 666692 w 1253076"/>
                  <a:gd name="connsiteY212" fmla="*/ 393802 h 458350"/>
                  <a:gd name="connsiteX213" fmla="*/ 666692 w 1253076"/>
                  <a:gd name="connsiteY213" fmla="*/ 392893 h 458350"/>
                  <a:gd name="connsiteX214" fmla="*/ 666389 w 1253076"/>
                  <a:gd name="connsiteY214" fmla="*/ 391832 h 458350"/>
                  <a:gd name="connsiteX215" fmla="*/ 665176 w 1253076"/>
                  <a:gd name="connsiteY215" fmla="*/ 391832 h 458350"/>
                  <a:gd name="connsiteX216" fmla="*/ 664570 w 1253076"/>
                  <a:gd name="connsiteY216" fmla="*/ 391681 h 458350"/>
                  <a:gd name="connsiteX217" fmla="*/ 664267 w 1253076"/>
                  <a:gd name="connsiteY217" fmla="*/ 391227 h 458350"/>
                  <a:gd name="connsiteX218" fmla="*/ 663661 w 1253076"/>
                  <a:gd name="connsiteY218" fmla="*/ 390469 h 458350"/>
                  <a:gd name="connsiteX219" fmla="*/ 663206 w 1253076"/>
                  <a:gd name="connsiteY219" fmla="*/ 391227 h 458350"/>
                  <a:gd name="connsiteX220" fmla="*/ 662904 w 1253076"/>
                  <a:gd name="connsiteY220" fmla="*/ 393499 h 458350"/>
                  <a:gd name="connsiteX221" fmla="*/ 661843 w 1253076"/>
                  <a:gd name="connsiteY221" fmla="*/ 394863 h 458350"/>
                  <a:gd name="connsiteX222" fmla="*/ 662449 w 1253076"/>
                  <a:gd name="connsiteY222" fmla="*/ 396530 h 458350"/>
                  <a:gd name="connsiteX223" fmla="*/ 661995 w 1253076"/>
                  <a:gd name="connsiteY223" fmla="*/ 398954 h 458350"/>
                  <a:gd name="connsiteX224" fmla="*/ 663055 w 1253076"/>
                  <a:gd name="connsiteY224" fmla="*/ 399409 h 458350"/>
                  <a:gd name="connsiteX225" fmla="*/ 664115 w 1253076"/>
                  <a:gd name="connsiteY225" fmla="*/ 399106 h 458350"/>
                  <a:gd name="connsiteX226" fmla="*/ 663510 w 1253076"/>
                  <a:gd name="connsiteY226" fmla="*/ 397136 h 458350"/>
                  <a:gd name="connsiteX227" fmla="*/ 664570 w 1253076"/>
                  <a:gd name="connsiteY227" fmla="*/ 395924 h 458350"/>
                  <a:gd name="connsiteX228" fmla="*/ 666237 w 1253076"/>
                  <a:gd name="connsiteY228" fmla="*/ 394711 h 458350"/>
                  <a:gd name="connsiteX229" fmla="*/ 374862 w 1253076"/>
                  <a:gd name="connsiteY229" fmla="*/ 81670 h 458350"/>
                  <a:gd name="connsiteX230" fmla="*/ 374862 w 1253076"/>
                  <a:gd name="connsiteY230" fmla="*/ 79094 h 458350"/>
                  <a:gd name="connsiteX231" fmla="*/ 374408 w 1253076"/>
                  <a:gd name="connsiteY231" fmla="*/ 79245 h 458350"/>
                  <a:gd name="connsiteX232" fmla="*/ 372135 w 1253076"/>
                  <a:gd name="connsiteY232" fmla="*/ 82124 h 458350"/>
                  <a:gd name="connsiteX233" fmla="*/ 373499 w 1253076"/>
                  <a:gd name="connsiteY233" fmla="*/ 83034 h 458350"/>
                  <a:gd name="connsiteX234" fmla="*/ 374862 w 1253076"/>
                  <a:gd name="connsiteY234" fmla="*/ 81670 h 458350"/>
                  <a:gd name="connsiteX235" fmla="*/ 199250 w 1253076"/>
                  <a:gd name="connsiteY235" fmla="*/ 134854 h 458350"/>
                  <a:gd name="connsiteX236" fmla="*/ 198947 w 1253076"/>
                  <a:gd name="connsiteY236" fmla="*/ 136520 h 458350"/>
                  <a:gd name="connsiteX237" fmla="*/ 200008 w 1253076"/>
                  <a:gd name="connsiteY237" fmla="*/ 137429 h 458350"/>
                  <a:gd name="connsiteX238" fmla="*/ 201371 w 1253076"/>
                  <a:gd name="connsiteY238" fmla="*/ 138035 h 458350"/>
                  <a:gd name="connsiteX239" fmla="*/ 205917 w 1253076"/>
                  <a:gd name="connsiteY239" fmla="*/ 139248 h 458350"/>
                  <a:gd name="connsiteX240" fmla="*/ 207735 w 1253076"/>
                  <a:gd name="connsiteY240" fmla="*/ 139399 h 458350"/>
                  <a:gd name="connsiteX241" fmla="*/ 213038 w 1253076"/>
                  <a:gd name="connsiteY241" fmla="*/ 140611 h 458350"/>
                  <a:gd name="connsiteX242" fmla="*/ 214099 w 1253076"/>
                  <a:gd name="connsiteY242" fmla="*/ 141369 h 458350"/>
                  <a:gd name="connsiteX243" fmla="*/ 214553 w 1253076"/>
                  <a:gd name="connsiteY243" fmla="*/ 140308 h 458350"/>
                  <a:gd name="connsiteX244" fmla="*/ 213796 w 1253076"/>
                  <a:gd name="connsiteY244" fmla="*/ 137278 h 458350"/>
                  <a:gd name="connsiteX245" fmla="*/ 212129 w 1253076"/>
                  <a:gd name="connsiteY245" fmla="*/ 136369 h 458350"/>
                  <a:gd name="connsiteX246" fmla="*/ 207584 w 1253076"/>
                  <a:gd name="connsiteY246" fmla="*/ 134550 h 458350"/>
                  <a:gd name="connsiteX247" fmla="*/ 206068 w 1253076"/>
                  <a:gd name="connsiteY247" fmla="*/ 133793 h 458350"/>
                  <a:gd name="connsiteX248" fmla="*/ 203492 w 1253076"/>
                  <a:gd name="connsiteY248" fmla="*/ 131975 h 458350"/>
                  <a:gd name="connsiteX249" fmla="*/ 201220 w 1253076"/>
                  <a:gd name="connsiteY249" fmla="*/ 129853 h 458350"/>
                  <a:gd name="connsiteX250" fmla="*/ 200008 w 1253076"/>
                  <a:gd name="connsiteY250" fmla="*/ 130914 h 458350"/>
                  <a:gd name="connsiteX251" fmla="*/ 199553 w 1253076"/>
                  <a:gd name="connsiteY251" fmla="*/ 133641 h 458350"/>
                  <a:gd name="connsiteX252" fmla="*/ 199250 w 1253076"/>
                  <a:gd name="connsiteY252" fmla="*/ 134854 h 458350"/>
                  <a:gd name="connsiteX253" fmla="*/ 34395 w 1253076"/>
                  <a:gd name="connsiteY253" fmla="*/ 93640 h 458350"/>
                  <a:gd name="connsiteX254" fmla="*/ 33638 w 1253076"/>
                  <a:gd name="connsiteY254" fmla="*/ 92276 h 458350"/>
                  <a:gd name="connsiteX255" fmla="*/ 27122 w 1253076"/>
                  <a:gd name="connsiteY255" fmla="*/ 88337 h 458350"/>
                  <a:gd name="connsiteX256" fmla="*/ 25759 w 1253076"/>
                  <a:gd name="connsiteY256" fmla="*/ 86670 h 458350"/>
                  <a:gd name="connsiteX257" fmla="*/ 25001 w 1253076"/>
                  <a:gd name="connsiteY257" fmla="*/ 86064 h 458350"/>
                  <a:gd name="connsiteX258" fmla="*/ 22122 w 1253076"/>
                  <a:gd name="connsiteY258" fmla="*/ 85003 h 458350"/>
                  <a:gd name="connsiteX259" fmla="*/ 19395 w 1253076"/>
                  <a:gd name="connsiteY259" fmla="*/ 82124 h 458350"/>
                  <a:gd name="connsiteX260" fmla="*/ 16970 w 1253076"/>
                  <a:gd name="connsiteY260" fmla="*/ 81367 h 458350"/>
                  <a:gd name="connsiteX261" fmla="*/ 16061 w 1253076"/>
                  <a:gd name="connsiteY261" fmla="*/ 83034 h 458350"/>
                  <a:gd name="connsiteX262" fmla="*/ 14546 w 1253076"/>
                  <a:gd name="connsiteY262" fmla="*/ 83791 h 458350"/>
                  <a:gd name="connsiteX263" fmla="*/ 15000 w 1253076"/>
                  <a:gd name="connsiteY263" fmla="*/ 85458 h 458350"/>
                  <a:gd name="connsiteX264" fmla="*/ 17122 w 1253076"/>
                  <a:gd name="connsiteY264" fmla="*/ 88488 h 458350"/>
                  <a:gd name="connsiteX265" fmla="*/ 19092 w 1253076"/>
                  <a:gd name="connsiteY265" fmla="*/ 88943 h 458350"/>
                  <a:gd name="connsiteX266" fmla="*/ 20758 w 1253076"/>
                  <a:gd name="connsiteY266" fmla="*/ 90155 h 458350"/>
                  <a:gd name="connsiteX267" fmla="*/ 23031 w 1253076"/>
                  <a:gd name="connsiteY267" fmla="*/ 90155 h 458350"/>
                  <a:gd name="connsiteX268" fmla="*/ 30304 w 1253076"/>
                  <a:gd name="connsiteY268" fmla="*/ 94700 h 458350"/>
                  <a:gd name="connsiteX269" fmla="*/ 31668 w 1253076"/>
                  <a:gd name="connsiteY269" fmla="*/ 96216 h 458350"/>
                  <a:gd name="connsiteX270" fmla="*/ 33335 w 1253076"/>
                  <a:gd name="connsiteY270" fmla="*/ 96822 h 458350"/>
                  <a:gd name="connsiteX271" fmla="*/ 35001 w 1253076"/>
                  <a:gd name="connsiteY271" fmla="*/ 96519 h 458350"/>
                  <a:gd name="connsiteX272" fmla="*/ 34850 w 1253076"/>
                  <a:gd name="connsiteY272" fmla="*/ 95004 h 458350"/>
                  <a:gd name="connsiteX273" fmla="*/ 34395 w 1253076"/>
                  <a:gd name="connsiteY273" fmla="*/ 93640 h 458350"/>
                  <a:gd name="connsiteX274" fmla="*/ 188644 w 1253076"/>
                  <a:gd name="connsiteY274" fmla="*/ 120004 h 458350"/>
                  <a:gd name="connsiteX275" fmla="*/ 190916 w 1253076"/>
                  <a:gd name="connsiteY275" fmla="*/ 120914 h 458350"/>
                  <a:gd name="connsiteX276" fmla="*/ 193947 w 1253076"/>
                  <a:gd name="connsiteY276" fmla="*/ 121217 h 458350"/>
                  <a:gd name="connsiteX277" fmla="*/ 196522 w 1253076"/>
                  <a:gd name="connsiteY277" fmla="*/ 122277 h 458350"/>
                  <a:gd name="connsiteX278" fmla="*/ 198189 w 1253076"/>
                  <a:gd name="connsiteY278" fmla="*/ 123641 h 458350"/>
                  <a:gd name="connsiteX279" fmla="*/ 200159 w 1253076"/>
                  <a:gd name="connsiteY279" fmla="*/ 124550 h 458350"/>
                  <a:gd name="connsiteX280" fmla="*/ 200008 w 1253076"/>
                  <a:gd name="connsiteY280" fmla="*/ 121065 h 458350"/>
                  <a:gd name="connsiteX281" fmla="*/ 199401 w 1253076"/>
                  <a:gd name="connsiteY281" fmla="*/ 119701 h 458350"/>
                  <a:gd name="connsiteX282" fmla="*/ 187734 w 1253076"/>
                  <a:gd name="connsiteY282" fmla="*/ 116519 h 458350"/>
                  <a:gd name="connsiteX283" fmla="*/ 187280 w 1253076"/>
                  <a:gd name="connsiteY283" fmla="*/ 116974 h 458350"/>
                  <a:gd name="connsiteX284" fmla="*/ 187128 w 1253076"/>
                  <a:gd name="connsiteY284" fmla="*/ 117580 h 458350"/>
                  <a:gd name="connsiteX285" fmla="*/ 187128 w 1253076"/>
                  <a:gd name="connsiteY285" fmla="*/ 118338 h 458350"/>
                  <a:gd name="connsiteX286" fmla="*/ 188644 w 1253076"/>
                  <a:gd name="connsiteY286" fmla="*/ 120004 h 458350"/>
                  <a:gd name="connsiteX287" fmla="*/ 225615 w 1253076"/>
                  <a:gd name="connsiteY287" fmla="*/ 133641 h 458350"/>
                  <a:gd name="connsiteX288" fmla="*/ 225463 w 1253076"/>
                  <a:gd name="connsiteY288" fmla="*/ 132126 h 458350"/>
                  <a:gd name="connsiteX289" fmla="*/ 225008 w 1253076"/>
                  <a:gd name="connsiteY289" fmla="*/ 131520 h 458350"/>
                  <a:gd name="connsiteX290" fmla="*/ 224402 w 1253076"/>
                  <a:gd name="connsiteY290" fmla="*/ 129853 h 458350"/>
                  <a:gd name="connsiteX291" fmla="*/ 223645 w 1253076"/>
                  <a:gd name="connsiteY291" fmla="*/ 130308 h 458350"/>
                  <a:gd name="connsiteX292" fmla="*/ 222584 w 1253076"/>
                  <a:gd name="connsiteY292" fmla="*/ 131520 h 458350"/>
                  <a:gd name="connsiteX293" fmla="*/ 223948 w 1253076"/>
                  <a:gd name="connsiteY293" fmla="*/ 133338 h 458350"/>
                  <a:gd name="connsiteX294" fmla="*/ 225615 w 1253076"/>
                  <a:gd name="connsiteY294" fmla="*/ 133641 h 458350"/>
                  <a:gd name="connsiteX295" fmla="*/ 217584 w 1253076"/>
                  <a:gd name="connsiteY295" fmla="*/ 145763 h 458350"/>
                  <a:gd name="connsiteX296" fmla="*/ 218493 w 1253076"/>
                  <a:gd name="connsiteY296" fmla="*/ 146066 h 458350"/>
                  <a:gd name="connsiteX297" fmla="*/ 221523 w 1253076"/>
                  <a:gd name="connsiteY297" fmla="*/ 145914 h 458350"/>
                  <a:gd name="connsiteX298" fmla="*/ 221827 w 1253076"/>
                  <a:gd name="connsiteY298" fmla="*/ 143945 h 458350"/>
                  <a:gd name="connsiteX299" fmla="*/ 220311 w 1253076"/>
                  <a:gd name="connsiteY299" fmla="*/ 141672 h 458350"/>
                  <a:gd name="connsiteX300" fmla="*/ 218948 w 1253076"/>
                  <a:gd name="connsiteY300" fmla="*/ 141672 h 458350"/>
                  <a:gd name="connsiteX301" fmla="*/ 218039 w 1253076"/>
                  <a:gd name="connsiteY301" fmla="*/ 143187 h 458350"/>
                  <a:gd name="connsiteX302" fmla="*/ 217584 w 1253076"/>
                  <a:gd name="connsiteY302" fmla="*/ 145763 h 458350"/>
                  <a:gd name="connsiteX303" fmla="*/ 259252 w 1253076"/>
                  <a:gd name="connsiteY303" fmla="*/ 162430 h 458350"/>
                  <a:gd name="connsiteX304" fmla="*/ 258646 w 1253076"/>
                  <a:gd name="connsiteY304" fmla="*/ 161218 h 458350"/>
                  <a:gd name="connsiteX305" fmla="*/ 256070 w 1253076"/>
                  <a:gd name="connsiteY305" fmla="*/ 160309 h 458350"/>
                  <a:gd name="connsiteX306" fmla="*/ 254858 w 1253076"/>
                  <a:gd name="connsiteY306" fmla="*/ 164249 h 458350"/>
                  <a:gd name="connsiteX307" fmla="*/ 253494 w 1253076"/>
                  <a:gd name="connsiteY307" fmla="*/ 165915 h 458350"/>
                  <a:gd name="connsiteX308" fmla="*/ 254252 w 1253076"/>
                  <a:gd name="connsiteY308" fmla="*/ 166521 h 458350"/>
                  <a:gd name="connsiteX309" fmla="*/ 256828 w 1253076"/>
                  <a:gd name="connsiteY309" fmla="*/ 167430 h 458350"/>
                  <a:gd name="connsiteX310" fmla="*/ 260464 w 1253076"/>
                  <a:gd name="connsiteY310" fmla="*/ 166370 h 458350"/>
                  <a:gd name="connsiteX311" fmla="*/ 266222 w 1253076"/>
                  <a:gd name="connsiteY311" fmla="*/ 169552 h 458350"/>
                  <a:gd name="connsiteX312" fmla="*/ 266677 w 1253076"/>
                  <a:gd name="connsiteY312" fmla="*/ 169400 h 458350"/>
                  <a:gd name="connsiteX313" fmla="*/ 267283 w 1253076"/>
                  <a:gd name="connsiteY313" fmla="*/ 168491 h 458350"/>
                  <a:gd name="connsiteX314" fmla="*/ 268798 w 1253076"/>
                  <a:gd name="connsiteY314" fmla="*/ 168491 h 458350"/>
                  <a:gd name="connsiteX315" fmla="*/ 267283 w 1253076"/>
                  <a:gd name="connsiteY315" fmla="*/ 167582 h 458350"/>
                  <a:gd name="connsiteX316" fmla="*/ 266222 w 1253076"/>
                  <a:gd name="connsiteY316" fmla="*/ 166673 h 458350"/>
                  <a:gd name="connsiteX317" fmla="*/ 264404 w 1253076"/>
                  <a:gd name="connsiteY317" fmla="*/ 164703 h 458350"/>
                  <a:gd name="connsiteX318" fmla="*/ 263495 w 1253076"/>
                  <a:gd name="connsiteY318" fmla="*/ 166067 h 458350"/>
                  <a:gd name="connsiteX319" fmla="*/ 262737 w 1253076"/>
                  <a:gd name="connsiteY319" fmla="*/ 165612 h 458350"/>
                  <a:gd name="connsiteX320" fmla="*/ 260919 w 1253076"/>
                  <a:gd name="connsiteY320" fmla="*/ 163642 h 458350"/>
                  <a:gd name="connsiteX321" fmla="*/ 259252 w 1253076"/>
                  <a:gd name="connsiteY321" fmla="*/ 162885 h 458350"/>
                  <a:gd name="connsiteX322" fmla="*/ 259252 w 1253076"/>
                  <a:gd name="connsiteY322" fmla="*/ 162430 h 458350"/>
                  <a:gd name="connsiteX323" fmla="*/ 172734 w 1253076"/>
                  <a:gd name="connsiteY323" fmla="*/ 113641 h 458350"/>
                  <a:gd name="connsiteX324" fmla="*/ 175461 w 1253076"/>
                  <a:gd name="connsiteY324" fmla="*/ 114095 h 458350"/>
                  <a:gd name="connsiteX325" fmla="*/ 178643 w 1253076"/>
                  <a:gd name="connsiteY325" fmla="*/ 112125 h 458350"/>
                  <a:gd name="connsiteX326" fmla="*/ 179098 w 1253076"/>
                  <a:gd name="connsiteY326" fmla="*/ 109550 h 458350"/>
                  <a:gd name="connsiteX327" fmla="*/ 180158 w 1253076"/>
                  <a:gd name="connsiteY327" fmla="*/ 107883 h 458350"/>
                  <a:gd name="connsiteX328" fmla="*/ 179855 w 1253076"/>
                  <a:gd name="connsiteY328" fmla="*/ 106368 h 458350"/>
                  <a:gd name="connsiteX329" fmla="*/ 178340 w 1253076"/>
                  <a:gd name="connsiteY329" fmla="*/ 104095 h 458350"/>
                  <a:gd name="connsiteX330" fmla="*/ 176522 w 1253076"/>
                  <a:gd name="connsiteY330" fmla="*/ 102731 h 458350"/>
                  <a:gd name="connsiteX331" fmla="*/ 173946 w 1253076"/>
                  <a:gd name="connsiteY331" fmla="*/ 104549 h 458350"/>
                  <a:gd name="connsiteX332" fmla="*/ 171370 w 1253076"/>
                  <a:gd name="connsiteY332" fmla="*/ 104398 h 458350"/>
                  <a:gd name="connsiteX333" fmla="*/ 170309 w 1253076"/>
                  <a:gd name="connsiteY333" fmla="*/ 105610 h 458350"/>
                  <a:gd name="connsiteX334" fmla="*/ 170158 w 1253076"/>
                  <a:gd name="connsiteY334" fmla="*/ 108943 h 458350"/>
                  <a:gd name="connsiteX335" fmla="*/ 171976 w 1253076"/>
                  <a:gd name="connsiteY335" fmla="*/ 112731 h 458350"/>
                  <a:gd name="connsiteX336" fmla="*/ 172734 w 1253076"/>
                  <a:gd name="connsiteY336" fmla="*/ 113641 h 458350"/>
                  <a:gd name="connsiteX337" fmla="*/ 196220 w 1253076"/>
                  <a:gd name="connsiteY337" fmla="*/ 124095 h 458350"/>
                  <a:gd name="connsiteX338" fmla="*/ 193947 w 1253076"/>
                  <a:gd name="connsiteY338" fmla="*/ 122732 h 458350"/>
                  <a:gd name="connsiteX339" fmla="*/ 193341 w 1253076"/>
                  <a:gd name="connsiteY339" fmla="*/ 122732 h 458350"/>
                  <a:gd name="connsiteX340" fmla="*/ 192583 w 1253076"/>
                  <a:gd name="connsiteY340" fmla="*/ 124095 h 458350"/>
                  <a:gd name="connsiteX341" fmla="*/ 192734 w 1253076"/>
                  <a:gd name="connsiteY341" fmla="*/ 126368 h 458350"/>
                  <a:gd name="connsiteX342" fmla="*/ 193341 w 1253076"/>
                  <a:gd name="connsiteY342" fmla="*/ 129550 h 458350"/>
                  <a:gd name="connsiteX343" fmla="*/ 193947 w 1253076"/>
                  <a:gd name="connsiteY343" fmla="*/ 131520 h 458350"/>
                  <a:gd name="connsiteX344" fmla="*/ 195159 w 1253076"/>
                  <a:gd name="connsiteY344" fmla="*/ 133338 h 458350"/>
                  <a:gd name="connsiteX345" fmla="*/ 196674 w 1253076"/>
                  <a:gd name="connsiteY345" fmla="*/ 134550 h 458350"/>
                  <a:gd name="connsiteX346" fmla="*/ 197886 w 1253076"/>
                  <a:gd name="connsiteY346" fmla="*/ 133793 h 458350"/>
                  <a:gd name="connsiteX347" fmla="*/ 197886 w 1253076"/>
                  <a:gd name="connsiteY347" fmla="*/ 131672 h 458350"/>
                  <a:gd name="connsiteX348" fmla="*/ 198492 w 1253076"/>
                  <a:gd name="connsiteY348" fmla="*/ 129247 h 458350"/>
                  <a:gd name="connsiteX349" fmla="*/ 198341 w 1253076"/>
                  <a:gd name="connsiteY349" fmla="*/ 127126 h 458350"/>
                  <a:gd name="connsiteX350" fmla="*/ 197583 w 1253076"/>
                  <a:gd name="connsiteY350" fmla="*/ 126368 h 458350"/>
                  <a:gd name="connsiteX351" fmla="*/ 196220 w 1253076"/>
                  <a:gd name="connsiteY351" fmla="*/ 124095 h 458350"/>
                  <a:gd name="connsiteX352" fmla="*/ 4243 w 1253076"/>
                  <a:gd name="connsiteY352" fmla="*/ 3333 h 458350"/>
                  <a:gd name="connsiteX353" fmla="*/ 4849 w 1253076"/>
                  <a:gd name="connsiteY353" fmla="*/ 2576 h 458350"/>
                  <a:gd name="connsiteX354" fmla="*/ 5000 w 1253076"/>
                  <a:gd name="connsiteY354" fmla="*/ 1818 h 458350"/>
                  <a:gd name="connsiteX355" fmla="*/ 4849 w 1253076"/>
                  <a:gd name="connsiteY355" fmla="*/ 909 h 458350"/>
                  <a:gd name="connsiteX356" fmla="*/ 2727 w 1253076"/>
                  <a:gd name="connsiteY356" fmla="*/ 303 h 458350"/>
                  <a:gd name="connsiteX357" fmla="*/ 1667 w 1253076"/>
                  <a:gd name="connsiteY357" fmla="*/ 0 h 458350"/>
                  <a:gd name="connsiteX358" fmla="*/ 1061 w 1253076"/>
                  <a:gd name="connsiteY358" fmla="*/ 455 h 458350"/>
                  <a:gd name="connsiteX359" fmla="*/ 2879 w 1253076"/>
                  <a:gd name="connsiteY359" fmla="*/ 2879 h 458350"/>
                  <a:gd name="connsiteX360" fmla="*/ 4243 w 1253076"/>
                  <a:gd name="connsiteY360" fmla="*/ 3333 h 458350"/>
                  <a:gd name="connsiteX361" fmla="*/ 256070 w 1253076"/>
                  <a:gd name="connsiteY361" fmla="*/ 154551 h 458350"/>
                  <a:gd name="connsiteX362" fmla="*/ 254858 w 1253076"/>
                  <a:gd name="connsiteY362" fmla="*/ 154248 h 458350"/>
                  <a:gd name="connsiteX363" fmla="*/ 257737 w 1253076"/>
                  <a:gd name="connsiteY363" fmla="*/ 158036 h 458350"/>
                  <a:gd name="connsiteX364" fmla="*/ 258192 w 1253076"/>
                  <a:gd name="connsiteY364" fmla="*/ 158491 h 458350"/>
                  <a:gd name="connsiteX365" fmla="*/ 258949 w 1253076"/>
                  <a:gd name="connsiteY365" fmla="*/ 158945 h 458350"/>
                  <a:gd name="connsiteX366" fmla="*/ 260313 w 1253076"/>
                  <a:gd name="connsiteY366" fmla="*/ 159703 h 458350"/>
                  <a:gd name="connsiteX367" fmla="*/ 260010 w 1253076"/>
                  <a:gd name="connsiteY367" fmla="*/ 159097 h 458350"/>
                  <a:gd name="connsiteX368" fmla="*/ 259252 w 1253076"/>
                  <a:gd name="connsiteY368" fmla="*/ 157885 h 458350"/>
                  <a:gd name="connsiteX369" fmla="*/ 256070 w 1253076"/>
                  <a:gd name="connsiteY369" fmla="*/ 154551 h 458350"/>
                  <a:gd name="connsiteX370" fmla="*/ 251070 w 1253076"/>
                  <a:gd name="connsiteY370" fmla="*/ 171673 h 458350"/>
                  <a:gd name="connsiteX371" fmla="*/ 250464 w 1253076"/>
                  <a:gd name="connsiteY371" fmla="*/ 171067 h 458350"/>
                  <a:gd name="connsiteX372" fmla="*/ 249858 w 1253076"/>
                  <a:gd name="connsiteY372" fmla="*/ 171067 h 458350"/>
                  <a:gd name="connsiteX373" fmla="*/ 249403 w 1253076"/>
                  <a:gd name="connsiteY373" fmla="*/ 171218 h 458350"/>
                  <a:gd name="connsiteX374" fmla="*/ 248191 w 1253076"/>
                  <a:gd name="connsiteY374" fmla="*/ 173340 h 458350"/>
                  <a:gd name="connsiteX375" fmla="*/ 250161 w 1253076"/>
                  <a:gd name="connsiteY375" fmla="*/ 175461 h 458350"/>
                  <a:gd name="connsiteX376" fmla="*/ 251070 w 1253076"/>
                  <a:gd name="connsiteY376" fmla="*/ 178643 h 458350"/>
                  <a:gd name="connsiteX377" fmla="*/ 252434 w 1253076"/>
                  <a:gd name="connsiteY377" fmla="*/ 176673 h 458350"/>
                  <a:gd name="connsiteX378" fmla="*/ 254404 w 1253076"/>
                  <a:gd name="connsiteY378" fmla="*/ 177431 h 458350"/>
                  <a:gd name="connsiteX379" fmla="*/ 255010 w 1253076"/>
                  <a:gd name="connsiteY379" fmla="*/ 176976 h 458350"/>
                  <a:gd name="connsiteX380" fmla="*/ 256070 w 1253076"/>
                  <a:gd name="connsiteY380" fmla="*/ 174855 h 458350"/>
                  <a:gd name="connsiteX381" fmla="*/ 257282 w 1253076"/>
                  <a:gd name="connsiteY381" fmla="*/ 173340 h 458350"/>
                  <a:gd name="connsiteX382" fmla="*/ 256676 w 1253076"/>
                  <a:gd name="connsiteY382" fmla="*/ 172431 h 458350"/>
                  <a:gd name="connsiteX383" fmla="*/ 254100 w 1253076"/>
                  <a:gd name="connsiteY383" fmla="*/ 169855 h 458350"/>
                  <a:gd name="connsiteX384" fmla="*/ 251070 w 1253076"/>
                  <a:gd name="connsiteY384" fmla="*/ 171673 h 458350"/>
                  <a:gd name="connsiteX385" fmla="*/ 223796 w 1253076"/>
                  <a:gd name="connsiteY385" fmla="*/ 137581 h 458350"/>
                  <a:gd name="connsiteX386" fmla="*/ 223190 w 1253076"/>
                  <a:gd name="connsiteY386" fmla="*/ 139551 h 458350"/>
                  <a:gd name="connsiteX387" fmla="*/ 225463 w 1253076"/>
                  <a:gd name="connsiteY387" fmla="*/ 143036 h 458350"/>
                  <a:gd name="connsiteX388" fmla="*/ 226069 w 1253076"/>
                  <a:gd name="connsiteY388" fmla="*/ 142732 h 458350"/>
                  <a:gd name="connsiteX389" fmla="*/ 227433 w 1253076"/>
                  <a:gd name="connsiteY389" fmla="*/ 141217 h 458350"/>
                  <a:gd name="connsiteX390" fmla="*/ 226675 w 1253076"/>
                  <a:gd name="connsiteY390" fmla="*/ 139702 h 458350"/>
                  <a:gd name="connsiteX391" fmla="*/ 225615 w 1253076"/>
                  <a:gd name="connsiteY391" fmla="*/ 138490 h 458350"/>
                  <a:gd name="connsiteX392" fmla="*/ 224402 w 1253076"/>
                  <a:gd name="connsiteY392" fmla="*/ 137278 h 458350"/>
                  <a:gd name="connsiteX393" fmla="*/ 223796 w 1253076"/>
                  <a:gd name="connsiteY393" fmla="*/ 137581 h 458350"/>
                  <a:gd name="connsiteX394" fmla="*/ 249252 w 1253076"/>
                  <a:gd name="connsiteY394" fmla="*/ 133035 h 458350"/>
                  <a:gd name="connsiteX395" fmla="*/ 253191 w 1253076"/>
                  <a:gd name="connsiteY395" fmla="*/ 132126 h 458350"/>
                  <a:gd name="connsiteX396" fmla="*/ 253797 w 1253076"/>
                  <a:gd name="connsiteY396" fmla="*/ 133641 h 458350"/>
                  <a:gd name="connsiteX397" fmla="*/ 252888 w 1253076"/>
                  <a:gd name="connsiteY397" fmla="*/ 134702 h 458350"/>
                  <a:gd name="connsiteX398" fmla="*/ 254252 w 1253076"/>
                  <a:gd name="connsiteY398" fmla="*/ 135308 h 458350"/>
                  <a:gd name="connsiteX399" fmla="*/ 253949 w 1253076"/>
                  <a:gd name="connsiteY399" fmla="*/ 135763 h 458350"/>
                  <a:gd name="connsiteX400" fmla="*/ 254252 w 1253076"/>
                  <a:gd name="connsiteY400" fmla="*/ 136520 h 458350"/>
                  <a:gd name="connsiteX401" fmla="*/ 254858 w 1253076"/>
                  <a:gd name="connsiteY401" fmla="*/ 137429 h 458350"/>
                  <a:gd name="connsiteX402" fmla="*/ 256828 w 1253076"/>
                  <a:gd name="connsiteY402" fmla="*/ 138035 h 458350"/>
                  <a:gd name="connsiteX403" fmla="*/ 257434 w 1253076"/>
                  <a:gd name="connsiteY403" fmla="*/ 137278 h 458350"/>
                  <a:gd name="connsiteX404" fmla="*/ 258949 w 1253076"/>
                  <a:gd name="connsiteY404" fmla="*/ 134550 h 458350"/>
                  <a:gd name="connsiteX405" fmla="*/ 259252 w 1253076"/>
                  <a:gd name="connsiteY405" fmla="*/ 132126 h 458350"/>
                  <a:gd name="connsiteX406" fmla="*/ 258798 w 1253076"/>
                  <a:gd name="connsiteY406" fmla="*/ 130611 h 458350"/>
                  <a:gd name="connsiteX407" fmla="*/ 257282 w 1253076"/>
                  <a:gd name="connsiteY407" fmla="*/ 129550 h 458350"/>
                  <a:gd name="connsiteX408" fmla="*/ 257131 w 1253076"/>
                  <a:gd name="connsiteY408" fmla="*/ 127580 h 458350"/>
                  <a:gd name="connsiteX409" fmla="*/ 254858 w 1253076"/>
                  <a:gd name="connsiteY409" fmla="*/ 128490 h 458350"/>
                  <a:gd name="connsiteX410" fmla="*/ 252888 w 1253076"/>
                  <a:gd name="connsiteY410" fmla="*/ 128035 h 458350"/>
                  <a:gd name="connsiteX411" fmla="*/ 251070 w 1253076"/>
                  <a:gd name="connsiteY411" fmla="*/ 128490 h 458350"/>
                  <a:gd name="connsiteX412" fmla="*/ 248039 w 1253076"/>
                  <a:gd name="connsiteY412" fmla="*/ 130611 h 458350"/>
                  <a:gd name="connsiteX413" fmla="*/ 247888 w 1253076"/>
                  <a:gd name="connsiteY413" fmla="*/ 131368 h 458350"/>
                  <a:gd name="connsiteX414" fmla="*/ 248039 w 1253076"/>
                  <a:gd name="connsiteY414" fmla="*/ 133035 h 458350"/>
                  <a:gd name="connsiteX415" fmla="*/ 249252 w 1253076"/>
                  <a:gd name="connsiteY415" fmla="*/ 133035 h 458350"/>
                  <a:gd name="connsiteX416" fmla="*/ 236675 w 1253076"/>
                  <a:gd name="connsiteY416" fmla="*/ 139702 h 458350"/>
                  <a:gd name="connsiteX417" fmla="*/ 236524 w 1253076"/>
                  <a:gd name="connsiteY417" fmla="*/ 138944 h 458350"/>
                  <a:gd name="connsiteX418" fmla="*/ 235918 w 1253076"/>
                  <a:gd name="connsiteY418" fmla="*/ 137732 h 458350"/>
                  <a:gd name="connsiteX419" fmla="*/ 234403 w 1253076"/>
                  <a:gd name="connsiteY419" fmla="*/ 136520 h 458350"/>
                  <a:gd name="connsiteX420" fmla="*/ 234100 w 1253076"/>
                  <a:gd name="connsiteY420" fmla="*/ 137126 h 458350"/>
                  <a:gd name="connsiteX421" fmla="*/ 234100 w 1253076"/>
                  <a:gd name="connsiteY421" fmla="*/ 138338 h 458350"/>
                  <a:gd name="connsiteX422" fmla="*/ 236675 w 1253076"/>
                  <a:gd name="connsiteY422" fmla="*/ 139702 h 458350"/>
                  <a:gd name="connsiteX423" fmla="*/ 240161 w 1253076"/>
                  <a:gd name="connsiteY423" fmla="*/ 133187 h 458350"/>
                  <a:gd name="connsiteX424" fmla="*/ 243039 w 1253076"/>
                  <a:gd name="connsiteY424" fmla="*/ 133793 h 458350"/>
                  <a:gd name="connsiteX425" fmla="*/ 244706 w 1253076"/>
                  <a:gd name="connsiteY425" fmla="*/ 131066 h 458350"/>
                  <a:gd name="connsiteX426" fmla="*/ 245009 w 1253076"/>
                  <a:gd name="connsiteY426" fmla="*/ 130156 h 458350"/>
                  <a:gd name="connsiteX427" fmla="*/ 245009 w 1253076"/>
                  <a:gd name="connsiteY427" fmla="*/ 129096 h 458350"/>
                  <a:gd name="connsiteX428" fmla="*/ 243646 w 1253076"/>
                  <a:gd name="connsiteY428" fmla="*/ 129853 h 458350"/>
                  <a:gd name="connsiteX429" fmla="*/ 241827 w 1253076"/>
                  <a:gd name="connsiteY429" fmla="*/ 128641 h 458350"/>
                  <a:gd name="connsiteX430" fmla="*/ 241070 w 1253076"/>
                  <a:gd name="connsiteY430" fmla="*/ 129853 h 458350"/>
                  <a:gd name="connsiteX431" fmla="*/ 239858 w 1253076"/>
                  <a:gd name="connsiteY431" fmla="*/ 129853 h 458350"/>
                  <a:gd name="connsiteX432" fmla="*/ 239554 w 1253076"/>
                  <a:gd name="connsiteY432" fmla="*/ 131217 h 458350"/>
                  <a:gd name="connsiteX433" fmla="*/ 239100 w 1253076"/>
                  <a:gd name="connsiteY433" fmla="*/ 131672 h 458350"/>
                  <a:gd name="connsiteX434" fmla="*/ 239251 w 1253076"/>
                  <a:gd name="connsiteY434" fmla="*/ 132278 h 458350"/>
                  <a:gd name="connsiteX435" fmla="*/ 240161 w 1253076"/>
                  <a:gd name="connsiteY435" fmla="*/ 133187 h 458350"/>
                  <a:gd name="connsiteX436" fmla="*/ 244100 w 1253076"/>
                  <a:gd name="connsiteY436" fmla="*/ 135308 h 458350"/>
                  <a:gd name="connsiteX437" fmla="*/ 243949 w 1253076"/>
                  <a:gd name="connsiteY437" fmla="*/ 135763 h 458350"/>
                  <a:gd name="connsiteX438" fmla="*/ 243797 w 1253076"/>
                  <a:gd name="connsiteY438" fmla="*/ 136369 h 458350"/>
                  <a:gd name="connsiteX439" fmla="*/ 245918 w 1253076"/>
                  <a:gd name="connsiteY439" fmla="*/ 138793 h 458350"/>
                  <a:gd name="connsiteX440" fmla="*/ 247585 w 1253076"/>
                  <a:gd name="connsiteY440" fmla="*/ 138035 h 458350"/>
                  <a:gd name="connsiteX441" fmla="*/ 247282 w 1253076"/>
                  <a:gd name="connsiteY441" fmla="*/ 136823 h 458350"/>
                  <a:gd name="connsiteX442" fmla="*/ 245767 w 1253076"/>
                  <a:gd name="connsiteY442" fmla="*/ 136369 h 458350"/>
                  <a:gd name="connsiteX443" fmla="*/ 244403 w 1253076"/>
                  <a:gd name="connsiteY443" fmla="*/ 135156 h 458350"/>
                  <a:gd name="connsiteX444" fmla="*/ 244100 w 1253076"/>
                  <a:gd name="connsiteY444" fmla="*/ 135308 h 458350"/>
                  <a:gd name="connsiteX445" fmla="*/ 208038 w 1253076"/>
                  <a:gd name="connsiteY445" fmla="*/ 132732 h 458350"/>
                  <a:gd name="connsiteX446" fmla="*/ 210765 w 1253076"/>
                  <a:gd name="connsiteY446" fmla="*/ 133641 h 458350"/>
                  <a:gd name="connsiteX447" fmla="*/ 212887 w 1253076"/>
                  <a:gd name="connsiteY447" fmla="*/ 135156 h 458350"/>
                  <a:gd name="connsiteX448" fmla="*/ 214856 w 1253076"/>
                  <a:gd name="connsiteY448" fmla="*/ 136823 h 458350"/>
                  <a:gd name="connsiteX449" fmla="*/ 216372 w 1253076"/>
                  <a:gd name="connsiteY449" fmla="*/ 137732 h 458350"/>
                  <a:gd name="connsiteX450" fmla="*/ 217735 w 1253076"/>
                  <a:gd name="connsiteY450" fmla="*/ 137884 h 458350"/>
                  <a:gd name="connsiteX451" fmla="*/ 218493 w 1253076"/>
                  <a:gd name="connsiteY451" fmla="*/ 137126 h 458350"/>
                  <a:gd name="connsiteX452" fmla="*/ 215765 w 1253076"/>
                  <a:gd name="connsiteY452" fmla="*/ 133187 h 458350"/>
                  <a:gd name="connsiteX453" fmla="*/ 213947 w 1253076"/>
                  <a:gd name="connsiteY453" fmla="*/ 131672 h 458350"/>
                  <a:gd name="connsiteX454" fmla="*/ 208189 w 1253076"/>
                  <a:gd name="connsiteY454" fmla="*/ 128944 h 458350"/>
                  <a:gd name="connsiteX455" fmla="*/ 206371 w 1253076"/>
                  <a:gd name="connsiteY455" fmla="*/ 129096 h 458350"/>
                  <a:gd name="connsiteX456" fmla="*/ 205765 w 1253076"/>
                  <a:gd name="connsiteY456" fmla="*/ 131975 h 458350"/>
                  <a:gd name="connsiteX457" fmla="*/ 206371 w 1253076"/>
                  <a:gd name="connsiteY457" fmla="*/ 132278 h 458350"/>
                  <a:gd name="connsiteX458" fmla="*/ 208038 w 1253076"/>
                  <a:gd name="connsiteY458" fmla="*/ 132732 h 458350"/>
                  <a:gd name="connsiteX459" fmla="*/ 905943 w 1253076"/>
                  <a:gd name="connsiteY459" fmla="*/ 105458 h 458350"/>
                  <a:gd name="connsiteX460" fmla="*/ 910337 w 1253076"/>
                  <a:gd name="connsiteY460" fmla="*/ 105004 h 458350"/>
                  <a:gd name="connsiteX461" fmla="*/ 912913 w 1253076"/>
                  <a:gd name="connsiteY461" fmla="*/ 103792 h 458350"/>
                  <a:gd name="connsiteX462" fmla="*/ 915034 w 1253076"/>
                  <a:gd name="connsiteY462" fmla="*/ 100307 h 458350"/>
                  <a:gd name="connsiteX463" fmla="*/ 916852 w 1253076"/>
                  <a:gd name="connsiteY463" fmla="*/ 93488 h 458350"/>
                  <a:gd name="connsiteX464" fmla="*/ 914428 w 1253076"/>
                  <a:gd name="connsiteY464" fmla="*/ 90155 h 458350"/>
                  <a:gd name="connsiteX465" fmla="*/ 913519 w 1253076"/>
                  <a:gd name="connsiteY465" fmla="*/ 90155 h 458350"/>
                  <a:gd name="connsiteX466" fmla="*/ 910943 w 1253076"/>
                  <a:gd name="connsiteY466" fmla="*/ 90912 h 458350"/>
                  <a:gd name="connsiteX467" fmla="*/ 907004 w 1253076"/>
                  <a:gd name="connsiteY467" fmla="*/ 93640 h 458350"/>
                  <a:gd name="connsiteX468" fmla="*/ 903973 w 1253076"/>
                  <a:gd name="connsiteY468" fmla="*/ 98337 h 458350"/>
                  <a:gd name="connsiteX469" fmla="*/ 905185 w 1253076"/>
                  <a:gd name="connsiteY469" fmla="*/ 104246 h 458350"/>
                  <a:gd name="connsiteX470" fmla="*/ 905943 w 1253076"/>
                  <a:gd name="connsiteY470" fmla="*/ 105458 h 458350"/>
                  <a:gd name="connsiteX471" fmla="*/ 972006 w 1253076"/>
                  <a:gd name="connsiteY471" fmla="*/ 190765 h 458350"/>
                  <a:gd name="connsiteX472" fmla="*/ 972763 w 1253076"/>
                  <a:gd name="connsiteY472" fmla="*/ 192583 h 458350"/>
                  <a:gd name="connsiteX473" fmla="*/ 973976 w 1253076"/>
                  <a:gd name="connsiteY473" fmla="*/ 194856 h 458350"/>
                  <a:gd name="connsiteX474" fmla="*/ 975642 w 1253076"/>
                  <a:gd name="connsiteY474" fmla="*/ 196522 h 458350"/>
                  <a:gd name="connsiteX475" fmla="*/ 978976 w 1253076"/>
                  <a:gd name="connsiteY475" fmla="*/ 197280 h 458350"/>
                  <a:gd name="connsiteX476" fmla="*/ 979885 w 1253076"/>
                  <a:gd name="connsiteY476" fmla="*/ 196522 h 458350"/>
                  <a:gd name="connsiteX477" fmla="*/ 981097 w 1253076"/>
                  <a:gd name="connsiteY477" fmla="*/ 193037 h 458350"/>
                  <a:gd name="connsiteX478" fmla="*/ 981855 w 1253076"/>
                  <a:gd name="connsiteY478" fmla="*/ 187128 h 458350"/>
                  <a:gd name="connsiteX479" fmla="*/ 980794 w 1253076"/>
                  <a:gd name="connsiteY479" fmla="*/ 185765 h 458350"/>
                  <a:gd name="connsiteX480" fmla="*/ 978219 w 1253076"/>
                  <a:gd name="connsiteY480" fmla="*/ 185765 h 458350"/>
                  <a:gd name="connsiteX481" fmla="*/ 977006 w 1253076"/>
                  <a:gd name="connsiteY481" fmla="*/ 185007 h 458350"/>
                  <a:gd name="connsiteX482" fmla="*/ 970945 w 1253076"/>
                  <a:gd name="connsiteY482" fmla="*/ 186977 h 458350"/>
                  <a:gd name="connsiteX483" fmla="*/ 970793 w 1253076"/>
                  <a:gd name="connsiteY483" fmla="*/ 187583 h 458350"/>
                  <a:gd name="connsiteX484" fmla="*/ 971854 w 1253076"/>
                  <a:gd name="connsiteY484" fmla="*/ 189401 h 458350"/>
                  <a:gd name="connsiteX485" fmla="*/ 972006 w 1253076"/>
                  <a:gd name="connsiteY485" fmla="*/ 190765 h 458350"/>
                  <a:gd name="connsiteX486" fmla="*/ 882154 w 1253076"/>
                  <a:gd name="connsiteY486" fmla="*/ 129702 h 458350"/>
                  <a:gd name="connsiteX487" fmla="*/ 884730 w 1253076"/>
                  <a:gd name="connsiteY487" fmla="*/ 135611 h 458350"/>
                  <a:gd name="connsiteX488" fmla="*/ 887154 w 1253076"/>
                  <a:gd name="connsiteY488" fmla="*/ 137732 h 458350"/>
                  <a:gd name="connsiteX489" fmla="*/ 887003 w 1253076"/>
                  <a:gd name="connsiteY489" fmla="*/ 139096 h 458350"/>
                  <a:gd name="connsiteX490" fmla="*/ 886094 w 1253076"/>
                  <a:gd name="connsiteY490" fmla="*/ 140611 h 458350"/>
                  <a:gd name="connsiteX491" fmla="*/ 885336 w 1253076"/>
                  <a:gd name="connsiteY491" fmla="*/ 142278 h 458350"/>
                  <a:gd name="connsiteX492" fmla="*/ 885185 w 1253076"/>
                  <a:gd name="connsiteY492" fmla="*/ 144248 h 458350"/>
                  <a:gd name="connsiteX493" fmla="*/ 885639 w 1253076"/>
                  <a:gd name="connsiteY493" fmla="*/ 147581 h 458350"/>
                  <a:gd name="connsiteX494" fmla="*/ 887306 w 1253076"/>
                  <a:gd name="connsiteY494" fmla="*/ 150460 h 458350"/>
                  <a:gd name="connsiteX495" fmla="*/ 888669 w 1253076"/>
                  <a:gd name="connsiteY495" fmla="*/ 151672 h 458350"/>
                  <a:gd name="connsiteX496" fmla="*/ 889730 w 1253076"/>
                  <a:gd name="connsiteY496" fmla="*/ 153036 h 458350"/>
                  <a:gd name="connsiteX497" fmla="*/ 889124 w 1253076"/>
                  <a:gd name="connsiteY497" fmla="*/ 156824 h 458350"/>
                  <a:gd name="connsiteX498" fmla="*/ 888973 w 1253076"/>
                  <a:gd name="connsiteY498" fmla="*/ 159854 h 458350"/>
                  <a:gd name="connsiteX499" fmla="*/ 889124 w 1253076"/>
                  <a:gd name="connsiteY499" fmla="*/ 163036 h 458350"/>
                  <a:gd name="connsiteX500" fmla="*/ 888821 w 1253076"/>
                  <a:gd name="connsiteY500" fmla="*/ 165309 h 458350"/>
                  <a:gd name="connsiteX501" fmla="*/ 889276 w 1253076"/>
                  <a:gd name="connsiteY501" fmla="*/ 167430 h 458350"/>
                  <a:gd name="connsiteX502" fmla="*/ 890639 w 1253076"/>
                  <a:gd name="connsiteY502" fmla="*/ 168946 h 458350"/>
                  <a:gd name="connsiteX503" fmla="*/ 893670 w 1253076"/>
                  <a:gd name="connsiteY503" fmla="*/ 171067 h 458350"/>
                  <a:gd name="connsiteX504" fmla="*/ 894579 w 1253076"/>
                  <a:gd name="connsiteY504" fmla="*/ 172279 h 458350"/>
                  <a:gd name="connsiteX505" fmla="*/ 897912 w 1253076"/>
                  <a:gd name="connsiteY505" fmla="*/ 178643 h 458350"/>
                  <a:gd name="connsiteX506" fmla="*/ 898821 w 1253076"/>
                  <a:gd name="connsiteY506" fmla="*/ 180007 h 458350"/>
                  <a:gd name="connsiteX507" fmla="*/ 903973 w 1253076"/>
                  <a:gd name="connsiteY507" fmla="*/ 182279 h 458350"/>
                  <a:gd name="connsiteX508" fmla="*/ 905185 w 1253076"/>
                  <a:gd name="connsiteY508" fmla="*/ 184552 h 458350"/>
                  <a:gd name="connsiteX509" fmla="*/ 909276 w 1253076"/>
                  <a:gd name="connsiteY509" fmla="*/ 185158 h 458350"/>
                  <a:gd name="connsiteX510" fmla="*/ 906852 w 1253076"/>
                  <a:gd name="connsiteY510" fmla="*/ 183037 h 458350"/>
                  <a:gd name="connsiteX511" fmla="*/ 904579 w 1253076"/>
                  <a:gd name="connsiteY511" fmla="*/ 180764 h 458350"/>
                  <a:gd name="connsiteX512" fmla="*/ 900033 w 1253076"/>
                  <a:gd name="connsiteY512" fmla="*/ 174097 h 458350"/>
                  <a:gd name="connsiteX513" fmla="*/ 897003 w 1253076"/>
                  <a:gd name="connsiteY513" fmla="*/ 167734 h 458350"/>
                  <a:gd name="connsiteX514" fmla="*/ 894579 w 1253076"/>
                  <a:gd name="connsiteY514" fmla="*/ 159703 h 458350"/>
                  <a:gd name="connsiteX515" fmla="*/ 895185 w 1253076"/>
                  <a:gd name="connsiteY515" fmla="*/ 156975 h 458350"/>
                  <a:gd name="connsiteX516" fmla="*/ 895185 w 1253076"/>
                  <a:gd name="connsiteY516" fmla="*/ 155460 h 458350"/>
                  <a:gd name="connsiteX517" fmla="*/ 894427 w 1253076"/>
                  <a:gd name="connsiteY517" fmla="*/ 152885 h 458350"/>
                  <a:gd name="connsiteX518" fmla="*/ 894882 w 1253076"/>
                  <a:gd name="connsiteY518" fmla="*/ 150915 h 458350"/>
                  <a:gd name="connsiteX519" fmla="*/ 895488 w 1253076"/>
                  <a:gd name="connsiteY519" fmla="*/ 149097 h 458350"/>
                  <a:gd name="connsiteX520" fmla="*/ 897154 w 1253076"/>
                  <a:gd name="connsiteY520" fmla="*/ 148187 h 458350"/>
                  <a:gd name="connsiteX521" fmla="*/ 900488 w 1253076"/>
                  <a:gd name="connsiteY521" fmla="*/ 148490 h 458350"/>
                  <a:gd name="connsiteX522" fmla="*/ 903670 w 1253076"/>
                  <a:gd name="connsiteY522" fmla="*/ 149703 h 458350"/>
                  <a:gd name="connsiteX523" fmla="*/ 906700 w 1253076"/>
                  <a:gd name="connsiteY523" fmla="*/ 150157 h 458350"/>
                  <a:gd name="connsiteX524" fmla="*/ 909883 w 1253076"/>
                  <a:gd name="connsiteY524" fmla="*/ 150308 h 458350"/>
                  <a:gd name="connsiteX525" fmla="*/ 912458 w 1253076"/>
                  <a:gd name="connsiteY525" fmla="*/ 151824 h 458350"/>
                  <a:gd name="connsiteX526" fmla="*/ 922307 w 1253076"/>
                  <a:gd name="connsiteY526" fmla="*/ 155157 h 458350"/>
                  <a:gd name="connsiteX527" fmla="*/ 921247 w 1253076"/>
                  <a:gd name="connsiteY527" fmla="*/ 153794 h 458350"/>
                  <a:gd name="connsiteX528" fmla="*/ 919882 w 1253076"/>
                  <a:gd name="connsiteY528" fmla="*/ 152733 h 458350"/>
                  <a:gd name="connsiteX529" fmla="*/ 917913 w 1253076"/>
                  <a:gd name="connsiteY529" fmla="*/ 152278 h 458350"/>
                  <a:gd name="connsiteX530" fmla="*/ 916549 w 1253076"/>
                  <a:gd name="connsiteY530" fmla="*/ 151218 h 458350"/>
                  <a:gd name="connsiteX531" fmla="*/ 916398 w 1253076"/>
                  <a:gd name="connsiteY531" fmla="*/ 149097 h 458350"/>
                  <a:gd name="connsiteX532" fmla="*/ 915640 w 1253076"/>
                  <a:gd name="connsiteY532" fmla="*/ 147127 h 458350"/>
                  <a:gd name="connsiteX533" fmla="*/ 914428 w 1253076"/>
                  <a:gd name="connsiteY533" fmla="*/ 146066 h 458350"/>
                  <a:gd name="connsiteX534" fmla="*/ 908518 w 1253076"/>
                  <a:gd name="connsiteY534" fmla="*/ 143642 h 458350"/>
                  <a:gd name="connsiteX535" fmla="*/ 904730 w 1253076"/>
                  <a:gd name="connsiteY535" fmla="*/ 141066 h 458350"/>
                  <a:gd name="connsiteX536" fmla="*/ 904579 w 1253076"/>
                  <a:gd name="connsiteY536" fmla="*/ 139096 h 458350"/>
                  <a:gd name="connsiteX537" fmla="*/ 905791 w 1253076"/>
                  <a:gd name="connsiteY537" fmla="*/ 137126 h 458350"/>
                  <a:gd name="connsiteX538" fmla="*/ 907155 w 1253076"/>
                  <a:gd name="connsiteY538" fmla="*/ 136369 h 458350"/>
                  <a:gd name="connsiteX539" fmla="*/ 911701 w 1253076"/>
                  <a:gd name="connsiteY539" fmla="*/ 134399 h 458350"/>
                  <a:gd name="connsiteX540" fmla="*/ 915943 w 1253076"/>
                  <a:gd name="connsiteY540" fmla="*/ 131975 h 458350"/>
                  <a:gd name="connsiteX541" fmla="*/ 916852 w 1253076"/>
                  <a:gd name="connsiteY541" fmla="*/ 130914 h 458350"/>
                  <a:gd name="connsiteX542" fmla="*/ 917307 w 1253076"/>
                  <a:gd name="connsiteY542" fmla="*/ 123792 h 458350"/>
                  <a:gd name="connsiteX543" fmla="*/ 916549 w 1253076"/>
                  <a:gd name="connsiteY543" fmla="*/ 121217 h 458350"/>
                  <a:gd name="connsiteX544" fmla="*/ 917004 w 1253076"/>
                  <a:gd name="connsiteY544" fmla="*/ 119550 h 458350"/>
                  <a:gd name="connsiteX545" fmla="*/ 916549 w 1253076"/>
                  <a:gd name="connsiteY545" fmla="*/ 118338 h 458350"/>
                  <a:gd name="connsiteX546" fmla="*/ 912458 w 1253076"/>
                  <a:gd name="connsiteY546" fmla="*/ 118641 h 458350"/>
                  <a:gd name="connsiteX547" fmla="*/ 909276 w 1253076"/>
                  <a:gd name="connsiteY547" fmla="*/ 119701 h 458350"/>
                  <a:gd name="connsiteX548" fmla="*/ 903821 w 1253076"/>
                  <a:gd name="connsiteY548" fmla="*/ 122883 h 458350"/>
                  <a:gd name="connsiteX549" fmla="*/ 902003 w 1253076"/>
                  <a:gd name="connsiteY549" fmla="*/ 125156 h 458350"/>
                  <a:gd name="connsiteX550" fmla="*/ 901851 w 1253076"/>
                  <a:gd name="connsiteY550" fmla="*/ 127278 h 458350"/>
                  <a:gd name="connsiteX551" fmla="*/ 902003 w 1253076"/>
                  <a:gd name="connsiteY551" fmla="*/ 129399 h 458350"/>
                  <a:gd name="connsiteX552" fmla="*/ 900791 w 1253076"/>
                  <a:gd name="connsiteY552" fmla="*/ 130308 h 458350"/>
                  <a:gd name="connsiteX553" fmla="*/ 899124 w 1253076"/>
                  <a:gd name="connsiteY553" fmla="*/ 130611 h 458350"/>
                  <a:gd name="connsiteX554" fmla="*/ 896700 w 1253076"/>
                  <a:gd name="connsiteY554" fmla="*/ 132581 h 458350"/>
                  <a:gd name="connsiteX555" fmla="*/ 895640 w 1253076"/>
                  <a:gd name="connsiteY555" fmla="*/ 135460 h 458350"/>
                  <a:gd name="connsiteX556" fmla="*/ 895336 w 1253076"/>
                  <a:gd name="connsiteY556" fmla="*/ 136975 h 458350"/>
                  <a:gd name="connsiteX557" fmla="*/ 894275 w 1253076"/>
                  <a:gd name="connsiteY557" fmla="*/ 138187 h 458350"/>
                  <a:gd name="connsiteX558" fmla="*/ 892154 w 1253076"/>
                  <a:gd name="connsiteY558" fmla="*/ 138338 h 458350"/>
                  <a:gd name="connsiteX559" fmla="*/ 890185 w 1253076"/>
                  <a:gd name="connsiteY559" fmla="*/ 137732 h 458350"/>
                  <a:gd name="connsiteX560" fmla="*/ 888669 w 1253076"/>
                  <a:gd name="connsiteY560" fmla="*/ 136672 h 458350"/>
                  <a:gd name="connsiteX561" fmla="*/ 887457 w 1253076"/>
                  <a:gd name="connsiteY561" fmla="*/ 135308 h 458350"/>
                  <a:gd name="connsiteX562" fmla="*/ 887457 w 1253076"/>
                  <a:gd name="connsiteY562" fmla="*/ 134247 h 458350"/>
                  <a:gd name="connsiteX563" fmla="*/ 888064 w 1253076"/>
                  <a:gd name="connsiteY563" fmla="*/ 133187 h 458350"/>
                  <a:gd name="connsiteX564" fmla="*/ 894427 w 1253076"/>
                  <a:gd name="connsiteY564" fmla="*/ 129096 h 458350"/>
                  <a:gd name="connsiteX565" fmla="*/ 897154 w 1253076"/>
                  <a:gd name="connsiteY565" fmla="*/ 125611 h 458350"/>
                  <a:gd name="connsiteX566" fmla="*/ 897761 w 1253076"/>
                  <a:gd name="connsiteY566" fmla="*/ 124399 h 458350"/>
                  <a:gd name="connsiteX567" fmla="*/ 898215 w 1253076"/>
                  <a:gd name="connsiteY567" fmla="*/ 120914 h 458350"/>
                  <a:gd name="connsiteX568" fmla="*/ 898215 w 1253076"/>
                  <a:gd name="connsiteY568" fmla="*/ 117580 h 458350"/>
                  <a:gd name="connsiteX569" fmla="*/ 897912 w 1253076"/>
                  <a:gd name="connsiteY569" fmla="*/ 114398 h 458350"/>
                  <a:gd name="connsiteX570" fmla="*/ 896397 w 1253076"/>
                  <a:gd name="connsiteY570" fmla="*/ 111974 h 458350"/>
                  <a:gd name="connsiteX571" fmla="*/ 894730 w 1253076"/>
                  <a:gd name="connsiteY571" fmla="*/ 110762 h 458350"/>
                  <a:gd name="connsiteX572" fmla="*/ 894882 w 1253076"/>
                  <a:gd name="connsiteY572" fmla="*/ 108792 h 458350"/>
                  <a:gd name="connsiteX573" fmla="*/ 895336 w 1253076"/>
                  <a:gd name="connsiteY573" fmla="*/ 107731 h 458350"/>
                  <a:gd name="connsiteX574" fmla="*/ 898670 w 1253076"/>
                  <a:gd name="connsiteY574" fmla="*/ 103034 h 458350"/>
                  <a:gd name="connsiteX575" fmla="*/ 898973 w 1253076"/>
                  <a:gd name="connsiteY575" fmla="*/ 101974 h 458350"/>
                  <a:gd name="connsiteX576" fmla="*/ 898821 w 1253076"/>
                  <a:gd name="connsiteY576" fmla="*/ 100761 h 458350"/>
                  <a:gd name="connsiteX577" fmla="*/ 896852 w 1253076"/>
                  <a:gd name="connsiteY577" fmla="*/ 101367 h 458350"/>
                  <a:gd name="connsiteX578" fmla="*/ 895033 w 1253076"/>
                  <a:gd name="connsiteY578" fmla="*/ 102428 h 458350"/>
                  <a:gd name="connsiteX579" fmla="*/ 890487 w 1253076"/>
                  <a:gd name="connsiteY579" fmla="*/ 107125 h 458350"/>
                  <a:gd name="connsiteX580" fmla="*/ 887760 w 1253076"/>
                  <a:gd name="connsiteY580" fmla="*/ 110459 h 458350"/>
                  <a:gd name="connsiteX581" fmla="*/ 886094 w 1253076"/>
                  <a:gd name="connsiteY581" fmla="*/ 114398 h 458350"/>
                  <a:gd name="connsiteX582" fmla="*/ 885790 w 1253076"/>
                  <a:gd name="connsiteY582" fmla="*/ 116216 h 458350"/>
                  <a:gd name="connsiteX583" fmla="*/ 885185 w 1253076"/>
                  <a:gd name="connsiteY583" fmla="*/ 117883 h 458350"/>
                  <a:gd name="connsiteX584" fmla="*/ 885185 w 1253076"/>
                  <a:gd name="connsiteY584" fmla="*/ 120762 h 458350"/>
                  <a:gd name="connsiteX585" fmla="*/ 882002 w 1253076"/>
                  <a:gd name="connsiteY585" fmla="*/ 126671 h 458350"/>
                  <a:gd name="connsiteX586" fmla="*/ 882154 w 1253076"/>
                  <a:gd name="connsiteY586" fmla="*/ 129702 h 458350"/>
                  <a:gd name="connsiteX587" fmla="*/ 777302 w 1253076"/>
                  <a:gd name="connsiteY587" fmla="*/ 206977 h 458350"/>
                  <a:gd name="connsiteX588" fmla="*/ 777756 w 1253076"/>
                  <a:gd name="connsiteY588" fmla="*/ 204856 h 458350"/>
                  <a:gd name="connsiteX589" fmla="*/ 776847 w 1253076"/>
                  <a:gd name="connsiteY589" fmla="*/ 203796 h 458350"/>
                  <a:gd name="connsiteX590" fmla="*/ 776241 w 1253076"/>
                  <a:gd name="connsiteY590" fmla="*/ 202735 h 458350"/>
                  <a:gd name="connsiteX591" fmla="*/ 775938 w 1253076"/>
                  <a:gd name="connsiteY591" fmla="*/ 201523 h 458350"/>
                  <a:gd name="connsiteX592" fmla="*/ 775332 w 1253076"/>
                  <a:gd name="connsiteY592" fmla="*/ 201371 h 458350"/>
                  <a:gd name="connsiteX593" fmla="*/ 774120 w 1253076"/>
                  <a:gd name="connsiteY593" fmla="*/ 202280 h 458350"/>
                  <a:gd name="connsiteX594" fmla="*/ 773968 w 1253076"/>
                  <a:gd name="connsiteY594" fmla="*/ 206220 h 458350"/>
                  <a:gd name="connsiteX595" fmla="*/ 775180 w 1253076"/>
                  <a:gd name="connsiteY595" fmla="*/ 206977 h 458350"/>
                  <a:gd name="connsiteX596" fmla="*/ 777302 w 1253076"/>
                  <a:gd name="connsiteY596" fmla="*/ 206977 h 458350"/>
                  <a:gd name="connsiteX597" fmla="*/ 938065 w 1253076"/>
                  <a:gd name="connsiteY597" fmla="*/ 164249 h 458350"/>
                  <a:gd name="connsiteX598" fmla="*/ 939126 w 1253076"/>
                  <a:gd name="connsiteY598" fmla="*/ 165764 h 458350"/>
                  <a:gd name="connsiteX599" fmla="*/ 940338 w 1253076"/>
                  <a:gd name="connsiteY599" fmla="*/ 165612 h 458350"/>
                  <a:gd name="connsiteX600" fmla="*/ 940187 w 1253076"/>
                  <a:gd name="connsiteY600" fmla="*/ 164249 h 458350"/>
                  <a:gd name="connsiteX601" fmla="*/ 933822 w 1253076"/>
                  <a:gd name="connsiteY601" fmla="*/ 159248 h 458350"/>
                  <a:gd name="connsiteX602" fmla="*/ 935490 w 1253076"/>
                  <a:gd name="connsiteY602" fmla="*/ 162279 h 458350"/>
                  <a:gd name="connsiteX603" fmla="*/ 938065 w 1253076"/>
                  <a:gd name="connsiteY603" fmla="*/ 164249 h 458350"/>
                  <a:gd name="connsiteX604" fmla="*/ 883063 w 1253076"/>
                  <a:gd name="connsiteY604" fmla="*/ 182582 h 458350"/>
                  <a:gd name="connsiteX605" fmla="*/ 883972 w 1253076"/>
                  <a:gd name="connsiteY605" fmla="*/ 182431 h 458350"/>
                  <a:gd name="connsiteX606" fmla="*/ 887457 w 1253076"/>
                  <a:gd name="connsiteY606" fmla="*/ 181370 h 458350"/>
                  <a:gd name="connsiteX607" fmla="*/ 887912 w 1253076"/>
                  <a:gd name="connsiteY607" fmla="*/ 181825 h 458350"/>
                  <a:gd name="connsiteX608" fmla="*/ 888518 w 1253076"/>
                  <a:gd name="connsiteY608" fmla="*/ 183189 h 458350"/>
                  <a:gd name="connsiteX609" fmla="*/ 891094 w 1253076"/>
                  <a:gd name="connsiteY609" fmla="*/ 184552 h 458350"/>
                  <a:gd name="connsiteX610" fmla="*/ 893366 w 1253076"/>
                  <a:gd name="connsiteY610" fmla="*/ 183643 h 458350"/>
                  <a:gd name="connsiteX611" fmla="*/ 894427 w 1253076"/>
                  <a:gd name="connsiteY611" fmla="*/ 182582 h 458350"/>
                  <a:gd name="connsiteX612" fmla="*/ 893973 w 1253076"/>
                  <a:gd name="connsiteY612" fmla="*/ 181219 h 458350"/>
                  <a:gd name="connsiteX613" fmla="*/ 893215 w 1253076"/>
                  <a:gd name="connsiteY613" fmla="*/ 180310 h 458350"/>
                  <a:gd name="connsiteX614" fmla="*/ 892306 w 1253076"/>
                  <a:gd name="connsiteY614" fmla="*/ 179552 h 458350"/>
                  <a:gd name="connsiteX615" fmla="*/ 888366 w 1253076"/>
                  <a:gd name="connsiteY615" fmla="*/ 179401 h 458350"/>
                  <a:gd name="connsiteX616" fmla="*/ 886851 w 1253076"/>
                  <a:gd name="connsiteY616" fmla="*/ 177279 h 458350"/>
                  <a:gd name="connsiteX617" fmla="*/ 888973 w 1253076"/>
                  <a:gd name="connsiteY617" fmla="*/ 173491 h 458350"/>
                  <a:gd name="connsiteX618" fmla="*/ 885790 w 1253076"/>
                  <a:gd name="connsiteY618" fmla="*/ 169400 h 458350"/>
                  <a:gd name="connsiteX619" fmla="*/ 884730 w 1253076"/>
                  <a:gd name="connsiteY619" fmla="*/ 169097 h 458350"/>
                  <a:gd name="connsiteX620" fmla="*/ 883820 w 1253076"/>
                  <a:gd name="connsiteY620" fmla="*/ 169855 h 458350"/>
                  <a:gd name="connsiteX621" fmla="*/ 882760 w 1253076"/>
                  <a:gd name="connsiteY621" fmla="*/ 171825 h 458350"/>
                  <a:gd name="connsiteX622" fmla="*/ 880487 w 1253076"/>
                  <a:gd name="connsiteY622" fmla="*/ 169855 h 458350"/>
                  <a:gd name="connsiteX623" fmla="*/ 879275 w 1253076"/>
                  <a:gd name="connsiteY623" fmla="*/ 170006 h 458350"/>
                  <a:gd name="connsiteX624" fmla="*/ 879427 w 1253076"/>
                  <a:gd name="connsiteY624" fmla="*/ 171522 h 458350"/>
                  <a:gd name="connsiteX625" fmla="*/ 878518 w 1253076"/>
                  <a:gd name="connsiteY625" fmla="*/ 173340 h 458350"/>
                  <a:gd name="connsiteX626" fmla="*/ 878669 w 1253076"/>
                  <a:gd name="connsiteY626" fmla="*/ 174400 h 458350"/>
                  <a:gd name="connsiteX627" fmla="*/ 880942 w 1253076"/>
                  <a:gd name="connsiteY627" fmla="*/ 177128 h 458350"/>
                  <a:gd name="connsiteX628" fmla="*/ 883366 w 1253076"/>
                  <a:gd name="connsiteY628" fmla="*/ 178340 h 458350"/>
                  <a:gd name="connsiteX629" fmla="*/ 882609 w 1253076"/>
                  <a:gd name="connsiteY629" fmla="*/ 180916 h 458350"/>
                  <a:gd name="connsiteX630" fmla="*/ 883063 w 1253076"/>
                  <a:gd name="connsiteY630" fmla="*/ 182582 h 458350"/>
                  <a:gd name="connsiteX631" fmla="*/ 880639 w 1253076"/>
                  <a:gd name="connsiteY631" fmla="*/ 143490 h 458350"/>
                  <a:gd name="connsiteX632" fmla="*/ 880942 w 1253076"/>
                  <a:gd name="connsiteY632" fmla="*/ 143642 h 458350"/>
                  <a:gd name="connsiteX633" fmla="*/ 881851 w 1253076"/>
                  <a:gd name="connsiteY633" fmla="*/ 143339 h 458350"/>
                  <a:gd name="connsiteX634" fmla="*/ 882609 w 1253076"/>
                  <a:gd name="connsiteY634" fmla="*/ 142278 h 458350"/>
                  <a:gd name="connsiteX635" fmla="*/ 882457 w 1253076"/>
                  <a:gd name="connsiteY635" fmla="*/ 140914 h 458350"/>
                  <a:gd name="connsiteX636" fmla="*/ 882002 w 1253076"/>
                  <a:gd name="connsiteY636" fmla="*/ 140611 h 458350"/>
                  <a:gd name="connsiteX637" fmla="*/ 880790 w 1253076"/>
                  <a:gd name="connsiteY637" fmla="*/ 140611 h 458350"/>
                  <a:gd name="connsiteX638" fmla="*/ 880184 w 1253076"/>
                  <a:gd name="connsiteY638" fmla="*/ 142430 h 458350"/>
                  <a:gd name="connsiteX639" fmla="*/ 880639 w 1253076"/>
                  <a:gd name="connsiteY639" fmla="*/ 143490 h 458350"/>
                  <a:gd name="connsiteX640" fmla="*/ 882911 w 1253076"/>
                  <a:gd name="connsiteY640" fmla="*/ 160915 h 458350"/>
                  <a:gd name="connsiteX641" fmla="*/ 882760 w 1253076"/>
                  <a:gd name="connsiteY641" fmla="*/ 158945 h 458350"/>
                  <a:gd name="connsiteX642" fmla="*/ 882306 w 1253076"/>
                  <a:gd name="connsiteY642" fmla="*/ 156975 h 458350"/>
                  <a:gd name="connsiteX643" fmla="*/ 882002 w 1253076"/>
                  <a:gd name="connsiteY643" fmla="*/ 157430 h 458350"/>
                  <a:gd name="connsiteX644" fmla="*/ 881397 w 1253076"/>
                  <a:gd name="connsiteY644" fmla="*/ 160309 h 458350"/>
                  <a:gd name="connsiteX645" fmla="*/ 882002 w 1253076"/>
                  <a:gd name="connsiteY645" fmla="*/ 160612 h 458350"/>
                  <a:gd name="connsiteX646" fmla="*/ 882911 w 1253076"/>
                  <a:gd name="connsiteY646" fmla="*/ 161824 h 458350"/>
                  <a:gd name="connsiteX647" fmla="*/ 882911 w 1253076"/>
                  <a:gd name="connsiteY647" fmla="*/ 160915 h 458350"/>
                  <a:gd name="connsiteX648" fmla="*/ 949429 w 1253076"/>
                  <a:gd name="connsiteY648" fmla="*/ 214705 h 458350"/>
                  <a:gd name="connsiteX649" fmla="*/ 955035 w 1253076"/>
                  <a:gd name="connsiteY649" fmla="*/ 215917 h 458350"/>
                  <a:gd name="connsiteX650" fmla="*/ 956096 w 1253076"/>
                  <a:gd name="connsiteY650" fmla="*/ 216826 h 458350"/>
                  <a:gd name="connsiteX651" fmla="*/ 959278 w 1253076"/>
                  <a:gd name="connsiteY651" fmla="*/ 216372 h 458350"/>
                  <a:gd name="connsiteX652" fmla="*/ 960338 w 1253076"/>
                  <a:gd name="connsiteY652" fmla="*/ 215311 h 458350"/>
                  <a:gd name="connsiteX653" fmla="*/ 961854 w 1253076"/>
                  <a:gd name="connsiteY653" fmla="*/ 214553 h 458350"/>
                  <a:gd name="connsiteX654" fmla="*/ 962763 w 1253076"/>
                  <a:gd name="connsiteY654" fmla="*/ 214856 h 458350"/>
                  <a:gd name="connsiteX655" fmla="*/ 963976 w 1253076"/>
                  <a:gd name="connsiteY655" fmla="*/ 214250 h 458350"/>
                  <a:gd name="connsiteX656" fmla="*/ 963217 w 1253076"/>
                  <a:gd name="connsiteY656" fmla="*/ 213493 h 458350"/>
                  <a:gd name="connsiteX657" fmla="*/ 962915 w 1253076"/>
                  <a:gd name="connsiteY657" fmla="*/ 212432 h 458350"/>
                  <a:gd name="connsiteX658" fmla="*/ 963521 w 1253076"/>
                  <a:gd name="connsiteY658" fmla="*/ 212129 h 458350"/>
                  <a:gd name="connsiteX659" fmla="*/ 964126 w 1253076"/>
                  <a:gd name="connsiteY659" fmla="*/ 209856 h 458350"/>
                  <a:gd name="connsiteX660" fmla="*/ 962460 w 1253076"/>
                  <a:gd name="connsiteY660" fmla="*/ 208341 h 458350"/>
                  <a:gd name="connsiteX661" fmla="*/ 962157 w 1253076"/>
                  <a:gd name="connsiteY661" fmla="*/ 206674 h 458350"/>
                  <a:gd name="connsiteX662" fmla="*/ 961248 w 1253076"/>
                  <a:gd name="connsiteY662" fmla="*/ 206674 h 458350"/>
                  <a:gd name="connsiteX663" fmla="*/ 958066 w 1253076"/>
                  <a:gd name="connsiteY663" fmla="*/ 207735 h 458350"/>
                  <a:gd name="connsiteX664" fmla="*/ 955490 w 1253076"/>
                  <a:gd name="connsiteY664" fmla="*/ 207735 h 458350"/>
                  <a:gd name="connsiteX665" fmla="*/ 952460 w 1253076"/>
                  <a:gd name="connsiteY665" fmla="*/ 208493 h 458350"/>
                  <a:gd name="connsiteX666" fmla="*/ 945490 w 1253076"/>
                  <a:gd name="connsiteY666" fmla="*/ 211372 h 458350"/>
                  <a:gd name="connsiteX667" fmla="*/ 945945 w 1253076"/>
                  <a:gd name="connsiteY667" fmla="*/ 212129 h 458350"/>
                  <a:gd name="connsiteX668" fmla="*/ 949429 w 1253076"/>
                  <a:gd name="connsiteY668" fmla="*/ 214705 h 458350"/>
                  <a:gd name="connsiteX669" fmla="*/ 1087162 w 1253076"/>
                  <a:gd name="connsiteY669" fmla="*/ 191522 h 458350"/>
                  <a:gd name="connsiteX670" fmla="*/ 1088525 w 1253076"/>
                  <a:gd name="connsiteY670" fmla="*/ 191068 h 458350"/>
                  <a:gd name="connsiteX671" fmla="*/ 1089434 w 1253076"/>
                  <a:gd name="connsiteY671" fmla="*/ 188795 h 458350"/>
                  <a:gd name="connsiteX672" fmla="*/ 1088374 w 1253076"/>
                  <a:gd name="connsiteY672" fmla="*/ 188643 h 458350"/>
                  <a:gd name="connsiteX673" fmla="*/ 1087919 w 1253076"/>
                  <a:gd name="connsiteY673" fmla="*/ 187280 h 458350"/>
                  <a:gd name="connsiteX674" fmla="*/ 1086555 w 1253076"/>
                  <a:gd name="connsiteY674" fmla="*/ 186219 h 458350"/>
                  <a:gd name="connsiteX675" fmla="*/ 1084889 w 1253076"/>
                  <a:gd name="connsiteY675" fmla="*/ 187280 h 458350"/>
                  <a:gd name="connsiteX676" fmla="*/ 1084434 w 1253076"/>
                  <a:gd name="connsiteY676" fmla="*/ 188946 h 458350"/>
                  <a:gd name="connsiteX677" fmla="*/ 1085950 w 1253076"/>
                  <a:gd name="connsiteY677" fmla="*/ 191068 h 458350"/>
                  <a:gd name="connsiteX678" fmla="*/ 1087162 w 1253076"/>
                  <a:gd name="connsiteY678" fmla="*/ 191522 h 458350"/>
                  <a:gd name="connsiteX679" fmla="*/ 1101102 w 1253076"/>
                  <a:gd name="connsiteY679" fmla="*/ 181522 h 458350"/>
                  <a:gd name="connsiteX680" fmla="*/ 1102465 w 1253076"/>
                  <a:gd name="connsiteY680" fmla="*/ 182431 h 458350"/>
                  <a:gd name="connsiteX681" fmla="*/ 1102617 w 1253076"/>
                  <a:gd name="connsiteY681" fmla="*/ 181976 h 458350"/>
                  <a:gd name="connsiteX682" fmla="*/ 1103526 w 1253076"/>
                  <a:gd name="connsiteY682" fmla="*/ 181976 h 458350"/>
                  <a:gd name="connsiteX683" fmla="*/ 1106860 w 1253076"/>
                  <a:gd name="connsiteY683" fmla="*/ 184552 h 458350"/>
                  <a:gd name="connsiteX684" fmla="*/ 1109587 w 1253076"/>
                  <a:gd name="connsiteY684" fmla="*/ 182886 h 458350"/>
                  <a:gd name="connsiteX685" fmla="*/ 1111708 w 1253076"/>
                  <a:gd name="connsiteY685" fmla="*/ 188492 h 458350"/>
                  <a:gd name="connsiteX686" fmla="*/ 1112011 w 1253076"/>
                  <a:gd name="connsiteY686" fmla="*/ 190916 h 458350"/>
                  <a:gd name="connsiteX687" fmla="*/ 1114132 w 1253076"/>
                  <a:gd name="connsiteY687" fmla="*/ 192583 h 458350"/>
                  <a:gd name="connsiteX688" fmla="*/ 1116557 w 1253076"/>
                  <a:gd name="connsiteY688" fmla="*/ 192280 h 458350"/>
                  <a:gd name="connsiteX689" fmla="*/ 1119435 w 1253076"/>
                  <a:gd name="connsiteY689" fmla="*/ 193492 h 458350"/>
                  <a:gd name="connsiteX690" fmla="*/ 1120951 w 1253076"/>
                  <a:gd name="connsiteY690" fmla="*/ 193492 h 458350"/>
                  <a:gd name="connsiteX691" fmla="*/ 1124739 w 1253076"/>
                  <a:gd name="connsiteY691" fmla="*/ 192431 h 458350"/>
                  <a:gd name="connsiteX692" fmla="*/ 1126709 w 1253076"/>
                  <a:gd name="connsiteY692" fmla="*/ 190310 h 458350"/>
                  <a:gd name="connsiteX693" fmla="*/ 1124133 w 1253076"/>
                  <a:gd name="connsiteY693" fmla="*/ 189553 h 458350"/>
                  <a:gd name="connsiteX694" fmla="*/ 1120648 w 1253076"/>
                  <a:gd name="connsiteY694" fmla="*/ 187280 h 458350"/>
                  <a:gd name="connsiteX695" fmla="*/ 1118224 w 1253076"/>
                  <a:gd name="connsiteY695" fmla="*/ 184552 h 458350"/>
                  <a:gd name="connsiteX696" fmla="*/ 1113375 w 1253076"/>
                  <a:gd name="connsiteY696" fmla="*/ 180461 h 458350"/>
                  <a:gd name="connsiteX697" fmla="*/ 1112011 w 1253076"/>
                  <a:gd name="connsiteY697" fmla="*/ 180007 h 458350"/>
                  <a:gd name="connsiteX698" fmla="*/ 1109435 w 1253076"/>
                  <a:gd name="connsiteY698" fmla="*/ 180613 h 458350"/>
                  <a:gd name="connsiteX699" fmla="*/ 1107314 w 1253076"/>
                  <a:gd name="connsiteY699" fmla="*/ 179401 h 458350"/>
                  <a:gd name="connsiteX700" fmla="*/ 1105193 w 1253076"/>
                  <a:gd name="connsiteY700" fmla="*/ 179401 h 458350"/>
                  <a:gd name="connsiteX701" fmla="*/ 1099435 w 1253076"/>
                  <a:gd name="connsiteY701" fmla="*/ 178340 h 458350"/>
                  <a:gd name="connsiteX702" fmla="*/ 1099586 w 1253076"/>
                  <a:gd name="connsiteY702" fmla="*/ 179855 h 458350"/>
                  <a:gd name="connsiteX703" fmla="*/ 1101102 w 1253076"/>
                  <a:gd name="connsiteY703" fmla="*/ 181522 h 458350"/>
                  <a:gd name="connsiteX704" fmla="*/ 1116102 w 1253076"/>
                  <a:gd name="connsiteY704" fmla="*/ 205159 h 458350"/>
                  <a:gd name="connsiteX705" fmla="*/ 1113223 w 1253076"/>
                  <a:gd name="connsiteY705" fmla="*/ 205311 h 458350"/>
                  <a:gd name="connsiteX706" fmla="*/ 1102465 w 1253076"/>
                  <a:gd name="connsiteY706" fmla="*/ 203947 h 458350"/>
                  <a:gd name="connsiteX707" fmla="*/ 1102314 w 1253076"/>
                  <a:gd name="connsiteY707" fmla="*/ 204553 h 458350"/>
                  <a:gd name="connsiteX708" fmla="*/ 1102768 w 1253076"/>
                  <a:gd name="connsiteY708" fmla="*/ 205917 h 458350"/>
                  <a:gd name="connsiteX709" fmla="*/ 1113072 w 1253076"/>
                  <a:gd name="connsiteY709" fmla="*/ 208190 h 458350"/>
                  <a:gd name="connsiteX710" fmla="*/ 1118072 w 1253076"/>
                  <a:gd name="connsiteY710" fmla="*/ 210159 h 458350"/>
                  <a:gd name="connsiteX711" fmla="*/ 1122012 w 1253076"/>
                  <a:gd name="connsiteY711" fmla="*/ 211068 h 458350"/>
                  <a:gd name="connsiteX712" fmla="*/ 1122921 w 1253076"/>
                  <a:gd name="connsiteY712" fmla="*/ 211978 h 458350"/>
                  <a:gd name="connsiteX713" fmla="*/ 1125648 w 1253076"/>
                  <a:gd name="connsiteY713" fmla="*/ 211372 h 458350"/>
                  <a:gd name="connsiteX714" fmla="*/ 1129284 w 1253076"/>
                  <a:gd name="connsiteY714" fmla="*/ 211826 h 458350"/>
                  <a:gd name="connsiteX715" fmla="*/ 1133678 w 1253076"/>
                  <a:gd name="connsiteY715" fmla="*/ 211372 h 458350"/>
                  <a:gd name="connsiteX716" fmla="*/ 1136103 w 1253076"/>
                  <a:gd name="connsiteY716" fmla="*/ 210462 h 458350"/>
                  <a:gd name="connsiteX717" fmla="*/ 1141103 w 1253076"/>
                  <a:gd name="connsiteY717" fmla="*/ 209402 h 458350"/>
                  <a:gd name="connsiteX718" fmla="*/ 1138982 w 1253076"/>
                  <a:gd name="connsiteY718" fmla="*/ 208190 h 458350"/>
                  <a:gd name="connsiteX719" fmla="*/ 1136255 w 1253076"/>
                  <a:gd name="connsiteY719" fmla="*/ 207584 h 458350"/>
                  <a:gd name="connsiteX720" fmla="*/ 1127314 w 1253076"/>
                  <a:gd name="connsiteY720" fmla="*/ 207280 h 458350"/>
                  <a:gd name="connsiteX721" fmla="*/ 1122163 w 1253076"/>
                  <a:gd name="connsiteY721" fmla="*/ 205462 h 458350"/>
                  <a:gd name="connsiteX722" fmla="*/ 1116102 w 1253076"/>
                  <a:gd name="connsiteY722" fmla="*/ 205159 h 458350"/>
                  <a:gd name="connsiteX723" fmla="*/ 969733 w 1253076"/>
                  <a:gd name="connsiteY723" fmla="*/ 175006 h 458350"/>
                  <a:gd name="connsiteX724" fmla="*/ 971248 w 1253076"/>
                  <a:gd name="connsiteY724" fmla="*/ 173340 h 458350"/>
                  <a:gd name="connsiteX725" fmla="*/ 970491 w 1253076"/>
                  <a:gd name="connsiteY725" fmla="*/ 172431 h 458350"/>
                  <a:gd name="connsiteX726" fmla="*/ 969430 w 1253076"/>
                  <a:gd name="connsiteY726" fmla="*/ 171976 h 458350"/>
                  <a:gd name="connsiteX727" fmla="*/ 968975 w 1253076"/>
                  <a:gd name="connsiteY727" fmla="*/ 171976 h 458350"/>
                  <a:gd name="connsiteX728" fmla="*/ 968066 w 1253076"/>
                  <a:gd name="connsiteY728" fmla="*/ 172582 h 458350"/>
                  <a:gd name="connsiteX729" fmla="*/ 967005 w 1253076"/>
                  <a:gd name="connsiteY729" fmla="*/ 172734 h 458350"/>
                  <a:gd name="connsiteX730" fmla="*/ 965339 w 1253076"/>
                  <a:gd name="connsiteY730" fmla="*/ 173794 h 458350"/>
                  <a:gd name="connsiteX731" fmla="*/ 968218 w 1253076"/>
                  <a:gd name="connsiteY731" fmla="*/ 175006 h 458350"/>
                  <a:gd name="connsiteX732" fmla="*/ 969733 w 1253076"/>
                  <a:gd name="connsiteY732" fmla="*/ 175006 h 458350"/>
                  <a:gd name="connsiteX733" fmla="*/ 964581 w 1253076"/>
                  <a:gd name="connsiteY733" fmla="*/ 184855 h 458350"/>
                  <a:gd name="connsiteX734" fmla="*/ 963521 w 1253076"/>
                  <a:gd name="connsiteY734" fmla="*/ 185916 h 458350"/>
                  <a:gd name="connsiteX735" fmla="*/ 975340 w 1253076"/>
                  <a:gd name="connsiteY735" fmla="*/ 184249 h 458350"/>
                  <a:gd name="connsiteX736" fmla="*/ 976703 w 1253076"/>
                  <a:gd name="connsiteY736" fmla="*/ 183340 h 458350"/>
                  <a:gd name="connsiteX737" fmla="*/ 977460 w 1253076"/>
                  <a:gd name="connsiteY737" fmla="*/ 181976 h 458350"/>
                  <a:gd name="connsiteX738" fmla="*/ 974733 w 1253076"/>
                  <a:gd name="connsiteY738" fmla="*/ 181673 h 458350"/>
                  <a:gd name="connsiteX739" fmla="*/ 974885 w 1253076"/>
                  <a:gd name="connsiteY739" fmla="*/ 183037 h 458350"/>
                  <a:gd name="connsiteX740" fmla="*/ 972461 w 1253076"/>
                  <a:gd name="connsiteY740" fmla="*/ 183340 h 458350"/>
                  <a:gd name="connsiteX741" fmla="*/ 970036 w 1253076"/>
                  <a:gd name="connsiteY741" fmla="*/ 183037 h 458350"/>
                  <a:gd name="connsiteX742" fmla="*/ 968824 w 1253076"/>
                  <a:gd name="connsiteY742" fmla="*/ 183492 h 458350"/>
                  <a:gd name="connsiteX743" fmla="*/ 968218 w 1253076"/>
                  <a:gd name="connsiteY743" fmla="*/ 183340 h 458350"/>
                  <a:gd name="connsiteX744" fmla="*/ 967612 w 1253076"/>
                  <a:gd name="connsiteY744" fmla="*/ 183492 h 458350"/>
                  <a:gd name="connsiteX745" fmla="*/ 967005 w 1253076"/>
                  <a:gd name="connsiteY745" fmla="*/ 183795 h 458350"/>
                  <a:gd name="connsiteX746" fmla="*/ 965794 w 1253076"/>
                  <a:gd name="connsiteY746" fmla="*/ 183643 h 458350"/>
                  <a:gd name="connsiteX747" fmla="*/ 965036 w 1253076"/>
                  <a:gd name="connsiteY747" fmla="*/ 184098 h 458350"/>
                  <a:gd name="connsiteX748" fmla="*/ 964581 w 1253076"/>
                  <a:gd name="connsiteY748" fmla="*/ 184855 h 458350"/>
                  <a:gd name="connsiteX749" fmla="*/ 1072161 w 1253076"/>
                  <a:gd name="connsiteY749" fmla="*/ 218341 h 458350"/>
                  <a:gd name="connsiteX750" fmla="*/ 1073373 w 1253076"/>
                  <a:gd name="connsiteY750" fmla="*/ 216372 h 458350"/>
                  <a:gd name="connsiteX751" fmla="*/ 1072616 w 1253076"/>
                  <a:gd name="connsiteY751" fmla="*/ 215766 h 458350"/>
                  <a:gd name="connsiteX752" fmla="*/ 1072010 w 1253076"/>
                  <a:gd name="connsiteY752" fmla="*/ 215614 h 458350"/>
                  <a:gd name="connsiteX753" fmla="*/ 1071555 w 1253076"/>
                  <a:gd name="connsiteY753" fmla="*/ 215917 h 458350"/>
                  <a:gd name="connsiteX754" fmla="*/ 1071101 w 1253076"/>
                  <a:gd name="connsiteY754" fmla="*/ 217432 h 458350"/>
                  <a:gd name="connsiteX755" fmla="*/ 1071403 w 1253076"/>
                  <a:gd name="connsiteY755" fmla="*/ 218644 h 458350"/>
                  <a:gd name="connsiteX756" fmla="*/ 1072161 w 1253076"/>
                  <a:gd name="connsiteY756" fmla="*/ 218341 h 458350"/>
                  <a:gd name="connsiteX757" fmla="*/ 966096 w 1253076"/>
                  <a:gd name="connsiteY757" fmla="*/ 167885 h 458350"/>
                  <a:gd name="connsiteX758" fmla="*/ 967612 w 1253076"/>
                  <a:gd name="connsiteY758" fmla="*/ 170612 h 458350"/>
                  <a:gd name="connsiteX759" fmla="*/ 968218 w 1253076"/>
                  <a:gd name="connsiteY759" fmla="*/ 170461 h 458350"/>
                  <a:gd name="connsiteX760" fmla="*/ 969127 w 1253076"/>
                  <a:gd name="connsiteY760" fmla="*/ 169552 h 458350"/>
                  <a:gd name="connsiteX761" fmla="*/ 971400 w 1253076"/>
                  <a:gd name="connsiteY761" fmla="*/ 168643 h 458350"/>
                  <a:gd name="connsiteX762" fmla="*/ 971702 w 1253076"/>
                  <a:gd name="connsiteY762" fmla="*/ 171218 h 458350"/>
                  <a:gd name="connsiteX763" fmla="*/ 973066 w 1253076"/>
                  <a:gd name="connsiteY763" fmla="*/ 172582 h 458350"/>
                  <a:gd name="connsiteX764" fmla="*/ 977006 w 1253076"/>
                  <a:gd name="connsiteY764" fmla="*/ 171825 h 458350"/>
                  <a:gd name="connsiteX765" fmla="*/ 977158 w 1253076"/>
                  <a:gd name="connsiteY765" fmla="*/ 169855 h 458350"/>
                  <a:gd name="connsiteX766" fmla="*/ 975642 w 1253076"/>
                  <a:gd name="connsiteY766" fmla="*/ 168643 h 458350"/>
                  <a:gd name="connsiteX767" fmla="*/ 974431 w 1253076"/>
                  <a:gd name="connsiteY767" fmla="*/ 168794 h 458350"/>
                  <a:gd name="connsiteX768" fmla="*/ 973370 w 1253076"/>
                  <a:gd name="connsiteY768" fmla="*/ 168491 h 458350"/>
                  <a:gd name="connsiteX769" fmla="*/ 971400 w 1253076"/>
                  <a:gd name="connsiteY769" fmla="*/ 165461 h 458350"/>
                  <a:gd name="connsiteX770" fmla="*/ 969884 w 1253076"/>
                  <a:gd name="connsiteY770" fmla="*/ 164400 h 458350"/>
                  <a:gd name="connsiteX771" fmla="*/ 969430 w 1253076"/>
                  <a:gd name="connsiteY771" fmla="*/ 162885 h 458350"/>
                  <a:gd name="connsiteX772" fmla="*/ 971097 w 1253076"/>
                  <a:gd name="connsiteY772" fmla="*/ 162733 h 458350"/>
                  <a:gd name="connsiteX773" fmla="*/ 974581 w 1253076"/>
                  <a:gd name="connsiteY773" fmla="*/ 166673 h 458350"/>
                  <a:gd name="connsiteX774" fmla="*/ 977006 w 1253076"/>
                  <a:gd name="connsiteY774" fmla="*/ 167885 h 458350"/>
                  <a:gd name="connsiteX775" fmla="*/ 978369 w 1253076"/>
                  <a:gd name="connsiteY775" fmla="*/ 169703 h 458350"/>
                  <a:gd name="connsiteX776" fmla="*/ 980037 w 1253076"/>
                  <a:gd name="connsiteY776" fmla="*/ 170309 h 458350"/>
                  <a:gd name="connsiteX777" fmla="*/ 982612 w 1253076"/>
                  <a:gd name="connsiteY777" fmla="*/ 169400 h 458350"/>
                  <a:gd name="connsiteX778" fmla="*/ 984734 w 1253076"/>
                  <a:gd name="connsiteY778" fmla="*/ 169855 h 458350"/>
                  <a:gd name="connsiteX779" fmla="*/ 985795 w 1253076"/>
                  <a:gd name="connsiteY779" fmla="*/ 170612 h 458350"/>
                  <a:gd name="connsiteX780" fmla="*/ 986854 w 1253076"/>
                  <a:gd name="connsiteY780" fmla="*/ 170309 h 458350"/>
                  <a:gd name="connsiteX781" fmla="*/ 989128 w 1253076"/>
                  <a:gd name="connsiteY781" fmla="*/ 168188 h 458350"/>
                  <a:gd name="connsiteX782" fmla="*/ 988067 w 1253076"/>
                  <a:gd name="connsiteY782" fmla="*/ 166824 h 458350"/>
                  <a:gd name="connsiteX783" fmla="*/ 988522 w 1253076"/>
                  <a:gd name="connsiteY783" fmla="*/ 165764 h 458350"/>
                  <a:gd name="connsiteX784" fmla="*/ 987461 w 1253076"/>
                  <a:gd name="connsiteY784" fmla="*/ 164249 h 458350"/>
                  <a:gd name="connsiteX785" fmla="*/ 980642 w 1253076"/>
                  <a:gd name="connsiteY785" fmla="*/ 161218 h 458350"/>
                  <a:gd name="connsiteX786" fmla="*/ 979582 w 1253076"/>
                  <a:gd name="connsiteY786" fmla="*/ 161370 h 458350"/>
                  <a:gd name="connsiteX787" fmla="*/ 974885 w 1253076"/>
                  <a:gd name="connsiteY787" fmla="*/ 160157 h 458350"/>
                  <a:gd name="connsiteX788" fmla="*/ 972461 w 1253076"/>
                  <a:gd name="connsiteY788" fmla="*/ 160915 h 458350"/>
                  <a:gd name="connsiteX789" fmla="*/ 968673 w 1253076"/>
                  <a:gd name="connsiteY789" fmla="*/ 161370 h 458350"/>
                  <a:gd name="connsiteX790" fmla="*/ 967764 w 1253076"/>
                  <a:gd name="connsiteY790" fmla="*/ 161976 h 458350"/>
                  <a:gd name="connsiteX791" fmla="*/ 966399 w 1253076"/>
                  <a:gd name="connsiteY791" fmla="*/ 161673 h 458350"/>
                  <a:gd name="connsiteX792" fmla="*/ 964581 w 1253076"/>
                  <a:gd name="connsiteY792" fmla="*/ 162733 h 458350"/>
                  <a:gd name="connsiteX793" fmla="*/ 962763 w 1253076"/>
                  <a:gd name="connsiteY793" fmla="*/ 161976 h 458350"/>
                  <a:gd name="connsiteX794" fmla="*/ 960945 w 1253076"/>
                  <a:gd name="connsiteY794" fmla="*/ 162733 h 458350"/>
                  <a:gd name="connsiteX795" fmla="*/ 960793 w 1253076"/>
                  <a:gd name="connsiteY795" fmla="*/ 164249 h 458350"/>
                  <a:gd name="connsiteX796" fmla="*/ 959429 w 1253076"/>
                  <a:gd name="connsiteY796" fmla="*/ 165764 h 458350"/>
                  <a:gd name="connsiteX797" fmla="*/ 962308 w 1253076"/>
                  <a:gd name="connsiteY797" fmla="*/ 167127 h 458350"/>
                  <a:gd name="connsiteX798" fmla="*/ 966096 w 1253076"/>
                  <a:gd name="connsiteY798" fmla="*/ 167885 h 458350"/>
                  <a:gd name="connsiteX799" fmla="*/ 879730 w 1253076"/>
                  <a:gd name="connsiteY799" fmla="*/ 140005 h 458350"/>
                  <a:gd name="connsiteX800" fmla="*/ 880639 w 1253076"/>
                  <a:gd name="connsiteY800" fmla="*/ 139096 h 458350"/>
                  <a:gd name="connsiteX801" fmla="*/ 880184 w 1253076"/>
                  <a:gd name="connsiteY801" fmla="*/ 137581 h 458350"/>
                  <a:gd name="connsiteX802" fmla="*/ 879275 w 1253076"/>
                  <a:gd name="connsiteY802" fmla="*/ 137126 h 458350"/>
                  <a:gd name="connsiteX803" fmla="*/ 878518 w 1253076"/>
                  <a:gd name="connsiteY803" fmla="*/ 137732 h 458350"/>
                  <a:gd name="connsiteX804" fmla="*/ 878366 w 1253076"/>
                  <a:gd name="connsiteY804" fmla="*/ 138490 h 458350"/>
                  <a:gd name="connsiteX805" fmla="*/ 878972 w 1253076"/>
                  <a:gd name="connsiteY805" fmla="*/ 139702 h 458350"/>
                  <a:gd name="connsiteX806" fmla="*/ 879730 w 1253076"/>
                  <a:gd name="connsiteY806" fmla="*/ 140005 h 458350"/>
                  <a:gd name="connsiteX807" fmla="*/ 760180 w 1253076"/>
                  <a:gd name="connsiteY807" fmla="*/ 270313 h 458350"/>
                  <a:gd name="connsiteX808" fmla="*/ 760180 w 1253076"/>
                  <a:gd name="connsiteY808" fmla="*/ 271222 h 458350"/>
                  <a:gd name="connsiteX809" fmla="*/ 760786 w 1253076"/>
                  <a:gd name="connsiteY809" fmla="*/ 273647 h 458350"/>
                  <a:gd name="connsiteX810" fmla="*/ 763059 w 1253076"/>
                  <a:gd name="connsiteY810" fmla="*/ 275768 h 458350"/>
                  <a:gd name="connsiteX811" fmla="*/ 764877 w 1253076"/>
                  <a:gd name="connsiteY811" fmla="*/ 275919 h 458350"/>
                  <a:gd name="connsiteX812" fmla="*/ 767604 w 1253076"/>
                  <a:gd name="connsiteY812" fmla="*/ 272586 h 458350"/>
                  <a:gd name="connsiteX813" fmla="*/ 767756 w 1253076"/>
                  <a:gd name="connsiteY813" fmla="*/ 270616 h 458350"/>
                  <a:gd name="connsiteX814" fmla="*/ 766847 w 1253076"/>
                  <a:gd name="connsiteY814" fmla="*/ 269404 h 458350"/>
                  <a:gd name="connsiteX815" fmla="*/ 761695 w 1253076"/>
                  <a:gd name="connsiteY815" fmla="*/ 268949 h 458350"/>
                  <a:gd name="connsiteX816" fmla="*/ 760180 w 1253076"/>
                  <a:gd name="connsiteY816" fmla="*/ 270313 h 458350"/>
                  <a:gd name="connsiteX817" fmla="*/ 741392 w 1253076"/>
                  <a:gd name="connsiteY817" fmla="*/ 305466 h 458350"/>
                  <a:gd name="connsiteX818" fmla="*/ 741997 w 1253076"/>
                  <a:gd name="connsiteY818" fmla="*/ 307132 h 458350"/>
                  <a:gd name="connsiteX819" fmla="*/ 743815 w 1253076"/>
                  <a:gd name="connsiteY819" fmla="*/ 307132 h 458350"/>
                  <a:gd name="connsiteX820" fmla="*/ 744421 w 1253076"/>
                  <a:gd name="connsiteY820" fmla="*/ 305769 h 458350"/>
                  <a:gd name="connsiteX821" fmla="*/ 746694 w 1253076"/>
                  <a:gd name="connsiteY821" fmla="*/ 306981 h 458350"/>
                  <a:gd name="connsiteX822" fmla="*/ 747907 w 1253076"/>
                  <a:gd name="connsiteY822" fmla="*/ 307284 h 458350"/>
                  <a:gd name="connsiteX823" fmla="*/ 749119 w 1253076"/>
                  <a:gd name="connsiteY823" fmla="*/ 307132 h 458350"/>
                  <a:gd name="connsiteX824" fmla="*/ 750634 w 1253076"/>
                  <a:gd name="connsiteY824" fmla="*/ 305769 h 458350"/>
                  <a:gd name="connsiteX825" fmla="*/ 751391 w 1253076"/>
                  <a:gd name="connsiteY825" fmla="*/ 303951 h 458350"/>
                  <a:gd name="connsiteX826" fmla="*/ 750482 w 1253076"/>
                  <a:gd name="connsiteY826" fmla="*/ 300314 h 458350"/>
                  <a:gd name="connsiteX827" fmla="*/ 754422 w 1253076"/>
                  <a:gd name="connsiteY827" fmla="*/ 294708 h 458350"/>
                  <a:gd name="connsiteX828" fmla="*/ 753816 w 1253076"/>
                  <a:gd name="connsiteY828" fmla="*/ 287586 h 458350"/>
                  <a:gd name="connsiteX829" fmla="*/ 752756 w 1253076"/>
                  <a:gd name="connsiteY829" fmla="*/ 286071 h 458350"/>
                  <a:gd name="connsiteX830" fmla="*/ 751543 w 1253076"/>
                  <a:gd name="connsiteY830" fmla="*/ 286526 h 458350"/>
                  <a:gd name="connsiteX831" fmla="*/ 747907 w 1253076"/>
                  <a:gd name="connsiteY831" fmla="*/ 288496 h 458350"/>
                  <a:gd name="connsiteX832" fmla="*/ 743664 w 1253076"/>
                  <a:gd name="connsiteY832" fmla="*/ 290162 h 458350"/>
                  <a:gd name="connsiteX833" fmla="*/ 742755 w 1253076"/>
                  <a:gd name="connsiteY833" fmla="*/ 292284 h 458350"/>
                  <a:gd name="connsiteX834" fmla="*/ 744270 w 1253076"/>
                  <a:gd name="connsiteY834" fmla="*/ 296375 h 458350"/>
                  <a:gd name="connsiteX835" fmla="*/ 744421 w 1253076"/>
                  <a:gd name="connsiteY835" fmla="*/ 298344 h 458350"/>
                  <a:gd name="connsiteX836" fmla="*/ 742603 w 1253076"/>
                  <a:gd name="connsiteY836" fmla="*/ 300163 h 458350"/>
                  <a:gd name="connsiteX837" fmla="*/ 741392 w 1253076"/>
                  <a:gd name="connsiteY837" fmla="*/ 305466 h 458350"/>
                  <a:gd name="connsiteX838" fmla="*/ 764725 w 1253076"/>
                  <a:gd name="connsiteY838" fmla="*/ 208947 h 458350"/>
                  <a:gd name="connsiteX839" fmla="*/ 763816 w 1253076"/>
                  <a:gd name="connsiteY839" fmla="*/ 209402 h 458350"/>
                  <a:gd name="connsiteX840" fmla="*/ 763211 w 1253076"/>
                  <a:gd name="connsiteY840" fmla="*/ 210159 h 458350"/>
                  <a:gd name="connsiteX841" fmla="*/ 762756 w 1253076"/>
                  <a:gd name="connsiteY841" fmla="*/ 211220 h 458350"/>
                  <a:gd name="connsiteX842" fmla="*/ 762907 w 1253076"/>
                  <a:gd name="connsiteY842" fmla="*/ 212432 h 458350"/>
                  <a:gd name="connsiteX843" fmla="*/ 764877 w 1253076"/>
                  <a:gd name="connsiteY843" fmla="*/ 210159 h 458350"/>
                  <a:gd name="connsiteX844" fmla="*/ 764725 w 1253076"/>
                  <a:gd name="connsiteY844" fmla="*/ 208947 h 458350"/>
                  <a:gd name="connsiteX845" fmla="*/ 760180 w 1253076"/>
                  <a:gd name="connsiteY845" fmla="*/ 307739 h 458350"/>
                  <a:gd name="connsiteX846" fmla="*/ 760634 w 1253076"/>
                  <a:gd name="connsiteY846" fmla="*/ 307436 h 458350"/>
                  <a:gd name="connsiteX847" fmla="*/ 762150 w 1253076"/>
                  <a:gd name="connsiteY847" fmla="*/ 308193 h 458350"/>
                  <a:gd name="connsiteX848" fmla="*/ 764271 w 1253076"/>
                  <a:gd name="connsiteY848" fmla="*/ 307436 h 458350"/>
                  <a:gd name="connsiteX849" fmla="*/ 766089 w 1253076"/>
                  <a:gd name="connsiteY849" fmla="*/ 305769 h 458350"/>
                  <a:gd name="connsiteX850" fmla="*/ 766544 w 1253076"/>
                  <a:gd name="connsiteY850" fmla="*/ 304102 h 458350"/>
                  <a:gd name="connsiteX851" fmla="*/ 765180 w 1253076"/>
                  <a:gd name="connsiteY851" fmla="*/ 302738 h 458350"/>
                  <a:gd name="connsiteX852" fmla="*/ 762452 w 1253076"/>
                  <a:gd name="connsiteY852" fmla="*/ 300920 h 458350"/>
                  <a:gd name="connsiteX853" fmla="*/ 761695 w 1253076"/>
                  <a:gd name="connsiteY853" fmla="*/ 301072 h 458350"/>
                  <a:gd name="connsiteX854" fmla="*/ 760483 w 1253076"/>
                  <a:gd name="connsiteY854" fmla="*/ 301678 h 458350"/>
                  <a:gd name="connsiteX855" fmla="*/ 760180 w 1253076"/>
                  <a:gd name="connsiteY855" fmla="*/ 300314 h 458350"/>
                  <a:gd name="connsiteX856" fmla="*/ 760634 w 1253076"/>
                  <a:gd name="connsiteY856" fmla="*/ 295465 h 458350"/>
                  <a:gd name="connsiteX857" fmla="*/ 761392 w 1253076"/>
                  <a:gd name="connsiteY857" fmla="*/ 293950 h 458350"/>
                  <a:gd name="connsiteX858" fmla="*/ 761543 w 1253076"/>
                  <a:gd name="connsiteY858" fmla="*/ 291829 h 458350"/>
                  <a:gd name="connsiteX859" fmla="*/ 762604 w 1253076"/>
                  <a:gd name="connsiteY859" fmla="*/ 289556 h 458350"/>
                  <a:gd name="connsiteX860" fmla="*/ 763361 w 1253076"/>
                  <a:gd name="connsiteY860" fmla="*/ 289556 h 458350"/>
                  <a:gd name="connsiteX861" fmla="*/ 763968 w 1253076"/>
                  <a:gd name="connsiteY861" fmla="*/ 289253 h 458350"/>
                  <a:gd name="connsiteX862" fmla="*/ 764422 w 1253076"/>
                  <a:gd name="connsiteY862" fmla="*/ 288799 h 458350"/>
                  <a:gd name="connsiteX863" fmla="*/ 765029 w 1253076"/>
                  <a:gd name="connsiteY863" fmla="*/ 289253 h 458350"/>
                  <a:gd name="connsiteX864" fmla="*/ 766544 w 1253076"/>
                  <a:gd name="connsiteY864" fmla="*/ 291526 h 458350"/>
                  <a:gd name="connsiteX865" fmla="*/ 766695 w 1253076"/>
                  <a:gd name="connsiteY865" fmla="*/ 290011 h 458350"/>
                  <a:gd name="connsiteX866" fmla="*/ 766089 w 1253076"/>
                  <a:gd name="connsiteY866" fmla="*/ 284101 h 458350"/>
                  <a:gd name="connsiteX867" fmla="*/ 763059 w 1253076"/>
                  <a:gd name="connsiteY867" fmla="*/ 280919 h 458350"/>
                  <a:gd name="connsiteX868" fmla="*/ 763211 w 1253076"/>
                  <a:gd name="connsiteY868" fmla="*/ 279707 h 458350"/>
                  <a:gd name="connsiteX869" fmla="*/ 762150 w 1253076"/>
                  <a:gd name="connsiteY869" fmla="*/ 279859 h 458350"/>
                  <a:gd name="connsiteX870" fmla="*/ 759573 w 1253076"/>
                  <a:gd name="connsiteY870" fmla="*/ 281223 h 458350"/>
                  <a:gd name="connsiteX871" fmla="*/ 756998 w 1253076"/>
                  <a:gd name="connsiteY871" fmla="*/ 286071 h 458350"/>
                  <a:gd name="connsiteX872" fmla="*/ 756846 w 1253076"/>
                  <a:gd name="connsiteY872" fmla="*/ 291829 h 458350"/>
                  <a:gd name="connsiteX873" fmla="*/ 756089 w 1253076"/>
                  <a:gd name="connsiteY873" fmla="*/ 294859 h 458350"/>
                  <a:gd name="connsiteX874" fmla="*/ 755634 w 1253076"/>
                  <a:gd name="connsiteY874" fmla="*/ 296375 h 458350"/>
                  <a:gd name="connsiteX875" fmla="*/ 755331 w 1253076"/>
                  <a:gd name="connsiteY875" fmla="*/ 297738 h 458350"/>
                  <a:gd name="connsiteX876" fmla="*/ 754574 w 1253076"/>
                  <a:gd name="connsiteY876" fmla="*/ 301072 h 458350"/>
                  <a:gd name="connsiteX877" fmla="*/ 754574 w 1253076"/>
                  <a:gd name="connsiteY877" fmla="*/ 301981 h 458350"/>
                  <a:gd name="connsiteX878" fmla="*/ 753665 w 1253076"/>
                  <a:gd name="connsiteY878" fmla="*/ 303344 h 458350"/>
                  <a:gd name="connsiteX879" fmla="*/ 751997 w 1253076"/>
                  <a:gd name="connsiteY879" fmla="*/ 305163 h 458350"/>
                  <a:gd name="connsiteX880" fmla="*/ 751240 w 1253076"/>
                  <a:gd name="connsiteY880" fmla="*/ 306527 h 458350"/>
                  <a:gd name="connsiteX881" fmla="*/ 751240 w 1253076"/>
                  <a:gd name="connsiteY881" fmla="*/ 307739 h 458350"/>
                  <a:gd name="connsiteX882" fmla="*/ 749725 w 1253076"/>
                  <a:gd name="connsiteY882" fmla="*/ 309405 h 458350"/>
                  <a:gd name="connsiteX883" fmla="*/ 749725 w 1253076"/>
                  <a:gd name="connsiteY883" fmla="*/ 310921 h 458350"/>
                  <a:gd name="connsiteX884" fmla="*/ 751391 w 1253076"/>
                  <a:gd name="connsiteY884" fmla="*/ 314103 h 458350"/>
                  <a:gd name="connsiteX885" fmla="*/ 752452 w 1253076"/>
                  <a:gd name="connsiteY885" fmla="*/ 314254 h 458350"/>
                  <a:gd name="connsiteX886" fmla="*/ 753816 w 1253076"/>
                  <a:gd name="connsiteY886" fmla="*/ 313345 h 458350"/>
                  <a:gd name="connsiteX887" fmla="*/ 755937 w 1253076"/>
                  <a:gd name="connsiteY887" fmla="*/ 314405 h 458350"/>
                  <a:gd name="connsiteX888" fmla="*/ 756998 w 1253076"/>
                  <a:gd name="connsiteY888" fmla="*/ 313496 h 458350"/>
                  <a:gd name="connsiteX889" fmla="*/ 758816 w 1253076"/>
                  <a:gd name="connsiteY889" fmla="*/ 310315 h 458350"/>
                  <a:gd name="connsiteX890" fmla="*/ 758664 w 1253076"/>
                  <a:gd name="connsiteY890" fmla="*/ 309102 h 458350"/>
                  <a:gd name="connsiteX891" fmla="*/ 759423 w 1253076"/>
                  <a:gd name="connsiteY891" fmla="*/ 308042 h 458350"/>
                  <a:gd name="connsiteX892" fmla="*/ 760180 w 1253076"/>
                  <a:gd name="connsiteY892" fmla="*/ 307739 h 458350"/>
                  <a:gd name="connsiteX893" fmla="*/ 773362 w 1253076"/>
                  <a:gd name="connsiteY893" fmla="*/ 201371 h 458350"/>
                  <a:gd name="connsiteX894" fmla="*/ 775029 w 1253076"/>
                  <a:gd name="connsiteY894" fmla="*/ 200007 h 458350"/>
                  <a:gd name="connsiteX895" fmla="*/ 775938 w 1253076"/>
                  <a:gd name="connsiteY895" fmla="*/ 196977 h 458350"/>
                  <a:gd name="connsiteX896" fmla="*/ 775332 w 1253076"/>
                  <a:gd name="connsiteY896" fmla="*/ 195613 h 458350"/>
                  <a:gd name="connsiteX897" fmla="*/ 774271 w 1253076"/>
                  <a:gd name="connsiteY897" fmla="*/ 194856 h 458350"/>
                  <a:gd name="connsiteX898" fmla="*/ 772756 w 1253076"/>
                  <a:gd name="connsiteY898" fmla="*/ 194250 h 458350"/>
                  <a:gd name="connsiteX899" fmla="*/ 770180 w 1253076"/>
                  <a:gd name="connsiteY899" fmla="*/ 194704 h 458350"/>
                  <a:gd name="connsiteX900" fmla="*/ 767453 w 1253076"/>
                  <a:gd name="connsiteY900" fmla="*/ 198341 h 458350"/>
                  <a:gd name="connsiteX901" fmla="*/ 766392 w 1253076"/>
                  <a:gd name="connsiteY901" fmla="*/ 195613 h 458350"/>
                  <a:gd name="connsiteX902" fmla="*/ 767453 w 1253076"/>
                  <a:gd name="connsiteY902" fmla="*/ 194098 h 458350"/>
                  <a:gd name="connsiteX903" fmla="*/ 766847 w 1253076"/>
                  <a:gd name="connsiteY903" fmla="*/ 192431 h 458350"/>
                  <a:gd name="connsiteX904" fmla="*/ 765331 w 1253076"/>
                  <a:gd name="connsiteY904" fmla="*/ 192128 h 458350"/>
                  <a:gd name="connsiteX905" fmla="*/ 760180 w 1253076"/>
                  <a:gd name="connsiteY905" fmla="*/ 193037 h 458350"/>
                  <a:gd name="connsiteX906" fmla="*/ 758362 w 1253076"/>
                  <a:gd name="connsiteY906" fmla="*/ 192886 h 458350"/>
                  <a:gd name="connsiteX907" fmla="*/ 756240 w 1253076"/>
                  <a:gd name="connsiteY907" fmla="*/ 195613 h 458350"/>
                  <a:gd name="connsiteX908" fmla="*/ 755634 w 1253076"/>
                  <a:gd name="connsiteY908" fmla="*/ 199704 h 458350"/>
                  <a:gd name="connsiteX909" fmla="*/ 756998 w 1253076"/>
                  <a:gd name="connsiteY909" fmla="*/ 202886 h 458350"/>
                  <a:gd name="connsiteX910" fmla="*/ 757907 w 1253076"/>
                  <a:gd name="connsiteY910" fmla="*/ 203947 h 458350"/>
                  <a:gd name="connsiteX911" fmla="*/ 760483 w 1253076"/>
                  <a:gd name="connsiteY911" fmla="*/ 201826 h 458350"/>
                  <a:gd name="connsiteX912" fmla="*/ 763816 w 1253076"/>
                  <a:gd name="connsiteY912" fmla="*/ 197129 h 458350"/>
                  <a:gd name="connsiteX913" fmla="*/ 765029 w 1253076"/>
                  <a:gd name="connsiteY913" fmla="*/ 196219 h 458350"/>
                  <a:gd name="connsiteX914" fmla="*/ 765938 w 1253076"/>
                  <a:gd name="connsiteY914" fmla="*/ 201371 h 458350"/>
                  <a:gd name="connsiteX915" fmla="*/ 764271 w 1253076"/>
                  <a:gd name="connsiteY915" fmla="*/ 203038 h 458350"/>
                  <a:gd name="connsiteX916" fmla="*/ 764422 w 1253076"/>
                  <a:gd name="connsiteY916" fmla="*/ 203644 h 458350"/>
                  <a:gd name="connsiteX917" fmla="*/ 765634 w 1253076"/>
                  <a:gd name="connsiteY917" fmla="*/ 204705 h 458350"/>
                  <a:gd name="connsiteX918" fmla="*/ 766999 w 1253076"/>
                  <a:gd name="connsiteY918" fmla="*/ 204250 h 458350"/>
                  <a:gd name="connsiteX919" fmla="*/ 767453 w 1253076"/>
                  <a:gd name="connsiteY919" fmla="*/ 203644 h 458350"/>
                  <a:gd name="connsiteX920" fmla="*/ 768513 w 1253076"/>
                  <a:gd name="connsiteY920" fmla="*/ 199856 h 458350"/>
                  <a:gd name="connsiteX921" fmla="*/ 770028 w 1253076"/>
                  <a:gd name="connsiteY921" fmla="*/ 200007 h 458350"/>
                  <a:gd name="connsiteX922" fmla="*/ 771089 w 1253076"/>
                  <a:gd name="connsiteY922" fmla="*/ 201674 h 458350"/>
                  <a:gd name="connsiteX923" fmla="*/ 773362 w 1253076"/>
                  <a:gd name="connsiteY923" fmla="*/ 201371 h 458350"/>
                  <a:gd name="connsiteX924" fmla="*/ 782301 w 1253076"/>
                  <a:gd name="connsiteY924" fmla="*/ 212887 h 458350"/>
                  <a:gd name="connsiteX925" fmla="*/ 783060 w 1253076"/>
                  <a:gd name="connsiteY925" fmla="*/ 215008 h 458350"/>
                  <a:gd name="connsiteX926" fmla="*/ 784726 w 1253076"/>
                  <a:gd name="connsiteY926" fmla="*/ 215008 h 458350"/>
                  <a:gd name="connsiteX927" fmla="*/ 784271 w 1253076"/>
                  <a:gd name="connsiteY927" fmla="*/ 213947 h 458350"/>
                  <a:gd name="connsiteX928" fmla="*/ 782453 w 1253076"/>
                  <a:gd name="connsiteY928" fmla="*/ 211826 h 458350"/>
                  <a:gd name="connsiteX929" fmla="*/ 782301 w 1253076"/>
                  <a:gd name="connsiteY929" fmla="*/ 212887 h 458350"/>
                  <a:gd name="connsiteX930" fmla="*/ 875639 w 1253076"/>
                  <a:gd name="connsiteY930" fmla="*/ 174855 h 458350"/>
                  <a:gd name="connsiteX931" fmla="*/ 877305 w 1253076"/>
                  <a:gd name="connsiteY931" fmla="*/ 174097 h 458350"/>
                  <a:gd name="connsiteX932" fmla="*/ 878214 w 1253076"/>
                  <a:gd name="connsiteY932" fmla="*/ 171218 h 458350"/>
                  <a:gd name="connsiteX933" fmla="*/ 877457 w 1253076"/>
                  <a:gd name="connsiteY933" fmla="*/ 169249 h 458350"/>
                  <a:gd name="connsiteX934" fmla="*/ 878518 w 1253076"/>
                  <a:gd name="connsiteY934" fmla="*/ 168339 h 458350"/>
                  <a:gd name="connsiteX935" fmla="*/ 875790 w 1253076"/>
                  <a:gd name="connsiteY935" fmla="*/ 167582 h 458350"/>
                  <a:gd name="connsiteX936" fmla="*/ 874124 w 1253076"/>
                  <a:gd name="connsiteY936" fmla="*/ 168188 h 458350"/>
                  <a:gd name="connsiteX937" fmla="*/ 873517 w 1253076"/>
                  <a:gd name="connsiteY937" fmla="*/ 171825 h 458350"/>
                  <a:gd name="connsiteX938" fmla="*/ 873972 w 1253076"/>
                  <a:gd name="connsiteY938" fmla="*/ 174703 h 458350"/>
                  <a:gd name="connsiteX939" fmla="*/ 875639 w 1253076"/>
                  <a:gd name="connsiteY939" fmla="*/ 174855 h 458350"/>
                  <a:gd name="connsiteX940" fmla="*/ 761241 w 1253076"/>
                  <a:gd name="connsiteY940" fmla="*/ 390772 h 458350"/>
                  <a:gd name="connsiteX941" fmla="*/ 759119 w 1253076"/>
                  <a:gd name="connsiteY941" fmla="*/ 392136 h 458350"/>
                  <a:gd name="connsiteX942" fmla="*/ 758362 w 1253076"/>
                  <a:gd name="connsiteY942" fmla="*/ 393045 h 458350"/>
                  <a:gd name="connsiteX943" fmla="*/ 757907 w 1253076"/>
                  <a:gd name="connsiteY943" fmla="*/ 394560 h 458350"/>
                  <a:gd name="connsiteX944" fmla="*/ 759423 w 1253076"/>
                  <a:gd name="connsiteY944" fmla="*/ 395015 h 458350"/>
                  <a:gd name="connsiteX945" fmla="*/ 760332 w 1253076"/>
                  <a:gd name="connsiteY945" fmla="*/ 393348 h 458350"/>
                  <a:gd name="connsiteX946" fmla="*/ 761846 w 1253076"/>
                  <a:gd name="connsiteY946" fmla="*/ 391984 h 458350"/>
                  <a:gd name="connsiteX947" fmla="*/ 765180 w 1253076"/>
                  <a:gd name="connsiteY947" fmla="*/ 391530 h 458350"/>
                  <a:gd name="connsiteX948" fmla="*/ 764725 w 1253076"/>
                  <a:gd name="connsiteY948" fmla="*/ 391075 h 458350"/>
                  <a:gd name="connsiteX949" fmla="*/ 763361 w 1253076"/>
                  <a:gd name="connsiteY949" fmla="*/ 390620 h 458350"/>
                  <a:gd name="connsiteX950" fmla="*/ 761241 w 1253076"/>
                  <a:gd name="connsiteY950" fmla="*/ 390772 h 458350"/>
                  <a:gd name="connsiteX951" fmla="*/ 769726 w 1253076"/>
                  <a:gd name="connsiteY951" fmla="*/ 388348 h 458350"/>
                  <a:gd name="connsiteX952" fmla="*/ 770180 w 1253076"/>
                  <a:gd name="connsiteY952" fmla="*/ 386075 h 458350"/>
                  <a:gd name="connsiteX953" fmla="*/ 766999 w 1253076"/>
                  <a:gd name="connsiteY953" fmla="*/ 385166 h 458350"/>
                  <a:gd name="connsiteX954" fmla="*/ 764725 w 1253076"/>
                  <a:gd name="connsiteY954" fmla="*/ 385620 h 458350"/>
                  <a:gd name="connsiteX955" fmla="*/ 763968 w 1253076"/>
                  <a:gd name="connsiteY955" fmla="*/ 386226 h 458350"/>
                  <a:gd name="connsiteX956" fmla="*/ 761846 w 1253076"/>
                  <a:gd name="connsiteY956" fmla="*/ 387893 h 458350"/>
                  <a:gd name="connsiteX957" fmla="*/ 761695 w 1253076"/>
                  <a:gd name="connsiteY957" fmla="*/ 389408 h 458350"/>
                  <a:gd name="connsiteX958" fmla="*/ 769119 w 1253076"/>
                  <a:gd name="connsiteY958" fmla="*/ 389560 h 458350"/>
                  <a:gd name="connsiteX959" fmla="*/ 769726 w 1253076"/>
                  <a:gd name="connsiteY959" fmla="*/ 388348 h 458350"/>
                  <a:gd name="connsiteX960" fmla="*/ 864426 w 1253076"/>
                  <a:gd name="connsiteY960" fmla="*/ 56214 h 458350"/>
                  <a:gd name="connsiteX961" fmla="*/ 864426 w 1253076"/>
                  <a:gd name="connsiteY961" fmla="*/ 56972 h 458350"/>
                  <a:gd name="connsiteX962" fmla="*/ 865032 w 1253076"/>
                  <a:gd name="connsiteY962" fmla="*/ 57730 h 458350"/>
                  <a:gd name="connsiteX963" fmla="*/ 865941 w 1253076"/>
                  <a:gd name="connsiteY963" fmla="*/ 58487 h 458350"/>
                  <a:gd name="connsiteX964" fmla="*/ 866396 w 1253076"/>
                  <a:gd name="connsiteY964" fmla="*/ 58184 h 458350"/>
                  <a:gd name="connsiteX965" fmla="*/ 866548 w 1253076"/>
                  <a:gd name="connsiteY965" fmla="*/ 57730 h 458350"/>
                  <a:gd name="connsiteX966" fmla="*/ 866548 w 1253076"/>
                  <a:gd name="connsiteY966" fmla="*/ 56972 h 458350"/>
                  <a:gd name="connsiteX967" fmla="*/ 865184 w 1253076"/>
                  <a:gd name="connsiteY967" fmla="*/ 55760 h 458350"/>
                  <a:gd name="connsiteX968" fmla="*/ 864426 w 1253076"/>
                  <a:gd name="connsiteY968" fmla="*/ 56214 h 458350"/>
                  <a:gd name="connsiteX969" fmla="*/ 862305 w 1253076"/>
                  <a:gd name="connsiteY969" fmla="*/ 50002 h 458350"/>
                  <a:gd name="connsiteX970" fmla="*/ 862456 w 1253076"/>
                  <a:gd name="connsiteY970" fmla="*/ 51366 h 458350"/>
                  <a:gd name="connsiteX971" fmla="*/ 864275 w 1253076"/>
                  <a:gd name="connsiteY971" fmla="*/ 51517 h 458350"/>
                  <a:gd name="connsiteX972" fmla="*/ 865335 w 1253076"/>
                  <a:gd name="connsiteY972" fmla="*/ 50911 h 458350"/>
                  <a:gd name="connsiteX973" fmla="*/ 866244 w 1253076"/>
                  <a:gd name="connsiteY973" fmla="*/ 46972 h 458350"/>
                  <a:gd name="connsiteX974" fmla="*/ 868214 w 1253076"/>
                  <a:gd name="connsiteY974" fmla="*/ 43941 h 458350"/>
                  <a:gd name="connsiteX975" fmla="*/ 867305 w 1253076"/>
                  <a:gd name="connsiteY975" fmla="*/ 41668 h 458350"/>
                  <a:gd name="connsiteX976" fmla="*/ 866699 w 1253076"/>
                  <a:gd name="connsiteY976" fmla="*/ 38789 h 458350"/>
                  <a:gd name="connsiteX977" fmla="*/ 865184 w 1253076"/>
                  <a:gd name="connsiteY977" fmla="*/ 37274 h 458350"/>
                  <a:gd name="connsiteX978" fmla="*/ 863669 w 1253076"/>
                  <a:gd name="connsiteY978" fmla="*/ 36971 h 458350"/>
                  <a:gd name="connsiteX979" fmla="*/ 862608 w 1253076"/>
                  <a:gd name="connsiteY979" fmla="*/ 40608 h 458350"/>
                  <a:gd name="connsiteX980" fmla="*/ 862608 w 1253076"/>
                  <a:gd name="connsiteY980" fmla="*/ 42578 h 458350"/>
                  <a:gd name="connsiteX981" fmla="*/ 863820 w 1253076"/>
                  <a:gd name="connsiteY981" fmla="*/ 44244 h 458350"/>
                  <a:gd name="connsiteX982" fmla="*/ 865032 w 1253076"/>
                  <a:gd name="connsiteY982" fmla="*/ 44850 h 458350"/>
                  <a:gd name="connsiteX983" fmla="*/ 863820 w 1253076"/>
                  <a:gd name="connsiteY983" fmla="*/ 47426 h 458350"/>
                  <a:gd name="connsiteX984" fmla="*/ 862305 w 1253076"/>
                  <a:gd name="connsiteY984" fmla="*/ 50002 h 458350"/>
                  <a:gd name="connsiteX985" fmla="*/ 862911 w 1253076"/>
                  <a:gd name="connsiteY985" fmla="*/ 56517 h 458350"/>
                  <a:gd name="connsiteX986" fmla="*/ 862911 w 1253076"/>
                  <a:gd name="connsiteY986" fmla="*/ 55305 h 458350"/>
                  <a:gd name="connsiteX987" fmla="*/ 863517 w 1253076"/>
                  <a:gd name="connsiteY987" fmla="*/ 54093 h 458350"/>
                  <a:gd name="connsiteX988" fmla="*/ 862001 w 1253076"/>
                  <a:gd name="connsiteY988" fmla="*/ 51820 h 458350"/>
                  <a:gd name="connsiteX989" fmla="*/ 860638 w 1253076"/>
                  <a:gd name="connsiteY989" fmla="*/ 50760 h 458350"/>
                  <a:gd name="connsiteX990" fmla="*/ 861244 w 1253076"/>
                  <a:gd name="connsiteY990" fmla="*/ 53790 h 458350"/>
                  <a:gd name="connsiteX991" fmla="*/ 862911 w 1253076"/>
                  <a:gd name="connsiteY991" fmla="*/ 56517 h 458350"/>
                  <a:gd name="connsiteX992" fmla="*/ 786393 w 1253076"/>
                  <a:gd name="connsiteY992" fmla="*/ 390923 h 458350"/>
                  <a:gd name="connsiteX993" fmla="*/ 788818 w 1253076"/>
                  <a:gd name="connsiteY993" fmla="*/ 390772 h 458350"/>
                  <a:gd name="connsiteX994" fmla="*/ 790181 w 1253076"/>
                  <a:gd name="connsiteY994" fmla="*/ 393651 h 458350"/>
                  <a:gd name="connsiteX995" fmla="*/ 792454 w 1253076"/>
                  <a:gd name="connsiteY995" fmla="*/ 393045 h 458350"/>
                  <a:gd name="connsiteX996" fmla="*/ 793515 w 1253076"/>
                  <a:gd name="connsiteY996" fmla="*/ 392136 h 458350"/>
                  <a:gd name="connsiteX997" fmla="*/ 794575 w 1253076"/>
                  <a:gd name="connsiteY997" fmla="*/ 389257 h 458350"/>
                  <a:gd name="connsiteX998" fmla="*/ 796242 w 1253076"/>
                  <a:gd name="connsiteY998" fmla="*/ 387590 h 458350"/>
                  <a:gd name="connsiteX999" fmla="*/ 796696 w 1253076"/>
                  <a:gd name="connsiteY999" fmla="*/ 384863 h 458350"/>
                  <a:gd name="connsiteX1000" fmla="*/ 796242 w 1253076"/>
                  <a:gd name="connsiteY1000" fmla="*/ 384256 h 458350"/>
                  <a:gd name="connsiteX1001" fmla="*/ 795635 w 1253076"/>
                  <a:gd name="connsiteY1001" fmla="*/ 384105 h 458350"/>
                  <a:gd name="connsiteX1002" fmla="*/ 794878 w 1253076"/>
                  <a:gd name="connsiteY1002" fmla="*/ 384105 h 458350"/>
                  <a:gd name="connsiteX1003" fmla="*/ 791393 w 1253076"/>
                  <a:gd name="connsiteY1003" fmla="*/ 388499 h 458350"/>
                  <a:gd name="connsiteX1004" fmla="*/ 790938 w 1253076"/>
                  <a:gd name="connsiteY1004" fmla="*/ 388348 h 458350"/>
                  <a:gd name="connsiteX1005" fmla="*/ 790181 w 1253076"/>
                  <a:gd name="connsiteY1005" fmla="*/ 387287 h 458350"/>
                  <a:gd name="connsiteX1006" fmla="*/ 788666 w 1253076"/>
                  <a:gd name="connsiteY1006" fmla="*/ 387287 h 458350"/>
                  <a:gd name="connsiteX1007" fmla="*/ 787453 w 1253076"/>
                  <a:gd name="connsiteY1007" fmla="*/ 388196 h 458350"/>
                  <a:gd name="connsiteX1008" fmla="*/ 786393 w 1253076"/>
                  <a:gd name="connsiteY1008" fmla="*/ 390923 h 458350"/>
                  <a:gd name="connsiteX1009" fmla="*/ 789727 w 1253076"/>
                  <a:gd name="connsiteY1009" fmla="*/ 323194 h 458350"/>
                  <a:gd name="connsiteX1010" fmla="*/ 788968 w 1253076"/>
                  <a:gd name="connsiteY1010" fmla="*/ 321224 h 458350"/>
                  <a:gd name="connsiteX1011" fmla="*/ 787605 w 1253076"/>
                  <a:gd name="connsiteY1011" fmla="*/ 320618 h 458350"/>
                  <a:gd name="connsiteX1012" fmla="*/ 787453 w 1253076"/>
                  <a:gd name="connsiteY1012" fmla="*/ 322285 h 458350"/>
                  <a:gd name="connsiteX1013" fmla="*/ 788363 w 1253076"/>
                  <a:gd name="connsiteY1013" fmla="*/ 323042 h 458350"/>
                  <a:gd name="connsiteX1014" fmla="*/ 789423 w 1253076"/>
                  <a:gd name="connsiteY1014" fmla="*/ 324557 h 458350"/>
                  <a:gd name="connsiteX1015" fmla="*/ 789727 w 1253076"/>
                  <a:gd name="connsiteY1015" fmla="*/ 323194 h 458350"/>
                  <a:gd name="connsiteX1016" fmla="*/ 829425 w 1253076"/>
                  <a:gd name="connsiteY1016" fmla="*/ 63033 h 458350"/>
                  <a:gd name="connsiteX1017" fmla="*/ 829879 w 1253076"/>
                  <a:gd name="connsiteY1017" fmla="*/ 64245 h 458350"/>
                  <a:gd name="connsiteX1018" fmla="*/ 829727 w 1253076"/>
                  <a:gd name="connsiteY1018" fmla="*/ 66669 h 458350"/>
                  <a:gd name="connsiteX1019" fmla="*/ 833061 w 1253076"/>
                  <a:gd name="connsiteY1019" fmla="*/ 68184 h 458350"/>
                  <a:gd name="connsiteX1020" fmla="*/ 833667 w 1253076"/>
                  <a:gd name="connsiteY1020" fmla="*/ 67427 h 458350"/>
                  <a:gd name="connsiteX1021" fmla="*/ 833213 w 1253076"/>
                  <a:gd name="connsiteY1021" fmla="*/ 66366 h 458350"/>
                  <a:gd name="connsiteX1022" fmla="*/ 831697 w 1253076"/>
                  <a:gd name="connsiteY1022" fmla="*/ 63790 h 458350"/>
                  <a:gd name="connsiteX1023" fmla="*/ 830486 w 1253076"/>
                  <a:gd name="connsiteY1023" fmla="*/ 61063 h 458350"/>
                  <a:gd name="connsiteX1024" fmla="*/ 828516 w 1253076"/>
                  <a:gd name="connsiteY1024" fmla="*/ 59396 h 458350"/>
                  <a:gd name="connsiteX1025" fmla="*/ 828213 w 1253076"/>
                  <a:gd name="connsiteY1025" fmla="*/ 60760 h 458350"/>
                  <a:gd name="connsiteX1026" fmla="*/ 828516 w 1253076"/>
                  <a:gd name="connsiteY1026" fmla="*/ 61972 h 458350"/>
                  <a:gd name="connsiteX1027" fmla="*/ 829425 w 1253076"/>
                  <a:gd name="connsiteY1027" fmla="*/ 63033 h 458350"/>
                  <a:gd name="connsiteX1028" fmla="*/ 649115 w 1253076"/>
                  <a:gd name="connsiteY1028" fmla="*/ 232281 h 458350"/>
                  <a:gd name="connsiteX1029" fmla="*/ 647600 w 1253076"/>
                  <a:gd name="connsiteY1029" fmla="*/ 232736 h 458350"/>
                  <a:gd name="connsiteX1030" fmla="*/ 646388 w 1253076"/>
                  <a:gd name="connsiteY1030" fmla="*/ 233645 h 458350"/>
                  <a:gd name="connsiteX1031" fmla="*/ 645630 w 1253076"/>
                  <a:gd name="connsiteY1031" fmla="*/ 234706 h 458350"/>
                  <a:gd name="connsiteX1032" fmla="*/ 645630 w 1253076"/>
                  <a:gd name="connsiteY1032" fmla="*/ 235918 h 458350"/>
                  <a:gd name="connsiteX1033" fmla="*/ 646843 w 1253076"/>
                  <a:gd name="connsiteY1033" fmla="*/ 238191 h 458350"/>
                  <a:gd name="connsiteX1034" fmla="*/ 647600 w 1253076"/>
                  <a:gd name="connsiteY1034" fmla="*/ 240312 h 458350"/>
                  <a:gd name="connsiteX1035" fmla="*/ 646539 w 1253076"/>
                  <a:gd name="connsiteY1035" fmla="*/ 243342 h 458350"/>
                  <a:gd name="connsiteX1036" fmla="*/ 646236 w 1253076"/>
                  <a:gd name="connsiteY1036" fmla="*/ 246524 h 458350"/>
                  <a:gd name="connsiteX1037" fmla="*/ 646843 w 1253076"/>
                  <a:gd name="connsiteY1037" fmla="*/ 249858 h 458350"/>
                  <a:gd name="connsiteX1038" fmla="*/ 647752 w 1253076"/>
                  <a:gd name="connsiteY1038" fmla="*/ 253040 h 458350"/>
                  <a:gd name="connsiteX1039" fmla="*/ 649267 w 1253076"/>
                  <a:gd name="connsiteY1039" fmla="*/ 255312 h 458350"/>
                  <a:gd name="connsiteX1040" fmla="*/ 651236 w 1253076"/>
                  <a:gd name="connsiteY1040" fmla="*/ 256828 h 458350"/>
                  <a:gd name="connsiteX1041" fmla="*/ 657903 w 1253076"/>
                  <a:gd name="connsiteY1041" fmla="*/ 255161 h 458350"/>
                  <a:gd name="connsiteX1042" fmla="*/ 661236 w 1253076"/>
                  <a:gd name="connsiteY1042" fmla="*/ 254706 h 458350"/>
                  <a:gd name="connsiteX1043" fmla="*/ 662752 w 1253076"/>
                  <a:gd name="connsiteY1043" fmla="*/ 255161 h 458350"/>
                  <a:gd name="connsiteX1044" fmla="*/ 664115 w 1253076"/>
                  <a:gd name="connsiteY1044" fmla="*/ 256222 h 458350"/>
                  <a:gd name="connsiteX1045" fmla="*/ 664873 w 1253076"/>
                  <a:gd name="connsiteY1045" fmla="*/ 257282 h 458350"/>
                  <a:gd name="connsiteX1046" fmla="*/ 664873 w 1253076"/>
                  <a:gd name="connsiteY1046" fmla="*/ 258797 h 458350"/>
                  <a:gd name="connsiteX1047" fmla="*/ 664570 w 1253076"/>
                  <a:gd name="connsiteY1047" fmla="*/ 260464 h 458350"/>
                  <a:gd name="connsiteX1048" fmla="*/ 664570 w 1253076"/>
                  <a:gd name="connsiteY1048" fmla="*/ 262131 h 458350"/>
                  <a:gd name="connsiteX1049" fmla="*/ 664873 w 1253076"/>
                  <a:gd name="connsiteY1049" fmla="*/ 263192 h 458350"/>
                  <a:gd name="connsiteX1050" fmla="*/ 668055 w 1253076"/>
                  <a:gd name="connsiteY1050" fmla="*/ 269555 h 458350"/>
                  <a:gd name="connsiteX1051" fmla="*/ 668358 w 1253076"/>
                  <a:gd name="connsiteY1051" fmla="*/ 270465 h 458350"/>
                  <a:gd name="connsiteX1052" fmla="*/ 668055 w 1253076"/>
                  <a:gd name="connsiteY1052" fmla="*/ 281071 h 458350"/>
                  <a:gd name="connsiteX1053" fmla="*/ 667601 w 1253076"/>
                  <a:gd name="connsiteY1053" fmla="*/ 283798 h 458350"/>
                  <a:gd name="connsiteX1054" fmla="*/ 666237 w 1253076"/>
                  <a:gd name="connsiteY1054" fmla="*/ 286677 h 458350"/>
                  <a:gd name="connsiteX1055" fmla="*/ 665479 w 1253076"/>
                  <a:gd name="connsiteY1055" fmla="*/ 289708 h 458350"/>
                  <a:gd name="connsiteX1056" fmla="*/ 665631 w 1253076"/>
                  <a:gd name="connsiteY1056" fmla="*/ 293344 h 458350"/>
                  <a:gd name="connsiteX1057" fmla="*/ 663206 w 1253076"/>
                  <a:gd name="connsiteY1057" fmla="*/ 298799 h 458350"/>
                  <a:gd name="connsiteX1058" fmla="*/ 661995 w 1253076"/>
                  <a:gd name="connsiteY1058" fmla="*/ 302132 h 458350"/>
                  <a:gd name="connsiteX1059" fmla="*/ 661236 w 1253076"/>
                  <a:gd name="connsiteY1059" fmla="*/ 305163 h 458350"/>
                  <a:gd name="connsiteX1060" fmla="*/ 661691 w 1253076"/>
                  <a:gd name="connsiteY1060" fmla="*/ 308193 h 458350"/>
                  <a:gd name="connsiteX1061" fmla="*/ 664115 w 1253076"/>
                  <a:gd name="connsiteY1061" fmla="*/ 310769 h 458350"/>
                  <a:gd name="connsiteX1062" fmla="*/ 666692 w 1253076"/>
                  <a:gd name="connsiteY1062" fmla="*/ 313193 h 458350"/>
                  <a:gd name="connsiteX1063" fmla="*/ 671086 w 1253076"/>
                  <a:gd name="connsiteY1063" fmla="*/ 315466 h 458350"/>
                  <a:gd name="connsiteX1064" fmla="*/ 672449 w 1253076"/>
                  <a:gd name="connsiteY1064" fmla="*/ 315315 h 458350"/>
                  <a:gd name="connsiteX1065" fmla="*/ 673965 w 1253076"/>
                  <a:gd name="connsiteY1065" fmla="*/ 314557 h 458350"/>
                  <a:gd name="connsiteX1066" fmla="*/ 676389 w 1253076"/>
                  <a:gd name="connsiteY1066" fmla="*/ 312739 h 458350"/>
                  <a:gd name="connsiteX1067" fmla="*/ 677601 w 1253076"/>
                  <a:gd name="connsiteY1067" fmla="*/ 312284 h 458350"/>
                  <a:gd name="connsiteX1068" fmla="*/ 681086 w 1253076"/>
                  <a:gd name="connsiteY1068" fmla="*/ 312284 h 458350"/>
                  <a:gd name="connsiteX1069" fmla="*/ 684420 w 1253076"/>
                  <a:gd name="connsiteY1069" fmla="*/ 311830 h 458350"/>
                  <a:gd name="connsiteX1070" fmla="*/ 685934 w 1253076"/>
                  <a:gd name="connsiteY1070" fmla="*/ 311375 h 458350"/>
                  <a:gd name="connsiteX1071" fmla="*/ 687450 w 1253076"/>
                  <a:gd name="connsiteY1071" fmla="*/ 311375 h 458350"/>
                  <a:gd name="connsiteX1072" fmla="*/ 690631 w 1253076"/>
                  <a:gd name="connsiteY1072" fmla="*/ 312739 h 458350"/>
                  <a:gd name="connsiteX1073" fmla="*/ 690329 w 1253076"/>
                  <a:gd name="connsiteY1073" fmla="*/ 310011 h 458350"/>
                  <a:gd name="connsiteX1074" fmla="*/ 689571 w 1253076"/>
                  <a:gd name="connsiteY1074" fmla="*/ 307284 h 458350"/>
                  <a:gd name="connsiteX1075" fmla="*/ 686541 w 1253076"/>
                  <a:gd name="connsiteY1075" fmla="*/ 300617 h 458350"/>
                  <a:gd name="connsiteX1076" fmla="*/ 686541 w 1253076"/>
                  <a:gd name="connsiteY1076" fmla="*/ 299102 h 458350"/>
                  <a:gd name="connsiteX1077" fmla="*/ 687298 w 1253076"/>
                  <a:gd name="connsiteY1077" fmla="*/ 295617 h 458350"/>
                  <a:gd name="connsiteX1078" fmla="*/ 689874 w 1253076"/>
                  <a:gd name="connsiteY1078" fmla="*/ 289253 h 458350"/>
                  <a:gd name="connsiteX1079" fmla="*/ 690329 w 1253076"/>
                  <a:gd name="connsiteY1079" fmla="*/ 286223 h 458350"/>
                  <a:gd name="connsiteX1080" fmla="*/ 689420 w 1253076"/>
                  <a:gd name="connsiteY1080" fmla="*/ 280768 h 458350"/>
                  <a:gd name="connsiteX1081" fmla="*/ 688813 w 1253076"/>
                  <a:gd name="connsiteY1081" fmla="*/ 271828 h 458350"/>
                  <a:gd name="connsiteX1082" fmla="*/ 689420 w 1253076"/>
                  <a:gd name="connsiteY1082" fmla="*/ 265464 h 458350"/>
                  <a:gd name="connsiteX1083" fmla="*/ 690783 w 1253076"/>
                  <a:gd name="connsiteY1083" fmla="*/ 262585 h 458350"/>
                  <a:gd name="connsiteX1084" fmla="*/ 690783 w 1253076"/>
                  <a:gd name="connsiteY1084" fmla="*/ 261525 h 458350"/>
                  <a:gd name="connsiteX1085" fmla="*/ 689571 w 1253076"/>
                  <a:gd name="connsiteY1085" fmla="*/ 251676 h 458350"/>
                  <a:gd name="connsiteX1086" fmla="*/ 688662 w 1253076"/>
                  <a:gd name="connsiteY1086" fmla="*/ 248949 h 458350"/>
                  <a:gd name="connsiteX1087" fmla="*/ 686995 w 1253076"/>
                  <a:gd name="connsiteY1087" fmla="*/ 246373 h 458350"/>
                  <a:gd name="connsiteX1088" fmla="*/ 685783 w 1253076"/>
                  <a:gd name="connsiteY1088" fmla="*/ 243645 h 458350"/>
                  <a:gd name="connsiteX1089" fmla="*/ 685934 w 1253076"/>
                  <a:gd name="connsiteY1089" fmla="*/ 240766 h 458350"/>
                  <a:gd name="connsiteX1090" fmla="*/ 688208 w 1253076"/>
                  <a:gd name="connsiteY1090" fmla="*/ 238645 h 458350"/>
                  <a:gd name="connsiteX1091" fmla="*/ 693814 w 1253076"/>
                  <a:gd name="connsiteY1091" fmla="*/ 234857 h 458350"/>
                  <a:gd name="connsiteX1092" fmla="*/ 696844 w 1253076"/>
                  <a:gd name="connsiteY1092" fmla="*/ 233039 h 458350"/>
                  <a:gd name="connsiteX1093" fmla="*/ 699875 w 1253076"/>
                  <a:gd name="connsiteY1093" fmla="*/ 232281 h 458350"/>
                  <a:gd name="connsiteX1094" fmla="*/ 703056 w 1253076"/>
                  <a:gd name="connsiteY1094" fmla="*/ 232433 h 458350"/>
                  <a:gd name="connsiteX1095" fmla="*/ 706087 w 1253076"/>
                  <a:gd name="connsiteY1095" fmla="*/ 233039 h 458350"/>
                  <a:gd name="connsiteX1096" fmla="*/ 707753 w 1253076"/>
                  <a:gd name="connsiteY1096" fmla="*/ 235312 h 458350"/>
                  <a:gd name="connsiteX1097" fmla="*/ 708208 w 1253076"/>
                  <a:gd name="connsiteY1097" fmla="*/ 238797 h 458350"/>
                  <a:gd name="connsiteX1098" fmla="*/ 708360 w 1253076"/>
                  <a:gd name="connsiteY1098" fmla="*/ 242282 h 458350"/>
                  <a:gd name="connsiteX1099" fmla="*/ 707905 w 1253076"/>
                  <a:gd name="connsiteY1099" fmla="*/ 246524 h 458350"/>
                  <a:gd name="connsiteX1100" fmla="*/ 707451 w 1253076"/>
                  <a:gd name="connsiteY1100" fmla="*/ 247585 h 458350"/>
                  <a:gd name="connsiteX1101" fmla="*/ 703814 w 1253076"/>
                  <a:gd name="connsiteY1101" fmla="*/ 253040 h 458350"/>
                  <a:gd name="connsiteX1102" fmla="*/ 703360 w 1253076"/>
                  <a:gd name="connsiteY1102" fmla="*/ 254555 h 458350"/>
                  <a:gd name="connsiteX1103" fmla="*/ 703360 w 1253076"/>
                  <a:gd name="connsiteY1103" fmla="*/ 256222 h 458350"/>
                  <a:gd name="connsiteX1104" fmla="*/ 703965 w 1253076"/>
                  <a:gd name="connsiteY1104" fmla="*/ 257131 h 458350"/>
                  <a:gd name="connsiteX1105" fmla="*/ 714875 w 1253076"/>
                  <a:gd name="connsiteY1105" fmla="*/ 266980 h 458350"/>
                  <a:gd name="connsiteX1106" fmla="*/ 717754 w 1253076"/>
                  <a:gd name="connsiteY1106" fmla="*/ 268798 h 458350"/>
                  <a:gd name="connsiteX1107" fmla="*/ 721087 w 1253076"/>
                  <a:gd name="connsiteY1107" fmla="*/ 269555 h 458350"/>
                  <a:gd name="connsiteX1108" fmla="*/ 723360 w 1253076"/>
                  <a:gd name="connsiteY1108" fmla="*/ 271677 h 458350"/>
                  <a:gd name="connsiteX1109" fmla="*/ 723209 w 1253076"/>
                  <a:gd name="connsiteY1109" fmla="*/ 273343 h 458350"/>
                  <a:gd name="connsiteX1110" fmla="*/ 722451 w 1253076"/>
                  <a:gd name="connsiteY1110" fmla="*/ 274859 h 458350"/>
                  <a:gd name="connsiteX1111" fmla="*/ 721693 w 1253076"/>
                  <a:gd name="connsiteY1111" fmla="*/ 275768 h 458350"/>
                  <a:gd name="connsiteX1112" fmla="*/ 721239 w 1253076"/>
                  <a:gd name="connsiteY1112" fmla="*/ 276828 h 458350"/>
                  <a:gd name="connsiteX1113" fmla="*/ 719724 w 1253076"/>
                  <a:gd name="connsiteY1113" fmla="*/ 285011 h 458350"/>
                  <a:gd name="connsiteX1114" fmla="*/ 720482 w 1253076"/>
                  <a:gd name="connsiteY1114" fmla="*/ 287738 h 458350"/>
                  <a:gd name="connsiteX1115" fmla="*/ 722451 w 1253076"/>
                  <a:gd name="connsiteY1115" fmla="*/ 289859 h 458350"/>
                  <a:gd name="connsiteX1116" fmla="*/ 723966 w 1253076"/>
                  <a:gd name="connsiteY1116" fmla="*/ 290617 h 458350"/>
                  <a:gd name="connsiteX1117" fmla="*/ 726694 w 1253076"/>
                  <a:gd name="connsiteY1117" fmla="*/ 291526 h 458350"/>
                  <a:gd name="connsiteX1118" fmla="*/ 731391 w 1253076"/>
                  <a:gd name="connsiteY1118" fmla="*/ 292435 h 458350"/>
                  <a:gd name="connsiteX1119" fmla="*/ 734725 w 1253076"/>
                  <a:gd name="connsiteY1119" fmla="*/ 291980 h 458350"/>
                  <a:gd name="connsiteX1120" fmla="*/ 735634 w 1253076"/>
                  <a:gd name="connsiteY1120" fmla="*/ 290920 h 458350"/>
                  <a:gd name="connsiteX1121" fmla="*/ 735027 w 1253076"/>
                  <a:gd name="connsiteY1121" fmla="*/ 287738 h 458350"/>
                  <a:gd name="connsiteX1122" fmla="*/ 735179 w 1253076"/>
                  <a:gd name="connsiteY1122" fmla="*/ 286223 h 458350"/>
                  <a:gd name="connsiteX1123" fmla="*/ 736845 w 1253076"/>
                  <a:gd name="connsiteY1123" fmla="*/ 284101 h 458350"/>
                  <a:gd name="connsiteX1124" fmla="*/ 739422 w 1253076"/>
                  <a:gd name="connsiteY1124" fmla="*/ 282889 h 458350"/>
                  <a:gd name="connsiteX1125" fmla="*/ 746694 w 1253076"/>
                  <a:gd name="connsiteY1125" fmla="*/ 280919 h 458350"/>
                  <a:gd name="connsiteX1126" fmla="*/ 750634 w 1253076"/>
                  <a:gd name="connsiteY1126" fmla="*/ 280768 h 458350"/>
                  <a:gd name="connsiteX1127" fmla="*/ 752149 w 1253076"/>
                  <a:gd name="connsiteY1127" fmla="*/ 280919 h 458350"/>
                  <a:gd name="connsiteX1128" fmla="*/ 753513 w 1253076"/>
                  <a:gd name="connsiteY1128" fmla="*/ 280616 h 458350"/>
                  <a:gd name="connsiteX1129" fmla="*/ 753361 w 1253076"/>
                  <a:gd name="connsiteY1129" fmla="*/ 279707 h 458350"/>
                  <a:gd name="connsiteX1130" fmla="*/ 753513 w 1253076"/>
                  <a:gd name="connsiteY1130" fmla="*/ 278798 h 458350"/>
                  <a:gd name="connsiteX1131" fmla="*/ 756240 w 1253076"/>
                  <a:gd name="connsiteY1131" fmla="*/ 280162 h 458350"/>
                  <a:gd name="connsiteX1132" fmla="*/ 757755 w 1253076"/>
                  <a:gd name="connsiteY1132" fmla="*/ 280162 h 458350"/>
                  <a:gd name="connsiteX1133" fmla="*/ 758513 w 1253076"/>
                  <a:gd name="connsiteY1133" fmla="*/ 278950 h 458350"/>
                  <a:gd name="connsiteX1134" fmla="*/ 758513 w 1253076"/>
                  <a:gd name="connsiteY1134" fmla="*/ 275616 h 458350"/>
                  <a:gd name="connsiteX1135" fmla="*/ 758362 w 1253076"/>
                  <a:gd name="connsiteY1135" fmla="*/ 273949 h 458350"/>
                  <a:gd name="connsiteX1136" fmla="*/ 757907 w 1253076"/>
                  <a:gd name="connsiteY1136" fmla="*/ 272434 h 458350"/>
                  <a:gd name="connsiteX1137" fmla="*/ 757149 w 1253076"/>
                  <a:gd name="connsiteY1137" fmla="*/ 271222 h 458350"/>
                  <a:gd name="connsiteX1138" fmla="*/ 755785 w 1253076"/>
                  <a:gd name="connsiteY1138" fmla="*/ 270919 h 458350"/>
                  <a:gd name="connsiteX1139" fmla="*/ 755179 w 1253076"/>
                  <a:gd name="connsiteY1139" fmla="*/ 271677 h 458350"/>
                  <a:gd name="connsiteX1140" fmla="*/ 754422 w 1253076"/>
                  <a:gd name="connsiteY1140" fmla="*/ 272131 h 458350"/>
                  <a:gd name="connsiteX1141" fmla="*/ 752756 w 1253076"/>
                  <a:gd name="connsiteY1141" fmla="*/ 271677 h 458350"/>
                  <a:gd name="connsiteX1142" fmla="*/ 751695 w 1253076"/>
                  <a:gd name="connsiteY1142" fmla="*/ 270010 h 458350"/>
                  <a:gd name="connsiteX1143" fmla="*/ 750482 w 1253076"/>
                  <a:gd name="connsiteY1143" fmla="*/ 269101 h 458350"/>
                  <a:gd name="connsiteX1144" fmla="*/ 750634 w 1253076"/>
                  <a:gd name="connsiteY1144" fmla="*/ 267434 h 458350"/>
                  <a:gd name="connsiteX1145" fmla="*/ 749725 w 1253076"/>
                  <a:gd name="connsiteY1145" fmla="*/ 266373 h 458350"/>
                  <a:gd name="connsiteX1146" fmla="*/ 748361 w 1253076"/>
                  <a:gd name="connsiteY1146" fmla="*/ 265616 h 458350"/>
                  <a:gd name="connsiteX1147" fmla="*/ 745785 w 1253076"/>
                  <a:gd name="connsiteY1147" fmla="*/ 262585 h 458350"/>
                  <a:gd name="connsiteX1148" fmla="*/ 744421 w 1253076"/>
                  <a:gd name="connsiteY1148" fmla="*/ 261828 h 458350"/>
                  <a:gd name="connsiteX1149" fmla="*/ 742906 w 1253076"/>
                  <a:gd name="connsiteY1149" fmla="*/ 261373 h 458350"/>
                  <a:gd name="connsiteX1150" fmla="*/ 741846 w 1253076"/>
                  <a:gd name="connsiteY1150" fmla="*/ 260464 h 458350"/>
                  <a:gd name="connsiteX1151" fmla="*/ 740937 w 1253076"/>
                  <a:gd name="connsiteY1151" fmla="*/ 259404 h 458350"/>
                  <a:gd name="connsiteX1152" fmla="*/ 740937 w 1253076"/>
                  <a:gd name="connsiteY1152" fmla="*/ 258191 h 458350"/>
                  <a:gd name="connsiteX1153" fmla="*/ 741240 w 1253076"/>
                  <a:gd name="connsiteY1153" fmla="*/ 256828 h 458350"/>
                  <a:gd name="connsiteX1154" fmla="*/ 742603 w 1253076"/>
                  <a:gd name="connsiteY1154" fmla="*/ 252888 h 458350"/>
                  <a:gd name="connsiteX1155" fmla="*/ 742755 w 1253076"/>
                  <a:gd name="connsiteY1155" fmla="*/ 250009 h 458350"/>
                  <a:gd name="connsiteX1156" fmla="*/ 745028 w 1253076"/>
                  <a:gd name="connsiteY1156" fmla="*/ 248040 h 458350"/>
                  <a:gd name="connsiteX1157" fmla="*/ 744573 w 1253076"/>
                  <a:gd name="connsiteY1157" fmla="*/ 246373 h 458350"/>
                  <a:gd name="connsiteX1158" fmla="*/ 742603 w 1253076"/>
                  <a:gd name="connsiteY1158" fmla="*/ 243948 h 458350"/>
                  <a:gd name="connsiteX1159" fmla="*/ 742149 w 1253076"/>
                  <a:gd name="connsiteY1159" fmla="*/ 242585 h 458350"/>
                  <a:gd name="connsiteX1160" fmla="*/ 742452 w 1253076"/>
                  <a:gd name="connsiteY1160" fmla="*/ 241221 h 458350"/>
                  <a:gd name="connsiteX1161" fmla="*/ 742149 w 1253076"/>
                  <a:gd name="connsiteY1161" fmla="*/ 240009 h 458350"/>
                  <a:gd name="connsiteX1162" fmla="*/ 736391 w 1253076"/>
                  <a:gd name="connsiteY1162" fmla="*/ 235766 h 458350"/>
                  <a:gd name="connsiteX1163" fmla="*/ 734573 w 1253076"/>
                  <a:gd name="connsiteY1163" fmla="*/ 233190 h 458350"/>
                  <a:gd name="connsiteX1164" fmla="*/ 733360 w 1253076"/>
                  <a:gd name="connsiteY1164" fmla="*/ 230160 h 458350"/>
                  <a:gd name="connsiteX1165" fmla="*/ 730027 w 1253076"/>
                  <a:gd name="connsiteY1165" fmla="*/ 224402 h 458350"/>
                  <a:gd name="connsiteX1166" fmla="*/ 727906 w 1253076"/>
                  <a:gd name="connsiteY1166" fmla="*/ 221978 h 458350"/>
                  <a:gd name="connsiteX1167" fmla="*/ 726694 w 1253076"/>
                  <a:gd name="connsiteY1167" fmla="*/ 221069 h 458350"/>
                  <a:gd name="connsiteX1168" fmla="*/ 723815 w 1253076"/>
                  <a:gd name="connsiteY1168" fmla="*/ 220160 h 458350"/>
                  <a:gd name="connsiteX1169" fmla="*/ 722603 w 1253076"/>
                  <a:gd name="connsiteY1169" fmla="*/ 219554 h 458350"/>
                  <a:gd name="connsiteX1170" fmla="*/ 720633 w 1253076"/>
                  <a:gd name="connsiteY1170" fmla="*/ 216675 h 458350"/>
                  <a:gd name="connsiteX1171" fmla="*/ 718057 w 1253076"/>
                  <a:gd name="connsiteY1171" fmla="*/ 214705 h 458350"/>
                  <a:gd name="connsiteX1172" fmla="*/ 716390 w 1253076"/>
                  <a:gd name="connsiteY1172" fmla="*/ 214099 h 458350"/>
                  <a:gd name="connsiteX1173" fmla="*/ 716542 w 1253076"/>
                  <a:gd name="connsiteY1173" fmla="*/ 212281 h 458350"/>
                  <a:gd name="connsiteX1174" fmla="*/ 717603 w 1253076"/>
                  <a:gd name="connsiteY1174" fmla="*/ 211068 h 458350"/>
                  <a:gd name="connsiteX1175" fmla="*/ 720936 w 1253076"/>
                  <a:gd name="connsiteY1175" fmla="*/ 212583 h 458350"/>
                  <a:gd name="connsiteX1176" fmla="*/ 722603 w 1253076"/>
                  <a:gd name="connsiteY1176" fmla="*/ 213038 h 458350"/>
                  <a:gd name="connsiteX1177" fmla="*/ 724724 w 1253076"/>
                  <a:gd name="connsiteY1177" fmla="*/ 212735 h 458350"/>
                  <a:gd name="connsiteX1178" fmla="*/ 726542 w 1253076"/>
                  <a:gd name="connsiteY1178" fmla="*/ 211826 h 458350"/>
                  <a:gd name="connsiteX1179" fmla="*/ 728209 w 1253076"/>
                  <a:gd name="connsiteY1179" fmla="*/ 209250 h 458350"/>
                  <a:gd name="connsiteX1180" fmla="*/ 730330 w 1253076"/>
                  <a:gd name="connsiteY1180" fmla="*/ 207280 h 458350"/>
                  <a:gd name="connsiteX1181" fmla="*/ 738513 w 1253076"/>
                  <a:gd name="connsiteY1181" fmla="*/ 204553 h 458350"/>
                  <a:gd name="connsiteX1182" fmla="*/ 741088 w 1253076"/>
                  <a:gd name="connsiteY1182" fmla="*/ 203492 h 458350"/>
                  <a:gd name="connsiteX1183" fmla="*/ 743361 w 1253076"/>
                  <a:gd name="connsiteY1183" fmla="*/ 201977 h 458350"/>
                  <a:gd name="connsiteX1184" fmla="*/ 748058 w 1253076"/>
                  <a:gd name="connsiteY1184" fmla="*/ 197886 h 458350"/>
                  <a:gd name="connsiteX1185" fmla="*/ 752149 w 1253076"/>
                  <a:gd name="connsiteY1185" fmla="*/ 193189 h 458350"/>
                  <a:gd name="connsiteX1186" fmla="*/ 753967 w 1253076"/>
                  <a:gd name="connsiteY1186" fmla="*/ 190159 h 458350"/>
                  <a:gd name="connsiteX1187" fmla="*/ 756240 w 1253076"/>
                  <a:gd name="connsiteY1187" fmla="*/ 187431 h 458350"/>
                  <a:gd name="connsiteX1188" fmla="*/ 757453 w 1253076"/>
                  <a:gd name="connsiteY1188" fmla="*/ 186370 h 458350"/>
                  <a:gd name="connsiteX1189" fmla="*/ 758816 w 1253076"/>
                  <a:gd name="connsiteY1189" fmla="*/ 185613 h 458350"/>
                  <a:gd name="connsiteX1190" fmla="*/ 762756 w 1253076"/>
                  <a:gd name="connsiteY1190" fmla="*/ 184855 h 458350"/>
                  <a:gd name="connsiteX1191" fmla="*/ 765634 w 1253076"/>
                  <a:gd name="connsiteY1191" fmla="*/ 185765 h 458350"/>
                  <a:gd name="connsiteX1192" fmla="*/ 767604 w 1253076"/>
                  <a:gd name="connsiteY1192" fmla="*/ 188340 h 458350"/>
                  <a:gd name="connsiteX1193" fmla="*/ 769574 w 1253076"/>
                  <a:gd name="connsiteY1193" fmla="*/ 188946 h 458350"/>
                  <a:gd name="connsiteX1194" fmla="*/ 771696 w 1253076"/>
                  <a:gd name="connsiteY1194" fmla="*/ 188340 h 458350"/>
                  <a:gd name="connsiteX1195" fmla="*/ 772150 w 1253076"/>
                  <a:gd name="connsiteY1195" fmla="*/ 187128 h 458350"/>
                  <a:gd name="connsiteX1196" fmla="*/ 773210 w 1253076"/>
                  <a:gd name="connsiteY1196" fmla="*/ 182128 h 458350"/>
                  <a:gd name="connsiteX1197" fmla="*/ 772756 w 1253076"/>
                  <a:gd name="connsiteY1197" fmla="*/ 180158 h 458350"/>
                  <a:gd name="connsiteX1198" fmla="*/ 771696 w 1253076"/>
                  <a:gd name="connsiteY1198" fmla="*/ 178491 h 458350"/>
                  <a:gd name="connsiteX1199" fmla="*/ 768968 w 1253076"/>
                  <a:gd name="connsiteY1199" fmla="*/ 176976 h 458350"/>
                  <a:gd name="connsiteX1200" fmla="*/ 765938 w 1253076"/>
                  <a:gd name="connsiteY1200" fmla="*/ 176370 h 458350"/>
                  <a:gd name="connsiteX1201" fmla="*/ 761846 w 1253076"/>
                  <a:gd name="connsiteY1201" fmla="*/ 177128 h 458350"/>
                  <a:gd name="connsiteX1202" fmla="*/ 757755 w 1253076"/>
                  <a:gd name="connsiteY1202" fmla="*/ 178188 h 458350"/>
                  <a:gd name="connsiteX1203" fmla="*/ 756544 w 1253076"/>
                  <a:gd name="connsiteY1203" fmla="*/ 178643 h 458350"/>
                  <a:gd name="connsiteX1204" fmla="*/ 756846 w 1253076"/>
                  <a:gd name="connsiteY1204" fmla="*/ 179401 h 458350"/>
                  <a:gd name="connsiteX1205" fmla="*/ 758058 w 1253076"/>
                  <a:gd name="connsiteY1205" fmla="*/ 180310 h 458350"/>
                  <a:gd name="connsiteX1206" fmla="*/ 758210 w 1253076"/>
                  <a:gd name="connsiteY1206" fmla="*/ 181219 h 458350"/>
                  <a:gd name="connsiteX1207" fmla="*/ 751846 w 1253076"/>
                  <a:gd name="connsiteY1207" fmla="*/ 181673 h 458350"/>
                  <a:gd name="connsiteX1208" fmla="*/ 748361 w 1253076"/>
                  <a:gd name="connsiteY1208" fmla="*/ 181370 h 458350"/>
                  <a:gd name="connsiteX1209" fmla="*/ 741543 w 1253076"/>
                  <a:gd name="connsiteY1209" fmla="*/ 181370 h 458350"/>
                  <a:gd name="connsiteX1210" fmla="*/ 738664 w 1253076"/>
                  <a:gd name="connsiteY1210" fmla="*/ 182431 h 458350"/>
                  <a:gd name="connsiteX1211" fmla="*/ 737603 w 1253076"/>
                  <a:gd name="connsiteY1211" fmla="*/ 183643 h 458350"/>
                  <a:gd name="connsiteX1212" fmla="*/ 736391 w 1253076"/>
                  <a:gd name="connsiteY1212" fmla="*/ 184552 h 458350"/>
                  <a:gd name="connsiteX1213" fmla="*/ 733057 w 1253076"/>
                  <a:gd name="connsiteY1213" fmla="*/ 186067 h 458350"/>
                  <a:gd name="connsiteX1214" fmla="*/ 729876 w 1253076"/>
                  <a:gd name="connsiteY1214" fmla="*/ 186370 h 458350"/>
                  <a:gd name="connsiteX1215" fmla="*/ 726694 w 1253076"/>
                  <a:gd name="connsiteY1215" fmla="*/ 185765 h 458350"/>
                  <a:gd name="connsiteX1216" fmla="*/ 725179 w 1253076"/>
                  <a:gd name="connsiteY1216" fmla="*/ 184704 h 458350"/>
                  <a:gd name="connsiteX1217" fmla="*/ 723815 w 1253076"/>
                  <a:gd name="connsiteY1217" fmla="*/ 183340 h 458350"/>
                  <a:gd name="connsiteX1218" fmla="*/ 722300 w 1253076"/>
                  <a:gd name="connsiteY1218" fmla="*/ 183037 h 458350"/>
                  <a:gd name="connsiteX1219" fmla="*/ 720784 w 1253076"/>
                  <a:gd name="connsiteY1219" fmla="*/ 183795 h 458350"/>
                  <a:gd name="connsiteX1220" fmla="*/ 718360 w 1253076"/>
                  <a:gd name="connsiteY1220" fmla="*/ 186067 h 458350"/>
                  <a:gd name="connsiteX1221" fmla="*/ 714117 w 1253076"/>
                  <a:gd name="connsiteY1221" fmla="*/ 190916 h 458350"/>
                  <a:gd name="connsiteX1222" fmla="*/ 712299 w 1253076"/>
                  <a:gd name="connsiteY1222" fmla="*/ 193492 h 458350"/>
                  <a:gd name="connsiteX1223" fmla="*/ 710481 w 1253076"/>
                  <a:gd name="connsiteY1223" fmla="*/ 196977 h 458350"/>
                  <a:gd name="connsiteX1224" fmla="*/ 707299 w 1253076"/>
                  <a:gd name="connsiteY1224" fmla="*/ 198795 h 458350"/>
                  <a:gd name="connsiteX1225" fmla="*/ 704117 w 1253076"/>
                  <a:gd name="connsiteY1225" fmla="*/ 198038 h 458350"/>
                  <a:gd name="connsiteX1226" fmla="*/ 700935 w 1253076"/>
                  <a:gd name="connsiteY1226" fmla="*/ 197583 h 458350"/>
                  <a:gd name="connsiteX1227" fmla="*/ 699117 w 1253076"/>
                  <a:gd name="connsiteY1227" fmla="*/ 197735 h 458350"/>
                  <a:gd name="connsiteX1228" fmla="*/ 697450 w 1253076"/>
                  <a:gd name="connsiteY1228" fmla="*/ 197735 h 458350"/>
                  <a:gd name="connsiteX1229" fmla="*/ 695784 w 1253076"/>
                  <a:gd name="connsiteY1229" fmla="*/ 194704 h 458350"/>
                  <a:gd name="connsiteX1230" fmla="*/ 693359 w 1253076"/>
                  <a:gd name="connsiteY1230" fmla="*/ 188795 h 458350"/>
                  <a:gd name="connsiteX1231" fmla="*/ 690783 w 1253076"/>
                  <a:gd name="connsiteY1231" fmla="*/ 186674 h 458350"/>
                  <a:gd name="connsiteX1232" fmla="*/ 686541 w 1253076"/>
                  <a:gd name="connsiteY1232" fmla="*/ 185007 h 458350"/>
                  <a:gd name="connsiteX1233" fmla="*/ 685783 w 1253076"/>
                  <a:gd name="connsiteY1233" fmla="*/ 184098 h 458350"/>
                  <a:gd name="connsiteX1234" fmla="*/ 681844 w 1253076"/>
                  <a:gd name="connsiteY1234" fmla="*/ 178188 h 458350"/>
                  <a:gd name="connsiteX1235" fmla="*/ 680935 w 1253076"/>
                  <a:gd name="connsiteY1235" fmla="*/ 175613 h 458350"/>
                  <a:gd name="connsiteX1236" fmla="*/ 680025 w 1253076"/>
                  <a:gd name="connsiteY1236" fmla="*/ 172279 h 458350"/>
                  <a:gd name="connsiteX1237" fmla="*/ 679419 w 1253076"/>
                  <a:gd name="connsiteY1237" fmla="*/ 168946 h 458350"/>
                  <a:gd name="connsiteX1238" fmla="*/ 679419 w 1253076"/>
                  <a:gd name="connsiteY1238" fmla="*/ 165915 h 458350"/>
                  <a:gd name="connsiteX1239" fmla="*/ 680025 w 1253076"/>
                  <a:gd name="connsiteY1239" fmla="*/ 163036 h 458350"/>
                  <a:gd name="connsiteX1240" fmla="*/ 681237 w 1253076"/>
                  <a:gd name="connsiteY1240" fmla="*/ 159551 h 458350"/>
                  <a:gd name="connsiteX1241" fmla="*/ 682601 w 1253076"/>
                  <a:gd name="connsiteY1241" fmla="*/ 156066 h 458350"/>
                  <a:gd name="connsiteX1242" fmla="*/ 684420 w 1253076"/>
                  <a:gd name="connsiteY1242" fmla="*/ 153339 h 458350"/>
                  <a:gd name="connsiteX1243" fmla="*/ 687601 w 1253076"/>
                  <a:gd name="connsiteY1243" fmla="*/ 149551 h 458350"/>
                  <a:gd name="connsiteX1244" fmla="*/ 688813 w 1253076"/>
                  <a:gd name="connsiteY1244" fmla="*/ 148490 h 458350"/>
                  <a:gd name="connsiteX1245" fmla="*/ 691844 w 1253076"/>
                  <a:gd name="connsiteY1245" fmla="*/ 146824 h 458350"/>
                  <a:gd name="connsiteX1246" fmla="*/ 695026 w 1253076"/>
                  <a:gd name="connsiteY1246" fmla="*/ 146369 h 458350"/>
                  <a:gd name="connsiteX1247" fmla="*/ 698359 w 1253076"/>
                  <a:gd name="connsiteY1247" fmla="*/ 146672 h 458350"/>
                  <a:gd name="connsiteX1248" fmla="*/ 704117 w 1253076"/>
                  <a:gd name="connsiteY1248" fmla="*/ 148490 h 458350"/>
                  <a:gd name="connsiteX1249" fmla="*/ 706996 w 1253076"/>
                  <a:gd name="connsiteY1249" fmla="*/ 148642 h 458350"/>
                  <a:gd name="connsiteX1250" fmla="*/ 718360 w 1253076"/>
                  <a:gd name="connsiteY1250" fmla="*/ 147127 h 458350"/>
                  <a:gd name="connsiteX1251" fmla="*/ 720784 w 1253076"/>
                  <a:gd name="connsiteY1251" fmla="*/ 146975 h 458350"/>
                  <a:gd name="connsiteX1252" fmla="*/ 723209 w 1253076"/>
                  <a:gd name="connsiteY1252" fmla="*/ 147278 h 458350"/>
                  <a:gd name="connsiteX1253" fmla="*/ 726391 w 1253076"/>
                  <a:gd name="connsiteY1253" fmla="*/ 148187 h 458350"/>
                  <a:gd name="connsiteX1254" fmla="*/ 729724 w 1253076"/>
                  <a:gd name="connsiteY1254" fmla="*/ 148642 h 458350"/>
                  <a:gd name="connsiteX1255" fmla="*/ 735785 w 1253076"/>
                  <a:gd name="connsiteY1255" fmla="*/ 147733 h 458350"/>
                  <a:gd name="connsiteX1256" fmla="*/ 741846 w 1253076"/>
                  <a:gd name="connsiteY1256" fmla="*/ 147430 h 458350"/>
                  <a:gd name="connsiteX1257" fmla="*/ 759119 w 1253076"/>
                  <a:gd name="connsiteY1257" fmla="*/ 147278 h 458350"/>
                  <a:gd name="connsiteX1258" fmla="*/ 761543 w 1253076"/>
                  <a:gd name="connsiteY1258" fmla="*/ 147127 h 458350"/>
                  <a:gd name="connsiteX1259" fmla="*/ 763816 w 1253076"/>
                  <a:gd name="connsiteY1259" fmla="*/ 147278 h 458350"/>
                  <a:gd name="connsiteX1260" fmla="*/ 766544 w 1253076"/>
                  <a:gd name="connsiteY1260" fmla="*/ 149248 h 458350"/>
                  <a:gd name="connsiteX1261" fmla="*/ 768968 w 1253076"/>
                  <a:gd name="connsiteY1261" fmla="*/ 151672 h 458350"/>
                  <a:gd name="connsiteX1262" fmla="*/ 770180 w 1253076"/>
                  <a:gd name="connsiteY1262" fmla="*/ 151975 h 458350"/>
                  <a:gd name="connsiteX1263" fmla="*/ 776089 w 1253076"/>
                  <a:gd name="connsiteY1263" fmla="*/ 152430 h 458350"/>
                  <a:gd name="connsiteX1264" fmla="*/ 779272 w 1253076"/>
                  <a:gd name="connsiteY1264" fmla="*/ 152581 h 458350"/>
                  <a:gd name="connsiteX1265" fmla="*/ 782453 w 1253076"/>
                  <a:gd name="connsiteY1265" fmla="*/ 152430 h 458350"/>
                  <a:gd name="connsiteX1266" fmla="*/ 791999 w 1253076"/>
                  <a:gd name="connsiteY1266" fmla="*/ 150612 h 458350"/>
                  <a:gd name="connsiteX1267" fmla="*/ 795181 w 1253076"/>
                  <a:gd name="connsiteY1267" fmla="*/ 150460 h 458350"/>
                  <a:gd name="connsiteX1268" fmla="*/ 796848 w 1253076"/>
                  <a:gd name="connsiteY1268" fmla="*/ 150006 h 458350"/>
                  <a:gd name="connsiteX1269" fmla="*/ 799727 w 1253076"/>
                  <a:gd name="connsiteY1269" fmla="*/ 148793 h 458350"/>
                  <a:gd name="connsiteX1270" fmla="*/ 800939 w 1253076"/>
                  <a:gd name="connsiteY1270" fmla="*/ 148036 h 458350"/>
                  <a:gd name="connsiteX1271" fmla="*/ 803363 w 1253076"/>
                  <a:gd name="connsiteY1271" fmla="*/ 145611 h 458350"/>
                  <a:gd name="connsiteX1272" fmla="*/ 805484 w 1253076"/>
                  <a:gd name="connsiteY1272" fmla="*/ 142884 h 458350"/>
                  <a:gd name="connsiteX1273" fmla="*/ 806849 w 1253076"/>
                  <a:gd name="connsiteY1273" fmla="*/ 140460 h 458350"/>
                  <a:gd name="connsiteX1274" fmla="*/ 808515 w 1253076"/>
                  <a:gd name="connsiteY1274" fmla="*/ 138187 h 458350"/>
                  <a:gd name="connsiteX1275" fmla="*/ 813666 w 1253076"/>
                  <a:gd name="connsiteY1275" fmla="*/ 133641 h 458350"/>
                  <a:gd name="connsiteX1276" fmla="*/ 815788 w 1253076"/>
                  <a:gd name="connsiteY1276" fmla="*/ 131217 h 458350"/>
                  <a:gd name="connsiteX1277" fmla="*/ 817454 w 1253076"/>
                  <a:gd name="connsiteY1277" fmla="*/ 128490 h 458350"/>
                  <a:gd name="connsiteX1278" fmla="*/ 819879 w 1253076"/>
                  <a:gd name="connsiteY1278" fmla="*/ 123035 h 458350"/>
                  <a:gd name="connsiteX1279" fmla="*/ 820485 w 1253076"/>
                  <a:gd name="connsiteY1279" fmla="*/ 122277 h 458350"/>
                  <a:gd name="connsiteX1280" fmla="*/ 822758 w 1253076"/>
                  <a:gd name="connsiteY1280" fmla="*/ 120307 h 458350"/>
                  <a:gd name="connsiteX1281" fmla="*/ 823060 w 1253076"/>
                  <a:gd name="connsiteY1281" fmla="*/ 119701 h 458350"/>
                  <a:gd name="connsiteX1282" fmla="*/ 821242 w 1253076"/>
                  <a:gd name="connsiteY1282" fmla="*/ 115913 h 458350"/>
                  <a:gd name="connsiteX1283" fmla="*/ 819727 w 1253076"/>
                  <a:gd name="connsiteY1283" fmla="*/ 114701 h 458350"/>
                  <a:gd name="connsiteX1284" fmla="*/ 816394 w 1253076"/>
                  <a:gd name="connsiteY1284" fmla="*/ 114247 h 458350"/>
                  <a:gd name="connsiteX1285" fmla="*/ 815182 w 1253076"/>
                  <a:gd name="connsiteY1285" fmla="*/ 115004 h 458350"/>
                  <a:gd name="connsiteX1286" fmla="*/ 812757 w 1253076"/>
                  <a:gd name="connsiteY1286" fmla="*/ 117580 h 458350"/>
                  <a:gd name="connsiteX1287" fmla="*/ 810787 w 1253076"/>
                  <a:gd name="connsiteY1287" fmla="*/ 120459 h 458350"/>
                  <a:gd name="connsiteX1288" fmla="*/ 809728 w 1253076"/>
                  <a:gd name="connsiteY1288" fmla="*/ 121217 h 458350"/>
                  <a:gd name="connsiteX1289" fmla="*/ 806849 w 1253076"/>
                  <a:gd name="connsiteY1289" fmla="*/ 121974 h 458350"/>
                  <a:gd name="connsiteX1290" fmla="*/ 805636 w 1253076"/>
                  <a:gd name="connsiteY1290" fmla="*/ 122580 h 458350"/>
                  <a:gd name="connsiteX1291" fmla="*/ 805029 w 1253076"/>
                  <a:gd name="connsiteY1291" fmla="*/ 125005 h 458350"/>
                  <a:gd name="connsiteX1292" fmla="*/ 803818 w 1253076"/>
                  <a:gd name="connsiteY1292" fmla="*/ 126974 h 458350"/>
                  <a:gd name="connsiteX1293" fmla="*/ 800484 w 1253076"/>
                  <a:gd name="connsiteY1293" fmla="*/ 128187 h 458350"/>
                  <a:gd name="connsiteX1294" fmla="*/ 796696 w 1253076"/>
                  <a:gd name="connsiteY1294" fmla="*/ 132581 h 458350"/>
                  <a:gd name="connsiteX1295" fmla="*/ 787302 w 1253076"/>
                  <a:gd name="connsiteY1295" fmla="*/ 137278 h 458350"/>
                  <a:gd name="connsiteX1296" fmla="*/ 785030 w 1253076"/>
                  <a:gd name="connsiteY1296" fmla="*/ 137581 h 458350"/>
                  <a:gd name="connsiteX1297" fmla="*/ 769422 w 1253076"/>
                  <a:gd name="connsiteY1297" fmla="*/ 135156 h 458350"/>
                  <a:gd name="connsiteX1298" fmla="*/ 763665 w 1253076"/>
                  <a:gd name="connsiteY1298" fmla="*/ 134854 h 458350"/>
                  <a:gd name="connsiteX1299" fmla="*/ 762150 w 1253076"/>
                  <a:gd name="connsiteY1299" fmla="*/ 135005 h 458350"/>
                  <a:gd name="connsiteX1300" fmla="*/ 760634 w 1253076"/>
                  <a:gd name="connsiteY1300" fmla="*/ 135460 h 458350"/>
                  <a:gd name="connsiteX1301" fmla="*/ 758816 w 1253076"/>
                  <a:gd name="connsiteY1301" fmla="*/ 137429 h 458350"/>
                  <a:gd name="connsiteX1302" fmla="*/ 757301 w 1253076"/>
                  <a:gd name="connsiteY1302" fmla="*/ 137581 h 458350"/>
                  <a:gd name="connsiteX1303" fmla="*/ 755937 w 1253076"/>
                  <a:gd name="connsiteY1303" fmla="*/ 137126 h 458350"/>
                  <a:gd name="connsiteX1304" fmla="*/ 752301 w 1253076"/>
                  <a:gd name="connsiteY1304" fmla="*/ 135005 h 458350"/>
                  <a:gd name="connsiteX1305" fmla="*/ 749270 w 1253076"/>
                  <a:gd name="connsiteY1305" fmla="*/ 133793 h 458350"/>
                  <a:gd name="connsiteX1306" fmla="*/ 746240 w 1253076"/>
                  <a:gd name="connsiteY1306" fmla="*/ 132884 h 458350"/>
                  <a:gd name="connsiteX1307" fmla="*/ 737300 w 1253076"/>
                  <a:gd name="connsiteY1307" fmla="*/ 132581 h 458350"/>
                  <a:gd name="connsiteX1308" fmla="*/ 730785 w 1253076"/>
                  <a:gd name="connsiteY1308" fmla="*/ 131066 h 458350"/>
                  <a:gd name="connsiteX1309" fmla="*/ 723209 w 1253076"/>
                  <a:gd name="connsiteY1309" fmla="*/ 131672 h 458350"/>
                  <a:gd name="connsiteX1310" fmla="*/ 722148 w 1253076"/>
                  <a:gd name="connsiteY1310" fmla="*/ 131368 h 458350"/>
                  <a:gd name="connsiteX1311" fmla="*/ 721087 w 1253076"/>
                  <a:gd name="connsiteY1311" fmla="*/ 130762 h 458350"/>
                  <a:gd name="connsiteX1312" fmla="*/ 720027 w 1253076"/>
                  <a:gd name="connsiteY1312" fmla="*/ 129399 h 458350"/>
                  <a:gd name="connsiteX1313" fmla="*/ 719117 w 1253076"/>
                  <a:gd name="connsiteY1313" fmla="*/ 127732 h 458350"/>
                  <a:gd name="connsiteX1314" fmla="*/ 718208 w 1253076"/>
                  <a:gd name="connsiteY1314" fmla="*/ 126974 h 458350"/>
                  <a:gd name="connsiteX1315" fmla="*/ 716845 w 1253076"/>
                  <a:gd name="connsiteY1315" fmla="*/ 126671 h 458350"/>
                  <a:gd name="connsiteX1316" fmla="*/ 714724 w 1253076"/>
                  <a:gd name="connsiteY1316" fmla="*/ 126823 h 458350"/>
                  <a:gd name="connsiteX1317" fmla="*/ 712754 w 1253076"/>
                  <a:gd name="connsiteY1317" fmla="*/ 126520 h 458350"/>
                  <a:gd name="connsiteX1318" fmla="*/ 709269 w 1253076"/>
                  <a:gd name="connsiteY1318" fmla="*/ 124702 h 458350"/>
                  <a:gd name="connsiteX1319" fmla="*/ 707753 w 1253076"/>
                  <a:gd name="connsiteY1319" fmla="*/ 124702 h 458350"/>
                  <a:gd name="connsiteX1320" fmla="*/ 706087 w 1253076"/>
                  <a:gd name="connsiteY1320" fmla="*/ 125156 h 458350"/>
                  <a:gd name="connsiteX1321" fmla="*/ 704572 w 1253076"/>
                  <a:gd name="connsiteY1321" fmla="*/ 125762 h 458350"/>
                  <a:gd name="connsiteX1322" fmla="*/ 703360 w 1253076"/>
                  <a:gd name="connsiteY1322" fmla="*/ 126671 h 458350"/>
                  <a:gd name="connsiteX1323" fmla="*/ 701541 w 1253076"/>
                  <a:gd name="connsiteY1323" fmla="*/ 129550 h 458350"/>
                  <a:gd name="connsiteX1324" fmla="*/ 700177 w 1253076"/>
                  <a:gd name="connsiteY1324" fmla="*/ 132581 h 458350"/>
                  <a:gd name="connsiteX1325" fmla="*/ 698965 w 1253076"/>
                  <a:gd name="connsiteY1325" fmla="*/ 133944 h 458350"/>
                  <a:gd name="connsiteX1326" fmla="*/ 697602 w 1253076"/>
                  <a:gd name="connsiteY1326" fmla="*/ 135156 h 458350"/>
                  <a:gd name="connsiteX1327" fmla="*/ 696693 w 1253076"/>
                  <a:gd name="connsiteY1327" fmla="*/ 136217 h 458350"/>
                  <a:gd name="connsiteX1328" fmla="*/ 696087 w 1253076"/>
                  <a:gd name="connsiteY1328" fmla="*/ 137581 h 458350"/>
                  <a:gd name="connsiteX1329" fmla="*/ 693662 w 1253076"/>
                  <a:gd name="connsiteY1329" fmla="*/ 138642 h 458350"/>
                  <a:gd name="connsiteX1330" fmla="*/ 690935 w 1253076"/>
                  <a:gd name="connsiteY1330" fmla="*/ 137732 h 458350"/>
                  <a:gd name="connsiteX1331" fmla="*/ 689571 w 1253076"/>
                  <a:gd name="connsiteY1331" fmla="*/ 136672 h 458350"/>
                  <a:gd name="connsiteX1332" fmla="*/ 688359 w 1253076"/>
                  <a:gd name="connsiteY1332" fmla="*/ 134096 h 458350"/>
                  <a:gd name="connsiteX1333" fmla="*/ 687601 w 1253076"/>
                  <a:gd name="connsiteY1333" fmla="*/ 134247 h 458350"/>
                  <a:gd name="connsiteX1334" fmla="*/ 686995 w 1253076"/>
                  <a:gd name="connsiteY1334" fmla="*/ 134399 h 458350"/>
                  <a:gd name="connsiteX1335" fmla="*/ 685934 w 1253076"/>
                  <a:gd name="connsiteY1335" fmla="*/ 137429 h 458350"/>
                  <a:gd name="connsiteX1336" fmla="*/ 683965 w 1253076"/>
                  <a:gd name="connsiteY1336" fmla="*/ 139854 h 458350"/>
                  <a:gd name="connsiteX1337" fmla="*/ 682450 w 1253076"/>
                  <a:gd name="connsiteY1337" fmla="*/ 140763 h 458350"/>
                  <a:gd name="connsiteX1338" fmla="*/ 681237 w 1253076"/>
                  <a:gd name="connsiteY1338" fmla="*/ 142126 h 458350"/>
                  <a:gd name="connsiteX1339" fmla="*/ 680632 w 1253076"/>
                  <a:gd name="connsiteY1339" fmla="*/ 145611 h 458350"/>
                  <a:gd name="connsiteX1340" fmla="*/ 679571 w 1253076"/>
                  <a:gd name="connsiteY1340" fmla="*/ 146824 h 458350"/>
                  <a:gd name="connsiteX1341" fmla="*/ 677298 w 1253076"/>
                  <a:gd name="connsiteY1341" fmla="*/ 148793 h 458350"/>
                  <a:gd name="connsiteX1342" fmla="*/ 674419 w 1253076"/>
                  <a:gd name="connsiteY1342" fmla="*/ 154400 h 458350"/>
                  <a:gd name="connsiteX1343" fmla="*/ 674419 w 1253076"/>
                  <a:gd name="connsiteY1343" fmla="*/ 155763 h 458350"/>
                  <a:gd name="connsiteX1344" fmla="*/ 675934 w 1253076"/>
                  <a:gd name="connsiteY1344" fmla="*/ 159703 h 458350"/>
                  <a:gd name="connsiteX1345" fmla="*/ 675177 w 1253076"/>
                  <a:gd name="connsiteY1345" fmla="*/ 161370 h 458350"/>
                  <a:gd name="connsiteX1346" fmla="*/ 673813 w 1253076"/>
                  <a:gd name="connsiteY1346" fmla="*/ 162279 h 458350"/>
                  <a:gd name="connsiteX1347" fmla="*/ 672449 w 1253076"/>
                  <a:gd name="connsiteY1347" fmla="*/ 162127 h 458350"/>
                  <a:gd name="connsiteX1348" fmla="*/ 671995 w 1253076"/>
                  <a:gd name="connsiteY1348" fmla="*/ 163188 h 458350"/>
                  <a:gd name="connsiteX1349" fmla="*/ 673359 w 1253076"/>
                  <a:gd name="connsiteY1349" fmla="*/ 173946 h 458350"/>
                  <a:gd name="connsiteX1350" fmla="*/ 675025 w 1253076"/>
                  <a:gd name="connsiteY1350" fmla="*/ 179401 h 458350"/>
                  <a:gd name="connsiteX1351" fmla="*/ 675479 w 1253076"/>
                  <a:gd name="connsiteY1351" fmla="*/ 181825 h 458350"/>
                  <a:gd name="connsiteX1352" fmla="*/ 675479 w 1253076"/>
                  <a:gd name="connsiteY1352" fmla="*/ 184249 h 458350"/>
                  <a:gd name="connsiteX1353" fmla="*/ 673965 w 1253076"/>
                  <a:gd name="connsiteY1353" fmla="*/ 181522 h 458350"/>
                  <a:gd name="connsiteX1354" fmla="*/ 671843 w 1253076"/>
                  <a:gd name="connsiteY1354" fmla="*/ 179249 h 458350"/>
                  <a:gd name="connsiteX1355" fmla="*/ 670328 w 1253076"/>
                  <a:gd name="connsiteY1355" fmla="*/ 180461 h 458350"/>
                  <a:gd name="connsiteX1356" fmla="*/ 666389 w 1253076"/>
                  <a:gd name="connsiteY1356" fmla="*/ 185310 h 458350"/>
                  <a:gd name="connsiteX1357" fmla="*/ 662297 w 1253076"/>
                  <a:gd name="connsiteY1357" fmla="*/ 194401 h 458350"/>
                  <a:gd name="connsiteX1358" fmla="*/ 660934 w 1253076"/>
                  <a:gd name="connsiteY1358" fmla="*/ 198947 h 458350"/>
                  <a:gd name="connsiteX1359" fmla="*/ 660934 w 1253076"/>
                  <a:gd name="connsiteY1359" fmla="*/ 201371 h 458350"/>
                  <a:gd name="connsiteX1360" fmla="*/ 661236 w 1253076"/>
                  <a:gd name="connsiteY1360" fmla="*/ 203796 h 458350"/>
                  <a:gd name="connsiteX1361" fmla="*/ 660782 w 1253076"/>
                  <a:gd name="connsiteY1361" fmla="*/ 205917 h 458350"/>
                  <a:gd name="connsiteX1362" fmla="*/ 661843 w 1253076"/>
                  <a:gd name="connsiteY1362" fmla="*/ 210462 h 458350"/>
                  <a:gd name="connsiteX1363" fmla="*/ 661085 w 1253076"/>
                  <a:gd name="connsiteY1363" fmla="*/ 213341 h 458350"/>
                  <a:gd name="connsiteX1364" fmla="*/ 658813 w 1253076"/>
                  <a:gd name="connsiteY1364" fmla="*/ 216069 h 458350"/>
                  <a:gd name="connsiteX1365" fmla="*/ 656994 w 1253076"/>
                  <a:gd name="connsiteY1365" fmla="*/ 219099 h 458350"/>
                  <a:gd name="connsiteX1366" fmla="*/ 656085 w 1253076"/>
                  <a:gd name="connsiteY1366" fmla="*/ 222281 h 458350"/>
                  <a:gd name="connsiteX1367" fmla="*/ 655934 w 1253076"/>
                  <a:gd name="connsiteY1367" fmla="*/ 225614 h 458350"/>
                  <a:gd name="connsiteX1368" fmla="*/ 654721 w 1253076"/>
                  <a:gd name="connsiteY1368" fmla="*/ 228342 h 458350"/>
                  <a:gd name="connsiteX1369" fmla="*/ 651085 w 1253076"/>
                  <a:gd name="connsiteY1369" fmla="*/ 231524 h 458350"/>
                  <a:gd name="connsiteX1370" fmla="*/ 649115 w 1253076"/>
                  <a:gd name="connsiteY1370" fmla="*/ 232281 h 458350"/>
                  <a:gd name="connsiteX1371" fmla="*/ 373499 w 1253076"/>
                  <a:gd name="connsiteY1371" fmla="*/ 205917 h 458350"/>
                  <a:gd name="connsiteX1372" fmla="*/ 376681 w 1253076"/>
                  <a:gd name="connsiteY1372" fmla="*/ 204705 h 458350"/>
                  <a:gd name="connsiteX1373" fmla="*/ 376832 w 1253076"/>
                  <a:gd name="connsiteY1373" fmla="*/ 203189 h 458350"/>
                  <a:gd name="connsiteX1374" fmla="*/ 374711 w 1253076"/>
                  <a:gd name="connsiteY1374" fmla="*/ 202583 h 458350"/>
                  <a:gd name="connsiteX1375" fmla="*/ 372741 w 1253076"/>
                  <a:gd name="connsiteY1375" fmla="*/ 203341 h 458350"/>
                  <a:gd name="connsiteX1376" fmla="*/ 373499 w 1253076"/>
                  <a:gd name="connsiteY1376" fmla="*/ 205917 h 458350"/>
                  <a:gd name="connsiteX1377" fmla="*/ 893670 w 1253076"/>
                  <a:gd name="connsiteY1377" fmla="*/ 242736 h 458350"/>
                  <a:gd name="connsiteX1378" fmla="*/ 896094 w 1253076"/>
                  <a:gd name="connsiteY1378" fmla="*/ 242888 h 458350"/>
                  <a:gd name="connsiteX1379" fmla="*/ 897458 w 1253076"/>
                  <a:gd name="connsiteY1379" fmla="*/ 240615 h 458350"/>
                  <a:gd name="connsiteX1380" fmla="*/ 896094 w 1253076"/>
                  <a:gd name="connsiteY1380" fmla="*/ 241069 h 458350"/>
                  <a:gd name="connsiteX1381" fmla="*/ 893215 w 1253076"/>
                  <a:gd name="connsiteY1381" fmla="*/ 242433 h 458350"/>
                  <a:gd name="connsiteX1382" fmla="*/ 893670 w 1253076"/>
                  <a:gd name="connsiteY1382" fmla="*/ 242736 h 458350"/>
                  <a:gd name="connsiteX1383" fmla="*/ 899428 w 1253076"/>
                  <a:gd name="connsiteY1383" fmla="*/ 207280 h 458350"/>
                  <a:gd name="connsiteX1384" fmla="*/ 900337 w 1253076"/>
                  <a:gd name="connsiteY1384" fmla="*/ 206977 h 458350"/>
                  <a:gd name="connsiteX1385" fmla="*/ 902003 w 1253076"/>
                  <a:gd name="connsiteY1385" fmla="*/ 205917 h 458350"/>
                  <a:gd name="connsiteX1386" fmla="*/ 901851 w 1253076"/>
                  <a:gd name="connsiteY1386" fmla="*/ 204401 h 458350"/>
                  <a:gd name="connsiteX1387" fmla="*/ 898670 w 1253076"/>
                  <a:gd name="connsiteY1387" fmla="*/ 202432 h 458350"/>
                  <a:gd name="connsiteX1388" fmla="*/ 895185 w 1253076"/>
                  <a:gd name="connsiteY1388" fmla="*/ 199856 h 458350"/>
                  <a:gd name="connsiteX1389" fmla="*/ 890791 w 1253076"/>
                  <a:gd name="connsiteY1389" fmla="*/ 197735 h 458350"/>
                  <a:gd name="connsiteX1390" fmla="*/ 888215 w 1253076"/>
                  <a:gd name="connsiteY1390" fmla="*/ 196977 h 458350"/>
                  <a:gd name="connsiteX1391" fmla="*/ 886699 w 1253076"/>
                  <a:gd name="connsiteY1391" fmla="*/ 197431 h 458350"/>
                  <a:gd name="connsiteX1392" fmla="*/ 883063 w 1253076"/>
                  <a:gd name="connsiteY1392" fmla="*/ 200159 h 458350"/>
                  <a:gd name="connsiteX1393" fmla="*/ 881397 w 1253076"/>
                  <a:gd name="connsiteY1393" fmla="*/ 203796 h 458350"/>
                  <a:gd name="connsiteX1394" fmla="*/ 881245 w 1253076"/>
                  <a:gd name="connsiteY1394" fmla="*/ 205311 h 458350"/>
                  <a:gd name="connsiteX1395" fmla="*/ 883063 w 1253076"/>
                  <a:gd name="connsiteY1395" fmla="*/ 206674 h 458350"/>
                  <a:gd name="connsiteX1396" fmla="*/ 885942 w 1253076"/>
                  <a:gd name="connsiteY1396" fmla="*/ 207584 h 458350"/>
                  <a:gd name="connsiteX1397" fmla="*/ 890791 w 1253076"/>
                  <a:gd name="connsiteY1397" fmla="*/ 206523 h 458350"/>
                  <a:gd name="connsiteX1398" fmla="*/ 895488 w 1253076"/>
                  <a:gd name="connsiteY1398" fmla="*/ 206371 h 458350"/>
                  <a:gd name="connsiteX1399" fmla="*/ 899428 w 1253076"/>
                  <a:gd name="connsiteY1399" fmla="*/ 207280 h 458350"/>
                  <a:gd name="connsiteX1400" fmla="*/ 885639 w 1253076"/>
                  <a:gd name="connsiteY1400" fmla="*/ 249100 h 458350"/>
                  <a:gd name="connsiteX1401" fmla="*/ 885033 w 1253076"/>
                  <a:gd name="connsiteY1401" fmla="*/ 249252 h 458350"/>
                  <a:gd name="connsiteX1402" fmla="*/ 883820 w 1253076"/>
                  <a:gd name="connsiteY1402" fmla="*/ 250009 h 458350"/>
                  <a:gd name="connsiteX1403" fmla="*/ 885033 w 1253076"/>
                  <a:gd name="connsiteY1403" fmla="*/ 251221 h 458350"/>
                  <a:gd name="connsiteX1404" fmla="*/ 887760 w 1253076"/>
                  <a:gd name="connsiteY1404" fmla="*/ 251979 h 458350"/>
                  <a:gd name="connsiteX1405" fmla="*/ 887154 w 1253076"/>
                  <a:gd name="connsiteY1405" fmla="*/ 250767 h 458350"/>
                  <a:gd name="connsiteX1406" fmla="*/ 885639 w 1253076"/>
                  <a:gd name="connsiteY1406" fmla="*/ 249100 h 458350"/>
                  <a:gd name="connsiteX1407" fmla="*/ 897761 w 1253076"/>
                  <a:gd name="connsiteY1407" fmla="*/ 382438 h 458350"/>
                  <a:gd name="connsiteX1408" fmla="*/ 892912 w 1253076"/>
                  <a:gd name="connsiteY1408" fmla="*/ 381378 h 458350"/>
                  <a:gd name="connsiteX1409" fmla="*/ 891852 w 1253076"/>
                  <a:gd name="connsiteY1409" fmla="*/ 381984 h 458350"/>
                  <a:gd name="connsiteX1410" fmla="*/ 892761 w 1253076"/>
                  <a:gd name="connsiteY1410" fmla="*/ 383954 h 458350"/>
                  <a:gd name="connsiteX1411" fmla="*/ 898367 w 1253076"/>
                  <a:gd name="connsiteY1411" fmla="*/ 385772 h 458350"/>
                  <a:gd name="connsiteX1412" fmla="*/ 900942 w 1253076"/>
                  <a:gd name="connsiteY1412" fmla="*/ 383499 h 458350"/>
                  <a:gd name="connsiteX1413" fmla="*/ 900337 w 1253076"/>
                  <a:gd name="connsiteY1413" fmla="*/ 382590 h 458350"/>
                  <a:gd name="connsiteX1414" fmla="*/ 897761 w 1253076"/>
                  <a:gd name="connsiteY1414" fmla="*/ 382438 h 458350"/>
                  <a:gd name="connsiteX1415" fmla="*/ 915792 w 1253076"/>
                  <a:gd name="connsiteY1415" fmla="*/ 353801 h 458350"/>
                  <a:gd name="connsiteX1416" fmla="*/ 914882 w 1253076"/>
                  <a:gd name="connsiteY1416" fmla="*/ 353195 h 458350"/>
                  <a:gd name="connsiteX1417" fmla="*/ 913519 w 1253076"/>
                  <a:gd name="connsiteY1417" fmla="*/ 353649 h 458350"/>
                  <a:gd name="connsiteX1418" fmla="*/ 912155 w 1253076"/>
                  <a:gd name="connsiteY1418" fmla="*/ 355013 h 458350"/>
                  <a:gd name="connsiteX1419" fmla="*/ 912761 w 1253076"/>
                  <a:gd name="connsiteY1419" fmla="*/ 355619 h 458350"/>
                  <a:gd name="connsiteX1420" fmla="*/ 914731 w 1253076"/>
                  <a:gd name="connsiteY1420" fmla="*/ 356983 h 458350"/>
                  <a:gd name="connsiteX1421" fmla="*/ 915943 w 1253076"/>
                  <a:gd name="connsiteY1421" fmla="*/ 356225 h 458350"/>
                  <a:gd name="connsiteX1422" fmla="*/ 915792 w 1253076"/>
                  <a:gd name="connsiteY1422" fmla="*/ 355013 h 458350"/>
                  <a:gd name="connsiteX1423" fmla="*/ 915943 w 1253076"/>
                  <a:gd name="connsiteY1423" fmla="*/ 354407 h 458350"/>
                  <a:gd name="connsiteX1424" fmla="*/ 915792 w 1253076"/>
                  <a:gd name="connsiteY1424" fmla="*/ 353801 h 458350"/>
                  <a:gd name="connsiteX1425" fmla="*/ 916094 w 1253076"/>
                  <a:gd name="connsiteY1425" fmla="*/ 256373 h 458350"/>
                  <a:gd name="connsiteX1426" fmla="*/ 914125 w 1253076"/>
                  <a:gd name="connsiteY1426" fmla="*/ 255767 h 458350"/>
                  <a:gd name="connsiteX1427" fmla="*/ 913822 w 1253076"/>
                  <a:gd name="connsiteY1427" fmla="*/ 256222 h 458350"/>
                  <a:gd name="connsiteX1428" fmla="*/ 914731 w 1253076"/>
                  <a:gd name="connsiteY1428" fmla="*/ 258343 h 458350"/>
                  <a:gd name="connsiteX1429" fmla="*/ 915792 w 1253076"/>
                  <a:gd name="connsiteY1429" fmla="*/ 258343 h 458350"/>
                  <a:gd name="connsiteX1430" fmla="*/ 917307 w 1253076"/>
                  <a:gd name="connsiteY1430" fmla="*/ 258797 h 458350"/>
                  <a:gd name="connsiteX1431" fmla="*/ 917459 w 1253076"/>
                  <a:gd name="connsiteY1431" fmla="*/ 258494 h 458350"/>
                  <a:gd name="connsiteX1432" fmla="*/ 917459 w 1253076"/>
                  <a:gd name="connsiteY1432" fmla="*/ 257282 h 458350"/>
                  <a:gd name="connsiteX1433" fmla="*/ 916701 w 1253076"/>
                  <a:gd name="connsiteY1433" fmla="*/ 256676 h 458350"/>
                  <a:gd name="connsiteX1434" fmla="*/ 916094 w 1253076"/>
                  <a:gd name="connsiteY1434" fmla="*/ 256373 h 458350"/>
                  <a:gd name="connsiteX1435" fmla="*/ 880790 w 1253076"/>
                  <a:gd name="connsiteY1435" fmla="*/ 366832 h 458350"/>
                  <a:gd name="connsiteX1436" fmla="*/ 880184 w 1253076"/>
                  <a:gd name="connsiteY1436" fmla="*/ 368802 h 458350"/>
                  <a:gd name="connsiteX1437" fmla="*/ 882002 w 1253076"/>
                  <a:gd name="connsiteY1437" fmla="*/ 368195 h 458350"/>
                  <a:gd name="connsiteX1438" fmla="*/ 883215 w 1253076"/>
                  <a:gd name="connsiteY1438" fmla="*/ 367438 h 458350"/>
                  <a:gd name="connsiteX1439" fmla="*/ 883518 w 1253076"/>
                  <a:gd name="connsiteY1439" fmla="*/ 366983 h 458350"/>
                  <a:gd name="connsiteX1440" fmla="*/ 883518 w 1253076"/>
                  <a:gd name="connsiteY1440" fmla="*/ 365619 h 458350"/>
                  <a:gd name="connsiteX1441" fmla="*/ 880639 w 1253076"/>
                  <a:gd name="connsiteY1441" fmla="*/ 365165 h 458350"/>
                  <a:gd name="connsiteX1442" fmla="*/ 880790 w 1253076"/>
                  <a:gd name="connsiteY1442" fmla="*/ 366832 h 458350"/>
                  <a:gd name="connsiteX1443" fmla="*/ 901094 w 1253076"/>
                  <a:gd name="connsiteY1443" fmla="*/ 258191 h 458350"/>
                  <a:gd name="connsiteX1444" fmla="*/ 898215 w 1253076"/>
                  <a:gd name="connsiteY1444" fmla="*/ 258494 h 458350"/>
                  <a:gd name="connsiteX1445" fmla="*/ 895791 w 1253076"/>
                  <a:gd name="connsiteY1445" fmla="*/ 260616 h 458350"/>
                  <a:gd name="connsiteX1446" fmla="*/ 895791 w 1253076"/>
                  <a:gd name="connsiteY1446" fmla="*/ 261222 h 458350"/>
                  <a:gd name="connsiteX1447" fmla="*/ 896094 w 1253076"/>
                  <a:gd name="connsiteY1447" fmla="*/ 262434 h 458350"/>
                  <a:gd name="connsiteX1448" fmla="*/ 897306 w 1253076"/>
                  <a:gd name="connsiteY1448" fmla="*/ 263192 h 458350"/>
                  <a:gd name="connsiteX1449" fmla="*/ 899276 w 1253076"/>
                  <a:gd name="connsiteY1449" fmla="*/ 261676 h 458350"/>
                  <a:gd name="connsiteX1450" fmla="*/ 900942 w 1253076"/>
                  <a:gd name="connsiteY1450" fmla="*/ 260919 h 458350"/>
                  <a:gd name="connsiteX1451" fmla="*/ 902003 w 1253076"/>
                  <a:gd name="connsiteY1451" fmla="*/ 260616 h 458350"/>
                  <a:gd name="connsiteX1452" fmla="*/ 902306 w 1253076"/>
                  <a:gd name="connsiteY1452" fmla="*/ 261222 h 458350"/>
                  <a:gd name="connsiteX1453" fmla="*/ 901851 w 1253076"/>
                  <a:gd name="connsiteY1453" fmla="*/ 262131 h 458350"/>
                  <a:gd name="connsiteX1454" fmla="*/ 903216 w 1253076"/>
                  <a:gd name="connsiteY1454" fmla="*/ 262131 h 458350"/>
                  <a:gd name="connsiteX1455" fmla="*/ 904730 w 1253076"/>
                  <a:gd name="connsiteY1455" fmla="*/ 261525 h 458350"/>
                  <a:gd name="connsiteX1456" fmla="*/ 905488 w 1253076"/>
                  <a:gd name="connsiteY1456" fmla="*/ 260464 h 458350"/>
                  <a:gd name="connsiteX1457" fmla="*/ 905488 w 1253076"/>
                  <a:gd name="connsiteY1457" fmla="*/ 259404 h 458350"/>
                  <a:gd name="connsiteX1458" fmla="*/ 905791 w 1253076"/>
                  <a:gd name="connsiteY1458" fmla="*/ 258494 h 458350"/>
                  <a:gd name="connsiteX1459" fmla="*/ 906397 w 1253076"/>
                  <a:gd name="connsiteY1459" fmla="*/ 257585 h 458350"/>
                  <a:gd name="connsiteX1460" fmla="*/ 906852 w 1253076"/>
                  <a:gd name="connsiteY1460" fmla="*/ 256222 h 458350"/>
                  <a:gd name="connsiteX1461" fmla="*/ 905034 w 1253076"/>
                  <a:gd name="connsiteY1461" fmla="*/ 256070 h 458350"/>
                  <a:gd name="connsiteX1462" fmla="*/ 901094 w 1253076"/>
                  <a:gd name="connsiteY1462" fmla="*/ 258191 h 458350"/>
                  <a:gd name="connsiteX1463" fmla="*/ 912458 w 1253076"/>
                  <a:gd name="connsiteY1463" fmla="*/ 256979 h 458350"/>
                  <a:gd name="connsiteX1464" fmla="*/ 910185 w 1253076"/>
                  <a:gd name="connsiteY1464" fmla="*/ 256222 h 458350"/>
                  <a:gd name="connsiteX1465" fmla="*/ 909579 w 1253076"/>
                  <a:gd name="connsiteY1465" fmla="*/ 256979 h 458350"/>
                  <a:gd name="connsiteX1466" fmla="*/ 908518 w 1253076"/>
                  <a:gd name="connsiteY1466" fmla="*/ 259706 h 458350"/>
                  <a:gd name="connsiteX1467" fmla="*/ 913216 w 1253076"/>
                  <a:gd name="connsiteY1467" fmla="*/ 258343 h 458350"/>
                  <a:gd name="connsiteX1468" fmla="*/ 912458 w 1253076"/>
                  <a:gd name="connsiteY1468" fmla="*/ 256979 h 458350"/>
                  <a:gd name="connsiteX1469" fmla="*/ 841850 w 1253076"/>
                  <a:gd name="connsiteY1469" fmla="*/ 212735 h 458350"/>
                  <a:gd name="connsiteX1470" fmla="*/ 850941 w 1253076"/>
                  <a:gd name="connsiteY1470" fmla="*/ 211220 h 458350"/>
                  <a:gd name="connsiteX1471" fmla="*/ 852153 w 1253076"/>
                  <a:gd name="connsiteY1471" fmla="*/ 210311 h 458350"/>
                  <a:gd name="connsiteX1472" fmla="*/ 843668 w 1253076"/>
                  <a:gd name="connsiteY1472" fmla="*/ 209402 h 458350"/>
                  <a:gd name="connsiteX1473" fmla="*/ 835334 w 1253076"/>
                  <a:gd name="connsiteY1473" fmla="*/ 210008 h 458350"/>
                  <a:gd name="connsiteX1474" fmla="*/ 829879 w 1253076"/>
                  <a:gd name="connsiteY1474" fmla="*/ 209705 h 458350"/>
                  <a:gd name="connsiteX1475" fmla="*/ 827758 w 1253076"/>
                  <a:gd name="connsiteY1475" fmla="*/ 209856 h 458350"/>
                  <a:gd name="connsiteX1476" fmla="*/ 826243 w 1253076"/>
                  <a:gd name="connsiteY1476" fmla="*/ 210765 h 458350"/>
                  <a:gd name="connsiteX1477" fmla="*/ 827304 w 1253076"/>
                  <a:gd name="connsiteY1477" fmla="*/ 211826 h 458350"/>
                  <a:gd name="connsiteX1478" fmla="*/ 827455 w 1253076"/>
                  <a:gd name="connsiteY1478" fmla="*/ 213341 h 458350"/>
                  <a:gd name="connsiteX1479" fmla="*/ 828668 w 1253076"/>
                  <a:gd name="connsiteY1479" fmla="*/ 213341 h 458350"/>
                  <a:gd name="connsiteX1480" fmla="*/ 838516 w 1253076"/>
                  <a:gd name="connsiteY1480" fmla="*/ 212432 h 458350"/>
                  <a:gd name="connsiteX1481" fmla="*/ 841850 w 1253076"/>
                  <a:gd name="connsiteY1481" fmla="*/ 212735 h 458350"/>
                  <a:gd name="connsiteX1482" fmla="*/ 826849 w 1253076"/>
                  <a:gd name="connsiteY1482" fmla="*/ 88640 h 458350"/>
                  <a:gd name="connsiteX1483" fmla="*/ 826698 w 1253076"/>
                  <a:gd name="connsiteY1483" fmla="*/ 87124 h 458350"/>
                  <a:gd name="connsiteX1484" fmla="*/ 827909 w 1253076"/>
                  <a:gd name="connsiteY1484" fmla="*/ 85609 h 458350"/>
                  <a:gd name="connsiteX1485" fmla="*/ 827607 w 1253076"/>
                  <a:gd name="connsiteY1485" fmla="*/ 85003 h 458350"/>
                  <a:gd name="connsiteX1486" fmla="*/ 826394 w 1253076"/>
                  <a:gd name="connsiteY1486" fmla="*/ 84397 h 458350"/>
                  <a:gd name="connsiteX1487" fmla="*/ 825485 w 1253076"/>
                  <a:gd name="connsiteY1487" fmla="*/ 86064 h 458350"/>
                  <a:gd name="connsiteX1488" fmla="*/ 826546 w 1253076"/>
                  <a:gd name="connsiteY1488" fmla="*/ 89246 h 458350"/>
                  <a:gd name="connsiteX1489" fmla="*/ 826849 w 1253076"/>
                  <a:gd name="connsiteY1489" fmla="*/ 88640 h 458350"/>
                  <a:gd name="connsiteX1490" fmla="*/ 798818 w 1253076"/>
                  <a:gd name="connsiteY1490" fmla="*/ 389863 h 458350"/>
                  <a:gd name="connsiteX1491" fmla="*/ 800484 w 1253076"/>
                  <a:gd name="connsiteY1491" fmla="*/ 390620 h 458350"/>
                  <a:gd name="connsiteX1492" fmla="*/ 818363 w 1253076"/>
                  <a:gd name="connsiteY1492" fmla="*/ 388044 h 458350"/>
                  <a:gd name="connsiteX1493" fmla="*/ 819272 w 1253076"/>
                  <a:gd name="connsiteY1493" fmla="*/ 387287 h 458350"/>
                  <a:gd name="connsiteX1494" fmla="*/ 819122 w 1253076"/>
                  <a:gd name="connsiteY1494" fmla="*/ 383954 h 458350"/>
                  <a:gd name="connsiteX1495" fmla="*/ 817152 w 1253076"/>
                  <a:gd name="connsiteY1495" fmla="*/ 383196 h 458350"/>
                  <a:gd name="connsiteX1496" fmla="*/ 813666 w 1253076"/>
                  <a:gd name="connsiteY1496" fmla="*/ 382893 h 458350"/>
                  <a:gd name="connsiteX1497" fmla="*/ 808969 w 1253076"/>
                  <a:gd name="connsiteY1497" fmla="*/ 382741 h 458350"/>
                  <a:gd name="connsiteX1498" fmla="*/ 806849 w 1253076"/>
                  <a:gd name="connsiteY1498" fmla="*/ 383044 h 458350"/>
                  <a:gd name="connsiteX1499" fmla="*/ 804727 w 1253076"/>
                  <a:gd name="connsiteY1499" fmla="*/ 383954 h 458350"/>
                  <a:gd name="connsiteX1500" fmla="*/ 804120 w 1253076"/>
                  <a:gd name="connsiteY1500" fmla="*/ 382287 h 458350"/>
                  <a:gd name="connsiteX1501" fmla="*/ 802302 w 1253076"/>
                  <a:gd name="connsiteY1501" fmla="*/ 382135 h 458350"/>
                  <a:gd name="connsiteX1502" fmla="*/ 800182 w 1253076"/>
                  <a:gd name="connsiteY1502" fmla="*/ 383499 h 458350"/>
                  <a:gd name="connsiteX1503" fmla="*/ 799121 w 1253076"/>
                  <a:gd name="connsiteY1503" fmla="*/ 385469 h 458350"/>
                  <a:gd name="connsiteX1504" fmla="*/ 800030 w 1253076"/>
                  <a:gd name="connsiteY1504" fmla="*/ 386681 h 458350"/>
                  <a:gd name="connsiteX1505" fmla="*/ 798060 w 1253076"/>
                  <a:gd name="connsiteY1505" fmla="*/ 389105 h 458350"/>
                  <a:gd name="connsiteX1506" fmla="*/ 798818 w 1253076"/>
                  <a:gd name="connsiteY1506" fmla="*/ 389863 h 458350"/>
                  <a:gd name="connsiteX1507" fmla="*/ 71215 w 1253076"/>
                  <a:gd name="connsiteY1507" fmla="*/ 129550 h 458350"/>
                  <a:gd name="connsiteX1508" fmla="*/ 68791 w 1253076"/>
                  <a:gd name="connsiteY1508" fmla="*/ 128490 h 458350"/>
                  <a:gd name="connsiteX1509" fmla="*/ 62881 w 1253076"/>
                  <a:gd name="connsiteY1509" fmla="*/ 120914 h 458350"/>
                  <a:gd name="connsiteX1510" fmla="*/ 59396 w 1253076"/>
                  <a:gd name="connsiteY1510" fmla="*/ 118944 h 458350"/>
                  <a:gd name="connsiteX1511" fmla="*/ 59093 w 1253076"/>
                  <a:gd name="connsiteY1511" fmla="*/ 119247 h 458350"/>
                  <a:gd name="connsiteX1512" fmla="*/ 58638 w 1253076"/>
                  <a:gd name="connsiteY1512" fmla="*/ 120459 h 458350"/>
                  <a:gd name="connsiteX1513" fmla="*/ 56517 w 1253076"/>
                  <a:gd name="connsiteY1513" fmla="*/ 121974 h 458350"/>
                  <a:gd name="connsiteX1514" fmla="*/ 51972 w 1253076"/>
                  <a:gd name="connsiteY1514" fmla="*/ 121974 h 458350"/>
                  <a:gd name="connsiteX1515" fmla="*/ 57881 w 1253076"/>
                  <a:gd name="connsiteY1515" fmla="*/ 128490 h 458350"/>
                  <a:gd name="connsiteX1516" fmla="*/ 59851 w 1253076"/>
                  <a:gd name="connsiteY1516" fmla="*/ 131975 h 458350"/>
                  <a:gd name="connsiteX1517" fmla="*/ 60911 w 1253076"/>
                  <a:gd name="connsiteY1517" fmla="*/ 135005 h 458350"/>
                  <a:gd name="connsiteX1518" fmla="*/ 62426 w 1253076"/>
                  <a:gd name="connsiteY1518" fmla="*/ 135156 h 458350"/>
                  <a:gd name="connsiteX1519" fmla="*/ 66366 w 1253076"/>
                  <a:gd name="connsiteY1519" fmla="*/ 138035 h 458350"/>
                  <a:gd name="connsiteX1520" fmla="*/ 68487 w 1253076"/>
                  <a:gd name="connsiteY1520" fmla="*/ 143339 h 458350"/>
                  <a:gd name="connsiteX1521" fmla="*/ 68487 w 1253076"/>
                  <a:gd name="connsiteY1521" fmla="*/ 144551 h 458350"/>
                  <a:gd name="connsiteX1522" fmla="*/ 72275 w 1253076"/>
                  <a:gd name="connsiteY1522" fmla="*/ 145460 h 458350"/>
                  <a:gd name="connsiteX1523" fmla="*/ 73791 w 1253076"/>
                  <a:gd name="connsiteY1523" fmla="*/ 143793 h 458350"/>
                  <a:gd name="connsiteX1524" fmla="*/ 74548 w 1253076"/>
                  <a:gd name="connsiteY1524" fmla="*/ 136823 h 458350"/>
                  <a:gd name="connsiteX1525" fmla="*/ 75306 w 1253076"/>
                  <a:gd name="connsiteY1525" fmla="*/ 134399 h 458350"/>
                  <a:gd name="connsiteX1526" fmla="*/ 74548 w 1253076"/>
                  <a:gd name="connsiteY1526" fmla="*/ 133187 h 458350"/>
                  <a:gd name="connsiteX1527" fmla="*/ 71215 w 1253076"/>
                  <a:gd name="connsiteY1527" fmla="*/ 129550 h 458350"/>
                  <a:gd name="connsiteX1528" fmla="*/ 874881 w 1253076"/>
                  <a:gd name="connsiteY1528" fmla="*/ 251373 h 458350"/>
                  <a:gd name="connsiteX1529" fmla="*/ 873821 w 1253076"/>
                  <a:gd name="connsiteY1529" fmla="*/ 250615 h 458350"/>
                  <a:gd name="connsiteX1530" fmla="*/ 872911 w 1253076"/>
                  <a:gd name="connsiteY1530" fmla="*/ 249706 h 458350"/>
                  <a:gd name="connsiteX1531" fmla="*/ 872154 w 1253076"/>
                  <a:gd name="connsiteY1531" fmla="*/ 248040 h 458350"/>
                  <a:gd name="connsiteX1532" fmla="*/ 871093 w 1253076"/>
                  <a:gd name="connsiteY1532" fmla="*/ 246676 h 458350"/>
                  <a:gd name="connsiteX1533" fmla="*/ 866548 w 1253076"/>
                  <a:gd name="connsiteY1533" fmla="*/ 244554 h 458350"/>
                  <a:gd name="connsiteX1534" fmla="*/ 865032 w 1253076"/>
                  <a:gd name="connsiteY1534" fmla="*/ 244100 h 458350"/>
                  <a:gd name="connsiteX1535" fmla="*/ 858062 w 1253076"/>
                  <a:gd name="connsiteY1535" fmla="*/ 243948 h 458350"/>
                  <a:gd name="connsiteX1536" fmla="*/ 851244 w 1253076"/>
                  <a:gd name="connsiteY1536" fmla="*/ 245009 h 458350"/>
                  <a:gd name="connsiteX1537" fmla="*/ 848819 w 1253076"/>
                  <a:gd name="connsiteY1537" fmla="*/ 246221 h 458350"/>
                  <a:gd name="connsiteX1538" fmla="*/ 845183 w 1253076"/>
                  <a:gd name="connsiteY1538" fmla="*/ 245009 h 458350"/>
                  <a:gd name="connsiteX1539" fmla="*/ 844122 w 1253076"/>
                  <a:gd name="connsiteY1539" fmla="*/ 245615 h 458350"/>
                  <a:gd name="connsiteX1540" fmla="*/ 843516 w 1253076"/>
                  <a:gd name="connsiteY1540" fmla="*/ 246827 h 458350"/>
                  <a:gd name="connsiteX1541" fmla="*/ 843668 w 1253076"/>
                  <a:gd name="connsiteY1541" fmla="*/ 251828 h 458350"/>
                  <a:gd name="connsiteX1542" fmla="*/ 844274 w 1253076"/>
                  <a:gd name="connsiteY1542" fmla="*/ 253646 h 458350"/>
                  <a:gd name="connsiteX1543" fmla="*/ 846698 w 1253076"/>
                  <a:gd name="connsiteY1543" fmla="*/ 256373 h 458350"/>
                  <a:gd name="connsiteX1544" fmla="*/ 847608 w 1253076"/>
                  <a:gd name="connsiteY1544" fmla="*/ 257888 h 458350"/>
                  <a:gd name="connsiteX1545" fmla="*/ 848668 w 1253076"/>
                  <a:gd name="connsiteY1545" fmla="*/ 258646 h 458350"/>
                  <a:gd name="connsiteX1546" fmla="*/ 853971 w 1253076"/>
                  <a:gd name="connsiteY1546" fmla="*/ 261525 h 458350"/>
                  <a:gd name="connsiteX1547" fmla="*/ 857608 w 1253076"/>
                  <a:gd name="connsiteY1547" fmla="*/ 263192 h 458350"/>
                  <a:gd name="connsiteX1548" fmla="*/ 861396 w 1253076"/>
                  <a:gd name="connsiteY1548" fmla="*/ 264555 h 458350"/>
                  <a:gd name="connsiteX1549" fmla="*/ 862911 w 1253076"/>
                  <a:gd name="connsiteY1549" fmla="*/ 264252 h 458350"/>
                  <a:gd name="connsiteX1550" fmla="*/ 864426 w 1253076"/>
                  <a:gd name="connsiteY1550" fmla="*/ 263646 h 458350"/>
                  <a:gd name="connsiteX1551" fmla="*/ 866548 w 1253076"/>
                  <a:gd name="connsiteY1551" fmla="*/ 263494 h 458350"/>
                  <a:gd name="connsiteX1552" fmla="*/ 868517 w 1253076"/>
                  <a:gd name="connsiteY1552" fmla="*/ 263040 h 458350"/>
                  <a:gd name="connsiteX1553" fmla="*/ 872456 w 1253076"/>
                  <a:gd name="connsiteY1553" fmla="*/ 260464 h 458350"/>
                  <a:gd name="connsiteX1554" fmla="*/ 874426 w 1253076"/>
                  <a:gd name="connsiteY1554" fmla="*/ 259858 h 458350"/>
                  <a:gd name="connsiteX1555" fmla="*/ 876396 w 1253076"/>
                  <a:gd name="connsiteY1555" fmla="*/ 259404 h 458350"/>
                  <a:gd name="connsiteX1556" fmla="*/ 876851 w 1253076"/>
                  <a:gd name="connsiteY1556" fmla="*/ 255009 h 458350"/>
                  <a:gd name="connsiteX1557" fmla="*/ 876396 w 1253076"/>
                  <a:gd name="connsiteY1557" fmla="*/ 252888 h 458350"/>
                  <a:gd name="connsiteX1558" fmla="*/ 874881 w 1253076"/>
                  <a:gd name="connsiteY1558" fmla="*/ 251373 h 458350"/>
                  <a:gd name="connsiteX1559" fmla="*/ 862911 w 1253076"/>
                  <a:gd name="connsiteY1559" fmla="*/ 369407 h 458350"/>
                  <a:gd name="connsiteX1560" fmla="*/ 859729 w 1253076"/>
                  <a:gd name="connsiteY1560" fmla="*/ 366983 h 458350"/>
                  <a:gd name="connsiteX1561" fmla="*/ 855790 w 1253076"/>
                  <a:gd name="connsiteY1561" fmla="*/ 368044 h 458350"/>
                  <a:gd name="connsiteX1562" fmla="*/ 852911 w 1253076"/>
                  <a:gd name="connsiteY1562" fmla="*/ 369862 h 458350"/>
                  <a:gd name="connsiteX1563" fmla="*/ 848971 w 1253076"/>
                  <a:gd name="connsiteY1563" fmla="*/ 370620 h 458350"/>
                  <a:gd name="connsiteX1564" fmla="*/ 845486 w 1253076"/>
                  <a:gd name="connsiteY1564" fmla="*/ 370317 h 458350"/>
                  <a:gd name="connsiteX1565" fmla="*/ 842456 w 1253076"/>
                  <a:gd name="connsiteY1565" fmla="*/ 369407 h 458350"/>
                  <a:gd name="connsiteX1566" fmla="*/ 838819 w 1253076"/>
                  <a:gd name="connsiteY1566" fmla="*/ 373650 h 458350"/>
                  <a:gd name="connsiteX1567" fmla="*/ 837910 w 1253076"/>
                  <a:gd name="connsiteY1567" fmla="*/ 375468 h 458350"/>
                  <a:gd name="connsiteX1568" fmla="*/ 837607 w 1253076"/>
                  <a:gd name="connsiteY1568" fmla="*/ 378347 h 458350"/>
                  <a:gd name="connsiteX1569" fmla="*/ 838364 w 1253076"/>
                  <a:gd name="connsiteY1569" fmla="*/ 378196 h 458350"/>
                  <a:gd name="connsiteX1570" fmla="*/ 841850 w 1253076"/>
                  <a:gd name="connsiteY1570" fmla="*/ 376378 h 458350"/>
                  <a:gd name="connsiteX1571" fmla="*/ 844274 w 1253076"/>
                  <a:gd name="connsiteY1571" fmla="*/ 375620 h 458350"/>
                  <a:gd name="connsiteX1572" fmla="*/ 846092 w 1253076"/>
                  <a:gd name="connsiteY1572" fmla="*/ 375620 h 458350"/>
                  <a:gd name="connsiteX1573" fmla="*/ 847758 w 1253076"/>
                  <a:gd name="connsiteY1573" fmla="*/ 376378 h 458350"/>
                  <a:gd name="connsiteX1574" fmla="*/ 851698 w 1253076"/>
                  <a:gd name="connsiteY1574" fmla="*/ 376529 h 458350"/>
                  <a:gd name="connsiteX1575" fmla="*/ 856093 w 1253076"/>
                  <a:gd name="connsiteY1575" fmla="*/ 377438 h 458350"/>
                  <a:gd name="connsiteX1576" fmla="*/ 857304 w 1253076"/>
                  <a:gd name="connsiteY1576" fmla="*/ 375165 h 458350"/>
                  <a:gd name="connsiteX1577" fmla="*/ 858972 w 1253076"/>
                  <a:gd name="connsiteY1577" fmla="*/ 373499 h 458350"/>
                  <a:gd name="connsiteX1578" fmla="*/ 862153 w 1253076"/>
                  <a:gd name="connsiteY1578" fmla="*/ 371983 h 458350"/>
                  <a:gd name="connsiteX1579" fmla="*/ 865487 w 1253076"/>
                  <a:gd name="connsiteY1579" fmla="*/ 371529 h 458350"/>
                  <a:gd name="connsiteX1580" fmla="*/ 865487 w 1253076"/>
                  <a:gd name="connsiteY1580" fmla="*/ 370923 h 458350"/>
                  <a:gd name="connsiteX1581" fmla="*/ 865184 w 1253076"/>
                  <a:gd name="connsiteY1581" fmla="*/ 369559 h 458350"/>
                  <a:gd name="connsiteX1582" fmla="*/ 862911 w 1253076"/>
                  <a:gd name="connsiteY1582" fmla="*/ 369407 h 458350"/>
                  <a:gd name="connsiteX1583" fmla="*/ 876244 w 1253076"/>
                  <a:gd name="connsiteY1583" fmla="*/ 177582 h 458350"/>
                  <a:gd name="connsiteX1584" fmla="*/ 874730 w 1253076"/>
                  <a:gd name="connsiteY1584" fmla="*/ 181370 h 458350"/>
                  <a:gd name="connsiteX1585" fmla="*/ 875487 w 1253076"/>
                  <a:gd name="connsiteY1585" fmla="*/ 181825 h 458350"/>
                  <a:gd name="connsiteX1586" fmla="*/ 878366 w 1253076"/>
                  <a:gd name="connsiteY1586" fmla="*/ 182582 h 458350"/>
                  <a:gd name="connsiteX1587" fmla="*/ 878669 w 1253076"/>
                  <a:gd name="connsiteY1587" fmla="*/ 181976 h 458350"/>
                  <a:gd name="connsiteX1588" fmla="*/ 878669 w 1253076"/>
                  <a:gd name="connsiteY1588" fmla="*/ 181370 h 458350"/>
                  <a:gd name="connsiteX1589" fmla="*/ 877457 w 1253076"/>
                  <a:gd name="connsiteY1589" fmla="*/ 177734 h 458350"/>
                  <a:gd name="connsiteX1590" fmla="*/ 876244 w 1253076"/>
                  <a:gd name="connsiteY1590" fmla="*/ 177582 h 458350"/>
                  <a:gd name="connsiteX1591" fmla="*/ 822758 w 1253076"/>
                  <a:gd name="connsiteY1591" fmla="*/ 208795 h 458350"/>
                  <a:gd name="connsiteX1592" fmla="*/ 821092 w 1253076"/>
                  <a:gd name="connsiteY1592" fmla="*/ 209099 h 458350"/>
                  <a:gd name="connsiteX1593" fmla="*/ 820788 w 1253076"/>
                  <a:gd name="connsiteY1593" fmla="*/ 207280 h 458350"/>
                  <a:gd name="connsiteX1594" fmla="*/ 819576 w 1253076"/>
                  <a:gd name="connsiteY1594" fmla="*/ 206674 h 458350"/>
                  <a:gd name="connsiteX1595" fmla="*/ 819122 w 1253076"/>
                  <a:gd name="connsiteY1595" fmla="*/ 206826 h 458350"/>
                  <a:gd name="connsiteX1596" fmla="*/ 818213 w 1253076"/>
                  <a:gd name="connsiteY1596" fmla="*/ 207886 h 458350"/>
                  <a:gd name="connsiteX1597" fmla="*/ 817304 w 1253076"/>
                  <a:gd name="connsiteY1597" fmla="*/ 207886 h 458350"/>
                  <a:gd name="connsiteX1598" fmla="*/ 814727 w 1253076"/>
                  <a:gd name="connsiteY1598" fmla="*/ 206977 h 458350"/>
                  <a:gd name="connsiteX1599" fmla="*/ 806394 w 1253076"/>
                  <a:gd name="connsiteY1599" fmla="*/ 205159 h 458350"/>
                  <a:gd name="connsiteX1600" fmla="*/ 801393 w 1253076"/>
                  <a:gd name="connsiteY1600" fmla="*/ 205462 h 458350"/>
                  <a:gd name="connsiteX1601" fmla="*/ 799575 w 1253076"/>
                  <a:gd name="connsiteY1601" fmla="*/ 205917 h 458350"/>
                  <a:gd name="connsiteX1602" fmla="*/ 798514 w 1253076"/>
                  <a:gd name="connsiteY1602" fmla="*/ 206674 h 458350"/>
                  <a:gd name="connsiteX1603" fmla="*/ 797151 w 1253076"/>
                  <a:gd name="connsiteY1603" fmla="*/ 211372 h 458350"/>
                  <a:gd name="connsiteX1604" fmla="*/ 799575 w 1253076"/>
                  <a:gd name="connsiteY1604" fmla="*/ 215311 h 458350"/>
                  <a:gd name="connsiteX1605" fmla="*/ 802454 w 1253076"/>
                  <a:gd name="connsiteY1605" fmla="*/ 215311 h 458350"/>
                  <a:gd name="connsiteX1606" fmla="*/ 805636 w 1253076"/>
                  <a:gd name="connsiteY1606" fmla="*/ 214553 h 458350"/>
                  <a:gd name="connsiteX1607" fmla="*/ 810939 w 1253076"/>
                  <a:gd name="connsiteY1607" fmla="*/ 212281 h 458350"/>
                  <a:gd name="connsiteX1608" fmla="*/ 815636 w 1253076"/>
                  <a:gd name="connsiteY1608" fmla="*/ 213644 h 458350"/>
                  <a:gd name="connsiteX1609" fmla="*/ 819122 w 1253076"/>
                  <a:gd name="connsiteY1609" fmla="*/ 212129 h 458350"/>
                  <a:gd name="connsiteX1610" fmla="*/ 823970 w 1253076"/>
                  <a:gd name="connsiteY1610" fmla="*/ 211826 h 458350"/>
                  <a:gd name="connsiteX1611" fmla="*/ 824121 w 1253076"/>
                  <a:gd name="connsiteY1611" fmla="*/ 210008 h 458350"/>
                  <a:gd name="connsiteX1612" fmla="*/ 823667 w 1253076"/>
                  <a:gd name="connsiteY1612" fmla="*/ 209553 h 458350"/>
                  <a:gd name="connsiteX1613" fmla="*/ 822758 w 1253076"/>
                  <a:gd name="connsiteY1613" fmla="*/ 208795 h 458350"/>
                  <a:gd name="connsiteX1614" fmla="*/ 1081404 w 1253076"/>
                  <a:gd name="connsiteY1614" fmla="*/ 322588 h 458350"/>
                  <a:gd name="connsiteX1615" fmla="*/ 1082616 w 1253076"/>
                  <a:gd name="connsiteY1615" fmla="*/ 320769 h 458350"/>
                  <a:gd name="connsiteX1616" fmla="*/ 1082162 w 1253076"/>
                  <a:gd name="connsiteY1616" fmla="*/ 318951 h 458350"/>
                  <a:gd name="connsiteX1617" fmla="*/ 1082162 w 1253076"/>
                  <a:gd name="connsiteY1617" fmla="*/ 316981 h 458350"/>
                  <a:gd name="connsiteX1618" fmla="*/ 1082313 w 1253076"/>
                  <a:gd name="connsiteY1618" fmla="*/ 315921 h 458350"/>
                  <a:gd name="connsiteX1619" fmla="*/ 1081101 w 1253076"/>
                  <a:gd name="connsiteY1619" fmla="*/ 313042 h 458350"/>
                  <a:gd name="connsiteX1620" fmla="*/ 1079586 w 1253076"/>
                  <a:gd name="connsiteY1620" fmla="*/ 312436 h 458350"/>
                  <a:gd name="connsiteX1621" fmla="*/ 1079888 w 1253076"/>
                  <a:gd name="connsiteY1621" fmla="*/ 311224 h 458350"/>
                  <a:gd name="connsiteX1622" fmla="*/ 1079586 w 1253076"/>
                  <a:gd name="connsiteY1622" fmla="*/ 310011 h 458350"/>
                  <a:gd name="connsiteX1623" fmla="*/ 1078828 w 1253076"/>
                  <a:gd name="connsiteY1623" fmla="*/ 308496 h 458350"/>
                  <a:gd name="connsiteX1624" fmla="*/ 1077616 w 1253076"/>
                  <a:gd name="connsiteY1624" fmla="*/ 308193 h 458350"/>
                  <a:gd name="connsiteX1625" fmla="*/ 1075798 w 1253076"/>
                  <a:gd name="connsiteY1625" fmla="*/ 308496 h 458350"/>
                  <a:gd name="connsiteX1626" fmla="*/ 1075343 w 1253076"/>
                  <a:gd name="connsiteY1626" fmla="*/ 310921 h 458350"/>
                  <a:gd name="connsiteX1627" fmla="*/ 1074434 w 1253076"/>
                  <a:gd name="connsiteY1627" fmla="*/ 311830 h 458350"/>
                  <a:gd name="connsiteX1628" fmla="*/ 1071252 w 1253076"/>
                  <a:gd name="connsiteY1628" fmla="*/ 316072 h 458350"/>
                  <a:gd name="connsiteX1629" fmla="*/ 1068676 w 1253076"/>
                  <a:gd name="connsiteY1629" fmla="*/ 315163 h 458350"/>
                  <a:gd name="connsiteX1630" fmla="*/ 1067464 w 1253076"/>
                  <a:gd name="connsiteY1630" fmla="*/ 315921 h 458350"/>
                  <a:gd name="connsiteX1631" fmla="*/ 1068070 w 1253076"/>
                  <a:gd name="connsiteY1631" fmla="*/ 316981 h 458350"/>
                  <a:gd name="connsiteX1632" fmla="*/ 1071252 w 1253076"/>
                  <a:gd name="connsiteY1632" fmla="*/ 319406 h 458350"/>
                  <a:gd name="connsiteX1633" fmla="*/ 1070040 w 1253076"/>
                  <a:gd name="connsiteY1633" fmla="*/ 323194 h 458350"/>
                  <a:gd name="connsiteX1634" fmla="*/ 1070191 w 1253076"/>
                  <a:gd name="connsiteY1634" fmla="*/ 324254 h 458350"/>
                  <a:gd name="connsiteX1635" fmla="*/ 1068070 w 1253076"/>
                  <a:gd name="connsiteY1635" fmla="*/ 324254 h 458350"/>
                  <a:gd name="connsiteX1636" fmla="*/ 1066100 w 1253076"/>
                  <a:gd name="connsiteY1636" fmla="*/ 324557 h 458350"/>
                  <a:gd name="connsiteX1637" fmla="*/ 1066100 w 1253076"/>
                  <a:gd name="connsiteY1637" fmla="*/ 325769 h 458350"/>
                  <a:gd name="connsiteX1638" fmla="*/ 1066706 w 1253076"/>
                  <a:gd name="connsiteY1638" fmla="*/ 326527 h 458350"/>
                  <a:gd name="connsiteX1639" fmla="*/ 1069131 w 1253076"/>
                  <a:gd name="connsiteY1639" fmla="*/ 328800 h 458350"/>
                  <a:gd name="connsiteX1640" fmla="*/ 1069585 w 1253076"/>
                  <a:gd name="connsiteY1640" fmla="*/ 329557 h 458350"/>
                  <a:gd name="connsiteX1641" fmla="*/ 1071707 w 1253076"/>
                  <a:gd name="connsiteY1641" fmla="*/ 331527 h 458350"/>
                  <a:gd name="connsiteX1642" fmla="*/ 1073979 w 1253076"/>
                  <a:gd name="connsiteY1642" fmla="*/ 333346 h 458350"/>
                  <a:gd name="connsiteX1643" fmla="*/ 1079283 w 1253076"/>
                  <a:gd name="connsiteY1643" fmla="*/ 334103 h 458350"/>
                  <a:gd name="connsiteX1644" fmla="*/ 1079888 w 1253076"/>
                  <a:gd name="connsiteY1644" fmla="*/ 333346 h 458350"/>
                  <a:gd name="connsiteX1645" fmla="*/ 1080495 w 1253076"/>
                  <a:gd name="connsiteY1645" fmla="*/ 333043 h 458350"/>
                  <a:gd name="connsiteX1646" fmla="*/ 1081253 w 1253076"/>
                  <a:gd name="connsiteY1646" fmla="*/ 332133 h 458350"/>
                  <a:gd name="connsiteX1647" fmla="*/ 1082010 w 1253076"/>
                  <a:gd name="connsiteY1647" fmla="*/ 329557 h 458350"/>
                  <a:gd name="connsiteX1648" fmla="*/ 1082313 w 1253076"/>
                  <a:gd name="connsiteY1648" fmla="*/ 328648 h 458350"/>
                  <a:gd name="connsiteX1649" fmla="*/ 1082313 w 1253076"/>
                  <a:gd name="connsiteY1649" fmla="*/ 326679 h 458350"/>
                  <a:gd name="connsiteX1650" fmla="*/ 1082162 w 1253076"/>
                  <a:gd name="connsiteY1650" fmla="*/ 325315 h 458350"/>
                  <a:gd name="connsiteX1651" fmla="*/ 1081404 w 1253076"/>
                  <a:gd name="connsiteY1651" fmla="*/ 322588 h 458350"/>
                  <a:gd name="connsiteX1652" fmla="*/ 1070646 w 1253076"/>
                  <a:gd name="connsiteY1652" fmla="*/ 332588 h 458350"/>
                  <a:gd name="connsiteX1653" fmla="*/ 1068373 w 1253076"/>
                  <a:gd name="connsiteY1653" fmla="*/ 330164 h 458350"/>
                  <a:gd name="connsiteX1654" fmla="*/ 1066555 w 1253076"/>
                  <a:gd name="connsiteY1654" fmla="*/ 328800 h 458350"/>
                  <a:gd name="connsiteX1655" fmla="*/ 1065040 w 1253076"/>
                  <a:gd name="connsiteY1655" fmla="*/ 329255 h 458350"/>
                  <a:gd name="connsiteX1656" fmla="*/ 1064888 w 1253076"/>
                  <a:gd name="connsiteY1656" fmla="*/ 331073 h 458350"/>
                  <a:gd name="connsiteX1657" fmla="*/ 1065191 w 1253076"/>
                  <a:gd name="connsiteY1657" fmla="*/ 335770 h 458350"/>
                  <a:gd name="connsiteX1658" fmla="*/ 1067161 w 1253076"/>
                  <a:gd name="connsiteY1658" fmla="*/ 336679 h 458350"/>
                  <a:gd name="connsiteX1659" fmla="*/ 1066858 w 1253076"/>
                  <a:gd name="connsiteY1659" fmla="*/ 337285 h 458350"/>
                  <a:gd name="connsiteX1660" fmla="*/ 1065949 w 1253076"/>
                  <a:gd name="connsiteY1660" fmla="*/ 337285 h 458350"/>
                  <a:gd name="connsiteX1661" fmla="*/ 1064585 w 1253076"/>
                  <a:gd name="connsiteY1661" fmla="*/ 336982 h 458350"/>
                  <a:gd name="connsiteX1662" fmla="*/ 1063222 w 1253076"/>
                  <a:gd name="connsiteY1662" fmla="*/ 345164 h 458350"/>
                  <a:gd name="connsiteX1663" fmla="*/ 1064131 w 1253076"/>
                  <a:gd name="connsiteY1663" fmla="*/ 346983 h 458350"/>
                  <a:gd name="connsiteX1664" fmla="*/ 1067161 w 1253076"/>
                  <a:gd name="connsiteY1664" fmla="*/ 349104 h 458350"/>
                  <a:gd name="connsiteX1665" fmla="*/ 1070494 w 1253076"/>
                  <a:gd name="connsiteY1665" fmla="*/ 347437 h 458350"/>
                  <a:gd name="connsiteX1666" fmla="*/ 1071403 w 1253076"/>
                  <a:gd name="connsiteY1666" fmla="*/ 346528 h 458350"/>
                  <a:gd name="connsiteX1667" fmla="*/ 1072919 w 1253076"/>
                  <a:gd name="connsiteY1667" fmla="*/ 342891 h 458350"/>
                  <a:gd name="connsiteX1668" fmla="*/ 1075495 w 1253076"/>
                  <a:gd name="connsiteY1668" fmla="*/ 340467 h 458350"/>
                  <a:gd name="connsiteX1669" fmla="*/ 1075949 w 1253076"/>
                  <a:gd name="connsiteY1669" fmla="*/ 338346 h 458350"/>
                  <a:gd name="connsiteX1670" fmla="*/ 1076404 w 1253076"/>
                  <a:gd name="connsiteY1670" fmla="*/ 336376 h 458350"/>
                  <a:gd name="connsiteX1671" fmla="*/ 1073070 w 1253076"/>
                  <a:gd name="connsiteY1671" fmla="*/ 334861 h 458350"/>
                  <a:gd name="connsiteX1672" fmla="*/ 1070646 w 1253076"/>
                  <a:gd name="connsiteY1672" fmla="*/ 332588 h 458350"/>
                  <a:gd name="connsiteX1673" fmla="*/ 1084434 w 1253076"/>
                  <a:gd name="connsiteY1673" fmla="*/ 333497 h 458350"/>
                  <a:gd name="connsiteX1674" fmla="*/ 1083676 w 1253076"/>
                  <a:gd name="connsiteY1674" fmla="*/ 334709 h 458350"/>
                  <a:gd name="connsiteX1675" fmla="*/ 1083676 w 1253076"/>
                  <a:gd name="connsiteY1675" fmla="*/ 336073 h 458350"/>
                  <a:gd name="connsiteX1676" fmla="*/ 1084283 w 1253076"/>
                  <a:gd name="connsiteY1676" fmla="*/ 335921 h 458350"/>
                  <a:gd name="connsiteX1677" fmla="*/ 1086101 w 1253076"/>
                  <a:gd name="connsiteY1677" fmla="*/ 332891 h 458350"/>
                  <a:gd name="connsiteX1678" fmla="*/ 1085192 w 1253076"/>
                  <a:gd name="connsiteY1678" fmla="*/ 332891 h 458350"/>
                  <a:gd name="connsiteX1679" fmla="*/ 1084434 w 1253076"/>
                  <a:gd name="connsiteY1679" fmla="*/ 333497 h 458350"/>
                  <a:gd name="connsiteX1680" fmla="*/ 1080192 w 1253076"/>
                  <a:gd name="connsiteY1680" fmla="*/ 341831 h 458350"/>
                  <a:gd name="connsiteX1681" fmla="*/ 1079283 w 1253076"/>
                  <a:gd name="connsiteY1681" fmla="*/ 343346 h 458350"/>
                  <a:gd name="connsiteX1682" fmla="*/ 1079283 w 1253076"/>
                  <a:gd name="connsiteY1682" fmla="*/ 343952 h 458350"/>
                  <a:gd name="connsiteX1683" fmla="*/ 1080040 w 1253076"/>
                  <a:gd name="connsiteY1683" fmla="*/ 344861 h 458350"/>
                  <a:gd name="connsiteX1684" fmla="*/ 1080495 w 1253076"/>
                  <a:gd name="connsiteY1684" fmla="*/ 344407 h 458350"/>
                  <a:gd name="connsiteX1685" fmla="*/ 1081858 w 1253076"/>
                  <a:gd name="connsiteY1685" fmla="*/ 342134 h 458350"/>
                  <a:gd name="connsiteX1686" fmla="*/ 1082162 w 1253076"/>
                  <a:gd name="connsiteY1686" fmla="*/ 340922 h 458350"/>
                  <a:gd name="connsiteX1687" fmla="*/ 1081101 w 1253076"/>
                  <a:gd name="connsiteY1687" fmla="*/ 340922 h 458350"/>
                  <a:gd name="connsiteX1688" fmla="*/ 1080192 w 1253076"/>
                  <a:gd name="connsiteY1688" fmla="*/ 341831 h 458350"/>
                  <a:gd name="connsiteX1689" fmla="*/ 1081858 w 1253076"/>
                  <a:gd name="connsiteY1689" fmla="*/ 337740 h 458350"/>
                  <a:gd name="connsiteX1690" fmla="*/ 1080495 w 1253076"/>
                  <a:gd name="connsiteY1690" fmla="*/ 336376 h 458350"/>
                  <a:gd name="connsiteX1691" fmla="*/ 1079283 w 1253076"/>
                  <a:gd name="connsiteY1691" fmla="*/ 336982 h 458350"/>
                  <a:gd name="connsiteX1692" fmla="*/ 1080040 w 1253076"/>
                  <a:gd name="connsiteY1692" fmla="*/ 339255 h 458350"/>
                  <a:gd name="connsiteX1693" fmla="*/ 1081555 w 1253076"/>
                  <a:gd name="connsiteY1693" fmla="*/ 338952 h 458350"/>
                  <a:gd name="connsiteX1694" fmla="*/ 1081858 w 1253076"/>
                  <a:gd name="connsiteY1694" fmla="*/ 337740 h 458350"/>
                  <a:gd name="connsiteX1695" fmla="*/ 1192923 w 1253076"/>
                  <a:gd name="connsiteY1695" fmla="*/ 380166 h 458350"/>
                  <a:gd name="connsiteX1696" fmla="*/ 1195802 w 1253076"/>
                  <a:gd name="connsiteY1696" fmla="*/ 375317 h 458350"/>
                  <a:gd name="connsiteX1697" fmla="*/ 1198378 w 1253076"/>
                  <a:gd name="connsiteY1697" fmla="*/ 370165 h 458350"/>
                  <a:gd name="connsiteX1698" fmla="*/ 1197620 w 1253076"/>
                  <a:gd name="connsiteY1698" fmla="*/ 367135 h 458350"/>
                  <a:gd name="connsiteX1699" fmla="*/ 1195954 w 1253076"/>
                  <a:gd name="connsiteY1699" fmla="*/ 365014 h 458350"/>
                  <a:gd name="connsiteX1700" fmla="*/ 1193227 w 1253076"/>
                  <a:gd name="connsiteY1700" fmla="*/ 362437 h 458350"/>
                  <a:gd name="connsiteX1701" fmla="*/ 1192317 w 1253076"/>
                  <a:gd name="connsiteY1701" fmla="*/ 361831 h 458350"/>
                  <a:gd name="connsiteX1702" fmla="*/ 1186105 w 1253076"/>
                  <a:gd name="connsiteY1702" fmla="*/ 361528 h 458350"/>
                  <a:gd name="connsiteX1703" fmla="*/ 1179286 w 1253076"/>
                  <a:gd name="connsiteY1703" fmla="*/ 363195 h 458350"/>
                  <a:gd name="connsiteX1704" fmla="*/ 1176255 w 1253076"/>
                  <a:gd name="connsiteY1704" fmla="*/ 364710 h 458350"/>
                  <a:gd name="connsiteX1705" fmla="*/ 1173377 w 1253076"/>
                  <a:gd name="connsiteY1705" fmla="*/ 366680 h 458350"/>
                  <a:gd name="connsiteX1706" fmla="*/ 1171408 w 1253076"/>
                  <a:gd name="connsiteY1706" fmla="*/ 368802 h 458350"/>
                  <a:gd name="connsiteX1707" fmla="*/ 1166559 w 1253076"/>
                  <a:gd name="connsiteY1707" fmla="*/ 376680 h 458350"/>
                  <a:gd name="connsiteX1708" fmla="*/ 1162467 w 1253076"/>
                  <a:gd name="connsiteY1708" fmla="*/ 385772 h 458350"/>
                  <a:gd name="connsiteX1709" fmla="*/ 1161558 w 1253076"/>
                  <a:gd name="connsiteY1709" fmla="*/ 389105 h 458350"/>
                  <a:gd name="connsiteX1710" fmla="*/ 1162619 w 1253076"/>
                  <a:gd name="connsiteY1710" fmla="*/ 389863 h 458350"/>
                  <a:gd name="connsiteX1711" fmla="*/ 1167620 w 1253076"/>
                  <a:gd name="connsiteY1711" fmla="*/ 388954 h 458350"/>
                  <a:gd name="connsiteX1712" fmla="*/ 1170649 w 1253076"/>
                  <a:gd name="connsiteY1712" fmla="*/ 388954 h 458350"/>
                  <a:gd name="connsiteX1713" fmla="*/ 1179286 w 1253076"/>
                  <a:gd name="connsiteY1713" fmla="*/ 389560 h 458350"/>
                  <a:gd name="connsiteX1714" fmla="*/ 1185801 w 1253076"/>
                  <a:gd name="connsiteY1714" fmla="*/ 385923 h 458350"/>
                  <a:gd name="connsiteX1715" fmla="*/ 1187923 w 1253076"/>
                  <a:gd name="connsiteY1715" fmla="*/ 383802 h 458350"/>
                  <a:gd name="connsiteX1716" fmla="*/ 1192923 w 1253076"/>
                  <a:gd name="connsiteY1716" fmla="*/ 380166 h 458350"/>
                  <a:gd name="connsiteX1717" fmla="*/ 1252926 w 1253076"/>
                  <a:gd name="connsiteY1717" fmla="*/ 408803 h 458350"/>
                  <a:gd name="connsiteX1718" fmla="*/ 1252926 w 1253076"/>
                  <a:gd name="connsiteY1718" fmla="*/ 403197 h 458350"/>
                  <a:gd name="connsiteX1719" fmla="*/ 1252926 w 1253076"/>
                  <a:gd name="connsiteY1719" fmla="*/ 397590 h 458350"/>
                  <a:gd name="connsiteX1720" fmla="*/ 1252926 w 1253076"/>
                  <a:gd name="connsiteY1720" fmla="*/ 391984 h 458350"/>
                  <a:gd name="connsiteX1721" fmla="*/ 1252926 w 1253076"/>
                  <a:gd name="connsiteY1721" fmla="*/ 386378 h 458350"/>
                  <a:gd name="connsiteX1722" fmla="*/ 1252926 w 1253076"/>
                  <a:gd name="connsiteY1722" fmla="*/ 380772 h 458350"/>
                  <a:gd name="connsiteX1723" fmla="*/ 1252926 w 1253076"/>
                  <a:gd name="connsiteY1723" fmla="*/ 375165 h 458350"/>
                  <a:gd name="connsiteX1724" fmla="*/ 1252926 w 1253076"/>
                  <a:gd name="connsiteY1724" fmla="*/ 369559 h 458350"/>
                  <a:gd name="connsiteX1725" fmla="*/ 1252926 w 1253076"/>
                  <a:gd name="connsiteY1725" fmla="*/ 363953 h 458350"/>
                  <a:gd name="connsiteX1726" fmla="*/ 1252926 w 1253076"/>
                  <a:gd name="connsiteY1726" fmla="*/ 358347 h 458350"/>
                  <a:gd name="connsiteX1727" fmla="*/ 1252926 w 1253076"/>
                  <a:gd name="connsiteY1727" fmla="*/ 352740 h 458350"/>
                  <a:gd name="connsiteX1728" fmla="*/ 1252926 w 1253076"/>
                  <a:gd name="connsiteY1728" fmla="*/ 348195 h 458350"/>
                  <a:gd name="connsiteX1729" fmla="*/ 1251410 w 1253076"/>
                  <a:gd name="connsiteY1729" fmla="*/ 346376 h 458350"/>
                  <a:gd name="connsiteX1730" fmla="*/ 1249895 w 1253076"/>
                  <a:gd name="connsiteY1730" fmla="*/ 343649 h 458350"/>
                  <a:gd name="connsiteX1731" fmla="*/ 1250198 w 1253076"/>
                  <a:gd name="connsiteY1731" fmla="*/ 340164 h 458350"/>
                  <a:gd name="connsiteX1732" fmla="*/ 1252167 w 1253076"/>
                  <a:gd name="connsiteY1732" fmla="*/ 335770 h 458350"/>
                  <a:gd name="connsiteX1733" fmla="*/ 1253077 w 1253076"/>
                  <a:gd name="connsiteY1733" fmla="*/ 332891 h 458350"/>
                  <a:gd name="connsiteX1734" fmla="*/ 1253077 w 1253076"/>
                  <a:gd name="connsiteY1734" fmla="*/ 330467 h 458350"/>
                  <a:gd name="connsiteX1735" fmla="*/ 1253077 w 1253076"/>
                  <a:gd name="connsiteY1735" fmla="*/ 324860 h 458350"/>
                  <a:gd name="connsiteX1736" fmla="*/ 1253077 w 1253076"/>
                  <a:gd name="connsiteY1736" fmla="*/ 319254 h 458350"/>
                  <a:gd name="connsiteX1737" fmla="*/ 1253077 w 1253076"/>
                  <a:gd name="connsiteY1737" fmla="*/ 313648 h 458350"/>
                  <a:gd name="connsiteX1738" fmla="*/ 1253077 w 1253076"/>
                  <a:gd name="connsiteY1738" fmla="*/ 308042 h 458350"/>
                  <a:gd name="connsiteX1739" fmla="*/ 1253077 w 1253076"/>
                  <a:gd name="connsiteY1739" fmla="*/ 302435 h 458350"/>
                  <a:gd name="connsiteX1740" fmla="*/ 1253077 w 1253076"/>
                  <a:gd name="connsiteY1740" fmla="*/ 296829 h 458350"/>
                  <a:gd name="connsiteX1741" fmla="*/ 1253077 w 1253076"/>
                  <a:gd name="connsiteY1741" fmla="*/ 291223 h 458350"/>
                  <a:gd name="connsiteX1742" fmla="*/ 1253077 w 1253076"/>
                  <a:gd name="connsiteY1742" fmla="*/ 285617 h 458350"/>
                  <a:gd name="connsiteX1743" fmla="*/ 1253077 w 1253076"/>
                  <a:gd name="connsiteY1743" fmla="*/ 280010 h 458350"/>
                  <a:gd name="connsiteX1744" fmla="*/ 1253077 w 1253076"/>
                  <a:gd name="connsiteY1744" fmla="*/ 274404 h 458350"/>
                  <a:gd name="connsiteX1745" fmla="*/ 1253077 w 1253076"/>
                  <a:gd name="connsiteY1745" fmla="*/ 268798 h 458350"/>
                  <a:gd name="connsiteX1746" fmla="*/ 1253077 w 1253076"/>
                  <a:gd name="connsiteY1746" fmla="*/ 263192 h 458350"/>
                  <a:gd name="connsiteX1747" fmla="*/ 1253077 w 1253076"/>
                  <a:gd name="connsiteY1747" fmla="*/ 257585 h 458350"/>
                  <a:gd name="connsiteX1748" fmla="*/ 1253077 w 1253076"/>
                  <a:gd name="connsiteY1748" fmla="*/ 251979 h 458350"/>
                  <a:gd name="connsiteX1749" fmla="*/ 1253077 w 1253076"/>
                  <a:gd name="connsiteY1749" fmla="*/ 246373 h 458350"/>
                  <a:gd name="connsiteX1750" fmla="*/ 1253077 w 1253076"/>
                  <a:gd name="connsiteY1750" fmla="*/ 240766 h 458350"/>
                  <a:gd name="connsiteX1751" fmla="*/ 1253077 w 1253076"/>
                  <a:gd name="connsiteY1751" fmla="*/ 235312 h 458350"/>
                  <a:gd name="connsiteX1752" fmla="*/ 1253077 w 1253076"/>
                  <a:gd name="connsiteY1752" fmla="*/ 230009 h 458350"/>
                  <a:gd name="connsiteX1753" fmla="*/ 1246865 w 1253076"/>
                  <a:gd name="connsiteY1753" fmla="*/ 230009 h 458350"/>
                  <a:gd name="connsiteX1754" fmla="*/ 1246107 w 1253076"/>
                  <a:gd name="connsiteY1754" fmla="*/ 227281 h 458350"/>
                  <a:gd name="connsiteX1755" fmla="*/ 1244743 w 1253076"/>
                  <a:gd name="connsiteY1755" fmla="*/ 226372 h 458350"/>
                  <a:gd name="connsiteX1756" fmla="*/ 1243380 w 1253076"/>
                  <a:gd name="connsiteY1756" fmla="*/ 225614 h 458350"/>
                  <a:gd name="connsiteX1757" fmla="*/ 1234440 w 1253076"/>
                  <a:gd name="connsiteY1757" fmla="*/ 224857 h 458350"/>
                  <a:gd name="connsiteX1758" fmla="*/ 1233227 w 1253076"/>
                  <a:gd name="connsiteY1758" fmla="*/ 224554 h 458350"/>
                  <a:gd name="connsiteX1759" fmla="*/ 1232016 w 1253076"/>
                  <a:gd name="connsiteY1759" fmla="*/ 223493 h 458350"/>
                  <a:gd name="connsiteX1760" fmla="*/ 1230652 w 1253076"/>
                  <a:gd name="connsiteY1760" fmla="*/ 222736 h 458350"/>
                  <a:gd name="connsiteX1761" fmla="*/ 1222772 w 1253076"/>
                  <a:gd name="connsiteY1761" fmla="*/ 222887 h 458350"/>
                  <a:gd name="connsiteX1762" fmla="*/ 1220652 w 1253076"/>
                  <a:gd name="connsiteY1762" fmla="*/ 222736 h 458350"/>
                  <a:gd name="connsiteX1763" fmla="*/ 1212167 w 1253076"/>
                  <a:gd name="connsiteY1763" fmla="*/ 219099 h 458350"/>
                  <a:gd name="connsiteX1764" fmla="*/ 1205954 w 1253076"/>
                  <a:gd name="connsiteY1764" fmla="*/ 216069 h 458350"/>
                  <a:gd name="connsiteX1765" fmla="*/ 1203075 w 1253076"/>
                  <a:gd name="connsiteY1765" fmla="*/ 214402 h 458350"/>
                  <a:gd name="connsiteX1766" fmla="*/ 1200044 w 1253076"/>
                  <a:gd name="connsiteY1766" fmla="*/ 213190 h 458350"/>
                  <a:gd name="connsiteX1767" fmla="*/ 1196711 w 1253076"/>
                  <a:gd name="connsiteY1767" fmla="*/ 212583 h 458350"/>
                  <a:gd name="connsiteX1768" fmla="*/ 1193832 w 1253076"/>
                  <a:gd name="connsiteY1768" fmla="*/ 211220 h 458350"/>
                  <a:gd name="connsiteX1769" fmla="*/ 1191711 w 1253076"/>
                  <a:gd name="connsiteY1769" fmla="*/ 209250 h 458350"/>
                  <a:gd name="connsiteX1770" fmla="*/ 1189287 w 1253076"/>
                  <a:gd name="connsiteY1770" fmla="*/ 207735 h 458350"/>
                  <a:gd name="connsiteX1771" fmla="*/ 1174589 w 1253076"/>
                  <a:gd name="connsiteY1771" fmla="*/ 203038 h 458350"/>
                  <a:gd name="connsiteX1772" fmla="*/ 1171710 w 1253076"/>
                  <a:gd name="connsiteY1772" fmla="*/ 201371 h 458350"/>
                  <a:gd name="connsiteX1773" fmla="*/ 1169134 w 1253076"/>
                  <a:gd name="connsiteY1773" fmla="*/ 199401 h 458350"/>
                  <a:gd name="connsiteX1774" fmla="*/ 1166255 w 1253076"/>
                  <a:gd name="connsiteY1774" fmla="*/ 199401 h 458350"/>
                  <a:gd name="connsiteX1775" fmla="*/ 1161103 w 1253076"/>
                  <a:gd name="connsiteY1775" fmla="*/ 201674 h 458350"/>
                  <a:gd name="connsiteX1776" fmla="*/ 1154588 w 1253076"/>
                  <a:gd name="connsiteY1776" fmla="*/ 204856 h 458350"/>
                  <a:gd name="connsiteX1777" fmla="*/ 1148982 w 1253076"/>
                  <a:gd name="connsiteY1777" fmla="*/ 208038 h 458350"/>
                  <a:gd name="connsiteX1778" fmla="*/ 1147467 w 1253076"/>
                  <a:gd name="connsiteY1778" fmla="*/ 209099 h 458350"/>
                  <a:gd name="connsiteX1779" fmla="*/ 1147467 w 1253076"/>
                  <a:gd name="connsiteY1779" fmla="*/ 210159 h 458350"/>
                  <a:gd name="connsiteX1780" fmla="*/ 1148830 w 1253076"/>
                  <a:gd name="connsiteY1780" fmla="*/ 212583 h 458350"/>
                  <a:gd name="connsiteX1781" fmla="*/ 1148679 w 1253076"/>
                  <a:gd name="connsiteY1781" fmla="*/ 213947 h 458350"/>
                  <a:gd name="connsiteX1782" fmla="*/ 1145951 w 1253076"/>
                  <a:gd name="connsiteY1782" fmla="*/ 216069 h 458350"/>
                  <a:gd name="connsiteX1783" fmla="*/ 1139739 w 1253076"/>
                  <a:gd name="connsiteY1783" fmla="*/ 218644 h 458350"/>
                  <a:gd name="connsiteX1784" fmla="*/ 1133376 w 1253076"/>
                  <a:gd name="connsiteY1784" fmla="*/ 219402 h 458350"/>
                  <a:gd name="connsiteX1785" fmla="*/ 1127314 w 1253076"/>
                  <a:gd name="connsiteY1785" fmla="*/ 220766 h 458350"/>
                  <a:gd name="connsiteX1786" fmla="*/ 1126254 w 1253076"/>
                  <a:gd name="connsiteY1786" fmla="*/ 222129 h 458350"/>
                  <a:gd name="connsiteX1787" fmla="*/ 1124891 w 1253076"/>
                  <a:gd name="connsiteY1787" fmla="*/ 224857 h 458350"/>
                  <a:gd name="connsiteX1788" fmla="*/ 1123981 w 1253076"/>
                  <a:gd name="connsiteY1788" fmla="*/ 227736 h 458350"/>
                  <a:gd name="connsiteX1789" fmla="*/ 1123223 w 1253076"/>
                  <a:gd name="connsiteY1789" fmla="*/ 229251 h 458350"/>
                  <a:gd name="connsiteX1790" fmla="*/ 1116860 w 1253076"/>
                  <a:gd name="connsiteY1790" fmla="*/ 233342 h 458350"/>
                  <a:gd name="connsiteX1791" fmla="*/ 1116254 w 1253076"/>
                  <a:gd name="connsiteY1791" fmla="*/ 234100 h 458350"/>
                  <a:gd name="connsiteX1792" fmla="*/ 1114436 w 1253076"/>
                  <a:gd name="connsiteY1792" fmla="*/ 237888 h 458350"/>
                  <a:gd name="connsiteX1793" fmla="*/ 1112617 w 1253076"/>
                  <a:gd name="connsiteY1793" fmla="*/ 240312 h 458350"/>
                  <a:gd name="connsiteX1794" fmla="*/ 1106253 w 1253076"/>
                  <a:gd name="connsiteY1794" fmla="*/ 245464 h 458350"/>
                  <a:gd name="connsiteX1795" fmla="*/ 1104435 w 1253076"/>
                  <a:gd name="connsiteY1795" fmla="*/ 247736 h 458350"/>
                  <a:gd name="connsiteX1796" fmla="*/ 1102465 w 1253076"/>
                  <a:gd name="connsiteY1796" fmla="*/ 249858 h 458350"/>
                  <a:gd name="connsiteX1797" fmla="*/ 1099284 w 1253076"/>
                  <a:gd name="connsiteY1797" fmla="*/ 250615 h 458350"/>
                  <a:gd name="connsiteX1798" fmla="*/ 1095950 w 1253076"/>
                  <a:gd name="connsiteY1798" fmla="*/ 250464 h 458350"/>
                  <a:gd name="connsiteX1799" fmla="*/ 1091556 w 1253076"/>
                  <a:gd name="connsiteY1799" fmla="*/ 249858 h 458350"/>
                  <a:gd name="connsiteX1800" fmla="*/ 1090041 w 1253076"/>
                  <a:gd name="connsiteY1800" fmla="*/ 249403 h 458350"/>
                  <a:gd name="connsiteX1801" fmla="*/ 1086707 w 1253076"/>
                  <a:gd name="connsiteY1801" fmla="*/ 247130 h 458350"/>
                  <a:gd name="connsiteX1802" fmla="*/ 1085950 w 1253076"/>
                  <a:gd name="connsiteY1802" fmla="*/ 246070 h 458350"/>
                  <a:gd name="connsiteX1803" fmla="*/ 1085041 w 1253076"/>
                  <a:gd name="connsiteY1803" fmla="*/ 243342 h 458350"/>
                  <a:gd name="connsiteX1804" fmla="*/ 1085041 w 1253076"/>
                  <a:gd name="connsiteY1804" fmla="*/ 239857 h 458350"/>
                  <a:gd name="connsiteX1805" fmla="*/ 1084737 w 1253076"/>
                  <a:gd name="connsiteY1805" fmla="*/ 238039 h 458350"/>
                  <a:gd name="connsiteX1806" fmla="*/ 1082767 w 1253076"/>
                  <a:gd name="connsiteY1806" fmla="*/ 238948 h 458350"/>
                  <a:gd name="connsiteX1807" fmla="*/ 1080949 w 1253076"/>
                  <a:gd name="connsiteY1807" fmla="*/ 238645 h 458350"/>
                  <a:gd name="connsiteX1808" fmla="*/ 1079434 w 1253076"/>
                  <a:gd name="connsiteY1808" fmla="*/ 232433 h 458350"/>
                  <a:gd name="connsiteX1809" fmla="*/ 1079283 w 1253076"/>
                  <a:gd name="connsiteY1809" fmla="*/ 229251 h 458350"/>
                  <a:gd name="connsiteX1810" fmla="*/ 1078828 w 1253076"/>
                  <a:gd name="connsiteY1810" fmla="*/ 227736 h 458350"/>
                  <a:gd name="connsiteX1811" fmla="*/ 1077161 w 1253076"/>
                  <a:gd name="connsiteY1811" fmla="*/ 226978 h 458350"/>
                  <a:gd name="connsiteX1812" fmla="*/ 1075798 w 1253076"/>
                  <a:gd name="connsiteY1812" fmla="*/ 227736 h 458350"/>
                  <a:gd name="connsiteX1813" fmla="*/ 1074889 w 1253076"/>
                  <a:gd name="connsiteY1813" fmla="*/ 229099 h 458350"/>
                  <a:gd name="connsiteX1814" fmla="*/ 1075040 w 1253076"/>
                  <a:gd name="connsiteY1814" fmla="*/ 232736 h 458350"/>
                  <a:gd name="connsiteX1815" fmla="*/ 1074131 w 1253076"/>
                  <a:gd name="connsiteY1815" fmla="*/ 235918 h 458350"/>
                  <a:gd name="connsiteX1816" fmla="*/ 1071403 w 1253076"/>
                  <a:gd name="connsiteY1816" fmla="*/ 230160 h 458350"/>
                  <a:gd name="connsiteX1817" fmla="*/ 1066858 w 1253076"/>
                  <a:gd name="connsiteY1817" fmla="*/ 221675 h 458350"/>
                  <a:gd name="connsiteX1818" fmla="*/ 1065797 w 1253076"/>
                  <a:gd name="connsiteY1818" fmla="*/ 218644 h 458350"/>
                  <a:gd name="connsiteX1819" fmla="*/ 1065494 w 1253076"/>
                  <a:gd name="connsiteY1819" fmla="*/ 215614 h 458350"/>
                  <a:gd name="connsiteX1820" fmla="*/ 1065494 w 1253076"/>
                  <a:gd name="connsiteY1820" fmla="*/ 212583 h 458350"/>
                  <a:gd name="connsiteX1821" fmla="*/ 1065040 w 1253076"/>
                  <a:gd name="connsiteY1821" fmla="*/ 209250 h 458350"/>
                  <a:gd name="connsiteX1822" fmla="*/ 1064282 w 1253076"/>
                  <a:gd name="connsiteY1822" fmla="*/ 205917 h 458350"/>
                  <a:gd name="connsiteX1823" fmla="*/ 1065343 w 1253076"/>
                  <a:gd name="connsiteY1823" fmla="*/ 203189 h 458350"/>
                  <a:gd name="connsiteX1824" fmla="*/ 1067313 w 1253076"/>
                  <a:gd name="connsiteY1824" fmla="*/ 200765 h 458350"/>
                  <a:gd name="connsiteX1825" fmla="*/ 1067919 w 1253076"/>
                  <a:gd name="connsiteY1825" fmla="*/ 199250 h 458350"/>
                  <a:gd name="connsiteX1826" fmla="*/ 1068524 w 1253076"/>
                  <a:gd name="connsiteY1826" fmla="*/ 196219 h 458350"/>
                  <a:gd name="connsiteX1827" fmla="*/ 1068222 w 1253076"/>
                  <a:gd name="connsiteY1827" fmla="*/ 194856 h 458350"/>
                  <a:gd name="connsiteX1828" fmla="*/ 1066555 w 1253076"/>
                  <a:gd name="connsiteY1828" fmla="*/ 191977 h 458350"/>
                  <a:gd name="connsiteX1829" fmla="*/ 1064585 w 1253076"/>
                  <a:gd name="connsiteY1829" fmla="*/ 189249 h 458350"/>
                  <a:gd name="connsiteX1830" fmla="*/ 1063373 w 1253076"/>
                  <a:gd name="connsiteY1830" fmla="*/ 186522 h 458350"/>
                  <a:gd name="connsiteX1831" fmla="*/ 1063827 w 1253076"/>
                  <a:gd name="connsiteY1831" fmla="*/ 183643 h 458350"/>
                  <a:gd name="connsiteX1832" fmla="*/ 1064434 w 1253076"/>
                  <a:gd name="connsiteY1832" fmla="*/ 182279 h 458350"/>
                  <a:gd name="connsiteX1833" fmla="*/ 1062009 w 1253076"/>
                  <a:gd name="connsiteY1833" fmla="*/ 180158 h 458350"/>
                  <a:gd name="connsiteX1834" fmla="*/ 1060646 w 1253076"/>
                  <a:gd name="connsiteY1834" fmla="*/ 179401 h 458350"/>
                  <a:gd name="connsiteX1835" fmla="*/ 1057312 w 1253076"/>
                  <a:gd name="connsiteY1835" fmla="*/ 179098 h 458350"/>
                  <a:gd name="connsiteX1836" fmla="*/ 1053827 w 1253076"/>
                  <a:gd name="connsiteY1836" fmla="*/ 179401 h 458350"/>
                  <a:gd name="connsiteX1837" fmla="*/ 1047009 w 1253076"/>
                  <a:gd name="connsiteY1837" fmla="*/ 178946 h 458350"/>
                  <a:gd name="connsiteX1838" fmla="*/ 1041402 w 1253076"/>
                  <a:gd name="connsiteY1838" fmla="*/ 176522 h 458350"/>
                  <a:gd name="connsiteX1839" fmla="*/ 1036099 w 1253076"/>
                  <a:gd name="connsiteY1839" fmla="*/ 173188 h 458350"/>
                  <a:gd name="connsiteX1840" fmla="*/ 1030038 w 1253076"/>
                  <a:gd name="connsiteY1840" fmla="*/ 170612 h 458350"/>
                  <a:gd name="connsiteX1841" fmla="*/ 1023675 w 1253076"/>
                  <a:gd name="connsiteY1841" fmla="*/ 169097 h 458350"/>
                  <a:gd name="connsiteX1842" fmla="*/ 1020493 w 1253076"/>
                  <a:gd name="connsiteY1842" fmla="*/ 168794 h 458350"/>
                  <a:gd name="connsiteX1843" fmla="*/ 1017310 w 1253076"/>
                  <a:gd name="connsiteY1843" fmla="*/ 168946 h 458350"/>
                  <a:gd name="connsiteX1844" fmla="*/ 1010038 w 1253076"/>
                  <a:gd name="connsiteY1844" fmla="*/ 171673 h 458350"/>
                  <a:gd name="connsiteX1845" fmla="*/ 1008825 w 1253076"/>
                  <a:gd name="connsiteY1845" fmla="*/ 172734 h 458350"/>
                  <a:gd name="connsiteX1846" fmla="*/ 1007764 w 1253076"/>
                  <a:gd name="connsiteY1846" fmla="*/ 173946 h 458350"/>
                  <a:gd name="connsiteX1847" fmla="*/ 1005492 w 1253076"/>
                  <a:gd name="connsiteY1847" fmla="*/ 175158 h 458350"/>
                  <a:gd name="connsiteX1848" fmla="*/ 1003522 w 1253076"/>
                  <a:gd name="connsiteY1848" fmla="*/ 177128 h 458350"/>
                  <a:gd name="connsiteX1849" fmla="*/ 1001097 w 1253076"/>
                  <a:gd name="connsiteY1849" fmla="*/ 178340 h 458350"/>
                  <a:gd name="connsiteX1850" fmla="*/ 991703 w 1253076"/>
                  <a:gd name="connsiteY1850" fmla="*/ 180461 h 458350"/>
                  <a:gd name="connsiteX1851" fmla="*/ 987158 w 1253076"/>
                  <a:gd name="connsiteY1851" fmla="*/ 181825 h 458350"/>
                  <a:gd name="connsiteX1852" fmla="*/ 986097 w 1253076"/>
                  <a:gd name="connsiteY1852" fmla="*/ 182431 h 458350"/>
                  <a:gd name="connsiteX1853" fmla="*/ 985945 w 1253076"/>
                  <a:gd name="connsiteY1853" fmla="*/ 183492 h 458350"/>
                  <a:gd name="connsiteX1854" fmla="*/ 986097 w 1253076"/>
                  <a:gd name="connsiteY1854" fmla="*/ 185007 h 458350"/>
                  <a:gd name="connsiteX1855" fmla="*/ 985945 w 1253076"/>
                  <a:gd name="connsiteY1855" fmla="*/ 186522 h 458350"/>
                  <a:gd name="connsiteX1856" fmla="*/ 984279 w 1253076"/>
                  <a:gd name="connsiteY1856" fmla="*/ 190916 h 458350"/>
                  <a:gd name="connsiteX1857" fmla="*/ 983218 w 1253076"/>
                  <a:gd name="connsiteY1857" fmla="*/ 192431 h 458350"/>
                  <a:gd name="connsiteX1858" fmla="*/ 981552 w 1253076"/>
                  <a:gd name="connsiteY1858" fmla="*/ 193189 h 458350"/>
                  <a:gd name="connsiteX1859" fmla="*/ 980339 w 1253076"/>
                  <a:gd name="connsiteY1859" fmla="*/ 194250 h 458350"/>
                  <a:gd name="connsiteX1860" fmla="*/ 979128 w 1253076"/>
                  <a:gd name="connsiteY1860" fmla="*/ 196977 h 458350"/>
                  <a:gd name="connsiteX1861" fmla="*/ 978976 w 1253076"/>
                  <a:gd name="connsiteY1861" fmla="*/ 198038 h 458350"/>
                  <a:gd name="connsiteX1862" fmla="*/ 980642 w 1253076"/>
                  <a:gd name="connsiteY1862" fmla="*/ 198644 h 458350"/>
                  <a:gd name="connsiteX1863" fmla="*/ 982309 w 1253076"/>
                  <a:gd name="connsiteY1863" fmla="*/ 198795 h 458350"/>
                  <a:gd name="connsiteX1864" fmla="*/ 983976 w 1253076"/>
                  <a:gd name="connsiteY1864" fmla="*/ 198644 h 458350"/>
                  <a:gd name="connsiteX1865" fmla="*/ 985643 w 1253076"/>
                  <a:gd name="connsiteY1865" fmla="*/ 198189 h 458350"/>
                  <a:gd name="connsiteX1866" fmla="*/ 987158 w 1253076"/>
                  <a:gd name="connsiteY1866" fmla="*/ 197280 h 458350"/>
                  <a:gd name="connsiteX1867" fmla="*/ 999128 w 1253076"/>
                  <a:gd name="connsiteY1867" fmla="*/ 201371 h 458350"/>
                  <a:gd name="connsiteX1868" fmla="*/ 1001856 w 1253076"/>
                  <a:gd name="connsiteY1868" fmla="*/ 201826 h 458350"/>
                  <a:gd name="connsiteX1869" fmla="*/ 1004583 w 1253076"/>
                  <a:gd name="connsiteY1869" fmla="*/ 201977 h 458350"/>
                  <a:gd name="connsiteX1870" fmla="*/ 1004735 w 1253076"/>
                  <a:gd name="connsiteY1870" fmla="*/ 206220 h 458350"/>
                  <a:gd name="connsiteX1871" fmla="*/ 1006401 w 1253076"/>
                  <a:gd name="connsiteY1871" fmla="*/ 212129 h 458350"/>
                  <a:gd name="connsiteX1872" fmla="*/ 1007159 w 1253076"/>
                  <a:gd name="connsiteY1872" fmla="*/ 213644 h 458350"/>
                  <a:gd name="connsiteX1873" fmla="*/ 1008673 w 1253076"/>
                  <a:gd name="connsiteY1873" fmla="*/ 214856 h 458350"/>
                  <a:gd name="connsiteX1874" fmla="*/ 1009886 w 1253076"/>
                  <a:gd name="connsiteY1874" fmla="*/ 216523 h 458350"/>
                  <a:gd name="connsiteX1875" fmla="*/ 1012159 w 1253076"/>
                  <a:gd name="connsiteY1875" fmla="*/ 218796 h 458350"/>
                  <a:gd name="connsiteX1876" fmla="*/ 1014886 w 1253076"/>
                  <a:gd name="connsiteY1876" fmla="*/ 220614 h 458350"/>
                  <a:gd name="connsiteX1877" fmla="*/ 1017462 w 1253076"/>
                  <a:gd name="connsiteY1877" fmla="*/ 220614 h 458350"/>
                  <a:gd name="connsiteX1878" fmla="*/ 1020189 w 1253076"/>
                  <a:gd name="connsiteY1878" fmla="*/ 220008 h 458350"/>
                  <a:gd name="connsiteX1879" fmla="*/ 1023675 w 1253076"/>
                  <a:gd name="connsiteY1879" fmla="*/ 220766 h 458350"/>
                  <a:gd name="connsiteX1880" fmla="*/ 1030038 w 1253076"/>
                  <a:gd name="connsiteY1880" fmla="*/ 221372 h 458350"/>
                  <a:gd name="connsiteX1881" fmla="*/ 1032766 w 1253076"/>
                  <a:gd name="connsiteY1881" fmla="*/ 221372 h 458350"/>
                  <a:gd name="connsiteX1882" fmla="*/ 1039887 w 1253076"/>
                  <a:gd name="connsiteY1882" fmla="*/ 219857 h 458350"/>
                  <a:gd name="connsiteX1883" fmla="*/ 1043524 w 1253076"/>
                  <a:gd name="connsiteY1883" fmla="*/ 219857 h 458350"/>
                  <a:gd name="connsiteX1884" fmla="*/ 1047160 w 1253076"/>
                  <a:gd name="connsiteY1884" fmla="*/ 220160 h 458350"/>
                  <a:gd name="connsiteX1885" fmla="*/ 1053221 w 1253076"/>
                  <a:gd name="connsiteY1885" fmla="*/ 219099 h 458350"/>
                  <a:gd name="connsiteX1886" fmla="*/ 1058978 w 1253076"/>
                  <a:gd name="connsiteY1886" fmla="*/ 216675 h 458350"/>
                  <a:gd name="connsiteX1887" fmla="*/ 1058978 w 1253076"/>
                  <a:gd name="connsiteY1887" fmla="*/ 217887 h 458350"/>
                  <a:gd name="connsiteX1888" fmla="*/ 1058524 w 1253076"/>
                  <a:gd name="connsiteY1888" fmla="*/ 218796 h 458350"/>
                  <a:gd name="connsiteX1889" fmla="*/ 1057009 w 1253076"/>
                  <a:gd name="connsiteY1889" fmla="*/ 219705 h 458350"/>
                  <a:gd name="connsiteX1890" fmla="*/ 1055342 w 1253076"/>
                  <a:gd name="connsiteY1890" fmla="*/ 221675 h 458350"/>
                  <a:gd name="connsiteX1891" fmla="*/ 1058221 w 1253076"/>
                  <a:gd name="connsiteY1891" fmla="*/ 221978 h 458350"/>
                  <a:gd name="connsiteX1892" fmla="*/ 1058373 w 1253076"/>
                  <a:gd name="connsiteY1892" fmla="*/ 224402 h 458350"/>
                  <a:gd name="connsiteX1893" fmla="*/ 1057615 w 1253076"/>
                  <a:gd name="connsiteY1893" fmla="*/ 225008 h 458350"/>
                  <a:gd name="connsiteX1894" fmla="*/ 1056403 w 1253076"/>
                  <a:gd name="connsiteY1894" fmla="*/ 225160 h 458350"/>
                  <a:gd name="connsiteX1895" fmla="*/ 1054130 w 1253076"/>
                  <a:gd name="connsiteY1895" fmla="*/ 225917 h 458350"/>
                  <a:gd name="connsiteX1896" fmla="*/ 1052918 w 1253076"/>
                  <a:gd name="connsiteY1896" fmla="*/ 228493 h 458350"/>
                  <a:gd name="connsiteX1897" fmla="*/ 1052615 w 1253076"/>
                  <a:gd name="connsiteY1897" fmla="*/ 230614 h 458350"/>
                  <a:gd name="connsiteX1898" fmla="*/ 1051251 w 1253076"/>
                  <a:gd name="connsiteY1898" fmla="*/ 230009 h 458350"/>
                  <a:gd name="connsiteX1899" fmla="*/ 1050039 w 1253076"/>
                  <a:gd name="connsiteY1899" fmla="*/ 228493 h 458350"/>
                  <a:gd name="connsiteX1900" fmla="*/ 1047766 w 1253076"/>
                  <a:gd name="connsiteY1900" fmla="*/ 228342 h 458350"/>
                  <a:gd name="connsiteX1901" fmla="*/ 1044585 w 1253076"/>
                  <a:gd name="connsiteY1901" fmla="*/ 227584 h 458350"/>
                  <a:gd name="connsiteX1902" fmla="*/ 1040645 w 1253076"/>
                  <a:gd name="connsiteY1902" fmla="*/ 225917 h 458350"/>
                  <a:gd name="connsiteX1903" fmla="*/ 1038675 w 1253076"/>
                  <a:gd name="connsiteY1903" fmla="*/ 225463 h 458350"/>
                  <a:gd name="connsiteX1904" fmla="*/ 1036705 w 1253076"/>
                  <a:gd name="connsiteY1904" fmla="*/ 225766 h 458350"/>
                  <a:gd name="connsiteX1905" fmla="*/ 1034432 w 1253076"/>
                  <a:gd name="connsiteY1905" fmla="*/ 226826 h 458350"/>
                  <a:gd name="connsiteX1906" fmla="*/ 1030644 w 1253076"/>
                  <a:gd name="connsiteY1906" fmla="*/ 231524 h 458350"/>
                  <a:gd name="connsiteX1907" fmla="*/ 1025947 w 1253076"/>
                  <a:gd name="connsiteY1907" fmla="*/ 235009 h 458350"/>
                  <a:gd name="connsiteX1908" fmla="*/ 1023977 w 1253076"/>
                  <a:gd name="connsiteY1908" fmla="*/ 234403 h 458350"/>
                  <a:gd name="connsiteX1909" fmla="*/ 1021857 w 1253076"/>
                  <a:gd name="connsiteY1909" fmla="*/ 233342 h 458350"/>
                  <a:gd name="connsiteX1910" fmla="*/ 1014886 w 1253076"/>
                  <a:gd name="connsiteY1910" fmla="*/ 232130 h 458350"/>
                  <a:gd name="connsiteX1911" fmla="*/ 1012311 w 1253076"/>
                  <a:gd name="connsiteY1911" fmla="*/ 231978 h 458350"/>
                  <a:gd name="connsiteX1912" fmla="*/ 1007764 w 1253076"/>
                  <a:gd name="connsiteY1912" fmla="*/ 234100 h 458350"/>
                  <a:gd name="connsiteX1913" fmla="*/ 1005189 w 1253076"/>
                  <a:gd name="connsiteY1913" fmla="*/ 234857 h 458350"/>
                  <a:gd name="connsiteX1914" fmla="*/ 1006098 w 1253076"/>
                  <a:gd name="connsiteY1914" fmla="*/ 236675 h 458350"/>
                  <a:gd name="connsiteX1915" fmla="*/ 1007462 w 1253076"/>
                  <a:gd name="connsiteY1915" fmla="*/ 238191 h 458350"/>
                  <a:gd name="connsiteX1916" fmla="*/ 1008825 w 1253076"/>
                  <a:gd name="connsiteY1916" fmla="*/ 238645 h 458350"/>
                  <a:gd name="connsiteX1917" fmla="*/ 1013068 w 1253076"/>
                  <a:gd name="connsiteY1917" fmla="*/ 238948 h 458350"/>
                  <a:gd name="connsiteX1918" fmla="*/ 1015644 w 1253076"/>
                  <a:gd name="connsiteY1918" fmla="*/ 239857 h 458350"/>
                  <a:gd name="connsiteX1919" fmla="*/ 1021250 w 1253076"/>
                  <a:gd name="connsiteY1919" fmla="*/ 244100 h 458350"/>
                  <a:gd name="connsiteX1920" fmla="*/ 1026704 w 1253076"/>
                  <a:gd name="connsiteY1920" fmla="*/ 248494 h 458350"/>
                  <a:gd name="connsiteX1921" fmla="*/ 1028826 w 1253076"/>
                  <a:gd name="connsiteY1921" fmla="*/ 251676 h 458350"/>
                  <a:gd name="connsiteX1922" fmla="*/ 1029887 w 1253076"/>
                  <a:gd name="connsiteY1922" fmla="*/ 255464 h 458350"/>
                  <a:gd name="connsiteX1923" fmla="*/ 1026704 w 1253076"/>
                  <a:gd name="connsiteY1923" fmla="*/ 259555 h 458350"/>
                  <a:gd name="connsiteX1924" fmla="*/ 1027765 w 1253076"/>
                  <a:gd name="connsiteY1924" fmla="*/ 262888 h 458350"/>
                  <a:gd name="connsiteX1925" fmla="*/ 1028978 w 1253076"/>
                  <a:gd name="connsiteY1925" fmla="*/ 266222 h 458350"/>
                  <a:gd name="connsiteX1926" fmla="*/ 1029887 w 1253076"/>
                  <a:gd name="connsiteY1926" fmla="*/ 267889 h 458350"/>
                  <a:gd name="connsiteX1927" fmla="*/ 1031099 w 1253076"/>
                  <a:gd name="connsiteY1927" fmla="*/ 269252 h 458350"/>
                  <a:gd name="connsiteX1928" fmla="*/ 1032614 w 1253076"/>
                  <a:gd name="connsiteY1928" fmla="*/ 270313 h 458350"/>
                  <a:gd name="connsiteX1929" fmla="*/ 1035796 w 1253076"/>
                  <a:gd name="connsiteY1929" fmla="*/ 269555 h 458350"/>
                  <a:gd name="connsiteX1930" fmla="*/ 1038827 w 1253076"/>
                  <a:gd name="connsiteY1930" fmla="*/ 269555 h 458350"/>
                  <a:gd name="connsiteX1931" fmla="*/ 1040190 w 1253076"/>
                  <a:gd name="connsiteY1931" fmla="*/ 269404 h 458350"/>
                  <a:gd name="connsiteX1932" fmla="*/ 1044281 w 1253076"/>
                  <a:gd name="connsiteY1932" fmla="*/ 265010 h 458350"/>
                  <a:gd name="connsiteX1933" fmla="*/ 1044887 w 1253076"/>
                  <a:gd name="connsiteY1933" fmla="*/ 263494 h 458350"/>
                  <a:gd name="connsiteX1934" fmla="*/ 1044433 w 1253076"/>
                  <a:gd name="connsiteY1934" fmla="*/ 261979 h 458350"/>
                  <a:gd name="connsiteX1935" fmla="*/ 1044585 w 1253076"/>
                  <a:gd name="connsiteY1935" fmla="*/ 260464 h 458350"/>
                  <a:gd name="connsiteX1936" fmla="*/ 1047160 w 1253076"/>
                  <a:gd name="connsiteY1936" fmla="*/ 257282 h 458350"/>
                  <a:gd name="connsiteX1937" fmla="*/ 1048069 w 1253076"/>
                  <a:gd name="connsiteY1937" fmla="*/ 254555 h 458350"/>
                  <a:gd name="connsiteX1938" fmla="*/ 1047463 w 1253076"/>
                  <a:gd name="connsiteY1938" fmla="*/ 251676 h 458350"/>
                  <a:gd name="connsiteX1939" fmla="*/ 1049736 w 1253076"/>
                  <a:gd name="connsiteY1939" fmla="*/ 251828 h 458350"/>
                  <a:gd name="connsiteX1940" fmla="*/ 1051251 w 1253076"/>
                  <a:gd name="connsiteY1940" fmla="*/ 250464 h 458350"/>
                  <a:gd name="connsiteX1941" fmla="*/ 1051402 w 1253076"/>
                  <a:gd name="connsiteY1941" fmla="*/ 245615 h 458350"/>
                  <a:gd name="connsiteX1942" fmla="*/ 1051706 w 1253076"/>
                  <a:gd name="connsiteY1942" fmla="*/ 244100 h 458350"/>
                  <a:gd name="connsiteX1943" fmla="*/ 1052463 w 1253076"/>
                  <a:gd name="connsiteY1943" fmla="*/ 242888 h 458350"/>
                  <a:gd name="connsiteX1944" fmla="*/ 1054281 w 1253076"/>
                  <a:gd name="connsiteY1944" fmla="*/ 241676 h 458350"/>
                  <a:gd name="connsiteX1945" fmla="*/ 1056251 w 1253076"/>
                  <a:gd name="connsiteY1945" fmla="*/ 241979 h 458350"/>
                  <a:gd name="connsiteX1946" fmla="*/ 1054585 w 1253076"/>
                  <a:gd name="connsiteY1946" fmla="*/ 244554 h 458350"/>
                  <a:gd name="connsiteX1947" fmla="*/ 1052312 w 1253076"/>
                  <a:gd name="connsiteY1947" fmla="*/ 247282 h 458350"/>
                  <a:gd name="connsiteX1948" fmla="*/ 1052009 w 1253076"/>
                  <a:gd name="connsiteY1948" fmla="*/ 248949 h 458350"/>
                  <a:gd name="connsiteX1949" fmla="*/ 1051857 w 1253076"/>
                  <a:gd name="connsiteY1949" fmla="*/ 253646 h 458350"/>
                  <a:gd name="connsiteX1950" fmla="*/ 1053070 w 1253076"/>
                  <a:gd name="connsiteY1950" fmla="*/ 256373 h 458350"/>
                  <a:gd name="connsiteX1951" fmla="*/ 1055342 w 1253076"/>
                  <a:gd name="connsiteY1951" fmla="*/ 258343 h 458350"/>
                  <a:gd name="connsiteX1952" fmla="*/ 1056706 w 1253076"/>
                  <a:gd name="connsiteY1952" fmla="*/ 259100 h 458350"/>
                  <a:gd name="connsiteX1953" fmla="*/ 1057918 w 1253076"/>
                  <a:gd name="connsiteY1953" fmla="*/ 260161 h 458350"/>
                  <a:gd name="connsiteX1954" fmla="*/ 1058676 w 1253076"/>
                  <a:gd name="connsiteY1954" fmla="*/ 261676 h 458350"/>
                  <a:gd name="connsiteX1955" fmla="*/ 1059737 w 1253076"/>
                  <a:gd name="connsiteY1955" fmla="*/ 262888 h 458350"/>
                  <a:gd name="connsiteX1956" fmla="*/ 1061403 w 1253076"/>
                  <a:gd name="connsiteY1956" fmla="*/ 263040 h 458350"/>
                  <a:gd name="connsiteX1957" fmla="*/ 1063070 w 1253076"/>
                  <a:gd name="connsiteY1957" fmla="*/ 262434 h 458350"/>
                  <a:gd name="connsiteX1958" fmla="*/ 1064434 w 1253076"/>
                  <a:gd name="connsiteY1958" fmla="*/ 262283 h 458350"/>
                  <a:gd name="connsiteX1959" fmla="*/ 1065343 w 1253076"/>
                  <a:gd name="connsiteY1959" fmla="*/ 263040 h 458350"/>
                  <a:gd name="connsiteX1960" fmla="*/ 1065949 w 1253076"/>
                  <a:gd name="connsiteY1960" fmla="*/ 264707 h 458350"/>
                  <a:gd name="connsiteX1961" fmla="*/ 1067767 w 1253076"/>
                  <a:gd name="connsiteY1961" fmla="*/ 266373 h 458350"/>
                  <a:gd name="connsiteX1962" fmla="*/ 1071252 w 1253076"/>
                  <a:gd name="connsiteY1962" fmla="*/ 265464 h 458350"/>
                  <a:gd name="connsiteX1963" fmla="*/ 1073373 w 1253076"/>
                  <a:gd name="connsiteY1963" fmla="*/ 266525 h 458350"/>
                  <a:gd name="connsiteX1964" fmla="*/ 1075495 w 1253076"/>
                  <a:gd name="connsiteY1964" fmla="*/ 267434 h 458350"/>
                  <a:gd name="connsiteX1965" fmla="*/ 1077009 w 1253076"/>
                  <a:gd name="connsiteY1965" fmla="*/ 267282 h 458350"/>
                  <a:gd name="connsiteX1966" fmla="*/ 1079888 w 1253076"/>
                  <a:gd name="connsiteY1966" fmla="*/ 266071 h 458350"/>
                  <a:gd name="connsiteX1967" fmla="*/ 1081253 w 1253076"/>
                  <a:gd name="connsiteY1967" fmla="*/ 265919 h 458350"/>
                  <a:gd name="connsiteX1968" fmla="*/ 1084737 w 1253076"/>
                  <a:gd name="connsiteY1968" fmla="*/ 266373 h 458350"/>
                  <a:gd name="connsiteX1969" fmla="*/ 1079737 w 1253076"/>
                  <a:gd name="connsiteY1969" fmla="*/ 266828 h 458350"/>
                  <a:gd name="connsiteX1970" fmla="*/ 1079131 w 1253076"/>
                  <a:gd name="connsiteY1970" fmla="*/ 268343 h 458350"/>
                  <a:gd name="connsiteX1971" fmla="*/ 1078979 w 1253076"/>
                  <a:gd name="connsiteY1971" fmla="*/ 270161 h 458350"/>
                  <a:gd name="connsiteX1972" fmla="*/ 1080949 w 1253076"/>
                  <a:gd name="connsiteY1972" fmla="*/ 273343 h 458350"/>
                  <a:gd name="connsiteX1973" fmla="*/ 1093071 w 1253076"/>
                  <a:gd name="connsiteY1973" fmla="*/ 280313 h 458350"/>
                  <a:gd name="connsiteX1974" fmla="*/ 1095192 w 1253076"/>
                  <a:gd name="connsiteY1974" fmla="*/ 280313 h 458350"/>
                  <a:gd name="connsiteX1975" fmla="*/ 1097465 w 1253076"/>
                  <a:gd name="connsiteY1975" fmla="*/ 280010 h 458350"/>
                  <a:gd name="connsiteX1976" fmla="*/ 1100041 w 1253076"/>
                  <a:gd name="connsiteY1976" fmla="*/ 280010 h 458350"/>
                  <a:gd name="connsiteX1977" fmla="*/ 1107314 w 1253076"/>
                  <a:gd name="connsiteY1977" fmla="*/ 280919 h 458350"/>
                  <a:gd name="connsiteX1978" fmla="*/ 1114587 w 1253076"/>
                  <a:gd name="connsiteY1978" fmla="*/ 282283 h 458350"/>
                  <a:gd name="connsiteX1979" fmla="*/ 1117769 w 1253076"/>
                  <a:gd name="connsiteY1979" fmla="*/ 283798 h 458350"/>
                  <a:gd name="connsiteX1980" fmla="*/ 1120799 w 1253076"/>
                  <a:gd name="connsiteY1980" fmla="*/ 285617 h 458350"/>
                  <a:gd name="connsiteX1981" fmla="*/ 1125800 w 1253076"/>
                  <a:gd name="connsiteY1981" fmla="*/ 286980 h 458350"/>
                  <a:gd name="connsiteX1982" fmla="*/ 1132012 w 1253076"/>
                  <a:gd name="connsiteY1982" fmla="*/ 290162 h 458350"/>
                  <a:gd name="connsiteX1983" fmla="*/ 1138527 w 1253076"/>
                  <a:gd name="connsiteY1983" fmla="*/ 292132 h 458350"/>
                  <a:gd name="connsiteX1984" fmla="*/ 1140194 w 1253076"/>
                  <a:gd name="connsiteY1984" fmla="*/ 292132 h 458350"/>
                  <a:gd name="connsiteX1985" fmla="*/ 1141709 w 1253076"/>
                  <a:gd name="connsiteY1985" fmla="*/ 292435 h 458350"/>
                  <a:gd name="connsiteX1986" fmla="*/ 1143224 w 1253076"/>
                  <a:gd name="connsiteY1986" fmla="*/ 293041 h 458350"/>
                  <a:gd name="connsiteX1987" fmla="*/ 1144891 w 1253076"/>
                  <a:gd name="connsiteY1987" fmla="*/ 292890 h 458350"/>
                  <a:gd name="connsiteX1988" fmla="*/ 1146406 w 1253076"/>
                  <a:gd name="connsiteY1988" fmla="*/ 293647 h 458350"/>
                  <a:gd name="connsiteX1989" fmla="*/ 1147770 w 1253076"/>
                  <a:gd name="connsiteY1989" fmla="*/ 294708 h 458350"/>
                  <a:gd name="connsiteX1990" fmla="*/ 1148982 w 1253076"/>
                  <a:gd name="connsiteY1990" fmla="*/ 294253 h 458350"/>
                  <a:gd name="connsiteX1991" fmla="*/ 1150194 w 1253076"/>
                  <a:gd name="connsiteY1991" fmla="*/ 293496 h 458350"/>
                  <a:gd name="connsiteX1992" fmla="*/ 1150952 w 1253076"/>
                  <a:gd name="connsiteY1992" fmla="*/ 295314 h 458350"/>
                  <a:gd name="connsiteX1993" fmla="*/ 1163377 w 1253076"/>
                  <a:gd name="connsiteY1993" fmla="*/ 301829 h 458350"/>
                  <a:gd name="connsiteX1994" fmla="*/ 1164437 w 1253076"/>
                  <a:gd name="connsiteY1994" fmla="*/ 303344 h 458350"/>
                  <a:gd name="connsiteX1995" fmla="*/ 1165650 w 1253076"/>
                  <a:gd name="connsiteY1995" fmla="*/ 304405 h 458350"/>
                  <a:gd name="connsiteX1996" fmla="*/ 1166861 w 1253076"/>
                  <a:gd name="connsiteY1996" fmla="*/ 304405 h 458350"/>
                  <a:gd name="connsiteX1997" fmla="*/ 1167770 w 1253076"/>
                  <a:gd name="connsiteY1997" fmla="*/ 305011 h 458350"/>
                  <a:gd name="connsiteX1998" fmla="*/ 1169438 w 1253076"/>
                  <a:gd name="connsiteY1998" fmla="*/ 306527 h 458350"/>
                  <a:gd name="connsiteX1999" fmla="*/ 1171558 w 1253076"/>
                  <a:gd name="connsiteY1999" fmla="*/ 307587 h 458350"/>
                  <a:gd name="connsiteX2000" fmla="*/ 1172013 w 1253076"/>
                  <a:gd name="connsiteY2000" fmla="*/ 309708 h 458350"/>
                  <a:gd name="connsiteX2001" fmla="*/ 1171710 w 1253076"/>
                  <a:gd name="connsiteY2001" fmla="*/ 311981 h 458350"/>
                  <a:gd name="connsiteX2002" fmla="*/ 1171862 w 1253076"/>
                  <a:gd name="connsiteY2002" fmla="*/ 313193 h 458350"/>
                  <a:gd name="connsiteX2003" fmla="*/ 1172467 w 1253076"/>
                  <a:gd name="connsiteY2003" fmla="*/ 314103 h 458350"/>
                  <a:gd name="connsiteX2004" fmla="*/ 1173528 w 1253076"/>
                  <a:gd name="connsiteY2004" fmla="*/ 314254 h 458350"/>
                  <a:gd name="connsiteX2005" fmla="*/ 1174589 w 1253076"/>
                  <a:gd name="connsiteY2005" fmla="*/ 314103 h 458350"/>
                  <a:gd name="connsiteX2006" fmla="*/ 1176862 w 1253076"/>
                  <a:gd name="connsiteY2006" fmla="*/ 313496 h 458350"/>
                  <a:gd name="connsiteX2007" fmla="*/ 1179286 w 1253076"/>
                  <a:gd name="connsiteY2007" fmla="*/ 313193 h 458350"/>
                  <a:gd name="connsiteX2008" fmla="*/ 1176710 w 1253076"/>
                  <a:gd name="connsiteY2008" fmla="*/ 314557 h 458350"/>
                  <a:gd name="connsiteX2009" fmla="*/ 1175498 w 1253076"/>
                  <a:gd name="connsiteY2009" fmla="*/ 316830 h 458350"/>
                  <a:gd name="connsiteX2010" fmla="*/ 1177771 w 1253076"/>
                  <a:gd name="connsiteY2010" fmla="*/ 317739 h 458350"/>
                  <a:gd name="connsiteX2011" fmla="*/ 1180347 w 1253076"/>
                  <a:gd name="connsiteY2011" fmla="*/ 317891 h 458350"/>
                  <a:gd name="connsiteX2012" fmla="*/ 1178680 w 1253076"/>
                  <a:gd name="connsiteY2012" fmla="*/ 319103 h 458350"/>
                  <a:gd name="connsiteX2013" fmla="*/ 1178225 w 1253076"/>
                  <a:gd name="connsiteY2013" fmla="*/ 320769 h 458350"/>
                  <a:gd name="connsiteX2014" fmla="*/ 1180195 w 1253076"/>
                  <a:gd name="connsiteY2014" fmla="*/ 325467 h 458350"/>
                  <a:gd name="connsiteX2015" fmla="*/ 1182165 w 1253076"/>
                  <a:gd name="connsiteY2015" fmla="*/ 331527 h 458350"/>
                  <a:gd name="connsiteX2016" fmla="*/ 1184438 w 1253076"/>
                  <a:gd name="connsiteY2016" fmla="*/ 334558 h 458350"/>
                  <a:gd name="connsiteX2017" fmla="*/ 1187771 w 1253076"/>
                  <a:gd name="connsiteY2017" fmla="*/ 337437 h 458350"/>
                  <a:gd name="connsiteX2018" fmla="*/ 1189287 w 1253076"/>
                  <a:gd name="connsiteY2018" fmla="*/ 339255 h 458350"/>
                  <a:gd name="connsiteX2019" fmla="*/ 1190044 w 1253076"/>
                  <a:gd name="connsiteY2019" fmla="*/ 342134 h 458350"/>
                  <a:gd name="connsiteX2020" fmla="*/ 1192317 w 1253076"/>
                  <a:gd name="connsiteY2020" fmla="*/ 343800 h 458350"/>
                  <a:gd name="connsiteX2021" fmla="*/ 1193832 w 1253076"/>
                  <a:gd name="connsiteY2021" fmla="*/ 345619 h 458350"/>
                  <a:gd name="connsiteX2022" fmla="*/ 1188832 w 1253076"/>
                  <a:gd name="connsiteY2022" fmla="*/ 346376 h 458350"/>
                  <a:gd name="connsiteX2023" fmla="*/ 1186560 w 1253076"/>
                  <a:gd name="connsiteY2023" fmla="*/ 346983 h 458350"/>
                  <a:gd name="connsiteX2024" fmla="*/ 1186560 w 1253076"/>
                  <a:gd name="connsiteY2024" fmla="*/ 347740 h 458350"/>
                  <a:gd name="connsiteX2025" fmla="*/ 1189741 w 1253076"/>
                  <a:gd name="connsiteY2025" fmla="*/ 351377 h 458350"/>
                  <a:gd name="connsiteX2026" fmla="*/ 1193227 w 1253076"/>
                  <a:gd name="connsiteY2026" fmla="*/ 353195 h 458350"/>
                  <a:gd name="connsiteX2027" fmla="*/ 1198833 w 1253076"/>
                  <a:gd name="connsiteY2027" fmla="*/ 355013 h 458350"/>
                  <a:gd name="connsiteX2028" fmla="*/ 1200499 w 1253076"/>
                  <a:gd name="connsiteY2028" fmla="*/ 355013 h 458350"/>
                  <a:gd name="connsiteX2029" fmla="*/ 1202317 w 1253076"/>
                  <a:gd name="connsiteY2029" fmla="*/ 354710 h 458350"/>
                  <a:gd name="connsiteX2030" fmla="*/ 1199135 w 1253076"/>
                  <a:gd name="connsiteY2030" fmla="*/ 355771 h 458350"/>
                  <a:gd name="connsiteX2031" fmla="*/ 1197924 w 1253076"/>
                  <a:gd name="connsiteY2031" fmla="*/ 355771 h 458350"/>
                  <a:gd name="connsiteX2032" fmla="*/ 1195196 w 1253076"/>
                  <a:gd name="connsiteY2032" fmla="*/ 355165 h 458350"/>
                  <a:gd name="connsiteX2033" fmla="*/ 1193681 w 1253076"/>
                  <a:gd name="connsiteY2033" fmla="*/ 355165 h 458350"/>
                  <a:gd name="connsiteX2034" fmla="*/ 1191862 w 1253076"/>
                  <a:gd name="connsiteY2034" fmla="*/ 355619 h 458350"/>
                  <a:gd name="connsiteX2035" fmla="*/ 1190498 w 1253076"/>
                  <a:gd name="connsiteY2035" fmla="*/ 356528 h 458350"/>
                  <a:gd name="connsiteX2036" fmla="*/ 1191711 w 1253076"/>
                  <a:gd name="connsiteY2036" fmla="*/ 357892 h 458350"/>
                  <a:gd name="connsiteX2037" fmla="*/ 1193377 w 1253076"/>
                  <a:gd name="connsiteY2037" fmla="*/ 358953 h 458350"/>
                  <a:gd name="connsiteX2038" fmla="*/ 1194286 w 1253076"/>
                  <a:gd name="connsiteY2038" fmla="*/ 359862 h 458350"/>
                  <a:gd name="connsiteX2039" fmla="*/ 1195651 w 1253076"/>
                  <a:gd name="connsiteY2039" fmla="*/ 362589 h 458350"/>
                  <a:gd name="connsiteX2040" fmla="*/ 1196863 w 1253076"/>
                  <a:gd name="connsiteY2040" fmla="*/ 363498 h 458350"/>
                  <a:gd name="connsiteX2041" fmla="*/ 1198681 w 1253076"/>
                  <a:gd name="connsiteY2041" fmla="*/ 364104 h 458350"/>
                  <a:gd name="connsiteX2042" fmla="*/ 1199742 w 1253076"/>
                  <a:gd name="connsiteY2042" fmla="*/ 365771 h 458350"/>
                  <a:gd name="connsiteX2043" fmla="*/ 1199287 w 1253076"/>
                  <a:gd name="connsiteY2043" fmla="*/ 367135 h 458350"/>
                  <a:gd name="connsiteX2044" fmla="*/ 1198529 w 1253076"/>
                  <a:gd name="connsiteY2044" fmla="*/ 368498 h 458350"/>
                  <a:gd name="connsiteX2045" fmla="*/ 1197317 w 1253076"/>
                  <a:gd name="connsiteY2045" fmla="*/ 372438 h 458350"/>
                  <a:gd name="connsiteX2046" fmla="*/ 1195499 w 1253076"/>
                  <a:gd name="connsiteY2046" fmla="*/ 374559 h 458350"/>
                  <a:gd name="connsiteX2047" fmla="*/ 1194590 w 1253076"/>
                  <a:gd name="connsiteY2047" fmla="*/ 378044 h 458350"/>
                  <a:gd name="connsiteX2048" fmla="*/ 1193984 w 1253076"/>
                  <a:gd name="connsiteY2048" fmla="*/ 379559 h 458350"/>
                  <a:gd name="connsiteX2049" fmla="*/ 1193227 w 1253076"/>
                  <a:gd name="connsiteY2049" fmla="*/ 380923 h 458350"/>
                  <a:gd name="connsiteX2050" fmla="*/ 1193529 w 1253076"/>
                  <a:gd name="connsiteY2050" fmla="*/ 382287 h 458350"/>
                  <a:gd name="connsiteX2051" fmla="*/ 1194286 w 1253076"/>
                  <a:gd name="connsiteY2051" fmla="*/ 383499 h 458350"/>
                  <a:gd name="connsiteX2052" fmla="*/ 1195499 w 1253076"/>
                  <a:gd name="connsiteY2052" fmla="*/ 384105 h 458350"/>
                  <a:gd name="connsiteX2053" fmla="*/ 1199590 w 1253076"/>
                  <a:gd name="connsiteY2053" fmla="*/ 380772 h 458350"/>
                  <a:gd name="connsiteX2054" fmla="*/ 1202621 w 1253076"/>
                  <a:gd name="connsiteY2054" fmla="*/ 379256 h 458350"/>
                  <a:gd name="connsiteX2055" fmla="*/ 1204136 w 1253076"/>
                  <a:gd name="connsiteY2055" fmla="*/ 376378 h 458350"/>
                  <a:gd name="connsiteX2056" fmla="*/ 1204439 w 1253076"/>
                  <a:gd name="connsiteY2056" fmla="*/ 378196 h 458350"/>
                  <a:gd name="connsiteX2057" fmla="*/ 1205045 w 1253076"/>
                  <a:gd name="connsiteY2057" fmla="*/ 379862 h 458350"/>
                  <a:gd name="connsiteX2058" fmla="*/ 1206105 w 1253076"/>
                  <a:gd name="connsiteY2058" fmla="*/ 381529 h 458350"/>
                  <a:gd name="connsiteX2059" fmla="*/ 1207924 w 1253076"/>
                  <a:gd name="connsiteY2059" fmla="*/ 382135 h 458350"/>
                  <a:gd name="connsiteX2060" fmla="*/ 1211560 w 1253076"/>
                  <a:gd name="connsiteY2060" fmla="*/ 381681 h 458350"/>
                  <a:gd name="connsiteX2061" fmla="*/ 1215196 w 1253076"/>
                  <a:gd name="connsiteY2061" fmla="*/ 380317 h 458350"/>
                  <a:gd name="connsiteX2062" fmla="*/ 1219136 w 1253076"/>
                  <a:gd name="connsiteY2062" fmla="*/ 379862 h 458350"/>
                  <a:gd name="connsiteX2063" fmla="*/ 1223076 w 1253076"/>
                  <a:gd name="connsiteY2063" fmla="*/ 379711 h 458350"/>
                  <a:gd name="connsiteX2064" fmla="*/ 1225803 w 1253076"/>
                  <a:gd name="connsiteY2064" fmla="*/ 377590 h 458350"/>
                  <a:gd name="connsiteX2065" fmla="*/ 1228076 w 1253076"/>
                  <a:gd name="connsiteY2065" fmla="*/ 374862 h 458350"/>
                  <a:gd name="connsiteX2066" fmla="*/ 1225955 w 1253076"/>
                  <a:gd name="connsiteY2066" fmla="*/ 379256 h 458350"/>
                  <a:gd name="connsiteX2067" fmla="*/ 1224742 w 1253076"/>
                  <a:gd name="connsiteY2067" fmla="*/ 380772 h 458350"/>
                  <a:gd name="connsiteX2068" fmla="*/ 1224440 w 1253076"/>
                  <a:gd name="connsiteY2068" fmla="*/ 381529 h 458350"/>
                  <a:gd name="connsiteX2069" fmla="*/ 1225046 w 1253076"/>
                  <a:gd name="connsiteY2069" fmla="*/ 382287 h 458350"/>
                  <a:gd name="connsiteX2070" fmla="*/ 1227773 w 1253076"/>
                  <a:gd name="connsiteY2070" fmla="*/ 385166 h 458350"/>
                  <a:gd name="connsiteX2071" fmla="*/ 1238379 w 1253076"/>
                  <a:gd name="connsiteY2071" fmla="*/ 393954 h 458350"/>
                  <a:gd name="connsiteX2072" fmla="*/ 1240803 w 1253076"/>
                  <a:gd name="connsiteY2072" fmla="*/ 396984 h 458350"/>
                  <a:gd name="connsiteX2073" fmla="*/ 1243077 w 1253076"/>
                  <a:gd name="connsiteY2073" fmla="*/ 400166 h 458350"/>
                  <a:gd name="connsiteX2074" fmla="*/ 1246561 w 1253076"/>
                  <a:gd name="connsiteY2074" fmla="*/ 403651 h 458350"/>
                  <a:gd name="connsiteX2075" fmla="*/ 1250349 w 1253076"/>
                  <a:gd name="connsiteY2075" fmla="*/ 406682 h 458350"/>
                  <a:gd name="connsiteX2076" fmla="*/ 1251713 w 1253076"/>
                  <a:gd name="connsiteY2076" fmla="*/ 407591 h 458350"/>
                  <a:gd name="connsiteX2077" fmla="*/ 1252926 w 1253076"/>
                  <a:gd name="connsiteY2077" fmla="*/ 408803 h 458350"/>
                  <a:gd name="connsiteX2078" fmla="*/ 1192317 w 1253076"/>
                  <a:gd name="connsiteY2078" fmla="*/ 383347 h 458350"/>
                  <a:gd name="connsiteX2079" fmla="*/ 1189893 w 1253076"/>
                  <a:gd name="connsiteY2079" fmla="*/ 384105 h 458350"/>
                  <a:gd name="connsiteX2080" fmla="*/ 1188378 w 1253076"/>
                  <a:gd name="connsiteY2080" fmla="*/ 386075 h 458350"/>
                  <a:gd name="connsiteX2081" fmla="*/ 1186862 w 1253076"/>
                  <a:gd name="connsiteY2081" fmla="*/ 387135 h 458350"/>
                  <a:gd name="connsiteX2082" fmla="*/ 1187014 w 1253076"/>
                  <a:gd name="connsiteY2082" fmla="*/ 387742 h 458350"/>
                  <a:gd name="connsiteX2083" fmla="*/ 1187771 w 1253076"/>
                  <a:gd name="connsiteY2083" fmla="*/ 388802 h 458350"/>
                  <a:gd name="connsiteX2084" fmla="*/ 1194590 w 1253076"/>
                  <a:gd name="connsiteY2084" fmla="*/ 389560 h 458350"/>
                  <a:gd name="connsiteX2085" fmla="*/ 1195954 w 1253076"/>
                  <a:gd name="connsiteY2085" fmla="*/ 389257 h 458350"/>
                  <a:gd name="connsiteX2086" fmla="*/ 1195954 w 1253076"/>
                  <a:gd name="connsiteY2086" fmla="*/ 387893 h 458350"/>
                  <a:gd name="connsiteX2087" fmla="*/ 1193227 w 1253076"/>
                  <a:gd name="connsiteY2087" fmla="*/ 383347 h 458350"/>
                  <a:gd name="connsiteX2088" fmla="*/ 1192317 w 1253076"/>
                  <a:gd name="connsiteY2088" fmla="*/ 383347 h 458350"/>
                  <a:gd name="connsiteX2089" fmla="*/ 1037766 w 1253076"/>
                  <a:gd name="connsiteY2089" fmla="*/ 305163 h 458350"/>
                  <a:gd name="connsiteX2090" fmla="*/ 1034887 w 1253076"/>
                  <a:gd name="connsiteY2090" fmla="*/ 313648 h 458350"/>
                  <a:gd name="connsiteX2091" fmla="*/ 1032917 w 1253076"/>
                  <a:gd name="connsiteY2091" fmla="*/ 315315 h 458350"/>
                  <a:gd name="connsiteX2092" fmla="*/ 1032462 w 1253076"/>
                  <a:gd name="connsiteY2092" fmla="*/ 318042 h 458350"/>
                  <a:gd name="connsiteX2093" fmla="*/ 1030342 w 1253076"/>
                  <a:gd name="connsiteY2093" fmla="*/ 323497 h 458350"/>
                  <a:gd name="connsiteX2094" fmla="*/ 1032614 w 1253076"/>
                  <a:gd name="connsiteY2094" fmla="*/ 321224 h 458350"/>
                  <a:gd name="connsiteX2095" fmla="*/ 1033826 w 1253076"/>
                  <a:gd name="connsiteY2095" fmla="*/ 316678 h 458350"/>
                  <a:gd name="connsiteX2096" fmla="*/ 1037918 w 1253076"/>
                  <a:gd name="connsiteY2096" fmla="*/ 312284 h 458350"/>
                  <a:gd name="connsiteX2097" fmla="*/ 1039433 w 1253076"/>
                  <a:gd name="connsiteY2097" fmla="*/ 306072 h 458350"/>
                  <a:gd name="connsiteX2098" fmla="*/ 1038524 w 1253076"/>
                  <a:gd name="connsiteY2098" fmla="*/ 305314 h 458350"/>
                  <a:gd name="connsiteX2099" fmla="*/ 1037766 w 1253076"/>
                  <a:gd name="connsiteY2099" fmla="*/ 305163 h 458350"/>
                  <a:gd name="connsiteX2100" fmla="*/ 980491 w 1253076"/>
                  <a:gd name="connsiteY2100" fmla="*/ 381075 h 458350"/>
                  <a:gd name="connsiteX2101" fmla="*/ 975340 w 1253076"/>
                  <a:gd name="connsiteY2101" fmla="*/ 385923 h 458350"/>
                  <a:gd name="connsiteX2102" fmla="*/ 973672 w 1253076"/>
                  <a:gd name="connsiteY2102" fmla="*/ 388044 h 458350"/>
                  <a:gd name="connsiteX2103" fmla="*/ 976097 w 1253076"/>
                  <a:gd name="connsiteY2103" fmla="*/ 387135 h 458350"/>
                  <a:gd name="connsiteX2104" fmla="*/ 977309 w 1253076"/>
                  <a:gd name="connsiteY2104" fmla="*/ 385166 h 458350"/>
                  <a:gd name="connsiteX2105" fmla="*/ 981097 w 1253076"/>
                  <a:gd name="connsiteY2105" fmla="*/ 384256 h 458350"/>
                  <a:gd name="connsiteX2106" fmla="*/ 984734 w 1253076"/>
                  <a:gd name="connsiteY2106" fmla="*/ 381984 h 458350"/>
                  <a:gd name="connsiteX2107" fmla="*/ 982309 w 1253076"/>
                  <a:gd name="connsiteY2107" fmla="*/ 381832 h 458350"/>
                  <a:gd name="connsiteX2108" fmla="*/ 980491 w 1253076"/>
                  <a:gd name="connsiteY2108" fmla="*/ 381075 h 458350"/>
                  <a:gd name="connsiteX2109" fmla="*/ 976097 w 1253076"/>
                  <a:gd name="connsiteY2109" fmla="*/ 257737 h 458350"/>
                  <a:gd name="connsiteX2110" fmla="*/ 975642 w 1253076"/>
                  <a:gd name="connsiteY2110" fmla="*/ 256676 h 458350"/>
                  <a:gd name="connsiteX2111" fmla="*/ 973672 w 1253076"/>
                  <a:gd name="connsiteY2111" fmla="*/ 253494 h 458350"/>
                  <a:gd name="connsiteX2112" fmla="*/ 972157 w 1253076"/>
                  <a:gd name="connsiteY2112" fmla="*/ 253343 h 458350"/>
                  <a:gd name="connsiteX2113" fmla="*/ 970945 w 1253076"/>
                  <a:gd name="connsiteY2113" fmla="*/ 252737 h 458350"/>
                  <a:gd name="connsiteX2114" fmla="*/ 970187 w 1253076"/>
                  <a:gd name="connsiteY2114" fmla="*/ 250615 h 458350"/>
                  <a:gd name="connsiteX2115" fmla="*/ 969733 w 1253076"/>
                  <a:gd name="connsiteY2115" fmla="*/ 248342 h 458350"/>
                  <a:gd name="connsiteX2116" fmla="*/ 968218 w 1253076"/>
                  <a:gd name="connsiteY2116" fmla="*/ 245767 h 458350"/>
                  <a:gd name="connsiteX2117" fmla="*/ 963066 w 1253076"/>
                  <a:gd name="connsiteY2117" fmla="*/ 241979 h 458350"/>
                  <a:gd name="connsiteX2118" fmla="*/ 960945 w 1253076"/>
                  <a:gd name="connsiteY2118" fmla="*/ 241676 h 458350"/>
                  <a:gd name="connsiteX2119" fmla="*/ 955490 w 1253076"/>
                  <a:gd name="connsiteY2119" fmla="*/ 242130 h 458350"/>
                  <a:gd name="connsiteX2120" fmla="*/ 952308 w 1253076"/>
                  <a:gd name="connsiteY2120" fmla="*/ 241676 h 458350"/>
                  <a:gd name="connsiteX2121" fmla="*/ 946096 w 1253076"/>
                  <a:gd name="connsiteY2121" fmla="*/ 238645 h 458350"/>
                  <a:gd name="connsiteX2122" fmla="*/ 941853 w 1253076"/>
                  <a:gd name="connsiteY2122" fmla="*/ 236978 h 458350"/>
                  <a:gd name="connsiteX2123" fmla="*/ 940338 w 1253076"/>
                  <a:gd name="connsiteY2123" fmla="*/ 236524 h 458350"/>
                  <a:gd name="connsiteX2124" fmla="*/ 938671 w 1253076"/>
                  <a:gd name="connsiteY2124" fmla="*/ 236372 h 458350"/>
                  <a:gd name="connsiteX2125" fmla="*/ 937156 w 1253076"/>
                  <a:gd name="connsiteY2125" fmla="*/ 236524 h 458350"/>
                  <a:gd name="connsiteX2126" fmla="*/ 935641 w 1253076"/>
                  <a:gd name="connsiteY2126" fmla="*/ 237281 h 458350"/>
                  <a:gd name="connsiteX2127" fmla="*/ 933065 w 1253076"/>
                  <a:gd name="connsiteY2127" fmla="*/ 239100 h 458350"/>
                  <a:gd name="connsiteX2128" fmla="*/ 930186 w 1253076"/>
                  <a:gd name="connsiteY2128" fmla="*/ 240312 h 458350"/>
                  <a:gd name="connsiteX2129" fmla="*/ 928671 w 1253076"/>
                  <a:gd name="connsiteY2129" fmla="*/ 240463 h 458350"/>
                  <a:gd name="connsiteX2130" fmla="*/ 927459 w 1253076"/>
                  <a:gd name="connsiteY2130" fmla="*/ 239251 h 458350"/>
                  <a:gd name="connsiteX2131" fmla="*/ 927004 w 1253076"/>
                  <a:gd name="connsiteY2131" fmla="*/ 237736 h 458350"/>
                  <a:gd name="connsiteX2132" fmla="*/ 925186 w 1253076"/>
                  <a:gd name="connsiteY2132" fmla="*/ 237433 h 458350"/>
                  <a:gd name="connsiteX2133" fmla="*/ 922913 w 1253076"/>
                  <a:gd name="connsiteY2133" fmla="*/ 238039 h 458350"/>
                  <a:gd name="connsiteX2134" fmla="*/ 919580 w 1253076"/>
                  <a:gd name="connsiteY2134" fmla="*/ 238191 h 458350"/>
                  <a:gd name="connsiteX2135" fmla="*/ 913519 w 1253076"/>
                  <a:gd name="connsiteY2135" fmla="*/ 237736 h 458350"/>
                  <a:gd name="connsiteX2136" fmla="*/ 903367 w 1253076"/>
                  <a:gd name="connsiteY2136" fmla="*/ 238342 h 458350"/>
                  <a:gd name="connsiteX2137" fmla="*/ 901094 w 1253076"/>
                  <a:gd name="connsiteY2137" fmla="*/ 240160 h 458350"/>
                  <a:gd name="connsiteX2138" fmla="*/ 894579 w 1253076"/>
                  <a:gd name="connsiteY2138" fmla="*/ 248040 h 458350"/>
                  <a:gd name="connsiteX2139" fmla="*/ 895033 w 1253076"/>
                  <a:gd name="connsiteY2139" fmla="*/ 249706 h 458350"/>
                  <a:gd name="connsiteX2140" fmla="*/ 895942 w 1253076"/>
                  <a:gd name="connsiteY2140" fmla="*/ 251373 h 458350"/>
                  <a:gd name="connsiteX2141" fmla="*/ 895942 w 1253076"/>
                  <a:gd name="connsiteY2141" fmla="*/ 252888 h 458350"/>
                  <a:gd name="connsiteX2142" fmla="*/ 895185 w 1253076"/>
                  <a:gd name="connsiteY2142" fmla="*/ 255616 h 458350"/>
                  <a:gd name="connsiteX2143" fmla="*/ 895640 w 1253076"/>
                  <a:gd name="connsiteY2143" fmla="*/ 255918 h 458350"/>
                  <a:gd name="connsiteX2144" fmla="*/ 897003 w 1253076"/>
                  <a:gd name="connsiteY2144" fmla="*/ 254252 h 458350"/>
                  <a:gd name="connsiteX2145" fmla="*/ 898670 w 1253076"/>
                  <a:gd name="connsiteY2145" fmla="*/ 251373 h 458350"/>
                  <a:gd name="connsiteX2146" fmla="*/ 899124 w 1253076"/>
                  <a:gd name="connsiteY2146" fmla="*/ 250312 h 458350"/>
                  <a:gd name="connsiteX2147" fmla="*/ 899428 w 1253076"/>
                  <a:gd name="connsiteY2147" fmla="*/ 248494 h 458350"/>
                  <a:gd name="connsiteX2148" fmla="*/ 900185 w 1253076"/>
                  <a:gd name="connsiteY2148" fmla="*/ 246979 h 458350"/>
                  <a:gd name="connsiteX2149" fmla="*/ 901549 w 1253076"/>
                  <a:gd name="connsiteY2149" fmla="*/ 246221 h 458350"/>
                  <a:gd name="connsiteX2150" fmla="*/ 902912 w 1253076"/>
                  <a:gd name="connsiteY2150" fmla="*/ 246676 h 458350"/>
                  <a:gd name="connsiteX2151" fmla="*/ 904276 w 1253076"/>
                  <a:gd name="connsiteY2151" fmla="*/ 247585 h 458350"/>
                  <a:gd name="connsiteX2152" fmla="*/ 905488 w 1253076"/>
                  <a:gd name="connsiteY2152" fmla="*/ 248645 h 458350"/>
                  <a:gd name="connsiteX2153" fmla="*/ 909276 w 1253076"/>
                  <a:gd name="connsiteY2153" fmla="*/ 253494 h 458350"/>
                  <a:gd name="connsiteX2154" fmla="*/ 910488 w 1253076"/>
                  <a:gd name="connsiteY2154" fmla="*/ 254100 h 458350"/>
                  <a:gd name="connsiteX2155" fmla="*/ 911852 w 1253076"/>
                  <a:gd name="connsiteY2155" fmla="*/ 254403 h 458350"/>
                  <a:gd name="connsiteX2156" fmla="*/ 915185 w 1253076"/>
                  <a:gd name="connsiteY2156" fmla="*/ 253949 h 458350"/>
                  <a:gd name="connsiteX2157" fmla="*/ 916246 w 1253076"/>
                  <a:gd name="connsiteY2157" fmla="*/ 252888 h 458350"/>
                  <a:gd name="connsiteX2158" fmla="*/ 918216 w 1253076"/>
                  <a:gd name="connsiteY2158" fmla="*/ 250312 h 458350"/>
                  <a:gd name="connsiteX2159" fmla="*/ 919580 w 1253076"/>
                  <a:gd name="connsiteY2159" fmla="*/ 249403 h 458350"/>
                  <a:gd name="connsiteX2160" fmla="*/ 921247 w 1253076"/>
                  <a:gd name="connsiteY2160" fmla="*/ 248494 h 458350"/>
                  <a:gd name="connsiteX2161" fmla="*/ 922913 w 1253076"/>
                  <a:gd name="connsiteY2161" fmla="*/ 248342 h 458350"/>
                  <a:gd name="connsiteX2162" fmla="*/ 923822 w 1253076"/>
                  <a:gd name="connsiteY2162" fmla="*/ 248645 h 458350"/>
                  <a:gd name="connsiteX2163" fmla="*/ 923974 w 1253076"/>
                  <a:gd name="connsiteY2163" fmla="*/ 249403 h 458350"/>
                  <a:gd name="connsiteX2164" fmla="*/ 923671 w 1253076"/>
                  <a:gd name="connsiteY2164" fmla="*/ 250312 h 458350"/>
                  <a:gd name="connsiteX2165" fmla="*/ 924126 w 1253076"/>
                  <a:gd name="connsiteY2165" fmla="*/ 250918 h 458350"/>
                  <a:gd name="connsiteX2166" fmla="*/ 927914 w 1253076"/>
                  <a:gd name="connsiteY2166" fmla="*/ 251524 h 458350"/>
                  <a:gd name="connsiteX2167" fmla="*/ 930792 w 1253076"/>
                  <a:gd name="connsiteY2167" fmla="*/ 252737 h 458350"/>
                  <a:gd name="connsiteX2168" fmla="*/ 934125 w 1253076"/>
                  <a:gd name="connsiteY2168" fmla="*/ 253191 h 458350"/>
                  <a:gd name="connsiteX2169" fmla="*/ 937762 w 1253076"/>
                  <a:gd name="connsiteY2169" fmla="*/ 254403 h 458350"/>
                  <a:gd name="connsiteX2170" fmla="*/ 939278 w 1253076"/>
                  <a:gd name="connsiteY2170" fmla="*/ 253797 h 458350"/>
                  <a:gd name="connsiteX2171" fmla="*/ 939278 w 1253076"/>
                  <a:gd name="connsiteY2171" fmla="*/ 251828 h 458350"/>
                  <a:gd name="connsiteX2172" fmla="*/ 938974 w 1253076"/>
                  <a:gd name="connsiteY2172" fmla="*/ 250918 h 458350"/>
                  <a:gd name="connsiteX2173" fmla="*/ 939883 w 1253076"/>
                  <a:gd name="connsiteY2173" fmla="*/ 250615 h 458350"/>
                  <a:gd name="connsiteX2174" fmla="*/ 942157 w 1253076"/>
                  <a:gd name="connsiteY2174" fmla="*/ 250615 h 458350"/>
                  <a:gd name="connsiteX2175" fmla="*/ 948065 w 1253076"/>
                  <a:gd name="connsiteY2175" fmla="*/ 250918 h 458350"/>
                  <a:gd name="connsiteX2176" fmla="*/ 951096 w 1253076"/>
                  <a:gd name="connsiteY2176" fmla="*/ 252737 h 458350"/>
                  <a:gd name="connsiteX2177" fmla="*/ 951853 w 1253076"/>
                  <a:gd name="connsiteY2177" fmla="*/ 253949 h 458350"/>
                  <a:gd name="connsiteX2178" fmla="*/ 952914 w 1253076"/>
                  <a:gd name="connsiteY2178" fmla="*/ 254858 h 458350"/>
                  <a:gd name="connsiteX2179" fmla="*/ 959733 w 1253076"/>
                  <a:gd name="connsiteY2179" fmla="*/ 257737 h 458350"/>
                  <a:gd name="connsiteX2180" fmla="*/ 962308 w 1253076"/>
                  <a:gd name="connsiteY2180" fmla="*/ 258949 h 458350"/>
                  <a:gd name="connsiteX2181" fmla="*/ 968218 w 1253076"/>
                  <a:gd name="connsiteY2181" fmla="*/ 262283 h 458350"/>
                  <a:gd name="connsiteX2182" fmla="*/ 974431 w 1253076"/>
                  <a:gd name="connsiteY2182" fmla="*/ 265313 h 458350"/>
                  <a:gd name="connsiteX2183" fmla="*/ 976097 w 1253076"/>
                  <a:gd name="connsiteY2183" fmla="*/ 257737 h 458350"/>
                  <a:gd name="connsiteX2184" fmla="*/ 1047312 w 1253076"/>
                  <a:gd name="connsiteY2184" fmla="*/ 274859 h 458350"/>
                  <a:gd name="connsiteX2185" fmla="*/ 1043372 w 1253076"/>
                  <a:gd name="connsiteY2185" fmla="*/ 272434 h 458350"/>
                  <a:gd name="connsiteX2186" fmla="*/ 1043675 w 1253076"/>
                  <a:gd name="connsiteY2186" fmla="*/ 274101 h 458350"/>
                  <a:gd name="connsiteX2187" fmla="*/ 1048373 w 1253076"/>
                  <a:gd name="connsiteY2187" fmla="*/ 276525 h 458350"/>
                  <a:gd name="connsiteX2188" fmla="*/ 1051554 w 1253076"/>
                  <a:gd name="connsiteY2188" fmla="*/ 277737 h 458350"/>
                  <a:gd name="connsiteX2189" fmla="*/ 1050191 w 1253076"/>
                  <a:gd name="connsiteY2189" fmla="*/ 276222 h 458350"/>
                  <a:gd name="connsiteX2190" fmla="*/ 1047312 w 1253076"/>
                  <a:gd name="connsiteY2190" fmla="*/ 274859 h 458350"/>
                  <a:gd name="connsiteX2191" fmla="*/ 999128 w 1253076"/>
                  <a:gd name="connsiteY2191" fmla="*/ 355013 h 458350"/>
                  <a:gd name="connsiteX2192" fmla="*/ 997613 w 1253076"/>
                  <a:gd name="connsiteY2192" fmla="*/ 354255 h 458350"/>
                  <a:gd name="connsiteX2193" fmla="*/ 995340 w 1253076"/>
                  <a:gd name="connsiteY2193" fmla="*/ 354861 h 458350"/>
                  <a:gd name="connsiteX2194" fmla="*/ 994582 w 1253076"/>
                  <a:gd name="connsiteY2194" fmla="*/ 355619 h 458350"/>
                  <a:gd name="connsiteX2195" fmla="*/ 994734 w 1253076"/>
                  <a:gd name="connsiteY2195" fmla="*/ 357134 h 458350"/>
                  <a:gd name="connsiteX2196" fmla="*/ 993219 w 1253076"/>
                  <a:gd name="connsiteY2196" fmla="*/ 357892 h 458350"/>
                  <a:gd name="connsiteX2197" fmla="*/ 992158 w 1253076"/>
                  <a:gd name="connsiteY2197" fmla="*/ 359710 h 458350"/>
                  <a:gd name="connsiteX2198" fmla="*/ 991249 w 1253076"/>
                  <a:gd name="connsiteY2198" fmla="*/ 360316 h 458350"/>
                  <a:gd name="connsiteX2199" fmla="*/ 989583 w 1253076"/>
                  <a:gd name="connsiteY2199" fmla="*/ 362589 h 458350"/>
                  <a:gd name="connsiteX2200" fmla="*/ 988219 w 1253076"/>
                  <a:gd name="connsiteY2200" fmla="*/ 362892 h 458350"/>
                  <a:gd name="connsiteX2201" fmla="*/ 987158 w 1253076"/>
                  <a:gd name="connsiteY2201" fmla="*/ 363801 h 458350"/>
                  <a:gd name="connsiteX2202" fmla="*/ 985491 w 1253076"/>
                  <a:gd name="connsiteY2202" fmla="*/ 367741 h 458350"/>
                  <a:gd name="connsiteX2203" fmla="*/ 985340 w 1253076"/>
                  <a:gd name="connsiteY2203" fmla="*/ 369256 h 458350"/>
                  <a:gd name="connsiteX2204" fmla="*/ 983976 w 1253076"/>
                  <a:gd name="connsiteY2204" fmla="*/ 369559 h 458350"/>
                  <a:gd name="connsiteX2205" fmla="*/ 983976 w 1253076"/>
                  <a:gd name="connsiteY2205" fmla="*/ 372135 h 458350"/>
                  <a:gd name="connsiteX2206" fmla="*/ 982612 w 1253076"/>
                  <a:gd name="connsiteY2206" fmla="*/ 374408 h 458350"/>
                  <a:gd name="connsiteX2207" fmla="*/ 983673 w 1253076"/>
                  <a:gd name="connsiteY2207" fmla="*/ 375923 h 458350"/>
                  <a:gd name="connsiteX2208" fmla="*/ 983370 w 1253076"/>
                  <a:gd name="connsiteY2208" fmla="*/ 378044 h 458350"/>
                  <a:gd name="connsiteX2209" fmla="*/ 985340 w 1253076"/>
                  <a:gd name="connsiteY2209" fmla="*/ 378044 h 458350"/>
                  <a:gd name="connsiteX2210" fmla="*/ 988674 w 1253076"/>
                  <a:gd name="connsiteY2210" fmla="*/ 378347 h 458350"/>
                  <a:gd name="connsiteX2211" fmla="*/ 989128 w 1253076"/>
                  <a:gd name="connsiteY2211" fmla="*/ 378044 h 458350"/>
                  <a:gd name="connsiteX2212" fmla="*/ 989583 w 1253076"/>
                  <a:gd name="connsiteY2212" fmla="*/ 377590 h 458350"/>
                  <a:gd name="connsiteX2213" fmla="*/ 989733 w 1253076"/>
                  <a:gd name="connsiteY2213" fmla="*/ 376680 h 458350"/>
                  <a:gd name="connsiteX2214" fmla="*/ 990492 w 1253076"/>
                  <a:gd name="connsiteY2214" fmla="*/ 374559 h 458350"/>
                  <a:gd name="connsiteX2215" fmla="*/ 993067 w 1253076"/>
                  <a:gd name="connsiteY2215" fmla="*/ 371983 h 458350"/>
                  <a:gd name="connsiteX2216" fmla="*/ 993673 w 1253076"/>
                  <a:gd name="connsiteY2216" fmla="*/ 370771 h 458350"/>
                  <a:gd name="connsiteX2217" fmla="*/ 995946 w 1253076"/>
                  <a:gd name="connsiteY2217" fmla="*/ 369407 h 458350"/>
                  <a:gd name="connsiteX2218" fmla="*/ 997159 w 1253076"/>
                  <a:gd name="connsiteY2218" fmla="*/ 367892 h 458350"/>
                  <a:gd name="connsiteX2219" fmla="*/ 998977 w 1253076"/>
                  <a:gd name="connsiteY2219" fmla="*/ 362741 h 458350"/>
                  <a:gd name="connsiteX2220" fmla="*/ 997613 w 1253076"/>
                  <a:gd name="connsiteY2220" fmla="*/ 358043 h 458350"/>
                  <a:gd name="connsiteX2221" fmla="*/ 1000188 w 1253076"/>
                  <a:gd name="connsiteY2221" fmla="*/ 356074 h 458350"/>
                  <a:gd name="connsiteX2222" fmla="*/ 999128 w 1253076"/>
                  <a:gd name="connsiteY2222" fmla="*/ 355013 h 458350"/>
                  <a:gd name="connsiteX2223" fmla="*/ 943066 w 1253076"/>
                  <a:gd name="connsiteY2223" fmla="*/ 372892 h 458350"/>
                  <a:gd name="connsiteX2224" fmla="*/ 941853 w 1253076"/>
                  <a:gd name="connsiteY2224" fmla="*/ 373196 h 458350"/>
                  <a:gd name="connsiteX2225" fmla="*/ 941550 w 1253076"/>
                  <a:gd name="connsiteY2225" fmla="*/ 373953 h 458350"/>
                  <a:gd name="connsiteX2226" fmla="*/ 941398 w 1253076"/>
                  <a:gd name="connsiteY2226" fmla="*/ 376378 h 458350"/>
                  <a:gd name="connsiteX2227" fmla="*/ 944732 w 1253076"/>
                  <a:gd name="connsiteY2227" fmla="*/ 379711 h 458350"/>
                  <a:gd name="connsiteX2228" fmla="*/ 946550 w 1253076"/>
                  <a:gd name="connsiteY2228" fmla="*/ 379862 h 458350"/>
                  <a:gd name="connsiteX2229" fmla="*/ 948217 w 1253076"/>
                  <a:gd name="connsiteY2229" fmla="*/ 377287 h 458350"/>
                  <a:gd name="connsiteX2230" fmla="*/ 948368 w 1253076"/>
                  <a:gd name="connsiteY2230" fmla="*/ 375468 h 458350"/>
                  <a:gd name="connsiteX2231" fmla="*/ 947459 w 1253076"/>
                  <a:gd name="connsiteY2231" fmla="*/ 373499 h 458350"/>
                  <a:gd name="connsiteX2232" fmla="*/ 943066 w 1253076"/>
                  <a:gd name="connsiteY2232" fmla="*/ 372892 h 458350"/>
                  <a:gd name="connsiteX2233" fmla="*/ 1027463 w 1253076"/>
                  <a:gd name="connsiteY2233" fmla="*/ 314709 h 458350"/>
                  <a:gd name="connsiteX2234" fmla="*/ 1026856 w 1253076"/>
                  <a:gd name="connsiteY2234" fmla="*/ 314405 h 458350"/>
                  <a:gd name="connsiteX2235" fmla="*/ 1026402 w 1253076"/>
                  <a:gd name="connsiteY2235" fmla="*/ 313345 h 458350"/>
                  <a:gd name="connsiteX2236" fmla="*/ 1024584 w 1253076"/>
                  <a:gd name="connsiteY2236" fmla="*/ 313345 h 458350"/>
                  <a:gd name="connsiteX2237" fmla="*/ 1025947 w 1253076"/>
                  <a:gd name="connsiteY2237" fmla="*/ 316981 h 458350"/>
                  <a:gd name="connsiteX2238" fmla="*/ 1025493 w 1253076"/>
                  <a:gd name="connsiteY2238" fmla="*/ 320163 h 458350"/>
                  <a:gd name="connsiteX2239" fmla="*/ 1025947 w 1253076"/>
                  <a:gd name="connsiteY2239" fmla="*/ 321679 h 458350"/>
                  <a:gd name="connsiteX2240" fmla="*/ 1026554 w 1253076"/>
                  <a:gd name="connsiteY2240" fmla="*/ 321679 h 458350"/>
                  <a:gd name="connsiteX2241" fmla="*/ 1027614 w 1253076"/>
                  <a:gd name="connsiteY2241" fmla="*/ 322588 h 458350"/>
                  <a:gd name="connsiteX2242" fmla="*/ 1029281 w 1253076"/>
                  <a:gd name="connsiteY2242" fmla="*/ 320012 h 458350"/>
                  <a:gd name="connsiteX2243" fmla="*/ 1029129 w 1253076"/>
                  <a:gd name="connsiteY2243" fmla="*/ 318345 h 458350"/>
                  <a:gd name="connsiteX2244" fmla="*/ 1027463 w 1253076"/>
                  <a:gd name="connsiteY2244" fmla="*/ 314709 h 458350"/>
                  <a:gd name="connsiteX2245" fmla="*/ 1000492 w 1253076"/>
                  <a:gd name="connsiteY2245" fmla="*/ 354407 h 458350"/>
                  <a:gd name="connsiteX2246" fmla="*/ 1001249 w 1253076"/>
                  <a:gd name="connsiteY2246" fmla="*/ 355165 h 458350"/>
                  <a:gd name="connsiteX2247" fmla="*/ 1002461 w 1253076"/>
                  <a:gd name="connsiteY2247" fmla="*/ 355619 h 458350"/>
                  <a:gd name="connsiteX2248" fmla="*/ 1004128 w 1253076"/>
                  <a:gd name="connsiteY2248" fmla="*/ 355771 h 458350"/>
                  <a:gd name="connsiteX2249" fmla="*/ 1005340 w 1253076"/>
                  <a:gd name="connsiteY2249" fmla="*/ 357286 h 458350"/>
                  <a:gd name="connsiteX2250" fmla="*/ 1006553 w 1253076"/>
                  <a:gd name="connsiteY2250" fmla="*/ 358043 h 458350"/>
                  <a:gd name="connsiteX2251" fmla="*/ 1006855 w 1253076"/>
                  <a:gd name="connsiteY2251" fmla="*/ 356680 h 458350"/>
                  <a:gd name="connsiteX2252" fmla="*/ 1005189 w 1253076"/>
                  <a:gd name="connsiteY2252" fmla="*/ 353952 h 458350"/>
                  <a:gd name="connsiteX2253" fmla="*/ 1000492 w 1253076"/>
                  <a:gd name="connsiteY2253" fmla="*/ 354407 h 458350"/>
                  <a:gd name="connsiteX2254" fmla="*/ 842152 w 1253076"/>
                  <a:gd name="connsiteY2254" fmla="*/ 214402 h 458350"/>
                  <a:gd name="connsiteX2255" fmla="*/ 841092 w 1253076"/>
                  <a:gd name="connsiteY2255" fmla="*/ 214402 h 458350"/>
                  <a:gd name="connsiteX2256" fmla="*/ 839728 w 1253076"/>
                  <a:gd name="connsiteY2256" fmla="*/ 216069 h 458350"/>
                  <a:gd name="connsiteX2257" fmla="*/ 839425 w 1253076"/>
                  <a:gd name="connsiteY2257" fmla="*/ 217129 h 458350"/>
                  <a:gd name="connsiteX2258" fmla="*/ 840486 w 1253076"/>
                  <a:gd name="connsiteY2258" fmla="*/ 221069 h 458350"/>
                  <a:gd name="connsiteX2259" fmla="*/ 841395 w 1253076"/>
                  <a:gd name="connsiteY2259" fmla="*/ 222129 h 458350"/>
                  <a:gd name="connsiteX2260" fmla="*/ 842456 w 1253076"/>
                  <a:gd name="connsiteY2260" fmla="*/ 226220 h 458350"/>
                  <a:gd name="connsiteX2261" fmla="*/ 844122 w 1253076"/>
                  <a:gd name="connsiteY2261" fmla="*/ 227736 h 458350"/>
                  <a:gd name="connsiteX2262" fmla="*/ 844577 w 1253076"/>
                  <a:gd name="connsiteY2262" fmla="*/ 227281 h 458350"/>
                  <a:gd name="connsiteX2263" fmla="*/ 844880 w 1253076"/>
                  <a:gd name="connsiteY2263" fmla="*/ 225008 h 458350"/>
                  <a:gd name="connsiteX2264" fmla="*/ 842456 w 1253076"/>
                  <a:gd name="connsiteY2264" fmla="*/ 219705 h 458350"/>
                  <a:gd name="connsiteX2265" fmla="*/ 842910 w 1253076"/>
                  <a:gd name="connsiteY2265" fmla="*/ 215462 h 458350"/>
                  <a:gd name="connsiteX2266" fmla="*/ 842152 w 1253076"/>
                  <a:gd name="connsiteY2266" fmla="*/ 214402 h 458350"/>
                  <a:gd name="connsiteX2267" fmla="*/ 397439 w 1253076"/>
                  <a:gd name="connsiteY2267" fmla="*/ 192734 h 458350"/>
                  <a:gd name="connsiteX2268" fmla="*/ 398500 w 1253076"/>
                  <a:gd name="connsiteY2268" fmla="*/ 191825 h 458350"/>
                  <a:gd name="connsiteX2269" fmla="*/ 398803 w 1253076"/>
                  <a:gd name="connsiteY2269" fmla="*/ 190765 h 458350"/>
                  <a:gd name="connsiteX2270" fmla="*/ 398348 w 1253076"/>
                  <a:gd name="connsiteY2270" fmla="*/ 188946 h 458350"/>
                  <a:gd name="connsiteX2271" fmla="*/ 397136 w 1253076"/>
                  <a:gd name="connsiteY2271" fmla="*/ 188037 h 458350"/>
                  <a:gd name="connsiteX2272" fmla="*/ 394863 w 1253076"/>
                  <a:gd name="connsiteY2272" fmla="*/ 187280 h 458350"/>
                  <a:gd name="connsiteX2273" fmla="*/ 391075 w 1253076"/>
                  <a:gd name="connsiteY2273" fmla="*/ 187431 h 458350"/>
                  <a:gd name="connsiteX2274" fmla="*/ 390318 w 1253076"/>
                  <a:gd name="connsiteY2274" fmla="*/ 189098 h 458350"/>
                  <a:gd name="connsiteX2275" fmla="*/ 389711 w 1253076"/>
                  <a:gd name="connsiteY2275" fmla="*/ 194401 h 458350"/>
                  <a:gd name="connsiteX2276" fmla="*/ 390621 w 1253076"/>
                  <a:gd name="connsiteY2276" fmla="*/ 195462 h 458350"/>
                  <a:gd name="connsiteX2277" fmla="*/ 391984 w 1253076"/>
                  <a:gd name="connsiteY2277" fmla="*/ 195613 h 458350"/>
                  <a:gd name="connsiteX2278" fmla="*/ 397439 w 1253076"/>
                  <a:gd name="connsiteY2278" fmla="*/ 192734 h 458350"/>
                  <a:gd name="connsiteX2279" fmla="*/ 527898 w 1253076"/>
                  <a:gd name="connsiteY2279" fmla="*/ 395166 h 458350"/>
                  <a:gd name="connsiteX2280" fmla="*/ 526989 w 1253076"/>
                  <a:gd name="connsiteY2280" fmla="*/ 393954 h 458350"/>
                  <a:gd name="connsiteX2281" fmla="*/ 525323 w 1253076"/>
                  <a:gd name="connsiteY2281" fmla="*/ 389711 h 458350"/>
                  <a:gd name="connsiteX2282" fmla="*/ 525171 w 1253076"/>
                  <a:gd name="connsiteY2282" fmla="*/ 387742 h 458350"/>
                  <a:gd name="connsiteX2283" fmla="*/ 525323 w 1253076"/>
                  <a:gd name="connsiteY2283" fmla="*/ 385772 h 458350"/>
                  <a:gd name="connsiteX2284" fmla="*/ 526989 w 1253076"/>
                  <a:gd name="connsiteY2284" fmla="*/ 378650 h 458350"/>
                  <a:gd name="connsiteX2285" fmla="*/ 526989 w 1253076"/>
                  <a:gd name="connsiteY2285" fmla="*/ 375620 h 458350"/>
                  <a:gd name="connsiteX2286" fmla="*/ 526080 w 1253076"/>
                  <a:gd name="connsiteY2286" fmla="*/ 372741 h 458350"/>
                  <a:gd name="connsiteX2287" fmla="*/ 525323 w 1253076"/>
                  <a:gd name="connsiteY2287" fmla="*/ 372135 h 458350"/>
                  <a:gd name="connsiteX2288" fmla="*/ 516838 w 1253076"/>
                  <a:gd name="connsiteY2288" fmla="*/ 368347 h 458350"/>
                  <a:gd name="connsiteX2289" fmla="*/ 515929 w 1253076"/>
                  <a:gd name="connsiteY2289" fmla="*/ 368347 h 458350"/>
                  <a:gd name="connsiteX2290" fmla="*/ 511534 w 1253076"/>
                  <a:gd name="connsiteY2290" fmla="*/ 369559 h 458350"/>
                  <a:gd name="connsiteX2291" fmla="*/ 508049 w 1253076"/>
                  <a:gd name="connsiteY2291" fmla="*/ 370317 h 458350"/>
                  <a:gd name="connsiteX2292" fmla="*/ 501231 w 1253076"/>
                  <a:gd name="connsiteY2292" fmla="*/ 370923 h 458350"/>
                  <a:gd name="connsiteX2293" fmla="*/ 494412 w 1253076"/>
                  <a:gd name="connsiteY2293" fmla="*/ 370771 h 458350"/>
                  <a:gd name="connsiteX2294" fmla="*/ 488048 w 1253076"/>
                  <a:gd name="connsiteY2294" fmla="*/ 369104 h 458350"/>
                  <a:gd name="connsiteX2295" fmla="*/ 481988 w 1253076"/>
                  <a:gd name="connsiteY2295" fmla="*/ 366225 h 458350"/>
                  <a:gd name="connsiteX2296" fmla="*/ 481685 w 1253076"/>
                  <a:gd name="connsiteY2296" fmla="*/ 362892 h 458350"/>
                  <a:gd name="connsiteX2297" fmla="*/ 481988 w 1253076"/>
                  <a:gd name="connsiteY2297" fmla="*/ 359407 h 458350"/>
                  <a:gd name="connsiteX2298" fmla="*/ 480776 w 1253076"/>
                  <a:gd name="connsiteY2298" fmla="*/ 358347 h 458350"/>
                  <a:gd name="connsiteX2299" fmla="*/ 477897 w 1253076"/>
                  <a:gd name="connsiteY2299" fmla="*/ 357134 h 458350"/>
                  <a:gd name="connsiteX2300" fmla="*/ 477290 w 1253076"/>
                  <a:gd name="connsiteY2300" fmla="*/ 355922 h 458350"/>
                  <a:gd name="connsiteX2301" fmla="*/ 476230 w 1253076"/>
                  <a:gd name="connsiteY2301" fmla="*/ 352437 h 458350"/>
                  <a:gd name="connsiteX2302" fmla="*/ 474866 w 1253076"/>
                  <a:gd name="connsiteY2302" fmla="*/ 349104 h 458350"/>
                  <a:gd name="connsiteX2303" fmla="*/ 471987 w 1253076"/>
                  <a:gd name="connsiteY2303" fmla="*/ 348498 h 458350"/>
                  <a:gd name="connsiteX2304" fmla="*/ 468654 w 1253076"/>
                  <a:gd name="connsiteY2304" fmla="*/ 348195 h 458350"/>
                  <a:gd name="connsiteX2305" fmla="*/ 463805 w 1253076"/>
                  <a:gd name="connsiteY2305" fmla="*/ 348498 h 458350"/>
                  <a:gd name="connsiteX2306" fmla="*/ 462441 w 1253076"/>
                  <a:gd name="connsiteY2306" fmla="*/ 348195 h 458350"/>
                  <a:gd name="connsiteX2307" fmla="*/ 459714 w 1253076"/>
                  <a:gd name="connsiteY2307" fmla="*/ 345770 h 458350"/>
                  <a:gd name="connsiteX2308" fmla="*/ 452744 w 1253076"/>
                  <a:gd name="connsiteY2308" fmla="*/ 344861 h 458350"/>
                  <a:gd name="connsiteX2309" fmla="*/ 451381 w 1253076"/>
                  <a:gd name="connsiteY2309" fmla="*/ 343952 h 458350"/>
                  <a:gd name="connsiteX2310" fmla="*/ 450168 w 1253076"/>
                  <a:gd name="connsiteY2310" fmla="*/ 342740 h 458350"/>
                  <a:gd name="connsiteX2311" fmla="*/ 447289 w 1253076"/>
                  <a:gd name="connsiteY2311" fmla="*/ 341376 h 458350"/>
                  <a:gd name="connsiteX2312" fmla="*/ 445774 w 1253076"/>
                  <a:gd name="connsiteY2312" fmla="*/ 341528 h 458350"/>
                  <a:gd name="connsiteX2313" fmla="*/ 443047 w 1253076"/>
                  <a:gd name="connsiteY2313" fmla="*/ 342588 h 458350"/>
                  <a:gd name="connsiteX2314" fmla="*/ 441835 w 1253076"/>
                  <a:gd name="connsiteY2314" fmla="*/ 342740 h 458350"/>
                  <a:gd name="connsiteX2315" fmla="*/ 437440 w 1253076"/>
                  <a:gd name="connsiteY2315" fmla="*/ 342437 h 458350"/>
                  <a:gd name="connsiteX2316" fmla="*/ 436683 w 1253076"/>
                  <a:gd name="connsiteY2316" fmla="*/ 341982 h 458350"/>
                  <a:gd name="connsiteX2317" fmla="*/ 432440 w 1253076"/>
                  <a:gd name="connsiteY2317" fmla="*/ 336376 h 458350"/>
                  <a:gd name="connsiteX2318" fmla="*/ 431683 w 1253076"/>
                  <a:gd name="connsiteY2318" fmla="*/ 335618 h 458350"/>
                  <a:gd name="connsiteX2319" fmla="*/ 427895 w 1253076"/>
                  <a:gd name="connsiteY2319" fmla="*/ 335315 h 458350"/>
                  <a:gd name="connsiteX2320" fmla="*/ 426531 w 1253076"/>
                  <a:gd name="connsiteY2320" fmla="*/ 335770 h 458350"/>
                  <a:gd name="connsiteX2321" fmla="*/ 425167 w 1253076"/>
                  <a:gd name="connsiteY2321" fmla="*/ 336528 h 458350"/>
                  <a:gd name="connsiteX2322" fmla="*/ 424107 w 1253076"/>
                  <a:gd name="connsiteY2322" fmla="*/ 337740 h 458350"/>
                  <a:gd name="connsiteX2323" fmla="*/ 423349 w 1253076"/>
                  <a:gd name="connsiteY2323" fmla="*/ 339103 h 458350"/>
                  <a:gd name="connsiteX2324" fmla="*/ 422288 w 1253076"/>
                  <a:gd name="connsiteY2324" fmla="*/ 342437 h 458350"/>
                  <a:gd name="connsiteX2325" fmla="*/ 420925 w 1253076"/>
                  <a:gd name="connsiteY2325" fmla="*/ 345619 h 458350"/>
                  <a:gd name="connsiteX2326" fmla="*/ 419258 w 1253076"/>
                  <a:gd name="connsiteY2326" fmla="*/ 348195 h 458350"/>
                  <a:gd name="connsiteX2327" fmla="*/ 416682 w 1253076"/>
                  <a:gd name="connsiteY2327" fmla="*/ 349558 h 458350"/>
                  <a:gd name="connsiteX2328" fmla="*/ 415167 w 1253076"/>
                  <a:gd name="connsiteY2328" fmla="*/ 349558 h 458350"/>
                  <a:gd name="connsiteX2329" fmla="*/ 413803 w 1253076"/>
                  <a:gd name="connsiteY2329" fmla="*/ 349255 h 458350"/>
                  <a:gd name="connsiteX2330" fmla="*/ 412137 w 1253076"/>
                  <a:gd name="connsiteY2330" fmla="*/ 348498 h 458350"/>
                  <a:gd name="connsiteX2331" fmla="*/ 410470 w 1253076"/>
                  <a:gd name="connsiteY2331" fmla="*/ 348043 h 458350"/>
                  <a:gd name="connsiteX2332" fmla="*/ 406833 w 1253076"/>
                  <a:gd name="connsiteY2332" fmla="*/ 348195 h 458350"/>
                  <a:gd name="connsiteX2333" fmla="*/ 403197 w 1253076"/>
                  <a:gd name="connsiteY2333" fmla="*/ 348649 h 458350"/>
                  <a:gd name="connsiteX2334" fmla="*/ 400015 w 1253076"/>
                  <a:gd name="connsiteY2334" fmla="*/ 348346 h 458350"/>
                  <a:gd name="connsiteX2335" fmla="*/ 393651 w 1253076"/>
                  <a:gd name="connsiteY2335" fmla="*/ 346679 h 458350"/>
                  <a:gd name="connsiteX2336" fmla="*/ 391227 w 1253076"/>
                  <a:gd name="connsiteY2336" fmla="*/ 345770 h 458350"/>
                  <a:gd name="connsiteX2337" fmla="*/ 388651 w 1253076"/>
                  <a:gd name="connsiteY2337" fmla="*/ 347134 h 458350"/>
                  <a:gd name="connsiteX2338" fmla="*/ 385621 w 1253076"/>
                  <a:gd name="connsiteY2338" fmla="*/ 347285 h 458350"/>
                  <a:gd name="connsiteX2339" fmla="*/ 378045 w 1253076"/>
                  <a:gd name="connsiteY2339" fmla="*/ 345922 h 458350"/>
                  <a:gd name="connsiteX2340" fmla="*/ 374862 w 1253076"/>
                  <a:gd name="connsiteY2340" fmla="*/ 345619 h 458350"/>
                  <a:gd name="connsiteX2341" fmla="*/ 371529 w 1253076"/>
                  <a:gd name="connsiteY2341" fmla="*/ 345619 h 458350"/>
                  <a:gd name="connsiteX2342" fmla="*/ 368802 w 1253076"/>
                  <a:gd name="connsiteY2342" fmla="*/ 345164 h 458350"/>
                  <a:gd name="connsiteX2343" fmla="*/ 366832 w 1253076"/>
                  <a:gd name="connsiteY2343" fmla="*/ 343497 h 458350"/>
                  <a:gd name="connsiteX2344" fmla="*/ 365013 w 1253076"/>
                  <a:gd name="connsiteY2344" fmla="*/ 337740 h 458350"/>
                  <a:gd name="connsiteX2345" fmla="*/ 364408 w 1253076"/>
                  <a:gd name="connsiteY2345" fmla="*/ 336528 h 458350"/>
                  <a:gd name="connsiteX2346" fmla="*/ 361832 w 1253076"/>
                  <a:gd name="connsiteY2346" fmla="*/ 334103 h 458350"/>
                  <a:gd name="connsiteX2347" fmla="*/ 359407 w 1253076"/>
                  <a:gd name="connsiteY2347" fmla="*/ 331527 h 458350"/>
                  <a:gd name="connsiteX2348" fmla="*/ 358498 w 1253076"/>
                  <a:gd name="connsiteY2348" fmla="*/ 330921 h 458350"/>
                  <a:gd name="connsiteX2349" fmla="*/ 357437 w 1253076"/>
                  <a:gd name="connsiteY2349" fmla="*/ 330921 h 458350"/>
                  <a:gd name="connsiteX2350" fmla="*/ 355922 w 1253076"/>
                  <a:gd name="connsiteY2350" fmla="*/ 331527 h 458350"/>
                  <a:gd name="connsiteX2351" fmla="*/ 354256 w 1253076"/>
                  <a:gd name="connsiteY2351" fmla="*/ 331679 h 458350"/>
                  <a:gd name="connsiteX2352" fmla="*/ 350771 w 1253076"/>
                  <a:gd name="connsiteY2352" fmla="*/ 331073 h 458350"/>
                  <a:gd name="connsiteX2353" fmla="*/ 347286 w 1253076"/>
                  <a:gd name="connsiteY2353" fmla="*/ 329861 h 458350"/>
                  <a:gd name="connsiteX2354" fmla="*/ 344407 w 1253076"/>
                  <a:gd name="connsiteY2354" fmla="*/ 329406 h 458350"/>
                  <a:gd name="connsiteX2355" fmla="*/ 341376 w 1253076"/>
                  <a:gd name="connsiteY2355" fmla="*/ 329255 h 458350"/>
                  <a:gd name="connsiteX2356" fmla="*/ 338497 w 1253076"/>
                  <a:gd name="connsiteY2356" fmla="*/ 328345 h 458350"/>
                  <a:gd name="connsiteX2357" fmla="*/ 336073 w 1253076"/>
                  <a:gd name="connsiteY2357" fmla="*/ 326679 h 458350"/>
                  <a:gd name="connsiteX2358" fmla="*/ 333346 w 1253076"/>
                  <a:gd name="connsiteY2358" fmla="*/ 323497 h 458350"/>
                  <a:gd name="connsiteX2359" fmla="*/ 332134 w 1253076"/>
                  <a:gd name="connsiteY2359" fmla="*/ 322739 h 458350"/>
                  <a:gd name="connsiteX2360" fmla="*/ 327437 w 1253076"/>
                  <a:gd name="connsiteY2360" fmla="*/ 322133 h 458350"/>
                  <a:gd name="connsiteX2361" fmla="*/ 324254 w 1253076"/>
                  <a:gd name="connsiteY2361" fmla="*/ 320618 h 458350"/>
                  <a:gd name="connsiteX2362" fmla="*/ 323345 w 1253076"/>
                  <a:gd name="connsiteY2362" fmla="*/ 323497 h 458350"/>
                  <a:gd name="connsiteX2363" fmla="*/ 321224 w 1253076"/>
                  <a:gd name="connsiteY2363" fmla="*/ 325315 h 458350"/>
                  <a:gd name="connsiteX2364" fmla="*/ 319709 w 1253076"/>
                  <a:gd name="connsiteY2364" fmla="*/ 325769 h 458350"/>
                  <a:gd name="connsiteX2365" fmla="*/ 318194 w 1253076"/>
                  <a:gd name="connsiteY2365" fmla="*/ 325921 h 458350"/>
                  <a:gd name="connsiteX2366" fmla="*/ 314103 w 1253076"/>
                  <a:gd name="connsiteY2366" fmla="*/ 324254 h 458350"/>
                  <a:gd name="connsiteX2367" fmla="*/ 311224 w 1253076"/>
                  <a:gd name="connsiteY2367" fmla="*/ 323800 h 458350"/>
                  <a:gd name="connsiteX2368" fmla="*/ 308193 w 1253076"/>
                  <a:gd name="connsiteY2368" fmla="*/ 323648 h 458350"/>
                  <a:gd name="connsiteX2369" fmla="*/ 305163 w 1253076"/>
                  <a:gd name="connsiteY2369" fmla="*/ 322739 h 458350"/>
                  <a:gd name="connsiteX2370" fmla="*/ 300163 w 1253076"/>
                  <a:gd name="connsiteY2370" fmla="*/ 322285 h 458350"/>
                  <a:gd name="connsiteX2371" fmla="*/ 297738 w 1253076"/>
                  <a:gd name="connsiteY2371" fmla="*/ 320921 h 458350"/>
                  <a:gd name="connsiteX2372" fmla="*/ 296526 w 1253076"/>
                  <a:gd name="connsiteY2372" fmla="*/ 321527 h 458350"/>
                  <a:gd name="connsiteX2373" fmla="*/ 293950 w 1253076"/>
                  <a:gd name="connsiteY2373" fmla="*/ 323800 h 458350"/>
                  <a:gd name="connsiteX2374" fmla="*/ 292132 w 1253076"/>
                  <a:gd name="connsiteY2374" fmla="*/ 326527 h 458350"/>
                  <a:gd name="connsiteX2375" fmla="*/ 289859 w 1253076"/>
                  <a:gd name="connsiteY2375" fmla="*/ 335770 h 458350"/>
                  <a:gd name="connsiteX2376" fmla="*/ 289102 w 1253076"/>
                  <a:gd name="connsiteY2376" fmla="*/ 336376 h 458350"/>
                  <a:gd name="connsiteX2377" fmla="*/ 287738 w 1253076"/>
                  <a:gd name="connsiteY2377" fmla="*/ 336831 h 458350"/>
                  <a:gd name="connsiteX2378" fmla="*/ 286374 w 1253076"/>
                  <a:gd name="connsiteY2378" fmla="*/ 336073 h 458350"/>
                  <a:gd name="connsiteX2379" fmla="*/ 285011 w 1253076"/>
                  <a:gd name="connsiteY2379" fmla="*/ 340164 h 458350"/>
                  <a:gd name="connsiteX2380" fmla="*/ 284253 w 1253076"/>
                  <a:gd name="connsiteY2380" fmla="*/ 341679 h 458350"/>
                  <a:gd name="connsiteX2381" fmla="*/ 281526 w 1253076"/>
                  <a:gd name="connsiteY2381" fmla="*/ 344710 h 458350"/>
                  <a:gd name="connsiteX2382" fmla="*/ 280920 w 1253076"/>
                  <a:gd name="connsiteY2382" fmla="*/ 344861 h 458350"/>
                  <a:gd name="connsiteX2383" fmla="*/ 279404 w 1253076"/>
                  <a:gd name="connsiteY2383" fmla="*/ 344407 h 458350"/>
                  <a:gd name="connsiteX2384" fmla="*/ 278950 w 1253076"/>
                  <a:gd name="connsiteY2384" fmla="*/ 343952 h 458350"/>
                  <a:gd name="connsiteX2385" fmla="*/ 278495 w 1253076"/>
                  <a:gd name="connsiteY2385" fmla="*/ 341528 h 458350"/>
                  <a:gd name="connsiteX2386" fmla="*/ 277586 w 1253076"/>
                  <a:gd name="connsiteY2386" fmla="*/ 341831 h 458350"/>
                  <a:gd name="connsiteX2387" fmla="*/ 275919 w 1253076"/>
                  <a:gd name="connsiteY2387" fmla="*/ 343346 h 458350"/>
                  <a:gd name="connsiteX2388" fmla="*/ 275162 w 1253076"/>
                  <a:gd name="connsiteY2388" fmla="*/ 344710 h 458350"/>
                  <a:gd name="connsiteX2389" fmla="*/ 275465 w 1253076"/>
                  <a:gd name="connsiteY2389" fmla="*/ 346225 h 458350"/>
                  <a:gd name="connsiteX2390" fmla="*/ 276828 w 1253076"/>
                  <a:gd name="connsiteY2390" fmla="*/ 346376 h 458350"/>
                  <a:gd name="connsiteX2391" fmla="*/ 278495 w 1253076"/>
                  <a:gd name="connsiteY2391" fmla="*/ 345922 h 458350"/>
                  <a:gd name="connsiteX2392" fmla="*/ 280162 w 1253076"/>
                  <a:gd name="connsiteY2392" fmla="*/ 346073 h 458350"/>
                  <a:gd name="connsiteX2393" fmla="*/ 281677 w 1253076"/>
                  <a:gd name="connsiteY2393" fmla="*/ 346679 h 458350"/>
                  <a:gd name="connsiteX2394" fmla="*/ 285011 w 1253076"/>
                  <a:gd name="connsiteY2394" fmla="*/ 346831 h 458350"/>
                  <a:gd name="connsiteX2395" fmla="*/ 288344 w 1253076"/>
                  <a:gd name="connsiteY2395" fmla="*/ 346376 h 458350"/>
                  <a:gd name="connsiteX2396" fmla="*/ 291375 w 1253076"/>
                  <a:gd name="connsiteY2396" fmla="*/ 346376 h 458350"/>
                  <a:gd name="connsiteX2397" fmla="*/ 294405 w 1253076"/>
                  <a:gd name="connsiteY2397" fmla="*/ 346679 h 458350"/>
                  <a:gd name="connsiteX2398" fmla="*/ 301375 w 1253076"/>
                  <a:gd name="connsiteY2398" fmla="*/ 348498 h 458350"/>
                  <a:gd name="connsiteX2399" fmla="*/ 310163 w 1253076"/>
                  <a:gd name="connsiteY2399" fmla="*/ 351983 h 458350"/>
                  <a:gd name="connsiteX2400" fmla="*/ 309406 w 1253076"/>
                  <a:gd name="connsiteY2400" fmla="*/ 353649 h 458350"/>
                  <a:gd name="connsiteX2401" fmla="*/ 308193 w 1253076"/>
                  <a:gd name="connsiteY2401" fmla="*/ 355316 h 458350"/>
                  <a:gd name="connsiteX2402" fmla="*/ 307284 w 1253076"/>
                  <a:gd name="connsiteY2402" fmla="*/ 356983 h 458350"/>
                  <a:gd name="connsiteX2403" fmla="*/ 307132 w 1253076"/>
                  <a:gd name="connsiteY2403" fmla="*/ 358953 h 458350"/>
                  <a:gd name="connsiteX2404" fmla="*/ 308345 w 1253076"/>
                  <a:gd name="connsiteY2404" fmla="*/ 360468 h 458350"/>
                  <a:gd name="connsiteX2405" fmla="*/ 310466 w 1253076"/>
                  <a:gd name="connsiteY2405" fmla="*/ 361225 h 458350"/>
                  <a:gd name="connsiteX2406" fmla="*/ 313042 w 1253076"/>
                  <a:gd name="connsiteY2406" fmla="*/ 361831 h 458350"/>
                  <a:gd name="connsiteX2407" fmla="*/ 325012 w 1253076"/>
                  <a:gd name="connsiteY2407" fmla="*/ 362741 h 458350"/>
                  <a:gd name="connsiteX2408" fmla="*/ 330921 w 1253076"/>
                  <a:gd name="connsiteY2408" fmla="*/ 363347 h 458350"/>
                  <a:gd name="connsiteX2409" fmla="*/ 338043 w 1253076"/>
                  <a:gd name="connsiteY2409" fmla="*/ 365316 h 458350"/>
                  <a:gd name="connsiteX2410" fmla="*/ 339406 w 1253076"/>
                  <a:gd name="connsiteY2410" fmla="*/ 365923 h 458350"/>
                  <a:gd name="connsiteX2411" fmla="*/ 342134 w 1253076"/>
                  <a:gd name="connsiteY2411" fmla="*/ 367741 h 458350"/>
                  <a:gd name="connsiteX2412" fmla="*/ 345164 w 1253076"/>
                  <a:gd name="connsiteY2412" fmla="*/ 369256 h 458350"/>
                  <a:gd name="connsiteX2413" fmla="*/ 348195 w 1253076"/>
                  <a:gd name="connsiteY2413" fmla="*/ 370165 h 458350"/>
                  <a:gd name="connsiteX2414" fmla="*/ 356528 w 1253076"/>
                  <a:gd name="connsiteY2414" fmla="*/ 371680 h 458350"/>
                  <a:gd name="connsiteX2415" fmla="*/ 359710 w 1253076"/>
                  <a:gd name="connsiteY2415" fmla="*/ 371983 h 458350"/>
                  <a:gd name="connsiteX2416" fmla="*/ 362892 w 1253076"/>
                  <a:gd name="connsiteY2416" fmla="*/ 372135 h 458350"/>
                  <a:gd name="connsiteX2417" fmla="*/ 364711 w 1253076"/>
                  <a:gd name="connsiteY2417" fmla="*/ 370468 h 458350"/>
                  <a:gd name="connsiteX2418" fmla="*/ 366074 w 1253076"/>
                  <a:gd name="connsiteY2418" fmla="*/ 369711 h 458350"/>
                  <a:gd name="connsiteX2419" fmla="*/ 370771 w 1253076"/>
                  <a:gd name="connsiteY2419" fmla="*/ 368650 h 458350"/>
                  <a:gd name="connsiteX2420" fmla="*/ 373953 w 1253076"/>
                  <a:gd name="connsiteY2420" fmla="*/ 368650 h 458350"/>
                  <a:gd name="connsiteX2421" fmla="*/ 377590 w 1253076"/>
                  <a:gd name="connsiteY2421" fmla="*/ 369711 h 458350"/>
                  <a:gd name="connsiteX2422" fmla="*/ 383196 w 1253076"/>
                  <a:gd name="connsiteY2422" fmla="*/ 369407 h 458350"/>
                  <a:gd name="connsiteX2423" fmla="*/ 385621 w 1253076"/>
                  <a:gd name="connsiteY2423" fmla="*/ 369711 h 458350"/>
                  <a:gd name="connsiteX2424" fmla="*/ 401227 w 1253076"/>
                  <a:gd name="connsiteY2424" fmla="*/ 373044 h 458350"/>
                  <a:gd name="connsiteX2425" fmla="*/ 406379 w 1253076"/>
                  <a:gd name="connsiteY2425" fmla="*/ 374711 h 458350"/>
                  <a:gd name="connsiteX2426" fmla="*/ 421985 w 1253076"/>
                  <a:gd name="connsiteY2426" fmla="*/ 381832 h 458350"/>
                  <a:gd name="connsiteX2427" fmla="*/ 428046 w 1253076"/>
                  <a:gd name="connsiteY2427" fmla="*/ 383196 h 458350"/>
                  <a:gd name="connsiteX2428" fmla="*/ 434259 w 1253076"/>
                  <a:gd name="connsiteY2428" fmla="*/ 384256 h 458350"/>
                  <a:gd name="connsiteX2429" fmla="*/ 441986 w 1253076"/>
                  <a:gd name="connsiteY2429" fmla="*/ 384863 h 458350"/>
                  <a:gd name="connsiteX2430" fmla="*/ 446683 w 1253076"/>
                  <a:gd name="connsiteY2430" fmla="*/ 386075 h 458350"/>
                  <a:gd name="connsiteX2431" fmla="*/ 463199 w 1253076"/>
                  <a:gd name="connsiteY2431" fmla="*/ 386529 h 458350"/>
                  <a:gd name="connsiteX2432" fmla="*/ 469714 w 1253076"/>
                  <a:gd name="connsiteY2432" fmla="*/ 387287 h 458350"/>
                  <a:gd name="connsiteX2433" fmla="*/ 476078 w 1253076"/>
                  <a:gd name="connsiteY2433" fmla="*/ 388499 h 458350"/>
                  <a:gd name="connsiteX2434" fmla="*/ 478654 w 1253076"/>
                  <a:gd name="connsiteY2434" fmla="*/ 388802 h 458350"/>
                  <a:gd name="connsiteX2435" fmla="*/ 481230 w 1253076"/>
                  <a:gd name="connsiteY2435" fmla="*/ 388499 h 458350"/>
                  <a:gd name="connsiteX2436" fmla="*/ 484715 w 1253076"/>
                  <a:gd name="connsiteY2436" fmla="*/ 387590 h 458350"/>
                  <a:gd name="connsiteX2437" fmla="*/ 488048 w 1253076"/>
                  <a:gd name="connsiteY2437" fmla="*/ 386226 h 458350"/>
                  <a:gd name="connsiteX2438" fmla="*/ 491231 w 1253076"/>
                  <a:gd name="connsiteY2438" fmla="*/ 385620 h 458350"/>
                  <a:gd name="connsiteX2439" fmla="*/ 494564 w 1253076"/>
                  <a:gd name="connsiteY2439" fmla="*/ 385620 h 458350"/>
                  <a:gd name="connsiteX2440" fmla="*/ 506534 w 1253076"/>
                  <a:gd name="connsiteY2440" fmla="*/ 390923 h 458350"/>
                  <a:gd name="connsiteX2441" fmla="*/ 513352 w 1253076"/>
                  <a:gd name="connsiteY2441" fmla="*/ 393348 h 458350"/>
                  <a:gd name="connsiteX2442" fmla="*/ 519413 w 1253076"/>
                  <a:gd name="connsiteY2442" fmla="*/ 395015 h 458350"/>
                  <a:gd name="connsiteX2443" fmla="*/ 522595 w 1253076"/>
                  <a:gd name="connsiteY2443" fmla="*/ 394711 h 458350"/>
                  <a:gd name="connsiteX2444" fmla="*/ 524262 w 1253076"/>
                  <a:gd name="connsiteY2444" fmla="*/ 395621 h 458350"/>
                  <a:gd name="connsiteX2445" fmla="*/ 525474 w 1253076"/>
                  <a:gd name="connsiteY2445" fmla="*/ 397136 h 458350"/>
                  <a:gd name="connsiteX2446" fmla="*/ 527595 w 1253076"/>
                  <a:gd name="connsiteY2446" fmla="*/ 398045 h 458350"/>
                  <a:gd name="connsiteX2447" fmla="*/ 530929 w 1253076"/>
                  <a:gd name="connsiteY2447" fmla="*/ 398803 h 458350"/>
                  <a:gd name="connsiteX2448" fmla="*/ 531383 w 1253076"/>
                  <a:gd name="connsiteY2448" fmla="*/ 397590 h 458350"/>
                  <a:gd name="connsiteX2449" fmla="*/ 531232 w 1253076"/>
                  <a:gd name="connsiteY2449" fmla="*/ 396378 h 458350"/>
                  <a:gd name="connsiteX2450" fmla="*/ 527898 w 1253076"/>
                  <a:gd name="connsiteY2450" fmla="*/ 395166 h 458350"/>
                  <a:gd name="connsiteX2451" fmla="*/ 276071 w 1253076"/>
                  <a:gd name="connsiteY2451" fmla="*/ 339255 h 458350"/>
                  <a:gd name="connsiteX2452" fmla="*/ 275616 w 1253076"/>
                  <a:gd name="connsiteY2452" fmla="*/ 338194 h 458350"/>
                  <a:gd name="connsiteX2453" fmla="*/ 274707 w 1253076"/>
                  <a:gd name="connsiteY2453" fmla="*/ 338346 h 458350"/>
                  <a:gd name="connsiteX2454" fmla="*/ 273798 w 1253076"/>
                  <a:gd name="connsiteY2454" fmla="*/ 338800 h 458350"/>
                  <a:gd name="connsiteX2455" fmla="*/ 271828 w 1253076"/>
                  <a:gd name="connsiteY2455" fmla="*/ 340619 h 458350"/>
                  <a:gd name="connsiteX2456" fmla="*/ 272435 w 1253076"/>
                  <a:gd name="connsiteY2456" fmla="*/ 341376 h 458350"/>
                  <a:gd name="connsiteX2457" fmla="*/ 273798 w 1253076"/>
                  <a:gd name="connsiteY2457" fmla="*/ 341982 h 458350"/>
                  <a:gd name="connsiteX2458" fmla="*/ 275465 w 1253076"/>
                  <a:gd name="connsiteY2458" fmla="*/ 341376 h 458350"/>
                  <a:gd name="connsiteX2459" fmla="*/ 276071 w 1253076"/>
                  <a:gd name="connsiteY2459" fmla="*/ 339255 h 458350"/>
                  <a:gd name="connsiteX2460" fmla="*/ 276828 w 1253076"/>
                  <a:gd name="connsiteY2460" fmla="*/ 312284 h 458350"/>
                  <a:gd name="connsiteX2461" fmla="*/ 278041 w 1253076"/>
                  <a:gd name="connsiteY2461" fmla="*/ 311678 h 458350"/>
                  <a:gd name="connsiteX2462" fmla="*/ 282738 w 1253076"/>
                  <a:gd name="connsiteY2462" fmla="*/ 315012 h 458350"/>
                  <a:gd name="connsiteX2463" fmla="*/ 283647 w 1253076"/>
                  <a:gd name="connsiteY2463" fmla="*/ 316072 h 458350"/>
                  <a:gd name="connsiteX2464" fmla="*/ 284253 w 1253076"/>
                  <a:gd name="connsiteY2464" fmla="*/ 317436 h 458350"/>
                  <a:gd name="connsiteX2465" fmla="*/ 285314 w 1253076"/>
                  <a:gd name="connsiteY2465" fmla="*/ 318497 h 458350"/>
                  <a:gd name="connsiteX2466" fmla="*/ 286829 w 1253076"/>
                  <a:gd name="connsiteY2466" fmla="*/ 318951 h 458350"/>
                  <a:gd name="connsiteX2467" fmla="*/ 288799 w 1253076"/>
                  <a:gd name="connsiteY2467" fmla="*/ 318951 h 458350"/>
                  <a:gd name="connsiteX2468" fmla="*/ 290314 w 1253076"/>
                  <a:gd name="connsiteY2468" fmla="*/ 316224 h 458350"/>
                  <a:gd name="connsiteX2469" fmla="*/ 290617 w 1253076"/>
                  <a:gd name="connsiteY2469" fmla="*/ 315163 h 458350"/>
                  <a:gd name="connsiteX2470" fmla="*/ 292587 w 1253076"/>
                  <a:gd name="connsiteY2470" fmla="*/ 296981 h 458350"/>
                  <a:gd name="connsiteX2471" fmla="*/ 292435 w 1253076"/>
                  <a:gd name="connsiteY2471" fmla="*/ 291071 h 458350"/>
                  <a:gd name="connsiteX2472" fmla="*/ 292738 w 1253076"/>
                  <a:gd name="connsiteY2472" fmla="*/ 287435 h 458350"/>
                  <a:gd name="connsiteX2473" fmla="*/ 292587 w 1253076"/>
                  <a:gd name="connsiteY2473" fmla="*/ 284556 h 458350"/>
                  <a:gd name="connsiteX2474" fmla="*/ 291071 w 1253076"/>
                  <a:gd name="connsiteY2474" fmla="*/ 273949 h 458350"/>
                  <a:gd name="connsiteX2475" fmla="*/ 291375 w 1253076"/>
                  <a:gd name="connsiteY2475" fmla="*/ 272889 h 458350"/>
                  <a:gd name="connsiteX2476" fmla="*/ 293799 w 1253076"/>
                  <a:gd name="connsiteY2476" fmla="*/ 266373 h 458350"/>
                  <a:gd name="connsiteX2477" fmla="*/ 293799 w 1253076"/>
                  <a:gd name="connsiteY2477" fmla="*/ 265010 h 458350"/>
                  <a:gd name="connsiteX2478" fmla="*/ 292890 w 1253076"/>
                  <a:gd name="connsiteY2478" fmla="*/ 263494 h 458350"/>
                  <a:gd name="connsiteX2479" fmla="*/ 291677 w 1253076"/>
                  <a:gd name="connsiteY2479" fmla="*/ 262131 h 458350"/>
                  <a:gd name="connsiteX2480" fmla="*/ 291526 w 1253076"/>
                  <a:gd name="connsiteY2480" fmla="*/ 258949 h 458350"/>
                  <a:gd name="connsiteX2481" fmla="*/ 292587 w 1253076"/>
                  <a:gd name="connsiteY2481" fmla="*/ 254555 h 458350"/>
                  <a:gd name="connsiteX2482" fmla="*/ 293041 w 1253076"/>
                  <a:gd name="connsiteY2482" fmla="*/ 253494 h 458350"/>
                  <a:gd name="connsiteX2483" fmla="*/ 296678 w 1253076"/>
                  <a:gd name="connsiteY2483" fmla="*/ 249403 h 458350"/>
                  <a:gd name="connsiteX2484" fmla="*/ 297284 w 1253076"/>
                  <a:gd name="connsiteY2484" fmla="*/ 248191 h 458350"/>
                  <a:gd name="connsiteX2485" fmla="*/ 297284 w 1253076"/>
                  <a:gd name="connsiteY2485" fmla="*/ 246676 h 458350"/>
                  <a:gd name="connsiteX2486" fmla="*/ 296981 w 1253076"/>
                  <a:gd name="connsiteY2486" fmla="*/ 245161 h 458350"/>
                  <a:gd name="connsiteX2487" fmla="*/ 293041 w 1253076"/>
                  <a:gd name="connsiteY2487" fmla="*/ 239251 h 458350"/>
                  <a:gd name="connsiteX2488" fmla="*/ 284404 w 1253076"/>
                  <a:gd name="connsiteY2488" fmla="*/ 228493 h 458350"/>
                  <a:gd name="connsiteX2489" fmla="*/ 281980 w 1253076"/>
                  <a:gd name="connsiteY2489" fmla="*/ 226826 h 458350"/>
                  <a:gd name="connsiteX2490" fmla="*/ 279253 w 1253076"/>
                  <a:gd name="connsiteY2490" fmla="*/ 225463 h 458350"/>
                  <a:gd name="connsiteX2491" fmla="*/ 276223 w 1253076"/>
                  <a:gd name="connsiteY2491" fmla="*/ 224857 h 458350"/>
                  <a:gd name="connsiteX2492" fmla="*/ 269101 w 1253076"/>
                  <a:gd name="connsiteY2492" fmla="*/ 224857 h 458350"/>
                  <a:gd name="connsiteX2493" fmla="*/ 267586 w 1253076"/>
                  <a:gd name="connsiteY2493" fmla="*/ 225160 h 458350"/>
                  <a:gd name="connsiteX2494" fmla="*/ 266070 w 1253076"/>
                  <a:gd name="connsiteY2494" fmla="*/ 225766 h 458350"/>
                  <a:gd name="connsiteX2495" fmla="*/ 265010 w 1253076"/>
                  <a:gd name="connsiteY2495" fmla="*/ 226524 h 458350"/>
                  <a:gd name="connsiteX2496" fmla="*/ 261070 w 1253076"/>
                  <a:gd name="connsiteY2496" fmla="*/ 230614 h 458350"/>
                  <a:gd name="connsiteX2497" fmla="*/ 260010 w 1253076"/>
                  <a:gd name="connsiteY2497" fmla="*/ 231372 h 458350"/>
                  <a:gd name="connsiteX2498" fmla="*/ 258646 w 1253076"/>
                  <a:gd name="connsiteY2498" fmla="*/ 231221 h 458350"/>
                  <a:gd name="connsiteX2499" fmla="*/ 258040 w 1253076"/>
                  <a:gd name="connsiteY2499" fmla="*/ 229857 h 458350"/>
                  <a:gd name="connsiteX2500" fmla="*/ 258494 w 1253076"/>
                  <a:gd name="connsiteY2500" fmla="*/ 226826 h 458350"/>
                  <a:gd name="connsiteX2501" fmla="*/ 259101 w 1253076"/>
                  <a:gd name="connsiteY2501" fmla="*/ 225614 h 458350"/>
                  <a:gd name="connsiteX2502" fmla="*/ 262282 w 1253076"/>
                  <a:gd name="connsiteY2502" fmla="*/ 222887 h 458350"/>
                  <a:gd name="connsiteX2503" fmla="*/ 263343 w 1253076"/>
                  <a:gd name="connsiteY2503" fmla="*/ 221523 h 458350"/>
                  <a:gd name="connsiteX2504" fmla="*/ 263798 w 1253076"/>
                  <a:gd name="connsiteY2504" fmla="*/ 219857 h 458350"/>
                  <a:gd name="connsiteX2505" fmla="*/ 263798 w 1253076"/>
                  <a:gd name="connsiteY2505" fmla="*/ 217735 h 458350"/>
                  <a:gd name="connsiteX2506" fmla="*/ 262282 w 1253076"/>
                  <a:gd name="connsiteY2506" fmla="*/ 216372 h 458350"/>
                  <a:gd name="connsiteX2507" fmla="*/ 259101 w 1253076"/>
                  <a:gd name="connsiteY2507" fmla="*/ 214856 h 458350"/>
                  <a:gd name="connsiteX2508" fmla="*/ 256222 w 1253076"/>
                  <a:gd name="connsiteY2508" fmla="*/ 213038 h 458350"/>
                  <a:gd name="connsiteX2509" fmla="*/ 254706 w 1253076"/>
                  <a:gd name="connsiteY2509" fmla="*/ 210311 h 458350"/>
                  <a:gd name="connsiteX2510" fmla="*/ 254706 w 1253076"/>
                  <a:gd name="connsiteY2510" fmla="*/ 206977 h 458350"/>
                  <a:gd name="connsiteX2511" fmla="*/ 253646 w 1253076"/>
                  <a:gd name="connsiteY2511" fmla="*/ 204250 h 458350"/>
                  <a:gd name="connsiteX2512" fmla="*/ 252737 w 1253076"/>
                  <a:gd name="connsiteY2512" fmla="*/ 197735 h 458350"/>
                  <a:gd name="connsiteX2513" fmla="*/ 252131 w 1253076"/>
                  <a:gd name="connsiteY2513" fmla="*/ 194704 h 458350"/>
                  <a:gd name="connsiteX2514" fmla="*/ 250918 w 1253076"/>
                  <a:gd name="connsiteY2514" fmla="*/ 189855 h 458350"/>
                  <a:gd name="connsiteX2515" fmla="*/ 250312 w 1253076"/>
                  <a:gd name="connsiteY2515" fmla="*/ 188946 h 458350"/>
                  <a:gd name="connsiteX2516" fmla="*/ 247434 w 1253076"/>
                  <a:gd name="connsiteY2516" fmla="*/ 189401 h 458350"/>
                  <a:gd name="connsiteX2517" fmla="*/ 245767 w 1253076"/>
                  <a:gd name="connsiteY2517" fmla="*/ 189401 h 458350"/>
                  <a:gd name="connsiteX2518" fmla="*/ 241979 w 1253076"/>
                  <a:gd name="connsiteY2518" fmla="*/ 188492 h 458350"/>
                  <a:gd name="connsiteX2519" fmla="*/ 238645 w 1253076"/>
                  <a:gd name="connsiteY2519" fmla="*/ 187280 h 458350"/>
                  <a:gd name="connsiteX2520" fmla="*/ 232584 w 1253076"/>
                  <a:gd name="connsiteY2520" fmla="*/ 184704 h 458350"/>
                  <a:gd name="connsiteX2521" fmla="*/ 228645 w 1253076"/>
                  <a:gd name="connsiteY2521" fmla="*/ 182279 h 458350"/>
                  <a:gd name="connsiteX2522" fmla="*/ 227433 w 1253076"/>
                  <a:gd name="connsiteY2522" fmla="*/ 181219 h 458350"/>
                  <a:gd name="connsiteX2523" fmla="*/ 224857 w 1253076"/>
                  <a:gd name="connsiteY2523" fmla="*/ 176370 h 458350"/>
                  <a:gd name="connsiteX2524" fmla="*/ 224706 w 1253076"/>
                  <a:gd name="connsiteY2524" fmla="*/ 175158 h 458350"/>
                  <a:gd name="connsiteX2525" fmla="*/ 226827 w 1253076"/>
                  <a:gd name="connsiteY2525" fmla="*/ 173340 h 458350"/>
                  <a:gd name="connsiteX2526" fmla="*/ 226524 w 1253076"/>
                  <a:gd name="connsiteY2526" fmla="*/ 171976 h 458350"/>
                  <a:gd name="connsiteX2527" fmla="*/ 224099 w 1253076"/>
                  <a:gd name="connsiteY2527" fmla="*/ 170461 h 458350"/>
                  <a:gd name="connsiteX2528" fmla="*/ 225160 w 1253076"/>
                  <a:gd name="connsiteY2528" fmla="*/ 168037 h 458350"/>
                  <a:gd name="connsiteX2529" fmla="*/ 224251 w 1253076"/>
                  <a:gd name="connsiteY2529" fmla="*/ 167127 h 458350"/>
                  <a:gd name="connsiteX2530" fmla="*/ 224706 w 1253076"/>
                  <a:gd name="connsiteY2530" fmla="*/ 165764 h 458350"/>
                  <a:gd name="connsiteX2531" fmla="*/ 229099 w 1253076"/>
                  <a:gd name="connsiteY2531" fmla="*/ 162430 h 458350"/>
                  <a:gd name="connsiteX2532" fmla="*/ 232282 w 1253076"/>
                  <a:gd name="connsiteY2532" fmla="*/ 161067 h 458350"/>
                  <a:gd name="connsiteX2533" fmla="*/ 234403 w 1253076"/>
                  <a:gd name="connsiteY2533" fmla="*/ 159248 h 458350"/>
                  <a:gd name="connsiteX2534" fmla="*/ 233191 w 1253076"/>
                  <a:gd name="connsiteY2534" fmla="*/ 155763 h 458350"/>
                  <a:gd name="connsiteX2535" fmla="*/ 231221 w 1253076"/>
                  <a:gd name="connsiteY2535" fmla="*/ 152581 h 458350"/>
                  <a:gd name="connsiteX2536" fmla="*/ 228645 w 1253076"/>
                  <a:gd name="connsiteY2536" fmla="*/ 149854 h 458350"/>
                  <a:gd name="connsiteX2537" fmla="*/ 225918 w 1253076"/>
                  <a:gd name="connsiteY2537" fmla="*/ 147278 h 458350"/>
                  <a:gd name="connsiteX2538" fmla="*/ 224099 w 1253076"/>
                  <a:gd name="connsiteY2538" fmla="*/ 146520 h 458350"/>
                  <a:gd name="connsiteX2539" fmla="*/ 222130 w 1253076"/>
                  <a:gd name="connsiteY2539" fmla="*/ 146369 h 458350"/>
                  <a:gd name="connsiteX2540" fmla="*/ 220463 w 1253076"/>
                  <a:gd name="connsiteY2540" fmla="*/ 146824 h 458350"/>
                  <a:gd name="connsiteX2541" fmla="*/ 215917 w 1253076"/>
                  <a:gd name="connsiteY2541" fmla="*/ 149399 h 458350"/>
                  <a:gd name="connsiteX2542" fmla="*/ 213038 w 1253076"/>
                  <a:gd name="connsiteY2542" fmla="*/ 151218 h 458350"/>
                  <a:gd name="connsiteX2543" fmla="*/ 210159 w 1253076"/>
                  <a:gd name="connsiteY2543" fmla="*/ 152733 h 458350"/>
                  <a:gd name="connsiteX2544" fmla="*/ 206977 w 1253076"/>
                  <a:gd name="connsiteY2544" fmla="*/ 153642 h 458350"/>
                  <a:gd name="connsiteX2545" fmla="*/ 200765 w 1253076"/>
                  <a:gd name="connsiteY2545" fmla="*/ 154400 h 458350"/>
                  <a:gd name="connsiteX2546" fmla="*/ 207280 w 1253076"/>
                  <a:gd name="connsiteY2546" fmla="*/ 152127 h 458350"/>
                  <a:gd name="connsiteX2547" fmla="*/ 213342 w 1253076"/>
                  <a:gd name="connsiteY2547" fmla="*/ 148945 h 458350"/>
                  <a:gd name="connsiteX2548" fmla="*/ 215008 w 1253076"/>
                  <a:gd name="connsiteY2548" fmla="*/ 146824 h 458350"/>
                  <a:gd name="connsiteX2549" fmla="*/ 214099 w 1253076"/>
                  <a:gd name="connsiteY2549" fmla="*/ 144399 h 458350"/>
                  <a:gd name="connsiteX2550" fmla="*/ 211826 w 1253076"/>
                  <a:gd name="connsiteY2550" fmla="*/ 142126 h 458350"/>
                  <a:gd name="connsiteX2551" fmla="*/ 209099 w 1253076"/>
                  <a:gd name="connsiteY2551" fmla="*/ 140763 h 458350"/>
                  <a:gd name="connsiteX2552" fmla="*/ 201371 w 1253076"/>
                  <a:gd name="connsiteY2552" fmla="*/ 139854 h 458350"/>
                  <a:gd name="connsiteX2553" fmla="*/ 198644 w 1253076"/>
                  <a:gd name="connsiteY2553" fmla="*/ 139096 h 458350"/>
                  <a:gd name="connsiteX2554" fmla="*/ 196522 w 1253076"/>
                  <a:gd name="connsiteY2554" fmla="*/ 137429 h 458350"/>
                  <a:gd name="connsiteX2555" fmla="*/ 192432 w 1253076"/>
                  <a:gd name="connsiteY2555" fmla="*/ 133338 h 458350"/>
                  <a:gd name="connsiteX2556" fmla="*/ 191977 w 1253076"/>
                  <a:gd name="connsiteY2556" fmla="*/ 132581 h 458350"/>
                  <a:gd name="connsiteX2557" fmla="*/ 191219 w 1253076"/>
                  <a:gd name="connsiteY2557" fmla="*/ 129247 h 458350"/>
                  <a:gd name="connsiteX2558" fmla="*/ 190159 w 1253076"/>
                  <a:gd name="connsiteY2558" fmla="*/ 126065 h 458350"/>
                  <a:gd name="connsiteX2559" fmla="*/ 188492 w 1253076"/>
                  <a:gd name="connsiteY2559" fmla="*/ 123338 h 458350"/>
                  <a:gd name="connsiteX2560" fmla="*/ 186371 w 1253076"/>
                  <a:gd name="connsiteY2560" fmla="*/ 121065 h 458350"/>
                  <a:gd name="connsiteX2561" fmla="*/ 180007 w 1253076"/>
                  <a:gd name="connsiteY2561" fmla="*/ 116216 h 458350"/>
                  <a:gd name="connsiteX2562" fmla="*/ 177279 w 1253076"/>
                  <a:gd name="connsiteY2562" fmla="*/ 115156 h 458350"/>
                  <a:gd name="connsiteX2563" fmla="*/ 174249 w 1253076"/>
                  <a:gd name="connsiteY2563" fmla="*/ 114853 h 458350"/>
                  <a:gd name="connsiteX2564" fmla="*/ 171522 w 1253076"/>
                  <a:gd name="connsiteY2564" fmla="*/ 114247 h 458350"/>
                  <a:gd name="connsiteX2565" fmla="*/ 169552 w 1253076"/>
                  <a:gd name="connsiteY2565" fmla="*/ 112428 h 458350"/>
                  <a:gd name="connsiteX2566" fmla="*/ 168188 w 1253076"/>
                  <a:gd name="connsiteY2566" fmla="*/ 108943 h 458350"/>
                  <a:gd name="connsiteX2567" fmla="*/ 166673 w 1253076"/>
                  <a:gd name="connsiteY2567" fmla="*/ 105610 h 458350"/>
                  <a:gd name="connsiteX2568" fmla="*/ 164552 w 1253076"/>
                  <a:gd name="connsiteY2568" fmla="*/ 103186 h 458350"/>
                  <a:gd name="connsiteX2569" fmla="*/ 159703 w 1253076"/>
                  <a:gd name="connsiteY2569" fmla="*/ 98943 h 458350"/>
                  <a:gd name="connsiteX2570" fmla="*/ 156672 w 1253076"/>
                  <a:gd name="connsiteY2570" fmla="*/ 97882 h 458350"/>
                  <a:gd name="connsiteX2571" fmla="*/ 155006 w 1253076"/>
                  <a:gd name="connsiteY2571" fmla="*/ 98186 h 458350"/>
                  <a:gd name="connsiteX2572" fmla="*/ 153642 w 1253076"/>
                  <a:gd name="connsiteY2572" fmla="*/ 99246 h 458350"/>
                  <a:gd name="connsiteX2573" fmla="*/ 153339 w 1253076"/>
                  <a:gd name="connsiteY2573" fmla="*/ 100610 h 458350"/>
                  <a:gd name="connsiteX2574" fmla="*/ 153339 w 1253076"/>
                  <a:gd name="connsiteY2574" fmla="*/ 102125 h 458350"/>
                  <a:gd name="connsiteX2575" fmla="*/ 155006 w 1253076"/>
                  <a:gd name="connsiteY2575" fmla="*/ 104549 h 458350"/>
                  <a:gd name="connsiteX2576" fmla="*/ 155309 w 1253076"/>
                  <a:gd name="connsiteY2576" fmla="*/ 107277 h 458350"/>
                  <a:gd name="connsiteX2577" fmla="*/ 153339 w 1253076"/>
                  <a:gd name="connsiteY2577" fmla="*/ 106216 h 458350"/>
                  <a:gd name="connsiteX2578" fmla="*/ 149703 w 1253076"/>
                  <a:gd name="connsiteY2578" fmla="*/ 102731 h 458350"/>
                  <a:gd name="connsiteX2579" fmla="*/ 147430 w 1253076"/>
                  <a:gd name="connsiteY2579" fmla="*/ 102276 h 458350"/>
                  <a:gd name="connsiteX2580" fmla="*/ 145308 w 1253076"/>
                  <a:gd name="connsiteY2580" fmla="*/ 100913 h 458350"/>
                  <a:gd name="connsiteX2581" fmla="*/ 143490 w 1253076"/>
                  <a:gd name="connsiteY2581" fmla="*/ 99095 h 458350"/>
                  <a:gd name="connsiteX2582" fmla="*/ 141975 w 1253076"/>
                  <a:gd name="connsiteY2582" fmla="*/ 97125 h 458350"/>
                  <a:gd name="connsiteX2583" fmla="*/ 140611 w 1253076"/>
                  <a:gd name="connsiteY2583" fmla="*/ 95004 h 458350"/>
                  <a:gd name="connsiteX2584" fmla="*/ 139399 w 1253076"/>
                  <a:gd name="connsiteY2584" fmla="*/ 93488 h 458350"/>
                  <a:gd name="connsiteX2585" fmla="*/ 134551 w 1253076"/>
                  <a:gd name="connsiteY2585" fmla="*/ 88640 h 458350"/>
                  <a:gd name="connsiteX2586" fmla="*/ 131672 w 1253076"/>
                  <a:gd name="connsiteY2586" fmla="*/ 84700 h 458350"/>
                  <a:gd name="connsiteX2587" fmla="*/ 130308 w 1253076"/>
                  <a:gd name="connsiteY2587" fmla="*/ 81973 h 458350"/>
                  <a:gd name="connsiteX2588" fmla="*/ 128641 w 1253076"/>
                  <a:gd name="connsiteY2588" fmla="*/ 79397 h 458350"/>
                  <a:gd name="connsiteX2589" fmla="*/ 123944 w 1253076"/>
                  <a:gd name="connsiteY2589" fmla="*/ 74094 h 458350"/>
                  <a:gd name="connsiteX2590" fmla="*/ 118186 w 1253076"/>
                  <a:gd name="connsiteY2590" fmla="*/ 70609 h 458350"/>
                  <a:gd name="connsiteX2591" fmla="*/ 108034 w 1253076"/>
                  <a:gd name="connsiteY2591" fmla="*/ 63336 h 458350"/>
                  <a:gd name="connsiteX2592" fmla="*/ 100307 w 1253076"/>
                  <a:gd name="connsiteY2592" fmla="*/ 59851 h 458350"/>
                  <a:gd name="connsiteX2593" fmla="*/ 97882 w 1253076"/>
                  <a:gd name="connsiteY2593" fmla="*/ 58487 h 458350"/>
                  <a:gd name="connsiteX2594" fmla="*/ 95913 w 1253076"/>
                  <a:gd name="connsiteY2594" fmla="*/ 56366 h 458350"/>
                  <a:gd name="connsiteX2595" fmla="*/ 95458 w 1253076"/>
                  <a:gd name="connsiteY2595" fmla="*/ 55002 h 458350"/>
                  <a:gd name="connsiteX2596" fmla="*/ 94700 w 1253076"/>
                  <a:gd name="connsiteY2596" fmla="*/ 53790 h 458350"/>
                  <a:gd name="connsiteX2597" fmla="*/ 91064 w 1253076"/>
                  <a:gd name="connsiteY2597" fmla="*/ 51972 h 458350"/>
                  <a:gd name="connsiteX2598" fmla="*/ 85003 w 1253076"/>
                  <a:gd name="connsiteY2598" fmla="*/ 49396 h 458350"/>
                  <a:gd name="connsiteX2599" fmla="*/ 83185 w 1253076"/>
                  <a:gd name="connsiteY2599" fmla="*/ 46668 h 458350"/>
                  <a:gd name="connsiteX2600" fmla="*/ 84094 w 1253076"/>
                  <a:gd name="connsiteY2600" fmla="*/ 43183 h 458350"/>
                  <a:gd name="connsiteX2601" fmla="*/ 83488 w 1253076"/>
                  <a:gd name="connsiteY2601" fmla="*/ 40608 h 458350"/>
                  <a:gd name="connsiteX2602" fmla="*/ 77276 w 1253076"/>
                  <a:gd name="connsiteY2602" fmla="*/ 34547 h 458350"/>
                  <a:gd name="connsiteX2603" fmla="*/ 76669 w 1253076"/>
                  <a:gd name="connsiteY2603" fmla="*/ 33789 h 458350"/>
                  <a:gd name="connsiteX2604" fmla="*/ 75760 w 1253076"/>
                  <a:gd name="connsiteY2604" fmla="*/ 30607 h 458350"/>
                  <a:gd name="connsiteX2605" fmla="*/ 74094 w 1253076"/>
                  <a:gd name="connsiteY2605" fmla="*/ 27880 h 458350"/>
                  <a:gd name="connsiteX2606" fmla="*/ 68639 w 1253076"/>
                  <a:gd name="connsiteY2606" fmla="*/ 23486 h 458350"/>
                  <a:gd name="connsiteX2607" fmla="*/ 65305 w 1253076"/>
                  <a:gd name="connsiteY2607" fmla="*/ 20001 h 458350"/>
                  <a:gd name="connsiteX2608" fmla="*/ 64245 w 1253076"/>
                  <a:gd name="connsiteY2608" fmla="*/ 19092 h 458350"/>
                  <a:gd name="connsiteX2609" fmla="*/ 63033 w 1253076"/>
                  <a:gd name="connsiteY2609" fmla="*/ 18486 h 458350"/>
                  <a:gd name="connsiteX2610" fmla="*/ 61669 w 1253076"/>
                  <a:gd name="connsiteY2610" fmla="*/ 18334 h 458350"/>
                  <a:gd name="connsiteX2611" fmla="*/ 54548 w 1253076"/>
                  <a:gd name="connsiteY2611" fmla="*/ 19092 h 458350"/>
                  <a:gd name="connsiteX2612" fmla="*/ 51669 w 1253076"/>
                  <a:gd name="connsiteY2612" fmla="*/ 18486 h 458350"/>
                  <a:gd name="connsiteX2613" fmla="*/ 48487 w 1253076"/>
                  <a:gd name="connsiteY2613" fmla="*/ 17425 h 458350"/>
                  <a:gd name="connsiteX2614" fmla="*/ 45002 w 1253076"/>
                  <a:gd name="connsiteY2614" fmla="*/ 17273 h 458350"/>
                  <a:gd name="connsiteX2615" fmla="*/ 38789 w 1253076"/>
                  <a:gd name="connsiteY2615" fmla="*/ 18789 h 458350"/>
                  <a:gd name="connsiteX2616" fmla="*/ 35456 w 1253076"/>
                  <a:gd name="connsiteY2616" fmla="*/ 18486 h 458350"/>
                  <a:gd name="connsiteX2617" fmla="*/ 28789 w 1253076"/>
                  <a:gd name="connsiteY2617" fmla="*/ 17425 h 458350"/>
                  <a:gd name="connsiteX2618" fmla="*/ 25607 w 1253076"/>
                  <a:gd name="connsiteY2618" fmla="*/ 16667 h 458350"/>
                  <a:gd name="connsiteX2619" fmla="*/ 22728 w 1253076"/>
                  <a:gd name="connsiteY2619" fmla="*/ 15152 h 458350"/>
                  <a:gd name="connsiteX2620" fmla="*/ 17576 w 1253076"/>
                  <a:gd name="connsiteY2620" fmla="*/ 10758 h 458350"/>
                  <a:gd name="connsiteX2621" fmla="*/ 14698 w 1253076"/>
                  <a:gd name="connsiteY2621" fmla="*/ 8940 h 458350"/>
                  <a:gd name="connsiteX2622" fmla="*/ 11667 w 1253076"/>
                  <a:gd name="connsiteY2622" fmla="*/ 8182 h 458350"/>
                  <a:gd name="connsiteX2623" fmla="*/ 8637 w 1253076"/>
                  <a:gd name="connsiteY2623" fmla="*/ 7728 h 458350"/>
                  <a:gd name="connsiteX2624" fmla="*/ 5303 w 1253076"/>
                  <a:gd name="connsiteY2624" fmla="*/ 7576 h 458350"/>
                  <a:gd name="connsiteX2625" fmla="*/ 2122 w 1253076"/>
                  <a:gd name="connsiteY2625" fmla="*/ 8485 h 458350"/>
                  <a:gd name="connsiteX2626" fmla="*/ 758 w 1253076"/>
                  <a:gd name="connsiteY2626" fmla="*/ 9243 h 458350"/>
                  <a:gd name="connsiteX2627" fmla="*/ 606 w 1253076"/>
                  <a:gd name="connsiteY2627" fmla="*/ 10607 h 458350"/>
                  <a:gd name="connsiteX2628" fmla="*/ 1061 w 1253076"/>
                  <a:gd name="connsiteY2628" fmla="*/ 11970 h 458350"/>
                  <a:gd name="connsiteX2629" fmla="*/ 1212 w 1253076"/>
                  <a:gd name="connsiteY2629" fmla="*/ 13485 h 458350"/>
                  <a:gd name="connsiteX2630" fmla="*/ 455 w 1253076"/>
                  <a:gd name="connsiteY2630" fmla="*/ 15304 h 458350"/>
                  <a:gd name="connsiteX2631" fmla="*/ 0 w 1253076"/>
                  <a:gd name="connsiteY2631" fmla="*/ 16970 h 458350"/>
                  <a:gd name="connsiteX2632" fmla="*/ 4849 w 1253076"/>
                  <a:gd name="connsiteY2632" fmla="*/ 25304 h 458350"/>
                  <a:gd name="connsiteX2633" fmla="*/ 6212 w 1253076"/>
                  <a:gd name="connsiteY2633" fmla="*/ 28335 h 458350"/>
                  <a:gd name="connsiteX2634" fmla="*/ 7879 w 1253076"/>
                  <a:gd name="connsiteY2634" fmla="*/ 31213 h 458350"/>
                  <a:gd name="connsiteX2635" fmla="*/ 10152 w 1253076"/>
                  <a:gd name="connsiteY2635" fmla="*/ 33941 h 458350"/>
                  <a:gd name="connsiteX2636" fmla="*/ 21364 w 1253076"/>
                  <a:gd name="connsiteY2636" fmla="*/ 44850 h 458350"/>
                  <a:gd name="connsiteX2637" fmla="*/ 28031 w 1253076"/>
                  <a:gd name="connsiteY2637" fmla="*/ 50002 h 458350"/>
                  <a:gd name="connsiteX2638" fmla="*/ 30304 w 1253076"/>
                  <a:gd name="connsiteY2638" fmla="*/ 52426 h 458350"/>
                  <a:gd name="connsiteX2639" fmla="*/ 33941 w 1253076"/>
                  <a:gd name="connsiteY2639" fmla="*/ 57123 h 458350"/>
                  <a:gd name="connsiteX2640" fmla="*/ 36214 w 1253076"/>
                  <a:gd name="connsiteY2640" fmla="*/ 58487 h 458350"/>
                  <a:gd name="connsiteX2641" fmla="*/ 43790 w 1253076"/>
                  <a:gd name="connsiteY2641" fmla="*/ 60002 h 458350"/>
                  <a:gd name="connsiteX2642" fmla="*/ 46365 w 1253076"/>
                  <a:gd name="connsiteY2642" fmla="*/ 61518 h 458350"/>
                  <a:gd name="connsiteX2643" fmla="*/ 48487 w 1253076"/>
                  <a:gd name="connsiteY2643" fmla="*/ 63639 h 458350"/>
                  <a:gd name="connsiteX2644" fmla="*/ 54548 w 1253076"/>
                  <a:gd name="connsiteY2644" fmla="*/ 71821 h 458350"/>
                  <a:gd name="connsiteX2645" fmla="*/ 56214 w 1253076"/>
                  <a:gd name="connsiteY2645" fmla="*/ 74245 h 458350"/>
                  <a:gd name="connsiteX2646" fmla="*/ 58033 w 1253076"/>
                  <a:gd name="connsiteY2646" fmla="*/ 77276 h 458350"/>
                  <a:gd name="connsiteX2647" fmla="*/ 60154 w 1253076"/>
                  <a:gd name="connsiteY2647" fmla="*/ 80003 h 458350"/>
                  <a:gd name="connsiteX2648" fmla="*/ 65609 w 1253076"/>
                  <a:gd name="connsiteY2648" fmla="*/ 83488 h 458350"/>
                  <a:gd name="connsiteX2649" fmla="*/ 66366 w 1253076"/>
                  <a:gd name="connsiteY2649" fmla="*/ 85155 h 458350"/>
                  <a:gd name="connsiteX2650" fmla="*/ 66972 w 1253076"/>
                  <a:gd name="connsiteY2650" fmla="*/ 88185 h 458350"/>
                  <a:gd name="connsiteX2651" fmla="*/ 67578 w 1253076"/>
                  <a:gd name="connsiteY2651" fmla="*/ 93185 h 458350"/>
                  <a:gd name="connsiteX2652" fmla="*/ 68639 w 1253076"/>
                  <a:gd name="connsiteY2652" fmla="*/ 96822 h 458350"/>
                  <a:gd name="connsiteX2653" fmla="*/ 71215 w 1253076"/>
                  <a:gd name="connsiteY2653" fmla="*/ 98943 h 458350"/>
                  <a:gd name="connsiteX2654" fmla="*/ 74548 w 1253076"/>
                  <a:gd name="connsiteY2654" fmla="*/ 99398 h 458350"/>
                  <a:gd name="connsiteX2655" fmla="*/ 76973 w 1253076"/>
                  <a:gd name="connsiteY2655" fmla="*/ 100155 h 458350"/>
                  <a:gd name="connsiteX2656" fmla="*/ 79246 w 1253076"/>
                  <a:gd name="connsiteY2656" fmla="*/ 101367 h 458350"/>
                  <a:gd name="connsiteX2657" fmla="*/ 92276 w 1253076"/>
                  <a:gd name="connsiteY2657" fmla="*/ 109398 h 458350"/>
                  <a:gd name="connsiteX2658" fmla="*/ 93185 w 1253076"/>
                  <a:gd name="connsiteY2658" fmla="*/ 110459 h 458350"/>
                  <a:gd name="connsiteX2659" fmla="*/ 96064 w 1253076"/>
                  <a:gd name="connsiteY2659" fmla="*/ 114853 h 458350"/>
                  <a:gd name="connsiteX2660" fmla="*/ 98640 w 1253076"/>
                  <a:gd name="connsiteY2660" fmla="*/ 120459 h 458350"/>
                  <a:gd name="connsiteX2661" fmla="*/ 102428 w 1253076"/>
                  <a:gd name="connsiteY2661" fmla="*/ 133035 h 458350"/>
                  <a:gd name="connsiteX2662" fmla="*/ 105762 w 1253076"/>
                  <a:gd name="connsiteY2662" fmla="*/ 142430 h 458350"/>
                  <a:gd name="connsiteX2663" fmla="*/ 107125 w 1253076"/>
                  <a:gd name="connsiteY2663" fmla="*/ 148642 h 458350"/>
                  <a:gd name="connsiteX2664" fmla="*/ 108489 w 1253076"/>
                  <a:gd name="connsiteY2664" fmla="*/ 151521 h 458350"/>
                  <a:gd name="connsiteX2665" fmla="*/ 110610 w 1253076"/>
                  <a:gd name="connsiteY2665" fmla="*/ 153794 h 458350"/>
                  <a:gd name="connsiteX2666" fmla="*/ 113338 w 1253076"/>
                  <a:gd name="connsiteY2666" fmla="*/ 155460 h 458350"/>
                  <a:gd name="connsiteX2667" fmla="*/ 120610 w 1253076"/>
                  <a:gd name="connsiteY2667" fmla="*/ 158339 h 458350"/>
                  <a:gd name="connsiteX2668" fmla="*/ 122580 w 1253076"/>
                  <a:gd name="connsiteY2668" fmla="*/ 159854 h 458350"/>
                  <a:gd name="connsiteX2669" fmla="*/ 123944 w 1253076"/>
                  <a:gd name="connsiteY2669" fmla="*/ 161976 h 458350"/>
                  <a:gd name="connsiteX2670" fmla="*/ 127732 w 1253076"/>
                  <a:gd name="connsiteY2670" fmla="*/ 169552 h 458350"/>
                  <a:gd name="connsiteX2671" fmla="*/ 129702 w 1253076"/>
                  <a:gd name="connsiteY2671" fmla="*/ 171825 h 458350"/>
                  <a:gd name="connsiteX2672" fmla="*/ 132126 w 1253076"/>
                  <a:gd name="connsiteY2672" fmla="*/ 173794 h 458350"/>
                  <a:gd name="connsiteX2673" fmla="*/ 134096 w 1253076"/>
                  <a:gd name="connsiteY2673" fmla="*/ 175916 h 458350"/>
                  <a:gd name="connsiteX2674" fmla="*/ 139551 w 1253076"/>
                  <a:gd name="connsiteY2674" fmla="*/ 182582 h 458350"/>
                  <a:gd name="connsiteX2675" fmla="*/ 140005 w 1253076"/>
                  <a:gd name="connsiteY2675" fmla="*/ 183340 h 458350"/>
                  <a:gd name="connsiteX2676" fmla="*/ 142278 w 1253076"/>
                  <a:gd name="connsiteY2676" fmla="*/ 190765 h 458350"/>
                  <a:gd name="connsiteX2677" fmla="*/ 144854 w 1253076"/>
                  <a:gd name="connsiteY2677" fmla="*/ 196068 h 458350"/>
                  <a:gd name="connsiteX2678" fmla="*/ 155006 w 1253076"/>
                  <a:gd name="connsiteY2678" fmla="*/ 213341 h 458350"/>
                  <a:gd name="connsiteX2679" fmla="*/ 154854 w 1253076"/>
                  <a:gd name="connsiteY2679" fmla="*/ 219099 h 458350"/>
                  <a:gd name="connsiteX2680" fmla="*/ 155915 w 1253076"/>
                  <a:gd name="connsiteY2680" fmla="*/ 221978 h 458350"/>
                  <a:gd name="connsiteX2681" fmla="*/ 157430 w 1253076"/>
                  <a:gd name="connsiteY2681" fmla="*/ 224554 h 458350"/>
                  <a:gd name="connsiteX2682" fmla="*/ 162127 w 1253076"/>
                  <a:gd name="connsiteY2682" fmla="*/ 231221 h 458350"/>
                  <a:gd name="connsiteX2683" fmla="*/ 164552 w 1253076"/>
                  <a:gd name="connsiteY2683" fmla="*/ 233342 h 458350"/>
                  <a:gd name="connsiteX2684" fmla="*/ 167279 w 1253076"/>
                  <a:gd name="connsiteY2684" fmla="*/ 235160 h 458350"/>
                  <a:gd name="connsiteX2685" fmla="*/ 168946 w 1253076"/>
                  <a:gd name="connsiteY2685" fmla="*/ 237281 h 458350"/>
                  <a:gd name="connsiteX2686" fmla="*/ 170309 w 1253076"/>
                  <a:gd name="connsiteY2686" fmla="*/ 239706 h 458350"/>
                  <a:gd name="connsiteX2687" fmla="*/ 174855 w 1253076"/>
                  <a:gd name="connsiteY2687" fmla="*/ 246979 h 458350"/>
                  <a:gd name="connsiteX2688" fmla="*/ 176825 w 1253076"/>
                  <a:gd name="connsiteY2688" fmla="*/ 249100 h 458350"/>
                  <a:gd name="connsiteX2689" fmla="*/ 181370 w 1253076"/>
                  <a:gd name="connsiteY2689" fmla="*/ 252737 h 458350"/>
                  <a:gd name="connsiteX2690" fmla="*/ 189856 w 1253076"/>
                  <a:gd name="connsiteY2690" fmla="*/ 258797 h 458350"/>
                  <a:gd name="connsiteX2691" fmla="*/ 191522 w 1253076"/>
                  <a:gd name="connsiteY2691" fmla="*/ 260919 h 458350"/>
                  <a:gd name="connsiteX2692" fmla="*/ 196522 w 1253076"/>
                  <a:gd name="connsiteY2692" fmla="*/ 268949 h 458350"/>
                  <a:gd name="connsiteX2693" fmla="*/ 201068 w 1253076"/>
                  <a:gd name="connsiteY2693" fmla="*/ 273949 h 458350"/>
                  <a:gd name="connsiteX2694" fmla="*/ 211523 w 1253076"/>
                  <a:gd name="connsiteY2694" fmla="*/ 282586 h 458350"/>
                  <a:gd name="connsiteX2695" fmla="*/ 217584 w 1253076"/>
                  <a:gd name="connsiteY2695" fmla="*/ 286071 h 458350"/>
                  <a:gd name="connsiteX2696" fmla="*/ 220311 w 1253076"/>
                  <a:gd name="connsiteY2696" fmla="*/ 288192 h 458350"/>
                  <a:gd name="connsiteX2697" fmla="*/ 222887 w 1253076"/>
                  <a:gd name="connsiteY2697" fmla="*/ 290617 h 458350"/>
                  <a:gd name="connsiteX2698" fmla="*/ 224857 w 1253076"/>
                  <a:gd name="connsiteY2698" fmla="*/ 291980 h 458350"/>
                  <a:gd name="connsiteX2699" fmla="*/ 234857 w 1253076"/>
                  <a:gd name="connsiteY2699" fmla="*/ 297890 h 458350"/>
                  <a:gd name="connsiteX2700" fmla="*/ 236524 w 1253076"/>
                  <a:gd name="connsiteY2700" fmla="*/ 299102 h 458350"/>
                  <a:gd name="connsiteX2701" fmla="*/ 242888 w 1253076"/>
                  <a:gd name="connsiteY2701" fmla="*/ 307436 h 458350"/>
                  <a:gd name="connsiteX2702" fmla="*/ 245161 w 1253076"/>
                  <a:gd name="connsiteY2702" fmla="*/ 309708 h 458350"/>
                  <a:gd name="connsiteX2703" fmla="*/ 247737 w 1253076"/>
                  <a:gd name="connsiteY2703" fmla="*/ 311678 h 458350"/>
                  <a:gd name="connsiteX2704" fmla="*/ 251222 w 1253076"/>
                  <a:gd name="connsiteY2704" fmla="*/ 315769 h 458350"/>
                  <a:gd name="connsiteX2705" fmla="*/ 254252 w 1253076"/>
                  <a:gd name="connsiteY2705" fmla="*/ 318800 h 458350"/>
                  <a:gd name="connsiteX2706" fmla="*/ 257585 w 1253076"/>
                  <a:gd name="connsiteY2706" fmla="*/ 321527 h 458350"/>
                  <a:gd name="connsiteX2707" fmla="*/ 258343 w 1253076"/>
                  <a:gd name="connsiteY2707" fmla="*/ 321679 h 458350"/>
                  <a:gd name="connsiteX2708" fmla="*/ 259858 w 1253076"/>
                  <a:gd name="connsiteY2708" fmla="*/ 321224 h 458350"/>
                  <a:gd name="connsiteX2709" fmla="*/ 259707 w 1253076"/>
                  <a:gd name="connsiteY2709" fmla="*/ 319103 h 458350"/>
                  <a:gd name="connsiteX2710" fmla="*/ 258192 w 1253076"/>
                  <a:gd name="connsiteY2710" fmla="*/ 314405 h 458350"/>
                  <a:gd name="connsiteX2711" fmla="*/ 258343 w 1253076"/>
                  <a:gd name="connsiteY2711" fmla="*/ 312436 h 458350"/>
                  <a:gd name="connsiteX2712" fmla="*/ 258798 w 1253076"/>
                  <a:gd name="connsiteY2712" fmla="*/ 311072 h 458350"/>
                  <a:gd name="connsiteX2713" fmla="*/ 266677 w 1253076"/>
                  <a:gd name="connsiteY2713" fmla="*/ 315466 h 458350"/>
                  <a:gd name="connsiteX2714" fmla="*/ 269252 w 1253076"/>
                  <a:gd name="connsiteY2714" fmla="*/ 316678 h 458350"/>
                  <a:gd name="connsiteX2715" fmla="*/ 270919 w 1253076"/>
                  <a:gd name="connsiteY2715" fmla="*/ 317133 h 458350"/>
                  <a:gd name="connsiteX2716" fmla="*/ 272131 w 1253076"/>
                  <a:gd name="connsiteY2716" fmla="*/ 316527 h 458350"/>
                  <a:gd name="connsiteX2717" fmla="*/ 276828 w 1253076"/>
                  <a:gd name="connsiteY2717" fmla="*/ 312284 h 458350"/>
                  <a:gd name="connsiteX2718" fmla="*/ 228796 w 1253076"/>
                  <a:gd name="connsiteY2718" fmla="*/ 166824 h 458350"/>
                  <a:gd name="connsiteX2719" fmla="*/ 226827 w 1253076"/>
                  <a:gd name="connsiteY2719" fmla="*/ 168794 h 458350"/>
                  <a:gd name="connsiteX2720" fmla="*/ 226372 w 1253076"/>
                  <a:gd name="connsiteY2720" fmla="*/ 170461 h 458350"/>
                  <a:gd name="connsiteX2721" fmla="*/ 230312 w 1253076"/>
                  <a:gd name="connsiteY2721" fmla="*/ 171218 h 458350"/>
                  <a:gd name="connsiteX2722" fmla="*/ 233948 w 1253076"/>
                  <a:gd name="connsiteY2722" fmla="*/ 170309 h 458350"/>
                  <a:gd name="connsiteX2723" fmla="*/ 234706 w 1253076"/>
                  <a:gd name="connsiteY2723" fmla="*/ 169552 h 458350"/>
                  <a:gd name="connsiteX2724" fmla="*/ 233645 w 1253076"/>
                  <a:gd name="connsiteY2724" fmla="*/ 168491 h 458350"/>
                  <a:gd name="connsiteX2725" fmla="*/ 230615 w 1253076"/>
                  <a:gd name="connsiteY2725" fmla="*/ 167279 h 458350"/>
                  <a:gd name="connsiteX2726" fmla="*/ 228796 w 1253076"/>
                  <a:gd name="connsiteY2726" fmla="*/ 166824 h 458350"/>
                  <a:gd name="connsiteX2727" fmla="*/ 526080 w 1253076"/>
                  <a:gd name="connsiteY2727" fmla="*/ 354861 h 458350"/>
                  <a:gd name="connsiteX2728" fmla="*/ 525323 w 1253076"/>
                  <a:gd name="connsiteY2728" fmla="*/ 353346 h 458350"/>
                  <a:gd name="connsiteX2729" fmla="*/ 524414 w 1253076"/>
                  <a:gd name="connsiteY2729" fmla="*/ 353195 h 458350"/>
                  <a:gd name="connsiteX2730" fmla="*/ 523656 w 1253076"/>
                  <a:gd name="connsiteY2730" fmla="*/ 353346 h 458350"/>
                  <a:gd name="connsiteX2731" fmla="*/ 523050 w 1253076"/>
                  <a:gd name="connsiteY2731" fmla="*/ 353801 h 458350"/>
                  <a:gd name="connsiteX2732" fmla="*/ 524414 w 1253076"/>
                  <a:gd name="connsiteY2732" fmla="*/ 355619 h 458350"/>
                  <a:gd name="connsiteX2733" fmla="*/ 525777 w 1253076"/>
                  <a:gd name="connsiteY2733" fmla="*/ 355922 h 458350"/>
                  <a:gd name="connsiteX2734" fmla="*/ 526080 w 1253076"/>
                  <a:gd name="connsiteY2734" fmla="*/ 354861 h 458350"/>
                  <a:gd name="connsiteX2735" fmla="*/ 477745 w 1253076"/>
                  <a:gd name="connsiteY2735" fmla="*/ 316678 h 458350"/>
                  <a:gd name="connsiteX2736" fmla="*/ 476078 w 1253076"/>
                  <a:gd name="connsiteY2736" fmla="*/ 318648 h 458350"/>
                  <a:gd name="connsiteX2737" fmla="*/ 476533 w 1253076"/>
                  <a:gd name="connsiteY2737" fmla="*/ 319709 h 458350"/>
                  <a:gd name="connsiteX2738" fmla="*/ 479109 w 1253076"/>
                  <a:gd name="connsiteY2738" fmla="*/ 319860 h 458350"/>
                  <a:gd name="connsiteX2739" fmla="*/ 479715 w 1253076"/>
                  <a:gd name="connsiteY2739" fmla="*/ 318951 h 458350"/>
                  <a:gd name="connsiteX2740" fmla="*/ 479866 w 1253076"/>
                  <a:gd name="connsiteY2740" fmla="*/ 317436 h 458350"/>
                  <a:gd name="connsiteX2741" fmla="*/ 478806 w 1253076"/>
                  <a:gd name="connsiteY2741" fmla="*/ 316678 h 458350"/>
                  <a:gd name="connsiteX2742" fmla="*/ 477745 w 1253076"/>
                  <a:gd name="connsiteY2742" fmla="*/ 316678 h 458350"/>
                  <a:gd name="connsiteX2743" fmla="*/ 488503 w 1253076"/>
                  <a:gd name="connsiteY2743" fmla="*/ 356983 h 458350"/>
                  <a:gd name="connsiteX2744" fmla="*/ 490927 w 1253076"/>
                  <a:gd name="connsiteY2744" fmla="*/ 357286 h 458350"/>
                  <a:gd name="connsiteX2745" fmla="*/ 491382 w 1253076"/>
                  <a:gd name="connsiteY2745" fmla="*/ 356831 h 458350"/>
                  <a:gd name="connsiteX2746" fmla="*/ 491988 w 1253076"/>
                  <a:gd name="connsiteY2746" fmla="*/ 356831 h 458350"/>
                  <a:gd name="connsiteX2747" fmla="*/ 492897 w 1253076"/>
                  <a:gd name="connsiteY2747" fmla="*/ 357134 h 458350"/>
                  <a:gd name="connsiteX2748" fmla="*/ 500321 w 1253076"/>
                  <a:gd name="connsiteY2748" fmla="*/ 357134 h 458350"/>
                  <a:gd name="connsiteX2749" fmla="*/ 502443 w 1253076"/>
                  <a:gd name="connsiteY2749" fmla="*/ 356377 h 458350"/>
                  <a:gd name="connsiteX2750" fmla="*/ 505474 w 1253076"/>
                  <a:gd name="connsiteY2750" fmla="*/ 354104 h 458350"/>
                  <a:gd name="connsiteX2751" fmla="*/ 510171 w 1253076"/>
                  <a:gd name="connsiteY2751" fmla="*/ 354255 h 458350"/>
                  <a:gd name="connsiteX2752" fmla="*/ 510625 w 1253076"/>
                  <a:gd name="connsiteY2752" fmla="*/ 353801 h 458350"/>
                  <a:gd name="connsiteX2753" fmla="*/ 511685 w 1253076"/>
                  <a:gd name="connsiteY2753" fmla="*/ 352286 h 458350"/>
                  <a:gd name="connsiteX2754" fmla="*/ 517140 w 1253076"/>
                  <a:gd name="connsiteY2754" fmla="*/ 350619 h 458350"/>
                  <a:gd name="connsiteX2755" fmla="*/ 516838 w 1253076"/>
                  <a:gd name="connsiteY2755" fmla="*/ 349861 h 458350"/>
                  <a:gd name="connsiteX2756" fmla="*/ 514110 w 1253076"/>
                  <a:gd name="connsiteY2756" fmla="*/ 347437 h 458350"/>
                  <a:gd name="connsiteX2757" fmla="*/ 489261 w 1253076"/>
                  <a:gd name="connsiteY2757" fmla="*/ 347588 h 458350"/>
                  <a:gd name="connsiteX2758" fmla="*/ 483806 w 1253076"/>
                  <a:gd name="connsiteY2758" fmla="*/ 348195 h 458350"/>
                  <a:gd name="connsiteX2759" fmla="*/ 481078 w 1253076"/>
                  <a:gd name="connsiteY2759" fmla="*/ 350922 h 458350"/>
                  <a:gd name="connsiteX2760" fmla="*/ 479866 w 1253076"/>
                  <a:gd name="connsiteY2760" fmla="*/ 352892 h 458350"/>
                  <a:gd name="connsiteX2761" fmla="*/ 480927 w 1253076"/>
                  <a:gd name="connsiteY2761" fmla="*/ 354710 h 458350"/>
                  <a:gd name="connsiteX2762" fmla="*/ 488503 w 1253076"/>
                  <a:gd name="connsiteY2762" fmla="*/ 356983 h 458350"/>
                  <a:gd name="connsiteX2763" fmla="*/ 556990 w 1253076"/>
                  <a:gd name="connsiteY2763" fmla="*/ 397136 h 458350"/>
                  <a:gd name="connsiteX2764" fmla="*/ 555324 w 1253076"/>
                  <a:gd name="connsiteY2764" fmla="*/ 398196 h 458350"/>
                  <a:gd name="connsiteX2765" fmla="*/ 555930 w 1253076"/>
                  <a:gd name="connsiteY2765" fmla="*/ 398954 h 458350"/>
                  <a:gd name="connsiteX2766" fmla="*/ 558202 w 1253076"/>
                  <a:gd name="connsiteY2766" fmla="*/ 400621 h 458350"/>
                  <a:gd name="connsiteX2767" fmla="*/ 558960 w 1253076"/>
                  <a:gd name="connsiteY2767" fmla="*/ 399712 h 458350"/>
                  <a:gd name="connsiteX2768" fmla="*/ 559112 w 1253076"/>
                  <a:gd name="connsiteY2768" fmla="*/ 398196 h 458350"/>
                  <a:gd name="connsiteX2769" fmla="*/ 557748 w 1253076"/>
                  <a:gd name="connsiteY2769" fmla="*/ 396984 h 458350"/>
                  <a:gd name="connsiteX2770" fmla="*/ 556990 w 1253076"/>
                  <a:gd name="connsiteY2770" fmla="*/ 397136 h 458350"/>
                  <a:gd name="connsiteX2771" fmla="*/ 88337 w 1253076"/>
                  <a:gd name="connsiteY2771" fmla="*/ 161218 h 458350"/>
                  <a:gd name="connsiteX2772" fmla="*/ 87276 w 1253076"/>
                  <a:gd name="connsiteY2772" fmla="*/ 160612 h 458350"/>
                  <a:gd name="connsiteX2773" fmla="*/ 85912 w 1253076"/>
                  <a:gd name="connsiteY2773" fmla="*/ 160763 h 458350"/>
                  <a:gd name="connsiteX2774" fmla="*/ 88791 w 1253076"/>
                  <a:gd name="connsiteY2774" fmla="*/ 166824 h 458350"/>
                  <a:gd name="connsiteX2775" fmla="*/ 88337 w 1253076"/>
                  <a:gd name="connsiteY2775" fmla="*/ 169097 h 458350"/>
                  <a:gd name="connsiteX2776" fmla="*/ 86822 w 1253076"/>
                  <a:gd name="connsiteY2776" fmla="*/ 171067 h 458350"/>
                  <a:gd name="connsiteX2777" fmla="*/ 86367 w 1253076"/>
                  <a:gd name="connsiteY2777" fmla="*/ 173491 h 458350"/>
                  <a:gd name="connsiteX2778" fmla="*/ 85609 w 1253076"/>
                  <a:gd name="connsiteY2778" fmla="*/ 175158 h 458350"/>
                  <a:gd name="connsiteX2779" fmla="*/ 88034 w 1253076"/>
                  <a:gd name="connsiteY2779" fmla="*/ 176370 h 458350"/>
                  <a:gd name="connsiteX2780" fmla="*/ 89701 w 1253076"/>
                  <a:gd name="connsiteY2780" fmla="*/ 175158 h 458350"/>
                  <a:gd name="connsiteX2781" fmla="*/ 91367 w 1253076"/>
                  <a:gd name="connsiteY2781" fmla="*/ 171067 h 458350"/>
                  <a:gd name="connsiteX2782" fmla="*/ 91973 w 1253076"/>
                  <a:gd name="connsiteY2782" fmla="*/ 167734 h 458350"/>
                  <a:gd name="connsiteX2783" fmla="*/ 90306 w 1253076"/>
                  <a:gd name="connsiteY2783" fmla="*/ 165309 h 458350"/>
                  <a:gd name="connsiteX2784" fmla="*/ 88337 w 1253076"/>
                  <a:gd name="connsiteY2784" fmla="*/ 161218 h 458350"/>
                  <a:gd name="connsiteX2785" fmla="*/ 191825 w 1253076"/>
                  <a:gd name="connsiteY2785" fmla="*/ 304557 h 458350"/>
                  <a:gd name="connsiteX2786" fmla="*/ 190613 w 1253076"/>
                  <a:gd name="connsiteY2786" fmla="*/ 304557 h 458350"/>
                  <a:gd name="connsiteX2787" fmla="*/ 189401 w 1253076"/>
                  <a:gd name="connsiteY2787" fmla="*/ 305617 h 458350"/>
                  <a:gd name="connsiteX2788" fmla="*/ 190007 w 1253076"/>
                  <a:gd name="connsiteY2788" fmla="*/ 306678 h 458350"/>
                  <a:gd name="connsiteX2789" fmla="*/ 194098 w 1253076"/>
                  <a:gd name="connsiteY2789" fmla="*/ 310011 h 458350"/>
                  <a:gd name="connsiteX2790" fmla="*/ 196371 w 1253076"/>
                  <a:gd name="connsiteY2790" fmla="*/ 309860 h 458350"/>
                  <a:gd name="connsiteX2791" fmla="*/ 197432 w 1253076"/>
                  <a:gd name="connsiteY2791" fmla="*/ 307890 h 458350"/>
                  <a:gd name="connsiteX2792" fmla="*/ 196522 w 1253076"/>
                  <a:gd name="connsiteY2792" fmla="*/ 306829 h 458350"/>
                  <a:gd name="connsiteX2793" fmla="*/ 191825 w 1253076"/>
                  <a:gd name="connsiteY2793" fmla="*/ 304557 h 458350"/>
                  <a:gd name="connsiteX2794" fmla="*/ 58790 w 1253076"/>
                  <a:gd name="connsiteY2794" fmla="*/ 104246 h 458350"/>
                  <a:gd name="connsiteX2795" fmla="*/ 58638 w 1253076"/>
                  <a:gd name="connsiteY2795" fmla="*/ 102276 h 458350"/>
                  <a:gd name="connsiteX2796" fmla="*/ 57578 w 1253076"/>
                  <a:gd name="connsiteY2796" fmla="*/ 100913 h 458350"/>
                  <a:gd name="connsiteX2797" fmla="*/ 56517 w 1253076"/>
                  <a:gd name="connsiteY2797" fmla="*/ 100458 h 458350"/>
                  <a:gd name="connsiteX2798" fmla="*/ 53941 w 1253076"/>
                  <a:gd name="connsiteY2798" fmla="*/ 100004 h 458350"/>
                  <a:gd name="connsiteX2799" fmla="*/ 52578 w 1253076"/>
                  <a:gd name="connsiteY2799" fmla="*/ 100458 h 458350"/>
                  <a:gd name="connsiteX2800" fmla="*/ 55760 w 1253076"/>
                  <a:gd name="connsiteY2800" fmla="*/ 101974 h 458350"/>
                  <a:gd name="connsiteX2801" fmla="*/ 58638 w 1253076"/>
                  <a:gd name="connsiteY2801" fmla="*/ 104852 h 458350"/>
                  <a:gd name="connsiteX2802" fmla="*/ 58790 w 1253076"/>
                  <a:gd name="connsiteY2802" fmla="*/ 104246 h 458350"/>
                  <a:gd name="connsiteX2803" fmla="*/ 110155 w 1253076"/>
                  <a:gd name="connsiteY2803" fmla="*/ 203038 h 458350"/>
                  <a:gd name="connsiteX2804" fmla="*/ 108034 w 1253076"/>
                  <a:gd name="connsiteY2804" fmla="*/ 199856 h 458350"/>
                  <a:gd name="connsiteX2805" fmla="*/ 108337 w 1253076"/>
                  <a:gd name="connsiteY2805" fmla="*/ 199250 h 458350"/>
                  <a:gd name="connsiteX2806" fmla="*/ 108034 w 1253076"/>
                  <a:gd name="connsiteY2806" fmla="*/ 198341 h 458350"/>
                  <a:gd name="connsiteX2807" fmla="*/ 107277 w 1253076"/>
                  <a:gd name="connsiteY2807" fmla="*/ 197129 h 458350"/>
                  <a:gd name="connsiteX2808" fmla="*/ 106216 w 1253076"/>
                  <a:gd name="connsiteY2808" fmla="*/ 194401 h 458350"/>
                  <a:gd name="connsiteX2809" fmla="*/ 103186 w 1253076"/>
                  <a:gd name="connsiteY2809" fmla="*/ 189401 h 458350"/>
                  <a:gd name="connsiteX2810" fmla="*/ 102579 w 1253076"/>
                  <a:gd name="connsiteY2810" fmla="*/ 186674 h 458350"/>
                  <a:gd name="connsiteX2811" fmla="*/ 100913 w 1253076"/>
                  <a:gd name="connsiteY2811" fmla="*/ 185613 h 458350"/>
                  <a:gd name="connsiteX2812" fmla="*/ 95610 w 1253076"/>
                  <a:gd name="connsiteY2812" fmla="*/ 187128 h 458350"/>
                  <a:gd name="connsiteX2813" fmla="*/ 93640 w 1253076"/>
                  <a:gd name="connsiteY2813" fmla="*/ 193341 h 458350"/>
                  <a:gd name="connsiteX2814" fmla="*/ 94398 w 1253076"/>
                  <a:gd name="connsiteY2814" fmla="*/ 195007 h 458350"/>
                  <a:gd name="connsiteX2815" fmla="*/ 99549 w 1253076"/>
                  <a:gd name="connsiteY2815" fmla="*/ 202583 h 458350"/>
                  <a:gd name="connsiteX2816" fmla="*/ 99852 w 1253076"/>
                  <a:gd name="connsiteY2816" fmla="*/ 204553 h 458350"/>
                  <a:gd name="connsiteX2817" fmla="*/ 101065 w 1253076"/>
                  <a:gd name="connsiteY2817" fmla="*/ 206068 h 458350"/>
                  <a:gd name="connsiteX2818" fmla="*/ 106519 w 1253076"/>
                  <a:gd name="connsiteY2818" fmla="*/ 209402 h 458350"/>
                  <a:gd name="connsiteX2819" fmla="*/ 109095 w 1253076"/>
                  <a:gd name="connsiteY2819" fmla="*/ 209250 h 458350"/>
                  <a:gd name="connsiteX2820" fmla="*/ 111974 w 1253076"/>
                  <a:gd name="connsiteY2820" fmla="*/ 208190 h 458350"/>
                  <a:gd name="connsiteX2821" fmla="*/ 111822 w 1253076"/>
                  <a:gd name="connsiteY2821" fmla="*/ 205159 h 458350"/>
                  <a:gd name="connsiteX2822" fmla="*/ 110155 w 1253076"/>
                  <a:gd name="connsiteY2822" fmla="*/ 203038 h 458350"/>
                  <a:gd name="connsiteX2823" fmla="*/ 144399 w 1253076"/>
                  <a:gd name="connsiteY2823" fmla="*/ 245464 h 458350"/>
                  <a:gd name="connsiteX2824" fmla="*/ 144551 w 1253076"/>
                  <a:gd name="connsiteY2824" fmla="*/ 243342 h 458350"/>
                  <a:gd name="connsiteX2825" fmla="*/ 144096 w 1253076"/>
                  <a:gd name="connsiteY2825" fmla="*/ 242282 h 458350"/>
                  <a:gd name="connsiteX2826" fmla="*/ 138339 w 1253076"/>
                  <a:gd name="connsiteY2826" fmla="*/ 236372 h 458350"/>
                  <a:gd name="connsiteX2827" fmla="*/ 136975 w 1253076"/>
                  <a:gd name="connsiteY2827" fmla="*/ 236372 h 458350"/>
                  <a:gd name="connsiteX2828" fmla="*/ 136520 w 1253076"/>
                  <a:gd name="connsiteY2828" fmla="*/ 237281 h 458350"/>
                  <a:gd name="connsiteX2829" fmla="*/ 137278 w 1253076"/>
                  <a:gd name="connsiteY2829" fmla="*/ 241827 h 458350"/>
                  <a:gd name="connsiteX2830" fmla="*/ 138793 w 1253076"/>
                  <a:gd name="connsiteY2830" fmla="*/ 243797 h 458350"/>
                  <a:gd name="connsiteX2831" fmla="*/ 140763 w 1253076"/>
                  <a:gd name="connsiteY2831" fmla="*/ 245312 h 458350"/>
                  <a:gd name="connsiteX2832" fmla="*/ 141217 w 1253076"/>
                  <a:gd name="connsiteY2832" fmla="*/ 246524 h 458350"/>
                  <a:gd name="connsiteX2833" fmla="*/ 141217 w 1253076"/>
                  <a:gd name="connsiteY2833" fmla="*/ 248494 h 458350"/>
                  <a:gd name="connsiteX2834" fmla="*/ 144399 w 1253076"/>
                  <a:gd name="connsiteY2834" fmla="*/ 251221 h 458350"/>
                  <a:gd name="connsiteX2835" fmla="*/ 143339 w 1253076"/>
                  <a:gd name="connsiteY2835" fmla="*/ 247282 h 458350"/>
                  <a:gd name="connsiteX2836" fmla="*/ 143642 w 1253076"/>
                  <a:gd name="connsiteY2836" fmla="*/ 246221 h 458350"/>
                  <a:gd name="connsiteX2837" fmla="*/ 144399 w 1253076"/>
                  <a:gd name="connsiteY2837" fmla="*/ 245464 h 458350"/>
                  <a:gd name="connsiteX2838" fmla="*/ 137278 w 1253076"/>
                  <a:gd name="connsiteY2838" fmla="*/ 233493 h 458350"/>
                  <a:gd name="connsiteX2839" fmla="*/ 132126 w 1253076"/>
                  <a:gd name="connsiteY2839" fmla="*/ 228948 h 458350"/>
                  <a:gd name="connsiteX2840" fmla="*/ 131520 w 1253076"/>
                  <a:gd name="connsiteY2840" fmla="*/ 229402 h 458350"/>
                  <a:gd name="connsiteX2841" fmla="*/ 131065 w 1253076"/>
                  <a:gd name="connsiteY2841" fmla="*/ 231221 h 458350"/>
                  <a:gd name="connsiteX2842" fmla="*/ 131065 w 1253076"/>
                  <a:gd name="connsiteY2842" fmla="*/ 231675 h 458350"/>
                  <a:gd name="connsiteX2843" fmla="*/ 131823 w 1253076"/>
                  <a:gd name="connsiteY2843" fmla="*/ 232736 h 458350"/>
                  <a:gd name="connsiteX2844" fmla="*/ 131672 w 1253076"/>
                  <a:gd name="connsiteY2844" fmla="*/ 236069 h 458350"/>
                  <a:gd name="connsiteX2845" fmla="*/ 132278 w 1253076"/>
                  <a:gd name="connsiteY2845" fmla="*/ 237433 h 458350"/>
                  <a:gd name="connsiteX2846" fmla="*/ 135460 w 1253076"/>
                  <a:gd name="connsiteY2846" fmla="*/ 237433 h 458350"/>
                  <a:gd name="connsiteX2847" fmla="*/ 137429 w 1253076"/>
                  <a:gd name="connsiteY2847" fmla="*/ 235312 h 458350"/>
                  <a:gd name="connsiteX2848" fmla="*/ 137278 w 1253076"/>
                  <a:gd name="connsiteY2848" fmla="*/ 233493 h 458350"/>
                  <a:gd name="connsiteX2849" fmla="*/ 126672 w 1253076"/>
                  <a:gd name="connsiteY2849" fmla="*/ 222736 h 458350"/>
                  <a:gd name="connsiteX2850" fmla="*/ 124398 w 1253076"/>
                  <a:gd name="connsiteY2850" fmla="*/ 219857 h 458350"/>
                  <a:gd name="connsiteX2851" fmla="*/ 123035 w 1253076"/>
                  <a:gd name="connsiteY2851" fmla="*/ 216675 h 458350"/>
                  <a:gd name="connsiteX2852" fmla="*/ 121217 w 1253076"/>
                  <a:gd name="connsiteY2852" fmla="*/ 215462 h 458350"/>
                  <a:gd name="connsiteX2853" fmla="*/ 119853 w 1253076"/>
                  <a:gd name="connsiteY2853" fmla="*/ 215766 h 458350"/>
                  <a:gd name="connsiteX2854" fmla="*/ 119550 w 1253076"/>
                  <a:gd name="connsiteY2854" fmla="*/ 216523 h 458350"/>
                  <a:gd name="connsiteX2855" fmla="*/ 119398 w 1253076"/>
                  <a:gd name="connsiteY2855" fmla="*/ 218341 h 458350"/>
                  <a:gd name="connsiteX2856" fmla="*/ 118792 w 1253076"/>
                  <a:gd name="connsiteY2856" fmla="*/ 219554 h 458350"/>
                  <a:gd name="connsiteX2857" fmla="*/ 120762 w 1253076"/>
                  <a:gd name="connsiteY2857" fmla="*/ 222129 h 458350"/>
                  <a:gd name="connsiteX2858" fmla="*/ 122884 w 1253076"/>
                  <a:gd name="connsiteY2858" fmla="*/ 222736 h 458350"/>
                  <a:gd name="connsiteX2859" fmla="*/ 127277 w 1253076"/>
                  <a:gd name="connsiteY2859" fmla="*/ 225160 h 458350"/>
                  <a:gd name="connsiteX2860" fmla="*/ 127126 w 1253076"/>
                  <a:gd name="connsiteY2860" fmla="*/ 224402 h 458350"/>
                  <a:gd name="connsiteX2861" fmla="*/ 126672 w 1253076"/>
                  <a:gd name="connsiteY2861" fmla="*/ 222736 h 458350"/>
                  <a:gd name="connsiteX2862" fmla="*/ 777150 w 1253076"/>
                  <a:gd name="connsiteY2862" fmla="*/ 391681 h 458350"/>
                  <a:gd name="connsiteX2863" fmla="*/ 778211 w 1253076"/>
                  <a:gd name="connsiteY2863" fmla="*/ 390166 h 458350"/>
                  <a:gd name="connsiteX2864" fmla="*/ 780029 w 1253076"/>
                  <a:gd name="connsiteY2864" fmla="*/ 390166 h 458350"/>
                  <a:gd name="connsiteX2865" fmla="*/ 782453 w 1253076"/>
                  <a:gd name="connsiteY2865" fmla="*/ 386681 h 458350"/>
                  <a:gd name="connsiteX2866" fmla="*/ 786241 w 1253076"/>
                  <a:gd name="connsiteY2866" fmla="*/ 385923 h 458350"/>
                  <a:gd name="connsiteX2867" fmla="*/ 785484 w 1253076"/>
                  <a:gd name="connsiteY2867" fmla="*/ 385014 h 458350"/>
                  <a:gd name="connsiteX2868" fmla="*/ 784120 w 1253076"/>
                  <a:gd name="connsiteY2868" fmla="*/ 384256 h 458350"/>
                  <a:gd name="connsiteX2869" fmla="*/ 782151 w 1253076"/>
                  <a:gd name="connsiteY2869" fmla="*/ 383650 h 458350"/>
                  <a:gd name="connsiteX2870" fmla="*/ 777302 w 1253076"/>
                  <a:gd name="connsiteY2870" fmla="*/ 386378 h 458350"/>
                  <a:gd name="connsiteX2871" fmla="*/ 776544 w 1253076"/>
                  <a:gd name="connsiteY2871" fmla="*/ 386378 h 458350"/>
                  <a:gd name="connsiteX2872" fmla="*/ 775332 w 1253076"/>
                  <a:gd name="connsiteY2872" fmla="*/ 385620 h 458350"/>
                  <a:gd name="connsiteX2873" fmla="*/ 773816 w 1253076"/>
                  <a:gd name="connsiteY2873" fmla="*/ 385620 h 458350"/>
                  <a:gd name="connsiteX2874" fmla="*/ 771544 w 1253076"/>
                  <a:gd name="connsiteY2874" fmla="*/ 385923 h 458350"/>
                  <a:gd name="connsiteX2875" fmla="*/ 771696 w 1253076"/>
                  <a:gd name="connsiteY2875" fmla="*/ 386529 h 458350"/>
                  <a:gd name="connsiteX2876" fmla="*/ 772453 w 1253076"/>
                  <a:gd name="connsiteY2876" fmla="*/ 386832 h 458350"/>
                  <a:gd name="connsiteX2877" fmla="*/ 773816 w 1253076"/>
                  <a:gd name="connsiteY2877" fmla="*/ 387135 h 458350"/>
                  <a:gd name="connsiteX2878" fmla="*/ 773210 w 1253076"/>
                  <a:gd name="connsiteY2878" fmla="*/ 388044 h 458350"/>
                  <a:gd name="connsiteX2879" fmla="*/ 769726 w 1253076"/>
                  <a:gd name="connsiteY2879" fmla="*/ 390317 h 458350"/>
                  <a:gd name="connsiteX2880" fmla="*/ 767149 w 1253076"/>
                  <a:gd name="connsiteY2880" fmla="*/ 392893 h 458350"/>
                  <a:gd name="connsiteX2881" fmla="*/ 767756 w 1253076"/>
                  <a:gd name="connsiteY2881" fmla="*/ 393045 h 458350"/>
                  <a:gd name="connsiteX2882" fmla="*/ 769877 w 1253076"/>
                  <a:gd name="connsiteY2882" fmla="*/ 392893 h 458350"/>
                  <a:gd name="connsiteX2883" fmla="*/ 772150 w 1253076"/>
                  <a:gd name="connsiteY2883" fmla="*/ 394257 h 458350"/>
                  <a:gd name="connsiteX2884" fmla="*/ 772756 w 1253076"/>
                  <a:gd name="connsiteY2884" fmla="*/ 393954 h 458350"/>
                  <a:gd name="connsiteX2885" fmla="*/ 774271 w 1253076"/>
                  <a:gd name="connsiteY2885" fmla="*/ 392742 h 458350"/>
                  <a:gd name="connsiteX2886" fmla="*/ 776089 w 1253076"/>
                  <a:gd name="connsiteY2886" fmla="*/ 393651 h 458350"/>
                  <a:gd name="connsiteX2887" fmla="*/ 776847 w 1253076"/>
                  <a:gd name="connsiteY2887" fmla="*/ 393045 h 458350"/>
                  <a:gd name="connsiteX2888" fmla="*/ 776999 w 1253076"/>
                  <a:gd name="connsiteY2888" fmla="*/ 392439 h 458350"/>
                  <a:gd name="connsiteX2889" fmla="*/ 776847 w 1253076"/>
                  <a:gd name="connsiteY2889" fmla="*/ 391832 h 458350"/>
                  <a:gd name="connsiteX2890" fmla="*/ 777150 w 1253076"/>
                  <a:gd name="connsiteY2890" fmla="*/ 391681 h 458350"/>
                  <a:gd name="connsiteX2891" fmla="*/ 730027 w 1253076"/>
                  <a:gd name="connsiteY2891" fmla="*/ 445471 h 458350"/>
                  <a:gd name="connsiteX2892" fmla="*/ 728058 w 1253076"/>
                  <a:gd name="connsiteY2892" fmla="*/ 447289 h 458350"/>
                  <a:gd name="connsiteX2893" fmla="*/ 725481 w 1253076"/>
                  <a:gd name="connsiteY2893" fmla="*/ 448653 h 458350"/>
                  <a:gd name="connsiteX2894" fmla="*/ 726088 w 1253076"/>
                  <a:gd name="connsiteY2894" fmla="*/ 449107 h 458350"/>
                  <a:gd name="connsiteX2895" fmla="*/ 728967 w 1253076"/>
                  <a:gd name="connsiteY2895" fmla="*/ 449865 h 458350"/>
                  <a:gd name="connsiteX2896" fmla="*/ 730330 w 1253076"/>
                  <a:gd name="connsiteY2896" fmla="*/ 449562 h 458350"/>
                  <a:gd name="connsiteX2897" fmla="*/ 733057 w 1253076"/>
                  <a:gd name="connsiteY2897" fmla="*/ 447895 h 458350"/>
                  <a:gd name="connsiteX2898" fmla="*/ 733512 w 1253076"/>
                  <a:gd name="connsiteY2898" fmla="*/ 445622 h 458350"/>
                  <a:gd name="connsiteX2899" fmla="*/ 732148 w 1253076"/>
                  <a:gd name="connsiteY2899" fmla="*/ 445168 h 458350"/>
                  <a:gd name="connsiteX2900" fmla="*/ 730027 w 1253076"/>
                  <a:gd name="connsiteY2900" fmla="*/ 445471 h 458350"/>
                  <a:gd name="connsiteX2901" fmla="*/ 557142 w 1253076"/>
                  <a:gd name="connsiteY2901" fmla="*/ 384256 h 458350"/>
                  <a:gd name="connsiteX2902" fmla="*/ 554414 w 1253076"/>
                  <a:gd name="connsiteY2902" fmla="*/ 382741 h 458350"/>
                  <a:gd name="connsiteX2903" fmla="*/ 551536 w 1253076"/>
                  <a:gd name="connsiteY2903" fmla="*/ 381681 h 458350"/>
                  <a:gd name="connsiteX2904" fmla="*/ 547445 w 1253076"/>
                  <a:gd name="connsiteY2904" fmla="*/ 380317 h 458350"/>
                  <a:gd name="connsiteX2905" fmla="*/ 546384 w 1253076"/>
                  <a:gd name="connsiteY2905" fmla="*/ 380317 h 458350"/>
                  <a:gd name="connsiteX2906" fmla="*/ 542141 w 1253076"/>
                  <a:gd name="connsiteY2906" fmla="*/ 383347 h 458350"/>
                  <a:gd name="connsiteX2907" fmla="*/ 540475 w 1253076"/>
                  <a:gd name="connsiteY2907" fmla="*/ 383650 h 458350"/>
                  <a:gd name="connsiteX2908" fmla="*/ 537596 w 1253076"/>
                  <a:gd name="connsiteY2908" fmla="*/ 383499 h 458350"/>
                  <a:gd name="connsiteX2909" fmla="*/ 531838 w 1253076"/>
                  <a:gd name="connsiteY2909" fmla="*/ 381984 h 458350"/>
                  <a:gd name="connsiteX2910" fmla="*/ 528656 w 1253076"/>
                  <a:gd name="connsiteY2910" fmla="*/ 381681 h 458350"/>
                  <a:gd name="connsiteX2911" fmla="*/ 527898 w 1253076"/>
                  <a:gd name="connsiteY2911" fmla="*/ 381832 h 458350"/>
                  <a:gd name="connsiteX2912" fmla="*/ 527747 w 1253076"/>
                  <a:gd name="connsiteY2912" fmla="*/ 383044 h 458350"/>
                  <a:gd name="connsiteX2913" fmla="*/ 528050 w 1253076"/>
                  <a:gd name="connsiteY2913" fmla="*/ 384408 h 458350"/>
                  <a:gd name="connsiteX2914" fmla="*/ 528656 w 1253076"/>
                  <a:gd name="connsiteY2914" fmla="*/ 385620 h 458350"/>
                  <a:gd name="connsiteX2915" fmla="*/ 530474 w 1253076"/>
                  <a:gd name="connsiteY2915" fmla="*/ 387893 h 458350"/>
                  <a:gd name="connsiteX2916" fmla="*/ 531686 w 1253076"/>
                  <a:gd name="connsiteY2916" fmla="*/ 388802 h 458350"/>
                  <a:gd name="connsiteX2917" fmla="*/ 534869 w 1253076"/>
                  <a:gd name="connsiteY2917" fmla="*/ 389257 h 458350"/>
                  <a:gd name="connsiteX2918" fmla="*/ 537899 w 1253076"/>
                  <a:gd name="connsiteY2918" fmla="*/ 390166 h 458350"/>
                  <a:gd name="connsiteX2919" fmla="*/ 540929 w 1253076"/>
                  <a:gd name="connsiteY2919" fmla="*/ 391984 h 458350"/>
                  <a:gd name="connsiteX2920" fmla="*/ 543808 w 1253076"/>
                  <a:gd name="connsiteY2920" fmla="*/ 394105 h 458350"/>
                  <a:gd name="connsiteX2921" fmla="*/ 545172 w 1253076"/>
                  <a:gd name="connsiteY2921" fmla="*/ 395621 h 458350"/>
                  <a:gd name="connsiteX2922" fmla="*/ 546081 w 1253076"/>
                  <a:gd name="connsiteY2922" fmla="*/ 397439 h 458350"/>
                  <a:gd name="connsiteX2923" fmla="*/ 546081 w 1253076"/>
                  <a:gd name="connsiteY2923" fmla="*/ 399409 h 458350"/>
                  <a:gd name="connsiteX2924" fmla="*/ 544717 w 1253076"/>
                  <a:gd name="connsiteY2924" fmla="*/ 401075 h 458350"/>
                  <a:gd name="connsiteX2925" fmla="*/ 546233 w 1253076"/>
                  <a:gd name="connsiteY2925" fmla="*/ 401681 h 458350"/>
                  <a:gd name="connsiteX2926" fmla="*/ 547596 w 1253076"/>
                  <a:gd name="connsiteY2926" fmla="*/ 401378 h 458350"/>
                  <a:gd name="connsiteX2927" fmla="*/ 548354 w 1253076"/>
                  <a:gd name="connsiteY2927" fmla="*/ 400924 h 458350"/>
                  <a:gd name="connsiteX2928" fmla="*/ 548808 w 1253076"/>
                  <a:gd name="connsiteY2928" fmla="*/ 400318 h 458350"/>
                  <a:gd name="connsiteX2929" fmla="*/ 549112 w 1253076"/>
                  <a:gd name="connsiteY2929" fmla="*/ 399257 h 458350"/>
                  <a:gd name="connsiteX2930" fmla="*/ 550475 w 1253076"/>
                  <a:gd name="connsiteY2930" fmla="*/ 396681 h 458350"/>
                  <a:gd name="connsiteX2931" fmla="*/ 551536 w 1253076"/>
                  <a:gd name="connsiteY2931" fmla="*/ 395318 h 458350"/>
                  <a:gd name="connsiteX2932" fmla="*/ 557748 w 1253076"/>
                  <a:gd name="connsiteY2932" fmla="*/ 392590 h 458350"/>
                  <a:gd name="connsiteX2933" fmla="*/ 560476 w 1253076"/>
                  <a:gd name="connsiteY2933" fmla="*/ 390772 h 458350"/>
                  <a:gd name="connsiteX2934" fmla="*/ 561687 w 1253076"/>
                  <a:gd name="connsiteY2934" fmla="*/ 389711 h 458350"/>
                  <a:gd name="connsiteX2935" fmla="*/ 561385 w 1253076"/>
                  <a:gd name="connsiteY2935" fmla="*/ 388499 h 458350"/>
                  <a:gd name="connsiteX2936" fmla="*/ 557142 w 1253076"/>
                  <a:gd name="connsiteY2936" fmla="*/ 384256 h 458350"/>
                  <a:gd name="connsiteX2937" fmla="*/ 698056 w 1253076"/>
                  <a:gd name="connsiteY2937" fmla="*/ 430773 h 458350"/>
                  <a:gd name="connsiteX2938" fmla="*/ 696238 w 1253076"/>
                  <a:gd name="connsiteY2938" fmla="*/ 428046 h 458350"/>
                  <a:gd name="connsiteX2939" fmla="*/ 694117 w 1253076"/>
                  <a:gd name="connsiteY2939" fmla="*/ 425622 h 458350"/>
                  <a:gd name="connsiteX2940" fmla="*/ 692753 w 1253076"/>
                  <a:gd name="connsiteY2940" fmla="*/ 424410 h 458350"/>
                  <a:gd name="connsiteX2941" fmla="*/ 691087 w 1253076"/>
                  <a:gd name="connsiteY2941" fmla="*/ 423652 h 458350"/>
                  <a:gd name="connsiteX2942" fmla="*/ 688965 w 1253076"/>
                  <a:gd name="connsiteY2942" fmla="*/ 423955 h 458350"/>
                  <a:gd name="connsiteX2943" fmla="*/ 686995 w 1253076"/>
                  <a:gd name="connsiteY2943" fmla="*/ 423803 h 458350"/>
                  <a:gd name="connsiteX2944" fmla="*/ 686086 w 1253076"/>
                  <a:gd name="connsiteY2944" fmla="*/ 422591 h 458350"/>
                  <a:gd name="connsiteX2945" fmla="*/ 685783 w 1253076"/>
                  <a:gd name="connsiteY2945" fmla="*/ 420924 h 458350"/>
                  <a:gd name="connsiteX2946" fmla="*/ 685025 w 1253076"/>
                  <a:gd name="connsiteY2946" fmla="*/ 419864 h 458350"/>
                  <a:gd name="connsiteX2947" fmla="*/ 680480 w 1253076"/>
                  <a:gd name="connsiteY2947" fmla="*/ 417440 h 458350"/>
                  <a:gd name="connsiteX2948" fmla="*/ 679267 w 1253076"/>
                  <a:gd name="connsiteY2948" fmla="*/ 416227 h 458350"/>
                  <a:gd name="connsiteX2949" fmla="*/ 678207 w 1253076"/>
                  <a:gd name="connsiteY2949" fmla="*/ 414712 h 458350"/>
                  <a:gd name="connsiteX2950" fmla="*/ 677298 w 1253076"/>
                  <a:gd name="connsiteY2950" fmla="*/ 414106 h 458350"/>
                  <a:gd name="connsiteX2951" fmla="*/ 674874 w 1253076"/>
                  <a:gd name="connsiteY2951" fmla="*/ 415773 h 458350"/>
                  <a:gd name="connsiteX2952" fmla="*/ 673359 w 1253076"/>
                  <a:gd name="connsiteY2952" fmla="*/ 416379 h 458350"/>
                  <a:gd name="connsiteX2953" fmla="*/ 668358 w 1253076"/>
                  <a:gd name="connsiteY2953" fmla="*/ 415621 h 458350"/>
                  <a:gd name="connsiteX2954" fmla="*/ 663206 w 1253076"/>
                  <a:gd name="connsiteY2954" fmla="*/ 416076 h 458350"/>
                  <a:gd name="connsiteX2955" fmla="*/ 659722 w 1253076"/>
                  <a:gd name="connsiteY2955" fmla="*/ 416076 h 458350"/>
                  <a:gd name="connsiteX2956" fmla="*/ 656691 w 1253076"/>
                  <a:gd name="connsiteY2956" fmla="*/ 416530 h 458350"/>
                  <a:gd name="connsiteX2957" fmla="*/ 652449 w 1253076"/>
                  <a:gd name="connsiteY2957" fmla="*/ 418046 h 458350"/>
                  <a:gd name="connsiteX2958" fmla="*/ 651388 w 1253076"/>
                  <a:gd name="connsiteY2958" fmla="*/ 418955 h 458350"/>
                  <a:gd name="connsiteX2959" fmla="*/ 650479 w 1253076"/>
                  <a:gd name="connsiteY2959" fmla="*/ 420318 h 458350"/>
                  <a:gd name="connsiteX2960" fmla="*/ 650933 w 1253076"/>
                  <a:gd name="connsiteY2960" fmla="*/ 421834 h 458350"/>
                  <a:gd name="connsiteX2961" fmla="*/ 651842 w 1253076"/>
                  <a:gd name="connsiteY2961" fmla="*/ 423197 h 458350"/>
                  <a:gd name="connsiteX2962" fmla="*/ 652751 w 1253076"/>
                  <a:gd name="connsiteY2962" fmla="*/ 424561 h 458350"/>
                  <a:gd name="connsiteX2963" fmla="*/ 653964 w 1253076"/>
                  <a:gd name="connsiteY2963" fmla="*/ 425622 h 458350"/>
                  <a:gd name="connsiteX2964" fmla="*/ 661540 w 1253076"/>
                  <a:gd name="connsiteY2964" fmla="*/ 427440 h 458350"/>
                  <a:gd name="connsiteX2965" fmla="*/ 663055 w 1253076"/>
                  <a:gd name="connsiteY2965" fmla="*/ 427440 h 458350"/>
                  <a:gd name="connsiteX2966" fmla="*/ 664570 w 1253076"/>
                  <a:gd name="connsiteY2966" fmla="*/ 427137 h 458350"/>
                  <a:gd name="connsiteX2967" fmla="*/ 668207 w 1253076"/>
                  <a:gd name="connsiteY2967" fmla="*/ 427440 h 458350"/>
                  <a:gd name="connsiteX2968" fmla="*/ 673965 w 1253076"/>
                  <a:gd name="connsiteY2968" fmla="*/ 431379 h 458350"/>
                  <a:gd name="connsiteX2969" fmla="*/ 677147 w 1253076"/>
                  <a:gd name="connsiteY2969" fmla="*/ 432743 h 458350"/>
                  <a:gd name="connsiteX2970" fmla="*/ 678965 w 1253076"/>
                  <a:gd name="connsiteY2970" fmla="*/ 434713 h 458350"/>
                  <a:gd name="connsiteX2971" fmla="*/ 680480 w 1253076"/>
                  <a:gd name="connsiteY2971" fmla="*/ 436986 h 458350"/>
                  <a:gd name="connsiteX2972" fmla="*/ 683055 w 1253076"/>
                  <a:gd name="connsiteY2972" fmla="*/ 439107 h 458350"/>
                  <a:gd name="connsiteX2973" fmla="*/ 686086 w 1253076"/>
                  <a:gd name="connsiteY2973" fmla="*/ 440319 h 458350"/>
                  <a:gd name="connsiteX2974" fmla="*/ 689874 w 1253076"/>
                  <a:gd name="connsiteY2974" fmla="*/ 440925 h 458350"/>
                  <a:gd name="connsiteX2975" fmla="*/ 691087 w 1253076"/>
                  <a:gd name="connsiteY2975" fmla="*/ 441834 h 458350"/>
                  <a:gd name="connsiteX2976" fmla="*/ 694420 w 1253076"/>
                  <a:gd name="connsiteY2976" fmla="*/ 440168 h 458350"/>
                  <a:gd name="connsiteX2977" fmla="*/ 696541 w 1253076"/>
                  <a:gd name="connsiteY2977" fmla="*/ 440016 h 458350"/>
                  <a:gd name="connsiteX2978" fmla="*/ 698056 w 1253076"/>
                  <a:gd name="connsiteY2978" fmla="*/ 439410 h 458350"/>
                  <a:gd name="connsiteX2979" fmla="*/ 700935 w 1253076"/>
                  <a:gd name="connsiteY2979" fmla="*/ 436683 h 458350"/>
                  <a:gd name="connsiteX2980" fmla="*/ 701693 w 1253076"/>
                  <a:gd name="connsiteY2980" fmla="*/ 434713 h 458350"/>
                  <a:gd name="connsiteX2981" fmla="*/ 700329 w 1253076"/>
                  <a:gd name="connsiteY2981" fmla="*/ 432440 h 458350"/>
                  <a:gd name="connsiteX2982" fmla="*/ 698056 w 1253076"/>
                  <a:gd name="connsiteY2982" fmla="*/ 430773 h 458350"/>
                  <a:gd name="connsiteX2983" fmla="*/ 771544 w 1253076"/>
                  <a:gd name="connsiteY2983" fmla="*/ 448956 h 458350"/>
                  <a:gd name="connsiteX2984" fmla="*/ 771241 w 1253076"/>
                  <a:gd name="connsiteY2984" fmla="*/ 446380 h 458350"/>
                  <a:gd name="connsiteX2985" fmla="*/ 770937 w 1253076"/>
                  <a:gd name="connsiteY2985" fmla="*/ 446380 h 458350"/>
                  <a:gd name="connsiteX2986" fmla="*/ 770483 w 1253076"/>
                  <a:gd name="connsiteY2986" fmla="*/ 446683 h 458350"/>
                  <a:gd name="connsiteX2987" fmla="*/ 768513 w 1253076"/>
                  <a:gd name="connsiteY2987" fmla="*/ 447592 h 458350"/>
                  <a:gd name="connsiteX2988" fmla="*/ 765180 w 1253076"/>
                  <a:gd name="connsiteY2988" fmla="*/ 450926 h 458350"/>
                  <a:gd name="connsiteX2989" fmla="*/ 762907 w 1253076"/>
                  <a:gd name="connsiteY2989" fmla="*/ 452592 h 458350"/>
                  <a:gd name="connsiteX2990" fmla="*/ 756998 w 1253076"/>
                  <a:gd name="connsiteY2990" fmla="*/ 454259 h 458350"/>
                  <a:gd name="connsiteX2991" fmla="*/ 756240 w 1253076"/>
                  <a:gd name="connsiteY2991" fmla="*/ 455623 h 458350"/>
                  <a:gd name="connsiteX2992" fmla="*/ 756392 w 1253076"/>
                  <a:gd name="connsiteY2992" fmla="*/ 458047 h 458350"/>
                  <a:gd name="connsiteX2993" fmla="*/ 757149 w 1253076"/>
                  <a:gd name="connsiteY2993" fmla="*/ 458350 h 458350"/>
                  <a:gd name="connsiteX2994" fmla="*/ 759725 w 1253076"/>
                  <a:gd name="connsiteY2994" fmla="*/ 458350 h 458350"/>
                  <a:gd name="connsiteX2995" fmla="*/ 761241 w 1253076"/>
                  <a:gd name="connsiteY2995" fmla="*/ 457441 h 458350"/>
                  <a:gd name="connsiteX2996" fmla="*/ 766999 w 1253076"/>
                  <a:gd name="connsiteY2996" fmla="*/ 455471 h 458350"/>
                  <a:gd name="connsiteX2997" fmla="*/ 769574 w 1253076"/>
                  <a:gd name="connsiteY2997" fmla="*/ 452441 h 458350"/>
                  <a:gd name="connsiteX2998" fmla="*/ 772453 w 1253076"/>
                  <a:gd name="connsiteY2998" fmla="*/ 451077 h 458350"/>
                  <a:gd name="connsiteX2999" fmla="*/ 772301 w 1253076"/>
                  <a:gd name="connsiteY2999" fmla="*/ 450319 h 458350"/>
                  <a:gd name="connsiteX3000" fmla="*/ 771544 w 1253076"/>
                  <a:gd name="connsiteY3000" fmla="*/ 448956 h 458350"/>
                  <a:gd name="connsiteX3001" fmla="*/ 651691 w 1253076"/>
                  <a:gd name="connsiteY3001" fmla="*/ 399106 h 458350"/>
                  <a:gd name="connsiteX3002" fmla="*/ 653660 w 1253076"/>
                  <a:gd name="connsiteY3002" fmla="*/ 398651 h 458350"/>
                  <a:gd name="connsiteX3003" fmla="*/ 654419 w 1253076"/>
                  <a:gd name="connsiteY3003" fmla="*/ 398045 h 458350"/>
                  <a:gd name="connsiteX3004" fmla="*/ 655176 w 1253076"/>
                  <a:gd name="connsiteY3004" fmla="*/ 396833 h 458350"/>
                  <a:gd name="connsiteX3005" fmla="*/ 654419 w 1253076"/>
                  <a:gd name="connsiteY3005" fmla="*/ 395772 h 458350"/>
                  <a:gd name="connsiteX3006" fmla="*/ 653358 w 1253076"/>
                  <a:gd name="connsiteY3006" fmla="*/ 395015 h 458350"/>
                  <a:gd name="connsiteX3007" fmla="*/ 652751 w 1253076"/>
                  <a:gd name="connsiteY3007" fmla="*/ 393954 h 458350"/>
                  <a:gd name="connsiteX3008" fmla="*/ 652751 w 1253076"/>
                  <a:gd name="connsiteY3008" fmla="*/ 391075 h 458350"/>
                  <a:gd name="connsiteX3009" fmla="*/ 651236 w 1253076"/>
                  <a:gd name="connsiteY3009" fmla="*/ 387893 h 458350"/>
                  <a:gd name="connsiteX3010" fmla="*/ 649570 w 1253076"/>
                  <a:gd name="connsiteY3010" fmla="*/ 386832 h 458350"/>
                  <a:gd name="connsiteX3011" fmla="*/ 647297 w 1253076"/>
                  <a:gd name="connsiteY3011" fmla="*/ 386681 h 458350"/>
                  <a:gd name="connsiteX3012" fmla="*/ 645933 w 1253076"/>
                  <a:gd name="connsiteY3012" fmla="*/ 386984 h 458350"/>
                  <a:gd name="connsiteX3013" fmla="*/ 644721 w 1253076"/>
                  <a:gd name="connsiteY3013" fmla="*/ 387742 h 458350"/>
                  <a:gd name="connsiteX3014" fmla="*/ 643812 w 1253076"/>
                  <a:gd name="connsiteY3014" fmla="*/ 390014 h 458350"/>
                  <a:gd name="connsiteX3015" fmla="*/ 643205 w 1253076"/>
                  <a:gd name="connsiteY3015" fmla="*/ 389408 h 458350"/>
                  <a:gd name="connsiteX3016" fmla="*/ 642600 w 1253076"/>
                  <a:gd name="connsiteY3016" fmla="*/ 387438 h 458350"/>
                  <a:gd name="connsiteX3017" fmla="*/ 640933 w 1253076"/>
                  <a:gd name="connsiteY3017" fmla="*/ 386226 h 458350"/>
                  <a:gd name="connsiteX3018" fmla="*/ 639267 w 1253076"/>
                  <a:gd name="connsiteY3018" fmla="*/ 385923 h 458350"/>
                  <a:gd name="connsiteX3019" fmla="*/ 637599 w 1253076"/>
                  <a:gd name="connsiteY3019" fmla="*/ 385923 h 458350"/>
                  <a:gd name="connsiteX3020" fmla="*/ 636084 w 1253076"/>
                  <a:gd name="connsiteY3020" fmla="*/ 386529 h 458350"/>
                  <a:gd name="connsiteX3021" fmla="*/ 633509 w 1253076"/>
                  <a:gd name="connsiteY3021" fmla="*/ 388196 h 458350"/>
                  <a:gd name="connsiteX3022" fmla="*/ 632296 w 1253076"/>
                  <a:gd name="connsiteY3022" fmla="*/ 388348 h 458350"/>
                  <a:gd name="connsiteX3023" fmla="*/ 630932 w 1253076"/>
                  <a:gd name="connsiteY3023" fmla="*/ 387287 h 458350"/>
                  <a:gd name="connsiteX3024" fmla="*/ 629872 w 1253076"/>
                  <a:gd name="connsiteY3024" fmla="*/ 385923 h 458350"/>
                  <a:gd name="connsiteX3025" fmla="*/ 628508 w 1253076"/>
                  <a:gd name="connsiteY3025" fmla="*/ 382741 h 458350"/>
                  <a:gd name="connsiteX3026" fmla="*/ 627599 w 1253076"/>
                  <a:gd name="connsiteY3026" fmla="*/ 381984 h 458350"/>
                  <a:gd name="connsiteX3027" fmla="*/ 622295 w 1253076"/>
                  <a:gd name="connsiteY3027" fmla="*/ 381075 h 458350"/>
                  <a:gd name="connsiteX3028" fmla="*/ 620781 w 1253076"/>
                  <a:gd name="connsiteY3028" fmla="*/ 381378 h 458350"/>
                  <a:gd name="connsiteX3029" fmla="*/ 617750 w 1253076"/>
                  <a:gd name="connsiteY3029" fmla="*/ 382741 h 458350"/>
                  <a:gd name="connsiteX3030" fmla="*/ 617296 w 1253076"/>
                  <a:gd name="connsiteY3030" fmla="*/ 384256 h 458350"/>
                  <a:gd name="connsiteX3031" fmla="*/ 618053 w 1253076"/>
                  <a:gd name="connsiteY3031" fmla="*/ 386226 h 458350"/>
                  <a:gd name="connsiteX3032" fmla="*/ 619417 w 1253076"/>
                  <a:gd name="connsiteY3032" fmla="*/ 387893 h 458350"/>
                  <a:gd name="connsiteX3033" fmla="*/ 623963 w 1253076"/>
                  <a:gd name="connsiteY3033" fmla="*/ 391075 h 458350"/>
                  <a:gd name="connsiteX3034" fmla="*/ 625024 w 1253076"/>
                  <a:gd name="connsiteY3034" fmla="*/ 391378 h 458350"/>
                  <a:gd name="connsiteX3035" fmla="*/ 626235 w 1253076"/>
                  <a:gd name="connsiteY3035" fmla="*/ 391227 h 458350"/>
                  <a:gd name="connsiteX3036" fmla="*/ 627296 w 1253076"/>
                  <a:gd name="connsiteY3036" fmla="*/ 391530 h 458350"/>
                  <a:gd name="connsiteX3037" fmla="*/ 629266 w 1253076"/>
                  <a:gd name="connsiteY3037" fmla="*/ 392893 h 458350"/>
                  <a:gd name="connsiteX3038" fmla="*/ 630932 w 1253076"/>
                  <a:gd name="connsiteY3038" fmla="*/ 394711 h 458350"/>
                  <a:gd name="connsiteX3039" fmla="*/ 630175 w 1253076"/>
                  <a:gd name="connsiteY3039" fmla="*/ 396378 h 458350"/>
                  <a:gd name="connsiteX3040" fmla="*/ 627448 w 1253076"/>
                  <a:gd name="connsiteY3040" fmla="*/ 396378 h 458350"/>
                  <a:gd name="connsiteX3041" fmla="*/ 623811 w 1253076"/>
                  <a:gd name="connsiteY3041" fmla="*/ 398499 h 458350"/>
                  <a:gd name="connsiteX3042" fmla="*/ 621690 w 1253076"/>
                  <a:gd name="connsiteY3042" fmla="*/ 397893 h 458350"/>
                  <a:gd name="connsiteX3043" fmla="*/ 619266 w 1253076"/>
                  <a:gd name="connsiteY3043" fmla="*/ 398045 h 458350"/>
                  <a:gd name="connsiteX3044" fmla="*/ 616689 w 1253076"/>
                  <a:gd name="connsiteY3044" fmla="*/ 394560 h 458350"/>
                  <a:gd name="connsiteX3045" fmla="*/ 615629 w 1253076"/>
                  <a:gd name="connsiteY3045" fmla="*/ 394105 h 458350"/>
                  <a:gd name="connsiteX3046" fmla="*/ 614871 w 1253076"/>
                  <a:gd name="connsiteY3046" fmla="*/ 393348 h 458350"/>
                  <a:gd name="connsiteX3047" fmla="*/ 614265 w 1253076"/>
                  <a:gd name="connsiteY3047" fmla="*/ 391227 h 458350"/>
                  <a:gd name="connsiteX3048" fmla="*/ 612751 w 1253076"/>
                  <a:gd name="connsiteY3048" fmla="*/ 390317 h 458350"/>
                  <a:gd name="connsiteX3049" fmla="*/ 609113 w 1253076"/>
                  <a:gd name="connsiteY3049" fmla="*/ 390620 h 458350"/>
                  <a:gd name="connsiteX3050" fmla="*/ 606993 w 1253076"/>
                  <a:gd name="connsiteY3050" fmla="*/ 390469 h 458350"/>
                  <a:gd name="connsiteX3051" fmla="*/ 603355 w 1253076"/>
                  <a:gd name="connsiteY3051" fmla="*/ 388954 h 458350"/>
                  <a:gd name="connsiteX3052" fmla="*/ 601689 w 1253076"/>
                  <a:gd name="connsiteY3052" fmla="*/ 388802 h 458350"/>
                  <a:gd name="connsiteX3053" fmla="*/ 598962 w 1253076"/>
                  <a:gd name="connsiteY3053" fmla="*/ 390923 h 458350"/>
                  <a:gd name="connsiteX3054" fmla="*/ 595931 w 1253076"/>
                  <a:gd name="connsiteY3054" fmla="*/ 392590 h 458350"/>
                  <a:gd name="connsiteX3055" fmla="*/ 594113 w 1253076"/>
                  <a:gd name="connsiteY3055" fmla="*/ 392742 h 458350"/>
                  <a:gd name="connsiteX3056" fmla="*/ 592750 w 1253076"/>
                  <a:gd name="connsiteY3056" fmla="*/ 393348 h 458350"/>
                  <a:gd name="connsiteX3057" fmla="*/ 591841 w 1253076"/>
                  <a:gd name="connsiteY3057" fmla="*/ 395166 h 458350"/>
                  <a:gd name="connsiteX3058" fmla="*/ 591386 w 1253076"/>
                  <a:gd name="connsiteY3058" fmla="*/ 396984 h 458350"/>
                  <a:gd name="connsiteX3059" fmla="*/ 591991 w 1253076"/>
                  <a:gd name="connsiteY3059" fmla="*/ 400924 h 458350"/>
                  <a:gd name="connsiteX3060" fmla="*/ 591082 w 1253076"/>
                  <a:gd name="connsiteY3060" fmla="*/ 403197 h 458350"/>
                  <a:gd name="connsiteX3061" fmla="*/ 590931 w 1253076"/>
                  <a:gd name="connsiteY3061" fmla="*/ 404863 h 458350"/>
                  <a:gd name="connsiteX3062" fmla="*/ 591537 w 1253076"/>
                  <a:gd name="connsiteY3062" fmla="*/ 406227 h 458350"/>
                  <a:gd name="connsiteX3063" fmla="*/ 593810 w 1253076"/>
                  <a:gd name="connsiteY3063" fmla="*/ 407288 h 458350"/>
                  <a:gd name="connsiteX3064" fmla="*/ 596234 w 1253076"/>
                  <a:gd name="connsiteY3064" fmla="*/ 408045 h 458350"/>
                  <a:gd name="connsiteX3065" fmla="*/ 599113 w 1253076"/>
                  <a:gd name="connsiteY3065" fmla="*/ 408651 h 458350"/>
                  <a:gd name="connsiteX3066" fmla="*/ 601841 w 1253076"/>
                  <a:gd name="connsiteY3066" fmla="*/ 407894 h 458350"/>
                  <a:gd name="connsiteX3067" fmla="*/ 603205 w 1253076"/>
                  <a:gd name="connsiteY3067" fmla="*/ 406985 h 458350"/>
                  <a:gd name="connsiteX3068" fmla="*/ 604719 w 1253076"/>
                  <a:gd name="connsiteY3068" fmla="*/ 406833 h 458350"/>
                  <a:gd name="connsiteX3069" fmla="*/ 606386 w 1253076"/>
                  <a:gd name="connsiteY3069" fmla="*/ 406985 h 458350"/>
                  <a:gd name="connsiteX3070" fmla="*/ 608052 w 1253076"/>
                  <a:gd name="connsiteY3070" fmla="*/ 406985 h 458350"/>
                  <a:gd name="connsiteX3071" fmla="*/ 611386 w 1253076"/>
                  <a:gd name="connsiteY3071" fmla="*/ 406379 h 458350"/>
                  <a:gd name="connsiteX3072" fmla="*/ 617448 w 1253076"/>
                  <a:gd name="connsiteY3072" fmla="*/ 403954 h 458350"/>
                  <a:gd name="connsiteX3073" fmla="*/ 619266 w 1253076"/>
                  <a:gd name="connsiteY3073" fmla="*/ 403954 h 458350"/>
                  <a:gd name="connsiteX3074" fmla="*/ 621084 w 1253076"/>
                  <a:gd name="connsiteY3074" fmla="*/ 404257 h 458350"/>
                  <a:gd name="connsiteX3075" fmla="*/ 626842 w 1253076"/>
                  <a:gd name="connsiteY3075" fmla="*/ 401984 h 458350"/>
                  <a:gd name="connsiteX3076" fmla="*/ 628508 w 1253076"/>
                  <a:gd name="connsiteY3076" fmla="*/ 402136 h 458350"/>
                  <a:gd name="connsiteX3077" fmla="*/ 630175 w 1253076"/>
                  <a:gd name="connsiteY3077" fmla="*/ 401681 h 458350"/>
                  <a:gd name="connsiteX3078" fmla="*/ 631387 w 1253076"/>
                  <a:gd name="connsiteY3078" fmla="*/ 400772 h 458350"/>
                  <a:gd name="connsiteX3079" fmla="*/ 635327 w 1253076"/>
                  <a:gd name="connsiteY3079" fmla="*/ 397136 h 458350"/>
                  <a:gd name="connsiteX3080" fmla="*/ 635933 w 1253076"/>
                  <a:gd name="connsiteY3080" fmla="*/ 397893 h 458350"/>
                  <a:gd name="connsiteX3081" fmla="*/ 635933 w 1253076"/>
                  <a:gd name="connsiteY3081" fmla="*/ 400924 h 458350"/>
                  <a:gd name="connsiteX3082" fmla="*/ 636690 w 1253076"/>
                  <a:gd name="connsiteY3082" fmla="*/ 402136 h 458350"/>
                  <a:gd name="connsiteX3083" fmla="*/ 638054 w 1253076"/>
                  <a:gd name="connsiteY3083" fmla="*/ 402136 h 458350"/>
                  <a:gd name="connsiteX3084" fmla="*/ 643357 w 1253076"/>
                  <a:gd name="connsiteY3084" fmla="*/ 400924 h 458350"/>
                  <a:gd name="connsiteX3085" fmla="*/ 644873 w 1253076"/>
                  <a:gd name="connsiteY3085" fmla="*/ 400772 h 458350"/>
                  <a:gd name="connsiteX3086" fmla="*/ 647145 w 1253076"/>
                  <a:gd name="connsiteY3086" fmla="*/ 401681 h 458350"/>
                  <a:gd name="connsiteX3087" fmla="*/ 647752 w 1253076"/>
                  <a:gd name="connsiteY3087" fmla="*/ 401530 h 458350"/>
                  <a:gd name="connsiteX3088" fmla="*/ 647903 w 1253076"/>
                  <a:gd name="connsiteY3088" fmla="*/ 400924 h 458350"/>
                  <a:gd name="connsiteX3089" fmla="*/ 647448 w 1253076"/>
                  <a:gd name="connsiteY3089" fmla="*/ 400469 h 458350"/>
                  <a:gd name="connsiteX3090" fmla="*/ 645782 w 1253076"/>
                  <a:gd name="connsiteY3090" fmla="*/ 400015 h 458350"/>
                  <a:gd name="connsiteX3091" fmla="*/ 645479 w 1253076"/>
                  <a:gd name="connsiteY3091" fmla="*/ 398954 h 458350"/>
                  <a:gd name="connsiteX3092" fmla="*/ 647600 w 1253076"/>
                  <a:gd name="connsiteY3092" fmla="*/ 398348 h 458350"/>
                  <a:gd name="connsiteX3093" fmla="*/ 649872 w 1253076"/>
                  <a:gd name="connsiteY3093" fmla="*/ 398045 h 458350"/>
                  <a:gd name="connsiteX3094" fmla="*/ 650933 w 1253076"/>
                  <a:gd name="connsiteY3094" fmla="*/ 398348 h 458350"/>
                  <a:gd name="connsiteX3095" fmla="*/ 651842 w 1253076"/>
                  <a:gd name="connsiteY3095" fmla="*/ 399106 h 458350"/>
                  <a:gd name="connsiteX3096" fmla="*/ 651691 w 1253076"/>
                  <a:gd name="connsiteY3096" fmla="*/ 399106 h 458350"/>
                  <a:gd name="connsiteX3097" fmla="*/ 819122 w 1253076"/>
                  <a:gd name="connsiteY3097" fmla="*/ 406379 h 458350"/>
                  <a:gd name="connsiteX3098" fmla="*/ 818515 w 1253076"/>
                  <a:gd name="connsiteY3098" fmla="*/ 406075 h 458350"/>
                  <a:gd name="connsiteX3099" fmla="*/ 815030 w 1253076"/>
                  <a:gd name="connsiteY3099" fmla="*/ 407742 h 458350"/>
                  <a:gd name="connsiteX3100" fmla="*/ 813970 w 1253076"/>
                  <a:gd name="connsiteY3100" fmla="*/ 407439 h 458350"/>
                  <a:gd name="connsiteX3101" fmla="*/ 813364 w 1253076"/>
                  <a:gd name="connsiteY3101" fmla="*/ 406833 h 458350"/>
                  <a:gd name="connsiteX3102" fmla="*/ 813516 w 1253076"/>
                  <a:gd name="connsiteY3102" fmla="*/ 404409 h 458350"/>
                  <a:gd name="connsiteX3103" fmla="*/ 812606 w 1253076"/>
                  <a:gd name="connsiteY3103" fmla="*/ 405166 h 458350"/>
                  <a:gd name="connsiteX3104" fmla="*/ 807606 w 1253076"/>
                  <a:gd name="connsiteY3104" fmla="*/ 407742 h 458350"/>
                  <a:gd name="connsiteX3105" fmla="*/ 805940 w 1253076"/>
                  <a:gd name="connsiteY3105" fmla="*/ 409258 h 458350"/>
                  <a:gd name="connsiteX3106" fmla="*/ 803970 w 1253076"/>
                  <a:gd name="connsiteY3106" fmla="*/ 410318 h 458350"/>
                  <a:gd name="connsiteX3107" fmla="*/ 800332 w 1253076"/>
                  <a:gd name="connsiteY3107" fmla="*/ 411227 h 458350"/>
                  <a:gd name="connsiteX3108" fmla="*/ 800182 w 1253076"/>
                  <a:gd name="connsiteY3108" fmla="*/ 412591 h 458350"/>
                  <a:gd name="connsiteX3109" fmla="*/ 799423 w 1253076"/>
                  <a:gd name="connsiteY3109" fmla="*/ 414712 h 458350"/>
                  <a:gd name="connsiteX3110" fmla="*/ 798363 w 1253076"/>
                  <a:gd name="connsiteY3110" fmla="*/ 415621 h 458350"/>
                  <a:gd name="connsiteX3111" fmla="*/ 796848 w 1253076"/>
                  <a:gd name="connsiteY3111" fmla="*/ 417440 h 458350"/>
                  <a:gd name="connsiteX3112" fmla="*/ 795787 w 1253076"/>
                  <a:gd name="connsiteY3112" fmla="*/ 417894 h 458350"/>
                  <a:gd name="connsiteX3113" fmla="*/ 791697 w 1253076"/>
                  <a:gd name="connsiteY3113" fmla="*/ 417440 h 458350"/>
                  <a:gd name="connsiteX3114" fmla="*/ 791242 w 1253076"/>
                  <a:gd name="connsiteY3114" fmla="*/ 417743 h 458350"/>
                  <a:gd name="connsiteX3115" fmla="*/ 790484 w 1253076"/>
                  <a:gd name="connsiteY3115" fmla="*/ 417591 h 458350"/>
                  <a:gd name="connsiteX3116" fmla="*/ 789423 w 1253076"/>
                  <a:gd name="connsiteY3116" fmla="*/ 416530 h 458350"/>
                  <a:gd name="connsiteX3117" fmla="*/ 788968 w 1253076"/>
                  <a:gd name="connsiteY3117" fmla="*/ 415621 h 458350"/>
                  <a:gd name="connsiteX3118" fmla="*/ 787302 w 1253076"/>
                  <a:gd name="connsiteY3118" fmla="*/ 416530 h 458350"/>
                  <a:gd name="connsiteX3119" fmla="*/ 784575 w 1253076"/>
                  <a:gd name="connsiteY3119" fmla="*/ 418803 h 458350"/>
                  <a:gd name="connsiteX3120" fmla="*/ 780029 w 1253076"/>
                  <a:gd name="connsiteY3120" fmla="*/ 423197 h 458350"/>
                  <a:gd name="connsiteX3121" fmla="*/ 778817 w 1253076"/>
                  <a:gd name="connsiteY3121" fmla="*/ 425622 h 458350"/>
                  <a:gd name="connsiteX3122" fmla="*/ 778059 w 1253076"/>
                  <a:gd name="connsiteY3122" fmla="*/ 429258 h 458350"/>
                  <a:gd name="connsiteX3123" fmla="*/ 776847 w 1253076"/>
                  <a:gd name="connsiteY3123" fmla="*/ 432743 h 458350"/>
                  <a:gd name="connsiteX3124" fmla="*/ 777150 w 1253076"/>
                  <a:gd name="connsiteY3124" fmla="*/ 434107 h 458350"/>
                  <a:gd name="connsiteX3125" fmla="*/ 780332 w 1253076"/>
                  <a:gd name="connsiteY3125" fmla="*/ 435774 h 458350"/>
                  <a:gd name="connsiteX3126" fmla="*/ 779574 w 1253076"/>
                  <a:gd name="connsiteY3126" fmla="*/ 437137 h 458350"/>
                  <a:gd name="connsiteX3127" fmla="*/ 778363 w 1253076"/>
                  <a:gd name="connsiteY3127" fmla="*/ 438198 h 458350"/>
                  <a:gd name="connsiteX3128" fmla="*/ 777454 w 1253076"/>
                  <a:gd name="connsiteY3128" fmla="*/ 439562 h 458350"/>
                  <a:gd name="connsiteX3129" fmla="*/ 777150 w 1253076"/>
                  <a:gd name="connsiteY3129" fmla="*/ 441077 h 458350"/>
                  <a:gd name="connsiteX3130" fmla="*/ 778211 w 1253076"/>
                  <a:gd name="connsiteY3130" fmla="*/ 442137 h 458350"/>
                  <a:gd name="connsiteX3131" fmla="*/ 781090 w 1253076"/>
                  <a:gd name="connsiteY3131" fmla="*/ 443198 h 458350"/>
                  <a:gd name="connsiteX3132" fmla="*/ 784120 w 1253076"/>
                  <a:gd name="connsiteY3132" fmla="*/ 443047 h 458350"/>
                  <a:gd name="connsiteX3133" fmla="*/ 787150 w 1253076"/>
                  <a:gd name="connsiteY3133" fmla="*/ 441683 h 458350"/>
                  <a:gd name="connsiteX3134" fmla="*/ 792756 w 1253076"/>
                  <a:gd name="connsiteY3134" fmla="*/ 438653 h 458350"/>
                  <a:gd name="connsiteX3135" fmla="*/ 796848 w 1253076"/>
                  <a:gd name="connsiteY3135" fmla="*/ 438349 h 458350"/>
                  <a:gd name="connsiteX3136" fmla="*/ 799575 w 1253076"/>
                  <a:gd name="connsiteY3136" fmla="*/ 437743 h 458350"/>
                  <a:gd name="connsiteX3137" fmla="*/ 801848 w 1253076"/>
                  <a:gd name="connsiteY3137" fmla="*/ 436077 h 458350"/>
                  <a:gd name="connsiteX3138" fmla="*/ 804424 w 1253076"/>
                  <a:gd name="connsiteY3138" fmla="*/ 433501 h 458350"/>
                  <a:gd name="connsiteX3139" fmla="*/ 807303 w 1253076"/>
                  <a:gd name="connsiteY3139" fmla="*/ 431379 h 458350"/>
                  <a:gd name="connsiteX3140" fmla="*/ 810939 w 1253076"/>
                  <a:gd name="connsiteY3140" fmla="*/ 427137 h 458350"/>
                  <a:gd name="connsiteX3141" fmla="*/ 814273 w 1253076"/>
                  <a:gd name="connsiteY3141" fmla="*/ 424561 h 458350"/>
                  <a:gd name="connsiteX3142" fmla="*/ 815182 w 1253076"/>
                  <a:gd name="connsiteY3142" fmla="*/ 421834 h 458350"/>
                  <a:gd name="connsiteX3143" fmla="*/ 817152 w 1253076"/>
                  <a:gd name="connsiteY3143" fmla="*/ 420318 h 458350"/>
                  <a:gd name="connsiteX3144" fmla="*/ 816243 w 1253076"/>
                  <a:gd name="connsiteY3144" fmla="*/ 416682 h 458350"/>
                  <a:gd name="connsiteX3145" fmla="*/ 815182 w 1253076"/>
                  <a:gd name="connsiteY3145" fmla="*/ 415167 h 458350"/>
                  <a:gd name="connsiteX3146" fmla="*/ 814425 w 1253076"/>
                  <a:gd name="connsiteY3146" fmla="*/ 414258 h 458350"/>
                  <a:gd name="connsiteX3147" fmla="*/ 814121 w 1253076"/>
                  <a:gd name="connsiteY3147" fmla="*/ 413197 h 458350"/>
                  <a:gd name="connsiteX3148" fmla="*/ 814121 w 1253076"/>
                  <a:gd name="connsiteY3148" fmla="*/ 412136 h 458350"/>
                  <a:gd name="connsiteX3149" fmla="*/ 814575 w 1253076"/>
                  <a:gd name="connsiteY3149" fmla="*/ 411682 h 458350"/>
                  <a:gd name="connsiteX3150" fmla="*/ 817909 w 1253076"/>
                  <a:gd name="connsiteY3150" fmla="*/ 411530 h 458350"/>
                  <a:gd name="connsiteX3151" fmla="*/ 819272 w 1253076"/>
                  <a:gd name="connsiteY3151" fmla="*/ 409712 h 458350"/>
                  <a:gd name="connsiteX3152" fmla="*/ 819272 w 1253076"/>
                  <a:gd name="connsiteY3152" fmla="*/ 407439 h 458350"/>
                  <a:gd name="connsiteX3153" fmla="*/ 819122 w 1253076"/>
                  <a:gd name="connsiteY3153" fmla="*/ 406379 h 458350"/>
                  <a:gd name="connsiteX3154" fmla="*/ 773514 w 1253076"/>
                  <a:gd name="connsiteY3154" fmla="*/ 437289 h 458350"/>
                  <a:gd name="connsiteX3155" fmla="*/ 771847 w 1253076"/>
                  <a:gd name="connsiteY3155" fmla="*/ 438198 h 458350"/>
                  <a:gd name="connsiteX3156" fmla="*/ 769877 w 1253076"/>
                  <a:gd name="connsiteY3156" fmla="*/ 440774 h 458350"/>
                  <a:gd name="connsiteX3157" fmla="*/ 769877 w 1253076"/>
                  <a:gd name="connsiteY3157" fmla="*/ 442743 h 458350"/>
                  <a:gd name="connsiteX3158" fmla="*/ 772301 w 1253076"/>
                  <a:gd name="connsiteY3158" fmla="*/ 441834 h 458350"/>
                  <a:gd name="connsiteX3159" fmla="*/ 771998 w 1253076"/>
                  <a:gd name="connsiteY3159" fmla="*/ 439713 h 458350"/>
                  <a:gd name="connsiteX3160" fmla="*/ 774575 w 1253076"/>
                  <a:gd name="connsiteY3160" fmla="*/ 438804 h 458350"/>
                  <a:gd name="connsiteX3161" fmla="*/ 774423 w 1253076"/>
                  <a:gd name="connsiteY3161" fmla="*/ 438349 h 458350"/>
                  <a:gd name="connsiteX3162" fmla="*/ 773514 w 1253076"/>
                  <a:gd name="connsiteY3162" fmla="*/ 437289 h 458350"/>
                  <a:gd name="connsiteX3163" fmla="*/ 756846 w 1253076"/>
                  <a:gd name="connsiteY3163" fmla="*/ 393954 h 458350"/>
                  <a:gd name="connsiteX3164" fmla="*/ 755937 w 1253076"/>
                  <a:gd name="connsiteY3164" fmla="*/ 391681 h 458350"/>
                  <a:gd name="connsiteX3165" fmla="*/ 758362 w 1253076"/>
                  <a:gd name="connsiteY3165" fmla="*/ 389863 h 458350"/>
                  <a:gd name="connsiteX3166" fmla="*/ 758968 w 1253076"/>
                  <a:gd name="connsiteY3166" fmla="*/ 388954 h 458350"/>
                  <a:gd name="connsiteX3167" fmla="*/ 759877 w 1253076"/>
                  <a:gd name="connsiteY3167" fmla="*/ 388196 h 458350"/>
                  <a:gd name="connsiteX3168" fmla="*/ 761241 w 1253076"/>
                  <a:gd name="connsiteY3168" fmla="*/ 387438 h 458350"/>
                  <a:gd name="connsiteX3169" fmla="*/ 760483 w 1253076"/>
                  <a:gd name="connsiteY3169" fmla="*/ 382590 h 458350"/>
                  <a:gd name="connsiteX3170" fmla="*/ 758816 w 1253076"/>
                  <a:gd name="connsiteY3170" fmla="*/ 381378 h 458350"/>
                  <a:gd name="connsiteX3171" fmla="*/ 756846 w 1253076"/>
                  <a:gd name="connsiteY3171" fmla="*/ 381075 h 458350"/>
                  <a:gd name="connsiteX3172" fmla="*/ 755331 w 1253076"/>
                  <a:gd name="connsiteY3172" fmla="*/ 381984 h 458350"/>
                  <a:gd name="connsiteX3173" fmla="*/ 754422 w 1253076"/>
                  <a:gd name="connsiteY3173" fmla="*/ 383650 h 458350"/>
                  <a:gd name="connsiteX3174" fmla="*/ 758816 w 1253076"/>
                  <a:gd name="connsiteY3174" fmla="*/ 384560 h 458350"/>
                  <a:gd name="connsiteX3175" fmla="*/ 756998 w 1253076"/>
                  <a:gd name="connsiteY3175" fmla="*/ 386832 h 458350"/>
                  <a:gd name="connsiteX3176" fmla="*/ 754270 w 1253076"/>
                  <a:gd name="connsiteY3176" fmla="*/ 388196 h 458350"/>
                  <a:gd name="connsiteX3177" fmla="*/ 750331 w 1253076"/>
                  <a:gd name="connsiteY3177" fmla="*/ 389560 h 458350"/>
                  <a:gd name="connsiteX3178" fmla="*/ 748968 w 1253076"/>
                  <a:gd name="connsiteY3178" fmla="*/ 390317 h 458350"/>
                  <a:gd name="connsiteX3179" fmla="*/ 747755 w 1253076"/>
                  <a:gd name="connsiteY3179" fmla="*/ 391378 h 458350"/>
                  <a:gd name="connsiteX3180" fmla="*/ 746998 w 1253076"/>
                  <a:gd name="connsiteY3180" fmla="*/ 392590 h 458350"/>
                  <a:gd name="connsiteX3181" fmla="*/ 746543 w 1253076"/>
                  <a:gd name="connsiteY3181" fmla="*/ 394105 h 458350"/>
                  <a:gd name="connsiteX3182" fmla="*/ 745634 w 1253076"/>
                  <a:gd name="connsiteY3182" fmla="*/ 395015 h 458350"/>
                  <a:gd name="connsiteX3183" fmla="*/ 742603 w 1253076"/>
                  <a:gd name="connsiteY3183" fmla="*/ 395772 h 458350"/>
                  <a:gd name="connsiteX3184" fmla="*/ 740937 w 1253076"/>
                  <a:gd name="connsiteY3184" fmla="*/ 395621 h 458350"/>
                  <a:gd name="connsiteX3185" fmla="*/ 735634 w 1253076"/>
                  <a:gd name="connsiteY3185" fmla="*/ 392136 h 458350"/>
                  <a:gd name="connsiteX3186" fmla="*/ 734421 w 1253076"/>
                  <a:gd name="connsiteY3186" fmla="*/ 391530 h 458350"/>
                  <a:gd name="connsiteX3187" fmla="*/ 732906 w 1253076"/>
                  <a:gd name="connsiteY3187" fmla="*/ 391075 h 458350"/>
                  <a:gd name="connsiteX3188" fmla="*/ 731391 w 1253076"/>
                  <a:gd name="connsiteY3188" fmla="*/ 391832 h 458350"/>
                  <a:gd name="connsiteX3189" fmla="*/ 730027 w 1253076"/>
                  <a:gd name="connsiteY3189" fmla="*/ 392136 h 458350"/>
                  <a:gd name="connsiteX3190" fmla="*/ 726845 w 1253076"/>
                  <a:gd name="connsiteY3190" fmla="*/ 392439 h 458350"/>
                  <a:gd name="connsiteX3191" fmla="*/ 725179 w 1253076"/>
                  <a:gd name="connsiteY3191" fmla="*/ 392439 h 458350"/>
                  <a:gd name="connsiteX3192" fmla="*/ 723209 w 1253076"/>
                  <a:gd name="connsiteY3192" fmla="*/ 393045 h 458350"/>
                  <a:gd name="connsiteX3193" fmla="*/ 721542 w 1253076"/>
                  <a:gd name="connsiteY3193" fmla="*/ 394408 h 458350"/>
                  <a:gd name="connsiteX3194" fmla="*/ 720178 w 1253076"/>
                  <a:gd name="connsiteY3194" fmla="*/ 394711 h 458350"/>
                  <a:gd name="connsiteX3195" fmla="*/ 718663 w 1253076"/>
                  <a:gd name="connsiteY3195" fmla="*/ 394560 h 458350"/>
                  <a:gd name="connsiteX3196" fmla="*/ 716694 w 1253076"/>
                  <a:gd name="connsiteY3196" fmla="*/ 393802 h 458350"/>
                  <a:gd name="connsiteX3197" fmla="*/ 714117 w 1253076"/>
                  <a:gd name="connsiteY3197" fmla="*/ 391832 h 458350"/>
                  <a:gd name="connsiteX3198" fmla="*/ 709723 w 1253076"/>
                  <a:gd name="connsiteY3198" fmla="*/ 390317 h 458350"/>
                  <a:gd name="connsiteX3199" fmla="*/ 706693 w 1253076"/>
                  <a:gd name="connsiteY3199" fmla="*/ 388802 h 458350"/>
                  <a:gd name="connsiteX3200" fmla="*/ 703360 w 1253076"/>
                  <a:gd name="connsiteY3200" fmla="*/ 387742 h 458350"/>
                  <a:gd name="connsiteX3201" fmla="*/ 699723 w 1253076"/>
                  <a:gd name="connsiteY3201" fmla="*/ 387590 h 458350"/>
                  <a:gd name="connsiteX3202" fmla="*/ 698511 w 1253076"/>
                  <a:gd name="connsiteY3202" fmla="*/ 387287 h 458350"/>
                  <a:gd name="connsiteX3203" fmla="*/ 695784 w 1253076"/>
                  <a:gd name="connsiteY3203" fmla="*/ 385469 h 458350"/>
                  <a:gd name="connsiteX3204" fmla="*/ 694117 w 1253076"/>
                  <a:gd name="connsiteY3204" fmla="*/ 386075 h 458350"/>
                  <a:gd name="connsiteX3205" fmla="*/ 692450 w 1253076"/>
                  <a:gd name="connsiteY3205" fmla="*/ 386226 h 458350"/>
                  <a:gd name="connsiteX3206" fmla="*/ 690783 w 1253076"/>
                  <a:gd name="connsiteY3206" fmla="*/ 385772 h 458350"/>
                  <a:gd name="connsiteX3207" fmla="*/ 688813 w 1253076"/>
                  <a:gd name="connsiteY3207" fmla="*/ 386075 h 458350"/>
                  <a:gd name="connsiteX3208" fmla="*/ 685480 w 1253076"/>
                  <a:gd name="connsiteY3208" fmla="*/ 386984 h 458350"/>
                  <a:gd name="connsiteX3209" fmla="*/ 681844 w 1253076"/>
                  <a:gd name="connsiteY3209" fmla="*/ 389408 h 458350"/>
                  <a:gd name="connsiteX3210" fmla="*/ 678207 w 1253076"/>
                  <a:gd name="connsiteY3210" fmla="*/ 390923 h 458350"/>
                  <a:gd name="connsiteX3211" fmla="*/ 676995 w 1253076"/>
                  <a:gd name="connsiteY3211" fmla="*/ 391227 h 458350"/>
                  <a:gd name="connsiteX3212" fmla="*/ 675783 w 1253076"/>
                  <a:gd name="connsiteY3212" fmla="*/ 390469 h 458350"/>
                  <a:gd name="connsiteX3213" fmla="*/ 675479 w 1253076"/>
                  <a:gd name="connsiteY3213" fmla="*/ 391984 h 458350"/>
                  <a:gd name="connsiteX3214" fmla="*/ 675025 w 1253076"/>
                  <a:gd name="connsiteY3214" fmla="*/ 393348 h 458350"/>
                  <a:gd name="connsiteX3215" fmla="*/ 674268 w 1253076"/>
                  <a:gd name="connsiteY3215" fmla="*/ 394711 h 458350"/>
                  <a:gd name="connsiteX3216" fmla="*/ 673965 w 1253076"/>
                  <a:gd name="connsiteY3216" fmla="*/ 396075 h 458350"/>
                  <a:gd name="connsiteX3217" fmla="*/ 673965 w 1253076"/>
                  <a:gd name="connsiteY3217" fmla="*/ 398196 h 458350"/>
                  <a:gd name="connsiteX3218" fmla="*/ 674874 w 1253076"/>
                  <a:gd name="connsiteY3218" fmla="*/ 400015 h 458350"/>
                  <a:gd name="connsiteX3219" fmla="*/ 675934 w 1253076"/>
                  <a:gd name="connsiteY3219" fmla="*/ 401227 h 458350"/>
                  <a:gd name="connsiteX3220" fmla="*/ 676692 w 1253076"/>
                  <a:gd name="connsiteY3220" fmla="*/ 402591 h 458350"/>
                  <a:gd name="connsiteX3221" fmla="*/ 679571 w 1253076"/>
                  <a:gd name="connsiteY3221" fmla="*/ 401227 h 458350"/>
                  <a:gd name="connsiteX3222" fmla="*/ 682601 w 1253076"/>
                  <a:gd name="connsiteY3222" fmla="*/ 400318 h 458350"/>
                  <a:gd name="connsiteX3223" fmla="*/ 688056 w 1253076"/>
                  <a:gd name="connsiteY3223" fmla="*/ 401530 h 458350"/>
                  <a:gd name="connsiteX3224" fmla="*/ 694420 w 1253076"/>
                  <a:gd name="connsiteY3224" fmla="*/ 401075 h 458350"/>
                  <a:gd name="connsiteX3225" fmla="*/ 700784 w 1253076"/>
                  <a:gd name="connsiteY3225" fmla="*/ 402287 h 458350"/>
                  <a:gd name="connsiteX3226" fmla="*/ 706239 w 1253076"/>
                  <a:gd name="connsiteY3226" fmla="*/ 404409 h 458350"/>
                  <a:gd name="connsiteX3227" fmla="*/ 707753 w 1253076"/>
                  <a:gd name="connsiteY3227" fmla="*/ 404560 h 458350"/>
                  <a:gd name="connsiteX3228" fmla="*/ 709118 w 1253076"/>
                  <a:gd name="connsiteY3228" fmla="*/ 404257 h 458350"/>
                  <a:gd name="connsiteX3229" fmla="*/ 710481 w 1253076"/>
                  <a:gd name="connsiteY3229" fmla="*/ 403651 h 458350"/>
                  <a:gd name="connsiteX3230" fmla="*/ 711996 w 1253076"/>
                  <a:gd name="connsiteY3230" fmla="*/ 403348 h 458350"/>
                  <a:gd name="connsiteX3231" fmla="*/ 715784 w 1253076"/>
                  <a:gd name="connsiteY3231" fmla="*/ 403954 h 458350"/>
                  <a:gd name="connsiteX3232" fmla="*/ 718208 w 1253076"/>
                  <a:gd name="connsiteY3232" fmla="*/ 401227 h 458350"/>
                  <a:gd name="connsiteX3233" fmla="*/ 720482 w 1253076"/>
                  <a:gd name="connsiteY3233" fmla="*/ 401227 h 458350"/>
                  <a:gd name="connsiteX3234" fmla="*/ 722754 w 1253076"/>
                  <a:gd name="connsiteY3234" fmla="*/ 401530 h 458350"/>
                  <a:gd name="connsiteX3235" fmla="*/ 723815 w 1253076"/>
                  <a:gd name="connsiteY3235" fmla="*/ 402439 h 458350"/>
                  <a:gd name="connsiteX3236" fmla="*/ 724572 w 1253076"/>
                  <a:gd name="connsiteY3236" fmla="*/ 403651 h 458350"/>
                  <a:gd name="connsiteX3237" fmla="*/ 726997 w 1253076"/>
                  <a:gd name="connsiteY3237" fmla="*/ 402894 h 458350"/>
                  <a:gd name="connsiteX3238" fmla="*/ 729724 w 1253076"/>
                  <a:gd name="connsiteY3238" fmla="*/ 402591 h 458350"/>
                  <a:gd name="connsiteX3239" fmla="*/ 736694 w 1253076"/>
                  <a:gd name="connsiteY3239" fmla="*/ 399409 h 458350"/>
                  <a:gd name="connsiteX3240" fmla="*/ 739270 w 1253076"/>
                  <a:gd name="connsiteY3240" fmla="*/ 398954 h 458350"/>
                  <a:gd name="connsiteX3241" fmla="*/ 743058 w 1253076"/>
                  <a:gd name="connsiteY3241" fmla="*/ 399106 h 458350"/>
                  <a:gd name="connsiteX3242" fmla="*/ 745634 w 1253076"/>
                  <a:gd name="connsiteY3242" fmla="*/ 398954 h 458350"/>
                  <a:gd name="connsiteX3243" fmla="*/ 747149 w 1253076"/>
                  <a:gd name="connsiteY3243" fmla="*/ 398651 h 458350"/>
                  <a:gd name="connsiteX3244" fmla="*/ 749422 w 1253076"/>
                  <a:gd name="connsiteY3244" fmla="*/ 397439 h 458350"/>
                  <a:gd name="connsiteX3245" fmla="*/ 751846 w 1253076"/>
                  <a:gd name="connsiteY3245" fmla="*/ 396530 h 458350"/>
                  <a:gd name="connsiteX3246" fmla="*/ 755785 w 1253076"/>
                  <a:gd name="connsiteY3246" fmla="*/ 395621 h 458350"/>
                  <a:gd name="connsiteX3247" fmla="*/ 756846 w 1253076"/>
                  <a:gd name="connsiteY3247" fmla="*/ 395166 h 458350"/>
                  <a:gd name="connsiteX3248" fmla="*/ 756846 w 1253076"/>
                  <a:gd name="connsiteY3248" fmla="*/ 393954 h 458350"/>
                  <a:gd name="connsiteX3249" fmla="*/ 576082 w 1253076"/>
                  <a:gd name="connsiteY3249" fmla="*/ 249403 h 458350"/>
                  <a:gd name="connsiteX3250" fmla="*/ 572749 w 1253076"/>
                  <a:gd name="connsiteY3250" fmla="*/ 251524 h 458350"/>
                  <a:gd name="connsiteX3251" fmla="*/ 571233 w 1253076"/>
                  <a:gd name="connsiteY3251" fmla="*/ 254706 h 458350"/>
                  <a:gd name="connsiteX3252" fmla="*/ 570172 w 1253076"/>
                  <a:gd name="connsiteY3252" fmla="*/ 258949 h 458350"/>
                  <a:gd name="connsiteX3253" fmla="*/ 570022 w 1253076"/>
                  <a:gd name="connsiteY3253" fmla="*/ 261373 h 458350"/>
                  <a:gd name="connsiteX3254" fmla="*/ 571688 w 1253076"/>
                  <a:gd name="connsiteY3254" fmla="*/ 264555 h 458350"/>
                  <a:gd name="connsiteX3255" fmla="*/ 571233 w 1253076"/>
                  <a:gd name="connsiteY3255" fmla="*/ 269707 h 458350"/>
                  <a:gd name="connsiteX3256" fmla="*/ 572142 w 1253076"/>
                  <a:gd name="connsiteY3256" fmla="*/ 270919 h 458350"/>
                  <a:gd name="connsiteX3257" fmla="*/ 577900 w 1253076"/>
                  <a:gd name="connsiteY3257" fmla="*/ 265919 h 458350"/>
                  <a:gd name="connsiteX3258" fmla="*/ 577446 w 1253076"/>
                  <a:gd name="connsiteY3258" fmla="*/ 264707 h 458350"/>
                  <a:gd name="connsiteX3259" fmla="*/ 578203 w 1253076"/>
                  <a:gd name="connsiteY3259" fmla="*/ 263192 h 458350"/>
                  <a:gd name="connsiteX3260" fmla="*/ 577900 w 1253076"/>
                  <a:gd name="connsiteY3260" fmla="*/ 261979 h 458350"/>
                  <a:gd name="connsiteX3261" fmla="*/ 577294 w 1253076"/>
                  <a:gd name="connsiteY3261" fmla="*/ 256979 h 458350"/>
                  <a:gd name="connsiteX3262" fmla="*/ 577598 w 1253076"/>
                  <a:gd name="connsiteY3262" fmla="*/ 255918 h 458350"/>
                  <a:gd name="connsiteX3263" fmla="*/ 577294 w 1253076"/>
                  <a:gd name="connsiteY3263" fmla="*/ 254706 h 458350"/>
                  <a:gd name="connsiteX3264" fmla="*/ 576689 w 1253076"/>
                  <a:gd name="connsiteY3264" fmla="*/ 253191 h 458350"/>
                  <a:gd name="connsiteX3265" fmla="*/ 576839 w 1253076"/>
                  <a:gd name="connsiteY3265" fmla="*/ 249252 h 458350"/>
                  <a:gd name="connsiteX3266" fmla="*/ 576082 w 1253076"/>
                  <a:gd name="connsiteY3266" fmla="*/ 249403 h 458350"/>
                  <a:gd name="connsiteX3267" fmla="*/ 588355 w 1253076"/>
                  <a:gd name="connsiteY3267" fmla="*/ 386832 h 458350"/>
                  <a:gd name="connsiteX3268" fmla="*/ 587294 w 1253076"/>
                  <a:gd name="connsiteY3268" fmla="*/ 386226 h 458350"/>
                  <a:gd name="connsiteX3269" fmla="*/ 580627 w 1253076"/>
                  <a:gd name="connsiteY3269" fmla="*/ 384105 h 458350"/>
                  <a:gd name="connsiteX3270" fmla="*/ 577900 w 1253076"/>
                  <a:gd name="connsiteY3270" fmla="*/ 385014 h 458350"/>
                  <a:gd name="connsiteX3271" fmla="*/ 575628 w 1253076"/>
                  <a:gd name="connsiteY3271" fmla="*/ 386529 h 458350"/>
                  <a:gd name="connsiteX3272" fmla="*/ 571233 w 1253076"/>
                  <a:gd name="connsiteY3272" fmla="*/ 390469 h 458350"/>
                  <a:gd name="connsiteX3273" fmla="*/ 571688 w 1253076"/>
                  <a:gd name="connsiteY3273" fmla="*/ 395166 h 458350"/>
                  <a:gd name="connsiteX3274" fmla="*/ 571688 w 1253076"/>
                  <a:gd name="connsiteY3274" fmla="*/ 398803 h 458350"/>
                  <a:gd name="connsiteX3275" fmla="*/ 570476 w 1253076"/>
                  <a:gd name="connsiteY3275" fmla="*/ 399409 h 458350"/>
                  <a:gd name="connsiteX3276" fmla="*/ 567294 w 1253076"/>
                  <a:gd name="connsiteY3276" fmla="*/ 399257 h 458350"/>
                  <a:gd name="connsiteX3277" fmla="*/ 566082 w 1253076"/>
                  <a:gd name="connsiteY3277" fmla="*/ 398803 h 458350"/>
                  <a:gd name="connsiteX3278" fmla="*/ 565779 w 1253076"/>
                  <a:gd name="connsiteY3278" fmla="*/ 400015 h 458350"/>
                  <a:gd name="connsiteX3279" fmla="*/ 566234 w 1253076"/>
                  <a:gd name="connsiteY3279" fmla="*/ 401075 h 458350"/>
                  <a:gd name="connsiteX3280" fmla="*/ 570324 w 1253076"/>
                  <a:gd name="connsiteY3280" fmla="*/ 402439 h 458350"/>
                  <a:gd name="connsiteX3281" fmla="*/ 576082 w 1253076"/>
                  <a:gd name="connsiteY3281" fmla="*/ 403500 h 458350"/>
                  <a:gd name="connsiteX3282" fmla="*/ 577446 w 1253076"/>
                  <a:gd name="connsiteY3282" fmla="*/ 403348 h 458350"/>
                  <a:gd name="connsiteX3283" fmla="*/ 579870 w 1253076"/>
                  <a:gd name="connsiteY3283" fmla="*/ 403954 h 458350"/>
                  <a:gd name="connsiteX3284" fmla="*/ 585628 w 1253076"/>
                  <a:gd name="connsiteY3284" fmla="*/ 402742 h 458350"/>
                  <a:gd name="connsiteX3285" fmla="*/ 584870 w 1253076"/>
                  <a:gd name="connsiteY3285" fmla="*/ 401833 h 458350"/>
                  <a:gd name="connsiteX3286" fmla="*/ 583658 w 1253076"/>
                  <a:gd name="connsiteY3286" fmla="*/ 400924 h 458350"/>
                  <a:gd name="connsiteX3287" fmla="*/ 587143 w 1253076"/>
                  <a:gd name="connsiteY3287" fmla="*/ 395318 h 458350"/>
                  <a:gd name="connsiteX3288" fmla="*/ 589719 w 1253076"/>
                  <a:gd name="connsiteY3288" fmla="*/ 389105 h 458350"/>
                  <a:gd name="connsiteX3289" fmla="*/ 589264 w 1253076"/>
                  <a:gd name="connsiteY3289" fmla="*/ 387742 h 458350"/>
                  <a:gd name="connsiteX3290" fmla="*/ 588355 w 1253076"/>
                  <a:gd name="connsiteY3290" fmla="*/ 386832 h 458350"/>
                  <a:gd name="connsiteX3291" fmla="*/ 553809 w 1253076"/>
                  <a:gd name="connsiteY3291" fmla="*/ 349558 h 458350"/>
                  <a:gd name="connsiteX3292" fmla="*/ 557142 w 1253076"/>
                  <a:gd name="connsiteY3292" fmla="*/ 349558 h 458350"/>
                  <a:gd name="connsiteX3293" fmla="*/ 556536 w 1253076"/>
                  <a:gd name="connsiteY3293" fmla="*/ 348498 h 458350"/>
                  <a:gd name="connsiteX3294" fmla="*/ 555324 w 1253076"/>
                  <a:gd name="connsiteY3294" fmla="*/ 347588 h 458350"/>
                  <a:gd name="connsiteX3295" fmla="*/ 553505 w 1253076"/>
                  <a:gd name="connsiteY3295" fmla="*/ 346831 h 458350"/>
                  <a:gd name="connsiteX3296" fmla="*/ 551839 w 1253076"/>
                  <a:gd name="connsiteY3296" fmla="*/ 346831 h 458350"/>
                  <a:gd name="connsiteX3297" fmla="*/ 548808 w 1253076"/>
                  <a:gd name="connsiteY3297" fmla="*/ 347437 h 458350"/>
                  <a:gd name="connsiteX3298" fmla="*/ 548354 w 1253076"/>
                  <a:gd name="connsiteY3298" fmla="*/ 348649 h 458350"/>
                  <a:gd name="connsiteX3299" fmla="*/ 548354 w 1253076"/>
                  <a:gd name="connsiteY3299" fmla="*/ 350013 h 458350"/>
                  <a:gd name="connsiteX3300" fmla="*/ 550475 w 1253076"/>
                  <a:gd name="connsiteY3300" fmla="*/ 350922 h 458350"/>
                  <a:gd name="connsiteX3301" fmla="*/ 552748 w 1253076"/>
                  <a:gd name="connsiteY3301" fmla="*/ 350467 h 458350"/>
                  <a:gd name="connsiteX3302" fmla="*/ 553809 w 1253076"/>
                  <a:gd name="connsiteY3302" fmla="*/ 349558 h 458350"/>
                  <a:gd name="connsiteX3303" fmla="*/ 611538 w 1253076"/>
                  <a:gd name="connsiteY3303" fmla="*/ 68639 h 458350"/>
                  <a:gd name="connsiteX3304" fmla="*/ 612144 w 1253076"/>
                  <a:gd name="connsiteY3304" fmla="*/ 70154 h 458350"/>
                  <a:gd name="connsiteX3305" fmla="*/ 614417 w 1253076"/>
                  <a:gd name="connsiteY3305" fmla="*/ 72275 h 458350"/>
                  <a:gd name="connsiteX3306" fmla="*/ 614719 w 1253076"/>
                  <a:gd name="connsiteY3306" fmla="*/ 71366 h 458350"/>
                  <a:gd name="connsiteX3307" fmla="*/ 615326 w 1253076"/>
                  <a:gd name="connsiteY3307" fmla="*/ 67881 h 458350"/>
                  <a:gd name="connsiteX3308" fmla="*/ 614114 w 1253076"/>
                  <a:gd name="connsiteY3308" fmla="*/ 67124 h 458350"/>
                  <a:gd name="connsiteX3309" fmla="*/ 611690 w 1253076"/>
                  <a:gd name="connsiteY3309" fmla="*/ 67275 h 458350"/>
                  <a:gd name="connsiteX3310" fmla="*/ 611538 w 1253076"/>
                  <a:gd name="connsiteY3310" fmla="*/ 68639 h 458350"/>
                  <a:gd name="connsiteX3311" fmla="*/ 581234 w 1253076"/>
                  <a:gd name="connsiteY3311" fmla="*/ 253191 h 458350"/>
                  <a:gd name="connsiteX3312" fmla="*/ 580325 w 1253076"/>
                  <a:gd name="connsiteY3312" fmla="*/ 253797 h 458350"/>
                  <a:gd name="connsiteX3313" fmla="*/ 578507 w 1253076"/>
                  <a:gd name="connsiteY3313" fmla="*/ 256979 h 458350"/>
                  <a:gd name="connsiteX3314" fmla="*/ 580173 w 1253076"/>
                  <a:gd name="connsiteY3314" fmla="*/ 259706 h 458350"/>
                  <a:gd name="connsiteX3315" fmla="*/ 581234 w 1253076"/>
                  <a:gd name="connsiteY3315" fmla="*/ 255009 h 458350"/>
                  <a:gd name="connsiteX3316" fmla="*/ 581234 w 1253076"/>
                  <a:gd name="connsiteY3316" fmla="*/ 253191 h 458350"/>
                  <a:gd name="connsiteX3317" fmla="*/ 611386 w 1253076"/>
                  <a:gd name="connsiteY3317" fmla="*/ 388651 h 458350"/>
                  <a:gd name="connsiteX3318" fmla="*/ 611992 w 1253076"/>
                  <a:gd name="connsiteY3318" fmla="*/ 388651 h 458350"/>
                  <a:gd name="connsiteX3319" fmla="*/ 615023 w 1253076"/>
                  <a:gd name="connsiteY3319" fmla="*/ 383802 h 458350"/>
                  <a:gd name="connsiteX3320" fmla="*/ 614871 w 1253076"/>
                  <a:gd name="connsiteY3320" fmla="*/ 382741 h 458350"/>
                  <a:gd name="connsiteX3321" fmla="*/ 611690 w 1253076"/>
                  <a:gd name="connsiteY3321" fmla="*/ 382893 h 458350"/>
                  <a:gd name="connsiteX3322" fmla="*/ 610174 w 1253076"/>
                  <a:gd name="connsiteY3322" fmla="*/ 383802 h 458350"/>
                  <a:gd name="connsiteX3323" fmla="*/ 609872 w 1253076"/>
                  <a:gd name="connsiteY3323" fmla="*/ 385317 h 458350"/>
                  <a:gd name="connsiteX3324" fmla="*/ 610477 w 1253076"/>
                  <a:gd name="connsiteY3324" fmla="*/ 387135 h 458350"/>
                  <a:gd name="connsiteX3325" fmla="*/ 610022 w 1253076"/>
                  <a:gd name="connsiteY3325" fmla="*/ 388348 h 458350"/>
                  <a:gd name="connsiteX3326" fmla="*/ 611386 w 1253076"/>
                  <a:gd name="connsiteY3326" fmla="*/ 388651 h 458350"/>
                  <a:gd name="connsiteX3327" fmla="*/ 590325 w 1253076"/>
                  <a:gd name="connsiteY3327" fmla="*/ 193492 h 458350"/>
                  <a:gd name="connsiteX3328" fmla="*/ 589416 w 1253076"/>
                  <a:gd name="connsiteY3328" fmla="*/ 191977 h 458350"/>
                  <a:gd name="connsiteX3329" fmla="*/ 589416 w 1253076"/>
                  <a:gd name="connsiteY3329" fmla="*/ 190613 h 458350"/>
                  <a:gd name="connsiteX3330" fmla="*/ 589719 w 1253076"/>
                  <a:gd name="connsiteY3330" fmla="*/ 189098 h 458350"/>
                  <a:gd name="connsiteX3331" fmla="*/ 590325 w 1253076"/>
                  <a:gd name="connsiteY3331" fmla="*/ 191068 h 458350"/>
                  <a:gd name="connsiteX3332" fmla="*/ 591386 w 1253076"/>
                  <a:gd name="connsiteY3332" fmla="*/ 192886 h 458350"/>
                  <a:gd name="connsiteX3333" fmla="*/ 592750 w 1253076"/>
                  <a:gd name="connsiteY3333" fmla="*/ 193795 h 458350"/>
                  <a:gd name="connsiteX3334" fmla="*/ 594568 w 1253076"/>
                  <a:gd name="connsiteY3334" fmla="*/ 193947 h 458350"/>
                  <a:gd name="connsiteX3335" fmla="*/ 596992 w 1253076"/>
                  <a:gd name="connsiteY3335" fmla="*/ 193037 h 458350"/>
                  <a:gd name="connsiteX3336" fmla="*/ 598810 w 1253076"/>
                  <a:gd name="connsiteY3336" fmla="*/ 191068 h 458350"/>
                  <a:gd name="connsiteX3337" fmla="*/ 600931 w 1253076"/>
                  <a:gd name="connsiteY3337" fmla="*/ 188189 h 458350"/>
                  <a:gd name="connsiteX3338" fmla="*/ 603507 w 1253076"/>
                  <a:gd name="connsiteY3338" fmla="*/ 185916 h 458350"/>
                  <a:gd name="connsiteX3339" fmla="*/ 606689 w 1253076"/>
                  <a:gd name="connsiteY3339" fmla="*/ 184401 h 458350"/>
                  <a:gd name="connsiteX3340" fmla="*/ 611235 w 1253076"/>
                  <a:gd name="connsiteY3340" fmla="*/ 182431 h 458350"/>
                  <a:gd name="connsiteX3341" fmla="*/ 612296 w 1253076"/>
                  <a:gd name="connsiteY3341" fmla="*/ 181673 h 458350"/>
                  <a:gd name="connsiteX3342" fmla="*/ 612599 w 1253076"/>
                  <a:gd name="connsiteY3342" fmla="*/ 180461 h 458350"/>
                  <a:gd name="connsiteX3343" fmla="*/ 612144 w 1253076"/>
                  <a:gd name="connsiteY3343" fmla="*/ 179098 h 458350"/>
                  <a:gd name="connsiteX3344" fmla="*/ 611992 w 1253076"/>
                  <a:gd name="connsiteY3344" fmla="*/ 175764 h 458350"/>
                  <a:gd name="connsiteX3345" fmla="*/ 609568 w 1253076"/>
                  <a:gd name="connsiteY3345" fmla="*/ 169552 h 458350"/>
                  <a:gd name="connsiteX3346" fmla="*/ 609568 w 1253076"/>
                  <a:gd name="connsiteY3346" fmla="*/ 166218 h 458350"/>
                  <a:gd name="connsiteX3347" fmla="*/ 611235 w 1253076"/>
                  <a:gd name="connsiteY3347" fmla="*/ 154400 h 458350"/>
                  <a:gd name="connsiteX3348" fmla="*/ 612144 w 1253076"/>
                  <a:gd name="connsiteY3348" fmla="*/ 151521 h 458350"/>
                  <a:gd name="connsiteX3349" fmla="*/ 617448 w 1253076"/>
                  <a:gd name="connsiteY3349" fmla="*/ 140914 h 458350"/>
                  <a:gd name="connsiteX3350" fmla="*/ 618357 w 1253076"/>
                  <a:gd name="connsiteY3350" fmla="*/ 140308 h 458350"/>
                  <a:gd name="connsiteX3351" fmla="*/ 620477 w 1253076"/>
                  <a:gd name="connsiteY3351" fmla="*/ 139399 h 458350"/>
                  <a:gd name="connsiteX3352" fmla="*/ 622447 w 1253076"/>
                  <a:gd name="connsiteY3352" fmla="*/ 138187 h 458350"/>
                  <a:gd name="connsiteX3353" fmla="*/ 623508 w 1253076"/>
                  <a:gd name="connsiteY3353" fmla="*/ 136672 h 458350"/>
                  <a:gd name="connsiteX3354" fmla="*/ 623811 w 1253076"/>
                  <a:gd name="connsiteY3354" fmla="*/ 134702 h 458350"/>
                  <a:gd name="connsiteX3355" fmla="*/ 623054 w 1253076"/>
                  <a:gd name="connsiteY3355" fmla="*/ 132884 h 458350"/>
                  <a:gd name="connsiteX3356" fmla="*/ 621993 w 1253076"/>
                  <a:gd name="connsiteY3356" fmla="*/ 131066 h 458350"/>
                  <a:gd name="connsiteX3357" fmla="*/ 624872 w 1253076"/>
                  <a:gd name="connsiteY3357" fmla="*/ 132732 h 458350"/>
                  <a:gd name="connsiteX3358" fmla="*/ 626993 w 1253076"/>
                  <a:gd name="connsiteY3358" fmla="*/ 135763 h 458350"/>
                  <a:gd name="connsiteX3359" fmla="*/ 629721 w 1253076"/>
                  <a:gd name="connsiteY3359" fmla="*/ 137278 h 458350"/>
                  <a:gd name="connsiteX3360" fmla="*/ 632902 w 1253076"/>
                  <a:gd name="connsiteY3360" fmla="*/ 138035 h 458350"/>
                  <a:gd name="connsiteX3361" fmla="*/ 638963 w 1253076"/>
                  <a:gd name="connsiteY3361" fmla="*/ 138944 h 458350"/>
                  <a:gd name="connsiteX3362" fmla="*/ 645024 w 1253076"/>
                  <a:gd name="connsiteY3362" fmla="*/ 138187 h 458350"/>
                  <a:gd name="connsiteX3363" fmla="*/ 648661 w 1253076"/>
                  <a:gd name="connsiteY3363" fmla="*/ 136823 h 458350"/>
                  <a:gd name="connsiteX3364" fmla="*/ 651236 w 1253076"/>
                  <a:gd name="connsiteY3364" fmla="*/ 134247 h 458350"/>
                  <a:gd name="connsiteX3365" fmla="*/ 650631 w 1253076"/>
                  <a:gd name="connsiteY3365" fmla="*/ 132581 h 458350"/>
                  <a:gd name="connsiteX3366" fmla="*/ 647600 w 1253076"/>
                  <a:gd name="connsiteY3366" fmla="*/ 131217 h 458350"/>
                  <a:gd name="connsiteX3367" fmla="*/ 641691 w 1253076"/>
                  <a:gd name="connsiteY3367" fmla="*/ 125156 h 458350"/>
                  <a:gd name="connsiteX3368" fmla="*/ 637145 w 1253076"/>
                  <a:gd name="connsiteY3368" fmla="*/ 122580 h 458350"/>
                  <a:gd name="connsiteX3369" fmla="*/ 628508 w 1253076"/>
                  <a:gd name="connsiteY3369" fmla="*/ 116519 h 458350"/>
                  <a:gd name="connsiteX3370" fmla="*/ 626387 w 1253076"/>
                  <a:gd name="connsiteY3370" fmla="*/ 114853 h 458350"/>
                  <a:gd name="connsiteX3371" fmla="*/ 622295 w 1253076"/>
                  <a:gd name="connsiteY3371" fmla="*/ 110307 h 458350"/>
                  <a:gd name="connsiteX3372" fmla="*/ 620477 w 1253076"/>
                  <a:gd name="connsiteY3372" fmla="*/ 107580 h 458350"/>
                  <a:gd name="connsiteX3373" fmla="*/ 619568 w 1253076"/>
                  <a:gd name="connsiteY3373" fmla="*/ 106671 h 458350"/>
                  <a:gd name="connsiteX3374" fmla="*/ 618357 w 1253076"/>
                  <a:gd name="connsiteY3374" fmla="*/ 106064 h 458350"/>
                  <a:gd name="connsiteX3375" fmla="*/ 620932 w 1253076"/>
                  <a:gd name="connsiteY3375" fmla="*/ 105155 h 458350"/>
                  <a:gd name="connsiteX3376" fmla="*/ 621084 w 1253076"/>
                  <a:gd name="connsiteY3376" fmla="*/ 104398 h 458350"/>
                  <a:gd name="connsiteX3377" fmla="*/ 622902 w 1253076"/>
                  <a:gd name="connsiteY3377" fmla="*/ 102428 h 458350"/>
                  <a:gd name="connsiteX3378" fmla="*/ 625174 w 1253076"/>
                  <a:gd name="connsiteY3378" fmla="*/ 100913 h 458350"/>
                  <a:gd name="connsiteX3379" fmla="*/ 625781 w 1253076"/>
                  <a:gd name="connsiteY3379" fmla="*/ 99701 h 458350"/>
                  <a:gd name="connsiteX3380" fmla="*/ 625781 w 1253076"/>
                  <a:gd name="connsiteY3380" fmla="*/ 98186 h 458350"/>
                  <a:gd name="connsiteX3381" fmla="*/ 624872 w 1253076"/>
                  <a:gd name="connsiteY3381" fmla="*/ 96519 h 458350"/>
                  <a:gd name="connsiteX3382" fmla="*/ 620781 w 1253076"/>
                  <a:gd name="connsiteY3382" fmla="*/ 92125 h 458350"/>
                  <a:gd name="connsiteX3383" fmla="*/ 618507 w 1253076"/>
                  <a:gd name="connsiteY3383" fmla="*/ 88640 h 458350"/>
                  <a:gd name="connsiteX3384" fmla="*/ 618053 w 1253076"/>
                  <a:gd name="connsiteY3384" fmla="*/ 86518 h 458350"/>
                  <a:gd name="connsiteX3385" fmla="*/ 616993 w 1253076"/>
                  <a:gd name="connsiteY3385" fmla="*/ 85761 h 458350"/>
                  <a:gd name="connsiteX3386" fmla="*/ 614719 w 1253076"/>
                  <a:gd name="connsiteY3386" fmla="*/ 84852 h 458350"/>
                  <a:gd name="connsiteX3387" fmla="*/ 613962 w 1253076"/>
                  <a:gd name="connsiteY3387" fmla="*/ 84397 h 458350"/>
                  <a:gd name="connsiteX3388" fmla="*/ 614719 w 1253076"/>
                  <a:gd name="connsiteY3388" fmla="*/ 83488 h 458350"/>
                  <a:gd name="connsiteX3389" fmla="*/ 615629 w 1253076"/>
                  <a:gd name="connsiteY3389" fmla="*/ 82730 h 458350"/>
                  <a:gd name="connsiteX3390" fmla="*/ 613962 w 1253076"/>
                  <a:gd name="connsiteY3390" fmla="*/ 81973 h 458350"/>
                  <a:gd name="connsiteX3391" fmla="*/ 612144 w 1253076"/>
                  <a:gd name="connsiteY3391" fmla="*/ 81518 h 458350"/>
                  <a:gd name="connsiteX3392" fmla="*/ 613962 w 1253076"/>
                  <a:gd name="connsiteY3392" fmla="*/ 80912 h 458350"/>
                  <a:gd name="connsiteX3393" fmla="*/ 613205 w 1253076"/>
                  <a:gd name="connsiteY3393" fmla="*/ 79397 h 458350"/>
                  <a:gd name="connsiteX3394" fmla="*/ 613205 w 1253076"/>
                  <a:gd name="connsiteY3394" fmla="*/ 77730 h 458350"/>
                  <a:gd name="connsiteX3395" fmla="*/ 611992 w 1253076"/>
                  <a:gd name="connsiteY3395" fmla="*/ 76821 h 458350"/>
                  <a:gd name="connsiteX3396" fmla="*/ 610326 w 1253076"/>
                  <a:gd name="connsiteY3396" fmla="*/ 76670 h 458350"/>
                  <a:gd name="connsiteX3397" fmla="*/ 608052 w 1253076"/>
                  <a:gd name="connsiteY3397" fmla="*/ 75003 h 458350"/>
                  <a:gd name="connsiteX3398" fmla="*/ 606084 w 1253076"/>
                  <a:gd name="connsiteY3398" fmla="*/ 74245 h 458350"/>
                  <a:gd name="connsiteX3399" fmla="*/ 605174 w 1253076"/>
                  <a:gd name="connsiteY3399" fmla="*/ 72882 h 458350"/>
                  <a:gd name="connsiteX3400" fmla="*/ 606841 w 1253076"/>
                  <a:gd name="connsiteY3400" fmla="*/ 69548 h 458350"/>
                  <a:gd name="connsiteX3401" fmla="*/ 605780 w 1253076"/>
                  <a:gd name="connsiteY3401" fmla="*/ 67881 h 458350"/>
                  <a:gd name="connsiteX3402" fmla="*/ 600931 w 1253076"/>
                  <a:gd name="connsiteY3402" fmla="*/ 63336 h 458350"/>
                  <a:gd name="connsiteX3403" fmla="*/ 599567 w 1253076"/>
                  <a:gd name="connsiteY3403" fmla="*/ 62730 h 458350"/>
                  <a:gd name="connsiteX3404" fmla="*/ 598053 w 1253076"/>
                  <a:gd name="connsiteY3404" fmla="*/ 62427 h 458350"/>
                  <a:gd name="connsiteX3405" fmla="*/ 601235 w 1253076"/>
                  <a:gd name="connsiteY3405" fmla="*/ 61972 h 458350"/>
                  <a:gd name="connsiteX3406" fmla="*/ 604416 w 1253076"/>
                  <a:gd name="connsiteY3406" fmla="*/ 61972 h 458350"/>
                  <a:gd name="connsiteX3407" fmla="*/ 608811 w 1253076"/>
                  <a:gd name="connsiteY3407" fmla="*/ 62275 h 458350"/>
                  <a:gd name="connsiteX3408" fmla="*/ 610022 w 1253076"/>
                  <a:gd name="connsiteY3408" fmla="*/ 61214 h 458350"/>
                  <a:gd name="connsiteX3409" fmla="*/ 610477 w 1253076"/>
                  <a:gd name="connsiteY3409" fmla="*/ 59396 h 458350"/>
                  <a:gd name="connsiteX3410" fmla="*/ 611992 w 1253076"/>
                  <a:gd name="connsiteY3410" fmla="*/ 60760 h 458350"/>
                  <a:gd name="connsiteX3411" fmla="*/ 613660 w 1253076"/>
                  <a:gd name="connsiteY3411" fmla="*/ 61972 h 458350"/>
                  <a:gd name="connsiteX3412" fmla="*/ 615932 w 1253076"/>
                  <a:gd name="connsiteY3412" fmla="*/ 61669 h 458350"/>
                  <a:gd name="connsiteX3413" fmla="*/ 617598 w 1253076"/>
                  <a:gd name="connsiteY3413" fmla="*/ 60457 h 458350"/>
                  <a:gd name="connsiteX3414" fmla="*/ 617144 w 1253076"/>
                  <a:gd name="connsiteY3414" fmla="*/ 59245 h 458350"/>
                  <a:gd name="connsiteX3415" fmla="*/ 616387 w 1253076"/>
                  <a:gd name="connsiteY3415" fmla="*/ 58184 h 458350"/>
                  <a:gd name="connsiteX3416" fmla="*/ 616235 w 1253076"/>
                  <a:gd name="connsiteY3416" fmla="*/ 57426 h 458350"/>
                  <a:gd name="connsiteX3417" fmla="*/ 613810 w 1253076"/>
                  <a:gd name="connsiteY3417" fmla="*/ 55154 h 458350"/>
                  <a:gd name="connsiteX3418" fmla="*/ 611841 w 1253076"/>
                  <a:gd name="connsiteY3418" fmla="*/ 53790 h 458350"/>
                  <a:gd name="connsiteX3419" fmla="*/ 611690 w 1253076"/>
                  <a:gd name="connsiteY3419" fmla="*/ 52275 h 458350"/>
                  <a:gd name="connsiteX3420" fmla="*/ 609113 w 1253076"/>
                  <a:gd name="connsiteY3420" fmla="*/ 49850 h 458350"/>
                  <a:gd name="connsiteX3421" fmla="*/ 610022 w 1253076"/>
                  <a:gd name="connsiteY3421" fmla="*/ 48335 h 458350"/>
                  <a:gd name="connsiteX3422" fmla="*/ 611841 w 1253076"/>
                  <a:gd name="connsiteY3422" fmla="*/ 47577 h 458350"/>
                  <a:gd name="connsiteX3423" fmla="*/ 611992 w 1253076"/>
                  <a:gd name="connsiteY3423" fmla="*/ 47426 h 458350"/>
                  <a:gd name="connsiteX3424" fmla="*/ 610931 w 1253076"/>
                  <a:gd name="connsiteY3424" fmla="*/ 47426 h 458350"/>
                  <a:gd name="connsiteX3425" fmla="*/ 608507 w 1253076"/>
                  <a:gd name="connsiteY3425" fmla="*/ 46820 h 458350"/>
                  <a:gd name="connsiteX3426" fmla="*/ 603810 w 1253076"/>
                  <a:gd name="connsiteY3426" fmla="*/ 43941 h 458350"/>
                  <a:gd name="connsiteX3427" fmla="*/ 598962 w 1253076"/>
                  <a:gd name="connsiteY3427" fmla="*/ 42880 h 458350"/>
                  <a:gd name="connsiteX3428" fmla="*/ 591991 w 1253076"/>
                  <a:gd name="connsiteY3428" fmla="*/ 42729 h 458350"/>
                  <a:gd name="connsiteX3429" fmla="*/ 588053 w 1253076"/>
                  <a:gd name="connsiteY3429" fmla="*/ 42274 h 458350"/>
                  <a:gd name="connsiteX3430" fmla="*/ 586385 w 1253076"/>
                  <a:gd name="connsiteY3430" fmla="*/ 42729 h 458350"/>
                  <a:gd name="connsiteX3431" fmla="*/ 585022 w 1253076"/>
                  <a:gd name="connsiteY3431" fmla="*/ 42729 h 458350"/>
                  <a:gd name="connsiteX3432" fmla="*/ 584113 w 1253076"/>
                  <a:gd name="connsiteY3432" fmla="*/ 42123 h 458350"/>
                  <a:gd name="connsiteX3433" fmla="*/ 583052 w 1253076"/>
                  <a:gd name="connsiteY3433" fmla="*/ 41820 h 458350"/>
                  <a:gd name="connsiteX3434" fmla="*/ 580325 w 1253076"/>
                  <a:gd name="connsiteY3434" fmla="*/ 43487 h 458350"/>
                  <a:gd name="connsiteX3435" fmla="*/ 579112 w 1253076"/>
                  <a:gd name="connsiteY3435" fmla="*/ 43032 h 458350"/>
                  <a:gd name="connsiteX3436" fmla="*/ 578203 w 1253076"/>
                  <a:gd name="connsiteY3436" fmla="*/ 42274 h 458350"/>
                  <a:gd name="connsiteX3437" fmla="*/ 575930 w 1253076"/>
                  <a:gd name="connsiteY3437" fmla="*/ 41971 h 458350"/>
                  <a:gd name="connsiteX3438" fmla="*/ 573203 w 1253076"/>
                  <a:gd name="connsiteY3438" fmla="*/ 42123 h 458350"/>
                  <a:gd name="connsiteX3439" fmla="*/ 570172 w 1253076"/>
                  <a:gd name="connsiteY3439" fmla="*/ 43941 h 458350"/>
                  <a:gd name="connsiteX3440" fmla="*/ 566688 w 1253076"/>
                  <a:gd name="connsiteY3440" fmla="*/ 42426 h 458350"/>
                  <a:gd name="connsiteX3441" fmla="*/ 565779 w 1253076"/>
                  <a:gd name="connsiteY3441" fmla="*/ 42426 h 458350"/>
                  <a:gd name="connsiteX3442" fmla="*/ 565173 w 1253076"/>
                  <a:gd name="connsiteY3442" fmla="*/ 42880 h 458350"/>
                  <a:gd name="connsiteX3443" fmla="*/ 563657 w 1253076"/>
                  <a:gd name="connsiteY3443" fmla="*/ 45002 h 458350"/>
                  <a:gd name="connsiteX3444" fmla="*/ 560778 w 1253076"/>
                  <a:gd name="connsiteY3444" fmla="*/ 46668 h 458350"/>
                  <a:gd name="connsiteX3445" fmla="*/ 559415 w 1253076"/>
                  <a:gd name="connsiteY3445" fmla="*/ 49699 h 458350"/>
                  <a:gd name="connsiteX3446" fmla="*/ 558506 w 1253076"/>
                  <a:gd name="connsiteY3446" fmla="*/ 52578 h 458350"/>
                  <a:gd name="connsiteX3447" fmla="*/ 557748 w 1253076"/>
                  <a:gd name="connsiteY3447" fmla="*/ 53638 h 458350"/>
                  <a:gd name="connsiteX3448" fmla="*/ 557597 w 1253076"/>
                  <a:gd name="connsiteY3448" fmla="*/ 59245 h 458350"/>
                  <a:gd name="connsiteX3449" fmla="*/ 557142 w 1253076"/>
                  <a:gd name="connsiteY3449" fmla="*/ 61972 h 458350"/>
                  <a:gd name="connsiteX3450" fmla="*/ 557899 w 1253076"/>
                  <a:gd name="connsiteY3450" fmla="*/ 65608 h 458350"/>
                  <a:gd name="connsiteX3451" fmla="*/ 557748 w 1253076"/>
                  <a:gd name="connsiteY3451" fmla="*/ 67124 h 458350"/>
                  <a:gd name="connsiteX3452" fmla="*/ 556536 w 1253076"/>
                  <a:gd name="connsiteY3452" fmla="*/ 69397 h 458350"/>
                  <a:gd name="connsiteX3453" fmla="*/ 556384 w 1253076"/>
                  <a:gd name="connsiteY3453" fmla="*/ 69851 h 458350"/>
                  <a:gd name="connsiteX3454" fmla="*/ 555779 w 1253076"/>
                  <a:gd name="connsiteY3454" fmla="*/ 73488 h 458350"/>
                  <a:gd name="connsiteX3455" fmla="*/ 556081 w 1253076"/>
                  <a:gd name="connsiteY3455" fmla="*/ 74397 h 458350"/>
                  <a:gd name="connsiteX3456" fmla="*/ 555930 w 1253076"/>
                  <a:gd name="connsiteY3456" fmla="*/ 75609 h 458350"/>
                  <a:gd name="connsiteX3457" fmla="*/ 554869 w 1253076"/>
                  <a:gd name="connsiteY3457" fmla="*/ 78185 h 458350"/>
                  <a:gd name="connsiteX3458" fmla="*/ 552900 w 1253076"/>
                  <a:gd name="connsiteY3458" fmla="*/ 78942 h 458350"/>
                  <a:gd name="connsiteX3459" fmla="*/ 550930 w 1253076"/>
                  <a:gd name="connsiteY3459" fmla="*/ 79397 h 458350"/>
                  <a:gd name="connsiteX3460" fmla="*/ 549263 w 1253076"/>
                  <a:gd name="connsiteY3460" fmla="*/ 78488 h 458350"/>
                  <a:gd name="connsiteX3461" fmla="*/ 547748 w 1253076"/>
                  <a:gd name="connsiteY3461" fmla="*/ 79851 h 458350"/>
                  <a:gd name="connsiteX3462" fmla="*/ 545778 w 1253076"/>
                  <a:gd name="connsiteY3462" fmla="*/ 81973 h 458350"/>
                  <a:gd name="connsiteX3463" fmla="*/ 544869 w 1253076"/>
                  <a:gd name="connsiteY3463" fmla="*/ 83488 h 458350"/>
                  <a:gd name="connsiteX3464" fmla="*/ 544869 w 1253076"/>
                  <a:gd name="connsiteY3464" fmla="*/ 84852 h 458350"/>
                  <a:gd name="connsiteX3465" fmla="*/ 545020 w 1253076"/>
                  <a:gd name="connsiteY3465" fmla="*/ 85761 h 458350"/>
                  <a:gd name="connsiteX3466" fmla="*/ 544566 w 1253076"/>
                  <a:gd name="connsiteY3466" fmla="*/ 86670 h 458350"/>
                  <a:gd name="connsiteX3467" fmla="*/ 544566 w 1253076"/>
                  <a:gd name="connsiteY3467" fmla="*/ 87731 h 458350"/>
                  <a:gd name="connsiteX3468" fmla="*/ 544717 w 1253076"/>
                  <a:gd name="connsiteY3468" fmla="*/ 89094 h 458350"/>
                  <a:gd name="connsiteX3469" fmla="*/ 546081 w 1253076"/>
                  <a:gd name="connsiteY3469" fmla="*/ 89700 h 458350"/>
                  <a:gd name="connsiteX3470" fmla="*/ 547445 w 1253076"/>
                  <a:gd name="connsiteY3470" fmla="*/ 90912 h 458350"/>
                  <a:gd name="connsiteX3471" fmla="*/ 547445 w 1253076"/>
                  <a:gd name="connsiteY3471" fmla="*/ 92125 h 458350"/>
                  <a:gd name="connsiteX3472" fmla="*/ 546687 w 1253076"/>
                  <a:gd name="connsiteY3472" fmla="*/ 92882 h 458350"/>
                  <a:gd name="connsiteX3473" fmla="*/ 544869 w 1253076"/>
                  <a:gd name="connsiteY3473" fmla="*/ 94094 h 458350"/>
                  <a:gd name="connsiteX3474" fmla="*/ 541687 w 1253076"/>
                  <a:gd name="connsiteY3474" fmla="*/ 96670 h 458350"/>
                  <a:gd name="connsiteX3475" fmla="*/ 538050 w 1253076"/>
                  <a:gd name="connsiteY3475" fmla="*/ 98943 h 458350"/>
                  <a:gd name="connsiteX3476" fmla="*/ 536687 w 1253076"/>
                  <a:gd name="connsiteY3476" fmla="*/ 99398 h 458350"/>
                  <a:gd name="connsiteX3477" fmla="*/ 536232 w 1253076"/>
                  <a:gd name="connsiteY3477" fmla="*/ 100458 h 458350"/>
                  <a:gd name="connsiteX3478" fmla="*/ 535929 w 1253076"/>
                  <a:gd name="connsiteY3478" fmla="*/ 101822 h 458350"/>
                  <a:gd name="connsiteX3479" fmla="*/ 536687 w 1253076"/>
                  <a:gd name="connsiteY3479" fmla="*/ 104852 h 458350"/>
                  <a:gd name="connsiteX3480" fmla="*/ 537444 w 1253076"/>
                  <a:gd name="connsiteY3480" fmla="*/ 105762 h 458350"/>
                  <a:gd name="connsiteX3481" fmla="*/ 537899 w 1253076"/>
                  <a:gd name="connsiteY3481" fmla="*/ 106822 h 458350"/>
                  <a:gd name="connsiteX3482" fmla="*/ 537444 w 1253076"/>
                  <a:gd name="connsiteY3482" fmla="*/ 108034 h 458350"/>
                  <a:gd name="connsiteX3483" fmla="*/ 537141 w 1253076"/>
                  <a:gd name="connsiteY3483" fmla="*/ 109095 h 458350"/>
                  <a:gd name="connsiteX3484" fmla="*/ 535778 w 1253076"/>
                  <a:gd name="connsiteY3484" fmla="*/ 109701 h 458350"/>
                  <a:gd name="connsiteX3485" fmla="*/ 534414 w 1253076"/>
                  <a:gd name="connsiteY3485" fmla="*/ 110156 h 458350"/>
                  <a:gd name="connsiteX3486" fmla="*/ 533959 w 1253076"/>
                  <a:gd name="connsiteY3486" fmla="*/ 111065 h 458350"/>
                  <a:gd name="connsiteX3487" fmla="*/ 533202 w 1253076"/>
                  <a:gd name="connsiteY3487" fmla="*/ 114701 h 458350"/>
                  <a:gd name="connsiteX3488" fmla="*/ 532444 w 1253076"/>
                  <a:gd name="connsiteY3488" fmla="*/ 116519 h 458350"/>
                  <a:gd name="connsiteX3489" fmla="*/ 530626 w 1253076"/>
                  <a:gd name="connsiteY3489" fmla="*/ 119247 h 458350"/>
                  <a:gd name="connsiteX3490" fmla="*/ 530020 w 1253076"/>
                  <a:gd name="connsiteY3490" fmla="*/ 120459 h 458350"/>
                  <a:gd name="connsiteX3491" fmla="*/ 529111 w 1253076"/>
                  <a:gd name="connsiteY3491" fmla="*/ 120914 h 458350"/>
                  <a:gd name="connsiteX3492" fmla="*/ 525626 w 1253076"/>
                  <a:gd name="connsiteY3492" fmla="*/ 119550 h 458350"/>
                  <a:gd name="connsiteX3493" fmla="*/ 522595 w 1253076"/>
                  <a:gd name="connsiteY3493" fmla="*/ 120307 h 458350"/>
                  <a:gd name="connsiteX3494" fmla="*/ 518504 w 1253076"/>
                  <a:gd name="connsiteY3494" fmla="*/ 120762 h 458350"/>
                  <a:gd name="connsiteX3495" fmla="*/ 515019 w 1253076"/>
                  <a:gd name="connsiteY3495" fmla="*/ 120611 h 458350"/>
                  <a:gd name="connsiteX3496" fmla="*/ 512292 w 1253076"/>
                  <a:gd name="connsiteY3496" fmla="*/ 121217 h 458350"/>
                  <a:gd name="connsiteX3497" fmla="*/ 510474 w 1253076"/>
                  <a:gd name="connsiteY3497" fmla="*/ 122732 h 458350"/>
                  <a:gd name="connsiteX3498" fmla="*/ 508352 w 1253076"/>
                  <a:gd name="connsiteY3498" fmla="*/ 124550 h 458350"/>
                  <a:gd name="connsiteX3499" fmla="*/ 506231 w 1253076"/>
                  <a:gd name="connsiteY3499" fmla="*/ 125914 h 458350"/>
                  <a:gd name="connsiteX3500" fmla="*/ 504564 w 1253076"/>
                  <a:gd name="connsiteY3500" fmla="*/ 126520 h 458350"/>
                  <a:gd name="connsiteX3501" fmla="*/ 501534 w 1253076"/>
                  <a:gd name="connsiteY3501" fmla="*/ 124550 h 458350"/>
                  <a:gd name="connsiteX3502" fmla="*/ 500019 w 1253076"/>
                  <a:gd name="connsiteY3502" fmla="*/ 124702 h 458350"/>
                  <a:gd name="connsiteX3503" fmla="*/ 497291 w 1253076"/>
                  <a:gd name="connsiteY3503" fmla="*/ 124095 h 458350"/>
                  <a:gd name="connsiteX3504" fmla="*/ 490927 w 1253076"/>
                  <a:gd name="connsiteY3504" fmla="*/ 121823 h 458350"/>
                  <a:gd name="connsiteX3505" fmla="*/ 489412 w 1253076"/>
                  <a:gd name="connsiteY3505" fmla="*/ 121217 h 458350"/>
                  <a:gd name="connsiteX3506" fmla="*/ 487745 w 1253076"/>
                  <a:gd name="connsiteY3506" fmla="*/ 121217 h 458350"/>
                  <a:gd name="connsiteX3507" fmla="*/ 487291 w 1253076"/>
                  <a:gd name="connsiteY3507" fmla="*/ 120611 h 458350"/>
                  <a:gd name="connsiteX3508" fmla="*/ 487594 w 1253076"/>
                  <a:gd name="connsiteY3508" fmla="*/ 119550 h 458350"/>
                  <a:gd name="connsiteX3509" fmla="*/ 487291 w 1253076"/>
                  <a:gd name="connsiteY3509" fmla="*/ 118186 h 458350"/>
                  <a:gd name="connsiteX3510" fmla="*/ 486079 w 1253076"/>
                  <a:gd name="connsiteY3510" fmla="*/ 117732 h 458350"/>
                  <a:gd name="connsiteX3511" fmla="*/ 473351 w 1253076"/>
                  <a:gd name="connsiteY3511" fmla="*/ 117883 h 458350"/>
                  <a:gd name="connsiteX3512" fmla="*/ 469714 w 1253076"/>
                  <a:gd name="connsiteY3512" fmla="*/ 119095 h 458350"/>
                  <a:gd name="connsiteX3513" fmla="*/ 467290 w 1253076"/>
                  <a:gd name="connsiteY3513" fmla="*/ 120004 h 458350"/>
                  <a:gd name="connsiteX3514" fmla="*/ 465472 w 1253076"/>
                  <a:gd name="connsiteY3514" fmla="*/ 121065 h 458350"/>
                  <a:gd name="connsiteX3515" fmla="*/ 465017 w 1253076"/>
                  <a:gd name="connsiteY3515" fmla="*/ 123792 h 458350"/>
                  <a:gd name="connsiteX3516" fmla="*/ 463957 w 1253076"/>
                  <a:gd name="connsiteY3516" fmla="*/ 126368 h 458350"/>
                  <a:gd name="connsiteX3517" fmla="*/ 462593 w 1253076"/>
                  <a:gd name="connsiteY3517" fmla="*/ 129096 h 458350"/>
                  <a:gd name="connsiteX3518" fmla="*/ 458350 w 1253076"/>
                  <a:gd name="connsiteY3518" fmla="*/ 129853 h 458350"/>
                  <a:gd name="connsiteX3519" fmla="*/ 455169 w 1253076"/>
                  <a:gd name="connsiteY3519" fmla="*/ 132581 h 458350"/>
                  <a:gd name="connsiteX3520" fmla="*/ 454108 w 1253076"/>
                  <a:gd name="connsiteY3520" fmla="*/ 132884 h 458350"/>
                  <a:gd name="connsiteX3521" fmla="*/ 451987 w 1253076"/>
                  <a:gd name="connsiteY3521" fmla="*/ 132429 h 458350"/>
                  <a:gd name="connsiteX3522" fmla="*/ 449714 w 1253076"/>
                  <a:gd name="connsiteY3522" fmla="*/ 132126 h 458350"/>
                  <a:gd name="connsiteX3523" fmla="*/ 448047 w 1253076"/>
                  <a:gd name="connsiteY3523" fmla="*/ 132884 h 458350"/>
                  <a:gd name="connsiteX3524" fmla="*/ 446380 w 1253076"/>
                  <a:gd name="connsiteY3524" fmla="*/ 132884 h 458350"/>
                  <a:gd name="connsiteX3525" fmla="*/ 441077 w 1253076"/>
                  <a:gd name="connsiteY3525" fmla="*/ 131520 h 458350"/>
                  <a:gd name="connsiteX3526" fmla="*/ 436077 w 1253076"/>
                  <a:gd name="connsiteY3526" fmla="*/ 131368 h 458350"/>
                  <a:gd name="connsiteX3527" fmla="*/ 433198 w 1253076"/>
                  <a:gd name="connsiteY3527" fmla="*/ 131975 h 458350"/>
                  <a:gd name="connsiteX3528" fmla="*/ 431683 w 1253076"/>
                  <a:gd name="connsiteY3528" fmla="*/ 132278 h 458350"/>
                  <a:gd name="connsiteX3529" fmla="*/ 422895 w 1253076"/>
                  <a:gd name="connsiteY3529" fmla="*/ 136066 h 458350"/>
                  <a:gd name="connsiteX3530" fmla="*/ 419864 w 1253076"/>
                  <a:gd name="connsiteY3530" fmla="*/ 136520 h 458350"/>
                  <a:gd name="connsiteX3531" fmla="*/ 418652 w 1253076"/>
                  <a:gd name="connsiteY3531" fmla="*/ 135914 h 458350"/>
                  <a:gd name="connsiteX3532" fmla="*/ 416985 w 1253076"/>
                  <a:gd name="connsiteY3532" fmla="*/ 134399 h 458350"/>
                  <a:gd name="connsiteX3533" fmla="*/ 414712 w 1253076"/>
                  <a:gd name="connsiteY3533" fmla="*/ 132884 h 458350"/>
                  <a:gd name="connsiteX3534" fmla="*/ 409258 w 1253076"/>
                  <a:gd name="connsiteY3534" fmla="*/ 127580 h 458350"/>
                  <a:gd name="connsiteX3535" fmla="*/ 407288 w 1253076"/>
                  <a:gd name="connsiteY3535" fmla="*/ 126368 h 458350"/>
                  <a:gd name="connsiteX3536" fmla="*/ 405924 w 1253076"/>
                  <a:gd name="connsiteY3536" fmla="*/ 125156 h 458350"/>
                  <a:gd name="connsiteX3537" fmla="*/ 404712 w 1253076"/>
                  <a:gd name="connsiteY3537" fmla="*/ 123641 h 458350"/>
                  <a:gd name="connsiteX3538" fmla="*/ 402894 w 1253076"/>
                  <a:gd name="connsiteY3538" fmla="*/ 121974 h 458350"/>
                  <a:gd name="connsiteX3539" fmla="*/ 401227 w 1253076"/>
                  <a:gd name="connsiteY3539" fmla="*/ 120914 h 458350"/>
                  <a:gd name="connsiteX3540" fmla="*/ 398954 w 1253076"/>
                  <a:gd name="connsiteY3540" fmla="*/ 118641 h 458350"/>
                  <a:gd name="connsiteX3541" fmla="*/ 396681 w 1253076"/>
                  <a:gd name="connsiteY3541" fmla="*/ 116216 h 458350"/>
                  <a:gd name="connsiteX3542" fmla="*/ 396227 w 1253076"/>
                  <a:gd name="connsiteY3542" fmla="*/ 111822 h 458350"/>
                  <a:gd name="connsiteX3543" fmla="*/ 394409 w 1253076"/>
                  <a:gd name="connsiteY3543" fmla="*/ 111065 h 458350"/>
                  <a:gd name="connsiteX3544" fmla="*/ 393802 w 1253076"/>
                  <a:gd name="connsiteY3544" fmla="*/ 109852 h 458350"/>
                  <a:gd name="connsiteX3545" fmla="*/ 393499 w 1253076"/>
                  <a:gd name="connsiteY3545" fmla="*/ 108489 h 458350"/>
                  <a:gd name="connsiteX3546" fmla="*/ 395924 w 1253076"/>
                  <a:gd name="connsiteY3546" fmla="*/ 104852 h 458350"/>
                  <a:gd name="connsiteX3547" fmla="*/ 389105 w 1253076"/>
                  <a:gd name="connsiteY3547" fmla="*/ 107731 h 458350"/>
                  <a:gd name="connsiteX3548" fmla="*/ 387439 w 1253076"/>
                  <a:gd name="connsiteY3548" fmla="*/ 110459 h 458350"/>
                  <a:gd name="connsiteX3549" fmla="*/ 386226 w 1253076"/>
                  <a:gd name="connsiteY3549" fmla="*/ 113641 h 458350"/>
                  <a:gd name="connsiteX3550" fmla="*/ 383348 w 1253076"/>
                  <a:gd name="connsiteY3550" fmla="*/ 116368 h 458350"/>
                  <a:gd name="connsiteX3551" fmla="*/ 380923 w 1253076"/>
                  <a:gd name="connsiteY3551" fmla="*/ 119398 h 458350"/>
                  <a:gd name="connsiteX3552" fmla="*/ 380317 w 1253076"/>
                  <a:gd name="connsiteY3552" fmla="*/ 120914 h 458350"/>
                  <a:gd name="connsiteX3553" fmla="*/ 379105 w 1253076"/>
                  <a:gd name="connsiteY3553" fmla="*/ 126368 h 458350"/>
                  <a:gd name="connsiteX3554" fmla="*/ 380620 w 1253076"/>
                  <a:gd name="connsiteY3554" fmla="*/ 126217 h 458350"/>
                  <a:gd name="connsiteX3555" fmla="*/ 381529 w 1253076"/>
                  <a:gd name="connsiteY3555" fmla="*/ 125914 h 458350"/>
                  <a:gd name="connsiteX3556" fmla="*/ 382438 w 1253076"/>
                  <a:gd name="connsiteY3556" fmla="*/ 126065 h 458350"/>
                  <a:gd name="connsiteX3557" fmla="*/ 381226 w 1253076"/>
                  <a:gd name="connsiteY3557" fmla="*/ 126823 h 458350"/>
                  <a:gd name="connsiteX3558" fmla="*/ 379711 w 1253076"/>
                  <a:gd name="connsiteY3558" fmla="*/ 127278 h 458350"/>
                  <a:gd name="connsiteX3559" fmla="*/ 377741 w 1253076"/>
                  <a:gd name="connsiteY3559" fmla="*/ 129247 h 458350"/>
                  <a:gd name="connsiteX3560" fmla="*/ 376529 w 1253076"/>
                  <a:gd name="connsiteY3560" fmla="*/ 135308 h 458350"/>
                  <a:gd name="connsiteX3561" fmla="*/ 376226 w 1253076"/>
                  <a:gd name="connsiteY3561" fmla="*/ 138490 h 458350"/>
                  <a:gd name="connsiteX3562" fmla="*/ 376681 w 1253076"/>
                  <a:gd name="connsiteY3562" fmla="*/ 145611 h 458350"/>
                  <a:gd name="connsiteX3563" fmla="*/ 377287 w 1253076"/>
                  <a:gd name="connsiteY3563" fmla="*/ 150460 h 458350"/>
                  <a:gd name="connsiteX3564" fmla="*/ 380923 w 1253076"/>
                  <a:gd name="connsiteY3564" fmla="*/ 153187 h 458350"/>
                  <a:gd name="connsiteX3565" fmla="*/ 382893 w 1253076"/>
                  <a:gd name="connsiteY3565" fmla="*/ 155460 h 458350"/>
                  <a:gd name="connsiteX3566" fmla="*/ 383802 w 1253076"/>
                  <a:gd name="connsiteY3566" fmla="*/ 156824 h 458350"/>
                  <a:gd name="connsiteX3567" fmla="*/ 384863 w 1253076"/>
                  <a:gd name="connsiteY3567" fmla="*/ 158036 h 458350"/>
                  <a:gd name="connsiteX3568" fmla="*/ 385621 w 1253076"/>
                  <a:gd name="connsiteY3568" fmla="*/ 158491 h 458350"/>
                  <a:gd name="connsiteX3569" fmla="*/ 385923 w 1253076"/>
                  <a:gd name="connsiteY3569" fmla="*/ 159097 h 458350"/>
                  <a:gd name="connsiteX3570" fmla="*/ 384257 w 1253076"/>
                  <a:gd name="connsiteY3570" fmla="*/ 160157 h 458350"/>
                  <a:gd name="connsiteX3571" fmla="*/ 383499 w 1253076"/>
                  <a:gd name="connsiteY3571" fmla="*/ 163794 h 458350"/>
                  <a:gd name="connsiteX3572" fmla="*/ 383045 w 1253076"/>
                  <a:gd name="connsiteY3572" fmla="*/ 165006 h 458350"/>
                  <a:gd name="connsiteX3573" fmla="*/ 382287 w 1253076"/>
                  <a:gd name="connsiteY3573" fmla="*/ 167127 h 458350"/>
                  <a:gd name="connsiteX3574" fmla="*/ 382287 w 1253076"/>
                  <a:gd name="connsiteY3574" fmla="*/ 170612 h 458350"/>
                  <a:gd name="connsiteX3575" fmla="*/ 382590 w 1253076"/>
                  <a:gd name="connsiteY3575" fmla="*/ 172128 h 458350"/>
                  <a:gd name="connsiteX3576" fmla="*/ 383348 w 1253076"/>
                  <a:gd name="connsiteY3576" fmla="*/ 173491 h 458350"/>
                  <a:gd name="connsiteX3577" fmla="*/ 385923 w 1253076"/>
                  <a:gd name="connsiteY3577" fmla="*/ 175764 h 458350"/>
                  <a:gd name="connsiteX3578" fmla="*/ 389105 w 1253076"/>
                  <a:gd name="connsiteY3578" fmla="*/ 177431 h 458350"/>
                  <a:gd name="connsiteX3579" fmla="*/ 388954 w 1253076"/>
                  <a:gd name="connsiteY3579" fmla="*/ 178188 h 458350"/>
                  <a:gd name="connsiteX3580" fmla="*/ 387439 w 1253076"/>
                  <a:gd name="connsiteY3580" fmla="*/ 178491 h 458350"/>
                  <a:gd name="connsiteX3581" fmla="*/ 386378 w 1253076"/>
                  <a:gd name="connsiteY3581" fmla="*/ 179855 h 458350"/>
                  <a:gd name="connsiteX3582" fmla="*/ 386075 w 1253076"/>
                  <a:gd name="connsiteY3582" fmla="*/ 181976 h 458350"/>
                  <a:gd name="connsiteX3583" fmla="*/ 386833 w 1253076"/>
                  <a:gd name="connsiteY3583" fmla="*/ 183037 h 458350"/>
                  <a:gd name="connsiteX3584" fmla="*/ 388045 w 1253076"/>
                  <a:gd name="connsiteY3584" fmla="*/ 183795 h 458350"/>
                  <a:gd name="connsiteX3585" fmla="*/ 391378 w 1253076"/>
                  <a:gd name="connsiteY3585" fmla="*/ 183643 h 458350"/>
                  <a:gd name="connsiteX3586" fmla="*/ 397590 w 1253076"/>
                  <a:gd name="connsiteY3586" fmla="*/ 185765 h 458350"/>
                  <a:gd name="connsiteX3587" fmla="*/ 400469 w 1253076"/>
                  <a:gd name="connsiteY3587" fmla="*/ 187583 h 458350"/>
                  <a:gd name="connsiteX3588" fmla="*/ 402894 w 1253076"/>
                  <a:gd name="connsiteY3588" fmla="*/ 190007 h 458350"/>
                  <a:gd name="connsiteX3589" fmla="*/ 404712 w 1253076"/>
                  <a:gd name="connsiteY3589" fmla="*/ 192128 h 458350"/>
                  <a:gd name="connsiteX3590" fmla="*/ 405924 w 1253076"/>
                  <a:gd name="connsiteY3590" fmla="*/ 194704 h 458350"/>
                  <a:gd name="connsiteX3591" fmla="*/ 406833 w 1253076"/>
                  <a:gd name="connsiteY3591" fmla="*/ 198038 h 458350"/>
                  <a:gd name="connsiteX3592" fmla="*/ 407288 w 1253076"/>
                  <a:gd name="connsiteY3592" fmla="*/ 201523 h 458350"/>
                  <a:gd name="connsiteX3593" fmla="*/ 406985 w 1253076"/>
                  <a:gd name="connsiteY3593" fmla="*/ 204705 h 458350"/>
                  <a:gd name="connsiteX3594" fmla="*/ 405318 w 1253076"/>
                  <a:gd name="connsiteY3594" fmla="*/ 207432 h 458350"/>
                  <a:gd name="connsiteX3595" fmla="*/ 405166 w 1253076"/>
                  <a:gd name="connsiteY3595" fmla="*/ 210765 h 458350"/>
                  <a:gd name="connsiteX3596" fmla="*/ 408349 w 1253076"/>
                  <a:gd name="connsiteY3596" fmla="*/ 213038 h 458350"/>
                  <a:gd name="connsiteX3597" fmla="*/ 408954 w 1253076"/>
                  <a:gd name="connsiteY3597" fmla="*/ 214553 h 458350"/>
                  <a:gd name="connsiteX3598" fmla="*/ 409712 w 1253076"/>
                  <a:gd name="connsiteY3598" fmla="*/ 220917 h 458350"/>
                  <a:gd name="connsiteX3599" fmla="*/ 412440 w 1253076"/>
                  <a:gd name="connsiteY3599" fmla="*/ 233342 h 458350"/>
                  <a:gd name="connsiteX3600" fmla="*/ 412591 w 1253076"/>
                  <a:gd name="connsiteY3600" fmla="*/ 239706 h 458350"/>
                  <a:gd name="connsiteX3601" fmla="*/ 413197 w 1253076"/>
                  <a:gd name="connsiteY3601" fmla="*/ 240766 h 458350"/>
                  <a:gd name="connsiteX3602" fmla="*/ 414409 w 1253076"/>
                  <a:gd name="connsiteY3602" fmla="*/ 241221 h 458350"/>
                  <a:gd name="connsiteX3603" fmla="*/ 415773 w 1253076"/>
                  <a:gd name="connsiteY3603" fmla="*/ 240160 h 458350"/>
                  <a:gd name="connsiteX3604" fmla="*/ 416530 w 1253076"/>
                  <a:gd name="connsiteY3604" fmla="*/ 239857 h 458350"/>
                  <a:gd name="connsiteX3605" fmla="*/ 421834 w 1253076"/>
                  <a:gd name="connsiteY3605" fmla="*/ 238645 h 458350"/>
                  <a:gd name="connsiteX3606" fmla="*/ 424410 w 1253076"/>
                  <a:gd name="connsiteY3606" fmla="*/ 241676 h 458350"/>
                  <a:gd name="connsiteX3607" fmla="*/ 425319 w 1253076"/>
                  <a:gd name="connsiteY3607" fmla="*/ 242130 h 458350"/>
                  <a:gd name="connsiteX3608" fmla="*/ 426228 w 1253076"/>
                  <a:gd name="connsiteY3608" fmla="*/ 241221 h 458350"/>
                  <a:gd name="connsiteX3609" fmla="*/ 428349 w 1253076"/>
                  <a:gd name="connsiteY3609" fmla="*/ 239857 h 458350"/>
                  <a:gd name="connsiteX3610" fmla="*/ 430773 w 1253076"/>
                  <a:gd name="connsiteY3610" fmla="*/ 239100 h 458350"/>
                  <a:gd name="connsiteX3611" fmla="*/ 429410 w 1253076"/>
                  <a:gd name="connsiteY3611" fmla="*/ 240160 h 458350"/>
                  <a:gd name="connsiteX3612" fmla="*/ 428804 w 1253076"/>
                  <a:gd name="connsiteY3612" fmla="*/ 241524 h 458350"/>
                  <a:gd name="connsiteX3613" fmla="*/ 429864 w 1253076"/>
                  <a:gd name="connsiteY3613" fmla="*/ 243039 h 458350"/>
                  <a:gd name="connsiteX3614" fmla="*/ 431531 w 1253076"/>
                  <a:gd name="connsiteY3614" fmla="*/ 243645 h 458350"/>
                  <a:gd name="connsiteX3615" fmla="*/ 434713 w 1253076"/>
                  <a:gd name="connsiteY3615" fmla="*/ 243191 h 458350"/>
                  <a:gd name="connsiteX3616" fmla="*/ 440623 w 1253076"/>
                  <a:gd name="connsiteY3616" fmla="*/ 240463 h 458350"/>
                  <a:gd name="connsiteX3617" fmla="*/ 443653 w 1253076"/>
                  <a:gd name="connsiteY3617" fmla="*/ 239857 h 458350"/>
                  <a:gd name="connsiteX3618" fmla="*/ 447138 w 1253076"/>
                  <a:gd name="connsiteY3618" fmla="*/ 240918 h 458350"/>
                  <a:gd name="connsiteX3619" fmla="*/ 450774 w 1253076"/>
                  <a:gd name="connsiteY3619" fmla="*/ 240918 h 458350"/>
                  <a:gd name="connsiteX3620" fmla="*/ 451683 w 1253076"/>
                  <a:gd name="connsiteY3620" fmla="*/ 239554 h 458350"/>
                  <a:gd name="connsiteX3621" fmla="*/ 452744 w 1253076"/>
                  <a:gd name="connsiteY3621" fmla="*/ 238494 h 458350"/>
                  <a:gd name="connsiteX3622" fmla="*/ 454562 w 1253076"/>
                  <a:gd name="connsiteY3622" fmla="*/ 239857 h 458350"/>
                  <a:gd name="connsiteX3623" fmla="*/ 455926 w 1253076"/>
                  <a:gd name="connsiteY3623" fmla="*/ 241676 h 458350"/>
                  <a:gd name="connsiteX3624" fmla="*/ 456229 w 1253076"/>
                  <a:gd name="connsiteY3624" fmla="*/ 243039 h 458350"/>
                  <a:gd name="connsiteX3625" fmla="*/ 456532 w 1253076"/>
                  <a:gd name="connsiteY3625" fmla="*/ 249858 h 458350"/>
                  <a:gd name="connsiteX3626" fmla="*/ 456532 w 1253076"/>
                  <a:gd name="connsiteY3626" fmla="*/ 252888 h 458350"/>
                  <a:gd name="connsiteX3627" fmla="*/ 456229 w 1253076"/>
                  <a:gd name="connsiteY3627" fmla="*/ 255918 h 458350"/>
                  <a:gd name="connsiteX3628" fmla="*/ 457290 w 1253076"/>
                  <a:gd name="connsiteY3628" fmla="*/ 256373 h 458350"/>
                  <a:gd name="connsiteX3629" fmla="*/ 458653 w 1253076"/>
                  <a:gd name="connsiteY3629" fmla="*/ 256373 h 458350"/>
                  <a:gd name="connsiteX3630" fmla="*/ 460017 w 1253076"/>
                  <a:gd name="connsiteY3630" fmla="*/ 255767 h 458350"/>
                  <a:gd name="connsiteX3631" fmla="*/ 464714 w 1253076"/>
                  <a:gd name="connsiteY3631" fmla="*/ 251676 h 458350"/>
                  <a:gd name="connsiteX3632" fmla="*/ 469108 w 1253076"/>
                  <a:gd name="connsiteY3632" fmla="*/ 250009 h 458350"/>
                  <a:gd name="connsiteX3633" fmla="*/ 473502 w 1253076"/>
                  <a:gd name="connsiteY3633" fmla="*/ 251373 h 458350"/>
                  <a:gd name="connsiteX3634" fmla="*/ 477745 w 1253076"/>
                  <a:gd name="connsiteY3634" fmla="*/ 252130 h 458350"/>
                  <a:gd name="connsiteX3635" fmla="*/ 481988 w 1253076"/>
                  <a:gd name="connsiteY3635" fmla="*/ 250009 h 458350"/>
                  <a:gd name="connsiteX3636" fmla="*/ 487897 w 1253076"/>
                  <a:gd name="connsiteY3636" fmla="*/ 246373 h 458350"/>
                  <a:gd name="connsiteX3637" fmla="*/ 489564 w 1253076"/>
                  <a:gd name="connsiteY3637" fmla="*/ 239403 h 458350"/>
                  <a:gd name="connsiteX3638" fmla="*/ 498049 w 1253076"/>
                  <a:gd name="connsiteY3638" fmla="*/ 247888 h 458350"/>
                  <a:gd name="connsiteX3639" fmla="*/ 498655 w 1253076"/>
                  <a:gd name="connsiteY3639" fmla="*/ 247282 h 458350"/>
                  <a:gd name="connsiteX3640" fmla="*/ 499867 w 1253076"/>
                  <a:gd name="connsiteY3640" fmla="*/ 247433 h 458350"/>
                  <a:gd name="connsiteX3641" fmla="*/ 503049 w 1253076"/>
                  <a:gd name="connsiteY3641" fmla="*/ 246221 h 458350"/>
                  <a:gd name="connsiteX3642" fmla="*/ 504109 w 1253076"/>
                  <a:gd name="connsiteY3642" fmla="*/ 246070 h 458350"/>
                  <a:gd name="connsiteX3643" fmla="*/ 505322 w 1253076"/>
                  <a:gd name="connsiteY3643" fmla="*/ 246524 h 458350"/>
                  <a:gd name="connsiteX3644" fmla="*/ 505928 w 1253076"/>
                  <a:gd name="connsiteY3644" fmla="*/ 247888 h 458350"/>
                  <a:gd name="connsiteX3645" fmla="*/ 506079 w 1253076"/>
                  <a:gd name="connsiteY3645" fmla="*/ 250161 h 458350"/>
                  <a:gd name="connsiteX3646" fmla="*/ 505928 w 1253076"/>
                  <a:gd name="connsiteY3646" fmla="*/ 252585 h 458350"/>
                  <a:gd name="connsiteX3647" fmla="*/ 507897 w 1253076"/>
                  <a:gd name="connsiteY3647" fmla="*/ 253494 h 458350"/>
                  <a:gd name="connsiteX3648" fmla="*/ 510322 w 1253076"/>
                  <a:gd name="connsiteY3648" fmla="*/ 253494 h 458350"/>
                  <a:gd name="connsiteX3649" fmla="*/ 514716 w 1253076"/>
                  <a:gd name="connsiteY3649" fmla="*/ 251828 h 458350"/>
                  <a:gd name="connsiteX3650" fmla="*/ 518050 w 1253076"/>
                  <a:gd name="connsiteY3650" fmla="*/ 248645 h 458350"/>
                  <a:gd name="connsiteX3651" fmla="*/ 518807 w 1253076"/>
                  <a:gd name="connsiteY3651" fmla="*/ 248797 h 458350"/>
                  <a:gd name="connsiteX3652" fmla="*/ 519262 w 1253076"/>
                  <a:gd name="connsiteY3652" fmla="*/ 250009 h 458350"/>
                  <a:gd name="connsiteX3653" fmla="*/ 520626 w 1253076"/>
                  <a:gd name="connsiteY3653" fmla="*/ 250767 h 458350"/>
                  <a:gd name="connsiteX3654" fmla="*/ 522292 w 1253076"/>
                  <a:gd name="connsiteY3654" fmla="*/ 250918 h 458350"/>
                  <a:gd name="connsiteX3655" fmla="*/ 523807 w 1253076"/>
                  <a:gd name="connsiteY3655" fmla="*/ 249403 h 458350"/>
                  <a:gd name="connsiteX3656" fmla="*/ 525171 w 1253076"/>
                  <a:gd name="connsiteY3656" fmla="*/ 247433 h 458350"/>
                  <a:gd name="connsiteX3657" fmla="*/ 523959 w 1253076"/>
                  <a:gd name="connsiteY3657" fmla="*/ 250918 h 458350"/>
                  <a:gd name="connsiteX3658" fmla="*/ 524110 w 1253076"/>
                  <a:gd name="connsiteY3658" fmla="*/ 252130 h 458350"/>
                  <a:gd name="connsiteX3659" fmla="*/ 525171 w 1253076"/>
                  <a:gd name="connsiteY3659" fmla="*/ 253040 h 458350"/>
                  <a:gd name="connsiteX3660" fmla="*/ 526686 w 1253076"/>
                  <a:gd name="connsiteY3660" fmla="*/ 253797 h 458350"/>
                  <a:gd name="connsiteX3661" fmla="*/ 528050 w 1253076"/>
                  <a:gd name="connsiteY3661" fmla="*/ 254100 h 458350"/>
                  <a:gd name="connsiteX3662" fmla="*/ 530171 w 1253076"/>
                  <a:gd name="connsiteY3662" fmla="*/ 251221 h 458350"/>
                  <a:gd name="connsiteX3663" fmla="*/ 530474 w 1253076"/>
                  <a:gd name="connsiteY3663" fmla="*/ 254403 h 458350"/>
                  <a:gd name="connsiteX3664" fmla="*/ 532444 w 1253076"/>
                  <a:gd name="connsiteY3664" fmla="*/ 260161 h 458350"/>
                  <a:gd name="connsiteX3665" fmla="*/ 532899 w 1253076"/>
                  <a:gd name="connsiteY3665" fmla="*/ 271222 h 458350"/>
                  <a:gd name="connsiteX3666" fmla="*/ 533656 w 1253076"/>
                  <a:gd name="connsiteY3666" fmla="*/ 272283 h 458350"/>
                  <a:gd name="connsiteX3667" fmla="*/ 534717 w 1253076"/>
                  <a:gd name="connsiteY3667" fmla="*/ 272737 h 458350"/>
                  <a:gd name="connsiteX3668" fmla="*/ 550172 w 1253076"/>
                  <a:gd name="connsiteY3668" fmla="*/ 265616 h 458350"/>
                  <a:gd name="connsiteX3669" fmla="*/ 569263 w 1253076"/>
                  <a:gd name="connsiteY3669" fmla="*/ 257131 h 458350"/>
                  <a:gd name="connsiteX3670" fmla="*/ 570476 w 1253076"/>
                  <a:gd name="connsiteY3670" fmla="*/ 255161 h 458350"/>
                  <a:gd name="connsiteX3671" fmla="*/ 570931 w 1253076"/>
                  <a:gd name="connsiteY3671" fmla="*/ 252737 h 458350"/>
                  <a:gd name="connsiteX3672" fmla="*/ 571991 w 1253076"/>
                  <a:gd name="connsiteY3672" fmla="*/ 250464 h 458350"/>
                  <a:gd name="connsiteX3673" fmla="*/ 574567 w 1253076"/>
                  <a:gd name="connsiteY3673" fmla="*/ 247282 h 458350"/>
                  <a:gd name="connsiteX3674" fmla="*/ 575021 w 1253076"/>
                  <a:gd name="connsiteY3674" fmla="*/ 245918 h 458350"/>
                  <a:gd name="connsiteX3675" fmla="*/ 576082 w 1253076"/>
                  <a:gd name="connsiteY3675" fmla="*/ 245009 h 458350"/>
                  <a:gd name="connsiteX3676" fmla="*/ 577446 w 1253076"/>
                  <a:gd name="connsiteY3676" fmla="*/ 244403 h 458350"/>
                  <a:gd name="connsiteX3677" fmla="*/ 575173 w 1253076"/>
                  <a:gd name="connsiteY3677" fmla="*/ 241676 h 458350"/>
                  <a:gd name="connsiteX3678" fmla="*/ 574719 w 1253076"/>
                  <a:gd name="connsiteY3678" fmla="*/ 240615 h 458350"/>
                  <a:gd name="connsiteX3679" fmla="*/ 575021 w 1253076"/>
                  <a:gd name="connsiteY3679" fmla="*/ 239251 h 458350"/>
                  <a:gd name="connsiteX3680" fmla="*/ 576689 w 1253076"/>
                  <a:gd name="connsiteY3680" fmla="*/ 240463 h 458350"/>
                  <a:gd name="connsiteX3681" fmla="*/ 578355 w 1253076"/>
                  <a:gd name="connsiteY3681" fmla="*/ 240009 h 458350"/>
                  <a:gd name="connsiteX3682" fmla="*/ 579567 w 1253076"/>
                  <a:gd name="connsiteY3682" fmla="*/ 238494 h 458350"/>
                  <a:gd name="connsiteX3683" fmla="*/ 580173 w 1253076"/>
                  <a:gd name="connsiteY3683" fmla="*/ 236675 h 458350"/>
                  <a:gd name="connsiteX3684" fmla="*/ 580627 w 1253076"/>
                  <a:gd name="connsiteY3684" fmla="*/ 233190 h 458350"/>
                  <a:gd name="connsiteX3685" fmla="*/ 580779 w 1253076"/>
                  <a:gd name="connsiteY3685" fmla="*/ 229705 h 458350"/>
                  <a:gd name="connsiteX3686" fmla="*/ 578961 w 1253076"/>
                  <a:gd name="connsiteY3686" fmla="*/ 230463 h 458350"/>
                  <a:gd name="connsiteX3687" fmla="*/ 579264 w 1253076"/>
                  <a:gd name="connsiteY3687" fmla="*/ 229099 h 458350"/>
                  <a:gd name="connsiteX3688" fmla="*/ 580173 w 1253076"/>
                  <a:gd name="connsiteY3688" fmla="*/ 228342 h 458350"/>
                  <a:gd name="connsiteX3689" fmla="*/ 581536 w 1253076"/>
                  <a:gd name="connsiteY3689" fmla="*/ 228342 h 458350"/>
                  <a:gd name="connsiteX3690" fmla="*/ 582900 w 1253076"/>
                  <a:gd name="connsiteY3690" fmla="*/ 228796 h 458350"/>
                  <a:gd name="connsiteX3691" fmla="*/ 585022 w 1253076"/>
                  <a:gd name="connsiteY3691" fmla="*/ 228039 h 458350"/>
                  <a:gd name="connsiteX3692" fmla="*/ 585628 w 1253076"/>
                  <a:gd name="connsiteY3692" fmla="*/ 225311 h 458350"/>
                  <a:gd name="connsiteX3693" fmla="*/ 586083 w 1253076"/>
                  <a:gd name="connsiteY3693" fmla="*/ 222281 h 458350"/>
                  <a:gd name="connsiteX3694" fmla="*/ 585022 w 1253076"/>
                  <a:gd name="connsiteY3694" fmla="*/ 219857 h 458350"/>
                  <a:gd name="connsiteX3695" fmla="*/ 581991 w 1253076"/>
                  <a:gd name="connsiteY3695" fmla="*/ 219250 h 458350"/>
                  <a:gd name="connsiteX3696" fmla="*/ 580627 w 1253076"/>
                  <a:gd name="connsiteY3696" fmla="*/ 218493 h 458350"/>
                  <a:gd name="connsiteX3697" fmla="*/ 579112 w 1253076"/>
                  <a:gd name="connsiteY3697" fmla="*/ 218038 h 458350"/>
                  <a:gd name="connsiteX3698" fmla="*/ 582143 w 1253076"/>
                  <a:gd name="connsiteY3698" fmla="*/ 215614 h 458350"/>
                  <a:gd name="connsiteX3699" fmla="*/ 582900 w 1253076"/>
                  <a:gd name="connsiteY3699" fmla="*/ 212129 h 458350"/>
                  <a:gd name="connsiteX3700" fmla="*/ 582295 w 1253076"/>
                  <a:gd name="connsiteY3700" fmla="*/ 210462 h 458350"/>
                  <a:gd name="connsiteX3701" fmla="*/ 582143 w 1253076"/>
                  <a:gd name="connsiteY3701" fmla="*/ 208341 h 458350"/>
                  <a:gd name="connsiteX3702" fmla="*/ 580173 w 1253076"/>
                  <a:gd name="connsiteY3702" fmla="*/ 208190 h 458350"/>
                  <a:gd name="connsiteX3703" fmla="*/ 578052 w 1253076"/>
                  <a:gd name="connsiteY3703" fmla="*/ 208341 h 458350"/>
                  <a:gd name="connsiteX3704" fmla="*/ 578658 w 1253076"/>
                  <a:gd name="connsiteY3704" fmla="*/ 207280 h 458350"/>
                  <a:gd name="connsiteX3705" fmla="*/ 579567 w 1253076"/>
                  <a:gd name="connsiteY3705" fmla="*/ 206371 h 458350"/>
                  <a:gd name="connsiteX3706" fmla="*/ 583506 w 1253076"/>
                  <a:gd name="connsiteY3706" fmla="*/ 204250 h 458350"/>
                  <a:gd name="connsiteX3707" fmla="*/ 584567 w 1253076"/>
                  <a:gd name="connsiteY3707" fmla="*/ 203341 h 458350"/>
                  <a:gd name="connsiteX3708" fmla="*/ 585324 w 1253076"/>
                  <a:gd name="connsiteY3708" fmla="*/ 202129 h 458350"/>
                  <a:gd name="connsiteX3709" fmla="*/ 585628 w 1253076"/>
                  <a:gd name="connsiteY3709" fmla="*/ 200007 h 458350"/>
                  <a:gd name="connsiteX3710" fmla="*/ 587143 w 1253076"/>
                  <a:gd name="connsiteY3710" fmla="*/ 198795 h 458350"/>
                  <a:gd name="connsiteX3711" fmla="*/ 590022 w 1253076"/>
                  <a:gd name="connsiteY3711" fmla="*/ 197431 h 458350"/>
                  <a:gd name="connsiteX3712" fmla="*/ 591082 w 1253076"/>
                  <a:gd name="connsiteY3712" fmla="*/ 196068 h 458350"/>
                  <a:gd name="connsiteX3713" fmla="*/ 591537 w 1253076"/>
                  <a:gd name="connsiteY3713" fmla="*/ 194401 h 458350"/>
                  <a:gd name="connsiteX3714" fmla="*/ 590325 w 1253076"/>
                  <a:gd name="connsiteY3714" fmla="*/ 193492 h 45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Lst>
                <a:rect l="l" t="t" r="r" b="b"/>
                <a:pathLst>
                  <a:path w="1253076" h="458350">
                    <a:moveTo>
                      <a:pt x="353044" y="55911"/>
                    </a:moveTo>
                    <a:lnTo>
                      <a:pt x="357286" y="56972"/>
                    </a:lnTo>
                    <a:lnTo>
                      <a:pt x="357135" y="57730"/>
                    </a:lnTo>
                    <a:lnTo>
                      <a:pt x="356528" y="58032"/>
                    </a:lnTo>
                    <a:lnTo>
                      <a:pt x="355771" y="58184"/>
                    </a:lnTo>
                    <a:lnTo>
                      <a:pt x="353498" y="59851"/>
                    </a:lnTo>
                    <a:lnTo>
                      <a:pt x="355619" y="61214"/>
                    </a:lnTo>
                    <a:lnTo>
                      <a:pt x="359407" y="60154"/>
                    </a:lnTo>
                    <a:lnTo>
                      <a:pt x="361529" y="56214"/>
                    </a:lnTo>
                    <a:lnTo>
                      <a:pt x="361680" y="55154"/>
                    </a:lnTo>
                    <a:lnTo>
                      <a:pt x="361529" y="52123"/>
                    </a:lnTo>
                    <a:lnTo>
                      <a:pt x="357741" y="47577"/>
                    </a:lnTo>
                    <a:lnTo>
                      <a:pt x="357589" y="45759"/>
                    </a:lnTo>
                    <a:lnTo>
                      <a:pt x="356377" y="46214"/>
                    </a:lnTo>
                    <a:lnTo>
                      <a:pt x="350922" y="50456"/>
                    </a:lnTo>
                    <a:lnTo>
                      <a:pt x="350922" y="52123"/>
                    </a:lnTo>
                    <a:lnTo>
                      <a:pt x="352134" y="54699"/>
                    </a:lnTo>
                    <a:lnTo>
                      <a:pt x="353044" y="55911"/>
                    </a:lnTo>
                    <a:close/>
                    <a:moveTo>
                      <a:pt x="339255" y="240615"/>
                    </a:moveTo>
                    <a:lnTo>
                      <a:pt x="339406" y="241524"/>
                    </a:lnTo>
                    <a:lnTo>
                      <a:pt x="339558" y="243797"/>
                    </a:lnTo>
                    <a:lnTo>
                      <a:pt x="340770" y="245615"/>
                    </a:lnTo>
                    <a:lnTo>
                      <a:pt x="340164" y="247888"/>
                    </a:lnTo>
                    <a:lnTo>
                      <a:pt x="341376" y="247736"/>
                    </a:lnTo>
                    <a:lnTo>
                      <a:pt x="345771" y="246524"/>
                    </a:lnTo>
                    <a:lnTo>
                      <a:pt x="346225" y="244706"/>
                    </a:lnTo>
                    <a:lnTo>
                      <a:pt x="346831" y="244403"/>
                    </a:lnTo>
                    <a:lnTo>
                      <a:pt x="349104" y="245615"/>
                    </a:lnTo>
                    <a:lnTo>
                      <a:pt x="349861" y="246676"/>
                    </a:lnTo>
                    <a:lnTo>
                      <a:pt x="350165" y="248191"/>
                    </a:lnTo>
                    <a:lnTo>
                      <a:pt x="352286" y="248342"/>
                    </a:lnTo>
                    <a:lnTo>
                      <a:pt x="353044" y="247433"/>
                    </a:lnTo>
                    <a:lnTo>
                      <a:pt x="355316" y="246070"/>
                    </a:lnTo>
                    <a:lnTo>
                      <a:pt x="355922" y="245009"/>
                    </a:lnTo>
                    <a:lnTo>
                      <a:pt x="356377" y="242130"/>
                    </a:lnTo>
                    <a:lnTo>
                      <a:pt x="358650" y="237585"/>
                    </a:lnTo>
                    <a:lnTo>
                      <a:pt x="356528" y="233948"/>
                    </a:lnTo>
                    <a:lnTo>
                      <a:pt x="352740" y="231221"/>
                    </a:lnTo>
                    <a:lnTo>
                      <a:pt x="347286" y="230160"/>
                    </a:lnTo>
                    <a:lnTo>
                      <a:pt x="346225" y="229402"/>
                    </a:lnTo>
                    <a:lnTo>
                      <a:pt x="341528" y="230312"/>
                    </a:lnTo>
                    <a:lnTo>
                      <a:pt x="340922" y="234857"/>
                    </a:lnTo>
                    <a:lnTo>
                      <a:pt x="339710" y="236675"/>
                    </a:lnTo>
                    <a:lnTo>
                      <a:pt x="339861" y="238342"/>
                    </a:lnTo>
                    <a:lnTo>
                      <a:pt x="338801" y="239857"/>
                    </a:lnTo>
                    <a:lnTo>
                      <a:pt x="339255" y="240615"/>
                    </a:lnTo>
                    <a:close/>
                    <a:moveTo>
                      <a:pt x="335164" y="240160"/>
                    </a:moveTo>
                    <a:lnTo>
                      <a:pt x="336225" y="239403"/>
                    </a:lnTo>
                    <a:lnTo>
                      <a:pt x="336982" y="237888"/>
                    </a:lnTo>
                    <a:lnTo>
                      <a:pt x="336225" y="237585"/>
                    </a:lnTo>
                    <a:lnTo>
                      <a:pt x="334709" y="237736"/>
                    </a:lnTo>
                    <a:lnTo>
                      <a:pt x="334255" y="238645"/>
                    </a:lnTo>
                    <a:lnTo>
                      <a:pt x="334406" y="239403"/>
                    </a:lnTo>
                    <a:lnTo>
                      <a:pt x="335164" y="240160"/>
                    </a:lnTo>
                    <a:close/>
                    <a:moveTo>
                      <a:pt x="287889" y="80761"/>
                    </a:moveTo>
                    <a:lnTo>
                      <a:pt x="287889" y="82124"/>
                    </a:lnTo>
                    <a:lnTo>
                      <a:pt x="288192" y="82882"/>
                    </a:lnTo>
                    <a:lnTo>
                      <a:pt x="289405" y="82730"/>
                    </a:lnTo>
                    <a:lnTo>
                      <a:pt x="290768" y="81670"/>
                    </a:lnTo>
                    <a:lnTo>
                      <a:pt x="291526" y="79700"/>
                    </a:lnTo>
                    <a:lnTo>
                      <a:pt x="291071" y="79548"/>
                    </a:lnTo>
                    <a:lnTo>
                      <a:pt x="290314" y="79245"/>
                    </a:lnTo>
                    <a:lnTo>
                      <a:pt x="289405" y="78791"/>
                    </a:lnTo>
                    <a:lnTo>
                      <a:pt x="288647" y="78185"/>
                    </a:lnTo>
                    <a:lnTo>
                      <a:pt x="287587" y="77427"/>
                    </a:lnTo>
                    <a:lnTo>
                      <a:pt x="287587" y="78791"/>
                    </a:lnTo>
                    <a:lnTo>
                      <a:pt x="287889" y="79548"/>
                    </a:lnTo>
                    <a:lnTo>
                      <a:pt x="287889" y="80761"/>
                    </a:lnTo>
                    <a:close/>
                    <a:moveTo>
                      <a:pt x="303648" y="76670"/>
                    </a:moveTo>
                    <a:lnTo>
                      <a:pt x="303648" y="74851"/>
                    </a:lnTo>
                    <a:lnTo>
                      <a:pt x="303193" y="73185"/>
                    </a:lnTo>
                    <a:lnTo>
                      <a:pt x="301830" y="72882"/>
                    </a:lnTo>
                    <a:lnTo>
                      <a:pt x="301223" y="73488"/>
                    </a:lnTo>
                    <a:lnTo>
                      <a:pt x="301526" y="75609"/>
                    </a:lnTo>
                    <a:lnTo>
                      <a:pt x="303648" y="76670"/>
                    </a:lnTo>
                    <a:close/>
                    <a:moveTo>
                      <a:pt x="276525" y="218190"/>
                    </a:moveTo>
                    <a:lnTo>
                      <a:pt x="277889" y="218493"/>
                    </a:lnTo>
                    <a:lnTo>
                      <a:pt x="283647" y="217281"/>
                    </a:lnTo>
                    <a:lnTo>
                      <a:pt x="284859" y="217887"/>
                    </a:lnTo>
                    <a:lnTo>
                      <a:pt x="287738" y="218644"/>
                    </a:lnTo>
                    <a:lnTo>
                      <a:pt x="290011" y="220008"/>
                    </a:lnTo>
                    <a:lnTo>
                      <a:pt x="290617" y="223493"/>
                    </a:lnTo>
                    <a:lnTo>
                      <a:pt x="292132" y="226372"/>
                    </a:lnTo>
                    <a:lnTo>
                      <a:pt x="293344" y="227433"/>
                    </a:lnTo>
                    <a:lnTo>
                      <a:pt x="294254" y="228493"/>
                    </a:lnTo>
                    <a:lnTo>
                      <a:pt x="293344" y="232584"/>
                    </a:lnTo>
                    <a:lnTo>
                      <a:pt x="294102" y="235312"/>
                    </a:lnTo>
                    <a:lnTo>
                      <a:pt x="295768" y="237585"/>
                    </a:lnTo>
                    <a:lnTo>
                      <a:pt x="299254" y="238342"/>
                    </a:lnTo>
                    <a:lnTo>
                      <a:pt x="302587" y="239403"/>
                    </a:lnTo>
                    <a:lnTo>
                      <a:pt x="305163" y="240918"/>
                    </a:lnTo>
                    <a:lnTo>
                      <a:pt x="306678" y="241373"/>
                    </a:lnTo>
                    <a:lnTo>
                      <a:pt x="308042" y="242130"/>
                    </a:lnTo>
                    <a:lnTo>
                      <a:pt x="309406" y="243039"/>
                    </a:lnTo>
                    <a:lnTo>
                      <a:pt x="310769" y="243797"/>
                    </a:lnTo>
                    <a:lnTo>
                      <a:pt x="312587" y="244251"/>
                    </a:lnTo>
                    <a:lnTo>
                      <a:pt x="314103" y="244251"/>
                    </a:lnTo>
                    <a:lnTo>
                      <a:pt x="313799" y="242282"/>
                    </a:lnTo>
                    <a:lnTo>
                      <a:pt x="312739" y="240463"/>
                    </a:lnTo>
                    <a:lnTo>
                      <a:pt x="312587" y="239403"/>
                    </a:lnTo>
                    <a:lnTo>
                      <a:pt x="314406" y="234251"/>
                    </a:lnTo>
                    <a:lnTo>
                      <a:pt x="315163" y="233039"/>
                    </a:lnTo>
                    <a:lnTo>
                      <a:pt x="316224" y="231978"/>
                    </a:lnTo>
                    <a:lnTo>
                      <a:pt x="318194" y="230766"/>
                    </a:lnTo>
                    <a:lnTo>
                      <a:pt x="305769" y="227887"/>
                    </a:lnTo>
                    <a:lnTo>
                      <a:pt x="301526" y="220311"/>
                    </a:lnTo>
                    <a:lnTo>
                      <a:pt x="300163" y="211523"/>
                    </a:lnTo>
                    <a:lnTo>
                      <a:pt x="299254" y="209705"/>
                    </a:lnTo>
                    <a:lnTo>
                      <a:pt x="297890" y="208038"/>
                    </a:lnTo>
                    <a:lnTo>
                      <a:pt x="296981" y="206220"/>
                    </a:lnTo>
                    <a:lnTo>
                      <a:pt x="296526" y="204098"/>
                    </a:lnTo>
                    <a:lnTo>
                      <a:pt x="295314" y="202583"/>
                    </a:lnTo>
                    <a:lnTo>
                      <a:pt x="293344" y="201674"/>
                    </a:lnTo>
                    <a:lnTo>
                      <a:pt x="290768" y="201674"/>
                    </a:lnTo>
                    <a:lnTo>
                      <a:pt x="288192" y="202432"/>
                    </a:lnTo>
                    <a:lnTo>
                      <a:pt x="289102" y="205765"/>
                    </a:lnTo>
                    <a:lnTo>
                      <a:pt x="287587" y="207735"/>
                    </a:lnTo>
                    <a:lnTo>
                      <a:pt x="286678" y="206371"/>
                    </a:lnTo>
                    <a:lnTo>
                      <a:pt x="285920" y="204401"/>
                    </a:lnTo>
                    <a:lnTo>
                      <a:pt x="284404" y="202129"/>
                    </a:lnTo>
                    <a:lnTo>
                      <a:pt x="280920" y="203492"/>
                    </a:lnTo>
                    <a:lnTo>
                      <a:pt x="279707" y="204553"/>
                    </a:lnTo>
                    <a:lnTo>
                      <a:pt x="278647" y="205765"/>
                    </a:lnTo>
                    <a:lnTo>
                      <a:pt x="278344" y="207129"/>
                    </a:lnTo>
                    <a:lnTo>
                      <a:pt x="278950" y="208341"/>
                    </a:lnTo>
                    <a:lnTo>
                      <a:pt x="278647" y="210008"/>
                    </a:lnTo>
                    <a:lnTo>
                      <a:pt x="276980" y="211372"/>
                    </a:lnTo>
                    <a:lnTo>
                      <a:pt x="273495" y="212887"/>
                    </a:lnTo>
                    <a:lnTo>
                      <a:pt x="271980" y="214402"/>
                    </a:lnTo>
                    <a:lnTo>
                      <a:pt x="271828" y="216372"/>
                    </a:lnTo>
                    <a:lnTo>
                      <a:pt x="275010" y="217432"/>
                    </a:lnTo>
                    <a:lnTo>
                      <a:pt x="276525" y="218190"/>
                    </a:lnTo>
                    <a:close/>
                    <a:moveTo>
                      <a:pt x="776999" y="306678"/>
                    </a:moveTo>
                    <a:lnTo>
                      <a:pt x="778059" y="306829"/>
                    </a:lnTo>
                    <a:lnTo>
                      <a:pt x="778211" y="304102"/>
                    </a:lnTo>
                    <a:lnTo>
                      <a:pt x="776393" y="303496"/>
                    </a:lnTo>
                    <a:lnTo>
                      <a:pt x="775938" y="304102"/>
                    </a:lnTo>
                    <a:lnTo>
                      <a:pt x="775938" y="304860"/>
                    </a:lnTo>
                    <a:lnTo>
                      <a:pt x="776241" y="305769"/>
                    </a:lnTo>
                    <a:lnTo>
                      <a:pt x="776999" y="306678"/>
                    </a:lnTo>
                    <a:close/>
                    <a:moveTo>
                      <a:pt x="316224" y="240463"/>
                    </a:moveTo>
                    <a:lnTo>
                      <a:pt x="316375" y="241221"/>
                    </a:lnTo>
                    <a:lnTo>
                      <a:pt x="317133" y="241979"/>
                    </a:lnTo>
                    <a:lnTo>
                      <a:pt x="318194" y="242736"/>
                    </a:lnTo>
                    <a:lnTo>
                      <a:pt x="319709" y="243039"/>
                    </a:lnTo>
                    <a:lnTo>
                      <a:pt x="320163" y="242433"/>
                    </a:lnTo>
                    <a:lnTo>
                      <a:pt x="320770" y="240463"/>
                    </a:lnTo>
                    <a:lnTo>
                      <a:pt x="317587" y="239554"/>
                    </a:lnTo>
                    <a:lnTo>
                      <a:pt x="316224" y="240463"/>
                    </a:lnTo>
                    <a:close/>
                    <a:moveTo>
                      <a:pt x="696238" y="351680"/>
                    </a:moveTo>
                    <a:lnTo>
                      <a:pt x="696389" y="354407"/>
                    </a:lnTo>
                    <a:lnTo>
                      <a:pt x="697298" y="354710"/>
                    </a:lnTo>
                    <a:lnTo>
                      <a:pt x="700026" y="354559"/>
                    </a:lnTo>
                    <a:lnTo>
                      <a:pt x="700177" y="353043"/>
                    </a:lnTo>
                    <a:lnTo>
                      <a:pt x="699117" y="352892"/>
                    </a:lnTo>
                    <a:lnTo>
                      <a:pt x="696238" y="351680"/>
                    </a:lnTo>
                    <a:close/>
                    <a:moveTo>
                      <a:pt x="728815" y="302284"/>
                    </a:moveTo>
                    <a:lnTo>
                      <a:pt x="728512" y="303799"/>
                    </a:lnTo>
                    <a:lnTo>
                      <a:pt x="729876" y="306375"/>
                    </a:lnTo>
                    <a:lnTo>
                      <a:pt x="733209" y="309557"/>
                    </a:lnTo>
                    <a:lnTo>
                      <a:pt x="734876" y="308799"/>
                    </a:lnTo>
                    <a:lnTo>
                      <a:pt x="735330" y="302890"/>
                    </a:lnTo>
                    <a:lnTo>
                      <a:pt x="734725" y="301223"/>
                    </a:lnTo>
                    <a:lnTo>
                      <a:pt x="733664" y="300769"/>
                    </a:lnTo>
                    <a:lnTo>
                      <a:pt x="732755" y="298950"/>
                    </a:lnTo>
                    <a:lnTo>
                      <a:pt x="731391" y="298799"/>
                    </a:lnTo>
                    <a:lnTo>
                      <a:pt x="730027" y="299405"/>
                    </a:lnTo>
                    <a:lnTo>
                      <a:pt x="730179" y="300769"/>
                    </a:lnTo>
                    <a:lnTo>
                      <a:pt x="729724" y="301072"/>
                    </a:lnTo>
                    <a:lnTo>
                      <a:pt x="728815" y="302284"/>
                    </a:lnTo>
                    <a:close/>
                    <a:moveTo>
                      <a:pt x="622145" y="50456"/>
                    </a:moveTo>
                    <a:lnTo>
                      <a:pt x="621993" y="49396"/>
                    </a:lnTo>
                    <a:lnTo>
                      <a:pt x="621084" y="46820"/>
                    </a:lnTo>
                    <a:lnTo>
                      <a:pt x="617296" y="47275"/>
                    </a:lnTo>
                    <a:lnTo>
                      <a:pt x="614719" y="47275"/>
                    </a:lnTo>
                    <a:lnTo>
                      <a:pt x="614114" y="48638"/>
                    </a:lnTo>
                    <a:lnTo>
                      <a:pt x="617144" y="51820"/>
                    </a:lnTo>
                    <a:lnTo>
                      <a:pt x="622145" y="50456"/>
                    </a:lnTo>
                    <a:close/>
                    <a:moveTo>
                      <a:pt x="726845" y="171825"/>
                    </a:moveTo>
                    <a:lnTo>
                      <a:pt x="724724" y="173794"/>
                    </a:lnTo>
                    <a:lnTo>
                      <a:pt x="724270" y="175006"/>
                    </a:lnTo>
                    <a:lnTo>
                      <a:pt x="725027" y="175006"/>
                    </a:lnTo>
                    <a:lnTo>
                      <a:pt x="726088" y="174249"/>
                    </a:lnTo>
                    <a:lnTo>
                      <a:pt x="726997" y="174097"/>
                    </a:lnTo>
                    <a:lnTo>
                      <a:pt x="729421" y="174097"/>
                    </a:lnTo>
                    <a:lnTo>
                      <a:pt x="730330" y="174400"/>
                    </a:lnTo>
                    <a:lnTo>
                      <a:pt x="731088" y="173037"/>
                    </a:lnTo>
                    <a:lnTo>
                      <a:pt x="729876" y="171825"/>
                    </a:lnTo>
                    <a:lnTo>
                      <a:pt x="728058" y="172128"/>
                    </a:lnTo>
                    <a:lnTo>
                      <a:pt x="726845" y="171825"/>
                    </a:lnTo>
                    <a:close/>
                    <a:moveTo>
                      <a:pt x="653660" y="382438"/>
                    </a:moveTo>
                    <a:lnTo>
                      <a:pt x="652449" y="382893"/>
                    </a:lnTo>
                    <a:lnTo>
                      <a:pt x="651994" y="384105"/>
                    </a:lnTo>
                    <a:lnTo>
                      <a:pt x="652297" y="385166"/>
                    </a:lnTo>
                    <a:lnTo>
                      <a:pt x="653509" y="385166"/>
                    </a:lnTo>
                    <a:lnTo>
                      <a:pt x="654419" y="384711"/>
                    </a:lnTo>
                    <a:lnTo>
                      <a:pt x="655176" y="383954"/>
                    </a:lnTo>
                    <a:lnTo>
                      <a:pt x="655024" y="383347"/>
                    </a:lnTo>
                    <a:lnTo>
                      <a:pt x="654115" y="382287"/>
                    </a:lnTo>
                    <a:lnTo>
                      <a:pt x="653660" y="382438"/>
                    </a:lnTo>
                    <a:close/>
                    <a:moveTo>
                      <a:pt x="691541" y="330921"/>
                    </a:moveTo>
                    <a:lnTo>
                      <a:pt x="691692" y="335012"/>
                    </a:lnTo>
                    <a:lnTo>
                      <a:pt x="692147" y="336679"/>
                    </a:lnTo>
                    <a:lnTo>
                      <a:pt x="693208" y="332133"/>
                    </a:lnTo>
                    <a:lnTo>
                      <a:pt x="693814" y="323194"/>
                    </a:lnTo>
                    <a:lnTo>
                      <a:pt x="693359" y="321375"/>
                    </a:lnTo>
                    <a:lnTo>
                      <a:pt x="691844" y="317891"/>
                    </a:lnTo>
                    <a:lnTo>
                      <a:pt x="690935" y="320618"/>
                    </a:lnTo>
                    <a:lnTo>
                      <a:pt x="691087" y="326527"/>
                    </a:lnTo>
                    <a:lnTo>
                      <a:pt x="690631" y="328800"/>
                    </a:lnTo>
                    <a:lnTo>
                      <a:pt x="691541" y="330921"/>
                    </a:lnTo>
                    <a:close/>
                    <a:moveTo>
                      <a:pt x="666237" y="394711"/>
                    </a:moveTo>
                    <a:lnTo>
                      <a:pt x="666692" y="393802"/>
                    </a:lnTo>
                    <a:lnTo>
                      <a:pt x="666692" y="392893"/>
                    </a:lnTo>
                    <a:lnTo>
                      <a:pt x="666389" y="391832"/>
                    </a:lnTo>
                    <a:lnTo>
                      <a:pt x="665176" y="391832"/>
                    </a:lnTo>
                    <a:lnTo>
                      <a:pt x="664570" y="391681"/>
                    </a:lnTo>
                    <a:lnTo>
                      <a:pt x="664267" y="391227"/>
                    </a:lnTo>
                    <a:lnTo>
                      <a:pt x="663661" y="390469"/>
                    </a:lnTo>
                    <a:lnTo>
                      <a:pt x="663206" y="391227"/>
                    </a:lnTo>
                    <a:lnTo>
                      <a:pt x="662904" y="393499"/>
                    </a:lnTo>
                    <a:lnTo>
                      <a:pt x="661843" y="394863"/>
                    </a:lnTo>
                    <a:lnTo>
                      <a:pt x="662449" y="396530"/>
                    </a:lnTo>
                    <a:lnTo>
                      <a:pt x="661995" y="398954"/>
                    </a:lnTo>
                    <a:lnTo>
                      <a:pt x="663055" y="399409"/>
                    </a:lnTo>
                    <a:lnTo>
                      <a:pt x="664115" y="399106"/>
                    </a:lnTo>
                    <a:lnTo>
                      <a:pt x="663510" y="397136"/>
                    </a:lnTo>
                    <a:lnTo>
                      <a:pt x="664570" y="395924"/>
                    </a:lnTo>
                    <a:lnTo>
                      <a:pt x="666237" y="394711"/>
                    </a:lnTo>
                    <a:close/>
                    <a:moveTo>
                      <a:pt x="374862" y="81670"/>
                    </a:moveTo>
                    <a:lnTo>
                      <a:pt x="374862" y="79094"/>
                    </a:lnTo>
                    <a:lnTo>
                      <a:pt x="374408" y="79245"/>
                    </a:lnTo>
                    <a:lnTo>
                      <a:pt x="372135" y="82124"/>
                    </a:lnTo>
                    <a:lnTo>
                      <a:pt x="373499" y="83034"/>
                    </a:lnTo>
                    <a:lnTo>
                      <a:pt x="374862" y="81670"/>
                    </a:lnTo>
                    <a:close/>
                    <a:moveTo>
                      <a:pt x="199250" y="134854"/>
                    </a:moveTo>
                    <a:lnTo>
                      <a:pt x="198947" y="136520"/>
                    </a:lnTo>
                    <a:lnTo>
                      <a:pt x="200008" y="137429"/>
                    </a:lnTo>
                    <a:lnTo>
                      <a:pt x="201371" y="138035"/>
                    </a:lnTo>
                    <a:lnTo>
                      <a:pt x="205917" y="139248"/>
                    </a:lnTo>
                    <a:lnTo>
                      <a:pt x="207735" y="139399"/>
                    </a:lnTo>
                    <a:lnTo>
                      <a:pt x="213038" y="140611"/>
                    </a:lnTo>
                    <a:lnTo>
                      <a:pt x="214099" y="141369"/>
                    </a:lnTo>
                    <a:lnTo>
                      <a:pt x="214553" y="140308"/>
                    </a:lnTo>
                    <a:lnTo>
                      <a:pt x="213796" y="137278"/>
                    </a:lnTo>
                    <a:lnTo>
                      <a:pt x="212129" y="136369"/>
                    </a:lnTo>
                    <a:lnTo>
                      <a:pt x="207584" y="134550"/>
                    </a:lnTo>
                    <a:lnTo>
                      <a:pt x="206068" y="133793"/>
                    </a:lnTo>
                    <a:lnTo>
                      <a:pt x="203492" y="131975"/>
                    </a:lnTo>
                    <a:lnTo>
                      <a:pt x="201220" y="129853"/>
                    </a:lnTo>
                    <a:lnTo>
                      <a:pt x="200008" y="130914"/>
                    </a:lnTo>
                    <a:lnTo>
                      <a:pt x="199553" y="133641"/>
                    </a:lnTo>
                    <a:lnTo>
                      <a:pt x="199250" y="134854"/>
                    </a:lnTo>
                    <a:close/>
                    <a:moveTo>
                      <a:pt x="34395" y="93640"/>
                    </a:moveTo>
                    <a:lnTo>
                      <a:pt x="33638" y="92276"/>
                    </a:lnTo>
                    <a:lnTo>
                      <a:pt x="27122" y="88337"/>
                    </a:lnTo>
                    <a:lnTo>
                      <a:pt x="25759" y="86670"/>
                    </a:lnTo>
                    <a:lnTo>
                      <a:pt x="25001" y="86064"/>
                    </a:lnTo>
                    <a:lnTo>
                      <a:pt x="22122" y="85003"/>
                    </a:lnTo>
                    <a:lnTo>
                      <a:pt x="19395" y="82124"/>
                    </a:lnTo>
                    <a:lnTo>
                      <a:pt x="16970" y="81367"/>
                    </a:lnTo>
                    <a:lnTo>
                      <a:pt x="16061" y="83034"/>
                    </a:lnTo>
                    <a:lnTo>
                      <a:pt x="14546" y="83791"/>
                    </a:lnTo>
                    <a:lnTo>
                      <a:pt x="15000" y="85458"/>
                    </a:lnTo>
                    <a:lnTo>
                      <a:pt x="17122" y="88488"/>
                    </a:lnTo>
                    <a:lnTo>
                      <a:pt x="19092" y="88943"/>
                    </a:lnTo>
                    <a:lnTo>
                      <a:pt x="20758" y="90155"/>
                    </a:lnTo>
                    <a:lnTo>
                      <a:pt x="23031" y="90155"/>
                    </a:lnTo>
                    <a:lnTo>
                      <a:pt x="30304" y="94700"/>
                    </a:lnTo>
                    <a:lnTo>
                      <a:pt x="31668" y="96216"/>
                    </a:lnTo>
                    <a:lnTo>
                      <a:pt x="33335" y="96822"/>
                    </a:lnTo>
                    <a:lnTo>
                      <a:pt x="35001" y="96519"/>
                    </a:lnTo>
                    <a:lnTo>
                      <a:pt x="34850" y="95004"/>
                    </a:lnTo>
                    <a:lnTo>
                      <a:pt x="34395" y="93640"/>
                    </a:lnTo>
                    <a:close/>
                    <a:moveTo>
                      <a:pt x="188644" y="120004"/>
                    </a:moveTo>
                    <a:lnTo>
                      <a:pt x="190916" y="120914"/>
                    </a:lnTo>
                    <a:lnTo>
                      <a:pt x="193947" y="121217"/>
                    </a:lnTo>
                    <a:lnTo>
                      <a:pt x="196522" y="122277"/>
                    </a:lnTo>
                    <a:lnTo>
                      <a:pt x="198189" y="123641"/>
                    </a:lnTo>
                    <a:lnTo>
                      <a:pt x="200159" y="124550"/>
                    </a:lnTo>
                    <a:lnTo>
                      <a:pt x="200008" y="121065"/>
                    </a:lnTo>
                    <a:lnTo>
                      <a:pt x="199401" y="119701"/>
                    </a:lnTo>
                    <a:lnTo>
                      <a:pt x="187734" y="116519"/>
                    </a:lnTo>
                    <a:lnTo>
                      <a:pt x="187280" y="116974"/>
                    </a:lnTo>
                    <a:lnTo>
                      <a:pt x="187128" y="117580"/>
                    </a:lnTo>
                    <a:lnTo>
                      <a:pt x="187128" y="118338"/>
                    </a:lnTo>
                    <a:lnTo>
                      <a:pt x="188644" y="120004"/>
                    </a:lnTo>
                    <a:close/>
                    <a:moveTo>
                      <a:pt x="225615" y="133641"/>
                    </a:moveTo>
                    <a:lnTo>
                      <a:pt x="225463" y="132126"/>
                    </a:lnTo>
                    <a:lnTo>
                      <a:pt x="225008" y="131520"/>
                    </a:lnTo>
                    <a:lnTo>
                      <a:pt x="224402" y="129853"/>
                    </a:lnTo>
                    <a:lnTo>
                      <a:pt x="223645" y="130308"/>
                    </a:lnTo>
                    <a:lnTo>
                      <a:pt x="222584" y="131520"/>
                    </a:lnTo>
                    <a:lnTo>
                      <a:pt x="223948" y="133338"/>
                    </a:lnTo>
                    <a:lnTo>
                      <a:pt x="225615" y="133641"/>
                    </a:lnTo>
                    <a:close/>
                    <a:moveTo>
                      <a:pt x="217584" y="145763"/>
                    </a:moveTo>
                    <a:lnTo>
                      <a:pt x="218493" y="146066"/>
                    </a:lnTo>
                    <a:lnTo>
                      <a:pt x="221523" y="145914"/>
                    </a:lnTo>
                    <a:lnTo>
                      <a:pt x="221827" y="143945"/>
                    </a:lnTo>
                    <a:lnTo>
                      <a:pt x="220311" y="141672"/>
                    </a:lnTo>
                    <a:lnTo>
                      <a:pt x="218948" y="141672"/>
                    </a:lnTo>
                    <a:lnTo>
                      <a:pt x="218039" y="143187"/>
                    </a:lnTo>
                    <a:lnTo>
                      <a:pt x="217584" y="145763"/>
                    </a:lnTo>
                    <a:close/>
                    <a:moveTo>
                      <a:pt x="259252" y="162430"/>
                    </a:moveTo>
                    <a:lnTo>
                      <a:pt x="258646" y="161218"/>
                    </a:lnTo>
                    <a:lnTo>
                      <a:pt x="256070" y="160309"/>
                    </a:lnTo>
                    <a:lnTo>
                      <a:pt x="254858" y="164249"/>
                    </a:lnTo>
                    <a:lnTo>
                      <a:pt x="253494" y="165915"/>
                    </a:lnTo>
                    <a:lnTo>
                      <a:pt x="254252" y="166521"/>
                    </a:lnTo>
                    <a:lnTo>
                      <a:pt x="256828" y="167430"/>
                    </a:lnTo>
                    <a:lnTo>
                      <a:pt x="260464" y="166370"/>
                    </a:lnTo>
                    <a:lnTo>
                      <a:pt x="266222" y="169552"/>
                    </a:lnTo>
                    <a:lnTo>
                      <a:pt x="266677" y="169400"/>
                    </a:lnTo>
                    <a:lnTo>
                      <a:pt x="267283" y="168491"/>
                    </a:lnTo>
                    <a:lnTo>
                      <a:pt x="268798" y="168491"/>
                    </a:lnTo>
                    <a:lnTo>
                      <a:pt x="267283" y="167582"/>
                    </a:lnTo>
                    <a:lnTo>
                      <a:pt x="266222" y="166673"/>
                    </a:lnTo>
                    <a:lnTo>
                      <a:pt x="264404" y="164703"/>
                    </a:lnTo>
                    <a:lnTo>
                      <a:pt x="263495" y="166067"/>
                    </a:lnTo>
                    <a:lnTo>
                      <a:pt x="262737" y="165612"/>
                    </a:lnTo>
                    <a:lnTo>
                      <a:pt x="260919" y="163642"/>
                    </a:lnTo>
                    <a:lnTo>
                      <a:pt x="259252" y="162885"/>
                    </a:lnTo>
                    <a:lnTo>
                      <a:pt x="259252" y="162430"/>
                    </a:lnTo>
                    <a:close/>
                    <a:moveTo>
                      <a:pt x="172734" y="113641"/>
                    </a:moveTo>
                    <a:lnTo>
                      <a:pt x="175461" y="114095"/>
                    </a:lnTo>
                    <a:lnTo>
                      <a:pt x="178643" y="112125"/>
                    </a:lnTo>
                    <a:lnTo>
                      <a:pt x="179098" y="109550"/>
                    </a:lnTo>
                    <a:lnTo>
                      <a:pt x="180158" y="107883"/>
                    </a:lnTo>
                    <a:lnTo>
                      <a:pt x="179855" y="106368"/>
                    </a:lnTo>
                    <a:lnTo>
                      <a:pt x="178340" y="104095"/>
                    </a:lnTo>
                    <a:lnTo>
                      <a:pt x="176522" y="102731"/>
                    </a:lnTo>
                    <a:lnTo>
                      <a:pt x="173946" y="104549"/>
                    </a:lnTo>
                    <a:lnTo>
                      <a:pt x="171370" y="104398"/>
                    </a:lnTo>
                    <a:lnTo>
                      <a:pt x="170309" y="105610"/>
                    </a:lnTo>
                    <a:lnTo>
                      <a:pt x="170158" y="108943"/>
                    </a:lnTo>
                    <a:lnTo>
                      <a:pt x="171976" y="112731"/>
                    </a:lnTo>
                    <a:lnTo>
                      <a:pt x="172734" y="113641"/>
                    </a:lnTo>
                    <a:close/>
                    <a:moveTo>
                      <a:pt x="196220" y="124095"/>
                    </a:moveTo>
                    <a:lnTo>
                      <a:pt x="193947" y="122732"/>
                    </a:lnTo>
                    <a:lnTo>
                      <a:pt x="193341" y="122732"/>
                    </a:lnTo>
                    <a:lnTo>
                      <a:pt x="192583" y="124095"/>
                    </a:lnTo>
                    <a:lnTo>
                      <a:pt x="192734" y="126368"/>
                    </a:lnTo>
                    <a:lnTo>
                      <a:pt x="193341" y="129550"/>
                    </a:lnTo>
                    <a:lnTo>
                      <a:pt x="193947" y="131520"/>
                    </a:lnTo>
                    <a:lnTo>
                      <a:pt x="195159" y="133338"/>
                    </a:lnTo>
                    <a:lnTo>
                      <a:pt x="196674" y="134550"/>
                    </a:lnTo>
                    <a:lnTo>
                      <a:pt x="197886" y="133793"/>
                    </a:lnTo>
                    <a:lnTo>
                      <a:pt x="197886" y="131672"/>
                    </a:lnTo>
                    <a:lnTo>
                      <a:pt x="198492" y="129247"/>
                    </a:lnTo>
                    <a:lnTo>
                      <a:pt x="198341" y="127126"/>
                    </a:lnTo>
                    <a:lnTo>
                      <a:pt x="197583" y="126368"/>
                    </a:lnTo>
                    <a:lnTo>
                      <a:pt x="196220" y="124095"/>
                    </a:lnTo>
                    <a:close/>
                    <a:moveTo>
                      <a:pt x="4243" y="3333"/>
                    </a:moveTo>
                    <a:lnTo>
                      <a:pt x="4849" y="2576"/>
                    </a:lnTo>
                    <a:lnTo>
                      <a:pt x="5000" y="1818"/>
                    </a:lnTo>
                    <a:lnTo>
                      <a:pt x="4849" y="909"/>
                    </a:lnTo>
                    <a:lnTo>
                      <a:pt x="2727" y="303"/>
                    </a:lnTo>
                    <a:lnTo>
                      <a:pt x="1667" y="0"/>
                    </a:lnTo>
                    <a:lnTo>
                      <a:pt x="1061" y="455"/>
                    </a:lnTo>
                    <a:lnTo>
                      <a:pt x="2879" y="2879"/>
                    </a:lnTo>
                    <a:lnTo>
                      <a:pt x="4243" y="3333"/>
                    </a:lnTo>
                    <a:close/>
                    <a:moveTo>
                      <a:pt x="256070" y="154551"/>
                    </a:moveTo>
                    <a:lnTo>
                      <a:pt x="254858" y="154248"/>
                    </a:lnTo>
                    <a:lnTo>
                      <a:pt x="257737" y="158036"/>
                    </a:lnTo>
                    <a:lnTo>
                      <a:pt x="258192" y="158491"/>
                    </a:lnTo>
                    <a:lnTo>
                      <a:pt x="258949" y="158945"/>
                    </a:lnTo>
                    <a:lnTo>
                      <a:pt x="260313" y="159703"/>
                    </a:lnTo>
                    <a:lnTo>
                      <a:pt x="260010" y="159097"/>
                    </a:lnTo>
                    <a:lnTo>
                      <a:pt x="259252" y="157885"/>
                    </a:lnTo>
                    <a:lnTo>
                      <a:pt x="256070" y="154551"/>
                    </a:lnTo>
                    <a:close/>
                    <a:moveTo>
                      <a:pt x="251070" y="171673"/>
                    </a:moveTo>
                    <a:lnTo>
                      <a:pt x="250464" y="171067"/>
                    </a:lnTo>
                    <a:lnTo>
                      <a:pt x="249858" y="171067"/>
                    </a:lnTo>
                    <a:lnTo>
                      <a:pt x="249403" y="171218"/>
                    </a:lnTo>
                    <a:lnTo>
                      <a:pt x="248191" y="173340"/>
                    </a:lnTo>
                    <a:lnTo>
                      <a:pt x="250161" y="175461"/>
                    </a:lnTo>
                    <a:lnTo>
                      <a:pt x="251070" y="178643"/>
                    </a:lnTo>
                    <a:lnTo>
                      <a:pt x="252434" y="176673"/>
                    </a:lnTo>
                    <a:lnTo>
                      <a:pt x="254404" y="177431"/>
                    </a:lnTo>
                    <a:lnTo>
                      <a:pt x="255010" y="176976"/>
                    </a:lnTo>
                    <a:lnTo>
                      <a:pt x="256070" y="174855"/>
                    </a:lnTo>
                    <a:lnTo>
                      <a:pt x="257282" y="173340"/>
                    </a:lnTo>
                    <a:lnTo>
                      <a:pt x="256676" y="172431"/>
                    </a:lnTo>
                    <a:lnTo>
                      <a:pt x="254100" y="169855"/>
                    </a:lnTo>
                    <a:lnTo>
                      <a:pt x="251070" y="171673"/>
                    </a:lnTo>
                    <a:close/>
                    <a:moveTo>
                      <a:pt x="223796" y="137581"/>
                    </a:moveTo>
                    <a:lnTo>
                      <a:pt x="223190" y="139551"/>
                    </a:lnTo>
                    <a:lnTo>
                      <a:pt x="225463" y="143036"/>
                    </a:lnTo>
                    <a:lnTo>
                      <a:pt x="226069" y="142732"/>
                    </a:lnTo>
                    <a:lnTo>
                      <a:pt x="227433" y="141217"/>
                    </a:lnTo>
                    <a:lnTo>
                      <a:pt x="226675" y="139702"/>
                    </a:lnTo>
                    <a:lnTo>
                      <a:pt x="225615" y="138490"/>
                    </a:lnTo>
                    <a:lnTo>
                      <a:pt x="224402" y="137278"/>
                    </a:lnTo>
                    <a:lnTo>
                      <a:pt x="223796" y="137581"/>
                    </a:lnTo>
                    <a:close/>
                    <a:moveTo>
                      <a:pt x="249252" y="133035"/>
                    </a:moveTo>
                    <a:lnTo>
                      <a:pt x="253191" y="132126"/>
                    </a:lnTo>
                    <a:lnTo>
                      <a:pt x="253797" y="133641"/>
                    </a:lnTo>
                    <a:lnTo>
                      <a:pt x="252888" y="134702"/>
                    </a:lnTo>
                    <a:lnTo>
                      <a:pt x="254252" y="135308"/>
                    </a:lnTo>
                    <a:lnTo>
                      <a:pt x="253949" y="135763"/>
                    </a:lnTo>
                    <a:lnTo>
                      <a:pt x="254252" y="136520"/>
                    </a:lnTo>
                    <a:lnTo>
                      <a:pt x="254858" y="137429"/>
                    </a:lnTo>
                    <a:lnTo>
                      <a:pt x="256828" y="138035"/>
                    </a:lnTo>
                    <a:lnTo>
                      <a:pt x="257434" y="137278"/>
                    </a:lnTo>
                    <a:lnTo>
                      <a:pt x="258949" y="134550"/>
                    </a:lnTo>
                    <a:lnTo>
                      <a:pt x="259252" y="132126"/>
                    </a:lnTo>
                    <a:lnTo>
                      <a:pt x="258798" y="130611"/>
                    </a:lnTo>
                    <a:lnTo>
                      <a:pt x="257282" y="129550"/>
                    </a:lnTo>
                    <a:lnTo>
                      <a:pt x="257131" y="127580"/>
                    </a:lnTo>
                    <a:lnTo>
                      <a:pt x="254858" y="128490"/>
                    </a:lnTo>
                    <a:lnTo>
                      <a:pt x="252888" y="128035"/>
                    </a:lnTo>
                    <a:lnTo>
                      <a:pt x="251070" y="128490"/>
                    </a:lnTo>
                    <a:lnTo>
                      <a:pt x="248039" y="130611"/>
                    </a:lnTo>
                    <a:lnTo>
                      <a:pt x="247888" y="131368"/>
                    </a:lnTo>
                    <a:lnTo>
                      <a:pt x="248039" y="133035"/>
                    </a:lnTo>
                    <a:lnTo>
                      <a:pt x="249252" y="133035"/>
                    </a:lnTo>
                    <a:close/>
                    <a:moveTo>
                      <a:pt x="236675" y="139702"/>
                    </a:moveTo>
                    <a:lnTo>
                      <a:pt x="236524" y="138944"/>
                    </a:lnTo>
                    <a:lnTo>
                      <a:pt x="235918" y="137732"/>
                    </a:lnTo>
                    <a:lnTo>
                      <a:pt x="234403" y="136520"/>
                    </a:lnTo>
                    <a:lnTo>
                      <a:pt x="234100" y="137126"/>
                    </a:lnTo>
                    <a:lnTo>
                      <a:pt x="234100" y="138338"/>
                    </a:lnTo>
                    <a:lnTo>
                      <a:pt x="236675" y="139702"/>
                    </a:lnTo>
                    <a:close/>
                    <a:moveTo>
                      <a:pt x="240161" y="133187"/>
                    </a:moveTo>
                    <a:lnTo>
                      <a:pt x="243039" y="133793"/>
                    </a:lnTo>
                    <a:lnTo>
                      <a:pt x="244706" y="131066"/>
                    </a:lnTo>
                    <a:lnTo>
                      <a:pt x="245009" y="130156"/>
                    </a:lnTo>
                    <a:lnTo>
                      <a:pt x="245009" y="129096"/>
                    </a:lnTo>
                    <a:lnTo>
                      <a:pt x="243646" y="129853"/>
                    </a:lnTo>
                    <a:lnTo>
                      <a:pt x="241827" y="128641"/>
                    </a:lnTo>
                    <a:lnTo>
                      <a:pt x="241070" y="129853"/>
                    </a:lnTo>
                    <a:lnTo>
                      <a:pt x="239858" y="129853"/>
                    </a:lnTo>
                    <a:lnTo>
                      <a:pt x="239554" y="131217"/>
                    </a:lnTo>
                    <a:lnTo>
                      <a:pt x="239100" y="131672"/>
                    </a:lnTo>
                    <a:lnTo>
                      <a:pt x="239251" y="132278"/>
                    </a:lnTo>
                    <a:lnTo>
                      <a:pt x="240161" y="133187"/>
                    </a:lnTo>
                    <a:close/>
                    <a:moveTo>
                      <a:pt x="244100" y="135308"/>
                    </a:moveTo>
                    <a:lnTo>
                      <a:pt x="243949" y="135763"/>
                    </a:lnTo>
                    <a:lnTo>
                      <a:pt x="243797" y="136369"/>
                    </a:lnTo>
                    <a:lnTo>
                      <a:pt x="245918" y="138793"/>
                    </a:lnTo>
                    <a:lnTo>
                      <a:pt x="247585" y="138035"/>
                    </a:lnTo>
                    <a:lnTo>
                      <a:pt x="247282" y="136823"/>
                    </a:lnTo>
                    <a:lnTo>
                      <a:pt x="245767" y="136369"/>
                    </a:lnTo>
                    <a:lnTo>
                      <a:pt x="244403" y="135156"/>
                    </a:lnTo>
                    <a:lnTo>
                      <a:pt x="244100" y="135308"/>
                    </a:lnTo>
                    <a:close/>
                    <a:moveTo>
                      <a:pt x="208038" y="132732"/>
                    </a:moveTo>
                    <a:lnTo>
                      <a:pt x="210765" y="133641"/>
                    </a:lnTo>
                    <a:lnTo>
                      <a:pt x="212887" y="135156"/>
                    </a:lnTo>
                    <a:lnTo>
                      <a:pt x="214856" y="136823"/>
                    </a:lnTo>
                    <a:lnTo>
                      <a:pt x="216372" y="137732"/>
                    </a:lnTo>
                    <a:lnTo>
                      <a:pt x="217735" y="137884"/>
                    </a:lnTo>
                    <a:lnTo>
                      <a:pt x="218493" y="137126"/>
                    </a:lnTo>
                    <a:lnTo>
                      <a:pt x="215765" y="133187"/>
                    </a:lnTo>
                    <a:lnTo>
                      <a:pt x="213947" y="131672"/>
                    </a:lnTo>
                    <a:lnTo>
                      <a:pt x="208189" y="128944"/>
                    </a:lnTo>
                    <a:lnTo>
                      <a:pt x="206371" y="129096"/>
                    </a:lnTo>
                    <a:lnTo>
                      <a:pt x="205765" y="131975"/>
                    </a:lnTo>
                    <a:lnTo>
                      <a:pt x="206371" y="132278"/>
                    </a:lnTo>
                    <a:lnTo>
                      <a:pt x="208038" y="132732"/>
                    </a:lnTo>
                    <a:close/>
                    <a:moveTo>
                      <a:pt x="905943" y="105458"/>
                    </a:moveTo>
                    <a:lnTo>
                      <a:pt x="910337" y="105004"/>
                    </a:lnTo>
                    <a:lnTo>
                      <a:pt x="912913" y="103792"/>
                    </a:lnTo>
                    <a:lnTo>
                      <a:pt x="915034" y="100307"/>
                    </a:lnTo>
                    <a:lnTo>
                      <a:pt x="916852" y="93488"/>
                    </a:lnTo>
                    <a:lnTo>
                      <a:pt x="914428" y="90155"/>
                    </a:lnTo>
                    <a:lnTo>
                      <a:pt x="913519" y="90155"/>
                    </a:lnTo>
                    <a:lnTo>
                      <a:pt x="910943" y="90912"/>
                    </a:lnTo>
                    <a:lnTo>
                      <a:pt x="907004" y="93640"/>
                    </a:lnTo>
                    <a:lnTo>
                      <a:pt x="903973" y="98337"/>
                    </a:lnTo>
                    <a:lnTo>
                      <a:pt x="905185" y="104246"/>
                    </a:lnTo>
                    <a:lnTo>
                      <a:pt x="905943" y="105458"/>
                    </a:lnTo>
                    <a:close/>
                    <a:moveTo>
                      <a:pt x="972006" y="190765"/>
                    </a:moveTo>
                    <a:lnTo>
                      <a:pt x="972763" y="192583"/>
                    </a:lnTo>
                    <a:lnTo>
                      <a:pt x="973976" y="194856"/>
                    </a:lnTo>
                    <a:lnTo>
                      <a:pt x="975642" y="196522"/>
                    </a:lnTo>
                    <a:lnTo>
                      <a:pt x="978976" y="197280"/>
                    </a:lnTo>
                    <a:lnTo>
                      <a:pt x="979885" y="196522"/>
                    </a:lnTo>
                    <a:lnTo>
                      <a:pt x="981097" y="193037"/>
                    </a:lnTo>
                    <a:lnTo>
                      <a:pt x="981855" y="187128"/>
                    </a:lnTo>
                    <a:lnTo>
                      <a:pt x="980794" y="185765"/>
                    </a:lnTo>
                    <a:lnTo>
                      <a:pt x="978219" y="185765"/>
                    </a:lnTo>
                    <a:lnTo>
                      <a:pt x="977006" y="185007"/>
                    </a:lnTo>
                    <a:lnTo>
                      <a:pt x="970945" y="186977"/>
                    </a:lnTo>
                    <a:lnTo>
                      <a:pt x="970793" y="187583"/>
                    </a:lnTo>
                    <a:lnTo>
                      <a:pt x="971854" y="189401"/>
                    </a:lnTo>
                    <a:lnTo>
                      <a:pt x="972006" y="190765"/>
                    </a:lnTo>
                    <a:close/>
                    <a:moveTo>
                      <a:pt x="882154" y="129702"/>
                    </a:moveTo>
                    <a:lnTo>
                      <a:pt x="884730" y="135611"/>
                    </a:lnTo>
                    <a:lnTo>
                      <a:pt x="887154" y="137732"/>
                    </a:lnTo>
                    <a:lnTo>
                      <a:pt x="887003" y="139096"/>
                    </a:lnTo>
                    <a:lnTo>
                      <a:pt x="886094" y="140611"/>
                    </a:lnTo>
                    <a:lnTo>
                      <a:pt x="885336" y="142278"/>
                    </a:lnTo>
                    <a:lnTo>
                      <a:pt x="885185" y="144248"/>
                    </a:lnTo>
                    <a:lnTo>
                      <a:pt x="885639" y="147581"/>
                    </a:lnTo>
                    <a:lnTo>
                      <a:pt x="887306" y="150460"/>
                    </a:lnTo>
                    <a:lnTo>
                      <a:pt x="888669" y="151672"/>
                    </a:lnTo>
                    <a:lnTo>
                      <a:pt x="889730" y="153036"/>
                    </a:lnTo>
                    <a:lnTo>
                      <a:pt x="889124" y="156824"/>
                    </a:lnTo>
                    <a:lnTo>
                      <a:pt x="888973" y="159854"/>
                    </a:lnTo>
                    <a:lnTo>
                      <a:pt x="889124" y="163036"/>
                    </a:lnTo>
                    <a:lnTo>
                      <a:pt x="888821" y="165309"/>
                    </a:lnTo>
                    <a:lnTo>
                      <a:pt x="889276" y="167430"/>
                    </a:lnTo>
                    <a:lnTo>
                      <a:pt x="890639" y="168946"/>
                    </a:lnTo>
                    <a:lnTo>
                      <a:pt x="893670" y="171067"/>
                    </a:lnTo>
                    <a:lnTo>
                      <a:pt x="894579" y="172279"/>
                    </a:lnTo>
                    <a:lnTo>
                      <a:pt x="897912" y="178643"/>
                    </a:lnTo>
                    <a:lnTo>
                      <a:pt x="898821" y="180007"/>
                    </a:lnTo>
                    <a:lnTo>
                      <a:pt x="903973" y="182279"/>
                    </a:lnTo>
                    <a:lnTo>
                      <a:pt x="905185" y="184552"/>
                    </a:lnTo>
                    <a:lnTo>
                      <a:pt x="909276" y="185158"/>
                    </a:lnTo>
                    <a:lnTo>
                      <a:pt x="906852" y="183037"/>
                    </a:lnTo>
                    <a:lnTo>
                      <a:pt x="904579" y="180764"/>
                    </a:lnTo>
                    <a:lnTo>
                      <a:pt x="900033" y="174097"/>
                    </a:lnTo>
                    <a:lnTo>
                      <a:pt x="897003" y="167734"/>
                    </a:lnTo>
                    <a:lnTo>
                      <a:pt x="894579" y="159703"/>
                    </a:lnTo>
                    <a:lnTo>
                      <a:pt x="895185" y="156975"/>
                    </a:lnTo>
                    <a:lnTo>
                      <a:pt x="895185" y="155460"/>
                    </a:lnTo>
                    <a:lnTo>
                      <a:pt x="894427" y="152885"/>
                    </a:lnTo>
                    <a:lnTo>
                      <a:pt x="894882" y="150915"/>
                    </a:lnTo>
                    <a:lnTo>
                      <a:pt x="895488" y="149097"/>
                    </a:lnTo>
                    <a:lnTo>
                      <a:pt x="897154" y="148187"/>
                    </a:lnTo>
                    <a:lnTo>
                      <a:pt x="900488" y="148490"/>
                    </a:lnTo>
                    <a:lnTo>
                      <a:pt x="903670" y="149703"/>
                    </a:lnTo>
                    <a:lnTo>
                      <a:pt x="906700" y="150157"/>
                    </a:lnTo>
                    <a:lnTo>
                      <a:pt x="909883" y="150308"/>
                    </a:lnTo>
                    <a:lnTo>
                      <a:pt x="912458" y="151824"/>
                    </a:lnTo>
                    <a:lnTo>
                      <a:pt x="922307" y="155157"/>
                    </a:lnTo>
                    <a:lnTo>
                      <a:pt x="921247" y="153794"/>
                    </a:lnTo>
                    <a:lnTo>
                      <a:pt x="919882" y="152733"/>
                    </a:lnTo>
                    <a:lnTo>
                      <a:pt x="917913" y="152278"/>
                    </a:lnTo>
                    <a:lnTo>
                      <a:pt x="916549" y="151218"/>
                    </a:lnTo>
                    <a:lnTo>
                      <a:pt x="916398" y="149097"/>
                    </a:lnTo>
                    <a:lnTo>
                      <a:pt x="915640" y="147127"/>
                    </a:lnTo>
                    <a:lnTo>
                      <a:pt x="914428" y="146066"/>
                    </a:lnTo>
                    <a:lnTo>
                      <a:pt x="908518" y="143642"/>
                    </a:lnTo>
                    <a:lnTo>
                      <a:pt x="904730" y="141066"/>
                    </a:lnTo>
                    <a:lnTo>
                      <a:pt x="904579" y="139096"/>
                    </a:lnTo>
                    <a:lnTo>
                      <a:pt x="905791" y="137126"/>
                    </a:lnTo>
                    <a:lnTo>
                      <a:pt x="907155" y="136369"/>
                    </a:lnTo>
                    <a:lnTo>
                      <a:pt x="911701" y="134399"/>
                    </a:lnTo>
                    <a:lnTo>
                      <a:pt x="915943" y="131975"/>
                    </a:lnTo>
                    <a:lnTo>
                      <a:pt x="916852" y="130914"/>
                    </a:lnTo>
                    <a:lnTo>
                      <a:pt x="917307" y="123792"/>
                    </a:lnTo>
                    <a:lnTo>
                      <a:pt x="916549" y="121217"/>
                    </a:lnTo>
                    <a:lnTo>
                      <a:pt x="917004" y="119550"/>
                    </a:lnTo>
                    <a:lnTo>
                      <a:pt x="916549" y="118338"/>
                    </a:lnTo>
                    <a:lnTo>
                      <a:pt x="912458" y="118641"/>
                    </a:lnTo>
                    <a:lnTo>
                      <a:pt x="909276" y="119701"/>
                    </a:lnTo>
                    <a:lnTo>
                      <a:pt x="903821" y="122883"/>
                    </a:lnTo>
                    <a:lnTo>
                      <a:pt x="902003" y="125156"/>
                    </a:lnTo>
                    <a:lnTo>
                      <a:pt x="901851" y="127278"/>
                    </a:lnTo>
                    <a:lnTo>
                      <a:pt x="902003" y="129399"/>
                    </a:lnTo>
                    <a:lnTo>
                      <a:pt x="900791" y="130308"/>
                    </a:lnTo>
                    <a:lnTo>
                      <a:pt x="899124" y="130611"/>
                    </a:lnTo>
                    <a:lnTo>
                      <a:pt x="896700" y="132581"/>
                    </a:lnTo>
                    <a:lnTo>
                      <a:pt x="895640" y="135460"/>
                    </a:lnTo>
                    <a:lnTo>
                      <a:pt x="895336" y="136975"/>
                    </a:lnTo>
                    <a:lnTo>
                      <a:pt x="894275" y="138187"/>
                    </a:lnTo>
                    <a:lnTo>
                      <a:pt x="892154" y="138338"/>
                    </a:lnTo>
                    <a:lnTo>
                      <a:pt x="890185" y="137732"/>
                    </a:lnTo>
                    <a:lnTo>
                      <a:pt x="888669" y="136672"/>
                    </a:lnTo>
                    <a:lnTo>
                      <a:pt x="887457" y="135308"/>
                    </a:lnTo>
                    <a:lnTo>
                      <a:pt x="887457" y="134247"/>
                    </a:lnTo>
                    <a:lnTo>
                      <a:pt x="888064" y="133187"/>
                    </a:lnTo>
                    <a:lnTo>
                      <a:pt x="894427" y="129096"/>
                    </a:lnTo>
                    <a:lnTo>
                      <a:pt x="897154" y="125611"/>
                    </a:lnTo>
                    <a:lnTo>
                      <a:pt x="897761" y="124399"/>
                    </a:lnTo>
                    <a:lnTo>
                      <a:pt x="898215" y="120914"/>
                    </a:lnTo>
                    <a:lnTo>
                      <a:pt x="898215" y="117580"/>
                    </a:lnTo>
                    <a:lnTo>
                      <a:pt x="897912" y="114398"/>
                    </a:lnTo>
                    <a:lnTo>
                      <a:pt x="896397" y="111974"/>
                    </a:lnTo>
                    <a:lnTo>
                      <a:pt x="894730" y="110762"/>
                    </a:lnTo>
                    <a:lnTo>
                      <a:pt x="894882" y="108792"/>
                    </a:lnTo>
                    <a:lnTo>
                      <a:pt x="895336" y="107731"/>
                    </a:lnTo>
                    <a:lnTo>
                      <a:pt x="898670" y="103034"/>
                    </a:lnTo>
                    <a:lnTo>
                      <a:pt x="898973" y="101974"/>
                    </a:lnTo>
                    <a:lnTo>
                      <a:pt x="898821" y="100761"/>
                    </a:lnTo>
                    <a:lnTo>
                      <a:pt x="896852" y="101367"/>
                    </a:lnTo>
                    <a:lnTo>
                      <a:pt x="895033" y="102428"/>
                    </a:lnTo>
                    <a:lnTo>
                      <a:pt x="890487" y="107125"/>
                    </a:lnTo>
                    <a:lnTo>
                      <a:pt x="887760" y="110459"/>
                    </a:lnTo>
                    <a:lnTo>
                      <a:pt x="886094" y="114398"/>
                    </a:lnTo>
                    <a:lnTo>
                      <a:pt x="885790" y="116216"/>
                    </a:lnTo>
                    <a:lnTo>
                      <a:pt x="885185" y="117883"/>
                    </a:lnTo>
                    <a:lnTo>
                      <a:pt x="885185" y="120762"/>
                    </a:lnTo>
                    <a:lnTo>
                      <a:pt x="882002" y="126671"/>
                    </a:lnTo>
                    <a:lnTo>
                      <a:pt x="882154" y="129702"/>
                    </a:lnTo>
                    <a:close/>
                    <a:moveTo>
                      <a:pt x="777302" y="206977"/>
                    </a:moveTo>
                    <a:lnTo>
                      <a:pt x="777756" y="204856"/>
                    </a:lnTo>
                    <a:lnTo>
                      <a:pt x="776847" y="203796"/>
                    </a:lnTo>
                    <a:lnTo>
                      <a:pt x="776241" y="202735"/>
                    </a:lnTo>
                    <a:lnTo>
                      <a:pt x="775938" y="201523"/>
                    </a:lnTo>
                    <a:lnTo>
                      <a:pt x="775332" y="201371"/>
                    </a:lnTo>
                    <a:lnTo>
                      <a:pt x="774120" y="202280"/>
                    </a:lnTo>
                    <a:lnTo>
                      <a:pt x="773968" y="206220"/>
                    </a:lnTo>
                    <a:lnTo>
                      <a:pt x="775180" y="206977"/>
                    </a:lnTo>
                    <a:lnTo>
                      <a:pt x="777302" y="206977"/>
                    </a:lnTo>
                    <a:close/>
                    <a:moveTo>
                      <a:pt x="938065" y="164249"/>
                    </a:moveTo>
                    <a:lnTo>
                      <a:pt x="939126" y="165764"/>
                    </a:lnTo>
                    <a:lnTo>
                      <a:pt x="940338" y="165612"/>
                    </a:lnTo>
                    <a:lnTo>
                      <a:pt x="940187" y="164249"/>
                    </a:lnTo>
                    <a:lnTo>
                      <a:pt x="933822" y="159248"/>
                    </a:lnTo>
                    <a:lnTo>
                      <a:pt x="935490" y="162279"/>
                    </a:lnTo>
                    <a:lnTo>
                      <a:pt x="938065" y="164249"/>
                    </a:lnTo>
                    <a:close/>
                    <a:moveTo>
                      <a:pt x="883063" y="182582"/>
                    </a:moveTo>
                    <a:lnTo>
                      <a:pt x="883972" y="182431"/>
                    </a:lnTo>
                    <a:lnTo>
                      <a:pt x="887457" y="181370"/>
                    </a:lnTo>
                    <a:lnTo>
                      <a:pt x="887912" y="181825"/>
                    </a:lnTo>
                    <a:lnTo>
                      <a:pt x="888518" y="183189"/>
                    </a:lnTo>
                    <a:lnTo>
                      <a:pt x="891094" y="184552"/>
                    </a:lnTo>
                    <a:lnTo>
                      <a:pt x="893366" y="183643"/>
                    </a:lnTo>
                    <a:lnTo>
                      <a:pt x="894427" y="182582"/>
                    </a:lnTo>
                    <a:lnTo>
                      <a:pt x="893973" y="181219"/>
                    </a:lnTo>
                    <a:lnTo>
                      <a:pt x="893215" y="180310"/>
                    </a:lnTo>
                    <a:lnTo>
                      <a:pt x="892306" y="179552"/>
                    </a:lnTo>
                    <a:lnTo>
                      <a:pt x="888366" y="179401"/>
                    </a:lnTo>
                    <a:lnTo>
                      <a:pt x="886851" y="177279"/>
                    </a:lnTo>
                    <a:lnTo>
                      <a:pt x="888973" y="173491"/>
                    </a:lnTo>
                    <a:lnTo>
                      <a:pt x="885790" y="169400"/>
                    </a:lnTo>
                    <a:lnTo>
                      <a:pt x="884730" y="169097"/>
                    </a:lnTo>
                    <a:lnTo>
                      <a:pt x="883820" y="169855"/>
                    </a:lnTo>
                    <a:lnTo>
                      <a:pt x="882760" y="171825"/>
                    </a:lnTo>
                    <a:lnTo>
                      <a:pt x="880487" y="169855"/>
                    </a:lnTo>
                    <a:lnTo>
                      <a:pt x="879275" y="170006"/>
                    </a:lnTo>
                    <a:lnTo>
                      <a:pt x="879427" y="171522"/>
                    </a:lnTo>
                    <a:lnTo>
                      <a:pt x="878518" y="173340"/>
                    </a:lnTo>
                    <a:lnTo>
                      <a:pt x="878669" y="174400"/>
                    </a:lnTo>
                    <a:lnTo>
                      <a:pt x="880942" y="177128"/>
                    </a:lnTo>
                    <a:lnTo>
                      <a:pt x="883366" y="178340"/>
                    </a:lnTo>
                    <a:lnTo>
                      <a:pt x="882609" y="180916"/>
                    </a:lnTo>
                    <a:lnTo>
                      <a:pt x="883063" y="182582"/>
                    </a:lnTo>
                    <a:close/>
                    <a:moveTo>
                      <a:pt x="880639" y="143490"/>
                    </a:moveTo>
                    <a:lnTo>
                      <a:pt x="880942" y="143642"/>
                    </a:lnTo>
                    <a:lnTo>
                      <a:pt x="881851" y="143339"/>
                    </a:lnTo>
                    <a:lnTo>
                      <a:pt x="882609" y="142278"/>
                    </a:lnTo>
                    <a:lnTo>
                      <a:pt x="882457" y="140914"/>
                    </a:lnTo>
                    <a:lnTo>
                      <a:pt x="882002" y="140611"/>
                    </a:lnTo>
                    <a:lnTo>
                      <a:pt x="880790" y="140611"/>
                    </a:lnTo>
                    <a:lnTo>
                      <a:pt x="880184" y="142430"/>
                    </a:lnTo>
                    <a:lnTo>
                      <a:pt x="880639" y="143490"/>
                    </a:lnTo>
                    <a:close/>
                    <a:moveTo>
                      <a:pt x="882911" y="160915"/>
                    </a:moveTo>
                    <a:lnTo>
                      <a:pt x="882760" y="158945"/>
                    </a:lnTo>
                    <a:lnTo>
                      <a:pt x="882306" y="156975"/>
                    </a:lnTo>
                    <a:lnTo>
                      <a:pt x="882002" y="157430"/>
                    </a:lnTo>
                    <a:lnTo>
                      <a:pt x="881397" y="160309"/>
                    </a:lnTo>
                    <a:lnTo>
                      <a:pt x="882002" y="160612"/>
                    </a:lnTo>
                    <a:lnTo>
                      <a:pt x="882911" y="161824"/>
                    </a:lnTo>
                    <a:lnTo>
                      <a:pt x="882911" y="160915"/>
                    </a:lnTo>
                    <a:close/>
                    <a:moveTo>
                      <a:pt x="949429" y="214705"/>
                    </a:moveTo>
                    <a:lnTo>
                      <a:pt x="955035" y="215917"/>
                    </a:lnTo>
                    <a:lnTo>
                      <a:pt x="956096" y="216826"/>
                    </a:lnTo>
                    <a:lnTo>
                      <a:pt x="959278" y="216372"/>
                    </a:lnTo>
                    <a:lnTo>
                      <a:pt x="960338" y="215311"/>
                    </a:lnTo>
                    <a:lnTo>
                      <a:pt x="961854" y="214553"/>
                    </a:lnTo>
                    <a:lnTo>
                      <a:pt x="962763" y="214856"/>
                    </a:lnTo>
                    <a:lnTo>
                      <a:pt x="963976" y="214250"/>
                    </a:lnTo>
                    <a:lnTo>
                      <a:pt x="963217" y="213493"/>
                    </a:lnTo>
                    <a:lnTo>
                      <a:pt x="962915" y="212432"/>
                    </a:lnTo>
                    <a:lnTo>
                      <a:pt x="963521" y="212129"/>
                    </a:lnTo>
                    <a:lnTo>
                      <a:pt x="964126" y="209856"/>
                    </a:lnTo>
                    <a:lnTo>
                      <a:pt x="962460" y="208341"/>
                    </a:lnTo>
                    <a:lnTo>
                      <a:pt x="962157" y="206674"/>
                    </a:lnTo>
                    <a:lnTo>
                      <a:pt x="961248" y="206674"/>
                    </a:lnTo>
                    <a:lnTo>
                      <a:pt x="958066" y="207735"/>
                    </a:lnTo>
                    <a:lnTo>
                      <a:pt x="955490" y="207735"/>
                    </a:lnTo>
                    <a:lnTo>
                      <a:pt x="952460" y="208493"/>
                    </a:lnTo>
                    <a:lnTo>
                      <a:pt x="945490" y="211372"/>
                    </a:lnTo>
                    <a:lnTo>
                      <a:pt x="945945" y="212129"/>
                    </a:lnTo>
                    <a:lnTo>
                      <a:pt x="949429" y="214705"/>
                    </a:lnTo>
                    <a:close/>
                    <a:moveTo>
                      <a:pt x="1087162" y="191522"/>
                    </a:moveTo>
                    <a:lnTo>
                      <a:pt x="1088525" y="191068"/>
                    </a:lnTo>
                    <a:lnTo>
                      <a:pt x="1089434" y="188795"/>
                    </a:lnTo>
                    <a:lnTo>
                      <a:pt x="1088374" y="188643"/>
                    </a:lnTo>
                    <a:lnTo>
                      <a:pt x="1087919" y="187280"/>
                    </a:lnTo>
                    <a:lnTo>
                      <a:pt x="1086555" y="186219"/>
                    </a:lnTo>
                    <a:lnTo>
                      <a:pt x="1084889" y="187280"/>
                    </a:lnTo>
                    <a:lnTo>
                      <a:pt x="1084434" y="188946"/>
                    </a:lnTo>
                    <a:lnTo>
                      <a:pt x="1085950" y="191068"/>
                    </a:lnTo>
                    <a:lnTo>
                      <a:pt x="1087162" y="191522"/>
                    </a:lnTo>
                    <a:close/>
                    <a:moveTo>
                      <a:pt x="1101102" y="181522"/>
                    </a:moveTo>
                    <a:lnTo>
                      <a:pt x="1102465" y="182431"/>
                    </a:lnTo>
                    <a:lnTo>
                      <a:pt x="1102617" y="181976"/>
                    </a:lnTo>
                    <a:lnTo>
                      <a:pt x="1103526" y="181976"/>
                    </a:lnTo>
                    <a:lnTo>
                      <a:pt x="1106860" y="184552"/>
                    </a:lnTo>
                    <a:lnTo>
                      <a:pt x="1109587" y="182886"/>
                    </a:lnTo>
                    <a:lnTo>
                      <a:pt x="1111708" y="188492"/>
                    </a:lnTo>
                    <a:lnTo>
                      <a:pt x="1112011" y="190916"/>
                    </a:lnTo>
                    <a:lnTo>
                      <a:pt x="1114132" y="192583"/>
                    </a:lnTo>
                    <a:lnTo>
                      <a:pt x="1116557" y="192280"/>
                    </a:lnTo>
                    <a:lnTo>
                      <a:pt x="1119435" y="193492"/>
                    </a:lnTo>
                    <a:lnTo>
                      <a:pt x="1120951" y="193492"/>
                    </a:lnTo>
                    <a:lnTo>
                      <a:pt x="1124739" y="192431"/>
                    </a:lnTo>
                    <a:lnTo>
                      <a:pt x="1126709" y="190310"/>
                    </a:lnTo>
                    <a:lnTo>
                      <a:pt x="1124133" y="189553"/>
                    </a:lnTo>
                    <a:lnTo>
                      <a:pt x="1120648" y="187280"/>
                    </a:lnTo>
                    <a:lnTo>
                      <a:pt x="1118224" y="184552"/>
                    </a:lnTo>
                    <a:lnTo>
                      <a:pt x="1113375" y="180461"/>
                    </a:lnTo>
                    <a:lnTo>
                      <a:pt x="1112011" y="180007"/>
                    </a:lnTo>
                    <a:lnTo>
                      <a:pt x="1109435" y="180613"/>
                    </a:lnTo>
                    <a:lnTo>
                      <a:pt x="1107314" y="179401"/>
                    </a:lnTo>
                    <a:lnTo>
                      <a:pt x="1105193" y="179401"/>
                    </a:lnTo>
                    <a:lnTo>
                      <a:pt x="1099435" y="178340"/>
                    </a:lnTo>
                    <a:lnTo>
                      <a:pt x="1099586" y="179855"/>
                    </a:lnTo>
                    <a:lnTo>
                      <a:pt x="1101102" y="181522"/>
                    </a:lnTo>
                    <a:close/>
                    <a:moveTo>
                      <a:pt x="1116102" y="205159"/>
                    </a:moveTo>
                    <a:lnTo>
                      <a:pt x="1113223" y="205311"/>
                    </a:lnTo>
                    <a:lnTo>
                      <a:pt x="1102465" y="203947"/>
                    </a:lnTo>
                    <a:lnTo>
                      <a:pt x="1102314" y="204553"/>
                    </a:lnTo>
                    <a:lnTo>
                      <a:pt x="1102768" y="205917"/>
                    </a:lnTo>
                    <a:lnTo>
                      <a:pt x="1113072" y="208190"/>
                    </a:lnTo>
                    <a:lnTo>
                      <a:pt x="1118072" y="210159"/>
                    </a:lnTo>
                    <a:lnTo>
                      <a:pt x="1122012" y="211068"/>
                    </a:lnTo>
                    <a:lnTo>
                      <a:pt x="1122921" y="211978"/>
                    </a:lnTo>
                    <a:lnTo>
                      <a:pt x="1125648" y="211372"/>
                    </a:lnTo>
                    <a:lnTo>
                      <a:pt x="1129284" y="211826"/>
                    </a:lnTo>
                    <a:lnTo>
                      <a:pt x="1133678" y="211372"/>
                    </a:lnTo>
                    <a:lnTo>
                      <a:pt x="1136103" y="210462"/>
                    </a:lnTo>
                    <a:lnTo>
                      <a:pt x="1141103" y="209402"/>
                    </a:lnTo>
                    <a:lnTo>
                      <a:pt x="1138982" y="208190"/>
                    </a:lnTo>
                    <a:lnTo>
                      <a:pt x="1136255" y="207584"/>
                    </a:lnTo>
                    <a:lnTo>
                      <a:pt x="1127314" y="207280"/>
                    </a:lnTo>
                    <a:lnTo>
                      <a:pt x="1122163" y="205462"/>
                    </a:lnTo>
                    <a:lnTo>
                      <a:pt x="1116102" y="205159"/>
                    </a:lnTo>
                    <a:close/>
                    <a:moveTo>
                      <a:pt x="969733" y="175006"/>
                    </a:moveTo>
                    <a:lnTo>
                      <a:pt x="971248" y="173340"/>
                    </a:lnTo>
                    <a:lnTo>
                      <a:pt x="970491" y="172431"/>
                    </a:lnTo>
                    <a:lnTo>
                      <a:pt x="969430" y="171976"/>
                    </a:lnTo>
                    <a:lnTo>
                      <a:pt x="968975" y="171976"/>
                    </a:lnTo>
                    <a:lnTo>
                      <a:pt x="968066" y="172582"/>
                    </a:lnTo>
                    <a:lnTo>
                      <a:pt x="967005" y="172734"/>
                    </a:lnTo>
                    <a:lnTo>
                      <a:pt x="965339" y="173794"/>
                    </a:lnTo>
                    <a:lnTo>
                      <a:pt x="968218" y="175006"/>
                    </a:lnTo>
                    <a:lnTo>
                      <a:pt x="969733" y="175006"/>
                    </a:lnTo>
                    <a:close/>
                    <a:moveTo>
                      <a:pt x="964581" y="184855"/>
                    </a:moveTo>
                    <a:lnTo>
                      <a:pt x="963521" y="185916"/>
                    </a:lnTo>
                    <a:lnTo>
                      <a:pt x="975340" y="184249"/>
                    </a:lnTo>
                    <a:lnTo>
                      <a:pt x="976703" y="183340"/>
                    </a:lnTo>
                    <a:lnTo>
                      <a:pt x="977460" y="181976"/>
                    </a:lnTo>
                    <a:lnTo>
                      <a:pt x="974733" y="181673"/>
                    </a:lnTo>
                    <a:lnTo>
                      <a:pt x="974885" y="183037"/>
                    </a:lnTo>
                    <a:lnTo>
                      <a:pt x="972461" y="183340"/>
                    </a:lnTo>
                    <a:lnTo>
                      <a:pt x="970036" y="183037"/>
                    </a:lnTo>
                    <a:lnTo>
                      <a:pt x="968824" y="183492"/>
                    </a:lnTo>
                    <a:lnTo>
                      <a:pt x="968218" y="183340"/>
                    </a:lnTo>
                    <a:lnTo>
                      <a:pt x="967612" y="183492"/>
                    </a:lnTo>
                    <a:lnTo>
                      <a:pt x="967005" y="183795"/>
                    </a:lnTo>
                    <a:lnTo>
                      <a:pt x="965794" y="183643"/>
                    </a:lnTo>
                    <a:lnTo>
                      <a:pt x="965036" y="184098"/>
                    </a:lnTo>
                    <a:lnTo>
                      <a:pt x="964581" y="184855"/>
                    </a:lnTo>
                    <a:close/>
                    <a:moveTo>
                      <a:pt x="1072161" y="218341"/>
                    </a:moveTo>
                    <a:lnTo>
                      <a:pt x="1073373" y="216372"/>
                    </a:lnTo>
                    <a:lnTo>
                      <a:pt x="1072616" y="215766"/>
                    </a:lnTo>
                    <a:lnTo>
                      <a:pt x="1072010" y="215614"/>
                    </a:lnTo>
                    <a:lnTo>
                      <a:pt x="1071555" y="215917"/>
                    </a:lnTo>
                    <a:lnTo>
                      <a:pt x="1071101" y="217432"/>
                    </a:lnTo>
                    <a:lnTo>
                      <a:pt x="1071403" y="218644"/>
                    </a:lnTo>
                    <a:lnTo>
                      <a:pt x="1072161" y="218341"/>
                    </a:lnTo>
                    <a:close/>
                    <a:moveTo>
                      <a:pt x="966096" y="167885"/>
                    </a:moveTo>
                    <a:lnTo>
                      <a:pt x="967612" y="170612"/>
                    </a:lnTo>
                    <a:lnTo>
                      <a:pt x="968218" y="170461"/>
                    </a:lnTo>
                    <a:lnTo>
                      <a:pt x="969127" y="169552"/>
                    </a:lnTo>
                    <a:lnTo>
                      <a:pt x="971400" y="168643"/>
                    </a:lnTo>
                    <a:lnTo>
                      <a:pt x="971702" y="171218"/>
                    </a:lnTo>
                    <a:lnTo>
                      <a:pt x="973066" y="172582"/>
                    </a:lnTo>
                    <a:lnTo>
                      <a:pt x="977006" y="171825"/>
                    </a:lnTo>
                    <a:lnTo>
                      <a:pt x="977158" y="169855"/>
                    </a:lnTo>
                    <a:lnTo>
                      <a:pt x="975642" y="168643"/>
                    </a:lnTo>
                    <a:lnTo>
                      <a:pt x="974431" y="168794"/>
                    </a:lnTo>
                    <a:lnTo>
                      <a:pt x="973370" y="168491"/>
                    </a:lnTo>
                    <a:lnTo>
                      <a:pt x="971400" y="165461"/>
                    </a:lnTo>
                    <a:lnTo>
                      <a:pt x="969884" y="164400"/>
                    </a:lnTo>
                    <a:lnTo>
                      <a:pt x="969430" y="162885"/>
                    </a:lnTo>
                    <a:lnTo>
                      <a:pt x="971097" y="162733"/>
                    </a:lnTo>
                    <a:lnTo>
                      <a:pt x="974581" y="166673"/>
                    </a:lnTo>
                    <a:lnTo>
                      <a:pt x="977006" y="167885"/>
                    </a:lnTo>
                    <a:lnTo>
                      <a:pt x="978369" y="169703"/>
                    </a:lnTo>
                    <a:lnTo>
                      <a:pt x="980037" y="170309"/>
                    </a:lnTo>
                    <a:lnTo>
                      <a:pt x="982612" y="169400"/>
                    </a:lnTo>
                    <a:lnTo>
                      <a:pt x="984734" y="169855"/>
                    </a:lnTo>
                    <a:lnTo>
                      <a:pt x="985795" y="170612"/>
                    </a:lnTo>
                    <a:lnTo>
                      <a:pt x="986854" y="170309"/>
                    </a:lnTo>
                    <a:lnTo>
                      <a:pt x="989128" y="168188"/>
                    </a:lnTo>
                    <a:lnTo>
                      <a:pt x="988067" y="166824"/>
                    </a:lnTo>
                    <a:lnTo>
                      <a:pt x="988522" y="165764"/>
                    </a:lnTo>
                    <a:lnTo>
                      <a:pt x="987461" y="164249"/>
                    </a:lnTo>
                    <a:lnTo>
                      <a:pt x="980642" y="161218"/>
                    </a:lnTo>
                    <a:lnTo>
                      <a:pt x="979582" y="161370"/>
                    </a:lnTo>
                    <a:lnTo>
                      <a:pt x="974885" y="160157"/>
                    </a:lnTo>
                    <a:lnTo>
                      <a:pt x="972461" y="160915"/>
                    </a:lnTo>
                    <a:lnTo>
                      <a:pt x="968673" y="161370"/>
                    </a:lnTo>
                    <a:lnTo>
                      <a:pt x="967764" y="161976"/>
                    </a:lnTo>
                    <a:lnTo>
                      <a:pt x="966399" y="161673"/>
                    </a:lnTo>
                    <a:lnTo>
                      <a:pt x="964581" y="162733"/>
                    </a:lnTo>
                    <a:lnTo>
                      <a:pt x="962763" y="161976"/>
                    </a:lnTo>
                    <a:lnTo>
                      <a:pt x="960945" y="162733"/>
                    </a:lnTo>
                    <a:lnTo>
                      <a:pt x="960793" y="164249"/>
                    </a:lnTo>
                    <a:lnTo>
                      <a:pt x="959429" y="165764"/>
                    </a:lnTo>
                    <a:lnTo>
                      <a:pt x="962308" y="167127"/>
                    </a:lnTo>
                    <a:lnTo>
                      <a:pt x="966096" y="167885"/>
                    </a:lnTo>
                    <a:close/>
                    <a:moveTo>
                      <a:pt x="879730" y="140005"/>
                    </a:moveTo>
                    <a:lnTo>
                      <a:pt x="880639" y="139096"/>
                    </a:lnTo>
                    <a:lnTo>
                      <a:pt x="880184" y="137581"/>
                    </a:lnTo>
                    <a:lnTo>
                      <a:pt x="879275" y="137126"/>
                    </a:lnTo>
                    <a:lnTo>
                      <a:pt x="878518" y="137732"/>
                    </a:lnTo>
                    <a:lnTo>
                      <a:pt x="878366" y="138490"/>
                    </a:lnTo>
                    <a:lnTo>
                      <a:pt x="878972" y="139702"/>
                    </a:lnTo>
                    <a:lnTo>
                      <a:pt x="879730" y="140005"/>
                    </a:lnTo>
                    <a:close/>
                    <a:moveTo>
                      <a:pt x="760180" y="270313"/>
                    </a:moveTo>
                    <a:lnTo>
                      <a:pt x="760180" y="271222"/>
                    </a:lnTo>
                    <a:lnTo>
                      <a:pt x="760786" y="273647"/>
                    </a:lnTo>
                    <a:lnTo>
                      <a:pt x="763059" y="275768"/>
                    </a:lnTo>
                    <a:lnTo>
                      <a:pt x="764877" y="275919"/>
                    </a:lnTo>
                    <a:lnTo>
                      <a:pt x="767604" y="272586"/>
                    </a:lnTo>
                    <a:lnTo>
                      <a:pt x="767756" y="270616"/>
                    </a:lnTo>
                    <a:lnTo>
                      <a:pt x="766847" y="269404"/>
                    </a:lnTo>
                    <a:lnTo>
                      <a:pt x="761695" y="268949"/>
                    </a:lnTo>
                    <a:lnTo>
                      <a:pt x="760180" y="270313"/>
                    </a:lnTo>
                    <a:close/>
                    <a:moveTo>
                      <a:pt x="741392" y="305466"/>
                    </a:moveTo>
                    <a:lnTo>
                      <a:pt x="741997" y="307132"/>
                    </a:lnTo>
                    <a:lnTo>
                      <a:pt x="743815" y="307132"/>
                    </a:lnTo>
                    <a:lnTo>
                      <a:pt x="744421" y="305769"/>
                    </a:lnTo>
                    <a:lnTo>
                      <a:pt x="746694" y="306981"/>
                    </a:lnTo>
                    <a:lnTo>
                      <a:pt x="747907" y="307284"/>
                    </a:lnTo>
                    <a:lnTo>
                      <a:pt x="749119" y="307132"/>
                    </a:lnTo>
                    <a:lnTo>
                      <a:pt x="750634" y="305769"/>
                    </a:lnTo>
                    <a:lnTo>
                      <a:pt x="751391" y="303951"/>
                    </a:lnTo>
                    <a:lnTo>
                      <a:pt x="750482" y="300314"/>
                    </a:lnTo>
                    <a:lnTo>
                      <a:pt x="754422" y="294708"/>
                    </a:lnTo>
                    <a:lnTo>
                      <a:pt x="753816" y="287586"/>
                    </a:lnTo>
                    <a:lnTo>
                      <a:pt x="752756" y="286071"/>
                    </a:lnTo>
                    <a:lnTo>
                      <a:pt x="751543" y="286526"/>
                    </a:lnTo>
                    <a:lnTo>
                      <a:pt x="747907" y="288496"/>
                    </a:lnTo>
                    <a:lnTo>
                      <a:pt x="743664" y="290162"/>
                    </a:lnTo>
                    <a:lnTo>
                      <a:pt x="742755" y="292284"/>
                    </a:lnTo>
                    <a:lnTo>
                      <a:pt x="744270" y="296375"/>
                    </a:lnTo>
                    <a:lnTo>
                      <a:pt x="744421" y="298344"/>
                    </a:lnTo>
                    <a:lnTo>
                      <a:pt x="742603" y="300163"/>
                    </a:lnTo>
                    <a:lnTo>
                      <a:pt x="741392" y="305466"/>
                    </a:lnTo>
                    <a:close/>
                    <a:moveTo>
                      <a:pt x="764725" y="208947"/>
                    </a:moveTo>
                    <a:lnTo>
                      <a:pt x="763816" y="209402"/>
                    </a:lnTo>
                    <a:lnTo>
                      <a:pt x="763211" y="210159"/>
                    </a:lnTo>
                    <a:lnTo>
                      <a:pt x="762756" y="211220"/>
                    </a:lnTo>
                    <a:lnTo>
                      <a:pt x="762907" y="212432"/>
                    </a:lnTo>
                    <a:lnTo>
                      <a:pt x="764877" y="210159"/>
                    </a:lnTo>
                    <a:lnTo>
                      <a:pt x="764725" y="208947"/>
                    </a:lnTo>
                    <a:close/>
                    <a:moveTo>
                      <a:pt x="760180" y="307739"/>
                    </a:moveTo>
                    <a:lnTo>
                      <a:pt x="760634" y="307436"/>
                    </a:lnTo>
                    <a:lnTo>
                      <a:pt x="762150" y="308193"/>
                    </a:lnTo>
                    <a:lnTo>
                      <a:pt x="764271" y="307436"/>
                    </a:lnTo>
                    <a:lnTo>
                      <a:pt x="766089" y="305769"/>
                    </a:lnTo>
                    <a:lnTo>
                      <a:pt x="766544" y="304102"/>
                    </a:lnTo>
                    <a:lnTo>
                      <a:pt x="765180" y="302738"/>
                    </a:lnTo>
                    <a:lnTo>
                      <a:pt x="762452" y="300920"/>
                    </a:lnTo>
                    <a:lnTo>
                      <a:pt x="761695" y="301072"/>
                    </a:lnTo>
                    <a:lnTo>
                      <a:pt x="760483" y="301678"/>
                    </a:lnTo>
                    <a:lnTo>
                      <a:pt x="760180" y="300314"/>
                    </a:lnTo>
                    <a:lnTo>
                      <a:pt x="760634" y="295465"/>
                    </a:lnTo>
                    <a:lnTo>
                      <a:pt x="761392" y="293950"/>
                    </a:lnTo>
                    <a:lnTo>
                      <a:pt x="761543" y="291829"/>
                    </a:lnTo>
                    <a:lnTo>
                      <a:pt x="762604" y="289556"/>
                    </a:lnTo>
                    <a:lnTo>
                      <a:pt x="763361" y="289556"/>
                    </a:lnTo>
                    <a:lnTo>
                      <a:pt x="763968" y="289253"/>
                    </a:lnTo>
                    <a:lnTo>
                      <a:pt x="764422" y="288799"/>
                    </a:lnTo>
                    <a:lnTo>
                      <a:pt x="765029" y="289253"/>
                    </a:lnTo>
                    <a:lnTo>
                      <a:pt x="766544" y="291526"/>
                    </a:lnTo>
                    <a:lnTo>
                      <a:pt x="766695" y="290011"/>
                    </a:lnTo>
                    <a:lnTo>
                      <a:pt x="766089" y="284101"/>
                    </a:lnTo>
                    <a:lnTo>
                      <a:pt x="763059" y="280919"/>
                    </a:lnTo>
                    <a:lnTo>
                      <a:pt x="763211" y="279707"/>
                    </a:lnTo>
                    <a:lnTo>
                      <a:pt x="762150" y="279859"/>
                    </a:lnTo>
                    <a:lnTo>
                      <a:pt x="759573" y="281223"/>
                    </a:lnTo>
                    <a:lnTo>
                      <a:pt x="756998" y="286071"/>
                    </a:lnTo>
                    <a:lnTo>
                      <a:pt x="756846" y="291829"/>
                    </a:lnTo>
                    <a:lnTo>
                      <a:pt x="756089" y="294859"/>
                    </a:lnTo>
                    <a:lnTo>
                      <a:pt x="755634" y="296375"/>
                    </a:lnTo>
                    <a:lnTo>
                      <a:pt x="755331" y="297738"/>
                    </a:lnTo>
                    <a:lnTo>
                      <a:pt x="754574" y="301072"/>
                    </a:lnTo>
                    <a:lnTo>
                      <a:pt x="754574" y="301981"/>
                    </a:lnTo>
                    <a:lnTo>
                      <a:pt x="753665" y="303344"/>
                    </a:lnTo>
                    <a:lnTo>
                      <a:pt x="751997" y="305163"/>
                    </a:lnTo>
                    <a:lnTo>
                      <a:pt x="751240" y="306527"/>
                    </a:lnTo>
                    <a:lnTo>
                      <a:pt x="751240" y="307739"/>
                    </a:lnTo>
                    <a:lnTo>
                      <a:pt x="749725" y="309405"/>
                    </a:lnTo>
                    <a:lnTo>
                      <a:pt x="749725" y="310921"/>
                    </a:lnTo>
                    <a:lnTo>
                      <a:pt x="751391" y="314103"/>
                    </a:lnTo>
                    <a:lnTo>
                      <a:pt x="752452" y="314254"/>
                    </a:lnTo>
                    <a:lnTo>
                      <a:pt x="753816" y="313345"/>
                    </a:lnTo>
                    <a:lnTo>
                      <a:pt x="755937" y="314405"/>
                    </a:lnTo>
                    <a:lnTo>
                      <a:pt x="756998" y="313496"/>
                    </a:lnTo>
                    <a:lnTo>
                      <a:pt x="758816" y="310315"/>
                    </a:lnTo>
                    <a:lnTo>
                      <a:pt x="758664" y="309102"/>
                    </a:lnTo>
                    <a:lnTo>
                      <a:pt x="759423" y="308042"/>
                    </a:lnTo>
                    <a:lnTo>
                      <a:pt x="760180" y="307739"/>
                    </a:lnTo>
                    <a:close/>
                    <a:moveTo>
                      <a:pt x="773362" y="201371"/>
                    </a:moveTo>
                    <a:lnTo>
                      <a:pt x="775029" y="200007"/>
                    </a:lnTo>
                    <a:lnTo>
                      <a:pt x="775938" y="196977"/>
                    </a:lnTo>
                    <a:lnTo>
                      <a:pt x="775332" y="195613"/>
                    </a:lnTo>
                    <a:lnTo>
                      <a:pt x="774271" y="194856"/>
                    </a:lnTo>
                    <a:lnTo>
                      <a:pt x="772756" y="194250"/>
                    </a:lnTo>
                    <a:lnTo>
                      <a:pt x="770180" y="194704"/>
                    </a:lnTo>
                    <a:lnTo>
                      <a:pt x="767453" y="198341"/>
                    </a:lnTo>
                    <a:lnTo>
                      <a:pt x="766392" y="195613"/>
                    </a:lnTo>
                    <a:lnTo>
                      <a:pt x="767453" y="194098"/>
                    </a:lnTo>
                    <a:lnTo>
                      <a:pt x="766847" y="192431"/>
                    </a:lnTo>
                    <a:lnTo>
                      <a:pt x="765331" y="192128"/>
                    </a:lnTo>
                    <a:lnTo>
                      <a:pt x="760180" y="193037"/>
                    </a:lnTo>
                    <a:lnTo>
                      <a:pt x="758362" y="192886"/>
                    </a:lnTo>
                    <a:lnTo>
                      <a:pt x="756240" y="195613"/>
                    </a:lnTo>
                    <a:lnTo>
                      <a:pt x="755634" y="199704"/>
                    </a:lnTo>
                    <a:lnTo>
                      <a:pt x="756998" y="202886"/>
                    </a:lnTo>
                    <a:lnTo>
                      <a:pt x="757907" y="203947"/>
                    </a:lnTo>
                    <a:lnTo>
                      <a:pt x="760483" y="201826"/>
                    </a:lnTo>
                    <a:lnTo>
                      <a:pt x="763816" y="197129"/>
                    </a:lnTo>
                    <a:lnTo>
                      <a:pt x="765029" y="196219"/>
                    </a:lnTo>
                    <a:lnTo>
                      <a:pt x="765938" y="201371"/>
                    </a:lnTo>
                    <a:lnTo>
                      <a:pt x="764271" y="203038"/>
                    </a:lnTo>
                    <a:lnTo>
                      <a:pt x="764422" y="203644"/>
                    </a:lnTo>
                    <a:lnTo>
                      <a:pt x="765634" y="204705"/>
                    </a:lnTo>
                    <a:lnTo>
                      <a:pt x="766999" y="204250"/>
                    </a:lnTo>
                    <a:lnTo>
                      <a:pt x="767453" y="203644"/>
                    </a:lnTo>
                    <a:lnTo>
                      <a:pt x="768513" y="199856"/>
                    </a:lnTo>
                    <a:lnTo>
                      <a:pt x="770028" y="200007"/>
                    </a:lnTo>
                    <a:lnTo>
                      <a:pt x="771089" y="201674"/>
                    </a:lnTo>
                    <a:lnTo>
                      <a:pt x="773362" y="201371"/>
                    </a:lnTo>
                    <a:close/>
                    <a:moveTo>
                      <a:pt x="782301" y="212887"/>
                    </a:moveTo>
                    <a:lnTo>
                      <a:pt x="783060" y="215008"/>
                    </a:lnTo>
                    <a:lnTo>
                      <a:pt x="784726" y="215008"/>
                    </a:lnTo>
                    <a:lnTo>
                      <a:pt x="784271" y="213947"/>
                    </a:lnTo>
                    <a:lnTo>
                      <a:pt x="782453" y="211826"/>
                    </a:lnTo>
                    <a:lnTo>
                      <a:pt x="782301" y="212887"/>
                    </a:lnTo>
                    <a:close/>
                    <a:moveTo>
                      <a:pt x="875639" y="174855"/>
                    </a:moveTo>
                    <a:lnTo>
                      <a:pt x="877305" y="174097"/>
                    </a:lnTo>
                    <a:lnTo>
                      <a:pt x="878214" y="171218"/>
                    </a:lnTo>
                    <a:lnTo>
                      <a:pt x="877457" y="169249"/>
                    </a:lnTo>
                    <a:lnTo>
                      <a:pt x="878518" y="168339"/>
                    </a:lnTo>
                    <a:lnTo>
                      <a:pt x="875790" y="167582"/>
                    </a:lnTo>
                    <a:lnTo>
                      <a:pt x="874124" y="168188"/>
                    </a:lnTo>
                    <a:lnTo>
                      <a:pt x="873517" y="171825"/>
                    </a:lnTo>
                    <a:lnTo>
                      <a:pt x="873972" y="174703"/>
                    </a:lnTo>
                    <a:lnTo>
                      <a:pt x="875639" y="174855"/>
                    </a:lnTo>
                    <a:close/>
                    <a:moveTo>
                      <a:pt x="761241" y="390772"/>
                    </a:moveTo>
                    <a:lnTo>
                      <a:pt x="759119" y="392136"/>
                    </a:lnTo>
                    <a:lnTo>
                      <a:pt x="758362" y="393045"/>
                    </a:lnTo>
                    <a:lnTo>
                      <a:pt x="757907" y="394560"/>
                    </a:lnTo>
                    <a:lnTo>
                      <a:pt x="759423" y="395015"/>
                    </a:lnTo>
                    <a:lnTo>
                      <a:pt x="760332" y="393348"/>
                    </a:lnTo>
                    <a:lnTo>
                      <a:pt x="761846" y="391984"/>
                    </a:lnTo>
                    <a:lnTo>
                      <a:pt x="765180" y="391530"/>
                    </a:lnTo>
                    <a:lnTo>
                      <a:pt x="764725" y="391075"/>
                    </a:lnTo>
                    <a:lnTo>
                      <a:pt x="763361" y="390620"/>
                    </a:lnTo>
                    <a:lnTo>
                      <a:pt x="761241" y="390772"/>
                    </a:lnTo>
                    <a:close/>
                    <a:moveTo>
                      <a:pt x="769726" y="388348"/>
                    </a:moveTo>
                    <a:lnTo>
                      <a:pt x="770180" y="386075"/>
                    </a:lnTo>
                    <a:lnTo>
                      <a:pt x="766999" y="385166"/>
                    </a:lnTo>
                    <a:lnTo>
                      <a:pt x="764725" y="385620"/>
                    </a:lnTo>
                    <a:lnTo>
                      <a:pt x="763968" y="386226"/>
                    </a:lnTo>
                    <a:lnTo>
                      <a:pt x="761846" y="387893"/>
                    </a:lnTo>
                    <a:lnTo>
                      <a:pt x="761695" y="389408"/>
                    </a:lnTo>
                    <a:lnTo>
                      <a:pt x="769119" y="389560"/>
                    </a:lnTo>
                    <a:lnTo>
                      <a:pt x="769726" y="388348"/>
                    </a:lnTo>
                    <a:close/>
                    <a:moveTo>
                      <a:pt x="864426" y="56214"/>
                    </a:moveTo>
                    <a:lnTo>
                      <a:pt x="864426" y="56972"/>
                    </a:lnTo>
                    <a:lnTo>
                      <a:pt x="865032" y="57730"/>
                    </a:lnTo>
                    <a:lnTo>
                      <a:pt x="865941" y="58487"/>
                    </a:lnTo>
                    <a:lnTo>
                      <a:pt x="866396" y="58184"/>
                    </a:lnTo>
                    <a:lnTo>
                      <a:pt x="866548" y="57730"/>
                    </a:lnTo>
                    <a:lnTo>
                      <a:pt x="866548" y="56972"/>
                    </a:lnTo>
                    <a:lnTo>
                      <a:pt x="865184" y="55760"/>
                    </a:lnTo>
                    <a:lnTo>
                      <a:pt x="864426" y="56214"/>
                    </a:lnTo>
                    <a:close/>
                    <a:moveTo>
                      <a:pt x="862305" y="50002"/>
                    </a:moveTo>
                    <a:lnTo>
                      <a:pt x="862456" y="51366"/>
                    </a:lnTo>
                    <a:lnTo>
                      <a:pt x="864275" y="51517"/>
                    </a:lnTo>
                    <a:lnTo>
                      <a:pt x="865335" y="50911"/>
                    </a:lnTo>
                    <a:lnTo>
                      <a:pt x="866244" y="46972"/>
                    </a:lnTo>
                    <a:lnTo>
                      <a:pt x="868214" y="43941"/>
                    </a:lnTo>
                    <a:lnTo>
                      <a:pt x="867305" y="41668"/>
                    </a:lnTo>
                    <a:lnTo>
                      <a:pt x="866699" y="38789"/>
                    </a:lnTo>
                    <a:lnTo>
                      <a:pt x="865184" y="37274"/>
                    </a:lnTo>
                    <a:lnTo>
                      <a:pt x="863669" y="36971"/>
                    </a:lnTo>
                    <a:lnTo>
                      <a:pt x="862608" y="40608"/>
                    </a:lnTo>
                    <a:lnTo>
                      <a:pt x="862608" y="42578"/>
                    </a:lnTo>
                    <a:lnTo>
                      <a:pt x="863820" y="44244"/>
                    </a:lnTo>
                    <a:lnTo>
                      <a:pt x="865032" y="44850"/>
                    </a:lnTo>
                    <a:lnTo>
                      <a:pt x="863820" y="47426"/>
                    </a:lnTo>
                    <a:lnTo>
                      <a:pt x="862305" y="50002"/>
                    </a:lnTo>
                    <a:close/>
                    <a:moveTo>
                      <a:pt x="862911" y="56517"/>
                    </a:moveTo>
                    <a:lnTo>
                      <a:pt x="862911" y="55305"/>
                    </a:lnTo>
                    <a:lnTo>
                      <a:pt x="863517" y="54093"/>
                    </a:lnTo>
                    <a:lnTo>
                      <a:pt x="862001" y="51820"/>
                    </a:lnTo>
                    <a:lnTo>
                      <a:pt x="860638" y="50760"/>
                    </a:lnTo>
                    <a:lnTo>
                      <a:pt x="861244" y="53790"/>
                    </a:lnTo>
                    <a:lnTo>
                      <a:pt x="862911" y="56517"/>
                    </a:lnTo>
                    <a:close/>
                    <a:moveTo>
                      <a:pt x="786393" y="390923"/>
                    </a:moveTo>
                    <a:lnTo>
                      <a:pt x="788818" y="390772"/>
                    </a:lnTo>
                    <a:lnTo>
                      <a:pt x="790181" y="393651"/>
                    </a:lnTo>
                    <a:lnTo>
                      <a:pt x="792454" y="393045"/>
                    </a:lnTo>
                    <a:lnTo>
                      <a:pt x="793515" y="392136"/>
                    </a:lnTo>
                    <a:lnTo>
                      <a:pt x="794575" y="389257"/>
                    </a:lnTo>
                    <a:lnTo>
                      <a:pt x="796242" y="387590"/>
                    </a:lnTo>
                    <a:lnTo>
                      <a:pt x="796696" y="384863"/>
                    </a:lnTo>
                    <a:lnTo>
                      <a:pt x="796242" y="384256"/>
                    </a:lnTo>
                    <a:lnTo>
                      <a:pt x="795635" y="384105"/>
                    </a:lnTo>
                    <a:lnTo>
                      <a:pt x="794878" y="384105"/>
                    </a:lnTo>
                    <a:lnTo>
                      <a:pt x="791393" y="388499"/>
                    </a:lnTo>
                    <a:lnTo>
                      <a:pt x="790938" y="388348"/>
                    </a:lnTo>
                    <a:lnTo>
                      <a:pt x="790181" y="387287"/>
                    </a:lnTo>
                    <a:lnTo>
                      <a:pt x="788666" y="387287"/>
                    </a:lnTo>
                    <a:lnTo>
                      <a:pt x="787453" y="388196"/>
                    </a:lnTo>
                    <a:lnTo>
                      <a:pt x="786393" y="390923"/>
                    </a:lnTo>
                    <a:close/>
                    <a:moveTo>
                      <a:pt x="789727" y="323194"/>
                    </a:moveTo>
                    <a:lnTo>
                      <a:pt x="788968" y="321224"/>
                    </a:lnTo>
                    <a:lnTo>
                      <a:pt x="787605" y="320618"/>
                    </a:lnTo>
                    <a:lnTo>
                      <a:pt x="787453" y="322285"/>
                    </a:lnTo>
                    <a:lnTo>
                      <a:pt x="788363" y="323042"/>
                    </a:lnTo>
                    <a:lnTo>
                      <a:pt x="789423" y="324557"/>
                    </a:lnTo>
                    <a:lnTo>
                      <a:pt x="789727" y="323194"/>
                    </a:lnTo>
                    <a:close/>
                    <a:moveTo>
                      <a:pt x="829425" y="63033"/>
                    </a:moveTo>
                    <a:lnTo>
                      <a:pt x="829879" y="64245"/>
                    </a:lnTo>
                    <a:lnTo>
                      <a:pt x="829727" y="66669"/>
                    </a:lnTo>
                    <a:lnTo>
                      <a:pt x="833061" y="68184"/>
                    </a:lnTo>
                    <a:lnTo>
                      <a:pt x="833667" y="67427"/>
                    </a:lnTo>
                    <a:lnTo>
                      <a:pt x="833213" y="66366"/>
                    </a:lnTo>
                    <a:lnTo>
                      <a:pt x="831697" y="63790"/>
                    </a:lnTo>
                    <a:lnTo>
                      <a:pt x="830486" y="61063"/>
                    </a:lnTo>
                    <a:lnTo>
                      <a:pt x="828516" y="59396"/>
                    </a:lnTo>
                    <a:lnTo>
                      <a:pt x="828213" y="60760"/>
                    </a:lnTo>
                    <a:lnTo>
                      <a:pt x="828516" y="61972"/>
                    </a:lnTo>
                    <a:lnTo>
                      <a:pt x="829425" y="63033"/>
                    </a:lnTo>
                    <a:close/>
                    <a:moveTo>
                      <a:pt x="649115" y="232281"/>
                    </a:moveTo>
                    <a:lnTo>
                      <a:pt x="647600" y="232736"/>
                    </a:lnTo>
                    <a:lnTo>
                      <a:pt x="646388" y="233645"/>
                    </a:lnTo>
                    <a:lnTo>
                      <a:pt x="645630" y="234706"/>
                    </a:lnTo>
                    <a:lnTo>
                      <a:pt x="645630" y="235918"/>
                    </a:lnTo>
                    <a:lnTo>
                      <a:pt x="646843" y="238191"/>
                    </a:lnTo>
                    <a:lnTo>
                      <a:pt x="647600" y="240312"/>
                    </a:lnTo>
                    <a:lnTo>
                      <a:pt x="646539" y="243342"/>
                    </a:lnTo>
                    <a:lnTo>
                      <a:pt x="646236" y="246524"/>
                    </a:lnTo>
                    <a:lnTo>
                      <a:pt x="646843" y="249858"/>
                    </a:lnTo>
                    <a:lnTo>
                      <a:pt x="647752" y="253040"/>
                    </a:lnTo>
                    <a:lnTo>
                      <a:pt x="649267" y="255312"/>
                    </a:lnTo>
                    <a:lnTo>
                      <a:pt x="651236" y="256828"/>
                    </a:lnTo>
                    <a:lnTo>
                      <a:pt x="657903" y="255161"/>
                    </a:lnTo>
                    <a:lnTo>
                      <a:pt x="661236" y="254706"/>
                    </a:lnTo>
                    <a:lnTo>
                      <a:pt x="662752" y="255161"/>
                    </a:lnTo>
                    <a:lnTo>
                      <a:pt x="664115" y="256222"/>
                    </a:lnTo>
                    <a:lnTo>
                      <a:pt x="664873" y="257282"/>
                    </a:lnTo>
                    <a:lnTo>
                      <a:pt x="664873" y="258797"/>
                    </a:lnTo>
                    <a:lnTo>
                      <a:pt x="664570" y="260464"/>
                    </a:lnTo>
                    <a:lnTo>
                      <a:pt x="664570" y="262131"/>
                    </a:lnTo>
                    <a:lnTo>
                      <a:pt x="664873" y="263192"/>
                    </a:lnTo>
                    <a:lnTo>
                      <a:pt x="668055" y="269555"/>
                    </a:lnTo>
                    <a:lnTo>
                      <a:pt x="668358" y="270465"/>
                    </a:lnTo>
                    <a:lnTo>
                      <a:pt x="668055" y="281071"/>
                    </a:lnTo>
                    <a:lnTo>
                      <a:pt x="667601" y="283798"/>
                    </a:lnTo>
                    <a:lnTo>
                      <a:pt x="666237" y="286677"/>
                    </a:lnTo>
                    <a:lnTo>
                      <a:pt x="665479" y="289708"/>
                    </a:lnTo>
                    <a:lnTo>
                      <a:pt x="665631" y="293344"/>
                    </a:lnTo>
                    <a:lnTo>
                      <a:pt x="663206" y="298799"/>
                    </a:lnTo>
                    <a:lnTo>
                      <a:pt x="661995" y="302132"/>
                    </a:lnTo>
                    <a:lnTo>
                      <a:pt x="661236" y="305163"/>
                    </a:lnTo>
                    <a:lnTo>
                      <a:pt x="661691" y="308193"/>
                    </a:lnTo>
                    <a:lnTo>
                      <a:pt x="664115" y="310769"/>
                    </a:lnTo>
                    <a:lnTo>
                      <a:pt x="666692" y="313193"/>
                    </a:lnTo>
                    <a:lnTo>
                      <a:pt x="671086" y="315466"/>
                    </a:lnTo>
                    <a:lnTo>
                      <a:pt x="672449" y="315315"/>
                    </a:lnTo>
                    <a:lnTo>
                      <a:pt x="673965" y="314557"/>
                    </a:lnTo>
                    <a:lnTo>
                      <a:pt x="676389" y="312739"/>
                    </a:lnTo>
                    <a:lnTo>
                      <a:pt x="677601" y="312284"/>
                    </a:lnTo>
                    <a:lnTo>
                      <a:pt x="681086" y="312284"/>
                    </a:lnTo>
                    <a:lnTo>
                      <a:pt x="684420" y="311830"/>
                    </a:lnTo>
                    <a:lnTo>
                      <a:pt x="685934" y="311375"/>
                    </a:lnTo>
                    <a:lnTo>
                      <a:pt x="687450" y="311375"/>
                    </a:lnTo>
                    <a:lnTo>
                      <a:pt x="690631" y="312739"/>
                    </a:lnTo>
                    <a:lnTo>
                      <a:pt x="690329" y="310011"/>
                    </a:lnTo>
                    <a:lnTo>
                      <a:pt x="689571" y="307284"/>
                    </a:lnTo>
                    <a:lnTo>
                      <a:pt x="686541" y="300617"/>
                    </a:lnTo>
                    <a:lnTo>
                      <a:pt x="686541" y="299102"/>
                    </a:lnTo>
                    <a:lnTo>
                      <a:pt x="687298" y="295617"/>
                    </a:lnTo>
                    <a:lnTo>
                      <a:pt x="689874" y="289253"/>
                    </a:lnTo>
                    <a:lnTo>
                      <a:pt x="690329" y="286223"/>
                    </a:lnTo>
                    <a:lnTo>
                      <a:pt x="689420" y="280768"/>
                    </a:lnTo>
                    <a:lnTo>
                      <a:pt x="688813" y="271828"/>
                    </a:lnTo>
                    <a:lnTo>
                      <a:pt x="689420" y="265464"/>
                    </a:lnTo>
                    <a:lnTo>
                      <a:pt x="690783" y="262585"/>
                    </a:lnTo>
                    <a:lnTo>
                      <a:pt x="690783" y="261525"/>
                    </a:lnTo>
                    <a:lnTo>
                      <a:pt x="689571" y="251676"/>
                    </a:lnTo>
                    <a:lnTo>
                      <a:pt x="688662" y="248949"/>
                    </a:lnTo>
                    <a:lnTo>
                      <a:pt x="686995" y="246373"/>
                    </a:lnTo>
                    <a:lnTo>
                      <a:pt x="685783" y="243645"/>
                    </a:lnTo>
                    <a:lnTo>
                      <a:pt x="685934" y="240766"/>
                    </a:lnTo>
                    <a:lnTo>
                      <a:pt x="688208" y="238645"/>
                    </a:lnTo>
                    <a:lnTo>
                      <a:pt x="693814" y="234857"/>
                    </a:lnTo>
                    <a:lnTo>
                      <a:pt x="696844" y="233039"/>
                    </a:lnTo>
                    <a:lnTo>
                      <a:pt x="699875" y="232281"/>
                    </a:lnTo>
                    <a:lnTo>
                      <a:pt x="703056" y="232433"/>
                    </a:lnTo>
                    <a:lnTo>
                      <a:pt x="706087" y="233039"/>
                    </a:lnTo>
                    <a:lnTo>
                      <a:pt x="707753" y="235312"/>
                    </a:lnTo>
                    <a:lnTo>
                      <a:pt x="708208" y="238797"/>
                    </a:lnTo>
                    <a:lnTo>
                      <a:pt x="708360" y="242282"/>
                    </a:lnTo>
                    <a:lnTo>
                      <a:pt x="707905" y="246524"/>
                    </a:lnTo>
                    <a:lnTo>
                      <a:pt x="707451" y="247585"/>
                    </a:lnTo>
                    <a:lnTo>
                      <a:pt x="703814" y="253040"/>
                    </a:lnTo>
                    <a:lnTo>
                      <a:pt x="703360" y="254555"/>
                    </a:lnTo>
                    <a:lnTo>
                      <a:pt x="703360" y="256222"/>
                    </a:lnTo>
                    <a:lnTo>
                      <a:pt x="703965" y="257131"/>
                    </a:lnTo>
                    <a:lnTo>
                      <a:pt x="714875" y="266980"/>
                    </a:lnTo>
                    <a:lnTo>
                      <a:pt x="717754" y="268798"/>
                    </a:lnTo>
                    <a:lnTo>
                      <a:pt x="721087" y="269555"/>
                    </a:lnTo>
                    <a:lnTo>
                      <a:pt x="723360" y="271677"/>
                    </a:lnTo>
                    <a:lnTo>
                      <a:pt x="723209" y="273343"/>
                    </a:lnTo>
                    <a:lnTo>
                      <a:pt x="722451" y="274859"/>
                    </a:lnTo>
                    <a:lnTo>
                      <a:pt x="721693" y="275768"/>
                    </a:lnTo>
                    <a:lnTo>
                      <a:pt x="721239" y="276828"/>
                    </a:lnTo>
                    <a:lnTo>
                      <a:pt x="719724" y="285011"/>
                    </a:lnTo>
                    <a:lnTo>
                      <a:pt x="720482" y="287738"/>
                    </a:lnTo>
                    <a:lnTo>
                      <a:pt x="722451" y="289859"/>
                    </a:lnTo>
                    <a:lnTo>
                      <a:pt x="723966" y="290617"/>
                    </a:lnTo>
                    <a:lnTo>
                      <a:pt x="726694" y="291526"/>
                    </a:lnTo>
                    <a:lnTo>
                      <a:pt x="731391" y="292435"/>
                    </a:lnTo>
                    <a:lnTo>
                      <a:pt x="734725" y="291980"/>
                    </a:lnTo>
                    <a:lnTo>
                      <a:pt x="735634" y="290920"/>
                    </a:lnTo>
                    <a:lnTo>
                      <a:pt x="735027" y="287738"/>
                    </a:lnTo>
                    <a:lnTo>
                      <a:pt x="735179" y="286223"/>
                    </a:lnTo>
                    <a:lnTo>
                      <a:pt x="736845" y="284101"/>
                    </a:lnTo>
                    <a:lnTo>
                      <a:pt x="739422" y="282889"/>
                    </a:lnTo>
                    <a:lnTo>
                      <a:pt x="746694" y="280919"/>
                    </a:lnTo>
                    <a:lnTo>
                      <a:pt x="750634" y="280768"/>
                    </a:lnTo>
                    <a:lnTo>
                      <a:pt x="752149" y="280919"/>
                    </a:lnTo>
                    <a:lnTo>
                      <a:pt x="753513" y="280616"/>
                    </a:lnTo>
                    <a:lnTo>
                      <a:pt x="753361" y="279707"/>
                    </a:lnTo>
                    <a:lnTo>
                      <a:pt x="753513" y="278798"/>
                    </a:lnTo>
                    <a:lnTo>
                      <a:pt x="756240" y="280162"/>
                    </a:lnTo>
                    <a:lnTo>
                      <a:pt x="757755" y="280162"/>
                    </a:lnTo>
                    <a:lnTo>
                      <a:pt x="758513" y="278950"/>
                    </a:lnTo>
                    <a:lnTo>
                      <a:pt x="758513" y="275616"/>
                    </a:lnTo>
                    <a:lnTo>
                      <a:pt x="758362" y="273949"/>
                    </a:lnTo>
                    <a:lnTo>
                      <a:pt x="757907" y="272434"/>
                    </a:lnTo>
                    <a:lnTo>
                      <a:pt x="757149" y="271222"/>
                    </a:lnTo>
                    <a:lnTo>
                      <a:pt x="755785" y="270919"/>
                    </a:lnTo>
                    <a:lnTo>
                      <a:pt x="755179" y="271677"/>
                    </a:lnTo>
                    <a:lnTo>
                      <a:pt x="754422" y="272131"/>
                    </a:lnTo>
                    <a:lnTo>
                      <a:pt x="752756" y="271677"/>
                    </a:lnTo>
                    <a:lnTo>
                      <a:pt x="751695" y="270010"/>
                    </a:lnTo>
                    <a:lnTo>
                      <a:pt x="750482" y="269101"/>
                    </a:lnTo>
                    <a:lnTo>
                      <a:pt x="750634" y="267434"/>
                    </a:lnTo>
                    <a:lnTo>
                      <a:pt x="749725" y="266373"/>
                    </a:lnTo>
                    <a:lnTo>
                      <a:pt x="748361" y="265616"/>
                    </a:lnTo>
                    <a:lnTo>
                      <a:pt x="745785" y="262585"/>
                    </a:lnTo>
                    <a:lnTo>
                      <a:pt x="744421" y="261828"/>
                    </a:lnTo>
                    <a:lnTo>
                      <a:pt x="742906" y="261373"/>
                    </a:lnTo>
                    <a:lnTo>
                      <a:pt x="741846" y="260464"/>
                    </a:lnTo>
                    <a:lnTo>
                      <a:pt x="740937" y="259404"/>
                    </a:lnTo>
                    <a:lnTo>
                      <a:pt x="740937" y="258191"/>
                    </a:lnTo>
                    <a:lnTo>
                      <a:pt x="741240" y="256828"/>
                    </a:lnTo>
                    <a:lnTo>
                      <a:pt x="742603" y="252888"/>
                    </a:lnTo>
                    <a:lnTo>
                      <a:pt x="742755" y="250009"/>
                    </a:lnTo>
                    <a:lnTo>
                      <a:pt x="745028" y="248040"/>
                    </a:lnTo>
                    <a:lnTo>
                      <a:pt x="744573" y="246373"/>
                    </a:lnTo>
                    <a:lnTo>
                      <a:pt x="742603" y="243948"/>
                    </a:lnTo>
                    <a:lnTo>
                      <a:pt x="742149" y="242585"/>
                    </a:lnTo>
                    <a:lnTo>
                      <a:pt x="742452" y="241221"/>
                    </a:lnTo>
                    <a:lnTo>
                      <a:pt x="742149" y="240009"/>
                    </a:lnTo>
                    <a:lnTo>
                      <a:pt x="736391" y="235766"/>
                    </a:lnTo>
                    <a:lnTo>
                      <a:pt x="734573" y="233190"/>
                    </a:lnTo>
                    <a:lnTo>
                      <a:pt x="733360" y="230160"/>
                    </a:lnTo>
                    <a:lnTo>
                      <a:pt x="730027" y="224402"/>
                    </a:lnTo>
                    <a:lnTo>
                      <a:pt x="727906" y="221978"/>
                    </a:lnTo>
                    <a:lnTo>
                      <a:pt x="726694" y="221069"/>
                    </a:lnTo>
                    <a:lnTo>
                      <a:pt x="723815" y="220160"/>
                    </a:lnTo>
                    <a:lnTo>
                      <a:pt x="722603" y="219554"/>
                    </a:lnTo>
                    <a:lnTo>
                      <a:pt x="720633" y="216675"/>
                    </a:lnTo>
                    <a:lnTo>
                      <a:pt x="718057" y="214705"/>
                    </a:lnTo>
                    <a:lnTo>
                      <a:pt x="716390" y="214099"/>
                    </a:lnTo>
                    <a:lnTo>
                      <a:pt x="716542" y="212281"/>
                    </a:lnTo>
                    <a:lnTo>
                      <a:pt x="717603" y="211068"/>
                    </a:lnTo>
                    <a:lnTo>
                      <a:pt x="720936" y="212583"/>
                    </a:lnTo>
                    <a:lnTo>
                      <a:pt x="722603" y="213038"/>
                    </a:lnTo>
                    <a:lnTo>
                      <a:pt x="724724" y="212735"/>
                    </a:lnTo>
                    <a:lnTo>
                      <a:pt x="726542" y="211826"/>
                    </a:lnTo>
                    <a:lnTo>
                      <a:pt x="728209" y="209250"/>
                    </a:lnTo>
                    <a:lnTo>
                      <a:pt x="730330" y="207280"/>
                    </a:lnTo>
                    <a:lnTo>
                      <a:pt x="738513" y="204553"/>
                    </a:lnTo>
                    <a:lnTo>
                      <a:pt x="741088" y="203492"/>
                    </a:lnTo>
                    <a:lnTo>
                      <a:pt x="743361" y="201977"/>
                    </a:lnTo>
                    <a:lnTo>
                      <a:pt x="748058" y="197886"/>
                    </a:lnTo>
                    <a:lnTo>
                      <a:pt x="752149" y="193189"/>
                    </a:lnTo>
                    <a:lnTo>
                      <a:pt x="753967" y="190159"/>
                    </a:lnTo>
                    <a:lnTo>
                      <a:pt x="756240" y="187431"/>
                    </a:lnTo>
                    <a:lnTo>
                      <a:pt x="757453" y="186370"/>
                    </a:lnTo>
                    <a:lnTo>
                      <a:pt x="758816" y="185613"/>
                    </a:lnTo>
                    <a:lnTo>
                      <a:pt x="762756" y="184855"/>
                    </a:lnTo>
                    <a:lnTo>
                      <a:pt x="765634" y="185765"/>
                    </a:lnTo>
                    <a:lnTo>
                      <a:pt x="767604" y="188340"/>
                    </a:lnTo>
                    <a:lnTo>
                      <a:pt x="769574" y="188946"/>
                    </a:lnTo>
                    <a:lnTo>
                      <a:pt x="771696" y="188340"/>
                    </a:lnTo>
                    <a:lnTo>
                      <a:pt x="772150" y="187128"/>
                    </a:lnTo>
                    <a:lnTo>
                      <a:pt x="773210" y="182128"/>
                    </a:lnTo>
                    <a:lnTo>
                      <a:pt x="772756" y="180158"/>
                    </a:lnTo>
                    <a:lnTo>
                      <a:pt x="771696" y="178491"/>
                    </a:lnTo>
                    <a:lnTo>
                      <a:pt x="768968" y="176976"/>
                    </a:lnTo>
                    <a:lnTo>
                      <a:pt x="765938" y="176370"/>
                    </a:lnTo>
                    <a:lnTo>
                      <a:pt x="761846" y="177128"/>
                    </a:lnTo>
                    <a:lnTo>
                      <a:pt x="757755" y="178188"/>
                    </a:lnTo>
                    <a:lnTo>
                      <a:pt x="756544" y="178643"/>
                    </a:lnTo>
                    <a:lnTo>
                      <a:pt x="756846" y="179401"/>
                    </a:lnTo>
                    <a:lnTo>
                      <a:pt x="758058" y="180310"/>
                    </a:lnTo>
                    <a:lnTo>
                      <a:pt x="758210" y="181219"/>
                    </a:lnTo>
                    <a:lnTo>
                      <a:pt x="751846" y="181673"/>
                    </a:lnTo>
                    <a:lnTo>
                      <a:pt x="748361" y="181370"/>
                    </a:lnTo>
                    <a:lnTo>
                      <a:pt x="741543" y="181370"/>
                    </a:lnTo>
                    <a:lnTo>
                      <a:pt x="738664" y="182431"/>
                    </a:lnTo>
                    <a:lnTo>
                      <a:pt x="737603" y="183643"/>
                    </a:lnTo>
                    <a:lnTo>
                      <a:pt x="736391" y="184552"/>
                    </a:lnTo>
                    <a:lnTo>
                      <a:pt x="733057" y="186067"/>
                    </a:lnTo>
                    <a:lnTo>
                      <a:pt x="729876" y="186370"/>
                    </a:lnTo>
                    <a:lnTo>
                      <a:pt x="726694" y="185765"/>
                    </a:lnTo>
                    <a:lnTo>
                      <a:pt x="725179" y="184704"/>
                    </a:lnTo>
                    <a:lnTo>
                      <a:pt x="723815" y="183340"/>
                    </a:lnTo>
                    <a:lnTo>
                      <a:pt x="722300" y="183037"/>
                    </a:lnTo>
                    <a:lnTo>
                      <a:pt x="720784" y="183795"/>
                    </a:lnTo>
                    <a:lnTo>
                      <a:pt x="718360" y="186067"/>
                    </a:lnTo>
                    <a:lnTo>
                      <a:pt x="714117" y="190916"/>
                    </a:lnTo>
                    <a:lnTo>
                      <a:pt x="712299" y="193492"/>
                    </a:lnTo>
                    <a:lnTo>
                      <a:pt x="710481" y="196977"/>
                    </a:lnTo>
                    <a:lnTo>
                      <a:pt x="707299" y="198795"/>
                    </a:lnTo>
                    <a:lnTo>
                      <a:pt x="704117" y="198038"/>
                    </a:lnTo>
                    <a:lnTo>
                      <a:pt x="700935" y="197583"/>
                    </a:lnTo>
                    <a:lnTo>
                      <a:pt x="699117" y="197735"/>
                    </a:lnTo>
                    <a:lnTo>
                      <a:pt x="697450" y="197735"/>
                    </a:lnTo>
                    <a:lnTo>
                      <a:pt x="695784" y="194704"/>
                    </a:lnTo>
                    <a:lnTo>
                      <a:pt x="693359" y="188795"/>
                    </a:lnTo>
                    <a:lnTo>
                      <a:pt x="690783" y="186674"/>
                    </a:lnTo>
                    <a:lnTo>
                      <a:pt x="686541" y="185007"/>
                    </a:lnTo>
                    <a:lnTo>
                      <a:pt x="685783" y="184098"/>
                    </a:lnTo>
                    <a:lnTo>
                      <a:pt x="681844" y="178188"/>
                    </a:lnTo>
                    <a:lnTo>
                      <a:pt x="680935" y="175613"/>
                    </a:lnTo>
                    <a:lnTo>
                      <a:pt x="680025" y="172279"/>
                    </a:lnTo>
                    <a:lnTo>
                      <a:pt x="679419" y="168946"/>
                    </a:lnTo>
                    <a:lnTo>
                      <a:pt x="679419" y="165915"/>
                    </a:lnTo>
                    <a:lnTo>
                      <a:pt x="680025" y="163036"/>
                    </a:lnTo>
                    <a:lnTo>
                      <a:pt x="681237" y="159551"/>
                    </a:lnTo>
                    <a:lnTo>
                      <a:pt x="682601" y="156066"/>
                    </a:lnTo>
                    <a:lnTo>
                      <a:pt x="684420" y="153339"/>
                    </a:lnTo>
                    <a:lnTo>
                      <a:pt x="687601" y="149551"/>
                    </a:lnTo>
                    <a:lnTo>
                      <a:pt x="688813" y="148490"/>
                    </a:lnTo>
                    <a:lnTo>
                      <a:pt x="691844" y="146824"/>
                    </a:lnTo>
                    <a:lnTo>
                      <a:pt x="695026" y="146369"/>
                    </a:lnTo>
                    <a:lnTo>
                      <a:pt x="698359" y="146672"/>
                    </a:lnTo>
                    <a:lnTo>
                      <a:pt x="704117" y="148490"/>
                    </a:lnTo>
                    <a:lnTo>
                      <a:pt x="706996" y="148642"/>
                    </a:lnTo>
                    <a:lnTo>
                      <a:pt x="718360" y="147127"/>
                    </a:lnTo>
                    <a:lnTo>
                      <a:pt x="720784" y="146975"/>
                    </a:lnTo>
                    <a:lnTo>
                      <a:pt x="723209" y="147278"/>
                    </a:lnTo>
                    <a:lnTo>
                      <a:pt x="726391" y="148187"/>
                    </a:lnTo>
                    <a:lnTo>
                      <a:pt x="729724" y="148642"/>
                    </a:lnTo>
                    <a:lnTo>
                      <a:pt x="735785" y="147733"/>
                    </a:lnTo>
                    <a:lnTo>
                      <a:pt x="741846" y="147430"/>
                    </a:lnTo>
                    <a:lnTo>
                      <a:pt x="759119" y="147278"/>
                    </a:lnTo>
                    <a:lnTo>
                      <a:pt x="761543" y="147127"/>
                    </a:lnTo>
                    <a:lnTo>
                      <a:pt x="763816" y="147278"/>
                    </a:lnTo>
                    <a:lnTo>
                      <a:pt x="766544" y="149248"/>
                    </a:lnTo>
                    <a:lnTo>
                      <a:pt x="768968" y="151672"/>
                    </a:lnTo>
                    <a:lnTo>
                      <a:pt x="770180" y="151975"/>
                    </a:lnTo>
                    <a:lnTo>
                      <a:pt x="776089" y="152430"/>
                    </a:lnTo>
                    <a:lnTo>
                      <a:pt x="779272" y="152581"/>
                    </a:lnTo>
                    <a:lnTo>
                      <a:pt x="782453" y="152430"/>
                    </a:lnTo>
                    <a:lnTo>
                      <a:pt x="791999" y="150612"/>
                    </a:lnTo>
                    <a:lnTo>
                      <a:pt x="795181" y="150460"/>
                    </a:lnTo>
                    <a:lnTo>
                      <a:pt x="796848" y="150006"/>
                    </a:lnTo>
                    <a:lnTo>
                      <a:pt x="799727" y="148793"/>
                    </a:lnTo>
                    <a:lnTo>
                      <a:pt x="800939" y="148036"/>
                    </a:lnTo>
                    <a:lnTo>
                      <a:pt x="803363" y="145611"/>
                    </a:lnTo>
                    <a:lnTo>
                      <a:pt x="805484" y="142884"/>
                    </a:lnTo>
                    <a:lnTo>
                      <a:pt x="806849" y="140460"/>
                    </a:lnTo>
                    <a:lnTo>
                      <a:pt x="808515" y="138187"/>
                    </a:lnTo>
                    <a:lnTo>
                      <a:pt x="813666" y="133641"/>
                    </a:lnTo>
                    <a:lnTo>
                      <a:pt x="815788" y="131217"/>
                    </a:lnTo>
                    <a:lnTo>
                      <a:pt x="817454" y="128490"/>
                    </a:lnTo>
                    <a:lnTo>
                      <a:pt x="819879" y="123035"/>
                    </a:lnTo>
                    <a:lnTo>
                      <a:pt x="820485" y="122277"/>
                    </a:lnTo>
                    <a:lnTo>
                      <a:pt x="822758" y="120307"/>
                    </a:lnTo>
                    <a:lnTo>
                      <a:pt x="823060" y="119701"/>
                    </a:lnTo>
                    <a:lnTo>
                      <a:pt x="821242" y="115913"/>
                    </a:lnTo>
                    <a:lnTo>
                      <a:pt x="819727" y="114701"/>
                    </a:lnTo>
                    <a:lnTo>
                      <a:pt x="816394" y="114247"/>
                    </a:lnTo>
                    <a:lnTo>
                      <a:pt x="815182" y="115004"/>
                    </a:lnTo>
                    <a:lnTo>
                      <a:pt x="812757" y="117580"/>
                    </a:lnTo>
                    <a:lnTo>
                      <a:pt x="810787" y="120459"/>
                    </a:lnTo>
                    <a:lnTo>
                      <a:pt x="809728" y="121217"/>
                    </a:lnTo>
                    <a:lnTo>
                      <a:pt x="806849" y="121974"/>
                    </a:lnTo>
                    <a:lnTo>
                      <a:pt x="805636" y="122580"/>
                    </a:lnTo>
                    <a:lnTo>
                      <a:pt x="805029" y="125005"/>
                    </a:lnTo>
                    <a:lnTo>
                      <a:pt x="803818" y="126974"/>
                    </a:lnTo>
                    <a:lnTo>
                      <a:pt x="800484" y="128187"/>
                    </a:lnTo>
                    <a:lnTo>
                      <a:pt x="796696" y="132581"/>
                    </a:lnTo>
                    <a:lnTo>
                      <a:pt x="787302" y="137278"/>
                    </a:lnTo>
                    <a:lnTo>
                      <a:pt x="785030" y="137581"/>
                    </a:lnTo>
                    <a:lnTo>
                      <a:pt x="769422" y="135156"/>
                    </a:lnTo>
                    <a:lnTo>
                      <a:pt x="763665" y="134854"/>
                    </a:lnTo>
                    <a:lnTo>
                      <a:pt x="762150" y="135005"/>
                    </a:lnTo>
                    <a:lnTo>
                      <a:pt x="760634" y="135460"/>
                    </a:lnTo>
                    <a:lnTo>
                      <a:pt x="758816" y="137429"/>
                    </a:lnTo>
                    <a:lnTo>
                      <a:pt x="757301" y="137581"/>
                    </a:lnTo>
                    <a:lnTo>
                      <a:pt x="755937" y="137126"/>
                    </a:lnTo>
                    <a:lnTo>
                      <a:pt x="752301" y="135005"/>
                    </a:lnTo>
                    <a:lnTo>
                      <a:pt x="749270" y="133793"/>
                    </a:lnTo>
                    <a:lnTo>
                      <a:pt x="746240" y="132884"/>
                    </a:lnTo>
                    <a:lnTo>
                      <a:pt x="737300" y="132581"/>
                    </a:lnTo>
                    <a:lnTo>
                      <a:pt x="730785" y="131066"/>
                    </a:lnTo>
                    <a:lnTo>
                      <a:pt x="723209" y="131672"/>
                    </a:lnTo>
                    <a:lnTo>
                      <a:pt x="722148" y="131368"/>
                    </a:lnTo>
                    <a:lnTo>
                      <a:pt x="721087" y="130762"/>
                    </a:lnTo>
                    <a:lnTo>
                      <a:pt x="720027" y="129399"/>
                    </a:lnTo>
                    <a:lnTo>
                      <a:pt x="719117" y="127732"/>
                    </a:lnTo>
                    <a:lnTo>
                      <a:pt x="718208" y="126974"/>
                    </a:lnTo>
                    <a:lnTo>
                      <a:pt x="716845" y="126671"/>
                    </a:lnTo>
                    <a:lnTo>
                      <a:pt x="714724" y="126823"/>
                    </a:lnTo>
                    <a:lnTo>
                      <a:pt x="712754" y="126520"/>
                    </a:lnTo>
                    <a:lnTo>
                      <a:pt x="709269" y="124702"/>
                    </a:lnTo>
                    <a:lnTo>
                      <a:pt x="707753" y="124702"/>
                    </a:lnTo>
                    <a:lnTo>
                      <a:pt x="706087" y="125156"/>
                    </a:lnTo>
                    <a:lnTo>
                      <a:pt x="704572" y="125762"/>
                    </a:lnTo>
                    <a:lnTo>
                      <a:pt x="703360" y="126671"/>
                    </a:lnTo>
                    <a:lnTo>
                      <a:pt x="701541" y="129550"/>
                    </a:lnTo>
                    <a:lnTo>
                      <a:pt x="700177" y="132581"/>
                    </a:lnTo>
                    <a:lnTo>
                      <a:pt x="698965" y="133944"/>
                    </a:lnTo>
                    <a:lnTo>
                      <a:pt x="697602" y="135156"/>
                    </a:lnTo>
                    <a:lnTo>
                      <a:pt x="696693" y="136217"/>
                    </a:lnTo>
                    <a:lnTo>
                      <a:pt x="696087" y="137581"/>
                    </a:lnTo>
                    <a:lnTo>
                      <a:pt x="693662" y="138642"/>
                    </a:lnTo>
                    <a:lnTo>
                      <a:pt x="690935" y="137732"/>
                    </a:lnTo>
                    <a:lnTo>
                      <a:pt x="689571" y="136672"/>
                    </a:lnTo>
                    <a:lnTo>
                      <a:pt x="688359" y="134096"/>
                    </a:lnTo>
                    <a:lnTo>
                      <a:pt x="687601" y="134247"/>
                    </a:lnTo>
                    <a:lnTo>
                      <a:pt x="686995" y="134399"/>
                    </a:lnTo>
                    <a:lnTo>
                      <a:pt x="685934" y="137429"/>
                    </a:lnTo>
                    <a:lnTo>
                      <a:pt x="683965" y="139854"/>
                    </a:lnTo>
                    <a:lnTo>
                      <a:pt x="682450" y="140763"/>
                    </a:lnTo>
                    <a:lnTo>
                      <a:pt x="681237" y="142126"/>
                    </a:lnTo>
                    <a:lnTo>
                      <a:pt x="680632" y="145611"/>
                    </a:lnTo>
                    <a:lnTo>
                      <a:pt x="679571" y="146824"/>
                    </a:lnTo>
                    <a:lnTo>
                      <a:pt x="677298" y="148793"/>
                    </a:lnTo>
                    <a:lnTo>
                      <a:pt x="674419" y="154400"/>
                    </a:lnTo>
                    <a:lnTo>
                      <a:pt x="674419" y="155763"/>
                    </a:lnTo>
                    <a:lnTo>
                      <a:pt x="675934" y="159703"/>
                    </a:lnTo>
                    <a:lnTo>
                      <a:pt x="675177" y="161370"/>
                    </a:lnTo>
                    <a:lnTo>
                      <a:pt x="673813" y="162279"/>
                    </a:lnTo>
                    <a:lnTo>
                      <a:pt x="672449" y="162127"/>
                    </a:lnTo>
                    <a:lnTo>
                      <a:pt x="671995" y="163188"/>
                    </a:lnTo>
                    <a:lnTo>
                      <a:pt x="673359" y="173946"/>
                    </a:lnTo>
                    <a:lnTo>
                      <a:pt x="675025" y="179401"/>
                    </a:lnTo>
                    <a:lnTo>
                      <a:pt x="675479" y="181825"/>
                    </a:lnTo>
                    <a:lnTo>
                      <a:pt x="675479" y="184249"/>
                    </a:lnTo>
                    <a:lnTo>
                      <a:pt x="673965" y="181522"/>
                    </a:lnTo>
                    <a:lnTo>
                      <a:pt x="671843" y="179249"/>
                    </a:lnTo>
                    <a:lnTo>
                      <a:pt x="670328" y="180461"/>
                    </a:lnTo>
                    <a:lnTo>
                      <a:pt x="666389" y="185310"/>
                    </a:lnTo>
                    <a:lnTo>
                      <a:pt x="662297" y="194401"/>
                    </a:lnTo>
                    <a:lnTo>
                      <a:pt x="660934" y="198947"/>
                    </a:lnTo>
                    <a:lnTo>
                      <a:pt x="660934" y="201371"/>
                    </a:lnTo>
                    <a:lnTo>
                      <a:pt x="661236" y="203796"/>
                    </a:lnTo>
                    <a:lnTo>
                      <a:pt x="660782" y="205917"/>
                    </a:lnTo>
                    <a:lnTo>
                      <a:pt x="661843" y="210462"/>
                    </a:lnTo>
                    <a:lnTo>
                      <a:pt x="661085" y="213341"/>
                    </a:lnTo>
                    <a:lnTo>
                      <a:pt x="658813" y="216069"/>
                    </a:lnTo>
                    <a:lnTo>
                      <a:pt x="656994" y="219099"/>
                    </a:lnTo>
                    <a:lnTo>
                      <a:pt x="656085" y="222281"/>
                    </a:lnTo>
                    <a:lnTo>
                      <a:pt x="655934" y="225614"/>
                    </a:lnTo>
                    <a:lnTo>
                      <a:pt x="654721" y="228342"/>
                    </a:lnTo>
                    <a:lnTo>
                      <a:pt x="651085" y="231524"/>
                    </a:lnTo>
                    <a:lnTo>
                      <a:pt x="649115" y="232281"/>
                    </a:lnTo>
                    <a:close/>
                    <a:moveTo>
                      <a:pt x="373499" y="205917"/>
                    </a:moveTo>
                    <a:lnTo>
                      <a:pt x="376681" y="204705"/>
                    </a:lnTo>
                    <a:lnTo>
                      <a:pt x="376832" y="203189"/>
                    </a:lnTo>
                    <a:lnTo>
                      <a:pt x="374711" y="202583"/>
                    </a:lnTo>
                    <a:lnTo>
                      <a:pt x="372741" y="203341"/>
                    </a:lnTo>
                    <a:lnTo>
                      <a:pt x="373499" y="205917"/>
                    </a:lnTo>
                    <a:close/>
                    <a:moveTo>
                      <a:pt x="893670" y="242736"/>
                    </a:moveTo>
                    <a:lnTo>
                      <a:pt x="896094" y="242888"/>
                    </a:lnTo>
                    <a:lnTo>
                      <a:pt x="897458" y="240615"/>
                    </a:lnTo>
                    <a:lnTo>
                      <a:pt x="896094" y="241069"/>
                    </a:lnTo>
                    <a:lnTo>
                      <a:pt x="893215" y="242433"/>
                    </a:lnTo>
                    <a:lnTo>
                      <a:pt x="893670" y="242736"/>
                    </a:lnTo>
                    <a:close/>
                    <a:moveTo>
                      <a:pt x="899428" y="207280"/>
                    </a:moveTo>
                    <a:lnTo>
                      <a:pt x="900337" y="206977"/>
                    </a:lnTo>
                    <a:lnTo>
                      <a:pt x="902003" y="205917"/>
                    </a:lnTo>
                    <a:lnTo>
                      <a:pt x="901851" y="204401"/>
                    </a:lnTo>
                    <a:lnTo>
                      <a:pt x="898670" y="202432"/>
                    </a:lnTo>
                    <a:lnTo>
                      <a:pt x="895185" y="199856"/>
                    </a:lnTo>
                    <a:lnTo>
                      <a:pt x="890791" y="197735"/>
                    </a:lnTo>
                    <a:lnTo>
                      <a:pt x="888215" y="196977"/>
                    </a:lnTo>
                    <a:lnTo>
                      <a:pt x="886699" y="197431"/>
                    </a:lnTo>
                    <a:lnTo>
                      <a:pt x="883063" y="200159"/>
                    </a:lnTo>
                    <a:lnTo>
                      <a:pt x="881397" y="203796"/>
                    </a:lnTo>
                    <a:lnTo>
                      <a:pt x="881245" y="205311"/>
                    </a:lnTo>
                    <a:lnTo>
                      <a:pt x="883063" y="206674"/>
                    </a:lnTo>
                    <a:lnTo>
                      <a:pt x="885942" y="207584"/>
                    </a:lnTo>
                    <a:lnTo>
                      <a:pt x="890791" y="206523"/>
                    </a:lnTo>
                    <a:lnTo>
                      <a:pt x="895488" y="206371"/>
                    </a:lnTo>
                    <a:lnTo>
                      <a:pt x="899428" y="207280"/>
                    </a:lnTo>
                    <a:close/>
                    <a:moveTo>
                      <a:pt x="885639" y="249100"/>
                    </a:moveTo>
                    <a:lnTo>
                      <a:pt x="885033" y="249252"/>
                    </a:lnTo>
                    <a:lnTo>
                      <a:pt x="883820" y="250009"/>
                    </a:lnTo>
                    <a:lnTo>
                      <a:pt x="885033" y="251221"/>
                    </a:lnTo>
                    <a:lnTo>
                      <a:pt x="887760" y="251979"/>
                    </a:lnTo>
                    <a:lnTo>
                      <a:pt x="887154" y="250767"/>
                    </a:lnTo>
                    <a:lnTo>
                      <a:pt x="885639" y="249100"/>
                    </a:lnTo>
                    <a:close/>
                    <a:moveTo>
                      <a:pt x="897761" y="382438"/>
                    </a:moveTo>
                    <a:lnTo>
                      <a:pt x="892912" y="381378"/>
                    </a:lnTo>
                    <a:lnTo>
                      <a:pt x="891852" y="381984"/>
                    </a:lnTo>
                    <a:lnTo>
                      <a:pt x="892761" y="383954"/>
                    </a:lnTo>
                    <a:lnTo>
                      <a:pt x="898367" y="385772"/>
                    </a:lnTo>
                    <a:lnTo>
                      <a:pt x="900942" y="383499"/>
                    </a:lnTo>
                    <a:lnTo>
                      <a:pt x="900337" y="382590"/>
                    </a:lnTo>
                    <a:lnTo>
                      <a:pt x="897761" y="382438"/>
                    </a:lnTo>
                    <a:close/>
                    <a:moveTo>
                      <a:pt x="915792" y="353801"/>
                    </a:moveTo>
                    <a:lnTo>
                      <a:pt x="914882" y="353195"/>
                    </a:lnTo>
                    <a:lnTo>
                      <a:pt x="913519" y="353649"/>
                    </a:lnTo>
                    <a:lnTo>
                      <a:pt x="912155" y="355013"/>
                    </a:lnTo>
                    <a:lnTo>
                      <a:pt x="912761" y="355619"/>
                    </a:lnTo>
                    <a:lnTo>
                      <a:pt x="914731" y="356983"/>
                    </a:lnTo>
                    <a:lnTo>
                      <a:pt x="915943" y="356225"/>
                    </a:lnTo>
                    <a:lnTo>
                      <a:pt x="915792" y="355013"/>
                    </a:lnTo>
                    <a:lnTo>
                      <a:pt x="915943" y="354407"/>
                    </a:lnTo>
                    <a:lnTo>
                      <a:pt x="915792" y="353801"/>
                    </a:lnTo>
                    <a:close/>
                    <a:moveTo>
                      <a:pt x="916094" y="256373"/>
                    </a:moveTo>
                    <a:lnTo>
                      <a:pt x="914125" y="255767"/>
                    </a:lnTo>
                    <a:lnTo>
                      <a:pt x="913822" y="256222"/>
                    </a:lnTo>
                    <a:lnTo>
                      <a:pt x="914731" y="258343"/>
                    </a:lnTo>
                    <a:lnTo>
                      <a:pt x="915792" y="258343"/>
                    </a:lnTo>
                    <a:lnTo>
                      <a:pt x="917307" y="258797"/>
                    </a:lnTo>
                    <a:lnTo>
                      <a:pt x="917459" y="258494"/>
                    </a:lnTo>
                    <a:lnTo>
                      <a:pt x="917459" y="257282"/>
                    </a:lnTo>
                    <a:lnTo>
                      <a:pt x="916701" y="256676"/>
                    </a:lnTo>
                    <a:lnTo>
                      <a:pt x="916094" y="256373"/>
                    </a:lnTo>
                    <a:close/>
                    <a:moveTo>
                      <a:pt x="880790" y="366832"/>
                    </a:moveTo>
                    <a:lnTo>
                      <a:pt x="880184" y="368802"/>
                    </a:lnTo>
                    <a:lnTo>
                      <a:pt x="882002" y="368195"/>
                    </a:lnTo>
                    <a:lnTo>
                      <a:pt x="883215" y="367438"/>
                    </a:lnTo>
                    <a:lnTo>
                      <a:pt x="883518" y="366983"/>
                    </a:lnTo>
                    <a:lnTo>
                      <a:pt x="883518" y="365619"/>
                    </a:lnTo>
                    <a:lnTo>
                      <a:pt x="880639" y="365165"/>
                    </a:lnTo>
                    <a:lnTo>
                      <a:pt x="880790" y="366832"/>
                    </a:lnTo>
                    <a:close/>
                    <a:moveTo>
                      <a:pt x="901094" y="258191"/>
                    </a:moveTo>
                    <a:lnTo>
                      <a:pt x="898215" y="258494"/>
                    </a:lnTo>
                    <a:lnTo>
                      <a:pt x="895791" y="260616"/>
                    </a:lnTo>
                    <a:lnTo>
                      <a:pt x="895791" y="261222"/>
                    </a:lnTo>
                    <a:lnTo>
                      <a:pt x="896094" y="262434"/>
                    </a:lnTo>
                    <a:lnTo>
                      <a:pt x="897306" y="263192"/>
                    </a:lnTo>
                    <a:lnTo>
                      <a:pt x="899276" y="261676"/>
                    </a:lnTo>
                    <a:lnTo>
                      <a:pt x="900942" y="260919"/>
                    </a:lnTo>
                    <a:lnTo>
                      <a:pt x="902003" y="260616"/>
                    </a:lnTo>
                    <a:lnTo>
                      <a:pt x="902306" y="261222"/>
                    </a:lnTo>
                    <a:lnTo>
                      <a:pt x="901851" y="262131"/>
                    </a:lnTo>
                    <a:lnTo>
                      <a:pt x="903216" y="262131"/>
                    </a:lnTo>
                    <a:lnTo>
                      <a:pt x="904730" y="261525"/>
                    </a:lnTo>
                    <a:lnTo>
                      <a:pt x="905488" y="260464"/>
                    </a:lnTo>
                    <a:lnTo>
                      <a:pt x="905488" y="259404"/>
                    </a:lnTo>
                    <a:lnTo>
                      <a:pt x="905791" y="258494"/>
                    </a:lnTo>
                    <a:lnTo>
                      <a:pt x="906397" y="257585"/>
                    </a:lnTo>
                    <a:lnTo>
                      <a:pt x="906852" y="256222"/>
                    </a:lnTo>
                    <a:lnTo>
                      <a:pt x="905034" y="256070"/>
                    </a:lnTo>
                    <a:lnTo>
                      <a:pt x="901094" y="258191"/>
                    </a:lnTo>
                    <a:close/>
                    <a:moveTo>
                      <a:pt x="912458" y="256979"/>
                    </a:moveTo>
                    <a:lnTo>
                      <a:pt x="910185" y="256222"/>
                    </a:lnTo>
                    <a:lnTo>
                      <a:pt x="909579" y="256979"/>
                    </a:lnTo>
                    <a:lnTo>
                      <a:pt x="908518" y="259706"/>
                    </a:lnTo>
                    <a:lnTo>
                      <a:pt x="913216" y="258343"/>
                    </a:lnTo>
                    <a:lnTo>
                      <a:pt x="912458" y="256979"/>
                    </a:lnTo>
                    <a:close/>
                    <a:moveTo>
                      <a:pt x="841850" y="212735"/>
                    </a:moveTo>
                    <a:lnTo>
                      <a:pt x="850941" y="211220"/>
                    </a:lnTo>
                    <a:lnTo>
                      <a:pt x="852153" y="210311"/>
                    </a:lnTo>
                    <a:lnTo>
                      <a:pt x="843668" y="209402"/>
                    </a:lnTo>
                    <a:lnTo>
                      <a:pt x="835334" y="210008"/>
                    </a:lnTo>
                    <a:lnTo>
                      <a:pt x="829879" y="209705"/>
                    </a:lnTo>
                    <a:lnTo>
                      <a:pt x="827758" y="209856"/>
                    </a:lnTo>
                    <a:lnTo>
                      <a:pt x="826243" y="210765"/>
                    </a:lnTo>
                    <a:lnTo>
                      <a:pt x="827304" y="211826"/>
                    </a:lnTo>
                    <a:lnTo>
                      <a:pt x="827455" y="213341"/>
                    </a:lnTo>
                    <a:lnTo>
                      <a:pt x="828668" y="213341"/>
                    </a:lnTo>
                    <a:lnTo>
                      <a:pt x="838516" y="212432"/>
                    </a:lnTo>
                    <a:lnTo>
                      <a:pt x="841850" y="212735"/>
                    </a:lnTo>
                    <a:close/>
                    <a:moveTo>
                      <a:pt x="826849" y="88640"/>
                    </a:moveTo>
                    <a:lnTo>
                      <a:pt x="826698" y="87124"/>
                    </a:lnTo>
                    <a:lnTo>
                      <a:pt x="827909" y="85609"/>
                    </a:lnTo>
                    <a:lnTo>
                      <a:pt x="827607" y="85003"/>
                    </a:lnTo>
                    <a:lnTo>
                      <a:pt x="826394" y="84397"/>
                    </a:lnTo>
                    <a:lnTo>
                      <a:pt x="825485" y="86064"/>
                    </a:lnTo>
                    <a:lnTo>
                      <a:pt x="826546" y="89246"/>
                    </a:lnTo>
                    <a:lnTo>
                      <a:pt x="826849" y="88640"/>
                    </a:lnTo>
                    <a:close/>
                    <a:moveTo>
                      <a:pt x="798818" y="389863"/>
                    </a:moveTo>
                    <a:lnTo>
                      <a:pt x="800484" y="390620"/>
                    </a:lnTo>
                    <a:lnTo>
                      <a:pt x="818363" y="388044"/>
                    </a:lnTo>
                    <a:lnTo>
                      <a:pt x="819272" y="387287"/>
                    </a:lnTo>
                    <a:lnTo>
                      <a:pt x="819122" y="383954"/>
                    </a:lnTo>
                    <a:lnTo>
                      <a:pt x="817152" y="383196"/>
                    </a:lnTo>
                    <a:lnTo>
                      <a:pt x="813666" y="382893"/>
                    </a:lnTo>
                    <a:lnTo>
                      <a:pt x="808969" y="382741"/>
                    </a:lnTo>
                    <a:lnTo>
                      <a:pt x="806849" y="383044"/>
                    </a:lnTo>
                    <a:lnTo>
                      <a:pt x="804727" y="383954"/>
                    </a:lnTo>
                    <a:lnTo>
                      <a:pt x="804120" y="382287"/>
                    </a:lnTo>
                    <a:lnTo>
                      <a:pt x="802302" y="382135"/>
                    </a:lnTo>
                    <a:lnTo>
                      <a:pt x="800182" y="383499"/>
                    </a:lnTo>
                    <a:lnTo>
                      <a:pt x="799121" y="385469"/>
                    </a:lnTo>
                    <a:lnTo>
                      <a:pt x="800030" y="386681"/>
                    </a:lnTo>
                    <a:lnTo>
                      <a:pt x="798060" y="389105"/>
                    </a:lnTo>
                    <a:lnTo>
                      <a:pt x="798818" y="389863"/>
                    </a:lnTo>
                    <a:close/>
                    <a:moveTo>
                      <a:pt x="71215" y="129550"/>
                    </a:moveTo>
                    <a:lnTo>
                      <a:pt x="68791" y="128490"/>
                    </a:lnTo>
                    <a:lnTo>
                      <a:pt x="62881" y="120914"/>
                    </a:lnTo>
                    <a:lnTo>
                      <a:pt x="59396" y="118944"/>
                    </a:lnTo>
                    <a:lnTo>
                      <a:pt x="59093" y="119247"/>
                    </a:lnTo>
                    <a:lnTo>
                      <a:pt x="58638" y="120459"/>
                    </a:lnTo>
                    <a:lnTo>
                      <a:pt x="56517" y="121974"/>
                    </a:lnTo>
                    <a:lnTo>
                      <a:pt x="51972" y="121974"/>
                    </a:lnTo>
                    <a:lnTo>
                      <a:pt x="57881" y="128490"/>
                    </a:lnTo>
                    <a:lnTo>
                      <a:pt x="59851" y="131975"/>
                    </a:lnTo>
                    <a:lnTo>
                      <a:pt x="60911" y="135005"/>
                    </a:lnTo>
                    <a:lnTo>
                      <a:pt x="62426" y="135156"/>
                    </a:lnTo>
                    <a:lnTo>
                      <a:pt x="66366" y="138035"/>
                    </a:lnTo>
                    <a:lnTo>
                      <a:pt x="68487" y="143339"/>
                    </a:lnTo>
                    <a:lnTo>
                      <a:pt x="68487" y="144551"/>
                    </a:lnTo>
                    <a:lnTo>
                      <a:pt x="72275" y="145460"/>
                    </a:lnTo>
                    <a:lnTo>
                      <a:pt x="73791" y="143793"/>
                    </a:lnTo>
                    <a:lnTo>
                      <a:pt x="74548" y="136823"/>
                    </a:lnTo>
                    <a:lnTo>
                      <a:pt x="75306" y="134399"/>
                    </a:lnTo>
                    <a:lnTo>
                      <a:pt x="74548" y="133187"/>
                    </a:lnTo>
                    <a:lnTo>
                      <a:pt x="71215" y="129550"/>
                    </a:lnTo>
                    <a:close/>
                    <a:moveTo>
                      <a:pt x="874881" y="251373"/>
                    </a:moveTo>
                    <a:lnTo>
                      <a:pt x="873821" y="250615"/>
                    </a:lnTo>
                    <a:lnTo>
                      <a:pt x="872911" y="249706"/>
                    </a:lnTo>
                    <a:lnTo>
                      <a:pt x="872154" y="248040"/>
                    </a:lnTo>
                    <a:lnTo>
                      <a:pt x="871093" y="246676"/>
                    </a:lnTo>
                    <a:lnTo>
                      <a:pt x="866548" y="244554"/>
                    </a:lnTo>
                    <a:lnTo>
                      <a:pt x="865032" y="244100"/>
                    </a:lnTo>
                    <a:lnTo>
                      <a:pt x="858062" y="243948"/>
                    </a:lnTo>
                    <a:lnTo>
                      <a:pt x="851244" y="245009"/>
                    </a:lnTo>
                    <a:lnTo>
                      <a:pt x="848819" y="246221"/>
                    </a:lnTo>
                    <a:lnTo>
                      <a:pt x="845183" y="245009"/>
                    </a:lnTo>
                    <a:lnTo>
                      <a:pt x="844122" y="245615"/>
                    </a:lnTo>
                    <a:lnTo>
                      <a:pt x="843516" y="246827"/>
                    </a:lnTo>
                    <a:lnTo>
                      <a:pt x="843668" y="251828"/>
                    </a:lnTo>
                    <a:lnTo>
                      <a:pt x="844274" y="253646"/>
                    </a:lnTo>
                    <a:lnTo>
                      <a:pt x="846698" y="256373"/>
                    </a:lnTo>
                    <a:lnTo>
                      <a:pt x="847608" y="257888"/>
                    </a:lnTo>
                    <a:lnTo>
                      <a:pt x="848668" y="258646"/>
                    </a:lnTo>
                    <a:lnTo>
                      <a:pt x="853971" y="261525"/>
                    </a:lnTo>
                    <a:lnTo>
                      <a:pt x="857608" y="263192"/>
                    </a:lnTo>
                    <a:lnTo>
                      <a:pt x="861396" y="264555"/>
                    </a:lnTo>
                    <a:lnTo>
                      <a:pt x="862911" y="264252"/>
                    </a:lnTo>
                    <a:lnTo>
                      <a:pt x="864426" y="263646"/>
                    </a:lnTo>
                    <a:lnTo>
                      <a:pt x="866548" y="263494"/>
                    </a:lnTo>
                    <a:lnTo>
                      <a:pt x="868517" y="263040"/>
                    </a:lnTo>
                    <a:lnTo>
                      <a:pt x="872456" y="260464"/>
                    </a:lnTo>
                    <a:lnTo>
                      <a:pt x="874426" y="259858"/>
                    </a:lnTo>
                    <a:lnTo>
                      <a:pt x="876396" y="259404"/>
                    </a:lnTo>
                    <a:lnTo>
                      <a:pt x="876851" y="255009"/>
                    </a:lnTo>
                    <a:lnTo>
                      <a:pt x="876396" y="252888"/>
                    </a:lnTo>
                    <a:lnTo>
                      <a:pt x="874881" y="251373"/>
                    </a:lnTo>
                    <a:close/>
                    <a:moveTo>
                      <a:pt x="862911" y="369407"/>
                    </a:moveTo>
                    <a:lnTo>
                      <a:pt x="859729" y="366983"/>
                    </a:lnTo>
                    <a:lnTo>
                      <a:pt x="855790" y="368044"/>
                    </a:lnTo>
                    <a:lnTo>
                      <a:pt x="852911" y="369862"/>
                    </a:lnTo>
                    <a:lnTo>
                      <a:pt x="848971" y="370620"/>
                    </a:lnTo>
                    <a:lnTo>
                      <a:pt x="845486" y="370317"/>
                    </a:lnTo>
                    <a:lnTo>
                      <a:pt x="842456" y="369407"/>
                    </a:lnTo>
                    <a:lnTo>
                      <a:pt x="838819" y="373650"/>
                    </a:lnTo>
                    <a:lnTo>
                      <a:pt x="837910" y="375468"/>
                    </a:lnTo>
                    <a:lnTo>
                      <a:pt x="837607" y="378347"/>
                    </a:lnTo>
                    <a:lnTo>
                      <a:pt x="838364" y="378196"/>
                    </a:lnTo>
                    <a:lnTo>
                      <a:pt x="841850" y="376378"/>
                    </a:lnTo>
                    <a:lnTo>
                      <a:pt x="844274" y="375620"/>
                    </a:lnTo>
                    <a:lnTo>
                      <a:pt x="846092" y="375620"/>
                    </a:lnTo>
                    <a:lnTo>
                      <a:pt x="847758" y="376378"/>
                    </a:lnTo>
                    <a:lnTo>
                      <a:pt x="851698" y="376529"/>
                    </a:lnTo>
                    <a:lnTo>
                      <a:pt x="856093" y="377438"/>
                    </a:lnTo>
                    <a:lnTo>
                      <a:pt x="857304" y="375165"/>
                    </a:lnTo>
                    <a:lnTo>
                      <a:pt x="858972" y="373499"/>
                    </a:lnTo>
                    <a:lnTo>
                      <a:pt x="862153" y="371983"/>
                    </a:lnTo>
                    <a:lnTo>
                      <a:pt x="865487" y="371529"/>
                    </a:lnTo>
                    <a:lnTo>
                      <a:pt x="865487" y="370923"/>
                    </a:lnTo>
                    <a:lnTo>
                      <a:pt x="865184" y="369559"/>
                    </a:lnTo>
                    <a:lnTo>
                      <a:pt x="862911" y="369407"/>
                    </a:lnTo>
                    <a:close/>
                    <a:moveTo>
                      <a:pt x="876244" y="177582"/>
                    </a:moveTo>
                    <a:lnTo>
                      <a:pt x="874730" y="181370"/>
                    </a:lnTo>
                    <a:lnTo>
                      <a:pt x="875487" y="181825"/>
                    </a:lnTo>
                    <a:lnTo>
                      <a:pt x="878366" y="182582"/>
                    </a:lnTo>
                    <a:lnTo>
                      <a:pt x="878669" y="181976"/>
                    </a:lnTo>
                    <a:lnTo>
                      <a:pt x="878669" y="181370"/>
                    </a:lnTo>
                    <a:lnTo>
                      <a:pt x="877457" y="177734"/>
                    </a:lnTo>
                    <a:lnTo>
                      <a:pt x="876244" y="177582"/>
                    </a:lnTo>
                    <a:close/>
                    <a:moveTo>
                      <a:pt x="822758" y="208795"/>
                    </a:moveTo>
                    <a:lnTo>
                      <a:pt x="821092" y="209099"/>
                    </a:lnTo>
                    <a:lnTo>
                      <a:pt x="820788" y="207280"/>
                    </a:lnTo>
                    <a:lnTo>
                      <a:pt x="819576" y="206674"/>
                    </a:lnTo>
                    <a:lnTo>
                      <a:pt x="819122" y="206826"/>
                    </a:lnTo>
                    <a:lnTo>
                      <a:pt x="818213" y="207886"/>
                    </a:lnTo>
                    <a:lnTo>
                      <a:pt x="817304" y="207886"/>
                    </a:lnTo>
                    <a:lnTo>
                      <a:pt x="814727" y="206977"/>
                    </a:lnTo>
                    <a:lnTo>
                      <a:pt x="806394" y="205159"/>
                    </a:lnTo>
                    <a:lnTo>
                      <a:pt x="801393" y="205462"/>
                    </a:lnTo>
                    <a:lnTo>
                      <a:pt x="799575" y="205917"/>
                    </a:lnTo>
                    <a:lnTo>
                      <a:pt x="798514" y="206674"/>
                    </a:lnTo>
                    <a:lnTo>
                      <a:pt x="797151" y="211372"/>
                    </a:lnTo>
                    <a:lnTo>
                      <a:pt x="799575" y="215311"/>
                    </a:lnTo>
                    <a:lnTo>
                      <a:pt x="802454" y="215311"/>
                    </a:lnTo>
                    <a:lnTo>
                      <a:pt x="805636" y="214553"/>
                    </a:lnTo>
                    <a:lnTo>
                      <a:pt x="810939" y="212281"/>
                    </a:lnTo>
                    <a:lnTo>
                      <a:pt x="815636" y="213644"/>
                    </a:lnTo>
                    <a:lnTo>
                      <a:pt x="819122" y="212129"/>
                    </a:lnTo>
                    <a:lnTo>
                      <a:pt x="823970" y="211826"/>
                    </a:lnTo>
                    <a:lnTo>
                      <a:pt x="824121" y="210008"/>
                    </a:lnTo>
                    <a:lnTo>
                      <a:pt x="823667" y="209553"/>
                    </a:lnTo>
                    <a:lnTo>
                      <a:pt x="822758" y="208795"/>
                    </a:lnTo>
                    <a:close/>
                    <a:moveTo>
                      <a:pt x="1081404" y="322588"/>
                    </a:moveTo>
                    <a:lnTo>
                      <a:pt x="1082616" y="320769"/>
                    </a:lnTo>
                    <a:lnTo>
                      <a:pt x="1082162" y="318951"/>
                    </a:lnTo>
                    <a:lnTo>
                      <a:pt x="1082162" y="316981"/>
                    </a:lnTo>
                    <a:lnTo>
                      <a:pt x="1082313" y="315921"/>
                    </a:lnTo>
                    <a:lnTo>
                      <a:pt x="1081101" y="313042"/>
                    </a:lnTo>
                    <a:lnTo>
                      <a:pt x="1079586" y="312436"/>
                    </a:lnTo>
                    <a:lnTo>
                      <a:pt x="1079888" y="311224"/>
                    </a:lnTo>
                    <a:lnTo>
                      <a:pt x="1079586" y="310011"/>
                    </a:lnTo>
                    <a:lnTo>
                      <a:pt x="1078828" y="308496"/>
                    </a:lnTo>
                    <a:lnTo>
                      <a:pt x="1077616" y="308193"/>
                    </a:lnTo>
                    <a:lnTo>
                      <a:pt x="1075798" y="308496"/>
                    </a:lnTo>
                    <a:lnTo>
                      <a:pt x="1075343" y="310921"/>
                    </a:lnTo>
                    <a:lnTo>
                      <a:pt x="1074434" y="311830"/>
                    </a:lnTo>
                    <a:lnTo>
                      <a:pt x="1071252" y="316072"/>
                    </a:lnTo>
                    <a:lnTo>
                      <a:pt x="1068676" y="315163"/>
                    </a:lnTo>
                    <a:lnTo>
                      <a:pt x="1067464" y="315921"/>
                    </a:lnTo>
                    <a:lnTo>
                      <a:pt x="1068070" y="316981"/>
                    </a:lnTo>
                    <a:lnTo>
                      <a:pt x="1071252" y="319406"/>
                    </a:lnTo>
                    <a:lnTo>
                      <a:pt x="1070040" y="323194"/>
                    </a:lnTo>
                    <a:lnTo>
                      <a:pt x="1070191" y="324254"/>
                    </a:lnTo>
                    <a:lnTo>
                      <a:pt x="1068070" y="324254"/>
                    </a:lnTo>
                    <a:lnTo>
                      <a:pt x="1066100" y="324557"/>
                    </a:lnTo>
                    <a:lnTo>
                      <a:pt x="1066100" y="325769"/>
                    </a:lnTo>
                    <a:lnTo>
                      <a:pt x="1066706" y="326527"/>
                    </a:lnTo>
                    <a:lnTo>
                      <a:pt x="1069131" y="328800"/>
                    </a:lnTo>
                    <a:lnTo>
                      <a:pt x="1069585" y="329557"/>
                    </a:lnTo>
                    <a:lnTo>
                      <a:pt x="1071707" y="331527"/>
                    </a:lnTo>
                    <a:lnTo>
                      <a:pt x="1073979" y="333346"/>
                    </a:lnTo>
                    <a:lnTo>
                      <a:pt x="1079283" y="334103"/>
                    </a:lnTo>
                    <a:lnTo>
                      <a:pt x="1079888" y="333346"/>
                    </a:lnTo>
                    <a:lnTo>
                      <a:pt x="1080495" y="333043"/>
                    </a:lnTo>
                    <a:lnTo>
                      <a:pt x="1081253" y="332133"/>
                    </a:lnTo>
                    <a:lnTo>
                      <a:pt x="1082010" y="329557"/>
                    </a:lnTo>
                    <a:lnTo>
                      <a:pt x="1082313" y="328648"/>
                    </a:lnTo>
                    <a:lnTo>
                      <a:pt x="1082313" y="326679"/>
                    </a:lnTo>
                    <a:lnTo>
                      <a:pt x="1082162" y="325315"/>
                    </a:lnTo>
                    <a:lnTo>
                      <a:pt x="1081404" y="322588"/>
                    </a:lnTo>
                    <a:close/>
                    <a:moveTo>
                      <a:pt x="1070646" y="332588"/>
                    </a:moveTo>
                    <a:lnTo>
                      <a:pt x="1068373" y="330164"/>
                    </a:lnTo>
                    <a:lnTo>
                      <a:pt x="1066555" y="328800"/>
                    </a:lnTo>
                    <a:lnTo>
                      <a:pt x="1065040" y="329255"/>
                    </a:lnTo>
                    <a:lnTo>
                      <a:pt x="1064888" y="331073"/>
                    </a:lnTo>
                    <a:lnTo>
                      <a:pt x="1065191" y="335770"/>
                    </a:lnTo>
                    <a:lnTo>
                      <a:pt x="1067161" y="336679"/>
                    </a:lnTo>
                    <a:lnTo>
                      <a:pt x="1066858" y="337285"/>
                    </a:lnTo>
                    <a:lnTo>
                      <a:pt x="1065949" y="337285"/>
                    </a:lnTo>
                    <a:lnTo>
                      <a:pt x="1064585" y="336982"/>
                    </a:lnTo>
                    <a:lnTo>
                      <a:pt x="1063222" y="345164"/>
                    </a:lnTo>
                    <a:lnTo>
                      <a:pt x="1064131" y="346983"/>
                    </a:lnTo>
                    <a:lnTo>
                      <a:pt x="1067161" y="349104"/>
                    </a:lnTo>
                    <a:lnTo>
                      <a:pt x="1070494" y="347437"/>
                    </a:lnTo>
                    <a:lnTo>
                      <a:pt x="1071403" y="346528"/>
                    </a:lnTo>
                    <a:lnTo>
                      <a:pt x="1072919" y="342891"/>
                    </a:lnTo>
                    <a:lnTo>
                      <a:pt x="1075495" y="340467"/>
                    </a:lnTo>
                    <a:lnTo>
                      <a:pt x="1075949" y="338346"/>
                    </a:lnTo>
                    <a:lnTo>
                      <a:pt x="1076404" y="336376"/>
                    </a:lnTo>
                    <a:lnTo>
                      <a:pt x="1073070" y="334861"/>
                    </a:lnTo>
                    <a:lnTo>
                      <a:pt x="1070646" y="332588"/>
                    </a:lnTo>
                    <a:close/>
                    <a:moveTo>
                      <a:pt x="1084434" y="333497"/>
                    </a:moveTo>
                    <a:lnTo>
                      <a:pt x="1083676" y="334709"/>
                    </a:lnTo>
                    <a:lnTo>
                      <a:pt x="1083676" y="336073"/>
                    </a:lnTo>
                    <a:lnTo>
                      <a:pt x="1084283" y="335921"/>
                    </a:lnTo>
                    <a:lnTo>
                      <a:pt x="1086101" y="332891"/>
                    </a:lnTo>
                    <a:lnTo>
                      <a:pt x="1085192" y="332891"/>
                    </a:lnTo>
                    <a:lnTo>
                      <a:pt x="1084434" y="333497"/>
                    </a:lnTo>
                    <a:close/>
                    <a:moveTo>
                      <a:pt x="1080192" y="341831"/>
                    </a:moveTo>
                    <a:lnTo>
                      <a:pt x="1079283" y="343346"/>
                    </a:lnTo>
                    <a:lnTo>
                      <a:pt x="1079283" y="343952"/>
                    </a:lnTo>
                    <a:lnTo>
                      <a:pt x="1080040" y="344861"/>
                    </a:lnTo>
                    <a:lnTo>
                      <a:pt x="1080495" y="344407"/>
                    </a:lnTo>
                    <a:lnTo>
                      <a:pt x="1081858" y="342134"/>
                    </a:lnTo>
                    <a:lnTo>
                      <a:pt x="1082162" y="340922"/>
                    </a:lnTo>
                    <a:lnTo>
                      <a:pt x="1081101" y="340922"/>
                    </a:lnTo>
                    <a:lnTo>
                      <a:pt x="1080192" y="341831"/>
                    </a:lnTo>
                    <a:close/>
                    <a:moveTo>
                      <a:pt x="1081858" y="337740"/>
                    </a:moveTo>
                    <a:lnTo>
                      <a:pt x="1080495" y="336376"/>
                    </a:lnTo>
                    <a:lnTo>
                      <a:pt x="1079283" y="336982"/>
                    </a:lnTo>
                    <a:lnTo>
                      <a:pt x="1080040" y="339255"/>
                    </a:lnTo>
                    <a:lnTo>
                      <a:pt x="1081555" y="338952"/>
                    </a:lnTo>
                    <a:lnTo>
                      <a:pt x="1081858" y="337740"/>
                    </a:lnTo>
                    <a:close/>
                    <a:moveTo>
                      <a:pt x="1192923" y="380166"/>
                    </a:moveTo>
                    <a:lnTo>
                      <a:pt x="1195802" y="375317"/>
                    </a:lnTo>
                    <a:lnTo>
                      <a:pt x="1198378" y="370165"/>
                    </a:lnTo>
                    <a:lnTo>
                      <a:pt x="1197620" y="367135"/>
                    </a:lnTo>
                    <a:lnTo>
                      <a:pt x="1195954" y="365014"/>
                    </a:lnTo>
                    <a:lnTo>
                      <a:pt x="1193227" y="362437"/>
                    </a:lnTo>
                    <a:lnTo>
                      <a:pt x="1192317" y="361831"/>
                    </a:lnTo>
                    <a:lnTo>
                      <a:pt x="1186105" y="361528"/>
                    </a:lnTo>
                    <a:lnTo>
                      <a:pt x="1179286" y="363195"/>
                    </a:lnTo>
                    <a:lnTo>
                      <a:pt x="1176255" y="364710"/>
                    </a:lnTo>
                    <a:lnTo>
                      <a:pt x="1173377" y="366680"/>
                    </a:lnTo>
                    <a:lnTo>
                      <a:pt x="1171408" y="368802"/>
                    </a:lnTo>
                    <a:lnTo>
                      <a:pt x="1166559" y="376680"/>
                    </a:lnTo>
                    <a:lnTo>
                      <a:pt x="1162467" y="385772"/>
                    </a:lnTo>
                    <a:lnTo>
                      <a:pt x="1161558" y="389105"/>
                    </a:lnTo>
                    <a:lnTo>
                      <a:pt x="1162619" y="389863"/>
                    </a:lnTo>
                    <a:lnTo>
                      <a:pt x="1167620" y="388954"/>
                    </a:lnTo>
                    <a:lnTo>
                      <a:pt x="1170649" y="388954"/>
                    </a:lnTo>
                    <a:lnTo>
                      <a:pt x="1179286" y="389560"/>
                    </a:lnTo>
                    <a:lnTo>
                      <a:pt x="1185801" y="385923"/>
                    </a:lnTo>
                    <a:lnTo>
                      <a:pt x="1187923" y="383802"/>
                    </a:lnTo>
                    <a:lnTo>
                      <a:pt x="1192923" y="380166"/>
                    </a:lnTo>
                    <a:close/>
                    <a:moveTo>
                      <a:pt x="1252926" y="408803"/>
                    </a:moveTo>
                    <a:lnTo>
                      <a:pt x="1252926" y="403197"/>
                    </a:lnTo>
                    <a:lnTo>
                      <a:pt x="1252926" y="397590"/>
                    </a:lnTo>
                    <a:lnTo>
                      <a:pt x="1252926" y="391984"/>
                    </a:lnTo>
                    <a:lnTo>
                      <a:pt x="1252926" y="386378"/>
                    </a:lnTo>
                    <a:lnTo>
                      <a:pt x="1252926" y="380772"/>
                    </a:lnTo>
                    <a:lnTo>
                      <a:pt x="1252926" y="375165"/>
                    </a:lnTo>
                    <a:lnTo>
                      <a:pt x="1252926" y="369559"/>
                    </a:lnTo>
                    <a:lnTo>
                      <a:pt x="1252926" y="363953"/>
                    </a:lnTo>
                    <a:lnTo>
                      <a:pt x="1252926" y="358347"/>
                    </a:lnTo>
                    <a:lnTo>
                      <a:pt x="1252926" y="352740"/>
                    </a:lnTo>
                    <a:lnTo>
                      <a:pt x="1252926" y="348195"/>
                    </a:lnTo>
                    <a:lnTo>
                      <a:pt x="1251410" y="346376"/>
                    </a:lnTo>
                    <a:lnTo>
                      <a:pt x="1249895" y="343649"/>
                    </a:lnTo>
                    <a:lnTo>
                      <a:pt x="1250198" y="340164"/>
                    </a:lnTo>
                    <a:lnTo>
                      <a:pt x="1252167" y="335770"/>
                    </a:lnTo>
                    <a:lnTo>
                      <a:pt x="1253077" y="332891"/>
                    </a:lnTo>
                    <a:lnTo>
                      <a:pt x="1253077" y="330467"/>
                    </a:lnTo>
                    <a:lnTo>
                      <a:pt x="1253077" y="324860"/>
                    </a:lnTo>
                    <a:lnTo>
                      <a:pt x="1253077" y="319254"/>
                    </a:lnTo>
                    <a:lnTo>
                      <a:pt x="1253077" y="313648"/>
                    </a:lnTo>
                    <a:lnTo>
                      <a:pt x="1253077" y="308042"/>
                    </a:lnTo>
                    <a:lnTo>
                      <a:pt x="1253077" y="302435"/>
                    </a:lnTo>
                    <a:lnTo>
                      <a:pt x="1253077" y="296829"/>
                    </a:lnTo>
                    <a:lnTo>
                      <a:pt x="1253077" y="291223"/>
                    </a:lnTo>
                    <a:lnTo>
                      <a:pt x="1253077" y="285617"/>
                    </a:lnTo>
                    <a:lnTo>
                      <a:pt x="1253077" y="280010"/>
                    </a:lnTo>
                    <a:lnTo>
                      <a:pt x="1253077" y="274404"/>
                    </a:lnTo>
                    <a:lnTo>
                      <a:pt x="1253077" y="268798"/>
                    </a:lnTo>
                    <a:lnTo>
                      <a:pt x="1253077" y="263192"/>
                    </a:lnTo>
                    <a:lnTo>
                      <a:pt x="1253077" y="257585"/>
                    </a:lnTo>
                    <a:lnTo>
                      <a:pt x="1253077" y="251979"/>
                    </a:lnTo>
                    <a:lnTo>
                      <a:pt x="1253077" y="246373"/>
                    </a:lnTo>
                    <a:lnTo>
                      <a:pt x="1253077" y="240766"/>
                    </a:lnTo>
                    <a:lnTo>
                      <a:pt x="1253077" y="235312"/>
                    </a:lnTo>
                    <a:lnTo>
                      <a:pt x="1253077" y="230009"/>
                    </a:lnTo>
                    <a:lnTo>
                      <a:pt x="1246865" y="230009"/>
                    </a:lnTo>
                    <a:lnTo>
                      <a:pt x="1246107" y="227281"/>
                    </a:lnTo>
                    <a:lnTo>
                      <a:pt x="1244743" y="226372"/>
                    </a:lnTo>
                    <a:lnTo>
                      <a:pt x="1243380" y="225614"/>
                    </a:lnTo>
                    <a:lnTo>
                      <a:pt x="1234440" y="224857"/>
                    </a:lnTo>
                    <a:lnTo>
                      <a:pt x="1233227" y="224554"/>
                    </a:lnTo>
                    <a:lnTo>
                      <a:pt x="1232016" y="223493"/>
                    </a:lnTo>
                    <a:lnTo>
                      <a:pt x="1230652" y="222736"/>
                    </a:lnTo>
                    <a:lnTo>
                      <a:pt x="1222772" y="222887"/>
                    </a:lnTo>
                    <a:lnTo>
                      <a:pt x="1220652" y="222736"/>
                    </a:lnTo>
                    <a:lnTo>
                      <a:pt x="1212167" y="219099"/>
                    </a:lnTo>
                    <a:lnTo>
                      <a:pt x="1205954" y="216069"/>
                    </a:lnTo>
                    <a:lnTo>
                      <a:pt x="1203075" y="214402"/>
                    </a:lnTo>
                    <a:lnTo>
                      <a:pt x="1200044" y="213190"/>
                    </a:lnTo>
                    <a:lnTo>
                      <a:pt x="1196711" y="212583"/>
                    </a:lnTo>
                    <a:lnTo>
                      <a:pt x="1193832" y="211220"/>
                    </a:lnTo>
                    <a:lnTo>
                      <a:pt x="1191711" y="209250"/>
                    </a:lnTo>
                    <a:lnTo>
                      <a:pt x="1189287" y="207735"/>
                    </a:lnTo>
                    <a:lnTo>
                      <a:pt x="1174589" y="203038"/>
                    </a:lnTo>
                    <a:lnTo>
                      <a:pt x="1171710" y="201371"/>
                    </a:lnTo>
                    <a:lnTo>
                      <a:pt x="1169134" y="199401"/>
                    </a:lnTo>
                    <a:lnTo>
                      <a:pt x="1166255" y="199401"/>
                    </a:lnTo>
                    <a:lnTo>
                      <a:pt x="1161103" y="201674"/>
                    </a:lnTo>
                    <a:lnTo>
                      <a:pt x="1154588" y="204856"/>
                    </a:lnTo>
                    <a:lnTo>
                      <a:pt x="1148982" y="208038"/>
                    </a:lnTo>
                    <a:lnTo>
                      <a:pt x="1147467" y="209099"/>
                    </a:lnTo>
                    <a:lnTo>
                      <a:pt x="1147467" y="210159"/>
                    </a:lnTo>
                    <a:lnTo>
                      <a:pt x="1148830" y="212583"/>
                    </a:lnTo>
                    <a:lnTo>
                      <a:pt x="1148679" y="213947"/>
                    </a:lnTo>
                    <a:lnTo>
                      <a:pt x="1145951" y="216069"/>
                    </a:lnTo>
                    <a:lnTo>
                      <a:pt x="1139739" y="218644"/>
                    </a:lnTo>
                    <a:lnTo>
                      <a:pt x="1133376" y="219402"/>
                    </a:lnTo>
                    <a:lnTo>
                      <a:pt x="1127314" y="220766"/>
                    </a:lnTo>
                    <a:lnTo>
                      <a:pt x="1126254" y="222129"/>
                    </a:lnTo>
                    <a:lnTo>
                      <a:pt x="1124891" y="224857"/>
                    </a:lnTo>
                    <a:lnTo>
                      <a:pt x="1123981" y="227736"/>
                    </a:lnTo>
                    <a:lnTo>
                      <a:pt x="1123223" y="229251"/>
                    </a:lnTo>
                    <a:lnTo>
                      <a:pt x="1116860" y="233342"/>
                    </a:lnTo>
                    <a:lnTo>
                      <a:pt x="1116254" y="234100"/>
                    </a:lnTo>
                    <a:lnTo>
                      <a:pt x="1114436" y="237888"/>
                    </a:lnTo>
                    <a:lnTo>
                      <a:pt x="1112617" y="240312"/>
                    </a:lnTo>
                    <a:lnTo>
                      <a:pt x="1106253" y="245464"/>
                    </a:lnTo>
                    <a:lnTo>
                      <a:pt x="1104435" y="247736"/>
                    </a:lnTo>
                    <a:lnTo>
                      <a:pt x="1102465" y="249858"/>
                    </a:lnTo>
                    <a:lnTo>
                      <a:pt x="1099284" y="250615"/>
                    </a:lnTo>
                    <a:lnTo>
                      <a:pt x="1095950" y="250464"/>
                    </a:lnTo>
                    <a:lnTo>
                      <a:pt x="1091556" y="249858"/>
                    </a:lnTo>
                    <a:lnTo>
                      <a:pt x="1090041" y="249403"/>
                    </a:lnTo>
                    <a:lnTo>
                      <a:pt x="1086707" y="247130"/>
                    </a:lnTo>
                    <a:lnTo>
                      <a:pt x="1085950" y="246070"/>
                    </a:lnTo>
                    <a:lnTo>
                      <a:pt x="1085041" y="243342"/>
                    </a:lnTo>
                    <a:lnTo>
                      <a:pt x="1085041" y="239857"/>
                    </a:lnTo>
                    <a:lnTo>
                      <a:pt x="1084737" y="238039"/>
                    </a:lnTo>
                    <a:lnTo>
                      <a:pt x="1082767" y="238948"/>
                    </a:lnTo>
                    <a:lnTo>
                      <a:pt x="1080949" y="238645"/>
                    </a:lnTo>
                    <a:lnTo>
                      <a:pt x="1079434" y="232433"/>
                    </a:lnTo>
                    <a:lnTo>
                      <a:pt x="1079283" y="229251"/>
                    </a:lnTo>
                    <a:lnTo>
                      <a:pt x="1078828" y="227736"/>
                    </a:lnTo>
                    <a:lnTo>
                      <a:pt x="1077161" y="226978"/>
                    </a:lnTo>
                    <a:lnTo>
                      <a:pt x="1075798" y="227736"/>
                    </a:lnTo>
                    <a:lnTo>
                      <a:pt x="1074889" y="229099"/>
                    </a:lnTo>
                    <a:lnTo>
                      <a:pt x="1075040" y="232736"/>
                    </a:lnTo>
                    <a:lnTo>
                      <a:pt x="1074131" y="235918"/>
                    </a:lnTo>
                    <a:lnTo>
                      <a:pt x="1071403" y="230160"/>
                    </a:lnTo>
                    <a:lnTo>
                      <a:pt x="1066858" y="221675"/>
                    </a:lnTo>
                    <a:lnTo>
                      <a:pt x="1065797" y="218644"/>
                    </a:lnTo>
                    <a:lnTo>
                      <a:pt x="1065494" y="215614"/>
                    </a:lnTo>
                    <a:lnTo>
                      <a:pt x="1065494" y="212583"/>
                    </a:lnTo>
                    <a:lnTo>
                      <a:pt x="1065040" y="209250"/>
                    </a:lnTo>
                    <a:lnTo>
                      <a:pt x="1064282" y="205917"/>
                    </a:lnTo>
                    <a:lnTo>
                      <a:pt x="1065343" y="203189"/>
                    </a:lnTo>
                    <a:lnTo>
                      <a:pt x="1067313" y="200765"/>
                    </a:lnTo>
                    <a:lnTo>
                      <a:pt x="1067919" y="199250"/>
                    </a:lnTo>
                    <a:lnTo>
                      <a:pt x="1068524" y="196219"/>
                    </a:lnTo>
                    <a:lnTo>
                      <a:pt x="1068222" y="194856"/>
                    </a:lnTo>
                    <a:lnTo>
                      <a:pt x="1066555" y="191977"/>
                    </a:lnTo>
                    <a:lnTo>
                      <a:pt x="1064585" y="189249"/>
                    </a:lnTo>
                    <a:lnTo>
                      <a:pt x="1063373" y="186522"/>
                    </a:lnTo>
                    <a:lnTo>
                      <a:pt x="1063827" y="183643"/>
                    </a:lnTo>
                    <a:lnTo>
                      <a:pt x="1064434" y="182279"/>
                    </a:lnTo>
                    <a:lnTo>
                      <a:pt x="1062009" y="180158"/>
                    </a:lnTo>
                    <a:lnTo>
                      <a:pt x="1060646" y="179401"/>
                    </a:lnTo>
                    <a:lnTo>
                      <a:pt x="1057312" y="179098"/>
                    </a:lnTo>
                    <a:lnTo>
                      <a:pt x="1053827" y="179401"/>
                    </a:lnTo>
                    <a:lnTo>
                      <a:pt x="1047009" y="178946"/>
                    </a:lnTo>
                    <a:lnTo>
                      <a:pt x="1041402" y="176522"/>
                    </a:lnTo>
                    <a:lnTo>
                      <a:pt x="1036099" y="173188"/>
                    </a:lnTo>
                    <a:lnTo>
                      <a:pt x="1030038" y="170612"/>
                    </a:lnTo>
                    <a:lnTo>
                      <a:pt x="1023675" y="169097"/>
                    </a:lnTo>
                    <a:lnTo>
                      <a:pt x="1020493" y="168794"/>
                    </a:lnTo>
                    <a:lnTo>
                      <a:pt x="1017310" y="168946"/>
                    </a:lnTo>
                    <a:lnTo>
                      <a:pt x="1010038" y="171673"/>
                    </a:lnTo>
                    <a:lnTo>
                      <a:pt x="1008825" y="172734"/>
                    </a:lnTo>
                    <a:lnTo>
                      <a:pt x="1007764" y="173946"/>
                    </a:lnTo>
                    <a:lnTo>
                      <a:pt x="1005492" y="175158"/>
                    </a:lnTo>
                    <a:lnTo>
                      <a:pt x="1003522" y="177128"/>
                    </a:lnTo>
                    <a:lnTo>
                      <a:pt x="1001097" y="178340"/>
                    </a:lnTo>
                    <a:lnTo>
                      <a:pt x="991703" y="180461"/>
                    </a:lnTo>
                    <a:lnTo>
                      <a:pt x="987158" y="181825"/>
                    </a:lnTo>
                    <a:lnTo>
                      <a:pt x="986097" y="182431"/>
                    </a:lnTo>
                    <a:lnTo>
                      <a:pt x="985945" y="183492"/>
                    </a:lnTo>
                    <a:lnTo>
                      <a:pt x="986097" y="185007"/>
                    </a:lnTo>
                    <a:lnTo>
                      <a:pt x="985945" y="186522"/>
                    </a:lnTo>
                    <a:lnTo>
                      <a:pt x="984279" y="190916"/>
                    </a:lnTo>
                    <a:lnTo>
                      <a:pt x="983218" y="192431"/>
                    </a:lnTo>
                    <a:lnTo>
                      <a:pt x="981552" y="193189"/>
                    </a:lnTo>
                    <a:lnTo>
                      <a:pt x="980339" y="194250"/>
                    </a:lnTo>
                    <a:lnTo>
                      <a:pt x="979128" y="196977"/>
                    </a:lnTo>
                    <a:lnTo>
                      <a:pt x="978976" y="198038"/>
                    </a:lnTo>
                    <a:lnTo>
                      <a:pt x="980642" y="198644"/>
                    </a:lnTo>
                    <a:lnTo>
                      <a:pt x="982309" y="198795"/>
                    </a:lnTo>
                    <a:lnTo>
                      <a:pt x="983976" y="198644"/>
                    </a:lnTo>
                    <a:lnTo>
                      <a:pt x="985643" y="198189"/>
                    </a:lnTo>
                    <a:lnTo>
                      <a:pt x="987158" y="197280"/>
                    </a:lnTo>
                    <a:lnTo>
                      <a:pt x="999128" y="201371"/>
                    </a:lnTo>
                    <a:lnTo>
                      <a:pt x="1001856" y="201826"/>
                    </a:lnTo>
                    <a:lnTo>
                      <a:pt x="1004583" y="201977"/>
                    </a:lnTo>
                    <a:lnTo>
                      <a:pt x="1004735" y="206220"/>
                    </a:lnTo>
                    <a:lnTo>
                      <a:pt x="1006401" y="212129"/>
                    </a:lnTo>
                    <a:lnTo>
                      <a:pt x="1007159" y="213644"/>
                    </a:lnTo>
                    <a:lnTo>
                      <a:pt x="1008673" y="214856"/>
                    </a:lnTo>
                    <a:lnTo>
                      <a:pt x="1009886" y="216523"/>
                    </a:lnTo>
                    <a:lnTo>
                      <a:pt x="1012159" y="218796"/>
                    </a:lnTo>
                    <a:lnTo>
                      <a:pt x="1014886" y="220614"/>
                    </a:lnTo>
                    <a:lnTo>
                      <a:pt x="1017462" y="220614"/>
                    </a:lnTo>
                    <a:lnTo>
                      <a:pt x="1020189" y="220008"/>
                    </a:lnTo>
                    <a:lnTo>
                      <a:pt x="1023675" y="220766"/>
                    </a:lnTo>
                    <a:lnTo>
                      <a:pt x="1030038" y="221372"/>
                    </a:lnTo>
                    <a:lnTo>
                      <a:pt x="1032766" y="221372"/>
                    </a:lnTo>
                    <a:lnTo>
                      <a:pt x="1039887" y="219857"/>
                    </a:lnTo>
                    <a:lnTo>
                      <a:pt x="1043524" y="219857"/>
                    </a:lnTo>
                    <a:lnTo>
                      <a:pt x="1047160" y="220160"/>
                    </a:lnTo>
                    <a:lnTo>
                      <a:pt x="1053221" y="219099"/>
                    </a:lnTo>
                    <a:lnTo>
                      <a:pt x="1058978" y="216675"/>
                    </a:lnTo>
                    <a:lnTo>
                      <a:pt x="1058978" y="217887"/>
                    </a:lnTo>
                    <a:lnTo>
                      <a:pt x="1058524" y="218796"/>
                    </a:lnTo>
                    <a:lnTo>
                      <a:pt x="1057009" y="219705"/>
                    </a:lnTo>
                    <a:lnTo>
                      <a:pt x="1055342" y="221675"/>
                    </a:lnTo>
                    <a:lnTo>
                      <a:pt x="1058221" y="221978"/>
                    </a:lnTo>
                    <a:lnTo>
                      <a:pt x="1058373" y="224402"/>
                    </a:lnTo>
                    <a:lnTo>
                      <a:pt x="1057615" y="225008"/>
                    </a:lnTo>
                    <a:lnTo>
                      <a:pt x="1056403" y="225160"/>
                    </a:lnTo>
                    <a:lnTo>
                      <a:pt x="1054130" y="225917"/>
                    </a:lnTo>
                    <a:lnTo>
                      <a:pt x="1052918" y="228493"/>
                    </a:lnTo>
                    <a:lnTo>
                      <a:pt x="1052615" y="230614"/>
                    </a:lnTo>
                    <a:lnTo>
                      <a:pt x="1051251" y="230009"/>
                    </a:lnTo>
                    <a:lnTo>
                      <a:pt x="1050039" y="228493"/>
                    </a:lnTo>
                    <a:lnTo>
                      <a:pt x="1047766" y="228342"/>
                    </a:lnTo>
                    <a:lnTo>
                      <a:pt x="1044585" y="227584"/>
                    </a:lnTo>
                    <a:lnTo>
                      <a:pt x="1040645" y="225917"/>
                    </a:lnTo>
                    <a:lnTo>
                      <a:pt x="1038675" y="225463"/>
                    </a:lnTo>
                    <a:lnTo>
                      <a:pt x="1036705" y="225766"/>
                    </a:lnTo>
                    <a:lnTo>
                      <a:pt x="1034432" y="226826"/>
                    </a:lnTo>
                    <a:lnTo>
                      <a:pt x="1030644" y="231524"/>
                    </a:lnTo>
                    <a:lnTo>
                      <a:pt x="1025947" y="235009"/>
                    </a:lnTo>
                    <a:lnTo>
                      <a:pt x="1023977" y="234403"/>
                    </a:lnTo>
                    <a:lnTo>
                      <a:pt x="1021857" y="233342"/>
                    </a:lnTo>
                    <a:lnTo>
                      <a:pt x="1014886" y="232130"/>
                    </a:lnTo>
                    <a:lnTo>
                      <a:pt x="1012311" y="231978"/>
                    </a:lnTo>
                    <a:lnTo>
                      <a:pt x="1007764" y="234100"/>
                    </a:lnTo>
                    <a:lnTo>
                      <a:pt x="1005189" y="234857"/>
                    </a:lnTo>
                    <a:lnTo>
                      <a:pt x="1006098" y="236675"/>
                    </a:lnTo>
                    <a:lnTo>
                      <a:pt x="1007462" y="238191"/>
                    </a:lnTo>
                    <a:lnTo>
                      <a:pt x="1008825" y="238645"/>
                    </a:lnTo>
                    <a:lnTo>
                      <a:pt x="1013068" y="238948"/>
                    </a:lnTo>
                    <a:lnTo>
                      <a:pt x="1015644" y="239857"/>
                    </a:lnTo>
                    <a:lnTo>
                      <a:pt x="1021250" y="244100"/>
                    </a:lnTo>
                    <a:lnTo>
                      <a:pt x="1026704" y="248494"/>
                    </a:lnTo>
                    <a:lnTo>
                      <a:pt x="1028826" y="251676"/>
                    </a:lnTo>
                    <a:lnTo>
                      <a:pt x="1029887" y="255464"/>
                    </a:lnTo>
                    <a:lnTo>
                      <a:pt x="1026704" y="259555"/>
                    </a:lnTo>
                    <a:lnTo>
                      <a:pt x="1027765" y="262888"/>
                    </a:lnTo>
                    <a:lnTo>
                      <a:pt x="1028978" y="266222"/>
                    </a:lnTo>
                    <a:lnTo>
                      <a:pt x="1029887" y="267889"/>
                    </a:lnTo>
                    <a:lnTo>
                      <a:pt x="1031099" y="269252"/>
                    </a:lnTo>
                    <a:lnTo>
                      <a:pt x="1032614" y="270313"/>
                    </a:lnTo>
                    <a:lnTo>
                      <a:pt x="1035796" y="269555"/>
                    </a:lnTo>
                    <a:lnTo>
                      <a:pt x="1038827" y="269555"/>
                    </a:lnTo>
                    <a:lnTo>
                      <a:pt x="1040190" y="269404"/>
                    </a:lnTo>
                    <a:lnTo>
                      <a:pt x="1044281" y="265010"/>
                    </a:lnTo>
                    <a:lnTo>
                      <a:pt x="1044887" y="263494"/>
                    </a:lnTo>
                    <a:lnTo>
                      <a:pt x="1044433" y="261979"/>
                    </a:lnTo>
                    <a:lnTo>
                      <a:pt x="1044585" y="260464"/>
                    </a:lnTo>
                    <a:lnTo>
                      <a:pt x="1047160" y="257282"/>
                    </a:lnTo>
                    <a:lnTo>
                      <a:pt x="1048069" y="254555"/>
                    </a:lnTo>
                    <a:lnTo>
                      <a:pt x="1047463" y="251676"/>
                    </a:lnTo>
                    <a:lnTo>
                      <a:pt x="1049736" y="251828"/>
                    </a:lnTo>
                    <a:lnTo>
                      <a:pt x="1051251" y="250464"/>
                    </a:lnTo>
                    <a:lnTo>
                      <a:pt x="1051402" y="245615"/>
                    </a:lnTo>
                    <a:lnTo>
                      <a:pt x="1051706" y="244100"/>
                    </a:lnTo>
                    <a:lnTo>
                      <a:pt x="1052463" y="242888"/>
                    </a:lnTo>
                    <a:lnTo>
                      <a:pt x="1054281" y="241676"/>
                    </a:lnTo>
                    <a:lnTo>
                      <a:pt x="1056251" y="241979"/>
                    </a:lnTo>
                    <a:lnTo>
                      <a:pt x="1054585" y="244554"/>
                    </a:lnTo>
                    <a:lnTo>
                      <a:pt x="1052312" y="247282"/>
                    </a:lnTo>
                    <a:lnTo>
                      <a:pt x="1052009" y="248949"/>
                    </a:lnTo>
                    <a:lnTo>
                      <a:pt x="1051857" y="253646"/>
                    </a:lnTo>
                    <a:lnTo>
                      <a:pt x="1053070" y="256373"/>
                    </a:lnTo>
                    <a:lnTo>
                      <a:pt x="1055342" y="258343"/>
                    </a:lnTo>
                    <a:lnTo>
                      <a:pt x="1056706" y="259100"/>
                    </a:lnTo>
                    <a:lnTo>
                      <a:pt x="1057918" y="260161"/>
                    </a:lnTo>
                    <a:lnTo>
                      <a:pt x="1058676" y="261676"/>
                    </a:lnTo>
                    <a:lnTo>
                      <a:pt x="1059737" y="262888"/>
                    </a:lnTo>
                    <a:lnTo>
                      <a:pt x="1061403" y="263040"/>
                    </a:lnTo>
                    <a:lnTo>
                      <a:pt x="1063070" y="262434"/>
                    </a:lnTo>
                    <a:lnTo>
                      <a:pt x="1064434" y="262283"/>
                    </a:lnTo>
                    <a:lnTo>
                      <a:pt x="1065343" y="263040"/>
                    </a:lnTo>
                    <a:lnTo>
                      <a:pt x="1065949" y="264707"/>
                    </a:lnTo>
                    <a:lnTo>
                      <a:pt x="1067767" y="266373"/>
                    </a:lnTo>
                    <a:lnTo>
                      <a:pt x="1071252" y="265464"/>
                    </a:lnTo>
                    <a:lnTo>
                      <a:pt x="1073373" y="266525"/>
                    </a:lnTo>
                    <a:lnTo>
                      <a:pt x="1075495" y="267434"/>
                    </a:lnTo>
                    <a:lnTo>
                      <a:pt x="1077009" y="267282"/>
                    </a:lnTo>
                    <a:lnTo>
                      <a:pt x="1079888" y="266071"/>
                    </a:lnTo>
                    <a:lnTo>
                      <a:pt x="1081253" y="265919"/>
                    </a:lnTo>
                    <a:lnTo>
                      <a:pt x="1084737" y="266373"/>
                    </a:lnTo>
                    <a:lnTo>
                      <a:pt x="1079737" y="266828"/>
                    </a:lnTo>
                    <a:lnTo>
                      <a:pt x="1079131" y="268343"/>
                    </a:lnTo>
                    <a:lnTo>
                      <a:pt x="1078979" y="270161"/>
                    </a:lnTo>
                    <a:lnTo>
                      <a:pt x="1080949" y="273343"/>
                    </a:lnTo>
                    <a:lnTo>
                      <a:pt x="1093071" y="280313"/>
                    </a:lnTo>
                    <a:lnTo>
                      <a:pt x="1095192" y="280313"/>
                    </a:lnTo>
                    <a:lnTo>
                      <a:pt x="1097465" y="280010"/>
                    </a:lnTo>
                    <a:lnTo>
                      <a:pt x="1100041" y="280010"/>
                    </a:lnTo>
                    <a:lnTo>
                      <a:pt x="1107314" y="280919"/>
                    </a:lnTo>
                    <a:lnTo>
                      <a:pt x="1114587" y="282283"/>
                    </a:lnTo>
                    <a:lnTo>
                      <a:pt x="1117769" y="283798"/>
                    </a:lnTo>
                    <a:lnTo>
                      <a:pt x="1120799" y="285617"/>
                    </a:lnTo>
                    <a:lnTo>
                      <a:pt x="1125800" y="286980"/>
                    </a:lnTo>
                    <a:lnTo>
                      <a:pt x="1132012" y="290162"/>
                    </a:lnTo>
                    <a:lnTo>
                      <a:pt x="1138527" y="292132"/>
                    </a:lnTo>
                    <a:lnTo>
                      <a:pt x="1140194" y="292132"/>
                    </a:lnTo>
                    <a:lnTo>
                      <a:pt x="1141709" y="292435"/>
                    </a:lnTo>
                    <a:lnTo>
                      <a:pt x="1143224" y="293041"/>
                    </a:lnTo>
                    <a:lnTo>
                      <a:pt x="1144891" y="292890"/>
                    </a:lnTo>
                    <a:lnTo>
                      <a:pt x="1146406" y="293647"/>
                    </a:lnTo>
                    <a:lnTo>
                      <a:pt x="1147770" y="294708"/>
                    </a:lnTo>
                    <a:lnTo>
                      <a:pt x="1148982" y="294253"/>
                    </a:lnTo>
                    <a:lnTo>
                      <a:pt x="1150194" y="293496"/>
                    </a:lnTo>
                    <a:lnTo>
                      <a:pt x="1150952" y="295314"/>
                    </a:lnTo>
                    <a:lnTo>
                      <a:pt x="1163377" y="301829"/>
                    </a:lnTo>
                    <a:lnTo>
                      <a:pt x="1164437" y="303344"/>
                    </a:lnTo>
                    <a:lnTo>
                      <a:pt x="1165650" y="304405"/>
                    </a:lnTo>
                    <a:lnTo>
                      <a:pt x="1166861" y="304405"/>
                    </a:lnTo>
                    <a:lnTo>
                      <a:pt x="1167770" y="305011"/>
                    </a:lnTo>
                    <a:lnTo>
                      <a:pt x="1169438" y="306527"/>
                    </a:lnTo>
                    <a:lnTo>
                      <a:pt x="1171558" y="307587"/>
                    </a:lnTo>
                    <a:lnTo>
                      <a:pt x="1172013" y="309708"/>
                    </a:lnTo>
                    <a:lnTo>
                      <a:pt x="1171710" y="311981"/>
                    </a:lnTo>
                    <a:lnTo>
                      <a:pt x="1171862" y="313193"/>
                    </a:lnTo>
                    <a:lnTo>
                      <a:pt x="1172467" y="314103"/>
                    </a:lnTo>
                    <a:lnTo>
                      <a:pt x="1173528" y="314254"/>
                    </a:lnTo>
                    <a:lnTo>
                      <a:pt x="1174589" y="314103"/>
                    </a:lnTo>
                    <a:lnTo>
                      <a:pt x="1176862" y="313496"/>
                    </a:lnTo>
                    <a:lnTo>
                      <a:pt x="1179286" y="313193"/>
                    </a:lnTo>
                    <a:lnTo>
                      <a:pt x="1176710" y="314557"/>
                    </a:lnTo>
                    <a:lnTo>
                      <a:pt x="1175498" y="316830"/>
                    </a:lnTo>
                    <a:lnTo>
                      <a:pt x="1177771" y="317739"/>
                    </a:lnTo>
                    <a:lnTo>
                      <a:pt x="1180347" y="317891"/>
                    </a:lnTo>
                    <a:lnTo>
                      <a:pt x="1178680" y="319103"/>
                    </a:lnTo>
                    <a:lnTo>
                      <a:pt x="1178225" y="320769"/>
                    </a:lnTo>
                    <a:lnTo>
                      <a:pt x="1180195" y="325467"/>
                    </a:lnTo>
                    <a:lnTo>
                      <a:pt x="1182165" y="331527"/>
                    </a:lnTo>
                    <a:lnTo>
                      <a:pt x="1184438" y="334558"/>
                    </a:lnTo>
                    <a:lnTo>
                      <a:pt x="1187771" y="337437"/>
                    </a:lnTo>
                    <a:lnTo>
                      <a:pt x="1189287" y="339255"/>
                    </a:lnTo>
                    <a:lnTo>
                      <a:pt x="1190044" y="342134"/>
                    </a:lnTo>
                    <a:lnTo>
                      <a:pt x="1192317" y="343800"/>
                    </a:lnTo>
                    <a:lnTo>
                      <a:pt x="1193832" y="345619"/>
                    </a:lnTo>
                    <a:lnTo>
                      <a:pt x="1188832" y="346376"/>
                    </a:lnTo>
                    <a:lnTo>
                      <a:pt x="1186560" y="346983"/>
                    </a:lnTo>
                    <a:lnTo>
                      <a:pt x="1186560" y="347740"/>
                    </a:lnTo>
                    <a:lnTo>
                      <a:pt x="1189741" y="351377"/>
                    </a:lnTo>
                    <a:lnTo>
                      <a:pt x="1193227" y="353195"/>
                    </a:lnTo>
                    <a:lnTo>
                      <a:pt x="1198833" y="355013"/>
                    </a:lnTo>
                    <a:lnTo>
                      <a:pt x="1200499" y="355013"/>
                    </a:lnTo>
                    <a:lnTo>
                      <a:pt x="1202317" y="354710"/>
                    </a:lnTo>
                    <a:lnTo>
                      <a:pt x="1199135" y="355771"/>
                    </a:lnTo>
                    <a:lnTo>
                      <a:pt x="1197924" y="355771"/>
                    </a:lnTo>
                    <a:lnTo>
                      <a:pt x="1195196" y="355165"/>
                    </a:lnTo>
                    <a:lnTo>
                      <a:pt x="1193681" y="355165"/>
                    </a:lnTo>
                    <a:lnTo>
                      <a:pt x="1191862" y="355619"/>
                    </a:lnTo>
                    <a:lnTo>
                      <a:pt x="1190498" y="356528"/>
                    </a:lnTo>
                    <a:lnTo>
                      <a:pt x="1191711" y="357892"/>
                    </a:lnTo>
                    <a:lnTo>
                      <a:pt x="1193377" y="358953"/>
                    </a:lnTo>
                    <a:lnTo>
                      <a:pt x="1194286" y="359862"/>
                    </a:lnTo>
                    <a:lnTo>
                      <a:pt x="1195651" y="362589"/>
                    </a:lnTo>
                    <a:lnTo>
                      <a:pt x="1196863" y="363498"/>
                    </a:lnTo>
                    <a:lnTo>
                      <a:pt x="1198681" y="364104"/>
                    </a:lnTo>
                    <a:lnTo>
                      <a:pt x="1199742" y="365771"/>
                    </a:lnTo>
                    <a:lnTo>
                      <a:pt x="1199287" y="367135"/>
                    </a:lnTo>
                    <a:lnTo>
                      <a:pt x="1198529" y="368498"/>
                    </a:lnTo>
                    <a:lnTo>
                      <a:pt x="1197317" y="372438"/>
                    </a:lnTo>
                    <a:lnTo>
                      <a:pt x="1195499" y="374559"/>
                    </a:lnTo>
                    <a:lnTo>
                      <a:pt x="1194590" y="378044"/>
                    </a:lnTo>
                    <a:lnTo>
                      <a:pt x="1193984" y="379559"/>
                    </a:lnTo>
                    <a:lnTo>
                      <a:pt x="1193227" y="380923"/>
                    </a:lnTo>
                    <a:lnTo>
                      <a:pt x="1193529" y="382287"/>
                    </a:lnTo>
                    <a:lnTo>
                      <a:pt x="1194286" y="383499"/>
                    </a:lnTo>
                    <a:lnTo>
                      <a:pt x="1195499" y="384105"/>
                    </a:lnTo>
                    <a:lnTo>
                      <a:pt x="1199590" y="380772"/>
                    </a:lnTo>
                    <a:lnTo>
                      <a:pt x="1202621" y="379256"/>
                    </a:lnTo>
                    <a:lnTo>
                      <a:pt x="1204136" y="376378"/>
                    </a:lnTo>
                    <a:lnTo>
                      <a:pt x="1204439" y="378196"/>
                    </a:lnTo>
                    <a:lnTo>
                      <a:pt x="1205045" y="379862"/>
                    </a:lnTo>
                    <a:lnTo>
                      <a:pt x="1206105" y="381529"/>
                    </a:lnTo>
                    <a:lnTo>
                      <a:pt x="1207924" y="382135"/>
                    </a:lnTo>
                    <a:lnTo>
                      <a:pt x="1211560" y="381681"/>
                    </a:lnTo>
                    <a:lnTo>
                      <a:pt x="1215196" y="380317"/>
                    </a:lnTo>
                    <a:lnTo>
                      <a:pt x="1219136" y="379862"/>
                    </a:lnTo>
                    <a:lnTo>
                      <a:pt x="1223076" y="379711"/>
                    </a:lnTo>
                    <a:lnTo>
                      <a:pt x="1225803" y="377590"/>
                    </a:lnTo>
                    <a:lnTo>
                      <a:pt x="1228076" y="374862"/>
                    </a:lnTo>
                    <a:lnTo>
                      <a:pt x="1225955" y="379256"/>
                    </a:lnTo>
                    <a:lnTo>
                      <a:pt x="1224742" y="380772"/>
                    </a:lnTo>
                    <a:lnTo>
                      <a:pt x="1224440" y="381529"/>
                    </a:lnTo>
                    <a:lnTo>
                      <a:pt x="1225046" y="382287"/>
                    </a:lnTo>
                    <a:lnTo>
                      <a:pt x="1227773" y="385166"/>
                    </a:lnTo>
                    <a:lnTo>
                      <a:pt x="1238379" y="393954"/>
                    </a:lnTo>
                    <a:lnTo>
                      <a:pt x="1240803" y="396984"/>
                    </a:lnTo>
                    <a:lnTo>
                      <a:pt x="1243077" y="400166"/>
                    </a:lnTo>
                    <a:lnTo>
                      <a:pt x="1246561" y="403651"/>
                    </a:lnTo>
                    <a:lnTo>
                      <a:pt x="1250349" y="406682"/>
                    </a:lnTo>
                    <a:lnTo>
                      <a:pt x="1251713" y="407591"/>
                    </a:lnTo>
                    <a:lnTo>
                      <a:pt x="1252926" y="408803"/>
                    </a:lnTo>
                    <a:close/>
                    <a:moveTo>
                      <a:pt x="1192317" y="383347"/>
                    </a:moveTo>
                    <a:lnTo>
                      <a:pt x="1189893" y="384105"/>
                    </a:lnTo>
                    <a:lnTo>
                      <a:pt x="1188378" y="386075"/>
                    </a:lnTo>
                    <a:lnTo>
                      <a:pt x="1186862" y="387135"/>
                    </a:lnTo>
                    <a:lnTo>
                      <a:pt x="1187014" y="387742"/>
                    </a:lnTo>
                    <a:lnTo>
                      <a:pt x="1187771" y="388802"/>
                    </a:lnTo>
                    <a:lnTo>
                      <a:pt x="1194590" y="389560"/>
                    </a:lnTo>
                    <a:lnTo>
                      <a:pt x="1195954" y="389257"/>
                    </a:lnTo>
                    <a:lnTo>
                      <a:pt x="1195954" y="387893"/>
                    </a:lnTo>
                    <a:lnTo>
                      <a:pt x="1193227" y="383347"/>
                    </a:lnTo>
                    <a:lnTo>
                      <a:pt x="1192317" y="383347"/>
                    </a:lnTo>
                    <a:close/>
                    <a:moveTo>
                      <a:pt x="1037766" y="305163"/>
                    </a:moveTo>
                    <a:lnTo>
                      <a:pt x="1034887" y="313648"/>
                    </a:lnTo>
                    <a:lnTo>
                      <a:pt x="1032917" y="315315"/>
                    </a:lnTo>
                    <a:lnTo>
                      <a:pt x="1032462" y="318042"/>
                    </a:lnTo>
                    <a:lnTo>
                      <a:pt x="1030342" y="323497"/>
                    </a:lnTo>
                    <a:lnTo>
                      <a:pt x="1032614" y="321224"/>
                    </a:lnTo>
                    <a:lnTo>
                      <a:pt x="1033826" y="316678"/>
                    </a:lnTo>
                    <a:lnTo>
                      <a:pt x="1037918" y="312284"/>
                    </a:lnTo>
                    <a:lnTo>
                      <a:pt x="1039433" y="306072"/>
                    </a:lnTo>
                    <a:lnTo>
                      <a:pt x="1038524" y="305314"/>
                    </a:lnTo>
                    <a:lnTo>
                      <a:pt x="1037766" y="305163"/>
                    </a:lnTo>
                    <a:close/>
                    <a:moveTo>
                      <a:pt x="980491" y="381075"/>
                    </a:moveTo>
                    <a:lnTo>
                      <a:pt x="975340" y="385923"/>
                    </a:lnTo>
                    <a:lnTo>
                      <a:pt x="973672" y="388044"/>
                    </a:lnTo>
                    <a:lnTo>
                      <a:pt x="976097" y="387135"/>
                    </a:lnTo>
                    <a:lnTo>
                      <a:pt x="977309" y="385166"/>
                    </a:lnTo>
                    <a:lnTo>
                      <a:pt x="981097" y="384256"/>
                    </a:lnTo>
                    <a:lnTo>
                      <a:pt x="984734" y="381984"/>
                    </a:lnTo>
                    <a:lnTo>
                      <a:pt x="982309" y="381832"/>
                    </a:lnTo>
                    <a:lnTo>
                      <a:pt x="980491" y="381075"/>
                    </a:lnTo>
                    <a:close/>
                    <a:moveTo>
                      <a:pt x="976097" y="257737"/>
                    </a:moveTo>
                    <a:lnTo>
                      <a:pt x="975642" y="256676"/>
                    </a:lnTo>
                    <a:lnTo>
                      <a:pt x="973672" y="253494"/>
                    </a:lnTo>
                    <a:lnTo>
                      <a:pt x="972157" y="253343"/>
                    </a:lnTo>
                    <a:lnTo>
                      <a:pt x="970945" y="252737"/>
                    </a:lnTo>
                    <a:lnTo>
                      <a:pt x="970187" y="250615"/>
                    </a:lnTo>
                    <a:lnTo>
                      <a:pt x="969733" y="248342"/>
                    </a:lnTo>
                    <a:lnTo>
                      <a:pt x="968218" y="245767"/>
                    </a:lnTo>
                    <a:lnTo>
                      <a:pt x="963066" y="241979"/>
                    </a:lnTo>
                    <a:lnTo>
                      <a:pt x="960945" y="241676"/>
                    </a:lnTo>
                    <a:lnTo>
                      <a:pt x="955490" y="242130"/>
                    </a:lnTo>
                    <a:lnTo>
                      <a:pt x="952308" y="241676"/>
                    </a:lnTo>
                    <a:lnTo>
                      <a:pt x="946096" y="238645"/>
                    </a:lnTo>
                    <a:lnTo>
                      <a:pt x="941853" y="236978"/>
                    </a:lnTo>
                    <a:lnTo>
                      <a:pt x="940338" y="236524"/>
                    </a:lnTo>
                    <a:lnTo>
                      <a:pt x="938671" y="236372"/>
                    </a:lnTo>
                    <a:lnTo>
                      <a:pt x="937156" y="236524"/>
                    </a:lnTo>
                    <a:lnTo>
                      <a:pt x="935641" y="237281"/>
                    </a:lnTo>
                    <a:lnTo>
                      <a:pt x="933065" y="239100"/>
                    </a:lnTo>
                    <a:lnTo>
                      <a:pt x="930186" y="240312"/>
                    </a:lnTo>
                    <a:lnTo>
                      <a:pt x="928671" y="240463"/>
                    </a:lnTo>
                    <a:lnTo>
                      <a:pt x="927459" y="239251"/>
                    </a:lnTo>
                    <a:lnTo>
                      <a:pt x="927004" y="237736"/>
                    </a:lnTo>
                    <a:lnTo>
                      <a:pt x="925186" y="237433"/>
                    </a:lnTo>
                    <a:lnTo>
                      <a:pt x="922913" y="238039"/>
                    </a:lnTo>
                    <a:lnTo>
                      <a:pt x="919580" y="238191"/>
                    </a:lnTo>
                    <a:lnTo>
                      <a:pt x="913519" y="237736"/>
                    </a:lnTo>
                    <a:lnTo>
                      <a:pt x="903367" y="238342"/>
                    </a:lnTo>
                    <a:lnTo>
                      <a:pt x="901094" y="240160"/>
                    </a:lnTo>
                    <a:lnTo>
                      <a:pt x="894579" y="248040"/>
                    </a:lnTo>
                    <a:lnTo>
                      <a:pt x="895033" y="249706"/>
                    </a:lnTo>
                    <a:lnTo>
                      <a:pt x="895942" y="251373"/>
                    </a:lnTo>
                    <a:lnTo>
                      <a:pt x="895942" y="252888"/>
                    </a:lnTo>
                    <a:lnTo>
                      <a:pt x="895185" y="255616"/>
                    </a:lnTo>
                    <a:lnTo>
                      <a:pt x="895640" y="255918"/>
                    </a:lnTo>
                    <a:lnTo>
                      <a:pt x="897003" y="254252"/>
                    </a:lnTo>
                    <a:lnTo>
                      <a:pt x="898670" y="251373"/>
                    </a:lnTo>
                    <a:lnTo>
                      <a:pt x="899124" y="250312"/>
                    </a:lnTo>
                    <a:lnTo>
                      <a:pt x="899428" y="248494"/>
                    </a:lnTo>
                    <a:lnTo>
                      <a:pt x="900185" y="246979"/>
                    </a:lnTo>
                    <a:lnTo>
                      <a:pt x="901549" y="246221"/>
                    </a:lnTo>
                    <a:lnTo>
                      <a:pt x="902912" y="246676"/>
                    </a:lnTo>
                    <a:lnTo>
                      <a:pt x="904276" y="247585"/>
                    </a:lnTo>
                    <a:lnTo>
                      <a:pt x="905488" y="248645"/>
                    </a:lnTo>
                    <a:lnTo>
                      <a:pt x="909276" y="253494"/>
                    </a:lnTo>
                    <a:lnTo>
                      <a:pt x="910488" y="254100"/>
                    </a:lnTo>
                    <a:lnTo>
                      <a:pt x="911852" y="254403"/>
                    </a:lnTo>
                    <a:lnTo>
                      <a:pt x="915185" y="253949"/>
                    </a:lnTo>
                    <a:lnTo>
                      <a:pt x="916246" y="252888"/>
                    </a:lnTo>
                    <a:lnTo>
                      <a:pt x="918216" y="250312"/>
                    </a:lnTo>
                    <a:lnTo>
                      <a:pt x="919580" y="249403"/>
                    </a:lnTo>
                    <a:lnTo>
                      <a:pt x="921247" y="248494"/>
                    </a:lnTo>
                    <a:lnTo>
                      <a:pt x="922913" y="248342"/>
                    </a:lnTo>
                    <a:lnTo>
                      <a:pt x="923822" y="248645"/>
                    </a:lnTo>
                    <a:lnTo>
                      <a:pt x="923974" y="249403"/>
                    </a:lnTo>
                    <a:lnTo>
                      <a:pt x="923671" y="250312"/>
                    </a:lnTo>
                    <a:lnTo>
                      <a:pt x="924126" y="250918"/>
                    </a:lnTo>
                    <a:lnTo>
                      <a:pt x="927914" y="251524"/>
                    </a:lnTo>
                    <a:lnTo>
                      <a:pt x="930792" y="252737"/>
                    </a:lnTo>
                    <a:lnTo>
                      <a:pt x="934125" y="253191"/>
                    </a:lnTo>
                    <a:lnTo>
                      <a:pt x="937762" y="254403"/>
                    </a:lnTo>
                    <a:lnTo>
                      <a:pt x="939278" y="253797"/>
                    </a:lnTo>
                    <a:lnTo>
                      <a:pt x="939278" y="251828"/>
                    </a:lnTo>
                    <a:lnTo>
                      <a:pt x="938974" y="250918"/>
                    </a:lnTo>
                    <a:lnTo>
                      <a:pt x="939883" y="250615"/>
                    </a:lnTo>
                    <a:lnTo>
                      <a:pt x="942157" y="250615"/>
                    </a:lnTo>
                    <a:lnTo>
                      <a:pt x="948065" y="250918"/>
                    </a:lnTo>
                    <a:lnTo>
                      <a:pt x="951096" y="252737"/>
                    </a:lnTo>
                    <a:lnTo>
                      <a:pt x="951853" y="253949"/>
                    </a:lnTo>
                    <a:lnTo>
                      <a:pt x="952914" y="254858"/>
                    </a:lnTo>
                    <a:lnTo>
                      <a:pt x="959733" y="257737"/>
                    </a:lnTo>
                    <a:lnTo>
                      <a:pt x="962308" y="258949"/>
                    </a:lnTo>
                    <a:lnTo>
                      <a:pt x="968218" y="262283"/>
                    </a:lnTo>
                    <a:lnTo>
                      <a:pt x="974431" y="265313"/>
                    </a:lnTo>
                    <a:lnTo>
                      <a:pt x="976097" y="257737"/>
                    </a:lnTo>
                    <a:close/>
                    <a:moveTo>
                      <a:pt x="1047312" y="274859"/>
                    </a:moveTo>
                    <a:lnTo>
                      <a:pt x="1043372" y="272434"/>
                    </a:lnTo>
                    <a:lnTo>
                      <a:pt x="1043675" y="274101"/>
                    </a:lnTo>
                    <a:lnTo>
                      <a:pt x="1048373" y="276525"/>
                    </a:lnTo>
                    <a:lnTo>
                      <a:pt x="1051554" y="277737"/>
                    </a:lnTo>
                    <a:lnTo>
                      <a:pt x="1050191" y="276222"/>
                    </a:lnTo>
                    <a:lnTo>
                      <a:pt x="1047312" y="274859"/>
                    </a:lnTo>
                    <a:close/>
                    <a:moveTo>
                      <a:pt x="999128" y="355013"/>
                    </a:moveTo>
                    <a:lnTo>
                      <a:pt x="997613" y="354255"/>
                    </a:lnTo>
                    <a:lnTo>
                      <a:pt x="995340" y="354861"/>
                    </a:lnTo>
                    <a:lnTo>
                      <a:pt x="994582" y="355619"/>
                    </a:lnTo>
                    <a:lnTo>
                      <a:pt x="994734" y="357134"/>
                    </a:lnTo>
                    <a:lnTo>
                      <a:pt x="993219" y="357892"/>
                    </a:lnTo>
                    <a:lnTo>
                      <a:pt x="992158" y="359710"/>
                    </a:lnTo>
                    <a:lnTo>
                      <a:pt x="991249" y="360316"/>
                    </a:lnTo>
                    <a:lnTo>
                      <a:pt x="989583" y="362589"/>
                    </a:lnTo>
                    <a:lnTo>
                      <a:pt x="988219" y="362892"/>
                    </a:lnTo>
                    <a:lnTo>
                      <a:pt x="987158" y="363801"/>
                    </a:lnTo>
                    <a:lnTo>
                      <a:pt x="985491" y="367741"/>
                    </a:lnTo>
                    <a:lnTo>
                      <a:pt x="985340" y="369256"/>
                    </a:lnTo>
                    <a:lnTo>
                      <a:pt x="983976" y="369559"/>
                    </a:lnTo>
                    <a:lnTo>
                      <a:pt x="983976" y="372135"/>
                    </a:lnTo>
                    <a:lnTo>
                      <a:pt x="982612" y="374408"/>
                    </a:lnTo>
                    <a:lnTo>
                      <a:pt x="983673" y="375923"/>
                    </a:lnTo>
                    <a:lnTo>
                      <a:pt x="983370" y="378044"/>
                    </a:lnTo>
                    <a:lnTo>
                      <a:pt x="985340" y="378044"/>
                    </a:lnTo>
                    <a:lnTo>
                      <a:pt x="988674" y="378347"/>
                    </a:lnTo>
                    <a:lnTo>
                      <a:pt x="989128" y="378044"/>
                    </a:lnTo>
                    <a:lnTo>
                      <a:pt x="989583" y="377590"/>
                    </a:lnTo>
                    <a:lnTo>
                      <a:pt x="989733" y="376680"/>
                    </a:lnTo>
                    <a:lnTo>
                      <a:pt x="990492" y="374559"/>
                    </a:lnTo>
                    <a:lnTo>
                      <a:pt x="993067" y="371983"/>
                    </a:lnTo>
                    <a:lnTo>
                      <a:pt x="993673" y="370771"/>
                    </a:lnTo>
                    <a:lnTo>
                      <a:pt x="995946" y="369407"/>
                    </a:lnTo>
                    <a:lnTo>
                      <a:pt x="997159" y="367892"/>
                    </a:lnTo>
                    <a:lnTo>
                      <a:pt x="998977" y="362741"/>
                    </a:lnTo>
                    <a:lnTo>
                      <a:pt x="997613" y="358043"/>
                    </a:lnTo>
                    <a:lnTo>
                      <a:pt x="1000188" y="356074"/>
                    </a:lnTo>
                    <a:lnTo>
                      <a:pt x="999128" y="355013"/>
                    </a:lnTo>
                    <a:close/>
                    <a:moveTo>
                      <a:pt x="943066" y="372892"/>
                    </a:moveTo>
                    <a:lnTo>
                      <a:pt x="941853" y="373196"/>
                    </a:lnTo>
                    <a:lnTo>
                      <a:pt x="941550" y="373953"/>
                    </a:lnTo>
                    <a:lnTo>
                      <a:pt x="941398" y="376378"/>
                    </a:lnTo>
                    <a:lnTo>
                      <a:pt x="944732" y="379711"/>
                    </a:lnTo>
                    <a:lnTo>
                      <a:pt x="946550" y="379862"/>
                    </a:lnTo>
                    <a:lnTo>
                      <a:pt x="948217" y="377287"/>
                    </a:lnTo>
                    <a:lnTo>
                      <a:pt x="948368" y="375468"/>
                    </a:lnTo>
                    <a:lnTo>
                      <a:pt x="947459" y="373499"/>
                    </a:lnTo>
                    <a:lnTo>
                      <a:pt x="943066" y="372892"/>
                    </a:lnTo>
                    <a:close/>
                    <a:moveTo>
                      <a:pt x="1027463" y="314709"/>
                    </a:moveTo>
                    <a:lnTo>
                      <a:pt x="1026856" y="314405"/>
                    </a:lnTo>
                    <a:lnTo>
                      <a:pt x="1026402" y="313345"/>
                    </a:lnTo>
                    <a:lnTo>
                      <a:pt x="1024584" y="313345"/>
                    </a:lnTo>
                    <a:lnTo>
                      <a:pt x="1025947" y="316981"/>
                    </a:lnTo>
                    <a:lnTo>
                      <a:pt x="1025493" y="320163"/>
                    </a:lnTo>
                    <a:lnTo>
                      <a:pt x="1025947" y="321679"/>
                    </a:lnTo>
                    <a:lnTo>
                      <a:pt x="1026554" y="321679"/>
                    </a:lnTo>
                    <a:lnTo>
                      <a:pt x="1027614" y="322588"/>
                    </a:lnTo>
                    <a:lnTo>
                      <a:pt x="1029281" y="320012"/>
                    </a:lnTo>
                    <a:lnTo>
                      <a:pt x="1029129" y="318345"/>
                    </a:lnTo>
                    <a:lnTo>
                      <a:pt x="1027463" y="314709"/>
                    </a:lnTo>
                    <a:close/>
                    <a:moveTo>
                      <a:pt x="1000492" y="354407"/>
                    </a:moveTo>
                    <a:lnTo>
                      <a:pt x="1001249" y="355165"/>
                    </a:lnTo>
                    <a:lnTo>
                      <a:pt x="1002461" y="355619"/>
                    </a:lnTo>
                    <a:lnTo>
                      <a:pt x="1004128" y="355771"/>
                    </a:lnTo>
                    <a:lnTo>
                      <a:pt x="1005340" y="357286"/>
                    </a:lnTo>
                    <a:lnTo>
                      <a:pt x="1006553" y="358043"/>
                    </a:lnTo>
                    <a:lnTo>
                      <a:pt x="1006855" y="356680"/>
                    </a:lnTo>
                    <a:lnTo>
                      <a:pt x="1005189" y="353952"/>
                    </a:lnTo>
                    <a:lnTo>
                      <a:pt x="1000492" y="354407"/>
                    </a:lnTo>
                    <a:close/>
                    <a:moveTo>
                      <a:pt x="842152" y="214402"/>
                    </a:moveTo>
                    <a:lnTo>
                      <a:pt x="841092" y="214402"/>
                    </a:lnTo>
                    <a:lnTo>
                      <a:pt x="839728" y="216069"/>
                    </a:lnTo>
                    <a:lnTo>
                      <a:pt x="839425" y="217129"/>
                    </a:lnTo>
                    <a:lnTo>
                      <a:pt x="840486" y="221069"/>
                    </a:lnTo>
                    <a:lnTo>
                      <a:pt x="841395" y="222129"/>
                    </a:lnTo>
                    <a:lnTo>
                      <a:pt x="842456" y="226220"/>
                    </a:lnTo>
                    <a:lnTo>
                      <a:pt x="844122" y="227736"/>
                    </a:lnTo>
                    <a:lnTo>
                      <a:pt x="844577" y="227281"/>
                    </a:lnTo>
                    <a:lnTo>
                      <a:pt x="844880" y="225008"/>
                    </a:lnTo>
                    <a:lnTo>
                      <a:pt x="842456" y="219705"/>
                    </a:lnTo>
                    <a:lnTo>
                      <a:pt x="842910" y="215462"/>
                    </a:lnTo>
                    <a:lnTo>
                      <a:pt x="842152" y="214402"/>
                    </a:lnTo>
                    <a:close/>
                    <a:moveTo>
                      <a:pt x="397439" y="192734"/>
                    </a:moveTo>
                    <a:lnTo>
                      <a:pt x="398500" y="191825"/>
                    </a:lnTo>
                    <a:lnTo>
                      <a:pt x="398803" y="190765"/>
                    </a:lnTo>
                    <a:lnTo>
                      <a:pt x="398348" y="188946"/>
                    </a:lnTo>
                    <a:lnTo>
                      <a:pt x="397136" y="188037"/>
                    </a:lnTo>
                    <a:lnTo>
                      <a:pt x="394863" y="187280"/>
                    </a:lnTo>
                    <a:lnTo>
                      <a:pt x="391075" y="187431"/>
                    </a:lnTo>
                    <a:lnTo>
                      <a:pt x="390318" y="189098"/>
                    </a:lnTo>
                    <a:lnTo>
                      <a:pt x="389711" y="194401"/>
                    </a:lnTo>
                    <a:lnTo>
                      <a:pt x="390621" y="195462"/>
                    </a:lnTo>
                    <a:lnTo>
                      <a:pt x="391984" y="195613"/>
                    </a:lnTo>
                    <a:lnTo>
                      <a:pt x="397439" y="192734"/>
                    </a:lnTo>
                    <a:close/>
                    <a:moveTo>
                      <a:pt x="527898" y="395166"/>
                    </a:moveTo>
                    <a:lnTo>
                      <a:pt x="526989" y="393954"/>
                    </a:lnTo>
                    <a:lnTo>
                      <a:pt x="525323" y="389711"/>
                    </a:lnTo>
                    <a:lnTo>
                      <a:pt x="525171" y="387742"/>
                    </a:lnTo>
                    <a:lnTo>
                      <a:pt x="525323" y="385772"/>
                    </a:lnTo>
                    <a:lnTo>
                      <a:pt x="526989" y="378650"/>
                    </a:lnTo>
                    <a:lnTo>
                      <a:pt x="526989" y="375620"/>
                    </a:lnTo>
                    <a:lnTo>
                      <a:pt x="526080" y="372741"/>
                    </a:lnTo>
                    <a:lnTo>
                      <a:pt x="525323" y="372135"/>
                    </a:lnTo>
                    <a:lnTo>
                      <a:pt x="516838" y="368347"/>
                    </a:lnTo>
                    <a:lnTo>
                      <a:pt x="515929" y="368347"/>
                    </a:lnTo>
                    <a:lnTo>
                      <a:pt x="511534" y="369559"/>
                    </a:lnTo>
                    <a:lnTo>
                      <a:pt x="508049" y="370317"/>
                    </a:lnTo>
                    <a:lnTo>
                      <a:pt x="501231" y="370923"/>
                    </a:lnTo>
                    <a:lnTo>
                      <a:pt x="494412" y="370771"/>
                    </a:lnTo>
                    <a:lnTo>
                      <a:pt x="488048" y="369104"/>
                    </a:lnTo>
                    <a:lnTo>
                      <a:pt x="481988" y="366225"/>
                    </a:lnTo>
                    <a:lnTo>
                      <a:pt x="481685" y="362892"/>
                    </a:lnTo>
                    <a:lnTo>
                      <a:pt x="481988" y="359407"/>
                    </a:lnTo>
                    <a:lnTo>
                      <a:pt x="480776" y="358347"/>
                    </a:lnTo>
                    <a:lnTo>
                      <a:pt x="477897" y="357134"/>
                    </a:lnTo>
                    <a:lnTo>
                      <a:pt x="477290" y="355922"/>
                    </a:lnTo>
                    <a:lnTo>
                      <a:pt x="476230" y="352437"/>
                    </a:lnTo>
                    <a:lnTo>
                      <a:pt x="474866" y="349104"/>
                    </a:lnTo>
                    <a:lnTo>
                      <a:pt x="471987" y="348498"/>
                    </a:lnTo>
                    <a:lnTo>
                      <a:pt x="468654" y="348195"/>
                    </a:lnTo>
                    <a:lnTo>
                      <a:pt x="463805" y="348498"/>
                    </a:lnTo>
                    <a:lnTo>
                      <a:pt x="462441" y="348195"/>
                    </a:lnTo>
                    <a:lnTo>
                      <a:pt x="459714" y="345770"/>
                    </a:lnTo>
                    <a:lnTo>
                      <a:pt x="452744" y="344861"/>
                    </a:lnTo>
                    <a:lnTo>
                      <a:pt x="451381" y="343952"/>
                    </a:lnTo>
                    <a:lnTo>
                      <a:pt x="450168" y="342740"/>
                    </a:lnTo>
                    <a:lnTo>
                      <a:pt x="447289" y="341376"/>
                    </a:lnTo>
                    <a:lnTo>
                      <a:pt x="445774" y="341528"/>
                    </a:lnTo>
                    <a:lnTo>
                      <a:pt x="443047" y="342588"/>
                    </a:lnTo>
                    <a:lnTo>
                      <a:pt x="441835" y="342740"/>
                    </a:lnTo>
                    <a:lnTo>
                      <a:pt x="437440" y="342437"/>
                    </a:lnTo>
                    <a:lnTo>
                      <a:pt x="436683" y="341982"/>
                    </a:lnTo>
                    <a:lnTo>
                      <a:pt x="432440" y="336376"/>
                    </a:lnTo>
                    <a:lnTo>
                      <a:pt x="431683" y="335618"/>
                    </a:lnTo>
                    <a:lnTo>
                      <a:pt x="427895" y="335315"/>
                    </a:lnTo>
                    <a:lnTo>
                      <a:pt x="426531" y="335770"/>
                    </a:lnTo>
                    <a:lnTo>
                      <a:pt x="425167" y="336528"/>
                    </a:lnTo>
                    <a:lnTo>
                      <a:pt x="424107" y="337740"/>
                    </a:lnTo>
                    <a:lnTo>
                      <a:pt x="423349" y="339103"/>
                    </a:lnTo>
                    <a:lnTo>
                      <a:pt x="422288" y="342437"/>
                    </a:lnTo>
                    <a:lnTo>
                      <a:pt x="420925" y="345619"/>
                    </a:lnTo>
                    <a:lnTo>
                      <a:pt x="419258" y="348195"/>
                    </a:lnTo>
                    <a:lnTo>
                      <a:pt x="416682" y="349558"/>
                    </a:lnTo>
                    <a:lnTo>
                      <a:pt x="415167" y="349558"/>
                    </a:lnTo>
                    <a:lnTo>
                      <a:pt x="413803" y="349255"/>
                    </a:lnTo>
                    <a:lnTo>
                      <a:pt x="412137" y="348498"/>
                    </a:lnTo>
                    <a:lnTo>
                      <a:pt x="410470" y="348043"/>
                    </a:lnTo>
                    <a:lnTo>
                      <a:pt x="406833" y="348195"/>
                    </a:lnTo>
                    <a:lnTo>
                      <a:pt x="403197" y="348649"/>
                    </a:lnTo>
                    <a:lnTo>
                      <a:pt x="400015" y="348346"/>
                    </a:lnTo>
                    <a:lnTo>
                      <a:pt x="393651" y="346679"/>
                    </a:lnTo>
                    <a:lnTo>
                      <a:pt x="391227" y="345770"/>
                    </a:lnTo>
                    <a:lnTo>
                      <a:pt x="388651" y="347134"/>
                    </a:lnTo>
                    <a:lnTo>
                      <a:pt x="385621" y="347285"/>
                    </a:lnTo>
                    <a:lnTo>
                      <a:pt x="378045" y="345922"/>
                    </a:lnTo>
                    <a:lnTo>
                      <a:pt x="374862" y="345619"/>
                    </a:lnTo>
                    <a:lnTo>
                      <a:pt x="371529" y="345619"/>
                    </a:lnTo>
                    <a:lnTo>
                      <a:pt x="368802" y="345164"/>
                    </a:lnTo>
                    <a:lnTo>
                      <a:pt x="366832" y="343497"/>
                    </a:lnTo>
                    <a:lnTo>
                      <a:pt x="365013" y="337740"/>
                    </a:lnTo>
                    <a:lnTo>
                      <a:pt x="364408" y="336528"/>
                    </a:lnTo>
                    <a:lnTo>
                      <a:pt x="361832" y="334103"/>
                    </a:lnTo>
                    <a:lnTo>
                      <a:pt x="359407" y="331527"/>
                    </a:lnTo>
                    <a:lnTo>
                      <a:pt x="358498" y="330921"/>
                    </a:lnTo>
                    <a:lnTo>
                      <a:pt x="357437" y="330921"/>
                    </a:lnTo>
                    <a:lnTo>
                      <a:pt x="355922" y="331527"/>
                    </a:lnTo>
                    <a:lnTo>
                      <a:pt x="354256" y="331679"/>
                    </a:lnTo>
                    <a:lnTo>
                      <a:pt x="350771" y="331073"/>
                    </a:lnTo>
                    <a:lnTo>
                      <a:pt x="347286" y="329861"/>
                    </a:lnTo>
                    <a:lnTo>
                      <a:pt x="344407" y="329406"/>
                    </a:lnTo>
                    <a:lnTo>
                      <a:pt x="341376" y="329255"/>
                    </a:lnTo>
                    <a:lnTo>
                      <a:pt x="338497" y="328345"/>
                    </a:lnTo>
                    <a:lnTo>
                      <a:pt x="336073" y="326679"/>
                    </a:lnTo>
                    <a:lnTo>
                      <a:pt x="333346" y="323497"/>
                    </a:lnTo>
                    <a:lnTo>
                      <a:pt x="332134" y="322739"/>
                    </a:lnTo>
                    <a:lnTo>
                      <a:pt x="327437" y="322133"/>
                    </a:lnTo>
                    <a:lnTo>
                      <a:pt x="324254" y="320618"/>
                    </a:lnTo>
                    <a:lnTo>
                      <a:pt x="323345" y="323497"/>
                    </a:lnTo>
                    <a:lnTo>
                      <a:pt x="321224" y="325315"/>
                    </a:lnTo>
                    <a:lnTo>
                      <a:pt x="319709" y="325769"/>
                    </a:lnTo>
                    <a:lnTo>
                      <a:pt x="318194" y="325921"/>
                    </a:lnTo>
                    <a:lnTo>
                      <a:pt x="314103" y="324254"/>
                    </a:lnTo>
                    <a:lnTo>
                      <a:pt x="311224" y="323800"/>
                    </a:lnTo>
                    <a:lnTo>
                      <a:pt x="308193" y="323648"/>
                    </a:lnTo>
                    <a:lnTo>
                      <a:pt x="305163" y="322739"/>
                    </a:lnTo>
                    <a:lnTo>
                      <a:pt x="300163" y="322285"/>
                    </a:lnTo>
                    <a:lnTo>
                      <a:pt x="297738" y="320921"/>
                    </a:lnTo>
                    <a:lnTo>
                      <a:pt x="296526" y="321527"/>
                    </a:lnTo>
                    <a:lnTo>
                      <a:pt x="293950" y="323800"/>
                    </a:lnTo>
                    <a:lnTo>
                      <a:pt x="292132" y="326527"/>
                    </a:lnTo>
                    <a:lnTo>
                      <a:pt x="289859" y="335770"/>
                    </a:lnTo>
                    <a:lnTo>
                      <a:pt x="289102" y="336376"/>
                    </a:lnTo>
                    <a:lnTo>
                      <a:pt x="287738" y="336831"/>
                    </a:lnTo>
                    <a:lnTo>
                      <a:pt x="286374" y="336073"/>
                    </a:lnTo>
                    <a:lnTo>
                      <a:pt x="285011" y="340164"/>
                    </a:lnTo>
                    <a:lnTo>
                      <a:pt x="284253" y="341679"/>
                    </a:lnTo>
                    <a:lnTo>
                      <a:pt x="281526" y="344710"/>
                    </a:lnTo>
                    <a:lnTo>
                      <a:pt x="280920" y="344861"/>
                    </a:lnTo>
                    <a:lnTo>
                      <a:pt x="279404" y="344407"/>
                    </a:lnTo>
                    <a:lnTo>
                      <a:pt x="278950" y="343952"/>
                    </a:lnTo>
                    <a:lnTo>
                      <a:pt x="278495" y="341528"/>
                    </a:lnTo>
                    <a:lnTo>
                      <a:pt x="277586" y="341831"/>
                    </a:lnTo>
                    <a:lnTo>
                      <a:pt x="275919" y="343346"/>
                    </a:lnTo>
                    <a:lnTo>
                      <a:pt x="275162" y="344710"/>
                    </a:lnTo>
                    <a:lnTo>
                      <a:pt x="275465" y="346225"/>
                    </a:lnTo>
                    <a:lnTo>
                      <a:pt x="276828" y="346376"/>
                    </a:lnTo>
                    <a:lnTo>
                      <a:pt x="278495" y="345922"/>
                    </a:lnTo>
                    <a:lnTo>
                      <a:pt x="280162" y="346073"/>
                    </a:lnTo>
                    <a:lnTo>
                      <a:pt x="281677" y="346679"/>
                    </a:lnTo>
                    <a:lnTo>
                      <a:pt x="285011" y="346831"/>
                    </a:lnTo>
                    <a:lnTo>
                      <a:pt x="288344" y="346376"/>
                    </a:lnTo>
                    <a:lnTo>
                      <a:pt x="291375" y="346376"/>
                    </a:lnTo>
                    <a:lnTo>
                      <a:pt x="294405" y="346679"/>
                    </a:lnTo>
                    <a:lnTo>
                      <a:pt x="301375" y="348498"/>
                    </a:lnTo>
                    <a:lnTo>
                      <a:pt x="310163" y="351983"/>
                    </a:lnTo>
                    <a:lnTo>
                      <a:pt x="309406" y="353649"/>
                    </a:lnTo>
                    <a:lnTo>
                      <a:pt x="308193" y="355316"/>
                    </a:lnTo>
                    <a:lnTo>
                      <a:pt x="307284" y="356983"/>
                    </a:lnTo>
                    <a:lnTo>
                      <a:pt x="307132" y="358953"/>
                    </a:lnTo>
                    <a:lnTo>
                      <a:pt x="308345" y="360468"/>
                    </a:lnTo>
                    <a:lnTo>
                      <a:pt x="310466" y="361225"/>
                    </a:lnTo>
                    <a:lnTo>
                      <a:pt x="313042" y="361831"/>
                    </a:lnTo>
                    <a:lnTo>
                      <a:pt x="325012" y="362741"/>
                    </a:lnTo>
                    <a:lnTo>
                      <a:pt x="330921" y="363347"/>
                    </a:lnTo>
                    <a:lnTo>
                      <a:pt x="338043" y="365316"/>
                    </a:lnTo>
                    <a:lnTo>
                      <a:pt x="339406" y="365923"/>
                    </a:lnTo>
                    <a:lnTo>
                      <a:pt x="342134" y="367741"/>
                    </a:lnTo>
                    <a:lnTo>
                      <a:pt x="345164" y="369256"/>
                    </a:lnTo>
                    <a:lnTo>
                      <a:pt x="348195" y="370165"/>
                    </a:lnTo>
                    <a:lnTo>
                      <a:pt x="356528" y="371680"/>
                    </a:lnTo>
                    <a:lnTo>
                      <a:pt x="359710" y="371983"/>
                    </a:lnTo>
                    <a:lnTo>
                      <a:pt x="362892" y="372135"/>
                    </a:lnTo>
                    <a:lnTo>
                      <a:pt x="364711" y="370468"/>
                    </a:lnTo>
                    <a:lnTo>
                      <a:pt x="366074" y="369711"/>
                    </a:lnTo>
                    <a:lnTo>
                      <a:pt x="370771" y="368650"/>
                    </a:lnTo>
                    <a:lnTo>
                      <a:pt x="373953" y="368650"/>
                    </a:lnTo>
                    <a:lnTo>
                      <a:pt x="377590" y="369711"/>
                    </a:lnTo>
                    <a:lnTo>
                      <a:pt x="383196" y="369407"/>
                    </a:lnTo>
                    <a:lnTo>
                      <a:pt x="385621" y="369711"/>
                    </a:lnTo>
                    <a:lnTo>
                      <a:pt x="401227" y="373044"/>
                    </a:lnTo>
                    <a:lnTo>
                      <a:pt x="406379" y="374711"/>
                    </a:lnTo>
                    <a:lnTo>
                      <a:pt x="421985" y="381832"/>
                    </a:lnTo>
                    <a:lnTo>
                      <a:pt x="428046" y="383196"/>
                    </a:lnTo>
                    <a:lnTo>
                      <a:pt x="434259" y="384256"/>
                    </a:lnTo>
                    <a:lnTo>
                      <a:pt x="441986" y="384863"/>
                    </a:lnTo>
                    <a:lnTo>
                      <a:pt x="446683" y="386075"/>
                    </a:lnTo>
                    <a:lnTo>
                      <a:pt x="463199" y="386529"/>
                    </a:lnTo>
                    <a:lnTo>
                      <a:pt x="469714" y="387287"/>
                    </a:lnTo>
                    <a:lnTo>
                      <a:pt x="476078" y="388499"/>
                    </a:lnTo>
                    <a:lnTo>
                      <a:pt x="478654" y="388802"/>
                    </a:lnTo>
                    <a:lnTo>
                      <a:pt x="481230" y="388499"/>
                    </a:lnTo>
                    <a:lnTo>
                      <a:pt x="484715" y="387590"/>
                    </a:lnTo>
                    <a:lnTo>
                      <a:pt x="488048" y="386226"/>
                    </a:lnTo>
                    <a:lnTo>
                      <a:pt x="491231" y="385620"/>
                    </a:lnTo>
                    <a:lnTo>
                      <a:pt x="494564" y="385620"/>
                    </a:lnTo>
                    <a:lnTo>
                      <a:pt x="506534" y="390923"/>
                    </a:lnTo>
                    <a:lnTo>
                      <a:pt x="513352" y="393348"/>
                    </a:lnTo>
                    <a:lnTo>
                      <a:pt x="519413" y="395015"/>
                    </a:lnTo>
                    <a:lnTo>
                      <a:pt x="522595" y="394711"/>
                    </a:lnTo>
                    <a:lnTo>
                      <a:pt x="524262" y="395621"/>
                    </a:lnTo>
                    <a:lnTo>
                      <a:pt x="525474" y="397136"/>
                    </a:lnTo>
                    <a:lnTo>
                      <a:pt x="527595" y="398045"/>
                    </a:lnTo>
                    <a:lnTo>
                      <a:pt x="530929" y="398803"/>
                    </a:lnTo>
                    <a:lnTo>
                      <a:pt x="531383" y="397590"/>
                    </a:lnTo>
                    <a:lnTo>
                      <a:pt x="531232" y="396378"/>
                    </a:lnTo>
                    <a:lnTo>
                      <a:pt x="527898" y="395166"/>
                    </a:lnTo>
                    <a:close/>
                    <a:moveTo>
                      <a:pt x="276071" y="339255"/>
                    </a:moveTo>
                    <a:lnTo>
                      <a:pt x="275616" y="338194"/>
                    </a:lnTo>
                    <a:lnTo>
                      <a:pt x="274707" y="338346"/>
                    </a:lnTo>
                    <a:lnTo>
                      <a:pt x="273798" y="338800"/>
                    </a:lnTo>
                    <a:lnTo>
                      <a:pt x="271828" y="340619"/>
                    </a:lnTo>
                    <a:lnTo>
                      <a:pt x="272435" y="341376"/>
                    </a:lnTo>
                    <a:lnTo>
                      <a:pt x="273798" y="341982"/>
                    </a:lnTo>
                    <a:lnTo>
                      <a:pt x="275465" y="341376"/>
                    </a:lnTo>
                    <a:lnTo>
                      <a:pt x="276071" y="339255"/>
                    </a:lnTo>
                    <a:close/>
                    <a:moveTo>
                      <a:pt x="276828" y="312284"/>
                    </a:moveTo>
                    <a:lnTo>
                      <a:pt x="278041" y="311678"/>
                    </a:lnTo>
                    <a:lnTo>
                      <a:pt x="282738" y="315012"/>
                    </a:lnTo>
                    <a:lnTo>
                      <a:pt x="283647" y="316072"/>
                    </a:lnTo>
                    <a:lnTo>
                      <a:pt x="284253" y="317436"/>
                    </a:lnTo>
                    <a:lnTo>
                      <a:pt x="285314" y="318497"/>
                    </a:lnTo>
                    <a:lnTo>
                      <a:pt x="286829" y="318951"/>
                    </a:lnTo>
                    <a:lnTo>
                      <a:pt x="288799" y="318951"/>
                    </a:lnTo>
                    <a:lnTo>
                      <a:pt x="290314" y="316224"/>
                    </a:lnTo>
                    <a:lnTo>
                      <a:pt x="290617" y="315163"/>
                    </a:lnTo>
                    <a:lnTo>
                      <a:pt x="292587" y="296981"/>
                    </a:lnTo>
                    <a:lnTo>
                      <a:pt x="292435" y="291071"/>
                    </a:lnTo>
                    <a:lnTo>
                      <a:pt x="292738" y="287435"/>
                    </a:lnTo>
                    <a:lnTo>
                      <a:pt x="292587" y="284556"/>
                    </a:lnTo>
                    <a:lnTo>
                      <a:pt x="291071" y="273949"/>
                    </a:lnTo>
                    <a:lnTo>
                      <a:pt x="291375" y="272889"/>
                    </a:lnTo>
                    <a:lnTo>
                      <a:pt x="293799" y="266373"/>
                    </a:lnTo>
                    <a:lnTo>
                      <a:pt x="293799" y="265010"/>
                    </a:lnTo>
                    <a:lnTo>
                      <a:pt x="292890" y="263494"/>
                    </a:lnTo>
                    <a:lnTo>
                      <a:pt x="291677" y="262131"/>
                    </a:lnTo>
                    <a:lnTo>
                      <a:pt x="291526" y="258949"/>
                    </a:lnTo>
                    <a:lnTo>
                      <a:pt x="292587" y="254555"/>
                    </a:lnTo>
                    <a:lnTo>
                      <a:pt x="293041" y="253494"/>
                    </a:lnTo>
                    <a:lnTo>
                      <a:pt x="296678" y="249403"/>
                    </a:lnTo>
                    <a:lnTo>
                      <a:pt x="297284" y="248191"/>
                    </a:lnTo>
                    <a:lnTo>
                      <a:pt x="297284" y="246676"/>
                    </a:lnTo>
                    <a:lnTo>
                      <a:pt x="296981" y="245161"/>
                    </a:lnTo>
                    <a:lnTo>
                      <a:pt x="293041" y="239251"/>
                    </a:lnTo>
                    <a:lnTo>
                      <a:pt x="284404" y="228493"/>
                    </a:lnTo>
                    <a:lnTo>
                      <a:pt x="281980" y="226826"/>
                    </a:lnTo>
                    <a:lnTo>
                      <a:pt x="279253" y="225463"/>
                    </a:lnTo>
                    <a:lnTo>
                      <a:pt x="276223" y="224857"/>
                    </a:lnTo>
                    <a:lnTo>
                      <a:pt x="269101" y="224857"/>
                    </a:lnTo>
                    <a:lnTo>
                      <a:pt x="267586" y="225160"/>
                    </a:lnTo>
                    <a:lnTo>
                      <a:pt x="266070" y="225766"/>
                    </a:lnTo>
                    <a:lnTo>
                      <a:pt x="265010" y="226524"/>
                    </a:lnTo>
                    <a:lnTo>
                      <a:pt x="261070" y="230614"/>
                    </a:lnTo>
                    <a:lnTo>
                      <a:pt x="260010" y="231372"/>
                    </a:lnTo>
                    <a:lnTo>
                      <a:pt x="258646" y="231221"/>
                    </a:lnTo>
                    <a:lnTo>
                      <a:pt x="258040" y="229857"/>
                    </a:lnTo>
                    <a:lnTo>
                      <a:pt x="258494" y="226826"/>
                    </a:lnTo>
                    <a:lnTo>
                      <a:pt x="259101" y="225614"/>
                    </a:lnTo>
                    <a:lnTo>
                      <a:pt x="262282" y="222887"/>
                    </a:lnTo>
                    <a:lnTo>
                      <a:pt x="263343" y="221523"/>
                    </a:lnTo>
                    <a:lnTo>
                      <a:pt x="263798" y="219857"/>
                    </a:lnTo>
                    <a:lnTo>
                      <a:pt x="263798" y="217735"/>
                    </a:lnTo>
                    <a:lnTo>
                      <a:pt x="262282" y="216372"/>
                    </a:lnTo>
                    <a:lnTo>
                      <a:pt x="259101" y="214856"/>
                    </a:lnTo>
                    <a:lnTo>
                      <a:pt x="256222" y="213038"/>
                    </a:lnTo>
                    <a:lnTo>
                      <a:pt x="254706" y="210311"/>
                    </a:lnTo>
                    <a:lnTo>
                      <a:pt x="254706" y="206977"/>
                    </a:lnTo>
                    <a:lnTo>
                      <a:pt x="253646" y="204250"/>
                    </a:lnTo>
                    <a:lnTo>
                      <a:pt x="252737" y="197735"/>
                    </a:lnTo>
                    <a:lnTo>
                      <a:pt x="252131" y="194704"/>
                    </a:lnTo>
                    <a:lnTo>
                      <a:pt x="250918" y="189855"/>
                    </a:lnTo>
                    <a:lnTo>
                      <a:pt x="250312" y="188946"/>
                    </a:lnTo>
                    <a:lnTo>
                      <a:pt x="247434" y="189401"/>
                    </a:lnTo>
                    <a:lnTo>
                      <a:pt x="245767" y="189401"/>
                    </a:lnTo>
                    <a:lnTo>
                      <a:pt x="241979" y="188492"/>
                    </a:lnTo>
                    <a:lnTo>
                      <a:pt x="238645" y="187280"/>
                    </a:lnTo>
                    <a:lnTo>
                      <a:pt x="232584" y="184704"/>
                    </a:lnTo>
                    <a:lnTo>
                      <a:pt x="228645" y="182279"/>
                    </a:lnTo>
                    <a:lnTo>
                      <a:pt x="227433" y="181219"/>
                    </a:lnTo>
                    <a:lnTo>
                      <a:pt x="224857" y="176370"/>
                    </a:lnTo>
                    <a:lnTo>
                      <a:pt x="224706" y="175158"/>
                    </a:lnTo>
                    <a:lnTo>
                      <a:pt x="226827" y="173340"/>
                    </a:lnTo>
                    <a:lnTo>
                      <a:pt x="226524" y="171976"/>
                    </a:lnTo>
                    <a:lnTo>
                      <a:pt x="224099" y="170461"/>
                    </a:lnTo>
                    <a:lnTo>
                      <a:pt x="225160" y="168037"/>
                    </a:lnTo>
                    <a:lnTo>
                      <a:pt x="224251" y="167127"/>
                    </a:lnTo>
                    <a:lnTo>
                      <a:pt x="224706" y="165764"/>
                    </a:lnTo>
                    <a:lnTo>
                      <a:pt x="229099" y="162430"/>
                    </a:lnTo>
                    <a:lnTo>
                      <a:pt x="232282" y="161067"/>
                    </a:lnTo>
                    <a:lnTo>
                      <a:pt x="234403" y="159248"/>
                    </a:lnTo>
                    <a:lnTo>
                      <a:pt x="233191" y="155763"/>
                    </a:lnTo>
                    <a:lnTo>
                      <a:pt x="231221" y="152581"/>
                    </a:lnTo>
                    <a:lnTo>
                      <a:pt x="228645" y="149854"/>
                    </a:lnTo>
                    <a:lnTo>
                      <a:pt x="225918" y="147278"/>
                    </a:lnTo>
                    <a:lnTo>
                      <a:pt x="224099" y="146520"/>
                    </a:lnTo>
                    <a:lnTo>
                      <a:pt x="222130" y="146369"/>
                    </a:lnTo>
                    <a:lnTo>
                      <a:pt x="220463" y="146824"/>
                    </a:lnTo>
                    <a:lnTo>
                      <a:pt x="215917" y="149399"/>
                    </a:lnTo>
                    <a:lnTo>
                      <a:pt x="213038" y="151218"/>
                    </a:lnTo>
                    <a:lnTo>
                      <a:pt x="210159" y="152733"/>
                    </a:lnTo>
                    <a:lnTo>
                      <a:pt x="206977" y="153642"/>
                    </a:lnTo>
                    <a:lnTo>
                      <a:pt x="200765" y="154400"/>
                    </a:lnTo>
                    <a:lnTo>
                      <a:pt x="207280" y="152127"/>
                    </a:lnTo>
                    <a:lnTo>
                      <a:pt x="213342" y="148945"/>
                    </a:lnTo>
                    <a:lnTo>
                      <a:pt x="215008" y="146824"/>
                    </a:lnTo>
                    <a:lnTo>
                      <a:pt x="214099" y="144399"/>
                    </a:lnTo>
                    <a:lnTo>
                      <a:pt x="211826" y="142126"/>
                    </a:lnTo>
                    <a:lnTo>
                      <a:pt x="209099" y="140763"/>
                    </a:lnTo>
                    <a:lnTo>
                      <a:pt x="201371" y="139854"/>
                    </a:lnTo>
                    <a:lnTo>
                      <a:pt x="198644" y="139096"/>
                    </a:lnTo>
                    <a:lnTo>
                      <a:pt x="196522" y="137429"/>
                    </a:lnTo>
                    <a:lnTo>
                      <a:pt x="192432" y="133338"/>
                    </a:lnTo>
                    <a:lnTo>
                      <a:pt x="191977" y="132581"/>
                    </a:lnTo>
                    <a:lnTo>
                      <a:pt x="191219" y="129247"/>
                    </a:lnTo>
                    <a:lnTo>
                      <a:pt x="190159" y="126065"/>
                    </a:lnTo>
                    <a:lnTo>
                      <a:pt x="188492" y="123338"/>
                    </a:lnTo>
                    <a:lnTo>
                      <a:pt x="186371" y="121065"/>
                    </a:lnTo>
                    <a:lnTo>
                      <a:pt x="180007" y="116216"/>
                    </a:lnTo>
                    <a:lnTo>
                      <a:pt x="177279" y="115156"/>
                    </a:lnTo>
                    <a:lnTo>
                      <a:pt x="174249" y="114853"/>
                    </a:lnTo>
                    <a:lnTo>
                      <a:pt x="171522" y="114247"/>
                    </a:lnTo>
                    <a:lnTo>
                      <a:pt x="169552" y="112428"/>
                    </a:lnTo>
                    <a:lnTo>
                      <a:pt x="168188" y="108943"/>
                    </a:lnTo>
                    <a:lnTo>
                      <a:pt x="166673" y="105610"/>
                    </a:lnTo>
                    <a:lnTo>
                      <a:pt x="164552" y="103186"/>
                    </a:lnTo>
                    <a:lnTo>
                      <a:pt x="159703" y="98943"/>
                    </a:lnTo>
                    <a:lnTo>
                      <a:pt x="156672" y="97882"/>
                    </a:lnTo>
                    <a:lnTo>
                      <a:pt x="155006" y="98186"/>
                    </a:lnTo>
                    <a:lnTo>
                      <a:pt x="153642" y="99246"/>
                    </a:lnTo>
                    <a:lnTo>
                      <a:pt x="153339" y="100610"/>
                    </a:lnTo>
                    <a:lnTo>
                      <a:pt x="153339" y="102125"/>
                    </a:lnTo>
                    <a:lnTo>
                      <a:pt x="155006" y="104549"/>
                    </a:lnTo>
                    <a:lnTo>
                      <a:pt x="155309" y="107277"/>
                    </a:lnTo>
                    <a:lnTo>
                      <a:pt x="153339" y="106216"/>
                    </a:lnTo>
                    <a:lnTo>
                      <a:pt x="149703" y="102731"/>
                    </a:lnTo>
                    <a:lnTo>
                      <a:pt x="147430" y="102276"/>
                    </a:lnTo>
                    <a:lnTo>
                      <a:pt x="145308" y="100913"/>
                    </a:lnTo>
                    <a:lnTo>
                      <a:pt x="143490" y="99095"/>
                    </a:lnTo>
                    <a:lnTo>
                      <a:pt x="141975" y="97125"/>
                    </a:lnTo>
                    <a:lnTo>
                      <a:pt x="140611" y="95004"/>
                    </a:lnTo>
                    <a:lnTo>
                      <a:pt x="139399" y="93488"/>
                    </a:lnTo>
                    <a:lnTo>
                      <a:pt x="134551" y="88640"/>
                    </a:lnTo>
                    <a:lnTo>
                      <a:pt x="131672" y="84700"/>
                    </a:lnTo>
                    <a:lnTo>
                      <a:pt x="130308" y="81973"/>
                    </a:lnTo>
                    <a:lnTo>
                      <a:pt x="128641" y="79397"/>
                    </a:lnTo>
                    <a:lnTo>
                      <a:pt x="123944" y="74094"/>
                    </a:lnTo>
                    <a:lnTo>
                      <a:pt x="118186" y="70609"/>
                    </a:lnTo>
                    <a:lnTo>
                      <a:pt x="108034" y="63336"/>
                    </a:lnTo>
                    <a:lnTo>
                      <a:pt x="100307" y="59851"/>
                    </a:lnTo>
                    <a:lnTo>
                      <a:pt x="97882" y="58487"/>
                    </a:lnTo>
                    <a:lnTo>
                      <a:pt x="95913" y="56366"/>
                    </a:lnTo>
                    <a:lnTo>
                      <a:pt x="95458" y="55002"/>
                    </a:lnTo>
                    <a:lnTo>
                      <a:pt x="94700" y="53790"/>
                    </a:lnTo>
                    <a:lnTo>
                      <a:pt x="91064" y="51972"/>
                    </a:lnTo>
                    <a:lnTo>
                      <a:pt x="85003" y="49396"/>
                    </a:lnTo>
                    <a:lnTo>
                      <a:pt x="83185" y="46668"/>
                    </a:lnTo>
                    <a:lnTo>
                      <a:pt x="84094" y="43183"/>
                    </a:lnTo>
                    <a:lnTo>
                      <a:pt x="83488" y="40608"/>
                    </a:lnTo>
                    <a:lnTo>
                      <a:pt x="77276" y="34547"/>
                    </a:lnTo>
                    <a:lnTo>
                      <a:pt x="76669" y="33789"/>
                    </a:lnTo>
                    <a:lnTo>
                      <a:pt x="75760" y="30607"/>
                    </a:lnTo>
                    <a:lnTo>
                      <a:pt x="74094" y="27880"/>
                    </a:lnTo>
                    <a:lnTo>
                      <a:pt x="68639" y="23486"/>
                    </a:lnTo>
                    <a:lnTo>
                      <a:pt x="65305" y="20001"/>
                    </a:lnTo>
                    <a:lnTo>
                      <a:pt x="64245" y="19092"/>
                    </a:lnTo>
                    <a:lnTo>
                      <a:pt x="63033" y="18486"/>
                    </a:lnTo>
                    <a:lnTo>
                      <a:pt x="61669" y="18334"/>
                    </a:lnTo>
                    <a:lnTo>
                      <a:pt x="54548" y="19092"/>
                    </a:lnTo>
                    <a:lnTo>
                      <a:pt x="51669" y="18486"/>
                    </a:lnTo>
                    <a:lnTo>
                      <a:pt x="48487" y="17425"/>
                    </a:lnTo>
                    <a:lnTo>
                      <a:pt x="45002" y="17273"/>
                    </a:lnTo>
                    <a:lnTo>
                      <a:pt x="38789" y="18789"/>
                    </a:lnTo>
                    <a:lnTo>
                      <a:pt x="35456" y="18486"/>
                    </a:lnTo>
                    <a:lnTo>
                      <a:pt x="28789" y="17425"/>
                    </a:lnTo>
                    <a:lnTo>
                      <a:pt x="25607" y="16667"/>
                    </a:lnTo>
                    <a:lnTo>
                      <a:pt x="22728" y="15152"/>
                    </a:lnTo>
                    <a:lnTo>
                      <a:pt x="17576" y="10758"/>
                    </a:lnTo>
                    <a:lnTo>
                      <a:pt x="14698" y="8940"/>
                    </a:lnTo>
                    <a:lnTo>
                      <a:pt x="11667" y="8182"/>
                    </a:lnTo>
                    <a:lnTo>
                      <a:pt x="8637" y="7728"/>
                    </a:lnTo>
                    <a:lnTo>
                      <a:pt x="5303" y="7576"/>
                    </a:lnTo>
                    <a:lnTo>
                      <a:pt x="2122" y="8485"/>
                    </a:lnTo>
                    <a:lnTo>
                      <a:pt x="758" y="9243"/>
                    </a:lnTo>
                    <a:lnTo>
                      <a:pt x="606" y="10607"/>
                    </a:lnTo>
                    <a:lnTo>
                      <a:pt x="1061" y="11970"/>
                    </a:lnTo>
                    <a:lnTo>
                      <a:pt x="1212" y="13485"/>
                    </a:lnTo>
                    <a:lnTo>
                      <a:pt x="455" y="15304"/>
                    </a:lnTo>
                    <a:lnTo>
                      <a:pt x="0" y="16970"/>
                    </a:lnTo>
                    <a:lnTo>
                      <a:pt x="4849" y="25304"/>
                    </a:lnTo>
                    <a:lnTo>
                      <a:pt x="6212" y="28335"/>
                    </a:lnTo>
                    <a:lnTo>
                      <a:pt x="7879" y="31213"/>
                    </a:lnTo>
                    <a:lnTo>
                      <a:pt x="10152" y="33941"/>
                    </a:lnTo>
                    <a:lnTo>
                      <a:pt x="21364" y="44850"/>
                    </a:lnTo>
                    <a:lnTo>
                      <a:pt x="28031" y="50002"/>
                    </a:lnTo>
                    <a:lnTo>
                      <a:pt x="30304" y="52426"/>
                    </a:lnTo>
                    <a:lnTo>
                      <a:pt x="33941" y="57123"/>
                    </a:lnTo>
                    <a:lnTo>
                      <a:pt x="36214" y="58487"/>
                    </a:lnTo>
                    <a:lnTo>
                      <a:pt x="43790" y="60002"/>
                    </a:lnTo>
                    <a:lnTo>
                      <a:pt x="46365" y="61518"/>
                    </a:lnTo>
                    <a:lnTo>
                      <a:pt x="48487" y="63639"/>
                    </a:lnTo>
                    <a:lnTo>
                      <a:pt x="54548" y="71821"/>
                    </a:lnTo>
                    <a:lnTo>
                      <a:pt x="56214" y="74245"/>
                    </a:lnTo>
                    <a:lnTo>
                      <a:pt x="58033" y="77276"/>
                    </a:lnTo>
                    <a:lnTo>
                      <a:pt x="60154" y="80003"/>
                    </a:lnTo>
                    <a:lnTo>
                      <a:pt x="65609" y="83488"/>
                    </a:lnTo>
                    <a:lnTo>
                      <a:pt x="66366" y="85155"/>
                    </a:lnTo>
                    <a:lnTo>
                      <a:pt x="66972" y="88185"/>
                    </a:lnTo>
                    <a:lnTo>
                      <a:pt x="67578" y="93185"/>
                    </a:lnTo>
                    <a:lnTo>
                      <a:pt x="68639" y="96822"/>
                    </a:lnTo>
                    <a:lnTo>
                      <a:pt x="71215" y="98943"/>
                    </a:lnTo>
                    <a:lnTo>
                      <a:pt x="74548" y="99398"/>
                    </a:lnTo>
                    <a:lnTo>
                      <a:pt x="76973" y="100155"/>
                    </a:lnTo>
                    <a:lnTo>
                      <a:pt x="79246" y="101367"/>
                    </a:lnTo>
                    <a:lnTo>
                      <a:pt x="92276" y="109398"/>
                    </a:lnTo>
                    <a:lnTo>
                      <a:pt x="93185" y="110459"/>
                    </a:lnTo>
                    <a:lnTo>
                      <a:pt x="96064" y="114853"/>
                    </a:lnTo>
                    <a:lnTo>
                      <a:pt x="98640" y="120459"/>
                    </a:lnTo>
                    <a:lnTo>
                      <a:pt x="102428" y="133035"/>
                    </a:lnTo>
                    <a:lnTo>
                      <a:pt x="105762" y="142430"/>
                    </a:lnTo>
                    <a:lnTo>
                      <a:pt x="107125" y="148642"/>
                    </a:lnTo>
                    <a:lnTo>
                      <a:pt x="108489" y="151521"/>
                    </a:lnTo>
                    <a:lnTo>
                      <a:pt x="110610" y="153794"/>
                    </a:lnTo>
                    <a:lnTo>
                      <a:pt x="113338" y="155460"/>
                    </a:lnTo>
                    <a:lnTo>
                      <a:pt x="120610" y="158339"/>
                    </a:lnTo>
                    <a:lnTo>
                      <a:pt x="122580" y="159854"/>
                    </a:lnTo>
                    <a:lnTo>
                      <a:pt x="123944" y="161976"/>
                    </a:lnTo>
                    <a:lnTo>
                      <a:pt x="127732" y="169552"/>
                    </a:lnTo>
                    <a:lnTo>
                      <a:pt x="129702" y="171825"/>
                    </a:lnTo>
                    <a:lnTo>
                      <a:pt x="132126" y="173794"/>
                    </a:lnTo>
                    <a:lnTo>
                      <a:pt x="134096" y="175916"/>
                    </a:lnTo>
                    <a:lnTo>
                      <a:pt x="139551" y="182582"/>
                    </a:lnTo>
                    <a:lnTo>
                      <a:pt x="140005" y="183340"/>
                    </a:lnTo>
                    <a:lnTo>
                      <a:pt x="142278" y="190765"/>
                    </a:lnTo>
                    <a:lnTo>
                      <a:pt x="144854" y="196068"/>
                    </a:lnTo>
                    <a:lnTo>
                      <a:pt x="155006" y="213341"/>
                    </a:lnTo>
                    <a:lnTo>
                      <a:pt x="154854" y="219099"/>
                    </a:lnTo>
                    <a:lnTo>
                      <a:pt x="155915" y="221978"/>
                    </a:lnTo>
                    <a:lnTo>
                      <a:pt x="157430" y="224554"/>
                    </a:lnTo>
                    <a:lnTo>
                      <a:pt x="162127" y="231221"/>
                    </a:lnTo>
                    <a:lnTo>
                      <a:pt x="164552" y="233342"/>
                    </a:lnTo>
                    <a:lnTo>
                      <a:pt x="167279" y="235160"/>
                    </a:lnTo>
                    <a:lnTo>
                      <a:pt x="168946" y="237281"/>
                    </a:lnTo>
                    <a:lnTo>
                      <a:pt x="170309" y="239706"/>
                    </a:lnTo>
                    <a:lnTo>
                      <a:pt x="174855" y="246979"/>
                    </a:lnTo>
                    <a:lnTo>
                      <a:pt x="176825" y="249100"/>
                    </a:lnTo>
                    <a:lnTo>
                      <a:pt x="181370" y="252737"/>
                    </a:lnTo>
                    <a:lnTo>
                      <a:pt x="189856" y="258797"/>
                    </a:lnTo>
                    <a:lnTo>
                      <a:pt x="191522" y="260919"/>
                    </a:lnTo>
                    <a:lnTo>
                      <a:pt x="196522" y="268949"/>
                    </a:lnTo>
                    <a:lnTo>
                      <a:pt x="201068" y="273949"/>
                    </a:lnTo>
                    <a:lnTo>
                      <a:pt x="211523" y="282586"/>
                    </a:lnTo>
                    <a:lnTo>
                      <a:pt x="217584" y="286071"/>
                    </a:lnTo>
                    <a:lnTo>
                      <a:pt x="220311" y="288192"/>
                    </a:lnTo>
                    <a:lnTo>
                      <a:pt x="222887" y="290617"/>
                    </a:lnTo>
                    <a:lnTo>
                      <a:pt x="224857" y="291980"/>
                    </a:lnTo>
                    <a:lnTo>
                      <a:pt x="234857" y="297890"/>
                    </a:lnTo>
                    <a:lnTo>
                      <a:pt x="236524" y="299102"/>
                    </a:lnTo>
                    <a:lnTo>
                      <a:pt x="242888" y="307436"/>
                    </a:lnTo>
                    <a:lnTo>
                      <a:pt x="245161" y="309708"/>
                    </a:lnTo>
                    <a:lnTo>
                      <a:pt x="247737" y="311678"/>
                    </a:lnTo>
                    <a:lnTo>
                      <a:pt x="251222" y="315769"/>
                    </a:lnTo>
                    <a:lnTo>
                      <a:pt x="254252" y="318800"/>
                    </a:lnTo>
                    <a:lnTo>
                      <a:pt x="257585" y="321527"/>
                    </a:lnTo>
                    <a:lnTo>
                      <a:pt x="258343" y="321679"/>
                    </a:lnTo>
                    <a:lnTo>
                      <a:pt x="259858" y="321224"/>
                    </a:lnTo>
                    <a:lnTo>
                      <a:pt x="259707" y="319103"/>
                    </a:lnTo>
                    <a:lnTo>
                      <a:pt x="258192" y="314405"/>
                    </a:lnTo>
                    <a:lnTo>
                      <a:pt x="258343" y="312436"/>
                    </a:lnTo>
                    <a:lnTo>
                      <a:pt x="258798" y="311072"/>
                    </a:lnTo>
                    <a:lnTo>
                      <a:pt x="266677" y="315466"/>
                    </a:lnTo>
                    <a:lnTo>
                      <a:pt x="269252" y="316678"/>
                    </a:lnTo>
                    <a:lnTo>
                      <a:pt x="270919" y="317133"/>
                    </a:lnTo>
                    <a:lnTo>
                      <a:pt x="272131" y="316527"/>
                    </a:lnTo>
                    <a:lnTo>
                      <a:pt x="276828" y="312284"/>
                    </a:lnTo>
                    <a:close/>
                    <a:moveTo>
                      <a:pt x="228796" y="166824"/>
                    </a:moveTo>
                    <a:lnTo>
                      <a:pt x="226827" y="168794"/>
                    </a:lnTo>
                    <a:lnTo>
                      <a:pt x="226372" y="170461"/>
                    </a:lnTo>
                    <a:lnTo>
                      <a:pt x="230312" y="171218"/>
                    </a:lnTo>
                    <a:lnTo>
                      <a:pt x="233948" y="170309"/>
                    </a:lnTo>
                    <a:lnTo>
                      <a:pt x="234706" y="169552"/>
                    </a:lnTo>
                    <a:lnTo>
                      <a:pt x="233645" y="168491"/>
                    </a:lnTo>
                    <a:lnTo>
                      <a:pt x="230615" y="167279"/>
                    </a:lnTo>
                    <a:lnTo>
                      <a:pt x="228796" y="166824"/>
                    </a:lnTo>
                    <a:close/>
                    <a:moveTo>
                      <a:pt x="526080" y="354861"/>
                    </a:moveTo>
                    <a:lnTo>
                      <a:pt x="525323" y="353346"/>
                    </a:lnTo>
                    <a:lnTo>
                      <a:pt x="524414" y="353195"/>
                    </a:lnTo>
                    <a:lnTo>
                      <a:pt x="523656" y="353346"/>
                    </a:lnTo>
                    <a:lnTo>
                      <a:pt x="523050" y="353801"/>
                    </a:lnTo>
                    <a:lnTo>
                      <a:pt x="524414" y="355619"/>
                    </a:lnTo>
                    <a:lnTo>
                      <a:pt x="525777" y="355922"/>
                    </a:lnTo>
                    <a:lnTo>
                      <a:pt x="526080" y="354861"/>
                    </a:lnTo>
                    <a:close/>
                    <a:moveTo>
                      <a:pt x="477745" y="316678"/>
                    </a:moveTo>
                    <a:lnTo>
                      <a:pt x="476078" y="318648"/>
                    </a:lnTo>
                    <a:lnTo>
                      <a:pt x="476533" y="319709"/>
                    </a:lnTo>
                    <a:lnTo>
                      <a:pt x="479109" y="319860"/>
                    </a:lnTo>
                    <a:lnTo>
                      <a:pt x="479715" y="318951"/>
                    </a:lnTo>
                    <a:lnTo>
                      <a:pt x="479866" y="317436"/>
                    </a:lnTo>
                    <a:lnTo>
                      <a:pt x="478806" y="316678"/>
                    </a:lnTo>
                    <a:lnTo>
                      <a:pt x="477745" y="316678"/>
                    </a:lnTo>
                    <a:close/>
                    <a:moveTo>
                      <a:pt x="488503" y="356983"/>
                    </a:moveTo>
                    <a:lnTo>
                      <a:pt x="490927" y="357286"/>
                    </a:lnTo>
                    <a:lnTo>
                      <a:pt x="491382" y="356831"/>
                    </a:lnTo>
                    <a:lnTo>
                      <a:pt x="491988" y="356831"/>
                    </a:lnTo>
                    <a:lnTo>
                      <a:pt x="492897" y="357134"/>
                    </a:lnTo>
                    <a:lnTo>
                      <a:pt x="500321" y="357134"/>
                    </a:lnTo>
                    <a:lnTo>
                      <a:pt x="502443" y="356377"/>
                    </a:lnTo>
                    <a:lnTo>
                      <a:pt x="505474" y="354104"/>
                    </a:lnTo>
                    <a:lnTo>
                      <a:pt x="510171" y="354255"/>
                    </a:lnTo>
                    <a:lnTo>
                      <a:pt x="510625" y="353801"/>
                    </a:lnTo>
                    <a:lnTo>
                      <a:pt x="511685" y="352286"/>
                    </a:lnTo>
                    <a:lnTo>
                      <a:pt x="517140" y="350619"/>
                    </a:lnTo>
                    <a:lnTo>
                      <a:pt x="516838" y="349861"/>
                    </a:lnTo>
                    <a:lnTo>
                      <a:pt x="514110" y="347437"/>
                    </a:lnTo>
                    <a:lnTo>
                      <a:pt x="489261" y="347588"/>
                    </a:lnTo>
                    <a:lnTo>
                      <a:pt x="483806" y="348195"/>
                    </a:lnTo>
                    <a:lnTo>
                      <a:pt x="481078" y="350922"/>
                    </a:lnTo>
                    <a:lnTo>
                      <a:pt x="479866" y="352892"/>
                    </a:lnTo>
                    <a:lnTo>
                      <a:pt x="480927" y="354710"/>
                    </a:lnTo>
                    <a:lnTo>
                      <a:pt x="488503" y="356983"/>
                    </a:lnTo>
                    <a:close/>
                    <a:moveTo>
                      <a:pt x="556990" y="397136"/>
                    </a:moveTo>
                    <a:lnTo>
                      <a:pt x="555324" y="398196"/>
                    </a:lnTo>
                    <a:lnTo>
                      <a:pt x="555930" y="398954"/>
                    </a:lnTo>
                    <a:lnTo>
                      <a:pt x="558202" y="400621"/>
                    </a:lnTo>
                    <a:lnTo>
                      <a:pt x="558960" y="399712"/>
                    </a:lnTo>
                    <a:lnTo>
                      <a:pt x="559112" y="398196"/>
                    </a:lnTo>
                    <a:lnTo>
                      <a:pt x="557748" y="396984"/>
                    </a:lnTo>
                    <a:lnTo>
                      <a:pt x="556990" y="397136"/>
                    </a:lnTo>
                    <a:close/>
                    <a:moveTo>
                      <a:pt x="88337" y="161218"/>
                    </a:moveTo>
                    <a:lnTo>
                      <a:pt x="87276" y="160612"/>
                    </a:lnTo>
                    <a:lnTo>
                      <a:pt x="85912" y="160763"/>
                    </a:lnTo>
                    <a:lnTo>
                      <a:pt x="88791" y="166824"/>
                    </a:lnTo>
                    <a:lnTo>
                      <a:pt x="88337" y="169097"/>
                    </a:lnTo>
                    <a:lnTo>
                      <a:pt x="86822" y="171067"/>
                    </a:lnTo>
                    <a:lnTo>
                      <a:pt x="86367" y="173491"/>
                    </a:lnTo>
                    <a:lnTo>
                      <a:pt x="85609" y="175158"/>
                    </a:lnTo>
                    <a:lnTo>
                      <a:pt x="88034" y="176370"/>
                    </a:lnTo>
                    <a:lnTo>
                      <a:pt x="89701" y="175158"/>
                    </a:lnTo>
                    <a:lnTo>
                      <a:pt x="91367" y="171067"/>
                    </a:lnTo>
                    <a:lnTo>
                      <a:pt x="91973" y="167734"/>
                    </a:lnTo>
                    <a:lnTo>
                      <a:pt x="90306" y="165309"/>
                    </a:lnTo>
                    <a:lnTo>
                      <a:pt x="88337" y="161218"/>
                    </a:lnTo>
                    <a:close/>
                    <a:moveTo>
                      <a:pt x="191825" y="304557"/>
                    </a:moveTo>
                    <a:lnTo>
                      <a:pt x="190613" y="304557"/>
                    </a:lnTo>
                    <a:lnTo>
                      <a:pt x="189401" y="305617"/>
                    </a:lnTo>
                    <a:lnTo>
                      <a:pt x="190007" y="306678"/>
                    </a:lnTo>
                    <a:lnTo>
                      <a:pt x="194098" y="310011"/>
                    </a:lnTo>
                    <a:lnTo>
                      <a:pt x="196371" y="309860"/>
                    </a:lnTo>
                    <a:lnTo>
                      <a:pt x="197432" y="307890"/>
                    </a:lnTo>
                    <a:lnTo>
                      <a:pt x="196522" y="306829"/>
                    </a:lnTo>
                    <a:lnTo>
                      <a:pt x="191825" y="304557"/>
                    </a:lnTo>
                    <a:close/>
                    <a:moveTo>
                      <a:pt x="58790" y="104246"/>
                    </a:moveTo>
                    <a:lnTo>
                      <a:pt x="58638" y="102276"/>
                    </a:lnTo>
                    <a:lnTo>
                      <a:pt x="57578" y="100913"/>
                    </a:lnTo>
                    <a:lnTo>
                      <a:pt x="56517" y="100458"/>
                    </a:lnTo>
                    <a:lnTo>
                      <a:pt x="53941" y="100004"/>
                    </a:lnTo>
                    <a:lnTo>
                      <a:pt x="52578" y="100458"/>
                    </a:lnTo>
                    <a:lnTo>
                      <a:pt x="55760" y="101974"/>
                    </a:lnTo>
                    <a:lnTo>
                      <a:pt x="58638" y="104852"/>
                    </a:lnTo>
                    <a:lnTo>
                      <a:pt x="58790" y="104246"/>
                    </a:lnTo>
                    <a:close/>
                    <a:moveTo>
                      <a:pt x="110155" y="203038"/>
                    </a:moveTo>
                    <a:lnTo>
                      <a:pt x="108034" y="199856"/>
                    </a:lnTo>
                    <a:lnTo>
                      <a:pt x="108337" y="199250"/>
                    </a:lnTo>
                    <a:lnTo>
                      <a:pt x="108034" y="198341"/>
                    </a:lnTo>
                    <a:lnTo>
                      <a:pt x="107277" y="197129"/>
                    </a:lnTo>
                    <a:lnTo>
                      <a:pt x="106216" y="194401"/>
                    </a:lnTo>
                    <a:lnTo>
                      <a:pt x="103186" y="189401"/>
                    </a:lnTo>
                    <a:lnTo>
                      <a:pt x="102579" y="186674"/>
                    </a:lnTo>
                    <a:lnTo>
                      <a:pt x="100913" y="185613"/>
                    </a:lnTo>
                    <a:lnTo>
                      <a:pt x="95610" y="187128"/>
                    </a:lnTo>
                    <a:lnTo>
                      <a:pt x="93640" y="193341"/>
                    </a:lnTo>
                    <a:lnTo>
                      <a:pt x="94398" y="195007"/>
                    </a:lnTo>
                    <a:lnTo>
                      <a:pt x="99549" y="202583"/>
                    </a:lnTo>
                    <a:lnTo>
                      <a:pt x="99852" y="204553"/>
                    </a:lnTo>
                    <a:lnTo>
                      <a:pt x="101065" y="206068"/>
                    </a:lnTo>
                    <a:lnTo>
                      <a:pt x="106519" y="209402"/>
                    </a:lnTo>
                    <a:lnTo>
                      <a:pt x="109095" y="209250"/>
                    </a:lnTo>
                    <a:lnTo>
                      <a:pt x="111974" y="208190"/>
                    </a:lnTo>
                    <a:lnTo>
                      <a:pt x="111822" y="205159"/>
                    </a:lnTo>
                    <a:lnTo>
                      <a:pt x="110155" y="203038"/>
                    </a:lnTo>
                    <a:close/>
                    <a:moveTo>
                      <a:pt x="144399" y="245464"/>
                    </a:moveTo>
                    <a:lnTo>
                      <a:pt x="144551" y="243342"/>
                    </a:lnTo>
                    <a:lnTo>
                      <a:pt x="144096" y="242282"/>
                    </a:lnTo>
                    <a:lnTo>
                      <a:pt x="138339" y="236372"/>
                    </a:lnTo>
                    <a:lnTo>
                      <a:pt x="136975" y="236372"/>
                    </a:lnTo>
                    <a:lnTo>
                      <a:pt x="136520" y="237281"/>
                    </a:lnTo>
                    <a:lnTo>
                      <a:pt x="137278" y="241827"/>
                    </a:lnTo>
                    <a:lnTo>
                      <a:pt x="138793" y="243797"/>
                    </a:lnTo>
                    <a:lnTo>
                      <a:pt x="140763" y="245312"/>
                    </a:lnTo>
                    <a:lnTo>
                      <a:pt x="141217" y="246524"/>
                    </a:lnTo>
                    <a:lnTo>
                      <a:pt x="141217" y="248494"/>
                    </a:lnTo>
                    <a:lnTo>
                      <a:pt x="144399" y="251221"/>
                    </a:lnTo>
                    <a:lnTo>
                      <a:pt x="143339" y="247282"/>
                    </a:lnTo>
                    <a:lnTo>
                      <a:pt x="143642" y="246221"/>
                    </a:lnTo>
                    <a:lnTo>
                      <a:pt x="144399" y="245464"/>
                    </a:lnTo>
                    <a:close/>
                    <a:moveTo>
                      <a:pt x="137278" y="233493"/>
                    </a:moveTo>
                    <a:lnTo>
                      <a:pt x="132126" y="228948"/>
                    </a:lnTo>
                    <a:lnTo>
                      <a:pt x="131520" y="229402"/>
                    </a:lnTo>
                    <a:lnTo>
                      <a:pt x="131065" y="231221"/>
                    </a:lnTo>
                    <a:lnTo>
                      <a:pt x="131065" y="231675"/>
                    </a:lnTo>
                    <a:lnTo>
                      <a:pt x="131823" y="232736"/>
                    </a:lnTo>
                    <a:lnTo>
                      <a:pt x="131672" y="236069"/>
                    </a:lnTo>
                    <a:lnTo>
                      <a:pt x="132278" y="237433"/>
                    </a:lnTo>
                    <a:lnTo>
                      <a:pt x="135460" y="237433"/>
                    </a:lnTo>
                    <a:lnTo>
                      <a:pt x="137429" y="235312"/>
                    </a:lnTo>
                    <a:lnTo>
                      <a:pt x="137278" y="233493"/>
                    </a:lnTo>
                    <a:close/>
                    <a:moveTo>
                      <a:pt x="126672" y="222736"/>
                    </a:moveTo>
                    <a:lnTo>
                      <a:pt x="124398" y="219857"/>
                    </a:lnTo>
                    <a:lnTo>
                      <a:pt x="123035" y="216675"/>
                    </a:lnTo>
                    <a:lnTo>
                      <a:pt x="121217" y="215462"/>
                    </a:lnTo>
                    <a:lnTo>
                      <a:pt x="119853" y="215766"/>
                    </a:lnTo>
                    <a:lnTo>
                      <a:pt x="119550" y="216523"/>
                    </a:lnTo>
                    <a:lnTo>
                      <a:pt x="119398" y="218341"/>
                    </a:lnTo>
                    <a:lnTo>
                      <a:pt x="118792" y="219554"/>
                    </a:lnTo>
                    <a:lnTo>
                      <a:pt x="120762" y="222129"/>
                    </a:lnTo>
                    <a:lnTo>
                      <a:pt x="122884" y="222736"/>
                    </a:lnTo>
                    <a:lnTo>
                      <a:pt x="127277" y="225160"/>
                    </a:lnTo>
                    <a:lnTo>
                      <a:pt x="127126" y="224402"/>
                    </a:lnTo>
                    <a:lnTo>
                      <a:pt x="126672" y="222736"/>
                    </a:lnTo>
                    <a:close/>
                    <a:moveTo>
                      <a:pt x="777150" y="391681"/>
                    </a:moveTo>
                    <a:lnTo>
                      <a:pt x="778211" y="390166"/>
                    </a:lnTo>
                    <a:lnTo>
                      <a:pt x="780029" y="390166"/>
                    </a:lnTo>
                    <a:lnTo>
                      <a:pt x="782453" y="386681"/>
                    </a:lnTo>
                    <a:lnTo>
                      <a:pt x="786241" y="385923"/>
                    </a:lnTo>
                    <a:lnTo>
                      <a:pt x="785484" y="385014"/>
                    </a:lnTo>
                    <a:lnTo>
                      <a:pt x="784120" y="384256"/>
                    </a:lnTo>
                    <a:lnTo>
                      <a:pt x="782151" y="383650"/>
                    </a:lnTo>
                    <a:lnTo>
                      <a:pt x="777302" y="386378"/>
                    </a:lnTo>
                    <a:lnTo>
                      <a:pt x="776544" y="386378"/>
                    </a:lnTo>
                    <a:lnTo>
                      <a:pt x="775332" y="385620"/>
                    </a:lnTo>
                    <a:lnTo>
                      <a:pt x="773816" y="385620"/>
                    </a:lnTo>
                    <a:lnTo>
                      <a:pt x="771544" y="385923"/>
                    </a:lnTo>
                    <a:lnTo>
                      <a:pt x="771696" y="386529"/>
                    </a:lnTo>
                    <a:lnTo>
                      <a:pt x="772453" y="386832"/>
                    </a:lnTo>
                    <a:lnTo>
                      <a:pt x="773816" y="387135"/>
                    </a:lnTo>
                    <a:lnTo>
                      <a:pt x="773210" y="388044"/>
                    </a:lnTo>
                    <a:lnTo>
                      <a:pt x="769726" y="390317"/>
                    </a:lnTo>
                    <a:lnTo>
                      <a:pt x="767149" y="392893"/>
                    </a:lnTo>
                    <a:lnTo>
                      <a:pt x="767756" y="393045"/>
                    </a:lnTo>
                    <a:lnTo>
                      <a:pt x="769877" y="392893"/>
                    </a:lnTo>
                    <a:lnTo>
                      <a:pt x="772150" y="394257"/>
                    </a:lnTo>
                    <a:lnTo>
                      <a:pt x="772756" y="393954"/>
                    </a:lnTo>
                    <a:lnTo>
                      <a:pt x="774271" y="392742"/>
                    </a:lnTo>
                    <a:lnTo>
                      <a:pt x="776089" y="393651"/>
                    </a:lnTo>
                    <a:lnTo>
                      <a:pt x="776847" y="393045"/>
                    </a:lnTo>
                    <a:lnTo>
                      <a:pt x="776999" y="392439"/>
                    </a:lnTo>
                    <a:lnTo>
                      <a:pt x="776847" y="391832"/>
                    </a:lnTo>
                    <a:lnTo>
                      <a:pt x="777150" y="391681"/>
                    </a:lnTo>
                    <a:close/>
                    <a:moveTo>
                      <a:pt x="730027" y="445471"/>
                    </a:moveTo>
                    <a:lnTo>
                      <a:pt x="728058" y="447289"/>
                    </a:lnTo>
                    <a:lnTo>
                      <a:pt x="725481" y="448653"/>
                    </a:lnTo>
                    <a:lnTo>
                      <a:pt x="726088" y="449107"/>
                    </a:lnTo>
                    <a:lnTo>
                      <a:pt x="728967" y="449865"/>
                    </a:lnTo>
                    <a:lnTo>
                      <a:pt x="730330" y="449562"/>
                    </a:lnTo>
                    <a:lnTo>
                      <a:pt x="733057" y="447895"/>
                    </a:lnTo>
                    <a:lnTo>
                      <a:pt x="733512" y="445622"/>
                    </a:lnTo>
                    <a:lnTo>
                      <a:pt x="732148" y="445168"/>
                    </a:lnTo>
                    <a:lnTo>
                      <a:pt x="730027" y="445471"/>
                    </a:lnTo>
                    <a:close/>
                    <a:moveTo>
                      <a:pt x="557142" y="384256"/>
                    </a:moveTo>
                    <a:lnTo>
                      <a:pt x="554414" y="382741"/>
                    </a:lnTo>
                    <a:lnTo>
                      <a:pt x="551536" y="381681"/>
                    </a:lnTo>
                    <a:lnTo>
                      <a:pt x="547445" y="380317"/>
                    </a:lnTo>
                    <a:lnTo>
                      <a:pt x="546384" y="380317"/>
                    </a:lnTo>
                    <a:lnTo>
                      <a:pt x="542141" y="383347"/>
                    </a:lnTo>
                    <a:lnTo>
                      <a:pt x="540475" y="383650"/>
                    </a:lnTo>
                    <a:lnTo>
                      <a:pt x="537596" y="383499"/>
                    </a:lnTo>
                    <a:lnTo>
                      <a:pt x="531838" y="381984"/>
                    </a:lnTo>
                    <a:lnTo>
                      <a:pt x="528656" y="381681"/>
                    </a:lnTo>
                    <a:lnTo>
                      <a:pt x="527898" y="381832"/>
                    </a:lnTo>
                    <a:lnTo>
                      <a:pt x="527747" y="383044"/>
                    </a:lnTo>
                    <a:lnTo>
                      <a:pt x="528050" y="384408"/>
                    </a:lnTo>
                    <a:lnTo>
                      <a:pt x="528656" y="385620"/>
                    </a:lnTo>
                    <a:lnTo>
                      <a:pt x="530474" y="387893"/>
                    </a:lnTo>
                    <a:lnTo>
                      <a:pt x="531686" y="388802"/>
                    </a:lnTo>
                    <a:lnTo>
                      <a:pt x="534869" y="389257"/>
                    </a:lnTo>
                    <a:lnTo>
                      <a:pt x="537899" y="390166"/>
                    </a:lnTo>
                    <a:lnTo>
                      <a:pt x="540929" y="391984"/>
                    </a:lnTo>
                    <a:lnTo>
                      <a:pt x="543808" y="394105"/>
                    </a:lnTo>
                    <a:lnTo>
                      <a:pt x="545172" y="395621"/>
                    </a:lnTo>
                    <a:lnTo>
                      <a:pt x="546081" y="397439"/>
                    </a:lnTo>
                    <a:lnTo>
                      <a:pt x="546081" y="399409"/>
                    </a:lnTo>
                    <a:lnTo>
                      <a:pt x="544717" y="401075"/>
                    </a:lnTo>
                    <a:lnTo>
                      <a:pt x="546233" y="401681"/>
                    </a:lnTo>
                    <a:lnTo>
                      <a:pt x="547596" y="401378"/>
                    </a:lnTo>
                    <a:lnTo>
                      <a:pt x="548354" y="400924"/>
                    </a:lnTo>
                    <a:lnTo>
                      <a:pt x="548808" y="400318"/>
                    </a:lnTo>
                    <a:lnTo>
                      <a:pt x="549112" y="399257"/>
                    </a:lnTo>
                    <a:lnTo>
                      <a:pt x="550475" y="396681"/>
                    </a:lnTo>
                    <a:lnTo>
                      <a:pt x="551536" y="395318"/>
                    </a:lnTo>
                    <a:lnTo>
                      <a:pt x="557748" y="392590"/>
                    </a:lnTo>
                    <a:lnTo>
                      <a:pt x="560476" y="390772"/>
                    </a:lnTo>
                    <a:lnTo>
                      <a:pt x="561687" y="389711"/>
                    </a:lnTo>
                    <a:lnTo>
                      <a:pt x="561385" y="388499"/>
                    </a:lnTo>
                    <a:lnTo>
                      <a:pt x="557142" y="384256"/>
                    </a:lnTo>
                    <a:close/>
                    <a:moveTo>
                      <a:pt x="698056" y="430773"/>
                    </a:moveTo>
                    <a:lnTo>
                      <a:pt x="696238" y="428046"/>
                    </a:lnTo>
                    <a:lnTo>
                      <a:pt x="694117" y="425622"/>
                    </a:lnTo>
                    <a:lnTo>
                      <a:pt x="692753" y="424410"/>
                    </a:lnTo>
                    <a:lnTo>
                      <a:pt x="691087" y="423652"/>
                    </a:lnTo>
                    <a:lnTo>
                      <a:pt x="688965" y="423955"/>
                    </a:lnTo>
                    <a:lnTo>
                      <a:pt x="686995" y="423803"/>
                    </a:lnTo>
                    <a:lnTo>
                      <a:pt x="686086" y="422591"/>
                    </a:lnTo>
                    <a:lnTo>
                      <a:pt x="685783" y="420924"/>
                    </a:lnTo>
                    <a:lnTo>
                      <a:pt x="685025" y="419864"/>
                    </a:lnTo>
                    <a:lnTo>
                      <a:pt x="680480" y="417440"/>
                    </a:lnTo>
                    <a:lnTo>
                      <a:pt x="679267" y="416227"/>
                    </a:lnTo>
                    <a:lnTo>
                      <a:pt x="678207" y="414712"/>
                    </a:lnTo>
                    <a:lnTo>
                      <a:pt x="677298" y="414106"/>
                    </a:lnTo>
                    <a:lnTo>
                      <a:pt x="674874" y="415773"/>
                    </a:lnTo>
                    <a:lnTo>
                      <a:pt x="673359" y="416379"/>
                    </a:lnTo>
                    <a:lnTo>
                      <a:pt x="668358" y="415621"/>
                    </a:lnTo>
                    <a:lnTo>
                      <a:pt x="663206" y="416076"/>
                    </a:lnTo>
                    <a:lnTo>
                      <a:pt x="659722" y="416076"/>
                    </a:lnTo>
                    <a:lnTo>
                      <a:pt x="656691" y="416530"/>
                    </a:lnTo>
                    <a:lnTo>
                      <a:pt x="652449" y="418046"/>
                    </a:lnTo>
                    <a:lnTo>
                      <a:pt x="651388" y="418955"/>
                    </a:lnTo>
                    <a:lnTo>
                      <a:pt x="650479" y="420318"/>
                    </a:lnTo>
                    <a:lnTo>
                      <a:pt x="650933" y="421834"/>
                    </a:lnTo>
                    <a:lnTo>
                      <a:pt x="651842" y="423197"/>
                    </a:lnTo>
                    <a:lnTo>
                      <a:pt x="652751" y="424561"/>
                    </a:lnTo>
                    <a:lnTo>
                      <a:pt x="653964" y="425622"/>
                    </a:lnTo>
                    <a:lnTo>
                      <a:pt x="661540" y="427440"/>
                    </a:lnTo>
                    <a:lnTo>
                      <a:pt x="663055" y="427440"/>
                    </a:lnTo>
                    <a:lnTo>
                      <a:pt x="664570" y="427137"/>
                    </a:lnTo>
                    <a:lnTo>
                      <a:pt x="668207" y="427440"/>
                    </a:lnTo>
                    <a:lnTo>
                      <a:pt x="673965" y="431379"/>
                    </a:lnTo>
                    <a:lnTo>
                      <a:pt x="677147" y="432743"/>
                    </a:lnTo>
                    <a:lnTo>
                      <a:pt x="678965" y="434713"/>
                    </a:lnTo>
                    <a:lnTo>
                      <a:pt x="680480" y="436986"/>
                    </a:lnTo>
                    <a:lnTo>
                      <a:pt x="683055" y="439107"/>
                    </a:lnTo>
                    <a:lnTo>
                      <a:pt x="686086" y="440319"/>
                    </a:lnTo>
                    <a:lnTo>
                      <a:pt x="689874" y="440925"/>
                    </a:lnTo>
                    <a:lnTo>
                      <a:pt x="691087" y="441834"/>
                    </a:lnTo>
                    <a:lnTo>
                      <a:pt x="694420" y="440168"/>
                    </a:lnTo>
                    <a:lnTo>
                      <a:pt x="696541" y="440016"/>
                    </a:lnTo>
                    <a:lnTo>
                      <a:pt x="698056" y="439410"/>
                    </a:lnTo>
                    <a:lnTo>
                      <a:pt x="700935" y="436683"/>
                    </a:lnTo>
                    <a:lnTo>
                      <a:pt x="701693" y="434713"/>
                    </a:lnTo>
                    <a:lnTo>
                      <a:pt x="700329" y="432440"/>
                    </a:lnTo>
                    <a:lnTo>
                      <a:pt x="698056" y="430773"/>
                    </a:lnTo>
                    <a:close/>
                    <a:moveTo>
                      <a:pt x="771544" y="448956"/>
                    </a:moveTo>
                    <a:lnTo>
                      <a:pt x="771241" y="446380"/>
                    </a:lnTo>
                    <a:lnTo>
                      <a:pt x="770937" y="446380"/>
                    </a:lnTo>
                    <a:lnTo>
                      <a:pt x="770483" y="446683"/>
                    </a:lnTo>
                    <a:lnTo>
                      <a:pt x="768513" y="447592"/>
                    </a:lnTo>
                    <a:lnTo>
                      <a:pt x="765180" y="450926"/>
                    </a:lnTo>
                    <a:lnTo>
                      <a:pt x="762907" y="452592"/>
                    </a:lnTo>
                    <a:lnTo>
                      <a:pt x="756998" y="454259"/>
                    </a:lnTo>
                    <a:lnTo>
                      <a:pt x="756240" y="455623"/>
                    </a:lnTo>
                    <a:lnTo>
                      <a:pt x="756392" y="458047"/>
                    </a:lnTo>
                    <a:lnTo>
                      <a:pt x="757149" y="458350"/>
                    </a:lnTo>
                    <a:lnTo>
                      <a:pt x="759725" y="458350"/>
                    </a:lnTo>
                    <a:lnTo>
                      <a:pt x="761241" y="457441"/>
                    </a:lnTo>
                    <a:lnTo>
                      <a:pt x="766999" y="455471"/>
                    </a:lnTo>
                    <a:lnTo>
                      <a:pt x="769574" y="452441"/>
                    </a:lnTo>
                    <a:lnTo>
                      <a:pt x="772453" y="451077"/>
                    </a:lnTo>
                    <a:lnTo>
                      <a:pt x="772301" y="450319"/>
                    </a:lnTo>
                    <a:lnTo>
                      <a:pt x="771544" y="448956"/>
                    </a:lnTo>
                    <a:close/>
                    <a:moveTo>
                      <a:pt x="651691" y="399106"/>
                    </a:moveTo>
                    <a:lnTo>
                      <a:pt x="653660" y="398651"/>
                    </a:lnTo>
                    <a:lnTo>
                      <a:pt x="654419" y="398045"/>
                    </a:lnTo>
                    <a:lnTo>
                      <a:pt x="655176" y="396833"/>
                    </a:lnTo>
                    <a:lnTo>
                      <a:pt x="654419" y="395772"/>
                    </a:lnTo>
                    <a:lnTo>
                      <a:pt x="653358" y="395015"/>
                    </a:lnTo>
                    <a:lnTo>
                      <a:pt x="652751" y="393954"/>
                    </a:lnTo>
                    <a:lnTo>
                      <a:pt x="652751" y="391075"/>
                    </a:lnTo>
                    <a:lnTo>
                      <a:pt x="651236" y="387893"/>
                    </a:lnTo>
                    <a:lnTo>
                      <a:pt x="649570" y="386832"/>
                    </a:lnTo>
                    <a:lnTo>
                      <a:pt x="647297" y="386681"/>
                    </a:lnTo>
                    <a:lnTo>
                      <a:pt x="645933" y="386984"/>
                    </a:lnTo>
                    <a:lnTo>
                      <a:pt x="644721" y="387742"/>
                    </a:lnTo>
                    <a:lnTo>
                      <a:pt x="643812" y="390014"/>
                    </a:lnTo>
                    <a:lnTo>
                      <a:pt x="643205" y="389408"/>
                    </a:lnTo>
                    <a:lnTo>
                      <a:pt x="642600" y="387438"/>
                    </a:lnTo>
                    <a:lnTo>
                      <a:pt x="640933" y="386226"/>
                    </a:lnTo>
                    <a:lnTo>
                      <a:pt x="639267" y="385923"/>
                    </a:lnTo>
                    <a:lnTo>
                      <a:pt x="637599" y="385923"/>
                    </a:lnTo>
                    <a:lnTo>
                      <a:pt x="636084" y="386529"/>
                    </a:lnTo>
                    <a:lnTo>
                      <a:pt x="633509" y="388196"/>
                    </a:lnTo>
                    <a:lnTo>
                      <a:pt x="632296" y="388348"/>
                    </a:lnTo>
                    <a:lnTo>
                      <a:pt x="630932" y="387287"/>
                    </a:lnTo>
                    <a:lnTo>
                      <a:pt x="629872" y="385923"/>
                    </a:lnTo>
                    <a:lnTo>
                      <a:pt x="628508" y="382741"/>
                    </a:lnTo>
                    <a:lnTo>
                      <a:pt x="627599" y="381984"/>
                    </a:lnTo>
                    <a:lnTo>
                      <a:pt x="622295" y="381075"/>
                    </a:lnTo>
                    <a:lnTo>
                      <a:pt x="620781" y="381378"/>
                    </a:lnTo>
                    <a:lnTo>
                      <a:pt x="617750" y="382741"/>
                    </a:lnTo>
                    <a:lnTo>
                      <a:pt x="617296" y="384256"/>
                    </a:lnTo>
                    <a:lnTo>
                      <a:pt x="618053" y="386226"/>
                    </a:lnTo>
                    <a:lnTo>
                      <a:pt x="619417" y="387893"/>
                    </a:lnTo>
                    <a:lnTo>
                      <a:pt x="623963" y="391075"/>
                    </a:lnTo>
                    <a:lnTo>
                      <a:pt x="625024" y="391378"/>
                    </a:lnTo>
                    <a:lnTo>
                      <a:pt x="626235" y="391227"/>
                    </a:lnTo>
                    <a:lnTo>
                      <a:pt x="627296" y="391530"/>
                    </a:lnTo>
                    <a:lnTo>
                      <a:pt x="629266" y="392893"/>
                    </a:lnTo>
                    <a:lnTo>
                      <a:pt x="630932" y="394711"/>
                    </a:lnTo>
                    <a:lnTo>
                      <a:pt x="630175" y="396378"/>
                    </a:lnTo>
                    <a:lnTo>
                      <a:pt x="627448" y="396378"/>
                    </a:lnTo>
                    <a:lnTo>
                      <a:pt x="623811" y="398499"/>
                    </a:lnTo>
                    <a:lnTo>
                      <a:pt x="621690" y="397893"/>
                    </a:lnTo>
                    <a:lnTo>
                      <a:pt x="619266" y="398045"/>
                    </a:lnTo>
                    <a:lnTo>
                      <a:pt x="616689" y="394560"/>
                    </a:lnTo>
                    <a:lnTo>
                      <a:pt x="615629" y="394105"/>
                    </a:lnTo>
                    <a:lnTo>
                      <a:pt x="614871" y="393348"/>
                    </a:lnTo>
                    <a:lnTo>
                      <a:pt x="614265" y="391227"/>
                    </a:lnTo>
                    <a:lnTo>
                      <a:pt x="612751" y="390317"/>
                    </a:lnTo>
                    <a:lnTo>
                      <a:pt x="609113" y="390620"/>
                    </a:lnTo>
                    <a:lnTo>
                      <a:pt x="606993" y="390469"/>
                    </a:lnTo>
                    <a:lnTo>
                      <a:pt x="603355" y="388954"/>
                    </a:lnTo>
                    <a:lnTo>
                      <a:pt x="601689" y="388802"/>
                    </a:lnTo>
                    <a:lnTo>
                      <a:pt x="598962" y="390923"/>
                    </a:lnTo>
                    <a:lnTo>
                      <a:pt x="595931" y="392590"/>
                    </a:lnTo>
                    <a:lnTo>
                      <a:pt x="594113" y="392742"/>
                    </a:lnTo>
                    <a:lnTo>
                      <a:pt x="592750" y="393348"/>
                    </a:lnTo>
                    <a:lnTo>
                      <a:pt x="591841" y="395166"/>
                    </a:lnTo>
                    <a:lnTo>
                      <a:pt x="591386" y="396984"/>
                    </a:lnTo>
                    <a:lnTo>
                      <a:pt x="591991" y="400924"/>
                    </a:lnTo>
                    <a:lnTo>
                      <a:pt x="591082" y="403197"/>
                    </a:lnTo>
                    <a:lnTo>
                      <a:pt x="590931" y="404863"/>
                    </a:lnTo>
                    <a:lnTo>
                      <a:pt x="591537" y="406227"/>
                    </a:lnTo>
                    <a:lnTo>
                      <a:pt x="593810" y="407288"/>
                    </a:lnTo>
                    <a:lnTo>
                      <a:pt x="596234" y="408045"/>
                    </a:lnTo>
                    <a:lnTo>
                      <a:pt x="599113" y="408651"/>
                    </a:lnTo>
                    <a:lnTo>
                      <a:pt x="601841" y="407894"/>
                    </a:lnTo>
                    <a:lnTo>
                      <a:pt x="603205" y="406985"/>
                    </a:lnTo>
                    <a:lnTo>
                      <a:pt x="604719" y="406833"/>
                    </a:lnTo>
                    <a:lnTo>
                      <a:pt x="606386" y="406985"/>
                    </a:lnTo>
                    <a:lnTo>
                      <a:pt x="608052" y="406985"/>
                    </a:lnTo>
                    <a:lnTo>
                      <a:pt x="611386" y="406379"/>
                    </a:lnTo>
                    <a:lnTo>
                      <a:pt x="617448" y="403954"/>
                    </a:lnTo>
                    <a:lnTo>
                      <a:pt x="619266" y="403954"/>
                    </a:lnTo>
                    <a:lnTo>
                      <a:pt x="621084" y="404257"/>
                    </a:lnTo>
                    <a:lnTo>
                      <a:pt x="626842" y="401984"/>
                    </a:lnTo>
                    <a:lnTo>
                      <a:pt x="628508" y="402136"/>
                    </a:lnTo>
                    <a:lnTo>
                      <a:pt x="630175" y="401681"/>
                    </a:lnTo>
                    <a:lnTo>
                      <a:pt x="631387" y="400772"/>
                    </a:lnTo>
                    <a:lnTo>
                      <a:pt x="635327" y="397136"/>
                    </a:lnTo>
                    <a:lnTo>
                      <a:pt x="635933" y="397893"/>
                    </a:lnTo>
                    <a:lnTo>
                      <a:pt x="635933" y="400924"/>
                    </a:lnTo>
                    <a:lnTo>
                      <a:pt x="636690" y="402136"/>
                    </a:lnTo>
                    <a:lnTo>
                      <a:pt x="638054" y="402136"/>
                    </a:lnTo>
                    <a:lnTo>
                      <a:pt x="643357" y="400924"/>
                    </a:lnTo>
                    <a:lnTo>
                      <a:pt x="644873" y="400772"/>
                    </a:lnTo>
                    <a:lnTo>
                      <a:pt x="647145" y="401681"/>
                    </a:lnTo>
                    <a:lnTo>
                      <a:pt x="647752" y="401530"/>
                    </a:lnTo>
                    <a:lnTo>
                      <a:pt x="647903" y="400924"/>
                    </a:lnTo>
                    <a:lnTo>
                      <a:pt x="647448" y="400469"/>
                    </a:lnTo>
                    <a:lnTo>
                      <a:pt x="645782" y="400015"/>
                    </a:lnTo>
                    <a:lnTo>
                      <a:pt x="645479" y="398954"/>
                    </a:lnTo>
                    <a:lnTo>
                      <a:pt x="647600" y="398348"/>
                    </a:lnTo>
                    <a:lnTo>
                      <a:pt x="649872" y="398045"/>
                    </a:lnTo>
                    <a:lnTo>
                      <a:pt x="650933" y="398348"/>
                    </a:lnTo>
                    <a:lnTo>
                      <a:pt x="651842" y="399106"/>
                    </a:lnTo>
                    <a:lnTo>
                      <a:pt x="651691" y="399106"/>
                    </a:lnTo>
                    <a:close/>
                    <a:moveTo>
                      <a:pt x="819122" y="406379"/>
                    </a:moveTo>
                    <a:lnTo>
                      <a:pt x="818515" y="406075"/>
                    </a:lnTo>
                    <a:lnTo>
                      <a:pt x="815030" y="407742"/>
                    </a:lnTo>
                    <a:lnTo>
                      <a:pt x="813970" y="407439"/>
                    </a:lnTo>
                    <a:lnTo>
                      <a:pt x="813364" y="406833"/>
                    </a:lnTo>
                    <a:lnTo>
                      <a:pt x="813516" y="404409"/>
                    </a:lnTo>
                    <a:lnTo>
                      <a:pt x="812606" y="405166"/>
                    </a:lnTo>
                    <a:lnTo>
                      <a:pt x="807606" y="407742"/>
                    </a:lnTo>
                    <a:lnTo>
                      <a:pt x="805940" y="409258"/>
                    </a:lnTo>
                    <a:lnTo>
                      <a:pt x="803970" y="410318"/>
                    </a:lnTo>
                    <a:lnTo>
                      <a:pt x="800332" y="411227"/>
                    </a:lnTo>
                    <a:lnTo>
                      <a:pt x="800182" y="412591"/>
                    </a:lnTo>
                    <a:lnTo>
                      <a:pt x="799423" y="414712"/>
                    </a:lnTo>
                    <a:lnTo>
                      <a:pt x="798363" y="415621"/>
                    </a:lnTo>
                    <a:lnTo>
                      <a:pt x="796848" y="417440"/>
                    </a:lnTo>
                    <a:lnTo>
                      <a:pt x="795787" y="417894"/>
                    </a:lnTo>
                    <a:lnTo>
                      <a:pt x="791697" y="417440"/>
                    </a:lnTo>
                    <a:lnTo>
                      <a:pt x="791242" y="417743"/>
                    </a:lnTo>
                    <a:lnTo>
                      <a:pt x="790484" y="417591"/>
                    </a:lnTo>
                    <a:lnTo>
                      <a:pt x="789423" y="416530"/>
                    </a:lnTo>
                    <a:lnTo>
                      <a:pt x="788968" y="415621"/>
                    </a:lnTo>
                    <a:lnTo>
                      <a:pt x="787302" y="416530"/>
                    </a:lnTo>
                    <a:lnTo>
                      <a:pt x="784575" y="418803"/>
                    </a:lnTo>
                    <a:lnTo>
                      <a:pt x="780029" y="423197"/>
                    </a:lnTo>
                    <a:lnTo>
                      <a:pt x="778817" y="425622"/>
                    </a:lnTo>
                    <a:lnTo>
                      <a:pt x="778059" y="429258"/>
                    </a:lnTo>
                    <a:lnTo>
                      <a:pt x="776847" y="432743"/>
                    </a:lnTo>
                    <a:lnTo>
                      <a:pt x="777150" y="434107"/>
                    </a:lnTo>
                    <a:lnTo>
                      <a:pt x="780332" y="435774"/>
                    </a:lnTo>
                    <a:lnTo>
                      <a:pt x="779574" y="437137"/>
                    </a:lnTo>
                    <a:lnTo>
                      <a:pt x="778363" y="438198"/>
                    </a:lnTo>
                    <a:lnTo>
                      <a:pt x="777454" y="439562"/>
                    </a:lnTo>
                    <a:lnTo>
                      <a:pt x="777150" y="441077"/>
                    </a:lnTo>
                    <a:lnTo>
                      <a:pt x="778211" y="442137"/>
                    </a:lnTo>
                    <a:lnTo>
                      <a:pt x="781090" y="443198"/>
                    </a:lnTo>
                    <a:lnTo>
                      <a:pt x="784120" y="443047"/>
                    </a:lnTo>
                    <a:lnTo>
                      <a:pt x="787150" y="441683"/>
                    </a:lnTo>
                    <a:lnTo>
                      <a:pt x="792756" y="438653"/>
                    </a:lnTo>
                    <a:lnTo>
                      <a:pt x="796848" y="438349"/>
                    </a:lnTo>
                    <a:lnTo>
                      <a:pt x="799575" y="437743"/>
                    </a:lnTo>
                    <a:lnTo>
                      <a:pt x="801848" y="436077"/>
                    </a:lnTo>
                    <a:lnTo>
                      <a:pt x="804424" y="433501"/>
                    </a:lnTo>
                    <a:lnTo>
                      <a:pt x="807303" y="431379"/>
                    </a:lnTo>
                    <a:lnTo>
                      <a:pt x="810939" y="427137"/>
                    </a:lnTo>
                    <a:lnTo>
                      <a:pt x="814273" y="424561"/>
                    </a:lnTo>
                    <a:lnTo>
                      <a:pt x="815182" y="421834"/>
                    </a:lnTo>
                    <a:lnTo>
                      <a:pt x="817152" y="420318"/>
                    </a:lnTo>
                    <a:lnTo>
                      <a:pt x="816243" y="416682"/>
                    </a:lnTo>
                    <a:lnTo>
                      <a:pt x="815182" y="415167"/>
                    </a:lnTo>
                    <a:lnTo>
                      <a:pt x="814425" y="414258"/>
                    </a:lnTo>
                    <a:lnTo>
                      <a:pt x="814121" y="413197"/>
                    </a:lnTo>
                    <a:lnTo>
                      <a:pt x="814121" y="412136"/>
                    </a:lnTo>
                    <a:lnTo>
                      <a:pt x="814575" y="411682"/>
                    </a:lnTo>
                    <a:lnTo>
                      <a:pt x="817909" y="411530"/>
                    </a:lnTo>
                    <a:lnTo>
                      <a:pt x="819272" y="409712"/>
                    </a:lnTo>
                    <a:lnTo>
                      <a:pt x="819272" y="407439"/>
                    </a:lnTo>
                    <a:lnTo>
                      <a:pt x="819122" y="406379"/>
                    </a:lnTo>
                    <a:close/>
                    <a:moveTo>
                      <a:pt x="773514" y="437289"/>
                    </a:moveTo>
                    <a:lnTo>
                      <a:pt x="771847" y="438198"/>
                    </a:lnTo>
                    <a:lnTo>
                      <a:pt x="769877" y="440774"/>
                    </a:lnTo>
                    <a:lnTo>
                      <a:pt x="769877" y="442743"/>
                    </a:lnTo>
                    <a:lnTo>
                      <a:pt x="772301" y="441834"/>
                    </a:lnTo>
                    <a:lnTo>
                      <a:pt x="771998" y="439713"/>
                    </a:lnTo>
                    <a:lnTo>
                      <a:pt x="774575" y="438804"/>
                    </a:lnTo>
                    <a:lnTo>
                      <a:pt x="774423" y="438349"/>
                    </a:lnTo>
                    <a:lnTo>
                      <a:pt x="773514" y="437289"/>
                    </a:lnTo>
                    <a:close/>
                    <a:moveTo>
                      <a:pt x="756846" y="393954"/>
                    </a:moveTo>
                    <a:lnTo>
                      <a:pt x="755937" y="391681"/>
                    </a:lnTo>
                    <a:lnTo>
                      <a:pt x="758362" y="389863"/>
                    </a:lnTo>
                    <a:lnTo>
                      <a:pt x="758968" y="388954"/>
                    </a:lnTo>
                    <a:lnTo>
                      <a:pt x="759877" y="388196"/>
                    </a:lnTo>
                    <a:lnTo>
                      <a:pt x="761241" y="387438"/>
                    </a:lnTo>
                    <a:lnTo>
                      <a:pt x="760483" y="382590"/>
                    </a:lnTo>
                    <a:lnTo>
                      <a:pt x="758816" y="381378"/>
                    </a:lnTo>
                    <a:lnTo>
                      <a:pt x="756846" y="381075"/>
                    </a:lnTo>
                    <a:lnTo>
                      <a:pt x="755331" y="381984"/>
                    </a:lnTo>
                    <a:lnTo>
                      <a:pt x="754422" y="383650"/>
                    </a:lnTo>
                    <a:lnTo>
                      <a:pt x="758816" y="384560"/>
                    </a:lnTo>
                    <a:lnTo>
                      <a:pt x="756998" y="386832"/>
                    </a:lnTo>
                    <a:lnTo>
                      <a:pt x="754270" y="388196"/>
                    </a:lnTo>
                    <a:lnTo>
                      <a:pt x="750331" y="389560"/>
                    </a:lnTo>
                    <a:lnTo>
                      <a:pt x="748968" y="390317"/>
                    </a:lnTo>
                    <a:lnTo>
                      <a:pt x="747755" y="391378"/>
                    </a:lnTo>
                    <a:lnTo>
                      <a:pt x="746998" y="392590"/>
                    </a:lnTo>
                    <a:lnTo>
                      <a:pt x="746543" y="394105"/>
                    </a:lnTo>
                    <a:lnTo>
                      <a:pt x="745634" y="395015"/>
                    </a:lnTo>
                    <a:lnTo>
                      <a:pt x="742603" y="395772"/>
                    </a:lnTo>
                    <a:lnTo>
                      <a:pt x="740937" y="395621"/>
                    </a:lnTo>
                    <a:lnTo>
                      <a:pt x="735634" y="392136"/>
                    </a:lnTo>
                    <a:lnTo>
                      <a:pt x="734421" y="391530"/>
                    </a:lnTo>
                    <a:lnTo>
                      <a:pt x="732906" y="391075"/>
                    </a:lnTo>
                    <a:lnTo>
                      <a:pt x="731391" y="391832"/>
                    </a:lnTo>
                    <a:lnTo>
                      <a:pt x="730027" y="392136"/>
                    </a:lnTo>
                    <a:lnTo>
                      <a:pt x="726845" y="392439"/>
                    </a:lnTo>
                    <a:lnTo>
                      <a:pt x="725179" y="392439"/>
                    </a:lnTo>
                    <a:lnTo>
                      <a:pt x="723209" y="393045"/>
                    </a:lnTo>
                    <a:lnTo>
                      <a:pt x="721542" y="394408"/>
                    </a:lnTo>
                    <a:lnTo>
                      <a:pt x="720178" y="394711"/>
                    </a:lnTo>
                    <a:lnTo>
                      <a:pt x="718663" y="394560"/>
                    </a:lnTo>
                    <a:lnTo>
                      <a:pt x="716694" y="393802"/>
                    </a:lnTo>
                    <a:lnTo>
                      <a:pt x="714117" y="391832"/>
                    </a:lnTo>
                    <a:lnTo>
                      <a:pt x="709723" y="390317"/>
                    </a:lnTo>
                    <a:lnTo>
                      <a:pt x="706693" y="388802"/>
                    </a:lnTo>
                    <a:lnTo>
                      <a:pt x="703360" y="387742"/>
                    </a:lnTo>
                    <a:lnTo>
                      <a:pt x="699723" y="387590"/>
                    </a:lnTo>
                    <a:lnTo>
                      <a:pt x="698511" y="387287"/>
                    </a:lnTo>
                    <a:lnTo>
                      <a:pt x="695784" y="385469"/>
                    </a:lnTo>
                    <a:lnTo>
                      <a:pt x="694117" y="386075"/>
                    </a:lnTo>
                    <a:lnTo>
                      <a:pt x="692450" y="386226"/>
                    </a:lnTo>
                    <a:lnTo>
                      <a:pt x="690783" y="385772"/>
                    </a:lnTo>
                    <a:lnTo>
                      <a:pt x="688813" y="386075"/>
                    </a:lnTo>
                    <a:lnTo>
                      <a:pt x="685480" y="386984"/>
                    </a:lnTo>
                    <a:lnTo>
                      <a:pt x="681844" y="389408"/>
                    </a:lnTo>
                    <a:lnTo>
                      <a:pt x="678207" y="390923"/>
                    </a:lnTo>
                    <a:lnTo>
                      <a:pt x="676995" y="391227"/>
                    </a:lnTo>
                    <a:lnTo>
                      <a:pt x="675783" y="390469"/>
                    </a:lnTo>
                    <a:lnTo>
                      <a:pt x="675479" y="391984"/>
                    </a:lnTo>
                    <a:lnTo>
                      <a:pt x="675025" y="393348"/>
                    </a:lnTo>
                    <a:lnTo>
                      <a:pt x="674268" y="394711"/>
                    </a:lnTo>
                    <a:lnTo>
                      <a:pt x="673965" y="396075"/>
                    </a:lnTo>
                    <a:lnTo>
                      <a:pt x="673965" y="398196"/>
                    </a:lnTo>
                    <a:lnTo>
                      <a:pt x="674874" y="400015"/>
                    </a:lnTo>
                    <a:lnTo>
                      <a:pt x="675934" y="401227"/>
                    </a:lnTo>
                    <a:lnTo>
                      <a:pt x="676692" y="402591"/>
                    </a:lnTo>
                    <a:lnTo>
                      <a:pt x="679571" y="401227"/>
                    </a:lnTo>
                    <a:lnTo>
                      <a:pt x="682601" y="400318"/>
                    </a:lnTo>
                    <a:lnTo>
                      <a:pt x="688056" y="401530"/>
                    </a:lnTo>
                    <a:lnTo>
                      <a:pt x="694420" y="401075"/>
                    </a:lnTo>
                    <a:lnTo>
                      <a:pt x="700784" y="402287"/>
                    </a:lnTo>
                    <a:lnTo>
                      <a:pt x="706239" y="404409"/>
                    </a:lnTo>
                    <a:lnTo>
                      <a:pt x="707753" y="404560"/>
                    </a:lnTo>
                    <a:lnTo>
                      <a:pt x="709118" y="404257"/>
                    </a:lnTo>
                    <a:lnTo>
                      <a:pt x="710481" y="403651"/>
                    </a:lnTo>
                    <a:lnTo>
                      <a:pt x="711996" y="403348"/>
                    </a:lnTo>
                    <a:lnTo>
                      <a:pt x="715784" y="403954"/>
                    </a:lnTo>
                    <a:lnTo>
                      <a:pt x="718208" y="401227"/>
                    </a:lnTo>
                    <a:lnTo>
                      <a:pt x="720482" y="401227"/>
                    </a:lnTo>
                    <a:lnTo>
                      <a:pt x="722754" y="401530"/>
                    </a:lnTo>
                    <a:lnTo>
                      <a:pt x="723815" y="402439"/>
                    </a:lnTo>
                    <a:lnTo>
                      <a:pt x="724572" y="403651"/>
                    </a:lnTo>
                    <a:lnTo>
                      <a:pt x="726997" y="402894"/>
                    </a:lnTo>
                    <a:lnTo>
                      <a:pt x="729724" y="402591"/>
                    </a:lnTo>
                    <a:lnTo>
                      <a:pt x="736694" y="399409"/>
                    </a:lnTo>
                    <a:lnTo>
                      <a:pt x="739270" y="398954"/>
                    </a:lnTo>
                    <a:lnTo>
                      <a:pt x="743058" y="399106"/>
                    </a:lnTo>
                    <a:lnTo>
                      <a:pt x="745634" y="398954"/>
                    </a:lnTo>
                    <a:lnTo>
                      <a:pt x="747149" y="398651"/>
                    </a:lnTo>
                    <a:lnTo>
                      <a:pt x="749422" y="397439"/>
                    </a:lnTo>
                    <a:lnTo>
                      <a:pt x="751846" y="396530"/>
                    </a:lnTo>
                    <a:lnTo>
                      <a:pt x="755785" y="395621"/>
                    </a:lnTo>
                    <a:lnTo>
                      <a:pt x="756846" y="395166"/>
                    </a:lnTo>
                    <a:lnTo>
                      <a:pt x="756846" y="393954"/>
                    </a:lnTo>
                    <a:close/>
                    <a:moveTo>
                      <a:pt x="576082" y="249403"/>
                    </a:moveTo>
                    <a:lnTo>
                      <a:pt x="572749" y="251524"/>
                    </a:lnTo>
                    <a:lnTo>
                      <a:pt x="571233" y="254706"/>
                    </a:lnTo>
                    <a:lnTo>
                      <a:pt x="570172" y="258949"/>
                    </a:lnTo>
                    <a:lnTo>
                      <a:pt x="570022" y="261373"/>
                    </a:lnTo>
                    <a:lnTo>
                      <a:pt x="571688" y="264555"/>
                    </a:lnTo>
                    <a:lnTo>
                      <a:pt x="571233" y="269707"/>
                    </a:lnTo>
                    <a:lnTo>
                      <a:pt x="572142" y="270919"/>
                    </a:lnTo>
                    <a:lnTo>
                      <a:pt x="577900" y="265919"/>
                    </a:lnTo>
                    <a:lnTo>
                      <a:pt x="577446" y="264707"/>
                    </a:lnTo>
                    <a:lnTo>
                      <a:pt x="578203" y="263192"/>
                    </a:lnTo>
                    <a:lnTo>
                      <a:pt x="577900" y="261979"/>
                    </a:lnTo>
                    <a:lnTo>
                      <a:pt x="577294" y="256979"/>
                    </a:lnTo>
                    <a:lnTo>
                      <a:pt x="577598" y="255918"/>
                    </a:lnTo>
                    <a:lnTo>
                      <a:pt x="577294" y="254706"/>
                    </a:lnTo>
                    <a:lnTo>
                      <a:pt x="576689" y="253191"/>
                    </a:lnTo>
                    <a:lnTo>
                      <a:pt x="576839" y="249252"/>
                    </a:lnTo>
                    <a:lnTo>
                      <a:pt x="576082" y="249403"/>
                    </a:lnTo>
                    <a:close/>
                    <a:moveTo>
                      <a:pt x="588355" y="386832"/>
                    </a:moveTo>
                    <a:lnTo>
                      <a:pt x="587294" y="386226"/>
                    </a:lnTo>
                    <a:lnTo>
                      <a:pt x="580627" y="384105"/>
                    </a:lnTo>
                    <a:lnTo>
                      <a:pt x="577900" y="385014"/>
                    </a:lnTo>
                    <a:lnTo>
                      <a:pt x="575628" y="386529"/>
                    </a:lnTo>
                    <a:lnTo>
                      <a:pt x="571233" y="390469"/>
                    </a:lnTo>
                    <a:lnTo>
                      <a:pt x="571688" y="395166"/>
                    </a:lnTo>
                    <a:lnTo>
                      <a:pt x="571688" y="398803"/>
                    </a:lnTo>
                    <a:lnTo>
                      <a:pt x="570476" y="399409"/>
                    </a:lnTo>
                    <a:lnTo>
                      <a:pt x="567294" y="399257"/>
                    </a:lnTo>
                    <a:lnTo>
                      <a:pt x="566082" y="398803"/>
                    </a:lnTo>
                    <a:lnTo>
                      <a:pt x="565779" y="400015"/>
                    </a:lnTo>
                    <a:lnTo>
                      <a:pt x="566234" y="401075"/>
                    </a:lnTo>
                    <a:lnTo>
                      <a:pt x="570324" y="402439"/>
                    </a:lnTo>
                    <a:lnTo>
                      <a:pt x="576082" y="403500"/>
                    </a:lnTo>
                    <a:lnTo>
                      <a:pt x="577446" y="403348"/>
                    </a:lnTo>
                    <a:lnTo>
                      <a:pt x="579870" y="403954"/>
                    </a:lnTo>
                    <a:lnTo>
                      <a:pt x="585628" y="402742"/>
                    </a:lnTo>
                    <a:lnTo>
                      <a:pt x="584870" y="401833"/>
                    </a:lnTo>
                    <a:lnTo>
                      <a:pt x="583658" y="400924"/>
                    </a:lnTo>
                    <a:lnTo>
                      <a:pt x="587143" y="395318"/>
                    </a:lnTo>
                    <a:lnTo>
                      <a:pt x="589719" y="389105"/>
                    </a:lnTo>
                    <a:lnTo>
                      <a:pt x="589264" y="387742"/>
                    </a:lnTo>
                    <a:lnTo>
                      <a:pt x="588355" y="386832"/>
                    </a:lnTo>
                    <a:close/>
                    <a:moveTo>
                      <a:pt x="553809" y="349558"/>
                    </a:moveTo>
                    <a:lnTo>
                      <a:pt x="557142" y="349558"/>
                    </a:lnTo>
                    <a:lnTo>
                      <a:pt x="556536" y="348498"/>
                    </a:lnTo>
                    <a:lnTo>
                      <a:pt x="555324" y="347588"/>
                    </a:lnTo>
                    <a:lnTo>
                      <a:pt x="553505" y="346831"/>
                    </a:lnTo>
                    <a:lnTo>
                      <a:pt x="551839" y="346831"/>
                    </a:lnTo>
                    <a:lnTo>
                      <a:pt x="548808" y="347437"/>
                    </a:lnTo>
                    <a:lnTo>
                      <a:pt x="548354" y="348649"/>
                    </a:lnTo>
                    <a:lnTo>
                      <a:pt x="548354" y="350013"/>
                    </a:lnTo>
                    <a:lnTo>
                      <a:pt x="550475" y="350922"/>
                    </a:lnTo>
                    <a:lnTo>
                      <a:pt x="552748" y="350467"/>
                    </a:lnTo>
                    <a:lnTo>
                      <a:pt x="553809" y="349558"/>
                    </a:lnTo>
                    <a:close/>
                    <a:moveTo>
                      <a:pt x="611538" y="68639"/>
                    </a:moveTo>
                    <a:lnTo>
                      <a:pt x="612144" y="70154"/>
                    </a:lnTo>
                    <a:lnTo>
                      <a:pt x="614417" y="72275"/>
                    </a:lnTo>
                    <a:lnTo>
                      <a:pt x="614719" y="71366"/>
                    </a:lnTo>
                    <a:lnTo>
                      <a:pt x="615326" y="67881"/>
                    </a:lnTo>
                    <a:lnTo>
                      <a:pt x="614114" y="67124"/>
                    </a:lnTo>
                    <a:lnTo>
                      <a:pt x="611690" y="67275"/>
                    </a:lnTo>
                    <a:lnTo>
                      <a:pt x="611538" y="68639"/>
                    </a:lnTo>
                    <a:close/>
                    <a:moveTo>
                      <a:pt x="581234" y="253191"/>
                    </a:moveTo>
                    <a:lnTo>
                      <a:pt x="580325" y="253797"/>
                    </a:lnTo>
                    <a:lnTo>
                      <a:pt x="578507" y="256979"/>
                    </a:lnTo>
                    <a:lnTo>
                      <a:pt x="580173" y="259706"/>
                    </a:lnTo>
                    <a:lnTo>
                      <a:pt x="581234" y="255009"/>
                    </a:lnTo>
                    <a:lnTo>
                      <a:pt x="581234" y="253191"/>
                    </a:lnTo>
                    <a:close/>
                    <a:moveTo>
                      <a:pt x="611386" y="388651"/>
                    </a:moveTo>
                    <a:lnTo>
                      <a:pt x="611992" y="388651"/>
                    </a:lnTo>
                    <a:lnTo>
                      <a:pt x="615023" y="383802"/>
                    </a:lnTo>
                    <a:lnTo>
                      <a:pt x="614871" y="382741"/>
                    </a:lnTo>
                    <a:lnTo>
                      <a:pt x="611690" y="382893"/>
                    </a:lnTo>
                    <a:lnTo>
                      <a:pt x="610174" y="383802"/>
                    </a:lnTo>
                    <a:lnTo>
                      <a:pt x="609872" y="385317"/>
                    </a:lnTo>
                    <a:lnTo>
                      <a:pt x="610477" y="387135"/>
                    </a:lnTo>
                    <a:lnTo>
                      <a:pt x="610022" y="388348"/>
                    </a:lnTo>
                    <a:lnTo>
                      <a:pt x="611386" y="388651"/>
                    </a:lnTo>
                    <a:close/>
                    <a:moveTo>
                      <a:pt x="590325" y="193492"/>
                    </a:moveTo>
                    <a:lnTo>
                      <a:pt x="589416" y="191977"/>
                    </a:lnTo>
                    <a:lnTo>
                      <a:pt x="589416" y="190613"/>
                    </a:lnTo>
                    <a:lnTo>
                      <a:pt x="589719" y="189098"/>
                    </a:lnTo>
                    <a:lnTo>
                      <a:pt x="590325" y="191068"/>
                    </a:lnTo>
                    <a:lnTo>
                      <a:pt x="591386" y="192886"/>
                    </a:lnTo>
                    <a:lnTo>
                      <a:pt x="592750" y="193795"/>
                    </a:lnTo>
                    <a:lnTo>
                      <a:pt x="594568" y="193947"/>
                    </a:lnTo>
                    <a:lnTo>
                      <a:pt x="596992" y="193037"/>
                    </a:lnTo>
                    <a:lnTo>
                      <a:pt x="598810" y="191068"/>
                    </a:lnTo>
                    <a:lnTo>
                      <a:pt x="600931" y="188189"/>
                    </a:lnTo>
                    <a:lnTo>
                      <a:pt x="603507" y="185916"/>
                    </a:lnTo>
                    <a:lnTo>
                      <a:pt x="606689" y="184401"/>
                    </a:lnTo>
                    <a:lnTo>
                      <a:pt x="611235" y="182431"/>
                    </a:lnTo>
                    <a:lnTo>
                      <a:pt x="612296" y="181673"/>
                    </a:lnTo>
                    <a:lnTo>
                      <a:pt x="612599" y="180461"/>
                    </a:lnTo>
                    <a:lnTo>
                      <a:pt x="612144" y="179098"/>
                    </a:lnTo>
                    <a:lnTo>
                      <a:pt x="611992" y="175764"/>
                    </a:lnTo>
                    <a:lnTo>
                      <a:pt x="609568" y="169552"/>
                    </a:lnTo>
                    <a:lnTo>
                      <a:pt x="609568" y="166218"/>
                    </a:lnTo>
                    <a:lnTo>
                      <a:pt x="611235" y="154400"/>
                    </a:lnTo>
                    <a:lnTo>
                      <a:pt x="612144" y="151521"/>
                    </a:lnTo>
                    <a:lnTo>
                      <a:pt x="617448" y="140914"/>
                    </a:lnTo>
                    <a:lnTo>
                      <a:pt x="618357" y="140308"/>
                    </a:lnTo>
                    <a:lnTo>
                      <a:pt x="620477" y="139399"/>
                    </a:lnTo>
                    <a:lnTo>
                      <a:pt x="622447" y="138187"/>
                    </a:lnTo>
                    <a:lnTo>
                      <a:pt x="623508" y="136672"/>
                    </a:lnTo>
                    <a:lnTo>
                      <a:pt x="623811" y="134702"/>
                    </a:lnTo>
                    <a:lnTo>
                      <a:pt x="623054" y="132884"/>
                    </a:lnTo>
                    <a:lnTo>
                      <a:pt x="621993" y="131066"/>
                    </a:lnTo>
                    <a:lnTo>
                      <a:pt x="624872" y="132732"/>
                    </a:lnTo>
                    <a:lnTo>
                      <a:pt x="626993" y="135763"/>
                    </a:lnTo>
                    <a:lnTo>
                      <a:pt x="629721" y="137278"/>
                    </a:lnTo>
                    <a:lnTo>
                      <a:pt x="632902" y="138035"/>
                    </a:lnTo>
                    <a:lnTo>
                      <a:pt x="638963" y="138944"/>
                    </a:lnTo>
                    <a:lnTo>
                      <a:pt x="645024" y="138187"/>
                    </a:lnTo>
                    <a:lnTo>
                      <a:pt x="648661" y="136823"/>
                    </a:lnTo>
                    <a:lnTo>
                      <a:pt x="651236" y="134247"/>
                    </a:lnTo>
                    <a:lnTo>
                      <a:pt x="650631" y="132581"/>
                    </a:lnTo>
                    <a:lnTo>
                      <a:pt x="647600" y="131217"/>
                    </a:lnTo>
                    <a:lnTo>
                      <a:pt x="641691" y="125156"/>
                    </a:lnTo>
                    <a:lnTo>
                      <a:pt x="637145" y="122580"/>
                    </a:lnTo>
                    <a:lnTo>
                      <a:pt x="628508" y="116519"/>
                    </a:lnTo>
                    <a:lnTo>
                      <a:pt x="626387" y="114853"/>
                    </a:lnTo>
                    <a:lnTo>
                      <a:pt x="622295" y="110307"/>
                    </a:lnTo>
                    <a:lnTo>
                      <a:pt x="620477" y="107580"/>
                    </a:lnTo>
                    <a:lnTo>
                      <a:pt x="619568" y="106671"/>
                    </a:lnTo>
                    <a:lnTo>
                      <a:pt x="618357" y="106064"/>
                    </a:lnTo>
                    <a:lnTo>
                      <a:pt x="620932" y="105155"/>
                    </a:lnTo>
                    <a:lnTo>
                      <a:pt x="621084" y="104398"/>
                    </a:lnTo>
                    <a:lnTo>
                      <a:pt x="622902" y="102428"/>
                    </a:lnTo>
                    <a:lnTo>
                      <a:pt x="625174" y="100913"/>
                    </a:lnTo>
                    <a:lnTo>
                      <a:pt x="625781" y="99701"/>
                    </a:lnTo>
                    <a:lnTo>
                      <a:pt x="625781" y="98186"/>
                    </a:lnTo>
                    <a:lnTo>
                      <a:pt x="624872" y="96519"/>
                    </a:lnTo>
                    <a:lnTo>
                      <a:pt x="620781" y="92125"/>
                    </a:lnTo>
                    <a:lnTo>
                      <a:pt x="618507" y="88640"/>
                    </a:lnTo>
                    <a:lnTo>
                      <a:pt x="618053" y="86518"/>
                    </a:lnTo>
                    <a:lnTo>
                      <a:pt x="616993" y="85761"/>
                    </a:lnTo>
                    <a:lnTo>
                      <a:pt x="614719" y="84852"/>
                    </a:lnTo>
                    <a:lnTo>
                      <a:pt x="613962" y="84397"/>
                    </a:lnTo>
                    <a:lnTo>
                      <a:pt x="614719" y="83488"/>
                    </a:lnTo>
                    <a:lnTo>
                      <a:pt x="615629" y="82730"/>
                    </a:lnTo>
                    <a:lnTo>
                      <a:pt x="613962" y="81973"/>
                    </a:lnTo>
                    <a:lnTo>
                      <a:pt x="612144" y="81518"/>
                    </a:lnTo>
                    <a:lnTo>
                      <a:pt x="613962" y="80912"/>
                    </a:lnTo>
                    <a:lnTo>
                      <a:pt x="613205" y="79397"/>
                    </a:lnTo>
                    <a:lnTo>
                      <a:pt x="613205" y="77730"/>
                    </a:lnTo>
                    <a:lnTo>
                      <a:pt x="611992" y="76821"/>
                    </a:lnTo>
                    <a:lnTo>
                      <a:pt x="610326" y="76670"/>
                    </a:lnTo>
                    <a:lnTo>
                      <a:pt x="608052" y="75003"/>
                    </a:lnTo>
                    <a:lnTo>
                      <a:pt x="606084" y="74245"/>
                    </a:lnTo>
                    <a:lnTo>
                      <a:pt x="605174" y="72882"/>
                    </a:lnTo>
                    <a:lnTo>
                      <a:pt x="606841" y="69548"/>
                    </a:lnTo>
                    <a:lnTo>
                      <a:pt x="605780" y="67881"/>
                    </a:lnTo>
                    <a:lnTo>
                      <a:pt x="600931" y="63336"/>
                    </a:lnTo>
                    <a:lnTo>
                      <a:pt x="599567" y="62730"/>
                    </a:lnTo>
                    <a:lnTo>
                      <a:pt x="598053" y="62427"/>
                    </a:lnTo>
                    <a:lnTo>
                      <a:pt x="601235" y="61972"/>
                    </a:lnTo>
                    <a:lnTo>
                      <a:pt x="604416" y="61972"/>
                    </a:lnTo>
                    <a:lnTo>
                      <a:pt x="608811" y="62275"/>
                    </a:lnTo>
                    <a:lnTo>
                      <a:pt x="610022" y="61214"/>
                    </a:lnTo>
                    <a:lnTo>
                      <a:pt x="610477" y="59396"/>
                    </a:lnTo>
                    <a:lnTo>
                      <a:pt x="611992" y="60760"/>
                    </a:lnTo>
                    <a:lnTo>
                      <a:pt x="613660" y="61972"/>
                    </a:lnTo>
                    <a:lnTo>
                      <a:pt x="615932" y="61669"/>
                    </a:lnTo>
                    <a:lnTo>
                      <a:pt x="617598" y="60457"/>
                    </a:lnTo>
                    <a:lnTo>
                      <a:pt x="617144" y="59245"/>
                    </a:lnTo>
                    <a:lnTo>
                      <a:pt x="616387" y="58184"/>
                    </a:lnTo>
                    <a:lnTo>
                      <a:pt x="616235" y="57426"/>
                    </a:lnTo>
                    <a:lnTo>
                      <a:pt x="613810" y="55154"/>
                    </a:lnTo>
                    <a:lnTo>
                      <a:pt x="611841" y="53790"/>
                    </a:lnTo>
                    <a:lnTo>
                      <a:pt x="611690" y="52275"/>
                    </a:lnTo>
                    <a:lnTo>
                      <a:pt x="609113" y="49850"/>
                    </a:lnTo>
                    <a:lnTo>
                      <a:pt x="610022" y="48335"/>
                    </a:lnTo>
                    <a:lnTo>
                      <a:pt x="611841" y="47577"/>
                    </a:lnTo>
                    <a:lnTo>
                      <a:pt x="611992" y="47426"/>
                    </a:lnTo>
                    <a:lnTo>
                      <a:pt x="610931" y="47426"/>
                    </a:lnTo>
                    <a:lnTo>
                      <a:pt x="608507" y="46820"/>
                    </a:lnTo>
                    <a:lnTo>
                      <a:pt x="603810" y="43941"/>
                    </a:lnTo>
                    <a:lnTo>
                      <a:pt x="598962" y="42880"/>
                    </a:lnTo>
                    <a:lnTo>
                      <a:pt x="591991" y="42729"/>
                    </a:lnTo>
                    <a:lnTo>
                      <a:pt x="588053" y="42274"/>
                    </a:lnTo>
                    <a:lnTo>
                      <a:pt x="586385" y="42729"/>
                    </a:lnTo>
                    <a:lnTo>
                      <a:pt x="585022" y="42729"/>
                    </a:lnTo>
                    <a:lnTo>
                      <a:pt x="584113" y="42123"/>
                    </a:lnTo>
                    <a:lnTo>
                      <a:pt x="583052" y="41820"/>
                    </a:lnTo>
                    <a:lnTo>
                      <a:pt x="580325" y="43487"/>
                    </a:lnTo>
                    <a:lnTo>
                      <a:pt x="579112" y="43032"/>
                    </a:lnTo>
                    <a:lnTo>
                      <a:pt x="578203" y="42274"/>
                    </a:lnTo>
                    <a:lnTo>
                      <a:pt x="575930" y="41971"/>
                    </a:lnTo>
                    <a:lnTo>
                      <a:pt x="573203" y="42123"/>
                    </a:lnTo>
                    <a:lnTo>
                      <a:pt x="570172" y="43941"/>
                    </a:lnTo>
                    <a:lnTo>
                      <a:pt x="566688" y="42426"/>
                    </a:lnTo>
                    <a:lnTo>
                      <a:pt x="565779" y="42426"/>
                    </a:lnTo>
                    <a:lnTo>
                      <a:pt x="565173" y="42880"/>
                    </a:lnTo>
                    <a:lnTo>
                      <a:pt x="563657" y="45002"/>
                    </a:lnTo>
                    <a:lnTo>
                      <a:pt x="560778" y="46668"/>
                    </a:lnTo>
                    <a:lnTo>
                      <a:pt x="559415" y="49699"/>
                    </a:lnTo>
                    <a:lnTo>
                      <a:pt x="558506" y="52578"/>
                    </a:lnTo>
                    <a:lnTo>
                      <a:pt x="557748" y="53638"/>
                    </a:lnTo>
                    <a:lnTo>
                      <a:pt x="557597" y="59245"/>
                    </a:lnTo>
                    <a:lnTo>
                      <a:pt x="557142" y="61972"/>
                    </a:lnTo>
                    <a:lnTo>
                      <a:pt x="557899" y="65608"/>
                    </a:lnTo>
                    <a:lnTo>
                      <a:pt x="557748" y="67124"/>
                    </a:lnTo>
                    <a:lnTo>
                      <a:pt x="556536" y="69397"/>
                    </a:lnTo>
                    <a:lnTo>
                      <a:pt x="556384" y="69851"/>
                    </a:lnTo>
                    <a:lnTo>
                      <a:pt x="555779" y="73488"/>
                    </a:lnTo>
                    <a:lnTo>
                      <a:pt x="556081" y="74397"/>
                    </a:lnTo>
                    <a:lnTo>
                      <a:pt x="555930" y="75609"/>
                    </a:lnTo>
                    <a:lnTo>
                      <a:pt x="554869" y="78185"/>
                    </a:lnTo>
                    <a:lnTo>
                      <a:pt x="552900" y="78942"/>
                    </a:lnTo>
                    <a:lnTo>
                      <a:pt x="550930" y="79397"/>
                    </a:lnTo>
                    <a:lnTo>
                      <a:pt x="549263" y="78488"/>
                    </a:lnTo>
                    <a:lnTo>
                      <a:pt x="547748" y="79851"/>
                    </a:lnTo>
                    <a:lnTo>
                      <a:pt x="545778" y="81973"/>
                    </a:lnTo>
                    <a:lnTo>
                      <a:pt x="544869" y="83488"/>
                    </a:lnTo>
                    <a:lnTo>
                      <a:pt x="544869" y="84852"/>
                    </a:lnTo>
                    <a:lnTo>
                      <a:pt x="545020" y="85761"/>
                    </a:lnTo>
                    <a:lnTo>
                      <a:pt x="544566" y="86670"/>
                    </a:lnTo>
                    <a:lnTo>
                      <a:pt x="544566" y="87731"/>
                    </a:lnTo>
                    <a:lnTo>
                      <a:pt x="544717" y="89094"/>
                    </a:lnTo>
                    <a:lnTo>
                      <a:pt x="546081" y="89700"/>
                    </a:lnTo>
                    <a:lnTo>
                      <a:pt x="547445" y="90912"/>
                    </a:lnTo>
                    <a:lnTo>
                      <a:pt x="547445" y="92125"/>
                    </a:lnTo>
                    <a:lnTo>
                      <a:pt x="546687" y="92882"/>
                    </a:lnTo>
                    <a:lnTo>
                      <a:pt x="544869" y="94094"/>
                    </a:lnTo>
                    <a:lnTo>
                      <a:pt x="541687" y="96670"/>
                    </a:lnTo>
                    <a:lnTo>
                      <a:pt x="538050" y="98943"/>
                    </a:lnTo>
                    <a:lnTo>
                      <a:pt x="536687" y="99398"/>
                    </a:lnTo>
                    <a:lnTo>
                      <a:pt x="536232" y="100458"/>
                    </a:lnTo>
                    <a:lnTo>
                      <a:pt x="535929" y="101822"/>
                    </a:lnTo>
                    <a:lnTo>
                      <a:pt x="536687" y="104852"/>
                    </a:lnTo>
                    <a:lnTo>
                      <a:pt x="537444" y="105762"/>
                    </a:lnTo>
                    <a:lnTo>
                      <a:pt x="537899" y="106822"/>
                    </a:lnTo>
                    <a:lnTo>
                      <a:pt x="537444" y="108034"/>
                    </a:lnTo>
                    <a:lnTo>
                      <a:pt x="537141" y="109095"/>
                    </a:lnTo>
                    <a:lnTo>
                      <a:pt x="535778" y="109701"/>
                    </a:lnTo>
                    <a:lnTo>
                      <a:pt x="534414" y="110156"/>
                    </a:lnTo>
                    <a:lnTo>
                      <a:pt x="533959" y="111065"/>
                    </a:lnTo>
                    <a:lnTo>
                      <a:pt x="533202" y="114701"/>
                    </a:lnTo>
                    <a:lnTo>
                      <a:pt x="532444" y="116519"/>
                    </a:lnTo>
                    <a:lnTo>
                      <a:pt x="530626" y="119247"/>
                    </a:lnTo>
                    <a:lnTo>
                      <a:pt x="530020" y="120459"/>
                    </a:lnTo>
                    <a:lnTo>
                      <a:pt x="529111" y="120914"/>
                    </a:lnTo>
                    <a:lnTo>
                      <a:pt x="525626" y="119550"/>
                    </a:lnTo>
                    <a:lnTo>
                      <a:pt x="522595" y="120307"/>
                    </a:lnTo>
                    <a:lnTo>
                      <a:pt x="518504" y="120762"/>
                    </a:lnTo>
                    <a:lnTo>
                      <a:pt x="515019" y="120611"/>
                    </a:lnTo>
                    <a:lnTo>
                      <a:pt x="512292" y="121217"/>
                    </a:lnTo>
                    <a:lnTo>
                      <a:pt x="510474" y="122732"/>
                    </a:lnTo>
                    <a:lnTo>
                      <a:pt x="508352" y="124550"/>
                    </a:lnTo>
                    <a:lnTo>
                      <a:pt x="506231" y="125914"/>
                    </a:lnTo>
                    <a:lnTo>
                      <a:pt x="504564" y="126520"/>
                    </a:lnTo>
                    <a:lnTo>
                      <a:pt x="501534" y="124550"/>
                    </a:lnTo>
                    <a:lnTo>
                      <a:pt x="500019" y="124702"/>
                    </a:lnTo>
                    <a:lnTo>
                      <a:pt x="497291" y="124095"/>
                    </a:lnTo>
                    <a:lnTo>
                      <a:pt x="490927" y="121823"/>
                    </a:lnTo>
                    <a:lnTo>
                      <a:pt x="489412" y="121217"/>
                    </a:lnTo>
                    <a:lnTo>
                      <a:pt x="487745" y="121217"/>
                    </a:lnTo>
                    <a:lnTo>
                      <a:pt x="487291" y="120611"/>
                    </a:lnTo>
                    <a:lnTo>
                      <a:pt x="487594" y="119550"/>
                    </a:lnTo>
                    <a:lnTo>
                      <a:pt x="487291" y="118186"/>
                    </a:lnTo>
                    <a:lnTo>
                      <a:pt x="486079" y="117732"/>
                    </a:lnTo>
                    <a:lnTo>
                      <a:pt x="473351" y="117883"/>
                    </a:lnTo>
                    <a:lnTo>
                      <a:pt x="469714" y="119095"/>
                    </a:lnTo>
                    <a:lnTo>
                      <a:pt x="467290" y="120004"/>
                    </a:lnTo>
                    <a:lnTo>
                      <a:pt x="465472" y="121065"/>
                    </a:lnTo>
                    <a:lnTo>
                      <a:pt x="465017" y="123792"/>
                    </a:lnTo>
                    <a:lnTo>
                      <a:pt x="463957" y="126368"/>
                    </a:lnTo>
                    <a:lnTo>
                      <a:pt x="462593" y="129096"/>
                    </a:lnTo>
                    <a:lnTo>
                      <a:pt x="458350" y="129853"/>
                    </a:lnTo>
                    <a:lnTo>
                      <a:pt x="455169" y="132581"/>
                    </a:lnTo>
                    <a:lnTo>
                      <a:pt x="454108" y="132884"/>
                    </a:lnTo>
                    <a:lnTo>
                      <a:pt x="451987" y="132429"/>
                    </a:lnTo>
                    <a:lnTo>
                      <a:pt x="449714" y="132126"/>
                    </a:lnTo>
                    <a:lnTo>
                      <a:pt x="448047" y="132884"/>
                    </a:lnTo>
                    <a:lnTo>
                      <a:pt x="446380" y="132884"/>
                    </a:lnTo>
                    <a:lnTo>
                      <a:pt x="441077" y="131520"/>
                    </a:lnTo>
                    <a:lnTo>
                      <a:pt x="436077" y="131368"/>
                    </a:lnTo>
                    <a:lnTo>
                      <a:pt x="433198" y="131975"/>
                    </a:lnTo>
                    <a:lnTo>
                      <a:pt x="431683" y="132278"/>
                    </a:lnTo>
                    <a:lnTo>
                      <a:pt x="422895" y="136066"/>
                    </a:lnTo>
                    <a:lnTo>
                      <a:pt x="419864" y="136520"/>
                    </a:lnTo>
                    <a:lnTo>
                      <a:pt x="418652" y="135914"/>
                    </a:lnTo>
                    <a:lnTo>
                      <a:pt x="416985" y="134399"/>
                    </a:lnTo>
                    <a:lnTo>
                      <a:pt x="414712" y="132884"/>
                    </a:lnTo>
                    <a:lnTo>
                      <a:pt x="409258" y="127580"/>
                    </a:lnTo>
                    <a:lnTo>
                      <a:pt x="407288" y="126368"/>
                    </a:lnTo>
                    <a:lnTo>
                      <a:pt x="405924" y="125156"/>
                    </a:lnTo>
                    <a:lnTo>
                      <a:pt x="404712" y="123641"/>
                    </a:lnTo>
                    <a:lnTo>
                      <a:pt x="402894" y="121974"/>
                    </a:lnTo>
                    <a:lnTo>
                      <a:pt x="401227" y="120914"/>
                    </a:lnTo>
                    <a:lnTo>
                      <a:pt x="398954" y="118641"/>
                    </a:lnTo>
                    <a:lnTo>
                      <a:pt x="396681" y="116216"/>
                    </a:lnTo>
                    <a:lnTo>
                      <a:pt x="396227" y="111822"/>
                    </a:lnTo>
                    <a:lnTo>
                      <a:pt x="394409" y="111065"/>
                    </a:lnTo>
                    <a:lnTo>
                      <a:pt x="393802" y="109852"/>
                    </a:lnTo>
                    <a:lnTo>
                      <a:pt x="393499" y="108489"/>
                    </a:lnTo>
                    <a:lnTo>
                      <a:pt x="395924" y="104852"/>
                    </a:lnTo>
                    <a:lnTo>
                      <a:pt x="389105" y="107731"/>
                    </a:lnTo>
                    <a:lnTo>
                      <a:pt x="387439" y="110459"/>
                    </a:lnTo>
                    <a:lnTo>
                      <a:pt x="386226" y="113641"/>
                    </a:lnTo>
                    <a:lnTo>
                      <a:pt x="383348" y="116368"/>
                    </a:lnTo>
                    <a:lnTo>
                      <a:pt x="380923" y="119398"/>
                    </a:lnTo>
                    <a:lnTo>
                      <a:pt x="380317" y="120914"/>
                    </a:lnTo>
                    <a:lnTo>
                      <a:pt x="379105" y="126368"/>
                    </a:lnTo>
                    <a:lnTo>
                      <a:pt x="380620" y="126217"/>
                    </a:lnTo>
                    <a:lnTo>
                      <a:pt x="381529" y="125914"/>
                    </a:lnTo>
                    <a:lnTo>
                      <a:pt x="382438" y="126065"/>
                    </a:lnTo>
                    <a:lnTo>
                      <a:pt x="381226" y="126823"/>
                    </a:lnTo>
                    <a:lnTo>
                      <a:pt x="379711" y="127278"/>
                    </a:lnTo>
                    <a:lnTo>
                      <a:pt x="377741" y="129247"/>
                    </a:lnTo>
                    <a:lnTo>
                      <a:pt x="376529" y="135308"/>
                    </a:lnTo>
                    <a:lnTo>
                      <a:pt x="376226" y="138490"/>
                    </a:lnTo>
                    <a:lnTo>
                      <a:pt x="376681" y="145611"/>
                    </a:lnTo>
                    <a:lnTo>
                      <a:pt x="377287" y="150460"/>
                    </a:lnTo>
                    <a:lnTo>
                      <a:pt x="380923" y="153187"/>
                    </a:lnTo>
                    <a:lnTo>
                      <a:pt x="382893" y="155460"/>
                    </a:lnTo>
                    <a:lnTo>
                      <a:pt x="383802" y="156824"/>
                    </a:lnTo>
                    <a:lnTo>
                      <a:pt x="384863" y="158036"/>
                    </a:lnTo>
                    <a:lnTo>
                      <a:pt x="385621" y="158491"/>
                    </a:lnTo>
                    <a:lnTo>
                      <a:pt x="385923" y="159097"/>
                    </a:lnTo>
                    <a:lnTo>
                      <a:pt x="384257" y="160157"/>
                    </a:lnTo>
                    <a:lnTo>
                      <a:pt x="383499" y="163794"/>
                    </a:lnTo>
                    <a:lnTo>
                      <a:pt x="383045" y="165006"/>
                    </a:lnTo>
                    <a:lnTo>
                      <a:pt x="382287" y="167127"/>
                    </a:lnTo>
                    <a:lnTo>
                      <a:pt x="382287" y="170612"/>
                    </a:lnTo>
                    <a:lnTo>
                      <a:pt x="382590" y="172128"/>
                    </a:lnTo>
                    <a:lnTo>
                      <a:pt x="383348" y="173491"/>
                    </a:lnTo>
                    <a:lnTo>
                      <a:pt x="385923" y="175764"/>
                    </a:lnTo>
                    <a:lnTo>
                      <a:pt x="389105" y="177431"/>
                    </a:lnTo>
                    <a:lnTo>
                      <a:pt x="388954" y="178188"/>
                    </a:lnTo>
                    <a:lnTo>
                      <a:pt x="387439" y="178491"/>
                    </a:lnTo>
                    <a:lnTo>
                      <a:pt x="386378" y="179855"/>
                    </a:lnTo>
                    <a:lnTo>
                      <a:pt x="386075" y="181976"/>
                    </a:lnTo>
                    <a:lnTo>
                      <a:pt x="386833" y="183037"/>
                    </a:lnTo>
                    <a:lnTo>
                      <a:pt x="388045" y="183795"/>
                    </a:lnTo>
                    <a:lnTo>
                      <a:pt x="391378" y="183643"/>
                    </a:lnTo>
                    <a:lnTo>
                      <a:pt x="397590" y="185765"/>
                    </a:lnTo>
                    <a:lnTo>
                      <a:pt x="400469" y="187583"/>
                    </a:lnTo>
                    <a:lnTo>
                      <a:pt x="402894" y="190007"/>
                    </a:lnTo>
                    <a:lnTo>
                      <a:pt x="404712" y="192128"/>
                    </a:lnTo>
                    <a:lnTo>
                      <a:pt x="405924" y="194704"/>
                    </a:lnTo>
                    <a:lnTo>
                      <a:pt x="406833" y="198038"/>
                    </a:lnTo>
                    <a:lnTo>
                      <a:pt x="407288" y="201523"/>
                    </a:lnTo>
                    <a:lnTo>
                      <a:pt x="406985" y="204705"/>
                    </a:lnTo>
                    <a:lnTo>
                      <a:pt x="405318" y="207432"/>
                    </a:lnTo>
                    <a:lnTo>
                      <a:pt x="405166" y="210765"/>
                    </a:lnTo>
                    <a:lnTo>
                      <a:pt x="408349" y="213038"/>
                    </a:lnTo>
                    <a:lnTo>
                      <a:pt x="408954" y="214553"/>
                    </a:lnTo>
                    <a:lnTo>
                      <a:pt x="409712" y="220917"/>
                    </a:lnTo>
                    <a:lnTo>
                      <a:pt x="412440" y="233342"/>
                    </a:lnTo>
                    <a:lnTo>
                      <a:pt x="412591" y="239706"/>
                    </a:lnTo>
                    <a:lnTo>
                      <a:pt x="413197" y="240766"/>
                    </a:lnTo>
                    <a:lnTo>
                      <a:pt x="414409" y="241221"/>
                    </a:lnTo>
                    <a:lnTo>
                      <a:pt x="415773" y="240160"/>
                    </a:lnTo>
                    <a:lnTo>
                      <a:pt x="416530" y="239857"/>
                    </a:lnTo>
                    <a:lnTo>
                      <a:pt x="421834" y="238645"/>
                    </a:lnTo>
                    <a:lnTo>
                      <a:pt x="424410" y="241676"/>
                    </a:lnTo>
                    <a:lnTo>
                      <a:pt x="425319" y="242130"/>
                    </a:lnTo>
                    <a:lnTo>
                      <a:pt x="426228" y="241221"/>
                    </a:lnTo>
                    <a:lnTo>
                      <a:pt x="428349" y="239857"/>
                    </a:lnTo>
                    <a:lnTo>
                      <a:pt x="430773" y="239100"/>
                    </a:lnTo>
                    <a:lnTo>
                      <a:pt x="429410" y="240160"/>
                    </a:lnTo>
                    <a:lnTo>
                      <a:pt x="428804" y="241524"/>
                    </a:lnTo>
                    <a:lnTo>
                      <a:pt x="429864" y="243039"/>
                    </a:lnTo>
                    <a:lnTo>
                      <a:pt x="431531" y="243645"/>
                    </a:lnTo>
                    <a:lnTo>
                      <a:pt x="434713" y="243191"/>
                    </a:lnTo>
                    <a:lnTo>
                      <a:pt x="440623" y="240463"/>
                    </a:lnTo>
                    <a:lnTo>
                      <a:pt x="443653" y="239857"/>
                    </a:lnTo>
                    <a:lnTo>
                      <a:pt x="447138" y="240918"/>
                    </a:lnTo>
                    <a:lnTo>
                      <a:pt x="450774" y="240918"/>
                    </a:lnTo>
                    <a:lnTo>
                      <a:pt x="451683" y="239554"/>
                    </a:lnTo>
                    <a:lnTo>
                      <a:pt x="452744" y="238494"/>
                    </a:lnTo>
                    <a:lnTo>
                      <a:pt x="454562" y="239857"/>
                    </a:lnTo>
                    <a:lnTo>
                      <a:pt x="455926" y="241676"/>
                    </a:lnTo>
                    <a:lnTo>
                      <a:pt x="456229" y="243039"/>
                    </a:lnTo>
                    <a:lnTo>
                      <a:pt x="456532" y="249858"/>
                    </a:lnTo>
                    <a:lnTo>
                      <a:pt x="456532" y="252888"/>
                    </a:lnTo>
                    <a:lnTo>
                      <a:pt x="456229" y="255918"/>
                    </a:lnTo>
                    <a:lnTo>
                      <a:pt x="457290" y="256373"/>
                    </a:lnTo>
                    <a:lnTo>
                      <a:pt x="458653" y="256373"/>
                    </a:lnTo>
                    <a:lnTo>
                      <a:pt x="460017" y="255767"/>
                    </a:lnTo>
                    <a:lnTo>
                      <a:pt x="464714" y="251676"/>
                    </a:lnTo>
                    <a:lnTo>
                      <a:pt x="469108" y="250009"/>
                    </a:lnTo>
                    <a:lnTo>
                      <a:pt x="473502" y="251373"/>
                    </a:lnTo>
                    <a:lnTo>
                      <a:pt x="477745" y="252130"/>
                    </a:lnTo>
                    <a:lnTo>
                      <a:pt x="481988" y="250009"/>
                    </a:lnTo>
                    <a:lnTo>
                      <a:pt x="487897" y="246373"/>
                    </a:lnTo>
                    <a:lnTo>
                      <a:pt x="489564" y="239403"/>
                    </a:lnTo>
                    <a:lnTo>
                      <a:pt x="498049" y="247888"/>
                    </a:lnTo>
                    <a:lnTo>
                      <a:pt x="498655" y="247282"/>
                    </a:lnTo>
                    <a:lnTo>
                      <a:pt x="499867" y="247433"/>
                    </a:lnTo>
                    <a:lnTo>
                      <a:pt x="503049" y="246221"/>
                    </a:lnTo>
                    <a:lnTo>
                      <a:pt x="504109" y="246070"/>
                    </a:lnTo>
                    <a:lnTo>
                      <a:pt x="505322" y="246524"/>
                    </a:lnTo>
                    <a:lnTo>
                      <a:pt x="505928" y="247888"/>
                    </a:lnTo>
                    <a:lnTo>
                      <a:pt x="506079" y="250161"/>
                    </a:lnTo>
                    <a:lnTo>
                      <a:pt x="505928" y="252585"/>
                    </a:lnTo>
                    <a:lnTo>
                      <a:pt x="507897" y="253494"/>
                    </a:lnTo>
                    <a:lnTo>
                      <a:pt x="510322" y="253494"/>
                    </a:lnTo>
                    <a:lnTo>
                      <a:pt x="514716" y="251828"/>
                    </a:lnTo>
                    <a:lnTo>
                      <a:pt x="518050" y="248645"/>
                    </a:lnTo>
                    <a:lnTo>
                      <a:pt x="518807" y="248797"/>
                    </a:lnTo>
                    <a:lnTo>
                      <a:pt x="519262" y="250009"/>
                    </a:lnTo>
                    <a:lnTo>
                      <a:pt x="520626" y="250767"/>
                    </a:lnTo>
                    <a:lnTo>
                      <a:pt x="522292" y="250918"/>
                    </a:lnTo>
                    <a:lnTo>
                      <a:pt x="523807" y="249403"/>
                    </a:lnTo>
                    <a:lnTo>
                      <a:pt x="525171" y="247433"/>
                    </a:lnTo>
                    <a:lnTo>
                      <a:pt x="523959" y="250918"/>
                    </a:lnTo>
                    <a:lnTo>
                      <a:pt x="524110" y="252130"/>
                    </a:lnTo>
                    <a:lnTo>
                      <a:pt x="525171" y="253040"/>
                    </a:lnTo>
                    <a:lnTo>
                      <a:pt x="526686" y="253797"/>
                    </a:lnTo>
                    <a:lnTo>
                      <a:pt x="528050" y="254100"/>
                    </a:lnTo>
                    <a:lnTo>
                      <a:pt x="530171" y="251221"/>
                    </a:lnTo>
                    <a:lnTo>
                      <a:pt x="530474" y="254403"/>
                    </a:lnTo>
                    <a:lnTo>
                      <a:pt x="532444" y="260161"/>
                    </a:lnTo>
                    <a:lnTo>
                      <a:pt x="532899" y="271222"/>
                    </a:lnTo>
                    <a:lnTo>
                      <a:pt x="533656" y="272283"/>
                    </a:lnTo>
                    <a:lnTo>
                      <a:pt x="534717" y="272737"/>
                    </a:lnTo>
                    <a:lnTo>
                      <a:pt x="550172" y="265616"/>
                    </a:lnTo>
                    <a:lnTo>
                      <a:pt x="569263" y="257131"/>
                    </a:lnTo>
                    <a:lnTo>
                      <a:pt x="570476" y="255161"/>
                    </a:lnTo>
                    <a:lnTo>
                      <a:pt x="570931" y="252737"/>
                    </a:lnTo>
                    <a:lnTo>
                      <a:pt x="571991" y="250464"/>
                    </a:lnTo>
                    <a:lnTo>
                      <a:pt x="574567" y="247282"/>
                    </a:lnTo>
                    <a:lnTo>
                      <a:pt x="575021" y="245918"/>
                    </a:lnTo>
                    <a:lnTo>
                      <a:pt x="576082" y="245009"/>
                    </a:lnTo>
                    <a:lnTo>
                      <a:pt x="577446" y="244403"/>
                    </a:lnTo>
                    <a:lnTo>
                      <a:pt x="575173" y="241676"/>
                    </a:lnTo>
                    <a:lnTo>
                      <a:pt x="574719" y="240615"/>
                    </a:lnTo>
                    <a:lnTo>
                      <a:pt x="575021" y="239251"/>
                    </a:lnTo>
                    <a:lnTo>
                      <a:pt x="576689" y="240463"/>
                    </a:lnTo>
                    <a:lnTo>
                      <a:pt x="578355" y="240009"/>
                    </a:lnTo>
                    <a:lnTo>
                      <a:pt x="579567" y="238494"/>
                    </a:lnTo>
                    <a:lnTo>
                      <a:pt x="580173" y="236675"/>
                    </a:lnTo>
                    <a:lnTo>
                      <a:pt x="580627" y="233190"/>
                    </a:lnTo>
                    <a:lnTo>
                      <a:pt x="580779" y="229705"/>
                    </a:lnTo>
                    <a:lnTo>
                      <a:pt x="578961" y="230463"/>
                    </a:lnTo>
                    <a:lnTo>
                      <a:pt x="579264" y="229099"/>
                    </a:lnTo>
                    <a:lnTo>
                      <a:pt x="580173" y="228342"/>
                    </a:lnTo>
                    <a:lnTo>
                      <a:pt x="581536" y="228342"/>
                    </a:lnTo>
                    <a:lnTo>
                      <a:pt x="582900" y="228796"/>
                    </a:lnTo>
                    <a:lnTo>
                      <a:pt x="585022" y="228039"/>
                    </a:lnTo>
                    <a:lnTo>
                      <a:pt x="585628" y="225311"/>
                    </a:lnTo>
                    <a:lnTo>
                      <a:pt x="586083" y="222281"/>
                    </a:lnTo>
                    <a:lnTo>
                      <a:pt x="585022" y="219857"/>
                    </a:lnTo>
                    <a:lnTo>
                      <a:pt x="581991" y="219250"/>
                    </a:lnTo>
                    <a:lnTo>
                      <a:pt x="580627" y="218493"/>
                    </a:lnTo>
                    <a:lnTo>
                      <a:pt x="579112" y="218038"/>
                    </a:lnTo>
                    <a:lnTo>
                      <a:pt x="582143" y="215614"/>
                    </a:lnTo>
                    <a:lnTo>
                      <a:pt x="582900" y="212129"/>
                    </a:lnTo>
                    <a:lnTo>
                      <a:pt x="582295" y="210462"/>
                    </a:lnTo>
                    <a:lnTo>
                      <a:pt x="582143" y="208341"/>
                    </a:lnTo>
                    <a:lnTo>
                      <a:pt x="580173" y="208190"/>
                    </a:lnTo>
                    <a:lnTo>
                      <a:pt x="578052" y="208341"/>
                    </a:lnTo>
                    <a:lnTo>
                      <a:pt x="578658" y="207280"/>
                    </a:lnTo>
                    <a:lnTo>
                      <a:pt x="579567" y="206371"/>
                    </a:lnTo>
                    <a:lnTo>
                      <a:pt x="583506" y="204250"/>
                    </a:lnTo>
                    <a:lnTo>
                      <a:pt x="584567" y="203341"/>
                    </a:lnTo>
                    <a:lnTo>
                      <a:pt x="585324" y="202129"/>
                    </a:lnTo>
                    <a:lnTo>
                      <a:pt x="585628" y="200007"/>
                    </a:lnTo>
                    <a:lnTo>
                      <a:pt x="587143" y="198795"/>
                    </a:lnTo>
                    <a:lnTo>
                      <a:pt x="590022" y="197431"/>
                    </a:lnTo>
                    <a:lnTo>
                      <a:pt x="591082" y="196068"/>
                    </a:lnTo>
                    <a:lnTo>
                      <a:pt x="591537" y="194401"/>
                    </a:lnTo>
                    <a:lnTo>
                      <a:pt x="590325" y="1934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3" name="Freeform: Shape 3262">
                <a:extLst>
                  <a:ext uri="{FF2B5EF4-FFF2-40B4-BE49-F238E27FC236}">
                    <a16:creationId xmlns:a16="http://schemas.microsoft.com/office/drawing/2014/main" id="{3C673823-F720-4D60-8BEA-CEB282FF3896}"/>
                  </a:ext>
                </a:extLst>
              </p:cNvPr>
              <p:cNvSpPr/>
              <p:nvPr/>
            </p:nvSpPr>
            <p:spPr>
              <a:xfrm>
                <a:off x="6217519" y="3124971"/>
                <a:ext cx="185612" cy="96821"/>
              </a:xfrm>
              <a:custGeom>
                <a:avLst/>
                <a:gdLst>
                  <a:gd name="connsiteX0" fmla="*/ 185007 w 185612"/>
                  <a:gd name="connsiteY0" fmla="*/ 20758 h 96821"/>
                  <a:gd name="connsiteX1" fmla="*/ 184704 w 185612"/>
                  <a:gd name="connsiteY1" fmla="*/ 19546 h 96821"/>
                  <a:gd name="connsiteX2" fmla="*/ 185007 w 185612"/>
                  <a:gd name="connsiteY2" fmla="*/ 18334 h 96821"/>
                  <a:gd name="connsiteX3" fmla="*/ 184553 w 185612"/>
                  <a:gd name="connsiteY3" fmla="*/ 17273 h 96821"/>
                  <a:gd name="connsiteX4" fmla="*/ 183037 w 185612"/>
                  <a:gd name="connsiteY4" fmla="*/ 16061 h 96821"/>
                  <a:gd name="connsiteX5" fmla="*/ 182583 w 185612"/>
                  <a:gd name="connsiteY5" fmla="*/ 15607 h 96821"/>
                  <a:gd name="connsiteX6" fmla="*/ 180765 w 185612"/>
                  <a:gd name="connsiteY6" fmla="*/ 15758 h 96821"/>
                  <a:gd name="connsiteX7" fmla="*/ 180310 w 185612"/>
                  <a:gd name="connsiteY7" fmla="*/ 15758 h 96821"/>
                  <a:gd name="connsiteX8" fmla="*/ 180158 w 185612"/>
                  <a:gd name="connsiteY8" fmla="*/ 15758 h 96821"/>
                  <a:gd name="connsiteX9" fmla="*/ 177582 w 185612"/>
                  <a:gd name="connsiteY9" fmla="*/ 14698 h 96821"/>
                  <a:gd name="connsiteX10" fmla="*/ 175764 w 185612"/>
                  <a:gd name="connsiteY10" fmla="*/ 12273 h 96821"/>
                  <a:gd name="connsiteX11" fmla="*/ 173189 w 185612"/>
                  <a:gd name="connsiteY11" fmla="*/ 10910 h 96821"/>
                  <a:gd name="connsiteX12" fmla="*/ 171219 w 185612"/>
                  <a:gd name="connsiteY12" fmla="*/ 10455 h 96821"/>
                  <a:gd name="connsiteX13" fmla="*/ 170310 w 185612"/>
                  <a:gd name="connsiteY13" fmla="*/ 9394 h 96821"/>
                  <a:gd name="connsiteX14" fmla="*/ 169703 w 185612"/>
                  <a:gd name="connsiteY14" fmla="*/ 8031 h 96821"/>
                  <a:gd name="connsiteX15" fmla="*/ 169097 w 185612"/>
                  <a:gd name="connsiteY15" fmla="*/ 6970 h 96821"/>
                  <a:gd name="connsiteX16" fmla="*/ 168946 w 185612"/>
                  <a:gd name="connsiteY16" fmla="*/ 6819 h 96821"/>
                  <a:gd name="connsiteX17" fmla="*/ 168491 w 185612"/>
                  <a:gd name="connsiteY17" fmla="*/ 5152 h 96821"/>
                  <a:gd name="connsiteX18" fmla="*/ 167885 w 185612"/>
                  <a:gd name="connsiteY18" fmla="*/ 5000 h 96821"/>
                  <a:gd name="connsiteX19" fmla="*/ 167885 w 185612"/>
                  <a:gd name="connsiteY19" fmla="*/ 5000 h 96821"/>
                  <a:gd name="connsiteX20" fmla="*/ 165158 w 185612"/>
                  <a:gd name="connsiteY20" fmla="*/ 5303 h 96821"/>
                  <a:gd name="connsiteX21" fmla="*/ 164703 w 185612"/>
                  <a:gd name="connsiteY21" fmla="*/ 5606 h 96821"/>
                  <a:gd name="connsiteX22" fmla="*/ 155158 w 185612"/>
                  <a:gd name="connsiteY22" fmla="*/ 7576 h 96821"/>
                  <a:gd name="connsiteX23" fmla="*/ 153945 w 185612"/>
                  <a:gd name="connsiteY23" fmla="*/ 7273 h 96821"/>
                  <a:gd name="connsiteX24" fmla="*/ 152733 w 185612"/>
                  <a:gd name="connsiteY24" fmla="*/ 6212 h 96821"/>
                  <a:gd name="connsiteX25" fmla="*/ 151975 w 185612"/>
                  <a:gd name="connsiteY25" fmla="*/ 5455 h 96821"/>
                  <a:gd name="connsiteX26" fmla="*/ 151521 w 185612"/>
                  <a:gd name="connsiteY26" fmla="*/ 4849 h 96821"/>
                  <a:gd name="connsiteX27" fmla="*/ 150763 w 185612"/>
                  <a:gd name="connsiteY27" fmla="*/ 3182 h 96821"/>
                  <a:gd name="connsiteX28" fmla="*/ 149703 w 185612"/>
                  <a:gd name="connsiteY28" fmla="*/ 2121 h 96821"/>
                  <a:gd name="connsiteX29" fmla="*/ 148036 w 185612"/>
                  <a:gd name="connsiteY29" fmla="*/ 1212 h 96821"/>
                  <a:gd name="connsiteX30" fmla="*/ 146521 w 185612"/>
                  <a:gd name="connsiteY30" fmla="*/ 152 h 96821"/>
                  <a:gd name="connsiteX31" fmla="*/ 144703 w 185612"/>
                  <a:gd name="connsiteY31" fmla="*/ 0 h 96821"/>
                  <a:gd name="connsiteX32" fmla="*/ 139551 w 185612"/>
                  <a:gd name="connsiteY32" fmla="*/ 1515 h 96821"/>
                  <a:gd name="connsiteX33" fmla="*/ 136066 w 185612"/>
                  <a:gd name="connsiteY33" fmla="*/ 1667 h 96821"/>
                  <a:gd name="connsiteX34" fmla="*/ 133793 w 185612"/>
                  <a:gd name="connsiteY34" fmla="*/ 1212 h 96821"/>
                  <a:gd name="connsiteX35" fmla="*/ 130611 w 185612"/>
                  <a:gd name="connsiteY35" fmla="*/ 303 h 96821"/>
                  <a:gd name="connsiteX36" fmla="*/ 124550 w 185612"/>
                  <a:gd name="connsiteY36" fmla="*/ 152 h 96821"/>
                  <a:gd name="connsiteX37" fmla="*/ 120308 w 185612"/>
                  <a:gd name="connsiteY37" fmla="*/ 1061 h 96821"/>
                  <a:gd name="connsiteX38" fmla="*/ 119853 w 185612"/>
                  <a:gd name="connsiteY38" fmla="*/ 2121 h 96821"/>
                  <a:gd name="connsiteX39" fmla="*/ 116065 w 185612"/>
                  <a:gd name="connsiteY39" fmla="*/ 9091 h 96821"/>
                  <a:gd name="connsiteX40" fmla="*/ 110459 w 185612"/>
                  <a:gd name="connsiteY40" fmla="*/ 11667 h 96821"/>
                  <a:gd name="connsiteX41" fmla="*/ 105459 w 185612"/>
                  <a:gd name="connsiteY41" fmla="*/ 14243 h 96821"/>
                  <a:gd name="connsiteX42" fmla="*/ 104095 w 185612"/>
                  <a:gd name="connsiteY42" fmla="*/ 14849 h 96821"/>
                  <a:gd name="connsiteX43" fmla="*/ 101671 w 185612"/>
                  <a:gd name="connsiteY43" fmla="*/ 13940 h 96821"/>
                  <a:gd name="connsiteX44" fmla="*/ 98943 w 185612"/>
                  <a:gd name="connsiteY44" fmla="*/ 12425 h 96821"/>
                  <a:gd name="connsiteX45" fmla="*/ 96670 w 185612"/>
                  <a:gd name="connsiteY45" fmla="*/ 11667 h 96821"/>
                  <a:gd name="connsiteX46" fmla="*/ 95004 w 185612"/>
                  <a:gd name="connsiteY46" fmla="*/ 11970 h 96821"/>
                  <a:gd name="connsiteX47" fmla="*/ 93186 w 185612"/>
                  <a:gd name="connsiteY47" fmla="*/ 13788 h 96821"/>
                  <a:gd name="connsiteX48" fmla="*/ 92276 w 185612"/>
                  <a:gd name="connsiteY48" fmla="*/ 15607 h 96821"/>
                  <a:gd name="connsiteX49" fmla="*/ 86822 w 185612"/>
                  <a:gd name="connsiteY49" fmla="*/ 16819 h 96821"/>
                  <a:gd name="connsiteX50" fmla="*/ 77124 w 185612"/>
                  <a:gd name="connsiteY50" fmla="*/ 17576 h 96821"/>
                  <a:gd name="connsiteX51" fmla="*/ 73791 w 185612"/>
                  <a:gd name="connsiteY51" fmla="*/ 19395 h 96821"/>
                  <a:gd name="connsiteX52" fmla="*/ 72730 w 185612"/>
                  <a:gd name="connsiteY52" fmla="*/ 21516 h 96821"/>
                  <a:gd name="connsiteX53" fmla="*/ 72579 w 185612"/>
                  <a:gd name="connsiteY53" fmla="*/ 23183 h 96821"/>
                  <a:gd name="connsiteX54" fmla="*/ 73488 w 185612"/>
                  <a:gd name="connsiteY54" fmla="*/ 24546 h 96821"/>
                  <a:gd name="connsiteX55" fmla="*/ 72427 w 185612"/>
                  <a:gd name="connsiteY55" fmla="*/ 26213 h 96821"/>
                  <a:gd name="connsiteX56" fmla="*/ 71972 w 185612"/>
                  <a:gd name="connsiteY56" fmla="*/ 26819 h 96821"/>
                  <a:gd name="connsiteX57" fmla="*/ 65154 w 185612"/>
                  <a:gd name="connsiteY57" fmla="*/ 27122 h 96821"/>
                  <a:gd name="connsiteX58" fmla="*/ 56215 w 185612"/>
                  <a:gd name="connsiteY58" fmla="*/ 27728 h 96821"/>
                  <a:gd name="connsiteX59" fmla="*/ 50760 w 185612"/>
                  <a:gd name="connsiteY59" fmla="*/ 27577 h 96821"/>
                  <a:gd name="connsiteX60" fmla="*/ 45608 w 185612"/>
                  <a:gd name="connsiteY60" fmla="*/ 27425 h 96821"/>
                  <a:gd name="connsiteX61" fmla="*/ 42123 w 185612"/>
                  <a:gd name="connsiteY61" fmla="*/ 26062 h 96821"/>
                  <a:gd name="connsiteX62" fmla="*/ 37880 w 185612"/>
                  <a:gd name="connsiteY62" fmla="*/ 23334 h 96821"/>
                  <a:gd name="connsiteX63" fmla="*/ 33486 w 185612"/>
                  <a:gd name="connsiteY63" fmla="*/ 19698 h 96821"/>
                  <a:gd name="connsiteX64" fmla="*/ 33032 w 185612"/>
                  <a:gd name="connsiteY64" fmla="*/ 19698 h 96821"/>
                  <a:gd name="connsiteX65" fmla="*/ 32426 w 185612"/>
                  <a:gd name="connsiteY65" fmla="*/ 19243 h 96821"/>
                  <a:gd name="connsiteX66" fmla="*/ 29547 w 185612"/>
                  <a:gd name="connsiteY66" fmla="*/ 18940 h 96821"/>
                  <a:gd name="connsiteX67" fmla="*/ 28789 w 185612"/>
                  <a:gd name="connsiteY67" fmla="*/ 19243 h 96821"/>
                  <a:gd name="connsiteX68" fmla="*/ 27274 w 185612"/>
                  <a:gd name="connsiteY68" fmla="*/ 20758 h 96821"/>
                  <a:gd name="connsiteX69" fmla="*/ 26971 w 185612"/>
                  <a:gd name="connsiteY69" fmla="*/ 22880 h 96821"/>
                  <a:gd name="connsiteX70" fmla="*/ 25910 w 185612"/>
                  <a:gd name="connsiteY70" fmla="*/ 23789 h 96821"/>
                  <a:gd name="connsiteX71" fmla="*/ 25607 w 185612"/>
                  <a:gd name="connsiteY71" fmla="*/ 25152 h 96821"/>
                  <a:gd name="connsiteX72" fmla="*/ 26062 w 185612"/>
                  <a:gd name="connsiteY72" fmla="*/ 26213 h 96821"/>
                  <a:gd name="connsiteX73" fmla="*/ 26062 w 185612"/>
                  <a:gd name="connsiteY73" fmla="*/ 27577 h 96821"/>
                  <a:gd name="connsiteX74" fmla="*/ 26668 w 185612"/>
                  <a:gd name="connsiteY74" fmla="*/ 29547 h 96821"/>
                  <a:gd name="connsiteX75" fmla="*/ 24092 w 185612"/>
                  <a:gd name="connsiteY75" fmla="*/ 30001 h 96821"/>
                  <a:gd name="connsiteX76" fmla="*/ 21062 w 185612"/>
                  <a:gd name="connsiteY76" fmla="*/ 30001 h 96821"/>
                  <a:gd name="connsiteX77" fmla="*/ 20001 w 185612"/>
                  <a:gd name="connsiteY77" fmla="*/ 30001 h 96821"/>
                  <a:gd name="connsiteX78" fmla="*/ 18940 w 185612"/>
                  <a:gd name="connsiteY78" fmla="*/ 30607 h 96821"/>
                  <a:gd name="connsiteX79" fmla="*/ 17880 w 185612"/>
                  <a:gd name="connsiteY79" fmla="*/ 30304 h 96821"/>
                  <a:gd name="connsiteX80" fmla="*/ 15152 w 185612"/>
                  <a:gd name="connsiteY80" fmla="*/ 28486 h 96821"/>
                  <a:gd name="connsiteX81" fmla="*/ 13637 w 185612"/>
                  <a:gd name="connsiteY81" fmla="*/ 28183 h 96821"/>
                  <a:gd name="connsiteX82" fmla="*/ 12576 w 185612"/>
                  <a:gd name="connsiteY82" fmla="*/ 28183 h 96821"/>
                  <a:gd name="connsiteX83" fmla="*/ 11667 w 185612"/>
                  <a:gd name="connsiteY83" fmla="*/ 28941 h 96821"/>
                  <a:gd name="connsiteX84" fmla="*/ 10304 w 185612"/>
                  <a:gd name="connsiteY84" fmla="*/ 30001 h 96821"/>
                  <a:gd name="connsiteX85" fmla="*/ 8940 w 185612"/>
                  <a:gd name="connsiteY85" fmla="*/ 30759 h 96821"/>
                  <a:gd name="connsiteX86" fmla="*/ 9243 w 185612"/>
                  <a:gd name="connsiteY86" fmla="*/ 31365 h 96821"/>
                  <a:gd name="connsiteX87" fmla="*/ 15001 w 185612"/>
                  <a:gd name="connsiteY87" fmla="*/ 33032 h 96821"/>
                  <a:gd name="connsiteX88" fmla="*/ 15910 w 185612"/>
                  <a:gd name="connsiteY88" fmla="*/ 35607 h 96821"/>
                  <a:gd name="connsiteX89" fmla="*/ 14849 w 185612"/>
                  <a:gd name="connsiteY89" fmla="*/ 37577 h 96821"/>
                  <a:gd name="connsiteX90" fmla="*/ 14546 w 185612"/>
                  <a:gd name="connsiteY90" fmla="*/ 38638 h 96821"/>
                  <a:gd name="connsiteX91" fmla="*/ 13183 w 185612"/>
                  <a:gd name="connsiteY91" fmla="*/ 39395 h 96821"/>
                  <a:gd name="connsiteX92" fmla="*/ 11516 w 185612"/>
                  <a:gd name="connsiteY92" fmla="*/ 40153 h 96821"/>
                  <a:gd name="connsiteX93" fmla="*/ 9546 w 185612"/>
                  <a:gd name="connsiteY93" fmla="*/ 40305 h 96821"/>
                  <a:gd name="connsiteX94" fmla="*/ 9395 w 185612"/>
                  <a:gd name="connsiteY94" fmla="*/ 41365 h 96821"/>
                  <a:gd name="connsiteX95" fmla="*/ 10152 w 185612"/>
                  <a:gd name="connsiteY95" fmla="*/ 44699 h 96821"/>
                  <a:gd name="connsiteX96" fmla="*/ 9546 w 185612"/>
                  <a:gd name="connsiteY96" fmla="*/ 45305 h 96821"/>
                  <a:gd name="connsiteX97" fmla="*/ 8788 w 185612"/>
                  <a:gd name="connsiteY97" fmla="*/ 46365 h 96821"/>
                  <a:gd name="connsiteX98" fmla="*/ 9395 w 185612"/>
                  <a:gd name="connsiteY98" fmla="*/ 49093 h 96821"/>
                  <a:gd name="connsiteX99" fmla="*/ 10607 w 185612"/>
                  <a:gd name="connsiteY99" fmla="*/ 49244 h 96821"/>
                  <a:gd name="connsiteX100" fmla="*/ 10910 w 185612"/>
                  <a:gd name="connsiteY100" fmla="*/ 49850 h 96821"/>
                  <a:gd name="connsiteX101" fmla="*/ 10758 w 185612"/>
                  <a:gd name="connsiteY101" fmla="*/ 50911 h 96821"/>
                  <a:gd name="connsiteX102" fmla="*/ 10455 w 185612"/>
                  <a:gd name="connsiteY102" fmla="*/ 52123 h 96821"/>
                  <a:gd name="connsiteX103" fmla="*/ 10000 w 185612"/>
                  <a:gd name="connsiteY103" fmla="*/ 53335 h 96821"/>
                  <a:gd name="connsiteX104" fmla="*/ 9849 w 185612"/>
                  <a:gd name="connsiteY104" fmla="*/ 53790 h 96821"/>
                  <a:gd name="connsiteX105" fmla="*/ 9091 w 185612"/>
                  <a:gd name="connsiteY105" fmla="*/ 54244 h 96821"/>
                  <a:gd name="connsiteX106" fmla="*/ 6516 w 185612"/>
                  <a:gd name="connsiteY106" fmla="*/ 54093 h 96821"/>
                  <a:gd name="connsiteX107" fmla="*/ 4394 w 185612"/>
                  <a:gd name="connsiteY107" fmla="*/ 55002 h 96821"/>
                  <a:gd name="connsiteX108" fmla="*/ 0 w 185612"/>
                  <a:gd name="connsiteY108" fmla="*/ 58790 h 96821"/>
                  <a:gd name="connsiteX109" fmla="*/ 5152 w 185612"/>
                  <a:gd name="connsiteY109" fmla="*/ 58942 h 96821"/>
                  <a:gd name="connsiteX110" fmla="*/ 5910 w 185612"/>
                  <a:gd name="connsiteY110" fmla="*/ 60002 h 96821"/>
                  <a:gd name="connsiteX111" fmla="*/ 6212 w 185612"/>
                  <a:gd name="connsiteY111" fmla="*/ 61517 h 96821"/>
                  <a:gd name="connsiteX112" fmla="*/ 6667 w 185612"/>
                  <a:gd name="connsiteY112" fmla="*/ 63639 h 96821"/>
                  <a:gd name="connsiteX113" fmla="*/ 7425 w 185612"/>
                  <a:gd name="connsiteY113" fmla="*/ 64245 h 96821"/>
                  <a:gd name="connsiteX114" fmla="*/ 8031 w 185612"/>
                  <a:gd name="connsiteY114" fmla="*/ 65002 h 96821"/>
                  <a:gd name="connsiteX115" fmla="*/ 7879 w 185612"/>
                  <a:gd name="connsiteY115" fmla="*/ 66518 h 96821"/>
                  <a:gd name="connsiteX116" fmla="*/ 8940 w 185612"/>
                  <a:gd name="connsiteY116" fmla="*/ 67578 h 96821"/>
                  <a:gd name="connsiteX117" fmla="*/ 11213 w 185612"/>
                  <a:gd name="connsiteY117" fmla="*/ 70457 h 96821"/>
                  <a:gd name="connsiteX118" fmla="*/ 11516 w 185612"/>
                  <a:gd name="connsiteY118" fmla="*/ 71215 h 96821"/>
                  <a:gd name="connsiteX119" fmla="*/ 13031 w 185612"/>
                  <a:gd name="connsiteY119" fmla="*/ 71821 h 96821"/>
                  <a:gd name="connsiteX120" fmla="*/ 17880 w 185612"/>
                  <a:gd name="connsiteY120" fmla="*/ 74094 h 96821"/>
                  <a:gd name="connsiteX121" fmla="*/ 21213 w 185612"/>
                  <a:gd name="connsiteY121" fmla="*/ 76821 h 96821"/>
                  <a:gd name="connsiteX122" fmla="*/ 23183 w 185612"/>
                  <a:gd name="connsiteY122" fmla="*/ 79700 h 96821"/>
                  <a:gd name="connsiteX123" fmla="*/ 25759 w 185612"/>
                  <a:gd name="connsiteY123" fmla="*/ 81973 h 96821"/>
                  <a:gd name="connsiteX124" fmla="*/ 28941 w 185612"/>
                  <a:gd name="connsiteY124" fmla="*/ 83639 h 96821"/>
                  <a:gd name="connsiteX125" fmla="*/ 31365 w 185612"/>
                  <a:gd name="connsiteY125" fmla="*/ 85761 h 96821"/>
                  <a:gd name="connsiteX126" fmla="*/ 33335 w 185612"/>
                  <a:gd name="connsiteY126" fmla="*/ 88488 h 96821"/>
                  <a:gd name="connsiteX127" fmla="*/ 35911 w 185612"/>
                  <a:gd name="connsiteY127" fmla="*/ 90003 h 96821"/>
                  <a:gd name="connsiteX128" fmla="*/ 39244 w 185612"/>
                  <a:gd name="connsiteY128" fmla="*/ 90458 h 96821"/>
                  <a:gd name="connsiteX129" fmla="*/ 41365 w 185612"/>
                  <a:gd name="connsiteY129" fmla="*/ 91367 h 96821"/>
                  <a:gd name="connsiteX130" fmla="*/ 42274 w 185612"/>
                  <a:gd name="connsiteY130" fmla="*/ 92882 h 96821"/>
                  <a:gd name="connsiteX131" fmla="*/ 44093 w 185612"/>
                  <a:gd name="connsiteY131" fmla="*/ 94246 h 96821"/>
                  <a:gd name="connsiteX132" fmla="*/ 46820 w 185612"/>
                  <a:gd name="connsiteY132" fmla="*/ 95458 h 96821"/>
                  <a:gd name="connsiteX133" fmla="*/ 51214 w 185612"/>
                  <a:gd name="connsiteY133" fmla="*/ 96216 h 96821"/>
                  <a:gd name="connsiteX134" fmla="*/ 59396 w 185612"/>
                  <a:gd name="connsiteY134" fmla="*/ 96367 h 96821"/>
                  <a:gd name="connsiteX135" fmla="*/ 60154 w 185612"/>
                  <a:gd name="connsiteY135" fmla="*/ 96367 h 96821"/>
                  <a:gd name="connsiteX136" fmla="*/ 61972 w 185612"/>
                  <a:gd name="connsiteY136" fmla="*/ 96822 h 96821"/>
                  <a:gd name="connsiteX137" fmla="*/ 64093 w 185612"/>
                  <a:gd name="connsiteY137" fmla="*/ 96367 h 96821"/>
                  <a:gd name="connsiteX138" fmla="*/ 66821 w 185612"/>
                  <a:gd name="connsiteY138" fmla="*/ 95307 h 96821"/>
                  <a:gd name="connsiteX139" fmla="*/ 67579 w 185612"/>
                  <a:gd name="connsiteY139" fmla="*/ 94700 h 96821"/>
                  <a:gd name="connsiteX140" fmla="*/ 70458 w 185612"/>
                  <a:gd name="connsiteY140" fmla="*/ 91519 h 96821"/>
                  <a:gd name="connsiteX141" fmla="*/ 71972 w 185612"/>
                  <a:gd name="connsiteY141" fmla="*/ 91822 h 96821"/>
                  <a:gd name="connsiteX142" fmla="*/ 75003 w 185612"/>
                  <a:gd name="connsiteY142" fmla="*/ 91367 h 96821"/>
                  <a:gd name="connsiteX143" fmla="*/ 76821 w 185612"/>
                  <a:gd name="connsiteY143" fmla="*/ 90761 h 96821"/>
                  <a:gd name="connsiteX144" fmla="*/ 76973 w 185612"/>
                  <a:gd name="connsiteY144" fmla="*/ 90761 h 96821"/>
                  <a:gd name="connsiteX145" fmla="*/ 77579 w 185612"/>
                  <a:gd name="connsiteY145" fmla="*/ 90761 h 96821"/>
                  <a:gd name="connsiteX146" fmla="*/ 80003 w 185612"/>
                  <a:gd name="connsiteY146" fmla="*/ 89700 h 96821"/>
                  <a:gd name="connsiteX147" fmla="*/ 80761 w 185612"/>
                  <a:gd name="connsiteY147" fmla="*/ 88943 h 96821"/>
                  <a:gd name="connsiteX148" fmla="*/ 81367 w 185612"/>
                  <a:gd name="connsiteY148" fmla="*/ 88034 h 96821"/>
                  <a:gd name="connsiteX149" fmla="*/ 81973 w 185612"/>
                  <a:gd name="connsiteY149" fmla="*/ 87882 h 96821"/>
                  <a:gd name="connsiteX150" fmla="*/ 83488 w 185612"/>
                  <a:gd name="connsiteY150" fmla="*/ 88791 h 96821"/>
                  <a:gd name="connsiteX151" fmla="*/ 85155 w 185612"/>
                  <a:gd name="connsiteY151" fmla="*/ 88943 h 96821"/>
                  <a:gd name="connsiteX152" fmla="*/ 87124 w 185612"/>
                  <a:gd name="connsiteY152" fmla="*/ 88337 h 96821"/>
                  <a:gd name="connsiteX153" fmla="*/ 88488 w 185612"/>
                  <a:gd name="connsiteY153" fmla="*/ 87427 h 96821"/>
                  <a:gd name="connsiteX154" fmla="*/ 90307 w 185612"/>
                  <a:gd name="connsiteY154" fmla="*/ 86670 h 96821"/>
                  <a:gd name="connsiteX155" fmla="*/ 91064 w 185612"/>
                  <a:gd name="connsiteY155" fmla="*/ 86215 h 96821"/>
                  <a:gd name="connsiteX156" fmla="*/ 91973 w 185612"/>
                  <a:gd name="connsiteY156" fmla="*/ 85458 h 96821"/>
                  <a:gd name="connsiteX157" fmla="*/ 94095 w 185612"/>
                  <a:gd name="connsiteY157" fmla="*/ 83033 h 96821"/>
                  <a:gd name="connsiteX158" fmla="*/ 96367 w 185612"/>
                  <a:gd name="connsiteY158" fmla="*/ 82579 h 96821"/>
                  <a:gd name="connsiteX159" fmla="*/ 99398 w 185612"/>
                  <a:gd name="connsiteY159" fmla="*/ 83185 h 96821"/>
                  <a:gd name="connsiteX160" fmla="*/ 102580 w 185612"/>
                  <a:gd name="connsiteY160" fmla="*/ 83336 h 96821"/>
                  <a:gd name="connsiteX161" fmla="*/ 105155 w 185612"/>
                  <a:gd name="connsiteY161" fmla="*/ 82882 h 96821"/>
                  <a:gd name="connsiteX162" fmla="*/ 111368 w 185612"/>
                  <a:gd name="connsiteY162" fmla="*/ 83488 h 96821"/>
                  <a:gd name="connsiteX163" fmla="*/ 112580 w 185612"/>
                  <a:gd name="connsiteY163" fmla="*/ 84094 h 96821"/>
                  <a:gd name="connsiteX164" fmla="*/ 113489 w 185612"/>
                  <a:gd name="connsiteY164" fmla="*/ 84700 h 96821"/>
                  <a:gd name="connsiteX165" fmla="*/ 114550 w 185612"/>
                  <a:gd name="connsiteY165" fmla="*/ 83791 h 96821"/>
                  <a:gd name="connsiteX166" fmla="*/ 120762 w 185612"/>
                  <a:gd name="connsiteY166" fmla="*/ 82730 h 96821"/>
                  <a:gd name="connsiteX167" fmla="*/ 123641 w 185612"/>
                  <a:gd name="connsiteY167" fmla="*/ 83791 h 96821"/>
                  <a:gd name="connsiteX168" fmla="*/ 125005 w 185612"/>
                  <a:gd name="connsiteY168" fmla="*/ 83488 h 96821"/>
                  <a:gd name="connsiteX169" fmla="*/ 126217 w 185612"/>
                  <a:gd name="connsiteY169" fmla="*/ 82427 h 96821"/>
                  <a:gd name="connsiteX170" fmla="*/ 126974 w 185612"/>
                  <a:gd name="connsiteY170" fmla="*/ 81821 h 96821"/>
                  <a:gd name="connsiteX171" fmla="*/ 127126 w 185612"/>
                  <a:gd name="connsiteY171" fmla="*/ 80912 h 96821"/>
                  <a:gd name="connsiteX172" fmla="*/ 127732 w 185612"/>
                  <a:gd name="connsiteY172" fmla="*/ 80003 h 96821"/>
                  <a:gd name="connsiteX173" fmla="*/ 129853 w 185612"/>
                  <a:gd name="connsiteY173" fmla="*/ 79548 h 96821"/>
                  <a:gd name="connsiteX174" fmla="*/ 135308 w 185612"/>
                  <a:gd name="connsiteY174" fmla="*/ 80154 h 96821"/>
                  <a:gd name="connsiteX175" fmla="*/ 137581 w 185612"/>
                  <a:gd name="connsiteY175" fmla="*/ 78791 h 96821"/>
                  <a:gd name="connsiteX176" fmla="*/ 138339 w 185612"/>
                  <a:gd name="connsiteY176" fmla="*/ 78033 h 96821"/>
                  <a:gd name="connsiteX177" fmla="*/ 138945 w 185612"/>
                  <a:gd name="connsiteY177" fmla="*/ 76366 h 96821"/>
                  <a:gd name="connsiteX178" fmla="*/ 139551 w 185612"/>
                  <a:gd name="connsiteY178" fmla="*/ 75003 h 96821"/>
                  <a:gd name="connsiteX179" fmla="*/ 141520 w 185612"/>
                  <a:gd name="connsiteY179" fmla="*/ 74245 h 96821"/>
                  <a:gd name="connsiteX180" fmla="*/ 141520 w 185612"/>
                  <a:gd name="connsiteY180" fmla="*/ 73033 h 96821"/>
                  <a:gd name="connsiteX181" fmla="*/ 141217 w 185612"/>
                  <a:gd name="connsiteY181" fmla="*/ 71821 h 96821"/>
                  <a:gd name="connsiteX182" fmla="*/ 142278 w 185612"/>
                  <a:gd name="connsiteY182" fmla="*/ 68790 h 96821"/>
                  <a:gd name="connsiteX183" fmla="*/ 143036 w 185612"/>
                  <a:gd name="connsiteY183" fmla="*/ 67578 h 96821"/>
                  <a:gd name="connsiteX184" fmla="*/ 144096 w 185612"/>
                  <a:gd name="connsiteY184" fmla="*/ 67124 h 96821"/>
                  <a:gd name="connsiteX185" fmla="*/ 145460 w 185612"/>
                  <a:gd name="connsiteY185" fmla="*/ 66215 h 96821"/>
                  <a:gd name="connsiteX186" fmla="*/ 147884 w 185612"/>
                  <a:gd name="connsiteY186" fmla="*/ 64245 h 96821"/>
                  <a:gd name="connsiteX187" fmla="*/ 147278 w 185612"/>
                  <a:gd name="connsiteY187" fmla="*/ 62578 h 96821"/>
                  <a:gd name="connsiteX188" fmla="*/ 147733 w 185612"/>
                  <a:gd name="connsiteY188" fmla="*/ 61366 h 96821"/>
                  <a:gd name="connsiteX189" fmla="*/ 150157 w 185612"/>
                  <a:gd name="connsiteY189" fmla="*/ 58336 h 96821"/>
                  <a:gd name="connsiteX190" fmla="*/ 152127 w 185612"/>
                  <a:gd name="connsiteY190" fmla="*/ 55305 h 96821"/>
                  <a:gd name="connsiteX191" fmla="*/ 152127 w 185612"/>
                  <a:gd name="connsiteY191" fmla="*/ 53941 h 96821"/>
                  <a:gd name="connsiteX192" fmla="*/ 152279 w 185612"/>
                  <a:gd name="connsiteY192" fmla="*/ 52578 h 96821"/>
                  <a:gd name="connsiteX193" fmla="*/ 153945 w 185612"/>
                  <a:gd name="connsiteY193" fmla="*/ 51214 h 96821"/>
                  <a:gd name="connsiteX194" fmla="*/ 155763 w 185612"/>
                  <a:gd name="connsiteY194" fmla="*/ 49396 h 96821"/>
                  <a:gd name="connsiteX195" fmla="*/ 158037 w 185612"/>
                  <a:gd name="connsiteY195" fmla="*/ 43638 h 96821"/>
                  <a:gd name="connsiteX196" fmla="*/ 158794 w 185612"/>
                  <a:gd name="connsiteY196" fmla="*/ 42577 h 96821"/>
                  <a:gd name="connsiteX197" fmla="*/ 160309 w 185612"/>
                  <a:gd name="connsiteY197" fmla="*/ 41517 h 96821"/>
                  <a:gd name="connsiteX198" fmla="*/ 161521 w 185612"/>
                  <a:gd name="connsiteY198" fmla="*/ 40456 h 96821"/>
                  <a:gd name="connsiteX199" fmla="*/ 161673 w 185612"/>
                  <a:gd name="connsiteY199" fmla="*/ 36668 h 96821"/>
                  <a:gd name="connsiteX200" fmla="*/ 162582 w 185612"/>
                  <a:gd name="connsiteY200" fmla="*/ 35607 h 96821"/>
                  <a:gd name="connsiteX201" fmla="*/ 164703 w 185612"/>
                  <a:gd name="connsiteY201" fmla="*/ 34244 h 96821"/>
                  <a:gd name="connsiteX202" fmla="*/ 166673 w 185612"/>
                  <a:gd name="connsiteY202" fmla="*/ 32274 h 96821"/>
                  <a:gd name="connsiteX203" fmla="*/ 168340 w 185612"/>
                  <a:gd name="connsiteY203" fmla="*/ 30001 h 96821"/>
                  <a:gd name="connsiteX204" fmla="*/ 169552 w 185612"/>
                  <a:gd name="connsiteY204" fmla="*/ 28941 h 96821"/>
                  <a:gd name="connsiteX205" fmla="*/ 171219 w 185612"/>
                  <a:gd name="connsiteY205" fmla="*/ 28638 h 96821"/>
                  <a:gd name="connsiteX206" fmla="*/ 173037 w 185612"/>
                  <a:gd name="connsiteY206" fmla="*/ 27728 h 96821"/>
                  <a:gd name="connsiteX207" fmla="*/ 175007 w 185612"/>
                  <a:gd name="connsiteY207" fmla="*/ 27274 h 96821"/>
                  <a:gd name="connsiteX208" fmla="*/ 176977 w 185612"/>
                  <a:gd name="connsiteY208" fmla="*/ 27728 h 96821"/>
                  <a:gd name="connsiteX209" fmla="*/ 178189 w 185612"/>
                  <a:gd name="connsiteY209" fmla="*/ 27577 h 96821"/>
                  <a:gd name="connsiteX210" fmla="*/ 180158 w 185612"/>
                  <a:gd name="connsiteY210" fmla="*/ 26365 h 96821"/>
                  <a:gd name="connsiteX211" fmla="*/ 184856 w 185612"/>
                  <a:gd name="connsiteY211" fmla="*/ 22122 h 96821"/>
                  <a:gd name="connsiteX212" fmla="*/ 185613 w 185612"/>
                  <a:gd name="connsiteY212" fmla="*/ 21213 h 96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85612" h="96821">
                    <a:moveTo>
                      <a:pt x="185007" y="20758"/>
                    </a:moveTo>
                    <a:lnTo>
                      <a:pt x="184704" y="19546"/>
                    </a:lnTo>
                    <a:lnTo>
                      <a:pt x="185007" y="18334"/>
                    </a:lnTo>
                    <a:lnTo>
                      <a:pt x="184553" y="17273"/>
                    </a:lnTo>
                    <a:lnTo>
                      <a:pt x="183037" y="16061"/>
                    </a:lnTo>
                    <a:lnTo>
                      <a:pt x="182583" y="15607"/>
                    </a:lnTo>
                    <a:lnTo>
                      <a:pt x="180765" y="15758"/>
                    </a:lnTo>
                    <a:lnTo>
                      <a:pt x="180310" y="15758"/>
                    </a:lnTo>
                    <a:lnTo>
                      <a:pt x="180158" y="15758"/>
                    </a:lnTo>
                    <a:lnTo>
                      <a:pt x="177582" y="14698"/>
                    </a:lnTo>
                    <a:lnTo>
                      <a:pt x="175764" y="12273"/>
                    </a:lnTo>
                    <a:lnTo>
                      <a:pt x="173189" y="10910"/>
                    </a:lnTo>
                    <a:lnTo>
                      <a:pt x="171219" y="10455"/>
                    </a:lnTo>
                    <a:lnTo>
                      <a:pt x="170310" y="9394"/>
                    </a:lnTo>
                    <a:lnTo>
                      <a:pt x="169703" y="8031"/>
                    </a:lnTo>
                    <a:lnTo>
                      <a:pt x="169097" y="6970"/>
                    </a:lnTo>
                    <a:lnTo>
                      <a:pt x="168946" y="6819"/>
                    </a:lnTo>
                    <a:lnTo>
                      <a:pt x="168491" y="5152"/>
                    </a:lnTo>
                    <a:lnTo>
                      <a:pt x="167885" y="5000"/>
                    </a:lnTo>
                    <a:lnTo>
                      <a:pt x="167885" y="5000"/>
                    </a:lnTo>
                    <a:lnTo>
                      <a:pt x="165158" y="5303"/>
                    </a:lnTo>
                    <a:lnTo>
                      <a:pt x="164703" y="5606"/>
                    </a:lnTo>
                    <a:lnTo>
                      <a:pt x="155158" y="7576"/>
                    </a:lnTo>
                    <a:lnTo>
                      <a:pt x="153945" y="7273"/>
                    </a:lnTo>
                    <a:lnTo>
                      <a:pt x="152733" y="6212"/>
                    </a:lnTo>
                    <a:lnTo>
                      <a:pt x="151975" y="5455"/>
                    </a:lnTo>
                    <a:lnTo>
                      <a:pt x="151521" y="4849"/>
                    </a:lnTo>
                    <a:lnTo>
                      <a:pt x="150763" y="3182"/>
                    </a:lnTo>
                    <a:lnTo>
                      <a:pt x="149703" y="2121"/>
                    </a:lnTo>
                    <a:lnTo>
                      <a:pt x="148036" y="1212"/>
                    </a:lnTo>
                    <a:lnTo>
                      <a:pt x="146521" y="152"/>
                    </a:lnTo>
                    <a:lnTo>
                      <a:pt x="144703" y="0"/>
                    </a:lnTo>
                    <a:lnTo>
                      <a:pt x="139551" y="1515"/>
                    </a:lnTo>
                    <a:lnTo>
                      <a:pt x="136066" y="1667"/>
                    </a:lnTo>
                    <a:lnTo>
                      <a:pt x="133793" y="1212"/>
                    </a:lnTo>
                    <a:lnTo>
                      <a:pt x="130611" y="303"/>
                    </a:lnTo>
                    <a:lnTo>
                      <a:pt x="124550" y="152"/>
                    </a:lnTo>
                    <a:lnTo>
                      <a:pt x="120308" y="1061"/>
                    </a:lnTo>
                    <a:lnTo>
                      <a:pt x="119853" y="2121"/>
                    </a:lnTo>
                    <a:lnTo>
                      <a:pt x="116065" y="9091"/>
                    </a:lnTo>
                    <a:lnTo>
                      <a:pt x="110459" y="11667"/>
                    </a:lnTo>
                    <a:lnTo>
                      <a:pt x="105459" y="14243"/>
                    </a:lnTo>
                    <a:lnTo>
                      <a:pt x="104095" y="14849"/>
                    </a:lnTo>
                    <a:lnTo>
                      <a:pt x="101671" y="13940"/>
                    </a:lnTo>
                    <a:lnTo>
                      <a:pt x="98943" y="12425"/>
                    </a:lnTo>
                    <a:lnTo>
                      <a:pt x="96670" y="11667"/>
                    </a:lnTo>
                    <a:lnTo>
                      <a:pt x="95004" y="11970"/>
                    </a:lnTo>
                    <a:lnTo>
                      <a:pt x="93186" y="13788"/>
                    </a:lnTo>
                    <a:lnTo>
                      <a:pt x="92276" y="15607"/>
                    </a:lnTo>
                    <a:lnTo>
                      <a:pt x="86822" y="16819"/>
                    </a:lnTo>
                    <a:lnTo>
                      <a:pt x="77124" y="17576"/>
                    </a:lnTo>
                    <a:lnTo>
                      <a:pt x="73791" y="19395"/>
                    </a:lnTo>
                    <a:lnTo>
                      <a:pt x="72730" y="21516"/>
                    </a:lnTo>
                    <a:lnTo>
                      <a:pt x="72579" y="23183"/>
                    </a:lnTo>
                    <a:lnTo>
                      <a:pt x="73488" y="24546"/>
                    </a:lnTo>
                    <a:lnTo>
                      <a:pt x="72427" y="26213"/>
                    </a:lnTo>
                    <a:lnTo>
                      <a:pt x="71972" y="26819"/>
                    </a:lnTo>
                    <a:lnTo>
                      <a:pt x="65154" y="27122"/>
                    </a:lnTo>
                    <a:lnTo>
                      <a:pt x="56215" y="27728"/>
                    </a:lnTo>
                    <a:lnTo>
                      <a:pt x="50760" y="27577"/>
                    </a:lnTo>
                    <a:lnTo>
                      <a:pt x="45608" y="27425"/>
                    </a:lnTo>
                    <a:lnTo>
                      <a:pt x="42123" y="26062"/>
                    </a:lnTo>
                    <a:lnTo>
                      <a:pt x="37880" y="23334"/>
                    </a:lnTo>
                    <a:lnTo>
                      <a:pt x="33486" y="19698"/>
                    </a:lnTo>
                    <a:lnTo>
                      <a:pt x="33032" y="19698"/>
                    </a:lnTo>
                    <a:lnTo>
                      <a:pt x="32426" y="19243"/>
                    </a:lnTo>
                    <a:lnTo>
                      <a:pt x="29547" y="18940"/>
                    </a:lnTo>
                    <a:lnTo>
                      <a:pt x="28789" y="19243"/>
                    </a:lnTo>
                    <a:lnTo>
                      <a:pt x="27274" y="20758"/>
                    </a:lnTo>
                    <a:lnTo>
                      <a:pt x="26971" y="22880"/>
                    </a:lnTo>
                    <a:lnTo>
                      <a:pt x="25910" y="23789"/>
                    </a:lnTo>
                    <a:lnTo>
                      <a:pt x="25607" y="25152"/>
                    </a:lnTo>
                    <a:lnTo>
                      <a:pt x="26062" y="26213"/>
                    </a:lnTo>
                    <a:lnTo>
                      <a:pt x="26062" y="27577"/>
                    </a:lnTo>
                    <a:lnTo>
                      <a:pt x="26668" y="29547"/>
                    </a:lnTo>
                    <a:lnTo>
                      <a:pt x="24092" y="30001"/>
                    </a:lnTo>
                    <a:lnTo>
                      <a:pt x="21062" y="30001"/>
                    </a:lnTo>
                    <a:lnTo>
                      <a:pt x="20001" y="30001"/>
                    </a:lnTo>
                    <a:lnTo>
                      <a:pt x="18940" y="30607"/>
                    </a:lnTo>
                    <a:lnTo>
                      <a:pt x="17880" y="30304"/>
                    </a:lnTo>
                    <a:lnTo>
                      <a:pt x="15152" y="28486"/>
                    </a:lnTo>
                    <a:lnTo>
                      <a:pt x="13637" y="28183"/>
                    </a:lnTo>
                    <a:lnTo>
                      <a:pt x="12576" y="28183"/>
                    </a:lnTo>
                    <a:lnTo>
                      <a:pt x="11667" y="28941"/>
                    </a:lnTo>
                    <a:lnTo>
                      <a:pt x="10304" y="30001"/>
                    </a:lnTo>
                    <a:lnTo>
                      <a:pt x="8940" y="30759"/>
                    </a:lnTo>
                    <a:lnTo>
                      <a:pt x="9243" y="31365"/>
                    </a:lnTo>
                    <a:lnTo>
                      <a:pt x="15001" y="33032"/>
                    </a:lnTo>
                    <a:lnTo>
                      <a:pt x="15910" y="35607"/>
                    </a:lnTo>
                    <a:lnTo>
                      <a:pt x="14849" y="37577"/>
                    </a:lnTo>
                    <a:lnTo>
                      <a:pt x="14546" y="38638"/>
                    </a:lnTo>
                    <a:lnTo>
                      <a:pt x="13183" y="39395"/>
                    </a:lnTo>
                    <a:lnTo>
                      <a:pt x="11516" y="40153"/>
                    </a:lnTo>
                    <a:lnTo>
                      <a:pt x="9546" y="40305"/>
                    </a:lnTo>
                    <a:lnTo>
                      <a:pt x="9395" y="41365"/>
                    </a:lnTo>
                    <a:lnTo>
                      <a:pt x="10152" y="44699"/>
                    </a:lnTo>
                    <a:lnTo>
                      <a:pt x="9546" y="45305"/>
                    </a:lnTo>
                    <a:lnTo>
                      <a:pt x="8788" y="46365"/>
                    </a:lnTo>
                    <a:lnTo>
                      <a:pt x="9395" y="49093"/>
                    </a:lnTo>
                    <a:lnTo>
                      <a:pt x="10607" y="49244"/>
                    </a:lnTo>
                    <a:lnTo>
                      <a:pt x="10910" y="49850"/>
                    </a:lnTo>
                    <a:lnTo>
                      <a:pt x="10758" y="50911"/>
                    </a:lnTo>
                    <a:lnTo>
                      <a:pt x="10455" y="52123"/>
                    </a:lnTo>
                    <a:lnTo>
                      <a:pt x="10000" y="53335"/>
                    </a:lnTo>
                    <a:lnTo>
                      <a:pt x="9849" y="53790"/>
                    </a:lnTo>
                    <a:lnTo>
                      <a:pt x="9091" y="54244"/>
                    </a:lnTo>
                    <a:lnTo>
                      <a:pt x="6516" y="54093"/>
                    </a:lnTo>
                    <a:lnTo>
                      <a:pt x="4394" y="55002"/>
                    </a:lnTo>
                    <a:lnTo>
                      <a:pt x="0" y="58790"/>
                    </a:lnTo>
                    <a:lnTo>
                      <a:pt x="5152" y="58942"/>
                    </a:lnTo>
                    <a:lnTo>
                      <a:pt x="5910" y="60002"/>
                    </a:lnTo>
                    <a:lnTo>
                      <a:pt x="6212" y="61517"/>
                    </a:lnTo>
                    <a:lnTo>
                      <a:pt x="6667" y="63639"/>
                    </a:lnTo>
                    <a:lnTo>
                      <a:pt x="7425" y="64245"/>
                    </a:lnTo>
                    <a:lnTo>
                      <a:pt x="8031" y="65002"/>
                    </a:lnTo>
                    <a:lnTo>
                      <a:pt x="7879" y="66518"/>
                    </a:lnTo>
                    <a:lnTo>
                      <a:pt x="8940" y="67578"/>
                    </a:lnTo>
                    <a:lnTo>
                      <a:pt x="11213" y="70457"/>
                    </a:lnTo>
                    <a:lnTo>
                      <a:pt x="11516" y="71215"/>
                    </a:lnTo>
                    <a:lnTo>
                      <a:pt x="13031" y="71821"/>
                    </a:lnTo>
                    <a:lnTo>
                      <a:pt x="17880" y="74094"/>
                    </a:lnTo>
                    <a:lnTo>
                      <a:pt x="21213" y="76821"/>
                    </a:lnTo>
                    <a:lnTo>
                      <a:pt x="23183" y="79700"/>
                    </a:lnTo>
                    <a:lnTo>
                      <a:pt x="25759" y="81973"/>
                    </a:lnTo>
                    <a:lnTo>
                      <a:pt x="28941" y="83639"/>
                    </a:lnTo>
                    <a:lnTo>
                      <a:pt x="31365" y="85761"/>
                    </a:lnTo>
                    <a:lnTo>
                      <a:pt x="33335" y="88488"/>
                    </a:lnTo>
                    <a:lnTo>
                      <a:pt x="35911" y="90003"/>
                    </a:lnTo>
                    <a:lnTo>
                      <a:pt x="39244" y="90458"/>
                    </a:lnTo>
                    <a:lnTo>
                      <a:pt x="41365" y="91367"/>
                    </a:lnTo>
                    <a:lnTo>
                      <a:pt x="42274" y="92882"/>
                    </a:lnTo>
                    <a:lnTo>
                      <a:pt x="44093" y="94246"/>
                    </a:lnTo>
                    <a:lnTo>
                      <a:pt x="46820" y="95458"/>
                    </a:lnTo>
                    <a:lnTo>
                      <a:pt x="51214" y="96216"/>
                    </a:lnTo>
                    <a:lnTo>
                      <a:pt x="59396" y="96367"/>
                    </a:lnTo>
                    <a:lnTo>
                      <a:pt x="60154" y="96367"/>
                    </a:lnTo>
                    <a:lnTo>
                      <a:pt x="61972" y="96822"/>
                    </a:lnTo>
                    <a:lnTo>
                      <a:pt x="64093" y="96367"/>
                    </a:lnTo>
                    <a:lnTo>
                      <a:pt x="66821" y="95307"/>
                    </a:lnTo>
                    <a:lnTo>
                      <a:pt x="67579" y="94700"/>
                    </a:lnTo>
                    <a:lnTo>
                      <a:pt x="70458" y="91519"/>
                    </a:lnTo>
                    <a:lnTo>
                      <a:pt x="71972" y="91822"/>
                    </a:lnTo>
                    <a:lnTo>
                      <a:pt x="75003" y="91367"/>
                    </a:lnTo>
                    <a:lnTo>
                      <a:pt x="76821" y="90761"/>
                    </a:lnTo>
                    <a:lnTo>
                      <a:pt x="76973" y="90761"/>
                    </a:lnTo>
                    <a:lnTo>
                      <a:pt x="77579" y="90761"/>
                    </a:lnTo>
                    <a:lnTo>
                      <a:pt x="80003" y="89700"/>
                    </a:lnTo>
                    <a:lnTo>
                      <a:pt x="80761" y="88943"/>
                    </a:lnTo>
                    <a:lnTo>
                      <a:pt x="81367" y="88034"/>
                    </a:lnTo>
                    <a:lnTo>
                      <a:pt x="81973" y="87882"/>
                    </a:lnTo>
                    <a:lnTo>
                      <a:pt x="83488" y="88791"/>
                    </a:lnTo>
                    <a:lnTo>
                      <a:pt x="85155" y="88943"/>
                    </a:lnTo>
                    <a:lnTo>
                      <a:pt x="87124" y="88337"/>
                    </a:lnTo>
                    <a:lnTo>
                      <a:pt x="88488" y="87427"/>
                    </a:lnTo>
                    <a:lnTo>
                      <a:pt x="90307" y="86670"/>
                    </a:lnTo>
                    <a:lnTo>
                      <a:pt x="91064" y="86215"/>
                    </a:lnTo>
                    <a:lnTo>
                      <a:pt x="91973" y="85458"/>
                    </a:lnTo>
                    <a:lnTo>
                      <a:pt x="94095" y="83033"/>
                    </a:lnTo>
                    <a:lnTo>
                      <a:pt x="96367" y="82579"/>
                    </a:lnTo>
                    <a:lnTo>
                      <a:pt x="99398" y="83185"/>
                    </a:lnTo>
                    <a:lnTo>
                      <a:pt x="102580" y="83336"/>
                    </a:lnTo>
                    <a:lnTo>
                      <a:pt x="105155" y="82882"/>
                    </a:lnTo>
                    <a:lnTo>
                      <a:pt x="111368" y="83488"/>
                    </a:lnTo>
                    <a:lnTo>
                      <a:pt x="112580" y="84094"/>
                    </a:lnTo>
                    <a:lnTo>
                      <a:pt x="113489" y="84700"/>
                    </a:lnTo>
                    <a:lnTo>
                      <a:pt x="114550" y="83791"/>
                    </a:lnTo>
                    <a:lnTo>
                      <a:pt x="120762" y="82730"/>
                    </a:lnTo>
                    <a:lnTo>
                      <a:pt x="123641" y="83791"/>
                    </a:lnTo>
                    <a:lnTo>
                      <a:pt x="125005" y="83488"/>
                    </a:lnTo>
                    <a:lnTo>
                      <a:pt x="126217" y="82427"/>
                    </a:lnTo>
                    <a:lnTo>
                      <a:pt x="126974" y="81821"/>
                    </a:lnTo>
                    <a:lnTo>
                      <a:pt x="127126" y="80912"/>
                    </a:lnTo>
                    <a:lnTo>
                      <a:pt x="127732" y="80003"/>
                    </a:lnTo>
                    <a:lnTo>
                      <a:pt x="129853" y="79548"/>
                    </a:lnTo>
                    <a:lnTo>
                      <a:pt x="135308" y="80154"/>
                    </a:lnTo>
                    <a:lnTo>
                      <a:pt x="137581" y="78791"/>
                    </a:lnTo>
                    <a:lnTo>
                      <a:pt x="138339" y="78033"/>
                    </a:lnTo>
                    <a:lnTo>
                      <a:pt x="138945" y="76366"/>
                    </a:lnTo>
                    <a:lnTo>
                      <a:pt x="139551" y="75003"/>
                    </a:lnTo>
                    <a:lnTo>
                      <a:pt x="141520" y="74245"/>
                    </a:lnTo>
                    <a:lnTo>
                      <a:pt x="141520" y="73033"/>
                    </a:lnTo>
                    <a:lnTo>
                      <a:pt x="141217" y="71821"/>
                    </a:lnTo>
                    <a:lnTo>
                      <a:pt x="142278" y="68790"/>
                    </a:lnTo>
                    <a:lnTo>
                      <a:pt x="143036" y="67578"/>
                    </a:lnTo>
                    <a:lnTo>
                      <a:pt x="144096" y="67124"/>
                    </a:lnTo>
                    <a:lnTo>
                      <a:pt x="145460" y="66215"/>
                    </a:lnTo>
                    <a:lnTo>
                      <a:pt x="147884" y="64245"/>
                    </a:lnTo>
                    <a:lnTo>
                      <a:pt x="147278" y="62578"/>
                    </a:lnTo>
                    <a:lnTo>
                      <a:pt x="147733" y="61366"/>
                    </a:lnTo>
                    <a:lnTo>
                      <a:pt x="150157" y="58336"/>
                    </a:lnTo>
                    <a:lnTo>
                      <a:pt x="152127" y="55305"/>
                    </a:lnTo>
                    <a:lnTo>
                      <a:pt x="152127" y="53941"/>
                    </a:lnTo>
                    <a:lnTo>
                      <a:pt x="152279" y="52578"/>
                    </a:lnTo>
                    <a:lnTo>
                      <a:pt x="153945" y="51214"/>
                    </a:lnTo>
                    <a:lnTo>
                      <a:pt x="155763" y="49396"/>
                    </a:lnTo>
                    <a:lnTo>
                      <a:pt x="158037" y="43638"/>
                    </a:lnTo>
                    <a:lnTo>
                      <a:pt x="158794" y="42577"/>
                    </a:lnTo>
                    <a:lnTo>
                      <a:pt x="160309" y="41517"/>
                    </a:lnTo>
                    <a:lnTo>
                      <a:pt x="161521" y="40456"/>
                    </a:lnTo>
                    <a:lnTo>
                      <a:pt x="161673" y="36668"/>
                    </a:lnTo>
                    <a:lnTo>
                      <a:pt x="162582" y="35607"/>
                    </a:lnTo>
                    <a:lnTo>
                      <a:pt x="164703" y="34244"/>
                    </a:lnTo>
                    <a:lnTo>
                      <a:pt x="166673" y="32274"/>
                    </a:lnTo>
                    <a:lnTo>
                      <a:pt x="168340" y="30001"/>
                    </a:lnTo>
                    <a:lnTo>
                      <a:pt x="169552" y="28941"/>
                    </a:lnTo>
                    <a:lnTo>
                      <a:pt x="171219" y="28638"/>
                    </a:lnTo>
                    <a:lnTo>
                      <a:pt x="173037" y="27728"/>
                    </a:lnTo>
                    <a:lnTo>
                      <a:pt x="175007" y="27274"/>
                    </a:lnTo>
                    <a:lnTo>
                      <a:pt x="176977" y="27728"/>
                    </a:lnTo>
                    <a:lnTo>
                      <a:pt x="178189" y="27577"/>
                    </a:lnTo>
                    <a:lnTo>
                      <a:pt x="180158" y="26365"/>
                    </a:lnTo>
                    <a:lnTo>
                      <a:pt x="184856" y="22122"/>
                    </a:lnTo>
                    <a:lnTo>
                      <a:pt x="185613" y="2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4" name="Freeform: Shape 3263">
                <a:extLst>
                  <a:ext uri="{FF2B5EF4-FFF2-40B4-BE49-F238E27FC236}">
                    <a16:creationId xmlns:a16="http://schemas.microsoft.com/office/drawing/2014/main" id="{15C5D58E-6391-4A69-B7AB-ED0AB7152CA5}"/>
                  </a:ext>
                </a:extLst>
              </p:cNvPr>
              <p:cNvSpPr/>
              <p:nvPr/>
            </p:nvSpPr>
            <p:spPr>
              <a:xfrm>
                <a:off x="3739246" y="4008640"/>
                <a:ext cx="77729" cy="57729"/>
              </a:xfrm>
              <a:custGeom>
                <a:avLst/>
                <a:gdLst>
                  <a:gd name="connsiteX0" fmla="*/ 43941 w 77729"/>
                  <a:gd name="connsiteY0" fmla="*/ 1667 h 57729"/>
                  <a:gd name="connsiteX1" fmla="*/ 44850 w 77729"/>
                  <a:gd name="connsiteY1" fmla="*/ 1515 h 57729"/>
                  <a:gd name="connsiteX2" fmla="*/ 47729 w 77729"/>
                  <a:gd name="connsiteY2" fmla="*/ 2424 h 57729"/>
                  <a:gd name="connsiteX3" fmla="*/ 50456 w 77729"/>
                  <a:gd name="connsiteY3" fmla="*/ 2879 h 57729"/>
                  <a:gd name="connsiteX4" fmla="*/ 50911 w 77729"/>
                  <a:gd name="connsiteY4" fmla="*/ 2121 h 57729"/>
                  <a:gd name="connsiteX5" fmla="*/ 49850 w 77729"/>
                  <a:gd name="connsiteY5" fmla="*/ 1515 h 57729"/>
                  <a:gd name="connsiteX6" fmla="*/ 46365 w 77729"/>
                  <a:gd name="connsiteY6" fmla="*/ 0 h 57729"/>
                  <a:gd name="connsiteX7" fmla="*/ 44699 w 77729"/>
                  <a:gd name="connsiteY7" fmla="*/ 0 h 57729"/>
                  <a:gd name="connsiteX8" fmla="*/ 43183 w 77729"/>
                  <a:gd name="connsiteY8" fmla="*/ 152 h 57729"/>
                  <a:gd name="connsiteX9" fmla="*/ 41668 w 77729"/>
                  <a:gd name="connsiteY9" fmla="*/ 758 h 57729"/>
                  <a:gd name="connsiteX10" fmla="*/ 43335 w 77729"/>
                  <a:gd name="connsiteY10" fmla="*/ 1667 h 57729"/>
                  <a:gd name="connsiteX11" fmla="*/ 43941 w 77729"/>
                  <a:gd name="connsiteY11" fmla="*/ 1667 h 57729"/>
                  <a:gd name="connsiteX12" fmla="*/ 77427 w 77729"/>
                  <a:gd name="connsiteY12" fmla="*/ 26971 h 57729"/>
                  <a:gd name="connsiteX13" fmla="*/ 77730 w 77729"/>
                  <a:gd name="connsiteY13" fmla="*/ 26062 h 57729"/>
                  <a:gd name="connsiteX14" fmla="*/ 77730 w 77729"/>
                  <a:gd name="connsiteY14" fmla="*/ 25152 h 57729"/>
                  <a:gd name="connsiteX15" fmla="*/ 75003 w 77729"/>
                  <a:gd name="connsiteY15" fmla="*/ 22577 h 57729"/>
                  <a:gd name="connsiteX16" fmla="*/ 74851 w 77729"/>
                  <a:gd name="connsiteY16" fmla="*/ 21516 h 57729"/>
                  <a:gd name="connsiteX17" fmla="*/ 76063 w 77729"/>
                  <a:gd name="connsiteY17" fmla="*/ 18789 h 57729"/>
                  <a:gd name="connsiteX18" fmla="*/ 75912 w 77729"/>
                  <a:gd name="connsiteY18" fmla="*/ 16970 h 57729"/>
                  <a:gd name="connsiteX19" fmla="*/ 74700 w 77729"/>
                  <a:gd name="connsiteY19" fmla="*/ 11213 h 57729"/>
                  <a:gd name="connsiteX20" fmla="*/ 74094 w 77729"/>
                  <a:gd name="connsiteY20" fmla="*/ 10304 h 57729"/>
                  <a:gd name="connsiteX21" fmla="*/ 72578 w 77729"/>
                  <a:gd name="connsiteY21" fmla="*/ 10910 h 57729"/>
                  <a:gd name="connsiteX22" fmla="*/ 69245 w 77729"/>
                  <a:gd name="connsiteY22" fmla="*/ 10152 h 57729"/>
                  <a:gd name="connsiteX23" fmla="*/ 61972 w 77729"/>
                  <a:gd name="connsiteY23" fmla="*/ 9546 h 57729"/>
                  <a:gd name="connsiteX24" fmla="*/ 56214 w 77729"/>
                  <a:gd name="connsiteY24" fmla="*/ 7576 h 57729"/>
                  <a:gd name="connsiteX25" fmla="*/ 50608 w 77729"/>
                  <a:gd name="connsiteY25" fmla="*/ 5152 h 57729"/>
                  <a:gd name="connsiteX26" fmla="*/ 44092 w 77729"/>
                  <a:gd name="connsiteY26" fmla="*/ 4394 h 57729"/>
                  <a:gd name="connsiteX27" fmla="*/ 37425 w 77729"/>
                  <a:gd name="connsiteY27" fmla="*/ 5152 h 57729"/>
                  <a:gd name="connsiteX28" fmla="*/ 34698 w 77729"/>
                  <a:gd name="connsiteY28" fmla="*/ 5758 h 57729"/>
                  <a:gd name="connsiteX29" fmla="*/ 31971 w 77729"/>
                  <a:gd name="connsiteY29" fmla="*/ 6516 h 57729"/>
                  <a:gd name="connsiteX30" fmla="*/ 29698 w 77729"/>
                  <a:gd name="connsiteY30" fmla="*/ 7879 h 57729"/>
                  <a:gd name="connsiteX31" fmla="*/ 28637 w 77729"/>
                  <a:gd name="connsiteY31" fmla="*/ 10304 h 57729"/>
                  <a:gd name="connsiteX32" fmla="*/ 29849 w 77729"/>
                  <a:gd name="connsiteY32" fmla="*/ 12122 h 57729"/>
                  <a:gd name="connsiteX33" fmla="*/ 32122 w 77729"/>
                  <a:gd name="connsiteY33" fmla="*/ 12728 h 57729"/>
                  <a:gd name="connsiteX34" fmla="*/ 39244 w 77729"/>
                  <a:gd name="connsiteY34" fmla="*/ 13485 h 57729"/>
                  <a:gd name="connsiteX35" fmla="*/ 44395 w 77729"/>
                  <a:gd name="connsiteY35" fmla="*/ 15910 h 57729"/>
                  <a:gd name="connsiteX36" fmla="*/ 48789 w 77729"/>
                  <a:gd name="connsiteY36" fmla="*/ 18334 h 57729"/>
                  <a:gd name="connsiteX37" fmla="*/ 47729 w 77729"/>
                  <a:gd name="connsiteY37" fmla="*/ 21061 h 57729"/>
                  <a:gd name="connsiteX38" fmla="*/ 46971 w 77729"/>
                  <a:gd name="connsiteY38" fmla="*/ 23940 h 57729"/>
                  <a:gd name="connsiteX39" fmla="*/ 47729 w 77729"/>
                  <a:gd name="connsiteY39" fmla="*/ 26971 h 57729"/>
                  <a:gd name="connsiteX40" fmla="*/ 45759 w 77729"/>
                  <a:gd name="connsiteY40" fmla="*/ 28637 h 57729"/>
                  <a:gd name="connsiteX41" fmla="*/ 50153 w 77729"/>
                  <a:gd name="connsiteY41" fmla="*/ 33638 h 57729"/>
                  <a:gd name="connsiteX42" fmla="*/ 55154 w 77729"/>
                  <a:gd name="connsiteY42" fmla="*/ 37880 h 57729"/>
                  <a:gd name="connsiteX43" fmla="*/ 58335 w 77729"/>
                  <a:gd name="connsiteY43" fmla="*/ 39850 h 57729"/>
                  <a:gd name="connsiteX44" fmla="*/ 58335 w 77729"/>
                  <a:gd name="connsiteY44" fmla="*/ 41365 h 57729"/>
                  <a:gd name="connsiteX45" fmla="*/ 57578 w 77729"/>
                  <a:gd name="connsiteY45" fmla="*/ 42729 h 57729"/>
                  <a:gd name="connsiteX46" fmla="*/ 56366 w 77729"/>
                  <a:gd name="connsiteY46" fmla="*/ 43183 h 57729"/>
                  <a:gd name="connsiteX47" fmla="*/ 50911 w 77729"/>
                  <a:gd name="connsiteY47" fmla="*/ 43335 h 57729"/>
                  <a:gd name="connsiteX48" fmla="*/ 49699 w 77729"/>
                  <a:gd name="connsiteY48" fmla="*/ 44396 h 57729"/>
                  <a:gd name="connsiteX49" fmla="*/ 48638 w 77729"/>
                  <a:gd name="connsiteY49" fmla="*/ 45759 h 57729"/>
                  <a:gd name="connsiteX50" fmla="*/ 47426 w 77729"/>
                  <a:gd name="connsiteY50" fmla="*/ 46517 h 57729"/>
                  <a:gd name="connsiteX51" fmla="*/ 46062 w 77729"/>
                  <a:gd name="connsiteY51" fmla="*/ 46668 h 57729"/>
                  <a:gd name="connsiteX52" fmla="*/ 42577 w 77729"/>
                  <a:gd name="connsiteY52" fmla="*/ 46062 h 57729"/>
                  <a:gd name="connsiteX53" fmla="*/ 24092 w 77729"/>
                  <a:gd name="connsiteY53" fmla="*/ 44244 h 57729"/>
                  <a:gd name="connsiteX54" fmla="*/ 21516 w 77729"/>
                  <a:gd name="connsiteY54" fmla="*/ 43032 h 57729"/>
                  <a:gd name="connsiteX55" fmla="*/ 16667 w 77729"/>
                  <a:gd name="connsiteY55" fmla="*/ 42729 h 57729"/>
                  <a:gd name="connsiteX56" fmla="*/ 13637 w 77729"/>
                  <a:gd name="connsiteY56" fmla="*/ 41971 h 57729"/>
                  <a:gd name="connsiteX57" fmla="*/ 10303 w 77729"/>
                  <a:gd name="connsiteY57" fmla="*/ 40911 h 57729"/>
                  <a:gd name="connsiteX58" fmla="*/ 6818 w 77729"/>
                  <a:gd name="connsiteY58" fmla="*/ 40305 h 57729"/>
                  <a:gd name="connsiteX59" fmla="*/ 5303 w 77729"/>
                  <a:gd name="connsiteY59" fmla="*/ 40456 h 57729"/>
                  <a:gd name="connsiteX60" fmla="*/ 2424 w 77729"/>
                  <a:gd name="connsiteY60" fmla="*/ 41365 h 57729"/>
                  <a:gd name="connsiteX61" fmla="*/ 0 w 77729"/>
                  <a:gd name="connsiteY61" fmla="*/ 46214 h 57729"/>
                  <a:gd name="connsiteX62" fmla="*/ 455 w 77729"/>
                  <a:gd name="connsiteY62" fmla="*/ 47881 h 57729"/>
                  <a:gd name="connsiteX63" fmla="*/ 1515 w 77729"/>
                  <a:gd name="connsiteY63" fmla="*/ 49244 h 57729"/>
                  <a:gd name="connsiteX64" fmla="*/ 7727 w 77729"/>
                  <a:gd name="connsiteY64" fmla="*/ 51366 h 57729"/>
                  <a:gd name="connsiteX65" fmla="*/ 10758 w 77729"/>
                  <a:gd name="connsiteY65" fmla="*/ 52881 h 57729"/>
                  <a:gd name="connsiteX66" fmla="*/ 13334 w 77729"/>
                  <a:gd name="connsiteY66" fmla="*/ 54851 h 57729"/>
                  <a:gd name="connsiteX67" fmla="*/ 16213 w 77729"/>
                  <a:gd name="connsiteY67" fmla="*/ 57729 h 57729"/>
                  <a:gd name="connsiteX68" fmla="*/ 17425 w 77729"/>
                  <a:gd name="connsiteY68" fmla="*/ 57275 h 57729"/>
                  <a:gd name="connsiteX69" fmla="*/ 17879 w 77729"/>
                  <a:gd name="connsiteY69" fmla="*/ 55457 h 57729"/>
                  <a:gd name="connsiteX70" fmla="*/ 20001 w 77729"/>
                  <a:gd name="connsiteY70" fmla="*/ 53487 h 57729"/>
                  <a:gd name="connsiteX71" fmla="*/ 22880 w 77729"/>
                  <a:gd name="connsiteY71" fmla="*/ 52426 h 57729"/>
                  <a:gd name="connsiteX72" fmla="*/ 26364 w 77729"/>
                  <a:gd name="connsiteY72" fmla="*/ 51972 h 57729"/>
                  <a:gd name="connsiteX73" fmla="*/ 29849 w 77729"/>
                  <a:gd name="connsiteY73" fmla="*/ 51820 h 57729"/>
                  <a:gd name="connsiteX74" fmla="*/ 32880 w 77729"/>
                  <a:gd name="connsiteY74" fmla="*/ 52275 h 57729"/>
                  <a:gd name="connsiteX75" fmla="*/ 35910 w 77729"/>
                  <a:gd name="connsiteY75" fmla="*/ 53032 h 57729"/>
                  <a:gd name="connsiteX76" fmla="*/ 43638 w 77729"/>
                  <a:gd name="connsiteY76" fmla="*/ 54548 h 57729"/>
                  <a:gd name="connsiteX77" fmla="*/ 46971 w 77729"/>
                  <a:gd name="connsiteY77" fmla="*/ 54396 h 57729"/>
                  <a:gd name="connsiteX78" fmla="*/ 50305 w 77729"/>
                  <a:gd name="connsiteY78" fmla="*/ 53790 h 57729"/>
                  <a:gd name="connsiteX79" fmla="*/ 51366 w 77729"/>
                  <a:gd name="connsiteY79" fmla="*/ 53487 h 57729"/>
                  <a:gd name="connsiteX80" fmla="*/ 52426 w 77729"/>
                  <a:gd name="connsiteY80" fmla="*/ 52881 h 57729"/>
                  <a:gd name="connsiteX81" fmla="*/ 53790 w 77729"/>
                  <a:gd name="connsiteY81" fmla="*/ 52578 h 57729"/>
                  <a:gd name="connsiteX82" fmla="*/ 65911 w 77729"/>
                  <a:gd name="connsiteY82" fmla="*/ 52275 h 57729"/>
                  <a:gd name="connsiteX83" fmla="*/ 67427 w 77729"/>
                  <a:gd name="connsiteY83" fmla="*/ 52729 h 57729"/>
                  <a:gd name="connsiteX84" fmla="*/ 68942 w 77729"/>
                  <a:gd name="connsiteY84" fmla="*/ 53487 h 57729"/>
                  <a:gd name="connsiteX85" fmla="*/ 71518 w 77729"/>
                  <a:gd name="connsiteY85" fmla="*/ 55305 h 57729"/>
                  <a:gd name="connsiteX86" fmla="*/ 73791 w 77729"/>
                  <a:gd name="connsiteY86" fmla="*/ 57578 h 57729"/>
                  <a:gd name="connsiteX87" fmla="*/ 73942 w 77729"/>
                  <a:gd name="connsiteY87" fmla="*/ 52881 h 57729"/>
                  <a:gd name="connsiteX88" fmla="*/ 74700 w 77729"/>
                  <a:gd name="connsiteY88" fmla="*/ 51063 h 57729"/>
                  <a:gd name="connsiteX89" fmla="*/ 74094 w 77729"/>
                  <a:gd name="connsiteY89" fmla="*/ 49093 h 57729"/>
                  <a:gd name="connsiteX90" fmla="*/ 71063 w 77729"/>
                  <a:gd name="connsiteY90" fmla="*/ 46972 h 57729"/>
                  <a:gd name="connsiteX91" fmla="*/ 69245 w 77729"/>
                  <a:gd name="connsiteY91" fmla="*/ 44244 h 57729"/>
                  <a:gd name="connsiteX92" fmla="*/ 67578 w 77729"/>
                  <a:gd name="connsiteY92" fmla="*/ 41820 h 57729"/>
                  <a:gd name="connsiteX93" fmla="*/ 67881 w 77729"/>
                  <a:gd name="connsiteY93" fmla="*/ 41517 h 57729"/>
                  <a:gd name="connsiteX94" fmla="*/ 71215 w 77729"/>
                  <a:gd name="connsiteY94" fmla="*/ 41365 h 57729"/>
                  <a:gd name="connsiteX95" fmla="*/ 72427 w 77729"/>
                  <a:gd name="connsiteY95" fmla="*/ 40456 h 57729"/>
                  <a:gd name="connsiteX96" fmla="*/ 74700 w 77729"/>
                  <a:gd name="connsiteY96" fmla="*/ 38032 h 57729"/>
                  <a:gd name="connsiteX97" fmla="*/ 75154 w 77729"/>
                  <a:gd name="connsiteY97" fmla="*/ 36062 h 57729"/>
                  <a:gd name="connsiteX98" fmla="*/ 75003 w 77729"/>
                  <a:gd name="connsiteY98" fmla="*/ 34547 h 57729"/>
                  <a:gd name="connsiteX99" fmla="*/ 73487 w 77729"/>
                  <a:gd name="connsiteY99" fmla="*/ 32729 h 57729"/>
                  <a:gd name="connsiteX100" fmla="*/ 72881 w 77729"/>
                  <a:gd name="connsiteY100" fmla="*/ 30910 h 57729"/>
                  <a:gd name="connsiteX101" fmla="*/ 74700 w 77729"/>
                  <a:gd name="connsiteY101" fmla="*/ 29244 h 57729"/>
                  <a:gd name="connsiteX102" fmla="*/ 77427 w 77729"/>
                  <a:gd name="connsiteY102" fmla="*/ 26971 h 57729"/>
                  <a:gd name="connsiteX103" fmla="*/ 45911 w 77729"/>
                  <a:gd name="connsiteY103" fmla="*/ 36971 h 57729"/>
                  <a:gd name="connsiteX104" fmla="*/ 42729 w 77729"/>
                  <a:gd name="connsiteY104" fmla="*/ 34547 h 57729"/>
                  <a:gd name="connsiteX105" fmla="*/ 38638 w 77729"/>
                  <a:gd name="connsiteY105" fmla="*/ 32577 h 57729"/>
                  <a:gd name="connsiteX106" fmla="*/ 35910 w 77729"/>
                  <a:gd name="connsiteY106" fmla="*/ 31516 h 57729"/>
                  <a:gd name="connsiteX107" fmla="*/ 33031 w 77729"/>
                  <a:gd name="connsiteY107" fmla="*/ 31819 h 57729"/>
                  <a:gd name="connsiteX108" fmla="*/ 32728 w 77729"/>
                  <a:gd name="connsiteY108" fmla="*/ 33486 h 57729"/>
                  <a:gd name="connsiteX109" fmla="*/ 38335 w 77729"/>
                  <a:gd name="connsiteY109" fmla="*/ 36517 h 57729"/>
                  <a:gd name="connsiteX110" fmla="*/ 45305 w 77729"/>
                  <a:gd name="connsiteY110" fmla="*/ 38941 h 57729"/>
                  <a:gd name="connsiteX111" fmla="*/ 45911 w 77729"/>
                  <a:gd name="connsiteY111" fmla="*/ 36971 h 57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7729" h="57729">
                    <a:moveTo>
                      <a:pt x="43941" y="1667"/>
                    </a:moveTo>
                    <a:lnTo>
                      <a:pt x="44850" y="1515"/>
                    </a:lnTo>
                    <a:lnTo>
                      <a:pt x="47729" y="2424"/>
                    </a:lnTo>
                    <a:lnTo>
                      <a:pt x="50456" y="2879"/>
                    </a:lnTo>
                    <a:lnTo>
                      <a:pt x="50911" y="2121"/>
                    </a:lnTo>
                    <a:lnTo>
                      <a:pt x="49850" y="1515"/>
                    </a:lnTo>
                    <a:lnTo>
                      <a:pt x="46365" y="0"/>
                    </a:lnTo>
                    <a:lnTo>
                      <a:pt x="44699" y="0"/>
                    </a:lnTo>
                    <a:lnTo>
                      <a:pt x="43183" y="152"/>
                    </a:lnTo>
                    <a:lnTo>
                      <a:pt x="41668" y="758"/>
                    </a:lnTo>
                    <a:lnTo>
                      <a:pt x="43335" y="1667"/>
                    </a:lnTo>
                    <a:lnTo>
                      <a:pt x="43941" y="1667"/>
                    </a:lnTo>
                    <a:close/>
                    <a:moveTo>
                      <a:pt x="77427" y="26971"/>
                    </a:moveTo>
                    <a:lnTo>
                      <a:pt x="77730" y="26062"/>
                    </a:lnTo>
                    <a:lnTo>
                      <a:pt x="77730" y="25152"/>
                    </a:lnTo>
                    <a:lnTo>
                      <a:pt x="75003" y="22577"/>
                    </a:lnTo>
                    <a:lnTo>
                      <a:pt x="74851" y="21516"/>
                    </a:lnTo>
                    <a:lnTo>
                      <a:pt x="76063" y="18789"/>
                    </a:lnTo>
                    <a:lnTo>
                      <a:pt x="75912" y="16970"/>
                    </a:lnTo>
                    <a:lnTo>
                      <a:pt x="74700" y="11213"/>
                    </a:lnTo>
                    <a:lnTo>
                      <a:pt x="74094" y="10304"/>
                    </a:lnTo>
                    <a:lnTo>
                      <a:pt x="72578" y="10910"/>
                    </a:lnTo>
                    <a:lnTo>
                      <a:pt x="69245" y="10152"/>
                    </a:lnTo>
                    <a:lnTo>
                      <a:pt x="61972" y="9546"/>
                    </a:lnTo>
                    <a:lnTo>
                      <a:pt x="56214" y="7576"/>
                    </a:lnTo>
                    <a:lnTo>
                      <a:pt x="50608" y="5152"/>
                    </a:lnTo>
                    <a:lnTo>
                      <a:pt x="44092" y="4394"/>
                    </a:lnTo>
                    <a:lnTo>
                      <a:pt x="37425" y="5152"/>
                    </a:lnTo>
                    <a:lnTo>
                      <a:pt x="34698" y="5758"/>
                    </a:lnTo>
                    <a:lnTo>
                      <a:pt x="31971" y="6516"/>
                    </a:lnTo>
                    <a:lnTo>
                      <a:pt x="29698" y="7879"/>
                    </a:lnTo>
                    <a:lnTo>
                      <a:pt x="28637" y="10304"/>
                    </a:lnTo>
                    <a:lnTo>
                      <a:pt x="29849" y="12122"/>
                    </a:lnTo>
                    <a:lnTo>
                      <a:pt x="32122" y="12728"/>
                    </a:lnTo>
                    <a:lnTo>
                      <a:pt x="39244" y="13485"/>
                    </a:lnTo>
                    <a:lnTo>
                      <a:pt x="44395" y="15910"/>
                    </a:lnTo>
                    <a:lnTo>
                      <a:pt x="48789" y="18334"/>
                    </a:lnTo>
                    <a:lnTo>
                      <a:pt x="47729" y="21061"/>
                    </a:lnTo>
                    <a:lnTo>
                      <a:pt x="46971" y="23940"/>
                    </a:lnTo>
                    <a:lnTo>
                      <a:pt x="47729" y="26971"/>
                    </a:lnTo>
                    <a:lnTo>
                      <a:pt x="45759" y="28637"/>
                    </a:lnTo>
                    <a:lnTo>
                      <a:pt x="50153" y="33638"/>
                    </a:lnTo>
                    <a:lnTo>
                      <a:pt x="55154" y="37880"/>
                    </a:lnTo>
                    <a:lnTo>
                      <a:pt x="58335" y="39850"/>
                    </a:lnTo>
                    <a:lnTo>
                      <a:pt x="58335" y="41365"/>
                    </a:lnTo>
                    <a:lnTo>
                      <a:pt x="57578" y="42729"/>
                    </a:lnTo>
                    <a:lnTo>
                      <a:pt x="56366" y="43183"/>
                    </a:lnTo>
                    <a:lnTo>
                      <a:pt x="50911" y="43335"/>
                    </a:lnTo>
                    <a:lnTo>
                      <a:pt x="49699" y="44396"/>
                    </a:lnTo>
                    <a:lnTo>
                      <a:pt x="48638" y="45759"/>
                    </a:lnTo>
                    <a:lnTo>
                      <a:pt x="47426" y="46517"/>
                    </a:lnTo>
                    <a:lnTo>
                      <a:pt x="46062" y="46668"/>
                    </a:lnTo>
                    <a:lnTo>
                      <a:pt x="42577" y="46062"/>
                    </a:lnTo>
                    <a:lnTo>
                      <a:pt x="24092" y="44244"/>
                    </a:lnTo>
                    <a:lnTo>
                      <a:pt x="21516" y="43032"/>
                    </a:lnTo>
                    <a:lnTo>
                      <a:pt x="16667" y="42729"/>
                    </a:lnTo>
                    <a:lnTo>
                      <a:pt x="13637" y="41971"/>
                    </a:lnTo>
                    <a:lnTo>
                      <a:pt x="10303" y="40911"/>
                    </a:lnTo>
                    <a:lnTo>
                      <a:pt x="6818" y="40305"/>
                    </a:lnTo>
                    <a:lnTo>
                      <a:pt x="5303" y="40456"/>
                    </a:lnTo>
                    <a:lnTo>
                      <a:pt x="2424" y="41365"/>
                    </a:lnTo>
                    <a:lnTo>
                      <a:pt x="0" y="46214"/>
                    </a:lnTo>
                    <a:lnTo>
                      <a:pt x="455" y="47881"/>
                    </a:lnTo>
                    <a:lnTo>
                      <a:pt x="1515" y="49244"/>
                    </a:lnTo>
                    <a:lnTo>
                      <a:pt x="7727" y="51366"/>
                    </a:lnTo>
                    <a:lnTo>
                      <a:pt x="10758" y="52881"/>
                    </a:lnTo>
                    <a:lnTo>
                      <a:pt x="13334" y="54851"/>
                    </a:lnTo>
                    <a:lnTo>
                      <a:pt x="16213" y="57729"/>
                    </a:lnTo>
                    <a:lnTo>
                      <a:pt x="17425" y="57275"/>
                    </a:lnTo>
                    <a:lnTo>
                      <a:pt x="17879" y="55457"/>
                    </a:lnTo>
                    <a:lnTo>
                      <a:pt x="20001" y="53487"/>
                    </a:lnTo>
                    <a:lnTo>
                      <a:pt x="22880" y="52426"/>
                    </a:lnTo>
                    <a:lnTo>
                      <a:pt x="26364" y="51972"/>
                    </a:lnTo>
                    <a:lnTo>
                      <a:pt x="29849" y="51820"/>
                    </a:lnTo>
                    <a:lnTo>
                      <a:pt x="32880" y="52275"/>
                    </a:lnTo>
                    <a:lnTo>
                      <a:pt x="35910" y="53032"/>
                    </a:lnTo>
                    <a:lnTo>
                      <a:pt x="43638" y="54548"/>
                    </a:lnTo>
                    <a:lnTo>
                      <a:pt x="46971" y="54396"/>
                    </a:lnTo>
                    <a:lnTo>
                      <a:pt x="50305" y="53790"/>
                    </a:lnTo>
                    <a:lnTo>
                      <a:pt x="51366" y="53487"/>
                    </a:lnTo>
                    <a:lnTo>
                      <a:pt x="52426" y="52881"/>
                    </a:lnTo>
                    <a:lnTo>
                      <a:pt x="53790" y="52578"/>
                    </a:lnTo>
                    <a:lnTo>
                      <a:pt x="65911" y="52275"/>
                    </a:lnTo>
                    <a:lnTo>
                      <a:pt x="67427" y="52729"/>
                    </a:lnTo>
                    <a:lnTo>
                      <a:pt x="68942" y="53487"/>
                    </a:lnTo>
                    <a:lnTo>
                      <a:pt x="71518" y="55305"/>
                    </a:lnTo>
                    <a:lnTo>
                      <a:pt x="73791" y="57578"/>
                    </a:lnTo>
                    <a:lnTo>
                      <a:pt x="73942" y="52881"/>
                    </a:lnTo>
                    <a:lnTo>
                      <a:pt x="74700" y="51063"/>
                    </a:lnTo>
                    <a:lnTo>
                      <a:pt x="74094" y="49093"/>
                    </a:lnTo>
                    <a:lnTo>
                      <a:pt x="71063" y="46972"/>
                    </a:lnTo>
                    <a:lnTo>
                      <a:pt x="69245" y="44244"/>
                    </a:lnTo>
                    <a:lnTo>
                      <a:pt x="67578" y="41820"/>
                    </a:lnTo>
                    <a:lnTo>
                      <a:pt x="67881" y="41517"/>
                    </a:lnTo>
                    <a:lnTo>
                      <a:pt x="71215" y="41365"/>
                    </a:lnTo>
                    <a:lnTo>
                      <a:pt x="72427" y="40456"/>
                    </a:lnTo>
                    <a:lnTo>
                      <a:pt x="74700" y="38032"/>
                    </a:lnTo>
                    <a:lnTo>
                      <a:pt x="75154" y="36062"/>
                    </a:lnTo>
                    <a:lnTo>
                      <a:pt x="75003" y="34547"/>
                    </a:lnTo>
                    <a:lnTo>
                      <a:pt x="73487" y="32729"/>
                    </a:lnTo>
                    <a:lnTo>
                      <a:pt x="72881" y="30910"/>
                    </a:lnTo>
                    <a:lnTo>
                      <a:pt x="74700" y="29244"/>
                    </a:lnTo>
                    <a:lnTo>
                      <a:pt x="77427" y="26971"/>
                    </a:lnTo>
                    <a:close/>
                    <a:moveTo>
                      <a:pt x="45911" y="36971"/>
                    </a:moveTo>
                    <a:lnTo>
                      <a:pt x="42729" y="34547"/>
                    </a:lnTo>
                    <a:lnTo>
                      <a:pt x="38638" y="32577"/>
                    </a:lnTo>
                    <a:lnTo>
                      <a:pt x="35910" y="31516"/>
                    </a:lnTo>
                    <a:lnTo>
                      <a:pt x="33031" y="31819"/>
                    </a:lnTo>
                    <a:lnTo>
                      <a:pt x="32728" y="33486"/>
                    </a:lnTo>
                    <a:lnTo>
                      <a:pt x="38335" y="36517"/>
                    </a:lnTo>
                    <a:lnTo>
                      <a:pt x="45305" y="38941"/>
                    </a:lnTo>
                    <a:lnTo>
                      <a:pt x="45911" y="36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5" name="Freeform: Shape 3264">
                <a:extLst>
                  <a:ext uri="{FF2B5EF4-FFF2-40B4-BE49-F238E27FC236}">
                    <a16:creationId xmlns:a16="http://schemas.microsoft.com/office/drawing/2014/main" id="{E34C5109-B11B-43AD-8747-3F8E2896979D}"/>
                  </a:ext>
                </a:extLst>
              </p:cNvPr>
              <p:cNvSpPr/>
              <p:nvPr/>
            </p:nvSpPr>
            <p:spPr>
              <a:xfrm>
                <a:off x="6147820" y="3195428"/>
                <a:ext cx="160611" cy="137580"/>
              </a:xfrm>
              <a:custGeom>
                <a:avLst/>
                <a:gdLst>
                  <a:gd name="connsiteX0" fmla="*/ 38486 w 160611"/>
                  <a:gd name="connsiteY0" fmla="*/ 81518 h 137580"/>
                  <a:gd name="connsiteX1" fmla="*/ 36062 w 160611"/>
                  <a:gd name="connsiteY1" fmla="*/ 79851 h 137580"/>
                  <a:gd name="connsiteX2" fmla="*/ 36819 w 160611"/>
                  <a:gd name="connsiteY2" fmla="*/ 81215 h 137580"/>
                  <a:gd name="connsiteX3" fmla="*/ 43486 w 160611"/>
                  <a:gd name="connsiteY3" fmla="*/ 88488 h 137580"/>
                  <a:gd name="connsiteX4" fmla="*/ 43941 w 160611"/>
                  <a:gd name="connsiteY4" fmla="*/ 88337 h 137580"/>
                  <a:gd name="connsiteX5" fmla="*/ 45305 w 160611"/>
                  <a:gd name="connsiteY5" fmla="*/ 88791 h 137580"/>
                  <a:gd name="connsiteX6" fmla="*/ 45305 w 160611"/>
                  <a:gd name="connsiteY6" fmla="*/ 88488 h 137580"/>
                  <a:gd name="connsiteX7" fmla="*/ 44850 w 160611"/>
                  <a:gd name="connsiteY7" fmla="*/ 88034 h 137580"/>
                  <a:gd name="connsiteX8" fmla="*/ 38486 w 160611"/>
                  <a:gd name="connsiteY8" fmla="*/ 81518 h 137580"/>
                  <a:gd name="connsiteX9" fmla="*/ 47123 w 160611"/>
                  <a:gd name="connsiteY9" fmla="*/ 85155 h 137580"/>
                  <a:gd name="connsiteX10" fmla="*/ 48183 w 160611"/>
                  <a:gd name="connsiteY10" fmla="*/ 86821 h 137580"/>
                  <a:gd name="connsiteX11" fmla="*/ 50002 w 160611"/>
                  <a:gd name="connsiteY11" fmla="*/ 88337 h 137580"/>
                  <a:gd name="connsiteX12" fmla="*/ 51668 w 160611"/>
                  <a:gd name="connsiteY12" fmla="*/ 88791 h 137580"/>
                  <a:gd name="connsiteX13" fmla="*/ 49850 w 160611"/>
                  <a:gd name="connsiteY13" fmla="*/ 86367 h 137580"/>
                  <a:gd name="connsiteX14" fmla="*/ 47123 w 160611"/>
                  <a:gd name="connsiteY14" fmla="*/ 85155 h 137580"/>
                  <a:gd name="connsiteX15" fmla="*/ 37426 w 160611"/>
                  <a:gd name="connsiteY15" fmla="*/ 69094 h 137580"/>
                  <a:gd name="connsiteX16" fmla="*/ 39698 w 160611"/>
                  <a:gd name="connsiteY16" fmla="*/ 70760 h 137580"/>
                  <a:gd name="connsiteX17" fmla="*/ 40910 w 160611"/>
                  <a:gd name="connsiteY17" fmla="*/ 72124 h 137580"/>
                  <a:gd name="connsiteX18" fmla="*/ 42577 w 160611"/>
                  <a:gd name="connsiteY18" fmla="*/ 73336 h 137580"/>
                  <a:gd name="connsiteX19" fmla="*/ 44395 w 160611"/>
                  <a:gd name="connsiteY19" fmla="*/ 75003 h 137580"/>
                  <a:gd name="connsiteX20" fmla="*/ 45153 w 160611"/>
                  <a:gd name="connsiteY20" fmla="*/ 74094 h 137580"/>
                  <a:gd name="connsiteX21" fmla="*/ 45911 w 160611"/>
                  <a:gd name="connsiteY21" fmla="*/ 73639 h 137580"/>
                  <a:gd name="connsiteX22" fmla="*/ 46668 w 160611"/>
                  <a:gd name="connsiteY22" fmla="*/ 73488 h 137580"/>
                  <a:gd name="connsiteX23" fmla="*/ 43183 w 160611"/>
                  <a:gd name="connsiteY23" fmla="*/ 70609 h 137580"/>
                  <a:gd name="connsiteX24" fmla="*/ 40304 w 160611"/>
                  <a:gd name="connsiteY24" fmla="*/ 67275 h 137580"/>
                  <a:gd name="connsiteX25" fmla="*/ 37274 w 160611"/>
                  <a:gd name="connsiteY25" fmla="*/ 64699 h 137580"/>
                  <a:gd name="connsiteX26" fmla="*/ 36062 w 160611"/>
                  <a:gd name="connsiteY26" fmla="*/ 64396 h 137580"/>
                  <a:gd name="connsiteX27" fmla="*/ 34698 w 160611"/>
                  <a:gd name="connsiteY27" fmla="*/ 63336 h 137580"/>
                  <a:gd name="connsiteX28" fmla="*/ 33031 w 160611"/>
                  <a:gd name="connsiteY28" fmla="*/ 61669 h 137580"/>
                  <a:gd name="connsiteX29" fmla="*/ 33486 w 160611"/>
                  <a:gd name="connsiteY29" fmla="*/ 62730 h 137580"/>
                  <a:gd name="connsiteX30" fmla="*/ 36819 w 160611"/>
                  <a:gd name="connsiteY30" fmla="*/ 66821 h 137580"/>
                  <a:gd name="connsiteX31" fmla="*/ 37426 w 160611"/>
                  <a:gd name="connsiteY31" fmla="*/ 69094 h 137580"/>
                  <a:gd name="connsiteX32" fmla="*/ 41517 w 160611"/>
                  <a:gd name="connsiteY32" fmla="*/ 80154 h 137580"/>
                  <a:gd name="connsiteX33" fmla="*/ 41819 w 160611"/>
                  <a:gd name="connsiteY33" fmla="*/ 80761 h 137580"/>
                  <a:gd name="connsiteX34" fmla="*/ 43183 w 160611"/>
                  <a:gd name="connsiteY34" fmla="*/ 82276 h 137580"/>
                  <a:gd name="connsiteX35" fmla="*/ 46668 w 160611"/>
                  <a:gd name="connsiteY35" fmla="*/ 84549 h 137580"/>
                  <a:gd name="connsiteX36" fmla="*/ 46214 w 160611"/>
                  <a:gd name="connsiteY36" fmla="*/ 83336 h 137580"/>
                  <a:gd name="connsiteX37" fmla="*/ 41517 w 160611"/>
                  <a:gd name="connsiteY37" fmla="*/ 80154 h 137580"/>
                  <a:gd name="connsiteX38" fmla="*/ 25152 w 160611"/>
                  <a:gd name="connsiteY38" fmla="*/ 61063 h 137580"/>
                  <a:gd name="connsiteX39" fmla="*/ 24697 w 160611"/>
                  <a:gd name="connsiteY39" fmla="*/ 56214 h 137580"/>
                  <a:gd name="connsiteX40" fmla="*/ 25152 w 160611"/>
                  <a:gd name="connsiteY40" fmla="*/ 52881 h 137580"/>
                  <a:gd name="connsiteX41" fmla="*/ 23183 w 160611"/>
                  <a:gd name="connsiteY41" fmla="*/ 50759 h 137580"/>
                  <a:gd name="connsiteX42" fmla="*/ 22576 w 160611"/>
                  <a:gd name="connsiteY42" fmla="*/ 49093 h 137580"/>
                  <a:gd name="connsiteX43" fmla="*/ 22274 w 160611"/>
                  <a:gd name="connsiteY43" fmla="*/ 46214 h 137580"/>
                  <a:gd name="connsiteX44" fmla="*/ 21516 w 160611"/>
                  <a:gd name="connsiteY44" fmla="*/ 46365 h 137580"/>
                  <a:gd name="connsiteX45" fmla="*/ 20304 w 160611"/>
                  <a:gd name="connsiteY45" fmla="*/ 47123 h 137580"/>
                  <a:gd name="connsiteX46" fmla="*/ 21819 w 160611"/>
                  <a:gd name="connsiteY46" fmla="*/ 51366 h 137580"/>
                  <a:gd name="connsiteX47" fmla="*/ 21819 w 160611"/>
                  <a:gd name="connsiteY47" fmla="*/ 52729 h 137580"/>
                  <a:gd name="connsiteX48" fmla="*/ 20758 w 160611"/>
                  <a:gd name="connsiteY48" fmla="*/ 54093 h 137580"/>
                  <a:gd name="connsiteX49" fmla="*/ 21061 w 160611"/>
                  <a:gd name="connsiteY49" fmla="*/ 55457 h 137580"/>
                  <a:gd name="connsiteX50" fmla="*/ 23183 w 160611"/>
                  <a:gd name="connsiteY50" fmla="*/ 60305 h 137580"/>
                  <a:gd name="connsiteX51" fmla="*/ 24092 w 160611"/>
                  <a:gd name="connsiteY51" fmla="*/ 63336 h 137580"/>
                  <a:gd name="connsiteX52" fmla="*/ 25758 w 160611"/>
                  <a:gd name="connsiteY52" fmla="*/ 65002 h 137580"/>
                  <a:gd name="connsiteX53" fmla="*/ 25910 w 160611"/>
                  <a:gd name="connsiteY53" fmla="*/ 63639 h 137580"/>
                  <a:gd name="connsiteX54" fmla="*/ 25758 w 160611"/>
                  <a:gd name="connsiteY54" fmla="*/ 62578 h 137580"/>
                  <a:gd name="connsiteX55" fmla="*/ 25152 w 160611"/>
                  <a:gd name="connsiteY55" fmla="*/ 61063 h 137580"/>
                  <a:gd name="connsiteX56" fmla="*/ 34547 w 160611"/>
                  <a:gd name="connsiteY56" fmla="*/ 52578 h 137580"/>
                  <a:gd name="connsiteX57" fmla="*/ 32577 w 160611"/>
                  <a:gd name="connsiteY57" fmla="*/ 49547 h 137580"/>
                  <a:gd name="connsiteX58" fmla="*/ 31516 w 160611"/>
                  <a:gd name="connsiteY58" fmla="*/ 48790 h 137580"/>
                  <a:gd name="connsiteX59" fmla="*/ 29546 w 160611"/>
                  <a:gd name="connsiteY59" fmla="*/ 45759 h 137580"/>
                  <a:gd name="connsiteX60" fmla="*/ 27880 w 160611"/>
                  <a:gd name="connsiteY60" fmla="*/ 44244 h 137580"/>
                  <a:gd name="connsiteX61" fmla="*/ 26667 w 160611"/>
                  <a:gd name="connsiteY61" fmla="*/ 46820 h 137580"/>
                  <a:gd name="connsiteX62" fmla="*/ 24243 w 160611"/>
                  <a:gd name="connsiteY62" fmla="*/ 48487 h 137580"/>
                  <a:gd name="connsiteX63" fmla="*/ 24546 w 160611"/>
                  <a:gd name="connsiteY63" fmla="*/ 49093 h 137580"/>
                  <a:gd name="connsiteX64" fmla="*/ 26213 w 160611"/>
                  <a:gd name="connsiteY64" fmla="*/ 50608 h 137580"/>
                  <a:gd name="connsiteX65" fmla="*/ 28940 w 160611"/>
                  <a:gd name="connsiteY65" fmla="*/ 50911 h 137580"/>
                  <a:gd name="connsiteX66" fmla="*/ 29395 w 160611"/>
                  <a:gd name="connsiteY66" fmla="*/ 51972 h 137580"/>
                  <a:gd name="connsiteX67" fmla="*/ 31062 w 160611"/>
                  <a:gd name="connsiteY67" fmla="*/ 53335 h 137580"/>
                  <a:gd name="connsiteX68" fmla="*/ 34547 w 160611"/>
                  <a:gd name="connsiteY68" fmla="*/ 52578 h 137580"/>
                  <a:gd name="connsiteX69" fmla="*/ 35910 w 160611"/>
                  <a:gd name="connsiteY69" fmla="*/ 61517 h 137580"/>
                  <a:gd name="connsiteX70" fmla="*/ 35152 w 160611"/>
                  <a:gd name="connsiteY70" fmla="*/ 60002 h 137580"/>
                  <a:gd name="connsiteX71" fmla="*/ 33334 w 160611"/>
                  <a:gd name="connsiteY71" fmla="*/ 57881 h 137580"/>
                  <a:gd name="connsiteX72" fmla="*/ 33031 w 160611"/>
                  <a:gd name="connsiteY72" fmla="*/ 57123 h 137580"/>
                  <a:gd name="connsiteX73" fmla="*/ 31364 w 160611"/>
                  <a:gd name="connsiteY73" fmla="*/ 56972 h 137580"/>
                  <a:gd name="connsiteX74" fmla="*/ 30910 w 160611"/>
                  <a:gd name="connsiteY74" fmla="*/ 57729 h 137580"/>
                  <a:gd name="connsiteX75" fmla="*/ 30607 w 160611"/>
                  <a:gd name="connsiteY75" fmla="*/ 58487 h 137580"/>
                  <a:gd name="connsiteX76" fmla="*/ 31062 w 160611"/>
                  <a:gd name="connsiteY76" fmla="*/ 59548 h 137580"/>
                  <a:gd name="connsiteX77" fmla="*/ 33334 w 160611"/>
                  <a:gd name="connsiteY77" fmla="*/ 60002 h 137580"/>
                  <a:gd name="connsiteX78" fmla="*/ 35910 w 160611"/>
                  <a:gd name="connsiteY78" fmla="*/ 61517 h 137580"/>
                  <a:gd name="connsiteX79" fmla="*/ 97882 w 160611"/>
                  <a:gd name="connsiteY79" fmla="*/ 114853 h 137580"/>
                  <a:gd name="connsiteX80" fmla="*/ 99852 w 160611"/>
                  <a:gd name="connsiteY80" fmla="*/ 114550 h 137580"/>
                  <a:gd name="connsiteX81" fmla="*/ 96215 w 160611"/>
                  <a:gd name="connsiteY81" fmla="*/ 113944 h 137580"/>
                  <a:gd name="connsiteX82" fmla="*/ 86215 w 160611"/>
                  <a:gd name="connsiteY82" fmla="*/ 112883 h 137580"/>
                  <a:gd name="connsiteX83" fmla="*/ 85155 w 160611"/>
                  <a:gd name="connsiteY83" fmla="*/ 111671 h 137580"/>
                  <a:gd name="connsiteX84" fmla="*/ 81518 w 160611"/>
                  <a:gd name="connsiteY84" fmla="*/ 111216 h 137580"/>
                  <a:gd name="connsiteX85" fmla="*/ 77579 w 160611"/>
                  <a:gd name="connsiteY85" fmla="*/ 111671 h 137580"/>
                  <a:gd name="connsiteX86" fmla="*/ 78336 w 160611"/>
                  <a:gd name="connsiteY86" fmla="*/ 112277 h 137580"/>
                  <a:gd name="connsiteX87" fmla="*/ 82276 w 160611"/>
                  <a:gd name="connsiteY87" fmla="*/ 114095 h 137580"/>
                  <a:gd name="connsiteX88" fmla="*/ 85760 w 160611"/>
                  <a:gd name="connsiteY88" fmla="*/ 114853 h 137580"/>
                  <a:gd name="connsiteX89" fmla="*/ 97882 w 160611"/>
                  <a:gd name="connsiteY89" fmla="*/ 114853 h 137580"/>
                  <a:gd name="connsiteX90" fmla="*/ 106367 w 160611"/>
                  <a:gd name="connsiteY90" fmla="*/ 125308 h 137580"/>
                  <a:gd name="connsiteX91" fmla="*/ 105155 w 160611"/>
                  <a:gd name="connsiteY91" fmla="*/ 125308 h 137580"/>
                  <a:gd name="connsiteX92" fmla="*/ 103943 w 160611"/>
                  <a:gd name="connsiteY92" fmla="*/ 125611 h 137580"/>
                  <a:gd name="connsiteX93" fmla="*/ 114853 w 160611"/>
                  <a:gd name="connsiteY93" fmla="*/ 128641 h 137580"/>
                  <a:gd name="connsiteX94" fmla="*/ 111065 w 160611"/>
                  <a:gd name="connsiteY94" fmla="*/ 126368 h 137580"/>
                  <a:gd name="connsiteX95" fmla="*/ 106367 w 160611"/>
                  <a:gd name="connsiteY95" fmla="*/ 125308 h 137580"/>
                  <a:gd name="connsiteX96" fmla="*/ 160157 w 160611"/>
                  <a:gd name="connsiteY96" fmla="*/ 44699 h 137580"/>
                  <a:gd name="connsiteX97" fmla="*/ 159703 w 160611"/>
                  <a:gd name="connsiteY97" fmla="*/ 44093 h 137580"/>
                  <a:gd name="connsiteX98" fmla="*/ 158945 w 160611"/>
                  <a:gd name="connsiteY98" fmla="*/ 43638 h 137580"/>
                  <a:gd name="connsiteX99" fmla="*/ 158339 w 160611"/>
                  <a:gd name="connsiteY99" fmla="*/ 42880 h 137580"/>
                  <a:gd name="connsiteX100" fmla="*/ 156824 w 160611"/>
                  <a:gd name="connsiteY100" fmla="*/ 42577 h 137580"/>
                  <a:gd name="connsiteX101" fmla="*/ 151975 w 160611"/>
                  <a:gd name="connsiteY101" fmla="*/ 40608 h 137580"/>
                  <a:gd name="connsiteX102" fmla="*/ 149551 w 160611"/>
                  <a:gd name="connsiteY102" fmla="*/ 38486 h 137580"/>
                  <a:gd name="connsiteX103" fmla="*/ 149702 w 160611"/>
                  <a:gd name="connsiteY103" fmla="*/ 36213 h 137580"/>
                  <a:gd name="connsiteX104" fmla="*/ 150460 w 160611"/>
                  <a:gd name="connsiteY104" fmla="*/ 35001 h 137580"/>
                  <a:gd name="connsiteX105" fmla="*/ 151369 w 160611"/>
                  <a:gd name="connsiteY105" fmla="*/ 34547 h 137580"/>
                  <a:gd name="connsiteX106" fmla="*/ 151066 w 160611"/>
                  <a:gd name="connsiteY106" fmla="*/ 34092 h 137580"/>
                  <a:gd name="connsiteX107" fmla="*/ 148339 w 160611"/>
                  <a:gd name="connsiteY107" fmla="*/ 33032 h 137580"/>
                  <a:gd name="connsiteX108" fmla="*/ 147429 w 160611"/>
                  <a:gd name="connsiteY108" fmla="*/ 31516 h 137580"/>
                  <a:gd name="connsiteX109" fmla="*/ 148187 w 160611"/>
                  <a:gd name="connsiteY109" fmla="*/ 29698 h 137580"/>
                  <a:gd name="connsiteX110" fmla="*/ 146672 w 160611"/>
                  <a:gd name="connsiteY110" fmla="*/ 25910 h 137580"/>
                  <a:gd name="connsiteX111" fmla="*/ 145157 w 160611"/>
                  <a:gd name="connsiteY111" fmla="*/ 23637 h 137580"/>
                  <a:gd name="connsiteX112" fmla="*/ 146672 w 160611"/>
                  <a:gd name="connsiteY112" fmla="*/ 22577 h 137580"/>
                  <a:gd name="connsiteX113" fmla="*/ 146823 w 160611"/>
                  <a:gd name="connsiteY113" fmla="*/ 21213 h 137580"/>
                  <a:gd name="connsiteX114" fmla="*/ 146975 w 160611"/>
                  <a:gd name="connsiteY114" fmla="*/ 20455 h 137580"/>
                  <a:gd name="connsiteX115" fmla="*/ 146823 w 160611"/>
                  <a:gd name="connsiteY115" fmla="*/ 20455 h 137580"/>
                  <a:gd name="connsiteX116" fmla="*/ 145005 w 160611"/>
                  <a:gd name="connsiteY116" fmla="*/ 21213 h 137580"/>
                  <a:gd name="connsiteX117" fmla="*/ 141975 w 160611"/>
                  <a:gd name="connsiteY117" fmla="*/ 21667 h 137580"/>
                  <a:gd name="connsiteX118" fmla="*/ 140460 w 160611"/>
                  <a:gd name="connsiteY118" fmla="*/ 21364 h 137580"/>
                  <a:gd name="connsiteX119" fmla="*/ 137732 w 160611"/>
                  <a:gd name="connsiteY119" fmla="*/ 24546 h 137580"/>
                  <a:gd name="connsiteX120" fmla="*/ 136823 w 160611"/>
                  <a:gd name="connsiteY120" fmla="*/ 25152 h 137580"/>
                  <a:gd name="connsiteX121" fmla="*/ 134247 w 160611"/>
                  <a:gd name="connsiteY121" fmla="*/ 26062 h 137580"/>
                  <a:gd name="connsiteX122" fmla="*/ 132126 w 160611"/>
                  <a:gd name="connsiteY122" fmla="*/ 26516 h 137580"/>
                  <a:gd name="connsiteX123" fmla="*/ 130307 w 160611"/>
                  <a:gd name="connsiteY123" fmla="*/ 26062 h 137580"/>
                  <a:gd name="connsiteX124" fmla="*/ 129550 w 160611"/>
                  <a:gd name="connsiteY124" fmla="*/ 26062 h 137580"/>
                  <a:gd name="connsiteX125" fmla="*/ 121368 w 160611"/>
                  <a:gd name="connsiteY125" fmla="*/ 25910 h 137580"/>
                  <a:gd name="connsiteX126" fmla="*/ 117125 w 160611"/>
                  <a:gd name="connsiteY126" fmla="*/ 25152 h 137580"/>
                  <a:gd name="connsiteX127" fmla="*/ 114398 w 160611"/>
                  <a:gd name="connsiteY127" fmla="*/ 23940 h 137580"/>
                  <a:gd name="connsiteX128" fmla="*/ 112580 w 160611"/>
                  <a:gd name="connsiteY128" fmla="*/ 22577 h 137580"/>
                  <a:gd name="connsiteX129" fmla="*/ 111671 w 160611"/>
                  <a:gd name="connsiteY129" fmla="*/ 21061 h 137580"/>
                  <a:gd name="connsiteX130" fmla="*/ 109549 w 160611"/>
                  <a:gd name="connsiteY130" fmla="*/ 20152 h 137580"/>
                  <a:gd name="connsiteX131" fmla="*/ 106216 w 160611"/>
                  <a:gd name="connsiteY131" fmla="*/ 19849 h 137580"/>
                  <a:gd name="connsiteX132" fmla="*/ 103640 w 160611"/>
                  <a:gd name="connsiteY132" fmla="*/ 18334 h 137580"/>
                  <a:gd name="connsiteX133" fmla="*/ 101822 w 160611"/>
                  <a:gd name="connsiteY133" fmla="*/ 15607 h 137580"/>
                  <a:gd name="connsiteX134" fmla="*/ 99246 w 160611"/>
                  <a:gd name="connsiteY134" fmla="*/ 13485 h 137580"/>
                  <a:gd name="connsiteX135" fmla="*/ 96064 w 160611"/>
                  <a:gd name="connsiteY135" fmla="*/ 11819 h 137580"/>
                  <a:gd name="connsiteX136" fmla="*/ 93488 w 160611"/>
                  <a:gd name="connsiteY136" fmla="*/ 9546 h 137580"/>
                  <a:gd name="connsiteX137" fmla="*/ 91670 w 160611"/>
                  <a:gd name="connsiteY137" fmla="*/ 6667 h 137580"/>
                  <a:gd name="connsiteX138" fmla="*/ 88336 w 160611"/>
                  <a:gd name="connsiteY138" fmla="*/ 4091 h 137580"/>
                  <a:gd name="connsiteX139" fmla="*/ 83488 w 160611"/>
                  <a:gd name="connsiteY139" fmla="*/ 1667 h 137580"/>
                  <a:gd name="connsiteX140" fmla="*/ 81972 w 160611"/>
                  <a:gd name="connsiteY140" fmla="*/ 1212 h 137580"/>
                  <a:gd name="connsiteX141" fmla="*/ 79548 w 160611"/>
                  <a:gd name="connsiteY141" fmla="*/ 303 h 137580"/>
                  <a:gd name="connsiteX142" fmla="*/ 76669 w 160611"/>
                  <a:gd name="connsiteY142" fmla="*/ 0 h 137580"/>
                  <a:gd name="connsiteX143" fmla="*/ 76063 w 160611"/>
                  <a:gd name="connsiteY143" fmla="*/ 455 h 137580"/>
                  <a:gd name="connsiteX144" fmla="*/ 74851 w 160611"/>
                  <a:gd name="connsiteY144" fmla="*/ 909 h 137580"/>
                  <a:gd name="connsiteX145" fmla="*/ 74245 w 160611"/>
                  <a:gd name="connsiteY145" fmla="*/ 1667 h 137580"/>
                  <a:gd name="connsiteX146" fmla="*/ 74700 w 160611"/>
                  <a:gd name="connsiteY146" fmla="*/ 4849 h 137580"/>
                  <a:gd name="connsiteX147" fmla="*/ 73942 w 160611"/>
                  <a:gd name="connsiteY147" fmla="*/ 5455 h 137580"/>
                  <a:gd name="connsiteX148" fmla="*/ 70608 w 160611"/>
                  <a:gd name="connsiteY148" fmla="*/ 5152 h 137580"/>
                  <a:gd name="connsiteX149" fmla="*/ 69548 w 160611"/>
                  <a:gd name="connsiteY149" fmla="*/ 5455 h 137580"/>
                  <a:gd name="connsiteX150" fmla="*/ 67730 w 160611"/>
                  <a:gd name="connsiteY150" fmla="*/ 7728 h 137580"/>
                  <a:gd name="connsiteX151" fmla="*/ 65911 w 160611"/>
                  <a:gd name="connsiteY151" fmla="*/ 8637 h 137580"/>
                  <a:gd name="connsiteX152" fmla="*/ 63638 w 160611"/>
                  <a:gd name="connsiteY152" fmla="*/ 9243 h 137580"/>
                  <a:gd name="connsiteX153" fmla="*/ 61972 w 160611"/>
                  <a:gd name="connsiteY153" fmla="*/ 10000 h 137580"/>
                  <a:gd name="connsiteX154" fmla="*/ 59850 w 160611"/>
                  <a:gd name="connsiteY154" fmla="*/ 10758 h 137580"/>
                  <a:gd name="connsiteX155" fmla="*/ 58032 w 160611"/>
                  <a:gd name="connsiteY155" fmla="*/ 11213 h 137580"/>
                  <a:gd name="connsiteX156" fmla="*/ 57275 w 160611"/>
                  <a:gd name="connsiteY156" fmla="*/ 12273 h 137580"/>
                  <a:gd name="connsiteX157" fmla="*/ 56820 w 160611"/>
                  <a:gd name="connsiteY157" fmla="*/ 13334 h 137580"/>
                  <a:gd name="connsiteX158" fmla="*/ 56971 w 160611"/>
                  <a:gd name="connsiteY158" fmla="*/ 14395 h 137580"/>
                  <a:gd name="connsiteX159" fmla="*/ 58941 w 160611"/>
                  <a:gd name="connsiteY159" fmla="*/ 16516 h 137580"/>
                  <a:gd name="connsiteX160" fmla="*/ 59244 w 160611"/>
                  <a:gd name="connsiteY160" fmla="*/ 18789 h 137580"/>
                  <a:gd name="connsiteX161" fmla="*/ 59093 w 160611"/>
                  <a:gd name="connsiteY161" fmla="*/ 21516 h 137580"/>
                  <a:gd name="connsiteX162" fmla="*/ 58638 w 160611"/>
                  <a:gd name="connsiteY162" fmla="*/ 23031 h 137580"/>
                  <a:gd name="connsiteX163" fmla="*/ 57881 w 160611"/>
                  <a:gd name="connsiteY163" fmla="*/ 23940 h 137580"/>
                  <a:gd name="connsiteX164" fmla="*/ 53183 w 160611"/>
                  <a:gd name="connsiteY164" fmla="*/ 25152 h 137580"/>
                  <a:gd name="connsiteX165" fmla="*/ 48335 w 160611"/>
                  <a:gd name="connsiteY165" fmla="*/ 27425 h 137580"/>
                  <a:gd name="connsiteX166" fmla="*/ 48183 w 160611"/>
                  <a:gd name="connsiteY166" fmla="*/ 27880 h 137580"/>
                  <a:gd name="connsiteX167" fmla="*/ 50456 w 160611"/>
                  <a:gd name="connsiteY167" fmla="*/ 29850 h 137580"/>
                  <a:gd name="connsiteX168" fmla="*/ 50608 w 160611"/>
                  <a:gd name="connsiteY168" fmla="*/ 30304 h 137580"/>
                  <a:gd name="connsiteX169" fmla="*/ 48790 w 160611"/>
                  <a:gd name="connsiteY169" fmla="*/ 31365 h 137580"/>
                  <a:gd name="connsiteX170" fmla="*/ 48638 w 160611"/>
                  <a:gd name="connsiteY170" fmla="*/ 32425 h 137580"/>
                  <a:gd name="connsiteX171" fmla="*/ 48790 w 160611"/>
                  <a:gd name="connsiteY171" fmla="*/ 33789 h 137580"/>
                  <a:gd name="connsiteX172" fmla="*/ 49699 w 160611"/>
                  <a:gd name="connsiteY172" fmla="*/ 35153 h 137580"/>
                  <a:gd name="connsiteX173" fmla="*/ 50002 w 160611"/>
                  <a:gd name="connsiteY173" fmla="*/ 36365 h 137580"/>
                  <a:gd name="connsiteX174" fmla="*/ 47274 w 160611"/>
                  <a:gd name="connsiteY174" fmla="*/ 37274 h 137580"/>
                  <a:gd name="connsiteX175" fmla="*/ 43638 w 160611"/>
                  <a:gd name="connsiteY175" fmla="*/ 36971 h 137580"/>
                  <a:gd name="connsiteX176" fmla="*/ 39395 w 160611"/>
                  <a:gd name="connsiteY176" fmla="*/ 35304 h 137580"/>
                  <a:gd name="connsiteX177" fmla="*/ 37880 w 160611"/>
                  <a:gd name="connsiteY177" fmla="*/ 35607 h 137580"/>
                  <a:gd name="connsiteX178" fmla="*/ 36365 w 160611"/>
                  <a:gd name="connsiteY178" fmla="*/ 36517 h 137580"/>
                  <a:gd name="connsiteX179" fmla="*/ 34850 w 160611"/>
                  <a:gd name="connsiteY179" fmla="*/ 36213 h 137580"/>
                  <a:gd name="connsiteX180" fmla="*/ 33183 w 160611"/>
                  <a:gd name="connsiteY180" fmla="*/ 35153 h 137580"/>
                  <a:gd name="connsiteX181" fmla="*/ 30910 w 160611"/>
                  <a:gd name="connsiteY181" fmla="*/ 33032 h 137580"/>
                  <a:gd name="connsiteX182" fmla="*/ 29850 w 160611"/>
                  <a:gd name="connsiteY182" fmla="*/ 31668 h 137580"/>
                  <a:gd name="connsiteX183" fmla="*/ 29395 w 160611"/>
                  <a:gd name="connsiteY183" fmla="*/ 30304 h 137580"/>
                  <a:gd name="connsiteX184" fmla="*/ 28789 w 160611"/>
                  <a:gd name="connsiteY184" fmla="*/ 30153 h 137580"/>
                  <a:gd name="connsiteX185" fmla="*/ 27880 w 160611"/>
                  <a:gd name="connsiteY185" fmla="*/ 30607 h 137580"/>
                  <a:gd name="connsiteX186" fmla="*/ 27122 w 160611"/>
                  <a:gd name="connsiteY186" fmla="*/ 32274 h 137580"/>
                  <a:gd name="connsiteX187" fmla="*/ 25001 w 160611"/>
                  <a:gd name="connsiteY187" fmla="*/ 35304 h 137580"/>
                  <a:gd name="connsiteX188" fmla="*/ 23486 w 160611"/>
                  <a:gd name="connsiteY188" fmla="*/ 36062 h 137580"/>
                  <a:gd name="connsiteX189" fmla="*/ 21061 w 160611"/>
                  <a:gd name="connsiteY189" fmla="*/ 35910 h 137580"/>
                  <a:gd name="connsiteX190" fmla="*/ 17728 w 160611"/>
                  <a:gd name="connsiteY190" fmla="*/ 35910 h 137580"/>
                  <a:gd name="connsiteX191" fmla="*/ 15607 w 160611"/>
                  <a:gd name="connsiteY191" fmla="*/ 36213 h 137580"/>
                  <a:gd name="connsiteX192" fmla="*/ 13031 w 160611"/>
                  <a:gd name="connsiteY192" fmla="*/ 35153 h 137580"/>
                  <a:gd name="connsiteX193" fmla="*/ 12424 w 160611"/>
                  <a:gd name="connsiteY193" fmla="*/ 35304 h 137580"/>
                  <a:gd name="connsiteX194" fmla="*/ 12424 w 160611"/>
                  <a:gd name="connsiteY194" fmla="*/ 36062 h 137580"/>
                  <a:gd name="connsiteX195" fmla="*/ 11515 w 160611"/>
                  <a:gd name="connsiteY195" fmla="*/ 37123 h 137580"/>
                  <a:gd name="connsiteX196" fmla="*/ 10000 w 160611"/>
                  <a:gd name="connsiteY196" fmla="*/ 37880 h 137580"/>
                  <a:gd name="connsiteX197" fmla="*/ 2727 w 160611"/>
                  <a:gd name="connsiteY197" fmla="*/ 36213 h 137580"/>
                  <a:gd name="connsiteX198" fmla="*/ 1667 w 160611"/>
                  <a:gd name="connsiteY198" fmla="*/ 34850 h 137580"/>
                  <a:gd name="connsiteX199" fmla="*/ 0 w 160611"/>
                  <a:gd name="connsiteY199" fmla="*/ 36062 h 137580"/>
                  <a:gd name="connsiteX200" fmla="*/ 2424 w 160611"/>
                  <a:gd name="connsiteY200" fmla="*/ 44547 h 137580"/>
                  <a:gd name="connsiteX201" fmla="*/ 2727 w 160611"/>
                  <a:gd name="connsiteY201" fmla="*/ 46820 h 137580"/>
                  <a:gd name="connsiteX202" fmla="*/ 3182 w 160611"/>
                  <a:gd name="connsiteY202" fmla="*/ 48638 h 137580"/>
                  <a:gd name="connsiteX203" fmla="*/ 6212 w 160611"/>
                  <a:gd name="connsiteY203" fmla="*/ 52578 h 137580"/>
                  <a:gd name="connsiteX204" fmla="*/ 9394 w 160611"/>
                  <a:gd name="connsiteY204" fmla="*/ 57729 h 137580"/>
                  <a:gd name="connsiteX205" fmla="*/ 10455 w 160611"/>
                  <a:gd name="connsiteY205" fmla="*/ 58032 h 137580"/>
                  <a:gd name="connsiteX206" fmla="*/ 12273 w 160611"/>
                  <a:gd name="connsiteY206" fmla="*/ 57881 h 137580"/>
                  <a:gd name="connsiteX207" fmla="*/ 14394 w 160611"/>
                  <a:gd name="connsiteY207" fmla="*/ 54851 h 137580"/>
                  <a:gd name="connsiteX208" fmla="*/ 15758 w 160611"/>
                  <a:gd name="connsiteY208" fmla="*/ 52426 h 137580"/>
                  <a:gd name="connsiteX209" fmla="*/ 19698 w 160611"/>
                  <a:gd name="connsiteY209" fmla="*/ 46971 h 137580"/>
                  <a:gd name="connsiteX210" fmla="*/ 20607 w 160611"/>
                  <a:gd name="connsiteY210" fmla="*/ 42880 h 137580"/>
                  <a:gd name="connsiteX211" fmla="*/ 21819 w 160611"/>
                  <a:gd name="connsiteY211" fmla="*/ 41062 h 137580"/>
                  <a:gd name="connsiteX212" fmla="*/ 23788 w 160611"/>
                  <a:gd name="connsiteY212" fmla="*/ 40911 h 137580"/>
                  <a:gd name="connsiteX213" fmla="*/ 28334 w 160611"/>
                  <a:gd name="connsiteY213" fmla="*/ 42426 h 137580"/>
                  <a:gd name="connsiteX214" fmla="*/ 30607 w 160611"/>
                  <a:gd name="connsiteY214" fmla="*/ 45002 h 137580"/>
                  <a:gd name="connsiteX215" fmla="*/ 36668 w 160611"/>
                  <a:gd name="connsiteY215" fmla="*/ 49850 h 137580"/>
                  <a:gd name="connsiteX216" fmla="*/ 38031 w 160611"/>
                  <a:gd name="connsiteY216" fmla="*/ 53487 h 137580"/>
                  <a:gd name="connsiteX217" fmla="*/ 37426 w 160611"/>
                  <a:gd name="connsiteY217" fmla="*/ 58639 h 137580"/>
                  <a:gd name="connsiteX218" fmla="*/ 37729 w 160611"/>
                  <a:gd name="connsiteY218" fmla="*/ 62427 h 137580"/>
                  <a:gd name="connsiteX219" fmla="*/ 40153 w 160611"/>
                  <a:gd name="connsiteY219" fmla="*/ 65911 h 137580"/>
                  <a:gd name="connsiteX220" fmla="*/ 48032 w 160611"/>
                  <a:gd name="connsiteY220" fmla="*/ 73336 h 137580"/>
                  <a:gd name="connsiteX221" fmla="*/ 51062 w 160611"/>
                  <a:gd name="connsiteY221" fmla="*/ 75154 h 137580"/>
                  <a:gd name="connsiteX222" fmla="*/ 53487 w 160611"/>
                  <a:gd name="connsiteY222" fmla="*/ 76973 h 137580"/>
                  <a:gd name="connsiteX223" fmla="*/ 50759 w 160611"/>
                  <a:gd name="connsiteY223" fmla="*/ 76366 h 137580"/>
                  <a:gd name="connsiteX224" fmla="*/ 48486 w 160611"/>
                  <a:gd name="connsiteY224" fmla="*/ 76366 h 137580"/>
                  <a:gd name="connsiteX225" fmla="*/ 46971 w 160611"/>
                  <a:gd name="connsiteY225" fmla="*/ 76973 h 137580"/>
                  <a:gd name="connsiteX226" fmla="*/ 45759 w 160611"/>
                  <a:gd name="connsiteY226" fmla="*/ 76973 h 137580"/>
                  <a:gd name="connsiteX227" fmla="*/ 44092 w 160611"/>
                  <a:gd name="connsiteY227" fmla="*/ 77579 h 137580"/>
                  <a:gd name="connsiteX228" fmla="*/ 45759 w 160611"/>
                  <a:gd name="connsiteY228" fmla="*/ 80458 h 137580"/>
                  <a:gd name="connsiteX229" fmla="*/ 54396 w 160611"/>
                  <a:gd name="connsiteY229" fmla="*/ 89246 h 137580"/>
                  <a:gd name="connsiteX230" fmla="*/ 58638 w 160611"/>
                  <a:gd name="connsiteY230" fmla="*/ 92428 h 137580"/>
                  <a:gd name="connsiteX231" fmla="*/ 63184 w 160611"/>
                  <a:gd name="connsiteY231" fmla="*/ 95004 h 137580"/>
                  <a:gd name="connsiteX232" fmla="*/ 66517 w 160611"/>
                  <a:gd name="connsiteY232" fmla="*/ 97579 h 137580"/>
                  <a:gd name="connsiteX233" fmla="*/ 66669 w 160611"/>
                  <a:gd name="connsiteY233" fmla="*/ 99246 h 137580"/>
                  <a:gd name="connsiteX234" fmla="*/ 66517 w 160611"/>
                  <a:gd name="connsiteY234" fmla="*/ 100458 h 137580"/>
                  <a:gd name="connsiteX235" fmla="*/ 67730 w 160611"/>
                  <a:gd name="connsiteY235" fmla="*/ 102125 h 137580"/>
                  <a:gd name="connsiteX236" fmla="*/ 69396 w 160611"/>
                  <a:gd name="connsiteY236" fmla="*/ 102580 h 137580"/>
                  <a:gd name="connsiteX237" fmla="*/ 71669 w 160611"/>
                  <a:gd name="connsiteY237" fmla="*/ 102580 h 137580"/>
                  <a:gd name="connsiteX238" fmla="*/ 75457 w 160611"/>
                  <a:gd name="connsiteY238" fmla="*/ 101822 h 137580"/>
                  <a:gd name="connsiteX239" fmla="*/ 78942 w 160611"/>
                  <a:gd name="connsiteY239" fmla="*/ 101367 h 137580"/>
                  <a:gd name="connsiteX240" fmla="*/ 84548 w 160611"/>
                  <a:gd name="connsiteY240" fmla="*/ 103943 h 137580"/>
                  <a:gd name="connsiteX241" fmla="*/ 92882 w 160611"/>
                  <a:gd name="connsiteY241" fmla="*/ 106368 h 137580"/>
                  <a:gd name="connsiteX242" fmla="*/ 99094 w 160611"/>
                  <a:gd name="connsiteY242" fmla="*/ 112428 h 137580"/>
                  <a:gd name="connsiteX243" fmla="*/ 104549 w 160611"/>
                  <a:gd name="connsiteY243" fmla="*/ 115610 h 137580"/>
                  <a:gd name="connsiteX244" fmla="*/ 110155 w 160611"/>
                  <a:gd name="connsiteY244" fmla="*/ 120610 h 137580"/>
                  <a:gd name="connsiteX245" fmla="*/ 111519 w 160611"/>
                  <a:gd name="connsiteY245" fmla="*/ 121368 h 137580"/>
                  <a:gd name="connsiteX246" fmla="*/ 113186 w 160611"/>
                  <a:gd name="connsiteY246" fmla="*/ 120610 h 137580"/>
                  <a:gd name="connsiteX247" fmla="*/ 113641 w 160611"/>
                  <a:gd name="connsiteY247" fmla="*/ 120004 h 137580"/>
                  <a:gd name="connsiteX248" fmla="*/ 113489 w 160611"/>
                  <a:gd name="connsiteY248" fmla="*/ 119095 h 137580"/>
                  <a:gd name="connsiteX249" fmla="*/ 112731 w 160611"/>
                  <a:gd name="connsiteY249" fmla="*/ 117883 h 137580"/>
                  <a:gd name="connsiteX250" fmla="*/ 106670 w 160611"/>
                  <a:gd name="connsiteY250" fmla="*/ 112731 h 137580"/>
                  <a:gd name="connsiteX251" fmla="*/ 103640 w 160611"/>
                  <a:gd name="connsiteY251" fmla="*/ 109246 h 137580"/>
                  <a:gd name="connsiteX252" fmla="*/ 103186 w 160611"/>
                  <a:gd name="connsiteY252" fmla="*/ 108034 h 137580"/>
                  <a:gd name="connsiteX253" fmla="*/ 103186 w 160611"/>
                  <a:gd name="connsiteY253" fmla="*/ 104701 h 137580"/>
                  <a:gd name="connsiteX254" fmla="*/ 102428 w 160611"/>
                  <a:gd name="connsiteY254" fmla="*/ 103943 h 137580"/>
                  <a:gd name="connsiteX255" fmla="*/ 97882 w 160611"/>
                  <a:gd name="connsiteY255" fmla="*/ 102428 h 137580"/>
                  <a:gd name="connsiteX256" fmla="*/ 92882 w 160611"/>
                  <a:gd name="connsiteY256" fmla="*/ 98034 h 137580"/>
                  <a:gd name="connsiteX257" fmla="*/ 87730 w 160611"/>
                  <a:gd name="connsiteY257" fmla="*/ 93640 h 137580"/>
                  <a:gd name="connsiteX258" fmla="*/ 86973 w 160611"/>
                  <a:gd name="connsiteY258" fmla="*/ 92428 h 137580"/>
                  <a:gd name="connsiteX259" fmla="*/ 84246 w 160611"/>
                  <a:gd name="connsiteY259" fmla="*/ 89094 h 137580"/>
                  <a:gd name="connsiteX260" fmla="*/ 81063 w 160611"/>
                  <a:gd name="connsiteY260" fmla="*/ 86064 h 137580"/>
                  <a:gd name="connsiteX261" fmla="*/ 78488 w 160611"/>
                  <a:gd name="connsiteY261" fmla="*/ 84094 h 137580"/>
                  <a:gd name="connsiteX262" fmla="*/ 76366 w 160611"/>
                  <a:gd name="connsiteY262" fmla="*/ 81973 h 137580"/>
                  <a:gd name="connsiteX263" fmla="*/ 73942 w 160611"/>
                  <a:gd name="connsiteY263" fmla="*/ 78942 h 137580"/>
                  <a:gd name="connsiteX264" fmla="*/ 72730 w 160611"/>
                  <a:gd name="connsiteY264" fmla="*/ 74397 h 137580"/>
                  <a:gd name="connsiteX265" fmla="*/ 71669 w 160611"/>
                  <a:gd name="connsiteY265" fmla="*/ 70306 h 137580"/>
                  <a:gd name="connsiteX266" fmla="*/ 70912 w 160611"/>
                  <a:gd name="connsiteY266" fmla="*/ 68790 h 137580"/>
                  <a:gd name="connsiteX267" fmla="*/ 69396 w 160611"/>
                  <a:gd name="connsiteY267" fmla="*/ 68184 h 137580"/>
                  <a:gd name="connsiteX268" fmla="*/ 64699 w 160611"/>
                  <a:gd name="connsiteY268" fmla="*/ 63336 h 137580"/>
                  <a:gd name="connsiteX269" fmla="*/ 60760 w 160611"/>
                  <a:gd name="connsiteY269" fmla="*/ 60457 h 137580"/>
                  <a:gd name="connsiteX270" fmla="*/ 60760 w 160611"/>
                  <a:gd name="connsiteY270" fmla="*/ 57426 h 137580"/>
                  <a:gd name="connsiteX271" fmla="*/ 61366 w 160611"/>
                  <a:gd name="connsiteY271" fmla="*/ 52275 h 137580"/>
                  <a:gd name="connsiteX272" fmla="*/ 62123 w 160611"/>
                  <a:gd name="connsiteY272" fmla="*/ 46517 h 137580"/>
                  <a:gd name="connsiteX273" fmla="*/ 63032 w 160611"/>
                  <a:gd name="connsiteY273" fmla="*/ 45759 h 137580"/>
                  <a:gd name="connsiteX274" fmla="*/ 64851 w 160611"/>
                  <a:gd name="connsiteY274" fmla="*/ 45305 h 137580"/>
                  <a:gd name="connsiteX275" fmla="*/ 66972 w 160611"/>
                  <a:gd name="connsiteY275" fmla="*/ 45456 h 137580"/>
                  <a:gd name="connsiteX276" fmla="*/ 68790 w 160611"/>
                  <a:gd name="connsiteY276" fmla="*/ 46214 h 137580"/>
                  <a:gd name="connsiteX277" fmla="*/ 72275 w 160611"/>
                  <a:gd name="connsiteY277" fmla="*/ 50153 h 137580"/>
                  <a:gd name="connsiteX278" fmla="*/ 74245 w 160611"/>
                  <a:gd name="connsiteY278" fmla="*/ 51669 h 137580"/>
                  <a:gd name="connsiteX279" fmla="*/ 75912 w 160611"/>
                  <a:gd name="connsiteY279" fmla="*/ 52275 h 137580"/>
                  <a:gd name="connsiteX280" fmla="*/ 77881 w 160611"/>
                  <a:gd name="connsiteY280" fmla="*/ 50608 h 137580"/>
                  <a:gd name="connsiteX281" fmla="*/ 80306 w 160611"/>
                  <a:gd name="connsiteY281" fmla="*/ 47123 h 137580"/>
                  <a:gd name="connsiteX282" fmla="*/ 82427 w 160611"/>
                  <a:gd name="connsiteY282" fmla="*/ 45305 h 137580"/>
                  <a:gd name="connsiteX283" fmla="*/ 89548 w 160611"/>
                  <a:gd name="connsiteY283" fmla="*/ 45911 h 137580"/>
                  <a:gd name="connsiteX284" fmla="*/ 93034 w 160611"/>
                  <a:gd name="connsiteY284" fmla="*/ 43183 h 137580"/>
                  <a:gd name="connsiteX285" fmla="*/ 98640 w 160611"/>
                  <a:gd name="connsiteY285" fmla="*/ 46668 h 137580"/>
                  <a:gd name="connsiteX286" fmla="*/ 100912 w 160611"/>
                  <a:gd name="connsiteY286" fmla="*/ 47274 h 137580"/>
                  <a:gd name="connsiteX287" fmla="*/ 102277 w 160611"/>
                  <a:gd name="connsiteY287" fmla="*/ 46820 h 137580"/>
                  <a:gd name="connsiteX288" fmla="*/ 104095 w 160611"/>
                  <a:gd name="connsiteY288" fmla="*/ 46971 h 137580"/>
                  <a:gd name="connsiteX289" fmla="*/ 108034 w 160611"/>
                  <a:gd name="connsiteY289" fmla="*/ 48032 h 137580"/>
                  <a:gd name="connsiteX290" fmla="*/ 108943 w 160611"/>
                  <a:gd name="connsiteY290" fmla="*/ 48487 h 137580"/>
                  <a:gd name="connsiteX291" fmla="*/ 110155 w 160611"/>
                  <a:gd name="connsiteY291" fmla="*/ 48487 h 137580"/>
                  <a:gd name="connsiteX292" fmla="*/ 113034 w 160611"/>
                  <a:gd name="connsiteY292" fmla="*/ 47123 h 137580"/>
                  <a:gd name="connsiteX293" fmla="*/ 114095 w 160611"/>
                  <a:gd name="connsiteY293" fmla="*/ 47274 h 137580"/>
                  <a:gd name="connsiteX294" fmla="*/ 117429 w 160611"/>
                  <a:gd name="connsiteY294" fmla="*/ 50002 h 137580"/>
                  <a:gd name="connsiteX295" fmla="*/ 119095 w 160611"/>
                  <a:gd name="connsiteY295" fmla="*/ 50002 h 137580"/>
                  <a:gd name="connsiteX296" fmla="*/ 121065 w 160611"/>
                  <a:gd name="connsiteY296" fmla="*/ 48790 h 137580"/>
                  <a:gd name="connsiteX297" fmla="*/ 122429 w 160611"/>
                  <a:gd name="connsiteY297" fmla="*/ 47729 h 137580"/>
                  <a:gd name="connsiteX298" fmla="*/ 126217 w 160611"/>
                  <a:gd name="connsiteY298" fmla="*/ 48487 h 137580"/>
                  <a:gd name="connsiteX299" fmla="*/ 128489 w 160611"/>
                  <a:gd name="connsiteY299" fmla="*/ 48032 h 137580"/>
                  <a:gd name="connsiteX300" fmla="*/ 130307 w 160611"/>
                  <a:gd name="connsiteY300" fmla="*/ 48032 h 137580"/>
                  <a:gd name="connsiteX301" fmla="*/ 132277 w 160611"/>
                  <a:gd name="connsiteY301" fmla="*/ 48487 h 137580"/>
                  <a:gd name="connsiteX302" fmla="*/ 134096 w 160611"/>
                  <a:gd name="connsiteY302" fmla="*/ 49093 h 137580"/>
                  <a:gd name="connsiteX303" fmla="*/ 135914 w 160611"/>
                  <a:gd name="connsiteY303" fmla="*/ 49699 h 137580"/>
                  <a:gd name="connsiteX304" fmla="*/ 140611 w 160611"/>
                  <a:gd name="connsiteY304" fmla="*/ 50002 h 137580"/>
                  <a:gd name="connsiteX305" fmla="*/ 142884 w 160611"/>
                  <a:gd name="connsiteY305" fmla="*/ 51669 h 137580"/>
                  <a:gd name="connsiteX306" fmla="*/ 143793 w 160611"/>
                  <a:gd name="connsiteY306" fmla="*/ 53335 h 137580"/>
                  <a:gd name="connsiteX307" fmla="*/ 143793 w 160611"/>
                  <a:gd name="connsiteY307" fmla="*/ 54396 h 137580"/>
                  <a:gd name="connsiteX308" fmla="*/ 143945 w 160611"/>
                  <a:gd name="connsiteY308" fmla="*/ 55457 h 137580"/>
                  <a:gd name="connsiteX309" fmla="*/ 145308 w 160611"/>
                  <a:gd name="connsiteY309" fmla="*/ 56517 h 137580"/>
                  <a:gd name="connsiteX310" fmla="*/ 148187 w 160611"/>
                  <a:gd name="connsiteY310" fmla="*/ 57123 h 137580"/>
                  <a:gd name="connsiteX311" fmla="*/ 150005 w 160611"/>
                  <a:gd name="connsiteY311" fmla="*/ 56972 h 137580"/>
                  <a:gd name="connsiteX312" fmla="*/ 149702 w 160611"/>
                  <a:gd name="connsiteY312" fmla="*/ 55760 h 137580"/>
                  <a:gd name="connsiteX313" fmla="*/ 150157 w 160611"/>
                  <a:gd name="connsiteY313" fmla="*/ 55305 h 137580"/>
                  <a:gd name="connsiteX314" fmla="*/ 150915 w 160611"/>
                  <a:gd name="connsiteY314" fmla="*/ 55305 h 137580"/>
                  <a:gd name="connsiteX315" fmla="*/ 151521 w 160611"/>
                  <a:gd name="connsiteY315" fmla="*/ 55457 h 137580"/>
                  <a:gd name="connsiteX316" fmla="*/ 152127 w 160611"/>
                  <a:gd name="connsiteY316" fmla="*/ 54851 h 137580"/>
                  <a:gd name="connsiteX317" fmla="*/ 152581 w 160611"/>
                  <a:gd name="connsiteY317" fmla="*/ 53335 h 137580"/>
                  <a:gd name="connsiteX318" fmla="*/ 151521 w 160611"/>
                  <a:gd name="connsiteY318" fmla="*/ 47881 h 137580"/>
                  <a:gd name="connsiteX319" fmla="*/ 153339 w 160611"/>
                  <a:gd name="connsiteY319" fmla="*/ 47426 h 137580"/>
                  <a:gd name="connsiteX320" fmla="*/ 153339 w 160611"/>
                  <a:gd name="connsiteY320" fmla="*/ 46668 h 137580"/>
                  <a:gd name="connsiteX321" fmla="*/ 153490 w 160611"/>
                  <a:gd name="connsiteY321" fmla="*/ 45911 h 137580"/>
                  <a:gd name="connsiteX322" fmla="*/ 155309 w 160611"/>
                  <a:gd name="connsiteY322" fmla="*/ 46820 h 137580"/>
                  <a:gd name="connsiteX323" fmla="*/ 158036 w 160611"/>
                  <a:gd name="connsiteY323" fmla="*/ 46820 h 137580"/>
                  <a:gd name="connsiteX324" fmla="*/ 160309 w 160611"/>
                  <a:gd name="connsiteY324" fmla="*/ 46668 h 137580"/>
                  <a:gd name="connsiteX325" fmla="*/ 160612 w 160611"/>
                  <a:gd name="connsiteY325" fmla="*/ 46062 h 137580"/>
                  <a:gd name="connsiteX326" fmla="*/ 160157 w 160611"/>
                  <a:gd name="connsiteY326" fmla="*/ 44699 h 137580"/>
                  <a:gd name="connsiteX327" fmla="*/ 133793 w 160611"/>
                  <a:gd name="connsiteY327" fmla="*/ 134399 h 137580"/>
                  <a:gd name="connsiteX328" fmla="*/ 133793 w 160611"/>
                  <a:gd name="connsiteY328" fmla="*/ 133187 h 137580"/>
                  <a:gd name="connsiteX329" fmla="*/ 131368 w 160611"/>
                  <a:gd name="connsiteY329" fmla="*/ 132278 h 137580"/>
                  <a:gd name="connsiteX330" fmla="*/ 130156 w 160611"/>
                  <a:gd name="connsiteY330" fmla="*/ 131823 h 137580"/>
                  <a:gd name="connsiteX331" fmla="*/ 125156 w 160611"/>
                  <a:gd name="connsiteY331" fmla="*/ 128793 h 137580"/>
                  <a:gd name="connsiteX332" fmla="*/ 123035 w 160611"/>
                  <a:gd name="connsiteY332" fmla="*/ 127126 h 137580"/>
                  <a:gd name="connsiteX333" fmla="*/ 119550 w 160611"/>
                  <a:gd name="connsiteY333" fmla="*/ 125005 h 137580"/>
                  <a:gd name="connsiteX334" fmla="*/ 117429 w 160611"/>
                  <a:gd name="connsiteY334" fmla="*/ 123792 h 137580"/>
                  <a:gd name="connsiteX335" fmla="*/ 116368 w 160611"/>
                  <a:gd name="connsiteY335" fmla="*/ 121974 h 137580"/>
                  <a:gd name="connsiteX336" fmla="*/ 114701 w 160611"/>
                  <a:gd name="connsiteY336" fmla="*/ 121520 h 137580"/>
                  <a:gd name="connsiteX337" fmla="*/ 112731 w 160611"/>
                  <a:gd name="connsiteY337" fmla="*/ 122126 h 137580"/>
                  <a:gd name="connsiteX338" fmla="*/ 114246 w 160611"/>
                  <a:gd name="connsiteY338" fmla="*/ 123641 h 137580"/>
                  <a:gd name="connsiteX339" fmla="*/ 100458 w 160611"/>
                  <a:gd name="connsiteY339" fmla="*/ 117883 h 137580"/>
                  <a:gd name="connsiteX340" fmla="*/ 97882 w 160611"/>
                  <a:gd name="connsiteY340" fmla="*/ 117883 h 137580"/>
                  <a:gd name="connsiteX341" fmla="*/ 95610 w 160611"/>
                  <a:gd name="connsiteY341" fmla="*/ 118186 h 137580"/>
                  <a:gd name="connsiteX342" fmla="*/ 101367 w 160611"/>
                  <a:gd name="connsiteY342" fmla="*/ 119701 h 137580"/>
                  <a:gd name="connsiteX343" fmla="*/ 110307 w 160611"/>
                  <a:gd name="connsiteY343" fmla="*/ 124095 h 137580"/>
                  <a:gd name="connsiteX344" fmla="*/ 116822 w 160611"/>
                  <a:gd name="connsiteY344" fmla="*/ 125459 h 137580"/>
                  <a:gd name="connsiteX345" fmla="*/ 126065 w 160611"/>
                  <a:gd name="connsiteY345" fmla="*/ 130914 h 137580"/>
                  <a:gd name="connsiteX346" fmla="*/ 130762 w 160611"/>
                  <a:gd name="connsiteY346" fmla="*/ 134399 h 137580"/>
                  <a:gd name="connsiteX347" fmla="*/ 135762 w 160611"/>
                  <a:gd name="connsiteY347" fmla="*/ 137581 h 137580"/>
                  <a:gd name="connsiteX348" fmla="*/ 134702 w 160611"/>
                  <a:gd name="connsiteY348" fmla="*/ 136066 h 137580"/>
                  <a:gd name="connsiteX349" fmla="*/ 133793 w 160611"/>
                  <a:gd name="connsiteY349" fmla="*/ 134399 h 137580"/>
                  <a:gd name="connsiteX350" fmla="*/ 88639 w 160611"/>
                  <a:gd name="connsiteY350" fmla="*/ 109701 h 137580"/>
                  <a:gd name="connsiteX351" fmla="*/ 91064 w 160611"/>
                  <a:gd name="connsiteY351" fmla="*/ 108792 h 137580"/>
                  <a:gd name="connsiteX352" fmla="*/ 91518 w 160611"/>
                  <a:gd name="connsiteY352" fmla="*/ 108186 h 137580"/>
                  <a:gd name="connsiteX353" fmla="*/ 90003 w 160611"/>
                  <a:gd name="connsiteY353" fmla="*/ 106974 h 137580"/>
                  <a:gd name="connsiteX354" fmla="*/ 83639 w 160611"/>
                  <a:gd name="connsiteY354" fmla="*/ 105913 h 137580"/>
                  <a:gd name="connsiteX355" fmla="*/ 79397 w 160611"/>
                  <a:gd name="connsiteY355" fmla="*/ 105761 h 137580"/>
                  <a:gd name="connsiteX356" fmla="*/ 78791 w 160611"/>
                  <a:gd name="connsiteY356" fmla="*/ 107277 h 137580"/>
                  <a:gd name="connsiteX357" fmla="*/ 78639 w 160611"/>
                  <a:gd name="connsiteY357" fmla="*/ 108186 h 137580"/>
                  <a:gd name="connsiteX358" fmla="*/ 80457 w 160611"/>
                  <a:gd name="connsiteY358" fmla="*/ 109246 h 137580"/>
                  <a:gd name="connsiteX359" fmla="*/ 84246 w 160611"/>
                  <a:gd name="connsiteY359" fmla="*/ 109852 h 137580"/>
                  <a:gd name="connsiteX360" fmla="*/ 88639 w 160611"/>
                  <a:gd name="connsiteY360" fmla="*/ 109701 h 137580"/>
                  <a:gd name="connsiteX361" fmla="*/ 97124 w 160611"/>
                  <a:gd name="connsiteY361" fmla="*/ 119853 h 137580"/>
                  <a:gd name="connsiteX362" fmla="*/ 93791 w 160611"/>
                  <a:gd name="connsiteY362" fmla="*/ 119247 h 137580"/>
                  <a:gd name="connsiteX363" fmla="*/ 90155 w 160611"/>
                  <a:gd name="connsiteY363" fmla="*/ 119701 h 137580"/>
                  <a:gd name="connsiteX364" fmla="*/ 85155 w 160611"/>
                  <a:gd name="connsiteY364" fmla="*/ 118792 h 137580"/>
                  <a:gd name="connsiteX365" fmla="*/ 85609 w 160611"/>
                  <a:gd name="connsiteY365" fmla="*/ 120004 h 137580"/>
                  <a:gd name="connsiteX366" fmla="*/ 86367 w 160611"/>
                  <a:gd name="connsiteY366" fmla="*/ 120914 h 137580"/>
                  <a:gd name="connsiteX367" fmla="*/ 87579 w 160611"/>
                  <a:gd name="connsiteY367" fmla="*/ 121671 h 137580"/>
                  <a:gd name="connsiteX368" fmla="*/ 90609 w 160611"/>
                  <a:gd name="connsiteY368" fmla="*/ 122277 h 137580"/>
                  <a:gd name="connsiteX369" fmla="*/ 94094 w 160611"/>
                  <a:gd name="connsiteY369" fmla="*/ 121217 h 137580"/>
                  <a:gd name="connsiteX370" fmla="*/ 97124 w 160611"/>
                  <a:gd name="connsiteY370" fmla="*/ 121671 h 137580"/>
                  <a:gd name="connsiteX371" fmla="*/ 99852 w 160611"/>
                  <a:gd name="connsiteY371" fmla="*/ 121671 h 137580"/>
                  <a:gd name="connsiteX372" fmla="*/ 99398 w 160611"/>
                  <a:gd name="connsiteY372" fmla="*/ 121217 h 137580"/>
                  <a:gd name="connsiteX373" fmla="*/ 97124 w 160611"/>
                  <a:gd name="connsiteY373" fmla="*/ 119853 h 13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Lst>
                <a:rect l="l" t="t" r="r" b="b"/>
                <a:pathLst>
                  <a:path w="160611" h="137580">
                    <a:moveTo>
                      <a:pt x="38486" y="81518"/>
                    </a:moveTo>
                    <a:lnTo>
                      <a:pt x="36062" y="79851"/>
                    </a:lnTo>
                    <a:lnTo>
                      <a:pt x="36819" y="81215"/>
                    </a:lnTo>
                    <a:lnTo>
                      <a:pt x="43486" y="88488"/>
                    </a:lnTo>
                    <a:lnTo>
                      <a:pt x="43941" y="88337"/>
                    </a:lnTo>
                    <a:lnTo>
                      <a:pt x="45305" y="88791"/>
                    </a:lnTo>
                    <a:lnTo>
                      <a:pt x="45305" y="88488"/>
                    </a:lnTo>
                    <a:lnTo>
                      <a:pt x="44850" y="88034"/>
                    </a:lnTo>
                    <a:lnTo>
                      <a:pt x="38486" y="81518"/>
                    </a:lnTo>
                    <a:close/>
                    <a:moveTo>
                      <a:pt x="47123" y="85155"/>
                    </a:moveTo>
                    <a:lnTo>
                      <a:pt x="48183" y="86821"/>
                    </a:lnTo>
                    <a:lnTo>
                      <a:pt x="50002" y="88337"/>
                    </a:lnTo>
                    <a:lnTo>
                      <a:pt x="51668" y="88791"/>
                    </a:lnTo>
                    <a:lnTo>
                      <a:pt x="49850" y="86367"/>
                    </a:lnTo>
                    <a:lnTo>
                      <a:pt x="47123" y="85155"/>
                    </a:lnTo>
                    <a:close/>
                    <a:moveTo>
                      <a:pt x="37426" y="69094"/>
                    </a:moveTo>
                    <a:lnTo>
                      <a:pt x="39698" y="70760"/>
                    </a:lnTo>
                    <a:lnTo>
                      <a:pt x="40910" y="72124"/>
                    </a:lnTo>
                    <a:lnTo>
                      <a:pt x="42577" y="73336"/>
                    </a:lnTo>
                    <a:lnTo>
                      <a:pt x="44395" y="75003"/>
                    </a:lnTo>
                    <a:lnTo>
                      <a:pt x="45153" y="74094"/>
                    </a:lnTo>
                    <a:lnTo>
                      <a:pt x="45911" y="73639"/>
                    </a:lnTo>
                    <a:lnTo>
                      <a:pt x="46668" y="73488"/>
                    </a:lnTo>
                    <a:lnTo>
                      <a:pt x="43183" y="70609"/>
                    </a:lnTo>
                    <a:lnTo>
                      <a:pt x="40304" y="67275"/>
                    </a:lnTo>
                    <a:lnTo>
                      <a:pt x="37274" y="64699"/>
                    </a:lnTo>
                    <a:lnTo>
                      <a:pt x="36062" y="64396"/>
                    </a:lnTo>
                    <a:lnTo>
                      <a:pt x="34698" y="63336"/>
                    </a:lnTo>
                    <a:lnTo>
                      <a:pt x="33031" y="61669"/>
                    </a:lnTo>
                    <a:lnTo>
                      <a:pt x="33486" y="62730"/>
                    </a:lnTo>
                    <a:lnTo>
                      <a:pt x="36819" y="66821"/>
                    </a:lnTo>
                    <a:lnTo>
                      <a:pt x="37426" y="69094"/>
                    </a:lnTo>
                    <a:close/>
                    <a:moveTo>
                      <a:pt x="41517" y="80154"/>
                    </a:moveTo>
                    <a:lnTo>
                      <a:pt x="41819" y="80761"/>
                    </a:lnTo>
                    <a:lnTo>
                      <a:pt x="43183" y="82276"/>
                    </a:lnTo>
                    <a:lnTo>
                      <a:pt x="46668" y="84549"/>
                    </a:lnTo>
                    <a:lnTo>
                      <a:pt x="46214" y="83336"/>
                    </a:lnTo>
                    <a:lnTo>
                      <a:pt x="41517" y="80154"/>
                    </a:lnTo>
                    <a:close/>
                    <a:moveTo>
                      <a:pt x="25152" y="61063"/>
                    </a:moveTo>
                    <a:lnTo>
                      <a:pt x="24697" y="56214"/>
                    </a:lnTo>
                    <a:lnTo>
                      <a:pt x="25152" y="52881"/>
                    </a:lnTo>
                    <a:lnTo>
                      <a:pt x="23183" y="50759"/>
                    </a:lnTo>
                    <a:lnTo>
                      <a:pt x="22576" y="49093"/>
                    </a:lnTo>
                    <a:lnTo>
                      <a:pt x="22274" y="46214"/>
                    </a:lnTo>
                    <a:lnTo>
                      <a:pt x="21516" y="46365"/>
                    </a:lnTo>
                    <a:lnTo>
                      <a:pt x="20304" y="47123"/>
                    </a:lnTo>
                    <a:lnTo>
                      <a:pt x="21819" y="51366"/>
                    </a:lnTo>
                    <a:lnTo>
                      <a:pt x="21819" y="52729"/>
                    </a:lnTo>
                    <a:lnTo>
                      <a:pt x="20758" y="54093"/>
                    </a:lnTo>
                    <a:lnTo>
                      <a:pt x="21061" y="55457"/>
                    </a:lnTo>
                    <a:lnTo>
                      <a:pt x="23183" y="60305"/>
                    </a:lnTo>
                    <a:lnTo>
                      <a:pt x="24092" y="63336"/>
                    </a:lnTo>
                    <a:lnTo>
                      <a:pt x="25758" y="65002"/>
                    </a:lnTo>
                    <a:lnTo>
                      <a:pt x="25910" y="63639"/>
                    </a:lnTo>
                    <a:lnTo>
                      <a:pt x="25758" y="62578"/>
                    </a:lnTo>
                    <a:lnTo>
                      <a:pt x="25152" y="61063"/>
                    </a:lnTo>
                    <a:close/>
                    <a:moveTo>
                      <a:pt x="34547" y="52578"/>
                    </a:moveTo>
                    <a:lnTo>
                      <a:pt x="32577" y="49547"/>
                    </a:lnTo>
                    <a:lnTo>
                      <a:pt x="31516" y="48790"/>
                    </a:lnTo>
                    <a:lnTo>
                      <a:pt x="29546" y="45759"/>
                    </a:lnTo>
                    <a:lnTo>
                      <a:pt x="27880" y="44244"/>
                    </a:lnTo>
                    <a:lnTo>
                      <a:pt x="26667" y="46820"/>
                    </a:lnTo>
                    <a:lnTo>
                      <a:pt x="24243" y="48487"/>
                    </a:lnTo>
                    <a:lnTo>
                      <a:pt x="24546" y="49093"/>
                    </a:lnTo>
                    <a:lnTo>
                      <a:pt x="26213" y="50608"/>
                    </a:lnTo>
                    <a:lnTo>
                      <a:pt x="28940" y="50911"/>
                    </a:lnTo>
                    <a:lnTo>
                      <a:pt x="29395" y="51972"/>
                    </a:lnTo>
                    <a:lnTo>
                      <a:pt x="31062" y="53335"/>
                    </a:lnTo>
                    <a:lnTo>
                      <a:pt x="34547" y="52578"/>
                    </a:lnTo>
                    <a:close/>
                    <a:moveTo>
                      <a:pt x="35910" y="61517"/>
                    </a:moveTo>
                    <a:lnTo>
                      <a:pt x="35152" y="60002"/>
                    </a:lnTo>
                    <a:lnTo>
                      <a:pt x="33334" y="57881"/>
                    </a:lnTo>
                    <a:lnTo>
                      <a:pt x="33031" y="57123"/>
                    </a:lnTo>
                    <a:lnTo>
                      <a:pt x="31364" y="56972"/>
                    </a:lnTo>
                    <a:lnTo>
                      <a:pt x="30910" y="57729"/>
                    </a:lnTo>
                    <a:lnTo>
                      <a:pt x="30607" y="58487"/>
                    </a:lnTo>
                    <a:lnTo>
                      <a:pt x="31062" y="59548"/>
                    </a:lnTo>
                    <a:lnTo>
                      <a:pt x="33334" y="60002"/>
                    </a:lnTo>
                    <a:lnTo>
                      <a:pt x="35910" y="61517"/>
                    </a:lnTo>
                    <a:close/>
                    <a:moveTo>
                      <a:pt x="97882" y="114853"/>
                    </a:moveTo>
                    <a:lnTo>
                      <a:pt x="99852" y="114550"/>
                    </a:lnTo>
                    <a:lnTo>
                      <a:pt x="96215" y="113944"/>
                    </a:lnTo>
                    <a:lnTo>
                      <a:pt x="86215" y="112883"/>
                    </a:lnTo>
                    <a:lnTo>
                      <a:pt x="85155" y="111671"/>
                    </a:lnTo>
                    <a:lnTo>
                      <a:pt x="81518" y="111216"/>
                    </a:lnTo>
                    <a:lnTo>
                      <a:pt x="77579" y="111671"/>
                    </a:lnTo>
                    <a:lnTo>
                      <a:pt x="78336" y="112277"/>
                    </a:lnTo>
                    <a:lnTo>
                      <a:pt x="82276" y="114095"/>
                    </a:lnTo>
                    <a:lnTo>
                      <a:pt x="85760" y="114853"/>
                    </a:lnTo>
                    <a:lnTo>
                      <a:pt x="97882" y="114853"/>
                    </a:lnTo>
                    <a:close/>
                    <a:moveTo>
                      <a:pt x="106367" y="125308"/>
                    </a:moveTo>
                    <a:lnTo>
                      <a:pt x="105155" y="125308"/>
                    </a:lnTo>
                    <a:lnTo>
                      <a:pt x="103943" y="125611"/>
                    </a:lnTo>
                    <a:lnTo>
                      <a:pt x="114853" y="128641"/>
                    </a:lnTo>
                    <a:lnTo>
                      <a:pt x="111065" y="126368"/>
                    </a:lnTo>
                    <a:lnTo>
                      <a:pt x="106367" y="125308"/>
                    </a:lnTo>
                    <a:close/>
                    <a:moveTo>
                      <a:pt x="160157" y="44699"/>
                    </a:moveTo>
                    <a:lnTo>
                      <a:pt x="159703" y="44093"/>
                    </a:lnTo>
                    <a:lnTo>
                      <a:pt x="158945" y="43638"/>
                    </a:lnTo>
                    <a:lnTo>
                      <a:pt x="158339" y="42880"/>
                    </a:lnTo>
                    <a:lnTo>
                      <a:pt x="156824" y="42577"/>
                    </a:lnTo>
                    <a:lnTo>
                      <a:pt x="151975" y="40608"/>
                    </a:lnTo>
                    <a:lnTo>
                      <a:pt x="149551" y="38486"/>
                    </a:lnTo>
                    <a:lnTo>
                      <a:pt x="149702" y="36213"/>
                    </a:lnTo>
                    <a:lnTo>
                      <a:pt x="150460" y="35001"/>
                    </a:lnTo>
                    <a:lnTo>
                      <a:pt x="151369" y="34547"/>
                    </a:lnTo>
                    <a:lnTo>
                      <a:pt x="151066" y="34092"/>
                    </a:lnTo>
                    <a:lnTo>
                      <a:pt x="148339" y="33032"/>
                    </a:lnTo>
                    <a:lnTo>
                      <a:pt x="147429" y="31516"/>
                    </a:lnTo>
                    <a:lnTo>
                      <a:pt x="148187" y="29698"/>
                    </a:lnTo>
                    <a:lnTo>
                      <a:pt x="146672" y="25910"/>
                    </a:lnTo>
                    <a:lnTo>
                      <a:pt x="145157" y="23637"/>
                    </a:lnTo>
                    <a:lnTo>
                      <a:pt x="146672" y="22577"/>
                    </a:lnTo>
                    <a:lnTo>
                      <a:pt x="146823" y="21213"/>
                    </a:lnTo>
                    <a:lnTo>
                      <a:pt x="146975" y="20455"/>
                    </a:lnTo>
                    <a:lnTo>
                      <a:pt x="146823" y="20455"/>
                    </a:lnTo>
                    <a:lnTo>
                      <a:pt x="145005" y="21213"/>
                    </a:lnTo>
                    <a:lnTo>
                      <a:pt x="141975" y="21667"/>
                    </a:lnTo>
                    <a:lnTo>
                      <a:pt x="140460" y="21364"/>
                    </a:lnTo>
                    <a:lnTo>
                      <a:pt x="137732" y="24546"/>
                    </a:lnTo>
                    <a:lnTo>
                      <a:pt x="136823" y="25152"/>
                    </a:lnTo>
                    <a:lnTo>
                      <a:pt x="134247" y="26062"/>
                    </a:lnTo>
                    <a:lnTo>
                      <a:pt x="132126" y="26516"/>
                    </a:lnTo>
                    <a:lnTo>
                      <a:pt x="130307" y="26062"/>
                    </a:lnTo>
                    <a:lnTo>
                      <a:pt x="129550" y="26062"/>
                    </a:lnTo>
                    <a:lnTo>
                      <a:pt x="121368" y="25910"/>
                    </a:lnTo>
                    <a:lnTo>
                      <a:pt x="117125" y="25152"/>
                    </a:lnTo>
                    <a:lnTo>
                      <a:pt x="114398" y="23940"/>
                    </a:lnTo>
                    <a:lnTo>
                      <a:pt x="112580" y="22577"/>
                    </a:lnTo>
                    <a:lnTo>
                      <a:pt x="111671" y="21061"/>
                    </a:lnTo>
                    <a:lnTo>
                      <a:pt x="109549" y="20152"/>
                    </a:lnTo>
                    <a:lnTo>
                      <a:pt x="106216" y="19849"/>
                    </a:lnTo>
                    <a:lnTo>
                      <a:pt x="103640" y="18334"/>
                    </a:lnTo>
                    <a:lnTo>
                      <a:pt x="101822" y="15607"/>
                    </a:lnTo>
                    <a:lnTo>
                      <a:pt x="99246" y="13485"/>
                    </a:lnTo>
                    <a:lnTo>
                      <a:pt x="96064" y="11819"/>
                    </a:lnTo>
                    <a:lnTo>
                      <a:pt x="93488" y="9546"/>
                    </a:lnTo>
                    <a:lnTo>
                      <a:pt x="91670" y="6667"/>
                    </a:lnTo>
                    <a:lnTo>
                      <a:pt x="88336" y="4091"/>
                    </a:lnTo>
                    <a:lnTo>
                      <a:pt x="83488" y="1667"/>
                    </a:lnTo>
                    <a:lnTo>
                      <a:pt x="81972" y="1212"/>
                    </a:lnTo>
                    <a:lnTo>
                      <a:pt x="79548" y="303"/>
                    </a:lnTo>
                    <a:lnTo>
                      <a:pt x="76669" y="0"/>
                    </a:lnTo>
                    <a:lnTo>
                      <a:pt x="76063" y="455"/>
                    </a:lnTo>
                    <a:lnTo>
                      <a:pt x="74851" y="909"/>
                    </a:lnTo>
                    <a:lnTo>
                      <a:pt x="74245" y="1667"/>
                    </a:lnTo>
                    <a:lnTo>
                      <a:pt x="74700" y="4849"/>
                    </a:lnTo>
                    <a:lnTo>
                      <a:pt x="73942" y="5455"/>
                    </a:lnTo>
                    <a:lnTo>
                      <a:pt x="70608" y="5152"/>
                    </a:lnTo>
                    <a:lnTo>
                      <a:pt x="69548" y="5455"/>
                    </a:lnTo>
                    <a:lnTo>
                      <a:pt x="67730" y="7728"/>
                    </a:lnTo>
                    <a:lnTo>
                      <a:pt x="65911" y="8637"/>
                    </a:lnTo>
                    <a:lnTo>
                      <a:pt x="63638" y="9243"/>
                    </a:lnTo>
                    <a:lnTo>
                      <a:pt x="61972" y="10000"/>
                    </a:lnTo>
                    <a:lnTo>
                      <a:pt x="59850" y="10758"/>
                    </a:lnTo>
                    <a:lnTo>
                      <a:pt x="58032" y="11213"/>
                    </a:lnTo>
                    <a:lnTo>
                      <a:pt x="57275" y="12273"/>
                    </a:lnTo>
                    <a:lnTo>
                      <a:pt x="56820" y="13334"/>
                    </a:lnTo>
                    <a:lnTo>
                      <a:pt x="56971" y="14395"/>
                    </a:lnTo>
                    <a:lnTo>
                      <a:pt x="58941" y="16516"/>
                    </a:lnTo>
                    <a:lnTo>
                      <a:pt x="59244" y="18789"/>
                    </a:lnTo>
                    <a:lnTo>
                      <a:pt x="59093" y="21516"/>
                    </a:lnTo>
                    <a:lnTo>
                      <a:pt x="58638" y="23031"/>
                    </a:lnTo>
                    <a:lnTo>
                      <a:pt x="57881" y="23940"/>
                    </a:lnTo>
                    <a:lnTo>
                      <a:pt x="53183" y="25152"/>
                    </a:lnTo>
                    <a:lnTo>
                      <a:pt x="48335" y="27425"/>
                    </a:lnTo>
                    <a:lnTo>
                      <a:pt x="48183" y="27880"/>
                    </a:lnTo>
                    <a:lnTo>
                      <a:pt x="50456" y="29850"/>
                    </a:lnTo>
                    <a:lnTo>
                      <a:pt x="50608" y="30304"/>
                    </a:lnTo>
                    <a:lnTo>
                      <a:pt x="48790" y="31365"/>
                    </a:lnTo>
                    <a:lnTo>
                      <a:pt x="48638" y="32425"/>
                    </a:lnTo>
                    <a:lnTo>
                      <a:pt x="48790" y="33789"/>
                    </a:lnTo>
                    <a:lnTo>
                      <a:pt x="49699" y="35153"/>
                    </a:lnTo>
                    <a:lnTo>
                      <a:pt x="50002" y="36365"/>
                    </a:lnTo>
                    <a:lnTo>
                      <a:pt x="47274" y="37274"/>
                    </a:lnTo>
                    <a:lnTo>
                      <a:pt x="43638" y="36971"/>
                    </a:lnTo>
                    <a:lnTo>
                      <a:pt x="39395" y="35304"/>
                    </a:lnTo>
                    <a:lnTo>
                      <a:pt x="37880" y="35607"/>
                    </a:lnTo>
                    <a:lnTo>
                      <a:pt x="36365" y="36517"/>
                    </a:lnTo>
                    <a:lnTo>
                      <a:pt x="34850" y="36213"/>
                    </a:lnTo>
                    <a:lnTo>
                      <a:pt x="33183" y="35153"/>
                    </a:lnTo>
                    <a:lnTo>
                      <a:pt x="30910" y="33032"/>
                    </a:lnTo>
                    <a:lnTo>
                      <a:pt x="29850" y="31668"/>
                    </a:lnTo>
                    <a:lnTo>
                      <a:pt x="29395" y="30304"/>
                    </a:lnTo>
                    <a:lnTo>
                      <a:pt x="28789" y="30153"/>
                    </a:lnTo>
                    <a:lnTo>
                      <a:pt x="27880" y="30607"/>
                    </a:lnTo>
                    <a:lnTo>
                      <a:pt x="27122" y="32274"/>
                    </a:lnTo>
                    <a:lnTo>
                      <a:pt x="25001" y="35304"/>
                    </a:lnTo>
                    <a:lnTo>
                      <a:pt x="23486" y="36062"/>
                    </a:lnTo>
                    <a:lnTo>
                      <a:pt x="21061" y="35910"/>
                    </a:lnTo>
                    <a:lnTo>
                      <a:pt x="17728" y="35910"/>
                    </a:lnTo>
                    <a:lnTo>
                      <a:pt x="15607" y="36213"/>
                    </a:lnTo>
                    <a:lnTo>
                      <a:pt x="13031" y="35153"/>
                    </a:lnTo>
                    <a:lnTo>
                      <a:pt x="12424" y="35304"/>
                    </a:lnTo>
                    <a:lnTo>
                      <a:pt x="12424" y="36062"/>
                    </a:lnTo>
                    <a:lnTo>
                      <a:pt x="11515" y="37123"/>
                    </a:lnTo>
                    <a:lnTo>
                      <a:pt x="10000" y="37880"/>
                    </a:lnTo>
                    <a:lnTo>
                      <a:pt x="2727" y="36213"/>
                    </a:lnTo>
                    <a:lnTo>
                      <a:pt x="1667" y="34850"/>
                    </a:lnTo>
                    <a:lnTo>
                      <a:pt x="0" y="36062"/>
                    </a:lnTo>
                    <a:lnTo>
                      <a:pt x="2424" y="44547"/>
                    </a:lnTo>
                    <a:lnTo>
                      <a:pt x="2727" y="46820"/>
                    </a:lnTo>
                    <a:lnTo>
                      <a:pt x="3182" y="48638"/>
                    </a:lnTo>
                    <a:lnTo>
                      <a:pt x="6212" y="52578"/>
                    </a:lnTo>
                    <a:lnTo>
                      <a:pt x="9394" y="57729"/>
                    </a:lnTo>
                    <a:lnTo>
                      <a:pt x="10455" y="58032"/>
                    </a:lnTo>
                    <a:lnTo>
                      <a:pt x="12273" y="57881"/>
                    </a:lnTo>
                    <a:lnTo>
                      <a:pt x="14394" y="54851"/>
                    </a:lnTo>
                    <a:lnTo>
                      <a:pt x="15758" y="52426"/>
                    </a:lnTo>
                    <a:lnTo>
                      <a:pt x="19698" y="46971"/>
                    </a:lnTo>
                    <a:lnTo>
                      <a:pt x="20607" y="42880"/>
                    </a:lnTo>
                    <a:lnTo>
                      <a:pt x="21819" y="41062"/>
                    </a:lnTo>
                    <a:lnTo>
                      <a:pt x="23788" y="40911"/>
                    </a:lnTo>
                    <a:lnTo>
                      <a:pt x="28334" y="42426"/>
                    </a:lnTo>
                    <a:lnTo>
                      <a:pt x="30607" y="45002"/>
                    </a:lnTo>
                    <a:lnTo>
                      <a:pt x="36668" y="49850"/>
                    </a:lnTo>
                    <a:lnTo>
                      <a:pt x="38031" y="53487"/>
                    </a:lnTo>
                    <a:lnTo>
                      <a:pt x="37426" y="58639"/>
                    </a:lnTo>
                    <a:lnTo>
                      <a:pt x="37729" y="62427"/>
                    </a:lnTo>
                    <a:lnTo>
                      <a:pt x="40153" y="65911"/>
                    </a:lnTo>
                    <a:lnTo>
                      <a:pt x="48032" y="73336"/>
                    </a:lnTo>
                    <a:lnTo>
                      <a:pt x="51062" y="75154"/>
                    </a:lnTo>
                    <a:lnTo>
                      <a:pt x="53487" y="76973"/>
                    </a:lnTo>
                    <a:lnTo>
                      <a:pt x="50759" y="76366"/>
                    </a:lnTo>
                    <a:lnTo>
                      <a:pt x="48486" y="76366"/>
                    </a:lnTo>
                    <a:lnTo>
                      <a:pt x="46971" y="76973"/>
                    </a:lnTo>
                    <a:lnTo>
                      <a:pt x="45759" y="76973"/>
                    </a:lnTo>
                    <a:lnTo>
                      <a:pt x="44092" y="77579"/>
                    </a:lnTo>
                    <a:lnTo>
                      <a:pt x="45759" y="80458"/>
                    </a:lnTo>
                    <a:lnTo>
                      <a:pt x="54396" y="89246"/>
                    </a:lnTo>
                    <a:lnTo>
                      <a:pt x="58638" y="92428"/>
                    </a:lnTo>
                    <a:lnTo>
                      <a:pt x="63184" y="95004"/>
                    </a:lnTo>
                    <a:lnTo>
                      <a:pt x="66517" y="97579"/>
                    </a:lnTo>
                    <a:lnTo>
                      <a:pt x="66669" y="99246"/>
                    </a:lnTo>
                    <a:lnTo>
                      <a:pt x="66517" y="100458"/>
                    </a:lnTo>
                    <a:lnTo>
                      <a:pt x="67730" y="102125"/>
                    </a:lnTo>
                    <a:lnTo>
                      <a:pt x="69396" y="102580"/>
                    </a:lnTo>
                    <a:lnTo>
                      <a:pt x="71669" y="102580"/>
                    </a:lnTo>
                    <a:lnTo>
                      <a:pt x="75457" y="101822"/>
                    </a:lnTo>
                    <a:lnTo>
                      <a:pt x="78942" y="101367"/>
                    </a:lnTo>
                    <a:lnTo>
                      <a:pt x="84548" y="103943"/>
                    </a:lnTo>
                    <a:lnTo>
                      <a:pt x="92882" y="106368"/>
                    </a:lnTo>
                    <a:lnTo>
                      <a:pt x="99094" y="112428"/>
                    </a:lnTo>
                    <a:lnTo>
                      <a:pt x="104549" y="115610"/>
                    </a:lnTo>
                    <a:lnTo>
                      <a:pt x="110155" y="120610"/>
                    </a:lnTo>
                    <a:lnTo>
                      <a:pt x="111519" y="121368"/>
                    </a:lnTo>
                    <a:lnTo>
                      <a:pt x="113186" y="120610"/>
                    </a:lnTo>
                    <a:lnTo>
                      <a:pt x="113641" y="120004"/>
                    </a:lnTo>
                    <a:lnTo>
                      <a:pt x="113489" y="119095"/>
                    </a:lnTo>
                    <a:lnTo>
                      <a:pt x="112731" y="117883"/>
                    </a:lnTo>
                    <a:lnTo>
                      <a:pt x="106670" y="112731"/>
                    </a:lnTo>
                    <a:lnTo>
                      <a:pt x="103640" y="109246"/>
                    </a:lnTo>
                    <a:lnTo>
                      <a:pt x="103186" y="108034"/>
                    </a:lnTo>
                    <a:lnTo>
                      <a:pt x="103186" y="104701"/>
                    </a:lnTo>
                    <a:lnTo>
                      <a:pt x="102428" y="103943"/>
                    </a:lnTo>
                    <a:lnTo>
                      <a:pt x="97882" y="102428"/>
                    </a:lnTo>
                    <a:lnTo>
                      <a:pt x="92882" y="98034"/>
                    </a:lnTo>
                    <a:lnTo>
                      <a:pt x="87730" y="93640"/>
                    </a:lnTo>
                    <a:lnTo>
                      <a:pt x="86973" y="92428"/>
                    </a:lnTo>
                    <a:lnTo>
                      <a:pt x="84246" y="89094"/>
                    </a:lnTo>
                    <a:lnTo>
                      <a:pt x="81063" y="86064"/>
                    </a:lnTo>
                    <a:lnTo>
                      <a:pt x="78488" y="84094"/>
                    </a:lnTo>
                    <a:lnTo>
                      <a:pt x="76366" y="81973"/>
                    </a:lnTo>
                    <a:lnTo>
                      <a:pt x="73942" y="78942"/>
                    </a:lnTo>
                    <a:lnTo>
                      <a:pt x="72730" y="74397"/>
                    </a:lnTo>
                    <a:lnTo>
                      <a:pt x="71669" y="70306"/>
                    </a:lnTo>
                    <a:lnTo>
                      <a:pt x="70912" y="68790"/>
                    </a:lnTo>
                    <a:lnTo>
                      <a:pt x="69396" y="68184"/>
                    </a:lnTo>
                    <a:lnTo>
                      <a:pt x="64699" y="63336"/>
                    </a:lnTo>
                    <a:lnTo>
                      <a:pt x="60760" y="60457"/>
                    </a:lnTo>
                    <a:lnTo>
                      <a:pt x="60760" y="57426"/>
                    </a:lnTo>
                    <a:lnTo>
                      <a:pt x="61366" y="52275"/>
                    </a:lnTo>
                    <a:lnTo>
                      <a:pt x="62123" y="46517"/>
                    </a:lnTo>
                    <a:lnTo>
                      <a:pt x="63032" y="45759"/>
                    </a:lnTo>
                    <a:lnTo>
                      <a:pt x="64851" y="45305"/>
                    </a:lnTo>
                    <a:lnTo>
                      <a:pt x="66972" y="45456"/>
                    </a:lnTo>
                    <a:lnTo>
                      <a:pt x="68790" y="46214"/>
                    </a:lnTo>
                    <a:lnTo>
                      <a:pt x="72275" y="50153"/>
                    </a:lnTo>
                    <a:lnTo>
                      <a:pt x="74245" y="51669"/>
                    </a:lnTo>
                    <a:lnTo>
                      <a:pt x="75912" y="52275"/>
                    </a:lnTo>
                    <a:lnTo>
                      <a:pt x="77881" y="50608"/>
                    </a:lnTo>
                    <a:lnTo>
                      <a:pt x="80306" y="47123"/>
                    </a:lnTo>
                    <a:lnTo>
                      <a:pt x="82427" y="45305"/>
                    </a:lnTo>
                    <a:lnTo>
                      <a:pt x="89548" y="45911"/>
                    </a:lnTo>
                    <a:lnTo>
                      <a:pt x="93034" y="43183"/>
                    </a:lnTo>
                    <a:lnTo>
                      <a:pt x="98640" y="46668"/>
                    </a:lnTo>
                    <a:lnTo>
                      <a:pt x="100912" y="47274"/>
                    </a:lnTo>
                    <a:lnTo>
                      <a:pt x="102277" y="46820"/>
                    </a:lnTo>
                    <a:lnTo>
                      <a:pt x="104095" y="46971"/>
                    </a:lnTo>
                    <a:lnTo>
                      <a:pt x="108034" y="48032"/>
                    </a:lnTo>
                    <a:lnTo>
                      <a:pt x="108943" y="48487"/>
                    </a:lnTo>
                    <a:lnTo>
                      <a:pt x="110155" y="48487"/>
                    </a:lnTo>
                    <a:lnTo>
                      <a:pt x="113034" y="47123"/>
                    </a:lnTo>
                    <a:lnTo>
                      <a:pt x="114095" y="47274"/>
                    </a:lnTo>
                    <a:lnTo>
                      <a:pt x="117429" y="50002"/>
                    </a:lnTo>
                    <a:lnTo>
                      <a:pt x="119095" y="50002"/>
                    </a:lnTo>
                    <a:lnTo>
                      <a:pt x="121065" y="48790"/>
                    </a:lnTo>
                    <a:lnTo>
                      <a:pt x="122429" y="47729"/>
                    </a:lnTo>
                    <a:lnTo>
                      <a:pt x="126217" y="48487"/>
                    </a:lnTo>
                    <a:lnTo>
                      <a:pt x="128489" y="48032"/>
                    </a:lnTo>
                    <a:lnTo>
                      <a:pt x="130307" y="48032"/>
                    </a:lnTo>
                    <a:lnTo>
                      <a:pt x="132277" y="48487"/>
                    </a:lnTo>
                    <a:lnTo>
                      <a:pt x="134096" y="49093"/>
                    </a:lnTo>
                    <a:lnTo>
                      <a:pt x="135914" y="49699"/>
                    </a:lnTo>
                    <a:lnTo>
                      <a:pt x="140611" y="50002"/>
                    </a:lnTo>
                    <a:lnTo>
                      <a:pt x="142884" y="51669"/>
                    </a:lnTo>
                    <a:lnTo>
                      <a:pt x="143793" y="53335"/>
                    </a:lnTo>
                    <a:lnTo>
                      <a:pt x="143793" y="54396"/>
                    </a:lnTo>
                    <a:lnTo>
                      <a:pt x="143945" y="55457"/>
                    </a:lnTo>
                    <a:lnTo>
                      <a:pt x="145308" y="56517"/>
                    </a:lnTo>
                    <a:lnTo>
                      <a:pt x="148187" y="57123"/>
                    </a:lnTo>
                    <a:lnTo>
                      <a:pt x="150005" y="56972"/>
                    </a:lnTo>
                    <a:lnTo>
                      <a:pt x="149702" y="55760"/>
                    </a:lnTo>
                    <a:lnTo>
                      <a:pt x="150157" y="55305"/>
                    </a:lnTo>
                    <a:lnTo>
                      <a:pt x="150915" y="55305"/>
                    </a:lnTo>
                    <a:lnTo>
                      <a:pt x="151521" y="55457"/>
                    </a:lnTo>
                    <a:lnTo>
                      <a:pt x="152127" y="54851"/>
                    </a:lnTo>
                    <a:lnTo>
                      <a:pt x="152581" y="53335"/>
                    </a:lnTo>
                    <a:lnTo>
                      <a:pt x="151521" y="47881"/>
                    </a:lnTo>
                    <a:lnTo>
                      <a:pt x="153339" y="47426"/>
                    </a:lnTo>
                    <a:lnTo>
                      <a:pt x="153339" y="46668"/>
                    </a:lnTo>
                    <a:lnTo>
                      <a:pt x="153490" y="45911"/>
                    </a:lnTo>
                    <a:lnTo>
                      <a:pt x="155309" y="46820"/>
                    </a:lnTo>
                    <a:lnTo>
                      <a:pt x="158036" y="46820"/>
                    </a:lnTo>
                    <a:lnTo>
                      <a:pt x="160309" y="46668"/>
                    </a:lnTo>
                    <a:lnTo>
                      <a:pt x="160612" y="46062"/>
                    </a:lnTo>
                    <a:lnTo>
                      <a:pt x="160157" y="44699"/>
                    </a:lnTo>
                    <a:close/>
                    <a:moveTo>
                      <a:pt x="133793" y="134399"/>
                    </a:moveTo>
                    <a:lnTo>
                      <a:pt x="133793" y="133187"/>
                    </a:lnTo>
                    <a:lnTo>
                      <a:pt x="131368" y="132278"/>
                    </a:lnTo>
                    <a:lnTo>
                      <a:pt x="130156" y="131823"/>
                    </a:lnTo>
                    <a:lnTo>
                      <a:pt x="125156" y="128793"/>
                    </a:lnTo>
                    <a:lnTo>
                      <a:pt x="123035" y="127126"/>
                    </a:lnTo>
                    <a:lnTo>
                      <a:pt x="119550" y="125005"/>
                    </a:lnTo>
                    <a:lnTo>
                      <a:pt x="117429" y="123792"/>
                    </a:lnTo>
                    <a:lnTo>
                      <a:pt x="116368" y="121974"/>
                    </a:lnTo>
                    <a:lnTo>
                      <a:pt x="114701" y="121520"/>
                    </a:lnTo>
                    <a:lnTo>
                      <a:pt x="112731" y="122126"/>
                    </a:lnTo>
                    <a:lnTo>
                      <a:pt x="114246" y="123641"/>
                    </a:lnTo>
                    <a:lnTo>
                      <a:pt x="100458" y="117883"/>
                    </a:lnTo>
                    <a:lnTo>
                      <a:pt x="97882" y="117883"/>
                    </a:lnTo>
                    <a:lnTo>
                      <a:pt x="95610" y="118186"/>
                    </a:lnTo>
                    <a:lnTo>
                      <a:pt x="101367" y="119701"/>
                    </a:lnTo>
                    <a:lnTo>
                      <a:pt x="110307" y="124095"/>
                    </a:lnTo>
                    <a:lnTo>
                      <a:pt x="116822" y="125459"/>
                    </a:lnTo>
                    <a:lnTo>
                      <a:pt x="126065" y="130914"/>
                    </a:lnTo>
                    <a:lnTo>
                      <a:pt x="130762" y="134399"/>
                    </a:lnTo>
                    <a:lnTo>
                      <a:pt x="135762" y="137581"/>
                    </a:lnTo>
                    <a:lnTo>
                      <a:pt x="134702" y="136066"/>
                    </a:lnTo>
                    <a:lnTo>
                      <a:pt x="133793" y="134399"/>
                    </a:lnTo>
                    <a:close/>
                    <a:moveTo>
                      <a:pt x="88639" y="109701"/>
                    </a:moveTo>
                    <a:lnTo>
                      <a:pt x="91064" y="108792"/>
                    </a:lnTo>
                    <a:lnTo>
                      <a:pt x="91518" y="108186"/>
                    </a:lnTo>
                    <a:lnTo>
                      <a:pt x="90003" y="106974"/>
                    </a:lnTo>
                    <a:lnTo>
                      <a:pt x="83639" y="105913"/>
                    </a:lnTo>
                    <a:lnTo>
                      <a:pt x="79397" y="105761"/>
                    </a:lnTo>
                    <a:lnTo>
                      <a:pt x="78791" y="107277"/>
                    </a:lnTo>
                    <a:lnTo>
                      <a:pt x="78639" y="108186"/>
                    </a:lnTo>
                    <a:lnTo>
                      <a:pt x="80457" y="109246"/>
                    </a:lnTo>
                    <a:lnTo>
                      <a:pt x="84246" y="109852"/>
                    </a:lnTo>
                    <a:lnTo>
                      <a:pt x="88639" y="109701"/>
                    </a:lnTo>
                    <a:close/>
                    <a:moveTo>
                      <a:pt x="97124" y="119853"/>
                    </a:moveTo>
                    <a:lnTo>
                      <a:pt x="93791" y="119247"/>
                    </a:lnTo>
                    <a:lnTo>
                      <a:pt x="90155" y="119701"/>
                    </a:lnTo>
                    <a:lnTo>
                      <a:pt x="85155" y="118792"/>
                    </a:lnTo>
                    <a:lnTo>
                      <a:pt x="85609" y="120004"/>
                    </a:lnTo>
                    <a:lnTo>
                      <a:pt x="86367" y="120914"/>
                    </a:lnTo>
                    <a:lnTo>
                      <a:pt x="87579" y="121671"/>
                    </a:lnTo>
                    <a:lnTo>
                      <a:pt x="90609" y="122277"/>
                    </a:lnTo>
                    <a:lnTo>
                      <a:pt x="94094" y="121217"/>
                    </a:lnTo>
                    <a:lnTo>
                      <a:pt x="97124" y="121671"/>
                    </a:lnTo>
                    <a:lnTo>
                      <a:pt x="99852" y="121671"/>
                    </a:lnTo>
                    <a:lnTo>
                      <a:pt x="99398" y="121217"/>
                    </a:lnTo>
                    <a:lnTo>
                      <a:pt x="97124" y="11985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6" name="Freeform: Shape 3265">
                <a:extLst>
                  <a:ext uri="{FF2B5EF4-FFF2-40B4-BE49-F238E27FC236}">
                    <a16:creationId xmlns:a16="http://schemas.microsoft.com/office/drawing/2014/main" id="{35B8B835-881B-4300-91EC-7BBED3841A2F}"/>
                  </a:ext>
                </a:extLst>
              </p:cNvPr>
              <p:cNvSpPr/>
              <p:nvPr/>
            </p:nvSpPr>
            <p:spPr>
              <a:xfrm>
                <a:off x="3332261" y="4109098"/>
                <a:ext cx="170157" cy="98488"/>
              </a:xfrm>
              <a:custGeom>
                <a:avLst/>
                <a:gdLst>
                  <a:gd name="connsiteX0" fmla="*/ 80457 w 170157"/>
                  <a:gd name="connsiteY0" fmla="*/ 3788 h 98488"/>
                  <a:gd name="connsiteX1" fmla="*/ 85003 w 170157"/>
                  <a:gd name="connsiteY1" fmla="*/ 2424 h 98488"/>
                  <a:gd name="connsiteX2" fmla="*/ 82730 w 170157"/>
                  <a:gd name="connsiteY2" fmla="*/ 2121 h 98488"/>
                  <a:gd name="connsiteX3" fmla="*/ 80003 w 170157"/>
                  <a:gd name="connsiteY3" fmla="*/ 2879 h 98488"/>
                  <a:gd name="connsiteX4" fmla="*/ 76821 w 170157"/>
                  <a:gd name="connsiteY4" fmla="*/ 4394 h 98488"/>
                  <a:gd name="connsiteX5" fmla="*/ 74851 w 170157"/>
                  <a:gd name="connsiteY5" fmla="*/ 6061 h 98488"/>
                  <a:gd name="connsiteX6" fmla="*/ 76215 w 170157"/>
                  <a:gd name="connsiteY6" fmla="*/ 6061 h 98488"/>
                  <a:gd name="connsiteX7" fmla="*/ 80457 w 170157"/>
                  <a:gd name="connsiteY7" fmla="*/ 3788 h 98488"/>
                  <a:gd name="connsiteX8" fmla="*/ 95458 w 170157"/>
                  <a:gd name="connsiteY8" fmla="*/ 1515 h 98488"/>
                  <a:gd name="connsiteX9" fmla="*/ 96216 w 170157"/>
                  <a:gd name="connsiteY9" fmla="*/ 758 h 98488"/>
                  <a:gd name="connsiteX10" fmla="*/ 96519 w 170157"/>
                  <a:gd name="connsiteY10" fmla="*/ 151 h 98488"/>
                  <a:gd name="connsiteX11" fmla="*/ 95306 w 170157"/>
                  <a:gd name="connsiteY11" fmla="*/ 0 h 98488"/>
                  <a:gd name="connsiteX12" fmla="*/ 94094 w 170157"/>
                  <a:gd name="connsiteY12" fmla="*/ 909 h 98488"/>
                  <a:gd name="connsiteX13" fmla="*/ 93034 w 170157"/>
                  <a:gd name="connsiteY13" fmla="*/ 2424 h 98488"/>
                  <a:gd name="connsiteX14" fmla="*/ 93337 w 170157"/>
                  <a:gd name="connsiteY14" fmla="*/ 3182 h 98488"/>
                  <a:gd name="connsiteX15" fmla="*/ 95458 w 170157"/>
                  <a:gd name="connsiteY15" fmla="*/ 1515 h 98488"/>
                  <a:gd name="connsiteX16" fmla="*/ 167885 w 170157"/>
                  <a:gd name="connsiteY16" fmla="*/ 41062 h 98488"/>
                  <a:gd name="connsiteX17" fmla="*/ 166067 w 170157"/>
                  <a:gd name="connsiteY17" fmla="*/ 40001 h 98488"/>
                  <a:gd name="connsiteX18" fmla="*/ 163945 w 170157"/>
                  <a:gd name="connsiteY18" fmla="*/ 35456 h 98488"/>
                  <a:gd name="connsiteX19" fmla="*/ 156369 w 170157"/>
                  <a:gd name="connsiteY19" fmla="*/ 31819 h 98488"/>
                  <a:gd name="connsiteX20" fmla="*/ 155612 w 170157"/>
                  <a:gd name="connsiteY20" fmla="*/ 31971 h 98488"/>
                  <a:gd name="connsiteX21" fmla="*/ 159097 w 170157"/>
                  <a:gd name="connsiteY21" fmla="*/ 33941 h 98488"/>
                  <a:gd name="connsiteX22" fmla="*/ 160612 w 170157"/>
                  <a:gd name="connsiteY22" fmla="*/ 35910 h 98488"/>
                  <a:gd name="connsiteX23" fmla="*/ 159551 w 170157"/>
                  <a:gd name="connsiteY23" fmla="*/ 36062 h 98488"/>
                  <a:gd name="connsiteX24" fmla="*/ 158036 w 170157"/>
                  <a:gd name="connsiteY24" fmla="*/ 34698 h 98488"/>
                  <a:gd name="connsiteX25" fmla="*/ 155763 w 170157"/>
                  <a:gd name="connsiteY25" fmla="*/ 34850 h 98488"/>
                  <a:gd name="connsiteX26" fmla="*/ 154551 w 170157"/>
                  <a:gd name="connsiteY26" fmla="*/ 36062 h 98488"/>
                  <a:gd name="connsiteX27" fmla="*/ 153339 w 170157"/>
                  <a:gd name="connsiteY27" fmla="*/ 36062 h 98488"/>
                  <a:gd name="connsiteX28" fmla="*/ 152278 w 170157"/>
                  <a:gd name="connsiteY28" fmla="*/ 34092 h 98488"/>
                  <a:gd name="connsiteX29" fmla="*/ 150460 w 170157"/>
                  <a:gd name="connsiteY29" fmla="*/ 32274 h 98488"/>
                  <a:gd name="connsiteX30" fmla="*/ 148945 w 170157"/>
                  <a:gd name="connsiteY30" fmla="*/ 31062 h 98488"/>
                  <a:gd name="connsiteX31" fmla="*/ 146672 w 170157"/>
                  <a:gd name="connsiteY31" fmla="*/ 30456 h 98488"/>
                  <a:gd name="connsiteX32" fmla="*/ 145763 w 170157"/>
                  <a:gd name="connsiteY32" fmla="*/ 30910 h 98488"/>
                  <a:gd name="connsiteX33" fmla="*/ 144399 w 170157"/>
                  <a:gd name="connsiteY33" fmla="*/ 30759 h 98488"/>
                  <a:gd name="connsiteX34" fmla="*/ 144096 w 170157"/>
                  <a:gd name="connsiteY34" fmla="*/ 30001 h 98488"/>
                  <a:gd name="connsiteX35" fmla="*/ 143945 w 170157"/>
                  <a:gd name="connsiteY35" fmla="*/ 28334 h 98488"/>
                  <a:gd name="connsiteX36" fmla="*/ 144702 w 170157"/>
                  <a:gd name="connsiteY36" fmla="*/ 27880 h 98488"/>
                  <a:gd name="connsiteX37" fmla="*/ 147733 w 170157"/>
                  <a:gd name="connsiteY37" fmla="*/ 27577 h 98488"/>
                  <a:gd name="connsiteX38" fmla="*/ 153339 w 170157"/>
                  <a:gd name="connsiteY38" fmla="*/ 30759 h 98488"/>
                  <a:gd name="connsiteX39" fmla="*/ 153036 w 170157"/>
                  <a:gd name="connsiteY39" fmla="*/ 29850 h 98488"/>
                  <a:gd name="connsiteX40" fmla="*/ 139702 w 170157"/>
                  <a:gd name="connsiteY40" fmla="*/ 19092 h 98488"/>
                  <a:gd name="connsiteX41" fmla="*/ 132581 w 170157"/>
                  <a:gd name="connsiteY41" fmla="*/ 17728 h 98488"/>
                  <a:gd name="connsiteX42" fmla="*/ 133338 w 170157"/>
                  <a:gd name="connsiteY42" fmla="*/ 18486 h 98488"/>
                  <a:gd name="connsiteX43" fmla="*/ 135157 w 170157"/>
                  <a:gd name="connsiteY43" fmla="*/ 18940 h 98488"/>
                  <a:gd name="connsiteX44" fmla="*/ 134702 w 170157"/>
                  <a:gd name="connsiteY44" fmla="*/ 19395 h 98488"/>
                  <a:gd name="connsiteX45" fmla="*/ 133338 w 170157"/>
                  <a:gd name="connsiteY45" fmla="*/ 19849 h 98488"/>
                  <a:gd name="connsiteX46" fmla="*/ 131520 w 170157"/>
                  <a:gd name="connsiteY46" fmla="*/ 19698 h 98488"/>
                  <a:gd name="connsiteX47" fmla="*/ 129096 w 170157"/>
                  <a:gd name="connsiteY47" fmla="*/ 17425 h 98488"/>
                  <a:gd name="connsiteX48" fmla="*/ 120156 w 170157"/>
                  <a:gd name="connsiteY48" fmla="*/ 14394 h 98488"/>
                  <a:gd name="connsiteX49" fmla="*/ 118186 w 170157"/>
                  <a:gd name="connsiteY49" fmla="*/ 14849 h 98488"/>
                  <a:gd name="connsiteX50" fmla="*/ 115004 w 170157"/>
                  <a:gd name="connsiteY50" fmla="*/ 16364 h 98488"/>
                  <a:gd name="connsiteX51" fmla="*/ 106216 w 170157"/>
                  <a:gd name="connsiteY51" fmla="*/ 16819 h 98488"/>
                  <a:gd name="connsiteX52" fmla="*/ 98034 w 170157"/>
                  <a:gd name="connsiteY52" fmla="*/ 13940 h 98488"/>
                  <a:gd name="connsiteX53" fmla="*/ 92579 w 170157"/>
                  <a:gd name="connsiteY53" fmla="*/ 13334 h 98488"/>
                  <a:gd name="connsiteX54" fmla="*/ 93488 w 170157"/>
                  <a:gd name="connsiteY54" fmla="*/ 13940 h 98488"/>
                  <a:gd name="connsiteX55" fmla="*/ 93943 w 170157"/>
                  <a:gd name="connsiteY55" fmla="*/ 15304 h 98488"/>
                  <a:gd name="connsiteX56" fmla="*/ 90306 w 170157"/>
                  <a:gd name="connsiteY56" fmla="*/ 16667 h 98488"/>
                  <a:gd name="connsiteX57" fmla="*/ 87276 w 170157"/>
                  <a:gd name="connsiteY57" fmla="*/ 17273 h 98488"/>
                  <a:gd name="connsiteX58" fmla="*/ 82427 w 170157"/>
                  <a:gd name="connsiteY58" fmla="*/ 20152 h 98488"/>
                  <a:gd name="connsiteX59" fmla="*/ 79094 w 170157"/>
                  <a:gd name="connsiteY59" fmla="*/ 19698 h 98488"/>
                  <a:gd name="connsiteX60" fmla="*/ 71518 w 170157"/>
                  <a:gd name="connsiteY60" fmla="*/ 19849 h 98488"/>
                  <a:gd name="connsiteX61" fmla="*/ 67427 w 170157"/>
                  <a:gd name="connsiteY61" fmla="*/ 20758 h 98488"/>
                  <a:gd name="connsiteX62" fmla="*/ 57123 w 170157"/>
                  <a:gd name="connsiteY62" fmla="*/ 18789 h 98488"/>
                  <a:gd name="connsiteX63" fmla="*/ 54547 w 170157"/>
                  <a:gd name="connsiteY63" fmla="*/ 18940 h 98488"/>
                  <a:gd name="connsiteX64" fmla="*/ 51517 w 170157"/>
                  <a:gd name="connsiteY64" fmla="*/ 20001 h 98488"/>
                  <a:gd name="connsiteX65" fmla="*/ 50002 w 170157"/>
                  <a:gd name="connsiteY65" fmla="*/ 18789 h 98488"/>
                  <a:gd name="connsiteX66" fmla="*/ 48032 w 170157"/>
                  <a:gd name="connsiteY66" fmla="*/ 16667 h 98488"/>
                  <a:gd name="connsiteX67" fmla="*/ 45759 w 170157"/>
                  <a:gd name="connsiteY67" fmla="*/ 16667 h 98488"/>
                  <a:gd name="connsiteX68" fmla="*/ 41062 w 170157"/>
                  <a:gd name="connsiteY68" fmla="*/ 17576 h 98488"/>
                  <a:gd name="connsiteX69" fmla="*/ 40153 w 170157"/>
                  <a:gd name="connsiteY69" fmla="*/ 18031 h 98488"/>
                  <a:gd name="connsiteX70" fmla="*/ 37274 w 170157"/>
                  <a:gd name="connsiteY70" fmla="*/ 20152 h 98488"/>
                  <a:gd name="connsiteX71" fmla="*/ 36062 w 170157"/>
                  <a:gd name="connsiteY71" fmla="*/ 20758 h 98488"/>
                  <a:gd name="connsiteX72" fmla="*/ 33941 w 170157"/>
                  <a:gd name="connsiteY72" fmla="*/ 22577 h 98488"/>
                  <a:gd name="connsiteX73" fmla="*/ 31213 w 170157"/>
                  <a:gd name="connsiteY73" fmla="*/ 21819 h 98488"/>
                  <a:gd name="connsiteX74" fmla="*/ 30001 w 170157"/>
                  <a:gd name="connsiteY74" fmla="*/ 22728 h 98488"/>
                  <a:gd name="connsiteX75" fmla="*/ 27425 w 170157"/>
                  <a:gd name="connsiteY75" fmla="*/ 24849 h 98488"/>
                  <a:gd name="connsiteX76" fmla="*/ 22880 w 170157"/>
                  <a:gd name="connsiteY76" fmla="*/ 28637 h 98488"/>
                  <a:gd name="connsiteX77" fmla="*/ 18788 w 170157"/>
                  <a:gd name="connsiteY77" fmla="*/ 31971 h 98488"/>
                  <a:gd name="connsiteX78" fmla="*/ 14849 w 170157"/>
                  <a:gd name="connsiteY78" fmla="*/ 35001 h 98488"/>
                  <a:gd name="connsiteX79" fmla="*/ 11212 w 170157"/>
                  <a:gd name="connsiteY79" fmla="*/ 37729 h 98488"/>
                  <a:gd name="connsiteX80" fmla="*/ 10758 w 170157"/>
                  <a:gd name="connsiteY80" fmla="*/ 38032 h 98488"/>
                  <a:gd name="connsiteX81" fmla="*/ 6212 w 170157"/>
                  <a:gd name="connsiteY81" fmla="*/ 40001 h 98488"/>
                  <a:gd name="connsiteX82" fmla="*/ 5455 w 170157"/>
                  <a:gd name="connsiteY82" fmla="*/ 40911 h 98488"/>
                  <a:gd name="connsiteX83" fmla="*/ 4545 w 170157"/>
                  <a:gd name="connsiteY83" fmla="*/ 44850 h 98488"/>
                  <a:gd name="connsiteX84" fmla="*/ 4091 w 170157"/>
                  <a:gd name="connsiteY84" fmla="*/ 45759 h 98488"/>
                  <a:gd name="connsiteX85" fmla="*/ 4849 w 170157"/>
                  <a:gd name="connsiteY85" fmla="*/ 47881 h 98488"/>
                  <a:gd name="connsiteX86" fmla="*/ 5606 w 170157"/>
                  <a:gd name="connsiteY86" fmla="*/ 51214 h 98488"/>
                  <a:gd name="connsiteX87" fmla="*/ 5303 w 170157"/>
                  <a:gd name="connsiteY87" fmla="*/ 52881 h 98488"/>
                  <a:gd name="connsiteX88" fmla="*/ 2121 w 170157"/>
                  <a:gd name="connsiteY88" fmla="*/ 55002 h 98488"/>
                  <a:gd name="connsiteX89" fmla="*/ 606 w 170157"/>
                  <a:gd name="connsiteY89" fmla="*/ 56972 h 98488"/>
                  <a:gd name="connsiteX90" fmla="*/ 0 w 170157"/>
                  <a:gd name="connsiteY90" fmla="*/ 58184 h 98488"/>
                  <a:gd name="connsiteX91" fmla="*/ 757 w 170157"/>
                  <a:gd name="connsiteY91" fmla="*/ 58336 h 98488"/>
                  <a:gd name="connsiteX92" fmla="*/ 5303 w 170157"/>
                  <a:gd name="connsiteY92" fmla="*/ 59699 h 98488"/>
                  <a:gd name="connsiteX93" fmla="*/ 6667 w 170157"/>
                  <a:gd name="connsiteY93" fmla="*/ 59396 h 98488"/>
                  <a:gd name="connsiteX94" fmla="*/ 8333 w 170157"/>
                  <a:gd name="connsiteY94" fmla="*/ 60608 h 98488"/>
                  <a:gd name="connsiteX95" fmla="*/ 9091 w 170157"/>
                  <a:gd name="connsiteY95" fmla="*/ 61517 h 98488"/>
                  <a:gd name="connsiteX96" fmla="*/ 9849 w 170157"/>
                  <a:gd name="connsiteY96" fmla="*/ 62730 h 98488"/>
                  <a:gd name="connsiteX97" fmla="*/ 13485 w 170157"/>
                  <a:gd name="connsiteY97" fmla="*/ 65154 h 98488"/>
                  <a:gd name="connsiteX98" fmla="*/ 14091 w 170157"/>
                  <a:gd name="connsiteY98" fmla="*/ 66214 h 98488"/>
                  <a:gd name="connsiteX99" fmla="*/ 16819 w 170157"/>
                  <a:gd name="connsiteY99" fmla="*/ 67730 h 98488"/>
                  <a:gd name="connsiteX100" fmla="*/ 17879 w 170157"/>
                  <a:gd name="connsiteY100" fmla="*/ 68790 h 98488"/>
                  <a:gd name="connsiteX101" fmla="*/ 19092 w 170157"/>
                  <a:gd name="connsiteY101" fmla="*/ 69245 h 98488"/>
                  <a:gd name="connsiteX102" fmla="*/ 21364 w 170157"/>
                  <a:gd name="connsiteY102" fmla="*/ 69700 h 98488"/>
                  <a:gd name="connsiteX103" fmla="*/ 23334 w 170157"/>
                  <a:gd name="connsiteY103" fmla="*/ 70306 h 98488"/>
                  <a:gd name="connsiteX104" fmla="*/ 23486 w 170157"/>
                  <a:gd name="connsiteY104" fmla="*/ 70760 h 98488"/>
                  <a:gd name="connsiteX105" fmla="*/ 23637 w 170157"/>
                  <a:gd name="connsiteY105" fmla="*/ 72427 h 98488"/>
                  <a:gd name="connsiteX106" fmla="*/ 24092 w 170157"/>
                  <a:gd name="connsiteY106" fmla="*/ 73790 h 98488"/>
                  <a:gd name="connsiteX107" fmla="*/ 25001 w 170157"/>
                  <a:gd name="connsiteY107" fmla="*/ 73942 h 98488"/>
                  <a:gd name="connsiteX108" fmla="*/ 26062 w 170157"/>
                  <a:gd name="connsiteY108" fmla="*/ 73336 h 98488"/>
                  <a:gd name="connsiteX109" fmla="*/ 29698 w 170157"/>
                  <a:gd name="connsiteY109" fmla="*/ 71518 h 98488"/>
                  <a:gd name="connsiteX110" fmla="*/ 33183 w 170157"/>
                  <a:gd name="connsiteY110" fmla="*/ 70306 h 98488"/>
                  <a:gd name="connsiteX111" fmla="*/ 35153 w 170157"/>
                  <a:gd name="connsiteY111" fmla="*/ 71063 h 98488"/>
                  <a:gd name="connsiteX112" fmla="*/ 36365 w 170157"/>
                  <a:gd name="connsiteY112" fmla="*/ 72578 h 98488"/>
                  <a:gd name="connsiteX113" fmla="*/ 37729 w 170157"/>
                  <a:gd name="connsiteY113" fmla="*/ 73336 h 98488"/>
                  <a:gd name="connsiteX114" fmla="*/ 40456 w 170157"/>
                  <a:gd name="connsiteY114" fmla="*/ 72881 h 98488"/>
                  <a:gd name="connsiteX115" fmla="*/ 42880 w 170157"/>
                  <a:gd name="connsiteY115" fmla="*/ 73033 h 98488"/>
                  <a:gd name="connsiteX116" fmla="*/ 44850 w 170157"/>
                  <a:gd name="connsiteY116" fmla="*/ 74397 h 98488"/>
                  <a:gd name="connsiteX117" fmla="*/ 45305 w 170157"/>
                  <a:gd name="connsiteY117" fmla="*/ 75154 h 98488"/>
                  <a:gd name="connsiteX118" fmla="*/ 44092 w 170157"/>
                  <a:gd name="connsiteY118" fmla="*/ 79700 h 98488"/>
                  <a:gd name="connsiteX119" fmla="*/ 43638 w 170157"/>
                  <a:gd name="connsiteY119" fmla="*/ 81670 h 98488"/>
                  <a:gd name="connsiteX120" fmla="*/ 43486 w 170157"/>
                  <a:gd name="connsiteY120" fmla="*/ 83336 h 98488"/>
                  <a:gd name="connsiteX121" fmla="*/ 44244 w 170157"/>
                  <a:gd name="connsiteY121" fmla="*/ 83791 h 98488"/>
                  <a:gd name="connsiteX122" fmla="*/ 44850 w 170157"/>
                  <a:gd name="connsiteY122" fmla="*/ 84397 h 98488"/>
                  <a:gd name="connsiteX123" fmla="*/ 44699 w 170157"/>
                  <a:gd name="connsiteY123" fmla="*/ 85306 h 98488"/>
                  <a:gd name="connsiteX124" fmla="*/ 42577 w 170157"/>
                  <a:gd name="connsiteY124" fmla="*/ 86821 h 98488"/>
                  <a:gd name="connsiteX125" fmla="*/ 43789 w 170157"/>
                  <a:gd name="connsiteY125" fmla="*/ 87427 h 98488"/>
                  <a:gd name="connsiteX126" fmla="*/ 45456 w 170157"/>
                  <a:gd name="connsiteY126" fmla="*/ 87882 h 98488"/>
                  <a:gd name="connsiteX127" fmla="*/ 48335 w 170157"/>
                  <a:gd name="connsiteY127" fmla="*/ 87124 h 98488"/>
                  <a:gd name="connsiteX128" fmla="*/ 51366 w 170157"/>
                  <a:gd name="connsiteY128" fmla="*/ 88033 h 98488"/>
                  <a:gd name="connsiteX129" fmla="*/ 51517 w 170157"/>
                  <a:gd name="connsiteY129" fmla="*/ 89246 h 98488"/>
                  <a:gd name="connsiteX130" fmla="*/ 51214 w 170157"/>
                  <a:gd name="connsiteY130" fmla="*/ 90306 h 98488"/>
                  <a:gd name="connsiteX131" fmla="*/ 52275 w 170157"/>
                  <a:gd name="connsiteY131" fmla="*/ 91973 h 98488"/>
                  <a:gd name="connsiteX132" fmla="*/ 53487 w 170157"/>
                  <a:gd name="connsiteY132" fmla="*/ 94397 h 98488"/>
                  <a:gd name="connsiteX133" fmla="*/ 55608 w 170157"/>
                  <a:gd name="connsiteY133" fmla="*/ 95610 h 98488"/>
                  <a:gd name="connsiteX134" fmla="*/ 55456 w 170157"/>
                  <a:gd name="connsiteY134" fmla="*/ 98488 h 98488"/>
                  <a:gd name="connsiteX135" fmla="*/ 63032 w 170157"/>
                  <a:gd name="connsiteY135" fmla="*/ 98185 h 98488"/>
                  <a:gd name="connsiteX136" fmla="*/ 64396 w 170157"/>
                  <a:gd name="connsiteY136" fmla="*/ 97731 h 98488"/>
                  <a:gd name="connsiteX137" fmla="*/ 65760 w 170157"/>
                  <a:gd name="connsiteY137" fmla="*/ 96519 h 98488"/>
                  <a:gd name="connsiteX138" fmla="*/ 66518 w 170157"/>
                  <a:gd name="connsiteY138" fmla="*/ 94700 h 98488"/>
                  <a:gd name="connsiteX139" fmla="*/ 66669 w 170157"/>
                  <a:gd name="connsiteY139" fmla="*/ 93034 h 98488"/>
                  <a:gd name="connsiteX140" fmla="*/ 66972 w 170157"/>
                  <a:gd name="connsiteY140" fmla="*/ 91821 h 98488"/>
                  <a:gd name="connsiteX141" fmla="*/ 68184 w 170157"/>
                  <a:gd name="connsiteY141" fmla="*/ 90609 h 98488"/>
                  <a:gd name="connsiteX142" fmla="*/ 70457 w 170157"/>
                  <a:gd name="connsiteY142" fmla="*/ 90306 h 98488"/>
                  <a:gd name="connsiteX143" fmla="*/ 72124 w 170157"/>
                  <a:gd name="connsiteY143" fmla="*/ 90155 h 98488"/>
                  <a:gd name="connsiteX144" fmla="*/ 72578 w 170157"/>
                  <a:gd name="connsiteY144" fmla="*/ 89397 h 98488"/>
                  <a:gd name="connsiteX145" fmla="*/ 72124 w 170157"/>
                  <a:gd name="connsiteY145" fmla="*/ 86821 h 98488"/>
                  <a:gd name="connsiteX146" fmla="*/ 71215 w 170157"/>
                  <a:gd name="connsiteY146" fmla="*/ 80457 h 98488"/>
                  <a:gd name="connsiteX147" fmla="*/ 71063 w 170157"/>
                  <a:gd name="connsiteY147" fmla="*/ 78639 h 98488"/>
                  <a:gd name="connsiteX148" fmla="*/ 71366 w 170157"/>
                  <a:gd name="connsiteY148" fmla="*/ 77276 h 98488"/>
                  <a:gd name="connsiteX149" fmla="*/ 72124 w 170157"/>
                  <a:gd name="connsiteY149" fmla="*/ 76821 h 98488"/>
                  <a:gd name="connsiteX150" fmla="*/ 75457 w 170157"/>
                  <a:gd name="connsiteY150" fmla="*/ 76518 h 98488"/>
                  <a:gd name="connsiteX151" fmla="*/ 81821 w 170157"/>
                  <a:gd name="connsiteY151" fmla="*/ 77124 h 98488"/>
                  <a:gd name="connsiteX152" fmla="*/ 83033 w 170157"/>
                  <a:gd name="connsiteY152" fmla="*/ 76669 h 98488"/>
                  <a:gd name="connsiteX153" fmla="*/ 85609 w 170157"/>
                  <a:gd name="connsiteY153" fmla="*/ 73033 h 98488"/>
                  <a:gd name="connsiteX154" fmla="*/ 88034 w 170157"/>
                  <a:gd name="connsiteY154" fmla="*/ 70457 h 98488"/>
                  <a:gd name="connsiteX155" fmla="*/ 89700 w 170157"/>
                  <a:gd name="connsiteY155" fmla="*/ 69245 h 98488"/>
                  <a:gd name="connsiteX156" fmla="*/ 91064 w 170157"/>
                  <a:gd name="connsiteY156" fmla="*/ 68942 h 98488"/>
                  <a:gd name="connsiteX157" fmla="*/ 92579 w 170157"/>
                  <a:gd name="connsiteY157" fmla="*/ 71215 h 98488"/>
                  <a:gd name="connsiteX158" fmla="*/ 98034 w 170157"/>
                  <a:gd name="connsiteY158" fmla="*/ 74548 h 98488"/>
                  <a:gd name="connsiteX159" fmla="*/ 98943 w 170157"/>
                  <a:gd name="connsiteY159" fmla="*/ 74397 h 98488"/>
                  <a:gd name="connsiteX160" fmla="*/ 99549 w 170157"/>
                  <a:gd name="connsiteY160" fmla="*/ 74245 h 98488"/>
                  <a:gd name="connsiteX161" fmla="*/ 99700 w 170157"/>
                  <a:gd name="connsiteY161" fmla="*/ 73790 h 98488"/>
                  <a:gd name="connsiteX162" fmla="*/ 99549 w 170157"/>
                  <a:gd name="connsiteY162" fmla="*/ 72275 h 98488"/>
                  <a:gd name="connsiteX163" fmla="*/ 100913 w 170157"/>
                  <a:gd name="connsiteY163" fmla="*/ 70912 h 98488"/>
                  <a:gd name="connsiteX164" fmla="*/ 103640 w 170157"/>
                  <a:gd name="connsiteY164" fmla="*/ 69700 h 98488"/>
                  <a:gd name="connsiteX165" fmla="*/ 106519 w 170157"/>
                  <a:gd name="connsiteY165" fmla="*/ 67427 h 98488"/>
                  <a:gd name="connsiteX166" fmla="*/ 109398 w 170157"/>
                  <a:gd name="connsiteY166" fmla="*/ 64245 h 98488"/>
                  <a:gd name="connsiteX167" fmla="*/ 111822 w 170157"/>
                  <a:gd name="connsiteY167" fmla="*/ 62426 h 98488"/>
                  <a:gd name="connsiteX168" fmla="*/ 113943 w 170157"/>
                  <a:gd name="connsiteY168" fmla="*/ 61820 h 98488"/>
                  <a:gd name="connsiteX169" fmla="*/ 114701 w 170157"/>
                  <a:gd name="connsiteY169" fmla="*/ 60911 h 98488"/>
                  <a:gd name="connsiteX170" fmla="*/ 114247 w 170157"/>
                  <a:gd name="connsiteY170" fmla="*/ 59699 h 98488"/>
                  <a:gd name="connsiteX171" fmla="*/ 114398 w 170157"/>
                  <a:gd name="connsiteY171" fmla="*/ 58032 h 98488"/>
                  <a:gd name="connsiteX172" fmla="*/ 115156 w 170157"/>
                  <a:gd name="connsiteY172" fmla="*/ 55911 h 98488"/>
                  <a:gd name="connsiteX173" fmla="*/ 116368 w 170157"/>
                  <a:gd name="connsiteY173" fmla="*/ 54699 h 98488"/>
                  <a:gd name="connsiteX174" fmla="*/ 117883 w 170157"/>
                  <a:gd name="connsiteY174" fmla="*/ 54396 h 98488"/>
                  <a:gd name="connsiteX175" fmla="*/ 118489 w 170157"/>
                  <a:gd name="connsiteY175" fmla="*/ 53638 h 98488"/>
                  <a:gd name="connsiteX176" fmla="*/ 118186 w 170157"/>
                  <a:gd name="connsiteY176" fmla="*/ 52578 h 98488"/>
                  <a:gd name="connsiteX177" fmla="*/ 118489 w 170157"/>
                  <a:gd name="connsiteY177" fmla="*/ 51517 h 98488"/>
                  <a:gd name="connsiteX178" fmla="*/ 119853 w 170157"/>
                  <a:gd name="connsiteY178" fmla="*/ 49699 h 98488"/>
                  <a:gd name="connsiteX179" fmla="*/ 123338 w 170157"/>
                  <a:gd name="connsiteY179" fmla="*/ 48032 h 98488"/>
                  <a:gd name="connsiteX180" fmla="*/ 125308 w 170157"/>
                  <a:gd name="connsiteY180" fmla="*/ 48638 h 98488"/>
                  <a:gd name="connsiteX181" fmla="*/ 126974 w 170157"/>
                  <a:gd name="connsiteY181" fmla="*/ 50760 h 98488"/>
                  <a:gd name="connsiteX182" fmla="*/ 129247 w 170157"/>
                  <a:gd name="connsiteY182" fmla="*/ 52275 h 98488"/>
                  <a:gd name="connsiteX183" fmla="*/ 132278 w 170157"/>
                  <a:gd name="connsiteY183" fmla="*/ 53032 h 98488"/>
                  <a:gd name="connsiteX184" fmla="*/ 134550 w 170157"/>
                  <a:gd name="connsiteY184" fmla="*/ 52729 h 98488"/>
                  <a:gd name="connsiteX185" fmla="*/ 136217 w 170157"/>
                  <a:gd name="connsiteY185" fmla="*/ 51366 h 98488"/>
                  <a:gd name="connsiteX186" fmla="*/ 137732 w 170157"/>
                  <a:gd name="connsiteY186" fmla="*/ 50911 h 98488"/>
                  <a:gd name="connsiteX187" fmla="*/ 139096 w 170157"/>
                  <a:gd name="connsiteY187" fmla="*/ 51366 h 98488"/>
                  <a:gd name="connsiteX188" fmla="*/ 139854 w 170157"/>
                  <a:gd name="connsiteY188" fmla="*/ 51062 h 98488"/>
                  <a:gd name="connsiteX189" fmla="*/ 139854 w 170157"/>
                  <a:gd name="connsiteY189" fmla="*/ 50002 h 98488"/>
                  <a:gd name="connsiteX190" fmla="*/ 140460 w 170157"/>
                  <a:gd name="connsiteY190" fmla="*/ 49699 h 98488"/>
                  <a:gd name="connsiteX191" fmla="*/ 141672 w 170157"/>
                  <a:gd name="connsiteY191" fmla="*/ 50305 h 98488"/>
                  <a:gd name="connsiteX192" fmla="*/ 142884 w 170157"/>
                  <a:gd name="connsiteY192" fmla="*/ 50456 h 98488"/>
                  <a:gd name="connsiteX193" fmla="*/ 143945 w 170157"/>
                  <a:gd name="connsiteY193" fmla="*/ 50153 h 98488"/>
                  <a:gd name="connsiteX194" fmla="*/ 144399 w 170157"/>
                  <a:gd name="connsiteY194" fmla="*/ 49547 h 98488"/>
                  <a:gd name="connsiteX195" fmla="*/ 144551 w 170157"/>
                  <a:gd name="connsiteY195" fmla="*/ 48941 h 98488"/>
                  <a:gd name="connsiteX196" fmla="*/ 145308 w 170157"/>
                  <a:gd name="connsiteY196" fmla="*/ 48487 h 98488"/>
                  <a:gd name="connsiteX197" fmla="*/ 147884 w 170157"/>
                  <a:gd name="connsiteY197" fmla="*/ 48941 h 98488"/>
                  <a:gd name="connsiteX198" fmla="*/ 150763 w 170157"/>
                  <a:gd name="connsiteY198" fmla="*/ 48335 h 98488"/>
                  <a:gd name="connsiteX199" fmla="*/ 153945 w 170157"/>
                  <a:gd name="connsiteY199" fmla="*/ 46668 h 98488"/>
                  <a:gd name="connsiteX200" fmla="*/ 156066 w 170157"/>
                  <a:gd name="connsiteY200" fmla="*/ 45911 h 98488"/>
                  <a:gd name="connsiteX201" fmla="*/ 157127 w 170157"/>
                  <a:gd name="connsiteY201" fmla="*/ 46062 h 98488"/>
                  <a:gd name="connsiteX202" fmla="*/ 158339 w 170157"/>
                  <a:gd name="connsiteY202" fmla="*/ 45153 h 98488"/>
                  <a:gd name="connsiteX203" fmla="*/ 159854 w 170157"/>
                  <a:gd name="connsiteY203" fmla="*/ 43183 h 98488"/>
                  <a:gd name="connsiteX204" fmla="*/ 163188 w 170157"/>
                  <a:gd name="connsiteY204" fmla="*/ 42274 h 98488"/>
                  <a:gd name="connsiteX205" fmla="*/ 170158 w 170157"/>
                  <a:gd name="connsiteY205" fmla="*/ 42729 h 98488"/>
                  <a:gd name="connsiteX206" fmla="*/ 167885 w 170157"/>
                  <a:gd name="connsiteY206" fmla="*/ 41062 h 9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0157" h="98488">
                    <a:moveTo>
                      <a:pt x="80457" y="3788"/>
                    </a:moveTo>
                    <a:lnTo>
                      <a:pt x="85003" y="2424"/>
                    </a:lnTo>
                    <a:lnTo>
                      <a:pt x="82730" y="2121"/>
                    </a:lnTo>
                    <a:lnTo>
                      <a:pt x="80003" y="2879"/>
                    </a:lnTo>
                    <a:lnTo>
                      <a:pt x="76821" y="4394"/>
                    </a:lnTo>
                    <a:lnTo>
                      <a:pt x="74851" y="6061"/>
                    </a:lnTo>
                    <a:lnTo>
                      <a:pt x="76215" y="6061"/>
                    </a:lnTo>
                    <a:lnTo>
                      <a:pt x="80457" y="3788"/>
                    </a:lnTo>
                    <a:close/>
                    <a:moveTo>
                      <a:pt x="95458" y="1515"/>
                    </a:moveTo>
                    <a:lnTo>
                      <a:pt x="96216" y="758"/>
                    </a:lnTo>
                    <a:lnTo>
                      <a:pt x="96519" y="151"/>
                    </a:lnTo>
                    <a:lnTo>
                      <a:pt x="95306" y="0"/>
                    </a:lnTo>
                    <a:lnTo>
                      <a:pt x="94094" y="909"/>
                    </a:lnTo>
                    <a:lnTo>
                      <a:pt x="93034" y="2424"/>
                    </a:lnTo>
                    <a:lnTo>
                      <a:pt x="93337" y="3182"/>
                    </a:lnTo>
                    <a:lnTo>
                      <a:pt x="95458" y="1515"/>
                    </a:lnTo>
                    <a:close/>
                    <a:moveTo>
                      <a:pt x="167885" y="41062"/>
                    </a:moveTo>
                    <a:lnTo>
                      <a:pt x="166067" y="40001"/>
                    </a:lnTo>
                    <a:lnTo>
                      <a:pt x="163945" y="35456"/>
                    </a:lnTo>
                    <a:lnTo>
                      <a:pt x="156369" y="31819"/>
                    </a:lnTo>
                    <a:lnTo>
                      <a:pt x="155612" y="31971"/>
                    </a:lnTo>
                    <a:lnTo>
                      <a:pt x="159097" y="33941"/>
                    </a:lnTo>
                    <a:lnTo>
                      <a:pt x="160612" y="35910"/>
                    </a:lnTo>
                    <a:lnTo>
                      <a:pt x="159551" y="36062"/>
                    </a:lnTo>
                    <a:lnTo>
                      <a:pt x="158036" y="34698"/>
                    </a:lnTo>
                    <a:lnTo>
                      <a:pt x="155763" y="34850"/>
                    </a:lnTo>
                    <a:lnTo>
                      <a:pt x="154551" y="36062"/>
                    </a:lnTo>
                    <a:lnTo>
                      <a:pt x="153339" y="36062"/>
                    </a:lnTo>
                    <a:lnTo>
                      <a:pt x="152278" y="34092"/>
                    </a:lnTo>
                    <a:lnTo>
                      <a:pt x="150460" y="32274"/>
                    </a:lnTo>
                    <a:lnTo>
                      <a:pt x="148945" y="31062"/>
                    </a:lnTo>
                    <a:lnTo>
                      <a:pt x="146672" y="30456"/>
                    </a:lnTo>
                    <a:lnTo>
                      <a:pt x="145763" y="30910"/>
                    </a:lnTo>
                    <a:lnTo>
                      <a:pt x="144399" y="30759"/>
                    </a:lnTo>
                    <a:lnTo>
                      <a:pt x="144096" y="30001"/>
                    </a:lnTo>
                    <a:lnTo>
                      <a:pt x="143945" y="28334"/>
                    </a:lnTo>
                    <a:lnTo>
                      <a:pt x="144702" y="27880"/>
                    </a:lnTo>
                    <a:lnTo>
                      <a:pt x="147733" y="27577"/>
                    </a:lnTo>
                    <a:lnTo>
                      <a:pt x="153339" y="30759"/>
                    </a:lnTo>
                    <a:lnTo>
                      <a:pt x="153036" y="29850"/>
                    </a:lnTo>
                    <a:lnTo>
                      <a:pt x="139702" y="19092"/>
                    </a:lnTo>
                    <a:lnTo>
                      <a:pt x="132581" y="17728"/>
                    </a:lnTo>
                    <a:lnTo>
                      <a:pt x="133338" y="18486"/>
                    </a:lnTo>
                    <a:lnTo>
                      <a:pt x="135157" y="18940"/>
                    </a:lnTo>
                    <a:lnTo>
                      <a:pt x="134702" y="19395"/>
                    </a:lnTo>
                    <a:lnTo>
                      <a:pt x="133338" y="19849"/>
                    </a:lnTo>
                    <a:lnTo>
                      <a:pt x="131520" y="19698"/>
                    </a:lnTo>
                    <a:lnTo>
                      <a:pt x="129096" y="17425"/>
                    </a:lnTo>
                    <a:lnTo>
                      <a:pt x="120156" y="14394"/>
                    </a:lnTo>
                    <a:lnTo>
                      <a:pt x="118186" y="14849"/>
                    </a:lnTo>
                    <a:lnTo>
                      <a:pt x="115004" y="16364"/>
                    </a:lnTo>
                    <a:lnTo>
                      <a:pt x="106216" y="16819"/>
                    </a:lnTo>
                    <a:lnTo>
                      <a:pt x="98034" y="13940"/>
                    </a:lnTo>
                    <a:lnTo>
                      <a:pt x="92579" y="13334"/>
                    </a:lnTo>
                    <a:lnTo>
                      <a:pt x="93488" y="13940"/>
                    </a:lnTo>
                    <a:lnTo>
                      <a:pt x="93943" y="15304"/>
                    </a:lnTo>
                    <a:lnTo>
                      <a:pt x="90306" y="16667"/>
                    </a:lnTo>
                    <a:lnTo>
                      <a:pt x="87276" y="17273"/>
                    </a:lnTo>
                    <a:lnTo>
                      <a:pt x="82427" y="20152"/>
                    </a:lnTo>
                    <a:lnTo>
                      <a:pt x="79094" y="19698"/>
                    </a:lnTo>
                    <a:lnTo>
                      <a:pt x="71518" y="19849"/>
                    </a:lnTo>
                    <a:lnTo>
                      <a:pt x="67427" y="20758"/>
                    </a:lnTo>
                    <a:lnTo>
                      <a:pt x="57123" y="18789"/>
                    </a:lnTo>
                    <a:lnTo>
                      <a:pt x="54547" y="18940"/>
                    </a:lnTo>
                    <a:lnTo>
                      <a:pt x="51517" y="20001"/>
                    </a:lnTo>
                    <a:lnTo>
                      <a:pt x="50002" y="18789"/>
                    </a:lnTo>
                    <a:lnTo>
                      <a:pt x="48032" y="16667"/>
                    </a:lnTo>
                    <a:lnTo>
                      <a:pt x="45759" y="16667"/>
                    </a:lnTo>
                    <a:lnTo>
                      <a:pt x="41062" y="17576"/>
                    </a:lnTo>
                    <a:lnTo>
                      <a:pt x="40153" y="18031"/>
                    </a:lnTo>
                    <a:lnTo>
                      <a:pt x="37274" y="20152"/>
                    </a:lnTo>
                    <a:lnTo>
                      <a:pt x="36062" y="20758"/>
                    </a:lnTo>
                    <a:lnTo>
                      <a:pt x="33941" y="22577"/>
                    </a:lnTo>
                    <a:lnTo>
                      <a:pt x="31213" y="21819"/>
                    </a:lnTo>
                    <a:lnTo>
                      <a:pt x="30001" y="22728"/>
                    </a:lnTo>
                    <a:lnTo>
                      <a:pt x="27425" y="24849"/>
                    </a:lnTo>
                    <a:lnTo>
                      <a:pt x="22880" y="28637"/>
                    </a:lnTo>
                    <a:lnTo>
                      <a:pt x="18788" y="31971"/>
                    </a:lnTo>
                    <a:lnTo>
                      <a:pt x="14849" y="35001"/>
                    </a:lnTo>
                    <a:lnTo>
                      <a:pt x="11212" y="37729"/>
                    </a:lnTo>
                    <a:lnTo>
                      <a:pt x="10758" y="38032"/>
                    </a:lnTo>
                    <a:lnTo>
                      <a:pt x="6212" y="40001"/>
                    </a:lnTo>
                    <a:lnTo>
                      <a:pt x="5455" y="40911"/>
                    </a:lnTo>
                    <a:lnTo>
                      <a:pt x="4545" y="44850"/>
                    </a:lnTo>
                    <a:lnTo>
                      <a:pt x="4091" y="45759"/>
                    </a:lnTo>
                    <a:lnTo>
                      <a:pt x="4849" y="47881"/>
                    </a:lnTo>
                    <a:lnTo>
                      <a:pt x="5606" y="51214"/>
                    </a:lnTo>
                    <a:lnTo>
                      <a:pt x="5303" y="52881"/>
                    </a:lnTo>
                    <a:lnTo>
                      <a:pt x="2121" y="55002"/>
                    </a:lnTo>
                    <a:lnTo>
                      <a:pt x="606" y="56972"/>
                    </a:lnTo>
                    <a:lnTo>
                      <a:pt x="0" y="58184"/>
                    </a:lnTo>
                    <a:lnTo>
                      <a:pt x="757" y="58336"/>
                    </a:lnTo>
                    <a:lnTo>
                      <a:pt x="5303" y="59699"/>
                    </a:lnTo>
                    <a:lnTo>
                      <a:pt x="6667" y="59396"/>
                    </a:lnTo>
                    <a:lnTo>
                      <a:pt x="8333" y="60608"/>
                    </a:lnTo>
                    <a:lnTo>
                      <a:pt x="9091" y="61517"/>
                    </a:lnTo>
                    <a:lnTo>
                      <a:pt x="9849" y="62730"/>
                    </a:lnTo>
                    <a:lnTo>
                      <a:pt x="13485" y="65154"/>
                    </a:lnTo>
                    <a:lnTo>
                      <a:pt x="14091" y="66214"/>
                    </a:lnTo>
                    <a:lnTo>
                      <a:pt x="16819" y="67730"/>
                    </a:lnTo>
                    <a:lnTo>
                      <a:pt x="17879" y="68790"/>
                    </a:lnTo>
                    <a:lnTo>
                      <a:pt x="19092" y="69245"/>
                    </a:lnTo>
                    <a:lnTo>
                      <a:pt x="21364" y="69700"/>
                    </a:lnTo>
                    <a:lnTo>
                      <a:pt x="23334" y="70306"/>
                    </a:lnTo>
                    <a:lnTo>
                      <a:pt x="23486" y="70760"/>
                    </a:lnTo>
                    <a:lnTo>
                      <a:pt x="23637" y="72427"/>
                    </a:lnTo>
                    <a:lnTo>
                      <a:pt x="24092" y="73790"/>
                    </a:lnTo>
                    <a:lnTo>
                      <a:pt x="25001" y="73942"/>
                    </a:lnTo>
                    <a:lnTo>
                      <a:pt x="26062" y="73336"/>
                    </a:lnTo>
                    <a:lnTo>
                      <a:pt x="29698" y="71518"/>
                    </a:lnTo>
                    <a:lnTo>
                      <a:pt x="33183" y="70306"/>
                    </a:lnTo>
                    <a:lnTo>
                      <a:pt x="35153" y="71063"/>
                    </a:lnTo>
                    <a:lnTo>
                      <a:pt x="36365" y="72578"/>
                    </a:lnTo>
                    <a:lnTo>
                      <a:pt x="37729" y="73336"/>
                    </a:lnTo>
                    <a:lnTo>
                      <a:pt x="40456" y="72881"/>
                    </a:lnTo>
                    <a:lnTo>
                      <a:pt x="42880" y="73033"/>
                    </a:lnTo>
                    <a:lnTo>
                      <a:pt x="44850" y="74397"/>
                    </a:lnTo>
                    <a:lnTo>
                      <a:pt x="45305" y="75154"/>
                    </a:lnTo>
                    <a:lnTo>
                      <a:pt x="44092" y="79700"/>
                    </a:lnTo>
                    <a:lnTo>
                      <a:pt x="43638" y="81670"/>
                    </a:lnTo>
                    <a:lnTo>
                      <a:pt x="43486" y="83336"/>
                    </a:lnTo>
                    <a:lnTo>
                      <a:pt x="44244" y="83791"/>
                    </a:lnTo>
                    <a:lnTo>
                      <a:pt x="44850" y="84397"/>
                    </a:lnTo>
                    <a:lnTo>
                      <a:pt x="44699" y="85306"/>
                    </a:lnTo>
                    <a:lnTo>
                      <a:pt x="42577" y="86821"/>
                    </a:lnTo>
                    <a:lnTo>
                      <a:pt x="43789" y="87427"/>
                    </a:lnTo>
                    <a:lnTo>
                      <a:pt x="45456" y="87882"/>
                    </a:lnTo>
                    <a:lnTo>
                      <a:pt x="48335" y="87124"/>
                    </a:lnTo>
                    <a:lnTo>
                      <a:pt x="51366" y="88033"/>
                    </a:lnTo>
                    <a:lnTo>
                      <a:pt x="51517" y="89246"/>
                    </a:lnTo>
                    <a:lnTo>
                      <a:pt x="51214" y="90306"/>
                    </a:lnTo>
                    <a:lnTo>
                      <a:pt x="52275" y="91973"/>
                    </a:lnTo>
                    <a:lnTo>
                      <a:pt x="53487" y="94397"/>
                    </a:lnTo>
                    <a:lnTo>
                      <a:pt x="55608" y="95610"/>
                    </a:lnTo>
                    <a:lnTo>
                      <a:pt x="55456" y="98488"/>
                    </a:lnTo>
                    <a:lnTo>
                      <a:pt x="63032" y="98185"/>
                    </a:lnTo>
                    <a:lnTo>
                      <a:pt x="64396" y="97731"/>
                    </a:lnTo>
                    <a:lnTo>
                      <a:pt x="65760" y="96519"/>
                    </a:lnTo>
                    <a:lnTo>
                      <a:pt x="66518" y="94700"/>
                    </a:lnTo>
                    <a:lnTo>
                      <a:pt x="66669" y="93034"/>
                    </a:lnTo>
                    <a:lnTo>
                      <a:pt x="66972" y="91821"/>
                    </a:lnTo>
                    <a:lnTo>
                      <a:pt x="68184" y="90609"/>
                    </a:lnTo>
                    <a:lnTo>
                      <a:pt x="70457" y="90306"/>
                    </a:lnTo>
                    <a:lnTo>
                      <a:pt x="72124" y="90155"/>
                    </a:lnTo>
                    <a:lnTo>
                      <a:pt x="72578" y="89397"/>
                    </a:lnTo>
                    <a:lnTo>
                      <a:pt x="72124" y="86821"/>
                    </a:lnTo>
                    <a:lnTo>
                      <a:pt x="71215" y="80457"/>
                    </a:lnTo>
                    <a:lnTo>
                      <a:pt x="71063" y="78639"/>
                    </a:lnTo>
                    <a:lnTo>
                      <a:pt x="71366" y="77276"/>
                    </a:lnTo>
                    <a:lnTo>
                      <a:pt x="72124" y="76821"/>
                    </a:lnTo>
                    <a:lnTo>
                      <a:pt x="75457" y="76518"/>
                    </a:lnTo>
                    <a:lnTo>
                      <a:pt x="81821" y="77124"/>
                    </a:lnTo>
                    <a:lnTo>
                      <a:pt x="83033" y="76669"/>
                    </a:lnTo>
                    <a:lnTo>
                      <a:pt x="85609" y="73033"/>
                    </a:lnTo>
                    <a:lnTo>
                      <a:pt x="88034" y="70457"/>
                    </a:lnTo>
                    <a:lnTo>
                      <a:pt x="89700" y="69245"/>
                    </a:lnTo>
                    <a:lnTo>
                      <a:pt x="91064" y="68942"/>
                    </a:lnTo>
                    <a:lnTo>
                      <a:pt x="92579" y="71215"/>
                    </a:lnTo>
                    <a:lnTo>
                      <a:pt x="98034" y="74548"/>
                    </a:lnTo>
                    <a:lnTo>
                      <a:pt x="98943" y="74397"/>
                    </a:lnTo>
                    <a:lnTo>
                      <a:pt x="99549" y="74245"/>
                    </a:lnTo>
                    <a:lnTo>
                      <a:pt x="99700" y="73790"/>
                    </a:lnTo>
                    <a:lnTo>
                      <a:pt x="99549" y="72275"/>
                    </a:lnTo>
                    <a:lnTo>
                      <a:pt x="100913" y="70912"/>
                    </a:lnTo>
                    <a:lnTo>
                      <a:pt x="103640" y="69700"/>
                    </a:lnTo>
                    <a:lnTo>
                      <a:pt x="106519" y="67427"/>
                    </a:lnTo>
                    <a:lnTo>
                      <a:pt x="109398" y="64245"/>
                    </a:lnTo>
                    <a:lnTo>
                      <a:pt x="111822" y="62426"/>
                    </a:lnTo>
                    <a:lnTo>
                      <a:pt x="113943" y="61820"/>
                    </a:lnTo>
                    <a:lnTo>
                      <a:pt x="114701" y="60911"/>
                    </a:lnTo>
                    <a:lnTo>
                      <a:pt x="114247" y="59699"/>
                    </a:lnTo>
                    <a:lnTo>
                      <a:pt x="114398" y="58032"/>
                    </a:lnTo>
                    <a:lnTo>
                      <a:pt x="115156" y="55911"/>
                    </a:lnTo>
                    <a:lnTo>
                      <a:pt x="116368" y="54699"/>
                    </a:lnTo>
                    <a:lnTo>
                      <a:pt x="117883" y="54396"/>
                    </a:lnTo>
                    <a:lnTo>
                      <a:pt x="118489" y="53638"/>
                    </a:lnTo>
                    <a:lnTo>
                      <a:pt x="118186" y="52578"/>
                    </a:lnTo>
                    <a:lnTo>
                      <a:pt x="118489" y="51517"/>
                    </a:lnTo>
                    <a:lnTo>
                      <a:pt x="119853" y="49699"/>
                    </a:lnTo>
                    <a:lnTo>
                      <a:pt x="123338" y="48032"/>
                    </a:lnTo>
                    <a:lnTo>
                      <a:pt x="125308" y="48638"/>
                    </a:lnTo>
                    <a:lnTo>
                      <a:pt x="126974" y="50760"/>
                    </a:lnTo>
                    <a:lnTo>
                      <a:pt x="129247" y="52275"/>
                    </a:lnTo>
                    <a:lnTo>
                      <a:pt x="132278" y="53032"/>
                    </a:lnTo>
                    <a:lnTo>
                      <a:pt x="134550" y="52729"/>
                    </a:lnTo>
                    <a:lnTo>
                      <a:pt x="136217" y="51366"/>
                    </a:lnTo>
                    <a:lnTo>
                      <a:pt x="137732" y="50911"/>
                    </a:lnTo>
                    <a:lnTo>
                      <a:pt x="139096" y="51366"/>
                    </a:lnTo>
                    <a:lnTo>
                      <a:pt x="139854" y="51062"/>
                    </a:lnTo>
                    <a:lnTo>
                      <a:pt x="139854" y="50002"/>
                    </a:lnTo>
                    <a:lnTo>
                      <a:pt x="140460" y="49699"/>
                    </a:lnTo>
                    <a:lnTo>
                      <a:pt x="141672" y="50305"/>
                    </a:lnTo>
                    <a:lnTo>
                      <a:pt x="142884" y="50456"/>
                    </a:lnTo>
                    <a:lnTo>
                      <a:pt x="143945" y="50153"/>
                    </a:lnTo>
                    <a:lnTo>
                      <a:pt x="144399" y="49547"/>
                    </a:lnTo>
                    <a:lnTo>
                      <a:pt x="144551" y="48941"/>
                    </a:lnTo>
                    <a:lnTo>
                      <a:pt x="145308" y="48487"/>
                    </a:lnTo>
                    <a:lnTo>
                      <a:pt x="147884" y="48941"/>
                    </a:lnTo>
                    <a:lnTo>
                      <a:pt x="150763" y="48335"/>
                    </a:lnTo>
                    <a:lnTo>
                      <a:pt x="153945" y="46668"/>
                    </a:lnTo>
                    <a:lnTo>
                      <a:pt x="156066" y="45911"/>
                    </a:lnTo>
                    <a:lnTo>
                      <a:pt x="157127" y="46062"/>
                    </a:lnTo>
                    <a:lnTo>
                      <a:pt x="158339" y="45153"/>
                    </a:lnTo>
                    <a:lnTo>
                      <a:pt x="159854" y="43183"/>
                    </a:lnTo>
                    <a:lnTo>
                      <a:pt x="163188" y="42274"/>
                    </a:lnTo>
                    <a:lnTo>
                      <a:pt x="170158" y="42729"/>
                    </a:lnTo>
                    <a:lnTo>
                      <a:pt x="167885" y="41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7" name="Freeform: Shape 3266">
                <a:extLst>
                  <a:ext uri="{FF2B5EF4-FFF2-40B4-BE49-F238E27FC236}">
                    <a16:creationId xmlns:a16="http://schemas.microsoft.com/office/drawing/2014/main" id="{D3A79178-F2DA-4C4A-812B-BDCB4C93723B}"/>
                  </a:ext>
                </a:extLst>
              </p:cNvPr>
              <p:cNvSpPr/>
              <p:nvPr/>
            </p:nvSpPr>
            <p:spPr>
              <a:xfrm>
                <a:off x="7781365" y="6158112"/>
                <a:ext cx="16061" cy="8030"/>
              </a:xfrm>
              <a:custGeom>
                <a:avLst/>
                <a:gdLst>
                  <a:gd name="connsiteX0" fmla="*/ 13182 w 16061"/>
                  <a:gd name="connsiteY0" fmla="*/ 4545 h 8030"/>
                  <a:gd name="connsiteX1" fmla="*/ 9243 w 16061"/>
                  <a:gd name="connsiteY1" fmla="*/ 2273 h 8030"/>
                  <a:gd name="connsiteX2" fmla="*/ 3788 w 16061"/>
                  <a:gd name="connsiteY2" fmla="*/ 1212 h 8030"/>
                  <a:gd name="connsiteX3" fmla="*/ 1515 w 16061"/>
                  <a:gd name="connsiteY3" fmla="*/ 0 h 8030"/>
                  <a:gd name="connsiteX4" fmla="*/ 0 w 16061"/>
                  <a:gd name="connsiteY4" fmla="*/ 303 h 8030"/>
                  <a:gd name="connsiteX5" fmla="*/ 151 w 16061"/>
                  <a:gd name="connsiteY5" fmla="*/ 757 h 8030"/>
                  <a:gd name="connsiteX6" fmla="*/ 909 w 16061"/>
                  <a:gd name="connsiteY6" fmla="*/ 1969 h 8030"/>
                  <a:gd name="connsiteX7" fmla="*/ 2424 w 16061"/>
                  <a:gd name="connsiteY7" fmla="*/ 2273 h 8030"/>
                  <a:gd name="connsiteX8" fmla="*/ 4394 w 16061"/>
                  <a:gd name="connsiteY8" fmla="*/ 6667 h 8030"/>
                  <a:gd name="connsiteX9" fmla="*/ 5909 w 16061"/>
                  <a:gd name="connsiteY9" fmla="*/ 8031 h 8030"/>
                  <a:gd name="connsiteX10" fmla="*/ 9243 w 16061"/>
                  <a:gd name="connsiteY10" fmla="*/ 8031 h 8030"/>
                  <a:gd name="connsiteX11" fmla="*/ 12576 w 16061"/>
                  <a:gd name="connsiteY11" fmla="*/ 6212 h 8030"/>
                  <a:gd name="connsiteX12" fmla="*/ 14849 w 16061"/>
                  <a:gd name="connsiteY12" fmla="*/ 6061 h 8030"/>
                  <a:gd name="connsiteX13" fmla="*/ 16061 w 16061"/>
                  <a:gd name="connsiteY13" fmla="*/ 5303 h 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61" h="8030">
                    <a:moveTo>
                      <a:pt x="13182" y="4545"/>
                    </a:moveTo>
                    <a:lnTo>
                      <a:pt x="9243" y="2273"/>
                    </a:lnTo>
                    <a:lnTo>
                      <a:pt x="3788" y="1212"/>
                    </a:lnTo>
                    <a:lnTo>
                      <a:pt x="1515" y="0"/>
                    </a:lnTo>
                    <a:lnTo>
                      <a:pt x="0" y="303"/>
                    </a:lnTo>
                    <a:lnTo>
                      <a:pt x="151" y="757"/>
                    </a:lnTo>
                    <a:lnTo>
                      <a:pt x="909" y="1969"/>
                    </a:lnTo>
                    <a:lnTo>
                      <a:pt x="2424" y="2273"/>
                    </a:lnTo>
                    <a:lnTo>
                      <a:pt x="4394" y="6667"/>
                    </a:lnTo>
                    <a:lnTo>
                      <a:pt x="5909" y="8031"/>
                    </a:lnTo>
                    <a:lnTo>
                      <a:pt x="9243" y="8031"/>
                    </a:lnTo>
                    <a:lnTo>
                      <a:pt x="12576" y="6212"/>
                    </a:lnTo>
                    <a:lnTo>
                      <a:pt x="14849" y="6061"/>
                    </a:lnTo>
                    <a:lnTo>
                      <a:pt x="16061"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8" name="Freeform: Shape 3267">
                <a:extLst>
                  <a:ext uri="{FF2B5EF4-FFF2-40B4-BE49-F238E27FC236}">
                    <a16:creationId xmlns:a16="http://schemas.microsoft.com/office/drawing/2014/main" id="{89D530DD-198D-4777-8DFA-516B88DEE936}"/>
                  </a:ext>
                </a:extLst>
              </p:cNvPr>
              <p:cNvSpPr/>
              <p:nvPr/>
            </p:nvSpPr>
            <p:spPr>
              <a:xfrm>
                <a:off x="8891861" y="3938183"/>
                <a:ext cx="13333" cy="10454"/>
              </a:xfrm>
              <a:custGeom>
                <a:avLst/>
                <a:gdLst>
                  <a:gd name="connsiteX0" fmla="*/ 8182 w 13333"/>
                  <a:gd name="connsiteY0" fmla="*/ 7727 h 10454"/>
                  <a:gd name="connsiteX1" fmla="*/ 8334 w 13333"/>
                  <a:gd name="connsiteY1" fmla="*/ 8334 h 10454"/>
                  <a:gd name="connsiteX2" fmla="*/ 10152 w 13333"/>
                  <a:gd name="connsiteY2" fmla="*/ 10455 h 10454"/>
                  <a:gd name="connsiteX3" fmla="*/ 10758 w 13333"/>
                  <a:gd name="connsiteY3" fmla="*/ 10000 h 10454"/>
                  <a:gd name="connsiteX4" fmla="*/ 11061 w 13333"/>
                  <a:gd name="connsiteY4" fmla="*/ 9394 h 10454"/>
                  <a:gd name="connsiteX5" fmla="*/ 11213 w 13333"/>
                  <a:gd name="connsiteY5" fmla="*/ 8485 h 10454"/>
                  <a:gd name="connsiteX6" fmla="*/ 9546 w 13333"/>
                  <a:gd name="connsiteY6" fmla="*/ 7576 h 10454"/>
                  <a:gd name="connsiteX7" fmla="*/ 8182 w 13333"/>
                  <a:gd name="connsiteY7" fmla="*/ 7727 h 10454"/>
                  <a:gd name="connsiteX8" fmla="*/ 0 w 13333"/>
                  <a:gd name="connsiteY8" fmla="*/ 9243 h 10454"/>
                  <a:gd name="connsiteX9" fmla="*/ 303 w 13333"/>
                  <a:gd name="connsiteY9" fmla="*/ 9849 h 10454"/>
                  <a:gd name="connsiteX10" fmla="*/ 1061 w 13333"/>
                  <a:gd name="connsiteY10" fmla="*/ 10152 h 10454"/>
                  <a:gd name="connsiteX11" fmla="*/ 4394 w 13333"/>
                  <a:gd name="connsiteY11" fmla="*/ 10152 h 10454"/>
                  <a:gd name="connsiteX12" fmla="*/ 4546 w 13333"/>
                  <a:gd name="connsiteY12" fmla="*/ 8182 h 10454"/>
                  <a:gd name="connsiteX13" fmla="*/ 5607 w 13333"/>
                  <a:gd name="connsiteY13" fmla="*/ 6515 h 10454"/>
                  <a:gd name="connsiteX14" fmla="*/ 1212 w 13333"/>
                  <a:gd name="connsiteY14" fmla="*/ 8031 h 10454"/>
                  <a:gd name="connsiteX15" fmla="*/ 0 w 13333"/>
                  <a:gd name="connsiteY15" fmla="*/ 9243 h 10454"/>
                  <a:gd name="connsiteX16" fmla="*/ 13334 w 13333"/>
                  <a:gd name="connsiteY16" fmla="*/ 3636 h 10454"/>
                  <a:gd name="connsiteX17" fmla="*/ 12273 w 13333"/>
                  <a:gd name="connsiteY17" fmla="*/ 3030 h 10454"/>
                  <a:gd name="connsiteX18" fmla="*/ 12425 w 13333"/>
                  <a:gd name="connsiteY18" fmla="*/ 1818 h 10454"/>
                  <a:gd name="connsiteX19" fmla="*/ 11819 w 13333"/>
                  <a:gd name="connsiteY19" fmla="*/ 758 h 10454"/>
                  <a:gd name="connsiteX20" fmla="*/ 11667 w 13333"/>
                  <a:gd name="connsiteY20" fmla="*/ 606 h 10454"/>
                  <a:gd name="connsiteX21" fmla="*/ 10607 w 13333"/>
                  <a:gd name="connsiteY21" fmla="*/ 303 h 10454"/>
                  <a:gd name="connsiteX22" fmla="*/ 9546 w 13333"/>
                  <a:gd name="connsiteY22" fmla="*/ 0 h 10454"/>
                  <a:gd name="connsiteX23" fmla="*/ 7728 w 13333"/>
                  <a:gd name="connsiteY23" fmla="*/ 0 h 10454"/>
                  <a:gd name="connsiteX24" fmla="*/ 6970 w 13333"/>
                  <a:gd name="connsiteY24" fmla="*/ 455 h 10454"/>
                  <a:gd name="connsiteX25" fmla="*/ 5607 w 13333"/>
                  <a:gd name="connsiteY25" fmla="*/ 758 h 10454"/>
                  <a:gd name="connsiteX26" fmla="*/ 4697 w 13333"/>
                  <a:gd name="connsiteY26" fmla="*/ 1515 h 10454"/>
                  <a:gd name="connsiteX27" fmla="*/ 4546 w 13333"/>
                  <a:gd name="connsiteY27" fmla="*/ 1515 h 10454"/>
                  <a:gd name="connsiteX28" fmla="*/ 4243 w 13333"/>
                  <a:gd name="connsiteY28" fmla="*/ 2273 h 10454"/>
                  <a:gd name="connsiteX29" fmla="*/ 1212 w 13333"/>
                  <a:gd name="connsiteY29" fmla="*/ 3939 h 10454"/>
                  <a:gd name="connsiteX30" fmla="*/ 1364 w 13333"/>
                  <a:gd name="connsiteY30" fmla="*/ 4849 h 10454"/>
                  <a:gd name="connsiteX31" fmla="*/ 2273 w 13333"/>
                  <a:gd name="connsiteY31" fmla="*/ 5758 h 10454"/>
                  <a:gd name="connsiteX32" fmla="*/ 4849 w 13333"/>
                  <a:gd name="connsiteY32" fmla="*/ 5455 h 10454"/>
                  <a:gd name="connsiteX33" fmla="*/ 7728 w 13333"/>
                  <a:gd name="connsiteY33" fmla="*/ 6212 h 10454"/>
                  <a:gd name="connsiteX34" fmla="*/ 11213 w 13333"/>
                  <a:gd name="connsiteY34" fmla="*/ 7727 h 10454"/>
                  <a:gd name="connsiteX35" fmla="*/ 11819 w 13333"/>
                  <a:gd name="connsiteY35" fmla="*/ 6818 h 10454"/>
                  <a:gd name="connsiteX36" fmla="*/ 11819 w 13333"/>
                  <a:gd name="connsiteY36" fmla="*/ 5455 h 10454"/>
                  <a:gd name="connsiteX37" fmla="*/ 13031 w 13333"/>
                  <a:gd name="connsiteY37" fmla="*/ 4849 h 10454"/>
                  <a:gd name="connsiteX38" fmla="*/ 13334 w 13333"/>
                  <a:gd name="connsiteY38" fmla="*/ 3636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333" h="10454">
                    <a:moveTo>
                      <a:pt x="8182" y="7727"/>
                    </a:moveTo>
                    <a:lnTo>
                      <a:pt x="8334" y="8334"/>
                    </a:lnTo>
                    <a:lnTo>
                      <a:pt x="10152" y="10455"/>
                    </a:lnTo>
                    <a:lnTo>
                      <a:pt x="10758" y="10000"/>
                    </a:lnTo>
                    <a:lnTo>
                      <a:pt x="11061" y="9394"/>
                    </a:lnTo>
                    <a:lnTo>
                      <a:pt x="11213" y="8485"/>
                    </a:lnTo>
                    <a:lnTo>
                      <a:pt x="9546" y="7576"/>
                    </a:lnTo>
                    <a:lnTo>
                      <a:pt x="8182" y="7727"/>
                    </a:lnTo>
                    <a:close/>
                    <a:moveTo>
                      <a:pt x="0" y="9243"/>
                    </a:moveTo>
                    <a:lnTo>
                      <a:pt x="303" y="9849"/>
                    </a:lnTo>
                    <a:lnTo>
                      <a:pt x="1061" y="10152"/>
                    </a:lnTo>
                    <a:lnTo>
                      <a:pt x="4394" y="10152"/>
                    </a:lnTo>
                    <a:lnTo>
                      <a:pt x="4546" y="8182"/>
                    </a:lnTo>
                    <a:lnTo>
                      <a:pt x="5607" y="6515"/>
                    </a:lnTo>
                    <a:lnTo>
                      <a:pt x="1212" y="8031"/>
                    </a:lnTo>
                    <a:lnTo>
                      <a:pt x="0" y="9243"/>
                    </a:lnTo>
                    <a:close/>
                    <a:moveTo>
                      <a:pt x="13334" y="3636"/>
                    </a:moveTo>
                    <a:lnTo>
                      <a:pt x="12273" y="3030"/>
                    </a:lnTo>
                    <a:lnTo>
                      <a:pt x="12425" y="1818"/>
                    </a:lnTo>
                    <a:lnTo>
                      <a:pt x="11819" y="758"/>
                    </a:lnTo>
                    <a:lnTo>
                      <a:pt x="11667" y="606"/>
                    </a:lnTo>
                    <a:lnTo>
                      <a:pt x="10607" y="303"/>
                    </a:lnTo>
                    <a:lnTo>
                      <a:pt x="9546" y="0"/>
                    </a:lnTo>
                    <a:lnTo>
                      <a:pt x="7728" y="0"/>
                    </a:lnTo>
                    <a:lnTo>
                      <a:pt x="6970" y="455"/>
                    </a:lnTo>
                    <a:lnTo>
                      <a:pt x="5607" y="758"/>
                    </a:lnTo>
                    <a:lnTo>
                      <a:pt x="4697" y="1515"/>
                    </a:lnTo>
                    <a:lnTo>
                      <a:pt x="4546" y="1515"/>
                    </a:lnTo>
                    <a:lnTo>
                      <a:pt x="4243" y="2273"/>
                    </a:lnTo>
                    <a:lnTo>
                      <a:pt x="1212" y="3939"/>
                    </a:lnTo>
                    <a:lnTo>
                      <a:pt x="1364" y="4849"/>
                    </a:lnTo>
                    <a:lnTo>
                      <a:pt x="2273" y="5758"/>
                    </a:lnTo>
                    <a:lnTo>
                      <a:pt x="4849" y="5455"/>
                    </a:lnTo>
                    <a:lnTo>
                      <a:pt x="7728" y="6212"/>
                    </a:lnTo>
                    <a:lnTo>
                      <a:pt x="11213" y="7727"/>
                    </a:lnTo>
                    <a:lnTo>
                      <a:pt x="11819" y="6818"/>
                    </a:lnTo>
                    <a:lnTo>
                      <a:pt x="11819" y="5455"/>
                    </a:lnTo>
                    <a:lnTo>
                      <a:pt x="13031" y="4849"/>
                    </a:lnTo>
                    <a:lnTo>
                      <a:pt x="13334"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9" name="Freeform: Shape 3268">
                <a:extLst>
                  <a:ext uri="{FF2B5EF4-FFF2-40B4-BE49-F238E27FC236}">
                    <a16:creationId xmlns:a16="http://schemas.microsoft.com/office/drawing/2014/main" id="{A4EFDDFC-CBD2-445D-AE80-3CCFA4D42741}"/>
                  </a:ext>
                </a:extLst>
              </p:cNvPr>
              <p:cNvSpPr/>
              <p:nvPr/>
            </p:nvSpPr>
            <p:spPr>
              <a:xfrm>
                <a:off x="4097441" y="4329106"/>
                <a:ext cx="134398" cy="200310"/>
              </a:xfrm>
              <a:custGeom>
                <a:avLst/>
                <a:gdLst>
                  <a:gd name="connsiteX0" fmla="*/ 133187 w 134398"/>
                  <a:gd name="connsiteY0" fmla="*/ 179249 h 200310"/>
                  <a:gd name="connsiteX1" fmla="*/ 132126 w 134398"/>
                  <a:gd name="connsiteY1" fmla="*/ 178491 h 200310"/>
                  <a:gd name="connsiteX2" fmla="*/ 130459 w 134398"/>
                  <a:gd name="connsiteY2" fmla="*/ 178188 h 200310"/>
                  <a:gd name="connsiteX3" fmla="*/ 128338 w 134398"/>
                  <a:gd name="connsiteY3" fmla="*/ 177582 h 200310"/>
                  <a:gd name="connsiteX4" fmla="*/ 126671 w 134398"/>
                  <a:gd name="connsiteY4" fmla="*/ 175461 h 200310"/>
                  <a:gd name="connsiteX5" fmla="*/ 125156 w 134398"/>
                  <a:gd name="connsiteY5" fmla="*/ 172430 h 200310"/>
                  <a:gd name="connsiteX6" fmla="*/ 124550 w 134398"/>
                  <a:gd name="connsiteY6" fmla="*/ 171067 h 200310"/>
                  <a:gd name="connsiteX7" fmla="*/ 123338 w 134398"/>
                  <a:gd name="connsiteY7" fmla="*/ 169703 h 200310"/>
                  <a:gd name="connsiteX8" fmla="*/ 122126 w 134398"/>
                  <a:gd name="connsiteY8" fmla="*/ 167885 h 200310"/>
                  <a:gd name="connsiteX9" fmla="*/ 121671 w 134398"/>
                  <a:gd name="connsiteY9" fmla="*/ 166218 h 200310"/>
                  <a:gd name="connsiteX10" fmla="*/ 120762 w 134398"/>
                  <a:gd name="connsiteY10" fmla="*/ 164703 h 200310"/>
                  <a:gd name="connsiteX11" fmla="*/ 120307 w 134398"/>
                  <a:gd name="connsiteY11" fmla="*/ 164097 h 200310"/>
                  <a:gd name="connsiteX12" fmla="*/ 119550 w 134398"/>
                  <a:gd name="connsiteY12" fmla="*/ 161975 h 200310"/>
                  <a:gd name="connsiteX13" fmla="*/ 119398 w 134398"/>
                  <a:gd name="connsiteY13" fmla="*/ 161218 h 200310"/>
                  <a:gd name="connsiteX14" fmla="*/ 119095 w 134398"/>
                  <a:gd name="connsiteY14" fmla="*/ 161218 h 200310"/>
                  <a:gd name="connsiteX15" fmla="*/ 118489 w 134398"/>
                  <a:gd name="connsiteY15" fmla="*/ 160460 h 200310"/>
                  <a:gd name="connsiteX16" fmla="*/ 117580 w 134398"/>
                  <a:gd name="connsiteY16" fmla="*/ 158339 h 200310"/>
                  <a:gd name="connsiteX17" fmla="*/ 117277 w 134398"/>
                  <a:gd name="connsiteY17" fmla="*/ 157733 h 200310"/>
                  <a:gd name="connsiteX18" fmla="*/ 116822 w 134398"/>
                  <a:gd name="connsiteY18" fmla="*/ 157581 h 200310"/>
                  <a:gd name="connsiteX19" fmla="*/ 115762 w 134398"/>
                  <a:gd name="connsiteY19" fmla="*/ 155915 h 200310"/>
                  <a:gd name="connsiteX20" fmla="*/ 114853 w 134398"/>
                  <a:gd name="connsiteY20" fmla="*/ 155460 h 200310"/>
                  <a:gd name="connsiteX21" fmla="*/ 114398 w 134398"/>
                  <a:gd name="connsiteY21" fmla="*/ 154551 h 200310"/>
                  <a:gd name="connsiteX22" fmla="*/ 114550 w 134398"/>
                  <a:gd name="connsiteY22" fmla="*/ 152430 h 200310"/>
                  <a:gd name="connsiteX23" fmla="*/ 114095 w 134398"/>
                  <a:gd name="connsiteY23" fmla="*/ 151369 h 200310"/>
                  <a:gd name="connsiteX24" fmla="*/ 113943 w 134398"/>
                  <a:gd name="connsiteY24" fmla="*/ 149248 h 200310"/>
                  <a:gd name="connsiteX25" fmla="*/ 113792 w 134398"/>
                  <a:gd name="connsiteY25" fmla="*/ 148490 h 200310"/>
                  <a:gd name="connsiteX26" fmla="*/ 113337 w 134398"/>
                  <a:gd name="connsiteY26" fmla="*/ 147581 h 200310"/>
                  <a:gd name="connsiteX27" fmla="*/ 112580 w 134398"/>
                  <a:gd name="connsiteY27" fmla="*/ 146975 h 200310"/>
                  <a:gd name="connsiteX28" fmla="*/ 112428 w 134398"/>
                  <a:gd name="connsiteY28" fmla="*/ 145460 h 200310"/>
                  <a:gd name="connsiteX29" fmla="*/ 112277 w 134398"/>
                  <a:gd name="connsiteY29" fmla="*/ 141823 h 200310"/>
                  <a:gd name="connsiteX30" fmla="*/ 111822 w 134398"/>
                  <a:gd name="connsiteY30" fmla="*/ 141217 h 200310"/>
                  <a:gd name="connsiteX31" fmla="*/ 108489 w 134398"/>
                  <a:gd name="connsiteY31" fmla="*/ 141217 h 200310"/>
                  <a:gd name="connsiteX32" fmla="*/ 108186 w 134398"/>
                  <a:gd name="connsiteY32" fmla="*/ 141520 h 200310"/>
                  <a:gd name="connsiteX33" fmla="*/ 106822 w 134398"/>
                  <a:gd name="connsiteY33" fmla="*/ 141823 h 200310"/>
                  <a:gd name="connsiteX34" fmla="*/ 105155 w 134398"/>
                  <a:gd name="connsiteY34" fmla="*/ 141823 h 200310"/>
                  <a:gd name="connsiteX35" fmla="*/ 103640 w 134398"/>
                  <a:gd name="connsiteY35" fmla="*/ 141369 h 200310"/>
                  <a:gd name="connsiteX36" fmla="*/ 102428 w 134398"/>
                  <a:gd name="connsiteY36" fmla="*/ 140611 h 200310"/>
                  <a:gd name="connsiteX37" fmla="*/ 102277 w 134398"/>
                  <a:gd name="connsiteY37" fmla="*/ 139854 h 200310"/>
                  <a:gd name="connsiteX38" fmla="*/ 102428 w 134398"/>
                  <a:gd name="connsiteY38" fmla="*/ 137278 h 200310"/>
                  <a:gd name="connsiteX39" fmla="*/ 100458 w 134398"/>
                  <a:gd name="connsiteY39" fmla="*/ 135459 h 200310"/>
                  <a:gd name="connsiteX40" fmla="*/ 97428 w 134398"/>
                  <a:gd name="connsiteY40" fmla="*/ 133035 h 200310"/>
                  <a:gd name="connsiteX41" fmla="*/ 96519 w 134398"/>
                  <a:gd name="connsiteY41" fmla="*/ 130005 h 200310"/>
                  <a:gd name="connsiteX42" fmla="*/ 95306 w 134398"/>
                  <a:gd name="connsiteY42" fmla="*/ 128035 h 200310"/>
                  <a:gd name="connsiteX43" fmla="*/ 91973 w 134398"/>
                  <a:gd name="connsiteY43" fmla="*/ 124095 h 200310"/>
                  <a:gd name="connsiteX44" fmla="*/ 91367 w 134398"/>
                  <a:gd name="connsiteY44" fmla="*/ 121368 h 200310"/>
                  <a:gd name="connsiteX45" fmla="*/ 91367 w 134398"/>
                  <a:gd name="connsiteY45" fmla="*/ 119550 h 200310"/>
                  <a:gd name="connsiteX46" fmla="*/ 92579 w 134398"/>
                  <a:gd name="connsiteY46" fmla="*/ 117731 h 200310"/>
                  <a:gd name="connsiteX47" fmla="*/ 94246 w 134398"/>
                  <a:gd name="connsiteY47" fmla="*/ 114701 h 200310"/>
                  <a:gd name="connsiteX48" fmla="*/ 94852 w 134398"/>
                  <a:gd name="connsiteY48" fmla="*/ 111822 h 200310"/>
                  <a:gd name="connsiteX49" fmla="*/ 95458 w 134398"/>
                  <a:gd name="connsiteY49" fmla="*/ 110458 h 200310"/>
                  <a:gd name="connsiteX50" fmla="*/ 96216 w 134398"/>
                  <a:gd name="connsiteY50" fmla="*/ 108489 h 200310"/>
                  <a:gd name="connsiteX51" fmla="*/ 96973 w 134398"/>
                  <a:gd name="connsiteY51" fmla="*/ 106064 h 200310"/>
                  <a:gd name="connsiteX52" fmla="*/ 96367 w 134398"/>
                  <a:gd name="connsiteY52" fmla="*/ 104549 h 200310"/>
                  <a:gd name="connsiteX53" fmla="*/ 95458 w 134398"/>
                  <a:gd name="connsiteY53" fmla="*/ 103034 h 200310"/>
                  <a:gd name="connsiteX54" fmla="*/ 95155 w 134398"/>
                  <a:gd name="connsiteY54" fmla="*/ 101822 h 200310"/>
                  <a:gd name="connsiteX55" fmla="*/ 96064 w 134398"/>
                  <a:gd name="connsiteY55" fmla="*/ 100155 h 200310"/>
                  <a:gd name="connsiteX56" fmla="*/ 97125 w 134398"/>
                  <a:gd name="connsiteY56" fmla="*/ 99094 h 200310"/>
                  <a:gd name="connsiteX57" fmla="*/ 98185 w 134398"/>
                  <a:gd name="connsiteY57" fmla="*/ 98943 h 200310"/>
                  <a:gd name="connsiteX58" fmla="*/ 99549 w 134398"/>
                  <a:gd name="connsiteY58" fmla="*/ 98185 h 200310"/>
                  <a:gd name="connsiteX59" fmla="*/ 100761 w 134398"/>
                  <a:gd name="connsiteY59" fmla="*/ 97276 h 200310"/>
                  <a:gd name="connsiteX60" fmla="*/ 102428 w 134398"/>
                  <a:gd name="connsiteY60" fmla="*/ 96973 h 200310"/>
                  <a:gd name="connsiteX61" fmla="*/ 104549 w 134398"/>
                  <a:gd name="connsiteY61" fmla="*/ 96822 h 200310"/>
                  <a:gd name="connsiteX62" fmla="*/ 108943 w 134398"/>
                  <a:gd name="connsiteY62" fmla="*/ 96822 h 200310"/>
                  <a:gd name="connsiteX63" fmla="*/ 111065 w 134398"/>
                  <a:gd name="connsiteY63" fmla="*/ 96367 h 200310"/>
                  <a:gd name="connsiteX64" fmla="*/ 111822 w 134398"/>
                  <a:gd name="connsiteY64" fmla="*/ 95610 h 200310"/>
                  <a:gd name="connsiteX65" fmla="*/ 111671 w 134398"/>
                  <a:gd name="connsiteY65" fmla="*/ 94094 h 200310"/>
                  <a:gd name="connsiteX66" fmla="*/ 112883 w 134398"/>
                  <a:gd name="connsiteY66" fmla="*/ 92731 h 200310"/>
                  <a:gd name="connsiteX67" fmla="*/ 113943 w 134398"/>
                  <a:gd name="connsiteY67" fmla="*/ 92125 h 200310"/>
                  <a:gd name="connsiteX68" fmla="*/ 114398 w 134398"/>
                  <a:gd name="connsiteY68" fmla="*/ 91670 h 200310"/>
                  <a:gd name="connsiteX69" fmla="*/ 114550 w 134398"/>
                  <a:gd name="connsiteY69" fmla="*/ 91064 h 200310"/>
                  <a:gd name="connsiteX70" fmla="*/ 114247 w 134398"/>
                  <a:gd name="connsiteY70" fmla="*/ 90609 h 200310"/>
                  <a:gd name="connsiteX71" fmla="*/ 113792 w 134398"/>
                  <a:gd name="connsiteY71" fmla="*/ 90306 h 200310"/>
                  <a:gd name="connsiteX72" fmla="*/ 112580 w 134398"/>
                  <a:gd name="connsiteY72" fmla="*/ 90306 h 200310"/>
                  <a:gd name="connsiteX73" fmla="*/ 111519 w 134398"/>
                  <a:gd name="connsiteY73" fmla="*/ 87882 h 200310"/>
                  <a:gd name="connsiteX74" fmla="*/ 112125 w 134398"/>
                  <a:gd name="connsiteY74" fmla="*/ 86821 h 200310"/>
                  <a:gd name="connsiteX75" fmla="*/ 113186 w 134398"/>
                  <a:gd name="connsiteY75" fmla="*/ 84851 h 200310"/>
                  <a:gd name="connsiteX76" fmla="*/ 113337 w 134398"/>
                  <a:gd name="connsiteY76" fmla="*/ 83791 h 200310"/>
                  <a:gd name="connsiteX77" fmla="*/ 114853 w 134398"/>
                  <a:gd name="connsiteY77" fmla="*/ 81973 h 200310"/>
                  <a:gd name="connsiteX78" fmla="*/ 114550 w 134398"/>
                  <a:gd name="connsiteY78" fmla="*/ 81518 h 200310"/>
                  <a:gd name="connsiteX79" fmla="*/ 115610 w 134398"/>
                  <a:gd name="connsiteY79" fmla="*/ 72881 h 200310"/>
                  <a:gd name="connsiteX80" fmla="*/ 115004 w 134398"/>
                  <a:gd name="connsiteY80" fmla="*/ 67124 h 200310"/>
                  <a:gd name="connsiteX81" fmla="*/ 113943 w 134398"/>
                  <a:gd name="connsiteY81" fmla="*/ 64851 h 200310"/>
                  <a:gd name="connsiteX82" fmla="*/ 110762 w 134398"/>
                  <a:gd name="connsiteY82" fmla="*/ 62275 h 200310"/>
                  <a:gd name="connsiteX83" fmla="*/ 105458 w 134398"/>
                  <a:gd name="connsiteY83" fmla="*/ 60608 h 200310"/>
                  <a:gd name="connsiteX84" fmla="*/ 103488 w 134398"/>
                  <a:gd name="connsiteY84" fmla="*/ 57426 h 200310"/>
                  <a:gd name="connsiteX85" fmla="*/ 98489 w 134398"/>
                  <a:gd name="connsiteY85" fmla="*/ 53335 h 200310"/>
                  <a:gd name="connsiteX86" fmla="*/ 93337 w 134398"/>
                  <a:gd name="connsiteY86" fmla="*/ 48183 h 200310"/>
                  <a:gd name="connsiteX87" fmla="*/ 90912 w 134398"/>
                  <a:gd name="connsiteY87" fmla="*/ 47274 h 200310"/>
                  <a:gd name="connsiteX88" fmla="*/ 88034 w 134398"/>
                  <a:gd name="connsiteY88" fmla="*/ 47123 h 200310"/>
                  <a:gd name="connsiteX89" fmla="*/ 84700 w 134398"/>
                  <a:gd name="connsiteY89" fmla="*/ 45759 h 200310"/>
                  <a:gd name="connsiteX90" fmla="*/ 81518 w 134398"/>
                  <a:gd name="connsiteY90" fmla="*/ 46517 h 200310"/>
                  <a:gd name="connsiteX91" fmla="*/ 79094 w 134398"/>
                  <a:gd name="connsiteY91" fmla="*/ 49699 h 200310"/>
                  <a:gd name="connsiteX92" fmla="*/ 77275 w 134398"/>
                  <a:gd name="connsiteY92" fmla="*/ 52578 h 200310"/>
                  <a:gd name="connsiteX93" fmla="*/ 76518 w 134398"/>
                  <a:gd name="connsiteY93" fmla="*/ 57426 h 200310"/>
                  <a:gd name="connsiteX94" fmla="*/ 74397 w 134398"/>
                  <a:gd name="connsiteY94" fmla="*/ 59093 h 200310"/>
                  <a:gd name="connsiteX95" fmla="*/ 76063 w 134398"/>
                  <a:gd name="connsiteY95" fmla="*/ 56063 h 200310"/>
                  <a:gd name="connsiteX96" fmla="*/ 76215 w 134398"/>
                  <a:gd name="connsiteY96" fmla="*/ 50608 h 200310"/>
                  <a:gd name="connsiteX97" fmla="*/ 76821 w 134398"/>
                  <a:gd name="connsiteY97" fmla="*/ 46668 h 200310"/>
                  <a:gd name="connsiteX98" fmla="*/ 79700 w 134398"/>
                  <a:gd name="connsiteY98" fmla="*/ 41365 h 200310"/>
                  <a:gd name="connsiteX99" fmla="*/ 79700 w 134398"/>
                  <a:gd name="connsiteY99" fmla="*/ 33486 h 200310"/>
                  <a:gd name="connsiteX100" fmla="*/ 78791 w 134398"/>
                  <a:gd name="connsiteY100" fmla="*/ 31516 h 200310"/>
                  <a:gd name="connsiteX101" fmla="*/ 75609 w 134398"/>
                  <a:gd name="connsiteY101" fmla="*/ 27425 h 200310"/>
                  <a:gd name="connsiteX102" fmla="*/ 73639 w 134398"/>
                  <a:gd name="connsiteY102" fmla="*/ 25910 h 200310"/>
                  <a:gd name="connsiteX103" fmla="*/ 70609 w 134398"/>
                  <a:gd name="connsiteY103" fmla="*/ 22274 h 200310"/>
                  <a:gd name="connsiteX104" fmla="*/ 60002 w 134398"/>
                  <a:gd name="connsiteY104" fmla="*/ 13031 h 200310"/>
                  <a:gd name="connsiteX105" fmla="*/ 52426 w 134398"/>
                  <a:gd name="connsiteY105" fmla="*/ 8182 h 200310"/>
                  <a:gd name="connsiteX106" fmla="*/ 47274 w 134398"/>
                  <a:gd name="connsiteY106" fmla="*/ 5152 h 200310"/>
                  <a:gd name="connsiteX107" fmla="*/ 45305 w 134398"/>
                  <a:gd name="connsiteY107" fmla="*/ 4697 h 200310"/>
                  <a:gd name="connsiteX108" fmla="*/ 45153 w 134398"/>
                  <a:gd name="connsiteY108" fmla="*/ 5758 h 200310"/>
                  <a:gd name="connsiteX109" fmla="*/ 44699 w 134398"/>
                  <a:gd name="connsiteY109" fmla="*/ 5758 h 200310"/>
                  <a:gd name="connsiteX110" fmla="*/ 42577 w 134398"/>
                  <a:gd name="connsiteY110" fmla="*/ 4849 h 200310"/>
                  <a:gd name="connsiteX111" fmla="*/ 38638 w 134398"/>
                  <a:gd name="connsiteY111" fmla="*/ 455 h 200310"/>
                  <a:gd name="connsiteX112" fmla="*/ 37577 w 134398"/>
                  <a:gd name="connsiteY112" fmla="*/ 0 h 200310"/>
                  <a:gd name="connsiteX113" fmla="*/ 42729 w 134398"/>
                  <a:gd name="connsiteY113" fmla="*/ 6667 h 200310"/>
                  <a:gd name="connsiteX114" fmla="*/ 42729 w 134398"/>
                  <a:gd name="connsiteY114" fmla="*/ 7424 h 200310"/>
                  <a:gd name="connsiteX115" fmla="*/ 42274 w 134398"/>
                  <a:gd name="connsiteY115" fmla="*/ 8333 h 200310"/>
                  <a:gd name="connsiteX116" fmla="*/ 39092 w 134398"/>
                  <a:gd name="connsiteY116" fmla="*/ 9849 h 200310"/>
                  <a:gd name="connsiteX117" fmla="*/ 38335 w 134398"/>
                  <a:gd name="connsiteY117" fmla="*/ 10606 h 200310"/>
                  <a:gd name="connsiteX118" fmla="*/ 37274 w 134398"/>
                  <a:gd name="connsiteY118" fmla="*/ 13637 h 200310"/>
                  <a:gd name="connsiteX119" fmla="*/ 33183 w 134398"/>
                  <a:gd name="connsiteY119" fmla="*/ 15304 h 200310"/>
                  <a:gd name="connsiteX120" fmla="*/ 30456 w 134398"/>
                  <a:gd name="connsiteY120" fmla="*/ 17273 h 200310"/>
                  <a:gd name="connsiteX121" fmla="*/ 28637 w 134398"/>
                  <a:gd name="connsiteY121" fmla="*/ 19092 h 200310"/>
                  <a:gd name="connsiteX122" fmla="*/ 27728 w 134398"/>
                  <a:gd name="connsiteY122" fmla="*/ 19849 h 200310"/>
                  <a:gd name="connsiteX123" fmla="*/ 24092 w 134398"/>
                  <a:gd name="connsiteY123" fmla="*/ 20152 h 200310"/>
                  <a:gd name="connsiteX124" fmla="*/ 22880 w 134398"/>
                  <a:gd name="connsiteY124" fmla="*/ 21364 h 200310"/>
                  <a:gd name="connsiteX125" fmla="*/ 21364 w 134398"/>
                  <a:gd name="connsiteY125" fmla="*/ 24698 h 200310"/>
                  <a:gd name="connsiteX126" fmla="*/ 20304 w 134398"/>
                  <a:gd name="connsiteY126" fmla="*/ 26062 h 200310"/>
                  <a:gd name="connsiteX127" fmla="*/ 18486 w 134398"/>
                  <a:gd name="connsiteY127" fmla="*/ 27728 h 200310"/>
                  <a:gd name="connsiteX128" fmla="*/ 18486 w 134398"/>
                  <a:gd name="connsiteY128" fmla="*/ 28789 h 200310"/>
                  <a:gd name="connsiteX129" fmla="*/ 21061 w 134398"/>
                  <a:gd name="connsiteY129" fmla="*/ 32425 h 200310"/>
                  <a:gd name="connsiteX130" fmla="*/ 21516 w 134398"/>
                  <a:gd name="connsiteY130" fmla="*/ 33638 h 200310"/>
                  <a:gd name="connsiteX131" fmla="*/ 20758 w 134398"/>
                  <a:gd name="connsiteY131" fmla="*/ 35456 h 200310"/>
                  <a:gd name="connsiteX132" fmla="*/ 20758 w 134398"/>
                  <a:gd name="connsiteY132" fmla="*/ 36668 h 200310"/>
                  <a:gd name="connsiteX133" fmla="*/ 22122 w 134398"/>
                  <a:gd name="connsiteY133" fmla="*/ 38183 h 200310"/>
                  <a:gd name="connsiteX134" fmla="*/ 23789 w 134398"/>
                  <a:gd name="connsiteY134" fmla="*/ 38486 h 200310"/>
                  <a:gd name="connsiteX135" fmla="*/ 25455 w 134398"/>
                  <a:gd name="connsiteY135" fmla="*/ 37880 h 200310"/>
                  <a:gd name="connsiteX136" fmla="*/ 27425 w 134398"/>
                  <a:gd name="connsiteY136" fmla="*/ 37880 h 200310"/>
                  <a:gd name="connsiteX137" fmla="*/ 28637 w 134398"/>
                  <a:gd name="connsiteY137" fmla="*/ 38335 h 200310"/>
                  <a:gd name="connsiteX138" fmla="*/ 29243 w 134398"/>
                  <a:gd name="connsiteY138" fmla="*/ 38789 h 200310"/>
                  <a:gd name="connsiteX139" fmla="*/ 29243 w 134398"/>
                  <a:gd name="connsiteY139" fmla="*/ 39850 h 200310"/>
                  <a:gd name="connsiteX140" fmla="*/ 28486 w 134398"/>
                  <a:gd name="connsiteY140" fmla="*/ 42274 h 200310"/>
                  <a:gd name="connsiteX141" fmla="*/ 27274 w 134398"/>
                  <a:gd name="connsiteY141" fmla="*/ 43941 h 200310"/>
                  <a:gd name="connsiteX142" fmla="*/ 22122 w 134398"/>
                  <a:gd name="connsiteY142" fmla="*/ 46365 h 200310"/>
                  <a:gd name="connsiteX143" fmla="*/ 19698 w 134398"/>
                  <a:gd name="connsiteY143" fmla="*/ 47729 h 200310"/>
                  <a:gd name="connsiteX144" fmla="*/ 18486 w 134398"/>
                  <a:gd name="connsiteY144" fmla="*/ 48790 h 200310"/>
                  <a:gd name="connsiteX145" fmla="*/ 15607 w 134398"/>
                  <a:gd name="connsiteY145" fmla="*/ 48183 h 200310"/>
                  <a:gd name="connsiteX146" fmla="*/ 14243 w 134398"/>
                  <a:gd name="connsiteY146" fmla="*/ 48183 h 200310"/>
                  <a:gd name="connsiteX147" fmla="*/ 13031 w 134398"/>
                  <a:gd name="connsiteY147" fmla="*/ 49093 h 200310"/>
                  <a:gd name="connsiteX148" fmla="*/ 12425 w 134398"/>
                  <a:gd name="connsiteY148" fmla="*/ 49699 h 200310"/>
                  <a:gd name="connsiteX149" fmla="*/ 10606 w 134398"/>
                  <a:gd name="connsiteY149" fmla="*/ 49850 h 200310"/>
                  <a:gd name="connsiteX150" fmla="*/ 7879 w 134398"/>
                  <a:gd name="connsiteY150" fmla="*/ 50305 h 200310"/>
                  <a:gd name="connsiteX151" fmla="*/ 6818 w 134398"/>
                  <a:gd name="connsiteY151" fmla="*/ 50759 h 200310"/>
                  <a:gd name="connsiteX152" fmla="*/ 5909 w 134398"/>
                  <a:gd name="connsiteY152" fmla="*/ 51971 h 200310"/>
                  <a:gd name="connsiteX153" fmla="*/ 5152 w 134398"/>
                  <a:gd name="connsiteY153" fmla="*/ 53638 h 200310"/>
                  <a:gd name="connsiteX154" fmla="*/ 5758 w 134398"/>
                  <a:gd name="connsiteY154" fmla="*/ 55760 h 200310"/>
                  <a:gd name="connsiteX155" fmla="*/ 6667 w 134398"/>
                  <a:gd name="connsiteY155" fmla="*/ 57578 h 200310"/>
                  <a:gd name="connsiteX156" fmla="*/ 6515 w 134398"/>
                  <a:gd name="connsiteY156" fmla="*/ 59244 h 200310"/>
                  <a:gd name="connsiteX157" fmla="*/ 7273 w 134398"/>
                  <a:gd name="connsiteY157" fmla="*/ 63790 h 200310"/>
                  <a:gd name="connsiteX158" fmla="*/ 6364 w 134398"/>
                  <a:gd name="connsiteY158" fmla="*/ 65002 h 200310"/>
                  <a:gd name="connsiteX159" fmla="*/ 4545 w 134398"/>
                  <a:gd name="connsiteY159" fmla="*/ 66214 h 200310"/>
                  <a:gd name="connsiteX160" fmla="*/ 2424 w 134398"/>
                  <a:gd name="connsiteY160" fmla="*/ 68336 h 200310"/>
                  <a:gd name="connsiteX161" fmla="*/ 0 w 134398"/>
                  <a:gd name="connsiteY161" fmla="*/ 71366 h 200310"/>
                  <a:gd name="connsiteX162" fmla="*/ 455 w 134398"/>
                  <a:gd name="connsiteY162" fmla="*/ 72275 h 200310"/>
                  <a:gd name="connsiteX163" fmla="*/ 6212 w 134398"/>
                  <a:gd name="connsiteY163" fmla="*/ 78639 h 200310"/>
                  <a:gd name="connsiteX164" fmla="*/ 11970 w 134398"/>
                  <a:gd name="connsiteY164" fmla="*/ 85003 h 200310"/>
                  <a:gd name="connsiteX165" fmla="*/ 17728 w 134398"/>
                  <a:gd name="connsiteY165" fmla="*/ 91518 h 200310"/>
                  <a:gd name="connsiteX166" fmla="*/ 20304 w 134398"/>
                  <a:gd name="connsiteY166" fmla="*/ 90912 h 200310"/>
                  <a:gd name="connsiteX167" fmla="*/ 22274 w 134398"/>
                  <a:gd name="connsiteY167" fmla="*/ 91670 h 200310"/>
                  <a:gd name="connsiteX168" fmla="*/ 25455 w 134398"/>
                  <a:gd name="connsiteY168" fmla="*/ 91821 h 200310"/>
                  <a:gd name="connsiteX169" fmla="*/ 26971 w 134398"/>
                  <a:gd name="connsiteY169" fmla="*/ 91215 h 200310"/>
                  <a:gd name="connsiteX170" fmla="*/ 28940 w 134398"/>
                  <a:gd name="connsiteY170" fmla="*/ 91518 h 200310"/>
                  <a:gd name="connsiteX171" fmla="*/ 31516 w 134398"/>
                  <a:gd name="connsiteY171" fmla="*/ 90003 h 200310"/>
                  <a:gd name="connsiteX172" fmla="*/ 33183 w 134398"/>
                  <a:gd name="connsiteY172" fmla="*/ 90458 h 200310"/>
                  <a:gd name="connsiteX173" fmla="*/ 34244 w 134398"/>
                  <a:gd name="connsiteY173" fmla="*/ 90458 h 200310"/>
                  <a:gd name="connsiteX174" fmla="*/ 35153 w 134398"/>
                  <a:gd name="connsiteY174" fmla="*/ 91670 h 200310"/>
                  <a:gd name="connsiteX175" fmla="*/ 35910 w 134398"/>
                  <a:gd name="connsiteY175" fmla="*/ 93034 h 200310"/>
                  <a:gd name="connsiteX176" fmla="*/ 38335 w 134398"/>
                  <a:gd name="connsiteY176" fmla="*/ 94700 h 200310"/>
                  <a:gd name="connsiteX177" fmla="*/ 38183 w 134398"/>
                  <a:gd name="connsiteY177" fmla="*/ 97276 h 200310"/>
                  <a:gd name="connsiteX178" fmla="*/ 37729 w 134398"/>
                  <a:gd name="connsiteY178" fmla="*/ 99549 h 200310"/>
                  <a:gd name="connsiteX179" fmla="*/ 37426 w 134398"/>
                  <a:gd name="connsiteY179" fmla="*/ 102125 h 200310"/>
                  <a:gd name="connsiteX180" fmla="*/ 37274 w 134398"/>
                  <a:gd name="connsiteY180" fmla="*/ 104095 h 200310"/>
                  <a:gd name="connsiteX181" fmla="*/ 36213 w 134398"/>
                  <a:gd name="connsiteY181" fmla="*/ 106064 h 200310"/>
                  <a:gd name="connsiteX182" fmla="*/ 34698 w 134398"/>
                  <a:gd name="connsiteY182" fmla="*/ 107883 h 200310"/>
                  <a:gd name="connsiteX183" fmla="*/ 34244 w 134398"/>
                  <a:gd name="connsiteY183" fmla="*/ 108640 h 200310"/>
                  <a:gd name="connsiteX184" fmla="*/ 34092 w 134398"/>
                  <a:gd name="connsiteY184" fmla="*/ 109701 h 200310"/>
                  <a:gd name="connsiteX185" fmla="*/ 35001 w 134398"/>
                  <a:gd name="connsiteY185" fmla="*/ 110307 h 200310"/>
                  <a:gd name="connsiteX186" fmla="*/ 36819 w 134398"/>
                  <a:gd name="connsiteY186" fmla="*/ 110458 h 200310"/>
                  <a:gd name="connsiteX187" fmla="*/ 39092 w 134398"/>
                  <a:gd name="connsiteY187" fmla="*/ 110610 h 200310"/>
                  <a:gd name="connsiteX188" fmla="*/ 40607 w 134398"/>
                  <a:gd name="connsiteY188" fmla="*/ 111065 h 200310"/>
                  <a:gd name="connsiteX189" fmla="*/ 42729 w 134398"/>
                  <a:gd name="connsiteY189" fmla="*/ 111216 h 200310"/>
                  <a:gd name="connsiteX190" fmla="*/ 45002 w 134398"/>
                  <a:gd name="connsiteY190" fmla="*/ 112883 h 200310"/>
                  <a:gd name="connsiteX191" fmla="*/ 46214 w 134398"/>
                  <a:gd name="connsiteY191" fmla="*/ 113792 h 200310"/>
                  <a:gd name="connsiteX192" fmla="*/ 46365 w 134398"/>
                  <a:gd name="connsiteY192" fmla="*/ 114550 h 200310"/>
                  <a:gd name="connsiteX193" fmla="*/ 45608 w 134398"/>
                  <a:gd name="connsiteY193" fmla="*/ 116368 h 200310"/>
                  <a:gd name="connsiteX194" fmla="*/ 45305 w 134398"/>
                  <a:gd name="connsiteY194" fmla="*/ 118035 h 200310"/>
                  <a:gd name="connsiteX195" fmla="*/ 45911 w 134398"/>
                  <a:gd name="connsiteY195" fmla="*/ 119095 h 200310"/>
                  <a:gd name="connsiteX196" fmla="*/ 46517 w 134398"/>
                  <a:gd name="connsiteY196" fmla="*/ 119853 h 200310"/>
                  <a:gd name="connsiteX197" fmla="*/ 48487 w 134398"/>
                  <a:gd name="connsiteY197" fmla="*/ 123641 h 200310"/>
                  <a:gd name="connsiteX198" fmla="*/ 49396 w 134398"/>
                  <a:gd name="connsiteY198" fmla="*/ 124853 h 200310"/>
                  <a:gd name="connsiteX199" fmla="*/ 50153 w 134398"/>
                  <a:gd name="connsiteY199" fmla="*/ 125307 h 200310"/>
                  <a:gd name="connsiteX200" fmla="*/ 50456 w 134398"/>
                  <a:gd name="connsiteY200" fmla="*/ 126065 h 200310"/>
                  <a:gd name="connsiteX201" fmla="*/ 49699 w 134398"/>
                  <a:gd name="connsiteY201" fmla="*/ 127429 h 200310"/>
                  <a:gd name="connsiteX202" fmla="*/ 48941 w 134398"/>
                  <a:gd name="connsiteY202" fmla="*/ 129095 h 200310"/>
                  <a:gd name="connsiteX203" fmla="*/ 47123 w 134398"/>
                  <a:gd name="connsiteY203" fmla="*/ 130914 h 200310"/>
                  <a:gd name="connsiteX204" fmla="*/ 46820 w 134398"/>
                  <a:gd name="connsiteY204" fmla="*/ 132429 h 200310"/>
                  <a:gd name="connsiteX205" fmla="*/ 45456 w 134398"/>
                  <a:gd name="connsiteY205" fmla="*/ 133338 h 200310"/>
                  <a:gd name="connsiteX206" fmla="*/ 42123 w 134398"/>
                  <a:gd name="connsiteY206" fmla="*/ 135459 h 200310"/>
                  <a:gd name="connsiteX207" fmla="*/ 42729 w 134398"/>
                  <a:gd name="connsiteY207" fmla="*/ 138793 h 200310"/>
                  <a:gd name="connsiteX208" fmla="*/ 42729 w 134398"/>
                  <a:gd name="connsiteY208" fmla="*/ 140611 h 200310"/>
                  <a:gd name="connsiteX209" fmla="*/ 42729 w 134398"/>
                  <a:gd name="connsiteY209" fmla="*/ 141975 h 200310"/>
                  <a:gd name="connsiteX210" fmla="*/ 41517 w 134398"/>
                  <a:gd name="connsiteY210" fmla="*/ 143642 h 200310"/>
                  <a:gd name="connsiteX211" fmla="*/ 39547 w 134398"/>
                  <a:gd name="connsiteY211" fmla="*/ 148945 h 200310"/>
                  <a:gd name="connsiteX212" fmla="*/ 38789 w 134398"/>
                  <a:gd name="connsiteY212" fmla="*/ 151672 h 200310"/>
                  <a:gd name="connsiteX213" fmla="*/ 38183 w 134398"/>
                  <a:gd name="connsiteY213" fmla="*/ 157733 h 200310"/>
                  <a:gd name="connsiteX214" fmla="*/ 38183 w 134398"/>
                  <a:gd name="connsiteY214" fmla="*/ 159854 h 200310"/>
                  <a:gd name="connsiteX215" fmla="*/ 39244 w 134398"/>
                  <a:gd name="connsiteY215" fmla="*/ 162582 h 200310"/>
                  <a:gd name="connsiteX216" fmla="*/ 41062 w 134398"/>
                  <a:gd name="connsiteY216" fmla="*/ 168794 h 200310"/>
                  <a:gd name="connsiteX217" fmla="*/ 42274 w 134398"/>
                  <a:gd name="connsiteY217" fmla="*/ 169703 h 200310"/>
                  <a:gd name="connsiteX218" fmla="*/ 44850 w 134398"/>
                  <a:gd name="connsiteY218" fmla="*/ 171218 h 200310"/>
                  <a:gd name="connsiteX219" fmla="*/ 45153 w 134398"/>
                  <a:gd name="connsiteY219" fmla="*/ 175309 h 200310"/>
                  <a:gd name="connsiteX220" fmla="*/ 44850 w 134398"/>
                  <a:gd name="connsiteY220" fmla="*/ 179552 h 200310"/>
                  <a:gd name="connsiteX221" fmla="*/ 44699 w 134398"/>
                  <a:gd name="connsiteY221" fmla="*/ 181370 h 200310"/>
                  <a:gd name="connsiteX222" fmla="*/ 45153 w 134398"/>
                  <a:gd name="connsiteY222" fmla="*/ 181976 h 200310"/>
                  <a:gd name="connsiteX223" fmla="*/ 46365 w 134398"/>
                  <a:gd name="connsiteY223" fmla="*/ 182431 h 200310"/>
                  <a:gd name="connsiteX224" fmla="*/ 47123 w 134398"/>
                  <a:gd name="connsiteY224" fmla="*/ 182885 h 200310"/>
                  <a:gd name="connsiteX225" fmla="*/ 47274 w 134398"/>
                  <a:gd name="connsiteY225" fmla="*/ 184098 h 200310"/>
                  <a:gd name="connsiteX226" fmla="*/ 47274 w 134398"/>
                  <a:gd name="connsiteY226" fmla="*/ 185461 h 200310"/>
                  <a:gd name="connsiteX227" fmla="*/ 49093 w 134398"/>
                  <a:gd name="connsiteY227" fmla="*/ 186219 h 200310"/>
                  <a:gd name="connsiteX228" fmla="*/ 50759 w 134398"/>
                  <a:gd name="connsiteY228" fmla="*/ 186825 h 200310"/>
                  <a:gd name="connsiteX229" fmla="*/ 52275 w 134398"/>
                  <a:gd name="connsiteY229" fmla="*/ 188643 h 200310"/>
                  <a:gd name="connsiteX230" fmla="*/ 55154 w 134398"/>
                  <a:gd name="connsiteY230" fmla="*/ 191522 h 200310"/>
                  <a:gd name="connsiteX231" fmla="*/ 56214 w 134398"/>
                  <a:gd name="connsiteY231" fmla="*/ 191977 h 200310"/>
                  <a:gd name="connsiteX232" fmla="*/ 56820 w 134398"/>
                  <a:gd name="connsiteY232" fmla="*/ 193189 h 200310"/>
                  <a:gd name="connsiteX233" fmla="*/ 59093 w 134398"/>
                  <a:gd name="connsiteY233" fmla="*/ 195613 h 200310"/>
                  <a:gd name="connsiteX234" fmla="*/ 62730 w 134398"/>
                  <a:gd name="connsiteY234" fmla="*/ 196522 h 200310"/>
                  <a:gd name="connsiteX235" fmla="*/ 66366 w 134398"/>
                  <a:gd name="connsiteY235" fmla="*/ 197583 h 200310"/>
                  <a:gd name="connsiteX236" fmla="*/ 67730 w 134398"/>
                  <a:gd name="connsiteY236" fmla="*/ 199098 h 200310"/>
                  <a:gd name="connsiteX237" fmla="*/ 69245 w 134398"/>
                  <a:gd name="connsiteY237" fmla="*/ 200310 h 200310"/>
                  <a:gd name="connsiteX238" fmla="*/ 70306 w 134398"/>
                  <a:gd name="connsiteY238" fmla="*/ 200310 h 200310"/>
                  <a:gd name="connsiteX239" fmla="*/ 71215 w 134398"/>
                  <a:gd name="connsiteY239" fmla="*/ 200159 h 200310"/>
                  <a:gd name="connsiteX240" fmla="*/ 72881 w 134398"/>
                  <a:gd name="connsiteY240" fmla="*/ 199098 h 200310"/>
                  <a:gd name="connsiteX241" fmla="*/ 74094 w 134398"/>
                  <a:gd name="connsiteY241" fmla="*/ 198189 h 200310"/>
                  <a:gd name="connsiteX242" fmla="*/ 76215 w 134398"/>
                  <a:gd name="connsiteY242" fmla="*/ 198189 h 200310"/>
                  <a:gd name="connsiteX243" fmla="*/ 78791 w 134398"/>
                  <a:gd name="connsiteY243" fmla="*/ 198037 h 200310"/>
                  <a:gd name="connsiteX244" fmla="*/ 79245 w 134398"/>
                  <a:gd name="connsiteY244" fmla="*/ 197280 h 200310"/>
                  <a:gd name="connsiteX245" fmla="*/ 79548 w 134398"/>
                  <a:gd name="connsiteY245" fmla="*/ 196371 h 200310"/>
                  <a:gd name="connsiteX246" fmla="*/ 78942 w 134398"/>
                  <a:gd name="connsiteY246" fmla="*/ 193795 h 200310"/>
                  <a:gd name="connsiteX247" fmla="*/ 79851 w 134398"/>
                  <a:gd name="connsiteY247" fmla="*/ 193189 h 200310"/>
                  <a:gd name="connsiteX248" fmla="*/ 81973 w 134398"/>
                  <a:gd name="connsiteY248" fmla="*/ 192734 h 200310"/>
                  <a:gd name="connsiteX249" fmla="*/ 82427 w 134398"/>
                  <a:gd name="connsiteY249" fmla="*/ 191370 h 200310"/>
                  <a:gd name="connsiteX250" fmla="*/ 82882 w 134398"/>
                  <a:gd name="connsiteY250" fmla="*/ 190613 h 200310"/>
                  <a:gd name="connsiteX251" fmla="*/ 83488 w 134398"/>
                  <a:gd name="connsiteY251" fmla="*/ 189855 h 200310"/>
                  <a:gd name="connsiteX252" fmla="*/ 84246 w 134398"/>
                  <a:gd name="connsiteY252" fmla="*/ 189704 h 200310"/>
                  <a:gd name="connsiteX253" fmla="*/ 85155 w 134398"/>
                  <a:gd name="connsiteY253" fmla="*/ 190158 h 200310"/>
                  <a:gd name="connsiteX254" fmla="*/ 86518 w 134398"/>
                  <a:gd name="connsiteY254" fmla="*/ 190461 h 200310"/>
                  <a:gd name="connsiteX255" fmla="*/ 88034 w 134398"/>
                  <a:gd name="connsiteY255" fmla="*/ 190916 h 200310"/>
                  <a:gd name="connsiteX256" fmla="*/ 88943 w 134398"/>
                  <a:gd name="connsiteY256" fmla="*/ 191674 h 200310"/>
                  <a:gd name="connsiteX257" fmla="*/ 90306 w 134398"/>
                  <a:gd name="connsiteY257" fmla="*/ 191825 h 200310"/>
                  <a:gd name="connsiteX258" fmla="*/ 91822 w 134398"/>
                  <a:gd name="connsiteY258" fmla="*/ 191674 h 200310"/>
                  <a:gd name="connsiteX259" fmla="*/ 92428 w 134398"/>
                  <a:gd name="connsiteY259" fmla="*/ 191068 h 200310"/>
                  <a:gd name="connsiteX260" fmla="*/ 93034 w 134398"/>
                  <a:gd name="connsiteY260" fmla="*/ 190158 h 200310"/>
                  <a:gd name="connsiteX261" fmla="*/ 93337 w 134398"/>
                  <a:gd name="connsiteY261" fmla="*/ 188189 h 200310"/>
                  <a:gd name="connsiteX262" fmla="*/ 94246 w 134398"/>
                  <a:gd name="connsiteY262" fmla="*/ 188037 h 200310"/>
                  <a:gd name="connsiteX263" fmla="*/ 96216 w 134398"/>
                  <a:gd name="connsiteY263" fmla="*/ 187582 h 200310"/>
                  <a:gd name="connsiteX264" fmla="*/ 98489 w 134398"/>
                  <a:gd name="connsiteY264" fmla="*/ 186825 h 200310"/>
                  <a:gd name="connsiteX265" fmla="*/ 101216 w 134398"/>
                  <a:gd name="connsiteY265" fmla="*/ 186673 h 200310"/>
                  <a:gd name="connsiteX266" fmla="*/ 103943 w 134398"/>
                  <a:gd name="connsiteY266" fmla="*/ 186673 h 200310"/>
                  <a:gd name="connsiteX267" fmla="*/ 105307 w 134398"/>
                  <a:gd name="connsiteY267" fmla="*/ 186067 h 200310"/>
                  <a:gd name="connsiteX268" fmla="*/ 106519 w 134398"/>
                  <a:gd name="connsiteY268" fmla="*/ 184704 h 200310"/>
                  <a:gd name="connsiteX269" fmla="*/ 108943 w 134398"/>
                  <a:gd name="connsiteY269" fmla="*/ 181067 h 200310"/>
                  <a:gd name="connsiteX270" fmla="*/ 110155 w 134398"/>
                  <a:gd name="connsiteY270" fmla="*/ 180158 h 200310"/>
                  <a:gd name="connsiteX271" fmla="*/ 111519 w 134398"/>
                  <a:gd name="connsiteY271" fmla="*/ 179552 h 200310"/>
                  <a:gd name="connsiteX272" fmla="*/ 112580 w 134398"/>
                  <a:gd name="connsiteY272" fmla="*/ 179704 h 200310"/>
                  <a:gd name="connsiteX273" fmla="*/ 115004 w 134398"/>
                  <a:gd name="connsiteY273" fmla="*/ 179097 h 200310"/>
                  <a:gd name="connsiteX274" fmla="*/ 116974 w 134398"/>
                  <a:gd name="connsiteY274" fmla="*/ 178188 h 200310"/>
                  <a:gd name="connsiteX275" fmla="*/ 117580 w 134398"/>
                  <a:gd name="connsiteY275" fmla="*/ 178491 h 200310"/>
                  <a:gd name="connsiteX276" fmla="*/ 119095 w 134398"/>
                  <a:gd name="connsiteY276" fmla="*/ 180310 h 200310"/>
                  <a:gd name="connsiteX277" fmla="*/ 119853 w 134398"/>
                  <a:gd name="connsiteY277" fmla="*/ 180764 h 200310"/>
                  <a:gd name="connsiteX278" fmla="*/ 121065 w 134398"/>
                  <a:gd name="connsiteY278" fmla="*/ 180916 h 200310"/>
                  <a:gd name="connsiteX279" fmla="*/ 124702 w 134398"/>
                  <a:gd name="connsiteY279" fmla="*/ 181825 h 200310"/>
                  <a:gd name="connsiteX280" fmla="*/ 126520 w 134398"/>
                  <a:gd name="connsiteY280" fmla="*/ 181522 h 200310"/>
                  <a:gd name="connsiteX281" fmla="*/ 128641 w 134398"/>
                  <a:gd name="connsiteY281" fmla="*/ 180916 h 200310"/>
                  <a:gd name="connsiteX282" fmla="*/ 130611 w 134398"/>
                  <a:gd name="connsiteY282" fmla="*/ 180764 h 200310"/>
                  <a:gd name="connsiteX283" fmla="*/ 132126 w 134398"/>
                  <a:gd name="connsiteY283" fmla="*/ 181067 h 200310"/>
                  <a:gd name="connsiteX284" fmla="*/ 133187 w 134398"/>
                  <a:gd name="connsiteY284" fmla="*/ 180613 h 200310"/>
                  <a:gd name="connsiteX285" fmla="*/ 134399 w 134398"/>
                  <a:gd name="connsiteY285" fmla="*/ 180158 h 20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34398" h="200310">
                    <a:moveTo>
                      <a:pt x="133187" y="179249"/>
                    </a:moveTo>
                    <a:lnTo>
                      <a:pt x="132126" y="178491"/>
                    </a:lnTo>
                    <a:lnTo>
                      <a:pt x="130459" y="178188"/>
                    </a:lnTo>
                    <a:lnTo>
                      <a:pt x="128338" y="177582"/>
                    </a:lnTo>
                    <a:lnTo>
                      <a:pt x="126671" y="175461"/>
                    </a:lnTo>
                    <a:lnTo>
                      <a:pt x="125156" y="172430"/>
                    </a:lnTo>
                    <a:lnTo>
                      <a:pt x="124550" y="171067"/>
                    </a:lnTo>
                    <a:lnTo>
                      <a:pt x="123338" y="169703"/>
                    </a:lnTo>
                    <a:lnTo>
                      <a:pt x="122126" y="167885"/>
                    </a:lnTo>
                    <a:lnTo>
                      <a:pt x="121671" y="166218"/>
                    </a:lnTo>
                    <a:lnTo>
                      <a:pt x="120762" y="164703"/>
                    </a:lnTo>
                    <a:lnTo>
                      <a:pt x="120307" y="164097"/>
                    </a:lnTo>
                    <a:lnTo>
                      <a:pt x="119550" y="161975"/>
                    </a:lnTo>
                    <a:lnTo>
                      <a:pt x="119398" y="161218"/>
                    </a:lnTo>
                    <a:lnTo>
                      <a:pt x="119095" y="161218"/>
                    </a:lnTo>
                    <a:lnTo>
                      <a:pt x="118489" y="160460"/>
                    </a:lnTo>
                    <a:lnTo>
                      <a:pt x="117580" y="158339"/>
                    </a:lnTo>
                    <a:lnTo>
                      <a:pt x="117277" y="157733"/>
                    </a:lnTo>
                    <a:lnTo>
                      <a:pt x="116822" y="157581"/>
                    </a:lnTo>
                    <a:lnTo>
                      <a:pt x="115762" y="155915"/>
                    </a:lnTo>
                    <a:lnTo>
                      <a:pt x="114853" y="155460"/>
                    </a:lnTo>
                    <a:lnTo>
                      <a:pt x="114398" y="154551"/>
                    </a:lnTo>
                    <a:lnTo>
                      <a:pt x="114550" y="152430"/>
                    </a:lnTo>
                    <a:lnTo>
                      <a:pt x="114095" y="151369"/>
                    </a:lnTo>
                    <a:lnTo>
                      <a:pt x="113943" y="149248"/>
                    </a:lnTo>
                    <a:lnTo>
                      <a:pt x="113792" y="148490"/>
                    </a:lnTo>
                    <a:lnTo>
                      <a:pt x="113337" y="147581"/>
                    </a:lnTo>
                    <a:lnTo>
                      <a:pt x="112580" y="146975"/>
                    </a:lnTo>
                    <a:lnTo>
                      <a:pt x="112428" y="145460"/>
                    </a:lnTo>
                    <a:lnTo>
                      <a:pt x="112277" y="141823"/>
                    </a:lnTo>
                    <a:lnTo>
                      <a:pt x="111822" y="141217"/>
                    </a:lnTo>
                    <a:lnTo>
                      <a:pt x="108489" y="141217"/>
                    </a:lnTo>
                    <a:lnTo>
                      <a:pt x="108186" y="141520"/>
                    </a:lnTo>
                    <a:lnTo>
                      <a:pt x="106822" y="141823"/>
                    </a:lnTo>
                    <a:lnTo>
                      <a:pt x="105155" y="141823"/>
                    </a:lnTo>
                    <a:lnTo>
                      <a:pt x="103640" y="141369"/>
                    </a:lnTo>
                    <a:lnTo>
                      <a:pt x="102428" y="140611"/>
                    </a:lnTo>
                    <a:lnTo>
                      <a:pt x="102277" y="139854"/>
                    </a:lnTo>
                    <a:lnTo>
                      <a:pt x="102428" y="137278"/>
                    </a:lnTo>
                    <a:lnTo>
                      <a:pt x="100458" y="135459"/>
                    </a:lnTo>
                    <a:lnTo>
                      <a:pt x="97428" y="133035"/>
                    </a:lnTo>
                    <a:lnTo>
                      <a:pt x="96519" y="130005"/>
                    </a:lnTo>
                    <a:lnTo>
                      <a:pt x="95306" y="128035"/>
                    </a:lnTo>
                    <a:lnTo>
                      <a:pt x="91973" y="124095"/>
                    </a:lnTo>
                    <a:lnTo>
                      <a:pt x="91367" y="121368"/>
                    </a:lnTo>
                    <a:lnTo>
                      <a:pt x="91367" y="119550"/>
                    </a:lnTo>
                    <a:lnTo>
                      <a:pt x="92579" y="117731"/>
                    </a:lnTo>
                    <a:lnTo>
                      <a:pt x="94246" y="114701"/>
                    </a:lnTo>
                    <a:lnTo>
                      <a:pt x="94852" y="111822"/>
                    </a:lnTo>
                    <a:lnTo>
                      <a:pt x="95458" y="110458"/>
                    </a:lnTo>
                    <a:lnTo>
                      <a:pt x="96216" y="108489"/>
                    </a:lnTo>
                    <a:lnTo>
                      <a:pt x="96973" y="106064"/>
                    </a:lnTo>
                    <a:lnTo>
                      <a:pt x="96367" y="104549"/>
                    </a:lnTo>
                    <a:lnTo>
                      <a:pt x="95458" y="103034"/>
                    </a:lnTo>
                    <a:lnTo>
                      <a:pt x="95155" y="101822"/>
                    </a:lnTo>
                    <a:lnTo>
                      <a:pt x="96064" y="100155"/>
                    </a:lnTo>
                    <a:lnTo>
                      <a:pt x="97125" y="99094"/>
                    </a:lnTo>
                    <a:lnTo>
                      <a:pt x="98185" y="98943"/>
                    </a:lnTo>
                    <a:lnTo>
                      <a:pt x="99549" y="98185"/>
                    </a:lnTo>
                    <a:lnTo>
                      <a:pt x="100761" y="97276"/>
                    </a:lnTo>
                    <a:lnTo>
                      <a:pt x="102428" y="96973"/>
                    </a:lnTo>
                    <a:lnTo>
                      <a:pt x="104549" y="96822"/>
                    </a:lnTo>
                    <a:lnTo>
                      <a:pt x="108943" y="96822"/>
                    </a:lnTo>
                    <a:lnTo>
                      <a:pt x="111065" y="96367"/>
                    </a:lnTo>
                    <a:lnTo>
                      <a:pt x="111822" y="95610"/>
                    </a:lnTo>
                    <a:lnTo>
                      <a:pt x="111671" y="94094"/>
                    </a:lnTo>
                    <a:lnTo>
                      <a:pt x="112883" y="92731"/>
                    </a:lnTo>
                    <a:lnTo>
                      <a:pt x="113943" y="92125"/>
                    </a:lnTo>
                    <a:lnTo>
                      <a:pt x="114398" y="91670"/>
                    </a:lnTo>
                    <a:lnTo>
                      <a:pt x="114550" y="91064"/>
                    </a:lnTo>
                    <a:lnTo>
                      <a:pt x="114247" y="90609"/>
                    </a:lnTo>
                    <a:lnTo>
                      <a:pt x="113792" y="90306"/>
                    </a:lnTo>
                    <a:lnTo>
                      <a:pt x="112580" y="90306"/>
                    </a:lnTo>
                    <a:lnTo>
                      <a:pt x="111519" y="87882"/>
                    </a:lnTo>
                    <a:lnTo>
                      <a:pt x="112125" y="86821"/>
                    </a:lnTo>
                    <a:lnTo>
                      <a:pt x="113186" y="84851"/>
                    </a:lnTo>
                    <a:lnTo>
                      <a:pt x="113337" y="83791"/>
                    </a:lnTo>
                    <a:lnTo>
                      <a:pt x="114853" y="81973"/>
                    </a:lnTo>
                    <a:lnTo>
                      <a:pt x="114550" y="81518"/>
                    </a:lnTo>
                    <a:lnTo>
                      <a:pt x="115610" y="72881"/>
                    </a:lnTo>
                    <a:lnTo>
                      <a:pt x="115004" y="67124"/>
                    </a:lnTo>
                    <a:lnTo>
                      <a:pt x="113943" y="64851"/>
                    </a:lnTo>
                    <a:lnTo>
                      <a:pt x="110762" y="62275"/>
                    </a:lnTo>
                    <a:lnTo>
                      <a:pt x="105458" y="60608"/>
                    </a:lnTo>
                    <a:lnTo>
                      <a:pt x="103488" y="57426"/>
                    </a:lnTo>
                    <a:lnTo>
                      <a:pt x="98489" y="53335"/>
                    </a:lnTo>
                    <a:lnTo>
                      <a:pt x="93337" y="48183"/>
                    </a:lnTo>
                    <a:lnTo>
                      <a:pt x="90912" y="47274"/>
                    </a:lnTo>
                    <a:lnTo>
                      <a:pt x="88034" y="47123"/>
                    </a:lnTo>
                    <a:lnTo>
                      <a:pt x="84700" y="45759"/>
                    </a:lnTo>
                    <a:lnTo>
                      <a:pt x="81518" y="46517"/>
                    </a:lnTo>
                    <a:lnTo>
                      <a:pt x="79094" y="49699"/>
                    </a:lnTo>
                    <a:lnTo>
                      <a:pt x="77275" y="52578"/>
                    </a:lnTo>
                    <a:lnTo>
                      <a:pt x="76518" y="57426"/>
                    </a:lnTo>
                    <a:lnTo>
                      <a:pt x="74397" y="59093"/>
                    </a:lnTo>
                    <a:lnTo>
                      <a:pt x="76063" y="56063"/>
                    </a:lnTo>
                    <a:lnTo>
                      <a:pt x="76215" y="50608"/>
                    </a:lnTo>
                    <a:lnTo>
                      <a:pt x="76821" y="46668"/>
                    </a:lnTo>
                    <a:lnTo>
                      <a:pt x="79700" y="41365"/>
                    </a:lnTo>
                    <a:lnTo>
                      <a:pt x="79700" y="33486"/>
                    </a:lnTo>
                    <a:lnTo>
                      <a:pt x="78791" y="31516"/>
                    </a:lnTo>
                    <a:lnTo>
                      <a:pt x="75609" y="27425"/>
                    </a:lnTo>
                    <a:lnTo>
                      <a:pt x="73639" y="25910"/>
                    </a:lnTo>
                    <a:lnTo>
                      <a:pt x="70609" y="22274"/>
                    </a:lnTo>
                    <a:lnTo>
                      <a:pt x="60002" y="13031"/>
                    </a:lnTo>
                    <a:lnTo>
                      <a:pt x="52426" y="8182"/>
                    </a:lnTo>
                    <a:lnTo>
                      <a:pt x="47274" y="5152"/>
                    </a:lnTo>
                    <a:lnTo>
                      <a:pt x="45305" y="4697"/>
                    </a:lnTo>
                    <a:lnTo>
                      <a:pt x="45153" y="5758"/>
                    </a:lnTo>
                    <a:lnTo>
                      <a:pt x="44699" y="5758"/>
                    </a:lnTo>
                    <a:lnTo>
                      <a:pt x="42577" y="4849"/>
                    </a:lnTo>
                    <a:lnTo>
                      <a:pt x="38638" y="455"/>
                    </a:lnTo>
                    <a:lnTo>
                      <a:pt x="37577" y="0"/>
                    </a:lnTo>
                    <a:lnTo>
                      <a:pt x="42729" y="6667"/>
                    </a:lnTo>
                    <a:lnTo>
                      <a:pt x="42729" y="7424"/>
                    </a:lnTo>
                    <a:lnTo>
                      <a:pt x="42274" y="8333"/>
                    </a:lnTo>
                    <a:lnTo>
                      <a:pt x="39092" y="9849"/>
                    </a:lnTo>
                    <a:lnTo>
                      <a:pt x="38335" y="10606"/>
                    </a:lnTo>
                    <a:lnTo>
                      <a:pt x="37274" y="13637"/>
                    </a:lnTo>
                    <a:lnTo>
                      <a:pt x="33183" y="15304"/>
                    </a:lnTo>
                    <a:lnTo>
                      <a:pt x="30456" y="17273"/>
                    </a:lnTo>
                    <a:lnTo>
                      <a:pt x="28637" y="19092"/>
                    </a:lnTo>
                    <a:lnTo>
                      <a:pt x="27728" y="19849"/>
                    </a:lnTo>
                    <a:lnTo>
                      <a:pt x="24092" y="20152"/>
                    </a:lnTo>
                    <a:lnTo>
                      <a:pt x="22880" y="21364"/>
                    </a:lnTo>
                    <a:lnTo>
                      <a:pt x="21364" y="24698"/>
                    </a:lnTo>
                    <a:lnTo>
                      <a:pt x="20304" y="26062"/>
                    </a:lnTo>
                    <a:lnTo>
                      <a:pt x="18486" y="27728"/>
                    </a:lnTo>
                    <a:lnTo>
                      <a:pt x="18486" y="28789"/>
                    </a:lnTo>
                    <a:lnTo>
                      <a:pt x="21061" y="32425"/>
                    </a:lnTo>
                    <a:lnTo>
                      <a:pt x="21516" y="33638"/>
                    </a:lnTo>
                    <a:lnTo>
                      <a:pt x="20758" y="35456"/>
                    </a:lnTo>
                    <a:lnTo>
                      <a:pt x="20758" y="36668"/>
                    </a:lnTo>
                    <a:lnTo>
                      <a:pt x="22122" y="38183"/>
                    </a:lnTo>
                    <a:lnTo>
                      <a:pt x="23789" y="38486"/>
                    </a:lnTo>
                    <a:lnTo>
                      <a:pt x="25455" y="37880"/>
                    </a:lnTo>
                    <a:lnTo>
                      <a:pt x="27425" y="37880"/>
                    </a:lnTo>
                    <a:lnTo>
                      <a:pt x="28637" y="38335"/>
                    </a:lnTo>
                    <a:lnTo>
                      <a:pt x="29243" y="38789"/>
                    </a:lnTo>
                    <a:lnTo>
                      <a:pt x="29243" y="39850"/>
                    </a:lnTo>
                    <a:lnTo>
                      <a:pt x="28486" y="42274"/>
                    </a:lnTo>
                    <a:lnTo>
                      <a:pt x="27274" y="43941"/>
                    </a:lnTo>
                    <a:lnTo>
                      <a:pt x="22122" y="46365"/>
                    </a:lnTo>
                    <a:lnTo>
                      <a:pt x="19698" y="47729"/>
                    </a:lnTo>
                    <a:lnTo>
                      <a:pt x="18486" y="48790"/>
                    </a:lnTo>
                    <a:lnTo>
                      <a:pt x="15607" y="48183"/>
                    </a:lnTo>
                    <a:lnTo>
                      <a:pt x="14243" y="48183"/>
                    </a:lnTo>
                    <a:lnTo>
                      <a:pt x="13031" y="49093"/>
                    </a:lnTo>
                    <a:lnTo>
                      <a:pt x="12425" y="49699"/>
                    </a:lnTo>
                    <a:lnTo>
                      <a:pt x="10606" y="49850"/>
                    </a:lnTo>
                    <a:lnTo>
                      <a:pt x="7879" y="50305"/>
                    </a:lnTo>
                    <a:lnTo>
                      <a:pt x="6818" y="50759"/>
                    </a:lnTo>
                    <a:lnTo>
                      <a:pt x="5909" y="51971"/>
                    </a:lnTo>
                    <a:lnTo>
                      <a:pt x="5152" y="53638"/>
                    </a:lnTo>
                    <a:lnTo>
                      <a:pt x="5758" y="55760"/>
                    </a:lnTo>
                    <a:lnTo>
                      <a:pt x="6667" y="57578"/>
                    </a:lnTo>
                    <a:lnTo>
                      <a:pt x="6515" y="59244"/>
                    </a:lnTo>
                    <a:lnTo>
                      <a:pt x="7273" y="63790"/>
                    </a:lnTo>
                    <a:lnTo>
                      <a:pt x="6364" y="65002"/>
                    </a:lnTo>
                    <a:lnTo>
                      <a:pt x="4545" y="66214"/>
                    </a:lnTo>
                    <a:lnTo>
                      <a:pt x="2424" y="68336"/>
                    </a:lnTo>
                    <a:lnTo>
                      <a:pt x="0" y="71366"/>
                    </a:lnTo>
                    <a:lnTo>
                      <a:pt x="455" y="72275"/>
                    </a:lnTo>
                    <a:lnTo>
                      <a:pt x="6212" y="78639"/>
                    </a:lnTo>
                    <a:lnTo>
                      <a:pt x="11970" y="85003"/>
                    </a:lnTo>
                    <a:lnTo>
                      <a:pt x="17728" y="91518"/>
                    </a:lnTo>
                    <a:lnTo>
                      <a:pt x="20304" y="90912"/>
                    </a:lnTo>
                    <a:lnTo>
                      <a:pt x="22274" y="91670"/>
                    </a:lnTo>
                    <a:lnTo>
                      <a:pt x="25455" y="91821"/>
                    </a:lnTo>
                    <a:lnTo>
                      <a:pt x="26971" y="91215"/>
                    </a:lnTo>
                    <a:lnTo>
                      <a:pt x="28940" y="91518"/>
                    </a:lnTo>
                    <a:lnTo>
                      <a:pt x="31516" y="90003"/>
                    </a:lnTo>
                    <a:lnTo>
                      <a:pt x="33183" y="90458"/>
                    </a:lnTo>
                    <a:lnTo>
                      <a:pt x="34244" y="90458"/>
                    </a:lnTo>
                    <a:lnTo>
                      <a:pt x="35153" y="91670"/>
                    </a:lnTo>
                    <a:lnTo>
                      <a:pt x="35910" y="93034"/>
                    </a:lnTo>
                    <a:lnTo>
                      <a:pt x="38335" y="94700"/>
                    </a:lnTo>
                    <a:lnTo>
                      <a:pt x="38183" y="97276"/>
                    </a:lnTo>
                    <a:lnTo>
                      <a:pt x="37729" y="99549"/>
                    </a:lnTo>
                    <a:lnTo>
                      <a:pt x="37426" y="102125"/>
                    </a:lnTo>
                    <a:lnTo>
                      <a:pt x="37274" y="104095"/>
                    </a:lnTo>
                    <a:lnTo>
                      <a:pt x="36213" y="106064"/>
                    </a:lnTo>
                    <a:lnTo>
                      <a:pt x="34698" y="107883"/>
                    </a:lnTo>
                    <a:lnTo>
                      <a:pt x="34244" y="108640"/>
                    </a:lnTo>
                    <a:lnTo>
                      <a:pt x="34092" y="109701"/>
                    </a:lnTo>
                    <a:lnTo>
                      <a:pt x="35001" y="110307"/>
                    </a:lnTo>
                    <a:lnTo>
                      <a:pt x="36819" y="110458"/>
                    </a:lnTo>
                    <a:lnTo>
                      <a:pt x="39092" y="110610"/>
                    </a:lnTo>
                    <a:lnTo>
                      <a:pt x="40607" y="111065"/>
                    </a:lnTo>
                    <a:lnTo>
                      <a:pt x="42729" y="111216"/>
                    </a:lnTo>
                    <a:lnTo>
                      <a:pt x="45002" y="112883"/>
                    </a:lnTo>
                    <a:lnTo>
                      <a:pt x="46214" y="113792"/>
                    </a:lnTo>
                    <a:lnTo>
                      <a:pt x="46365" y="114550"/>
                    </a:lnTo>
                    <a:lnTo>
                      <a:pt x="45608" y="116368"/>
                    </a:lnTo>
                    <a:lnTo>
                      <a:pt x="45305" y="118035"/>
                    </a:lnTo>
                    <a:lnTo>
                      <a:pt x="45911" y="119095"/>
                    </a:lnTo>
                    <a:lnTo>
                      <a:pt x="46517" y="119853"/>
                    </a:lnTo>
                    <a:lnTo>
                      <a:pt x="48487" y="123641"/>
                    </a:lnTo>
                    <a:lnTo>
                      <a:pt x="49396" y="124853"/>
                    </a:lnTo>
                    <a:lnTo>
                      <a:pt x="50153" y="125307"/>
                    </a:lnTo>
                    <a:lnTo>
                      <a:pt x="50456" y="126065"/>
                    </a:lnTo>
                    <a:lnTo>
                      <a:pt x="49699" y="127429"/>
                    </a:lnTo>
                    <a:lnTo>
                      <a:pt x="48941" y="129095"/>
                    </a:lnTo>
                    <a:lnTo>
                      <a:pt x="47123" y="130914"/>
                    </a:lnTo>
                    <a:lnTo>
                      <a:pt x="46820" y="132429"/>
                    </a:lnTo>
                    <a:lnTo>
                      <a:pt x="45456" y="133338"/>
                    </a:lnTo>
                    <a:lnTo>
                      <a:pt x="42123" y="135459"/>
                    </a:lnTo>
                    <a:lnTo>
                      <a:pt x="42729" y="138793"/>
                    </a:lnTo>
                    <a:lnTo>
                      <a:pt x="42729" y="140611"/>
                    </a:lnTo>
                    <a:lnTo>
                      <a:pt x="42729" y="141975"/>
                    </a:lnTo>
                    <a:lnTo>
                      <a:pt x="41517" y="143642"/>
                    </a:lnTo>
                    <a:lnTo>
                      <a:pt x="39547" y="148945"/>
                    </a:lnTo>
                    <a:lnTo>
                      <a:pt x="38789" y="151672"/>
                    </a:lnTo>
                    <a:lnTo>
                      <a:pt x="38183" y="157733"/>
                    </a:lnTo>
                    <a:lnTo>
                      <a:pt x="38183" y="159854"/>
                    </a:lnTo>
                    <a:lnTo>
                      <a:pt x="39244" y="162582"/>
                    </a:lnTo>
                    <a:lnTo>
                      <a:pt x="41062" y="168794"/>
                    </a:lnTo>
                    <a:lnTo>
                      <a:pt x="42274" y="169703"/>
                    </a:lnTo>
                    <a:lnTo>
                      <a:pt x="44850" y="171218"/>
                    </a:lnTo>
                    <a:lnTo>
                      <a:pt x="45153" y="175309"/>
                    </a:lnTo>
                    <a:lnTo>
                      <a:pt x="44850" y="179552"/>
                    </a:lnTo>
                    <a:lnTo>
                      <a:pt x="44699" y="181370"/>
                    </a:lnTo>
                    <a:lnTo>
                      <a:pt x="45153" y="181976"/>
                    </a:lnTo>
                    <a:lnTo>
                      <a:pt x="46365" y="182431"/>
                    </a:lnTo>
                    <a:lnTo>
                      <a:pt x="47123" y="182885"/>
                    </a:lnTo>
                    <a:lnTo>
                      <a:pt x="47274" y="184098"/>
                    </a:lnTo>
                    <a:lnTo>
                      <a:pt x="47274" y="185461"/>
                    </a:lnTo>
                    <a:lnTo>
                      <a:pt x="49093" y="186219"/>
                    </a:lnTo>
                    <a:lnTo>
                      <a:pt x="50759" y="186825"/>
                    </a:lnTo>
                    <a:lnTo>
                      <a:pt x="52275" y="188643"/>
                    </a:lnTo>
                    <a:lnTo>
                      <a:pt x="55154" y="191522"/>
                    </a:lnTo>
                    <a:lnTo>
                      <a:pt x="56214" y="191977"/>
                    </a:lnTo>
                    <a:lnTo>
                      <a:pt x="56820" y="193189"/>
                    </a:lnTo>
                    <a:lnTo>
                      <a:pt x="59093" y="195613"/>
                    </a:lnTo>
                    <a:lnTo>
                      <a:pt x="62730" y="196522"/>
                    </a:lnTo>
                    <a:lnTo>
                      <a:pt x="66366" y="197583"/>
                    </a:lnTo>
                    <a:lnTo>
                      <a:pt x="67730" y="199098"/>
                    </a:lnTo>
                    <a:lnTo>
                      <a:pt x="69245" y="200310"/>
                    </a:lnTo>
                    <a:lnTo>
                      <a:pt x="70306" y="200310"/>
                    </a:lnTo>
                    <a:lnTo>
                      <a:pt x="71215" y="200159"/>
                    </a:lnTo>
                    <a:lnTo>
                      <a:pt x="72881" y="199098"/>
                    </a:lnTo>
                    <a:lnTo>
                      <a:pt x="74094" y="198189"/>
                    </a:lnTo>
                    <a:lnTo>
                      <a:pt x="76215" y="198189"/>
                    </a:lnTo>
                    <a:lnTo>
                      <a:pt x="78791" y="198037"/>
                    </a:lnTo>
                    <a:lnTo>
                      <a:pt x="79245" y="197280"/>
                    </a:lnTo>
                    <a:lnTo>
                      <a:pt x="79548" y="196371"/>
                    </a:lnTo>
                    <a:lnTo>
                      <a:pt x="78942" y="193795"/>
                    </a:lnTo>
                    <a:lnTo>
                      <a:pt x="79851" y="193189"/>
                    </a:lnTo>
                    <a:lnTo>
                      <a:pt x="81973" y="192734"/>
                    </a:lnTo>
                    <a:lnTo>
                      <a:pt x="82427" y="191370"/>
                    </a:lnTo>
                    <a:lnTo>
                      <a:pt x="82882" y="190613"/>
                    </a:lnTo>
                    <a:lnTo>
                      <a:pt x="83488" y="189855"/>
                    </a:lnTo>
                    <a:lnTo>
                      <a:pt x="84246" y="189704"/>
                    </a:lnTo>
                    <a:lnTo>
                      <a:pt x="85155" y="190158"/>
                    </a:lnTo>
                    <a:lnTo>
                      <a:pt x="86518" y="190461"/>
                    </a:lnTo>
                    <a:lnTo>
                      <a:pt x="88034" y="190916"/>
                    </a:lnTo>
                    <a:lnTo>
                      <a:pt x="88943" y="191674"/>
                    </a:lnTo>
                    <a:lnTo>
                      <a:pt x="90306" y="191825"/>
                    </a:lnTo>
                    <a:lnTo>
                      <a:pt x="91822" y="191674"/>
                    </a:lnTo>
                    <a:lnTo>
                      <a:pt x="92428" y="191068"/>
                    </a:lnTo>
                    <a:lnTo>
                      <a:pt x="93034" y="190158"/>
                    </a:lnTo>
                    <a:lnTo>
                      <a:pt x="93337" y="188189"/>
                    </a:lnTo>
                    <a:lnTo>
                      <a:pt x="94246" y="188037"/>
                    </a:lnTo>
                    <a:lnTo>
                      <a:pt x="96216" y="187582"/>
                    </a:lnTo>
                    <a:lnTo>
                      <a:pt x="98489" y="186825"/>
                    </a:lnTo>
                    <a:lnTo>
                      <a:pt x="101216" y="186673"/>
                    </a:lnTo>
                    <a:lnTo>
                      <a:pt x="103943" y="186673"/>
                    </a:lnTo>
                    <a:lnTo>
                      <a:pt x="105307" y="186067"/>
                    </a:lnTo>
                    <a:lnTo>
                      <a:pt x="106519" y="184704"/>
                    </a:lnTo>
                    <a:lnTo>
                      <a:pt x="108943" y="181067"/>
                    </a:lnTo>
                    <a:lnTo>
                      <a:pt x="110155" y="180158"/>
                    </a:lnTo>
                    <a:lnTo>
                      <a:pt x="111519" y="179552"/>
                    </a:lnTo>
                    <a:lnTo>
                      <a:pt x="112580" y="179704"/>
                    </a:lnTo>
                    <a:lnTo>
                      <a:pt x="115004" y="179097"/>
                    </a:lnTo>
                    <a:lnTo>
                      <a:pt x="116974" y="178188"/>
                    </a:lnTo>
                    <a:lnTo>
                      <a:pt x="117580" y="178491"/>
                    </a:lnTo>
                    <a:lnTo>
                      <a:pt x="119095" y="180310"/>
                    </a:lnTo>
                    <a:lnTo>
                      <a:pt x="119853" y="180764"/>
                    </a:lnTo>
                    <a:lnTo>
                      <a:pt x="121065" y="180916"/>
                    </a:lnTo>
                    <a:lnTo>
                      <a:pt x="124702" y="181825"/>
                    </a:lnTo>
                    <a:lnTo>
                      <a:pt x="126520" y="181522"/>
                    </a:lnTo>
                    <a:lnTo>
                      <a:pt x="128641" y="180916"/>
                    </a:lnTo>
                    <a:lnTo>
                      <a:pt x="130611" y="180764"/>
                    </a:lnTo>
                    <a:lnTo>
                      <a:pt x="132126" y="181067"/>
                    </a:lnTo>
                    <a:lnTo>
                      <a:pt x="133187" y="180613"/>
                    </a:lnTo>
                    <a:lnTo>
                      <a:pt x="134399" y="1801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0" name="Freeform: Shape 3269">
                <a:extLst>
                  <a:ext uri="{FF2B5EF4-FFF2-40B4-BE49-F238E27FC236}">
                    <a16:creationId xmlns:a16="http://schemas.microsoft.com/office/drawing/2014/main" id="{291DBC29-1C12-4A4E-A554-6FC9D0CA0867}"/>
                  </a:ext>
                </a:extLst>
              </p:cNvPr>
              <p:cNvSpPr/>
              <p:nvPr/>
            </p:nvSpPr>
            <p:spPr>
              <a:xfrm>
                <a:off x="5319758" y="4215768"/>
                <a:ext cx="83639" cy="48183"/>
              </a:xfrm>
              <a:custGeom>
                <a:avLst/>
                <a:gdLst>
                  <a:gd name="connsiteX0" fmla="*/ 22274 w 83639"/>
                  <a:gd name="connsiteY0" fmla="*/ 33335 h 48183"/>
                  <a:gd name="connsiteX1" fmla="*/ 21971 w 83639"/>
                  <a:gd name="connsiteY1" fmla="*/ 30001 h 48183"/>
                  <a:gd name="connsiteX2" fmla="*/ 20607 w 83639"/>
                  <a:gd name="connsiteY2" fmla="*/ 29698 h 48183"/>
                  <a:gd name="connsiteX3" fmla="*/ 19092 w 83639"/>
                  <a:gd name="connsiteY3" fmla="*/ 31668 h 48183"/>
                  <a:gd name="connsiteX4" fmla="*/ 18940 w 83639"/>
                  <a:gd name="connsiteY4" fmla="*/ 33032 h 48183"/>
                  <a:gd name="connsiteX5" fmla="*/ 19698 w 83639"/>
                  <a:gd name="connsiteY5" fmla="*/ 33789 h 48183"/>
                  <a:gd name="connsiteX6" fmla="*/ 21062 w 83639"/>
                  <a:gd name="connsiteY6" fmla="*/ 34244 h 48183"/>
                  <a:gd name="connsiteX7" fmla="*/ 22274 w 83639"/>
                  <a:gd name="connsiteY7" fmla="*/ 33335 h 48183"/>
                  <a:gd name="connsiteX8" fmla="*/ 17274 w 83639"/>
                  <a:gd name="connsiteY8" fmla="*/ 40608 h 48183"/>
                  <a:gd name="connsiteX9" fmla="*/ 16819 w 83639"/>
                  <a:gd name="connsiteY9" fmla="*/ 40759 h 48183"/>
                  <a:gd name="connsiteX10" fmla="*/ 15758 w 83639"/>
                  <a:gd name="connsiteY10" fmla="*/ 41365 h 48183"/>
                  <a:gd name="connsiteX11" fmla="*/ 14849 w 83639"/>
                  <a:gd name="connsiteY11" fmla="*/ 42426 h 48183"/>
                  <a:gd name="connsiteX12" fmla="*/ 14395 w 83639"/>
                  <a:gd name="connsiteY12" fmla="*/ 42426 h 48183"/>
                  <a:gd name="connsiteX13" fmla="*/ 13183 w 83639"/>
                  <a:gd name="connsiteY13" fmla="*/ 42880 h 48183"/>
                  <a:gd name="connsiteX14" fmla="*/ 13334 w 83639"/>
                  <a:gd name="connsiteY14" fmla="*/ 43335 h 48183"/>
                  <a:gd name="connsiteX15" fmla="*/ 14395 w 83639"/>
                  <a:gd name="connsiteY15" fmla="*/ 44699 h 48183"/>
                  <a:gd name="connsiteX16" fmla="*/ 16516 w 83639"/>
                  <a:gd name="connsiteY16" fmla="*/ 44244 h 48183"/>
                  <a:gd name="connsiteX17" fmla="*/ 17728 w 83639"/>
                  <a:gd name="connsiteY17" fmla="*/ 43638 h 48183"/>
                  <a:gd name="connsiteX18" fmla="*/ 18334 w 83639"/>
                  <a:gd name="connsiteY18" fmla="*/ 42729 h 48183"/>
                  <a:gd name="connsiteX19" fmla="*/ 17880 w 83639"/>
                  <a:gd name="connsiteY19" fmla="*/ 40608 h 48183"/>
                  <a:gd name="connsiteX20" fmla="*/ 17274 w 83639"/>
                  <a:gd name="connsiteY20" fmla="*/ 40608 h 48183"/>
                  <a:gd name="connsiteX21" fmla="*/ 22122 w 83639"/>
                  <a:gd name="connsiteY21" fmla="*/ 41668 h 48183"/>
                  <a:gd name="connsiteX22" fmla="*/ 21364 w 83639"/>
                  <a:gd name="connsiteY22" fmla="*/ 40759 h 48183"/>
                  <a:gd name="connsiteX23" fmla="*/ 21062 w 83639"/>
                  <a:gd name="connsiteY23" fmla="*/ 41062 h 48183"/>
                  <a:gd name="connsiteX24" fmla="*/ 20607 w 83639"/>
                  <a:gd name="connsiteY24" fmla="*/ 43335 h 48183"/>
                  <a:gd name="connsiteX25" fmla="*/ 20910 w 83639"/>
                  <a:gd name="connsiteY25" fmla="*/ 43487 h 48183"/>
                  <a:gd name="connsiteX26" fmla="*/ 20607 w 83639"/>
                  <a:gd name="connsiteY26" fmla="*/ 44244 h 48183"/>
                  <a:gd name="connsiteX27" fmla="*/ 22274 w 83639"/>
                  <a:gd name="connsiteY27" fmla="*/ 44396 h 48183"/>
                  <a:gd name="connsiteX28" fmla="*/ 22577 w 83639"/>
                  <a:gd name="connsiteY28" fmla="*/ 43638 h 48183"/>
                  <a:gd name="connsiteX29" fmla="*/ 22274 w 83639"/>
                  <a:gd name="connsiteY29" fmla="*/ 41820 h 48183"/>
                  <a:gd name="connsiteX30" fmla="*/ 22122 w 83639"/>
                  <a:gd name="connsiteY30" fmla="*/ 41668 h 48183"/>
                  <a:gd name="connsiteX31" fmla="*/ 19092 w 83639"/>
                  <a:gd name="connsiteY31" fmla="*/ 21668 h 48183"/>
                  <a:gd name="connsiteX32" fmla="*/ 15455 w 83639"/>
                  <a:gd name="connsiteY32" fmla="*/ 21971 h 48183"/>
                  <a:gd name="connsiteX33" fmla="*/ 15607 w 83639"/>
                  <a:gd name="connsiteY33" fmla="*/ 22880 h 48183"/>
                  <a:gd name="connsiteX34" fmla="*/ 16819 w 83639"/>
                  <a:gd name="connsiteY34" fmla="*/ 24849 h 48183"/>
                  <a:gd name="connsiteX35" fmla="*/ 18637 w 83639"/>
                  <a:gd name="connsiteY35" fmla="*/ 25152 h 48183"/>
                  <a:gd name="connsiteX36" fmla="*/ 20001 w 83639"/>
                  <a:gd name="connsiteY36" fmla="*/ 21819 h 48183"/>
                  <a:gd name="connsiteX37" fmla="*/ 19092 w 83639"/>
                  <a:gd name="connsiteY37" fmla="*/ 21668 h 48183"/>
                  <a:gd name="connsiteX38" fmla="*/ 81670 w 83639"/>
                  <a:gd name="connsiteY38" fmla="*/ 2273 h 48183"/>
                  <a:gd name="connsiteX39" fmla="*/ 81822 w 83639"/>
                  <a:gd name="connsiteY39" fmla="*/ 0 h 48183"/>
                  <a:gd name="connsiteX40" fmla="*/ 72579 w 83639"/>
                  <a:gd name="connsiteY40" fmla="*/ 0 h 48183"/>
                  <a:gd name="connsiteX41" fmla="*/ 64851 w 83639"/>
                  <a:gd name="connsiteY41" fmla="*/ 0 h 48183"/>
                  <a:gd name="connsiteX42" fmla="*/ 55002 w 83639"/>
                  <a:gd name="connsiteY42" fmla="*/ 0 h 48183"/>
                  <a:gd name="connsiteX43" fmla="*/ 48032 w 83639"/>
                  <a:gd name="connsiteY43" fmla="*/ 0 h 48183"/>
                  <a:gd name="connsiteX44" fmla="*/ 41517 w 83639"/>
                  <a:gd name="connsiteY44" fmla="*/ 0 h 48183"/>
                  <a:gd name="connsiteX45" fmla="*/ 36517 w 83639"/>
                  <a:gd name="connsiteY45" fmla="*/ 2576 h 48183"/>
                  <a:gd name="connsiteX46" fmla="*/ 31062 w 83639"/>
                  <a:gd name="connsiteY46" fmla="*/ 5303 h 48183"/>
                  <a:gd name="connsiteX47" fmla="*/ 23789 w 83639"/>
                  <a:gd name="connsiteY47" fmla="*/ 6819 h 48183"/>
                  <a:gd name="connsiteX48" fmla="*/ 15455 w 83639"/>
                  <a:gd name="connsiteY48" fmla="*/ 6212 h 48183"/>
                  <a:gd name="connsiteX49" fmla="*/ 12728 w 83639"/>
                  <a:gd name="connsiteY49" fmla="*/ 6667 h 48183"/>
                  <a:gd name="connsiteX50" fmla="*/ 10000 w 83639"/>
                  <a:gd name="connsiteY50" fmla="*/ 7879 h 48183"/>
                  <a:gd name="connsiteX51" fmla="*/ 8031 w 83639"/>
                  <a:gd name="connsiteY51" fmla="*/ 8788 h 48183"/>
                  <a:gd name="connsiteX52" fmla="*/ 5152 w 83639"/>
                  <a:gd name="connsiteY52" fmla="*/ 9243 h 48183"/>
                  <a:gd name="connsiteX53" fmla="*/ 1515 w 83639"/>
                  <a:gd name="connsiteY53" fmla="*/ 8788 h 48183"/>
                  <a:gd name="connsiteX54" fmla="*/ 0 w 83639"/>
                  <a:gd name="connsiteY54" fmla="*/ 9091 h 48183"/>
                  <a:gd name="connsiteX55" fmla="*/ 7576 w 83639"/>
                  <a:gd name="connsiteY55" fmla="*/ 13182 h 48183"/>
                  <a:gd name="connsiteX56" fmla="*/ 10910 w 83639"/>
                  <a:gd name="connsiteY56" fmla="*/ 12122 h 48183"/>
                  <a:gd name="connsiteX57" fmla="*/ 12728 w 83639"/>
                  <a:gd name="connsiteY57" fmla="*/ 12273 h 48183"/>
                  <a:gd name="connsiteX58" fmla="*/ 12425 w 83639"/>
                  <a:gd name="connsiteY58" fmla="*/ 13182 h 48183"/>
                  <a:gd name="connsiteX59" fmla="*/ 10607 w 83639"/>
                  <a:gd name="connsiteY59" fmla="*/ 14849 h 48183"/>
                  <a:gd name="connsiteX60" fmla="*/ 10304 w 83639"/>
                  <a:gd name="connsiteY60" fmla="*/ 17425 h 48183"/>
                  <a:gd name="connsiteX61" fmla="*/ 11819 w 83639"/>
                  <a:gd name="connsiteY61" fmla="*/ 19395 h 48183"/>
                  <a:gd name="connsiteX62" fmla="*/ 15607 w 83639"/>
                  <a:gd name="connsiteY62" fmla="*/ 21061 h 48183"/>
                  <a:gd name="connsiteX63" fmla="*/ 20455 w 83639"/>
                  <a:gd name="connsiteY63" fmla="*/ 19849 h 48183"/>
                  <a:gd name="connsiteX64" fmla="*/ 21516 w 83639"/>
                  <a:gd name="connsiteY64" fmla="*/ 20455 h 48183"/>
                  <a:gd name="connsiteX65" fmla="*/ 21971 w 83639"/>
                  <a:gd name="connsiteY65" fmla="*/ 20910 h 48183"/>
                  <a:gd name="connsiteX66" fmla="*/ 20910 w 83639"/>
                  <a:gd name="connsiteY66" fmla="*/ 24547 h 48183"/>
                  <a:gd name="connsiteX67" fmla="*/ 24243 w 83639"/>
                  <a:gd name="connsiteY67" fmla="*/ 25152 h 48183"/>
                  <a:gd name="connsiteX68" fmla="*/ 28789 w 83639"/>
                  <a:gd name="connsiteY68" fmla="*/ 23637 h 48183"/>
                  <a:gd name="connsiteX69" fmla="*/ 32577 w 83639"/>
                  <a:gd name="connsiteY69" fmla="*/ 20910 h 48183"/>
                  <a:gd name="connsiteX70" fmla="*/ 34698 w 83639"/>
                  <a:gd name="connsiteY70" fmla="*/ 20152 h 48183"/>
                  <a:gd name="connsiteX71" fmla="*/ 41517 w 83639"/>
                  <a:gd name="connsiteY71" fmla="*/ 20607 h 48183"/>
                  <a:gd name="connsiteX72" fmla="*/ 43638 w 83639"/>
                  <a:gd name="connsiteY72" fmla="*/ 19395 h 48183"/>
                  <a:gd name="connsiteX73" fmla="*/ 44547 w 83639"/>
                  <a:gd name="connsiteY73" fmla="*/ 19395 h 48183"/>
                  <a:gd name="connsiteX74" fmla="*/ 44699 w 83639"/>
                  <a:gd name="connsiteY74" fmla="*/ 20001 h 48183"/>
                  <a:gd name="connsiteX75" fmla="*/ 43941 w 83639"/>
                  <a:gd name="connsiteY75" fmla="*/ 20910 h 48183"/>
                  <a:gd name="connsiteX76" fmla="*/ 43032 w 83639"/>
                  <a:gd name="connsiteY76" fmla="*/ 21061 h 48183"/>
                  <a:gd name="connsiteX77" fmla="*/ 40911 w 83639"/>
                  <a:gd name="connsiteY77" fmla="*/ 22122 h 48183"/>
                  <a:gd name="connsiteX78" fmla="*/ 35305 w 83639"/>
                  <a:gd name="connsiteY78" fmla="*/ 22122 h 48183"/>
                  <a:gd name="connsiteX79" fmla="*/ 33941 w 83639"/>
                  <a:gd name="connsiteY79" fmla="*/ 22880 h 48183"/>
                  <a:gd name="connsiteX80" fmla="*/ 33032 w 83639"/>
                  <a:gd name="connsiteY80" fmla="*/ 24698 h 48183"/>
                  <a:gd name="connsiteX81" fmla="*/ 33032 w 83639"/>
                  <a:gd name="connsiteY81" fmla="*/ 26213 h 48183"/>
                  <a:gd name="connsiteX82" fmla="*/ 35456 w 83639"/>
                  <a:gd name="connsiteY82" fmla="*/ 29244 h 48183"/>
                  <a:gd name="connsiteX83" fmla="*/ 36971 w 83639"/>
                  <a:gd name="connsiteY83" fmla="*/ 29092 h 48183"/>
                  <a:gd name="connsiteX84" fmla="*/ 38184 w 83639"/>
                  <a:gd name="connsiteY84" fmla="*/ 27880 h 48183"/>
                  <a:gd name="connsiteX85" fmla="*/ 40608 w 83639"/>
                  <a:gd name="connsiteY85" fmla="*/ 27425 h 48183"/>
                  <a:gd name="connsiteX86" fmla="*/ 43487 w 83639"/>
                  <a:gd name="connsiteY86" fmla="*/ 28183 h 48183"/>
                  <a:gd name="connsiteX87" fmla="*/ 44850 w 83639"/>
                  <a:gd name="connsiteY87" fmla="*/ 30001 h 48183"/>
                  <a:gd name="connsiteX88" fmla="*/ 42426 w 83639"/>
                  <a:gd name="connsiteY88" fmla="*/ 30456 h 48183"/>
                  <a:gd name="connsiteX89" fmla="*/ 40002 w 83639"/>
                  <a:gd name="connsiteY89" fmla="*/ 30607 h 48183"/>
                  <a:gd name="connsiteX90" fmla="*/ 35153 w 83639"/>
                  <a:gd name="connsiteY90" fmla="*/ 32729 h 48183"/>
                  <a:gd name="connsiteX91" fmla="*/ 33789 w 83639"/>
                  <a:gd name="connsiteY91" fmla="*/ 35153 h 48183"/>
                  <a:gd name="connsiteX92" fmla="*/ 34698 w 83639"/>
                  <a:gd name="connsiteY92" fmla="*/ 35759 h 48183"/>
                  <a:gd name="connsiteX93" fmla="*/ 36062 w 83639"/>
                  <a:gd name="connsiteY93" fmla="*/ 35456 h 48183"/>
                  <a:gd name="connsiteX94" fmla="*/ 37274 w 83639"/>
                  <a:gd name="connsiteY94" fmla="*/ 35607 h 48183"/>
                  <a:gd name="connsiteX95" fmla="*/ 37426 w 83639"/>
                  <a:gd name="connsiteY95" fmla="*/ 36062 h 48183"/>
                  <a:gd name="connsiteX96" fmla="*/ 36214 w 83639"/>
                  <a:gd name="connsiteY96" fmla="*/ 37274 h 48183"/>
                  <a:gd name="connsiteX97" fmla="*/ 36062 w 83639"/>
                  <a:gd name="connsiteY97" fmla="*/ 39092 h 48183"/>
                  <a:gd name="connsiteX98" fmla="*/ 36214 w 83639"/>
                  <a:gd name="connsiteY98" fmla="*/ 40456 h 48183"/>
                  <a:gd name="connsiteX99" fmla="*/ 38335 w 83639"/>
                  <a:gd name="connsiteY99" fmla="*/ 42274 h 48183"/>
                  <a:gd name="connsiteX100" fmla="*/ 39850 w 83639"/>
                  <a:gd name="connsiteY100" fmla="*/ 41971 h 48183"/>
                  <a:gd name="connsiteX101" fmla="*/ 41062 w 83639"/>
                  <a:gd name="connsiteY101" fmla="*/ 42123 h 48183"/>
                  <a:gd name="connsiteX102" fmla="*/ 40911 w 83639"/>
                  <a:gd name="connsiteY102" fmla="*/ 45608 h 48183"/>
                  <a:gd name="connsiteX103" fmla="*/ 41972 w 83639"/>
                  <a:gd name="connsiteY103" fmla="*/ 45456 h 48183"/>
                  <a:gd name="connsiteX104" fmla="*/ 44244 w 83639"/>
                  <a:gd name="connsiteY104" fmla="*/ 42578 h 48183"/>
                  <a:gd name="connsiteX105" fmla="*/ 45456 w 83639"/>
                  <a:gd name="connsiteY105" fmla="*/ 42578 h 48183"/>
                  <a:gd name="connsiteX106" fmla="*/ 44396 w 83639"/>
                  <a:gd name="connsiteY106" fmla="*/ 46214 h 48183"/>
                  <a:gd name="connsiteX107" fmla="*/ 45760 w 83639"/>
                  <a:gd name="connsiteY107" fmla="*/ 48184 h 48183"/>
                  <a:gd name="connsiteX108" fmla="*/ 46972 w 83639"/>
                  <a:gd name="connsiteY108" fmla="*/ 46820 h 48183"/>
                  <a:gd name="connsiteX109" fmla="*/ 48487 w 83639"/>
                  <a:gd name="connsiteY109" fmla="*/ 44547 h 48183"/>
                  <a:gd name="connsiteX110" fmla="*/ 53032 w 83639"/>
                  <a:gd name="connsiteY110" fmla="*/ 35304 h 48183"/>
                  <a:gd name="connsiteX111" fmla="*/ 54699 w 83639"/>
                  <a:gd name="connsiteY111" fmla="*/ 33183 h 48183"/>
                  <a:gd name="connsiteX112" fmla="*/ 55760 w 83639"/>
                  <a:gd name="connsiteY112" fmla="*/ 32425 h 48183"/>
                  <a:gd name="connsiteX113" fmla="*/ 57881 w 83639"/>
                  <a:gd name="connsiteY113" fmla="*/ 32274 h 48183"/>
                  <a:gd name="connsiteX114" fmla="*/ 62124 w 83639"/>
                  <a:gd name="connsiteY114" fmla="*/ 31062 h 48183"/>
                  <a:gd name="connsiteX115" fmla="*/ 65457 w 83639"/>
                  <a:gd name="connsiteY115" fmla="*/ 29092 h 48183"/>
                  <a:gd name="connsiteX116" fmla="*/ 67124 w 83639"/>
                  <a:gd name="connsiteY116" fmla="*/ 28335 h 48183"/>
                  <a:gd name="connsiteX117" fmla="*/ 71063 w 83639"/>
                  <a:gd name="connsiteY117" fmla="*/ 28486 h 48183"/>
                  <a:gd name="connsiteX118" fmla="*/ 75760 w 83639"/>
                  <a:gd name="connsiteY118" fmla="*/ 28183 h 48183"/>
                  <a:gd name="connsiteX119" fmla="*/ 81822 w 83639"/>
                  <a:gd name="connsiteY119" fmla="*/ 26213 h 48183"/>
                  <a:gd name="connsiteX120" fmla="*/ 81973 w 83639"/>
                  <a:gd name="connsiteY120" fmla="*/ 23486 h 48183"/>
                  <a:gd name="connsiteX121" fmla="*/ 81973 w 83639"/>
                  <a:gd name="connsiteY121" fmla="*/ 20001 h 48183"/>
                  <a:gd name="connsiteX122" fmla="*/ 81822 w 83639"/>
                  <a:gd name="connsiteY122" fmla="*/ 18637 h 48183"/>
                  <a:gd name="connsiteX123" fmla="*/ 79700 w 83639"/>
                  <a:gd name="connsiteY123" fmla="*/ 17425 h 48183"/>
                  <a:gd name="connsiteX124" fmla="*/ 78488 w 83639"/>
                  <a:gd name="connsiteY124" fmla="*/ 16364 h 48183"/>
                  <a:gd name="connsiteX125" fmla="*/ 77427 w 83639"/>
                  <a:gd name="connsiteY125" fmla="*/ 15001 h 48183"/>
                  <a:gd name="connsiteX126" fmla="*/ 76064 w 83639"/>
                  <a:gd name="connsiteY126" fmla="*/ 14092 h 48183"/>
                  <a:gd name="connsiteX127" fmla="*/ 76064 w 83639"/>
                  <a:gd name="connsiteY127" fmla="*/ 13031 h 48183"/>
                  <a:gd name="connsiteX128" fmla="*/ 77730 w 83639"/>
                  <a:gd name="connsiteY128" fmla="*/ 12122 h 48183"/>
                  <a:gd name="connsiteX129" fmla="*/ 78791 w 83639"/>
                  <a:gd name="connsiteY129" fmla="*/ 11667 h 48183"/>
                  <a:gd name="connsiteX130" fmla="*/ 81215 w 83639"/>
                  <a:gd name="connsiteY130" fmla="*/ 11667 h 48183"/>
                  <a:gd name="connsiteX131" fmla="*/ 81973 w 83639"/>
                  <a:gd name="connsiteY131" fmla="*/ 11213 h 48183"/>
                  <a:gd name="connsiteX132" fmla="*/ 82579 w 83639"/>
                  <a:gd name="connsiteY132" fmla="*/ 10304 h 48183"/>
                  <a:gd name="connsiteX133" fmla="*/ 83336 w 83639"/>
                  <a:gd name="connsiteY133" fmla="*/ 8031 h 48183"/>
                  <a:gd name="connsiteX134" fmla="*/ 83640 w 83639"/>
                  <a:gd name="connsiteY134" fmla="*/ 5606 h 48183"/>
                  <a:gd name="connsiteX135" fmla="*/ 81670 w 83639"/>
                  <a:gd name="connsiteY135" fmla="*/ 2273 h 48183"/>
                  <a:gd name="connsiteX136" fmla="*/ 27425 w 83639"/>
                  <a:gd name="connsiteY136" fmla="*/ 37880 h 48183"/>
                  <a:gd name="connsiteX137" fmla="*/ 26365 w 83639"/>
                  <a:gd name="connsiteY137" fmla="*/ 38789 h 48183"/>
                  <a:gd name="connsiteX138" fmla="*/ 25607 w 83639"/>
                  <a:gd name="connsiteY138" fmla="*/ 40759 h 48183"/>
                  <a:gd name="connsiteX139" fmla="*/ 25910 w 83639"/>
                  <a:gd name="connsiteY139" fmla="*/ 41062 h 48183"/>
                  <a:gd name="connsiteX140" fmla="*/ 27122 w 83639"/>
                  <a:gd name="connsiteY140" fmla="*/ 41214 h 48183"/>
                  <a:gd name="connsiteX141" fmla="*/ 27122 w 83639"/>
                  <a:gd name="connsiteY141" fmla="*/ 40153 h 48183"/>
                  <a:gd name="connsiteX142" fmla="*/ 28183 w 83639"/>
                  <a:gd name="connsiteY142" fmla="*/ 39699 h 48183"/>
                  <a:gd name="connsiteX143" fmla="*/ 28789 w 83639"/>
                  <a:gd name="connsiteY143" fmla="*/ 39092 h 48183"/>
                  <a:gd name="connsiteX144" fmla="*/ 29092 w 83639"/>
                  <a:gd name="connsiteY144" fmla="*/ 38335 h 48183"/>
                  <a:gd name="connsiteX145" fmla="*/ 28789 w 83639"/>
                  <a:gd name="connsiteY145" fmla="*/ 38032 h 48183"/>
                  <a:gd name="connsiteX146" fmla="*/ 27425 w 83639"/>
                  <a:gd name="connsiteY146" fmla="*/ 37880 h 48183"/>
                  <a:gd name="connsiteX147" fmla="*/ 30001 w 83639"/>
                  <a:gd name="connsiteY147" fmla="*/ 31516 h 48183"/>
                  <a:gd name="connsiteX148" fmla="*/ 31517 w 83639"/>
                  <a:gd name="connsiteY148" fmla="*/ 32123 h 48183"/>
                  <a:gd name="connsiteX149" fmla="*/ 31819 w 83639"/>
                  <a:gd name="connsiteY149" fmla="*/ 31516 h 48183"/>
                  <a:gd name="connsiteX150" fmla="*/ 32577 w 83639"/>
                  <a:gd name="connsiteY150" fmla="*/ 31062 h 48183"/>
                  <a:gd name="connsiteX151" fmla="*/ 33789 w 83639"/>
                  <a:gd name="connsiteY151" fmla="*/ 30759 h 48183"/>
                  <a:gd name="connsiteX152" fmla="*/ 33789 w 83639"/>
                  <a:gd name="connsiteY152" fmla="*/ 28941 h 48183"/>
                  <a:gd name="connsiteX153" fmla="*/ 32274 w 83639"/>
                  <a:gd name="connsiteY153" fmla="*/ 29395 h 48183"/>
                  <a:gd name="connsiteX154" fmla="*/ 30001 w 83639"/>
                  <a:gd name="connsiteY154" fmla="*/ 31516 h 4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83639" h="48183">
                    <a:moveTo>
                      <a:pt x="22274" y="33335"/>
                    </a:moveTo>
                    <a:lnTo>
                      <a:pt x="21971" y="30001"/>
                    </a:lnTo>
                    <a:lnTo>
                      <a:pt x="20607" y="29698"/>
                    </a:lnTo>
                    <a:lnTo>
                      <a:pt x="19092" y="31668"/>
                    </a:lnTo>
                    <a:lnTo>
                      <a:pt x="18940" y="33032"/>
                    </a:lnTo>
                    <a:lnTo>
                      <a:pt x="19698" y="33789"/>
                    </a:lnTo>
                    <a:lnTo>
                      <a:pt x="21062" y="34244"/>
                    </a:lnTo>
                    <a:lnTo>
                      <a:pt x="22274" y="33335"/>
                    </a:lnTo>
                    <a:close/>
                    <a:moveTo>
                      <a:pt x="17274" y="40608"/>
                    </a:moveTo>
                    <a:lnTo>
                      <a:pt x="16819" y="40759"/>
                    </a:lnTo>
                    <a:lnTo>
                      <a:pt x="15758" y="41365"/>
                    </a:lnTo>
                    <a:lnTo>
                      <a:pt x="14849" y="42426"/>
                    </a:lnTo>
                    <a:lnTo>
                      <a:pt x="14395" y="42426"/>
                    </a:lnTo>
                    <a:lnTo>
                      <a:pt x="13183" y="42880"/>
                    </a:lnTo>
                    <a:lnTo>
                      <a:pt x="13334" y="43335"/>
                    </a:lnTo>
                    <a:lnTo>
                      <a:pt x="14395" y="44699"/>
                    </a:lnTo>
                    <a:lnTo>
                      <a:pt x="16516" y="44244"/>
                    </a:lnTo>
                    <a:lnTo>
                      <a:pt x="17728" y="43638"/>
                    </a:lnTo>
                    <a:lnTo>
                      <a:pt x="18334" y="42729"/>
                    </a:lnTo>
                    <a:lnTo>
                      <a:pt x="17880" y="40608"/>
                    </a:lnTo>
                    <a:lnTo>
                      <a:pt x="17274" y="40608"/>
                    </a:lnTo>
                    <a:close/>
                    <a:moveTo>
                      <a:pt x="22122" y="41668"/>
                    </a:moveTo>
                    <a:lnTo>
                      <a:pt x="21364" y="40759"/>
                    </a:lnTo>
                    <a:lnTo>
                      <a:pt x="21062" y="41062"/>
                    </a:lnTo>
                    <a:lnTo>
                      <a:pt x="20607" y="43335"/>
                    </a:lnTo>
                    <a:lnTo>
                      <a:pt x="20910" y="43487"/>
                    </a:lnTo>
                    <a:lnTo>
                      <a:pt x="20607" y="44244"/>
                    </a:lnTo>
                    <a:lnTo>
                      <a:pt x="22274" y="44396"/>
                    </a:lnTo>
                    <a:lnTo>
                      <a:pt x="22577" y="43638"/>
                    </a:lnTo>
                    <a:lnTo>
                      <a:pt x="22274" y="41820"/>
                    </a:lnTo>
                    <a:lnTo>
                      <a:pt x="22122" y="41668"/>
                    </a:lnTo>
                    <a:close/>
                    <a:moveTo>
                      <a:pt x="19092" y="21668"/>
                    </a:moveTo>
                    <a:lnTo>
                      <a:pt x="15455" y="21971"/>
                    </a:lnTo>
                    <a:lnTo>
                      <a:pt x="15607" y="22880"/>
                    </a:lnTo>
                    <a:lnTo>
                      <a:pt x="16819" y="24849"/>
                    </a:lnTo>
                    <a:lnTo>
                      <a:pt x="18637" y="25152"/>
                    </a:lnTo>
                    <a:lnTo>
                      <a:pt x="20001" y="21819"/>
                    </a:lnTo>
                    <a:lnTo>
                      <a:pt x="19092" y="21668"/>
                    </a:lnTo>
                    <a:close/>
                    <a:moveTo>
                      <a:pt x="81670" y="2273"/>
                    </a:moveTo>
                    <a:lnTo>
                      <a:pt x="81822" y="0"/>
                    </a:lnTo>
                    <a:lnTo>
                      <a:pt x="72579" y="0"/>
                    </a:lnTo>
                    <a:lnTo>
                      <a:pt x="64851" y="0"/>
                    </a:lnTo>
                    <a:lnTo>
                      <a:pt x="55002" y="0"/>
                    </a:lnTo>
                    <a:lnTo>
                      <a:pt x="48032" y="0"/>
                    </a:lnTo>
                    <a:lnTo>
                      <a:pt x="41517" y="0"/>
                    </a:lnTo>
                    <a:lnTo>
                      <a:pt x="36517" y="2576"/>
                    </a:lnTo>
                    <a:lnTo>
                      <a:pt x="31062" y="5303"/>
                    </a:lnTo>
                    <a:lnTo>
                      <a:pt x="23789" y="6819"/>
                    </a:lnTo>
                    <a:lnTo>
                      <a:pt x="15455" y="6212"/>
                    </a:lnTo>
                    <a:lnTo>
                      <a:pt x="12728" y="6667"/>
                    </a:lnTo>
                    <a:lnTo>
                      <a:pt x="10000" y="7879"/>
                    </a:lnTo>
                    <a:lnTo>
                      <a:pt x="8031" y="8788"/>
                    </a:lnTo>
                    <a:lnTo>
                      <a:pt x="5152" y="9243"/>
                    </a:lnTo>
                    <a:lnTo>
                      <a:pt x="1515" y="8788"/>
                    </a:lnTo>
                    <a:lnTo>
                      <a:pt x="0" y="9091"/>
                    </a:lnTo>
                    <a:lnTo>
                      <a:pt x="7576" y="13182"/>
                    </a:lnTo>
                    <a:lnTo>
                      <a:pt x="10910" y="12122"/>
                    </a:lnTo>
                    <a:lnTo>
                      <a:pt x="12728" y="12273"/>
                    </a:lnTo>
                    <a:lnTo>
                      <a:pt x="12425" y="13182"/>
                    </a:lnTo>
                    <a:lnTo>
                      <a:pt x="10607" y="14849"/>
                    </a:lnTo>
                    <a:lnTo>
                      <a:pt x="10304" y="17425"/>
                    </a:lnTo>
                    <a:lnTo>
                      <a:pt x="11819" y="19395"/>
                    </a:lnTo>
                    <a:lnTo>
                      <a:pt x="15607" y="21061"/>
                    </a:lnTo>
                    <a:lnTo>
                      <a:pt x="20455" y="19849"/>
                    </a:lnTo>
                    <a:lnTo>
                      <a:pt x="21516" y="20455"/>
                    </a:lnTo>
                    <a:lnTo>
                      <a:pt x="21971" y="20910"/>
                    </a:lnTo>
                    <a:lnTo>
                      <a:pt x="20910" y="24547"/>
                    </a:lnTo>
                    <a:lnTo>
                      <a:pt x="24243" y="25152"/>
                    </a:lnTo>
                    <a:lnTo>
                      <a:pt x="28789" y="23637"/>
                    </a:lnTo>
                    <a:lnTo>
                      <a:pt x="32577" y="20910"/>
                    </a:lnTo>
                    <a:lnTo>
                      <a:pt x="34698" y="20152"/>
                    </a:lnTo>
                    <a:lnTo>
                      <a:pt x="41517" y="20607"/>
                    </a:lnTo>
                    <a:lnTo>
                      <a:pt x="43638" y="19395"/>
                    </a:lnTo>
                    <a:lnTo>
                      <a:pt x="44547" y="19395"/>
                    </a:lnTo>
                    <a:lnTo>
                      <a:pt x="44699" y="20001"/>
                    </a:lnTo>
                    <a:lnTo>
                      <a:pt x="43941" y="20910"/>
                    </a:lnTo>
                    <a:lnTo>
                      <a:pt x="43032" y="21061"/>
                    </a:lnTo>
                    <a:lnTo>
                      <a:pt x="40911" y="22122"/>
                    </a:lnTo>
                    <a:lnTo>
                      <a:pt x="35305" y="22122"/>
                    </a:lnTo>
                    <a:lnTo>
                      <a:pt x="33941" y="22880"/>
                    </a:lnTo>
                    <a:lnTo>
                      <a:pt x="33032" y="24698"/>
                    </a:lnTo>
                    <a:lnTo>
                      <a:pt x="33032" y="26213"/>
                    </a:lnTo>
                    <a:lnTo>
                      <a:pt x="35456" y="29244"/>
                    </a:lnTo>
                    <a:lnTo>
                      <a:pt x="36971" y="29092"/>
                    </a:lnTo>
                    <a:lnTo>
                      <a:pt x="38184" y="27880"/>
                    </a:lnTo>
                    <a:lnTo>
                      <a:pt x="40608" y="27425"/>
                    </a:lnTo>
                    <a:lnTo>
                      <a:pt x="43487" y="28183"/>
                    </a:lnTo>
                    <a:lnTo>
                      <a:pt x="44850" y="30001"/>
                    </a:lnTo>
                    <a:lnTo>
                      <a:pt x="42426" y="30456"/>
                    </a:lnTo>
                    <a:lnTo>
                      <a:pt x="40002" y="30607"/>
                    </a:lnTo>
                    <a:lnTo>
                      <a:pt x="35153" y="32729"/>
                    </a:lnTo>
                    <a:lnTo>
                      <a:pt x="33789" y="35153"/>
                    </a:lnTo>
                    <a:lnTo>
                      <a:pt x="34698" y="35759"/>
                    </a:lnTo>
                    <a:lnTo>
                      <a:pt x="36062" y="35456"/>
                    </a:lnTo>
                    <a:lnTo>
                      <a:pt x="37274" y="35607"/>
                    </a:lnTo>
                    <a:lnTo>
                      <a:pt x="37426" y="36062"/>
                    </a:lnTo>
                    <a:lnTo>
                      <a:pt x="36214" y="37274"/>
                    </a:lnTo>
                    <a:lnTo>
                      <a:pt x="36062" y="39092"/>
                    </a:lnTo>
                    <a:lnTo>
                      <a:pt x="36214" y="40456"/>
                    </a:lnTo>
                    <a:lnTo>
                      <a:pt x="38335" y="42274"/>
                    </a:lnTo>
                    <a:lnTo>
                      <a:pt x="39850" y="41971"/>
                    </a:lnTo>
                    <a:lnTo>
                      <a:pt x="41062" y="42123"/>
                    </a:lnTo>
                    <a:lnTo>
                      <a:pt x="40911" y="45608"/>
                    </a:lnTo>
                    <a:lnTo>
                      <a:pt x="41972" y="45456"/>
                    </a:lnTo>
                    <a:lnTo>
                      <a:pt x="44244" y="42578"/>
                    </a:lnTo>
                    <a:lnTo>
                      <a:pt x="45456" y="42578"/>
                    </a:lnTo>
                    <a:lnTo>
                      <a:pt x="44396" y="46214"/>
                    </a:lnTo>
                    <a:lnTo>
                      <a:pt x="45760" y="48184"/>
                    </a:lnTo>
                    <a:lnTo>
                      <a:pt x="46972" y="46820"/>
                    </a:lnTo>
                    <a:lnTo>
                      <a:pt x="48487" y="44547"/>
                    </a:lnTo>
                    <a:lnTo>
                      <a:pt x="53032" y="35304"/>
                    </a:lnTo>
                    <a:lnTo>
                      <a:pt x="54699" y="33183"/>
                    </a:lnTo>
                    <a:lnTo>
                      <a:pt x="55760" y="32425"/>
                    </a:lnTo>
                    <a:lnTo>
                      <a:pt x="57881" y="32274"/>
                    </a:lnTo>
                    <a:lnTo>
                      <a:pt x="62124" y="31062"/>
                    </a:lnTo>
                    <a:lnTo>
                      <a:pt x="65457" y="29092"/>
                    </a:lnTo>
                    <a:lnTo>
                      <a:pt x="67124" y="28335"/>
                    </a:lnTo>
                    <a:lnTo>
                      <a:pt x="71063" y="28486"/>
                    </a:lnTo>
                    <a:lnTo>
                      <a:pt x="75760" y="28183"/>
                    </a:lnTo>
                    <a:lnTo>
                      <a:pt x="81822" y="26213"/>
                    </a:lnTo>
                    <a:lnTo>
                      <a:pt x="81973" y="23486"/>
                    </a:lnTo>
                    <a:lnTo>
                      <a:pt x="81973" y="20001"/>
                    </a:lnTo>
                    <a:lnTo>
                      <a:pt x="81822" y="18637"/>
                    </a:lnTo>
                    <a:lnTo>
                      <a:pt x="79700" y="17425"/>
                    </a:lnTo>
                    <a:lnTo>
                      <a:pt x="78488" y="16364"/>
                    </a:lnTo>
                    <a:lnTo>
                      <a:pt x="77427" y="15001"/>
                    </a:lnTo>
                    <a:lnTo>
                      <a:pt x="76064" y="14092"/>
                    </a:lnTo>
                    <a:lnTo>
                      <a:pt x="76064" y="13031"/>
                    </a:lnTo>
                    <a:lnTo>
                      <a:pt x="77730" y="12122"/>
                    </a:lnTo>
                    <a:lnTo>
                      <a:pt x="78791" y="11667"/>
                    </a:lnTo>
                    <a:lnTo>
                      <a:pt x="81215" y="11667"/>
                    </a:lnTo>
                    <a:lnTo>
                      <a:pt x="81973" y="11213"/>
                    </a:lnTo>
                    <a:lnTo>
                      <a:pt x="82579" y="10304"/>
                    </a:lnTo>
                    <a:lnTo>
                      <a:pt x="83336" y="8031"/>
                    </a:lnTo>
                    <a:lnTo>
                      <a:pt x="83640" y="5606"/>
                    </a:lnTo>
                    <a:lnTo>
                      <a:pt x="81670" y="2273"/>
                    </a:lnTo>
                    <a:close/>
                    <a:moveTo>
                      <a:pt x="27425" y="37880"/>
                    </a:moveTo>
                    <a:lnTo>
                      <a:pt x="26365" y="38789"/>
                    </a:lnTo>
                    <a:lnTo>
                      <a:pt x="25607" y="40759"/>
                    </a:lnTo>
                    <a:lnTo>
                      <a:pt x="25910" y="41062"/>
                    </a:lnTo>
                    <a:lnTo>
                      <a:pt x="27122" y="41214"/>
                    </a:lnTo>
                    <a:lnTo>
                      <a:pt x="27122" y="40153"/>
                    </a:lnTo>
                    <a:lnTo>
                      <a:pt x="28183" y="39699"/>
                    </a:lnTo>
                    <a:lnTo>
                      <a:pt x="28789" y="39092"/>
                    </a:lnTo>
                    <a:lnTo>
                      <a:pt x="29092" y="38335"/>
                    </a:lnTo>
                    <a:lnTo>
                      <a:pt x="28789" y="38032"/>
                    </a:lnTo>
                    <a:lnTo>
                      <a:pt x="27425" y="37880"/>
                    </a:lnTo>
                    <a:close/>
                    <a:moveTo>
                      <a:pt x="30001" y="31516"/>
                    </a:moveTo>
                    <a:lnTo>
                      <a:pt x="31517" y="32123"/>
                    </a:lnTo>
                    <a:lnTo>
                      <a:pt x="31819" y="31516"/>
                    </a:lnTo>
                    <a:lnTo>
                      <a:pt x="32577" y="31062"/>
                    </a:lnTo>
                    <a:lnTo>
                      <a:pt x="33789" y="30759"/>
                    </a:lnTo>
                    <a:lnTo>
                      <a:pt x="33789" y="28941"/>
                    </a:lnTo>
                    <a:lnTo>
                      <a:pt x="32274" y="29395"/>
                    </a:lnTo>
                    <a:lnTo>
                      <a:pt x="30001" y="3151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1" name="Freeform: Shape 3270">
                <a:extLst>
                  <a:ext uri="{FF2B5EF4-FFF2-40B4-BE49-F238E27FC236}">
                    <a16:creationId xmlns:a16="http://schemas.microsoft.com/office/drawing/2014/main" id="{4F7A8B02-F1E7-48AE-9619-C3C5360E15CE}"/>
                  </a:ext>
                </a:extLst>
              </p:cNvPr>
              <p:cNvSpPr/>
              <p:nvPr/>
            </p:nvSpPr>
            <p:spPr>
              <a:xfrm>
                <a:off x="9734922" y="4189555"/>
                <a:ext cx="8031" cy="10151"/>
              </a:xfrm>
              <a:custGeom>
                <a:avLst/>
                <a:gdLst>
                  <a:gd name="connsiteX0" fmla="*/ 7122 w 8031"/>
                  <a:gd name="connsiteY0" fmla="*/ 606 h 10151"/>
                  <a:gd name="connsiteX1" fmla="*/ 6213 w 8031"/>
                  <a:gd name="connsiteY1" fmla="*/ 151 h 10151"/>
                  <a:gd name="connsiteX2" fmla="*/ 5152 w 8031"/>
                  <a:gd name="connsiteY2" fmla="*/ 0 h 10151"/>
                  <a:gd name="connsiteX3" fmla="*/ 3788 w 8031"/>
                  <a:gd name="connsiteY3" fmla="*/ 2576 h 10151"/>
                  <a:gd name="connsiteX4" fmla="*/ 0 w 8031"/>
                  <a:gd name="connsiteY4" fmla="*/ 5303 h 10151"/>
                  <a:gd name="connsiteX5" fmla="*/ 0 w 8031"/>
                  <a:gd name="connsiteY5" fmla="*/ 8485 h 10151"/>
                  <a:gd name="connsiteX6" fmla="*/ 303 w 8031"/>
                  <a:gd name="connsiteY6" fmla="*/ 9091 h 10151"/>
                  <a:gd name="connsiteX7" fmla="*/ 1364 w 8031"/>
                  <a:gd name="connsiteY7" fmla="*/ 10152 h 10151"/>
                  <a:gd name="connsiteX8" fmla="*/ 2577 w 8031"/>
                  <a:gd name="connsiteY8" fmla="*/ 10000 h 10151"/>
                  <a:gd name="connsiteX9" fmla="*/ 3486 w 8031"/>
                  <a:gd name="connsiteY9" fmla="*/ 5758 h 10151"/>
                  <a:gd name="connsiteX10" fmla="*/ 8031 w 8031"/>
                  <a:gd name="connsiteY10" fmla="*/ 1364 h 1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31" h="10151">
                    <a:moveTo>
                      <a:pt x="7122" y="606"/>
                    </a:moveTo>
                    <a:lnTo>
                      <a:pt x="6213" y="151"/>
                    </a:lnTo>
                    <a:lnTo>
                      <a:pt x="5152" y="0"/>
                    </a:lnTo>
                    <a:lnTo>
                      <a:pt x="3788" y="2576"/>
                    </a:lnTo>
                    <a:lnTo>
                      <a:pt x="0" y="5303"/>
                    </a:lnTo>
                    <a:lnTo>
                      <a:pt x="0" y="8485"/>
                    </a:lnTo>
                    <a:lnTo>
                      <a:pt x="303" y="9091"/>
                    </a:lnTo>
                    <a:lnTo>
                      <a:pt x="1364" y="10152"/>
                    </a:lnTo>
                    <a:lnTo>
                      <a:pt x="2577" y="10000"/>
                    </a:lnTo>
                    <a:lnTo>
                      <a:pt x="3486" y="5758"/>
                    </a:lnTo>
                    <a:lnTo>
                      <a:pt x="8031" y="1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2" name="Freeform: Shape 3271">
                <a:extLst>
                  <a:ext uri="{FF2B5EF4-FFF2-40B4-BE49-F238E27FC236}">
                    <a16:creationId xmlns:a16="http://schemas.microsoft.com/office/drawing/2014/main" id="{59795AD2-36DE-4B63-8294-4996E8B8B906}"/>
                  </a:ext>
                </a:extLst>
              </p:cNvPr>
              <p:cNvSpPr/>
              <p:nvPr/>
            </p:nvSpPr>
            <p:spPr>
              <a:xfrm>
                <a:off x="3253621" y="4072581"/>
                <a:ext cx="109549" cy="113792"/>
              </a:xfrm>
              <a:custGeom>
                <a:avLst/>
                <a:gdLst>
                  <a:gd name="connsiteX0" fmla="*/ 99549 w 109549"/>
                  <a:gd name="connsiteY0" fmla="*/ 52275 h 113792"/>
                  <a:gd name="connsiteX1" fmla="*/ 99398 w 109549"/>
                  <a:gd name="connsiteY1" fmla="*/ 52881 h 113792"/>
                  <a:gd name="connsiteX2" fmla="*/ 100155 w 109549"/>
                  <a:gd name="connsiteY2" fmla="*/ 53638 h 113792"/>
                  <a:gd name="connsiteX3" fmla="*/ 101216 w 109549"/>
                  <a:gd name="connsiteY3" fmla="*/ 55154 h 113792"/>
                  <a:gd name="connsiteX4" fmla="*/ 99246 w 109549"/>
                  <a:gd name="connsiteY4" fmla="*/ 57426 h 113792"/>
                  <a:gd name="connsiteX5" fmla="*/ 96367 w 109549"/>
                  <a:gd name="connsiteY5" fmla="*/ 56214 h 113792"/>
                  <a:gd name="connsiteX6" fmla="*/ 93943 w 109549"/>
                  <a:gd name="connsiteY6" fmla="*/ 54699 h 113792"/>
                  <a:gd name="connsiteX7" fmla="*/ 92882 w 109549"/>
                  <a:gd name="connsiteY7" fmla="*/ 54548 h 113792"/>
                  <a:gd name="connsiteX8" fmla="*/ 91367 w 109549"/>
                  <a:gd name="connsiteY8" fmla="*/ 53941 h 113792"/>
                  <a:gd name="connsiteX9" fmla="*/ 90155 w 109549"/>
                  <a:gd name="connsiteY9" fmla="*/ 53941 h 113792"/>
                  <a:gd name="connsiteX10" fmla="*/ 85306 w 109549"/>
                  <a:gd name="connsiteY10" fmla="*/ 53638 h 113792"/>
                  <a:gd name="connsiteX11" fmla="*/ 82124 w 109549"/>
                  <a:gd name="connsiteY11" fmla="*/ 53941 h 113792"/>
                  <a:gd name="connsiteX12" fmla="*/ 81973 w 109549"/>
                  <a:gd name="connsiteY12" fmla="*/ 53790 h 113792"/>
                  <a:gd name="connsiteX13" fmla="*/ 82276 w 109549"/>
                  <a:gd name="connsiteY13" fmla="*/ 46972 h 113792"/>
                  <a:gd name="connsiteX14" fmla="*/ 82579 w 109549"/>
                  <a:gd name="connsiteY14" fmla="*/ 36213 h 113792"/>
                  <a:gd name="connsiteX15" fmla="*/ 82882 w 109549"/>
                  <a:gd name="connsiteY15" fmla="*/ 28334 h 113792"/>
                  <a:gd name="connsiteX16" fmla="*/ 83185 w 109549"/>
                  <a:gd name="connsiteY16" fmla="*/ 20607 h 113792"/>
                  <a:gd name="connsiteX17" fmla="*/ 83488 w 109549"/>
                  <a:gd name="connsiteY17" fmla="*/ 14849 h 113792"/>
                  <a:gd name="connsiteX18" fmla="*/ 83791 w 109549"/>
                  <a:gd name="connsiteY18" fmla="*/ 6970 h 113792"/>
                  <a:gd name="connsiteX19" fmla="*/ 84094 w 109549"/>
                  <a:gd name="connsiteY19" fmla="*/ 152 h 113792"/>
                  <a:gd name="connsiteX20" fmla="*/ 78336 w 109549"/>
                  <a:gd name="connsiteY20" fmla="*/ 152 h 113792"/>
                  <a:gd name="connsiteX21" fmla="*/ 68487 w 109549"/>
                  <a:gd name="connsiteY21" fmla="*/ 152 h 113792"/>
                  <a:gd name="connsiteX22" fmla="*/ 56063 w 109549"/>
                  <a:gd name="connsiteY22" fmla="*/ 152 h 113792"/>
                  <a:gd name="connsiteX23" fmla="*/ 44093 w 109549"/>
                  <a:gd name="connsiteY23" fmla="*/ 152 h 113792"/>
                  <a:gd name="connsiteX24" fmla="*/ 34092 w 109549"/>
                  <a:gd name="connsiteY24" fmla="*/ 0 h 113792"/>
                  <a:gd name="connsiteX25" fmla="*/ 33941 w 109549"/>
                  <a:gd name="connsiteY25" fmla="*/ 5606 h 113792"/>
                  <a:gd name="connsiteX26" fmla="*/ 33941 w 109549"/>
                  <a:gd name="connsiteY26" fmla="*/ 10455 h 113792"/>
                  <a:gd name="connsiteX27" fmla="*/ 33941 w 109549"/>
                  <a:gd name="connsiteY27" fmla="*/ 15910 h 113792"/>
                  <a:gd name="connsiteX28" fmla="*/ 28334 w 109549"/>
                  <a:gd name="connsiteY28" fmla="*/ 15910 h 113792"/>
                  <a:gd name="connsiteX29" fmla="*/ 22576 w 109549"/>
                  <a:gd name="connsiteY29" fmla="*/ 15758 h 113792"/>
                  <a:gd name="connsiteX30" fmla="*/ 23031 w 109549"/>
                  <a:gd name="connsiteY30" fmla="*/ 16364 h 113792"/>
                  <a:gd name="connsiteX31" fmla="*/ 25001 w 109549"/>
                  <a:gd name="connsiteY31" fmla="*/ 17425 h 113792"/>
                  <a:gd name="connsiteX32" fmla="*/ 27577 w 109549"/>
                  <a:gd name="connsiteY32" fmla="*/ 19849 h 113792"/>
                  <a:gd name="connsiteX33" fmla="*/ 30607 w 109549"/>
                  <a:gd name="connsiteY33" fmla="*/ 23637 h 113792"/>
                  <a:gd name="connsiteX34" fmla="*/ 34395 w 109549"/>
                  <a:gd name="connsiteY34" fmla="*/ 26668 h 113792"/>
                  <a:gd name="connsiteX35" fmla="*/ 38789 w 109549"/>
                  <a:gd name="connsiteY35" fmla="*/ 28941 h 113792"/>
                  <a:gd name="connsiteX36" fmla="*/ 41668 w 109549"/>
                  <a:gd name="connsiteY36" fmla="*/ 31062 h 113792"/>
                  <a:gd name="connsiteX37" fmla="*/ 43032 w 109549"/>
                  <a:gd name="connsiteY37" fmla="*/ 33335 h 113792"/>
                  <a:gd name="connsiteX38" fmla="*/ 43789 w 109549"/>
                  <a:gd name="connsiteY38" fmla="*/ 35153 h 113792"/>
                  <a:gd name="connsiteX39" fmla="*/ 43789 w 109549"/>
                  <a:gd name="connsiteY39" fmla="*/ 36668 h 113792"/>
                  <a:gd name="connsiteX40" fmla="*/ 45305 w 109549"/>
                  <a:gd name="connsiteY40" fmla="*/ 37880 h 113792"/>
                  <a:gd name="connsiteX41" fmla="*/ 48183 w 109549"/>
                  <a:gd name="connsiteY41" fmla="*/ 38638 h 113792"/>
                  <a:gd name="connsiteX42" fmla="*/ 49699 w 109549"/>
                  <a:gd name="connsiteY42" fmla="*/ 40001 h 113792"/>
                  <a:gd name="connsiteX43" fmla="*/ 49699 w 109549"/>
                  <a:gd name="connsiteY43" fmla="*/ 41062 h 113792"/>
                  <a:gd name="connsiteX44" fmla="*/ 48790 w 109549"/>
                  <a:gd name="connsiteY44" fmla="*/ 43638 h 113792"/>
                  <a:gd name="connsiteX45" fmla="*/ 48487 w 109549"/>
                  <a:gd name="connsiteY45" fmla="*/ 46365 h 113792"/>
                  <a:gd name="connsiteX46" fmla="*/ 48790 w 109549"/>
                  <a:gd name="connsiteY46" fmla="*/ 48790 h 113792"/>
                  <a:gd name="connsiteX47" fmla="*/ 46820 w 109549"/>
                  <a:gd name="connsiteY47" fmla="*/ 48941 h 113792"/>
                  <a:gd name="connsiteX48" fmla="*/ 41820 w 109549"/>
                  <a:gd name="connsiteY48" fmla="*/ 48941 h 113792"/>
                  <a:gd name="connsiteX49" fmla="*/ 34244 w 109549"/>
                  <a:gd name="connsiteY49" fmla="*/ 48941 h 113792"/>
                  <a:gd name="connsiteX50" fmla="*/ 27274 w 109549"/>
                  <a:gd name="connsiteY50" fmla="*/ 48941 h 113792"/>
                  <a:gd name="connsiteX51" fmla="*/ 21819 w 109549"/>
                  <a:gd name="connsiteY51" fmla="*/ 48941 h 113792"/>
                  <a:gd name="connsiteX52" fmla="*/ 13637 w 109549"/>
                  <a:gd name="connsiteY52" fmla="*/ 48941 h 113792"/>
                  <a:gd name="connsiteX53" fmla="*/ 11364 w 109549"/>
                  <a:gd name="connsiteY53" fmla="*/ 52729 h 113792"/>
                  <a:gd name="connsiteX54" fmla="*/ 7576 w 109549"/>
                  <a:gd name="connsiteY54" fmla="*/ 59093 h 113792"/>
                  <a:gd name="connsiteX55" fmla="*/ 4091 w 109549"/>
                  <a:gd name="connsiteY55" fmla="*/ 65003 h 113792"/>
                  <a:gd name="connsiteX56" fmla="*/ 1212 w 109549"/>
                  <a:gd name="connsiteY56" fmla="*/ 69851 h 113792"/>
                  <a:gd name="connsiteX57" fmla="*/ 758 w 109549"/>
                  <a:gd name="connsiteY57" fmla="*/ 71063 h 113792"/>
                  <a:gd name="connsiteX58" fmla="*/ 758 w 109549"/>
                  <a:gd name="connsiteY58" fmla="*/ 72124 h 113792"/>
                  <a:gd name="connsiteX59" fmla="*/ 4394 w 109549"/>
                  <a:gd name="connsiteY59" fmla="*/ 76669 h 113792"/>
                  <a:gd name="connsiteX60" fmla="*/ 3636 w 109549"/>
                  <a:gd name="connsiteY60" fmla="*/ 78033 h 113792"/>
                  <a:gd name="connsiteX61" fmla="*/ 2424 w 109549"/>
                  <a:gd name="connsiteY61" fmla="*/ 78639 h 113792"/>
                  <a:gd name="connsiteX62" fmla="*/ 1970 w 109549"/>
                  <a:gd name="connsiteY62" fmla="*/ 79700 h 113792"/>
                  <a:gd name="connsiteX63" fmla="*/ 2121 w 109549"/>
                  <a:gd name="connsiteY63" fmla="*/ 81518 h 113792"/>
                  <a:gd name="connsiteX64" fmla="*/ 1212 w 109549"/>
                  <a:gd name="connsiteY64" fmla="*/ 83791 h 113792"/>
                  <a:gd name="connsiteX65" fmla="*/ 1515 w 109549"/>
                  <a:gd name="connsiteY65" fmla="*/ 85306 h 113792"/>
                  <a:gd name="connsiteX66" fmla="*/ 1970 w 109549"/>
                  <a:gd name="connsiteY66" fmla="*/ 87276 h 113792"/>
                  <a:gd name="connsiteX67" fmla="*/ 1212 w 109549"/>
                  <a:gd name="connsiteY67" fmla="*/ 88943 h 113792"/>
                  <a:gd name="connsiteX68" fmla="*/ 606 w 109549"/>
                  <a:gd name="connsiteY68" fmla="*/ 90609 h 113792"/>
                  <a:gd name="connsiteX69" fmla="*/ 0 w 109549"/>
                  <a:gd name="connsiteY69" fmla="*/ 91367 h 113792"/>
                  <a:gd name="connsiteX70" fmla="*/ 11364 w 109549"/>
                  <a:gd name="connsiteY70" fmla="*/ 100155 h 113792"/>
                  <a:gd name="connsiteX71" fmla="*/ 16213 w 109549"/>
                  <a:gd name="connsiteY71" fmla="*/ 103337 h 113792"/>
                  <a:gd name="connsiteX72" fmla="*/ 23486 w 109549"/>
                  <a:gd name="connsiteY72" fmla="*/ 106822 h 113792"/>
                  <a:gd name="connsiteX73" fmla="*/ 29698 w 109549"/>
                  <a:gd name="connsiteY73" fmla="*/ 108489 h 113792"/>
                  <a:gd name="connsiteX74" fmla="*/ 44547 w 109549"/>
                  <a:gd name="connsiteY74" fmla="*/ 108489 h 113792"/>
                  <a:gd name="connsiteX75" fmla="*/ 48032 w 109549"/>
                  <a:gd name="connsiteY75" fmla="*/ 109247 h 113792"/>
                  <a:gd name="connsiteX76" fmla="*/ 58487 w 109549"/>
                  <a:gd name="connsiteY76" fmla="*/ 113792 h 113792"/>
                  <a:gd name="connsiteX77" fmla="*/ 58184 w 109549"/>
                  <a:gd name="connsiteY77" fmla="*/ 112428 h 113792"/>
                  <a:gd name="connsiteX78" fmla="*/ 58184 w 109549"/>
                  <a:gd name="connsiteY78" fmla="*/ 111065 h 113792"/>
                  <a:gd name="connsiteX79" fmla="*/ 59851 w 109549"/>
                  <a:gd name="connsiteY79" fmla="*/ 109095 h 113792"/>
                  <a:gd name="connsiteX80" fmla="*/ 62730 w 109549"/>
                  <a:gd name="connsiteY80" fmla="*/ 106519 h 113792"/>
                  <a:gd name="connsiteX81" fmla="*/ 64548 w 109549"/>
                  <a:gd name="connsiteY81" fmla="*/ 105155 h 113792"/>
                  <a:gd name="connsiteX82" fmla="*/ 65457 w 109549"/>
                  <a:gd name="connsiteY82" fmla="*/ 105004 h 113792"/>
                  <a:gd name="connsiteX83" fmla="*/ 66821 w 109549"/>
                  <a:gd name="connsiteY83" fmla="*/ 105155 h 113792"/>
                  <a:gd name="connsiteX84" fmla="*/ 68033 w 109549"/>
                  <a:gd name="connsiteY84" fmla="*/ 104398 h 113792"/>
                  <a:gd name="connsiteX85" fmla="*/ 68942 w 109549"/>
                  <a:gd name="connsiteY85" fmla="*/ 102580 h 113792"/>
                  <a:gd name="connsiteX86" fmla="*/ 70154 w 109549"/>
                  <a:gd name="connsiteY86" fmla="*/ 101367 h 113792"/>
                  <a:gd name="connsiteX87" fmla="*/ 72881 w 109549"/>
                  <a:gd name="connsiteY87" fmla="*/ 100307 h 113792"/>
                  <a:gd name="connsiteX88" fmla="*/ 73487 w 109549"/>
                  <a:gd name="connsiteY88" fmla="*/ 99852 h 113792"/>
                  <a:gd name="connsiteX89" fmla="*/ 73336 w 109549"/>
                  <a:gd name="connsiteY89" fmla="*/ 98792 h 113792"/>
                  <a:gd name="connsiteX90" fmla="*/ 72730 w 109549"/>
                  <a:gd name="connsiteY90" fmla="*/ 96822 h 113792"/>
                  <a:gd name="connsiteX91" fmla="*/ 72730 w 109549"/>
                  <a:gd name="connsiteY91" fmla="*/ 95610 h 113792"/>
                  <a:gd name="connsiteX92" fmla="*/ 73639 w 109549"/>
                  <a:gd name="connsiteY92" fmla="*/ 95155 h 113792"/>
                  <a:gd name="connsiteX93" fmla="*/ 74700 w 109549"/>
                  <a:gd name="connsiteY93" fmla="*/ 95004 h 113792"/>
                  <a:gd name="connsiteX94" fmla="*/ 76973 w 109549"/>
                  <a:gd name="connsiteY94" fmla="*/ 94549 h 113792"/>
                  <a:gd name="connsiteX95" fmla="*/ 78033 w 109549"/>
                  <a:gd name="connsiteY95" fmla="*/ 94700 h 113792"/>
                  <a:gd name="connsiteX96" fmla="*/ 78488 w 109549"/>
                  <a:gd name="connsiteY96" fmla="*/ 95004 h 113792"/>
                  <a:gd name="connsiteX97" fmla="*/ 79245 w 109549"/>
                  <a:gd name="connsiteY97" fmla="*/ 93640 h 113792"/>
                  <a:gd name="connsiteX98" fmla="*/ 80609 w 109549"/>
                  <a:gd name="connsiteY98" fmla="*/ 91821 h 113792"/>
                  <a:gd name="connsiteX99" fmla="*/ 83791 w 109549"/>
                  <a:gd name="connsiteY99" fmla="*/ 89700 h 113792"/>
                  <a:gd name="connsiteX100" fmla="*/ 84094 w 109549"/>
                  <a:gd name="connsiteY100" fmla="*/ 87882 h 113792"/>
                  <a:gd name="connsiteX101" fmla="*/ 83185 w 109549"/>
                  <a:gd name="connsiteY101" fmla="*/ 84549 h 113792"/>
                  <a:gd name="connsiteX102" fmla="*/ 82427 w 109549"/>
                  <a:gd name="connsiteY102" fmla="*/ 82427 h 113792"/>
                  <a:gd name="connsiteX103" fmla="*/ 82882 w 109549"/>
                  <a:gd name="connsiteY103" fmla="*/ 81518 h 113792"/>
                  <a:gd name="connsiteX104" fmla="*/ 83791 w 109549"/>
                  <a:gd name="connsiteY104" fmla="*/ 77579 h 113792"/>
                  <a:gd name="connsiteX105" fmla="*/ 84549 w 109549"/>
                  <a:gd name="connsiteY105" fmla="*/ 76669 h 113792"/>
                  <a:gd name="connsiteX106" fmla="*/ 89094 w 109549"/>
                  <a:gd name="connsiteY106" fmla="*/ 74700 h 113792"/>
                  <a:gd name="connsiteX107" fmla="*/ 89549 w 109549"/>
                  <a:gd name="connsiteY107" fmla="*/ 74548 h 113792"/>
                  <a:gd name="connsiteX108" fmla="*/ 93185 w 109549"/>
                  <a:gd name="connsiteY108" fmla="*/ 71821 h 113792"/>
                  <a:gd name="connsiteX109" fmla="*/ 97125 w 109549"/>
                  <a:gd name="connsiteY109" fmla="*/ 68639 h 113792"/>
                  <a:gd name="connsiteX110" fmla="*/ 101216 w 109549"/>
                  <a:gd name="connsiteY110" fmla="*/ 65305 h 113792"/>
                  <a:gd name="connsiteX111" fmla="*/ 105913 w 109549"/>
                  <a:gd name="connsiteY111" fmla="*/ 61517 h 113792"/>
                  <a:gd name="connsiteX112" fmla="*/ 108337 w 109549"/>
                  <a:gd name="connsiteY112" fmla="*/ 59396 h 113792"/>
                  <a:gd name="connsiteX113" fmla="*/ 109549 w 109549"/>
                  <a:gd name="connsiteY113" fmla="*/ 58487 h 11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9549" h="113792">
                    <a:moveTo>
                      <a:pt x="99549" y="52275"/>
                    </a:moveTo>
                    <a:lnTo>
                      <a:pt x="99398" y="52881"/>
                    </a:lnTo>
                    <a:lnTo>
                      <a:pt x="100155" y="53638"/>
                    </a:lnTo>
                    <a:lnTo>
                      <a:pt x="101216" y="55154"/>
                    </a:lnTo>
                    <a:lnTo>
                      <a:pt x="99246" y="57426"/>
                    </a:lnTo>
                    <a:lnTo>
                      <a:pt x="96367" y="56214"/>
                    </a:lnTo>
                    <a:lnTo>
                      <a:pt x="93943" y="54699"/>
                    </a:lnTo>
                    <a:lnTo>
                      <a:pt x="92882" y="54548"/>
                    </a:lnTo>
                    <a:lnTo>
                      <a:pt x="91367" y="53941"/>
                    </a:lnTo>
                    <a:lnTo>
                      <a:pt x="90155" y="53941"/>
                    </a:lnTo>
                    <a:lnTo>
                      <a:pt x="85306" y="53638"/>
                    </a:lnTo>
                    <a:lnTo>
                      <a:pt x="82124" y="53941"/>
                    </a:lnTo>
                    <a:lnTo>
                      <a:pt x="81973" y="53790"/>
                    </a:lnTo>
                    <a:lnTo>
                      <a:pt x="82276" y="46972"/>
                    </a:lnTo>
                    <a:lnTo>
                      <a:pt x="82579" y="36213"/>
                    </a:lnTo>
                    <a:lnTo>
                      <a:pt x="82882" y="28334"/>
                    </a:lnTo>
                    <a:lnTo>
                      <a:pt x="83185" y="20607"/>
                    </a:lnTo>
                    <a:lnTo>
                      <a:pt x="83488" y="14849"/>
                    </a:lnTo>
                    <a:lnTo>
                      <a:pt x="83791" y="6970"/>
                    </a:lnTo>
                    <a:lnTo>
                      <a:pt x="84094" y="152"/>
                    </a:lnTo>
                    <a:lnTo>
                      <a:pt x="78336" y="152"/>
                    </a:lnTo>
                    <a:lnTo>
                      <a:pt x="68487" y="152"/>
                    </a:lnTo>
                    <a:lnTo>
                      <a:pt x="56063" y="152"/>
                    </a:lnTo>
                    <a:lnTo>
                      <a:pt x="44093" y="152"/>
                    </a:lnTo>
                    <a:lnTo>
                      <a:pt x="34092" y="0"/>
                    </a:lnTo>
                    <a:lnTo>
                      <a:pt x="33941" y="5606"/>
                    </a:lnTo>
                    <a:lnTo>
                      <a:pt x="33941" y="10455"/>
                    </a:lnTo>
                    <a:lnTo>
                      <a:pt x="33941" y="15910"/>
                    </a:lnTo>
                    <a:lnTo>
                      <a:pt x="28334" y="15910"/>
                    </a:lnTo>
                    <a:lnTo>
                      <a:pt x="22576" y="15758"/>
                    </a:lnTo>
                    <a:lnTo>
                      <a:pt x="23031" y="16364"/>
                    </a:lnTo>
                    <a:lnTo>
                      <a:pt x="25001" y="17425"/>
                    </a:lnTo>
                    <a:lnTo>
                      <a:pt x="27577" y="19849"/>
                    </a:lnTo>
                    <a:lnTo>
                      <a:pt x="30607" y="23637"/>
                    </a:lnTo>
                    <a:lnTo>
                      <a:pt x="34395" y="26668"/>
                    </a:lnTo>
                    <a:lnTo>
                      <a:pt x="38789" y="28941"/>
                    </a:lnTo>
                    <a:lnTo>
                      <a:pt x="41668" y="31062"/>
                    </a:lnTo>
                    <a:lnTo>
                      <a:pt x="43032" y="33335"/>
                    </a:lnTo>
                    <a:lnTo>
                      <a:pt x="43789" y="35153"/>
                    </a:lnTo>
                    <a:lnTo>
                      <a:pt x="43789" y="36668"/>
                    </a:lnTo>
                    <a:lnTo>
                      <a:pt x="45305" y="37880"/>
                    </a:lnTo>
                    <a:lnTo>
                      <a:pt x="48183" y="38638"/>
                    </a:lnTo>
                    <a:lnTo>
                      <a:pt x="49699" y="40001"/>
                    </a:lnTo>
                    <a:lnTo>
                      <a:pt x="49699" y="41062"/>
                    </a:lnTo>
                    <a:lnTo>
                      <a:pt x="48790" y="43638"/>
                    </a:lnTo>
                    <a:lnTo>
                      <a:pt x="48487" y="46365"/>
                    </a:lnTo>
                    <a:lnTo>
                      <a:pt x="48790" y="48790"/>
                    </a:lnTo>
                    <a:lnTo>
                      <a:pt x="46820" y="48941"/>
                    </a:lnTo>
                    <a:lnTo>
                      <a:pt x="41820" y="48941"/>
                    </a:lnTo>
                    <a:lnTo>
                      <a:pt x="34244" y="48941"/>
                    </a:lnTo>
                    <a:lnTo>
                      <a:pt x="27274" y="48941"/>
                    </a:lnTo>
                    <a:lnTo>
                      <a:pt x="21819" y="48941"/>
                    </a:lnTo>
                    <a:lnTo>
                      <a:pt x="13637" y="48941"/>
                    </a:lnTo>
                    <a:lnTo>
                      <a:pt x="11364" y="52729"/>
                    </a:lnTo>
                    <a:lnTo>
                      <a:pt x="7576" y="59093"/>
                    </a:lnTo>
                    <a:lnTo>
                      <a:pt x="4091" y="65003"/>
                    </a:lnTo>
                    <a:lnTo>
                      <a:pt x="1212" y="69851"/>
                    </a:lnTo>
                    <a:lnTo>
                      <a:pt x="758" y="71063"/>
                    </a:lnTo>
                    <a:lnTo>
                      <a:pt x="758" y="72124"/>
                    </a:lnTo>
                    <a:lnTo>
                      <a:pt x="4394" y="76669"/>
                    </a:lnTo>
                    <a:lnTo>
                      <a:pt x="3636" y="78033"/>
                    </a:lnTo>
                    <a:lnTo>
                      <a:pt x="2424" y="78639"/>
                    </a:lnTo>
                    <a:lnTo>
                      <a:pt x="1970" y="79700"/>
                    </a:lnTo>
                    <a:lnTo>
                      <a:pt x="2121" y="81518"/>
                    </a:lnTo>
                    <a:lnTo>
                      <a:pt x="1212" y="83791"/>
                    </a:lnTo>
                    <a:lnTo>
                      <a:pt x="1515" y="85306"/>
                    </a:lnTo>
                    <a:lnTo>
                      <a:pt x="1970" y="87276"/>
                    </a:lnTo>
                    <a:lnTo>
                      <a:pt x="1212" y="88943"/>
                    </a:lnTo>
                    <a:lnTo>
                      <a:pt x="606" y="90609"/>
                    </a:lnTo>
                    <a:lnTo>
                      <a:pt x="0" y="91367"/>
                    </a:lnTo>
                    <a:lnTo>
                      <a:pt x="11364" y="100155"/>
                    </a:lnTo>
                    <a:lnTo>
                      <a:pt x="16213" y="103337"/>
                    </a:lnTo>
                    <a:lnTo>
                      <a:pt x="23486" y="106822"/>
                    </a:lnTo>
                    <a:lnTo>
                      <a:pt x="29698" y="108489"/>
                    </a:lnTo>
                    <a:lnTo>
                      <a:pt x="44547" y="108489"/>
                    </a:lnTo>
                    <a:lnTo>
                      <a:pt x="48032" y="109247"/>
                    </a:lnTo>
                    <a:lnTo>
                      <a:pt x="58487" y="113792"/>
                    </a:lnTo>
                    <a:lnTo>
                      <a:pt x="58184" y="112428"/>
                    </a:lnTo>
                    <a:lnTo>
                      <a:pt x="58184" y="111065"/>
                    </a:lnTo>
                    <a:lnTo>
                      <a:pt x="59851" y="109095"/>
                    </a:lnTo>
                    <a:lnTo>
                      <a:pt x="62730" y="106519"/>
                    </a:lnTo>
                    <a:lnTo>
                      <a:pt x="64548" y="105155"/>
                    </a:lnTo>
                    <a:lnTo>
                      <a:pt x="65457" y="105004"/>
                    </a:lnTo>
                    <a:lnTo>
                      <a:pt x="66821" y="105155"/>
                    </a:lnTo>
                    <a:lnTo>
                      <a:pt x="68033" y="104398"/>
                    </a:lnTo>
                    <a:lnTo>
                      <a:pt x="68942" y="102580"/>
                    </a:lnTo>
                    <a:lnTo>
                      <a:pt x="70154" y="101367"/>
                    </a:lnTo>
                    <a:lnTo>
                      <a:pt x="72881" y="100307"/>
                    </a:lnTo>
                    <a:lnTo>
                      <a:pt x="73487" y="99852"/>
                    </a:lnTo>
                    <a:lnTo>
                      <a:pt x="73336" y="98792"/>
                    </a:lnTo>
                    <a:lnTo>
                      <a:pt x="72730" y="96822"/>
                    </a:lnTo>
                    <a:lnTo>
                      <a:pt x="72730" y="95610"/>
                    </a:lnTo>
                    <a:lnTo>
                      <a:pt x="73639" y="95155"/>
                    </a:lnTo>
                    <a:lnTo>
                      <a:pt x="74700" y="95004"/>
                    </a:lnTo>
                    <a:lnTo>
                      <a:pt x="76973" y="94549"/>
                    </a:lnTo>
                    <a:lnTo>
                      <a:pt x="78033" y="94700"/>
                    </a:lnTo>
                    <a:lnTo>
                      <a:pt x="78488" y="95004"/>
                    </a:lnTo>
                    <a:lnTo>
                      <a:pt x="79245" y="93640"/>
                    </a:lnTo>
                    <a:lnTo>
                      <a:pt x="80609" y="91821"/>
                    </a:lnTo>
                    <a:lnTo>
                      <a:pt x="83791" y="89700"/>
                    </a:lnTo>
                    <a:lnTo>
                      <a:pt x="84094" y="87882"/>
                    </a:lnTo>
                    <a:lnTo>
                      <a:pt x="83185" y="84549"/>
                    </a:lnTo>
                    <a:lnTo>
                      <a:pt x="82427" y="82427"/>
                    </a:lnTo>
                    <a:lnTo>
                      <a:pt x="82882" y="81518"/>
                    </a:lnTo>
                    <a:lnTo>
                      <a:pt x="83791" y="77579"/>
                    </a:lnTo>
                    <a:lnTo>
                      <a:pt x="84549" y="76669"/>
                    </a:lnTo>
                    <a:lnTo>
                      <a:pt x="89094" y="74700"/>
                    </a:lnTo>
                    <a:lnTo>
                      <a:pt x="89549" y="74548"/>
                    </a:lnTo>
                    <a:lnTo>
                      <a:pt x="93185" y="71821"/>
                    </a:lnTo>
                    <a:lnTo>
                      <a:pt x="97125" y="68639"/>
                    </a:lnTo>
                    <a:lnTo>
                      <a:pt x="101216" y="65305"/>
                    </a:lnTo>
                    <a:lnTo>
                      <a:pt x="105913" y="61517"/>
                    </a:lnTo>
                    <a:lnTo>
                      <a:pt x="108337" y="59396"/>
                    </a:lnTo>
                    <a:lnTo>
                      <a:pt x="109549" y="5848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3" name="Freeform: Shape 3272">
                <a:extLst>
                  <a:ext uri="{FF2B5EF4-FFF2-40B4-BE49-F238E27FC236}">
                    <a16:creationId xmlns:a16="http://schemas.microsoft.com/office/drawing/2014/main" id="{79D1E57C-743A-4CE9-9B42-14ED3F93FA08}"/>
                  </a:ext>
                </a:extLst>
              </p:cNvPr>
              <p:cNvSpPr/>
              <p:nvPr/>
            </p:nvSpPr>
            <p:spPr>
              <a:xfrm>
                <a:off x="4737010" y="6195992"/>
                <a:ext cx="321527" cy="174399"/>
              </a:xfrm>
              <a:custGeom>
                <a:avLst/>
                <a:gdLst>
                  <a:gd name="connsiteX0" fmla="*/ 57275 w 321527"/>
                  <a:gd name="connsiteY0" fmla="*/ 24546 h 174399"/>
                  <a:gd name="connsiteX1" fmla="*/ 58032 w 321527"/>
                  <a:gd name="connsiteY1" fmla="*/ 21364 h 174399"/>
                  <a:gd name="connsiteX2" fmla="*/ 56063 w 321527"/>
                  <a:gd name="connsiteY2" fmla="*/ 21819 h 174399"/>
                  <a:gd name="connsiteX3" fmla="*/ 54244 w 321527"/>
                  <a:gd name="connsiteY3" fmla="*/ 21819 h 174399"/>
                  <a:gd name="connsiteX4" fmla="*/ 53184 w 321527"/>
                  <a:gd name="connsiteY4" fmla="*/ 21364 h 174399"/>
                  <a:gd name="connsiteX5" fmla="*/ 51972 w 321527"/>
                  <a:gd name="connsiteY5" fmla="*/ 17728 h 174399"/>
                  <a:gd name="connsiteX6" fmla="*/ 50456 w 321527"/>
                  <a:gd name="connsiteY6" fmla="*/ 14849 h 174399"/>
                  <a:gd name="connsiteX7" fmla="*/ 48790 w 321527"/>
                  <a:gd name="connsiteY7" fmla="*/ 14091 h 174399"/>
                  <a:gd name="connsiteX8" fmla="*/ 47426 w 321527"/>
                  <a:gd name="connsiteY8" fmla="*/ 11364 h 174399"/>
                  <a:gd name="connsiteX9" fmla="*/ 46365 w 321527"/>
                  <a:gd name="connsiteY9" fmla="*/ 10000 h 174399"/>
                  <a:gd name="connsiteX10" fmla="*/ 44699 w 321527"/>
                  <a:gd name="connsiteY10" fmla="*/ 11061 h 174399"/>
                  <a:gd name="connsiteX11" fmla="*/ 44093 w 321527"/>
                  <a:gd name="connsiteY11" fmla="*/ 11970 h 174399"/>
                  <a:gd name="connsiteX12" fmla="*/ 42880 w 321527"/>
                  <a:gd name="connsiteY12" fmla="*/ 12121 h 174399"/>
                  <a:gd name="connsiteX13" fmla="*/ 40305 w 321527"/>
                  <a:gd name="connsiteY13" fmla="*/ 9849 h 174399"/>
                  <a:gd name="connsiteX14" fmla="*/ 37426 w 321527"/>
                  <a:gd name="connsiteY14" fmla="*/ 10455 h 174399"/>
                  <a:gd name="connsiteX15" fmla="*/ 38486 w 321527"/>
                  <a:gd name="connsiteY15" fmla="*/ 7727 h 174399"/>
                  <a:gd name="connsiteX16" fmla="*/ 35910 w 321527"/>
                  <a:gd name="connsiteY16" fmla="*/ 4697 h 174399"/>
                  <a:gd name="connsiteX17" fmla="*/ 34395 w 321527"/>
                  <a:gd name="connsiteY17" fmla="*/ 4697 h 174399"/>
                  <a:gd name="connsiteX18" fmla="*/ 33183 w 321527"/>
                  <a:gd name="connsiteY18" fmla="*/ 4394 h 174399"/>
                  <a:gd name="connsiteX19" fmla="*/ 31971 w 321527"/>
                  <a:gd name="connsiteY19" fmla="*/ 3788 h 174399"/>
                  <a:gd name="connsiteX20" fmla="*/ 29850 w 321527"/>
                  <a:gd name="connsiteY20" fmla="*/ 3636 h 174399"/>
                  <a:gd name="connsiteX21" fmla="*/ 27728 w 321527"/>
                  <a:gd name="connsiteY21" fmla="*/ 4848 h 174399"/>
                  <a:gd name="connsiteX22" fmla="*/ 25001 w 321527"/>
                  <a:gd name="connsiteY22" fmla="*/ 3030 h 174399"/>
                  <a:gd name="connsiteX23" fmla="*/ 21516 w 321527"/>
                  <a:gd name="connsiteY23" fmla="*/ 2879 h 174399"/>
                  <a:gd name="connsiteX24" fmla="*/ 17728 w 321527"/>
                  <a:gd name="connsiteY24" fmla="*/ 909 h 174399"/>
                  <a:gd name="connsiteX25" fmla="*/ 17425 w 321527"/>
                  <a:gd name="connsiteY25" fmla="*/ 0 h 174399"/>
                  <a:gd name="connsiteX26" fmla="*/ 13182 w 321527"/>
                  <a:gd name="connsiteY26" fmla="*/ 303 h 174399"/>
                  <a:gd name="connsiteX27" fmla="*/ 1970 w 321527"/>
                  <a:gd name="connsiteY27" fmla="*/ 303 h 174399"/>
                  <a:gd name="connsiteX28" fmla="*/ 0 w 321527"/>
                  <a:gd name="connsiteY28" fmla="*/ 757 h 174399"/>
                  <a:gd name="connsiteX29" fmla="*/ 2879 w 321527"/>
                  <a:gd name="connsiteY29" fmla="*/ 1515 h 174399"/>
                  <a:gd name="connsiteX30" fmla="*/ 10910 w 321527"/>
                  <a:gd name="connsiteY30" fmla="*/ 1969 h 174399"/>
                  <a:gd name="connsiteX31" fmla="*/ 8940 w 321527"/>
                  <a:gd name="connsiteY31" fmla="*/ 3333 h 174399"/>
                  <a:gd name="connsiteX32" fmla="*/ 8788 w 321527"/>
                  <a:gd name="connsiteY32" fmla="*/ 5455 h 174399"/>
                  <a:gd name="connsiteX33" fmla="*/ 10455 w 321527"/>
                  <a:gd name="connsiteY33" fmla="*/ 6667 h 174399"/>
                  <a:gd name="connsiteX34" fmla="*/ 14092 w 321527"/>
                  <a:gd name="connsiteY34" fmla="*/ 6212 h 174399"/>
                  <a:gd name="connsiteX35" fmla="*/ 23334 w 321527"/>
                  <a:gd name="connsiteY35" fmla="*/ 10606 h 174399"/>
                  <a:gd name="connsiteX36" fmla="*/ 25456 w 321527"/>
                  <a:gd name="connsiteY36" fmla="*/ 12121 h 174399"/>
                  <a:gd name="connsiteX37" fmla="*/ 27577 w 321527"/>
                  <a:gd name="connsiteY37" fmla="*/ 13182 h 174399"/>
                  <a:gd name="connsiteX38" fmla="*/ 30910 w 321527"/>
                  <a:gd name="connsiteY38" fmla="*/ 13182 h 174399"/>
                  <a:gd name="connsiteX39" fmla="*/ 31819 w 321527"/>
                  <a:gd name="connsiteY39" fmla="*/ 14243 h 174399"/>
                  <a:gd name="connsiteX40" fmla="*/ 32577 w 321527"/>
                  <a:gd name="connsiteY40" fmla="*/ 15758 h 174399"/>
                  <a:gd name="connsiteX41" fmla="*/ 35001 w 321527"/>
                  <a:gd name="connsiteY41" fmla="*/ 18182 h 174399"/>
                  <a:gd name="connsiteX42" fmla="*/ 37880 w 321527"/>
                  <a:gd name="connsiteY42" fmla="*/ 19243 h 174399"/>
                  <a:gd name="connsiteX43" fmla="*/ 41214 w 321527"/>
                  <a:gd name="connsiteY43" fmla="*/ 19849 h 174399"/>
                  <a:gd name="connsiteX44" fmla="*/ 42123 w 321527"/>
                  <a:gd name="connsiteY44" fmla="*/ 20758 h 174399"/>
                  <a:gd name="connsiteX45" fmla="*/ 42880 w 321527"/>
                  <a:gd name="connsiteY45" fmla="*/ 22122 h 174399"/>
                  <a:gd name="connsiteX46" fmla="*/ 46517 w 321527"/>
                  <a:gd name="connsiteY46" fmla="*/ 26819 h 174399"/>
                  <a:gd name="connsiteX47" fmla="*/ 48184 w 321527"/>
                  <a:gd name="connsiteY47" fmla="*/ 30152 h 174399"/>
                  <a:gd name="connsiteX48" fmla="*/ 51669 w 321527"/>
                  <a:gd name="connsiteY48" fmla="*/ 32880 h 174399"/>
                  <a:gd name="connsiteX49" fmla="*/ 52729 w 321527"/>
                  <a:gd name="connsiteY49" fmla="*/ 33334 h 174399"/>
                  <a:gd name="connsiteX50" fmla="*/ 56669 w 321527"/>
                  <a:gd name="connsiteY50" fmla="*/ 32122 h 174399"/>
                  <a:gd name="connsiteX51" fmla="*/ 58638 w 321527"/>
                  <a:gd name="connsiteY51" fmla="*/ 30607 h 174399"/>
                  <a:gd name="connsiteX52" fmla="*/ 60457 w 321527"/>
                  <a:gd name="connsiteY52" fmla="*/ 29546 h 174399"/>
                  <a:gd name="connsiteX53" fmla="*/ 57275 w 321527"/>
                  <a:gd name="connsiteY53" fmla="*/ 27576 h 174399"/>
                  <a:gd name="connsiteX54" fmla="*/ 57275 w 321527"/>
                  <a:gd name="connsiteY54" fmla="*/ 24546 h 174399"/>
                  <a:gd name="connsiteX55" fmla="*/ 321527 w 321527"/>
                  <a:gd name="connsiteY55" fmla="*/ 172279 h 174399"/>
                  <a:gd name="connsiteX56" fmla="*/ 321073 w 321527"/>
                  <a:gd name="connsiteY56" fmla="*/ 170915 h 174399"/>
                  <a:gd name="connsiteX57" fmla="*/ 320466 w 321527"/>
                  <a:gd name="connsiteY57" fmla="*/ 170157 h 174399"/>
                  <a:gd name="connsiteX58" fmla="*/ 317739 w 321527"/>
                  <a:gd name="connsiteY58" fmla="*/ 170157 h 174399"/>
                  <a:gd name="connsiteX59" fmla="*/ 316375 w 321527"/>
                  <a:gd name="connsiteY59" fmla="*/ 171370 h 174399"/>
                  <a:gd name="connsiteX60" fmla="*/ 317285 w 321527"/>
                  <a:gd name="connsiteY60" fmla="*/ 172279 h 174399"/>
                  <a:gd name="connsiteX61" fmla="*/ 321527 w 321527"/>
                  <a:gd name="connsiteY61" fmla="*/ 174400 h 174399"/>
                  <a:gd name="connsiteX62" fmla="*/ 321527 w 321527"/>
                  <a:gd name="connsiteY62" fmla="*/ 172279 h 17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21527" h="174399">
                    <a:moveTo>
                      <a:pt x="57275" y="24546"/>
                    </a:moveTo>
                    <a:lnTo>
                      <a:pt x="58032" y="21364"/>
                    </a:lnTo>
                    <a:lnTo>
                      <a:pt x="56063" y="21819"/>
                    </a:lnTo>
                    <a:lnTo>
                      <a:pt x="54244" y="21819"/>
                    </a:lnTo>
                    <a:lnTo>
                      <a:pt x="53184" y="21364"/>
                    </a:lnTo>
                    <a:lnTo>
                      <a:pt x="51972" y="17728"/>
                    </a:lnTo>
                    <a:lnTo>
                      <a:pt x="50456" y="14849"/>
                    </a:lnTo>
                    <a:lnTo>
                      <a:pt x="48790" y="14091"/>
                    </a:lnTo>
                    <a:lnTo>
                      <a:pt x="47426" y="11364"/>
                    </a:lnTo>
                    <a:lnTo>
                      <a:pt x="46365" y="10000"/>
                    </a:lnTo>
                    <a:lnTo>
                      <a:pt x="44699" y="11061"/>
                    </a:lnTo>
                    <a:lnTo>
                      <a:pt x="44093" y="11970"/>
                    </a:lnTo>
                    <a:lnTo>
                      <a:pt x="42880" y="12121"/>
                    </a:lnTo>
                    <a:lnTo>
                      <a:pt x="40305" y="9849"/>
                    </a:lnTo>
                    <a:lnTo>
                      <a:pt x="37426" y="10455"/>
                    </a:lnTo>
                    <a:lnTo>
                      <a:pt x="38486" y="7727"/>
                    </a:lnTo>
                    <a:lnTo>
                      <a:pt x="35910" y="4697"/>
                    </a:lnTo>
                    <a:lnTo>
                      <a:pt x="34395" y="4697"/>
                    </a:lnTo>
                    <a:lnTo>
                      <a:pt x="33183" y="4394"/>
                    </a:lnTo>
                    <a:lnTo>
                      <a:pt x="31971" y="3788"/>
                    </a:lnTo>
                    <a:lnTo>
                      <a:pt x="29850" y="3636"/>
                    </a:lnTo>
                    <a:lnTo>
                      <a:pt x="27728" y="4848"/>
                    </a:lnTo>
                    <a:lnTo>
                      <a:pt x="25001" y="3030"/>
                    </a:lnTo>
                    <a:lnTo>
                      <a:pt x="21516" y="2879"/>
                    </a:lnTo>
                    <a:lnTo>
                      <a:pt x="17728" y="909"/>
                    </a:lnTo>
                    <a:lnTo>
                      <a:pt x="17425" y="0"/>
                    </a:lnTo>
                    <a:lnTo>
                      <a:pt x="13182" y="303"/>
                    </a:lnTo>
                    <a:lnTo>
                      <a:pt x="1970" y="303"/>
                    </a:lnTo>
                    <a:lnTo>
                      <a:pt x="0" y="757"/>
                    </a:lnTo>
                    <a:lnTo>
                      <a:pt x="2879" y="1515"/>
                    </a:lnTo>
                    <a:lnTo>
                      <a:pt x="10910" y="1969"/>
                    </a:lnTo>
                    <a:lnTo>
                      <a:pt x="8940" y="3333"/>
                    </a:lnTo>
                    <a:lnTo>
                      <a:pt x="8788" y="5455"/>
                    </a:lnTo>
                    <a:lnTo>
                      <a:pt x="10455" y="6667"/>
                    </a:lnTo>
                    <a:lnTo>
                      <a:pt x="14092" y="6212"/>
                    </a:lnTo>
                    <a:lnTo>
                      <a:pt x="23334" y="10606"/>
                    </a:lnTo>
                    <a:lnTo>
                      <a:pt x="25456" y="12121"/>
                    </a:lnTo>
                    <a:lnTo>
                      <a:pt x="27577" y="13182"/>
                    </a:lnTo>
                    <a:lnTo>
                      <a:pt x="30910" y="13182"/>
                    </a:lnTo>
                    <a:lnTo>
                      <a:pt x="31819" y="14243"/>
                    </a:lnTo>
                    <a:lnTo>
                      <a:pt x="32577" y="15758"/>
                    </a:lnTo>
                    <a:lnTo>
                      <a:pt x="35001" y="18182"/>
                    </a:lnTo>
                    <a:lnTo>
                      <a:pt x="37880" y="19243"/>
                    </a:lnTo>
                    <a:lnTo>
                      <a:pt x="41214" y="19849"/>
                    </a:lnTo>
                    <a:lnTo>
                      <a:pt x="42123" y="20758"/>
                    </a:lnTo>
                    <a:lnTo>
                      <a:pt x="42880" y="22122"/>
                    </a:lnTo>
                    <a:lnTo>
                      <a:pt x="46517" y="26819"/>
                    </a:lnTo>
                    <a:lnTo>
                      <a:pt x="48184" y="30152"/>
                    </a:lnTo>
                    <a:lnTo>
                      <a:pt x="51669" y="32880"/>
                    </a:lnTo>
                    <a:lnTo>
                      <a:pt x="52729" y="33334"/>
                    </a:lnTo>
                    <a:lnTo>
                      <a:pt x="56669" y="32122"/>
                    </a:lnTo>
                    <a:lnTo>
                      <a:pt x="58638" y="30607"/>
                    </a:lnTo>
                    <a:lnTo>
                      <a:pt x="60457" y="29546"/>
                    </a:lnTo>
                    <a:lnTo>
                      <a:pt x="57275" y="27576"/>
                    </a:lnTo>
                    <a:lnTo>
                      <a:pt x="57275" y="24546"/>
                    </a:lnTo>
                    <a:close/>
                    <a:moveTo>
                      <a:pt x="321527" y="172279"/>
                    </a:moveTo>
                    <a:lnTo>
                      <a:pt x="321073" y="170915"/>
                    </a:lnTo>
                    <a:lnTo>
                      <a:pt x="320466" y="170157"/>
                    </a:lnTo>
                    <a:lnTo>
                      <a:pt x="317739" y="170157"/>
                    </a:lnTo>
                    <a:lnTo>
                      <a:pt x="316375" y="171370"/>
                    </a:lnTo>
                    <a:lnTo>
                      <a:pt x="317285" y="172279"/>
                    </a:lnTo>
                    <a:lnTo>
                      <a:pt x="321527" y="174400"/>
                    </a:lnTo>
                    <a:lnTo>
                      <a:pt x="321527" y="1722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4" name="Freeform: Shape 3273">
                <a:extLst>
                  <a:ext uri="{FF2B5EF4-FFF2-40B4-BE49-F238E27FC236}">
                    <a16:creationId xmlns:a16="http://schemas.microsoft.com/office/drawing/2014/main" id="{478E743D-99EA-4D34-8781-0D76E26C6CE5}"/>
                  </a:ext>
                </a:extLst>
              </p:cNvPr>
              <p:cNvSpPr/>
              <p:nvPr/>
            </p:nvSpPr>
            <p:spPr>
              <a:xfrm>
                <a:off x="6314644" y="3355585"/>
                <a:ext cx="234857" cy="215613"/>
              </a:xfrm>
              <a:custGeom>
                <a:avLst/>
                <a:gdLst>
                  <a:gd name="connsiteX0" fmla="*/ 155158 w 234857"/>
                  <a:gd name="connsiteY0" fmla="*/ 136217 h 215613"/>
                  <a:gd name="connsiteX1" fmla="*/ 155006 w 234857"/>
                  <a:gd name="connsiteY1" fmla="*/ 138641 h 215613"/>
                  <a:gd name="connsiteX2" fmla="*/ 157582 w 234857"/>
                  <a:gd name="connsiteY2" fmla="*/ 138490 h 215613"/>
                  <a:gd name="connsiteX3" fmla="*/ 159097 w 234857"/>
                  <a:gd name="connsiteY3" fmla="*/ 137581 h 215613"/>
                  <a:gd name="connsiteX4" fmla="*/ 159248 w 234857"/>
                  <a:gd name="connsiteY4" fmla="*/ 136823 h 215613"/>
                  <a:gd name="connsiteX5" fmla="*/ 156067 w 234857"/>
                  <a:gd name="connsiteY5" fmla="*/ 135611 h 215613"/>
                  <a:gd name="connsiteX6" fmla="*/ 155158 w 234857"/>
                  <a:gd name="connsiteY6" fmla="*/ 136217 h 215613"/>
                  <a:gd name="connsiteX7" fmla="*/ 168340 w 234857"/>
                  <a:gd name="connsiteY7" fmla="*/ 157733 h 215613"/>
                  <a:gd name="connsiteX8" fmla="*/ 166825 w 234857"/>
                  <a:gd name="connsiteY8" fmla="*/ 158339 h 215613"/>
                  <a:gd name="connsiteX9" fmla="*/ 167582 w 234857"/>
                  <a:gd name="connsiteY9" fmla="*/ 158642 h 215613"/>
                  <a:gd name="connsiteX10" fmla="*/ 170006 w 234857"/>
                  <a:gd name="connsiteY10" fmla="*/ 158339 h 215613"/>
                  <a:gd name="connsiteX11" fmla="*/ 173491 w 234857"/>
                  <a:gd name="connsiteY11" fmla="*/ 155612 h 215613"/>
                  <a:gd name="connsiteX12" fmla="*/ 175613 w 234857"/>
                  <a:gd name="connsiteY12" fmla="*/ 154854 h 215613"/>
                  <a:gd name="connsiteX13" fmla="*/ 173794 w 234857"/>
                  <a:gd name="connsiteY13" fmla="*/ 153794 h 215613"/>
                  <a:gd name="connsiteX14" fmla="*/ 172128 w 234857"/>
                  <a:gd name="connsiteY14" fmla="*/ 155460 h 215613"/>
                  <a:gd name="connsiteX15" fmla="*/ 169703 w 234857"/>
                  <a:gd name="connsiteY15" fmla="*/ 156672 h 215613"/>
                  <a:gd name="connsiteX16" fmla="*/ 169249 w 234857"/>
                  <a:gd name="connsiteY16" fmla="*/ 157430 h 215613"/>
                  <a:gd name="connsiteX17" fmla="*/ 168340 w 234857"/>
                  <a:gd name="connsiteY17" fmla="*/ 157733 h 215613"/>
                  <a:gd name="connsiteX18" fmla="*/ 146521 w 234857"/>
                  <a:gd name="connsiteY18" fmla="*/ 130308 h 215613"/>
                  <a:gd name="connsiteX19" fmla="*/ 147127 w 234857"/>
                  <a:gd name="connsiteY19" fmla="*/ 131217 h 215613"/>
                  <a:gd name="connsiteX20" fmla="*/ 148036 w 234857"/>
                  <a:gd name="connsiteY20" fmla="*/ 132278 h 215613"/>
                  <a:gd name="connsiteX21" fmla="*/ 150915 w 234857"/>
                  <a:gd name="connsiteY21" fmla="*/ 134399 h 215613"/>
                  <a:gd name="connsiteX22" fmla="*/ 152582 w 234857"/>
                  <a:gd name="connsiteY22" fmla="*/ 134702 h 215613"/>
                  <a:gd name="connsiteX23" fmla="*/ 153642 w 234857"/>
                  <a:gd name="connsiteY23" fmla="*/ 132732 h 215613"/>
                  <a:gd name="connsiteX24" fmla="*/ 152884 w 234857"/>
                  <a:gd name="connsiteY24" fmla="*/ 131823 h 215613"/>
                  <a:gd name="connsiteX25" fmla="*/ 149248 w 234857"/>
                  <a:gd name="connsiteY25" fmla="*/ 131217 h 215613"/>
                  <a:gd name="connsiteX26" fmla="*/ 147884 w 234857"/>
                  <a:gd name="connsiteY26" fmla="*/ 130156 h 215613"/>
                  <a:gd name="connsiteX27" fmla="*/ 146521 w 234857"/>
                  <a:gd name="connsiteY27" fmla="*/ 130308 h 215613"/>
                  <a:gd name="connsiteX28" fmla="*/ 156067 w 234857"/>
                  <a:gd name="connsiteY28" fmla="*/ 56820 h 215613"/>
                  <a:gd name="connsiteX29" fmla="*/ 154400 w 234857"/>
                  <a:gd name="connsiteY29" fmla="*/ 57729 h 215613"/>
                  <a:gd name="connsiteX30" fmla="*/ 153036 w 234857"/>
                  <a:gd name="connsiteY30" fmla="*/ 56214 h 215613"/>
                  <a:gd name="connsiteX31" fmla="*/ 148187 w 234857"/>
                  <a:gd name="connsiteY31" fmla="*/ 56366 h 215613"/>
                  <a:gd name="connsiteX32" fmla="*/ 148036 w 234857"/>
                  <a:gd name="connsiteY32" fmla="*/ 57123 h 215613"/>
                  <a:gd name="connsiteX33" fmla="*/ 148339 w 234857"/>
                  <a:gd name="connsiteY33" fmla="*/ 59245 h 215613"/>
                  <a:gd name="connsiteX34" fmla="*/ 148187 w 234857"/>
                  <a:gd name="connsiteY34" fmla="*/ 61063 h 215613"/>
                  <a:gd name="connsiteX35" fmla="*/ 150005 w 234857"/>
                  <a:gd name="connsiteY35" fmla="*/ 61972 h 215613"/>
                  <a:gd name="connsiteX36" fmla="*/ 151672 w 234857"/>
                  <a:gd name="connsiteY36" fmla="*/ 61821 h 215613"/>
                  <a:gd name="connsiteX37" fmla="*/ 152127 w 234857"/>
                  <a:gd name="connsiteY37" fmla="*/ 61214 h 215613"/>
                  <a:gd name="connsiteX38" fmla="*/ 152733 w 234857"/>
                  <a:gd name="connsiteY38" fmla="*/ 59851 h 215613"/>
                  <a:gd name="connsiteX39" fmla="*/ 153491 w 234857"/>
                  <a:gd name="connsiteY39" fmla="*/ 59851 h 215613"/>
                  <a:gd name="connsiteX40" fmla="*/ 153491 w 234857"/>
                  <a:gd name="connsiteY40" fmla="*/ 61063 h 215613"/>
                  <a:gd name="connsiteX41" fmla="*/ 153793 w 234857"/>
                  <a:gd name="connsiteY41" fmla="*/ 62123 h 215613"/>
                  <a:gd name="connsiteX42" fmla="*/ 154703 w 234857"/>
                  <a:gd name="connsiteY42" fmla="*/ 62730 h 215613"/>
                  <a:gd name="connsiteX43" fmla="*/ 156370 w 234857"/>
                  <a:gd name="connsiteY43" fmla="*/ 62730 h 215613"/>
                  <a:gd name="connsiteX44" fmla="*/ 156824 w 234857"/>
                  <a:gd name="connsiteY44" fmla="*/ 60002 h 215613"/>
                  <a:gd name="connsiteX45" fmla="*/ 157582 w 234857"/>
                  <a:gd name="connsiteY45" fmla="*/ 58184 h 215613"/>
                  <a:gd name="connsiteX46" fmla="*/ 158642 w 234857"/>
                  <a:gd name="connsiteY46" fmla="*/ 57123 h 215613"/>
                  <a:gd name="connsiteX47" fmla="*/ 158946 w 234857"/>
                  <a:gd name="connsiteY47" fmla="*/ 55457 h 215613"/>
                  <a:gd name="connsiteX48" fmla="*/ 156824 w 234857"/>
                  <a:gd name="connsiteY48" fmla="*/ 56063 h 215613"/>
                  <a:gd name="connsiteX49" fmla="*/ 156067 w 234857"/>
                  <a:gd name="connsiteY49" fmla="*/ 56820 h 215613"/>
                  <a:gd name="connsiteX50" fmla="*/ 151975 w 234857"/>
                  <a:gd name="connsiteY50" fmla="*/ 151975 h 215613"/>
                  <a:gd name="connsiteX51" fmla="*/ 154097 w 234857"/>
                  <a:gd name="connsiteY51" fmla="*/ 149551 h 215613"/>
                  <a:gd name="connsiteX52" fmla="*/ 153945 w 234857"/>
                  <a:gd name="connsiteY52" fmla="*/ 149096 h 215613"/>
                  <a:gd name="connsiteX53" fmla="*/ 154097 w 234857"/>
                  <a:gd name="connsiteY53" fmla="*/ 147430 h 215613"/>
                  <a:gd name="connsiteX54" fmla="*/ 153036 w 234857"/>
                  <a:gd name="connsiteY54" fmla="*/ 147127 h 215613"/>
                  <a:gd name="connsiteX55" fmla="*/ 150612 w 234857"/>
                  <a:gd name="connsiteY55" fmla="*/ 148490 h 215613"/>
                  <a:gd name="connsiteX56" fmla="*/ 149551 w 234857"/>
                  <a:gd name="connsiteY56" fmla="*/ 150763 h 215613"/>
                  <a:gd name="connsiteX57" fmla="*/ 150309 w 234857"/>
                  <a:gd name="connsiteY57" fmla="*/ 151824 h 215613"/>
                  <a:gd name="connsiteX58" fmla="*/ 151975 w 234857"/>
                  <a:gd name="connsiteY58" fmla="*/ 151975 h 215613"/>
                  <a:gd name="connsiteX59" fmla="*/ 156521 w 234857"/>
                  <a:gd name="connsiteY59" fmla="*/ 162430 h 215613"/>
                  <a:gd name="connsiteX60" fmla="*/ 156976 w 234857"/>
                  <a:gd name="connsiteY60" fmla="*/ 161976 h 215613"/>
                  <a:gd name="connsiteX61" fmla="*/ 157733 w 234857"/>
                  <a:gd name="connsiteY61" fmla="*/ 160612 h 215613"/>
                  <a:gd name="connsiteX62" fmla="*/ 154703 w 234857"/>
                  <a:gd name="connsiteY62" fmla="*/ 158339 h 215613"/>
                  <a:gd name="connsiteX63" fmla="*/ 153793 w 234857"/>
                  <a:gd name="connsiteY63" fmla="*/ 159248 h 215613"/>
                  <a:gd name="connsiteX64" fmla="*/ 154551 w 234857"/>
                  <a:gd name="connsiteY64" fmla="*/ 160460 h 215613"/>
                  <a:gd name="connsiteX65" fmla="*/ 156521 w 234857"/>
                  <a:gd name="connsiteY65" fmla="*/ 162430 h 215613"/>
                  <a:gd name="connsiteX66" fmla="*/ 164703 w 234857"/>
                  <a:gd name="connsiteY66" fmla="*/ 41365 h 215613"/>
                  <a:gd name="connsiteX67" fmla="*/ 163643 w 234857"/>
                  <a:gd name="connsiteY67" fmla="*/ 40456 h 215613"/>
                  <a:gd name="connsiteX68" fmla="*/ 162127 w 234857"/>
                  <a:gd name="connsiteY68" fmla="*/ 39698 h 215613"/>
                  <a:gd name="connsiteX69" fmla="*/ 158794 w 234857"/>
                  <a:gd name="connsiteY69" fmla="*/ 40759 h 215613"/>
                  <a:gd name="connsiteX70" fmla="*/ 162127 w 234857"/>
                  <a:gd name="connsiteY70" fmla="*/ 43486 h 215613"/>
                  <a:gd name="connsiteX71" fmla="*/ 165158 w 234857"/>
                  <a:gd name="connsiteY71" fmla="*/ 42577 h 215613"/>
                  <a:gd name="connsiteX72" fmla="*/ 164703 w 234857"/>
                  <a:gd name="connsiteY72" fmla="*/ 41365 h 215613"/>
                  <a:gd name="connsiteX73" fmla="*/ 162582 w 234857"/>
                  <a:gd name="connsiteY73" fmla="*/ 150460 h 215613"/>
                  <a:gd name="connsiteX74" fmla="*/ 162734 w 234857"/>
                  <a:gd name="connsiteY74" fmla="*/ 146975 h 215613"/>
                  <a:gd name="connsiteX75" fmla="*/ 162127 w 234857"/>
                  <a:gd name="connsiteY75" fmla="*/ 145914 h 215613"/>
                  <a:gd name="connsiteX76" fmla="*/ 161067 w 234857"/>
                  <a:gd name="connsiteY76" fmla="*/ 145612 h 215613"/>
                  <a:gd name="connsiteX77" fmla="*/ 156521 w 234857"/>
                  <a:gd name="connsiteY77" fmla="*/ 149551 h 215613"/>
                  <a:gd name="connsiteX78" fmla="*/ 157430 w 234857"/>
                  <a:gd name="connsiteY78" fmla="*/ 152278 h 215613"/>
                  <a:gd name="connsiteX79" fmla="*/ 159097 w 234857"/>
                  <a:gd name="connsiteY79" fmla="*/ 153945 h 215613"/>
                  <a:gd name="connsiteX80" fmla="*/ 161521 w 234857"/>
                  <a:gd name="connsiteY80" fmla="*/ 152733 h 215613"/>
                  <a:gd name="connsiteX81" fmla="*/ 162582 w 234857"/>
                  <a:gd name="connsiteY81" fmla="*/ 150460 h 215613"/>
                  <a:gd name="connsiteX82" fmla="*/ 159703 w 234857"/>
                  <a:gd name="connsiteY82" fmla="*/ 170612 h 215613"/>
                  <a:gd name="connsiteX83" fmla="*/ 159248 w 234857"/>
                  <a:gd name="connsiteY83" fmla="*/ 169249 h 215613"/>
                  <a:gd name="connsiteX84" fmla="*/ 157582 w 234857"/>
                  <a:gd name="connsiteY84" fmla="*/ 168036 h 215613"/>
                  <a:gd name="connsiteX85" fmla="*/ 157279 w 234857"/>
                  <a:gd name="connsiteY85" fmla="*/ 168340 h 215613"/>
                  <a:gd name="connsiteX86" fmla="*/ 157733 w 234857"/>
                  <a:gd name="connsiteY86" fmla="*/ 169097 h 215613"/>
                  <a:gd name="connsiteX87" fmla="*/ 157733 w 234857"/>
                  <a:gd name="connsiteY87" fmla="*/ 170309 h 215613"/>
                  <a:gd name="connsiteX88" fmla="*/ 157279 w 234857"/>
                  <a:gd name="connsiteY88" fmla="*/ 171067 h 215613"/>
                  <a:gd name="connsiteX89" fmla="*/ 156521 w 234857"/>
                  <a:gd name="connsiteY89" fmla="*/ 171673 h 215613"/>
                  <a:gd name="connsiteX90" fmla="*/ 158339 w 234857"/>
                  <a:gd name="connsiteY90" fmla="*/ 172279 h 215613"/>
                  <a:gd name="connsiteX91" fmla="*/ 159703 w 234857"/>
                  <a:gd name="connsiteY91" fmla="*/ 170612 h 215613"/>
                  <a:gd name="connsiteX92" fmla="*/ 27122 w 234857"/>
                  <a:gd name="connsiteY92" fmla="*/ 94246 h 215613"/>
                  <a:gd name="connsiteX93" fmla="*/ 25910 w 234857"/>
                  <a:gd name="connsiteY93" fmla="*/ 96064 h 215613"/>
                  <a:gd name="connsiteX94" fmla="*/ 25001 w 234857"/>
                  <a:gd name="connsiteY94" fmla="*/ 99246 h 215613"/>
                  <a:gd name="connsiteX95" fmla="*/ 24850 w 234857"/>
                  <a:gd name="connsiteY95" fmla="*/ 101822 h 215613"/>
                  <a:gd name="connsiteX96" fmla="*/ 25607 w 234857"/>
                  <a:gd name="connsiteY96" fmla="*/ 101216 h 215613"/>
                  <a:gd name="connsiteX97" fmla="*/ 26365 w 234857"/>
                  <a:gd name="connsiteY97" fmla="*/ 101064 h 215613"/>
                  <a:gd name="connsiteX98" fmla="*/ 27274 w 234857"/>
                  <a:gd name="connsiteY98" fmla="*/ 101216 h 215613"/>
                  <a:gd name="connsiteX99" fmla="*/ 28334 w 234857"/>
                  <a:gd name="connsiteY99" fmla="*/ 100913 h 215613"/>
                  <a:gd name="connsiteX100" fmla="*/ 29092 w 234857"/>
                  <a:gd name="connsiteY100" fmla="*/ 100004 h 215613"/>
                  <a:gd name="connsiteX101" fmla="*/ 29243 w 234857"/>
                  <a:gd name="connsiteY101" fmla="*/ 94852 h 215613"/>
                  <a:gd name="connsiteX102" fmla="*/ 28486 w 234857"/>
                  <a:gd name="connsiteY102" fmla="*/ 93488 h 215613"/>
                  <a:gd name="connsiteX103" fmla="*/ 27122 w 234857"/>
                  <a:gd name="connsiteY103" fmla="*/ 94246 h 215613"/>
                  <a:gd name="connsiteX104" fmla="*/ 31062 w 234857"/>
                  <a:gd name="connsiteY104" fmla="*/ 117429 h 215613"/>
                  <a:gd name="connsiteX105" fmla="*/ 31213 w 234857"/>
                  <a:gd name="connsiteY105" fmla="*/ 115762 h 215613"/>
                  <a:gd name="connsiteX106" fmla="*/ 28638 w 234857"/>
                  <a:gd name="connsiteY106" fmla="*/ 112428 h 215613"/>
                  <a:gd name="connsiteX107" fmla="*/ 26668 w 234857"/>
                  <a:gd name="connsiteY107" fmla="*/ 111671 h 215613"/>
                  <a:gd name="connsiteX108" fmla="*/ 26365 w 234857"/>
                  <a:gd name="connsiteY108" fmla="*/ 108034 h 215613"/>
                  <a:gd name="connsiteX109" fmla="*/ 25001 w 234857"/>
                  <a:gd name="connsiteY109" fmla="*/ 105155 h 215613"/>
                  <a:gd name="connsiteX110" fmla="*/ 24698 w 234857"/>
                  <a:gd name="connsiteY110" fmla="*/ 105761 h 215613"/>
                  <a:gd name="connsiteX111" fmla="*/ 24698 w 234857"/>
                  <a:gd name="connsiteY111" fmla="*/ 107731 h 215613"/>
                  <a:gd name="connsiteX112" fmla="*/ 23941 w 234857"/>
                  <a:gd name="connsiteY112" fmla="*/ 109701 h 215613"/>
                  <a:gd name="connsiteX113" fmla="*/ 22880 w 234857"/>
                  <a:gd name="connsiteY113" fmla="*/ 110155 h 215613"/>
                  <a:gd name="connsiteX114" fmla="*/ 21667 w 234857"/>
                  <a:gd name="connsiteY114" fmla="*/ 108943 h 215613"/>
                  <a:gd name="connsiteX115" fmla="*/ 20910 w 234857"/>
                  <a:gd name="connsiteY115" fmla="*/ 109550 h 215613"/>
                  <a:gd name="connsiteX116" fmla="*/ 19395 w 234857"/>
                  <a:gd name="connsiteY116" fmla="*/ 113186 h 215613"/>
                  <a:gd name="connsiteX117" fmla="*/ 19395 w 234857"/>
                  <a:gd name="connsiteY117" fmla="*/ 114550 h 215613"/>
                  <a:gd name="connsiteX118" fmla="*/ 20455 w 234857"/>
                  <a:gd name="connsiteY118" fmla="*/ 114247 h 215613"/>
                  <a:gd name="connsiteX119" fmla="*/ 22122 w 234857"/>
                  <a:gd name="connsiteY119" fmla="*/ 112731 h 215613"/>
                  <a:gd name="connsiteX120" fmla="*/ 22728 w 234857"/>
                  <a:gd name="connsiteY120" fmla="*/ 113186 h 215613"/>
                  <a:gd name="connsiteX121" fmla="*/ 23486 w 234857"/>
                  <a:gd name="connsiteY121" fmla="*/ 114247 h 215613"/>
                  <a:gd name="connsiteX122" fmla="*/ 23334 w 234857"/>
                  <a:gd name="connsiteY122" fmla="*/ 114853 h 215613"/>
                  <a:gd name="connsiteX123" fmla="*/ 24092 w 234857"/>
                  <a:gd name="connsiteY123" fmla="*/ 116671 h 215613"/>
                  <a:gd name="connsiteX124" fmla="*/ 25304 w 234857"/>
                  <a:gd name="connsiteY124" fmla="*/ 116974 h 215613"/>
                  <a:gd name="connsiteX125" fmla="*/ 26365 w 234857"/>
                  <a:gd name="connsiteY125" fmla="*/ 116216 h 215613"/>
                  <a:gd name="connsiteX126" fmla="*/ 30607 w 234857"/>
                  <a:gd name="connsiteY126" fmla="*/ 117732 h 215613"/>
                  <a:gd name="connsiteX127" fmla="*/ 31062 w 234857"/>
                  <a:gd name="connsiteY127" fmla="*/ 117429 h 215613"/>
                  <a:gd name="connsiteX128" fmla="*/ 28183 w 234857"/>
                  <a:gd name="connsiteY128" fmla="*/ 105004 h 215613"/>
                  <a:gd name="connsiteX129" fmla="*/ 27425 w 234857"/>
                  <a:gd name="connsiteY129" fmla="*/ 104701 h 215613"/>
                  <a:gd name="connsiteX130" fmla="*/ 26668 w 234857"/>
                  <a:gd name="connsiteY130" fmla="*/ 104852 h 215613"/>
                  <a:gd name="connsiteX131" fmla="*/ 27274 w 234857"/>
                  <a:gd name="connsiteY131" fmla="*/ 106974 h 215613"/>
                  <a:gd name="connsiteX132" fmla="*/ 28941 w 234857"/>
                  <a:gd name="connsiteY132" fmla="*/ 110004 h 215613"/>
                  <a:gd name="connsiteX133" fmla="*/ 30304 w 234857"/>
                  <a:gd name="connsiteY133" fmla="*/ 109701 h 215613"/>
                  <a:gd name="connsiteX134" fmla="*/ 29698 w 234857"/>
                  <a:gd name="connsiteY134" fmla="*/ 108489 h 215613"/>
                  <a:gd name="connsiteX135" fmla="*/ 28941 w 234857"/>
                  <a:gd name="connsiteY135" fmla="*/ 107428 h 215613"/>
                  <a:gd name="connsiteX136" fmla="*/ 28638 w 234857"/>
                  <a:gd name="connsiteY136" fmla="*/ 106519 h 215613"/>
                  <a:gd name="connsiteX137" fmla="*/ 28638 w 234857"/>
                  <a:gd name="connsiteY137" fmla="*/ 105761 h 215613"/>
                  <a:gd name="connsiteX138" fmla="*/ 28183 w 234857"/>
                  <a:gd name="connsiteY138" fmla="*/ 105004 h 215613"/>
                  <a:gd name="connsiteX139" fmla="*/ 10455 w 234857"/>
                  <a:gd name="connsiteY139" fmla="*/ 74245 h 215613"/>
                  <a:gd name="connsiteX140" fmla="*/ 8485 w 234857"/>
                  <a:gd name="connsiteY140" fmla="*/ 73336 h 215613"/>
                  <a:gd name="connsiteX141" fmla="*/ 7728 w 234857"/>
                  <a:gd name="connsiteY141" fmla="*/ 72124 h 215613"/>
                  <a:gd name="connsiteX142" fmla="*/ 7121 w 234857"/>
                  <a:gd name="connsiteY142" fmla="*/ 69094 h 215613"/>
                  <a:gd name="connsiteX143" fmla="*/ 7121 w 234857"/>
                  <a:gd name="connsiteY143" fmla="*/ 68487 h 215613"/>
                  <a:gd name="connsiteX144" fmla="*/ 5606 w 234857"/>
                  <a:gd name="connsiteY144" fmla="*/ 66972 h 215613"/>
                  <a:gd name="connsiteX145" fmla="*/ 6061 w 234857"/>
                  <a:gd name="connsiteY145" fmla="*/ 66215 h 215613"/>
                  <a:gd name="connsiteX146" fmla="*/ 8031 w 234857"/>
                  <a:gd name="connsiteY146" fmla="*/ 64548 h 215613"/>
                  <a:gd name="connsiteX147" fmla="*/ 7728 w 234857"/>
                  <a:gd name="connsiteY147" fmla="*/ 63639 h 215613"/>
                  <a:gd name="connsiteX148" fmla="*/ 6819 w 234857"/>
                  <a:gd name="connsiteY148" fmla="*/ 62881 h 215613"/>
                  <a:gd name="connsiteX149" fmla="*/ 5303 w 234857"/>
                  <a:gd name="connsiteY149" fmla="*/ 62123 h 215613"/>
                  <a:gd name="connsiteX150" fmla="*/ 1667 w 234857"/>
                  <a:gd name="connsiteY150" fmla="*/ 62881 h 215613"/>
                  <a:gd name="connsiteX151" fmla="*/ 0 w 234857"/>
                  <a:gd name="connsiteY151" fmla="*/ 63942 h 215613"/>
                  <a:gd name="connsiteX152" fmla="*/ 0 w 234857"/>
                  <a:gd name="connsiteY152" fmla="*/ 65305 h 215613"/>
                  <a:gd name="connsiteX153" fmla="*/ 4394 w 234857"/>
                  <a:gd name="connsiteY153" fmla="*/ 69851 h 215613"/>
                  <a:gd name="connsiteX154" fmla="*/ 6515 w 234857"/>
                  <a:gd name="connsiteY154" fmla="*/ 73791 h 215613"/>
                  <a:gd name="connsiteX155" fmla="*/ 8940 w 234857"/>
                  <a:gd name="connsiteY155" fmla="*/ 75457 h 215613"/>
                  <a:gd name="connsiteX156" fmla="*/ 12273 w 234857"/>
                  <a:gd name="connsiteY156" fmla="*/ 76518 h 215613"/>
                  <a:gd name="connsiteX157" fmla="*/ 11667 w 234857"/>
                  <a:gd name="connsiteY157" fmla="*/ 74700 h 215613"/>
                  <a:gd name="connsiteX158" fmla="*/ 10455 w 234857"/>
                  <a:gd name="connsiteY158" fmla="*/ 74245 h 215613"/>
                  <a:gd name="connsiteX159" fmla="*/ 146369 w 234857"/>
                  <a:gd name="connsiteY159" fmla="*/ 127732 h 215613"/>
                  <a:gd name="connsiteX160" fmla="*/ 146066 w 234857"/>
                  <a:gd name="connsiteY160" fmla="*/ 126520 h 215613"/>
                  <a:gd name="connsiteX161" fmla="*/ 145157 w 234857"/>
                  <a:gd name="connsiteY161" fmla="*/ 124550 h 215613"/>
                  <a:gd name="connsiteX162" fmla="*/ 145308 w 234857"/>
                  <a:gd name="connsiteY162" fmla="*/ 123035 h 215613"/>
                  <a:gd name="connsiteX163" fmla="*/ 142581 w 234857"/>
                  <a:gd name="connsiteY163" fmla="*/ 122732 h 215613"/>
                  <a:gd name="connsiteX164" fmla="*/ 140763 w 234857"/>
                  <a:gd name="connsiteY164" fmla="*/ 120307 h 215613"/>
                  <a:gd name="connsiteX165" fmla="*/ 140006 w 234857"/>
                  <a:gd name="connsiteY165" fmla="*/ 120459 h 215613"/>
                  <a:gd name="connsiteX166" fmla="*/ 138339 w 234857"/>
                  <a:gd name="connsiteY166" fmla="*/ 121217 h 215613"/>
                  <a:gd name="connsiteX167" fmla="*/ 138793 w 234857"/>
                  <a:gd name="connsiteY167" fmla="*/ 123186 h 215613"/>
                  <a:gd name="connsiteX168" fmla="*/ 140157 w 234857"/>
                  <a:gd name="connsiteY168" fmla="*/ 124095 h 215613"/>
                  <a:gd name="connsiteX169" fmla="*/ 141066 w 234857"/>
                  <a:gd name="connsiteY169" fmla="*/ 125611 h 215613"/>
                  <a:gd name="connsiteX170" fmla="*/ 143339 w 234857"/>
                  <a:gd name="connsiteY170" fmla="*/ 127277 h 215613"/>
                  <a:gd name="connsiteX171" fmla="*/ 145460 w 234857"/>
                  <a:gd name="connsiteY171" fmla="*/ 129702 h 215613"/>
                  <a:gd name="connsiteX172" fmla="*/ 146369 w 234857"/>
                  <a:gd name="connsiteY172" fmla="*/ 127732 h 215613"/>
                  <a:gd name="connsiteX173" fmla="*/ 90458 w 234857"/>
                  <a:gd name="connsiteY173" fmla="*/ 170915 h 215613"/>
                  <a:gd name="connsiteX174" fmla="*/ 90003 w 234857"/>
                  <a:gd name="connsiteY174" fmla="*/ 171370 h 215613"/>
                  <a:gd name="connsiteX175" fmla="*/ 89246 w 234857"/>
                  <a:gd name="connsiteY175" fmla="*/ 172885 h 215613"/>
                  <a:gd name="connsiteX176" fmla="*/ 89397 w 234857"/>
                  <a:gd name="connsiteY176" fmla="*/ 175916 h 215613"/>
                  <a:gd name="connsiteX177" fmla="*/ 90155 w 234857"/>
                  <a:gd name="connsiteY177" fmla="*/ 177279 h 215613"/>
                  <a:gd name="connsiteX178" fmla="*/ 93034 w 234857"/>
                  <a:gd name="connsiteY178" fmla="*/ 178188 h 215613"/>
                  <a:gd name="connsiteX179" fmla="*/ 93337 w 234857"/>
                  <a:gd name="connsiteY179" fmla="*/ 176825 h 215613"/>
                  <a:gd name="connsiteX180" fmla="*/ 94549 w 234857"/>
                  <a:gd name="connsiteY180" fmla="*/ 175006 h 215613"/>
                  <a:gd name="connsiteX181" fmla="*/ 91822 w 234857"/>
                  <a:gd name="connsiteY181" fmla="*/ 172430 h 215613"/>
                  <a:gd name="connsiteX182" fmla="*/ 90458 w 234857"/>
                  <a:gd name="connsiteY182" fmla="*/ 170915 h 215613"/>
                  <a:gd name="connsiteX183" fmla="*/ 103034 w 234857"/>
                  <a:gd name="connsiteY183" fmla="*/ 134702 h 215613"/>
                  <a:gd name="connsiteX184" fmla="*/ 102731 w 234857"/>
                  <a:gd name="connsiteY184" fmla="*/ 133490 h 215613"/>
                  <a:gd name="connsiteX185" fmla="*/ 101367 w 234857"/>
                  <a:gd name="connsiteY185" fmla="*/ 132884 h 215613"/>
                  <a:gd name="connsiteX186" fmla="*/ 99095 w 234857"/>
                  <a:gd name="connsiteY186" fmla="*/ 132884 h 215613"/>
                  <a:gd name="connsiteX187" fmla="*/ 97277 w 234857"/>
                  <a:gd name="connsiteY187" fmla="*/ 132126 h 215613"/>
                  <a:gd name="connsiteX188" fmla="*/ 95913 w 234857"/>
                  <a:gd name="connsiteY188" fmla="*/ 129096 h 215613"/>
                  <a:gd name="connsiteX189" fmla="*/ 95913 w 234857"/>
                  <a:gd name="connsiteY189" fmla="*/ 126671 h 215613"/>
                  <a:gd name="connsiteX190" fmla="*/ 94246 w 234857"/>
                  <a:gd name="connsiteY190" fmla="*/ 124853 h 215613"/>
                  <a:gd name="connsiteX191" fmla="*/ 92882 w 234857"/>
                  <a:gd name="connsiteY191" fmla="*/ 124095 h 215613"/>
                  <a:gd name="connsiteX192" fmla="*/ 93185 w 234857"/>
                  <a:gd name="connsiteY192" fmla="*/ 123338 h 215613"/>
                  <a:gd name="connsiteX193" fmla="*/ 94246 w 234857"/>
                  <a:gd name="connsiteY193" fmla="*/ 123035 h 215613"/>
                  <a:gd name="connsiteX194" fmla="*/ 97125 w 234857"/>
                  <a:gd name="connsiteY194" fmla="*/ 121520 h 215613"/>
                  <a:gd name="connsiteX195" fmla="*/ 103337 w 234857"/>
                  <a:gd name="connsiteY195" fmla="*/ 120459 h 215613"/>
                  <a:gd name="connsiteX196" fmla="*/ 105610 w 234857"/>
                  <a:gd name="connsiteY196" fmla="*/ 119095 h 215613"/>
                  <a:gd name="connsiteX197" fmla="*/ 106519 w 234857"/>
                  <a:gd name="connsiteY197" fmla="*/ 119095 h 215613"/>
                  <a:gd name="connsiteX198" fmla="*/ 107732 w 234857"/>
                  <a:gd name="connsiteY198" fmla="*/ 119853 h 215613"/>
                  <a:gd name="connsiteX199" fmla="*/ 111974 w 234857"/>
                  <a:gd name="connsiteY199" fmla="*/ 123792 h 215613"/>
                  <a:gd name="connsiteX200" fmla="*/ 115913 w 234857"/>
                  <a:gd name="connsiteY200" fmla="*/ 127126 h 215613"/>
                  <a:gd name="connsiteX201" fmla="*/ 118489 w 234857"/>
                  <a:gd name="connsiteY201" fmla="*/ 130308 h 215613"/>
                  <a:gd name="connsiteX202" fmla="*/ 119853 w 234857"/>
                  <a:gd name="connsiteY202" fmla="*/ 130308 h 215613"/>
                  <a:gd name="connsiteX203" fmla="*/ 120762 w 234857"/>
                  <a:gd name="connsiteY203" fmla="*/ 129247 h 215613"/>
                  <a:gd name="connsiteX204" fmla="*/ 120914 w 234857"/>
                  <a:gd name="connsiteY204" fmla="*/ 127126 h 215613"/>
                  <a:gd name="connsiteX205" fmla="*/ 120914 w 234857"/>
                  <a:gd name="connsiteY205" fmla="*/ 125762 h 215613"/>
                  <a:gd name="connsiteX206" fmla="*/ 120156 w 234857"/>
                  <a:gd name="connsiteY206" fmla="*/ 121368 h 215613"/>
                  <a:gd name="connsiteX207" fmla="*/ 119853 w 234857"/>
                  <a:gd name="connsiteY207" fmla="*/ 115459 h 215613"/>
                  <a:gd name="connsiteX208" fmla="*/ 119398 w 234857"/>
                  <a:gd name="connsiteY208" fmla="*/ 112731 h 215613"/>
                  <a:gd name="connsiteX209" fmla="*/ 118338 w 234857"/>
                  <a:gd name="connsiteY209" fmla="*/ 111216 h 215613"/>
                  <a:gd name="connsiteX210" fmla="*/ 114701 w 234857"/>
                  <a:gd name="connsiteY210" fmla="*/ 109550 h 215613"/>
                  <a:gd name="connsiteX211" fmla="*/ 110610 w 234857"/>
                  <a:gd name="connsiteY211" fmla="*/ 108640 h 215613"/>
                  <a:gd name="connsiteX212" fmla="*/ 107428 w 234857"/>
                  <a:gd name="connsiteY212" fmla="*/ 104246 h 215613"/>
                  <a:gd name="connsiteX213" fmla="*/ 101974 w 234857"/>
                  <a:gd name="connsiteY213" fmla="*/ 103034 h 215613"/>
                  <a:gd name="connsiteX214" fmla="*/ 98792 w 234857"/>
                  <a:gd name="connsiteY214" fmla="*/ 98791 h 215613"/>
                  <a:gd name="connsiteX215" fmla="*/ 95610 w 234857"/>
                  <a:gd name="connsiteY215" fmla="*/ 98640 h 215613"/>
                  <a:gd name="connsiteX216" fmla="*/ 92428 w 234857"/>
                  <a:gd name="connsiteY216" fmla="*/ 96216 h 215613"/>
                  <a:gd name="connsiteX217" fmla="*/ 85761 w 234857"/>
                  <a:gd name="connsiteY217" fmla="*/ 94397 h 215613"/>
                  <a:gd name="connsiteX218" fmla="*/ 83336 w 234857"/>
                  <a:gd name="connsiteY218" fmla="*/ 92882 h 215613"/>
                  <a:gd name="connsiteX219" fmla="*/ 81821 w 234857"/>
                  <a:gd name="connsiteY219" fmla="*/ 92882 h 215613"/>
                  <a:gd name="connsiteX220" fmla="*/ 80003 w 234857"/>
                  <a:gd name="connsiteY220" fmla="*/ 92276 h 215613"/>
                  <a:gd name="connsiteX221" fmla="*/ 80761 w 234857"/>
                  <a:gd name="connsiteY221" fmla="*/ 91519 h 215613"/>
                  <a:gd name="connsiteX222" fmla="*/ 82882 w 234857"/>
                  <a:gd name="connsiteY222" fmla="*/ 91215 h 215613"/>
                  <a:gd name="connsiteX223" fmla="*/ 86367 w 234857"/>
                  <a:gd name="connsiteY223" fmla="*/ 91064 h 215613"/>
                  <a:gd name="connsiteX224" fmla="*/ 89852 w 234857"/>
                  <a:gd name="connsiteY224" fmla="*/ 89549 h 215613"/>
                  <a:gd name="connsiteX225" fmla="*/ 93640 w 234857"/>
                  <a:gd name="connsiteY225" fmla="*/ 86670 h 215613"/>
                  <a:gd name="connsiteX226" fmla="*/ 90912 w 234857"/>
                  <a:gd name="connsiteY226" fmla="*/ 86821 h 215613"/>
                  <a:gd name="connsiteX227" fmla="*/ 90155 w 234857"/>
                  <a:gd name="connsiteY227" fmla="*/ 84246 h 215613"/>
                  <a:gd name="connsiteX228" fmla="*/ 88640 w 234857"/>
                  <a:gd name="connsiteY228" fmla="*/ 82427 h 215613"/>
                  <a:gd name="connsiteX229" fmla="*/ 87276 w 234857"/>
                  <a:gd name="connsiteY229" fmla="*/ 79548 h 215613"/>
                  <a:gd name="connsiteX230" fmla="*/ 89549 w 234857"/>
                  <a:gd name="connsiteY230" fmla="*/ 78033 h 215613"/>
                  <a:gd name="connsiteX231" fmla="*/ 91519 w 234857"/>
                  <a:gd name="connsiteY231" fmla="*/ 77276 h 215613"/>
                  <a:gd name="connsiteX232" fmla="*/ 96064 w 234857"/>
                  <a:gd name="connsiteY232" fmla="*/ 79548 h 215613"/>
                  <a:gd name="connsiteX233" fmla="*/ 96216 w 234857"/>
                  <a:gd name="connsiteY233" fmla="*/ 81064 h 215613"/>
                  <a:gd name="connsiteX234" fmla="*/ 94852 w 234857"/>
                  <a:gd name="connsiteY234" fmla="*/ 83488 h 215613"/>
                  <a:gd name="connsiteX235" fmla="*/ 95761 w 234857"/>
                  <a:gd name="connsiteY235" fmla="*/ 84549 h 215613"/>
                  <a:gd name="connsiteX236" fmla="*/ 97428 w 234857"/>
                  <a:gd name="connsiteY236" fmla="*/ 84397 h 215613"/>
                  <a:gd name="connsiteX237" fmla="*/ 100458 w 234857"/>
                  <a:gd name="connsiteY237" fmla="*/ 82124 h 215613"/>
                  <a:gd name="connsiteX238" fmla="*/ 99398 w 234857"/>
                  <a:gd name="connsiteY238" fmla="*/ 78488 h 215613"/>
                  <a:gd name="connsiteX239" fmla="*/ 97883 w 234857"/>
                  <a:gd name="connsiteY239" fmla="*/ 76215 h 215613"/>
                  <a:gd name="connsiteX240" fmla="*/ 94398 w 234857"/>
                  <a:gd name="connsiteY240" fmla="*/ 71972 h 215613"/>
                  <a:gd name="connsiteX241" fmla="*/ 91064 w 234857"/>
                  <a:gd name="connsiteY241" fmla="*/ 69699 h 215613"/>
                  <a:gd name="connsiteX242" fmla="*/ 89397 w 234857"/>
                  <a:gd name="connsiteY242" fmla="*/ 67578 h 215613"/>
                  <a:gd name="connsiteX243" fmla="*/ 87124 w 234857"/>
                  <a:gd name="connsiteY243" fmla="*/ 62123 h 215613"/>
                  <a:gd name="connsiteX244" fmla="*/ 80457 w 234857"/>
                  <a:gd name="connsiteY244" fmla="*/ 54547 h 215613"/>
                  <a:gd name="connsiteX245" fmla="*/ 79852 w 234857"/>
                  <a:gd name="connsiteY245" fmla="*/ 51820 h 215613"/>
                  <a:gd name="connsiteX246" fmla="*/ 80912 w 234857"/>
                  <a:gd name="connsiteY246" fmla="*/ 46820 h 215613"/>
                  <a:gd name="connsiteX247" fmla="*/ 81973 w 234857"/>
                  <a:gd name="connsiteY247" fmla="*/ 43941 h 215613"/>
                  <a:gd name="connsiteX248" fmla="*/ 81518 w 234857"/>
                  <a:gd name="connsiteY248" fmla="*/ 41971 h 215613"/>
                  <a:gd name="connsiteX249" fmla="*/ 81670 w 234857"/>
                  <a:gd name="connsiteY249" fmla="*/ 39850 h 215613"/>
                  <a:gd name="connsiteX250" fmla="*/ 84700 w 234857"/>
                  <a:gd name="connsiteY250" fmla="*/ 38486 h 215613"/>
                  <a:gd name="connsiteX251" fmla="*/ 86670 w 234857"/>
                  <a:gd name="connsiteY251" fmla="*/ 37123 h 215613"/>
                  <a:gd name="connsiteX252" fmla="*/ 89701 w 234857"/>
                  <a:gd name="connsiteY252" fmla="*/ 36668 h 215613"/>
                  <a:gd name="connsiteX253" fmla="*/ 88943 w 234857"/>
                  <a:gd name="connsiteY253" fmla="*/ 38789 h 215613"/>
                  <a:gd name="connsiteX254" fmla="*/ 87882 w 234857"/>
                  <a:gd name="connsiteY254" fmla="*/ 39850 h 215613"/>
                  <a:gd name="connsiteX255" fmla="*/ 89094 w 234857"/>
                  <a:gd name="connsiteY255" fmla="*/ 42729 h 215613"/>
                  <a:gd name="connsiteX256" fmla="*/ 94549 w 234857"/>
                  <a:gd name="connsiteY256" fmla="*/ 45759 h 215613"/>
                  <a:gd name="connsiteX257" fmla="*/ 100458 w 234857"/>
                  <a:gd name="connsiteY257" fmla="*/ 48638 h 215613"/>
                  <a:gd name="connsiteX258" fmla="*/ 100913 w 234857"/>
                  <a:gd name="connsiteY258" fmla="*/ 52729 h 215613"/>
                  <a:gd name="connsiteX259" fmla="*/ 102731 w 234857"/>
                  <a:gd name="connsiteY259" fmla="*/ 55911 h 215613"/>
                  <a:gd name="connsiteX260" fmla="*/ 109095 w 234857"/>
                  <a:gd name="connsiteY260" fmla="*/ 58033 h 215613"/>
                  <a:gd name="connsiteX261" fmla="*/ 109853 w 234857"/>
                  <a:gd name="connsiteY261" fmla="*/ 57729 h 215613"/>
                  <a:gd name="connsiteX262" fmla="*/ 110307 w 234857"/>
                  <a:gd name="connsiteY262" fmla="*/ 56972 h 215613"/>
                  <a:gd name="connsiteX263" fmla="*/ 104701 w 234857"/>
                  <a:gd name="connsiteY263" fmla="*/ 53335 h 215613"/>
                  <a:gd name="connsiteX264" fmla="*/ 103792 w 234857"/>
                  <a:gd name="connsiteY264" fmla="*/ 51972 h 215613"/>
                  <a:gd name="connsiteX265" fmla="*/ 102580 w 234857"/>
                  <a:gd name="connsiteY265" fmla="*/ 48487 h 215613"/>
                  <a:gd name="connsiteX266" fmla="*/ 103640 w 234857"/>
                  <a:gd name="connsiteY266" fmla="*/ 47123 h 215613"/>
                  <a:gd name="connsiteX267" fmla="*/ 110156 w 234857"/>
                  <a:gd name="connsiteY267" fmla="*/ 48487 h 215613"/>
                  <a:gd name="connsiteX268" fmla="*/ 114853 w 234857"/>
                  <a:gd name="connsiteY268" fmla="*/ 55002 h 215613"/>
                  <a:gd name="connsiteX269" fmla="*/ 117883 w 234857"/>
                  <a:gd name="connsiteY269" fmla="*/ 56820 h 215613"/>
                  <a:gd name="connsiteX270" fmla="*/ 118792 w 234857"/>
                  <a:gd name="connsiteY270" fmla="*/ 55911 h 215613"/>
                  <a:gd name="connsiteX271" fmla="*/ 119247 w 234857"/>
                  <a:gd name="connsiteY271" fmla="*/ 55002 h 215613"/>
                  <a:gd name="connsiteX272" fmla="*/ 118338 w 234857"/>
                  <a:gd name="connsiteY272" fmla="*/ 52123 h 215613"/>
                  <a:gd name="connsiteX273" fmla="*/ 116974 w 234857"/>
                  <a:gd name="connsiteY273" fmla="*/ 50759 h 215613"/>
                  <a:gd name="connsiteX274" fmla="*/ 114398 w 234857"/>
                  <a:gd name="connsiteY274" fmla="*/ 49093 h 215613"/>
                  <a:gd name="connsiteX275" fmla="*/ 111520 w 234857"/>
                  <a:gd name="connsiteY275" fmla="*/ 46517 h 215613"/>
                  <a:gd name="connsiteX276" fmla="*/ 111671 w 234857"/>
                  <a:gd name="connsiteY276" fmla="*/ 45153 h 215613"/>
                  <a:gd name="connsiteX277" fmla="*/ 114247 w 234857"/>
                  <a:gd name="connsiteY277" fmla="*/ 43941 h 215613"/>
                  <a:gd name="connsiteX278" fmla="*/ 116671 w 234857"/>
                  <a:gd name="connsiteY278" fmla="*/ 44244 h 215613"/>
                  <a:gd name="connsiteX279" fmla="*/ 120611 w 234857"/>
                  <a:gd name="connsiteY279" fmla="*/ 46062 h 215613"/>
                  <a:gd name="connsiteX280" fmla="*/ 123489 w 234857"/>
                  <a:gd name="connsiteY280" fmla="*/ 46820 h 215613"/>
                  <a:gd name="connsiteX281" fmla="*/ 125459 w 234857"/>
                  <a:gd name="connsiteY281" fmla="*/ 48941 h 215613"/>
                  <a:gd name="connsiteX282" fmla="*/ 128490 w 234857"/>
                  <a:gd name="connsiteY282" fmla="*/ 51063 h 215613"/>
                  <a:gd name="connsiteX283" fmla="*/ 127126 w 234857"/>
                  <a:gd name="connsiteY283" fmla="*/ 48032 h 215613"/>
                  <a:gd name="connsiteX284" fmla="*/ 125005 w 234857"/>
                  <a:gd name="connsiteY284" fmla="*/ 45305 h 215613"/>
                  <a:gd name="connsiteX285" fmla="*/ 120005 w 234857"/>
                  <a:gd name="connsiteY285" fmla="*/ 42729 h 215613"/>
                  <a:gd name="connsiteX286" fmla="*/ 117277 w 234857"/>
                  <a:gd name="connsiteY286" fmla="*/ 42880 h 215613"/>
                  <a:gd name="connsiteX287" fmla="*/ 115459 w 234857"/>
                  <a:gd name="connsiteY287" fmla="*/ 42426 h 215613"/>
                  <a:gd name="connsiteX288" fmla="*/ 114550 w 234857"/>
                  <a:gd name="connsiteY288" fmla="*/ 40456 h 215613"/>
                  <a:gd name="connsiteX289" fmla="*/ 115762 w 234857"/>
                  <a:gd name="connsiteY289" fmla="*/ 38486 h 215613"/>
                  <a:gd name="connsiteX290" fmla="*/ 113035 w 234857"/>
                  <a:gd name="connsiteY290" fmla="*/ 35759 h 215613"/>
                  <a:gd name="connsiteX291" fmla="*/ 112125 w 234857"/>
                  <a:gd name="connsiteY291" fmla="*/ 34244 h 215613"/>
                  <a:gd name="connsiteX292" fmla="*/ 112731 w 234857"/>
                  <a:gd name="connsiteY292" fmla="*/ 31971 h 215613"/>
                  <a:gd name="connsiteX293" fmla="*/ 117732 w 234857"/>
                  <a:gd name="connsiteY293" fmla="*/ 31971 h 215613"/>
                  <a:gd name="connsiteX294" fmla="*/ 121520 w 234857"/>
                  <a:gd name="connsiteY294" fmla="*/ 32729 h 215613"/>
                  <a:gd name="connsiteX295" fmla="*/ 125611 w 234857"/>
                  <a:gd name="connsiteY295" fmla="*/ 30759 h 215613"/>
                  <a:gd name="connsiteX296" fmla="*/ 129702 w 234857"/>
                  <a:gd name="connsiteY296" fmla="*/ 26668 h 215613"/>
                  <a:gd name="connsiteX297" fmla="*/ 132278 w 234857"/>
                  <a:gd name="connsiteY297" fmla="*/ 25607 h 215613"/>
                  <a:gd name="connsiteX298" fmla="*/ 134399 w 234857"/>
                  <a:gd name="connsiteY298" fmla="*/ 26062 h 215613"/>
                  <a:gd name="connsiteX299" fmla="*/ 137732 w 234857"/>
                  <a:gd name="connsiteY299" fmla="*/ 28183 h 215613"/>
                  <a:gd name="connsiteX300" fmla="*/ 140915 w 234857"/>
                  <a:gd name="connsiteY300" fmla="*/ 28637 h 215613"/>
                  <a:gd name="connsiteX301" fmla="*/ 146672 w 234857"/>
                  <a:gd name="connsiteY301" fmla="*/ 25001 h 215613"/>
                  <a:gd name="connsiteX302" fmla="*/ 149400 w 234857"/>
                  <a:gd name="connsiteY302" fmla="*/ 24092 h 215613"/>
                  <a:gd name="connsiteX303" fmla="*/ 153339 w 234857"/>
                  <a:gd name="connsiteY303" fmla="*/ 26062 h 215613"/>
                  <a:gd name="connsiteX304" fmla="*/ 155460 w 234857"/>
                  <a:gd name="connsiteY304" fmla="*/ 25759 h 215613"/>
                  <a:gd name="connsiteX305" fmla="*/ 160158 w 234857"/>
                  <a:gd name="connsiteY305" fmla="*/ 27577 h 215613"/>
                  <a:gd name="connsiteX306" fmla="*/ 170006 w 234857"/>
                  <a:gd name="connsiteY306" fmla="*/ 28941 h 215613"/>
                  <a:gd name="connsiteX307" fmla="*/ 174249 w 234857"/>
                  <a:gd name="connsiteY307" fmla="*/ 31365 h 215613"/>
                  <a:gd name="connsiteX308" fmla="*/ 175007 w 234857"/>
                  <a:gd name="connsiteY308" fmla="*/ 32729 h 215613"/>
                  <a:gd name="connsiteX309" fmla="*/ 175916 w 234857"/>
                  <a:gd name="connsiteY309" fmla="*/ 32274 h 215613"/>
                  <a:gd name="connsiteX310" fmla="*/ 176976 w 234857"/>
                  <a:gd name="connsiteY310" fmla="*/ 31971 h 215613"/>
                  <a:gd name="connsiteX311" fmla="*/ 178946 w 234857"/>
                  <a:gd name="connsiteY311" fmla="*/ 29547 h 215613"/>
                  <a:gd name="connsiteX312" fmla="*/ 180613 w 234857"/>
                  <a:gd name="connsiteY312" fmla="*/ 27728 h 215613"/>
                  <a:gd name="connsiteX313" fmla="*/ 183037 w 234857"/>
                  <a:gd name="connsiteY313" fmla="*/ 25455 h 215613"/>
                  <a:gd name="connsiteX314" fmla="*/ 183643 w 234857"/>
                  <a:gd name="connsiteY314" fmla="*/ 24092 h 215613"/>
                  <a:gd name="connsiteX315" fmla="*/ 183643 w 234857"/>
                  <a:gd name="connsiteY315" fmla="*/ 22880 h 215613"/>
                  <a:gd name="connsiteX316" fmla="*/ 183037 w 234857"/>
                  <a:gd name="connsiteY316" fmla="*/ 21971 h 215613"/>
                  <a:gd name="connsiteX317" fmla="*/ 182886 w 234857"/>
                  <a:gd name="connsiteY317" fmla="*/ 20910 h 215613"/>
                  <a:gd name="connsiteX318" fmla="*/ 182886 w 234857"/>
                  <a:gd name="connsiteY318" fmla="*/ 19395 h 215613"/>
                  <a:gd name="connsiteX319" fmla="*/ 183037 w 234857"/>
                  <a:gd name="connsiteY319" fmla="*/ 16213 h 215613"/>
                  <a:gd name="connsiteX320" fmla="*/ 188644 w 234857"/>
                  <a:gd name="connsiteY320" fmla="*/ 12879 h 215613"/>
                  <a:gd name="connsiteX321" fmla="*/ 190462 w 234857"/>
                  <a:gd name="connsiteY321" fmla="*/ 12576 h 215613"/>
                  <a:gd name="connsiteX322" fmla="*/ 191068 w 234857"/>
                  <a:gd name="connsiteY322" fmla="*/ 11061 h 215613"/>
                  <a:gd name="connsiteX323" fmla="*/ 190613 w 234857"/>
                  <a:gd name="connsiteY323" fmla="*/ 7425 h 215613"/>
                  <a:gd name="connsiteX324" fmla="*/ 189856 w 234857"/>
                  <a:gd name="connsiteY324" fmla="*/ 4546 h 215613"/>
                  <a:gd name="connsiteX325" fmla="*/ 188795 w 234857"/>
                  <a:gd name="connsiteY325" fmla="*/ 4394 h 215613"/>
                  <a:gd name="connsiteX326" fmla="*/ 187431 w 234857"/>
                  <a:gd name="connsiteY326" fmla="*/ 3485 h 215613"/>
                  <a:gd name="connsiteX327" fmla="*/ 186522 w 234857"/>
                  <a:gd name="connsiteY327" fmla="*/ 2576 h 215613"/>
                  <a:gd name="connsiteX328" fmla="*/ 185158 w 234857"/>
                  <a:gd name="connsiteY328" fmla="*/ 1515 h 215613"/>
                  <a:gd name="connsiteX329" fmla="*/ 182734 w 234857"/>
                  <a:gd name="connsiteY329" fmla="*/ 909 h 215613"/>
                  <a:gd name="connsiteX330" fmla="*/ 179401 w 234857"/>
                  <a:gd name="connsiteY330" fmla="*/ 0 h 215613"/>
                  <a:gd name="connsiteX331" fmla="*/ 176825 w 234857"/>
                  <a:gd name="connsiteY331" fmla="*/ 606 h 215613"/>
                  <a:gd name="connsiteX332" fmla="*/ 176219 w 234857"/>
                  <a:gd name="connsiteY332" fmla="*/ 1364 h 215613"/>
                  <a:gd name="connsiteX333" fmla="*/ 175613 w 234857"/>
                  <a:gd name="connsiteY333" fmla="*/ 2424 h 215613"/>
                  <a:gd name="connsiteX334" fmla="*/ 175916 w 234857"/>
                  <a:gd name="connsiteY334" fmla="*/ 3485 h 215613"/>
                  <a:gd name="connsiteX335" fmla="*/ 176825 w 234857"/>
                  <a:gd name="connsiteY335" fmla="*/ 4546 h 215613"/>
                  <a:gd name="connsiteX336" fmla="*/ 177734 w 234857"/>
                  <a:gd name="connsiteY336" fmla="*/ 7425 h 215613"/>
                  <a:gd name="connsiteX337" fmla="*/ 178037 w 234857"/>
                  <a:gd name="connsiteY337" fmla="*/ 10303 h 215613"/>
                  <a:gd name="connsiteX338" fmla="*/ 177431 w 234857"/>
                  <a:gd name="connsiteY338" fmla="*/ 11970 h 215613"/>
                  <a:gd name="connsiteX339" fmla="*/ 175613 w 234857"/>
                  <a:gd name="connsiteY339" fmla="*/ 13182 h 215613"/>
                  <a:gd name="connsiteX340" fmla="*/ 171673 w 234857"/>
                  <a:gd name="connsiteY340" fmla="*/ 14395 h 215613"/>
                  <a:gd name="connsiteX341" fmla="*/ 167885 w 234857"/>
                  <a:gd name="connsiteY341" fmla="*/ 13788 h 215613"/>
                  <a:gd name="connsiteX342" fmla="*/ 166218 w 234857"/>
                  <a:gd name="connsiteY342" fmla="*/ 14243 h 215613"/>
                  <a:gd name="connsiteX343" fmla="*/ 163491 w 234857"/>
                  <a:gd name="connsiteY343" fmla="*/ 14395 h 215613"/>
                  <a:gd name="connsiteX344" fmla="*/ 160915 w 234857"/>
                  <a:gd name="connsiteY344" fmla="*/ 14698 h 215613"/>
                  <a:gd name="connsiteX345" fmla="*/ 156976 w 234857"/>
                  <a:gd name="connsiteY345" fmla="*/ 15910 h 215613"/>
                  <a:gd name="connsiteX346" fmla="*/ 153339 w 234857"/>
                  <a:gd name="connsiteY346" fmla="*/ 16516 h 215613"/>
                  <a:gd name="connsiteX347" fmla="*/ 150157 w 234857"/>
                  <a:gd name="connsiteY347" fmla="*/ 14091 h 215613"/>
                  <a:gd name="connsiteX348" fmla="*/ 146369 w 234857"/>
                  <a:gd name="connsiteY348" fmla="*/ 12425 h 215613"/>
                  <a:gd name="connsiteX349" fmla="*/ 142429 w 234857"/>
                  <a:gd name="connsiteY349" fmla="*/ 11516 h 215613"/>
                  <a:gd name="connsiteX350" fmla="*/ 141066 w 234857"/>
                  <a:gd name="connsiteY350" fmla="*/ 12273 h 215613"/>
                  <a:gd name="connsiteX351" fmla="*/ 140460 w 234857"/>
                  <a:gd name="connsiteY351" fmla="*/ 12879 h 215613"/>
                  <a:gd name="connsiteX352" fmla="*/ 137127 w 234857"/>
                  <a:gd name="connsiteY352" fmla="*/ 10758 h 215613"/>
                  <a:gd name="connsiteX353" fmla="*/ 135611 w 234857"/>
                  <a:gd name="connsiteY353" fmla="*/ 10000 h 215613"/>
                  <a:gd name="connsiteX354" fmla="*/ 134853 w 234857"/>
                  <a:gd name="connsiteY354" fmla="*/ 9243 h 215613"/>
                  <a:gd name="connsiteX355" fmla="*/ 133490 w 234857"/>
                  <a:gd name="connsiteY355" fmla="*/ 6515 h 215613"/>
                  <a:gd name="connsiteX356" fmla="*/ 132732 w 234857"/>
                  <a:gd name="connsiteY356" fmla="*/ 6364 h 215613"/>
                  <a:gd name="connsiteX357" fmla="*/ 130005 w 234857"/>
                  <a:gd name="connsiteY357" fmla="*/ 7425 h 215613"/>
                  <a:gd name="connsiteX358" fmla="*/ 127277 w 234857"/>
                  <a:gd name="connsiteY358" fmla="*/ 7425 h 215613"/>
                  <a:gd name="connsiteX359" fmla="*/ 125611 w 234857"/>
                  <a:gd name="connsiteY359" fmla="*/ 7273 h 215613"/>
                  <a:gd name="connsiteX360" fmla="*/ 120914 w 234857"/>
                  <a:gd name="connsiteY360" fmla="*/ 7425 h 215613"/>
                  <a:gd name="connsiteX361" fmla="*/ 120308 w 234857"/>
                  <a:gd name="connsiteY361" fmla="*/ 9394 h 215613"/>
                  <a:gd name="connsiteX362" fmla="*/ 119701 w 234857"/>
                  <a:gd name="connsiteY362" fmla="*/ 9697 h 215613"/>
                  <a:gd name="connsiteX363" fmla="*/ 118641 w 234857"/>
                  <a:gd name="connsiteY363" fmla="*/ 10000 h 215613"/>
                  <a:gd name="connsiteX364" fmla="*/ 116065 w 234857"/>
                  <a:gd name="connsiteY364" fmla="*/ 9849 h 215613"/>
                  <a:gd name="connsiteX365" fmla="*/ 112883 w 234857"/>
                  <a:gd name="connsiteY365" fmla="*/ 11213 h 215613"/>
                  <a:gd name="connsiteX366" fmla="*/ 109398 w 234857"/>
                  <a:gd name="connsiteY366" fmla="*/ 12122 h 215613"/>
                  <a:gd name="connsiteX367" fmla="*/ 106671 w 234857"/>
                  <a:gd name="connsiteY367" fmla="*/ 12122 h 215613"/>
                  <a:gd name="connsiteX368" fmla="*/ 103943 w 234857"/>
                  <a:gd name="connsiteY368" fmla="*/ 11667 h 215613"/>
                  <a:gd name="connsiteX369" fmla="*/ 102277 w 234857"/>
                  <a:gd name="connsiteY369" fmla="*/ 11970 h 215613"/>
                  <a:gd name="connsiteX370" fmla="*/ 98640 w 234857"/>
                  <a:gd name="connsiteY370" fmla="*/ 12122 h 215613"/>
                  <a:gd name="connsiteX371" fmla="*/ 96367 w 234857"/>
                  <a:gd name="connsiteY371" fmla="*/ 14243 h 215613"/>
                  <a:gd name="connsiteX372" fmla="*/ 92731 w 234857"/>
                  <a:gd name="connsiteY372" fmla="*/ 14091 h 215613"/>
                  <a:gd name="connsiteX373" fmla="*/ 89701 w 234857"/>
                  <a:gd name="connsiteY373" fmla="*/ 13788 h 215613"/>
                  <a:gd name="connsiteX374" fmla="*/ 88185 w 234857"/>
                  <a:gd name="connsiteY374" fmla="*/ 13788 h 215613"/>
                  <a:gd name="connsiteX375" fmla="*/ 86064 w 234857"/>
                  <a:gd name="connsiteY375" fmla="*/ 13940 h 215613"/>
                  <a:gd name="connsiteX376" fmla="*/ 85306 w 234857"/>
                  <a:gd name="connsiteY376" fmla="*/ 14546 h 215613"/>
                  <a:gd name="connsiteX377" fmla="*/ 84549 w 234857"/>
                  <a:gd name="connsiteY377" fmla="*/ 18940 h 215613"/>
                  <a:gd name="connsiteX378" fmla="*/ 81215 w 234857"/>
                  <a:gd name="connsiteY378" fmla="*/ 20152 h 215613"/>
                  <a:gd name="connsiteX379" fmla="*/ 78185 w 234857"/>
                  <a:gd name="connsiteY379" fmla="*/ 20910 h 215613"/>
                  <a:gd name="connsiteX380" fmla="*/ 75609 w 234857"/>
                  <a:gd name="connsiteY380" fmla="*/ 20758 h 215613"/>
                  <a:gd name="connsiteX381" fmla="*/ 71215 w 234857"/>
                  <a:gd name="connsiteY381" fmla="*/ 19698 h 215613"/>
                  <a:gd name="connsiteX382" fmla="*/ 69700 w 234857"/>
                  <a:gd name="connsiteY382" fmla="*/ 19546 h 215613"/>
                  <a:gd name="connsiteX383" fmla="*/ 68488 w 234857"/>
                  <a:gd name="connsiteY383" fmla="*/ 20152 h 215613"/>
                  <a:gd name="connsiteX384" fmla="*/ 64548 w 234857"/>
                  <a:gd name="connsiteY384" fmla="*/ 20455 h 215613"/>
                  <a:gd name="connsiteX385" fmla="*/ 62730 w 234857"/>
                  <a:gd name="connsiteY385" fmla="*/ 21213 h 215613"/>
                  <a:gd name="connsiteX386" fmla="*/ 58638 w 234857"/>
                  <a:gd name="connsiteY386" fmla="*/ 26365 h 215613"/>
                  <a:gd name="connsiteX387" fmla="*/ 54548 w 234857"/>
                  <a:gd name="connsiteY387" fmla="*/ 28183 h 215613"/>
                  <a:gd name="connsiteX388" fmla="*/ 53184 w 234857"/>
                  <a:gd name="connsiteY388" fmla="*/ 29092 h 215613"/>
                  <a:gd name="connsiteX389" fmla="*/ 50002 w 234857"/>
                  <a:gd name="connsiteY389" fmla="*/ 28031 h 215613"/>
                  <a:gd name="connsiteX390" fmla="*/ 48487 w 234857"/>
                  <a:gd name="connsiteY390" fmla="*/ 27880 h 215613"/>
                  <a:gd name="connsiteX391" fmla="*/ 46214 w 234857"/>
                  <a:gd name="connsiteY391" fmla="*/ 29243 h 215613"/>
                  <a:gd name="connsiteX392" fmla="*/ 41365 w 234857"/>
                  <a:gd name="connsiteY392" fmla="*/ 29395 h 215613"/>
                  <a:gd name="connsiteX393" fmla="*/ 40002 w 234857"/>
                  <a:gd name="connsiteY393" fmla="*/ 29547 h 215613"/>
                  <a:gd name="connsiteX394" fmla="*/ 36214 w 234857"/>
                  <a:gd name="connsiteY394" fmla="*/ 29698 h 215613"/>
                  <a:gd name="connsiteX395" fmla="*/ 35910 w 234857"/>
                  <a:gd name="connsiteY395" fmla="*/ 32122 h 215613"/>
                  <a:gd name="connsiteX396" fmla="*/ 36819 w 234857"/>
                  <a:gd name="connsiteY396" fmla="*/ 33941 h 215613"/>
                  <a:gd name="connsiteX397" fmla="*/ 38032 w 234857"/>
                  <a:gd name="connsiteY397" fmla="*/ 35910 h 215613"/>
                  <a:gd name="connsiteX398" fmla="*/ 38032 w 234857"/>
                  <a:gd name="connsiteY398" fmla="*/ 37123 h 215613"/>
                  <a:gd name="connsiteX399" fmla="*/ 37274 w 234857"/>
                  <a:gd name="connsiteY399" fmla="*/ 39092 h 215613"/>
                  <a:gd name="connsiteX400" fmla="*/ 35910 w 234857"/>
                  <a:gd name="connsiteY400" fmla="*/ 41365 h 215613"/>
                  <a:gd name="connsiteX401" fmla="*/ 34092 w 234857"/>
                  <a:gd name="connsiteY401" fmla="*/ 42274 h 215613"/>
                  <a:gd name="connsiteX402" fmla="*/ 31971 w 234857"/>
                  <a:gd name="connsiteY402" fmla="*/ 43032 h 215613"/>
                  <a:gd name="connsiteX403" fmla="*/ 30910 w 234857"/>
                  <a:gd name="connsiteY403" fmla="*/ 44699 h 215613"/>
                  <a:gd name="connsiteX404" fmla="*/ 30456 w 234857"/>
                  <a:gd name="connsiteY404" fmla="*/ 46517 h 215613"/>
                  <a:gd name="connsiteX405" fmla="*/ 29547 w 234857"/>
                  <a:gd name="connsiteY405" fmla="*/ 47880 h 215613"/>
                  <a:gd name="connsiteX406" fmla="*/ 28941 w 234857"/>
                  <a:gd name="connsiteY406" fmla="*/ 49396 h 215613"/>
                  <a:gd name="connsiteX407" fmla="*/ 28031 w 234857"/>
                  <a:gd name="connsiteY407" fmla="*/ 52426 h 215613"/>
                  <a:gd name="connsiteX408" fmla="*/ 27880 w 234857"/>
                  <a:gd name="connsiteY408" fmla="*/ 53487 h 215613"/>
                  <a:gd name="connsiteX409" fmla="*/ 26516 w 234857"/>
                  <a:gd name="connsiteY409" fmla="*/ 54547 h 215613"/>
                  <a:gd name="connsiteX410" fmla="*/ 24395 w 234857"/>
                  <a:gd name="connsiteY410" fmla="*/ 55002 h 215613"/>
                  <a:gd name="connsiteX411" fmla="*/ 22425 w 234857"/>
                  <a:gd name="connsiteY411" fmla="*/ 55154 h 215613"/>
                  <a:gd name="connsiteX412" fmla="*/ 21062 w 234857"/>
                  <a:gd name="connsiteY412" fmla="*/ 55608 h 215613"/>
                  <a:gd name="connsiteX413" fmla="*/ 20455 w 234857"/>
                  <a:gd name="connsiteY413" fmla="*/ 56669 h 215613"/>
                  <a:gd name="connsiteX414" fmla="*/ 19243 w 234857"/>
                  <a:gd name="connsiteY414" fmla="*/ 57578 h 215613"/>
                  <a:gd name="connsiteX415" fmla="*/ 18486 w 234857"/>
                  <a:gd name="connsiteY415" fmla="*/ 57881 h 215613"/>
                  <a:gd name="connsiteX416" fmla="*/ 18486 w 234857"/>
                  <a:gd name="connsiteY416" fmla="*/ 58790 h 215613"/>
                  <a:gd name="connsiteX417" fmla="*/ 19395 w 234857"/>
                  <a:gd name="connsiteY417" fmla="*/ 60760 h 215613"/>
                  <a:gd name="connsiteX418" fmla="*/ 20455 w 234857"/>
                  <a:gd name="connsiteY418" fmla="*/ 62275 h 215613"/>
                  <a:gd name="connsiteX419" fmla="*/ 20455 w 234857"/>
                  <a:gd name="connsiteY419" fmla="*/ 63487 h 215613"/>
                  <a:gd name="connsiteX420" fmla="*/ 20001 w 234857"/>
                  <a:gd name="connsiteY420" fmla="*/ 63790 h 215613"/>
                  <a:gd name="connsiteX421" fmla="*/ 18486 w 234857"/>
                  <a:gd name="connsiteY421" fmla="*/ 63639 h 215613"/>
                  <a:gd name="connsiteX422" fmla="*/ 18183 w 234857"/>
                  <a:gd name="connsiteY422" fmla="*/ 64093 h 215613"/>
                  <a:gd name="connsiteX423" fmla="*/ 18031 w 234857"/>
                  <a:gd name="connsiteY423" fmla="*/ 65457 h 215613"/>
                  <a:gd name="connsiteX424" fmla="*/ 17576 w 234857"/>
                  <a:gd name="connsiteY424" fmla="*/ 66669 h 215613"/>
                  <a:gd name="connsiteX425" fmla="*/ 16970 w 234857"/>
                  <a:gd name="connsiteY425" fmla="*/ 67427 h 215613"/>
                  <a:gd name="connsiteX426" fmla="*/ 15910 w 234857"/>
                  <a:gd name="connsiteY426" fmla="*/ 68184 h 215613"/>
                  <a:gd name="connsiteX427" fmla="*/ 13788 w 234857"/>
                  <a:gd name="connsiteY427" fmla="*/ 67881 h 215613"/>
                  <a:gd name="connsiteX428" fmla="*/ 11819 w 234857"/>
                  <a:gd name="connsiteY428" fmla="*/ 66669 h 215613"/>
                  <a:gd name="connsiteX429" fmla="*/ 10758 w 234857"/>
                  <a:gd name="connsiteY429" fmla="*/ 66366 h 215613"/>
                  <a:gd name="connsiteX430" fmla="*/ 10152 w 234857"/>
                  <a:gd name="connsiteY430" fmla="*/ 66366 h 215613"/>
                  <a:gd name="connsiteX431" fmla="*/ 12879 w 234857"/>
                  <a:gd name="connsiteY431" fmla="*/ 68487 h 215613"/>
                  <a:gd name="connsiteX432" fmla="*/ 15455 w 234857"/>
                  <a:gd name="connsiteY432" fmla="*/ 71518 h 215613"/>
                  <a:gd name="connsiteX433" fmla="*/ 18486 w 234857"/>
                  <a:gd name="connsiteY433" fmla="*/ 78488 h 215613"/>
                  <a:gd name="connsiteX434" fmla="*/ 23031 w 234857"/>
                  <a:gd name="connsiteY434" fmla="*/ 80761 h 215613"/>
                  <a:gd name="connsiteX435" fmla="*/ 25910 w 234857"/>
                  <a:gd name="connsiteY435" fmla="*/ 84246 h 215613"/>
                  <a:gd name="connsiteX436" fmla="*/ 29243 w 234857"/>
                  <a:gd name="connsiteY436" fmla="*/ 86821 h 215613"/>
                  <a:gd name="connsiteX437" fmla="*/ 29850 w 234857"/>
                  <a:gd name="connsiteY437" fmla="*/ 87882 h 215613"/>
                  <a:gd name="connsiteX438" fmla="*/ 31668 w 234857"/>
                  <a:gd name="connsiteY438" fmla="*/ 88791 h 215613"/>
                  <a:gd name="connsiteX439" fmla="*/ 35607 w 234857"/>
                  <a:gd name="connsiteY439" fmla="*/ 87882 h 215613"/>
                  <a:gd name="connsiteX440" fmla="*/ 38638 w 234857"/>
                  <a:gd name="connsiteY440" fmla="*/ 88185 h 215613"/>
                  <a:gd name="connsiteX441" fmla="*/ 39547 w 234857"/>
                  <a:gd name="connsiteY441" fmla="*/ 88034 h 215613"/>
                  <a:gd name="connsiteX442" fmla="*/ 40911 w 234857"/>
                  <a:gd name="connsiteY442" fmla="*/ 88034 h 215613"/>
                  <a:gd name="connsiteX443" fmla="*/ 41668 w 234857"/>
                  <a:gd name="connsiteY443" fmla="*/ 89700 h 215613"/>
                  <a:gd name="connsiteX444" fmla="*/ 41820 w 234857"/>
                  <a:gd name="connsiteY444" fmla="*/ 91519 h 215613"/>
                  <a:gd name="connsiteX445" fmla="*/ 40759 w 234857"/>
                  <a:gd name="connsiteY445" fmla="*/ 92276 h 215613"/>
                  <a:gd name="connsiteX446" fmla="*/ 39698 w 234857"/>
                  <a:gd name="connsiteY446" fmla="*/ 92579 h 215613"/>
                  <a:gd name="connsiteX447" fmla="*/ 34698 w 234857"/>
                  <a:gd name="connsiteY447" fmla="*/ 90761 h 215613"/>
                  <a:gd name="connsiteX448" fmla="*/ 31517 w 234857"/>
                  <a:gd name="connsiteY448" fmla="*/ 91215 h 215613"/>
                  <a:gd name="connsiteX449" fmla="*/ 31213 w 234857"/>
                  <a:gd name="connsiteY449" fmla="*/ 92882 h 215613"/>
                  <a:gd name="connsiteX450" fmla="*/ 31517 w 234857"/>
                  <a:gd name="connsiteY450" fmla="*/ 95003 h 215613"/>
                  <a:gd name="connsiteX451" fmla="*/ 34092 w 234857"/>
                  <a:gd name="connsiteY451" fmla="*/ 96064 h 215613"/>
                  <a:gd name="connsiteX452" fmla="*/ 37274 w 234857"/>
                  <a:gd name="connsiteY452" fmla="*/ 100004 h 215613"/>
                  <a:gd name="connsiteX453" fmla="*/ 39093 w 234857"/>
                  <a:gd name="connsiteY453" fmla="*/ 104852 h 215613"/>
                  <a:gd name="connsiteX454" fmla="*/ 40607 w 234857"/>
                  <a:gd name="connsiteY454" fmla="*/ 108640 h 215613"/>
                  <a:gd name="connsiteX455" fmla="*/ 42577 w 234857"/>
                  <a:gd name="connsiteY455" fmla="*/ 109853 h 215613"/>
                  <a:gd name="connsiteX456" fmla="*/ 45911 w 234857"/>
                  <a:gd name="connsiteY456" fmla="*/ 108943 h 215613"/>
                  <a:gd name="connsiteX457" fmla="*/ 46669 w 234857"/>
                  <a:gd name="connsiteY457" fmla="*/ 107277 h 215613"/>
                  <a:gd name="connsiteX458" fmla="*/ 46669 w 234857"/>
                  <a:gd name="connsiteY458" fmla="*/ 105307 h 215613"/>
                  <a:gd name="connsiteX459" fmla="*/ 47274 w 234857"/>
                  <a:gd name="connsiteY459" fmla="*/ 105761 h 215613"/>
                  <a:gd name="connsiteX460" fmla="*/ 48183 w 234857"/>
                  <a:gd name="connsiteY460" fmla="*/ 107883 h 215613"/>
                  <a:gd name="connsiteX461" fmla="*/ 50457 w 234857"/>
                  <a:gd name="connsiteY461" fmla="*/ 110610 h 215613"/>
                  <a:gd name="connsiteX462" fmla="*/ 53032 w 234857"/>
                  <a:gd name="connsiteY462" fmla="*/ 110155 h 215613"/>
                  <a:gd name="connsiteX463" fmla="*/ 55305 w 234857"/>
                  <a:gd name="connsiteY463" fmla="*/ 109550 h 215613"/>
                  <a:gd name="connsiteX464" fmla="*/ 57124 w 234857"/>
                  <a:gd name="connsiteY464" fmla="*/ 109550 h 215613"/>
                  <a:gd name="connsiteX465" fmla="*/ 59548 w 234857"/>
                  <a:gd name="connsiteY465" fmla="*/ 109246 h 215613"/>
                  <a:gd name="connsiteX466" fmla="*/ 63942 w 234857"/>
                  <a:gd name="connsiteY466" fmla="*/ 107731 h 215613"/>
                  <a:gd name="connsiteX467" fmla="*/ 71063 w 234857"/>
                  <a:gd name="connsiteY467" fmla="*/ 109550 h 215613"/>
                  <a:gd name="connsiteX468" fmla="*/ 73639 w 234857"/>
                  <a:gd name="connsiteY468" fmla="*/ 109398 h 215613"/>
                  <a:gd name="connsiteX469" fmla="*/ 75458 w 234857"/>
                  <a:gd name="connsiteY469" fmla="*/ 108489 h 215613"/>
                  <a:gd name="connsiteX470" fmla="*/ 76518 w 234857"/>
                  <a:gd name="connsiteY470" fmla="*/ 106822 h 215613"/>
                  <a:gd name="connsiteX471" fmla="*/ 80912 w 234857"/>
                  <a:gd name="connsiteY471" fmla="*/ 109853 h 215613"/>
                  <a:gd name="connsiteX472" fmla="*/ 85609 w 234857"/>
                  <a:gd name="connsiteY472" fmla="*/ 111671 h 215613"/>
                  <a:gd name="connsiteX473" fmla="*/ 86367 w 234857"/>
                  <a:gd name="connsiteY473" fmla="*/ 112580 h 215613"/>
                  <a:gd name="connsiteX474" fmla="*/ 87731 w 234857"/>
                  <a:gd name="connsiteY474" fmla="*/ 113489 h 215613"/>
                  <a:gd name="connsiteX475" fmla="*/ 90458 w 234857"/>
                  <a:gd name="connsiteY475" fmla="*/ 114550 h 215613"/>
                  <a:gd name="connsiteX476" fmla="*/ 92125 w 234857"/>
                  <a:gd name="connsiteY476" fmla="*/ 114095 h 215613"/>
                  <a:gd name="connsiteX477" fmla="*/ 93185 w 234857"/>
                  <a:gd name="connsiteY477" fmla="*/ 114550 h 215613"/>
                  <a:gd name="connsiteX478" fmla="*/ 94852 w 234857"/>
                  <a:gd name="connsiteY478" fmla="*/ 114701 h 215613"/>
                  <a:gd name="connsiteX479" fmla="*/ 96367 w 234857"/>
                  <a:gd name="connsiteY479" fmla="*/ 115307 h 215613"/>
                  <a:gd name="connsiteX480" fmla="*/ 97277 w 234857"/>
                  <a:gd name="connsiteY480" fmla="*/ 116671 h 215613"/>
                  <a:gd name="connsiteX481" fmla="*/ 96367 w 234857"/>
                  <a:gd name="connsiteY481" fmla="*/ 117883 h 215613"/>
                  <a:gd name="connsiteX482" fmla="*/ 95458 w 234857"/>
                  <a:gd name="connsiteY482" fmla="*/ 118641 h 215613"/>
                  <a:gd name="connsiteX483" fmla="*/ 90912 w 234857"/>
                  <a:gd name="connsiteY483" fmla="*/ 118641 h 215613"/>
                  <a:gd name="connsiteX484" fmla="*/ 89246 w 234857"/>
                  <a:gd name="connsiteY484" fmla="*/ 119398 h 215613"/>
                  <a:gd name="connsiteX485" fmla="*/ 89852 w 234857"/>
                  <a:gd name="connsiteY485" fmla="*/ 120762 h 215613"/>
                  <a:gd name="connsiteX486" fmla="*/ 90003 w 234857"/>
                  <a:gd name="connsiteY486" fmla="*/ 122277 h 215613"/>
                  <a:gd name="connsiteX487" fmla="*/ 88034 w 234857"/>
                  <a:gd name="connsiteY487" fmla="*/ 121974 h 215613"/>
                  <a:gd name="connsiteX488" fmla="*/ 86822 w 234857"/>
                  <a:gd name="connsiteY488" fmla="*/ 121520 h 215613"/>
                  <a:gd name="connsiteX489" fmla="*/ 84397 w 234857"/>
                  <a:gd name="connsiteY489" fmla="*/ 119398 h 215613"/>
                  <a:gd name="connsiteX490" fmla="*/ 80155 w 234857"/>
                  <a:gd name="connsiteY490" fmla="*/ 117277 h 215613"/>
                  <a:gd name="connsiteX491" fmla="*/ 71669 w 234857"/>
                  <a:gd name="connsiteY491" fmla="*/ 114853 h 215613"/>
                  <a:gd name="connsiteX492" fmla="*/ 63791 w 234857"/>
                  <a:gd name="connsiteY492" fmla="*/ 110610 h 215613"/>
                  <a:gd name="connsiteX493" fmla="*/ 60305 w 234857"/>
                  <a:gd name="connsiteY493" fmla="*/ 110459 h 215613"/>
                  <a:gd name="connsiteX494" fmla="*/ 58184 w 234857"/>
                  <a:gd name="connsiteY494" fmla="*/ 112125 h 215613"/>
                  <a:gd name="connsiteX495" fmla="*/ 55760 w 234857"/>
                  <a:gd name="connsiteY495" fmla="*/ 115307 h 215613"/>
                  <a:gd name="connsiteX496" fmla="*/ 52729 w 234857"/>
                  <a:gd name="connsiteY496" fmla="*/ 115610 h 215613"/>
                  <a:gd name="connsiteX497" fmla="*/ 50002 w 234857"/>
                  <a:gd name="connsiteY497" fmla="*/ 114398 h 215613"/>
                  <a:gd name="connsiteX498" fmla="*/ 48639 w 234857"/>
                  <a:gd name="connsiteY498" fmla="*/ 114701 h 215613"/>
                  <a:gd name="connsiteX499" fmla="*/ 46062 w 234857"/>
                  <a:gd name="connsiteY499" fmla="*/ 120004 h 215613"/>
                  <a:gd name="connsiteX500" fmla="*/ 41668 w 234857"/>
                  <a:gd name="connsiteY500" fmla="*/ 123489 h 215613"/>
                  <a:gd name="connsiteX501" fmla="*/ 41062 w 234857"/>
                  <a:gd name="connsiteY501" fmla="*/ 124398 h 215613"/>
                  <a:gd name="connsiteX502" fmla="*/ 41365 w 234857"/>
                  <a:gd name="connsiteY502" fmla="*/ 125611 h 215613"/>
                  <a:gd name="connsiteX503" fmla="*/ 43184 w 234857"/>
                  <a:gd name="connsiteY503" fmla="*/ 126368 h 215613"/>
                  <a:gd name="connsiteX504" fmla="*/ 45456 w 234857"/>
                  <a:gd name="connsiteY504" fmla="*/ 128035 h 215613"/>
                  <a:gd name="connsiteX505" fmla="*/ 46517 w 234857"/>
                  <a:gd name="connsiteY505" fmla="*/ 131369 h 215613"/>
                  <a:gd name="connsiteX506" fmla="*/ 48941 w 234857"/>
                  <a:gd name="connsiteY506" fmla="*/ 132278 h 215613"/>
                  <a:gd name="connsiteX507" fmla="*/ 53184 w 234857"/>
                  <a:gd name="connsiteY507" fmla="*/ 135459 h 215613"/>
                  <a:gd name="connsiteX508" fmla="*/ 56063 w 234857"/>
                  <a:gd name="connsiteY508" fmla="*/ 140308 h 215613"/>
                  <a:gd name="connsiteX509" fmla="*/ 56366 w 234857"/>
                  <a:gd name="connsiteY509" fmla="*/ 142733 h 215613"/>
                  <a:gd name="connsiteX510" fmla="*/ 53184 w 234857"/>
                  <a:gd name="connsiteY510" fmla="*/ 146217 h 215613"/>
                  <a:gd name="connsiteX511" fmla="*/ 53336 w 234857"/>
                  <a:gd name="connsiteY511" fmla="*/ 150006 h 215613"/>
                  <a:gd name="connsiteX512" fmla="*/ 57578 w 234857"/>
                  <a:gd name="connsiteY512" fmla="*/ 156824 h 215613"/>
                  <a:gd name="connsiteX513" fmla="*/ 61821 w 234857"/>
                  <a:gd name="connsiteY513" fmla="*/ 160764 h 215613"/>
                  <a:gd name="connsiteX514" fmla="*/ 63033 w 234857"/>
                  <a:gd name="connsiteY514" fmla="*/ 158642 h 215613"/>
                  <a:gd name="connsiteX515" fmla="*/ 63184 w 234857"/>
                  <a:gd name="connsiteY515" fmla="*/ 155915 h 215613"/>
                  <a:gd name="connsiteX516" fmla="*/ 63639 w 234857"/>
                  <a:gd name="connsiteY516" fmla="*/ 152884 h 215613"/>
                  <a:gd name="connsiteX517" fmla="*/ 65154 w 234857"/>
                  <a:gd name="connsiteY517" fmla="*/ 152127 h 215613"/>
                  <a:gd name="connsiteX518" fmla="*/ 66972 w 234857"/>
                  <a:gd name="connsiteY518" fmla="*/ 151672 h 215613"/>
                  <a:gd name="connsiteX519" fmla="*/ 68488 w 234857"/>
                  <a:gd name="connsiteY519" fmla="*/ 153642 h 215613"/>
                  <a:gd name="connsiteX520" fmla="*/ 69397 w 234857"/>
                  <a:gd name="connsiteY520" fmla="*/ 155612 h 215613"/>
                  <a:gd name="connsiteX521" fmla="*/ 71215 w 234857"/>
                  <a:gd name="connsiteY521" fmla="*/ 156218 h 215613"/>
                  <a:gd name="connsiteX522" fmla="*/ 75155 w 234857"/>
                  <a:gd name="connsiteY522" fmla="*/ 161824 h 215613"/>
                  <a:gd name="connsiteX523" fmla="*/ 75306 w 234857"/>
                  <a:gd name="connsiteY523" fmla="*/ 163491 h 215613"/>
                  <a:gd name="connsiteX524" fmla="*/ 75155 w 234857"/>
                  <a:gd name="connsiteY524" fmla="*/ 167582 h 215613"/>
                  <a:gd name="connsiteX525" fmla="*/ 76669 w 234857"/>
                  <a:gd name="connsiteY525" fmla="*/ 168794 h 215613"/>
                  <a:gd name="connsiteX526" fmla="*/ 78336 w 234857"/>
                  <a:gd name="connsiteY526" fmla="*/ 169703 h 215613"/>
                  <a:gd name="connsiteX527" fmla="*/ 78336 w 234857"/>
                  <a:gd name="connsiteY527" fmla="*/ 165915 h 215613"/>
                  <a:gd name="connsiteX528" fmla="*/ 81670 w 234857"/>
                  <a:gd name="connsiteY528" fmla="*/ 159248 h 215613"/>
                  <a:gd name="connsiteX529" fmla="*/ 84700 w 234857"/>
                  <a:gd name="connsiteY529" fmla="*/ 158794 h 215613"/>
                  <a:gd name="connsiteX530" fmla="*/ 86367 w 234857"/>
                  <a:gd name="connsiteY530" fmla="*/ 159097 h 215613"/>
                  <a:gd name="connsiteX531" fmla="*/ 87731 w 234857"/>
                  <a:gd name="connsiteY531" fmla="*/ 162127 h 215613"/>
                  <a:gd name="connsiteX532" fmla="*/ 91822 w 234857"/>
                  <a:gd name="connsiteY532" fmla="*/ 167127 h 215613"/>
                  <a:gd name="connsiteX533" fmla="*/ 93943 w 234857"/>
                  <a:gd name="connsiteY533" fmla="*/ 168491 h 215613"/>
                  <a:gd name="connsiteX534" fmla="*/ 95155 w 234857"/>
                  <a:gd name="connsiteY534" fmla="*/ 169552 h 215613"/>
                  <a:gd name="connsiteX535" fmla="*/ 96670 w 234857"/>
                  <a:gd name="connsiteY535" fmla="*/ 169703 h 215613"/>
                  <a:gd name="connsiteX536" fmla="*/ 95307 w 234857"/>
                  <a:gd name="connsiteY536" fmla="*/ 166521 h 215613"/>
                  <a:gd name="connsiteX537" fmla="*/ 93337 w 234857"/>
                  <a:gd name="connsiteY537" fmla="*/ 163491 h 215613"/>
                  <a:gd name="connsiteX538" fmla="*/ 94246 w 234857"/>
                  <a:gd name="connsiteY538" fmla="*/ 159400 h 215613"/>
                  <a:gd name="connsiteX539" fmla="*/ 93943 w 234857"/>
                  <a:gd name="connsiteY539" fmla="*/ 156976 h 215613"/>
                  <a:gd name="connsiteX540" fmla="*/ 92125 w 234857"/>
                  <a:gd name="connsiteY540" fmla="*/ 151824 h 215613"/>
                  <a:gd name="connsiteX541" fmla="*/ 88185 w 234857"/>
                  <a:gd name="connsiteY541" fmla="*/ 143187 h 215613"/>
                  <a:gd name="connsiteX542" fmla="*/ 85761 w 234857"/>
                  <a:gd name="connsiteY542" fmla="*/ 140005 h 215613"/>
                  <a:gd name="connsiteX543" fmla="*/ 84700 w 234857"/>
                  <a:gd name="connsiteY543" fmla="*/ 135308 h 215613"/>
                  <a:gd name="connsiteX544" fmla="*/ 86064 w 234857"/>
                  <a:gd name="connsiteY544" fmla="*/ 133944 h 215613"/>
                  <a:gd name="connsiteX545" fmla="*/ 88185 w 234857"/>
                  <a:gd name="connsiteY545" fmla="*/ 135611 h 215613"/>
                  <a:gd name="connsiteX546" fmla="*/ 90610 w 234857"/>
                  <a:gd name="connsiteY546" fmla="*/ 136066 h 215613"/>
                  <a:gd name="connsiteX547" fmla="*/ 92579 w 234857"/>
                  <a:gd name="connsiteY547" fmla="*/ 137126 h 215613"/>
                  <a:gd name="connsiteX548" fmla="*/ 94852 w 234857"/>
                  <a:gd name="connsiteY548" fmla="*/ 138490 h 215613"/>
                  <a:gd name="connsiteX549" fmla="*/ 95004 w 234857"/>
                  <a:gd name="connsiteY549" fmla="*/ 140914 h 215613"/>
                  <a:gd name="connsiteX550" fmla="*/ 96670 w 234857"/>
                  <a:gd name="connsiteY550" fmla="*/ 141823 h 215613"/>
                  <a:gd name="connsiteX551" fmla="*/ 97731 w 234857"/>
                  <a:gd name="connsiteY551" fmla="*/ 141369 h 215613"/>
                  <a:gd name="connsiteX552" fmla="*/ 99095 w 234857"/>
                  <a:gd name="connsiteY552" fmla="*/ 140460 h 215613"/>
                  <a:gd name="connsiteX553" fmla="*/ 105610 w 234857"/>
                  <a:gd name="connsiteY553" fmla="*/ 138490 h 215613"/>
                  <a:gd name="connsiteX554" fmla="*/ 105610 w 234857"/>
                  <a:gd name="connsiteY554" fmla="*/ 137732 h 215613"/>
                  <a:gd name="connsiteX555" fmla="*/ 104701 w 234857"/>
                  <a:gd name="connsiteY555" fmla="*/ 136672 h 215613"/>
                  <a:gd name="connsiteX556" fmla="*/ 103034 w 234857"/>
                  <a:gd name="connsiteY556" fmla="*/ 134702 h 215613"/>
                  <a:gd name="connsiteX557" fmla="*/ 176976 w 234857"/>
                  <a:gd name="connsiteY557" fmla="*/ 102883 h 215613"/>
                  <a:gd name="connsiteX558" fmla="*/ 174249 w 234857"/>
                  <a:gd name="connsiteY558" fmla="*/ 101064 h 215613"/>
                  <a:gd name="connsiteX559" fmla="*/ 169703 w 234857"/>
                  <a:gd name="connsiteY559" fmla="*/ 101973 h 215613"/>
                  <a:gd name="connsiteX560" fmla="*/ 169855 w 234857"/>
                  <a:gd name="connsiteY560" fmla="*/ 104095 h 215613"/>
                  <a:gd name="connsiteX561" fmla="*/ 172885 w 234857"/>
                  <a:gd name="connsiteY561" fmla="*/ 106974 h 215613"/>
                  <a:gd name="connsiteX562" fmla="*/ 173794 w 234857"/>
                  <a:gd name="connsiteY562" fmla="*/ 108943 h 215613"/>
                  <a:gd name="connsiteX563" fmla="*/ 172734 w 234857"/>
                  <a:gd name="connsiteY563" fmla="*/ 110610 h 215613"/>
                  <a:gd name="connsiteX564" fmla="*/ 170613 w 234857"/>
                  <a:gd name="connsiteY564" fmla="*/ 111671 h 215613"/>
                  <a:gd name="connsiteX565" fmla="*/ 171067 w 234857"/>
                  <a:gd name="connsiteY565" fmla="*/ 112580 h 215613"/>
                  <a:gd name="connsiteX566" fmla="*/ 173946 w 234857"/>
                  <a:gd name="connsiteY566" fmla="*/ 115156 h 215613"/>
                  <a:gd name="connsiteX567" fmla="*/ 176522 w 234857"/>
                  <a:gd name="connsiteY567" fmla="*/ 113338 h 215613"/>
                  <a:gd name="connsiteX568" fmla="*/ 176825 w 234857"/>
                  <a:gd name="connsiteY568" fmla="*/ 112883 h 215613"/>
                  <a:gd name="connsiteX569" fmla="*/ 176976 w 234857"/>
                  <a:gd name="connsiteY569" fmla="*/ 111368 h 215613"/>
                  <a:gd name="connsiteX570" fmla="*/ 178189 w 234857"/>
                  <a:gd name="connsiteY570" fmla="*/ 110610 h 215613"/>
                  <a:gd name="connsiteX571" fmla="*/ 178037 w 234857"/>
                  <a:gd name="connsiteY571" fmla="*/ 105307 h 215613"/>
                  <a:gd name="connsiteX572" fmla="*/ 177734 w 234857"/>
                  <a:gd name="connsiteY572" fmla="*/ 104701 h 215613"/>
                  <a:gd name="connsiteX573" fmla="*/ 178189 w 234857"/>
                  <a:gd name="connsiteY573" fmla="*/ 103034 h 215613"/>
                  <a:gd name="connsiteX574" fmla="*/ 176976 w 234857"/>
                  <a:gd name="connsiteY574" fmla="*/ 102883 h 215613"/>
                  <a:gd name="connsiteX575" fmla="*/ 32729 w 234857"/>
                  <a:gd name="connsiteY575" fmla="*/ 125156 h 215613"/>
                  <a:gd name="connsiteX576" fmla="*/ 30456 w 234857"/>
                  <a:gd name="connsiteY576" fmla="*/ 124702 h 215613"/>
                  <a:gd name="connsiteX577" fmla="*/ 28638 w 234857"/>
                  <a:gd name="connsiteY577" fmla="*/ 122277 h 215613"/>
                  <a:gd name="connsiteX578" fmla="*/ 26668 w 234857"/>
                  <a:gd name="connsiteY578" fmla="*/ 124702 h 215613"/>
                  <a:gd name="connsiteX579" fmla="*/ 27122 w 234857"/>
                  <a:gd name="connsiteY579" fmla="*/ 125762 h 215613"/>
                  <a:gd name="connsiteX580" fmla="*/ 28941 w 234857"/>
                  <a:gd name="connsiteY580" fmla="*/ 128338 h 215613"/>
                  <a:gd name="connsiteX581" fmla="*/ 32122 w 234857"/>
                  <a:gd name="connsiteY581" fmla="*/ 130762 h 215613"/>
                  <a:gd name="connsiteX582" fmla="*/ 34547 w 234857"/>
                  <a:gd name="connsiteY582" fmla="*/ 128641 h 215613"/>
                  <a:gd name="connsiteX583" fmla="*/ 36819 w 234857"/>
                  <a:gd name="connsiteY583" fmla="*/ 129399 h 215613"/>
                  <a:gd name="connsiteX584" fmla="*/ 33941 w 234857"/>
                  <a:gd name="connsiteY584" fmla="*/ 126368 h 215613"/>
                  <a:gd name="connsiteX585" fmla="*/ 32729 w 234857"/>
                  <a:gd name="connsiteY585" fmla="*/ 125156 h 215613"/>
                  <a:gd name="connsiteX586" fmla="*/ 173794 w 234857"/>
                  <a:gd name="connsiteY586" fmla="*/ 133944 h 215613"/>
                  <a:gd name="connsiteX587" fmla="*/ 173340 w 234857"/>
                  <a:gd name="connsiteY587" fmla="*/ 135157 h 215613"/>
                  <a:gd name="connsiteX588" fmla="*/ 174552 w 234857"/>
                  <a:gd name="connsiteY588" fmla="*/ 135005 h 215613"/>
                  <a:gd name="connsiteX589" fmla="*/ 179401 w 234857"/>
                  <a:gd name="connsiteY589" fmla="*/ 133793 h 215613"/>
                  <a:gd name="connsiteX590" fmla="*/ 181977 w 234857"/>
                  <a:gd name="connsiteY590" fmla="*/ 132126 h 215613"/>
                  <a:gd name="connsiteX591" fmla="*/ 183492 w 234857"/>
                  <a:gd name="connsiteY591" fmla="*/ 130459 h 215613"/>
                  <a:gd name="connsiteX592" fmla="*/ 182734 w 234857"/>
                  <a:gd name="connsiteY592" fmla="*/ 130459 h 215613"/>
                  <a:gd name="connsiteX593" fmla="*/ 179552 w 234857"/>
                  <a:gd name="connsiteY593" fmla="*/ 131520 h 215613"/>
                  <a:gd name="connsiteX594" fmla="*/ 176067 w 234857"/>
                  <a:gd name="connsiteY594" fmla="*/ 131671 h 215613"/>
                  <a:gd name="connsiteX595" fmla="*/ 173794 w 234857"/>
                  <a:gd name="connsiteY595" fmla="*/ 133944 h 215613"/>
                  <a:gd name="connsiteX596" fmla="*/ 224251 w 234857"/>
                  <a:gd name="connsiteY596" fmla="*/ 166067 h 215613"/>
                  <a:gd name="connsiteX597" fmla="*/ 224857 w 234857"/>
                  <a:gd name="connsiteY597" fmla="*/ 165612 h 215613"/>
                  <a:gd name="connsiteX598" fmla="*/ 225160 w 234857"/>
                  <a:gd name="connsiteY598" fmla="*/ 164703 h 215613"/>
                  <a:gd name="connsiteX599" fmla="*/ 225160 w 234857"/>
                  <a:gd name="connsiteY599" fmla="*/ 163491 h 215613"/>
                  <a:gd name="connsiteX600" fmla="*/ 225008 w 234857"/>
                  <a:gd name="connsiteY600" fmla="*/ 162885 h 215613"/>
                  <a:gd name="connsiteX601" fmla="*/ 224251 w 234857"/>
                  <a:gd name="connsiteY601" fmla="*/ 163036 h 215613"/>
                  <a:gd name="connsiteX602" fmla="*/ 222887 w 234857"/>
                  <a:gd name="connsiteY602" fmla="*/ 163945 h 215613"/>
                  <a:gd name="connsiteX603" fmla="*/ 222887 w 234857"/>
                  <a:gd name="connsiteY603" fmla="*/ 164703 h 215613"/>
                  <a:gd name="connsiteX604" fmla="*/ 224251 w 234857"/>
                  <a:gd name="connsiteY604" fmla="*/ 166067 h 215613"/>
                  <a:gd name="connsiteX605" fmla="*/ 138490 w 234857"/>
                  <a:gd name="connsiteY605" fmla="*/ 154248 h 215613"/>
                  <a:gd name="connsiteX606" fmla="*/ 138945 w 234857"/>
                  <a:gd name="connsiteY606" fmla="*/ 154097 h 215613"/>
                  <a:gd name="connsiteX607" fmla="*/ 140157 w 234857"/>
                  <a:gd name="connsiteY607" fmla="*/ 153188 h 215613"/>
                  <a:gd name="connsiteX608" fmla="*/ 138945 w 234857"/>
                  <a:gd name="connsiteY608" fmla="*/ 150915 h 215613"/>
                  <a:gd name="connsiteX609" fmla="*/ 138036 w 234857"/>
                  <a:gd name="connsiteY609" fmla="*/ 150915 h 215613"/>
                  <a:gd name="connsiteX610" fmla="*/ 137732 w 234857"/>
                  <a:gd name="connsiteY610" fmla="*/ 151672 h 215613"/>
                  <a:gd name="connsiteX611" fmla="*/ 137884 w 234857"/>
                  <a:gd name="connsiteY611" fmla="*/ 152884 h 215613"/>
                  <a:gd name="connsiteX612" fmla="*/ 138490 w 234857"/>
                  <a:gd name="connsiteY612" fmla="*/ 154248 h 215613"/>
                  <a:gd name="connsiteX613" fmla="*/ 184098 w 234857"/>
                  <a:gd name="connsiteY613" fmla="*/ 163036 h 215613"/>
                  <a:gd name="connsiteX614" fmla="*/ 184552 w 234857"/>
                  <a:gd name="connsiteY614" fmla="*/ 163945 h 215613"/>
                  <a:gd name="connsiteX615" fmla="*/ 183189 w 234857"/>
                  <a:gd name="connsiteY615" fmla="*/ 164854 h 215613"/>
                  <a:gd name="connsiteX616" fmla="*/ 181370 w 234857"/>
                  <a:gd name="connsiteY616" fmla="*/ 164400 h 215613"/>
                  <a:gd name="connsiteX617" fmla="*/ 181370 w 234857"/>
                  <a:gd name="connsiteY617" fmla="*/ 165915 h 215613"/>
                  <a:gd name="connsiteX618" fmla="*/ 183037 w 234857"/>
                  <a:gd name="connsiteY618" fmla="*/ 166976 h 215613"/>
                  <a:gd name="connsiteX619" fmla="*/ 184401 w 234857"/>
                  <a:gd name="connsiteY619" fmla="*/ 165461 h 215613"/>
                  <a:gd name="connsiteX620" fmla="*/ 186522 w 234857"/>
                  <a:gd name="connsiteY620" fmla="*/ 164703 h 215613"/>
                  <a:gd name="connsiteX621" fmla="*/ 185462 w 234857"/>
                  <a:gd name="connsiteY621" fmla="*/ 163491 h 215613"/>
                  <a:gd name="connsiteX622" fmla="*/ 184098 w 234857"/>
                  <a:gd name="connsiteY622" fmla="*/ 163036 h 215613"/>
                  <a:gd name="connsiteX623" fmla="*/ 106519 w 234857"/>
                  <a:gd name="connsiteY623" fmla="*/ 121065 h 215613"/>
                  <a:gd name="connsiteX624" fmla="*/ 106065 w 234857"/>
                  <a:gd name="connsiteY624" fmla="*/ 120610 h 215613"/>
                  <a:gd name="connsiteX625" fmla="*/ 105155 w 234857"/>
                  <a:gd name="connsiteY625" fmla="*/ 120459 h 215613"/>
                  <a:gd name="connsiteX626" fmla="*/ 104549 w 234857"/>
                  <a:gd name="connsiteY626" fmla="*/ 120762 h 215613"/>
                  <a:gd name="connsiteX627" fmla="*/ 103943 w 234857"/>
                  <a:gd name="connsiteY627" fmla="*/ 121974 h 215613"/>
                  <a:gd name="connsiteX628" fmla="*/ 103337 w 234857"/>
                  <a:gd name="connsiteY628" fmla="*/ 122277 h 215613"/>
                  <a:gd name="connsiteX629" fmla="*/ 103792 w 234857"/>
                  <a:gd name="connsiteY629" fmla="*/ 122883 h 215613"/>
                  <a:gd name="connsiteX630" fmla="*/ 104701 w 234857"/>
                  <a:gd name="connsiteY630" fmla="*/ 123186 h 215613"/>
                  <a:gd name="connsiteX631" fmla="*/ 105913 w 234857"/>
                  <a:gd name="connsiteY631" fmla="*/ 123186 h 215613"/>
                  <a:gd name="connsiteX632" fmla="*/ 106974 w 234857"/>
                  <a:gd name="connsiteY632" fmla="*/ 122429 h 215613"/>
                  <a:gd name="connsiteX633" fmla="*/ 106519 w 234857"/>
                  <a:gd name="connsiteY633" fmla="*/ 121065 h 215613"/>
                  <a:gd name="connsiteX634" fmla="*/ 178491 w 234857"/>
                  <a:gd name="connsiteY634" fmla="*/ 207280 h 215613"/>
                  <a:gd name="connsiteX635" fmla="*/ 174703 w 234857"/>
                  <a:gd name="connsiteY635" fmla="*/ 207280 h 215613"/>
                  <a:gd name="connsiteX636" fmla="*/ 171067 w 234857"/>
                  <a:gd name="connsiteY636" fmla="*/ 208341 h 215613"/>
                  <a:gd name="connsiteX637" fmla="*/ 169552 w 234857"/>
                  <a:gd name="connsiteY637" fmla="*/ 209856 h 215613"/>
                  <a:gd name="connsiteX638" fmla="*/ 168340 w 234857"/>
                  <a:gd name="connsiteY638" fmla="*/ 210159 h 215613"/>
                  <a:gd name="connsiteX639" fmla="*/ 167127 w 234857"/>
                  <a:gd name="connsiteY639" fmla="*/ 209553 h 215613"/>
                  <a:gd name="connsiteX640" fmla="*/ 166825 w 234857"/>
                  <a:gd name="connsiteY640" fmla="*/ 208341 h 215613"/>
                  <a:gd name="connsiteX641" fmla="*/ 167431 w 234857"/>
                  <a:gd name="connsiteY641" fmla="*/ 203947 h 215613"/>
                  <a:gd name="connsiteX642" fmla="*/ 166673 w 234857"/>
                  <a:gd name="connsiteY642" fmla="*/ 203189 h 215613"/>
                  <a:gd name="connsiteX643" fmla="*/ 162279 w 234857"/>
                  <a:gd name="connsiteY643" fmla="*/ 203795 h 215613"/>
                  <a:gd name="connsiteX644" fmla="*/ 159703 w 234857"/>
                  <a:gd name="connsiteY644" fmla="*/ 204401 h 215613"/>
                  <a:gd name="connsiteX645" fmla="*/ 154854 w 234857"/>
                  <a:gd name="connsiteY645" fmla="*/ 203341 h 215613"/>
                  <a:gd name="connsiteX646" fmla="*/ 149551 w 234857"/>
                  <a:gd name="connsiteY646" fmla="*/ 203038 h 215613"/>
                  <a:gd name="connsiteX647" fmla="*/ 146824 w 234857"/>
                  <a:gd name="connsiteY647" fmla="*/ 201068 h 215613"/>
                  <a:gd name="connsiteX648" fmla="*/ 139096 w 234857"/>
                  <a:gd name="connsiteY648" fmla="*/ 200613 h 215613"/>
                  <a:gd name="connsiteX649" fmla="*/ 136520 w 234857"/>
                  <a:gd name="connsiteY649" fmla="*/ 201068 h 215613"/>
                  <a:gd name="connsiteX650" fmla="*/ 133944 w 234857"/>
                  <a:gd name="connsiteY650" fmla="*/ 201977 h 215613"/>
                  <a:gd name="connsiteX651" fmla="*/ 131520 w 234857"/>
                  <a:gd name="connsiteY651" fmla="*/ 202432 h 215613"/>
                  <a:gd name="connsiteX652" fmla="*/ 129096 w 234857"/>
                  <a:gd name="connsiteY652" fmla="*/ 202583 h 215613"/>
                  <a:gd name="connsiteX653" fmla="*/ 128035 w 234857"/>
                  <a:gd name="connsiteY653" fmla="*/ 202432 h 215613"/>
                  <a:gd name="connsiteX654" fmla="*/ 126974 w 234857"/>
                  <a:gd name="connsiteY654" fmla="*/ 201674 h 215613"/>
                  <a:gd name="connsiteX655" fmla="*/ 126520 w 234857"/>
                  <a:gd name="connsiteY655" fmla="*/ 200462 h 215613"/>
                  <a:gd name="connsiteX656" fmla="*/ 126520 w 234857"/>
                  <a:gd name="connsiteY656" fmla="*/ 199098 h 215613"/>
                  <a:gd name="connsiteX657" fmla="*/ 124399 w 234857"/>
                  <a:gd name="connsiteY657" fmla="*/ 199401 h 215613"/>
                  <a:gd name="connsiteX658" fmla="*/ 122884 w 234857"/>
                  <a:gd name="connsiteY658" fmla="*/ 198644 h 215613"/>
                  <a:gd name="connsiteX659" fmla="*/ 122429 w 234857"/>
                  <a:gd name="connsiteY659" fmla="*/ 198341 h 215613"/>
                  <a:gd name="connsiteX660" fmla="*/ 122884 w 234857"/>
                  <a:gd name="connsiteY660" fmla="*/ 197886 h 215613"/>
                  <a:gd name="connsiteX661" fmla="*/ 124853 w 234857"/>
                  <a:gd name="connsiteY661" fmla="*/ 197128 h 215613"/>
                  <a:gd name="connsiteX662" fmla="*/ 123944 w 234857"/>
                  <a:gd name="connsiteY662" fmla="*/ 195310 h 215613"/>
                  <a:gd name="connsiteX663" fmla="*/ 121975 w 234857"/>
                  <a:gd name="connsiteY663" fmla="*/ 195310 h 215613"/>
                  <a:gd name="connsiteX664" fmla="*/ 120308 w 234857"/>
                  <a:gd name="connsiteY664" fmla="*/ 197128 h 215613"/>
                  <a:gd name="connsiteX665" fmla="*/ 119701 w 234857"/>
                  <a:gd name="connsiteY665" fmla="*/ 197280 h 215613"/>
                  <a:gd name="connsiteX666" fmla="*/ 117126 w 234857"/>
                  <a:gd name="connsiteY666" fmla="*/ 197280 h 215613"/>
                  <a:gd name="connsiteX667" fmla="*/ 115308 w 234857"/>
                  <a:gd name="connsiteY667" fmla="*/ 197128 h 215613"/>
                  <a:gd name="connsiteX668" fmla="*/ 113641 w 234857"/>
                  <a:gd name="connsiteY668" fmla="*/ 196522 h 215613"/>
                  <a:gd name="connsiteX669" fmla="*/ 113035 w 234857"/>
                  <a:gd name="connsiteY669" fmla="*/ 194098 h 215613"/>
                  <a:gd name="connsiteX670" fmla="*/ 112125 w 234857"/>
                  <a:gd name="connsiteY670" fmla="*/ 193492 h 215613"/>
                  <a:gd name="connsiteX671" fmla="*/ 111520 w 234857"/>
                  <a:gd name="connsiteY671" fmla="*/ 195007 h 215613"/>
                  <a:gd name="connsiteX672" fmla="*/ 111520 w 234857"/>
                  <a:gd name="connsiteY672" fmla="*/ 196674 h 215613"/>
                  <a:gd name="connsiteX673" fmla="*/ 110307 w 234857"/>
                  <a:gd name="connsiteY673" fmla="*/ 197734 h 215613"/>
                  <a:gd name="connsiteX674" fmla="*/ 109095 w 234857"/>
                  <a:gd name="connsiteY674" fmla="*/ 197280 h 215613"/>
                  <a:gd name="connsiteX675" fmla="*/ 108641 w 234857"/>
                  <a:gd name="connsiteY675" fmla="*/ 196219 h 215613"/>
                  <a:gd name="connsiteX676" fmla="*/ 107580 w 234857"/>
                  <a:gd name="connsiteY676" fmla="*/ 197128 h 215613"/>
                  <a:gd name="connsiteX677" fmla="*/ 106974 w 234857"/>
                  <a:gd name="connsiteY677" fmla="*/ 200765 h 215613"/>
                  <a:gd name="connsiteX678" fmla="*/ 107428 w 234857"/>
                  <a:gd name="connsiteY678" fmla="*/ 204553 h 215613"/>
                  <a:gd name="connsiteX679" fmla="*/ 108337 w 234857"/>
                  <a:gd name="connsiteY679" fmla="*/ 205765 h 215613"/>
                  <a:gd name="connsiteX680" fmla="*/ 109550 w 234857"/>
                  <a:gd name="connsiteY680" fmla="*/ 206523 h 215613"/>
                  <a:gd name="connsiteX681" fmla="*/ 111368 w 234857"/>
                  <a:gd name="connsiteY681" fmla="*/ 206523 h 215613"/>
                  <a:gd name="connsiteX682" fmla="*/ 116217 w 234857"/>
                  <a:gd name="connsiteY682" fmla="*/ 206068 h 215613"/>
                  <a:gd name="connsiteX683" fmla="*/ 119247 w 234857"/>
                  <a:gd name="connsiteY683" fmla="*/ 206826 h 215613"/>
                  <a:gd name="connsiteX684" fmla="*/ 132126 w 234857"/>
                  <a:gd name="connsiteY684" fmla="*/ 208796 h 215613"/>
                  <a:gd name="connsiteX685" fmla="*/ 135460 w 234857"/>
                  <a:gd name="connsiteY685" fmla="*/ 210159 h 215613"/>
                  <a:gd name="connsiteX686" fmla="*/ 138945 w 234857"/>
                  <a:gd name="connsiteY686" fmla="*/ 210917 h 215613"/>
                  <a:gd name="connsiteX687" fmla="*/ 139702 w 234857"/>
                  <a:gd name="connsiteY687" fmla="*/ 211826 h 215613"/>
                  <a:gd name="connsiteX688" fmla="*/ 140006 w 234857"/>
                  <a:gd name="connsiteY688" fmla="*/ 213190 h 215613"/>
                  <a:gd name="connsiteX689" fmla="*/ 140006 w 234857"/>
                  <a:gd name="connsiteY689" fmla="*/ 215159 h 215613"/>
                  <a:gd name="connsiteX690" fmla="*/ 141520 w 234857"/>
                  <a:gd name="connsiteY690" fmla="*/ 215614 h 215613"/>
                  <a:gd name="connsiteX691" fmla="*/ 152582 w 234857"/>
                  <a:gd name="connsiteY691" fmla="*/ 214856 h 215613"/>
                  <a:gd name="connsiteX692" fmla="*/ 163643 w 234857"/>
                  <a:gd name="connsiteY692" fmla="*/ 213341 h 215613"/>
                  <a:gd name="connsiteX693" fmla="*/ 169552 w 234857"/>
                  <a:gd name="connsiteY693" fmla="*/ 212735 h 215613"/>
                  <a:gd name="connsiteX694" fmla="*/ 175461 w 234857"/>
                  <a:gd name="connsiteY694" fmla="*/ 213038 h 215613"/>
                  <a:gd name="connsiteX695" fmla="*/ 178643 w 234857"/>
                  <a:gd name="connsiteY695" fmla="*/ 212886 h 215613"/>
                  <a:gd name="connsiteX696" fmla="*/ 180764 w 234857"/>
                  <a:gd name="connsiteY696" fmla="*/ 212129 h 215613"/>
                  <a:gd name="connsiteX697" fmla="*/ 181068 w 234857"/>
                  <a:gd name="connsiteY697" fmla="*/ 210614 h 215613"/>
                  <a:gd name="connsiteX698" fmla="*/ 181825 w 234857"/>
                  <a:gd name="connsiteY698" fmla="*/ 208644 h 215613"/>
                  <a:gd name="connsiteX699" fmla="*/ 182279 w 234857"/>
                  <a:gd name="connsiteY699" fmla="*/ 205310 h 215613"/>
                  <a:gd name="connsiteX700" fmla="*/ 182886 w 234857"/>
                  <a:gd name="connsiteY700" fmla="*/ 203947 h 215613"/>
                  <a:gd name="connsiteX701" fmla="*/ 181977 w 234857"/>
                  <a:gd name="connsiteY701" fmla="*/ 204098 h 215613"/>
                  <a:gd name="connsiteX702" fmla="*/ 178491 w 234857"/>
                  <a:gd name="connsiteY702" fmla="*/ 207280 h 215613"/>
                  <a:gd name="connsiteX703" fmla="*/ 202735 w 234857"/>
                  <a:gd name="connsiteY703" fmla="*/ 129399 h 215613"/>
                  <a:gd name="connsiteX704" fmla="*/ 202280 w 234857"/>
                  <a:gd name="connsiteY704" fmla="*/ 127429 h 215613"/>
                  <a:gd name="connsiteX705" fmla="*/ 200765 w 234857"/>
                  <a:gd name="connsiteY705" fmla="*/ 127126 h 215613"/>
                  <a:gd name="connsiteX706" fmla="*/ 199856 w 234857"/>
                  <a:gd name="connsiteY706" fmla="*/ 127277 h 215613"/>
                  <a:gd name="connsiteX707" fmla="*/ 196522 w 234857"/>
                  <a:gd name="connsiteY707" fmla="*/ 126217 h 215613"/>
                  <a:gd name="connsiteX708" fmla="*/ 194250 w 234857"/>
                  <a:gd name="connsiteY708" fmla="*/ 126217 h 215613"/>
                  <a:gd name="connsiteX709" fmla="*/ 191371 w 234857"/>
                  <a:gd name="connsiteY709" fmla="*/ 127126 h 215613"/>
                  <a:gd name="connsiteX710" fmla="*/ 189856 w 234857"/>
                  <a:gd name="connsiteY710" fmla="*/ 128944 h 215613"/>
                  <a:gd name="connsiteX711" fmla="*/ 190765 w 234857"/>
                  <a:gd name="connsiteY711" fmla="*/ 129399 h 215613"/>
                  <a:gd name="connsiteX712" fmla="*/ 193644 w 234857"/>
                  <a:gd name="connsiteY712" fmla="*/ 129550 h 215613"/>
                  <a:gd name="connsiteX713" fmla="*/ 195462 w 234857"/>
                  <a:gd name="connsiteY713" fmla="*/ 131065 h 215613"/>
                  <a:gd name="connsiteX714" fmla="*/ 196977 w 234857"/>
                  <a:gd name="connsiteY714" fmla="*/ 131520 h 215613"/>
                  <a:gd name="connsiteX715" fmla="*/ 200614 w 234857"/>
                  <a:gd name="connsiteY715" fmla="*/ 129702 h 215613"/>
                  <a:gd name="connsiteX716" fmla="*/ 202735 w 234857"/>
                  <a:gd name="connsiteY716" fmla="*/ 129399 h 215613"/>
                  <a:gd name="connsiteX717" fmla="*/ 187280 w 234857"/>
                  <a:gd name="connsiteY717" fmla="*/ 86064 h 215613"/>
                  <a:gd name="connsiteX718" fmla="*/ 188492 w 234857"/>
                  <a:gd name="connsiteY718" fmla="*/ 86367 h 215613"/>
                  <a:gd name="connsiteX719" fmla="*/ 189856 w 234857"/>
                  <a:gd name="connsiteY719" fmla="*/ 87427 h 215613"/>
                  <a:gd name="connsiteX720" fmla="*/ 190159 w 234857"/>
                  <a:gd name="connsiteY720" fmla="*/ 86821 h 215613"/>
                  <a:gd name="connsiteX721" fmla="*/ 189704 w 234857"/>
                  <a:gd name="connsiteY721" fmla="*/ 84852 h 215613"/>
                  <a:gd name="connsiteX722" fmla="*/ 188340 w 234857"/>
                  <a:gd name="connsiteY722" fmla="*/ 82882 h 215613"/>
                  <a:gd name="connsiteX723" fmla="*/ 184552 w 234857"/>
                  <a:gd name="connsiteY723" fmla="*/ 79700 h 215613"/>
                  <a:gd name="connsiteX724" fmla="*/ 185007 w 234857"/>
                  <a:gd name="connsiteY724" fmla="*/ 77730 h 215613"/>
                  <a:gd name="connsiteX725" fmla="*/ 183340 w 234857"/>
                  <a:gd name="connsiteY725" fmla="*/ 76063 h 215613"/>
                  <a:gd name="connsiteX726" fmla="*/ 178340 w 234857"/>
                  <a:gd name="connsiteY726" fmla="*/ 76366 h 215613"/>
                  <a:gd name="connsiteX727" fmla="*/ 178340 w 234857"/>
                  <a:gd name="connsiteY727" fmla="*/ 77730 h 215613"/>
                  <a:gd name="connsiteX728" fmla="*/ 176219 w 234857"/>
                  <a:gd name="connsiteY728" fmla="*/ 78639 h 215613"/>
                  <a:gd name="connsiteX729" fmla="*/ 174552 w 234857"/>
                  <a:gd name="connsiteY729" fmla="*/ 79245 h 215613"/>
                  <a:gd name="connsiteX730" fmla="*/ 171370 w 234857"/>
                  <a:gd name="connsiteY730" fmla="*/ 79094 h 215613"/>
                  <a:gd name="connsiteX731" fmla="*/ 169552 w 234857"/>
                  <a:gd name="connsiteY731" fmla="*/ 81821 h 215613"/>
                  <a:gd name="connsiteX732" fmla="*/ 169855 w 234857"/>
                  <a:gd name="connsiteY732" fmla="*/ 82579 h 215613"/>
                  <a:gd name="connsiteX733" fmla="*/ 171219 w 234857"/>
                  <a:gd name="connsiteY733" fmla="*/ 83791 h 215613"/>
                  <a:gd name="connsiteX734" fmla="*/ 175764 w 234857"/>
                  <a:gd name="connsiteY734" fmla="*/ 85155 h 215613"/>
                  <a:gd name="connsiteX735" fmla="*/ 178643 w 234857"/>
                  <a:gd name="connsiteY735" fmla="*/ 81973 h 215613"/>
                  <a:gd name="connsiteX736" fmla="*/ 181370 w 234857"/>
                  <a:gd name="connsiteY736" fmla="*/ 81821 h 215613"/>
                  <a:gd name="connsiteX737" fmla="*/ 180613 w 234857"/>
                  <a:gd name="connsiteY737" fmla="*/ 82882 h 215613"/>
                  <a:gd name="connsiteX738" fmla="*/ 176825 w 234857"/>
                  <a:gd name="connsiteY738" fmla="*/ 85458 h 215613"/>
                  <a:gd name="connsiteX739" fmla="*/ 178340 w 234857"/>
                  <a:gd name="connsiteY739" fmla="*/ 87276 h 215613"/>
                  <a:gd name="connsiteX740" fmla="*/ 184552 w 234857"/>
                  <a:gd name="connsiteY740" fmla="*/ 88943 h 215613"/>
                  <a:gd name="connsiteX741" fmla="*/ 186674 w 234857"/>
                  <a:gd name="connsiteY741" fmla="*/ 88943 h 215613"/>
                  <a:gd name="connsiteX742" fmla="*/ 188795 w 234857"/>
                  <a:gd name="connsiteY742" fmla="*/ 88337 h 215613"/>
                  <a:gd name="connsiteX743" fmla="*/ 187583 w 234857"/>
                  <a:gd name="connsiteY743" fmla="*/ 87125 h 215613"/>
                  <a:gd name="connsiteX744" fmla="*/ 187280 w 234857"/>
                  <a:gd name="connsiteY744" fmla="*/ 86064 h 215613"/>
                  <a:gd name="connsiteX745" fmla="*/ 143794 w 234857"/>
                  <a:gd name="connsiteY745" fmla="*/ 138945 h 215613"/>
                  <a:gd name="connsiteX746" fmla="*/ 144248 w 234857"/>
                  <a:gd name="connsiteY746" fmla="*/ 139399 h 215613"/>
                  <a:gd name="connsiteX747" fmla="*/ 145005 w 234857"/>
                  <a:gd name="connsiteY747" fmla="*/ 139399 h 215613"/>
                  <a:gd name="connsiteX748" fmla="*/ 145157 w 234857"/>
                  <a:gd name="connsiteY748" fmla="*/ 136066 h 215613"/>
                  <a:gd name="connsiteX749" fmla="*/ 144096 w 234857"/>
                  <a:gd name="connsiteY749" fmla="*/ 135611 h 215613"/>
                  <a:gd name="connsiteX750" fmla="*/ 143794 w 234857"/>
                  <a:gd name="connsiteY750" fmla="*/ 137581 h 215613"/>
                  <a:gd name="connsiteX751" fmla="*/ 143794 w 234857"/>
                  <a:gd name="connsiteY751" fmla="*/ 138945 h 215613"/>
                  <a:gd name="connsiteX752" fmla="*/ 233342 w 234857"/>
                  <a:gd name="connsiteY752" fmla="*/ 169552 h 215613"/>
                  <a:gd name="connsiteX753" fmla="*/ 226372 w 234857"/>
                  <a:gd name="connsiteY753" fmla="*/ 172128 h 215613"/>
                  <a:gd name="connsiteX754" fmla="*/ 223645 w 234857"/>
                  <a:gd name="connsiteY754" fmla="*/ 174249 h 215613"/>
                  <a:gd name="connsiteX755" fmla="*/ 222584 w 234857"/>
                  <a:gd name="connsiteY755" fmla="*/ 176219 h 215613"/>
                  <a:gd name="connsiteX756" fmla="*/ 221069 w 234857"/>
                  <a:gd name="connsiteY756" fmla="*/ 177582 h 215613"/>
                  <a:gd name="connsiteX757" fmla="*/ 221069 w 234857"/>
                  <a:gd name="connsiteY757" fmla="*/ 178491 h 215613"/>
                  <a:gd name="connsiteX758" fmla="*/ 222130 w 234857"/>
                  <a:gd name="connsiteY758" fmla="*/ 180764 h 215613"/>
                  <a:gd name="connsiteX759" fmla="*/ 220918 w 234857"/>
                  <a:gd name="connsiteY759" fmla="*/ 184249 h 215613"/>
                  <a:gd name="connsiteX760" fmla="*/ 221675 w 234857"/>
                  <a:gd name="connsiteY760" fmla="*/ 185613 h 215613"/>
                  <a:gd name="connsiteX761" fmla="*/ 222281 w 234857"/>
                  <a:gd name="connsiteY761" fmla="*/ 185764 h 215613"/>
                  <a:gd name="connsiteX762" fmla="*/ 224251 w 234857"/>
                  <a:gd name="connsiteY762" fmla="*/ 185158 h 215613"/>
                  <a:gd name="connsiteX763" fmla="*/ 227584 w 234857"/>
                  <a:gd name="connsiteY763" fmla="*/ 181522 h 215613"/>
                  <a:gd name="connsiteX764" fmla="*/ 230918 w 234857"/>
                  <a:gd name="connsiteY764" fmla="*/ 180916 h 215613"/>
                  <a:gd name="connsiteX765" fmla="*/ 230312 w 234857"/>
                  <a:gd name="connsiteY765" fmla="*/ 178946 h 215613"/>
                  <a:gd name="connsiteX766" fmla="*/ 232433 w 234857"/>
                  <a:gd name="connsiteY766" fmla="*/ 176522 h 215613"/>
                  <a:gd name="connsiteX767" fmla="*/ 234857 w 234857"/>
                  <a:gd name="connsiteY767" fmla="*/ 171521 h 215613"/>
                  <a:gd name="connsiteX768" fmla="*/ 234857 w 234857"/>
                  <a:gd name="connsiteY768" fmla="*/ 169552 h 215613"/>
                  <a:gd name="connsiteX769" fmla="*/ 233342 w 234857"/>
                  <a:gd name="connsiteY769" fmla="*/ 169552 h 215613"/>
                  <a:gd name="connsiteX770" fmla="*/ 205614 w 234857"/>
                  <a:gd name="connsiteY770" fmla="*/ 194401 h 215613"/>
                  <a:gd name="connsiteX771" fmla="*/ 206977 w 234857"/>
                  <a:gd name="connsiteY771" fmla="*/ 191825 h 215613"/>
                  <a:gd name="connsiteX772" fmla="*/ 207432 w 234857"/>
                  <a:gd name="connsiteY772" fmla="*/ 188492 h 215613"/>
                  <a:gd name="connsiteX773" fmla="*/ 205614 w 234857"/>
                  <a:gd name="connsiteY773" fmla="*/ 189552 h 215613"/>
                  <a:gd name="connsiteX774" fmla="*/ 205614 w 234857"/>
                  <a:gd name="connsiteY774" fmla="*/ 191522 h 215613"/>
                  <a:gd name="connsiteX775" fmla="*/ 203341 w 234857"/>
                  <a:gd name="connsiteY775" fmla="*/ 195462 h 215613"/>
                  <a:gd name="connsiteX776" fmla="*/ 204553 w 234857"/>
                  <a:gd name="connsiteY776" fmla="*/ 198189 h 215613"/>
                  <a:gd name="connsiteX777" fmla="*/ 204099 w 234857"/>
                  <a:gd name="connsiteY777" fmla="*/ 199856 h 215613"/>
                  <a:gd name="connsiteX778" fmla="*/ 205159 w 234857"/>
                  <a:gd name="connsiteY778" fmla="*/ 201371 h 215613"/>
                  <a:gd name="connsiteX779" fmla="*/ 206220 w 234857"/>
                  <a:gd name="connsiteY779" fmla="*/ 199704 h 215613"/>
                  <a:gd name="connsiteX780" fmla="*/ 207735 w 234857"/>
                  <a:gd name="connsiteY780" fmla="*/ 199250 h 215613"/>
                  <a:gd name="connsiteX781" fmla="*/ 207129 w 234857"/>
                  <a:gd name="connsiteY781" fmla="*/ 196825 h 215613"/>
                  <a:gd name="connsiteX782" fmla="*/ 205614 w 234857"/>
                  <a:gd name="connsiteY782" fmla="*/ 194401 h 215613"/>
                  <a:gd name="connsiteX783" fmla="*/ 199099 w 234857"/>
                  <a:gd name="connsiteY783" fmla="*/ 153339 h 215613"/>
                  <a:gd name="connsiteX784" fmla="*/ 201826 w 234857"/>
                  <a:gd name="connsiteY784" fmla="*/ 152884 h 215613"/>
                  <a:gd name="connsiteX785" fmla="*/ 202280 w 234857"/>
                  <a:gd name="connsiteY785" fmla="*/ 152278 h 215613"/>
                  <a:gd name="connsiteX786" fmla="*/ 202432 w 234857"/>
                  <a:gd name="connsiteY786" fmla="*/ 151521 h 215613"/>
                  <a:gd name="connsiteX787" fmla="*/ 201826 w 234857"/>
                  <a:gd name="connsiteY787" fmla="*/ 151218 h 215613"/>
                  <a:gd name="connsiteX788" fmla="*/ 200462 w 234857"/>
                  <a:gd name="connsiteY788" fmla="*/ 149854 h 215613"/>
                  <a:gd name="connsiteX789" fmla="*/ 198341 w 234857"/>
                  <a:gd name="connsiteY789" fmla="*/ 148793 h 215613"/>
                  <a:gd name="connsiteX790" fmla="*/ 199704 w 234857"/>
                  <a:gd name="connsiteY790" fmla="*/ 150763 h 215613"/>
                  <a:gd name="connsiteX791" fmla="*/ 199099 w 234857"/>
                  <a:gd name="connsiteY791" fmla="*/ 153339 h 215613"/>
                  <a:gd name="connsiteX792" fmla="*/ 207129 w 234857"/>
                  <a:gd name="connsiteY792" fmla="*/ 154854 h 215613"/>
                  <a:gd name="connsiteX793" fmla="*/ 202887 w 234857"/>
                  <a:gd name="connsiteY793" fmla="*/ 156672 h 215613"/>
                  <a:gd name="connsiteX794" fmla="*/ 200008 w 234857"/>
                  <a:gd name="connsiteY794" fmla="*/ 158794 h 215613"/>
                  <a:gd name="connsiteX795" fmla="*/ 198947 w 234857"/>
                  <a:gd name="connsiteY795" fmla="*/ 160309 h 215613"/>
                  <a:gd name="connsiteX796" fmla="*/ 199856 w 234857"/>
                  <a:gd name="connsiteY796" fmla="*/ 160309 h 215613"/>
                  <a:gd name="connsiteX797" fmla="*/ 202129 w 234857"/>
                  <a:gd name="connsiteY797" fmla="*/ 158945 h 215613"/>
                  <a:gd name="connsiteX798" fmla="*/ 205311 w 234857"/>
                  <a:gd name="connsiteY798" fmla="*/ 158794 h 215613"/>
                  <a:gd name="connsiteX799" fmla="*/ 206523 w 234857"/>
                  <a:gd name="connsiteY799" fmla="*/ 157733 h 215613"/>
                  <a:gd name="connsiteX800" fmla="*/ 210917 w 234857"/>
                  <a:gd name="connsiteY800" fmla="*/ 155915 h 215613"/>
                  <a:gd name="connsiteX801" fmla="*/ 208493 w 234857"/>
                  <a:gd name="connsiteY801" fmla="*/ 154854 h 215613"/>
                  <a:gd name="connsiteX802" fmla="*/ 207129 w 234857"/>
                  <a:gd name="connsiteY802" fmla="*/ 154854 h 215613"/>
                  <a:gd name="connsiteX803" fmla="*/ 128035 w 234857"/>
                  <a:gd name="connsiteY803" fmla="*/ 130308 h 215613"/>
                  <a:gd name="connsiteX804" fmla="*/ 126823 w 234857"/>
                  <a:gd name="connsiteY804" fmla="*/ 132732 h 215613"/>
                  <a:gd name="connsiteX805" fmla="*/ 127126 w 234857"/>
                  <a:gd name="connsiteY805" fmla="*/ 135005 h 215613"/>
                  <a:gd name="connsiteX806" fmla="*/ 128944 w 234857"/>
                  <a:gd name="connsiteY806" fmla="*/ 133490 h 215613"/>
                  <a:gd name="connsiteX807" fmla="*/ 130156 w 234857"/>
                  <a:gd name="connsiteY807" fmla="*/ 131217 h 215613"/>
                  <a:gd name="connsiteX808" fmla="*/ 129551 w 234857"/>
                  <a:gd name="connsiteY808" fmla="*/ 130156 h 215613"/>
                  <a:gd name="connsiteX809" fmla="*/ 128035 w 234857"/>
                  <a:gd name="connsiteY809" fmla="*/ 130308 h 215613"/>
                  <a:gd name="connsiteX810" fmla="*/ 132581 w 234857"/>
                  <a:gd name="connsiteY810" fmla="*/ 148187 h 215613"/>
                  <a:gd name="connsiteX811" fmla="*/ 133641 w 234857"/>
                  <a:gd name="connsiteY811" fmla="*/ 147733 h 215613"/>
                  <a:gd name="connsiteX812" fmla="*/ 133944 w 234857"/>
                  <a:gd name="connsiteY812" fmla="*/ 146369 h 215613"/>
                  <a:gd name="connsiteX813" fmla="*/ 133793 w 234857"/>
                  <a:gd name="connsiteY813" fmla="*/ 145612 h 215613"/>
                  <a:gd name="connsiteX814" fmla="*/ 132581 w 234857"/>
                  <a:gd name="connsiteY814" fmla="*/ 145005 h 215613"/>
                  <a:gd name="connsiteX815" fmla="*/ 131369 w 234857"/>
                  <a:gd name="connsiteY815" fmla="*/ 145763 h 215613"/>
                  <a:gd name="connsiteX816" fmla="*/ 130914 w 234857"/>
                  <a:gd name="connsiteY816" fmla="*/ 147430 h 215613"/>
                  <a:gd name="connsiteX817" fmla="*/ 132581 w 234857"/>
                  <a:gd name="connsiteY817" fmla="*/ 148187 h 215613"/>
                  <a:gd name="connsiteX818" fmla="*/ 133944 w 234857"/>
                  <a:gd name="connsiteY818" fmla="*/ 160915 h 215613"/>
                  <a:gd name="connsiteX819" fmla="*/ 133944 w 234857"/>
                  <a:gd name="connsiteY819" fmla="*/ 159097 h 215613"/>
                  <a:gd name="connsiteX820" fmla="*/ 131823 w 234857"/>
                  <a:gd name="connsiteY820" fmla="*/ 159551 h 215613"/>
                  <a:gd name="connsiteX821" fmla="*/ 131520 w 234857"/>
                  <a:gd name="connsiteY821" fmla="*/ 160157 h 215613"/>
                  <a:gd name="connsiteX822" fmla="*/ 130763 w 234857"/>
                  <a:gd name="connsiteY822" fmla="*/ 160612 h 215613"/>
                  <a:gd name="connsiteX823" fmla="*/ 128944 w 234857"/>
                  <a:gd name="connsiteY823" fmla="*/ 159703 h 215613"/>
                  <a:gd name="connsiteX824" fmla="*/ 128641 w 234857"/>
                  <a:gd name="connsiteY824" fmla="*/ 160309 h 215613"/>
                  <a:gd name="connsiteX825" fmla="*/ 128187 w 234857"/>
                  <a:gd name="connsiteY825" fmla="*/ 162430 h 215613"/>
                  <a:gd name="connsiteX826" fmla="*/ 133793 w 234857"/>
                  <a:gd name="connsiteY826" fmla="*/ 161521 h 215613"/>
                  <a:gd name="connsiteX827" fmla="*/ 133944 w 234857"/>
                  <a:gd name="connsiteY827" fmla="*/ 160915 h 215613"/>
                  <a:gd name="connsiteX828" fmla="*/ 131065 w 234857"/>
                  <a:gd name="connsiteY828" fmla="*/ 136672 h 215613"/>
                  <a:gd name="connsiteX829" fmla="*/ 130005 w 234857"/>
                  <a:gd name="connsiteY829" fmla="*/ 137429 h 215613"/>
                  <a:gd name="connsiteX830" fmla="*/ 129247 w 234857"/>
                  <a:gd name="connsiteY830" fmla="*/ 138338 h 215613"/>
                  <a:gd name="connsiteX831" fmla="*/ 130005 w 234857"/>
                  <a:gd name="connsiteY831" fmla="*/ 139551 h 215613"/>
                  <a:gd name="connsiteX832" fmla="*/ 129551 w 234857"/>
                  <a:gd name="connsiteY832" fmla="*/ 141672 h 215613"/>
                  <a:gd name="connsiteX833" fmla="*/ 131065 w 234857"/>
                  <a:gd name="connsiteY833" fmla="*/ 140763 h 215613"/>
                  <a:gd name="connsiteX834" fmla="*/ 132278 w 234857"/>
                  <a:gd name="connsiteY834" fmla="*/ 138793 h 215613"/>
                  <a:gd name="connsiteX835" fmla="*/ 131369 w 234857"/>
                  <a:gd name="connsiteY835" fmla="*/ 137429 h 215613"/>
                  <a:gd name="connsiteX836" fmla="*/ 131065 w 234857"/>
                  <a:gd name="connsiteY836" fmla="*/ 136672 h 215613"/>
                  <a:gd name="connsiteX837" fmla="*/ 140308 w 234857"/>
                  <a:gd name="connsiteY837" fmla="*/ 32880 h 215613"/>
                  <a:gd name="connsiteX838" fmla="*/ 138793 w 234857"/>
                  <a:gd name="connsiteY838" fmla="*/ 31062 h 215613"/>
                  <a:gd name="connsiteX839" fmla="*/ 136217 w 234857"/>
                  <a:gd name="connsiteY839" fmla="*/ 30910 h 215613"/>
                  <a:gd name="connsiteX840" fmla="*/ 135157 w 234857"/>
                  <a:gd name="connsiteY840" fmla="*/ 31668 h 215613"/>
                  <a:gd name="connsiteX841" fmla="*/ 133339 w 234857"/>
                  <a:gd name="connsiteY841" fmla="*/ 34244 h 215613"/>
                  <a:gd name="connsiteX842" fmla="*/ 133339 w 234857"/>
                  <a:gd name="connsiteY842" fmla="*/ 35607 h 215613"/>
                  <a:gd name="connsiteX843" fmla="*/ 136975 w 234857"/>
                  <a:gd name="connsiteY843" fmla="*/ 37729 h 215613"/>
                  <a:gd name="connsiteX844" fmla="*/ 140460 w 234857"/>
                  <a:gd name="connsiteY844" fmla="*/ 36517 h 215613"/>
                  <a:gd name="connsiteX845" fmla="*/ 140308 w 234857"/>
                  <a:gd name="connsiteY845" fmla="*/ 35153 h 215613"/>
                  <a:gd name="connsiteX846" fmla="*/ 140763 w 234857"/>
                  <a:gd name="connsiteY846" fmla="*/ 33638 h 215613"/>
                  <a:gd name="connsiteX847" fmla="*/ 140308 w 234857"/>
                  <a:gd name="connsiteY847" fmla="*/ 32880 h 215613"/>
                  <a:gd name="connsiteX848" fmla="*/ 135157 w 234857"/>
                  <a:gd name="connsiteY848" fmla="*/ 92276 h 215613"/>
                  <a:gd name="connsiteX849" fmla="*/ 134702 w 234857"/>
                  <a:gd name="connsiteY849" fmla="*/ 90306 h 215613"/>
                  <a:gd name="connsiteX850" fmla="*/ 132581 w 234857"/>
                  <a:gd name="connsiteY850" fmla="*/ 89094 h 215613"/>
                  <a:gd name="connsiteX851" fmla="*/ 132278 w 234857"/>
                  <a:gd name="connsiteY851" fmla="*/ 89700 h 215613"/>
                  <a:gd name="connsiteX852" fmla="*/ 131975 w 234857"/>
                  <a:gd name="connsiteY852" fmla="*/ 91973 h 215613"/>
                  <a:gd name="connsiteX853" fmla="*/ 134853 w 234857"/>
                  <a:gd name="connsiteY853" fmla="*/ 93791 h 215613"/>
                  <a:gd name="connsiteX854" fmla="*/ 134853 w 234857"/>
                  <a:gd name="connsiteY854" fmla="*/ 94246 h 215613"/>
                  <a:gd name="connsiteX855" fmla="*/ 134248 w 234857"/>
                  <a:gd name="connsiteY855" fmla="*/ 95155 h 215613"/>
                  <a:gd name="connsiteX856" fmla="*/ 135005 w 234857"/>
                  <a:gd name="connsiteY856" fmla="*/ 95307 h 215613"/>
                  <a:gd name="connsiteX857" fmla="*/ 137884 w 234857"/>
                  <a:gd name="connsiteY857" fmla="*/ 94549 h 215613"/>
                  <a:gd name="connsiteX858" fmla="*/ 135157 w 234857"/>
                  <a:gd name="connsiteY858" fmla="*/ 92276 h 215613"/>
                  <a:gd name="connsiteX859" fmla="*/ 135308 w 234857"/>
                  <a:gd name="connsiteY859" fmla="*/ 116216 h 215613"/>
                  <a:gd name="connsiteX860" fmla="*/ 134551 w 234857"/>
                  <a:gd name="connsiteY860" fmla="*/ 115459 h 215613"/>
                  <a:gd name="connsiteX861" fmla="*/ 131823 w 234857"/>
                  <a:gd name="connsiteY861" fmla="*/ 115610 h 215613"/>
                  <a:gd name="connsiteX862" fmla="*/ 128944 w 234857"/>
                  <a:gd name="connsiteY862" fmla="*/ 115004 h 215613"/>
                  <a:gd name="connsiteX863" fmla="*/ 126672 w 234857"/>
                  <a:gd name="connsiteY863" fmla="*/ 113186 h 215613"/>
                  <a:gd name="connsiteX864" fmla="*/ 125156 w 234857"/>
                  <a:gd name="connsiteY864" fmla="*/ 109398 h 215613"/>
                  <a:gd name="connsiteX865" fmla="*/ 124247 w 234857"/>
                  <a:gd name="connsiteY865" fmla="*/ 105458 h 215613"/>
                  <a:gd name="connsiteX866" fmla="*/ 124853 w 234857"/>
                  <a:gd name="connsiteY866" fmla="*/ 104095 h 215613"/>
                  <a:gd name="connsiteX867" fmla="*/ 124550 w 234857"/>
                  <a:gd name="connsiteY867" fmla="*/ 102883 h 215613"/>
                  <a:gd name="connsiteX868" fmla="*/ 123338 w 234857"/>
                  <a:gd name="connsiteY868" fmla="*/ 101367 h 215613"/>
                  <a:gd name="connsiteX869" fmla="*/ 122580 w 234857"/>
                  <a:gd name="connsiteY869" fmla="*/ 99398 h 215613"/>
                  <a:gd name="connsiteX870" fmla="*/ 121823 w 234857"/>
                  <a:gd name="connsiteY870" fmla="*/ 98640 h 215613"/>
                  <a:gd name="connsiteX871" fmla="*/ 115762 w 234857"/>
                  <a:gd name="connsiteY871" fmla="*/ 98185 h 215613"/>
                  <a:gd name="connsiteX872" fmla="*/ 110610 w 234857"/>
                  <a:gd name="connsiteY872" fmla="*/ 95761 h 215613"/>
                  <a:gd name="connsiteX873" fmla="*/ 109247 w 234857"/>
                  <a:gd name="connsiteY873" fmla="*/ 95610 h 215613"/>
                  <a:gd name="connsiteX874" fmla="*/ 106216 w 234857"/>
                  <a:gd name="connsiteY874" fmla="*/ 94246 h 215613"/>
                  <a:gd name="connsiteX875" fmla="*/ 104701 w 234857"/>
                  <a:gd name="connsiteY875" fmla="*/ 93034 h 215613"/>
                  <a:gd name="connsiteX876" fmla="*/ 103186 w 234857"/>
                  <a:gd name="connsiteY876" fmla="*/ 89549 h 215613"/>
                  <a:gd name="connsiteX877" fmla="*/ 100307 w 234857"/>
                  <a:gd name="connsiteY877" fmla="*/ 87125 h 215613"/>
                  <a:gd name="connsiteX878" fmla="*/ 98792 w 234857"/>
                  <a:gd name="connsiteY878" fmla="*/ 87276 h 215613"/>
                  <a:gd name="connsiteX879" fmla="*/ 95761 w 234857"/>
                  <a:gd name="connsiteY879" fmla="*/ 88185 h 215613"/>
                  <a:gd name="connsiteX880" fmla="*/ 91367 w 234857"/>
                  <a:gd name="connsiteY880" fmla="*/ 90913 h 215613"/>
                  <a:gd name="connsiteX881" fmla="*/ 88185 w 234857"/>
                  <a:gd name="connsiteY881" fmla="*/ 92428 h 215613"/>
                  <a:gd name="connsiteX882" fmla="*/ 88488 w 234857"/>
                  <a:gd name="connsiteY882" fmla="*/ 93185 h 215613"/>
                  <a:gd name="connsiteX883" fmla="*/ 90003 w 234857"/>
                  <a:gd name="connsiteY883" fmla="*/ 93488 h 215613"/>
                  <a:gd name="connsiteX884" fmla="*/ 92579 w 234857"/>
                  <a:gd name="connsiteY884" fmla="*/ 92428 h 215613"/>
                  <a:gd name="connsiteX885" fmla="*/ 95761 w 234857"/>
                  <a:gd name="connsiteY885" fmla="*/ 93337 h 215613"/>
                  <a:gd name="connsiteX886" fmla="*/ 98792 w 234857"/>
                  <a:gd name="connsiteY886" fmla="*/ 94701 h 215613"/>
                  <a:gd name="connsiteX887" fmla="*/ 101822 w 234857"/>
                  <a:gd name="connsiteY887" fmla="*/ 96822 h 215613"/>
                  <a:gd name="connsiteX888" fmla="*/ 104549 w 234857"/>
                  <a:gd name="connsiteY888" fmla="*/ 99398 h 215613"/>
                  <a:gd name="connsiteX889" fmla="*/ 105610 w 234857"/>
                  <a:gd name="connsiteY889" fmla="*/ 100761 h 215613"/>
                  <a:gd name="connsiteX890" fmla="*/ 106974 w 234857"/>
                  <a:gd name="connsiteY890" fmla="*/ 101670 h 215613"/>
                  <a:gd name="connsiteX891" fmla="*/ 108792 w 234857"/>
                  <a:gd name="connsiteY891" fmla="*/ 102579 h 215613"/>
                  <a:gd name="connsiteX892" fmla="*/ 109701 w 234857"/>
                  <a:gd name="connsiteY892" fmla="*/ 106065 h 215613"/>
                  <a:gd name="connsiteX893" fmla="*/ 112731 w 234857"/>
                  <a:gd name="connsiteY893" fmla="*/ 107428 h 215613"/>
                  <a:gd name="connsiteX894" fmla="*/ 116217 w 234857"/>
                  <a:gd name="connsiteY894" fmla="*/ 107428 h 215613"/>
                  <a:gd name="connsiteX895" fmla="*/ 120459 w 234857"/>
                  <a:gd name="connsiteY895" fmla="*/ 107731 h 215613"/>
                  <a:gd name="connsiteX896" fmla="*/ 120459 w 234857"/>
                  <a:gd name="connsiteY896" fmla="*/ 108186 h 215613"/>
                  <a:gd name="connsiteX897" fmla="*/ 121065 w 234857"/>
                  <a:gd name="connsiteY897" fmla="*/ 109398 h 215613"/>
                  <a:gd name="connsiteX898" fmla="*/ 122126 w 234857"/>
                  <a:gd name="connsiteY898" fmla="*/ 110004 h 215613"/>
                  <a:gd name="connsiteX899" fmla="*/ 123186 w 234857"/>
                  <a:gd name="connsiteY899" fmla="*/ 112277 h 215613"/>
                  <a:gd name="connsiteX900" fmla="*/ 124399 w 234857"/>
                  <a:gd name="connsiteY900" fmla="*/ 113489 h 215613"/>
                  <a:gd name="connsiteX901" fmla="*/ 124550 w 234857"/>
                  <a:gd name="connsiteY901" fmla="*/ 115156 h 215613"/>
                  <a:gd name="connsiteX902" fmla="*/ 125156 w 234857"/>
                  <a:gd name="connsiteY902" fmla="*/ 116216 h 215613"/>
                  <a:gd name="connsiteX903" fmla="*/ 128035 w 234857"/>
                  <a:gd name="connsiteY903" fmla="*/ 118035 h 215613"/>
                  <a:gd name="connsiteX904" fmla="*/ 129247 w 234857"/>
                  <a:gd name="connsiteY904" fmla="*/ 119398 h 215613"/>
                  <a:gd name="connsiteX905" fmla="*/ 130763 w 234857"/>
                  <a:gd name="connsiteY905" fmla="*/ 119398 h 215613"/>
                  <a:gd name="connsiteX906" fmla="*/ 131520 w 234857"/>
                  <a:gd name="connsiteY906" fmla="*/ 119701 h 215613"/>
                  <a:gd name="connsiteX907" fmla="*/ 132278 w 234857"/>
                  <a:gd name="connsiteY907" fmla="*/ 120459 h 215613"/>
                  <a:gd name="connsiteX908" fmla="*/ 133035 w 234857"/>
                  <a:gd name="connsiteY908" fmla="*/ 120762 h 215613"/>
                  <a:gd name="connsiteX909" fmla="*/ 133944 w 234857"/>
                  <a:gd name="connsiteY909" fmla="*/ 120459 h 215613"/>
                  <a:gd name="connsiteX910" fmla="*/ 135157 w 234857"/>
                  <a:gd name="connsiteY910" fmla="*/ 119247 h 215613"/>
                  <a:gd name="connsiteX911" fmla="*/ 135308 w 234857"/>
                  <a:gd name="connsiteY911" fmla="*/ 116216 h 215613"/>
                  <a:gd name="connsiteX912" fmla="*/ 117580 w 234857"/>
                  <a:gd name="connsiteY912" fmla="*/ 81973 h 215613"/>
                  <a:gd name="connsiteX913" fmla="*/ 118489 w 234857"/>
                  <a:gd name="connsiteY913" fmla="*/ 79851 h 215613"/>
                  <a:gd name="connsiteX914" fmla="*/ 116217 w 234857"/>
                  <a:gd name="connsiteY914" fmla="*/ 81215 h 215613"/>
                  <a:gd name="connsiteX915" fmla="*/ 115004 w 234857"/>
                  <a:gd name="connsiteY915" fmla="*/ 83791 h 215613"/>
                  <a:gd name="connsiteX916" fmla="*/ 116217 w 234857"/>
                  <a:gd name="connsiteY916" fmla="*/ 83488 h 215613"/>
                  <a:gd name="connsiteX917" fmla="*/ 117580 w 234857"/>
                  <a:gd name="connsiteY917" fmla="*/ 81973 h 215613"/>
                  <a:gd name="connsiteX918" fmla="*/ 111974 w 234857"/>
                  <a:gd name="connsiteY918" fmla="*/ 85912 h 215613"/>
                  <a:gd name="connsiteX919" fmla="*/ 113186 w 234857"/>
                  <a:gd name="connsiteY919" fmla="*/ 84852 h 215613"/>
                  <a:gd name="connsiteX920" fmla="*/ 108034 w 234857"/>
                  <a:gd name="connsiteY920" fmla="*/ 81821 h 215613"/>
                  <a:gd name="connsiteX921" fmla="*/ 110004 w 234857"/>
                  <a:gd name="connsiteY921" fmla="*/ 85458 h 215613"/>
                  <a:gd name="connsiteX922" fmla="*/ 111974 w 234857"/>
                  <a:gd name="connsiteY922" fmla="*/ 85912 h 21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Lst>
                <a:rect l="l" t="t" r="r" b="b"/>
                <a:pathLst>
                  <a:path w="234857" h="215613">
                    <a:moveTo>
                      <a:pt x="155158" y="136217"/>
                    </a:moveTo>
                    <a:lnTo>
                      <a:pt x="155006" y="138641"/>
                    </a:lnTo>
                    <a:lnTo>
                      <a:pt x="157582" y="138490"/>
                    </a:lnTo>
                    <a:lnTo>
                      <a:pt x="159097" y="137581"/>
                    </a:lnTo>
                    <a:lnTo>
                      <a:pt x="159248" y="136823"/>
                    </a:lnTo>
                    <a:lnTo>
                      <a:pt x="156067" y="135611"/>
                    </a:lnTo>
                    <a:lnTo>
                      <a:pt x="155158" y="136217"/>
                    </a:lnTo>
                    <a:close/>
                    <a:moveTo>
                      <a:pt x="168340" y="157733"/>
                    </a:moveTo>
                    <a:lnTo>
                      <a:pt x="166825" y="158339"/>
                    </a:lnTo>
                    <a:lnTo>
                      <a:pt x="167582" y="158642"/>
                    </a:lnTo>
                    <a:lnTo>
                      <a:pt x="170006" y="158339"/>
                    </a:lnTo>
                    <a:lnTo>
                      <a:pt x="173491" y="155612"/>
                    </a:lnTo>
                    <a:lnTo>
                      <a:pt x="175613" y="154854"/>
                    </a:lnTo>
                    <a:lnTo>
                      <a:pt x="173794" y="153794"/>
                    </a:lnTo>
                    <a:lnTo>
                      <a:pt x="172128" y="155460"/>
                    </a:lnTo>
                    <a:lnTo>
                      <a:pt x="169703" y="156672"/>
                    </a:lnTo>
                    <a:lnTo>
                      <a:pt x="169249" y="157430"/>
                    </a:lnTo>
                    <a:lnTo>
                      <a:pt x="168340" y="157733"/>
                    </a:lnTo>
                    <a:close/>
                    <a:moveTo>
                      <a:pt x="146521" y="130308"/>
                    </a:moveTo>
                    <a:lnTo>
                      <a:pt x="147127" y="131217"/>
                    </a:lnTo>
                    <a:lnTo>
                      <a:pt x="148036" y="132278"/>
                    </a:lnTo>
                    <a:lnTo>
                      <a:pt x="150915" y="134399"/>
                    </a:lnTo>
                    <a:lnTo>
                      <a:pt x="152582" y="134702"/>
                    </a:lnTo>
                    <a:lnTo>
                      <a:pt x="153642" y="132732"/>
                    </a:lnTo>
                    <a:lnTo>
                      <a:pt x="152884" y="131823"/>
                    </a:lnTo>
                    <a:lnTo>
                      <a:pt x="149248" y="131217"/>
                    </a:lnTo>
                    <a:lnTo>
                      <a:pt x="147884" y="130156"/>
                    </a:lnTo>
                    <a:lnTo>
                      <a:pt x="146521" y="130308"/>
                    </a:lnTo>
                    <a:close/>
                    <a:moveTo>
                      <a:pt x="156067" y="56820"/>
                    </a:moveTo>
                    <a:lnTo>
                      <a:pt x="154400" y="57729"/>
                    </a:lnTo>
                    <a:lnTo>
                      <a:pt x="153036" y="56214"/>
                    </a:lnTo>
                    <a:lnTo>
                      <a:pt x="148187" y="56366"/>
                    </a:lnTo>
                    <a:lnTo>
                      <a:pt x="148036" y="57123"/>
                    </a:lnTo>
                    <a:lnTo>
                      <a:pt x="148339" y="59245"/>
                    </a:lnTo>
                    <a:lnTo>
                      <a:pt x="148187" y="61063"/>
                    </a:lnTo>
                    <a:lnTo>
                      <a:pt x="150005" y="61972"/>
                    </a:lnTo>
                    <a:lnTo>
                      <a:pt x="151672" y="61821"/>
                    </a:lnTo>
                    <a:lnTo>
                      <a:pt x="152127" y="61214"/>
                    </a:lnTo>
                    <a:lnTo>
                      <a:pt x="152733" y="59851"/>
                    </a:lnTo>
                    <a:lnTo>
                      <a:pt x="153491" y="59851"/>
                    </a:lnTo>
                    <a:lnTo>
                      <a:pt x="153491" y="61063"/>
                    </a:lnTo>
                    <a:lnTo>
                      <a:pt x="153793" y="62123"/>
                    </a:lnTo>
                    <a:lnTo>
                      <a:pt x="154703" y="62730"/>
                    </a:lnTo>
                    <a:lnTo>
                      <a:pt x="156370" y="62730"/>
                    </a:lnTo>
                    <a:lnTo>
                      <a:pt x="156824" y="60002"/>
                    </a:lnTo>
                    <a:lnTo>
                      <a:pt x="157582" y="58184"/>
                    </a:lnTo>
                    <a:lnTo>
                      <a:pt x="158642" y="57123"/>
                    </a:lnTo>
                    <a:lnTo>
                      <a:pt x="158946" y="55457"/>
                    </a:lnTo>
                    <a:lnTo>
                      <a:pt x="156824" y="56063"/>
                    </a:lnTo>
                    <a:lnTo>
                      <a:pt x="156067" y="56820"/>
                    </a:lnTo>
                    <a:close/>
                    <a:moveTo>
                      <a:pt x="151975" y="151975"/>
                    </a:moveTo>
                    <a:lnTo>
                      <a:pt x="154097" y="149551"/>
                    </a:lnTo>
                    <a:lnTo>
                      <a:pt x="153945" y="149096"/>
                    </a:lnTo>
                    <a:lnTo>
                      <a:pt x="154097" y="147430"/>
                    </a:lnTo>
                    <a:lnTo>
                      <a:pt x="153036" y="147127"/>
                    </a:lnTo>
                    <a:lnTo>
                      <a:pt x="150612" y="148490"/>
                    </a:lnTo>
                    <a:lnTo>
                      <a:pt x="149551" y="150763"/>
                    </a:lnTo>
                    <a:lnTo>
                      <a:pt x="150309" y="151824"/>
                    </a:lnTo>
                    <a:lnTo>
                      <a:pt x="151975" y="151975"/>
                    </a:lnTo>
                    <a:close/>
                    <a:moveTo>
                      <a:pt x="156521" y="162430"/>
                    </a:moveTo>
                    <a:lnTo>
                      <a:pt x="156976" y="161976"/>
                    </a:lnTo>
                    <a:lnTo>
                      <a:pt x="157733" y="160612"/>
                    </a:lnTo>
                    <a:lnTo>
                      <a:pt x="154703" y="158339"/>
                    </a:lnTo>
                    <a:lnTo>
                      <a:pt x="153793" y="159248"/>
                    </a:lnTo>
                    <a:lnTo>
                      <a:pt x="154551" y="160460"/>
                    </a:lnTo>
                    <a:lnTo>
                      <a:pt x="156521" y="162430"/>
                    </a:lnTo>
                    <a:close/>
                    <a:moveTo>
                      <a:pt x="164703" y="41365"/>
                    </a:moveTo>
                    <a:lnTo>
                      <a:pt x="163643" y="40456"/>
                    </a:lnTo>
                    <a:lnTo>
                      <a:pt x="162127" y="39698"/>
                    </a:lnTo>
                    <a:lnTo>
                      <a:pt x="158794" y="40759"/>
                    </a:lnTo>
                    <a:lnTo>
                      <a:pt x="162127" y="43486"/>
                    </a:lnTo>
                    <a:lnTo>
                      <a:pt x="165158" y="42577"/>
                    </a:lnTo>
                    <a:lnTo>
                      <a:pt x="164703" y="41365"/>
                    </a:lnTo>
                    <a:close/>
                    <a:moveTo>
                      <a:pt x="162582" y="150460"/>
                    </a:moveTo>
                    <a:lnTo>
                      <a:pt x="162734" y="146975"/>
                    </a:lnTo>
                    <a:lnTo>
                      <a:pt x="162127" y="145914"/>
                    </a:lnTo>
                    <a:lnTo>
                      <a:pt x="161067" y="145612"/>
                    </a:lnTo>
                    <a:lnTo>
                      <a:pt x="156521" y="149551"/>
                    </a:lnTo>
                    <a:lnTo>
                      <a:pt x="157430" y="152278"/>
                    </a:lnTo>
                    <a:lnTo>
                      <a:pt x="159097" y="153945"/>
                    </a:lnTo>
                    <a:lnTo>
                      <a:pt x="161521" y="152733"/>
                    </a:lnTo>
                    <a:lnTo>
                      <a:pt x="162582" y="150460"/>
                    </a:lnTo>
                    <a:close/>
                    <a:moveTo>
                      <a:pt x="159703" y="170612"/>
                    </a:moveTo>
                    <a:lnTo>
                      <a:pt x="159248" y="169249"/>
                    </a:lnTo>
                    <a:lnTo>
                      <a:pt x="157582" y="168036"/>
                    </a:lnTo>
                    <a:lnTo>
                      <a:pt x="157279" y="168340"/>
                    </a:lnTo>
                    <a:lnTo>
                      <a:pt x="157733" y="169097"/>
                    </a:lnTo>
                    <a:lnTo>
                      <a:pt x="157733" y="170309"/>
                    </a:lnTo>
                    <a:lnTo>
                      <a:pt x="157279" y="171067"/>
                    </a:lnTo>
                    <a:lnTo>
                      <a:pt x="156521" y="171673"/>
                    </a:lnTo>
                    <a:lnTo>
                      <a:pt x="158339" y="172279"/>
                    </a:lnTo>
                    <a:lnTo>
                      <a:pt x="159703" y="170612"/>
                    </a:lnTo>
                    <a:close/>
                    <a:moveTo>
                      <a:pt x="27122" y="94246"/>
                    </a:moveTo>
                    <a:lnTo>
                      <a:pt x="25910" y="96064"/>
                    </a:lnTo>
                    <a:lnTo>
                      <a:pt x="25001" y="99246"/>
                    </a:lnTo>
                    <a:lnTo>
                      <a:pt x="24850" y="101822"/>
                    </a:lnTo>
                    <a:lnTo>
                      <a:pt x="25607" y="101216"/>
                    </a:lnTo>
                    <a:lnTo>
                      <a:pt x="26365" y="101064"/>
                    </a:lnTo>
                    <a:lnTo>
                      <a:pt x="27274" y="101216"/>
                    </a:lnTo>
                    <a:lnTo>
                      <a:pt x="28334" y="100913"/>
                    </a:lnTo>
                    <a:lnTo>
                      <a:pt x="29092" y="100004"/>
                    </a:lnTo>
                    <a:lnTo>
                      <a:pt x="29243" y="94852"/>
                    </a:lnTo>
                    <a:lnTo>
                      <a:pt x="28486" y="93488"/>
                    </a:lnTo>
                    <a:lnTo>
                      <a:pt x="27122" y="94246"/>
                    </a:lnTo>
                    <a:close/>
                    <a:moveTo>
                      <a:pt x="31062" y="117429"/>
                    </a:moveTo>
                    <a:lnTo>
                      <a:pt x="31213" y="115762"/>
                    </a:lnTo>
                    <a:lnTo>
                      <a:pt x="28638" y="112428"/>
                    </a:lnTo>
                    <a:lnTo>
                      <a:pt x="26668" y="111671"/>
                    </a:lnTo>
                    <a:lnTo>
                      <a:pt x="26365" y="108034"/>
                    </a:lnTo>
                    <a:lnTo>
                      <a:pt x="25001" y="105155"/>
                    </a:lnTo>
                    <a:lnTo>
                      <a:pt x="24698" y="105761"/>
                    </a:lnTo>
                    <a:lnTo>
                      <a:pt x="24698" y="107731"/>
                    </a:lnTo>
                    <a:lnTo>
                      <a:pt x="23941" y="109701"/>
                    </a:lnTo>
                    <a:lnTo>
                      <a:pt x="22880" y="110155"/>
                    </a:lnTo>
                    <a:lnTo>
                      <a:pt x="21667" y="108943"/>
                    </a:lnTo>
                    <a:lnTo>
                      <a:pt x="20910" y="109550"/>
                    </a:lnTo>
                    <a:lnTo>
                      <a:pt x="19395" y="113186"/>
                    </a:lnTo>
                    <a:lnTo>
                      <a:pt x="19395" y="114550"/>
                    </a:lnTo>
                    <a:lnTo>
                      <a:pt x="20455" y="114247"/>
                    </a:lnTo>
                    <a:lnTo>
                      <a:pt x="22122" y="112731"/>
                    </a:lnTo>
                    <a:lnTo>
                      <a:pt x="22728" y="113186"/>
                    </a:lnTo>
                    <a:lnTo>
                      <a:pt x="23486" y="114247"/>
                    </a:lnTo>
                    <a:lnTo>
                      <a:pt x="23334" y="114853"/>
                    </a:lnTo>
                    <a:lnTo>
                      <a:pt x="24092" y="116671"/>
                    </a:lnTo>
                    <a:lnTo>
                      <a:pt x="25304" y="116974"/>
                    </a:lnTo>
                    <a:lnTo>
                      <a:pt x="26365" y="116216"/>
                    </a:lnTo>
                    <a:lnTo>
                      <a:pt x="30607" y="117732"/>
                    </a:lnTo>
                    <a:lnTo>
                      <a:pt x="31062" y="117429"/>
                    </a:lnTo>
                    <a:close/>
                    <a:moveTo>
                      <a:pt x="28183" y="105004"/>
                    </a:moveTo>
                    <a:lnTo>
                      <a:pt x="27425" y="104701"/>
                    </a:lnTo>
                    <a:lnTo>
                      <a:pt x="26668" y="104852"/>
                    </a:lnTo>
                    <a:lnTo>
                      <a:pt x="27274" y="106974"/>
                    </a:lnTo>
                    <a:lnTo>
                      <a:pt x="28941" y="110004"/>
                    </a:lnTo>
                    <a:lnTo>
                      <a:pt x="30304" y="109701"/>
                    </a:lnTo>
                    <a:lnTo>
                      <a:pt x="29698" y="108489"/>
                    </a:lnTo>
                    <a:lnTo>
                      <a:pt x="28941" y="107428"/>
                    </a:lnTo>
                    <a:lnTo>
                      <a:pt x="28638" y="106519"/>
                    </a:lnTo>
                    <a:lnTo>
                      <a:pt x="28638" y="105761"/>
                    </a:lnTo>
                    <a:lnTo>
                      <a:pt x="28183" y="105004"/>
                    </a:lnTo>
                    <a:close/>
                    <a:moveTo>
                      <a:pt x="10455" y="74245"/>
                    </a:moveTo>
                    <a:lnTo>
                      <a:pt x="8485" y="73336"/>
                    </a:lnTo>
                    <a:lnTo>
                      <a:pt x="7728" y="72124"/>
                    </a:lnTo>
                    <a:lnTo>
                      <a:pt x="7121" y="69094"/>
                    </a:lnTo>
                    <a:lnTo>
                      <a:pt x="7121" y="68487"/>
                    </a:lnTo>
                    <a:lnTo>
                      <a:pt x="5606" y="66972"/>
                    </a:lnTo>
                    <a:lnTo>
                      <a:pt x="6061" y="66215"/>
                    </a:lnTo>
                    <a:lnTo>
                      <a:pt x="8031" y="64548"/>
                    </a:lnTo>
                    <a:lnTo>
                      <a:pt x="7728" y="63639"/>
                    </a:lnTo>
                    <a:lnTo>
                      <a:pt x="6819" y="62881"/>
                    </a:lnTo>
                    <a:lnTo>
                      <a:pt x="5303" y="62123"/>
                    </a:lnTo>
                    <a:lnTo>
                      <a:pt x="1667" y="62881"/>
                    </a:lnTo>
                    <a:lnTo>
                      <a:pt x="0" y="63942"/>
                    </a:lnTo>
                    <a:lnTo>
                      <a:pt x="0" y="65305"/>
                    </a:lnTo>
                    <a:lnTo>
                      <a:pt x="4394" y="69851"/>
                    </a:lnTo>
                    <a:lnTo>
                      <a:pt x="6515" y="73791"/>
                    </a:lnTo>
                    <a:lnTo>
                      <a:pt x="8940" y="75457"/>
                    </a:lnTo>
                    <a:lnTo>
                      <a:pt x="12273" y="76518"/>
                    </a:lnTo>
                    <a:lnTo>
                      <a:pt x="11667" y="74700"/>
                    </a:lnTo>
                    <a:lnTo>
                      <a:pt x="10455" y="74245"/>
                    </a:lnTo>
                    <a:close/>
                    <a:moveTo>
                      <a:pt x="146369" y="127732"/>
                    </a:moveTo>
                    <a:lnTo>
                      <a:pt x="146066" y="126520"/>
                    </a:lnTo>
                    <a:lnTo>
                      <a:pt x="145157" y="124550"/>
                    </a:lnTo>
                    <a:lnTo>
                      <a:pt x="145308" y="123035"/>
                    </a:lnTo>
                    <a:lnTo>
                      <a:pt x="142581" y="122732"/>
                    </a:lnTo>
                    <a:lnTo>
                      <a:pt x="140763" y="120307"/>
                    </a:lnTo>
                    <a:lnTo>
                      <a:pt x="140006" y="120459"/>
                    </a:lnTo>
                    <a:lnTo>
                      <a:pt x="138339" y="121217"/>
                    </a:lnTo>
                    <a:lnTo>
                      <a:pt x="138793" y="123186"/>
                    </a:lnTo>
                    <a:lnTo>
                      <a:pt x="140157" y="124095"/>
                    </a:lnTo>
                    <a:lnTo>
                      <a:pt x="141066" y="125611"/>
                    </a:lnTo>
                    <a:lnTo>
                      <a:pt x="143339" y="127277"/>
                    </a:lnTo>
                    <a:lnTo>
                      <a:pt x="145460" y="129702"/>
                    </a:lnTo>
                    <a:lnTo>
                      <a:pt x="146369" y="127732"/>
                    </a:lnTo>
                    <a:close/>
                    <a:moveTo>
                      <a:pt x="90458" y="170915"/>
                    </a:moveTo>
                    <a:lnTo>
                      <a:pt x="90003" y="171370"/>
                    </a:lnTo>
                    <a:lnTo>
                      <a:pt x="89246" y="172885"/>
                    </a:lnTo>
                    <a:lnTo>
                      <a:pt x="89397" y="175916"/>
                    </a:lnTo>
                    <a:lnTo>
                      <a:pt x="90155" y="177279"/>
                    </a:lnTo>
                    <a:lnTo>
                      <a:pt x="93034" y="178188"/>
                    </a:lnTo>
                    <a:lnTo>
                      <a:pt x="93337" y="176825"/>
                    </a:lnTo>
                    <a:lnTo>
                      <a:pt x="94549" y="175006"/>
                    </a:lnTo>
                    <a:lnTo>
                      <a:pt x="91822" y="172430"/>
                    </a:lnTo>
                    <a:lnTo>
                      <a:pt x="90458" y="170915"/>
                    </a:lnTo>
                    <a:close/>
                    <a:moveTo>
                      <a:pt x="103034" y="134702"/>
                    </a:moveTo>
                    <a:lnTo>
                      <a:pt x="102731" y="133490"/>
                    </a:lnTo>
                    <a:lnTo>
                      <a:pt x="101367" y="132884"/>
                    </a:lnTo>
                    <a:lnTo>
                      <a:pt x="99095" y="132884"/>
                    </a:lnTo>
                    <a:lnTo>
                      <a:pt x="97277" y="132126"/>
                    </a:lnTo>
                    <a:lnTo>
                      <a:pt x="95913" y="129096"/>
                    </a:lnTo>
                    <a:lnTo>
                      <a:pt x="95913" y="126671"/>
                    </a:lnTo>
                    <a:lnTo>
                      <a:pt x="94246" y="124853"/>
                    </a:lnTo>
                    <a:lnTo>
                      <a:pt x="92882" y="124095"/>
                    </a:lnTo>
                    <a:lnTo>
                      <a:pt x="93185" y="123338"/>
                    </a:lnTo>
                    <a:lnTo>
                      <a:pt x="94246" y="123035"/>
                    </a:lnTo>
                    <a:lnTo>
                      <a:pt x="97125" y="121520"/>
                    </a:lnTo>
                    <a:lnTo>
                      <a:pt x="103337" y="120459"/>
                    </a:lnTo>
                    <a:lnTo>
                      <a:pt x="105610" y="119095"/>
                    </a:lnTo>
                    <a:lnTo>
                      <a:pt x="106519" y="119095"/>
                    </a:lnTo>
                    <a:lnTo>
                      <a:pt x="107732" y="119853"/>
                    </a:lnTo>
                    <a:lnTo>
                      <a:pt x="111974" y="123792"/>
                    </a:lnTo>
                    <a:lnTo>
                      <a:pt x="115913" y="127126"/>
                    </a:lnTo>
                    <a:lnTo>
                      <a:pt x="118489" y="130308"/>
                    </a:lnTo>
                    <a:lnTo>
                      <a:pt x="119853" y="130308"/>
                    </a:lnTo>
                    <a:lnTo>
                      <a:pt x="120762" y="129247"/>
                    </a:lnTo>
                    <a:lnTo>
                      <a:pt x="120914" y="127126"/>
                    </a:lnTo>
                    <a:lnTo>
                      <a:pt x="120914" y="125762"/>
                    </a:lnTo>
                    <a:lnTo>
                      <a:pt x="120156" y="121368"/>
                    </a:lnTo>
                    <a:lnTo>
                      <a:pt x="119853" y="115459"/>
                    </a:lnTo>
                    <a:lnTo>
                      <a:pt x="119398" y="112731"/>
                    </a:lnTo>
                    <a:lnTo>
                      <a:pt x="118338" y="111216"/>
                    </a:lnTo>
                    <a:lnTo>
                      <a:pt x="114701" y="109550"/>
                    </a:lnTo>
                    <a:lnTo>
                      <a:pt x="110610" y="108640"/>
                    </a:lnTo>
                    <a:lnTo>
                      <a:pt x="107428" y="104246"/>
                    </a:lnTo>
                    <a:lnTo>
                      <a:pt x="101974" y="103034"/>
                    </a:lnTo>
                    <a:lnTo>
                      <a:pt x="98792" y="98791"/>
                    </a:lnTo>
                    <a:lnTo>
                      <a:pt x="95610" y="98640"/>
                    </a:lnTo>
                    <a:lnTo>
                      <a:pt x="92428" y="96216"/>
                    </a:lnTo>
                    <a:lnTo>
                      <a:pt x="85761" y="94397"/>
                    </a:lnTo>
                    <a:lnTo>
                      <a:pt x="83336" y="92882"/>
                    </a:lnTo>
                    <a:lnTo>
                      <a:pt x="81821" y="92882"/>
                    </a:lnTo>
                    <a:lnTo>
                      <a:pt x="80003" y="92276"/>
                    </a:lnTo>
                    <a:lnTo>
                      <a:pt x="80761" y="91519"/>
                    </a:lnTo>
                    <a:lnTo>
                      <a:pt x="82882" y="91215"/>
                    </a:lnTo>
                    <a:lnTo>
                      <a:pt x="86367" y="91064"/>
                    </a:lnTo>
                    <a:lnTo>
                      <a:pt x="89852" y="89549"/>
                    </a:lnTo>
                    <a:lnTo>
                      <a:pt x="93640" y="86670"/>
                    </a:lnTo>
                    <a:lnTo>
                      <a:pt x="90912" y="86821"/>
                    </a:lnTo>
                    <a:lnTo>
                      <a:pt x="90155" y="84246"/>
                    </a:lnTo>
                    <a:lnTo>
                      <a:pt x="88640" y="82427"/>
                    </a:lnTo>
                    <a:lnTo>
                      <a:pt x="87276" y="79548"/>
                    </a:lnTo>
                    <a:lnTo>
                      <a:pt x="89549" y="78033"/>
                    </a:lnTo>
                    <a:lnTo>
                      <a:pt x="91519" y="77276"/>
                    </a:lnTo>
                    <a:lnTo>
                      <a:pt x="96064" y="79548"/>
                    </a:lnTo>
                    <a:lnTo>
                      <a:pt x="96216" y="81064"/>
                    </a:lnTo>
                    <a:lnTo>
                      <a:pt x="94852" y="83488"/>
                    </a:lnTo>
                    <a:lnTo>
                      <a:pt x="95761" y="84549"/>
                    </a:lnTo>
                    <a:lnTo>
                      <a:pt x="97428" y="84397"/>
                    </a:lnTo>
                    <a:lnTo>
                      <a:pt x="100458" y="82124"/>
                    </a:lnTo>
                    <a:lnTo>
                      <a:pt x="99398" y="78488"/>
                    </a:lnTo>
                    <a:lnTo>
                      <a:pt x="97883" y="76215"/>
                    </a:lnTo>
                    <a:lnTo>
                      <a:pt x="94398" y="71972"/>
                    </a:lnTo>
                    <a:lnTo>
                      <a:pt x="91064" y="69699"/>
                    </a:lnTo>
                    <a:lnTo>
                      <a:pt x="89397" y="67578"/>
                    </a:lnTo>
                    <a:lnTo>
                      <a:pt x="87124" y="62123"/>
                    </a:lnTo>
                    <a:lnTo>
                      <a:pt x="80457" y="54547"/>
                    </a:lnTo>
                    <a:lnTo>
                      <a:pt x="79852" y="51820"/>
                    </a:lnTo>
                    <a:lnTo>
                      <a:pt x="80912" y="46820"/>
                    </a:lnTo>
                    <a:lnTo>
                      <a:pt x="81973" y="43941"/>
                    </a:lnTo>
                    <a:lnTo>
                      <a:pt x="81518" y="41971"/>
                    </a:lnTo>
                    <a:lnTo>
                      <a:pt x="81670" y="39850"/>
                    </a:lnTo>
                    <a:lnTo>
                      <a:pt x="84700" y="38486"/>
                    </a:lnTo>
                    <a:lnTo>
                      <a:pt x="86670" y="37123"/>
                    </a:lnTo>
                    <a:lnTo>
                      <a:pt x="89701" y="36668"/>
                    </a:lnTo>
                    <a:lnTo>
                      <a:pt x="88943" y="38789"/>
                    </a:lnTo>
                    <a:lnTo>
                      <a:pt x="87882" y="39850"/>
                    </a:lnTo>
                    <a:lnTo>
                      <a:pt x="89094" y="42729"/>
                    </a:lnTo>
                    <a:lnTo>
                      <a:pt x="94549" y="45759"/>
                    </a:lnTo>
                    <a:lnTo>
                      <a:pt x="100458" y="48638"/>
                    </a:lnTo>
                    <a:lnTo>
                      <a:pt x="100913" y="52729"/>
                    </a:lnTo>
                    <a:lnTo>
                      <a:pt x="102731" y="55911"/>
                    </a:lnTo>
                    <a:lnTo>
                      <a:pt x="109095" y="58033"/>
                    </a:lnTo>
                    <a:lnTo>
                      <a:pt x="109853" y="57729"/>
                    </a:lnTo>
                    <a:lnTo>
                      <a:pt x="110307" y="56972"/>
                    </a:lnTo>
                    <a:lnTo>
                      <a:pt x="104701" y="53335"/>
                    </a:lnTo>
                    <a:lnTo>
                      <a:pt x="103792" y="51972"/>
                    </a:lnTo>
                    <a:lnTo>
                      <a:pt x="102580" y="48487"/>
                    </a:lnTo>
                    <a:lnTo>
                      <a:pt x="103640" y="47123"/>
                    </a:lnTo>
                    <a:lnTo>
                      <a:pt x="110156" y="48487"/>
                    </a:lnTo>
                    <a:lnTo>
                      <a:pt x="114853" y="55002"/>
                    </a:lnTo>
                    <a:lnTo>
                      <a:pt x="117883" y="56820"/>
                    </a:lnTo>
                    <a:lnTo>
                      <a:pt x="118792" y="55911"/>
                    </a:lnTo>
                    <a:lnTo>
                      <a:pt x="119247" y="55002"/>
                    </a:lnTo>
                    <a:lnTo>
                      <a:pt x="118338" y="52123"/>
                    </a:lnTo>
                    <a:lnTo>
                      <a:pt x="116974" y="50759"/>
                    </a:lnTo>
                    <a:lnTo>
                      <a:pt x="114398" y="49093"/>
                    </a:lnTo>
                    <a:lnTo>
                      <a:pt x="111520" y="46517"/>
                    </a:lnTo>
                    <a:lnTo>
                      <a:pt x="111671" y="45153"/>
                    </a:lnTo>
                    <a:lnTo>
                      <a:pt x="114247" y="43941"/>
                    </a:lnTo>
                    <a:lnTo>
                      <a:pt x="116671" y="44244"/>
                    </a:lnTo>
                    <a:lnTo>
                      <a:pt x="120611" y="46062"/>
                    </a:lnTo>
                    <a:lnTo>
                      <a:pt x="123489" y="46820"/>
                    </a:lnTo>
                    <a:lnTo>
                      <a:pt x="125459" y="48941"/>
                    </a:lnTo>
                    <a:lnTo>
                      <a:pt x="128490" y="51063"/>
                    </a:lnTo>
                    <a:lnTo>
                      <a:pt x="127126" y="48032"/>
                    </a:lnTo>
                    <a:lnTo>
                      <a:pt x="125005" y="45305"/>
                    </a:lnTo>
                    <a:lnTo>
                      <a:pt x="120005" y="42729"/>
                    </a:lnTo>
                    <a:lnTo>
                      <a:pt x="117277" y="42880"/>
                    </a:lnTo>
                    <a:lnTo>
                      <a:pt x="115459" y="42426"/>
                    </a:lnTo>
                    <a:lnTo>
                      <a:pt x="114550" y="40456"/>
                    </a:lnTo>
                    <a:lnTo>
                      <a:pt x="115762" y="38486"/>
                    </a:lnTo>
                    <a:lnTo>
                      <a:pt x="113035" y="35759"/>
                    </a:lnTo>
                    <a:lnTo>
                      <a:pt x="112125" y="34244"/>
                    </a:lnTo>
                    <a:lnTo>
                      <a:pt x="112731" y="31971"/>
                    </a:lnTo>
                    <a:lnTo>
                      <a:pt x="117732" y="31971"/>
                    </a:lnTo>
                    <a:lnTo>
                      <a:pt x="121520" y="32729"/>
                    </a:lnTo>
                    <a:lnTo>
                      <a:pt x="125611" y="30759"/>
                    </a:lnTo>
                    <a:lnTo>
                      <a:pt x="129702" y="26668"/>
                    </a:lnTo>
                    <a:lnTo>
                      <a:pt x="132278" y="25607"/>
                    </a:lnTo>
                    <a:lnTo>
                      <a:pt x="134399" y="26062"/>
                    </a:lnTo>
                    <a:lnTo>
                      <a:pt x="137732" y="28183"/>
                    </a:lnTo>
                    <a:lnTo>
                      <a:pt x="140915" y="28637"/>
                    </a:lnTo>
                    <a:lnTo>
                      <a:pt x="146672" y="25001"/>
                    </a:lnTo>
                    <a:lnTo>
                      <a:pt x="149400" y="24092"/>
                    </a:lnTo>
                    <a:lnTo>
                      <a:pt x="153339" y="26062"/>
                    </a:lnTo>
                    <a:lnTo>
                      <a:pt x="155460" y="25759"/>
                    </a:lnTo>
                    <a:lnTo>
                      <a:pt x="160158" y="27577"/>
                    </a:lnTo>
                    <a:lnTo>
                      <a:pt x="170006" y="28941"/>
                    </a:lnTo>
                    <a:lnTo>
                      <a:pt x="174249" y="31365"/>
                    </a:lnTo>
                    <a:lnTo>
                      <a:pt x="175007" y="32729"/>
                    </a:lnTo>
                    <a:lnTo>
                      <a:pt x="175916" y="32274"/>
                    </a:lnTo>
                    <a:lnTo>
                      <a:pt x="176976" y="31971"/>
                    </a:lnTo>
                    <a:lnTo>
                      <a:pt x="178946" y="29547"/>
                    </a:lnTo>
                    <a:lnTo>
                      <a:pt x="180613" y="27728"/>
                    </a:lnTo>
                    <a:lnTo>
                      <a:pt x="183037" y="25455"/>
                    </a:lnTo>
                    <a:lnTo>
                      <a:pt x="183643" y="24092"/>
                    </a:lnTo>
                    <a:lnTo>
                      <a:pt x="183643" y="22880"/>
                    </a:lnTo>
                    <a:lnTo>
                      <a:pt x="183037" y="21971"/>
                    </a:lnTo>
                    <a:lnTo>
                      <a:pt x="182886" y="20910"/>
                    </a:lnTo>
                    <a:lnTo>
                      <a:pt x="182886" y="19395"/>
                    </a:lnTo>
                    <a:lnTo>
                      <a:pt x="183037" y="16213"/>
                    </a:lnTo>
                    <a:lnTo>
                      <a:pt x="188644" y="12879"/>
                    </a:lnTo>
                    <a:lnTo>
                      <a:pt x="190462" y="12576"/>
                    </a:lnTo>
                    <a:lnTo>
                      <a:pt x="191068" y="11061"/>
                    </a:lnTo>
                    <a:lnTo>
                      <a:pt x="190613" y="7425"/>
                    </a:lnTo>
                    <a:lnTo>
                      <a:pt x="189856" y="4546"/>
                    </a:lnTo>
                    <a:lnTo>
                      <a:pt x="188795" y="4394"/>
                    </a:lnTo>
                    <a:lnTo>
                      <a:pt x="187431" y="3485"/>
                    </a:lnTo>
                    <a:lnTo>
                      <a:pt x="186522" y="2576"/>
                    </a:lnTo>
                    <a:lnTo>
                      <a:pt x="185158" y="1515"/>
                    </a:lnTo>
                    <a:lnTo>
                      <a:pt x="182734" y="909"/>
                    </a:lnTo>
                    <a:lnTo>
                      <a:pt x="179401" y="0"/>
                    </a:lnTo>
                    <a:lnTo>
                      <a:pt x="176825" y="606"/>
                    </a:lnTo>
                    <a:lnTo>
                      <a:pt x="176219" y="1364"/>
                    </a:lnTo>
                    <a:lnTo>
                      <a:pt x="175613" y="2424"/>
                    </a:lnTo>
                    <a:lnTo>
                      <a:pt x="175916" y="3485"/>
                    </a:lnTo>
                    <a:lnTo>
                      <a:pt x="176825" y="4546"/>
                    </a:lnTo>
                    <a:lnTo>
                      <a:pt x="177734" y="7425"/>
                    </a:lnTo>
                    <a:lnTo>
                      <a:pt x="178037" y="10303"/>
                    </a:lnTo>
                    <a:lnTo>
                      <a:pt x="177431" y="11970"/>
                    </a:lnTo>
                    <a:lnTo>
                      <a:pt x="175613" y="13182"/>
                    </a:lnTo>
                    <a:lnTo>
                      <a:pt x="171673" y="14395"/>
                    </a:lnTo>
                    <a:lnTo>
                      <a:pt x="167885" y="13788"/>
                    </a:lnTo>
                    <a:lnTo>
                      <a:pt x="166218" y="14243"/>
                    </a:lnTo>
                    <a:lnTo>
                      <a:pt x="163491" y="14395"/>
                    </a:lnTo>
                    <a:lnTo>
                      <a:pt x="160915" y="14698"/>
                    </a:lnTo>
                    <a:lnTo>
                      <a:pt x="156976" y="15910"/>
                    </a:lnTo>
                    <a:lnTo>
                      <a:pt x="153339" y="16516"/>
                    </a:lnTo>
                    <a:lnTo>
                      <a:pt x="150157" y="14091"/>
                    </a:lnTo>
                    <a:lnTo>
                      <a:pt x="146369" y="12425"/>
                    </a:lnTo>
                    <a:lnTo>
                      <a:pt x="142429" y="11516"/>
                    </a:lnTo>
                    <a:lnTo>
                      <a:pt x="141066" y="12273"/>
                    </a:lnTo>
                    <a:lnTo>
                      <a:pt x="140460" y="12879"/>
                    </a:lnTo>
                    <a:lnTo>
                      <a:pt x="137127" y="10758"/>
                    </a:lnTo>
                    <a:lnTo>
                      <a:pt x="135611" y="10000"/>
                    </a:lnTo>
                    <a:lnTo>
                      <a:pt x="134853" y="9243"/>
                    </a:lnTo>
                    <a:lnTo>
                      <a:pt x="133490" y="6515"/>
                    </a:lnTo>
                    <a:lnTo>
                      <a:pt x="132732" y="6364"/>
                    </a:lnTo>
                    <a:lnTo>
                      <a:pt x="130005" y="7425"/>
                    </a:lnTo>
                    <a:lnTo>
                      <a:pt x="127277" y="7425"/>
                    </a:lnTo>
                    <a:lnTo>
                      <a:pt x="125611" y="7273"/>
                    </a:lnTo>
                    <a:lnTo>
                      <a:pt x="120914" y="7425"/>
                    </a:lnTo>
                    <a:lnTo>
                      <a:pt x="120308" y="9394"/>
                    </a:lnTo>
                    <a:lnTo>
                      <a:pt x="119701" y="9697"/>
                    </a:lnTo>
                    <a:lnTo>
                      <a:pt x="118641" y="10000"/>
                    </a:lnTo>
                    <a:lnTo>
                      <a:pt x="116065" y="9849"/>
                    </a:lnTo>
                    <a:lnTo>
                      <a:pt x="112883" y="11213"/>
                    </a:lnTo>
                    <a:lnTo>
                      <a:pt x="109398" y="12122"/>
                    </a:lnTo>
                    <a:lnTo>
                      <a:pt x="106671" y="12122"/>
                    </a:lnTo>
                    <a:lnTo>
                      <a:pt x="103943" y="11667"/>
                    </a:lnTo>
                    <a:lnTo>
                      <a:pt x="102277" y="11970"/>
                    </a:lnTo>
                    <a:lnTo>
                      <a:pt x="98640" y="12122"/>
                    </a:lnTo>
                    <a:lnTo>
                      <a:pt x="96367" y="14243"/>
                    </a:lnTo>
                    <a:lnTo>
                      <a:pt x="92731" y="14091"/>
                    </a:lnTo>
                    <a:lnTo>
                      <a:pt x="89701" y="13788"/>
                    </a:lnTo>
                    <a:lnTo>
                      <a:pt x="88185" y="13788"/>
                    </a:lnTo>
                    <a:lnTo>
                      <a:pt x="86064" y="13940"/>
                    </a:lnTo>
                    <a:lnTo>
                      <a:pt x="85306" y="14546"/>
                    </a:lnTo>
                    <a:lnTo>
                      <a:pt x="84549" y="18940"/>
                    </a:lnTo>
                    <a:lnTo>
                      <a:pt x="81215" y="20152"/>
                    </a:lnTo>
                    <a:lnTo>
                      <a:pt x="78185" y="20910"/>
                    </a:lnTo>
                    <a:lnTo>
                      <a:pt x="75609" y="20758"/>
                    </a:lnTo>
                    <a:lnTo>
                      <a:pt x="71215" y="19698"/>
                    </a:lnTo>
                    <a:lnTo>
                      <a:pt x="69700" y="19546"/>
                    </a:lnTo>
                    <a:lnTo>
                      <a:pt x="68488" y="20152"/>
                    </a:lnTo>
                    <a:lnTo>
                      <a:pt x="64548" y="20455"/>
                    </a:lnTo>
                    <a:lnTo>
                      <a:pt x="62730" y="21213"/>
                    </a:lnTo>
                    <a:lnTo>
                      <a:pt x="58638" y="26365"/>
                    </a:lnTo>
                    <a:lnTo>
                      <a:pt x="54548" y="28183"/>
                    </a:lnTo>
                    <a:lnTo>
                      <a:pt x="53184" y="29092"/>
                    </a:lnTo>
                    <a:lnTo>
                      <a:pt x="50002" y="28031"/>
                    </a:lnTo>
                    <a:lnTo>
                      <a:pt x="48487" y="27880"/>
                    </a:lnTo>
                    <a:lnTo>
                      <a:pt x="46214" y="29243"/>
                    </a:lnTo>
                    <a:lnTo>
                      <a:pt x="41365" y="29395"/>
                    </a:lnTo>
                    <a:lnTo>
                      <a:pt x="40002" y="29547"/>
                    </a:lnTo>
                    <a:lnTo>
                      <a:pt x="36214" y="29698"/>
                    </a:lnTo>
                    <a:lnTo>
                      <a:pt x="35910" y="32122"/>
                    </a:lnTo>
                    <a:lnTo>
                      <a:pt x="36819" y="33941"/>
                    </a:lnTo>
                    <a:lnTo>
                      <a:pt x="38032" y="35910"/>
                    </a:lnTo>
                    <a:lnTo>
                      <a:pt x="38032" y="37123"/>
                    </a:lnTo>
                    <a:lnTo>
                      <a:pt x="37274" y="39092"/>
                    </a:lnTo>
                    <a:lnTo>
                      <a:pt x="35910" y="41365"/>
                    </a:lnTo>
                    <a:lnTo>
                      <a:pt x="34092" y="42274"/>
                    </a:lnTo>
                    <a:lnTo>
                      <a:pt x="31971" y="43032"/>
                    </a:lnTo>
                    <a:lnTo>
                      <a:pt x="30910" y="44699"/>
                    </a:lnTo>
                    <a:lnTo>
                      <a:pt x="30456" y="46517"/>
                    </a:lnTo>
                    <a:lnTo>
                      <a:pt x="29547" y="47880"/>
                    </a:lnTo>
                    <a:lnTo>
                      <a:pt x="28941" y="49396"/>
                    </a:lnTo>
                    <a:lnTo>
                      <a:pt x="28031" y="52426"/>
                    </a:lnTo>
                    <a:lnTo>
                      <a:pt x="27880" y="53487"/>
                    </a:lnTo>
                    <a:lnTo>
                      <a:pt x="26516" y="54547"/>
                    </a:lnTo>
                    <a:lnTo>
                      <a:pt x="24395" y="55002"/>
                    </a:lnTo>
                    <a:lnTo>
                      <a:pt x="22425" y="55154"/>
                    </a:lnTo>
                    <a:lnTo>
                      <a:pt x="21062" y="55608"/>
                    </a:lnTo>
                    <a:lnTo>
                      <a:pt x="20455" y="56669"/>
                    </a:lnTo>
                    <a:lnTo>
                      <a:pt x="19243" y="57578"/>
                    </a:lnTo>
                    <a:lnTo>
                      <a:pt x="18486" y="57881"/>
                    </a:lnTo>
                    <a:lnTo>
                      <a:pt x="18486" y="58790"/>
                    </a:lnTo>
                    <a:lnTo>
                      <a:pt x="19395" y="60760"/>
                    </a:lnTo>
                    <a:lnTo>
                      <a:pt x="20455" y="62275"/>
                    </a:lnTo>
                    <a:lnTo>
                      <a:pt x="20455" y="63487"/>
                    </a:lnTo>
                    <a:lnTo>
                      <a:pt x="20001" y="63790"/>
                    </a:lnTo>
                    <a:lnTo>
                      <a:pt x="18486" y="63639"/>
                    </a:lnTo>
                    <a:lnTo>
                      <a:pt x="18183" y="64093"/>
                    </a:lnTo>
                    <a:lnTo>
                      <a:pt x="18031" y="65457"/>
                    </a:lnTo>
                    <a:lnTo>
                      <a:pt x="17576" y="66669"/>
                    </a:lnTo>
                    <a:lnTo>
                      <a:pt x="16970" y="67427"/>
                    </a:lnTo>
                    <a:lnTo>
                      <a:pt x="15910" y="68184"/>
                    </a:lnTo>
                    <a:lnTo>
                      <a:pt x="13788" y="67881"/>
                    </a:lnTo>
                    <a:lnTo>
                      <a:pt x="11819" y="66669"/>
                    </a:lnTo>
                    <a:lnTo>
                      <a:pt x="10758" y="66366"/>
                    </a:lnTo>
                    <a:lnTo>
                      <a:pt x="10152" y="66366"/>
                    </a:lnTo>
                    <a:lnTo>
                      <a:pt x="12879" y="68487"/>
                    </a:lnTo>
                    <a:lnTo>
                      <a:pt x="15455" y="71518"/>
                    </a:lnTo>
                    <a:lnTo>
                      <a:pt x="18486" y="78488"/>
                    </a:lnTo>
                    <a:lnTo>
                      <a:pt x="23031" y="80761"/>
                    </a:lnTo>
                    <a:lnTo>
                      <a:pt x="25910" y="84246"/>
                    </a:lnTo>
                    <a:lnTo>
                      <a:pt x="29243" y="86821"/>
                    </a:lnTo>
                    <a:lnTo>
                      <a:pt x="29850" y="87882"/>
                    </a:lnTo>
                    <a:lnTo>
                      <a:pt x="31668" y="88791"/>
                    </a:lnTo>
                    <a:lnTo>
                      <a:pt x="35607" y="87882"/>
                    </a:lnTo>
                    <a:lnTo>
                      <a:pt x="38638" y="88185"/>
                    </a:lnTo>
                    <a:lnTo>
                      <a:pt x="39547" y="88034"/>
                    </a:lnTo>
                    <a:lnTo>
                      <a:pt x="40911" y="88034"/>
                    </a:lnTo>
                    <a:lnTo>
                      <a:pt x="41668" y="89700"/>
                    </a:lnTo>
                    <a:lnTo>
                      <a:pt x="41820" y="91519"/>
                    </a:lnTo>
                    <a:lnTo>
                      <a:pt x="40759" y="92276"/>
                    </a:lnTo>
                    <a:lnTo>
                      <a:pt x="39698" y="92579"/>
                    </a:lnTo>
                    <a:lnTo>
                      <a:pt x="34698" y="90761"/>
                    </a:lnTo>
                    <a:lnTo>
                      <a:pt x="31517" y="91215"/>
                    </a:lnTo>
                    <a:lnTo>
                      <a:pt x="31213" y="92882"/>
                    </a:lnTo>
                    <a:lnTo>
                      <a:pt x="31517" y="95003"/>
                    </a:lnTo>
                    <a:lnTo>
                      <a:pt x="34092" y="96064"/>
                    </a:lnTo>
                    <a:lnTo>
                      <a:pt x="37274" y="100004"/>
                    </a:lnTo>
                    <a:lnTo>
                      <a:pt x="39093" y="104852"/>
                    </a:lnTo>
                    <a:lnTo>
                      <a:pt x="40607" y="108640"/>
                    </a:lnTo>
                    <a:lnTo>
                      <a:pt x="42577" y="109853"/>
                    </a:lnTo>
                    <a:lnTo>
                      <a:pt x="45911" y="108943"/>
                    </a:lnTo>
                    <a:lnTo>
                      <a:pt x="46669" y="107277"/>
                    </a:lnTo>
                    <a:lnTo>
                      <a:pt x="46669" y="105307"/>
                    </a:lnTo>
                    <a:lnTo>
                      <a:pt x="47274" y="105761"/>
                    </a:lnTo>
                    <a:lnTo>
                      <a:pt x="48183" y="107883"/>
                    </a:lnTo>
                    <a:lnTo>
                      <a:pt x="50457" y="110610"/>
                    </a:lnTo>
                    <a:lnTo>
                      <a:pt x="53032" y="110155"/>
                    </a:lnTo>
                    <a:lnTo>
                      <a:pt x="55305" y="109550"/>
                    </a:lnTo>
                    <a:lnTo>
                      <a:pt x="57124" y="109550"/>
                    </a:lnTo>
                    <a:lnTo>
                      <a:pt x="59548" y="109246"/>
                    </a:lnTo>
                    <a:lnTo>
                      <a:pt x="63942" y="107731"/>
                    </a:lnTo>
                    <a:lnTo>
                      <a:pt x="71063" y="109550"/>
                    </a:lnTo>
                    <a:lnTo>
                      <a:pt x="73639" y="109398"/>
                    </a:lnTo>
                    <a:lnTo>
                      <a:pt x="75458" y="108489"/>
                    </a:lnTo>
                    <a:lnTo>
                      <a:pt x="76518" y="106822"/>
                    </a:lnTo>
                    <a:lnTo>
                      <a:pt x="80912" y="109853"/>
                    </a:lnTo>
                    <a:lnTo>
                      <a:pt x="85609" y="111671"/>
                    </a:lnTo>
                    <a:lnTo>
                      <a:pt x="86367" y="112580"/>
                    </a:lnTo>
                    <a:lnTo>
                      <a:pt x="87731" y="113489"/>
                    </a:lnTo>
                    <a:lnTo>
                      <a:pt x="90458" y="114550"/>
                    </a:lnTo>
                    <a:lnTo>
                      <a:pt x="92125" y="114095"/>
                    </a:lnTo>
                    <a:lnTo>
                      <a:pt x="93185" y="114550"/>
                    </a:lnTo>
                    <a:lnTo>
                      <a:pt x="94852" y="114701"/>
                    </a:lnTo>
                    <a:lnTo>
                      <a:pt x="96367" y="115307"/>
                    </a:lnTo>
                    <a:lnTo>
                      <a:pt x="97277" y="116671"/>
                    </a:lnTo>
                    <a:lnTo>
                      <a:pt x="96367" y="117883"/>
                    </a:lnTo>
                    <a:lnTo>
                      <a:pt x="95458" y="118641"/>
                    </a:lnTo>
                    <a:lnTo>
                      <a:pt x="90912" y="118641"/>
                    </a:lnTo>
                    <a:lnTo>
                      <a:pt x="89246" y="119398"/>
                    </a:lnTo>
                    <a:lnTo>
                      <a:pt x="89852" y="120762"/>
                    </a:lnTo>
                    <a:lnTo>
                      <a:pt x="90003" y="122277"/>
                    </a:lnTo>
                    <a:lnTo>
                      <a:pt x="88034" y="121974"/>
                    </a:lnTo>
                    <a:lnTo>
                      <a:pt x="86822" y="121520"/>
                    </a:lnTo>
                    <a:lnTo>
                      <a:pt x="84397" y="119398"/>
                    </a:lnTo>
                    <a:lnTo>
                      <a:pt x="80155" y="117277"/>
                    </a:lnTo>
                    <a:lnTo>
                      <a:pt x="71669" y="114853"/>
                    </a:lnTo>
                    <a:lnTo>
                      <a:pt x="63791" y="110610"/>
                    </a:lnTo>
                    <a:lnTo>
                      <a:pt x="60305" y="110459"/>
                    </a:lnTo>
                    <a:lnTo>
                      <a:pt x="58184" y="112125"/>
                    </a:lnTo>
                    <a:lnTo>
                      <a:pt x="55760" y="115307"/>
                    </a:lnTo>
                    <a:lnTo>
                      <a:pt x="52729" y="115610"/>
                    </a:lnTo>
                    <a:lnTo>
                      <a:pt x="50002" y="114398"/>
                    </a:lnTo>
                    <a:lnTo>
                      <a:pt x="48639" y="114701"/>
                    </a:lnTo>
                    <a:lnTo>
                      <a:pt x="46062" y="120004"/>
                    </a:lnTo>
                    <a:lnTo>
                      <a:pt x="41668" y="123489"/>
                    </a:lnTo>
                    <a:lnTo>
                      <a:pt x="41062" y="124398"/>
                    </a:lnTo>
                    <a:lnTo>
                      <a:pt x="41365" y="125611"/>
                    </a:lnTo>
                    <a:lnTo>
                      <a:pt x="43184" y="126368"/>
                    </a:lnTo>
                    <a:lnTo>
                      <a:pt x="45456" y="128035"/>
                    </a:lnTo>
                    <a:lnTo>
                      <a:pt x="46517" y="131369"/>
                    </a:lnTo>
                    <a:lnTo>
                      <a:pt x="48941" y="132278"/>
                    </a:lnTo>
                    <a:lnTo>
                      <a:pt x="53184" y="135459"/>
                    </a:lnTo>
                    <a:lnTo>
                      <a:pt x="56063" y="140308"/>
                    </a:lnTo>
                    <a:lnTo>
                      <a:pt x="56366" y="142733"/>
                    </a:lnTo>
                    <a:lnTo>
                      <a:pt x="53184" y="146217"/>
                    </a:lnTo>
                    <a:lnTo>
                      <a:pt x="53336" y="150006"/>
                    </a:lnTo>
                    <a:lnTo>
                      <a:pt x="57578" y="156824"/>
                    </a:lnTo>
                    <a:lnTo>
                      <a:pt x="61821" y="160764"/>
                    </a:lnTo>
                    <a:lnTo>
                      <a:pt x="63033" y="158642"/>
                    </a:lnTo>
                    <a:lnTo>
                      <a:pt x="63184" y="155915"/>
                    </a:lnTo>
                    <a:lnTo>
                      <a:pt x="63639" y="152884"/>
                    </a:lnTo>
                    <a:lnTo>
                      <a:pt x="65154" y="152127"/>
                    </a:lnTo>
                    <a:lnTo>
                      <a:pt x="66972" y="151672"/>
                    </a:lnTo>
                    <a:lnTo>
                      <a:pt x="68488" y="153642"/>
                    </a:lnTo>
                    <a:lnTo>
                      <a:pt x="69397" y="155612"/>
                    </a:lnTo>
                    <a:lnTo>
                      <a:pt x="71215" y="156218"/>
                    </a:lnTo>
                    <a:lnTo>
                      <a:pt x="75155" y="161824"/>
                    </a:lnTo>
                    <a:lnTo>
                      <a:pt x="75306" y="163491"/>
                    </a:lnTo>
                    <a:lnTo>
                      <a:pt x="75155" y="167582"/>
                    </a:lnTo>
                    <a:lnTo>
                      <a:pt x="76669" y="168794"/>
                    </a:lnTo>
                    <a:lnTo>
                      <a:pt x="78336" y="169703"/>
                    </a:lnTo>
                    <a:lnTo>
                      <a:pt x="78336" y="165915"/>
                    </a:lnTo>
                    <a:lnTo>
                      <a:pt x="81670" y="159248"/>
                    </a:lnTo>
                    <a:lnTo>
                      <a:pt x="84700" y="158794"/>
                    </a:lnTo>
                    <a:lnTo>
                      <a:pt x="86367" y="159097"/>
                    </a:lnTo>
                    <a:lnTo>
                      <a:pt x="87731" y="162127"/>
                    </a:lnTo>
                    <a:lnTo>
                      <a:pt x="91822" y="167127"/>
                    </a:lnTo>
                    <a:lnTo>
                      <a:pt x="93943" y="168491"/>
                    </a:lnTo>
                    <a:lnTo>
                      <a:pt x="95155" y="169552"/>
                    </a:lnTo>
                    <a:lnTo>
                      <a:pt x="96670" y="169703"/>
                    </a:lnTo>
                    <a:lnTo>
                      <a:pt x="95307" y="166521"/>
                    </a:lnTo>
                    <a:lnTo>
                      <a:pt x="93337" y="163491"/>
                    </a:lnTo>
                    <a:lnTo>
                      <a:pt x="94246" y="159400"/>
                    </a:lnTo>
                    <a:lnTo>
                      <a:pt x="93943" y="156976"/>
                    </a:lnTo>
                    <a:lnTo>
                      <a:pt x="92125" y="151824"/>
                    </a:lnTo>
                    <a:lnTo>
                      <a:pt x="88185" y="143187"/>
                    </a:lnTo>
                    <a:lnTo>
                      <a:pt x="85761" y="140005"/>
                    </a:lnTo>
                    <a:lnTo>
                      <a:pt x="84700" y="135308"/>
                    </a:lnTo>
                    <a:lnTo>
                      <a:pt x="86064" y="133944"/>
                    </a:lnTo>
                    <a:lnTo>
                      <a:pt x="88185" y="135611"/>
                    </a:lnTo>
                    <a:lnTo>
                      <a:pt x="90610" y="136066"/>
                    </a:lnTo>
                    <a:lnTo>
                      <a:pt x="92579" y="137126"/>
                    </a:lnTo>
                    <a:lnTo>
                      <a:pt x="94852" y="138490"/>
                    </a:lnTo>
                    <a:lnTo>
                      <a:pt x="95004" y="140914"/>
                    </a:lnTo>
                    <a:lnTo>
                      <a:pt x="96670" y="141823"/>
                    </a:lnTo>
                    <a:lnTo>
                      <a:pt x="97731" y="141369"/>
                    </a:lnTo>
                    <a:lnTo>
                      <a:pt x="99095" y="140460"/>
                    </a:lnTo>
                    <a:lnTo>
                      <a:pt x="105610" y="138490"/>
                    </a:lnTo>
                    <a:lnTo>
                      <a:pt x="105610" y="137732"/>
                    </a:lnTo>
                    <a:lnTo>
                      <a:pt x="104701" y="136672"/>
                    </a:lnTo>
                    <a:lnTo>
                      <a:pt x="103034" y="134702"/>
                    </a:lnTo>
                    <a:close/>
                    <a:moveTo>
                      <a:pt x="176976" y="102883"/>
                    </a:moveTo>
                    <a:lnTo>
                      <a:pt x="174249" y="101064"/>
                    </a:lnTo>
                    <a:lnTo>
                      <a:pt x="169703" y="101973"/>
                    </a:lnTo>
                    <a:lnTo>
                      <a:pt x="169855" y="104095"/>
                    </a:lnTo>
                    <a:lnTo>
                      <a:pt x="172885" y="106974"/>
                    </a:lnTo>
                    <a:lnTo>
                      <a:pt x="173794" y="108943"/>
                    </a:lnTo>
                    <a:lnTo>
                      <a:pt x="172734" y="110610"/>
                    </a:lnTo>
                    <a:lnTo>
                      <a:pt x="170613" y="111671"/>
                    </a:lnTo>
                    <a:lnTo>
                      <a:pt x="171067" y="112580"/>
                    </a:lnTo>
                    <a:lnTo>
                      <a:pt x="173946" y="115156"/>
                    </a:lnTo>
                    <a:lnTo>
                      <a:pt x="176522" y="113338"/>
                    </a:lnTo>
                    <a:lnTo>
                      <a:pt x="176825" y="112883"/>
                    </a:lnTo>
                    <a:lnTo>
                      <a:pt x="176976" y="111368"/>
                    </a:lnTo>
                    <a:lnTo>
                      <a:pt x="178189" y="110610"/>
                    </a:lnTo>
                    <a:lnTo>
                      <a:pt x="178037" y="105307"/>
                    </a:lnTo>
                    <a:lnTo>
                      <a:pt x="177734" y="104701"/>
                    </a:lnTo>
                    <a:lnTo>
                      <a:pt x="178189" y="103034"/>
                    </a:lnTo>
                    <a:lnTo>
                      <a:pt x="176976" y="102883"/>
                    </a:lnTo>
                    <a:close/>
                    <a:moveTo>
                      <a:pt x="32729" y="125156"/>
                    </a:moveTo>
                    <a:lnTo>
                      <a:pt x="30456" y="124702"/>
                    </a:lnTo>
                    <a:lnTo>
                      <a:pt x="28638" y="122277"/>
                    </a:lnTo>
                    <a:lnTo>
                      <a:pt x="26668" y="124702"/>
                    </a:lnTo>
                    <a:lnTo>
                      <a:pt x="27122" y="125762"/>
                    </a:lnTo>
                    <a:lnTo>
                      <a:pt x="28941" y="128338"/>
                    </a:lnTo>
                    <a:lnTo>
                      <a:pt x="32122" y="130762"/>
                    </a:lnTo>
                    <a:lnTo>
                      <a:pt x="34547" y="128641"/>
                    </a:lnTo>
                    <a:lnTo>
                      <a:pt x="36819" y="129399"/>
                    </a:lnTo>
                    <a:lnTo>
                      <a:pt x="33941" y="126368"/>
                    </a:lnTo>
                    <a:lnTo>
                      <a:pt x="32729" y="125156"/>
                    </a:lnTo>
                    <a:close/>
                    <a:moveTo>
                      <a:pt x="173794" y="133944"/>
                    </a:moveTo>
                    <a:lnTo>
                      <a:pt x="173340" y="135157"/>
                    </a:lnTo>
                    <a:lnTo>
                      <a:pt x="174552" y="135005"/>
                    </a:lnTo>
                    <a:lnTo>
                      <a:pt x="179401" y="133793"/>
                    </a:lnTo>
                    <a:lnTo>
                      <a:pt x="181977" y="132126"/>
                    </a:lnTo>
                    <a:lnTo>
                      <a:pt x="183492" y="130459"/>
                    </a:lnTo>
                    <a:lnTo>
                      <a:pt x="182734" y="130459"/>
                    </a:lnTo>
                    <a:lnTo>
                      <a:pt x="179552" y="131520"/>
                    </a:lnTo>
                    <a:lnTo>
                      <a:pt x="176067" y="131671"/>
                    </a:lnTo>
                    <a:lnTo>
                      <a:pt x="173794" y="133944"/>
                    </a:lnTo>
                    <a:close/>
                    <a:moveTo>
                      <a:pt x="224251" y="166067"/>
                    </a:moveTo>
                    <a:lnTo>
                      <a:pt x="224857" y="165612"/>
                    </a:lnTo>
                    <a:lnTo>
                      <a:pt x="225160" y="164703"/>
                    </a:lnTo>
                    <a:lnTo>
                      <a:pt x="225160" y="163491"/>
                    </a:lnTo>
                    <a:lnTo>
                      <a:pt x="225008" y="162885"/>
                    </a:lnTo>
                    <a:lnTo>
                      <a:pt x="224251" y="163036"/>
                    </a:lnTo>
                    <a:lnTo>
                      <a:pt x="222887" y="163945"/>
                    </a:lnTo>
                    <a:lnTo>
                      <a:pt x="222887" y="164703"/>
                    </a:lnTo>
                    <a:lnTo>
                      <a:pt x="224251" y="166067"/>
                    </a:lnTo>
                    <a:close/>
                    <a:moveTo>
                      <a:pt x="138490" y="154248"/>
                    </a:moveTo>
                    <a:lnTo>
                      <a:pt x="138945" y="154097"/>
                    </a:lnTo>
                    <a:lnTo>
                      <a:pt x="140157" y="153188"/>
                    </a:lnTo>
                    <a:lnTo>
                      <a:pt x="138945" y="150915"/>
                    </a:lnTo>
                    <a:lnTo>
                      <a:pt x="138036" y="150915"/>
                    </a:lnTo>
                    <a:lnTo>
                      <a:pt x="137732" y="151672"/>
                    </a:lnTo>
                    <a:lnTo>
                      <a:pt x="137884" y="152884"/>
                    </a:lnTo>
                    <a:lnTo>
                      <a:pt x="138490" y="154248"/>
                    </a:lnTo>
                    <a:close/>
                    <a:moveTo>
                      <a:pt x="184098" y="163036"/>
                    </a:moveTo>
                    <a:lnTo>
                      <a:pt x="184552" y="163945"/>
                    </a:lnTo>
                    <a:lnTo>
                      <a:pt x="183189" y="164854"/>
                    </a:lnTo>
                    <a:lnTo>
                      <a:pt x="181370" y="164400"/>
                    </a:lnTo>
                    <a:lnTo>
                      <a:pt x="181370" y="165915"/>
                    </a:lnTo>
                    <a:lnTo>
                      <a:pt x="183037" y="166976"/>
                    </a:lnTo>
                    <a:lnTo>
                      <a:pt x="184401" y="165461"/>
                    </a:lnTo>
                    <a:lnTo>
                      <a:pt x="186522" y="164703"/>
                    </a:lnTo>
                    <a:lnTo>
                      <a:pt x="185462" y="163491"/>
                    </a:lnTo>
                    <a:lnTo>
                      <a:pt x="184098" y="163036"/>
                    </a:lnTo>
                    <a:close/>
                    <a:moveTo>
                      <a:pt x="106519" y="121065"/>
                    </a:moveTo>
                    <a:lnTo>
                      <a:pt x="106065" y="120610"/>
                    </a:lnTo>
                    <a:lnTo>
                      <a:pt x="105155" y="120459"/>
                    </a:lnTo>
                    <a:lnTo>
                      <a:pt x="104549" y="120762"/>
                    </a:lnTo>
                    <a:lnTo>
                      <a:pt x="103943" y="121974"/>
                    </a:lnTo>
                    <a:lnTo>
                      <a:pt x="103337" y="122277"/>
                    </a:lnTo>
                    <a:lnTo>
                      <a:pt x="103792" y="122883"/>
                    </a:lnTo>
                    <a:lnTo>
                      <a:pt x="104701" y="123186"/>
                    </a:lnTo>
                    <a:lnTo>
                      <a:pt x="105913" y="123186"/>
                    </a:lnTo>
                    <a:lnTo>
                      <a:pt x="106974" y="122429"/>
                    </a:lnTo>
                    <a:lnTo>
                      <a:pt x="106519" y="121065"/>
                    </a:lnTo>
                    <a:close/>
                    <a:moveTo>
                      <a:pt x="178491" y="207280"/>
                    </a:moveTo>
                    <a:lnTo>
                      <a:pt x="174703" y="207280"/>
                    </a:lnTo>
                    <a:lnTo>
                      <a:pt x="171067" y="208341"/>
                    </a:lnTo>
                    <a:lnTo>
                      <a:pt x="169552" y="209856"/>
                    </a:lnTo>
                    <a:lnTo>
                      <a:pt x="168340" y="210159"/>
                    </a:lnTo>
                    <a:lnTo>
                      <a:pt x="167127" y="209553"/>
                    </a:lnTo>
                    <a:lnTo>
                      <a:pt x="166825" y="208341"/>
                    </a:lnTo>
                    <a:lnTo>
                      <a:pt x="167431" y="203947"/>
                    </a:lnTo>
                    <a:lnTo>
                      <a:pt x="166673" y="203189"/>
                    </a:lnTo>
                    <a:lnTo>
                      <a:pt x="162279" y="203795"/>
                    </a:lnTo>
                    <a:lnTo>
                      <a:pt x="159703" y="204401"/>
                    </a:lnTo>
                    <a:lnTo>
                      <a:pt x="154854" y="203341"/>
                    </a:lnTo>
                    <a:lnTo>
                      <a:pt x="149551" y="203038"/>
                    </a:lnTo>
                    <a:lnTo>
                      <a:pt x="146824" y="201068"/>
                    </a:lnTo>
                    <a:lnTo>
                      <a:pt x="139096" y="200613"/>
                    </a:lnTo>
                    <a:lnTo>
                      <a:pt x="136520" y="201068"/>
                    </a:lnTo>
                    <a:lnTo>
                      <a:pt x="133944" y="201977"/>
                    </a:lnTo>
                    <a:lnTo>
                      <a:pt x="131520" y="202432"/>
                    </a:lnTo>
                    <a:lnTo>
                      <a:pt x="129096" y="202583"/>
                    </a:lnTo>
                    <a:lnTo>
                      <a:pt x="128035" y="202432"/>
                    </a:lnTo>
                    <a:lnTo>
                      <a:pt x="126974" y="201674"/>
                    </a:lnTo>
                    <a:lnTo>
                      <a:pt x="126520" y="200462"/>
                    </a:lnTo>
                    <a:lnTo>
                      <a:pt x="126520" y="199098"/>
                    </a:lnTo>
                    <a:lnTo>
                      <a:pt x="124399" y="199401"/>
                    </a:lnTo>
                    <a:lnTo>
                      <a:pt x="122884" y="198644"/>
                    </a:lnTo>
                    <a:lnTo>
                      <a:pt x="122429" y="198341"/>
                    </a:lnTo>
                    <a:lnTo>
                      <a:pt x="122884" y="197886"/>
                    </a:lnTo>
                    <a:lnTo>
                      <a:pt x="124853" y="197128"/>
                    </a:lnTo>
                    <a:lnTo>
                      <a:pt x="123944" y="195310"/>
                    </a:lnTo>
                    <a:lnTo>
                      <a:pt x="121975" y="195310"/>
                    </a:lnTo>
                    <a:lnTo>
                      <a:pt x="120308" y="197128"/>
                    </a:lnTo>
                    <a:lnTo>
                      <a:pt x="119701" y="197280"/>
                    </a:lnTo>
                    <a:lnTo>
                      <a:pt x="117126" y="197280"/>
                    </a:lnTo>
                    <a:lnTo>
                      <a:pt x="115308" y="197128"/>
                    </a:lnTo>
                    <a:lnTo>
                      <a:pt x="113641" y="196522"/>
                    </a:lnTo>
                    <a:lnTo>
                      <a:pt x="113035" y="194098"/>
                    </a:lnTo>
                    <a:lnTo>
                      <a:pt x="112125" y="193492"/>
                    </a:lnTo>
                    <a:lnTo>
                      <a:pt x="111520" y="195007"/>
                    </a:lnTo>
                    <a:lnTo>
                      <a:pt x="111520" y="196674"/>
                    </a:lnTo>
                    <a:lnTo>
                      <a:pt x="110307" y="197734"/>
                    </a:lnTo>
                    <a:lnTo>
                      <a:pt x="109095" y="197280"/>
                    </a:lnTo>
                    <a:lnTo>
                      <a:pt x="108641" y="196219"/>
                    </a:lnTo>
                    <a:lnTo>
                      <a:pt x="107580" y="197128"/>
                    </a:lnTo>
                    <a:lnTo>
                      <a:pt x="106974" y="200765"/>
                    </a:lnTo>
                    <a:lnTo>
                      <a:pt x="107428" y="204553"/>
                    </a:lnTo>
                    <a:lnTo>
                      <a:pt x="108337" y="205765"/>
                    </a:lnTo>
                    <a:lnTo>
                      <a:pt x="109550" y="206523"/>
                    </a:lnTo>
                    <a:lnTo>
                      <a:pt x="111368" y="206523"/>
                    </a:lnTo>
                    <a:lnTo>
                      <a:pt x="116217" y="206068"/>
                    </a:lnTo>
                    <a:lnTo>
                      <a:pt x="119247" y="206826"/>
                    </a:lnTo>
                    <a:lnTo>
                      <a:pt x="132126" y="208796"/>
                    </a:lnTo>
                    <a:lnTo>
                      <a:pt x="135460" y="210159"/>
                    </a:lnTo>
                    <a:lnTo>
                      <a:pt x="138945" y="210917"/>
                    </a:lnTo>
                    <a:lnTo>
                      <a:pt x="139702" y="211826"/>
                    </a:lnTo>
                    <a:lnTo>
                      <a:pt x="140006" y="213190"/>
                    </a:lnTo>
                    <a:lnTo>
                      <a:pt x="140006" y="215159"/>
                    </a:lnTo>
                    <a:lnTo>
                      <a:pt x="141520" y="215614"/>
                    </a:lnTo>
                    <a:lnTo>
                      <a:pt x="152582" y="214856"/>
                    </a:lnTo>
                    <a:lnTo>
                      <a:pt x="163643" y="213341"/>
                    </a:lnTo>
                    <a:lnTo>
                      <a:pt x="169552" y="212735"/>
                    </a:lnTo>
                    <a:lnTo>
                      <a:pt x="175461" y="213038"/>
                    </a:lnTo>
                    <a:lnTo>
                      <a:pt x="178643" y="212886"/>
                    </a:lnTo>
                    <a:lnTo>
                      <a:pt x="180764" y="212129"/>
                    </a:lnTo>
                    <a:lnTo>
                      <a:pt x="181068" y="210614"/>
                    </a:lnTo>
                    <a:lnTo>
                      <a:pt x="181825" y="208644"/>
                    </a:lnTo>
                    <a:lnTo>
                      <a:pt x="182279" y="205310"/>
                    </a:lnTo>
                    <a:lnTo>
                      <a:pt x="182886" y="203947"/>
                    </a:lnTo>
                    <a:lnTo>
                      <a:pt x="181977" y="204098"/>
                    </a:lnTo>
                    <a:lnTo>
                      <a:pt x="178491" y="207280"/>
                    </a:lnTo>
                    <a:close/>
                    <a:moveTo>
                      <a:pt x="202735" y="129399"/>
                    </a:moveTo>
                    <a:lnTo>
                      <a:pt x="202280" y="127429"/>
                    </a:lnTo>
                    <a:lnTo>
                      <a:pt x="200765" y="127126"/>
                    </a:lnTo>
                    <a:lnTo>
                      <a:pt x="199856" y="127277"/>
                    </a:lnTo>
                    <a:lnTo>
                      <a:pt x="196522" y="126217"/>
                    </a:lnTo>
                    <a:lnTo>
                      <a:pt x="194250" y="126217"/>
                    </a:lnTo>
                    <a:lnTo>
                      <a:pt x="191371" y="127126"/>
                    </a:lnTo>
                    <a:lnTo>
                      <a:pt x="189856" y="128944"/>
                    </a:lnTo>
                    <a:lnTo>
                      <a:pt x="190765" y="129399"/>
                    </a:lnTo>
                    <a:lnTo>
                      <a:pt x="193644" y="129550"/>
                    </a:lnTo>
                    <a:lnTo>
                      <a:pt x="195462" y="131065"/>
                    </a:lnTo>
                    <a:lnTo>
                      <a:pt x="196977" y="131520"/>
                    </a:lnTo>
                    <a:lnTo>
                      <a:pt x="200614" y="129702"/>
                    </a:lnTo>
                    <a:lnTo>
                      <a:pt x="202735" y="129399"/>
                    </a:lnTo>
                    <a:close/>
                    <a:moveTo>
                      <a:pt x="187280" y="86064"/>
                    </a:moveTo>
                    <a:lnTo>
                      <a:pt x="188492" y="86367"/>
                    </a:lnTo>
                    <a:lnTo>
                      <a:pt x="189856" y="87427"/>
                    </a:lnTo>
                    <a:lnTo>
                      <a:pt x="190159" y="86821"/>
                    </a:lnTo>
                    <a:lnTo>
                      <a:pt x="189704" y="84852"/>
                    </a:lnTo>
                    <a:lnTo>
                      <a:pt x="188340" y="82882"/>
                    </a:lnTo>
                    <a:lnTo>
                      <a:pt x="184552" y="79700"/>
                    </a:lnTo>
                    <a:lnTo>
                      <a:pt x="185007" y="77730"/>
                    </a:lnTo>
                    <a:lnTo>
                      <a:pt x="183340" y="76063"/>
                    </a:lnTo>
                    <a:lnTo>
                      <a:pt x="178340" y="76366"/>
                    </a:lnTo>
                    <a:lnTo>
                      <a:pt x="178340" y="77730"/>
                    </a:lnTo>
                    <a:lnTo>
                      <a:pt x="176219" y="78639"/>
                    </a:lnTo>
                    <a:lnTo>
                      <a:pt x="174552" y="79245"/>
                    </a:lnTo>
                    <a:lnTo>
                      <a:pt x="171370" y="79094"/>
                    </a:lnTo>
                    <a:lnTo>
                      <a:pt x="169552" y="81821"/>
                    </a:lnTo>
                    <a:lnTo>
                      <a:pt x="169855" y="82579"/>
                    </a:lnTo>
                    <a:lnTo>
                      <a:pt x="171219" y="83791"/>
                    </a:lnTo>
                    <a:lnTo>
                      <a:pt x="175764" y="85155"/>
                    </a:lnTo>
                    <a:lnTo>
                      <a:pt x="178643" y="81973"/>
                    </a:lnTo>
                    <a:lnTo>
                      <a:pt x="181370" y="81821"/>
                    </a:lnTo>
                    <a:lnTo>
                      <a:pt x="180613" y="82882"/>
                    </a:lnTo>
                    <a:lnTo>
                      <a:pt x="176825" y="85458"/>
                    </a:lnTo>
                    <a:lnTo>
                      <a:pt x="178340" y="87276"/>
                    </a:lnTo>
                    <a:lnTo>
                      <a:pt x="184552" y="88943"/>
                    </a:lnTo>
                    <a:lnTo>
                      <a:pt x="186674" y="88943"/>
                    </a:lnTo>
                    <a:lnTo>
                      <a:pt x="188795" y="88337"/>
                    </a:lnTo>
                    <a:lnTo>
                      <a:pt x="187583" y="87125"/>
                    </a:lnTo>
                    <a:lnTo>
                      <a:pt x="187280" y="86064"/>
                    </a:lnTo>
                    <a:close/>
                    <a:moveTo>
                      <a:pt x="143794" y="138945"/>
                    </a:moveTo>
                    <a:lnTo>
                      <a:pt x="144248" y="139399"/>
                    </a:lnTo>
                    <a:lnTo>
                      <a:pt x="145005" y="139399"/>
                    </a:lnTo>
                    <a:lnTo>
                      <a:pt x="145157" y="136066"/>
                    </a:lnTo>
                    <a:lnTo>
                      <a:pt x="144096" y="135611"/>
                    </a:lnTo>
                    <a:lnTo>
                      <a:pt x="143794" y="137581"/>
                    </a:lnTo>
                    <a:lnTo>
                      <a:pt x="143794" y="138945"/>
                    </a:lnTo>
                    <a:close/>
                    <a:moveTo>
                      <a:pt x="233342" y="169552"/>
                    </a:moveTo>
                    <a:lnTo>
                      <a:pt x="226372" y="172128"/>
                    </a:lnTo>
                    <a:lnTo>
                      <a:pt x="223645" y="174249"/>
                    </a:lnTo>
                    <a:lnTo>
                      <a:pt x="222584" y="176219"/>
                    </a:lnTo>
                    <a:lnTo>
                      <a:pt x="221069" y="177582"/>
                    </a:lnTo>
                    <a:lnTo>
                      <a:pt x="221069" y="178491"/>
                    </a:lnTo>
                    <a:lnTo>
                      <a:pt x="222130" y="180764"/>
                    </a:lnTo>
                    <a:lnTo>
                      <a:pt x="220918" y="184249"/>
                    </a:lnTo>
                    <a:lnTo>
                      <a:pt x="221675" y="185613"/>
                    </a:lnTo>
                    <a:lnTo>
                      <a:pt x="222281" y="185764"/>
                    </a:lnTo>
                    <a:lnTo>
                      <a:pt x="224251" y="185158"/>
                    </a:lnTo>
                    <a:lnTo>
                      <a:pt x="227584" y="181522"/>
                    </a:lnTo>
                    <a:lnTo>
                      <a:pt x="230918" y="180916"/>
                    </a:lnTo>
                    <a:lnTo>
                      <a:pt x="230312" y="178946"/>
                    </a:lnTo>
                    <a:lnTo>
                      <a:pt x="232433" y="176522"/>
                    </a:lnTo>
                    <a:lnTo>
                      <a:pt x="234857" y="171521"/>
                    </a:lnTo>
                    <a:lnTo>
                      <a:pt x="234857" y="169552"/>
                    </a:lnTo>
                    <a:lnTo>
                      <a:pt x="233342" y="169552"/>
                    </a:lnTo>
                    <a:close/>
                    <a:moveTo>
                      <a:pt x="205614" y="194401"/>
                    </a:moveTo>
                    <a:lnTo>
                      <a:pt x="206977" y="191825"/>
                    </a:lnTo>
                    <a:lnTo>
                      <a:pt x="207432" y="188492"/>
                    </a:lnTo>
                    <a:lnTo>
                      <a:pt x="205614" y="189552"/>
                    </a:lnTo>
                    <a:lnTo>
                      <a:pt x="205614" y="191522"/>
                    </a:lnTo>
                    <a:lnTo>
                      <a:pt x="203341" y="195462"/>
                    </a:lnTo>
                    <a:lnTo>
                      <a:pt x="204553" y="198189"/>
                    </a:lnTo>
                    <a:lnTo>
                      <a:pt x="204099" y="199856"/>
                    </a:lnTo>
                    <a:lnTo>
                      <a:pt x="205159" y="201371"/>
                    </a:lnTo>
                    <a:lnTo>
                      <a:pt x="206220" y="199704"/>
                    </a:lnTo>
                    <a:lnTo>
                      <a:pt x="207735" y="199250"/>
                    </a:lnTo>
                    <a:lnTo>
                      <a:pt x="207129" y="196825"/>
                    </a:lnTo>
                    <a:lnTo>
                      <a:pt x="205614" y="194401"/>
                    </a:lnTo>
                    <a:close/>
                    <a:moveTo>
                      <a:pt x="199099" y="153339"/>
                    </a:moveTo>
                    <a:lnTo>
                      <a:pt x="201826" y="152884"/>
                    </a:lnTo>
                    <a:lnTo>
                      <a:pt x="202280" y="152278"/>
                    </a:lnTo>
                    <a:lnTo>
                      <a:pt x="202432" y="151521"/>
                    </a:lnTo>
                    <a:lnTo>
                      <a:pt x="201826" y="151218"/>
                    </a:lnTo>
                    <a:lnTo>
                      <a:pt x="200462" y="149854"/>
                    </a:lnTo>
                    <a:lnTo>
                      <a:pt x="198341" y="148793"/>
                    </a:lnTo>
                    <a:lnTo>
                      <a:pt x="199704" y="150763"/>
                    </a:lnTo>
                    <a:lnTo>
                      <a:pt x="199099" y="153339"/>
                    </a:lnTo>
                    <a:close/>
                    <a:moveTo>
                      <a:pt x="207129" y="154854"/>
                    </a:moveTo>
                    <a:lnTo>
                      <a:pt x="202887" y="156672"/>
                    </a:lnTo>
                    <a:lnTo>
                      <a:pt x="200008" y="158794"/>
                    </a:lnTo>
                    <a:lnTo>
                      <a:pt x="198947" y="160309"/>
                    </a:lnTo>
                    <a:lnTo>
                      <a:pt x="199856" y="160309"/>
                    </a:lnTo>
                    <a:lnTo>
                      <a:pt x="202129" y="158945"/>
                    </a:lnTo>
                    <a:lnTo>
                      <a:pt x="205311" y="158794"/>
                    </a:lnTo>
                    <a:lnTo>
                      <a:pt x="206523" y="157733"/>
                    </a:lnTo>
                    <a:lnTo>
                      <a:pt x="210917" y="155915"/>
                    </a:lnTo>
                    <a:lnTo>
                      <a:pt x="208493" y="154854"/>
                    </a:lnTo>
                    <a:lnTo>
                      <a:pt x="207129" y="154854"/>
                    </a:lnTo>
                    <a:close/>
                    <a:moveTo>
                      <a:pt x="128035" y="130308"/>
                    </a:moveTo>
                    <a:lnTo>
                      <a:pt x="126823" y="132732"/>
                    </a:lnTo>
                    <a:lnTo>
                      <a:pt x="127126" y="135005"/>
                    </a:lnTo>
                    <a:lnTo>
                      <a:pt x="128944" y="133490"/>
                    </a:lnTo>
                    <a:lnTo>
                      <a:pt x="130156" y="131217"/>
                    </a:lnTo>
                    <a:lnTo>
                      <a:pt x="129551" y="130156"/>
                    </a:lnTo>
                    <a:lnTo>
                      <a:pt x="128035" y="130308"/>
                    </a:lnTo>
                    <a:close/>
                    <a:moveTo>
                      <a:pt x="132581" y="148187"/>
                    </a:moveTo>
                    <a:lnTo>
                      <a:pt x="133641" y="147733"/>
                    </a:lnTo>
                    <a:lnTo>
                      <a:pt x="133944" y="146369"/>
                    </a:lnTo>
                    <a:lnTo>
                      <a:pt x="133793" y="145612"/>
                    </a:lnTo>
                    <a:lnTo>
                      <a:pt x="132581" y="145005"/>
                    </a:lnTo>
                    <a:lnTo>
                      <a:pt x="131369" y="145763"/>
                    </a:lnTo>
                    <a:lnTo>
                      <a:pt x="130914" y="147430"/>
                    </a:lnTo>
                    <a:lnTo>
                      <a:pt x="132581" y="148187"/>
                    </a:lnTo>
                    <a:close/>
                    <a:moveTo>
                      <a:pt x="133944" y="160915"/>
                    </a:moveTo>
                    <a:lnTo>
                      <a:pt x="133944" y="159097"/>
                    </a:lnTo>
                    <a:lnTo>
                      <a:pt x="131823" y="159551"/>
                    </a:lnTo>
                    <a:lnTo>
                      <a:pt x="131520" y="160157"/>
                    </a:lnTo>
                    <a:lnTo>
                      <a:pt x="130763" y="160612"/>
                    </a:lnTo>
                    <a:lnTo>
                      <a:pt x="128944" y="159703"/>
                    </a:lnTo>
                    <a:lnTo>
                      <a:pt x="128641" y="160309"/>
                    </a:lnTo>
                    <a:lnTo>
                      <a:pt x="128187" y="162430"/>
                    </a:lnTo>
                    <a:lnTo>
                      <a:pt x="133793" y="161521"/>
                    </a:lnTo>
                    <a:lnTo>
                      <a:pt x="133944" y="160915"/>
                    </a:lnTo>
                    <a:close/>
                    <a:moveTo>
                      <a:pt x="131065" y="136672"/>
                    </a:moveTo>
                    <a:lnTo>
                      <a:pt x="130005" y="137429"/>
                    </a:lnTo>
                    <a:lnTo>
                      <a:pt x="129247" y="138338"/>
                    </a:lnTo>
                    <a:lnTo>
                      <a:pt x="130005" y="139551"/>
                    </a:lnTo>
                    <a:lnTo>
                      <a:pt x="129551" y="141672"/>
                    </a:lnTo>
                    <a:lnTo>
                      <a:pt x="131065" y="140763"/>
                    </a:lnTo>
                    <a:lnTo>
                      <a:pt x="132278" y="138793"/>
                    </a:lnTo>
                    <a:lnTo>
                      <a:pt x="131369" y="137429"/>
                    </a:lnTo>
                    <a:lnTo>
                      <a:pt x="131065" y="136672"/>
                    </a:lnTo>
                    <a:close/>
                    <a:moveTo>
                      <a:pt x="140308" y="32880"/>
                    </a:moveTo>
                    <a:lnTo>
                      <a:pt x="138793" y="31062"/>
                    </a:lnTo>
                    <a:lnTo>
                      <a:pt x="136217" y="30910"/>
                    </a:lnTo>
                    <a:lnTo>
                      <a:pt x="135157" y="31668"/>
                    </a:lnTo>
                    <a:lnTo>
                      <a:pt x="133339" y="34244"/>
                    </a:lnTo>
                    <a:lnTo>
                      <a:pt x="133339" y="35607"/>
                    </a:lnTo>
                    <a:lnTo>
                      <a:pt x="136975" y="37729"/>
                    </a:lnTo>
                    <a:lnTo>
                      <a:pt x="140460" y="36517"/>
                    </a:lnTo>
                    <a:lnTo>
                      <a:pt x="140308" y="35153"/>
                    </a:lnTo>
                    <a:lnTo>
                      <a:pt x="140763" y="33638"/>
                    </a:lnTo>
                    <a:lnTo>
                      <a:pt x="140308" y="32880"/>
                    </a:lnTo>
                    <a:close/>
                    <a:moveTo>
                      <a:pt x="135157" y="92276"/>
                    </a:moveTo>
                    <a:lnTo>
                      <a:pt x="134702" y="90306"/>
                    </a:lnTo>
                    <a:lnTo>
                      <a:pt x="132581" y="89094"/>
                    </a:lnTo>
                    <a:lnTo>
                      <a:pt x="132278" y="89700"/>
                    </a:lnTo>
                    <a:lnTo>
                      <a:pt x="131975" y="91973"/>
                    </a:lnTo>
                    <a:lnTo>
                      <a:pt x="134853" y="93791"/>
                    </a:lnTo>
                    <a:lnTo>
                      <a:pt x="134853" y="94246"/>
                    </a:lnTo>
                    <a:lnTo>
                      <a:pt x="134248" y="95155"/>
                    </a:lnTo>
                    <a:lnTo>
                      <a:pt x="135005" y="95307"/>
                    </a:lnTo>
                    <a:lnTo>
                      <a:pt x="137884" y="94549"/>
                    </a:lnTo>
                    <a:lnTo>
                      <a:pt x="135157" y="92276"/>
                    </a:lnTo>
                    <a:close/>
                    <a:moveTo>
                      <a:pt x="135308" y="116216"/>
                    </a:moveTo>
                    <a:lnTo>
                      <a:pt x="134551" y="115459"/>
                    </a:lnTo>
                    <a:lnTo>
                      <a:pt x="131823" y="115610"/>
                    </a:lnTo>
                    <a:lnTo>
                      <a:pt x="128944" y="115004"/>
                    </a:lnTo>
                    <a:lnTo>
                      <a:pt x="126672" y="113186"/>
                    </a:lnTo>
                    <a:lnTo>
                      <a:pt x="125156" y="109398"/>
                    </a:lnTo>
                    <a:lnTo>
                      <a:pt x="124247" y="105458"/>
                    </a:lnTo>
                    <a:lnTo>
                      <a:pt x="124853" y="104095"/>
                    </a:lnTo>
                    <a:lnTo>
                      <a:pt x="124550" y="102883"/>
                    </a:lnTo>
                    <a:lnTo>
                      <a:pt x="123338" y="101367"/>
                    </a:lnTo>
                    <a:lnTo>
                      <a:pt x="122580" y="99398"/>
                    </a:lnTo>
                    <a:lnTo>
                      <a:pt x="121823" y="98640"/>
                    </a:lnTo>
                    <a:lnTo>
                      <a:pt x="115762" y="98185"/>
                    </a:lnTo>
                    <a:lnTo>
                      <a:pt x="110610" y="95761"/>
                    </a:lnTo>
                    <a:lnTo>
                      <a:pt x="109247" y="95610"/>
                    </a:lnTo>
                    <a:lnTo>
                      <a:pt x="106216" y="94246"/>
                    </a:lnTo>
                    <a:lnTo>
                      <a:pt x="104701" y="93034"/>
                    </a:lnTo>
                    <a:lnTo>
                      <a:pt x="103186" y="89549"/>
                    </a:lnTo>
                    <a:lnTo>
                      <a:pt x="100307" y="87125"/>
                    </a:lnTo>
                    <a:lnTo>
                      <a:pt x="98792" y="87276"/>
                    </a:lnTo>
                    <a:lnTo>
                      <a:pt x="95761" y="88185"/>
                    </a:lnTo>
                    <a:lnTo>
                      <a:pt x="91367" y="90913"/>
                    </a:lnTo>
                    <a:lnTo>
                      <a:pt x="88185" y="92428"/>
                    </a:lnTo>
                    <a:lnTo>
                      <a:pt x="88488" y="93185"/>
                    </a:lnTo>
                    <a:lnTo>
                      <a:pt x="90003" y="93488"/>
                    </a:lnTo>
                    <a:lnTo>
                      <a:pt x="92579" y="92428"/>
                    </a:lnTo>
                    <a:lnTo>
                      <a:pt x="95761" y="93337"/>
                    </a:lnTo>
                    <a:lnTo>
                      <a:pt x="98792" y="94701"/>
                    </a:lnTo>
                    <a:lnTo>
                      <a:pt x="101822" y="96822"/>
                    </a:lnTo>
                    <a:lnTo>
                      <a:pt x="104549" y="99398"/>
                    </a:lnTo>
                    <a:lnTo>
                      <a:pt x="105610" y="100761"/>
                    </a:lnTo>
                    <a:lnTo>
                      <a:pt x="106974" y="101670"/>
                    </a:lnTo>
                    <a:lnTo>
                      <a:pt x="108792" y="102579"/>
                    </a:lnTo>
                    <a:lnTo>
                      <a:pt x="109701" y="106065"/>
                    </a:lnTo>
                    <a:lnTo>
                      <a:pt x="112731" y="107428"/>
                    </a:lnTo>
                    <a:lnTo>
                      <a:pt x="116217" y="107428"/>
                    </a:lnTo>
                    <a:lnTo>
                      <a:pt x="120459" y="107731"/>
                    </a:lnTo>
                    <a:lnTo>
                      <a:pt x="120459" y="108186"/>
                    </a:lnTo>
                    <a:lnTo>
                      <a:pt x="121065" y="109398"/>
                    </a:lnTo>
                    <a:lnTo>
                      <a:pt x="122126" y="110004"/>
                    </a:lnTo>
                    <a:lnTo>
                      <a:pt x="123186" y="112277"/>
                    </a:lnTo>
                    <a:lnTo>
                      <a:pt x="124399" y="113489"/>
                    </a:lnTo>
                    <a:lnTo>
                      <a:pt x="124550" y="115156"/>
                    </a:lnTo>
                    <a:lnTo>
                      <a:pt x="125156" y="116216"/>
                    </a:lnTo>
                    <a:lnTo>
                      <a:pt x="128035" y="118035"/>
                    </a:lnTo>
                    <a:lnTo>
                      <a:pt x="129247" y="119398"/>
                    </a:lnTo>
                    <a:lnTo>
                      <a:pt x="130763" y="119398"/>
                    </a:lnTo>
                    <a:lnTo>
                      <a:pt x="131520" y="119701"/>
                    </a:lnTo>
                    <a:lnTo>
                      <a:pt x="132278" y="120459"/>
                    </a:lnTo>
                    <a:lnTo>
                      <a:pt x="133035" y="120762"/>
                    </a:lnTo>
                    <a:lnTo>
                      <a:pt x="133944" y="120459"/>
                    </a:lnTo>
                    <a:lnTo>
                      <a:pt x="135157" y="119247"/>
                    </a:lnTo>
                    <a:lnTo>
                      <a:pt x="135308" y="116216"/>
                    </a:lnTo>
                    <a:close/>
                    <a:moveTo>
                      <a:pt x="117580" y="81973"/>
                    </a:moveTo>
                    <a:lnTo>
                      <a:pt x="118489" y="79851"/>
                    </a:lnTo>
                    <a:lnTo>
                      <a:pt x="116217" y="81215"/>
                    </a:lnTo>
                    <a:lnTo>
                      <a:pt x="115004" y="83791"/>
                    </a:lnTo>
                    <a:lnTo>
                      <a:pt x="116217" y="83488"/>
                    </a:lnTo>
                    <a:lnTo>
                      <a:pt x="117580" y="81973"/>
                    </a:lnTo>
                    <a:close/>
                    <a:moveTo>
                      <a:pt x="111974" y="85912"/>
                    </a:moveTo>
                    <a:lnTo>
                      <a:pt x="113186" y="84852"/>
                    </a:lnTo>
                    <a:lnTo>
                      <a:pt x="108034" y="81821"/>
                    </a:lnTo>
                    <a:lnTo>
                      <a:pt x="110004" y="85458"/>
                    </a:lnTo>
                    <a:lnTo>
                      <a:pt x="111974" y="859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5" name="Freeform: Shape 3274">
                <a:extLst>
                  <a:ext uri="{FF2B5EF4-FFF2-40B4-BE49-F238E27FC236}">
                    <a16:creationId xmlns:a16="http://schemas.microsoft.com/office/drawing/2014/main" id="{6868A2C1-D2E7-4611-8527-EA3202887BC7}"/>
                  </a:ext>
                </a:extLst>
              </p:cNvPr>
              <p:cNvSpPr/>
              <p:nvPr/>
            </p:nvSpPr>
            <p:spPr>
              <a:xfrm>
                <a:off x="6008118" y="4459868"/>
                <a:ext cx="79245" cy="75912"/>
              </a:xfrm>
              <a:custGeom>
                <a:avLst/>
                <a:gdLst>
                  <a:gd name="connsiteX0" fmla="*/ 8788 w 79245"/>
                  <a:gd name="connsiteY0" fmla="*/ 152 h 75912"/>
                  <a:gd name="connsiteX1" fmla="*/ 8182 w 79245"/>
                  <a:gd name="connsiteY1" fmla="*/ 0 h 75912"/>
                  <a:gd name="connsiteX2" fmla="*/ 6515 w 79245"/>
                  <a:gd name="connsiteY2" fmla="*/ 606 h 75912"/>
                  <a:gd name="connsiteX3" fmla="*/ 5455 w 79245"/>
                  <a:gd name="connsiteY3" fmla="*/ 2424 h 75912"/>
                  <a:gd name="connsiteX4" fmla="*/ 5000 w 79245"/>
                  <a:gd name="connsiteY4" fmla="*/ 4849 h 75912"/>
                  <a:gd name="connsiteX5" fmla="*/ 3788 w 79245"/>
                  <a:gd name="connsiteY5" fmla="*/ 7576 h 75912"/>
                  <a:gd name="connsiteX6" fmla="*/ 3030 w 79245"/>
                  <a:gd name="connsiteY6" fmla="*/ 8031 h 75912"/>
                  <a:gd name="connsiteX7" fmla="*/ 757 w 79245"/>
                  <a:gd name="connsiteY7" fmla="*/ 8485 h 75912"/>
                  <a:gd name="connsiteX8" fmla="*/ 455 w 79245"/>
                  <a:gd name="connsiteY8" fmla="*/ 9243 h 75912"/>
                  <a:gd name="connsiteX9" fmla="*/ 0 w 79245"/>
                  <a:gd name="connsiteY9" fmla="*/ 11667 h 75912"/>
                  <a:gd name="connsiteX10" fmla="*/ 303 w 79245"/>
                  <a:gd name="connsiteY10" fmla="*/ 12728 h 75912"/>
                  <a:gd name="connsiteX11" fmla="*/ 1060 w 79245"/>
                  <a:gd name="connsiteY11" fmla="*/ 13485 h 75912"/>
                  <a:gd name="connsiteX12" fmla="*/ 5909 w 79245"/>
                  <a:gd name="connsiteY12" fmla="*/ 14849 h 75912"/>
                  <a:gd name="connsiteX13" fmla="*/ 7273 w 79245"/>
                  <a:gd name="connsiteY13" fmla="*/ 14698 h 75912"/>
                  <a:gd name="connsiteX14" fmla="*/ 8940 w 79245"/>
                  <a:gd name="connsiteY14" fmla="*/ 12425 h 75912"/>
                  <a:gd name="connsiteX15" fmla="*/ 9697 w 79245"/>
                  <a:gd name="connsiteY15" fmla="*/ 9849 h 75912"/>
                  <a:gd name="connsiteX16" fmla="*/ 13940 w 79245"/>
                  <a:gd name="connsiteY16" fmla="*/ 3637 h 75912"/>
                  <a:gd name="connsiteX17" fmla="*/ 14091 w 79245"/>
                  <a:gd name="connsiteY17" fmla="*/ 1515 h 75912"/>
                  <a:gd name="connsiteX18" fmla="*/ 13031 w 79245"/>
                  <a:gd name="connsiteY18" fmla="*/ 0 h 75912"/>
                  <a:gd name="connsiteX19" fmla="*/ 8788 w 79245"/>
                  <a:gd name="connsiteY19" fmla="*/ 152 h 75912"/>
                  <a:gd name="connsiteX20" fmla="*/ 79245 w 79245"/>
                  <a:gd name="connsiteY20" fmla="*/ 71669 h 75912"/>
                  <a:gd name="connsiteX21" fmla="*/ 79245 w 79245"/>
                  <a:gd name="connsiteY21" fmla="*/ 66518 h 75912"/>
                  <a:gd name="connsiteX22" fmla="*/ 79245 w 79245"/>
                  <a:gd name="connsiteY22" fmla="*/ 60457 h 75912"/>
                  <a:gd name="connsiteX23" fmla="*/ 79245 w 79245"/>
                  <a:gd name="connsiteY23" fmla="*/ 54699 h 75912"/>
                  <a:gd name="connsiteX24" fmla="*/ 79245 w 79245"/>
                  <a:gd name="connsiteY24" fmla="*/ 49396 h 75912"/>
                  <a:gd name="connsiteX25" fmla="*/ 79245 w 79245"/>
                  <a:gd name="connsiteY25" fmla="*/ 43032 h 75912"/>
                  <a:gd name="connsiteX26" fmla="*/ 72881 w 79245"/>
                  <a:gd name="connsiteY26" fmla="*/ 43032 h 75912"/>
                  <a:gd name="connsiteX27" fmla="*/ 64548 w 79245"/>
                  <a:gd name="connsiteY27" fmla="*/ 43032 h 75912"/>
                  <a:gd name="connsiteX28" fmla="*/ 56669 w 79245"/>
                  <a:gd name="connsiteY28" fmla="*/ 43032 h 75912"/>
                  <a:gd name="connsiteX29" fmla="*/ 51365 w 79245"/>
                  <a:gd name="connsiteY29" fmla="*/ 43032 h 75912"/>
                  <a:gd name="connsiteX30" fmla="*/ 42426 w 79245"/>
                  <a:gd name="connsiteY30" fmla="*/ 43032 h 75912"/>
                  <a:gd name="connsiteX31" fmla="*/ 39395 w 79245"/>
                  <a:gd name="connsiteY31" fmla="*/ 41820 h 75912"/>
                  <a:gd name="connsiteX32" fmla="*/ 38486 w 79245"/>
                  <a:gd name="connsiteY32" fmla="*/ 41062 h 75912"/>
                  <a:gd name="connsiteX33" fmla="*/ 38335 w 79245"/>
                  <a:gd name="connsiteY33" fmla="*/ 40153 h 75912"/>
                  <a:gd name="connsiteX34" fmla="*/ 38183 w 79245"/>
                  <a:gd name="connsiteY34" fmla="*/ 39547 h 75912"/>
                  <a:gd name="connsiteX35" fmla="*/ 37426 w 79245"/>
                  <a:gd name="connsiteY35" fmla="*/ 39395 h 75912"/>
                  <a:gd name="connsiteX36" fmla="*/ 36819 w 79245"/>
                  <a:gd name="connsiteY36" fmla="*/ 45759 h 75912"/>
                  <a:gd name="connsiteX37" fmla="*/ 37577 w 79245"/>
                  <a:gd name="connsiteY37" fmla="*/ 49547 h 75912"/>
                  <a:gd name="connsiteX38" fmla="*/ 35152 w 79245"/>
                  <a:gd name="connsiteY38" fmla="*/ 53335 h 75912"/>
                  <a:gd name="connsiteX39" fmla="*/ 33183 w 79245"/>
                  <a:gd name="connsiteY39" fmla="*/ 58032 h 75912"/>
                  <a:gd name="connsiteX40" fmla="*/ 32728 w 79245"/>
                  <a:gd name="connsiteY40" fmla="*/ 59396 h 75912"/>
                  <a:gd name="connsiteX41" fmla="*/ 31364 w 79245"/>
                  <a:gd name="connsiteY41" fmla="*/ 60154 h 75912"/>
                  <a:gd name="connsiteX42" fmla="*/ 28940 w 79245"/>
                  <a:gd name="connsiteY42" fmla="*/ 63033 h 75912"/>
                  <a:gd name="connsiteX43" fmla="*/ 27274 w 79245"/>
                  <a:gd name="connsiteY43" fmla="*/ 66821 h 75912"/>
                  <a:gd name="connsiteX44" fmla="*/ 25910 w 79245"/>
                  <a:gd name="connsiteY44" fmla="*/ 71063 h 75912"/>
                  <a:gd name="connsiteX45" fmla="*/ 27576 w 79245"/>
                  <a:gd name="connsiteY45" fmla="*/ 71518 h 75912"/>
                  <a:gd name="connsiteX46" fmla="*/ 29395 w 79245"/>
                  <a:gd name="connsiteY46" fmla="*/ 71669 h 75912"/>
                  <a:gd name="connsiteX47" fmla="*/ 31819 w 79245"/>
                  <a:gd name="connsiteY47" fmla="*/ 73336 h 75912"/>
                  <a:gd name="connsiteX48" fmla="*/ 31516 w 79245"/>
                  <a:gd name="connsiteY48" fmla="*/ 73942 h 75912"/>
                  <a:gd name="connsiteX49" fmla="*/ 32728 w 79245"/>
                  <a:gd name="connsiteY49" fmla="*/ 73488 h 75912"/>
                  <a:gd name="connsiteX50" fmla="*/ 33789 w 79245"/>
                  <a:gd name="connsiteY50" fmla="*/ 72730 h 75912"/>
                  <a:gd name="connsiteX51" fmla="*/ 34547 w 79245"/>
                  <a:gd name="connsiteY51" fmla="*/ 72579 h 75912"/>
                  <a:gd name="connsiteX52" fmla="*/ 36062 w 79245"/>
                  <a:gd name="connsiteY52" fmla="*/ 72730 h 75912"/>
                  <a:gd name="connsiteX53" fmla="*/ 36819 w 79245"/>
                  <a:gd name="connsiteY53" fmla="*/ 74094 h 75912"/>
                  <a:gd name="connsiteX54" fmla="*/ 37274 w 79245"/>
                  <a:gd name="connsiteY54" fmla="*/ 74851 h 75912"/>
                  <a:gd name="connsiteX55" fmla="*/ 38789 w 79245"/>
                  <a:gd name="connsiteY55" fmla="*/ 75154 h 75912"/>
                  <a:gd name="connsiteX56" fmla="*/ 40001 w 79245"/>
                  <a:gd name="connsiteY56" fmla="*/ 75912 h 75912"/>
                  <a:gd name="connsiteX57" fmla="*/ 41062 w 79245"/>
                  <a:gd name="connsiteY57" fmla="*/ 75760 h 75912"/>
                  <a:gd name="connsiteX58" fmla="*/ 41971 w 79245"/>
                  <a:gd name="connsiteY58" fmla="*/ 75003 h 75912"/>
                  <a:gd name="connsiteX59" fmla="*/ 43335 w 79245"/>
                  <a:gd name="connsiteY59" fmla="*/ 74851 h 75912"/>
                  <a:gd name="connsiteX60" fmla="*/ 47426 w 79245"/>
                  <a:gd name="connsiteY60" fmla="*/ 74851 h 75912"/>
                  <a:gd name="connsiteX61" fmla="*/ 51214 w 79245"/>
                  <a:gd name="connsiteY61" fmla="*/ 74851 h 75912"/>
                  <a:gd name="connsiteX62" fmla="*/ 58638 w 79245"/>
                  <a:gd name="connsiteY62" fmla="*/ 74851 h 75912"/>
                  <a:gd name="connsiteX63" fmla="*/ 66063 w 79245"/>
                  <a:gd name="connsiteY63" fmla="*/ 74851 h 75912"/>
                  <a:gd name="connsiteX64" fmla="*/ 73487 w 79245"/>
                  <a:gd name="connsiteY64" fmla="*/ 74851 h 75912"/>
                  <a:gd name="connsiteX65" fmla="*/ 79094 w 79245"/>
                  <a:gd name="connsiteY65" fmla="*/ 74851 h 75912"/>
                  <a:gd name="connsiteX66" fmla="*/ 79245 w 79245"/>
                  <a:gd name="connsiteY66" fmla="*/ 71669 h 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9245" h="75912">
                    <a:moveTo>
                      <a:pt x="8788" y="152"/>
                    </a:moveTo>
                    <a:lnTo>
                      <a:pt x="8182" y="0"/>
                    </a:lnTo>
                    <a:lnTo>
                      <a:pt x="6515" y="606"/>
                    </a:lnTo>
                    <a:lnTo>
                      <a:pt x="5455" y="2424"/>
                    </a:lnTo>
                    <a:lnTo>
                      <a:pt x="5000" y="4849"/>
                    </a:lnTo>
                    <a:lnTo>
                      <a:pt x="3788" y="7576"/>
                    </a:lnTo>
                    <a:lnTo>
                      <a:pt x="3030" y="8031"/>
                    </a:lnTo>
                    <a:lnTo>
                      <a:pt x="757" y="8485"/>
                    </a:lnTo>
                    <a:lnTo>
                      <a:pt x="455" y="9243"/>
                    </a:lnTo>
                    <a:lnTo>
                      <a:pt x="0" y="11667"/>
                    </a:lnTo>
                    <a:lnTo>
                      <a:pt x="303" y="12728"/>
                    </a:lnTo>
                    <a:lnTo>
                      <a:pt x="1060" y="13485"/>
                    </a:lnTo>
                    <a:lnTo>
                      <a:pt x="5909" y="14849"/>
                    </a:lnTo>
                    <a:lnTo>
                      <a:pt x="7273" y="14698"/>
                    </a:lnTo>
                    <a:lnTo>
                      <a:pt x="8940" y="12425"/>
                    </a:lnTo>
                    <a:lnTo>
                      <a:pt x="9697" y="9849"/>
                    </a:lnTo>
                    <a:lnTo>
                      <a:pt x="13940" y="3637"/>
                    </a:lnTo>
                    <a:lnTo>
                      <a:pt x="14091" y="1515"/>
                    </a:lnTo>
                    <a:lnTo>
                      <a:pt x="13031" y="0"/>
                    </a:lnTo>
                    <a:lnTo>
                      <a:pt x="8788" y="152"/>
                    </a:lnTo>
                    <a:close/>
                    <a:moveTo>
                      <a:pt x="79245" y="71669"/>
                    </a:moveTo>
                    <a:lnTo>
                      <a:pt x="79245" y="66518"/>
                    </a:lnTo>
                    <a:lnTo>
                      <a:pt x="79245" y="60457"/>
                    </a:lnTo>
                    <a:lnTo>
                      <a:pt x="79245" y="54699"/>
                    </a:lnTo>
                    <a:lnTo>
                      <a:pt x="79245" y="49396"/>
                    </a:lnTo>
                    <a:lnTo>
                      <a:pt x="79245" y="43032"/>
                    </a:lnTo>
                    <a:lnTo>
                      <a:pt x="72881" y="43032"/>
                    </a:lnTo>
                    <a:lnTo>
                      <a:pt x="64548" y="43032"/>
                    </a:lnTo>
                    <a:lnTo>
                      <a:pt x="56669" y="43032"/>
                    </a:lnTo>
                    <a:lnTo>
                      <a:pt x="51365" y="43032"/>
                    </a:lnTo>
                    <a:lnTo>
                      <a:pt x="42426" y="43032"/>
                    </a:lnTo>
                    <a:lnTo>
                      <a:pt x="39395" y="41820"/>
                    </a:lnTo>
                    <a:lnTo>
                      <a:pt x="38486" y="41062"/>
                    </a:lnTo>
                    <a:lnTo>
                      <a:pt x="38335" y="40153"/>
                    </a:lnTo>
                    <a:lnTo>
                      <a:pt x="38183" y="39547"/>
                    </a:lnTo>
                    <a:lnTo>
                      <a:pt x="37426" y="39395"/>
                    </a:lnTo>
                    <a:lnTo>
                      <a:pt x="36819" y="45759"/>
                    </a:lnTo>
                    <a:lnTo>
                      <a:pt x="37577" y="49547"/>
                    </a:lnTo>
                    <a:lnTo>
                      <a:pt x="35152" y="53335"/>
                    </a:lnTo>
                    <a:lnTo>
                      <a:pt x="33183" y="58032"/>
                    </a:lnTo>
                    <a:lnTo>
                      <a:pt x="32728" y="59396"/>
                    </a:lnTo>
                    <a:lnTo>
                      <a:pt x="31364" y="60154"/>
                    </a:lnTo>
                    <a:lnTo>
                      <a:pt x="28940" y="63033"/>
                    </a:lnTo>
                    <a:lnTo>
                      <a:pt x="27274" y="66821"/>
                    </a:lnTo>
                    <a:lnTo>
                      <a:pt x="25910" y="71063"/>
                    </a:lnTo>
                    <a:lnTo>
                      <a:pt x="27576" y="71518"/>
                    </a:lnTo>
                    <a:lnTo>
                      <a:pt x="29395" y="71669"/>
                    </a:lnTo>
                    <a:lnTo>
                      <a:pt x="31819" y="73336"/>
                    </a:lnTo>
                    <a:lnTo>
                      <a:pt x="31516" y="73942"/>
                    </a:lnTo>
                    <a:lnTo>
                      <a:pt x="32728" y="73488"/>
                    </a:lnTo>
                    <a:lnTo>
                      <a:pt x="33789" y="72730"/>
                    </a:lnTo>
                    <a:lnTo>
                      <a:pt x="34547" y="72579"/>
                    </a:lnTo>
                    <a:lnTo>
                      <a:pt x="36062" y="72730"/>
                    </a:lnTo>
                    <a:lnTo>
                      <a:pt x="36819" y="74094"/>
                    </a:lnTo>
                    <a:lnTo>
                      <a:pt x="37274" y="74851"/>
                    </a:lnTo>
                    <a:lnTo>
                      <a:pt x="38789" y="75154"/>
                    </a:lnTo>
                    <a:lnTo>
                      <a:pt x="40001" y="75912"/>
                    </a:lnTo>
                    <a:lnTo>
                      <a:pt x="41062" y="75760"/>
                    </a:lnTo>
                    <a:lnTo>
                      <a:pt x="41971" y="75003"/>
                    </a:lnTo>
                    <a:lnTo>
                      <a:pt x="43335" y="74851"/>
                    </a:lnTo>
                    <a:lnTo>
                      <a:pt x="47426" y="74851"/>
                    </a:lnTo>
                    <a:lnTo>
                      <a:pt x="51214" y="74851"/>
                    </a:lnTo>
                    <a:lnTo>
                      <a:pt x="58638" y="74851"/>
                    </a:lnTo>
                    <a:lnTo>
                      <a:pt x="66063" y="74851"/>
                    </a:lnTo>
                    <a:lnTo>
                      <a:pt x="73487" y="74851"/>
                    </a:lnTo>
                    <a:lnTo>
                      <a:pt x="79094" y="74851"/>
                    </a:lnTo>
                    <a:lnTo>
                      <a:pt x="79245" y="7166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6" name="Freeform: Shape 3275">
                <a:extLst>
                  <a:ext uri="{FF2B5EF4-FFF2-40B4-BE49-F238E27FC236}">
                    <a16:creationId xmlns:a16="http://schemas.microsoft.com/office/drawing/2014/main" id="{57269057-EBE9-49F5-A920-79CE1AFE5A19}"/>
                  </a:ext>
                </a:extLst>
              </p:cNvPr>
              <p:cNvSpPr/>
              <p:nvPr/>
            </p:nvSpPr>
            <p:spPr>
              <a:xfrm>
                <a:off x="4086531" y="4109401"/>
                <a:ext cx="16970" cy="17424"/>
              </a:xfrm>
              <a:custGeom>
                <a:avLst/>
                <a:gdLst>
                  <a:gd name="connsiteX0" fmla="*/ 5303 w 16970"/>
                  <a:gd name="connsiteY0" fmla="*/ 5909 h 17424"/>
                  <a:gd name="connsiteX1" fmla="*/ 4091 w 16970"/>
                  <a:gd name="connsiteY1" fmla="*/ 5000 h 17424"/>
                  <a:gd name="connsiteX2" fmla="*/ 1212 w 16970"/>
                  <a:gd name="connsiteY2" fmla="*/ 4243 h 17424"/>
                  <a:gd name="connsiteX3" fmla="*/ 757 w 16970"/>
                  <a:gd name="connsiteY3" fmla="*/ 4697 h 17424"/>
                  <a:gd name="connsiteX4" fmla="*/ 0 w 16970"/>
                  <a:gd name="connsiteY4" fmla="*/ 5758 h 17424"/>
                  <a:gd name="connsiteX5" fmla="*/ 909 w 16970"/>
                  <a:gd name="connsiteY5" fmla="*/ 12425 h 17424"/>
                  <a:gd name="connsiteX6" fmla="*/ 2273 w 16970"/>
                  <a:gd name="connsiteY6" fmla="*/ 14849 h 17424"/>
                  <a:gd name="connsiteX7" fmla="*/ 3333 w 16970"/>
                  <a:gd name="connsiteY7" fmla="*/ 15304 h 17424"/>
                  <a:gd name="connsiteX8" fmla="*/ 5606 w 16970"/>
                  <a:gd name="connsiteY8" fmla="*/ 14091 h 17424"/>
                  <a:gd name="connsiteX9" fmla="*/ 6364 w 16970"/>
                  <a:gd name="connsiteY9" fmla="*/ 12879 h 17424"/>
                  <a:gd name="connsiteX10" fmla="*/ 6061 w 16970"/>
                  <a:gd name="connsiteY10" fmla="*/ 7879 h 17424"/>
                  <a:gd name="connsiteX11" fmla="*/ 6667 w 16970"/>
                  <a:gd name="connsiteY11" fmla="*/ 6667 h 17424"/>
                  <a:gd name="connsiteX12" fmla="*/ 5303 w 16970"/>
                  <a:gd name="connsiteY12" fmla="*/ 5909 h 17424"/>
                  <a:gd name="connsiteX13" fmla="*/ 14849 w 16970"/>
                  <a:gd name="connsiteY13" fmla="*/ 13940 h 17424"/>
                  <a:gd name="connsiteX14" fmla="*/ 14091 w 16970"/>
                  <a:gd name="connsiteY14" fmla="*/ 14243 h 17424"/>
                  <a:gd name="connsiteX15" fmla="*/ 12879 w 16970"/>
                  <a:gd name="connsiteY15" fmla="*/ 15455 h 17424"/>
                  <a:gd name="connsiteX16" fmla="*/ 13031 w 16970"/>
                  <a:gd name="connsiteY16" fmla="*/ 17122 h 17424"/>
                  <a:gd name="connsiteX17" fmla="*/ 13637 w 16970"/>
                  <a:gd name="connsiteY17" fmla="*/ 17425 h 17424"/>
                  <a:gd name="connsiteX18" fmla="*/ 15152 w 16970"/>
                  <a:gd name="connsiteY18" fmla="*/ 17273 h 17424"/>
                  <a:gd name="connsiteX19" fmla="*/ 15909 w 16970"/>
                  <a:gd name="connsiteY19" fmla="*/ 16364 h 17424"/>
                  <a:gd name="connsiteX20" fmla="*/ 15607 w 16970"/>
                  <a:gd name="connsiteY20" fmla="*/ 15304 h 17424"/>
                  <a:gd name="connsiteX21" fmla="*/ 14849 w 16970"/>
                  <a:gd name="connsiteY21" fmla="*/ 13940 h 17424"/>
                  <a:gd name="connsiteX22" fmla="*/ 11970 w 16970"/>
                  <a:gd name="connsiteY22" fmla="*/ 3939 h 17424"/>
                  <a:gd name="connsiteX23" fmla="*/ 10910 w 16970"/>
                  <a:gd name="connsiteY23" fmla="*/ 2576 h 17424"/>
                  <a:gd name="connsiteX24" fmla="*/ 10606 w 16970"/>
                  <a:gd name="connsiteY24" fmla="*/ 1061 h 17424"/>
                  <a:gd name="connsiteX25" fmla="*/ 8788 w 16970"/>
                  <a:gd name="connsiteY25" fmla="*/ 0 h 17424"/>
                  <a:gd name="connsiteX26" fmla="*/ 7727 w 16970"/>
                  <a:gd name="connsiteY26" fmla="*/ 757 h 17424"/>
                  <a:gd name="connsiteX27" fmla="*/ 7273 w 16970"/>
                  <a:gd name="connsiteY27" fmla="*/ 1970 h 17424"/>
                  <a:gd name="connsiteX28" fmla="*/ 8031 w 16970"/>
                  <a:gd name="connsiteY28" fmla="*/ 4091 h 17424"/>
                  <a:gd name="connsiteX29" fmla="*/ 6970 w 16970"/>
                  <a:gd name="connsiteY29" fmla="*/ 5758 h 17424"/>
                  <a:gd name="connsiteX30" fmla="*/ 7424 w 16970"/>
                  <a:gd name="connsiteY30" fmla="*/ 7727 h 17424"/>
                  <a:gd name="connsiteX31" fmla="*/ 9546 w 16970"/>
                  <a:gd name="connsiteY31" fmla="*/ 8031 h 17424"/>
                  <a:gd name="connsiteX32" fmla="*/ 12728 w 16970"/>
                  <a:gd name="connsiteY32" fmla="*/ 7727 h 17424"/>
                  <a:gd name="connsiteX33" fmla="*/ 16970 w 16970"/>
                  <a:gd name="connsiteY33" fmla="*/ 6970 h 17424"/>
                  <a:gd name="connsiteX34" fmla="*/ 11970 w 16970"/>
                  <a:gd name="connsiteY34" fmla="*/ 3939 h 1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970" h="17424">
                    <a:moveTo>
                      <a:pt x="5303" y="5909"/>
                    </a:moveTo>
                    <a:lnTo>
                      <a:pt x="4091" y="5000"/>
                    </a:lnTo>
                    <a:lnTo>
                      <a:pt x="1212" y="4243"/>
                    </a:lnTo>
                    <a:lnTo>
                      <a:pt x="757" y="4697"/>
                    </a:lnTo>
                    <a:lnTo>
                      <a:pt x="0" y="5758"/>
                    </a:lnTo>
                    <a:lnTo>
                      <a:pt x="909" y="12425"/>
                    </a:lnTo>
                    <a:lnTo>
                      <a:pt x="2273" y="14849"/>
                    </a:lnTo>
                    <a:lnTo>
                      <a:pt x="3333" y="15304"/>
                    </a:lnTo>
                    <a:lnTo>
                      <a:pt x="5606" y="14091"/>
                    </a:lnTo>
                    <a:lnTo>
                      <a:pt x="6364" y="12879"/>
                    </a:lnTo>
                    <a:lnTo>
                      <a:pt x="6061" y="7879"/>
                    </a:lnTo>
                    <a:lnTo>
                      <a:pt x="6667" y="6667"/>
                    </a:lnTo>
                    <a:lnTo>
                      <a:pt x="5303" y="5909"/>
                    </a:lnTo>
                    <a:close/>
                    <a:moveTo>
                      <a:pt x="14849" y="13940"/>
                    </a:moveTo>
                    <a:lnTo>
                      <a:pt x="14091" y="14243"/>
                    </a:lnTo>
                    <a:lnTo>
                      <a:pt x="12879" y="15455"/>
                    </a:lnTo>
                    <a:lnTo>
                      <a:pt x="13031" y="17122"/>
                    </a:lnTo>
                    <a:lnTo>
                      <a:pt x="13637" y="17425"/>
                    </a:lnTo>
                    <a:lnTo>
                      <a:pt x="15152" y="17273"/>
                    </a:lnTo>
                    <a:lnTo>
                      <a:pt x="15909" y="16364"/>
                    </a:lnTo>
                    <a:lnTo>
                      <a:pt x="15607" y="15304"/>
                    </a:lnTo>
                    <a:lnTo>
                      <a:pt x="14849" y="13940"/>
                    </a:lnTo>
                    <a:close/>
                    <a:moveTo>
                      <a:pt x="11970" y="3939"/>
                    </a:moveTo>
                    <a:lnTo>
                      <a:pt x="10910" y="2576"/>
                    </a:lnTo>
                    <a:lnTo>
                      <a:pt x="10606" y="1061"/>
                    </a:lnTo>
                    <a:lnTo>
                      <a:pt x="8788" y="0"/>
                    </a:lnTo>
                    <a:lnTo>
                      <a:pt x="7727" y="757"/>
                    </a:lnTo>
                    <a:lnTo>
                      <a:pt x="7273" y="1970"/>
                    </a:lnTo>
                    <a:lnTo>
                      <a:pt x="8031" y="4091"/>
                    </a:lnTo>
                    <a:lnTo>
                      <a:pt x="6970" y="5758"/>
                    </a:lnTo>
                    <a:lnTo>
                      <a:pt x="7424" y="7727"/>
                    </a:lnTo>
                    <a:lnTo>
                      <a:pt x="9546" y="8031"/>
                    </a:lnTo>
                    <a:lnTo>
                      <a:pt x="12728" y="7727"/>
                    </a:lnTo>
                    <a:lnTo>
                      <a:pt x="16970" y="6970"/>
                    </a:lnTo>
                    <a:lnTo>
                      <a:pt x="11970" y="393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7" name="Freeform: Shape 3276">
                <a:extLst>
                  <a:ext uri="{FF2B5EF4-FFF2-40B4-BE49-F238E27FC236}">
                    <a16:creationId xmlns:a16="http://schemas.microsoft.com/office/drawing/2014/main" id="{BA63EE14-2125-4873-A953-71F0E3205A9D}"/>
                  </a:ext>
                </a:extLst>
              </p:cNvPr>
              <p:cNvSpPr/>
              <p:nvPr/>
            </p:nvSpPr>
            <p:spPr>
              <a:xfrm>
                <a:off x="5365366" y="4215768"/>
                <a:ext cx="201674" cy="149853"/>
              </a:xfrm>
              <a:custGeom>
                <a:avLst/>
                <a:gdLst>
                  <a:gd name="connsiteX0" fmla="*/ 201371 w 201674"/>
                  <a:gd name="connsiteY0" fmla="*/ 113035 h 149853"/>
                  <a:gd name="connsiteX1" fmla="*/ 200613 w 201674"/>
                  <a:gd name="connsiteY1" fmla="*/ 110762 h 149853"/>
                  <a:gd name="connsiteX2" fmla="*/ 198795 w 201674"/>
                  <a:gd name="connsiteY2" fmla="*/ 108640 h 149853"/>
                  <a:gd name="connsiteX3" fmla="*/ 194250 w 201674"/>
                  <a:gd name="connsiteY3" fmla="*/ 106822 h 149853"/>
                  <a:gd name="connsiteX4" fmla="*/ 194098 w 201674"/>
                  <a:gd name="connsiteY4" fmla="*/ 104398 h 149853"/>
                  <a:gd name="connsiteX5" fmla="*/ 194553 w 201674"/>
                  <a:gd name="connsiteY5" fmla="*/ 101670 h 149853"/>
                  <a:gd name="connsiteX6" fmla="*/ 195613 w 201674"/>
                  <a:gd name="connsiteY6" fmla="*/ 100610 h 149853"/>
                  <a:gd name="connsiteX7" fmla="*/ 198947 w 201674"/>
                  <a:gd name="connsiteY7" fmla="*/ 98792 h 149853"/>
                  <a:gd name="connsiteX8" fmla="*/ 198341 w 201674"/>
                  <a:gd name="connsiteY8" fmla="*/ 97882 h 149853"/>
                  <a:gd name="connsiteX9" fmla="*/ 197280 w 201674"/>
                  <a:gd name="connsiteY9" fmla="*/ 96822 h 149853"/>
                  <a:gd name="connsiteX10" fmla="*/ 195159 w 201674"/>
                  <a:gd name="connsiteY10" fmla="*/ 95913 h 149853"/>
                  <a:gd name="connsiteX11" fmla="*/ 195613 w 201674"/>
                  <a:gd name="connsiteY11" fmla="*/ 92579 h 149853"/>
                  <a:gd name="connsiteX12" fmla="*/ 195765 w 201674"/>
                  <a:gd name="connsiteY12" fmla="*/ 89700 h 149853"/>
                  <a:gd name="connsiteX13" fmla="*/ 193946 w 201674"/>
                  <a:gd name="connsiteY13" fmla="*/ 90003 h 149853"/>
                  <a:gd name="connsiteX14" fmla="*/ 192128 w 201674"/>
                  <a:gd name="connsiteY14" fmla="*/ 90155 h 149853"/>
                  <a:gd name="connsiteX15" fmla="*/ 190462 w 201674"/>
                  <a:gd name="connsiteY15" fmla="*/ 89246 h 149853"/>
                  <a:gd name="connsiteX16" fmla="*/ 189249 w 201674"/>
                  <a:gd name="connsiteY16" fmla="*/ 87427 h 149853"/>
                  <a:gd name="connsiteX17" fmla="*/ 188946 w 201674"/>
                  <a:gd name="connsiteY17" fmla="*/ 82579 h 149853"/>
                  <a:gd name="connsiteX18" fmla="*/ 188946 w 201674"/>
                  <a:gd name="connsiteY18" fmla="*/ 76821 h 149853"/>
                  <a:gd name="connsiteX19" fmla="*/ 188644 w 201674"/>
                  <a:gd name="connsiteY19" fmla="*/ 74397 h 149853"/>
                  <a:gd name="connsiteX20" fmla="*/ 189249 w 201674"/>
                  <a:gd name="connsiteY20" fmla="*/ 73033 h 149853"/>
                  <a:gd name="connsiteX21" fmla="*/ 190765 w 201674"/>
                  <a:gd name="connsiteY21" fmla="*/ 71821 h 149853"/>
                  <a:gd name="connsiteX22" fmla="*/ 192583 w 201674"/>
                  <a:gd name="connsiteY22" fmla="*/ 70154 h 149853"/>
                  <a:gd name="connsiteX23" fmla="*/ 193189 w 201674"/>
                  <a:gd name="connsiteY23" fmla="*/ 69094 h 149853"/>
                  <a:gd name="connsiteX24" fmla="*/ 193644 w 201674"/>
                  <a:gd name="connsiteY24" fmla="*/ 67275 h 149853"/>
                  <a:gd name="connsiteX25" fmla="*/ 193341 w 201674"/>
                  <a:gd name="connsiteY25" fmla="*/ 65912 h 149853"/>
                  <a:gd name="connsiteX26" fmla="*/ 192734 w 201674"/>
                  <a:gd name="connsiteY26" fmla="*/ 64851 h 149853"/>
                  <a:gd name="connsiteX27" fmla="*/ 186674 w 201674"/>
                  <a:gd name="connsiteY27" fmla="*/ 61518 h 149853"/>
                  <a:gd name="connsiteX28" fmla="*/ 185613 w 201674"/>
                  <a:gd name="connsiteY28" fmla="*/ 60305 h 149853"/>
                  <a:gd name="connsiteX29" fmla="*/ 184704 w 201674"/>
                  <a:gd name="connsiteY29" fmla="*/ 56669 h 149853"/>
                  <a:gd name="connsiteX30" fmla="*/ 184098 w 201674"/>
                  <a:gd name="connsiteY30" fmla="*/ 53032 h 149853"/>
                  <a:gd name="connsiteX31" fmla="*/ 184098 w 201674"/>
                  <a:gd name="connsiteY31" fmla="*/ 50911 h 149853"/>
                  <a:gd name="connsiteX32" fmla="*/ 184552 w 201674"/>
                  <a:gd name="connsiteY32" fmla="*/ 48941 h 149853"/>
                  <a:gd name="connsiteX33" fmla="*/ 184401 w 201674"/>
                  <a:gd name="connsiteY33" fmla="*/ 47577 h 149853"/>
                  <a:gd name="connsiteX34" fmla="*/ 183643 w 201674"/>
                  <a:gd name="connsiteY34" fmla="*/ 46366 h 149853"/>
                  <a:gd name="connsiteX35" fmla="*/ 181825 w 201674"/>
                  <a:gd name="connsiteY35" fmla="*/ 45305 h 149853"/>
                  <a:gd name="connsiteX36" fmla="*/ 180007 w 201674"/>
                  <a:gd name="connsiteY36" fmla="*/ 44850 h 149853"/>
                  <a:gd name="connsiteX37" fmla="*/ 177582 w 201674"/>
                  <a:gd name="connsiteY37" fmla="*/ 46214 h 149853"/>
                  <a:gd name="connsiteX38" fmla="*/ 176370 w 201674"/>
                  <a:gd name="connsiteY38" fmla="*/ 46517 h 149853"/>
                  <a:gd name="connsiteX39" fmla="*/ 175310 w 201674"/>
                  <a:gd name="connsiteY39" fmla="*/ 46366 h 149853"/>
                  <a:gd name="connsiteX40" fmla="*/ 174703 w 201674"/>
                  <a:gd name="connsiteY40" fmla="*/ 45911 h 149853"/>
                  <a:gd name="connsiteX41" fmla="*/ 174703 w 201674"/>
                  <a:gd name="connsiteY41" fmla="*/ 45153 h 149853"/>
                  <a:gd name="connsiteX42" fmla="*/ 177431 w 201674"/>
                  <a:gd name="connsiteY42" fmla="*/ 41214 h 149853"/>
                  <a:gd name="connsiteX43" fmla="*/ 178643 w 201674"/>
                  <a:gd name="connsiteY43" fmla="*/ 39699 h 149853"/>
                  <a:gd name="connsiteX44" fmla="*/ 180310 w 201674"/>
                  <a:gd name="connsiteY44" fmla="*/ 38335 h 149853"/>
                  <a:gd name="connsiteX45" fmla="*/ 181370 w 201674"/>
                  <a:gd name="connsiteY45" fmla="*/ 37729 h 149853"/>
                  <a:gd name="connsiteX46" fmla="*/ 181977 w 201674"/>
                  <a:gd name="connsiteY46" fmla="*/ 36820 h 149853"/>
                  <a:gd name="connsiteX47" fmla="*/ 181977 w 201674"/>
                  <a:gd name="connsiteY47" fmla="*/ 36062 h 149853"/>
                  <a:gd name="connsiteX48" fmla="*/ 181825 w 201674"/>
                  <a:gd name="connsiteY48" fmla="*/ 35456 h 149853"/>
                  <a:gd name="connsiteX49" fmla="*/ 180007 w 201674"/>
                  <a:gd name="connsiteY49" fmla="*/ 34850 h 149853"/>
                  <a:gd name="connsiteX50" fmla="*/ 177431 w 201674"/>
                  <a:gd name="connsiteY50" fmla="*/ 33032 h 149853"/>
                  <a:gd name="connsiteX51" fmla="*/ 175916 w 201674"/>
                  <a:gd name="connsiteY51" fmla="*/ 32729 h 149853"/>
                  <a:gd name="connsiteX52" fmla="*/ 174703 w 201674"/>
                  <a:gd name="connsiteY52" fmla="*/ 31971 h 149853"/>
                  <a:gd name="connsiteX53" fmla="*/ 173491 w 201674"/>
                  <a:gd name="connsiteY53" fmla="*/ 29092 h 149853"/>
                  <a:gd name="connsiteX54" fmla="*/ 172885 w 201674"/>
                  <a:gd name="connsiteY54" fmla="*/ 28637 h 149853"/>
                  <a:gd name="connsiteX55" fmla="*/ 171673 w 201674"/>
                  <a:gd name="connsiteY55" fmla="*/ 28335 h 149853"/>
                  <a:gd name="connsiteX56" fmla="*/ 170461 w 201674"/>
                  <a:gd name="connsiteY56" fmla="*/ 27577 h 149853"/>
                  <a:gd name="connsiteX57" fmla="*/ 170461 w 201674"/>
                  <a:gd name="connsiteY57" fmla="*/ 23940 h 149853"/>
                  <a:gd name="connsiteX58" fmla="*/ 170613 w 201674"/>
                  <a:gd name="connsiteY58" fmla="*/ 20758 h 149853"/>
                  <a:gd name="connsiteX59" fmla="*/ 167885 w 201674"/>
                  <a:gd name="connsiteY59" fmla="*/ 15607 h 149853"/>
                  <a:gd name="connsiteX60" fmla="*/ 166976 w 201674"/>
                  <a:gd name="connsiteY60" fmla="*/ 12425 h 149853"/>
                  <a:gd name="connsiteX61" fmla="*/ 165612 w 201674"/>
                  <a:gd name="connsiteY61" fmla="*/ 9091 h 149853"/>
                  <a:gd name="connsiteX62" fmla="*/ 164400 w 201674"/>
                  <a:gd name="connsiteY62" fmla="*/ 7425 h 149853"/>
                  <a:gd name="connsiteX63" fmla="*/ 162279 w 201674"/>
                  <a:gd name="connsiteY63" fmla="*/ 6212 h 149853"/>
                  <a:gd name="connsiteX64" fmla="*/ 159703 w 201674"/>
                  <a:gd name="connsiteY64" fmla="*/ 5303 h 149853"/>
                  <a:gd name="connsiteX65" fmla="*/ 157430 w 201674"/>
                  <a:gd name="connsiteY65" fmla="*/ 5000 h 149853"/>
                  <a:gd name="connsiteX66" fmla="*/ 155612 w 201674"/>
                  <a:gd name="connsiteY66" fmla="*/ 5303 h 149853"/>
                  <a:gd name="connsiteX67" fmla="*/ 154703 w 201674"/>
                  <a:gd name="connsiteY67" fmla="*/ 5758 h 149853"/>
                  <a:gd name="connsiteX68" fmla="*/ 154854 w 201674"/>
                  <a:gd name="connsiteY68" fmla="*/ 6364 h 149853"/>
                  <a:gd name="connsiteX69" fmla="*/ 156218 w 201674"/>
                  <a:gd name="connsiteY69" fmla="*/ 8485 h 149853"/>
                  <a:gd name="connsiteX70" fmla="*/ 156521 w 201674"/>
                  <a:gd name="connsiteY70" fmla="*/ 9697 h 149853"/>
                  <a:gd name="connsiteX71" fmla="*/ 156218 w 201674"/>
                  <a:gd name="connsiteY71" fmla="*/ 10758 h 149853"/>
                  <a:gd name="connsiteX72" fmla="*/ 155763 w 201674"/>
                  <a:gd name="connsiteY72" fmla="*/ 11516 h 149853"/>
                  <a:gd name="connsiteX73" fmla="*/ 154551 w 201674"/>
                  <a:gd name="connsiteY73" fmla="*/ 11667 h 149853"/>
                  <a:gd name="connsiteX74" fmla="*/ 152278 w 201674"/>
                  <a:gd name="connsiteY74" fmla="*/ 12273 h 149853"/>
                  <a:gd name="connsiteX75" fmla="*/ 149551 w 201674"/>
                  <a:gd name="connsiteY75" fmla="*/ 13637 h 149853"/>
                  <a:gd name="connsiteX76" fmla="*/ 147581 w 201674"/>
                  <a:gd name="connsiteY76" fmla="*/ 14698 h 149853"/>
                  <a:gd name="connsiteX77" fmla="*/ 146066 w 201674"/>
                  <a:gd name="connsiteY77" fmla="*/ 17425 h 149853"/>
                  <a:gd name="connsiteX78" fmla="*/ 145005 w 201674"/>
                  <a:gd name="connsiteY78" fmla="*/ 17728 h 149853"/>
                  <a:gd name="connsiteX79" fmla="*/ 143187 w 201674"/>
                  <a:gd name="connsiteY79" fmla="*/ 17425 h 149853"/>
                  <a:gd name="connsiteX80" fmla="*/ 137884 w 201674"/>
                  <a:gd name="connsiteY80" fmla="*/ 15455 h 149853"/>
                  <a:gd name="connsiteX81" fmla="*/ 133641 w 201674"/>
                  <a:gd name="connsiteY81" fmla="*/ 13637 h 149853"/>
                  <a:gd name="connsiteX82" fmla="*/ 130763 w 201674"/>
                  <a:gd name="connsiteY82" fmla="*/ 12728 h 149853"/>
                  <a:gd name="connsiteX83" fmla="*/ 128944 w 201674"/>
                  <a:gd name="connsiteY83" fmla="*/ 13334 h 149853"/>
                  <a:gd name="connsiteX84" fmla="*/ 128035 w 201674"/>
                  <a:gd name="connsiteY84" fmla="*/ 13637 h 149853"/>
                  <a:gd name="connsiteX85" fmla="*/ 125459 w 201674"/>
                  <a:gd name="connsiteY85" fmla="*/ 14698 h 149853"/>
                  <a:gd name="connsiteX86" fmla="*/ 122126 w 201674"/>
                  <a:gd name="connsiteY86" fmla="*/ 18789 h 149853"/>
                  <a:gd name="connsiteX87" fmla="*/ 121217 w 201674"/>
                  <a:gd name="connsiteY87" fmla="*/ 20152 h 149853"/>
                  <a:gd name="connsiteX88" fmla="*/ 120610 w 201674"/>
                  <a:gd name="connsiteY88" fmla="*/ 20607 h 149853"/>
                  <a:gd name="connsiteX89" fmla="*/ 119701 w 201674"/>
                  <a:gd name="connsiteY89" fmla="*/ 21364 h 149853"/>
                  <a:gd name="connsiteX90" fmla="*/ 118792 w 201674"/>
                  <a:gd name="connsiteY90" fmla="*/ 21364 h 149853"/>
                  <a:gd name="connsiteX91" fmla="*/ 118035 w 201674"/>
                  <a:gd name="connsiteY91" fmla="*/ 20910 h 149853"/>
                  <a:gd name="connsiteX92" fmla="*/ 117883 w 201674"/>
                  <a:gd name="connsiteY92" fmla="*/ 20607 h 149853"/>
                  <a:gd name="connsiteX93" fmla="*/ 116217 w 201674"/>
                  <a:gd name="connsiteY93" fmla="*/ 17576 h 149853"/>
                  <a:gd name="connsiteX94" fmla="*/ 114247 w 201674"/>
                  <a:gd name="connsiteY94" fmla="*/ 14395 h 149853"/>
                  <a:gd name="connsiteX95" fmla="*/ 112731 w 201674"/>
                  <a:gd name="connsiteY95" fmla="*/ 12879 h 149853"/>
                  <a:gd name="connsiteX96" fmla="*/ 110762 w 201674"/>
                  <a:gd name="connsiteY96" fmla="*/ 12879 h 149853"/>
                  <a:gd name="connsiteX97" fmla="*/ 109095 w 201674"/>
                  <a:gd name="connsiteY97" fmla="*/ 13940 h 149853"/>
                  <a:gd name="connsiteX98" fmla="*/ 107277 w 201674"/>
                  <a:gd name="connsiteY98" fmla="*/ 15910 h 149853"/>
                  <a:gd name="connsiteX99" fmla="*/ 105155 w 201674"/>
                  <a:gd name="connsiteY99" fmla="*/ 17880 h 149853"/>
                  <a:gd name="connsiteX100" fmla="*/ 103792 w 201674"/>
                  <a:gd name="connsiteY100" fmla="*/ 18486 h 149853"/>
                  <a:gd name="connsiteX101" fmla="*/ 102579 w 201674"/>
                  <a:gd name="connsiteY101" fmla="*/ 18183 h 149853"/>
                  <a:gd name="connsiteX102" fmla="*/ 99549 w 201674"/>
                  <a:gd name="connsiteY102" fmla="*/ 15758 h 149853"/>
                  <a:gd name="connsiteX103" fmla="*/ 97428 w 201674"/>
                  <a:gd name="connsiteY103" fmla="*/ 13940 h 149853"/>
                  <a:gd name="connsiteX104" fmla="*/ 97125 w 201674"/>
                  <a:gd name="connsiteY104" fmla="*/ 13182 h 149853"/>
                  <a:gd name="connsiteX105" fmla="*/ 97882 w 201674"/>
                  <a:gd name="connsiteY105" fmla="*/ 11819 h 149853"/>
                  <a:gd name="connsiteX106" fmla="*/ 98640 w 201674"/>
                  <a:gd name="connsiteY106" fmla="*/ 9849 h 149853"/>
                  <a:gd name="connsiteX107" fmla="*/ 99398 w 201674"/>
                  <a:gd name="connsiteY107" fmla="*/ 8182 h 149853"/>
                  <a:gd name="connsiteX108" fmla="*/ 100155 w 201674"/>
                  <a:gd name="connsiteY108" fmla="*/ 7425 h 149853"/>
                  <a:gd name="connsiteX109" fmla="*/ 98337 w 201674"/>
                  <a:gd name="connsiteY109" fmla="*/ 7121 h 149853"/>
                  <a:gd name="connsiteX110" fmla="*/ 95155 w 201674"/>
                  <a:gd name="connsiteY110" fmla="*/ 6819 h 149853"/>
                  <a:gd name="connsiteX111" fmla="*/ 88791 w 201674"/>
                  <a:gd name="connsiteY111" fmla="*/ 7879 h 149853"/>
                  <a:gd name="connsiteX112" fmla="*/ 86518 w 201674"/>
                  <a:gd name="connsiteY112" fmla="*/ 7425 h 149853"/>
                  <a:gd name="connsiteX113" fmla="*/ 82276 w 201674"/>
                  <a:gd name="connsiteY113" fmla="*/ 7576 h 149853"/>
                  <a:gd name="connsiteX114" fmla="*/ 79397 w 201674"/>
                  <a:gd name="connsiteY114" fmla="*/ 8182 h 149853"/>
                  <a:gd name="connsiteX115" fmla="*/ 75458 w 201674"/>
                  <a:gd name="connsiteY115" fmla="*/ 9546 h 149853"/>
                  <a:gd name="connsiteX116" fmla="*/ 72579 w 201674"/>
                  <a:gd name="connsiteY116" fmla="*/ 9243 h 149853"/>
                  <a:gd name="connsiteX117" fmla="*/ 70912 w 201674"/>
                  <a:gd name="connsiteY117" fmla="*/ 8182 h 149853"/>
                  <a:gd name="connsiteX118" fmla="*/ 68942 w 201674"/>
                  <a:gd name="connsiteY118" fmla="*/ 8182 h 149853"/>
                  <a:gd name="connsiteX119" fmla="*/ 66518 w 201674"/>
                  <a:gd name="connsiteY119" fmla="*/ 7728 h 149853"/>
                  <a:gd name="connsiteX120" fmla="*/ 63942 w 201674"/>
                  <a:gd name="connsiteY120" fmla="*/ 6667 h 149853"/>
                  <a:gd name="connsiteX121" fmla="*/ 61669 w 201674"/>
                  <a:gd name="connsiteY121" fmla="*/ 6061 h 149853"/>
                  <a:gd name="connsiteX122" fmla="*/ 59245 w 201674"/>
                  <a:gd name="connsiteY122" fmla="*/ 4243 h 149853"/>
                  <a:gd name="connsiteX123" fmla="*/ 58032 w 201674"/>
                  <a:gd name="connsiteY123" fmla="*/ 3940 h 149853"/>
                  <a:gd name="connsiteX124" fmla="*/ 57275 w 201674"/>
                  <a:gd name="connsiteY124" fmla="*/ 4394 h 149853"/>
                  <a:gd name="connsiteX125" fmla="*/ 56517 w 201674"/>
                  <a:gd name="connsiteY125" fmla="*/ 5000 h 149853"/>
                  <a:gd name="connsiteX126" fmla="*/ 55760 w 201674"/>
                  <a:gd name="connsiteY126" fmla="*/ 5455 h 149853"/>
                  <a:gd name="connsiteX127" fmla="*/ 54396 w 201674"/>
                  <a:gd name="connsiteY127" fmla="*/ 5000 h 149853"/>
                  <a:gd name="connsiteX128" fmla="*/ 53941 w 201674"/>
                  <a:gd name="connsiteY128" fmla="*/ 3788 h 149853"/>
                  <a:gd name="connsiteX129" fmla="*/ 54396 w 201674"/>
                  <a:gd name="connsiteY129" fmla="*/ 2576 h 149853"/>
                  <a:gd name="connsiteX130" fmla="*/ 54548 w 201674"/>
                  <a:gd name="connsiteY130" fmla="*/ 1667 h 149853"/>
                  <a:gd name="connsiteX131" fmla="*/ 53790 w 201674"/>
                  <a:gd name="connsiteY131" fmla="*/ 1061 h 149853"/>
                  <a:gd name="connsiteX132" fmla="*/ 52275 w 201674"/>
                  <a:gd name="connsiteY132" fmla="*/ 909 h 149853"/>
                  <a:gd name="connsiteX133" fmla="*/ 49850 w 201674"/>
                  <a:gd name="connsiteY133" fmla="*/ 909 h 149853"/>
                  <a:gd name="connsiteX134" fmla="*/ 45911 w 201674"/>
                  <a:gd name="connsiteY134" fmla="*/ 606 h 149853"/>
                  <a:gd name="connsiteX135" fmla="*/ 45002 w 201674"/>
                  <a:gd name="connsiteY135" fmla="*/ 303 h 149853"/>
                  <a:gd name="connsiteX136" fmla="*/ 36214 w 201674"/>
                  <a:gd name="connsiteY136" fmla="*/ 0 h 149853"/>
                  <a:gd name="connsiteX137" fmla="*/ 36062 w 201674"/>
                  <a:gd name="connsiteY137" fmla="*/ 2273 h 149853"/>
                  <a:gd name="connsiteX138" fmla="*/ 37729 w 201674"/>
                  <a:gd name="connsiteY138" fmla="*/ 5455 h 149853"/>
                  <a:gd name="connsiteX139" fmla="*/ 37426 w 201674"/>
                  <a:gd name="connsiteY139" fmla="*/ 7728 h 149853"/>
                  <a:gd name="connsiteX140" fmla="*/ 36819 w 201674"/>
                  <a:gd name="connsiteY140" fmla="*/ 10000 h 149853"/>
                  <a:gd name="connsiteX141" fmla="*/ 36214 w 201674"/>
                  <a:gd name="connsiteY141" fmla="*/ 10910 h 149853"/>
                  <a:gd name="connsiteX142" fmla="*/ 35304 w 201674"/>
                  <a:gd name="connsiteY142" fmla="*/ 11364 h 149853"/>
                  <a:gd name="connsiteX143" fmla="*/ 32880 w 201674"/>
                  <a:gd name="connsiteY143" fmla="*/ 11364 h 149853"/>
                  <a:gd name="connsiteX144" fmla="*/ 31819 w 201674"/>
                  <a:gd name="connsiteY144" fmla="*/ 11819 h 149853"/>
                  <a:gd name="connsiteX145" fmla="*/ 30152 w 201674"/>
                  <a:gd name="connsiteY145" fmla="*/ 12728 h 149853"/>
                  <a:gd name="connsiteX146" fmla="*/ 30152 w 201674"/>
                  <a:gd name="connsiteY146" fmla="*/ 13637 h 149853"/>
                  <a:gd name="connsiteX147" fmla="*/ 31516 w 201674"/>
                  <a:gd name="connsiteY147" fmla="*/ 14698 h 149853"/>
                  <a:gd name="connsiteX148" fmla="*/ 32577 w 201674"/>
                  <a:gd name="connsiteY148" fmla="*/ 16061 h 149853"/>
                  <a:gd name="connsiteX149" fmla="*/ 33789 w 201674"/>
                  <a:gd name="connsiteY149" fmla="*/ 17122 h 149853"/>
                  <a:gd name="connsiteX150" fmla="*/ 35910 w 201674"/>
                  <a:gd name="connsiteY150" fmla="*/ 18334 h 149853"/>
                  <a:gd name="connsiteX151" fmla="*/ 36214 w 201674"/>
                  <a:gd name="connsiteY151" fmla="*/ 19698 h 149853"/>
                  <a:gd name="connsiteX152" fmla="*/ 36214 w 201674"/>
                  <a:gd name="connsiteY152" fmla="*/ 23183 h 149853"/>
                  <a:gd name="connsiteX153" fmla="*/ 36062 w 201674"/>
                  <a:gd name="connsiteY153" fmla="*/ 25910 h 149853"/>
                  <a:gd name="connsiteX154" fmla="*/ 30001 w 201674"/>
                  <a:gd name="connsiteY154" fmla="*/ 27880 h 149853"/>
                  <a:gd name="connsiteX155" fmla="*/ 25455 w 201674"/>
                  <a:gd name="connsiteY155" fmla="*/ 28183 h 149853"/>
                  <a:gd name="connsiteX156" fmla="*/ 21516 w 201674"/>
                  <a:gd name="connsiteY156" fmla="*/ 28031 h 149853"/>
                  <a:gd name="connsiteX157" fmla="*/ 19849 w 201674"/>
                  <a:gd name="connsiteY157" fmla="*/ 28789 h 149853"/>
                  <a:gd name="connsiteX158" fmla="*/ 16364 w 201674"/>
                  <a:gd name="connsiteY158" fmla="*/ 30759 h 149853"/>
                  <a:gd name="connsiteX159" fmla="*/ 12273 w 201674"/>
                  <a:gd name="connsiteY159" fmla="*/ 32123 h 149853"/>
                  <a:gd name="connsiteX160" fmla="*/ 10152 w 201674"/>
                  <a:gd name="connsiteY160" fmla="*/ 32123 h 149853"/>
                  <a:gd name="connsiteX161" fmla="*/ 9091 w 201674"/>
                  <a:gd name="connsiteY161" fmla="*/ 32880 h 149853"/>
                  <a:gd name="connsiteX162" fmla="*/ 7424 w 201674"/>
                  <a:gd name="connsiteY162" fmla="*/ 35001 h 149853"/>
                  <a:gd name="connsiteX163" fmla="*/ 2879 w 201674"/>
                  <a:gd name="connsiteY163" fmla="*/ 44093 h 149853"/>
                  <a:gd name="connsiteX164" fmla="*/ 1364 w 201674"/>
                  <a:gd name="connsiteY164" fmla="*/ 46366 h 149853"/>
                  <a:gd name="connsiteX165" fmla="*/ 303 w 201674"/>
                  <a:gd name="connsiteY165" fmla="*/ 47729 h 149853"/>
                  <a:gd name="connsiteX166" fmla="*/ 0 w 201674"/>
                  <a:gd name="connsiteY166" fmla="*/ 50760 h 149853"/>
                  <a:gd name="connsiteX167" fmla="*/ 1061 w 201674"/>
                  <a:gd name="connsiteY167" fmla="*/ 51517 h 149853"/>
                  <a:gd name="connsiteX168" fmla="*/ 2122 w 201674"/>
                  <a:gd name="connsiteY168" fmla="*/ 51517 h 149853"/>
                  <a:gd name="connsiteX169" fmla="*/ 3485 w 201674"/>
                  <a:gd name="connsiteY169" fmla="*/ 47577 h 149853"/>
                  <a:gd name="connsiteX170" fmla="*/ 4545 w 201674"/>
                  <a:gd name="connsiteY170" fmla="*/ 46972 h 149853"/>
                  <a:gd name="connsiteX171" fmla="*/ 5910 w 201674"/>
                  <a:gd name="connsiteY171" fmla="*/ 47123 h 149853"/>
                  <a:gd name="connsiteX172" fmla="*/ 7576 w 201674"/>
                  <a:gd name="connsiteY172" fmla="*/ 48032 h 149853"/>
                  <a:gd name="connsiteX173" fmla="*/ 8031 w 201674"/>
                  <a:gd name="connsiteY173" fmla="*/ 50002 h 149853"/>
                  <a:gd name="connsiteX174" fmla="*/ 9849 w 201674"/>
                  <a:gd name="connsiteY174" fmla="*/ 53184 h 149853"/>
                  <a:gd name="connsiteX175" fmla="*/ 10303 w 201674"/>
                  <a:gd name="connsiteY175" fmla="*/ 54699 h 149853"/>
                  <a:gd name="connsiteX176" fmla="*/ 12576 w 201674"/>
                  <a:gd name="connsiteY176" fmla="*/ 52578 h 149853"/>
                  <a:gd name="connsiteX177" fmla="*/ 12728 w 201674"/>
                  <a:gd name="connsiteY177" fmla="*/ 53487 h 149853"/>
                  <a:gd name="connsiteX178" fmla="*/ 11970 w 201674"/>
                  <a:gd name="connsiteY178" fmla="*/ 56669 h 149853"/>
                  <a:gd name="connsiteX179" fmla="*/ 12121 w 201674"/>
                  <a:gd name="connsiteY179" fmla="*/ 58487 h 149853"/>
                  <a:gd name="connsiteX180" fmla="*/ 17122 w 201674"/>
                  <a:gd name="connsiteY180" fmla="*/ 66821 h 149853"/>
                  <a:gd name="connsiteX181" fmla="*/ 24092 w 201674"/>
                  <a:gd name="connsiteY181" fmla="*/ 70154 h 149853"/>
                  <a:gd name="connsiteX182" fmla="*/ 26364 w 201674"/>
                  <a:gd name="connsiteY182" fmla="*/ 70154 h 149853"/>
                  <a:gd name="connsiteX183" fmla="*/ 27577 w 201674"/>
                  <a:gd name="connsiteY183" fmla="*/ 69700 h 149853"/>
                  <a:gd name="connsiteX184" fmla="*/ 27880 w 201674"/>
                  <a:gd name="connsiteY184" fmla="*/ 70457 h 149853"/>
                  <a:gd name="connsiteX185" fmla="*/ 28183 w 201674"/>
                  <a:gd name="connsiteY185" fmla="*/ 72275 h 149853"/>
                  <a:gd name="connsiteX186" fmla="*/ 30001 w 201674"/>
                  <a:gd name="connsiteY186" fmla="*/ 74548 h 149853"/>
                  <a:gd name="connsiteX187" fmla="*/ 33638 w 201674"/>
                  <a:gd name="connsiteY187" fmla="*/ 76670 h 149853"/>
                  <a:gd name="connsiteX188" fmla="*/ 35456 w 201674"/>
                  <a:gd name="connsiteY188" fmla="*/ 77124 h 149853"/>
                  <a:gd name="connsiteX189" fmla="*/ 36668 w 201674"/>
                  <a:gd name="connsiteY189" fmla="*/ 75760 h 149853"/>
                  <a:gd name="connsiteX190" fmla="*/ 37274 w 201674"/>
                  <a:gd name="connsiteY190" fmla="*/ 75609 h 149853"/>
                  <a:gd name="connsiteX191" fmla="*/ 36971 w 201674"/>
                  <a:gd name="connsiteY191" fmla="*/ 77730 h 149853"/>
                  <a:gd name="connsiteX192" fmla="*/ 38183 w 201674"/>
                  <a:gd name="connsiteY192" fmla="*/ 79700 h 149853"/>
                  <a:gd name="connsiteX193" fmla="*/ 38183 w 201674"/>
                  <a:gd name="connsiteY193" fmla="*/ 83488 h 149853"/>
                  <a:gd name="connsiteX194" fmla="*/ 37274 w 201674"/>
                  <a:gd name="connsiteY194" fmla="*/ 86367 h 149853"/>
                  <a:gd name="connsiteX195" fmla="*/ 40607 w 201674"/>
                  <a:gd name="connsiteY195" fmla="*/ 86215 h 149853"/>
                  <a:gd name="connsiteX196" fmla="*/ 44244 w 201674"/>
                  <a:gd name="connsiteY196" fmla="*/ 89549 h 149853"/>
                  <a:gd name="connsiteX197" fmla="*/ 45002 w 201674"/>
                  <a:gd name="connsiteY197" fmla="*/ 91216 h 149853"/>
                  <a:gd name="connsiteX198" fmla="*/ 45305 w 201674"/>
                  <a:gd name="connsiteY198" fmla="*/ 92428 h 149853"/>
                  <a:gd name="connsiteX199" fmla="*/ 48032 w 201674"/>
                  <a:gd name="connsiteY199" fmla="*/ 95004 h 149853"/>
                  <a:gd name="connsiteX200" fmla="*/ 48790 w 201674"/>
                  <a:gd name="connsiteY200" fmla="*/ 96367 h 149853"/>
                  <a:gd name="connsiteX201" fmla="*/ 47881 w 201674"/>
                  <a:gd name="connsiteY201" fmla="*/ 98943 h 149853"/>
                  <a:gd name="connsiteX202" fmla="*/ 48183 w 201674"/>
                  <a:gd name="connsiteY202" fmla="*/ 99701 h 149853"/>
                  <a:gd name="connsiteX203" fmla="*/ 49699 w 201674"/>
                  <a:gd name="connsiteY203" fmla="*/ 99095 h 149853"/>
                  <a:gd name="connsiteX204" fmla="*/ 51214 w 201674"/>
                  <a:gd name="connsiteY204" fmla="*/ 99398 h 149853"/>
                  <a:gd name="connsiteX205" fmla="*/ 52578 w 201674"/>
                  <a:gd name="connsiteY205" fmla="*/ 99701 h 149853"/>
                  <a:gd name="connsiteX206" fmla="*/ 54093 w 201674"/>
                  <a:gd name="connsiteY206" fmla="*/ 99095 h 149853"/>
                  <a:gd name="connsiteX207" fmla="*/ 55305 w 201674"/>
                  <a:gd name="connsiteY207" fmla="*/ 98186 h 149853"/>
                  <a:gd name="connsiteX208" fmla="*/ 56214 w 201674"/>
                  <a:gd name="connsiteY208" fmla="*/ 96973 h 149853"/>
                  <a:gd name="connsiteX209" fmla="*/ 57275 w 201674"/>
                  <a:gd name="connsiteY209" fmla="*/ 93791 h 149853"/>
                  <a:gd name="connsiteX210" fmla="*/ 60760 w 201674"/>
                  <a:gd name="connsiteY210" fmla="*/ 92731 h 149853"/>
                  <a:gd name="connsiteX211" fmla="*/ 62881 w 201674"/>
                  <a:gd name="connsiteY211" fmla="*/ 90761 h 149853"/>
                  <a:gd name="connsiteX212" fmla="*/ 64699 w 201674"/>
                  <a:gd name="connsiteY212" fmla="*/ 87731 h 149853"/>
                  <a:gd name="connsiteX213" fmla="*/ 65608 w 201674"/>
                  <a:gd name="connsiteY213" fmla="*/ 85609 h 149853"/>
                  <a:gd name="connsiteX214" fmla="*/ 66518 w 201674"/>
                  <a:gd name="connsiteY214" fmla="*/ 84549 h 149853"/>
                  <a:gd name="connsiteX215" fmla="*/ 66972 w 201674"/>
                  <a:gd name="connsiteY215" fmla="*/ 83639 h 149853"/>
                  <a:gd name="connsiteX216" fmla="*/ 67427 w 201674"/>
                  <a:gd name="connsiteY216" fmla="*/ 82579 h 149853"/>
                  <a:gd name="connsiteX217" fmla="*/ 68184 w 201674"/>
                  <a:gd name="connsiteY217" fmla="*/ 81670 h 149853"/>
                  <a:gd name="connsiteX218" fmla="*/ 69093 w 201674"/>
                  <a:gd name="connsiteY218" fmla="*/ 79397 h 149853"/>
                  <a:gd name="connsiteX219" fmla="*/ 69700 w 201674"/>
                  <a:gd name="connsiteY219" fmla="*/ 77427 h 149853"/>
                  <a:gd name="connsiteX220" fmla="*/ 71821 w 201674"/>
                  <a:gd name="connsiteY220" fmla="*/ 76367 h 149853"/>
                  <a:gd name="connsiteX221" fmla="*/ 75912 w 201674"/>
                  <a:gd name="connsiteY221" fmla="*/ 75609 h 149853"/>
                  <a:gd name="connsiteX222" fmla="*/ 79548 w 201674"/>
                  <a:gd name="connsiteY222" fmla="*/ 76973 h 149853"/>
                  <a:gd name="connsiteX223" fmla="*/ 85609 w 201674"/>
                  <a:gd name="connsiteY223" fmla="*/ 75760 h 149853"/>
                  <a:gd name="connsiteX224" fmla="*/ 85912 w 201674"/>
                  <a:gd name="connsiteY224" fmla="*/ 73791 h 149853"/>
                  <a:gd name="connsiteX225" fmla="*/ 91367 w 201674"/>
                  <a:gd name="connsiteY225" fmla="*/ 73791 h 149853"/>
                  <a:gd name="connsiteX226" fmla="*/ 97882 w 201674"/>
                  <a:gd name="connsiteY226" fmla="*/ 73791 h 149853"/>
                  <a:gd name="connsiteX227" fmla="*/ 103337 w 201674"/>
                  <a:gd name="connsiteY227" fmla="*/ 73639 h 149853"/>
                  <a:gd name="connsiteX228" fmla="*/ 105155 w 201674"/>
                  <a:gd name="connsiteY228" fmla="*/ 74245 h 149853"/>
                  <a:gd name="connsiteX229" fmla="*/ 105913 w 201674"/>
                  <a:gd name="connsiteY229" fmla="*/ 75609 h 149853"/>
                  <a:gd name="connsiteX230" fmla="*/ 107732 w 201674"/>
                  <a:gd name="connsiteY230" fmla="*/ 77882 h 149853"/>
                  <a:gd name="connsiteX231" fmla="*/ 109550 w 201674"/>
                  <a:gd name="connsiteY231" fmla="*/ 79548 h 149853"/>
                  <a:gd name="connsiteX232" fmla="*/ 111822 w 201674"/>
                  <a:gd name="connsiteY232" fmla="*/ 82882 h 149853"/>
                  <a:gd name="connsiteX233" fmla="*/ 114550 w 201674"/>
                  <a:gd name="connsiteY233" fmla="*/ 86822 h 149853"/>
                  <a:gd name="connsiteX234" fmla="*/ 117429 w 201674"/>
                  <a:gd name="connsiteY234" fmla="*/ 90458 h 149853"/>
                  <a:gd name="connsiteX235" fmla="*/ 119247 w 201674"/>
                  <a:gd name="connsiteY235" fmla="*/ 92428 h 149853"/>
                  <a:gd name="connsiteX236" fmla="*/ 119550 w 201674"/>
                  <a:gd name="connsiteY236" fmla="*/ 93185 h 149853"/>
                  <a:gd name="connsiteX237" fmla="*/ 119398 w 201674"/>
                  <a:gd name="connsiteY237" fmla="*/ 93943 h 149853"/>
                  <a:gd name="connsiteX238" fmla="*/ 118489 w 201674"/>
                  <a:gd name="connsiteY238" fmla="*/ 95761 h 149853"/>
                  <a:gd name="connsiteX239" fmla="*/ 117731 w 201674"/>
                  <a:gd name="connsiteY239" fmla="*/ 97731 h 149853"/>
                  <a:gd name="connsiteX240" fmla="*/ 117731 w 201674"/>
                  <a:gd name="connsiteY240" fmla="*/ 98488 h 149853"/>
                  <a:gd name="connsiteX241" fmla="*/ 118338 w 201674"/>
                  <a:gd name="connsiteY241" fmla="*/ 98792 h 149853"/>
                  <a:gd name="connsiteX242" fmla="*/ 121368 w 201674"/>
                  <a:gd name="connsiteY242" fmla="*/ 99398 h 149853"/>
                  <a:gd name="connsiteX243" fmla="*/ 121671 w 201674"/>
                  <a:gd name="connsiteY243" fmla="*/ 101670 h 149853"/>
                  <a:gd name="connsiteX244" fmla="*/ 121671 w 201674"/>
                  <a:gd name="connsiteY244" fmla="*/ 104701 h 149853"/>
                  <a:gd name="connsiteX245" fmla="*/ 123186 w 201674"/>
                  <a:gd name="connsiteY245" fmla="*/ 107580 h 149853"/>
                  <a:gd name="connsiteX246" fmla="*/ 124550 w 201674"/>
                  <a:gd name="connsiteY246" fmla="*/ 109550 h 149853"/>
                  <a:gd name="connsiteX247" fmla="*/ 124398 w 201674"/>
                  <a:gd name="connsiteY247" fmla="*/ 110307 h 149853"/>
                  <a:gd name="connsiteX248" fmla="*/ 121065 w 201674"/>
                  <a:gd name="connsiteY248" fmla="*/ 113944 h 149853"/>
                  <a:gd name="connsiteX249" fmla="*/ 119701 w 201674"/>
                  <a:gd name="connsiteY249" fmla="*/ 117429 h 149853"/>
                  <a:gd name="connsiteX250" fmla="*/ 118944 w 201674"/>
                  <a:gd name="connsiteY250" fmla="*/ 118489 h 149853"/>
                  <a:gd name="connsiteX251" fmla="*/ 118792 w 201674"/>
                  <a:gd name="connsiteY251" fmla="*/ 119247 h 149853"/>
                  <a:gd name="connsiteX252" fmla="*/ 119398 w 201674"/>
                  <a:gd name="connsiteY252" fmla="*/ 119550 h 149853"/>
                  <a:gd name="connsiteX253" fmla="*/ 120308 w 201674"/>
                  <a:gd name="connsiteY253" fmla="*/ 119398 h 149853"/>
                  <a:gd name="connsiteX254" fmla="*/ 121671 w 201674"/>
                  <a:gd name="connsiteY254" fmla="*/ 119701 h 149853"/>
                  <a:gd name="connsiteX255" fmla="*/ 122884 w 201674"/>
                  <a:gd name="connsiteY255" fmla="*/ 119853 h 149853"/>
                  <a:gd name="connsiteX256" fmla="*/ 124702 w 201674"/>
                  <a:gd name="connsiteY256" fmla="*/ 118489 h 149853"/>
                  <a:gd name="connsiteX257" fmla="*/ 127429 w 201674"/>
                  <a:gd name="connsiteY257" fmla="*/ 115307 h 149853"/>
                  <a:gd name="connsiteX258" fmla="*/ 128338 w 201674"/>
                  <a:gd name="connsiteY258" fmla="*/ 114853 h 149853"/>
                  <a:gd name="connsiteX259" fmla="*/ 130460 w 201674"/>
                  <a:gd name="connsiteY259" fmla="*/ 115156 h 149853"/>
                  <a:gd name="connsiteX260" fmla="*/ 131823 w 201674"/>
                  <a:gd name="connsiteY260" fmla="*/ 115004 h 149853"/>
                  <a:gd name="connsiteX261" fmla="*/ 134248 w 201674"/>
                  <a:gd name="connsiteY261" fmla="*/ 114247 h 149853"/>
                  <a:gd name="connsiteX262" fmla="*/ 135611 w 201674"/>
                  <a:gd name="connsiteY262" fmla="*/ 114550 h 149853"/>
                  <a:gd name="connsiteX263" fmla="*/ 136217 w 201674"/>
                  <a:gd name="connsiteY263" fmla="*/ 115762 h 149853"/>
                  <a:gd name="connsiteX264" fmla="*/ 136520 w 201674"/>
                  <a:gd name="connsiteY264" fmla="*/ 116671 h 149853"/>
                  <a:gd name="connsiteX265" fmla="*/ 143490 w 201674"/>
                  <a:gd name="connsiteY265" fmla="*/ 114247 h 149853"/>
                  <a:gd name="connsiteX266" fmla="*/ 144248 w 201674"/>
                  <a:gd name="connsiteY266" fmla="*/ 113641 h 149853"/>
                  <a:gd name="connsiteX267" fmla="*/ 144551 w 201674"/>
                  <a:gd name="connsiteY267" fmla="*/ 113792 h 149853"/>
                  <a:gd name="connsiteX268" fmla="*/ 145460 w 201674"/>
                  <a:gd name="connsiteY268" fmla="*/ 116065 h 149853"/>
                  <a:gd name="connsiteX269" fmla="*/ 145915 w 201674"/>
                  <a:gd name="connsiteY269" fmla="*/ 115913 h 149853"/>
                  <a:gd name="connsiteX270" fmla="*/ 146369 w 201674"/>
                  <a:gd name="connsiteY270" fmla="*/ 115156 h 149853"/>
                  <a:gd name="connsiteX271" fmla="*/ 146824 w 201674"/>
                  <a:gd name="connsiteY271" fmla="*/ 115156 h 149853"/>
                  <a:gd name="connsiteX272" fmla="*/ 147430 w 201674"/>
                  <a:gd name="connsiteY272" fmla="*/ 115459 h 149853"/>
                  <a:gd name="connsiteX273" fmla="*/ 148036 w 201674"/>
                  <a:gd name="connsiteY273" fmla="*/ 116519 h 149853"/>
                  <a:gd name="connsiteX274" fmla="*/ 148945 w 201674"/>
                  <a:gd name="connsiteY274" fmla="*/ 117429 h 149853"/>
                  <a:gd name="connsiteX275" fmla="*/ 150460 w 201674"/>
                  <a:gd name="connsiteY275" fmla="*/ 118035 h 149853"/>
                  <a:gd name="connsiteX276" fmla="*/ 151369 w 201674"/>
                  <a:gd name="connsiteY276" fmla="*/ 118944 h 149853"/>
                  <a:gd name="connsiteX277" fmla="*/ 151218 w 201674"/>
                  <a:gd name="connsiteY277" fmla="*/ 121368 h 149853"/>
                  <a:gd name="connsiteX278" fmla="*/ 151672 w 201674"/>
                  <a:gd name="connsiteY278" fmla="*/ 123641 h 149853"/>
                  <a:gd name="connsiteX279" fmla="*/ 152278 w 201674"/>
                  <a:gd name="connsiteY279" fmla="*/ 124095 h 149853"/>
                  <a:gd name="connsiteX280" fmla="*/ 152733 w 201674"/>
                  <a:gd name="connsiteY280" fmla="*/ 125459 h 149853"/>
                  <a:gd name="connsiteX281" fmla="*/ 152884 w 201674"/>
                  <a:gd name="connsiteY281" fmla="*/ 126974 h 149853"/>
                  <a:gd name="connsiteX282" fmla="*/ 153188 w 201674"/>
                  <a:gd name="connsiteY282" fmla="*/ 127732 h 149853"/>
                  <a:gd name="connsiteX283" fmla="*/ 153491 w 201674"/>
                  <a:gd name="connsiteY283" fmla="*/ 129247 h 149853"/>
                  <a:gd name="connsiteX284" fmla="*/ 153339 w 201674"/>
                  <a:gd name="connsiteY284" fmla="*/ 130914 h 149853"/>
                  <a:gd name="connsiteX285" fmla="*/ 153642 w 201674"/>
                  <a:gd name="connsiteY285" fmla="*/ 132126 h 149853"/>
                  <a:gd name="connsiteX286" fmla="*/ 154703 w 201674"/>
                  <a:gd name="connsiteY286" fmla="*/ 134096 h 149853"/>
                  <a:gd name="connsiteX287" fmla="*/ 155460 w 201674"/>
                  <a:gd name="connsiteY287" fmla="*/ 136520 h 149853"/>
                  <a:gd name="connsiteX288" fmla="*/ 155460 w 201674"/>
                  <a:gd name="connsiteY288" fmla="*/ 138338 h 149853"/>
                  <a:gd name="connsiteX289" fmla="*/ 155006 w 201674"/>
                  <a:gd name="connsiteY289" fmla="*/ 140157 h 149853"/>
                  <a:gd name="connsiteX290" fmla="*/ 154248 w 201674"/>
                  <a:gd name="connsiteY290" fmla="*/ 141823 h 149853"/>
                  <a:gd name="connsiteX291" fmla="*/ 153036 w 201674"/>
                  <a:gd name="connsiteY291" fmla="*/ 143642 h 149853"/>
                  <a:gd name="connsiteX292" fmla="*/ 152884 w 201674"/>
                  <a:gd name="connsiteY292" fmla="*/ 144399 h 149853"/>
                  <a:gd name="connsiteX293" fmla="*/ 153642 w 201674"/>
                  <a:gd name="connsiteY293" fmla="*/ 144854 h 149853"/>
                  <a:gd name="connsiteX294" fmla="*/ 154854 w 201674"/>
                  <a:gd name="connsiteY294" fmla="*/ 145005 h 149853"/>
                  <a:gd name="connsiteX295" fmla="*/ 155915 w 201674"/>
                  <a:gd name="connsiteY295" fmla="*/ 144551 h 149853"/>
                  <a:gd name="connsiteX296" fmla="*/ 158339 w 201674"/>
                  <a:gd name="connsiteY296" fmla="*/ 145460 h 149853"/>
                  <a:gd name="connsiteX297" fmla="*/ 159703 w 201674"/>
                  <a:gd name="connsiteY297" fmla="*/ 146672 h 149853"/>
                  <a:gd name="connsiteX298" fmla="*/ 160915 w 201674"/>
                  <a:gd name="connsiteY298" fmla="*/ 148187 h 149853"/>
                  <a:gd name="connsiteX299" fmla="*/ 161824 w 201674"/>
                  <a:gd name="connsiteY299" fmla="*/ 148945 h 149853"/>
                  <a:gd name="connsiteX300" fmla="*/ 162430 w 201674"/>
                  <a:gd name="connsiteY300" fmla="*/ 149854 h 149853"/>
                  <a:gd name="connsiteX301" fmla="*/ 164097 w 201674"/>
                  <a:gd name="connsiteY301" fmla="*/ 149551 h 149853"/>
                  <a:gd name="connsiteX302" fmla="*/ 166218 w 201674"/>
                  <a:gd name="connsiteY302" fmla="*/ 148642 h 149853"/>
                  <a:gd name="connsiteX303" fmla="*/ 166673 w 201674"/>
                  <a:gd name="connsiteY303" fmla="*/ 148187 h 149853"/>
                  <a:gd name="connsiteX304" fmla="*/ 167279 w 201674"/>
                  <a:gd name="connsiteY304" fmla="*/ 148490 h 149853"/>
                  <a:gd name="connsiteX305" fmla="*/ 168643 w 201674"/>
                  <a:gd name="connsiteY305" fmla="*/ 148642 h 149853"/>
                  <a:gd name="connsiteX306" fmla="*/ 169552 w 201674"/>
                  <a:gd name="connsiteY306" fmla="*/ 146975 h 149853"/>
                  <a:gd name="connsiteX307" fmla="*/ 170309 w 201674"/>
                  <a:gd name="connsiteY307" fmla="*/ 145005 h 149853"/>
                  <a:gd name="connsiteX308" fmla="*/ 171825 w 201674"/>
                  <a:gd name="connsiteY308" fmla="*/ 143036 h 149853"/>
                  <a:gd name="connsiteX309" fmla="*/ 172734 w 201674"/>
                  <a:gd name="connsiteY309" fmla="*/ 142278 h 149853"/>
                  <a:gd name="connsiteX310" fmla="*/ 172885 w 201674"/>
                  <a:gd name="connsiteY310" fmla="*/ 140914 h 149853"/>
                  <a:gd name="connsiteX311" fmla="*/ 173037 w 201674"/>
                  <a:gd name="connsiteY311" fmla="*/ 139248 h 149853"/>
                  <a:gd name="connsiteX312" fmla="*/ 173491 w 201674"/>
                  <a:gd name="connsiteY312" fmla="*/ 137732 h 149853"/>
                  <a:gd name="connsiteX313" fmla="*/ 174855 w 201674"/>
                  <a:gd name="connsiteY313" fmla="*/ 136975 h 149853"/>
                  <a:gd name="connsiteX314" fmla="*/ 176370 w 201674"/>
                  <a:gd name="connsiteY314" fmla="*/ 136975 h 149853"/>
                  <a:gd name="connsiteX315" fmla="*/ 177128 w 201674"/>
                  <a:gd name="connsiteY315" fmla="*/ 137278 h 149853"/>
                  <a:gd name="connsiteX316" fmla="*/ 177431 w 201674"/>
                  <a:gd name="connsiteY316" fmla="*/ 138642 h 149853"/>
                  <a:gd name="connsiteX317" fmla="*/ 178643 w 201674"/>
                  <a:gd name="connsiteY317" fmla="*/ 139702 h 149853"/>
                  <a:gd name="connsiteX318" fmla="*/ 179552 w 201674"/>
                  <a:gd name="connsiteY318" fmla="*/ 140460 h 149853"/>
                  <a:gd name="connsiteX319" fmla="*/ 181219 w 201674"/>
                  <a:gd name="connsiteY319" fmla="*/ 139248 h 149853"/>
                  <a:gd name="connsiteX320" fmla="*/ 183340 w 201674"/>
                  <a:gd name="connsiteY320" fmla="*/ 139551 h 149853"/>
                  <a:gd name="connsiteX321" fmla="*/ 186522 w 201674"/>
                  <a:gd name="connsiteY321" fmla="*/ 140611 h 149853"/>
                  <a:gd name="connsiteX322" fmla="*/ 187280 w 201674"/>
                  <a:gd name="connsiteY322" fmla="*/ 139551 h 149853"/>
                  <a:gd name="connsiteX323" fmla="*/ 189704 w 201674"/>
                  <a:gd name="connsiteY323" fmla="*/ 135005 h 149853"/>
                  <a:gd name="connsiteX324" fmla="*/ 189704 w 201674"/>
                  <a:gd name="connsiteY324" fmla="*/ 133187 h 149853"/>
                  <a:gd name="connsiteX325" fmla="*/ 189401 w 201674"/>
                  <a:gd name="connsiteY325" fmla="*/ 131975 h 149853"/>
                  <a:gd name="connsiteX326" fmla="*/ 190916 w 201674"/>
                  <a:gd name="connsiteY326" fmla="*/ 128793 h 149853"/>
                  <a:gd name="connsiteX327" fmla="*/ 192128 w 201674"/>
                  <a:gd name="connsiteY327" fmla="*/ 127580 h 149853"/>
                  <a:gd name="connsiteX328" fmla="*/ 192734 w 201674"/>
                  <a:gd name="connsiteY328" fmla="*/ 126217 h 149853"/>
                  <a:gd name="connsiteX329" fmla="*/ 192432 w 201674"/>
                  <a:gd name="connsiteY329" fmla="*/ 124399 h 149853"/>
                  <a:gd name="connsiteX330" fmla="*/ 191674 w 201674"/>
                  <a:gd name="connsiteY330" fmla="*/ 123792 h 149853"/>
                  <a:gd name="connsiteX331" fmla="*/ 190462 w 201674"/>
                  <a:gd name="connsiteY331" fmla="*/ 123944 h 149853"/>
                  <a:gd name="connsiteX332" fmla="*/ 189098 w 201674"/>
                  <a:gd name="connsiteY332" fmla="*/ 123489 h 149853"/>
                  <a:gd name="connsiteX333" fmla="*/ 186977 w 201674"/>
                  <a:gd name="connsiteY333" fmla="*/ 122429 h 149853"/>
                  <a:gd name="connsiteX334" fmla="*/ 185916 w 201674"/>
                  <a:gd name="connsiteY334" fmla="*/ 121520 h 149853"/>
                  <a:gd name="connsiteX335" fmla="*/ 186219 w 201674"/>
                  <a:gd name="connsiteY335" fmla="*/ 117277 h 149853"/>
                  <a:gd name="connsiteX336" fmla="*/ 186522 w 201674"/>
                  <a:gd name="connsiteY336" fmla="*/ 115913 h 149853"/>
                  <a:gd name="connsiteX337" fmla="*/ 187128 w 201674"/>
                  <a:gd name="connsiteY337" fmla="*/ 115156 h 149853"/>
                  <a:gd name="connsiteX338" fmla="*/ 188340 w 201674"/>
                  <a:gd name="connsiteY338" fmla="*/ 115004 h 149853"/>
                  <a:gd name="connsiteX339" fmla="*/ 191522 w 201674"/>
                  <a:gd name="connsiteY339" fmla="*/ 114853 h 149853"/>
                  <a:gd name="connsiteX340" fmla="*/ 194250 w 201674"/>
                  <a:gd name="connsiteY340" fmla="*/ 115307 h 149853"/>
                  <a:gd name="connsiteX341" fmla="*/ 196522 w 201674"/>
                  <a:gd name="connsiteY341" fmla="*/ 115610 h 149853"/>
                  <a:gd name="connsiteX342" fmla="*/ 197734 w 201674"/>
                  <a:gd name="connsiteY342" fmla="*/ 115610 h 149853"/>
                  <a:gd name="connsiteX343" fmla="*/ 198795 w 201674"/>
                  <a:gd name="connsiteY343" fmla="*/ 116823 h 149853"/>
                  <a:gd name="connsiteX344" fmla="*/ 200008 w 201674"/>
                  <a:gd name="connsiteY344" fmla="*/ 118186 h 149853"/>
                  <a:gd name="connsiteX345" fmla="*/ 201220 w 201674"/>
                  <a:gd name="connsiteY345" fmla="*/ 118186 h 149853"/>
                  <a:gd name="connsiteX346" fmla="*/ 201674 w 201674"/>
                  <a:gd name="connsiteY346" fmla="*/ 117126 h 14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201674" h="149853">
                    <a:moveTo>
                      <a:pt x="201371" y="113035"/>
                    </a:moveTo>
                    <a:lnTo>
                      <a:pt x="200613" y="110762"/>
                    </a:lnTo>
                    <a:lnTo>
                      <a:pt x="198795" y="108640"/>
                    </a:lnTo>
                    <a:lnTo>
                      <a:pt x="194250" y="106822"/>
                    </a:lnTo>
                    <a:lnTo>
                      <a:pt x="194098" y="104398"/>
                    </a:lnTo>
                    <a:lnTo>
                      <a:pt x="194553" y="101670"/>
                    </a:lnTo>
                    <a:lnTo>
                      <a:pt x="195613" y="100610"/>
                    </a:lnTo>
                    <a:lnTo>
                      <a:pt x="198947" y="98792"/>
                    </a:lnTo>
                    <a:lnTo>
                      <a:pt x="198341" y="97882"/>
                    </a:lnTo>
                    <a:lnTo>
                      <a:pt x="197280" y="96822"/>
                    </a:lnTo>
                    <a:lnTo>
                      <a:pt x="195159" y="95913"/>
                    </a:lnTo>
                    <a:lnTo>
                      <a:pt x="195613" y="92579"/>
                    </a:lnTo>
                    <a:lnTo>
                      <a:pt x="195765" y="89700"/>
                    </a:lnTo>
                    <a:lnTo>
                      <a:pt x="193946" y="90003"/>
                    </a:lnTo>
                    <a:lnTo>
                      <a:pt x="192128" y="90155"/>
                    </a:lnTo>
                    <a:lnTo>
                      <a:pt x="190462" y="89246"/>
                    </a:lnTo>
                    <a:lnTo>
                      <a:pt x="189249" y="87427"/>
                    </a:lnTo>
                    <a:lnTo>
                      <a:pt x="188946" y="82579"/>
                    </a:lnTo>
                    <a:lnTo>
                      <a:pt x="188946" y="76821"/>
                    </a:lnTo>
                    <a:lnTo>
                      <a:pt x="188644" y="74397"/>
                    </a:lnTo>
                    <a:lnTo>
                      <a:pt x="189249" y="73033"/>
                    </a:lnTo>
                    <a:lnTo>
                      <a:pt x="190765" y="71821"/>
                    </a:lnTo>
                    <a:lnTo>
                      <a:pt x="192583" y="70154"/>
                    </a:lnTo>
                    <a:lnTo>
                      <a:pt x="193189" y="69094"/>
                    </a:lnTo>
                    <a:lnTo>
                      <a:pt x="193644" y="67275"/>
                    </a:lnTo>
                    <a:lnTo>
                      <a:pt x="193341" y="65912"/>
                    </a:lnTo>
                    <a:lnTo>
                      <a:pt x="192734" y="64851"/>
                    </a:lnTo>
                    <a:lnTo>
                      <a:pt x="186674" y="61518"/>
                    </a:lnTo>
                    <a:lnTo>
                      <a:pt x="185613" y="60305"/>
                    </a:lnTo>
                    <a:lnTo>
                      <a:pt x="184704" y="56669"/>
                    </a:lnTo>
                    <a:lnTo>
                      <a:pt x="184098" y="53032"/>
                    </a:lnTo>
                    <a:lnTo>
                      <a:pt x="184098" y="50911"/>
                    </a:lnTo>
                    <a:lnTo>
                      <a:pt x="184552" y="48941"/>
                    </a:lnTo>
                    <a:lnTo>
                      <a:pt x="184401" y="47577"/>
                    </a:lnTo>
                    <a:lnTo>
                      <a:pt x="183643" y="46366"/>
                    </a:lnTo>
                    <a:lnTo>
                      <a:pt x="181825" y="45305"/>
                    </a:lnTo>
                    <a:lnTo>
                      <a:pt x="180007" y="44850"/>
                    </a:lnTo>
                    <a:lnTo>
                      <a:pt x="177582" y="46214"/>
                    </a:lnTo>
                    <a:lnTo>
                      <a:pt x="176370" y="46517"/>
                    </a:lnTo>
                    <a:lnTo>
                      <a:pt x="175310" y="46366"/>
                    </a:lnTo>
                    <a:lnTo>
                      <a:pt x="174703" y="45911"/>
                    </a:lnTo>
                    <a:lnTo>
                      <a:pt x="174703" y="45153"/>
                    </a:lnTo>
                    <a:lnTo>
                      <a:pt x="177431" y="41214"/>
                    </a:lnTo>
                    <a:lnTo>
                      <a:pt x="178643" y="39699"/>
                    </a:lnTo>
                    <a:lnTo>
                      <a:pt x="180310" y="38335"/>
                    </a:lnTo>
                    <a:lnTo>
                      <a:pt x="181370" y="37729"/>
                    </a:lnTo>
                    <a:lnTo>
                      <a:pt x="181977" y="36820"/>
                    </a:lnTo>
                    <a:lnTo>
                      <a:pt x="181977" y="36062"/>
                    </a:lnTo>
                    <a:lnTo>
                      <a:pt x="181825" y="35456"/>
                    </a:lnTo>
                    <a:lnTo>
                      <a:pt x="180007" y="34850"/>
                    </a:lnTo>
                    <a:lnTo>
                      <a:pt x="177431" y="33032"/>
                    </a:lnTo>
                    <a:lnTo>
                      <a:pt x="175916" y="32729"/>
                    </a:lnTo>
                    <a:lnTo>
                      <a:pt x="174703" y="31971"/>
                    </a:lnTo>
                    <a:lnTo>
                      <a:pt x="173491" y="29092"/>
                    </a:lnTo>
                    <a:lnTo>
                      <a:pt x="172885" y="28637"/>
                    </a:lnTo>
                    <a:lnTo>
                      <a:pt x="171673" y="28335"/>
                    </a:lnTo>
                    <a:lnTo>
                      <a:pt x="170461" y="27577"/>
                    </a:lnTo>
                    <a:lnTo>
                      <a:pt x="170461" y="23940"/>
                    </a:lnTo>
                    <a:lnTo>
                      <a:pt x="170613" y="20758"/>
                    </a:lnTo>
                    <a:lnTo>
                      <a:pt x="167885" y="15607"/>
                    </a:lnTo>
                    <a:lnTo>
                      <a:pt x="166976" y="12425"/>
                    </a:lnTo>
                    <a:lnTo>
                      <a:pt x="165612" y="9091"/>
                    </a:lnTo>
                    <a:lnTo>
                      <a:pt x="164400" y="7425"/>
                    </a:lnTo>
                    <a:lnTo>
                      <a:pt x="162279" y="6212"/>
                    </a:lnTo>
                    <a:lnTo>
                      <a:pt x="159703" y="5303"/>
                    </a:lnTo>
                    <a:lnTo>
                      <a:pt x="157430" y="5000"/>
                    </a:lnTo>
                    <a:lnTo>
                      <a:pt x="155612" y="5303"/>
                    </a:lnTo>
                    <a:lnTo>
                      <a:pt x="154703" y="5758"/>
                    </a:lnTo>
                    <a:lnTo>
                      <a:pt x="154854" y="6364"/>
                    </a:lnTo>
                    <a:lnTo>
                      <a:pt x="156218" y="8485"/>
                    </a:lnTo>
                    <a:lnTo>
                      <a:pt x="156521" y="9697"/>
                    </a:lnTo>
                    <a:lnTo>
                      <a:pt x="156218" y="10758"/>
                    </a:lnTo>
                    <a:lnTo>
                      <a:pt x="155763" y="11516"/>
                    </a:lnTo>
                    <a:lnTo>
                      <a:pt x="154551" y="11667"/>
                    </a:lnTo>
                    <a:lnTo>
                      <a:pt x="152278" y="12273"/>
                    </a:lnTo>
                    <a:lnTo>
                      <a:pt x="149551" y="13637"/>
                    </a:lnTo>
                    <a:lnTo>
                      <a:pt x="147581" y="14698"/>
                    </a:lnTo>
                    <a:lnTo>
                      <a:pt x="146066" y="17425"/>
                    </a:lnTo>
                    <a:lnTo>
                      <a:pt x="145005" y="17728"/>
                    </a:lnTo>
                    <a:lnTo>
                      <a:pt x="143187" y="17425"/>
                    </a:lnTo>
                    <a:lnTo>
                      <a:pt x="137884" y="15455"/>
                    </a:lnTo>
                    <a:lnTo>
                      <a:pt x="133641" y="13637"/>
                    </a:lnTo>
                    <a:lnTo>
                      <a:pt x="130763" y="12728"/>
                    </a:lnTo>
                    <a:lnTo>
                      <a:pt x="128944" y="13334"/>
                    </a:lnTo>
                    <a:lnTo>
                      <a:pt x="128035" y="13637"/>
                    </a:lnTo>
                    <a:lnTo>
                      <a:pt x="125459" y="14698"/>
                    </a:lnTo>
                    <a:lnTo>
                      <a:pt x="122126" y="18789"/>
                    </a:lnTo>
                    <a:lnTo>
                      <a:pt x="121217" y="20152"/>
                    </a:lnTo>
                    <a:lnTo>
                      <a:pt x="120610" y="20607"/>
                    </a:lnTo>
                    <a:lnTo>
                      <a:pt x="119701" y="21364"/>
                    </a:lnTo>
                    <a:lnTo>
                      <a:pt x="118792" y="21364"/>
                    </a:lnTo>
                    <a:lnTo>
                      <a:pt x="118035" y="20910"/>
                    </a:lnTo>
                    <a:lnTo>
                      <a:pt x="117883" y="20607"/>
                    </a:lnTo>
                    <a:lnTo>
                      <a:pt x="116217" y="17576"/>
                    </a:lnTo>
                    <a:lnTo>
                      <a:pt x="114247" y="14395"/>
                    </a:lnTo>
                    <a:lnTo>
                      <a:pt x="112731" y="12879"/>
                    </a:lnTo>
                    <a:lnTo>
                      <a:pt x="110762" y="12879"/>
                    </a:lnTo>
                    <a:lnTo>
                      <a:pt x="109095" y="13940"/>
                    </a:lnTo>
                    <a:lnTo>
                      <a:pt x="107277" y="15910"/>
                    </a:lnTo>
                    <a:lnTo>
                      <a:pt x="105155" y="17880"/>
                    </a:lnTo>
                    <a:lnTo>
                      <a:pt x="103792" y="18486"/>
                    </a:lnTo>
                    <a:lnTo>
                      <a:pt x="102579" y="18183"/>
                    </a:lnTo>
                    <a:lnTo>
                      <a:pt x="99549" y="15758"/>
                    </a:lnTo>
                    <a:lnTo>
                      <a:pt x="97428" y="13940"/>
                    </a:lnTo>
                    <a:lnTo>
                      <a:pt x="97125" y="13182"/>
                    </a:lnTo>
                    <a:lnTo>
                      <a:pt x="97882" y="11819"/>
                    </a:lnTo>
                    <a:lnTo>
                      <a:pt x="98640" y="9849"/>
                    </a:lnTo>
                    <a:lnTo>
                      <a:pt x="99398" y="8182"/>
                    </a:lnTo>
                    <a:lnTo>
                      <a:pt x="100155" y="7425"/>
                    </a:lnTo>
                    <a:lnTo>
                      <a:pt x="98337" y="7121"/>
                    </a:lnTo>
                    <a:lnTo>
                      <a:pt x="95155" y="6819"/>
                    </a:lnTo>
                    <a:lnTo>
                      <a:pt x="88791" y="7879"/>
                    </a:lnTo>
                    <a:lnTo>
                      <a:pt x="86518" y="7425"/>
                    </a:lnTo>
                    <a:lnTo>
                      <a:pt x="82276" y="7576"/>
                    </a:lnTo>
                    <a:lnTo>
                      <a:pt x="79397" y="8182"/>
                    </a:lnTo>
                    <a:lnTo>
                      <a:pt x="75458" y="9546"/>
                    </a:lnTo>
                    <a:lnTo>
                      <a:pt x="72579" y="9243"/>
                    </a:lnTo>
                    <a:lnTo>
                      <a:pt x="70912" y="8182"/>
                    </a:lnTo>
                    <a:lnTo>
                      <a:pt x="68942" y="8182"/>
                    </a:lnTo>
                    <a:lnTo>
                      <a:pt x="66518" y="7728"/>
                    </a:lnTo>
                    <a:lnTo>
                      <a:pt x="63942" y="6667"/>
                    </a:lnTo>
                    <a:lnTo>
                      <a:pt x="61669" y="6061"/>
                    </a:lnTo>
                    <a:lnTo>
                      <a:pt x="59245" y="4243"/>
                    </a:lnTo>
                    <a:lnTo>
                      <a:pt x="58032" y="3940"/>
                    </a:lnTo>
                    <a:lnTo>
                      <a:pt x="57275" y="4394"/>
                    </a:lnTo>
                    <a:lnTo>
                      <a:pt x="56517" y="5000"/>
                    </a:lnTo>
                    <a:lnTo>
                      <a:pt x="55760" y="5455"/>
                    </a:lnTo>
                    <a:lnTo>
                      <a:pt x="54396" y="5000"/>
                    </a:lnTo>
                    <a:lnTo>
                      <a:pt x="53941" y="3788"/>
                    </a:lnTo>
                    <a:lnTo>
                      <a:pt x="54396" y="2576"/>
                    </a:lnTo>
                    <a:lnTo>
                      <a:pt x="54548" y="1667"/>
                    </a:lnTo>
                    <a:lnTo>
                      <a:pt x="53790" y="1061"/>
                    </a:lnTo>
                    <a:lnTo>
                      <a:pt x="52275" y="909"/>
                    </a:lnTo>
                    <a:lnTo>
                      <a:pt x="49850" y="909"/>
                    </a:lnTo>
                    <a:lnTo>
                      <a:pt x="45911" y="606"/>
                    </a:lnTo>
                    <a:lnTo>
                      <a:pt x="45002" y="303"/>
                    </a:lnTo>
                    <a:lnTo>
                      <a:pt x="36214" y="0"/>
                    </a:lnTo>
                    <a:lnTo>
                      <a:pt x="36062" y="2273"/>
                    </a:lnTo>
                    <a:lnTo>
                      <a:pt x="37729" y="5455"/>
                    </a:lnTo>
                    <a:lnTo>
                      <a:pt x="37426" y="7728"/>
                    </a:lnTo>
                    <a:lnTo>
                      <a:pt x="36819" y="10000"/>
                    </a:lnTo>
                    <a:lnTo>
                      <a:pt x="36214" y="10910"/>
                    </a:lnTo>
                    <a:lnTo>
                      <a:pt x="35304" y="11364"/>
                    </a:lnTo>
                    <a:lnTo>
                      <a:pt x="32880" y="11364"/>
                    </a:lnTo>
                    <a:lnTo>
                      <a:pt x="31819" y="11819"/>
                    </a:lnTo>
                    <a:lnTo>
                      <a:pt x="30152" y="12728"/>
                    </a:lnTo>
                    <a:lnTo>
                      <a:pt x="30152" y="13637"/>
                    </a:lnTo>
                    <a:lnTo>
                      <a:pt x="31516" y="14698"/>
                    </a:lnTo>
                    <a:lnTo>
                      <a:pt x="32577" y="16061"/>
                    </a:lnTo>
                    <a:lnTo>
                      <a:pt x="33789" y="17122"/>
                    </a:lnTo>
                    <a:lnTo>
                      <a:pt x="35910" y="18334"/>
                    </a:lnTo>
                    <a:lnTo>
                      <a:pt x="36214" y="19698"/>
                    </a:lnTo>
                    <a:lnTo>
                      <a:pt x="36214" y="23183"/>
                    </a:lnTo>
                    <a:lnTo>
                      <a:pt x="36062" y="25910"/>
                    </a:lnTo>
                    <a:lnTo>
                      <a:pt x="30001" y="27880"/>
                    </a:lnTo>
                    <a:lnTo>
                      <a:pt x="25455" y="28183"/>
                    </a:lnTo>
                    <a:lnTo>
                      <a:pt x="21516" y="28031"/>
                    </a:lnTo>
                    <a:lnTo>
                      <a:pt x="19849" y="28789"/>
                    </a:lnTo>
                    <a:lnTo>
                      <a:pt x="16364" y="30759"/>
                    </a:lnTo>
                    <a:lnTo>
                      <a:pt x="12273" y="32123"/>
                    </a:lnTo>
                    <a:lnTo>
                      <a:pt x="10152" y="32123"/>
                    </a:lnTo>
                    <a:lnTo>
                      <a:pt x="9091" y="32880"/>
                    </a:lnTo>
                    <a:lnTo>
                      <a:pt x="7424" y="35001"/>
                    </a:lnTo>
                    <a:lnTo>
                      <a:pt x="2879" y="44093"/>
                    </a:lnTo>
                    <a:lnTo>
                      <a:pt x="1364" y="46366"/>
                    </a:lnTo>
                    <a:lnTo>
                      <a:pt x="303" y="47729"/>
                    </a:lnTo>
                    <a:lnTo>
                      <a:pt x="0" y="50760"/>
                    </a:lnTo>
                    <a:lnTo>
                      <a:pt x="1061" y="51517"/>
                    </a:lnTo>
                    <a:lnTo>
                      <a:pt x="2122" y="51517"/>
                    </a:lnTo>
                    <a:lnTo>
                      <a:pt x="3485" y="47577"/>
                    </a:lnTo>
                    <a:lnTo>
                      <a:pt x="4545" y="46972"/>
                    </a:lnTo>
                    <a:lnTo>
                      <a:pt x="5910" y="47123"/>
                    </a:lnTo>
                    <a:lnTo>
                      <a:pt x="7576" y="48032"/>
                    </a:lnTo>
                    <a:lnTo>
                      <a:pt x="8031" y="50002"/>
                    </a:lnTo>
                    <a:lnTo>
                      <a:pt x="9849" y="53184"/>
                    </a:lnTo>
                    <a:lnTo>
                      <a:pt x="10303" y="54699"/>
                    </a:lnTo>
                    <a:lnTo>
                      <a:pt x="12576" y="52578"/>
                    </a:lnTo>
                    <a:lnTo>
                      <a:pt x="12728" y="53487"/>
                    </a:lnTo>
                    <a:lnTo>
                      <a:pt x="11970" y="56669"/>
                    </a:lnTo>
                    <a:lnTo>
                      <a:pt x="12121" y="58487"/>
                    </a:lnTo>
                    <a:lnTo>
                      <a:pt x="17122" y="66821"/>
                    </a:lnTo>
                    <a:lnTo>
                      <a:pt x="24092" y="70154"/>
                    </a:lnTo>
                    <a:lnTo>
                      <a:pt x="26364" y="70154"/>
                    </a:lnTo>
                    <a:lnTo>
                      <a:pt x="27577" y="69700"/>
                    </a:lnTo>
                    <a:lnTo>
                      <a:pt x="27880" y="70457"/>
                    </a:lnTo>
                    <a:lnTo>
                      <a:pt x="28183" y="72275"/>
                    </a:lnTo>
                    <a:lnTo>
                      <a:pt x="30001" y="74548"/>
                    </a:lnTo>
                    <a:lnTo>
                      <a:pt x="33638" y="76670"/>
                    </a:lnTo>
                    <a:lnTo>
                      <a:pt x="35456" y="77124"/>
                    </a:lnTo>
                    <a:lnTo>
                      <a:pt x="36668" y="75760"/>
                    </a:lnTo>
                    <a:lnTo>
                      <a:pt x="37274" y="75609"/>
                    </a:lnTo>
                    <a:lnTo>
                      <a:pt x="36971" y="77730"/>
                    </a:lnTo>
                    <a:lnTo>
                      <a:pt x="38183" y="79700"/>
                    </a:lnTo>
                    <a:lnTo>
                      <a:pt x="38183" y="83488"/>
                    </a:lnTo>
                    <a:lnTo>
                      <a:pt x="37274" y="86367"/>
                    </a:lnTo>
                    <a:lnTo>
                      <a:pt x="40607" y="86215"/>
                    </a:lnTo>
                    <a:lnTo>
                      <a:pt x="44244" y="89549"/>
                    </a:lnTo>
                    <a:lnTo>
                      <a:pt x="45002" y="91216"/>
                    </a:lnTo>
                    <a:lnTo>
                      <a:pt x="45305" y="92428"/>
                    </a:lnTo>
                    <a:lnTo>
                      <a:pt x="48032" y="95004"/>
                    </a:lnTo>
                    <a:lnTo>
                      <a:pt x="48790" y="96367"/>
                    </a:lnTo>
                    <a:lnTo>
                      <a:pt x="47881" y="98943"/>
                    </a:lnTo>
                    <a:lnTo>
                      <a:pt x="48183" y="99701"/>
                    </a:lnTo>
                    <a:lnTo>
                      <a:pt x="49699" y="99095"/>
                    </a:lnTo>
                    <a:lnTo>
                      <a:pt x="51214" y="99398"/>
                    </a:lnTo>
                    <a:lnTo>
                      <a:pt x="52578" y="99701"/>
                    </a:lnTo>
                    <a:lnTo>
                      <a:pt x="54093" y="99095"/>
                    </a:lnTo>
                    <a:lnTo>
                      <a:pt x="55305" y="98186"/>
                    </a:lnTo>
                    <a:lnTo>
                      <a:pt x="56214" y="96973"/>
                    </a:lnTo>
                    <a:lnTo>
                      <a:pt x="57275" y="93791"/>
                    </a:lnTo>
                    <a:lnTo>
                      <a:pt x="60760" y="92731"/>
                    </a:lnTo>
                    <a:lnTo>
                      <a:pt x="62881" y="90761"/>
                    </a:lnTo>
                    <a:lnTo>
                      <a:pt x="64699" y="87731"/>
                    </a:lnTo>
                    <a:lnTo>
                      <a:pt x="65608" y="85609"/>
                    </a:lnTo>
                    <a:lnTo>
                      <a:pt x="66518" y="84549"/>
                    </a:lnTo>
                    <a:lnTo>
                      <a:pt x="66972" y="83639"/>
                    </a:lnTo>
                    <a:lnTo>
                      <a:pt x="67427" y="82579"/>
                    </a:lnTo>
                    <a:lnTo>
                      <a:pt x="68184" y="81670"/>
                    </a:lnTo>
                    <a:lnTo>
                      <a:pt x="69093" y="79397"/>
                    </a:lnTo>
                    <a:lnTo>
                      <a:pt x="69700" y="77427"/>
                    </a:lnTo>
                    <a:lnTo>
                      <a:pt x="71821" y="76367"/>
                    </a:lnTo>
                    <a:lnTo>
                      <a:pt x="75912" y="75609"/>
                    </a:lnTo>
                    <a:lnTo>
                      <a:pt x="79548" y="76973"/>
                    </a:lnTo>
                    <a:lnTo>
                      <a:pt x="85609" y="75760"/>
                    </a:lnTo>
                    <a:lnTo>
                      <a:pt x="85912" y="73791"/>
                    </a:lnTo>
                    <a:lnTo>
                      <a:pt x="91367" y="73791"/>
                    </a:lnTo>
                    <a:lnTo>
                      <a:pt x="97882" y="73791"/>
                    </a:lnTo>
                    <a:lnTo>
                      <a:pt x="103337" y="73639"/>
                    </a:lnTo>
                    <a:lnTo>
                      <a:pt x="105155" y="74245"/>
                    </a:lnTo>
                    <a:lnTo>
                      <a:pt x="105913" y="75609"/>
                    </a:lnTo>
                    <a:lnTo>
                      <a:pt x="107732" y="77882"/>
                    </a:lnTo>
                    <a:lnTo>
                      <a:pt x="109550" y="79548"/>
                    </a:lnTo>
                    <a:lnTo>
                      <a:pt x="111822" y="82882"/>
                    </a:lnTo>
                    <a:lnTo>
                      <a:pt x="114550" y="86822"/>
                    </a:lnTo>
                    <a:lnTo>
                      <a:pt x="117429" y="90458"/>
                    </a:lnTo>
                    <a:lnTo>
                      <a:pt x="119247" y="92428"/>
                    </a:lnTo>
                    <a:lnTo>
                      <a:pt x="119550" y="93185"/>
                    </a:lnTo>
                    <a:lnTo>
                      <a:pt x="119398" y="93943"/>
                    </a:lnTo>
                    <a:lnTo>
                      <a:pt x="118489" y="95761"/>
                    </a:lnTo>
                    <a:lnTo>
                      <a:pt x="117731" y="97731"/>
                    </a:lnTo>
                    <a:lnTo>
                      <a:pt x="117731" y="98488"/>
                    </a:lnTo>
                    <a:lnTo>
                      <a:pt x="118338" y="98792"/>
                    </a:lnTo>
                    <a:lnTo>
                      <a:pt x="121368" y="99398"/>
                    </a:lnTo>
                    <a:lnTo>
                      <a:pt x="121671" y="101670"/>
                    </a:lnTo>
                    <a:lnTo>
                      <a:pt x="121671" y="104701"/>
                    </a:lnTo>
                    <a:lnTo>
                      <a:pt x="123186" y="107580"/>
                    </a:lnTo>
                    <a:lnTo>
                      <a:pt x="124550" y="109550"/>
                    </a:lnTo>
                    <a:lnTo>
                      <a:pt x="124398" y="110307"/>
                    </a:lnTo>
                    <a:lnTo>
                      <a:pt x="121065" y="113944"/>
                    </a:lnTo>
                    <a:lnTo>
                      <a:pt x="119701" y="117429"/>
                    </a:lnTo>
                    <a:lnTo>
                      <a:pt x="118944" y="118489"/>
                    </a:lnTo>
                    <a:lnTo>
                      <a:pt x="118792" y="119247"/>
                    </a:lnTo>
                    <a:lnTo>
                      <a:pt x="119398" y="119550"/>
                    </a:lnTo>
                    <a:lnTo>
                      <a:pt x="120308" y="119398"/>
                    </a:lnTo>
                    <a:lnTo>
                      <a:pt x="121671" y="119701"/>
                    </a:lnTo>
                    <a:lnTo>
                      <a:pt x="122884" y="119853"/>
                    </a:lnTo>
                    <a:lnTo>
                      <a:pt x="124702" y="118489"/>
                    </a:lnTo>
                    <a:lnTo>
                      <a:pt x="127429" y="115307"/>
                    </a:lnTo>
                    <a:lnTo>
                      <a:pt x="128338" y="114853"/>
                    </a:lnTo>
                    <a:lnTo>
                      <a:pt x="130460" y="115156"/>
                    </a:lnTo>
                    <a:lnTo>
                      <a:pt x="131823" y="115004"/>
                    </a:lnTo>
                    <a:lnTo>
                      <a:pt x="134248" y="114247"/>
                    </a:lnTo>
                    <a:lnTo>
                      <a:pt x="135611" y="114550"/>
                    </a:lnTo>
                    <a:lnTo>
                      <a:pt x="136217" y="115762"/>
                    </a:lnTo>
                    <a:lnTo>
                      <a:pt x="136520" y="116671"/>
                    </a:lnTo>
                    <a:lnTo>
                      <a:pt x="143490" y="114247"/>
                    </a:lnTo>
                    <a:lnTo>
                      <a:pt x="144248" y="113641"/>
                    </a:lnTo>
                    <a:lnTo>
                      <a:pt x="144551" y="113792"/>
                    </a:lnTo>
                    <a:lnTo>
                      <a:pt x="145460" y="116065"/>
                    </a:lnTo>
                    <a:lnTo>
                      <a:pt x="145915" y="115913"/>
                    </a:lnTo>
                    <a:lnTo>
                      <a:pt x="146369" y="115156"/>
                    </a:lnTo>
                    <a:lnTo>
                      <a:pt x="146824" y="115156"/>
                    </a:lnTo>
                    <a:lnTo>
                      <a:pt x="147430" y="115459"/>
                    </a:lnTo>
                    <a:lnTo>
                      <a:pt x="148036" y="116519"/>
                    </a:lnTo>
                    <a:lnTo>
                      <a:pt x="148945" y="117429"/>
                    </a:lnTo>
                    <a:lnTo>
                      <a:pt x="150460" y="118035"/>
                    </a:lnTo>
                    <a:lnTo>
                      <a:pt x="151369" y="118944"/>
                    </a:lnTo>
                    <a:lnTo>
                      <a:pt x="151218" y="121368"/>
                    </a:lnTo>
                    <a:lnTo>
                      <a:pt x="151672" y="123641"/>
                    </a:lnTo>
                    <a:lnTo>
                      <a:pt x="152278" y="124095"/>
                    </a:lnTo>
                    <a:lnTo>
                      <a:pt x="152733" y="125459"/>
                    </a:lnTo>
                    <a:lnTo>
                      <a:pt x="152884" y="126974"/>
                    </a:lnTo>
                    <a:lnTo>
                      <a:pt x="153188" y="127732"/>
                    </a:lnTo>
                    <a:lnTo>
                      <a:pt x="153491" y="129247"/>
                    </a:lnTo>
                    <a:lnTo>
                      <a:pt x="153339" y="130914"/>
                    </a:lnTo>
                    <a:lnTo>
                      <a:pt x="153642" y="132126"/>
                    </a:lnTo>
                    <a:lnTo>
                      <a:pt x="154703" y="134096"/>
                    </a:lnTo>
                    <a:lnTo>
                      <a:pt x="155460" y="136520"/>
                    </a:lnTo>
                    <a:lnTo>
                      <a:pt x="155460" y="138338"/>
                    </a:lnTo>
                    <a:lnTo>
                      <a:pt x="155006" y="140157"/>
                    </a:lnTo>
                    <a:lnTo>
                      <a:pt x="154248" y="141823"/>
                    </a:lnTo>
                    <a:lnTo>
                      <a:pt x="153036" y="143642"/>
                    </a:lnTo>
                    <a:lnTo>
                      <a:pt x="152884" y="144399"/>
                    </a:lnTo>
                    <a:lnTo>
                      <a:pt x="153642" y="144854"/>
                    </a:lnTo>
                    <a:lnTo>
                      <a:pt x="154854" y="145005"/>
                    </a:lnTo>
                    <a:lnTo>
                      <a:pt x="155915" y="144551"/>
                    </a:lnTo>
                    <a:lnTo>
                      <a:pt x="158339" y="145460"/>
                    </a:lnTo>
                    <a:lnTo>
                      <a:pt x="159703" y="146672"/>
                    </a:lnTo>
                    <a:lnTo>
                      <a:pt x="160915" y="148187"/>
                    </a:lnTo>
                    <a:lnTo>
                      <a:pt x="161824" y="148945"/>
                    </a:lnTo>
                    <a:lnTo>
                      <a:pt x="162430" y="149854"/>
                    </a:lnTo>
                    <a:lnTo>
                      <a:pt x="164097" y="149551"/>
                    </a:lnTo>
                    <a:lnTo>
                      <a:pt x="166218" y="148642"/>
                    </a:lnTo>
                    <a:lnTo>
                      <a:pt x="166673" y="148187"/>
                    </a:lnTo>
                    <a:lnTo>
                      <a:pt x="167279" y="148490"/>
                    </a:lnTo>
                    <a:lnTo>
                      <a:pt x="168643" y="148642"/>
                    </a:lnTo>
                    <a:lnTo>
                      <a:pt x="169552" y="146975"/>
                    </a:lnTo>
                    <a:lnTo>
                      <a:pt x="170309" y="145005"/>
                    </a:lnTo>
                    <a:lnTo>
                      <a:pt x="171825" y="143036"/>
                    </a:lnTo>
                    <a:lnTo>
                      <a:pt x="172734" y="142278"/>
                    </a:lnTo>
                    <a:lnTo>
                      <a:pt x="172885" y="140914"/>
                    </a:lnTo>
                    <a:lnTo>
                      <a:pt x="173037" y="139248"/>
                    </a:lnTo>
                    <a:lnTo>
                      <a:pt x="173491" y="137732"/>
                    </a:lnTo>
                    <a:lnTo>
                      <a:pt x="174855" y="136975"/>
                    </a:lnTo>
                    <a:lnTo>
                      <a:pt x="176370" y="136975"/>
                    </a:lnTo>
                    <a:lnTo>
                      <a:pt x="177128" y="137278"/>
                    </a:lnTo>
                    <a:lnTo>
                      <a:pt x="177431" y="138642"/>
                    </a:lnTo>
                    <a:lnTo>
                      <a:pt x="178643" y="139702"/>
                    </a:lnTo>
                    <a:lnTo>
                      <a:pt x="179552" y="140460"/>
                    </a:lnTo>
                    <a:lnTo>
                      <a:pt x="181219" y="139248"/>
                    </a:lnTo>
                    <a:lnTo>
                      <a:pt x="183340" y="139551"/>
                    </a:lnTo>
                    <a:lnTo>
                      <a:pt x="186522" y="140611"/>
                    </a:lnTo>
                    <a:lnTo>
                      <a:pt x="187280" y="139551"/>
                    </a:lnTo>
                    <a:lnTo>
                      <a:pt x="189704" y="135005"/>
                    </a:lnTo>
                    <a:lnTo>
                      <a:pt x="189704" y="133187"/>
                    </a:lnTo>
                    <a:lnTo>
                      <a:pt x="189401" y="131975"/>
                    </a:lnTo>
                    <a:lnTo>
                      <a:pt x="190916" y="128793"/>
                    </a:lnTo>
                    <a:lnTo>
                      <a:pt x="192128" y="127580"/>
                    </a:lnTo>
                    <a:lnTo>
                      <a:pt x="192734" y="126217"/>
                    </a:lnTo>
                    <a:lnTo>
                      <a:pt x="192432" y="124399"/>
                    </a:lnTo>
                    <a:lnTo>
                      <a:pt x="191674" y="123792"/>
                    </a:lnTo>
                    <a:lnTo>
                      <a:pt x="190462" y="123944"/>
                    </a:lnTo>
                    <a:lnTo>
                      <a:pt x="189098" y="123489"/>
                    </a:lnTo>
                    <a:lnTo>
                      <a:pt x="186977" y="122429"/>
                    </a:lnTo>
                    <a:lnTo>
                      <a:pt x="185916" y="121520"/>
                    </a:lnTo>
                    <a:lnTo>
                      <a:pt x="186219" y="117277"/>
                    </a:lnTo>
                    <a:lnTo>
                      <a:pt x="186522" y="115913"/>
                    </a:lnTo>
                    <a:lnTo>
                      <a:pt x="187128" y="115156"/>
                    </a:lnTo>
                    <a:lnTo>
                      <a:pt x="188340" y="115004"/>
                    </a:lnTo>
                    <a:lnTo>
                      <a:pt x="191522" y="114853"/>
                    </a:lnTo>
                    <a:lnTo>
                      <a:pt x="194250" y="115307"/>
                    </a:lnTo>
                    <a:lnTo>
                      <a:pt x="196522" y="115610"/>
                    </a:lnTo>
                    <a:lnTo>
                      <a:pt x="197734" y="115610"/>
                    </a:lnTo>
                    <a:lnTo>
                      <a:pt x="198795" y="116823"/>
                    </a:lnTo>
                    <a:lnTo>
                      <a:pt x="200008" y="118186"/>
                    </a:lnTo>
                    <a:lnTo>
                      <a:pt x="201220" y="118186"/>
                    </a:lnTo>
                    <a:lnTo>
                      <a:pt x="201674" y="11712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8" name="Freeform: Shape 3277">
                <a:extLst>
                  <a:ext uri="{FF2B5EF4-FFF2-40B4-BE49-F238E27FC236}">
                    <a16:creationId xmlns:a16="http://schemas.microsoft.com/office/drawing/2014/main" id="{F8BCFACD-6975-4360-AE6C-CA7E5AB3C962}"/>
                  </a:ext>
                </a:extLst>
              </p:cNvPr>
              <p:cNvSpPr/>
              <p:nvPr/>
            </p:nvSpPr>
            <p:spPr>
              <a:xfrm>
                <a:off x="5316880" y="4184252"/>
                <a:ext cx="81972" cy="20758"/>
              </a:xfrm>
              <a:custGeom>
                <a:avLst/>
                <a:gdLst>
                  <a:gd name="connsiteX0" fmla="*/ 81215 w 81972"/>
                  <a:gd name="connsiteY0" fmla="*/ 9243 h 20758"/>
                  <a:gd name="connsiteX1" fmla="*/ 77882 w 81972"/>
                  <a:gd name="connsiteY1" fmla="*/ 7425 h 20758"/>
                  <a:gd name="connsiteX2" fmla="*/ 73185 w 81972"/>
                  <a:gd name="connsiteY2" fmla="*/ 7728 h 20758"/>
                  <a:gd name="connsiteX3" fmla="*/ 71821 w 81972"/>
                  <a:gd name="connsiteY3" fmla="*/ 8182 h 20758"/>
                  <a:gd name="connsiteX4" fmla="*/ 69700 w 81972"/>
                  <a:gd name="connsiteY4" fmla="*/ 8788 h 20758"/>
                  <a:gd name="connsiteX5" fmla="*/ 68336 w 81972"/>
                  <a:gd name="connsiteY5" fmla="*/ 8940 h 20758"/>
                  <a:gd name="connsiteX6" fmla="*/ 66215 w 81972"/>
                  <a:gd name="connsiteY6" fmla="*/ 8637 h 20758"/>
                  <a:gd name="connsiteX7" fmla="*/ 63336 w 81972"/>
                  <a:gd name="connsiteY7" fmla="*/ 6970 h 20758"/>
                  <a:gd name="connsiteX8" fmla="*/ 61669 w 81972"/>
                  <a:gd name="connsiteY8" fmla="*/ 5455 h 20758"/>
                  <a:gd name="connsiteX9" fmla="*/ 59245 w 81972"/>
                  <a:gd name="connsiteY9" fmla="*/ 4697 h 20758"/>
                  <a:gd name="connsiteX10" fmla="*/ 56366 w 81972"/>
                  <a:gd name="connsiteY10" fmla="*/ 3940 h 20758"/>
                  <a:gd name="connsiteX11" fmla="*/ 51669 w 81972"/>
                  <a:gd name="connsiteY11" fmla="*/ 758 h 20758"/>
                  <a:gd name="connsiteX12" fmla="*/ 49244 w 81972"/>
                  <a:gd name="connsiteY12" fmla="*/ 152 h 20758"/>
                  <a:gd name="connsiteX13" fmla="*/ 46972 w 81972"/>
                  <a:gd name="connsiteY13" fmla="*/ 0 h 20758"/>
                  <a:gd name="connsiteX14" fmla="*/ 42578 w 81972"/>
                  <a:gd name="connsiteY14" fmla="*/ 606 h 20758"/>
                  <a:gd name="connsiteX15" fmla="*/ 38184 w 81972"/>
                  <a:gd name="connsiteY15" fmla="*/ 2424 h 20758"/>
                  <a:gd name="connsiteX16" fmla="*/ 35911 w 81972"/>
                  <a:gd name="connsiteY16" fmla="*/ 6212 h 20758"/>
                  <a:gd name="connsiteX17" fmla="*/ 31668 w 81972"/>
                  <a:gd name="connsiteY17" fmla="*/ 6212 h 20758"/>
                  <a:gd name="connsiteX18" fmla="*/ 22425 w 81972"/>
                  <a:gd name="connsiteY18" fmla="*/ 6061 h 20758"/>
                  <a:gd name="connsiteX19" fmla="*/ 14092 w 81972"/>
                  <a:gd name="connsiteY19" fmla="*/ 6061 h 20758"/>
                  <a:gd name="connsiteX20" fmla="*/ 7121 w 81972"/>
                  <a:gd name="connsiteY20" fmla="*/ 6212 h 20758"/>
                  <a:gd name="connsiteX21" fmla="*/ 8031 w 81972"/>
                  <a:gd name="connsiteY21" fmla="*/ 9849 h 20758"/>
                  <a:gd name="connsiteX22" fmla="*/ 10455 w 81972"/>
                  <a:gd name="connsiteY22" fmla="*/ 12728 h 20758"/>
                  <a:gd name="connsiteX23" fmla="*/ 12879 w 81972"/>
                  <a:gd name="connsiteY23" fmla="*/ 13031 h 20758"/>
                  <a:gd name="connsiteX24" fmla="*/ 18789 w 81972"/>
                  <a:gd name="connsiteY24" fmla="*/ 10152 h 20758"/>
                  <a:gd name="connsiteX25" fmla="*/ 26668 w 81972"/>
                  <a:gd name="connsiteY25" fmla="*/ 9849 h 20758"/>
                  <a:gd name="connsiteX26" fmla="*/ 34244 w 81972"/>
                  <a:gd name="connsiteY26" fmla="*/ 8637 h 20758"/>
                  <a:gd name="connsiteX27" fmla="*/ 37880 w 81972"/>
                  <a:gd name="connsiteY27" fmla="*/ 9091 h 20758"/>
                  <a:gd name="connsiteX28" fmla="*/ 38184 w 81972"/>
                  <a:gd name="connsiteY28" fmla="*/ 9546 h 20758"/>
                  <a:gd name="connsiteX29" fmla="*/ 36971 w 81972"/>
                  <a:gd name="connsiteY29" fmla="*/ 9849 h 20758"/>
                  <a:gd name="connsiteX30" fmla="*/ 33032 w 81972"/>
                  <a:gd name="connsiteY30" fmla="*/ 9849 h 20758"/>
                  <a:gd name="connsiteX31" fmla="*/ 27880 w 81972"/>
                  <a:gd name="connsiteY31" fmla="*/ 10758 h 20758"/>
                  <a:gd name="connsiteX32" fmla="*/ 22880 w 81972"/>
                  <a:gd name="connsiteY32" fmla="*/ 11213 h 20758"/>
                  <a:gd name="connsiteX33" fmla="*/ 18183 w 81972"/>
                  <a:gd name="connsiteY33" fmla="*/ 11819 h 20758"/>
                  <a:gd name="connsiteX34" fmla="*/ 17425 w 81972"/>
                  <a:gd name="connsiteY34" fmla="*/ 13486 h 20758"/>
                  <a:gd name="connsiteX35" fmla="*/ 17425 w 81972"/>
                  <a:gd name="connsiteY35" fmla="*/ 14698 h 20758"/>
                  <a:gd name="connsiteX36" fmla="*/ 15152 w 81972"/>
                  <a:gd name="connsiteY36" fmla="*/ 14395 h 20758"/>
                  <a:gd name="connsiteX37" fmla="*/ 11213 w 81972"/>
                  <a:gd name="connsiteY37" fmla="*/ 15001 h 20758"/>
                  <a:gd name="connsiteX38" fmla="*/ 7273 w 81972"/>
                  <a:gd name="connsiteY38" fmla="*/ 14092 h 20758"/>
                  <a:gd name="connsiteX39" fmla="*/ 6212 w 81972"/>
                  <a:gd name="connsiteY39" fmla="*/ 12576 h 20758"/>
                  <a:gd name="connsiteX40" fmla="*/ 5758 w 81972"/>
                  <a:gd name="connsiteY40" fmla="*/ 10455 h 20758"/>
                  <a:gd name="connsiteX41" fmla="*/ 4243 w 81972"/>
                  <a:gd name="connsiteY41" fmla="*/ 9394 h 20758"/>
                  <a:gd name="connsiteX42" fmla="*/ 1970 w 81972"/>
                  <a:gd name="connsiteY42" fmla="*/ 10758 h 20758"/>
                  <a:gd name="connsiteX43" fmla="*/ 0 w 81972"/>
                  <a:gd name="connsiteY43" fmla="*/ 13031 h 20758"/>
                  <a:gd name="connsiteX44" fmla="*/ 1515 w 81972"/>
                  <a:gd name="connsiteY44" fmla="*/ 18334 h 20758"/>
                  <a:gd name="connsiteX45" fmla="*/ 1667 w 81972"/>
                  <a:gd name="connsiteY45" fmla="*/ 20758 h 20758"/>
                  <a:gd name="connsiteX46" fmla="*/ 3333 w 81972"/>
                  <a:gd name="connsiteY46" fmla="*/ 19243 h 20758"/>
                  <a:gd name="connsiteX47" fmla="*/ 4849 w 81972"/>
                  <a:gd name="connsiteY47" fmla="*/ 18183 h 20758"/>
                  <a:gd name="connsiteX48" fmla="*/ 10758 w 81972"/>
                  <a:gd name="connsiteY48" fmla="*/ 18183 h 20758"/>
                  <a:gd name="connsiteX49" fmla="*/ 16365 w 81972"/>
                  <a:gd name="connsiteY49" fmla="*/ 18031 h 20758"/>
                  <a:gd name="connsiteX50" fmla="*/ 21668 w 81972"/>
                  <a:gd name="connsiteY50" fmla="*/ 18183 h 20758"/>
                  <a:gd name="connsiteX51" fmla="*/ 27122 w 81972"/>
                  <a:gd name="connsiteY51" fmla="*/ 18183 h 20758"/>
                  <a:gd name="connsiteX52" fmla="*/ 27577 w 81972"/>
                  <a:gd name="connsiteY52" fmla="*/ 13486 h 20758"/>
                  <a:gd name="connsiteX53" fmla="*/ 29395 w 81972"/>
                  <a:gd name="connsiteY53" fmla="*/ 13182 h 20758"/>
                  <a:gd name="connsiteX54" fmla="*/ 31971 w 81972"/>
                  <a:gd name="connsiteY54" fmla="*/ 12728 h 20758"/>
                  <a:gd name="connsiteX55" fmla="*/ 36668 w 81972"/>
                  <a:gd name="connsiteY55" fmla="*/ 12122 h 20758"/>
                  <a:gd name="connsiteX56" fmla="*/ 42123 w 81972"/>
                  <a:gd name="connsiteY56" fmla="*/ 11516 h 20758"/>
                  <a:gd name="connsiteX57" fmla="*/ 43184 w 81972"/>
                  <a:gd name="connsiteY57" fmla="*/ 10607 h 20758"/>
                  <a:gd name="connsiteX58" fmla="*/ 44093 w 81972"/>
                  <a:gd name="connsiteY58" fmla="*/ 9091 h 20758"/>
                  <a:gd name="connsiteX59" fmla="*/ 44699 w 81972"/>
                  <a:gd name="connsiteY59" fmla="*/ 7728 h 20758"/>
                  <a:gd name="connsiteX60" fmla="*/ 45760 w 81972"/>
                  <a:gd name="connsiteY60" fmla="*/ 7121 h 20758"/>
                  <a:gd name="connsiteX61" fmla="*/ 47275 w 81972"/>
                  <a:gd name="connsiteY61" fmla="*/ 7576 h 20758"/>
                  <a:gd name="connsiteX62" fmla="*/ 49244 w 81972"/>
                  <a:gd name="connsiteY62" fmla="*/ 8334 h 20758"/>
                  <a:gd name="connsiteX63" fmla="*/ 51214 w 81972"/>
                  <a:gd name="connsiteY63" fmla="*/ 9394 h 20758"/>
                  <a:gd name="connsiteX64" fmla="*/ 53638 w 81972"/>
                  <a:gd name="connsiteY64" fmla="*/ 10455 h 20758"/>
                  <a:gd name="connsiteX65" fmla="*/ 55154 w 81972"/>
                  <a:gd name="connsiteY65" fmla="*/ 11061 h 20758"/>
                  <a:gd name="connsiteX66" fmla="*/ 58942 w 81972"/>
                  <a:gd name="connsiteY66" fmla="*/ 12728 h 20758"/>
                  <a:gd name="connsiteX67" fmla="*/ 65306 w 81972"/>
                  <a:gd name="connsiteY67" fmla="*/ 15001 h 20758"/>
                  <a:gd name="connsiteX68" fmla="*/ 70458 w 81972"/>
                  <a:gd name="connsiteY68" fmla="*/ 15910 h 20758"/>
                  <a:gd name="connsiteX69" fmla="*/ 76821 w 81972"/>
                  <a:gd name="connsiteY69" fmla="*/ 14243 h 20758"/>
                  <a:gd name="connsiteX70" fmla="*/ 81367 w 81972"/>
                  <a:gd name="connsiteY70" fmla="*/ 13182 h 20758"/>
                  <a:gd name="connsiteX71" fmla="*/ 81973 w 81972"/>
                  <a:gd name="connsiteY71" fmla="*/ 11213 h 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1972" h="20758">
                    <a:moveTo>
                      <a:pt x="81215" y="9243"/>
                    </a:moveTo>
                    <a:lnTo>
                      <a:pt x="77882" y="7425"/>
                    </a:lnTo>
                    <a:lnTo>
                      <a:pt x="73185" y="7728"/>
                    </a:lnTo>
                    <a:lnTo>
                      <a:pt x="71821" y="8182"/>
                    </a:lnTo>
                    <a:lnTo>
                      <a:pt x="69700" y="8788"/>
                    </a:lnTo>
                    <a:lnTo>
                      <a:pt x="68336" y="8940"/>
                    </a:lnTo>
                    <a:lnTo>
                      <a:pt x="66215" y="8637"/>
                    </a:lnTo>
                    <a:lnTo>
                      <a:pt x="63336" y="6970"/>
                    </a:lnTo>
                    <a:lnTo>
                      <a:pt x="61669" y="5455"/>
                    </a:lnTo>
                    <a:lnTo>
                      <a:pt x="59245" y="4697"/>
                    </a:lnTo>
                    <a:lnTo>
                      <a:pt x="56366" y="3940"/>
                    </a:lnTo>
                    <a:lnTo>
                      <a:pt x="51669" y="758"/>
                    </a:lnTo>
                    <a:lnTo>
                      <a:pt x="49244" y="152"/>
                    </a:lnTo>
                    <a:lnTo>
                      <a:pt x="46972" y="0"/>
                    </a:lnTo>
                    <a:lnTo>
                      <a:pt x="42578" y="606"/>
                    </a:lnTo>
                    <a:lnTo>
                      <a:pt x="38184" y="2424"/>
                    </a:lnTo>
                    <a:lnTo>
                      <a:pt x="35911" y="6212"/>
                    </a:lnTo>
                    <a:lnTo>
                      <a:pt x="31668" y="6212"/>
                    </a:lnTo>
                    <a:lnTo>
                      <a:pt x="22425" y="6061"/>
                    </a:lnTo>
                    <a:lnTo>
                      <a:pt x="14092" y="6061"/>
                    </a:lnTo>
                    <a:lnTo>
                      <a:pt x="7121" y="6212"/>
                    </a:lnTo>
                    <a:lnTo>
                      <a:pt x="8031" y="9849"/>
                    </a:lnTo>
                    <a:lnTo>
                      <a:pt x="10455" y="12728"/>
                    </a:lnTo>
                    <a:lnTo>
                      <a:pt x="12879" y="13031"/>
                    </a:lnTo>
                    <a:lnTo>
                      <a:pt x="18789" y="10152"/>
                    </a:lnTo>
                    <a:lnTo>
                      <a:pt x="26668" y="9849"/>
                    </a:lnTo>
                    <a:lnTo>
                      <a:pt x="34244" y="8637"/>
                    </a:lnTo>
                    <a:lnTo>
                      <a:pt x="37880" y="9091"/>
                    </a:lnTo>
                    <a:lnTo>
                      <a:pt x="38184" y="9546"/>
                    </a:lnTo>
                    <a:lnTo>
                      <a:pt x="36971" y="9849"/>
                    </a:lnTo>
                    <a:lnTo>
                      <a:pt x="33032" y="9849"/>
                    </a:lnTo>
                    <a:lnTo>
                      <a:pt x="27880" y="10758"/>
                    </a:lnTo>
                    <a:lnTo>
                      <a:pt x="22880" y="11213"/>
                    </a:lnTo>
                    <a:lnTo>
                      <a:pt x="18183" y="11819"/>
                    </a:lnTo>
                    <a:lnTo>
                      <a:pt x="17425" y="13486"/>
                    </a:lnTo>
                    <a:lnTo>
                      <a:pt x="17425" y="14698"/>
                    </a:lnTo>
                    <a:lnTo>
                      <a:pt x="15152" y="14395"/>
                    </a:lnTo>
                    <a:lnTo>
                      <a:pt x="11213" y="15001"/>
                    </a:lnTo>
                    <a:lnTo>
                      <a:pt x="7273" y="14092"/>
                    </a:lnTo>
                    <a:lnTo>
                      <a:pt x="6212" y="12576"/>
                    </a:lnTo>
                    <a:lnTo>
                      <a:pt x="5758" y="10455"/>
                    </a:lnTo>
                    <a:lnTo>
                      <a:pt x="4243" y="9394"/>
                    </a:lnTo>
                    <a:lnTo>
                      <a:pt x="1970" y="10758"/>
                    </a:lnTo>
                    <a:lnTo>
                      <a:pt x="0" y="13031"/>
                    </a:lnTo>
                    <a:lnTo>
                      <a:pt x="1515" y="18334"/>
                    </a:lnTo>
                    <a:lnTo>
                      <a:pt x="1667" y="20758"/>
                    </a:lnTo>
                    <a:lnTo>
                      <a:pt x="3333" y="19243"/>
                    </a:lnTo>
                    <a:lnTo>
                      <a:pt x="4849" y="18183"/>
                    </a:lnTo>
                    <a:lnTo>
                      <a:pt x="10758" y="18183"/>
                    </a:lnTo>
                    <a:lnTo>
                      <a:pt x="16365" y="18031"/>
                    </a:lnTo>
                    <a:lnTo>
                      <a:pt x="21668" y="18183"/>
                    </a:lnTo>
                    <a:lnTo>
                      <a:pt x="27122" y="18183"/>
                    </a:lnTo>
                    <a:lnTo>
                      <a:pt x="27577" y="13486"/>
                    </a:lnTo>
                    <a:lnTo>
                      <a:pt x="29395" y="13182"/>
                    </a:lnTo>
                    <a:lnTo>
                      <a:pt x="31971" y="12728"/>
                    </a:lnTo>
                    <a:lnTo>
                      <a:pt x="36668" y="12122"/>
                    </a:lnTo>
                    <a:lnTo>
                      <a:pt x="42123" y="11516"/>
                    </a:lnTo>
                    <a:lnTo>
                      <a:pt x="43184" y="10607"/>
                    </a:lnTo>
                    <a:lnTo>
                      <a:pt x="44093" y="9091"/>
                    </a:lnTo>
                    <a:lnTo>
                      <a:pt x="44699" y="7728"/>
                    </a:lnTo>
                    <a:lnTo>
                      <a:pt x="45760" y="7121"/>
                    </a:lnTo>
                    <a:lnTo>
                      <a:pt x="47275" y="7576"/>
                    </a:lnTo>
                    <a:lnTo>
                      <a:pt x="49244" y="8334"/>
                    </a:lnTo>
                    <a:lnTo>
                      <a:pt x="51214" y="9394"/>
                    </a:lnTo>
                    <a:lnTo>
                      <a:pt x="53638" y="10455"/>
                    </a:lnTo>
                    <a:lnTo>
                      <a:pt x="55154" y="11061"/>
                    </a:lnTo>
                    <a:lnTo>
                      <a:pt x="58942" y="12728"/>
                    </a:lnTo>
                    <a:lnTo>
                      <a:pt x="65306" y="15001"/>
                    </a:lnTo>
                    <a:lnTo>
                      <a:pt x="70458" y="15910"/>
                    </a:lnTo>
                    <a:lnTo>
                      <a:pt x="76821" y="14243"/>
                    </a:lnTo>
                    <a:lnTo>
                      <a:pt x="81367" y="13182"/>
                    </a:lnTo>
                    <a:lnTo>
                      <a:pt x="81973" y="1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9" name="Freeform: Shape 3278">
                <a:extLst>
                  <a:ext uri="{FF2B5EF4-FFF2-40B4-BE49-F238E27FC236}">
                    <a16:creationId xmlns:a16="http://schemas.microsoft.com/office/drawing/2014/main" id="{3D2A9995-7C8B-425D-86B9-229D98436EAE}"/>
                  </a:ext>
                </a:extLst>
              </p:cNvPr>
              <p:cNvSpPr/>
              <p:nvPr/>
            </p:nvSpPr>
            <p:spPr>
              <a:xfrm>
                <a:off x="3785308" y="1455365"/>
                <a:ext cx="1679153" cy="1244590"/>
              </a:xfrm>
              <a:custGeom>
                <a:avLst/>
                <a:gdLst>
                  <a:gd name="connsiteX0" fmla="*/ 711693 w 1679153"/>
                  <a:gd name="connsiteY0" fmla="*/ 1205196 h 1244590"/>
                  <a:gd name="connsiteX1" fmla="*/ 711693 w 1679153"/>
                  <a:gd name="connsiteY1" fmla="*/ 1206105 h 1244590"/>
                  <a:gd name="connsiteX2" fmla="*/ 715027 w 1679153"/>
                  <a:gd name="connsiteY2" fmla="*/ 1205802 h 1244590"/>
                  <a:gd name="connsiteX3" fmla="*/ 718057 w 1679153"/>
                  <a:gd name="connsiteY3" fmla="*/ 1206862 h 1244590"/>
                  <a:gd name="connsiteX4" fmla="*/ 719572 w 1679153"/>
                  <a:gd name="connsiteY4" fmla="*/ 1209135 h 1244590"/>
                  <a:gd name="connsiteX5" fmla="*/ 722754 w 1679153"/>
                  <a:gd name="connsiteY5" fmla="*/ 1210196 h 1244590"/>
                  <a:gd name="connsiteX6" fmla="*/ 725936 w 1679153"/>
                  <a:gd name="connsiteY6" fmla="*/ 1205196 h 1244590"/>
                  <a:gd name="connsiteX7" fmla="*/ 726239 w 1679153"/>
                  <a:gd name="connsiteY7" fmla="*/ 1202771 h 1244590"/>
                  <a:gd name="connsiteX8" fmla="*/ 727148 w 1679153"/>
                  <a:gd name="connsiteY8" fmla="*/ 1200801 h 1244590"/>
                  <a:gd name="connsiteX9" fmla="*/ 727451 w 1679153"/>
                  <a:gd name="connsiteY9" fmla="*/ 1198529 h 1244590"/>
                  <a:gd name="connsiteX10" fmla="*/ 722300 w 1679153"/>
                  <a:gd name="connsiteY10" fmla="*/ 1200044 h 1244590"/>
                  <a:gd name="connsiteX11" fmla="*/ 711693 w 1679153"/>
                  <a:gd name="connsiteY11" fmla="*/ 1205196 h 1244590"/>
                  <a:gd name="connsiteX12" fmla="*/ 973370 w 1679153"/>
                  <a:gd name="connsiteY12" fmla="*/ 992915 h 1244590"/>
                  <a:gd name="connsiteX13" fmla="*/ 972915 w 1679153"/>
                  <a:gd name="connsiteY13" fmla="*/ 996703 h 1244590"/>
                  <a:gd name="connsiteX14" fmla="*/ 974279 w 1679153"/>
                  <a:gd name="connsiteY14" fmla="*/ 1000188 h 1244590"/>
                  <a:gd name="connsiteX15" fmla="*/ 978521 w 1679153"/>
                  <a:gd name="connsiteY15" fmla="*/ 1000188 h 1244590"/>
                  <a:gd name="connsiteX16" fmla="*/ 979733 w 1679153"/>
                  <a:gd name="connsiteY16" fmla="*/ 998218 h 1244590"/>
                  <a:gd name="connsiteX17" fmla="*/ 980642 w 1679153"/>
                  <a:gd name="connsiteY17" fmla="*/ 994279 h 1244590"/>
                  <a:gd name="connsiteX18" fmla="*/ 978067 w 1679153"/>
                  <a:gd name="connsiteY18" fmla="*/ 991551 h 1244590"/>
                  <a:gd name="connsiteX19" fmla="*/ 973370 w 1679153"/>
                  <a:gd name="connsiteY19" fmla="*/ 992915 h 1244590"/>
                  <a:gd name="connsiteX20" fmla="*/ 521080 w 1679153"/>
                  <a:gd name="connsiteY20" fmla="*/ 826545 h 1244590"/>
                  <a:gd name="connsiteX21" fmla="*/ 525929 w 1679153"/>
                  <a:gd name="connsiteY21" fmla="*/ 826697 h 1244590"/>
                  <a:gd name="connsiteX22" fmla="*/ 541687 w 1679153"/>
                  <a:gd name="connsiteY22" fmla="*/ 822606 h 1244590"/>
                  <a:gd name="connsiteX23" fmla="*/ 548051 w 1679153"/>
                  <a:gd name="connsiteY23" fmla="*/ 821545 h 1244590"/>
                  <a:gd name="connsiteX24" fmla="*/ 566082 w 1679153"/>
                  <a:gd name="connsiteY24" fmla="*/ 815484 h 1244590"/>
                  <a:gd name="connsiteX25" fmla="*/ 569415 w 1679153"/>
                  <a:gd name="connsiteY25" fmla="*/ 812454 h 1244590"/>
                  <a:gd name="connsiteX26" fmla="*/ 571839 w 1679153"/>
                  <a:gd name="connsiteY26" fmla="*/ 809727 h 1244590"/>
                  <a:gd name="connsiteX27" fmla="*/ 571688 w 1679153"/>
                  <a:gd name="connsiteY27" fmla="*/ 808211 h 1244590"/>
                  <a:gd name="connsiteX28" fmla="*/ 569718 w 1679153"/>
                  <a:gd name="connsiteY28" fmla="*/ 806848 h 1244590"/>
                  <a:gd name="connsiteX29" fmla="*/ 568961 w 1679153"/>
                  <a:gd name="connsiteY29" fmla="*/ 805787 h 1244590"/>
                  <a:gd name="connsiteX30" fmla="*/ 569567 w 1679153"/>
                  <a:gd name="connsiteY30" fmla="*/ 804878 h 1244590"/>
                  <a:gd name="connsiteX31" fmla="*/ 569718 w 1679153"/>
                  <a:gd name="connsiteY31" fmla="*/ 803969 h 1244590"/>
                  <a:gd name="connsiteX32" fmla="*/ 569567 w 1679153"/>
                  <a:gd name="connsiteY32" fmla="*/ 802908 h 1244590"/>
                  <a:gd name="connsiteX33" fmla="*/ 568809 w 1679153"/>
                  <a:gd name="connsiteY33" fmla="*/ 800938 h 1244590"/>
                  <a:gd name="connsiteX34" fmla="*/ 567900 w 1679153"/>
                  <a:gd name="connsiteY34" fmla="*/ 799726 h 1244590"/>
                  <a:gd name="connsiteX35" fmla="*/ 558202 w 1679153"/>
                  <a:gd name="connsiteY35" fmla="*/ 796999 h 1244590"/>
                  <a:gd name="connsiteX36" fmla="*/ 549111 w 1679153"/>
                  <a:gd name="connsiteY36" fmla="*/ 793059 h 1244590"/>
                  <a:gd name="connsiteX37" fmla="*/ 538960 w 1679153"/>
                  <a:gd name="connsiteY37" fmla="*/ 783362 h 1244590"/>
                  <a:gd name="connsiteX38" fmla="*/ 533656 w 1679153"/>
                  <a:gd name="connsiteY38" fmla="*/ 780180 h 1244590"/>
                  <a:gd name="connsiteX39" fmla="*/ 531535 w 1679153"/>
                  <a:gd name="connsiteY39" fmla="*/ 779422 h 1244590"/>
                  <a:gd name="connsiteX40" fmla="*/ 514262 w 1679153"/>
                  <a:gd name="connsiteY40" fmla="*/ 775786 h 1244590"/>
                  <a:gd name="connsiteX41" fmla="*/ 504261 w 1679153"/>
                  <a:gd name="connsiteY41" fmla="*/ 774725 h 1244590"/>
                  <a:gd name="connsiteX42" fmla="*/ 495170 w 1679153"/>
                  <a:gd name="connsiteY42" fmla="*/ 777756 h 1244590"/>
                  <a:gd name="connsiteX43" fmla="*/ 493048 w 1679153"/>
                  <a:gd name="connsiteY43" fmla="*/ 779574 h 1244590"/>
                  <a:gd name="connsiteX44" fmla="*/ 492291 w 1679153"/>
                  <a:gd name="connsiteY44" fmla="*/ 780938 h 1244590"/>
                  <a:gd name="connsiteX45" fmla="*/ 491837 w 1679153"/>
                  <a:gd name="connsiteY45" fmla="*/ 782301 h 1244590"/>
                  <a:gd name="connsiteX46" fmla="*/ 491837 w 1679153"/>
                  <a:gd name="connsiteY46" fmla="*/ 783665 h 1244590"/>
                  <a:gd name="connsiteX47" fmla="*/ 492443 w 1679153"/>
                  <a:gd name="connsiteY47" fmla="*/ 786089 h 1244590"/>
                  <a:gd name="connsiteX48" fmla="*/ 493352 w 1679153"/>
                  <a:gd name="connsiteY48" fmla="*/ 787756 h 1244590"/>
                  <a:gd name="connsiteX49" fmla="*/ 496685 w 1679153"/>
                  <a:gd name="connsiteY49" fmla="*/ 789726 h 1244590"/>
                  <a:gd name="connsiteX50" fmla="*/ 505776 w 1679153"/>
                  <a:gd name="connsiteY50" fmla="*/ 793059 h 1244590"/>
                  <a:gd name="connsiteX51" fmla="*/ 504716 w 1679153"/>
                  <a:gd name="connsiteY51" fmla="*/ 793968 h 1244590"/>
                  <a:gd name="connsiteX52" fmla="*/ 496534 w 1679153"/>
                  <a:gd name="connsiteY52" fmla="*/ 791847 h 1244590"/>
                  <a:gd name="connsiteX53" fmla="*/ 493200 w 1679153"/>
                  <a:gd name="connsiteY53" fmla="*/ 792605 h 1244590"/>
                  <a:gd name="connsiteX54" fmla="*/ 491685 w 1679153"/>
                  <a:gd name="connsiteY54" fmla="*/ 794878 h 1244590"/>
                  <a:gd name="connsiteX55" fmla="*/ 489564 w 1679153"/>
                  <a:gd name="connsiteY55" fmla="*/ 804120 h 1244590"/>
                  <a:gd name="connsiteX56" fmla="*/ 491079 w 1679153"/>
                  <a:gd name="connsiteY56" fmla="*/ 806545 h 1244590"/>
                  <a:gd name="connsiteX57" fmla="*/ 492746 w 1679153"/>
                  <a:gd name="connsiteY57" fmla="*/ 808211 h 1244590"/>
                  <a:gd name="connsiteX58" fmla="*/ 494715 w 1679153"/>
                  <a:gd name="connsiteY58" fmla="*/ 809120 h 1244590"/>
                  <a:gd name="connsiteX59" fmla="*/ 501231 w 1679153"/>
                  <a:gd name="connsiteY59" fmla="*/ 810787 h 1244590"/>
                  <a:gd name="connsiteX60" fmla="*/ 511231 w 1679153"/>
                  <a:gd name="connsiteY60" fmla="*/ 811393 h 1244590"/>
                  <a:gd name="connsiteX61" fmla="*/ 515019 w 1679153"/>
                  <a:gd name="connsiteY61" fmla="*/ 811999 h 1244590"/>
                  <a:gd name="connsiteX62" fmla="*/ 516989 w 1679153"/>
                  <a:gd name="connsiteY62" fmla="*/ 812908 h 1244590"/>
                  <a:gd name="connsiteX63" fmla="*/ 519565 w 1679153"/>
                  <a:gd name="connsiteY63" fmla="*/ 812605 h 1244590"/>
                  <a:gd name="connsiteX64" fmla="*/ 520777 w 1679153"/>
                  <a:gd name="connsiteY64" fmla="*/ 814272 h 1244590"/>
                  <a:gd name="connsiteX65" fmla="*/ 522444 w 1679153"/>
                  <a:gd name="connsiteY65" fmla="*/ 815030 h 1244590"/>
                  <a:gd name="connsiteX66" fmla="*/ 524262 w 1679153"/>
                  <a:gd name="connsiteY66" fmla="*/ 816242 h 1244590"/>
                  <a:gd name="connsiteX67" fmla="*/ 517898 w 1679153"/>
                  <a:gd name="connsiteY67" fmla="*/ 817606 h 1244590"/>
                  <a:gd name="connsiteX68" fmla="*/ 513655 w 1679153"/>
                  <a:gd name="connsiteY68" fmla="*/ 817606 h 1244590"/>
                  <a:gd name="connsiteX69" fmla="*/ 510625 w 1679153"/>
                  <a:gd name="connsiteY69" fmla="*/ 818060 h 1244590"/>
                  <a:gd name="connsiteX70" fmla="*/ 510019 w 1679153"/>
                  <a:gd name="connsiteY70" fmla="*/ 819272 h 1244590"/>
                  <a:gd name="connsiteX71" fmla="*/ 511686 w 1679153"/>
                  <a:gd name="connsiteY71" fmla="*/ 821091 h 1244590"/>
                  <a:gd name="connsiteX72" fmla="*/ 513655 w 1679153"/>
                  <a:gd name="connsiteY72" fmla="*/ 822454 h 1244590"/>
                  <a:gd name="connsiteX73" fmla="*/ 517746 w 1679153"/>
                  <a:gd name="connsiteY73" fmla="*/ 824121 h 1244590"/>
                  <a:gd name="connsiteX74" fmla="*/ 520777 w 1679153"/>
                  <a:gd name="connsiteY74" fmla="*/ 825939 h 1244590"/>
                  <a:gd name="connsiteX75" fmla="*/ 521080 w 1679153"/>
                  <a:gd name="connsiteY75" fmla="*/ 826545 h 1244590"/>
                  <a:gd name="connsiteX76" fmla="*/ 29243 w 1679153"/>
                  <a:gd name="connsiteY76" fmla="*/ 393651 h 1244590"/>
                  <a:gd name="connsiteX77" fmla="*/ 22425 w 1679153"/>
                  <a:gd name="connsiteY77" fmla="*/ 391984 h 1244590"/>
                  <a:gd name="connsiteX78" fmla="*/ 19546 w 1679153"/>
                  <a:gd name="connsiteY78" fmla="*/ 391529 h 1244590"/>
                  <a:gd name="connsiteX79" fmla="*/ 15304 w 1679153"/>
                  <a:gd name="connsiteY79" fmla="*/ 391681 h 1244590"/>
                  <a:gd name="connsiteX80" fmla="*/ 10000 w 1679153"/>
                  <a:gd name="connsiteY80" fmla="*/ 392742 h 1244590"/>
                  <a:gd name="connsiteX81" fmla="*/ 8485 w 1679153"/>
                  <a:gd name="connsiteY81" fmla="*/ 393651 h 1244590"/>
                  <a:gd name="connsiteX82" fmla="*/ 8334 w 1679153"/>
                  <a:gd name="connsiteY82" fmla="*/ 396378 h 1244590"/>
                  <a:gd name="connsiteX83" fmla="*/ 11667 w 1679153"/>
                  <a:gd name="connsiteY83" fmla="*/ 398196 h 1244590"/>
                  <a:gd name="connsiteX84" fmla="*/ 21213 w 1679153"/>
                  <a:gd name="connsiteY84" fmla="*/ 400469 h 1244590"/>
                  <a:gd name="connsiteX85" fmla="*/ 30910 w 1679153"/>
                  <a:gd name="connsiteY85" fmla="*/ 400015 h 1244590"/>
                  <a:gd name="connsiteX86" fmla="*/ 36365 w 1679153"/>
                  <a:gd name="connsiteY86" fmla="*/ 398348 h 1244590"/>
                  <a:gd name="connsiteX87" fmla="*/ 37274 w 1679153"/>
                  <a:gd name="connsiteY87" fmla="*/ 395924 h 1244590"/>
                  <a:gd name="connsiteX88" fmla="*/ 34092 w 1679153"/>
                  <a:gd name="connsiteY88" fmla="*/ 395469 h 1244590"/>
                  <a:gd name="connsiteX89" fmla="*/ 29243 w 1679153"/>
                  <a:gd name="connsiteY89" fmla="*/ 393651 h 1244590"/>
                  <a:gd name="connsiteX90" fmla="*/ 471533 w 1679153"/>
                  <a:gd name="connsiteY90" fmla="*/ 661236 h 1244590"/>
                  <a:gd name="connsiteX91" fmla="*/ 472745 w 1679153"/>
                  <a:gd name="connsiteY91" fmla="*/ 661085 h 1244590"/>
                  <a:gd name="connsiteX92" fmla="*/ 479563 w 1679153"/>
                  <a:gd name="connsiteY92" fmla="*/ 655024 h 1244590"/>
                  <a:gd name="connsiteX93" fmla="*/ 482745 w 1679153"/>
                  <a:gd name="connsiteY93" fmla="*/ 653054 h 1244590"/>
                  <a:gd name="connsiteX94" fmla="*/ 486685 w 1679153"/>
                  <a:gd name="connsiteY94" fmla="*/ 649569 h 1244590"/>
                  <a:gd name="connsiteX95" fmla="*/ 486230 w 1679153"/>
                  <a:gd name="connsiteY95" fmla="*/ 648054 h 1244590"/>
                  <a:gd name="connsiteX96" fmla="*/ 481533 w 1679153"/>
                  <a:gd name="connsiteY96" fmla="*/ 646993 h 1244590"/>
                  <a:gd name="connsiteX97" fmla="*/ 480775 w 1679153"/>
                  <a:gd name="connsiteY97" fmla="*/ 647902 h 1244590"/>
                  <a:gd name="connsiteX98" fmla="*/ 475472 w 1679153"/>
                  <a:gd name="connsiteY98" fmla="*/ 649721 h 1244590"/>
                  <a:gd name="connsiteX99" fmla="*/ 473048 w 1679153"/>
                  <a:gd name="connsiteY99" fmla="*/ 650175 h 1244590"/>
                  <a:gd name="connsiteX100" fmla="*/ 471533 w 1679153"/>
                  <a:gd name="connsiteY100" fmla="*/ 650175 h 1244590"/>
                  <a:gd name="connsiteX101" fmla="*/ 468957 w 1679153"/>
                  <a:gd name="connsiteY101" fmla="*/ 649418 h 1244590"/>
                  <a:gd name="connsiteX102" fmla="*/ 460017 w 1679153"/>
                  <a:gd name="connsiteY102" fmla="*/ 650024 h 1244590"/>
                  <a:gd name="connsiteX103" fmla="*/ 457744 w 1679153"/>
                  <a:gd name="connsiteY103" fmla="*/ 651539 h 1244590"/>
                  <a:gd name="connsiteX104" fmla="*/ 453956 w 1679153"/>
                  <a:gd name="connsiteY104" fmla="*/ 653357 h 1244590"/>
                  <a:gd name="connsiteX105" fmla="*/ 455926 w 1679153"/>
                  <a:gd name="connsiteY105" fmla="*/ 655933 h 1244590"/>
                  <a:gd name="connsiteX106" fmla="*/ 458653 w 1679153"/>
                  <a:gd name="connsiteY106" fmla="*/ 656539 h 1244590"/>
                  <a:gd name="connsiteX107" fmla="*/ 461532 w 1679153"/>
                  <a:gd name="connsiteY107" fmla="*/ 655933 h 1244590"/>
                  <a:gd name="connsiteX108" fmla="*/ 463351 w 1679153"/>
                  <a:gd name="connsiteY108" fmla="*/ 656236 h 1244590"/>
                  <a:gd name="connsiteX109" fmla="*/ 464563 w 1679153"/>
                  <a:gd name="connsiteY109" fmla="*/ 656691 h 1244590"/>
                  <a:gd name="connsiteX110" fmla="*/ 464866 w 1679153"/>
                  <a:gd name="connsiteY110" fmla="*/ 657448 h 1244590"/>
                  <a:gd name="connsiteX111" fmla="*/ 465775 w 1679153"/>
                  <a:gd name="connsiteY111" fmla="*/ 658509 h 1244590"/>
                  <a:gd name="connsiteX112" fmla="*/ 468351 w 1679153"/>
                  <a:gd name="connsiteY112" fmla="*/ 658963 h 1244590"/>
                  <a:gd name="connsiteX113" fmla="*/ 469714 w 1679153"/>
                  <a:gd name="connsiteY113" fmla="*/ 660479 h 1244590"/>
                  <a:gd name="connsiteX114" fmla="*/ 471533 w 1679153"/>
                  <a:gd name="connsiteY114" fmla="*/ 661236 h 1244590"/>
                  <a:gd name="connsiteX115" fmla="*/ 1461873 w 1679153"/>
                  <a:gd name="connsiteY115" fmla="*/ 114550 h 1244590"/>
                  <a:gd name="connsiteX116" fmla="*/ 1471115 w 1679153"/>
                  <a:gd name="connsiteY116" fmla="*/ 120459 h 1244590"/>
                  <a:gd name="connsiteX117" fmla="*/ 1478388 w 1679153"/>
                  <a:gd name="connsiteY117" fmla="*/ 121368 h 1244590"/>
                  <a:gd name="connsiteX118" fmla="*/ 1481267 w 1679153"/>
                  <a:gd name="connsiteY118" fmla="*/ 119247 h 1244590"/>
                  <a:gd name="connsiteX119" fmla="*/ 1477176 w 1679153"/>
                  <a:gd name="connsiteY119" fmla="*/ 112428 h 1244590"/>
                  <a:gd name="connsiteX120" fmla="*/ 1470206 w 1679153"/>
                  <a:gd name="connsiteY120" fmla="*/ 105761 h 1244590"/>
                  <a:gd name="connsiteX121" fmla="*/ 1463387 w 1679153"/>
                  <a:gd name="connsiteY121" fmla="*/ 100761 h 1244590"/>
                  <a:gd name="connsiteX122" fmla="*/ 1458387 w 1679153"/>
                  <a:gd name="connsiteY122" fmla="*/ 101216 h 1244590"/>
                  <a:gd name="connsiteX123" fmla="*/ 1455206 w 1679153"/>
                  <a:gd name="connsiteY123" fmla="*/ 103792 h 1244590"/>
                  <a:gd name="connsiteX124" fmla="*/ 1455660 w 1679153"/>
                  <a:gd name="connsiteY124" fmla="*/ 109549 h 1244590"/>
                  <a:gd name="connsiteX125" fmla="*/ 1461873 w 1679153"/>
                  <a:gd name="connsiteY125" fmla="*/ 114550 h 1244590"/>
                  <a:gd name="connsiteX126" fmla="*/ 712754 w 1679153"/>
                  <a:gd name="connsiteY126" fmla="*/ 85761 h 1244590"/>
                  <a:gd name="connsiteX127" fmla="*/ 728966 w 1679153"/>
                  <a:gd name="connsiteY127" fmla="*/ 90458 h 1244590"/>
                  <a:gd name="connsiteX128" fmla="*/ 747301 w 1679153"/>
                  <a:gd name="connsiteY128" fmla="*/ 97579 h 1244590"/>
                  <a:gd name="connsiteX129" fmla="*/ 758816 w 1679153"/>
                  <a:gd name="connsiteY129" fmla="*/ 104701 h 1244590"/>
                  <a:gd name="connsiteX130" fmla="*/ 764422 w 1679153"/>
                  <a:gd name="connsiteY130" fmla="*/ 103489 h 1244590"/>
                  <a:gd name="connsiteX131" fmla="*/ 766847 w 1679153"/>
                  <a:gd name="connsiteY131" fmla="*/ 92882 h 1244590"/>
                  <a:gd name="connsiteX132" fmla="*/ 767604 w 1679153"/>
                  <a:gd name="connsiteY132" fmla="*/ 82276 h 1244590"/>
                  <a:gd name="connsiteX133" fmla="*/ 763059 w 1679153"/>
                  <a:gd name="connsiteY133" fmla="*/ 76973 h 1244590"/>
                  <a:gd name="connsiteX134" fmla="*/ 749573 w 1679153"/>
                  <a:gd name="connsiteY134" fmla="*/ 70457 h 1244590"/>
                  <a:gd name="connsiteX135" fmla="*/ 722603 w 1679153"/>
                  <a:gd name="connsiteY135" fmla="*/ 62730 h 1244590"/>
                  <a:gd name="connsiteX136" fmla="*/ 711996 w 1679153"/>
                  <a:gd name="connsiteY136" fmla="*/ 64548 h 1244590"/>
                  <a:gd name="connsiteX137" fmla="*/ 698662 w 1679153"/>
                  <a:gd name="connsiteY137" fmla="*/ 65154 h 1244590"/>
                  <a:gd name="connsiteX138" fmla="*/ 696541 w 1679153"/>
                  <a:gd name="connsiteY138" fmla="*/ 69093 h 1244590"/>
                  <a:gd name="connsiteX139" fmla="*/ 697753 w 1679153"/>
                  <a:gd name="connsiteY139" fmla="*/ 73488 h 1244590"/>
                  <a:gd name="connsiteX140" fmla="*/ 712754 w 1679153"/>
                  <a:gd name="connsiteY140" fmla="*/ 85761 h 1244590"/>
                  <a:gd name="connsiteX141" fmla="*/ 1505814 w 1679153"/>
                  <a:gd name="connsiteY141" fmla="*/ 523504 h 1244590"/>
                  <a:gd name="connsiteX142" fmla="*/ 1502480 w 1679153"/>
                  <a:gd name="connsiteY142" fmla="*/ 520170 h 1244590"/>
                  <a:gd name="connsiteX143" fmla="*/ 1501571 w 1679153"/>
                  <a:gd name="connsiteY143" fmla="*/ 514867 h 1244590"/>
                  <a:gd name="connsiteX144" fmla="*/ 1499449 w 1679153"/>
                  <a:gd name="connsiteY144" fmla="*/ 508958 h 1244590"/>
                  <a:gd name="connsiteX145" fmla="*/ 1493237 w 1679153"/>
                  <a:gd name="connsiteY145" fmla="*/ 510928 h 1244590"/>
                  <a:gd name="connsiteX146" fmla="*/ 1487176 w 1679153"/>
                  <a:gd name="connsiteY146" fmla="*/ 513352 h 1244590"/>
                  <a:gd name="connsiteX147" fmla="*/ 1482176 w 1679153"/>
                  <a:gd name="connsiteY147" fmla="*/ 509867 h 1244590"/>
                  <a:gd name="connsiteX148" fmla="*/ 1476116 w 1679153"/>
                  <a:gd name="connsiteY148" fmla="*/ 513807 h 1244590"/>
                  <a:gd name="connsiteX149" fmla="*/ 1475358 w 1679153"/>
                  <a:gd name="connsiteY149" fmla="*/ 520625 h 1244590"/>
                  <a:gd name="connsiteX150" fmla="*/ 1475055 w 1679153"/>
                  <a:gd name="connsiteY150" fmla="*/ 527443 h 1244590"/>
                  <a:gd name="connsiteX151" fmla="*/ 1481116 w 1679153"/>
                  <a:gd name="connsiteY151" fmla="*/ 531383 h 1244590"/>
                  <a:gd name="connsiteX152" fmla="*/ 1489752 w 1679153"/>
                  <a:gd name="connsiteY152" fmla="*/ 530928 h 1244590"/>
                  <a:gd name="connsiteX153" fmla="*/ 1510814 w 1679153"/>
                  <a:gd name="connsiteY153" fmla="*/ 531838 h 1244590"/>
                  <a:gd name="connsiteX154" fmla="*/ 1516117 w 1679153"/>
                  <a:gd name="connsiteY154" fmla="*/ 529413 h 1244590"/>
                  <a:gd name="connsiteX155" fmla="*/ 1513238 w 1679153"/>
                  <a:gd name="connsiteY155" fmla="*/ 523049 h 1244590"/>
                  <a:gd name="connsiteX156" fmla="*/ 1505814 w 1679153"/>
                  <a:gd name="connsiteY156" fmla="*/ 523504 h 1244590"/>
                  <a:gd name="connsiteX157" fmla="*/ 1502026 w 1679153"/>
                  <a:gd name="connsiteY157" fmla="*/ 368347 h 1244590"/>
                  <a:gd name="connsiteX158" fmla="*/ 1494601 w 1679153"/>
                  <a:gd name="connsiteY158" fmla="*/ 377135 h 1244590"/>
                  <a:gd name="connsiteX159" fmla="*/ 1493389 w 1679153"/>
                  <a:gd name="connsiteY159" fmla="*/ 379862 h 1244590"/>
                  <a:gd name="connsiteX160" fmla="*/ 1495359 w 1679153"/>
                  <a:gd name="connsiteY160" fmla="*/ 381378 h 1244590"/>
                  <a:gd name="connsiteX161" fmla="*/ 1500662 w 1679153"/>
                  <a:gd name="connsiteY161" fmla="*/ 381378 h 1244590"/>
                  <a:gd name="connsiteX162" fmla="*/ 1506723 w 1679153"/>
                  <a:gd name="connsiteY162" fmla="*/ 377590 h 1244590"/>
                  <a:gd name="connsiteX163" fmla="*/ 1509147 w 1679153"/>
                  <a:gd name="connsiteY163" fmla="*/ 373044 h 1244590"/>
                  <a:gd name="connsiteX164" fmla="*/ 1508086 w 1679153"/>
                  <a:gd name="connsiteY164" fmla="*/ 368498 h 1244590"/>
                  <a:gd name="connsiteX165" fmla="*/ 1504450 w 1679153"/>
                  <a:gd name="connsiteY165" fmla="*/ 367589 h 1244590"/>
                  <a:gd name="connsiteX166" fmla="*/ 1502026 w 1679153"/>
                  <a:gd name="connsiteY166" fmla="*/ 368347 h 1244590"/>
                  <a:gd name="connsiteX167" fmla="*/ 598962 w 1679153"/>
                  <a:gd name="connsiteY167" fmla="*/ 802454 h 1244590"/>
                  <a:gd name="connsiteX168" fmla="*/ 603204 w 1679153"/>
                  <a:gd name="connsiteY168" fmla="*/ 800484 h 1244590"/>
                  <a:gd name="connsiteX169" fmla="*/ 604719 w 1679153"/>
                  <a:gd name="connsiteY169" fmla="*/ 798969 h 1244590"/>
                  <a:gd name="connsiteX170" fmla="*/ 605174 w 1679153"/>
                  <a:gd name="connsiteY170" fmla="*/ 798059 h 1244590"/>
                  <a:gd name="connsiteX171" fmla="*/ 598053 w 1679153"/>
                  <a:gd name="connsiteY171" fmla="*/ 795181 h 1244590"/>
                  <a:gd name="connsiteX172" fmla="*/ 593810 w 1679153"/>
                  <a:gd name="connsiteY172" fmla="*/ 794423 h 1244590"/>
                  <a:gd name="connsiteX173" fmla="*/ 590628 w 1679153"/>
                  <a:gd name="connsiteY173" fmla="*/ 794878 h 1244590"/>
                  <a:gd name="connsiteX174" fmla="*/ 586688 w 1679153"/>
                  <a:gd name="connsiteY174" fmla="*/ 797756 h 1244590"/>
                  <a:gd name="connsiteX175" fmla="*/ 587598 w 1679153"/>
                  <a:gd name="connsiteY175" fmla="*/ 800181 h 1244590"/>
                  <a:gd name="connsiteX176" fmla="*/ 586992 w 1679153"/>
                  <a:gd name="connsiteY176" fmla="*/ 803666 h 1244590"/>
                  <a:gd name="connsiteX177" fmla="*/ 587598 w 1679153"/>
                  <a:gd name="connsiteY177" fmla="*/ 806545 h 1244590"/>
                  <a:gd name="connsiteX178" fmla="*/ 589870 w 1679153"/>
                  <a:gd name="connsiteY178" fmla="*/ 812454 h 1244590"/>
                  <a:gd name="connsiteX179" fmla="*/ 590780 w 1679153"/>
                  <a:gd name="connsiteY179" fmla="*/ 813818 h 1244590"/>
                  <a:gd name="connsiteX180" fmla="*/ 591689 w 1679153"/>
                  <a:gd name="connsiteY180" fmla="*/ 814272 h 1244590"/>
                  <a:gd name="connsiteX181" fmla="*/ 595931 w 1679153"/>
                  <a:gd name="connsiteY181" fmla="*/ 812605 h 1244590"/>
                  <a:gd name="connsiteX182" fmla="*/ 597143 w 1679153"/>
                  <a:gd name="connsiteY182" fmla="*/ 811090 h 1244590"/>
                  <a:gd name="connsiteX183" fmla="*/ 596992 w 1679153"/>
                  <a:gd name="connsiteY183" fmla="*/ 809423 h 1244590"/>
                  <a:gd name="connsiteX184" fmla="*/ 597295 w 1679153"/>
                  <a:gd name="connsiteY184" fmla="*/ 807151 h 1244590"/>
                  <a:gd name="connsiteX185" fmla="*/ 598962 w 1679153"/>
                  <a:gd name="connsiteY185" fmla="*/ 802454 h 1244590"/>
                  <a:gd name="connsiteX186" fmla="*/ 524565 w 1679153"/>
                  <a:gd name="connsiteY186" fmla="*/ 739269 h 1244590"/>
                  <a:gd name="connsiteX187" fmla="*/ 527141 w 1679153"/>
                  <a:gd name="connsiteY187" fmla="*/ 738966 h 1244590"/>
                  <a:gd name="connsiteX188" fmla="*/ 528505 w 1679153"/>
                  <a:gd name="connsiteY188" fmla="*/ 738209 h 1244590"/>
                  <a:gd name="connsiteX189" fmla="*/ 529414 w 1679153"/>
                  <a:gd name="connsiteY189" fmla="*/ 736845 h 1244590"/>
                  <a:gd name="connsiteX190" fmla="*/ 529868 w 1679153"/>
                  <a:gd name="connsiteY190" fmla="*/ 735178 h 1244590"/>
                  <a:gd name="connsiteX191" fmla="*/ 530020 w 1679153"/>
                  <a:gd name="connsiteY191" fmla="*/ 733209 h 1244590"/>
                  <a:gd name="connsiteX192" fmla="*/ 529717 w 1679153"/>
                  <a:gd name="connsiteY192" fmla="*/ 731542 h 1244590"/>
                  <a:gd name="connsiteX193" fmla="*/ 527747 w 1679153"/>
                  <a:gd name="connsiteY193" fmla="*/ 728360 h 1244590"/>
                  <a:gd name="connsiteX194" fmla="*/ 525777 w 1679153"/>
                  <a:gd name="connsiteY194" fmla="*/ 726087 h 1244590"/>
                  <a:gd name="connsiteX195" fmla="*/ 522595 w 1679153"/>
                  <a:gd name="connsiteY195" fmla="*/ 726845 h 1244590"/>
                  <a:gd name="connsiteX196" fmla="*/ 518201 w 1679153"/>
                  <a:gd name="connsiteY196" fmla="*/ 730633 h 1244590"/>
                  <a:gd name="connsiteX197" fmla="*/ 515928 w 1679153"/>
                  <a:gd name="connsiteY197" fmla="*/ 733209 h 1244590"/>
                  <a:gd name="connsiteX198" fmla="*/ 515625 w 1679153"/>
                  <a:gd name="connsiteY198" fmla="*/ 734572 h 1244590"/>
                  <a:gd name="connsiteX199" fmla="*/ 516080 w 1679153"/>
                  <a:gd name="connsiteY199" fmla="*/ 735784 h 1244590"/>
                  <a:gd name="connsiteX200" fmla="*/ 517292 w 1679153"/>
                  <a:gd name="connsiteY200" fmla="*/ 736694 h 1244590"/>
                  <a:gd name="connsiteX201" fmla="*/ 524565 w 1679153"/>
                  <a:gd name="connsiteY201" fmla="*/ 739269 h 1244590"/>
                  <a:gd name="connsiteX202" fmla="*/ 1483388 w 1679153"/>
                  <a:gd name="connsiteY202" fmla="*/ 473351 h 1244590"/>
                  <a:gd name="connsiteX203" fmla="*/ 1481267 w 1679153"/>
                  <a:gd name="connsiteY203" fmla="*/ 452895 h 1244590"/>
                  <a:gd name="connsiteX204" fmla="*/ 1479297 w 1679153"/>
                  <a:gd name="connsiteY204" fmla="*/ 439258 h 1244590"/>
                  <a:gd name="connsiteX205" fmla="*/ 1475206 w 1679153"/>
                  <a:gd name="connsiteY205" fmla="*/ 435773 h 1244590"/>
                  <a:gd name="connsiteX206" fmla="*/ 1470358 w 1679153"/>
                  <a:gd name="connsiteY206" fmla="*/ 436228 h 1244590"/>
                  <a:gd name="connsiteX207" fmla="*/ 1469600 w 1679153"/>
                  <a:gd name="connsiteY207" fmla="*/ 442743 h 1244590"/>
                  <a:gd name="connsiteX208" fmla="*/ 1469600 w 1679153"/>
                  <a:gd name="connsiteY208" fmla="*/ 451229 h 1244590"/>
                  <a:gd name="connsiteX209" fmla="*/ 1480206 w 1679153"/>
                  <a:gd name="connsiteY209" fmla="*/ 474714 h 1244590"/>
                  <a:gd name="connsiteX210" fmla="*/ 1483388 w 1679153"/>
                  <a:gd name="connsiteY210" fmla="*/ 473351 h 1244590"/>
                  <a:gd name="connsiteX211" fmla="*/ 1227470 w 1679153"/>
                  <a:gd name="connsiteY211" fmla="*/ 760179 h 1244590"/>
                  <a:gd name="connsiteX212" fmla="*/ 1226712 w 1679153"/>
                  <a:gd name="connsiteY212" fmla="*/ 761240 h 1244590"/>
                  <a:gd name="connsiteX213" fmla="*/ 1224742 w 1679153"/>
                  <a:gd name="connsiteY213" fmla="*/ 765179 h 1244590"/>
                  <a:gd name="connsiteX214" fmla="*/ 1224742 w 1679153"/>
                  <a:gd name="connsiteY214" fmla="*/ 766543 h 1244590"/>
                  <a:gd name="connsiteX215" fmla="*/ 1225652 w 1679153"/>
                  <a:gd name="connsiteY215" fmla="*/ 767452 h 1244590"/>
                  <a:gd name="connsiteX216" fmla="*/ 1228530 w 1679153"/>
                  <a:gd name="connsiteY216" fmla="*/ 768058 h 1244590"/>
                  <a:gd name="connsiteX217" fmla="*/ 1234288 w 1679153"/>
                  <a:gd name="connsiteY217" fmla="*/ 766846 h 1244590"/>
                  <a:gd name="connsiteX218" fmla="*/ 1250350 w 1679153"/>
                  <a:gd name="connsiteY218" fmla="*/ 764270 h 1244590"/>
                  <a:gd name="connsiteX219" fmla="*/ 1263986 w 1679153"/>
                  <a:gd name="connsiteY219" fmla="*/ 763210 h 1244590"/>
                  <a:gd name="connsiteX220" fmla="*/ 1271259 w 1679153"/>
                  <a:gd name="connsiteY220" fmla="*/ 765331 h 1244590"/>
                  <a:gd name="connsiteX221" fmla="*/ 1273077 w 1679153"/>
                  <a:gd name="connsiteY221" fmla="*/ 768210 h 1244590"/>
                  <a:gd name="connsiteX222" fmla="*/ 1274593 w 1679153"/>
                  <a:gd name="connsiteY222" fmla="*/ 768210 h 1244590"/>
                  <a:gd name="connsiteX223" fmla="*/ 1279139 w 1679153"/>
                  <a:gd name="connsiteY223" fmla="*/ 765482 h 1244590"/>
                  <a:gd name="connsiteX224" fmla="*/ 1282927 w 1679153"/>
                  <a:gd name="connsiteY224" fmla="*/ 762301 h 1244590"/>
                  <a:gd name="connsiteX225" fmla="*/ 1285957 w 1679153"/>
                  <a:gd name="connsiteY225" fmla="*/ 761088 h 1244590"/>
                  <a:gd name="connsiteX226" fmla="*/ 1296866 w 1679153"/>
                  <a:gd name="connsiteY226" fmla="*/ 758361 h 1244590"/>
                  <a:gd name="connsiteX227" fmla="*/ 1298382 w 1679153"/>
                  <a:gd name="connsiteY227" fmla="*/ 756391 h 1244590"/>
                  <a:gd name="connsiteX228" fmla="*/ 1298230 w 1679153"/>
                  <a:gd name="connsiteY228" fmla="*/ 755331 h 1244590"/>
                  <a:gd name="connsiteX229" fmla="*/ 1297472 w 1679153"/>
                  <a:gd name="connsiteY229" fmla="*/ 753967 h 1244590"/>
                  <a:gd name="connsiteX230" fmla="*/ 1295048 w 1679153"/>
                  <a:gd name="connsiteY230" fmla="*/ 751997 h 1244590"/>
                  <a:gd name="connsiteX231" fmla="*/ 1296260 w 1679153"/>
                  <a:gd name="connsiteY231" fmla="*/ 751240 h 1244590"/>
                  <a:gd name="connsiteX232" fmla="*/ 1296866 w 1679153"/>
                  <a:gd name="connsiteY232" fmla="*/ 750482 h 1244590"/>
                  <a:gd name="connsiteX233" fmla="*/ 1297018 w 1679153"/>
                  <a:gd name="connsiteY233" fmla="*/ 749270 h 1244590"/>
                  <a:gd name="connsiteX234" fmla="*/ 1296866 w 1679153"/>
                  <a:gd name="connsiteY234" fmla="*/ 747906 h 1244590"/>
                  <a:gd name="connsiteX235" fmla="*/ 1295957 w 1679153"/>
                  <a:gd name="connsiteY235" fmla="*/ 745027 h 1244590"/>
                  <a:gd name="connsiteX236" fmla="*/ 1295200 w 1679153"/>
                  <a:gd name="connsiteY236" fmla="*/ 743967 h 1244590"/>
                  <a:gd name="connsiteX237" fmla="*/ 1290957 w 1679153"/>
                  <a:gd name="connsiteY237" fmla="*/ 742300 h 1244590"/>
                  <a:gd name="connsiteX238" fmla="*/ 1289593 w 1679153"/>
                  <a:gd name="connsiteY238" fmla="*/ 741239 h 1244590"/>
                  <a:gd name="connsiteX239" fmla="*/ 1287775 w 1679153"/>
                  <a:gd name="connsiteY239" fmla="*/ 738966 h 1244590"/>
                  <a:gd name="connsiteX240" fmla="*/ 1285199 w 1679153"/>
                  <a:gd name="connsiteY240" fmla="*/ 738815 h 1244590"/>
                  <a:gd name="connsiteX241" fmla="*/ 1270956 w 1679153"/>
                  <a:gd name="connsiteY241" fmla="*/ 745027 h 1244590"/>
                  <a:gd name="connsiteX242" fmla="*/ 1263229 w 1679153"/>
                  <a:gd name="connsiteY242" fmla="*/ 747148 h 1244590"/>
                  <a:gd name="connsiteX243" fmla="*/ 1253531 w 1679153"/>
                  <a:gd name="connsiteY243" fmla="*/ 747755 h 1244590"/>
                  <a:gd name="connsiteX244" fmla="*/ 1246258 w 1679153"/>
                  <a:gd name="connsiteY244" fmla="*/ 747452 h 1244590"/>
                  <a:gd name="connsiteX245" fmla="*/ 1242167 w 1679153"/>
                  <a:gd name="connsiteY245" fmla="*/ 746997 h 1244590"/>
                  <a:gd name="connsiteX246" fmla="*/ 1235955 w 1679153"/>
                  <a:gd name="connsiteY246" fmla="*/ 745027 h 1244590"/>
                  <a:gd name="connsiteX247" fmla="*/ 1233379 w 1679153"/>
                  <a:gd name="connsiteY247" fmla="*/ 745785 h 1244590"/>
                  <a:gd name="connsiteX248" fmla="*/ 1232470 w 1679153"/>
                  <a:gd name="connsiteY248" fmla="*/ 751088 h 1244590"/>
                  <a:gd name="connsiteX249" fmla="*/ 1233228 w 1679153"/>
                  <a:gd name="connsiteY249" fmla="*/ 754876 h 1244590"/>
                  <a:gd name="connsiteX250" fmla="*/ 1230803 w 1679153"/>
                  <a:gd name="connsiteY250" fmla="*/ 758361 h 1244590"/>
                  <a:gd name="connsiteX251" fmla="*/ 1227470 w 1679153"/>
                  <a:gd name="connsiteY251" fmla="*/ 760179 h 1244590"/>
                  <a:gd name="connsiteX252" fmla="*/ 574415 w 1679153"/>
                  <a:gd name="connsiteY252" fmla="*/ 748361 h 1244590"/>
                  <a:gd name="connsiteX253" fmla="*/ 578052 w 1679153"/>
                  <a:gd name="connsiteY253" fmla="*/ 748209 h 1244590"/>
                  <a:gd name="connsiteX254" fmla="*/ 579870 w 1679153"/>
                  <a:gd name="connsiteY254" fmla="*/ 747603 h 1244590"/>
                  <a:gd name="connsiteX255" fmla="*/ 579264 w 1679153"/>
                  <a:gd name="connsiteY255" fmla="*/ 746391 h 1244590"/>
                  <a:gd name="connsiteX256" fmla="*/ 574415 w 1679153"/>
                  <a:gd name="connsiteY256" fmla="*/ 743967 h 1244590"/>
                  <a:gd name="connsiteX257" fmla="*/ 570021 w 1679153"/>
                  <a:gd name="connsiteY257" fmla="*/ 742300 h 1244590"/>
                  <a:gd name="connsiteX258" fmla="*/ 566233 w 1679153"/>
                  <a:gd name="connsiteY258" fmla="*/ 742754 h 1244590"/>
                  <a:gd name="connsiteX259" fmla="*/ 565173 w 1679153"/>
                  <a:gd name="connsiteY259" fmla="*/ 745936 h 1244590"/>
                  <a:gd name="connsiteX260" fmla="*/ 565324 w 1679153"/>
                  <a:gd name="connsiteY260" fmla="*/ 746997 h 1244590"/>
                  <a:gd name="connsiteX261" fmla="*/ 565930 w 1679153"/>
                  <a:gd name="connsiteY261" fmla="*/ 747603 h 1244590"/>
                  <a:gd name="connsiteX262" fmla="*/ 574415 w 1679153"/>
                  <a:gd name="connsiteY262" fmla="*/ 748361 h 1244590"/>
                  <a:gd name="connsiteX263" fmla="*/ 1473842 w 1679153"/>
                  <a:gd name="connsiteY263" fmla="*/ 334861 h 1244590"/>
                  <a:gd name="connsiteX264" fmla="*/ 1471873 w 1679153"/>
                  <a:gd name="connsiteY264" fmla="*/ 333800 h 1244590"/>
                  <a:gd name="connsiteX265" fmla="*/ 1468994 w 1679153"/>
                  <a:gd name="connsiteY265" fmla="*/ 334861 h 1244590"/>
                  <a:gd name="connsiteX266" fmla="*/ 1463387 w 1679153"/>
                  <a:gd name="connsiteY266" fmla="*/ 339558 h 1244590"/>
                  <a:gd name="connsiteX267" fmla="*/ 1463842 w 1679153"/>
                  <a:gd name="connsiteY267" fmla="*/ 349104 h 1244590"/>
                  <a:gd name="connsiteX268" fmla="*/ 1465964 w 1679153"/>
                  <a:gd name="connsiteY268" fmla="*/ 357437 h 1244590"/>
                  <a:gd name="connsiteX269" fmla="*/ 1468388 w 1679153"/>
                  <a:gd name="connsiteY269" fmla="*/ 363650 h 1244590"/>
                  <a:gd name="connsiteX270" fmla="*/ 1472024 w 1679153"/>
                  <a:gd name="connsiteY270" fmla="*/ 361528 h 1244590"/>
                  <a:gd name="connsiteX271" fmla="*/ 1475206 w 1679153"/>
                  <a:gd name="connsiteY271" fmla="*/ 353195 h 1244590"/>
                  <a:gd name="connsiteX272" fmla="*/ 1473237 w 1679153"/>
                  <a:gd name="connsiteY272" fmla="*/ 347437 h 1244590"/>
                  <a:gd name="connsiteX273" fmla="*/ 1473237 w 1679153"/>
                  <a:gd name="connsiteY273" fmla="*/ 338952 h 1244590"/>
                  <a:gd name="connsiteX274" fmla="*/ 1473842 w 1679153"/>
                  <a:gd name="connsiteY274" fmla="*/ 334861 h 1244590"/>
                  <a:gd name="connsiteX275" fmla="*/ 1675668 w 1679153"/>
                  <a:gd name="connsiteY275" fmla="*/ 141975 h 1244590"/>
                  <a:gd name="connsiteX276" fmla="*/ 1667940 w 1679153"/>
                  <a:gd name="connsiteY276" fmla="*/ 137126 h 1244590"/>
                  <a:gd name="connsiteX277" fmla="*/ 1658243 w 1679153"/>
                  <a:gd name="connsiteY277" fmla="*/ 132429 h 1244590"/>
                  <a:gd name="connsiteX278" fmla="*/ 1651576 w 1679153"/>
                  <a:gd name="connsiteY278" fmla="*/ 130156 h 1244590"/>
                  <a:gd name="connsiteX279" fmla="*/ 1637333 w 1679153"/>
                  <a:gd name="connsiteY279" fmla="*/ 127732 h 1244590"/>
                  <a:gd name="connsiteX280" fmla="*/ 1616878 w 1679153"/>
                  <a:gd name="connsiteY280" fmla="*/ 123186 h 1244590"/>
                  <a:gd name="connsiteX281" fmla="*/ 1602181 w 1679153"/>
                  <a:gd name="connsiteY281" fmla="*/ 121520 h 1244590"/>
                  <a:gd name="connsiteX282" fmla="*/ 1575210 w 1679153"/>
                  <a:gd name="connsiteY282" fmla="*/ 121065 h 1244590"/>
                  <a:gd name="connsiteX283" fmla="*/ 1569149 w 1679153"/>
                  <a:gd name="connsiteY283" fmla="*/ 120004 h 1244590"/>
                  <a:gd name="connsiteX284" fmla="*/ 1566270 w 1679153"/>
                  <a:gd name="connsiteY284" fmla="*/ 120156 h 1244590"/>
                  <a:gd name="connsiteX285" fmla="*/ 1554906 w 1679153"/>
                  <a:gd name="connsiteY285" fmla="*/ 123338 h 1244590"/>
                  <a:gd name="connsiteX286" fmla="*/ 1550815 w 1679153"/>
                  <a:gd name="connsiteY286" fmla="*/ 123944 h 1244590"/>
                  <a:gd name="connsiteX287" fmla="*/ 1546876 w 1679153"/>
                  <a:gd name="connsiteY287" fmla="*/ 125459 h 1244590"/>
                  <a:gd name="connsiteX288" fmla="*/ 1544300 w 1679153"/>
                  <a:gd name="connsiteY288" fmla="*/ 127126 h 1244590"/>
                  <a:gd name="connsiteX289" fmla="*/ 1536724 w 1679153"/>
                  <a:gd name="connsiteY289" fmla="*/ 133944 h 1244590"/>
                  <a:gd name="connsiteX290" fmla="*/ 1528542 w 1679153"/>
                  <a:gd name="connsiteY290" fmla="*/ 139399 h 1244590"/>
                  <a:gd name="connsiteX291" fmla="*/ 1522481 w 1679153"/>
                  <a:gd name="connsiteY291" fmla="*/ 145460 h 1244590"/>
                  <a:gd name="connsiteX292" fmla="*/ 1520662 w 1679153"/>
                  <a:gd name="connsiteY292" fmla="*/ 146824 h 1244590"/>
                  <a:gd name="connsiteX293" fmla="*/ 1514450 w 1679153"/>
                  <a:gd name="connsiteY293" fmla="*/ 148945 h 1244590"/>
                  <a:gd name="connsiteX294" fmla="*/ 1507329 w 1679153"/>
                  <a:gd name="connsiteY294" fmla="*/ 146975 h 1244590"/>
                  <a:gd name="connsiteX295" fmla="*/ 1500359 w 1679153"/>
                  <a:gd name="connsiteY295" fmla="*/ 146066 h 1244590"/>
                  <a:gd name="connsiteX296" fmla="*/ 1496268 w 1679153"/>
                  <a:gd name="connsiteY296" fmla="*/ 144399 h 1244590"/>
                  <a:gd name="connsiteX297" fmla="*/ 1487025 w 1679153"/>
                  <a:gd name="connsiteY297" fmla="*/ 142429 h 1244590"/>
                  <a:gd name="connsiteX298" fmla="*/ 1481267 w 1679153"/>
                  <a:gd name="connsiteY298" fmla="*/ 142732 h 1244590"/>
                  <a:gd name="connsiteX299" fmla="*/ 1467933 w 1679153"/>
                  <a:gd name="connsiteY299" fmla="*/ 141369 h 1244590"/>
                  <a:gd name="connsiteX300" fmla="*/ 1465964 w 1679153"/>
                  <a:gd name="connsiteY300" fmla="*/ 133035 h 1244590"/>
                  <a:gd name="connsiteX301" fmla="*/ 1454902 w 1679153"/>
                  <a:gd name="connsiteY301" fmla="*/ 133035 h 1244590"/>
                  <a:gd name="connsiteX302" fmla="*/ 1444296 w 1679153"/>
                  <a:gd name="connsiteY302" fmla="*/ 138035 h 1244590"/>
                  <a:gd name="connsiteX303" fmla="*/ 1423992 w 1679153"/>
                  <a:gd name="connsiteY303" fmla="*/ 154551 h 1244590"/>
                  <a:gd name="connsiteX304" fmla="*/ 1420356 w 1679153"/>
                  <a:gd name="connsiteY304" fmla="*/ 156824 h 1244590"/>
                  <a:gd name="connsiteX305" fmla="*/ 1413386 w 1679153"/>
                  <a:gd name="connsiteY305" fmla="*/ 160157 h 1244590"/>
                  <a:gd name="connsiteX306" fmla="*/ 1405052 w 1679153"/>
                  <a:gd name="connsiteY306" fmla="*/ 163339 h 1244590"/>
                  <a:gd name="connsiteX307" fmla="*/ 1391870 w 1679153"/>
                  <a:gd name="connsiteY307" fmla="*/ 171673 h 1244590"/>
                  <a:gd name="connsiteX308" fmla="*/ 1387476 w 1679153"/>
                  <a:gd name="connsiteY308" fmla="*/ 173643 h 1244590"/>
                  <a:gd name="connsiteX309" fmla="*/ 1367323 w 1679153"/>
                  <a:gd name="connsiteY309" fmla="*/ 180613 h 1244590"/>
                  <a:gd name="connsiteX310" fmla="*/ 1364748 w 1679153"/>
                  <a:gd name="connsiteY310" fmla="*/ 183189 h 1244590"/>
                  <a:gd name="connsiteX311" fmla="*/ 1363232 w 1679153"/>
                  <a:gd name="connsiteY311" fmla="*/ 185764 h 1244590"/>
                  <a:gd name="connsiteX312" fmla="*/ 1359293 w 1679153"/>
                  <a:gd name="connsiteY312" fmla="*/ 189249 h 1244590"/>
                  <a:gd name="connsiteX313" fmla="*/ 1356868 w 1679153"/>
                  <a:gd name="connsiteY313" fmla="*/ 188492 h 1244590"/>
                  <a:gd name="connsiteX314" fmla="*/ 1357020 w 1679153"/>
                  <a:gd name="connsiteY314" fmla="*/ 184704 h 1244590"/>
                  <a:gd name="connsiteX315" fmla="*/ 1360354 w 1679153"/>
                  <a:gd name="connsiteY315" fmla="*/ 179552 h 1244590"/>
                  <a:gd name="connsiteX316" fmla="*/ 1373990 w 1679153"/>
                  <a:gd name="connsiteY316" fmla="*/ 168491 h 1244590"/>
                  <a:gd name="connsiteX317" fmla="*/ 1378233 w 1679153"/>
                  <a:gd name="connsiteY317" fmla="*/ 165915 h 1244590"/>
                  <a:gd name="connsiteX318" fmla="*/ 1390658 w 1679153"/>
                  <a:gd name="connsiteY318" fmla="*/ 156369 h 1244590"/>
                  <a:gd name="connsiteX319" fmla="*/ 1397173 w 1679153"/>
                  <a:gd name="connsiteY319" fmla="*/ 152127 h 1244590"/>
                  <a:gd name="connsiteX320" fmla="*/ 1403234 w 1679153"/>
                  <a:gd name="connsiteY320" fmla="*/ 146369 h 1244590"/>
                  <a:gd name="connsiteX321" fmla="*/ 1410659 w 1679153"/>
                  <a:gd name="connsiteY321" fmla="*/ 135611 h 1244590"/>
                  <a:gd name="connsiteX322" fmla="*/ 1412931 w 1679153"/>
                  <a:gd name="connsiteY322" fmla="*/ 129399 h 1244590"/>
                  <a:gd name="connsiteX323" fmla="*/ 1413537 w 1679153"/>
                  <a:gd name="connsiteY323" fmla="*/ 123186 h 1244590"/>
                  <a:gd name="connsiteX324" fmla="*/ 1413689 w 1679153"/>
                  <a:gd name="connsiteY324" fmla="*/ 117883 h 1244590"/>
                  <a:gd name="connsiteX325" fmla="*/ 1413386 w 1679153"/>
                  <a:gd name="connsiteY325" fmla="*/ 113641 h 1244590"/>
                  <a:gd name="connsiteX326" fmla="*/ 1412325 w 1679153"/>
                  <a:gd name="connsiteY326" fmla="*/ 110307 h 1244590"/>
                  <a:gd name="connsiteX327" fmla="*/ 1407628 w 1679153"/>
                  <a:gd name="connsiteY327" fmla="*/ 104701 h 1244590"/>
                  <a:gd name="connsiteX328" fmla="*/ 1401567 w 1679153"/>
                  <a:gd name="connsiteY328" fmla="*/ 104095 h 1244590"/>
                  <a:gd name="connsiteX329" fmla="*/ 1374596 w 1679153"/>
                  <a:gd name="connsiteY329" fmla="*/ 105610 h 1244590"/>
                  <a:gd name="connsiteX330" fmla="*/ 1364293 w 1679153"/>
                  <a:gd name="connsiteY330" fmla="*/ 107125 h 1244590"/>
                  <a:gd name="connsiteX331" fmla="*/ 1359747 w 1679153"/>
                  <a:gd name="connsiteY331" fmla="*/ 108337 h 1244590"/>
                  <a:gd name="connsiteX332" fmla="*/ 1357626 w 1679153"/>
                  <a:gd name="connsiteY332" fmla="*/ 109852 h 1244590"/>
                  <a:gd name="connsiteX333" fmla="*/ 1355808 w 1679153"/>
                  <a:gd name="connsiteY333" fmla="*/ 112731 h 1244590"/>
                  <a:gd name="connsiteX334" fmla="*/ 1354141 w 1679153"/>
                  <a:gd name="connsiteY334" fmla="*/ 116822 h 1244590"/>
                  <a:gd name="connsiteX335" fmla="*/ 1351868 w 1679153"/>
                  <a:gd name="connsiteY335" fmla="*/ 120610 h 1244590"/>
                  <a:gd name="connsiteX336" fmla="*/ 1348989 w 1679153"/>
                  <a:gd name="connsiteY336" fmla="*/ 124247 h 1244590"/>
                  <a:gd name="connsiteX337" fmla="*/ 1345201 w 1679153"/>
                  <a:gd name="connsiteY337" fmla="*/ 126368 h 1244590"/>
                  <a:gd name="connsiteX338" fmla="*/ 1327170 w 1679153"/>
                  <a:gd name="connsiteY338" fmla="*/ 129096 h 1244590"/>
                  <a:gd name="connsiteX339" fmla="*/ 1319140 w 1679153"/>
                  <a:gd name="connsiteY339" fmla="*/ 117125 h 1244590"/>
                  <a:gd name="connsiteX340" fmla="*/ 1303836 w 1679153"/>
                  <a:gd name="connsiteY340" fmla="*/ 109246 h 1244590"/>
                  <a:gd name="connsiteX341" fmla="*/ 1251865 w 1679153"/>
                  <a:gd name="connsiteY341" fmla="*/ 106216 h 1244590"/>
                  <a:gd name="connsiteX342" fmla="*/ 1230197 w 1679153"/>
                  <a:gd name="connsiteY342" fmla="*/ 106064 h 1244590"/>
                  <a:gd name="connsiteX343" fmla="*/ 1200651 w 1679153"/>
                  <a:gd name="connsiteY343" fmla="*/ 109549 h 1244590"/>
                  <a:gd name="connsiteX344" fmla="*/ 1183529 w 1679153"/>
                  <a:gd name="connsiteY344" fmla="*/ 113337 h 1244590"/>
                  <a:gd name="connsiteX345" fmla="*/ 1176256 w 1679153"/>
                  <a:gd name="connsiteY345" fmla="*/ 112277 h 1244590"/>
                  <a:gd name="connsiteX346" fmla="*/ 1174135 w 1679153"/>
                  <a:gd name="connsiteY346" fmla="*/ 105610 h 1244590"/>
                  <a:gd name="connsiteX347" fmla="*/ 1177316 w 1679153"/>
                  <a:gd name="connsiteY347" fmla="*/ 100458 h 1244590"/>
                  <a:gd name="connsiteX348" fmla="*/ 1182620 w 1679153"/>
                  <a:gd name="connsiteY348" fmla="*/ 98488 h 1244590"/>
                  <a:gd name="connsiteX349" fmla="*/ 1338989 w 1679153"/>
                  <a:gd name="connsiteY349" fmla="*/ 90003 h 1244590"/>
                  <a:gd name="connsiteX350" fmla="*/ 1359293 w 1679153"/>
                  <a:gd name="connsiteY350" fmla="*/ 87427 h 1244590"/>
                  <a:gd name="connsiteX351" fmla="*/ 1377021 w 1679153"/>
                  <a:gd name="connsiteY351" fmla="*/ 83336 h 1244590"/>
                  <a:gd name="connsiteX352" fmla="*/ 1390051 w 1679153"/>
                  <a:gd name="connsiteY352" fmla="*/ 78033 h 1244590"/>
                  <a:gd name="connsiteX353" fmla="*/ 1400355 w 1679153"/>
                  <a:gd name="connsiteY353" fmla="*/ 72275 h 1244590"/>
                  <a:gd name="connsiteX354" fmla="*/ 1402931 w 1679153"/>
                  <a:gd name="connsiteY354" fmla="*/ 69093 h 1244590"/>
                  <a:gd name="connsiteX355" fmla="*/ 1401264 w 1679153"/>
                  <a:gd name="connsiteY355" fmla="*/ 66518 h 1244590"/>
                  <a:gd name="connsiteX356" fmla="*/ 1398234 w 1679153"/>
                  <a:gd name="connsiteY356" fmla="*/ 63184 h 1244590"/>
                  <a:gd name="connsiteX357" fmla="*/ 1392021 w 1679153"/>
                  <a:gd name="connsiteY357" fmla="*/ 60911 h 1244590"/>
                  <a:gd name="connsiteX358" fmla="*/ 1375506 w 1679153"/>
                  <a:gd name="connsiteY358" fmla="*/ 55911 h 1244590"/>
                  <a:gd name="connsiteX359" fmla="*/ 1351414 w 1679153"/>
                  <a:gd name="connsiteY359" fmla="*/ 53184 h 1244590"/>
                  <a:gd name="connsiteX360" fmla="*/ 1343535 w 1679153"/>
                  <a:gd name="connsiteY360" fmla="*/ 53941 h 1244590"/>
                  <a:gd name="connsiteX361" fmla="*/ 1339747 w 1679153"/>
                  <a:gd name="connsiteY361" fmla="*/ 52578 h 1244590"/>
                  <a:gd name="connsiteX362" fmla="*/ 1337323 w 1679153"/>
                  <a:gd name="connsiteY362" fmla="*/ 49396 h 1244590"/>
                  <a:gd name="connsiteX363" fmla="*/ 1330352 w 1679153"/>
                  <a:gd name="connsiteY363" fmla="*/ 48790 h 1244590"/>
                  <a:gd name="connsiteX364" fmla="*/ 1322170 w 1679153"/>
                  <a:gd name="connsiteY364" fmla="*/ 49850 h 1244590"/>
                  <a:gd name="connsiteX365" fmla="*/ 1311867 w 1679153"/>
                  <a:gd name="connsiteY365" fmla="*/ 40153 h 1244590"/>
                  <a:gd name="connsiteX366" fmla="*/ 1304291 w 1679153"/>
                  <a:gd name="connsiteY366" fmla="*/ 30456 h 1244590"/>
                  <a:gd name="connsiteX367" fmla="*/ 1276411 w 1679153"/>
                  <a:gd name="connsiteY367" fmla="*/ 34850 h 1244590"/>
                  <a:gd name="connsiteX368" fmla="*/ 1252774 w 1679153"/>
                  <a:gd name="connsiteY368" fmla="*/ 36820 h 1244590"/>
                  <a:gd name="connsiteX369" fmla="*/ 1232622 w 1679153"/>
                  <a:gd name="connsiteY369" fmla="*/ 36062 h 1244590"/>
                  <a:gd name="connsiteX370" fmla="*/ 1221258 w 1679153"/>
                  <a:gd name="connsiteY370" fmla="*/ 36971 h 1244590"/>
                  <a:gd name="connsiteX371" fmla="*/ 1193226 w 1679153"/>
                  <a:gd name="connsiteY371" fmla="*/ 34395 h 1244590"/>
                  <a:gd name="connsiteX372" fmla="*/ 1171710 w 1679153"/>
                  <a:gd name="connsiteY372" fmla="*/ 33789 h 1244590"/>
                  <a:gd name="connsiteX373" fmla="*/ 1160195 w 1679153"/>
                  <a:gd name="connsiteY373" fmla="*/ 35001 h 1244590"/>
                  <a:gd name="connsiteX374" fmla="*/ 1129284 w 1679153"/>
                  <a:gd name="connsiteY374" fmla="*/ 41971 h 1244590"/>
                  <a:gd name="connsiteX375" fmla="*/ 1120496 w 1679153"/>
                  <a:gd name="connsiteY375" fmla="*/ 42880 h 1244590"/>
                  <a:gd name="connsiteX376" fmla="*/ 1115193 w 1679153"/>
                  <a:gd name="connsiteY376" fmla="*/ 42426 h 1244590"/>
                  <a:gd name="connsiteX377" fmla="*/ 1116254 w 1679153"/>
                  <a:gd name="connsiteY377" fmla="*/ 35456 h 1244590"/>
                  <a:gd name="connsiteX378" fmla="*/ 1128830 w 1679153"/>
                  <a:gd name="connsiteY378" fmla="*/ 35153 h 1244590"/>
                  <a:gd name="connsiteX379" fmla="*/ 1168225 w 1679153"/>
                  <a:gd name="connsiteY379" fmla="*/ 30456 h 1244590"/>
                  <a:gd name="connsiteX380" fmla="*/ 1237167 w 1679153"/>
                  <a:gd name="connsiteY380" fmla="*/ 28031 h 1244590"/>
                  <a:gd name="connsiteX381" fmla="*/ 1275199 w 1679153"/>
                  <a:gd name="connsiteY381" fmla="*/ 26062 h 1244590"/>
                  <a:gd name="connsiteX382" fmla="*/ 1282623 w 1679153"/>
                  <a:gd name="connsiteY382" fmla="*/ 25001 h 1244590"/>
                  <a:gd name="connsiteX383" fmla="*/ 1285805 w 1679153"/>
                  <a:gd name="connsiteY383" fmla="*/ 23334 h 1244590"/>
                  <a:gd name="connsiteX384" fmla="*/ 1281866 w 1679153"/>
                  <a:gd name="connsiteY384" fmla="*/ 21516 h 1244590"/>
                  <a:gd name="connsiteX385" fmla="*/ 1252168 w 1679153"/>
                  <a:gd name="connsiteY385" fmla="*/ 15455 h 1244590"/>
                  <a:gd name="connsiteX386" fmla="*/ 1234288 w 1679153"/>
                  <a:gd name="connsiteY386" fmla="*/ 13182 h 1244590"/>
                  <a:gd name="connsiteX387" fmla="*/ 1215500 w 1679153"/>
                  <a:gd name="connsiteY387" fmla="*/ 11364 h 1244590"/>
                  <a:gd name="connsiteX388" fmla="*/ 1212621 w 1679153"/>
                  <a:gd name="connsiteY388" fmla="*/ 11516 h 1244590"/>
                  <a:gd name="connsiteX389" fmla="*/ 1198681 w 1679153"/>
                  <a:gd name="connsiteY389" fmla="*/ 6667 h 1244590"/>
                  <a:gd name="connsiteX390" fmla="*/ 1172316 w 1679153"/>
                  <a:gd name="connsiteY390" fmla="*/ 2424 h 1244590"/>
                  <a:gd name="connsiteX391" fmla="*/ 1151861 w 1679153"/>
                  <a:gd name="connsiteY391" fmla="*/ 455 h 1244590"/>
                  <a:gd name="connsiteX392" fmla="*/ 1089434 w 1679153"/>
                  <a:gd name="connsiteY392" fmla="*/ 0 h 1244590"/>
                  <a:gd name="connsiteX393" fmla="*/ 1078070 w 1679153"/>
                  <a:gd name="connsiteY393" fmla="*/ 1515 h 1244590"/>
                  <a:gd name="connsiteX394" fmla="*/ 1066100 w 1679153"/>
                  <a:gd name="connsiteY394" fmla="*/ 4849 h 1244590"/>
                  <a:gd name="connsiteX395" fmla="*/ 1058070 w 1679153"/>
                  <a:gd name="connsiteY395" fmla="*/ 5000 h 1244590"/>
                  <a:gd name="connsiteX396" fmla="*/ 1049887 w 1679153"/>
                  <a:gd name="connsiteY396" fmla="*/ 3030 h 1244590"/>
                  <a:gd name="connsiteX397" fmla="*/ 1043372 w 1679153"/>
                  <a:gd name="connsiteY397" fmla="*/ 2121 h 1244590"/>
                  <a:gd name="connsiteX398" fmla="*/ 1035947 w 1679153"/>
                  <a:gd name="connsiteY398" fmla="*/ 2273 h 1244590"/>
                  <a:gd name="connsiteX399" fmla="*/ 1029887 w 1679153"/>
                  <a:gd name="connsiteY399" fmla="*/ 3788 h 1244590"/>
                  <a:gd name="connsiteX400" fmla="*/ 1022008 w 1679153"/>
                  <a:gd name="connsiteY400" fmla="*/ 4243 h 1244590"/>
                  <a:gd name="connsiteX401" fmla="*/ 990491 w 1679153"/>
                  <a:gd name="connsiteY401" fmla="*/ 4394 h 1244590"/>
                  <a:gd name="connsiteX402" fmla="*/ 989431 w 1679153"/>
                  <a:gd name="connsiteY402" fmla="*/ 5000 h 1244590"/>
                  <a:gd name="connsiteX403" fmla="*/ 988673 w 1679153"/>
                  <a:gd name="connsiteY403" fmla="*/ 6364 h 1244590"/>
                  <a:gd name="connsiteX404" fmla="*/ 988219 w 1679153"/>
                  <a:gd name="connsiteY404" fmla="*/ 8485 h 1244590"/>
                  <a:gd name="connsiteX405" fmla="*/ 985036 w 1679153"/>
                  <a:gd name="connsiteY405" fmla="*/ 9546 h 1244590"/>
                  <a:gd name="connsiteX406" fmla="*/ 976248 w 1679153"/>
                  <a:gd name="connsiteY406" fmla="*/ 9394 h 1244590"/>
                  <a:gd name="connsiteX407" fmla="*/ 966248 w 1679153"/>
                  <a:gd name="connsiteY407" fmla="*/ 7273 h 1244590"/>
                  <a:gd name="connsiteX408" fmla="*/ 959733 w 1679153"/>
                  <a:gd name="connsiteY408" fmla="*/ 7425 h 1244590"/>
                  <a:gd name="connsiteX409" fmla="*/ 956854 w 1679153"/>
                  <a:gd name="connsiteY409" fmla="*/ 8334 h 1244590"/>
                  <a:gd name="connsiteX410" fmla="*/ 953217 w 1679153"/>
                  <a:gd name="connsiteY410" fmla="*/ 11667 h 1244590"/>
                  <a:gd name="connsiteX411" fmla="*/ 950187 w 1679153"/>
                  <a:gd name="connsiteY411" fmla="*/ 13485 h 1244590"/>
                  <a:gd name="connsiteX412" fmla="*/ 947005 w 1679153"/>
                  <a:gd name="connsiteY412" fmla="*/ 13637 h 1244590"/>
                  <a:gd name="connsiteX413" fmla="*/ 937308 w 1679153"/>
                  <a:gd name="connsiteY413" fmla="*/ 12728 h 1244590"/>
                  <a:gd name="connsiteX414" fmla="*/ 934429 w 1679153"/>
                  <a:gd name="connsiteY414" fmla="*/ 13637 h 1244590"/>
                  <a:gd name="connsiteX415" fmla="*/ 931701 w 1679153"/>
                  <a:gd name="connsiteY415" fmla="*/ 15758 h 1244590"/>
                  <a:gd name="connsiteX416" fmla="*/ 931701 w 1679153"/>
                  <a:gd name="connsiteY416" fmla="*/ 18486 h 1244590"/>
                  <a:gd name="connsiteX417" fmla="*/ 934580 w 1679153"/>
                  <a:gd name="connsiteY417" fmla="*/ 21667 h 1244590"/>
                  <a:gd name="connsiteX418" fmla="*/ 937459 w 1679153"/>
                  <a:gd name="connsiteY418" fmla="*/ 23637 h 1244590"/>
                  <a:gd name="connsiteX419" fmla="*/ 952460 w 1679153"/>
                  <a:gd name="connsiteY419" fmla="*/ 28637 h 1244590"/>
                  <a:gd name="connsiteX420" fmla="*/ 953975 w 1679153"/>
                  <a:gd name="connsiteY420" fmla="*/ 30304 h 1244590"/>
                  <a:gd name="connsiteX421" fmla="*/ 951854 w 1679153"/>
                  <a:gd name="connsiteY421" fmla="*/ 34850 h 1244590"/>
                  <a:gd name="connsiteX422" fmla="*/ 951247 w 1679153"/>
                  <a:gd name="connsiteY422" fmla="*/ 38183 h 1244590"/>
                  <a:gd name="connsiteX423" fmla="*/ 949581 w 1679153"/>
                  <a:gd name="connsiteY423" fmla="*/ 40456 h 1244590"/>
                  <a:gd name="connsiteX424" fmla="*/ 948066 w 1679153"/>
                  <a:gd name="connsiteY424" fmla="*/ 41517 h 1244590"/>
                  <a:gd name="connsiteX425" fmla="*/ 944732 w 1679153"/>
                  <a:gd name="connsiteY425" fmla="*/ 41517 h 1244590"/>
                  <a:gd name="connsiteX426" fmla="*/ 926853 w 1679153"/>
                  <a:gd name="connsiteY426" fmla="*/ 29395 h 1244590"/>
                  <a:gd name="connsiteX427" fmla="*/ 916246 w 1679153"/>
                  <a:gd name="connsiteY427" fmla="*/ 27425 h 1244590"/>
                  <a:gd name="connsiteX428" fmla="*/ 908822 w 1679153"/>
                  <a:gd name="connsiteY428" fmla="*/ 23789 h 1244590"/>
                  <a:gd name="connsiteX429" fmla="*/ 900640 w 1679153"/>
                  <a:gd name="connsiteY429" fmla="*/ 20758 h 1244590"/>
                  <a:gd name="connsiteX430" fmla="*/ 887760 w 1679153"/>
                  <a:gd name="connsiteY430" fmla="*/ 18486 h 1244590"/>
                  <a:gd name="connsiteX431" fmla="*/ 878669 w 1679153"/>
                  <a:gd name="connsiteY431" fmla="*/ 22425 h 1244590"/>
                  <a:gd name="connsiteX432" fmla="*/ 870790 w 1679153"/>
                  <a:gd name="connsiteY432" fmla="*/ 28637 h 1244590"/>
                  <a:gd name="connsiteX433" fmla="*/ 862002 w 1679153"/>
                  <a:gd name="connsiteY433" fmla="*/ 34395 h 1244590"/>
                  <a:gd name="connsiteX434" fmla="*/ 855941 w 1679153"/>
                  <a:gd name="connsiteY434" fmla="*/ 32577 h 1244590"/>
                  <a:gd name="connsiteX435" fmla="*/ 851547 w 1679153"/>
                  <a:gd name="connsiteY435" fmla="*/ 32425 h 1244590"/>
                  <a:gd name="connsiteX436" fmla="*/ 847759 w 1679153"/>
                  <a:gd name="connsiteY436" fmla="*/ 31213 h 1244590"/>
                  <a:gd name="connsiteX437" fmla="*/ 841395 w 1679153"/>
                  <a:gd name="connsiteY437" fmla="*/ 27274 h 1244590"/>
                  <a:gd name="connsiteX438" fmla="*/ 835789 w 1679153"/>
                  <a:gd name="connsiteY438" fmla="*/ 25455 h 1244590"/>
                  <a:gd name="connsiteX439" fmla="*/ 821697 w 1679153"/>
                  <a:gd name="connsiteY439" fmla="*/ 23637 h 1244590"/>
                  <a:gd name="connsiteX440" fmla="*/ 815333 w 1679153"/>
                  <a:gd name="connsiteY440" fmla="*/ 23183 h 1244590"/>
                  <a:gd name="connsiteX441" fmla="*/ 810333 w 1679153"/>
                  <a:gd name="connsiteY441" fmla="*/ 23789 h 1244590"/>
                  <a:gd name="connsiteX442" fmla="*/ 782908 w 1679153"/>
                  <a:gd name="connsiteY442" fmla="*/ 31213 h 1244590"/>
                  <a:gd name="connsiteX443" fmla="*/ 770332 w 1679153"/>
                  <a:gd name="connsiteY443" fmla="*/ 32425 h 1244590"/>
                  <a:gd name="connsiteX444" fmla="*/ 757604 w 1679153"/>
                  <a:gd name="connsiteY444" fmla="*/ 35910 h 1244590"/>
                  <a:gd name="connsiteX445" fmla="*/ 749573 w 1679153"/>
                  <a:gd name="connsiteY445" fmla="*/ 40153 h 1244590"/>
                  <a:gd name="connsiteX446" fmla="*/ 736088 w 1679153"/>
                  <a:gd name="connsiteY446" fmla="*/ 37123 h 1244590"/>
                  <a:gd name="connsiteX447" fmla="*/ 728966 w 1679153"/>
                  <a:gd name="connsiteY447" fmla="*/ 36971 h 1244590"/>
                  <a:gd name="connsiteX448" fmla="*/ 720481 w 1679153"/>
                  <a:gd name="connsiteY448" fmla="*/ 44699 h 1244590"/>
                  <a:gd name="connsiteX449" fmla="*/ 729876 w 1679153"/>
                  <a:gd name="connsiteY449" fmla="*/ 51062 h 1244590"/>
                  <a:gd name="connsiteX450" fmla="*/ 737148 w 1679153"/>
                  <a:gd name="connsiteY450" fmla="*/ 51366 h 1244590"/>
                  <a:gd name="connsiteX451" fmla="*/ 752755 w 1679153"/>
                  <a:gd name="connsiteY451" fmla="*/ 50608 h 1244590"/>
                  <a:gd name="connsiteX452" fmla="*/ 760331 w 1679153"/>
                  <a:gd name="connsiteY452" fmla="*/ 49244 h 1244590"/>
                  <a:gd name="connsiteX453" fmla="*/ 767604 w 1679153"/>
                  <a:gd name="connsiteY453" fmla="*/ 49396 h 1244590"/>
                  <a:gd name="connsiteX454" fmla="*/ 781847 w 1679153"/>
                  <a:gd name="connsiteY454" fmla="*/ 51214 h 1244590"/>
                  <a:gd name="connsiteX455" fmla="*/ 858517 w 1679153"/>
                  <a:gd name="connsiteY455" fmla="*/ 56517 h 1244590"/>
                  <a:gd name="connsiteX456" fmla="*/ 860335 w 1679153"/>
                  <a:gd name="connsiteY456" fmla="*/ 58487 h 1244590"/>
                  <a:gd name="connsiteX457" fmla="*/ 860638 w 1679153"/>
                  <a:gd name="connsiteY457" fmla="*/ 61517 h 1244590"/>
                  <a:gd name="connsiteX458" fmla="*/ 846395 w 1679153"/>
                  <a:gd name="connsiteY458" fmla="*/ 63184 h 1244590"/>
                  <a:gd name="connsiteX459" fmla="*/ 843668 w 1679153"/>
                  <a:gd name="connsiteY459" fmla="*/ 62578 h 1244590"/>
                  <a:gd name="connsiteX460" fmla="*/ 841546 w 1679153"/>
                  <a:gd name="connsiteY460" fmla="*/ 61214 h 1244590"/>
                  <a:gd name="connsiteX461" fmla="*/ 836698 w 1679153"/>
                  <a:gd name="connsiteY461" fmla="*/ 60154 h 1244590"/>
                  <a:gd name="connsiteX462" fmla="*/ 825334 w 1679153"/>
                  <a:gd name="connsiteY462" fmla="*/ 59093 h 1244590"/>
                  <a:gd name="connsiteX463" fmla="*/ 759271 w 1679153"/>
                  <a:gd name="connsiteY463" fmla="*/ 56063 h 1244590"/>
                  <a:gd name="connsiteX464" fmla="*/ 751240 w 1679153"/>
                  <a:gd name="connsiteY464" fmla="*/ 56972 h 1244590"/>
                  <a:gd name="connsiteX465" fmla="*/ 745785 w 1679153"/>
                  <a:gd name="connsiteY465" fmla="*/ 58639 h 1244590"/>
                  <a:gd name="connsiteX466" fmla="*/ 745937 w 1679153"/>
                  <a:gd name="connsiteY466" fmla="*/ 60154 h 1244590"/>
                  <a:gd name="connsiteX467" fmla="*/ 772605 w 1679153"/>
                  <a:gd name="connsiteY467" fmla="*/ 72578 h 1244590"/>
                  <a:gd name="connsiteX468" fmla="*/ 779423 w 1679153"/>
                  <a:gd name="connsiteY468" fmla="*/ 77427 h 1244590"/>
                  <a:gd name="connsiteX469" fmla="*/ 781847 w 1679153"/>
                  <a:gd name="connsiteY469" fmla="*/ 84397 h 1244590"/>
                  <a:gd name="connsiteX470" fmla="*/ 779271 w 1679153"/>
                  <a:gd name="connsiteY470" fmla="*/ 88185 h 1244590"/>
                  <a:gd name="connsiteX471" fmla="*/ 773362 w 1679153"/>
                  <a:gd name="connsiteY471" fmla="*/ 91518 h 1244590"/>
                  <a:gd name="connsiteX472" fmla="*/ 770938 w 1679153"/>
                  <a:gd name="connsiteY472" fmla="*/ 101973 h 1244590"/>
                  <a:gd name="connsiteX473" fmla="*/ 771241 w 1679153"/>
                  <a:gd name="connsiteY473" fmla="*/ 107277 h 1244590"/>
                  <a:gd name="connsiteX474" fmla="*/ 772301 w 1679153"/>
                  <a:gd name="connsiteY474" fmla="*/ 111822 h 1244590"/>
                  <a:gd name="connsiteX475" fmla="*/ 774120 w 1679153"/>
                  <a:gd name="connsiteY475" fmla="*/ 115762 h 1244590"/>
                  <a:gd name="connsiteX476" fmla="*/ 773968 w 1679153"/>
                  <a:gd name="connsiteY476" fmla="*/ 118944 h 1244590"/>
                  <a:gd name="connsiteX477" fmla="*/ 771847 w 1679153"/>
                  <a:gd name="connsiteY477" fmla="*/ 121368 h 1244590"/>
                  <a:gd name="connsiteX478" fmla="*/ 768513 w 1679153"/>
                  <a:gd name="connsiteY478" fmla="*/ 123489 h 1244590"/>
                  <a:gd name="connsiteX479" fmla="*/ 764119 w 1679153"/>
                  <a:gd name="connsiteY479" fmla="*/ 122883 h 1244590"/>
                  <a:gd name="connsiteX480" fmla="*/ 753210 w 1679153"/>
                  <a:gd name="connsiteY480" fmla="*/ 120156 h 1244590"/>
                  <a:gd name="connsiteX481" fmla="*/ 716996 w 1679153"/>
                  <a:gd name="connsiteY481" fmla="*/ 102276 h 1244590"/>
                  <a:gd name="connsiteX482" fmla="*/ 696692 w 1679153"/>
                  <a:gd name="connsiteY482" fmla="*/ 97125 h 1244590"/>
                  <a:gd name="connsiteX483" fmla="*/ 655479 w 1679153"/>
                  <a:gd name="connsiteY483" fmla="*/ 81518 h 1244590"/>
                  <a:gd name="connsiteX484" fmla="*/ 623356 w 1679153"/>
                  <a:gd name="connsiteY484" fmla="*/ 76973 h 1244590"/>
                  <a:gd name="connsiteX485" fmla="*/ 601992 w 1679153"/>
                  <a:gd name="connsiteY485" fmla="*/ 76821 h 1244590"/>
                  <a:gd name="connsiteX486" fmla="*/ 597295 w 1679153"/>
                  <a:gd name="connsiteY486" fmla="*/ 77730 h 1244590"/>
                  <a:gd name="connsiteX487" fmla="*/ 598810 w 1679153"/>
                  <a:gd name="connsiteY487" fmla="*/ 82882 h 1244590"/>
                  <a:gd name="connsiteX488" fmla="*/ 604871 w 1679153"/>
                  <a:gd name="connsiteY488" fmla="*/ 92731 h 1244590"/>
                  <a:gd name="connsiteX489" fmla="*/ 613508 w 1679153"/>
                  <a:gd name="connsiteY489" fmla="*/ 100610 h 1244590"/>
                  <a:gd name="connsiteX490" fmla="*/ 632751 w 1679153"/>
                  <a:gd name="connsiteY490" fmla="*/ 110459 h 1244590"/>
                  <a:gd name="connsiteX491" fmla="*/ 636993 w 1679153"/>
                  <a:gd name="connsiteY491" fmla="*/ 114095 h 1244590"/>
                  <a:gd name="connsiteX492" fmla="*/ 634115 w 1679153"/>
                  <a:gd name="connsiteY492" fmla="*/ 115459 h 1244590"/>
                  <a:gd name="connsiteX493" fmla="*/ 628205 w 1679153"/>
                  <a:gd name="connsiteY493" fmla="*/ 115762 h 1244590"/>
                  <a:gd name="connsiteX494" fmla="*/ 614720 w 1679153"/>
                  <a:gd name="connsiteY494" fmla="*/ 114701 h 1244590"/>
                  <a:gd name="connsiteX495" fmla="*/ 600174 w 1679153"/>
                  <a:gd name="connsiteY495" fmla="*/ 115610 h 1244590"/>
                  <a:gd name="connsiteX496" fmla="*/ 587598 w 1679153"/>
                  <a:gd name="connsiteY496" fmla="*/ 106974 h 1244590"/>
                  <a:gd name="connsiteX497" fmla="*/ 576537 w 1679153"/>
                  <a:gd name="connsiteY497" fmla="*/ 103489 h 1244590"/>
                  <a:gd name="connsiteX498" fmla="*/ 548657 w 1679153"/>
                  <a:gd name="connsiteY498" fmla="*/ 87124 h 1244590"/>
                  <a:gd name="connsiteX499" fmla="*/ 541838 w 1679153"/>
                  <a:gd name="connsiteY499" fmla="*/ 87124 h 1244590"/>
                  <a:gd name="connsiteX500" fmla="*/ 539414 w 1679153"/>
                  <a:gd name="connsiteY500" fmla="*/ 91822 h 1244590"/>
                  <a:gd name="connsiteX501" fmla="*/ 539717 w 1679153"/>
                  <a:gd name="connsiteY501" fmla="*/ 100610 h 1244590"/>
                  <a:gd name="connsiteX502" fmla="*/ 544566 w 1679153"/>
                  <a:gd name="connsiteY502" fmla="*/ 105913 h 1244590"/>
                  <a:gd name="connsiteX503" fmla="*/ 543354 w 1679153"/>
                  <a:gd name="connsiteY503" fmla="*/ 110610 h 1244590"/>
                  <a:gd name="connsiteX504" fmla="*/ 541384 w 1679153"/>
                  <a:gd name="connsiteY504" fmla="*/ 116974 h 1244590"/>
                  <a:gd name="connsiteX505" fmla="*/ 538505 w 1679153"/>
                  <a:gd name="connsiteY505" fmla="*/ 121671 h 1244590"/>
                  <a:gd name="connsiteX506" fmla="*/ 534868 w 1679153"/>
                  <a:gd name="connsiteY506" fmla="*/ 124702 h 1244590"/>
                  <a:gd name="connsiteX507" fmla="*/ 530777 w 1679153"/>
                  <a:gd name="connsiteY507" fmla="*/ 128944 h 1244590"/>
                  <a:gd name="connsiteX508" fmla="*/ 527292 w 1679153"/>
                  <a:gd name="connsiteY508" fmla="*/ 131217 h 1244590"/>
                  <a:gd name="connsiteX509" fmla="*/ 526383 w 1679153"/>
                  <a:gd name="connsiteY509" fmla="*/ 129702 h 1244590"/>
                  <a:gd name="connsiteX510" fmla="*/ 526232 w 1679153"/>
                  <a:gd name="connsiteY510" fmla="*/ 125611 h 1244590"/>
                  <a:gd name="connsiteX511" fmla="*/ 526535 w 1679153"/>
                  <a:gd name="connsiteY511" fmla="*/ 104095 h 1244590"/>
                  <a:gd name="connsiteX512" fmla="*/ 524110 w 1679153"/>
                  <a:gd name="connsiteY512" fmla="*/ 97276 h 1244590"/>
                  <a:gd name="connsiteX513" fmla="*/ 519110 w 1679153"/>
                  <a:gd name="connsiteY513" fmla="*/ 92428 h 1244590"/>
                  <a:gd name="connsiteX514" fmla="*/ 515474 w 1679153"/>
                  <a:gd name="connsiteY514" fmla="*/ 89549 h 1244590"/>
                  <a:gd name="connsiteX515" fmla="*/ 507595 w 1679153"/>
                  <a:gd name="connsiteY515" fmla="*/ 86367 h 1244590"/>
                  <a:gd name="connsiteX516" fmla="*/ 500170 w 1679153"/>
                  <a:gd name="connsiteY516" fmla="*/ 84700 h 1244590"/>
                  <a:gd name="connsiteX517" fmla="*/ 495321 w 1679153"/>
                  <a:gd name="connsiteY517" fmla="*/ 84700 h 1244590"/>
                  <a:gd name="connsiteX518" fmla="*/ 478351 w 1679153"/>
                  <a:gd name="connsiteY518" fmla="*/ 88185 h 1244590"/>
                  <a:gd name="connsiteX519" fmla="*/ 474412 w 1679153"/>
                  <a:gd name="connsiteY519" fmla="*/ 89246 h 1244590"/>
                  <a:gd name="connsiteX520" fmla="*/ 472745 w 1679153"/>
                  <a:gd name="connsiteY520" fmla="*/ 91670 h 1244590"/>
                  <a:gd name="connsiteX521" fmla="*/ 454562 w 1679153"/>
                  <a:gd name="connsiteY521" fmla="*/ 93337 h 1244590"/>
                  <a:gd name="connsiteX522" fmla="*/ 444259 w 1679153"/>
                  <a:gd name="connsiteY522" fmla="*/ 92882 h 1244590"/>
                  <a:gd name="connsiteX523" fmla="*/ 413349 w 1679153"/>
                  <a:gd name="connsiteY523" fmla="*/ 96822 h 1244590"/>
                  <a:gd name="connsiteX524" fmla="*/ 385923 w 1679153"/>
                  <a:gd name="connsiteY524" fmla="*/ 101822 h 1244590"/>
                  <a:gd name="connsiteX525" fmla="*/ 371074 w 1679153"/>
                  <a:gd name="connsiteY525" fmla="*/ 107580 h 1244590"/>
                  <a:gd name="connsiteX526" fmla="*/ 370923 w 1679153"/>
                  <a:gd name="connsiteY526" fmla="*/ 109246 h 1244590"/>
                  <a:gd name="connsiteX527" fmla="*/ 383196 w 1679153"/>
                  <a:gd name="connsiteY527" fmla="*/ 113337 h 1244590"/>
                  <a:gd name="connsiteX528" fmla="*/ 390015 w 1679153"/>
                  <a:gd name="connsiteY528" fmla="*/ 117429 h 1244590"/>
                  <a:gd name="connsiteX529" fmla="*/ 399257 w 1679153"/>
                  <a:gd name="connsiteY529" fmla="*/ 124398 h 1244590"/>
                  <a:gd name="connsiteX530" fmla="*/ 409561 w 1679153"/>
                  <a:gd name="connsiteY530" fmla="*/ 130459 h 1244590"/>
                  <a:gd name="connsiteX531" fmla="*/ 428349 w 1679153"/>
                  <a:gd name="connsiteY531" fmla="*/ 138944 h 1244590"/>
                  <a:gd name="connsiteX532" fmla="*/ 436834 w 1679153"/>
                  <a:gd name="connsiteY532" fmla="*/ 143642 h 1244590"/>
                  <a:gd name="connsiteX533" fmla="*/ 442289 w 1679153"/>
                  <a:gd name="connsiteY533" fmla="*/ 147884 h 1244590"/>
                  <a:gd name="connsiteX534" fmla="*/ 443501 w 1679153"/>
                  <a:gd name="connsiteY534" fmla="*/ 150005 h 1244590"/>
                  <a:gd name="connsiteX535" fmla="*/ 440319 w 1679153"/>
                  <a:gd name="connsiteY535" fmla="*/ 149854 h 1244590"/>
                  <a:gd name="connsiteX536" fmla="*/ 436683 w 1679153"/>
                  <a:gd name="connsiteY536" fmla="*/ 148793 h 1244590"/>
                  <a:gd name="connsiteX537" fmla="*/ 430622 w 1679153"/>
                  <a:gd name="connsiteY537" fmla="*/ 145763 h 1244590"/>
                  <a:gd name="connsiteX538" fmla="*/ 419107 w 1679153"/>
                  <a:gd name="connsiteY538" fmla="*/ 138490 h 1244590"/>
                  <a:gd name="connsiteX539" fmla="*/ 411227 w 1679153"/>
                  <a:gd name="connsiteY539" fmla="*/ 135156 h 1244590"/>
                  <a:gd name="connsiteX540" fmla="*/ 403348 w 1679153"/>
                  <a:gd name="connsiteY540" fmla="*/ 133187 h 1244590"/>
                  <a:gd name="connsiteX541" fmla="*/ 393803 w 1679153"/>
                  <a:gd name="connsiteY541" fmla="*/ 128793 h 1244590"/>
                  <a:gd name="connsiteX542" fmla="*/ 379408 w 1679153"/>
                  <a:gd name="connsiteY542" fmla="*/ 119853 h 1244590"/>
                  <a:gd name="connsiteX543" fmla="*/ 370468 w 1679153"/>
                  <a:gd name="connsiteY543" fmla="*/ 115913 h 1244590"/>
                  <a:gd name="connsiteX544" fmla="*/ 360619 w 1679153"/>
                  <a:gd name="connsiteY544" fmla="*/ 114701 h 1244590"/>
                  <a:gd name="connsiteX545" fmla="*/ 353498 w 1679153"/>
                  <a:gd name="connsiteY545" fmla="*/ 112731 h 1244590"/>
                  <a:gd name="connsiteX546" fmla="*/ 348043 w 1679153"/>
                  <a:gd name="connsiteY546" fmla="*/ 112428 h 1244590"/>
                  <a:gd name="connsiteX547" fmla="*/ 338952 w 1679153"/>
                  <a:gd name="connsiteY547" fmla="*/ 113641 h 1244590"/>
                  <a:gd name="connsiteX548" fmla="*/ 327740 w 1679153"/>
                  <a:gd name="connsiteY548" fmla="*/ 117883 h 1244590"/>
                  <a:gd name="connsiteX549" fmla="*/ 323042 w 1679153"/>
                  <a:gd name="connsiteY549" fmla="*/ 120914 h 1244590"/>
                  <a:gd name="connsiteX550" fmla="*/ 317891 w 1679153"/>
                  <a:gd name="connsiteY550" fmla="*/ 125005 h 1244590"/>
                  <a:gd name="connsiteX551" fmla="*/ 316981 w 1679153"/>
                  <a:gd name="connsiteY551" fmla="*/ 128490 h 1244590"/>
                  <a:gd name="connsiteX552" fmla="*/ 318648 w 1679153"/>
                  <a:gd name="connsiteY552" fmla="*/ 132581 h 1244590"/>
                  <a:gd name="connsiteX553" fmla="*/ 319860 w 1679153"/>
                  <a:gd name="connsiteY553" fmla="*/ 139096 h 1244590"/>
                  <a:gd name="connsiteX554" fmla="*/ 320769 w 1679153"/>
                  <a:gd name="connsiteY554" fmla="*/ 148036 h 1244590"/>
                  <a:gd name="connsiteX555" fmla="*/ 319103 w 1679153"/>
                  <a:gd name="connsiteY555" fmla="*/ 155460 h 1244590"/>
                  <a:gd name="connsiteX556" fmla="*/ 314860 w 1679153"/>
                  <a:gd name="connsiteY556" fmla="*/ 161521 h 1244590"/>
                  <a:gd name="connsiteX557" fmla="*/ 311678 w 1679153"/>
                  <a:gd name="connsiteY557" fmla="*/ 165006 h 1244590"/>
                  <a:gd name="connsiteX558" fmla="*/ 309405 w 1679153"/>
                  <a:gd name="connsiteY558" fmla="*/ 166067 h 1244590"/>
                  <a:gd name="connsiteX559" fmla="*/ 306224 w 1679153"/>
                  <a:gd name="connsiteY559" fmla="*/ 166067 h 1244590"/>
                  <a:gd name="connsiteX560" fmla="*/ 300011 w 1679153"/>
                  <a:gd name="connsiteY560" fmla="*/ 164703 h 1244590"/>
                  <a:gd name="connsiteX561" fmla="*/ 294860 w 1679153"/>
                  <a:gd name="connsiteY561" fmla="*/ 162430 h 1244590"/>
                  <a:gd name="connsiteX562" fmla="*/ 288041 w 1679153"/>
                  <a:gd name="connsiteY562" fmla="*/ 161066 h 1244590"/>
                  <a:gd name="connsiteX563" fmla="*/ 277889 w 1679153"/>
                  <a:gd name="connsiteY563" fmla="*/ 159854 h 1244590"/>
                  <a:gd name="connsiteX564" fmla="*/ 271525 w 1679153"/>
                  <a:gd name="connsiteY564" fmla="*/ 159551 h 1244590"/>
                  <a:gd name="connsiteX565" fmla="*/ 269101 w 1679153"/>
                  <a:gd name="connsiteY565" fmla="*/ 160309 h 1244590"/>
                  <a:gd name="connsiteX566" fmla="*/ 263040 w 1679153"/>
                  <a:gd name="connsiteY566" fmla="*/ 164400 h 1244590"/>
                  <a:gd name="connsiteX567" fmla="*/ 262434 w 1679153"/>
                  <a:gd name="connsiteY567" fmla="*/ 168339 h 1244590"/>
                  <a:gd name="connsiteX568" fmla="*/ 266222 w 1679153"/>
                  <a:gd name="connsiteY568" fmla="*/ 177734 h 1244590"/>
                  <a:gd name="connsiteX569" fmla="*/ 268040 w 1679153"/>
                  <a:gd name="connsiteY569" fmla="*/ 180916 h 1244590"/>
                  <a:gd name="connsiteX570" fmla="*/ 267283 w 1679153"/>
                  <a:gd name="connsiteY570" fmla="*/ 181219 h 1244590"/>
                  <a:gd name="connsiteX571" fmla="*/ 256828 w 1679153"/>
                  <a:gd name="connsiteY571" fmla="*/ 172885 h 1244590"/>
                  <a:gd name="connsiteX572" fmla="*/ 253040 w 1679153"/>
                  <a:gd name="connsiteY572" fmla="*/ 170915 h 1244590"/>
                  <a:gd name="connsiteX573" fmla="*/ 249100 w 1679153"/>
                  <a:gd name="connsiteY573" fmla="*/ 170006 h 1244590"/>
                  <a:gd name="connsiteX574" fmla="*/ 244403 w 1679153"/>
                  <a:gd name="connsiteY574" fmla="*/ 170006 h 1244590"/>
                  <a:gd name="connsiteX575" fmla="*/ 227281 w 1679153"/>
                  <a:gd name="connsiteY575" fmla="*/ 173643 h 1244590"/>
                  <a:gd name="connsiteX576" fmla="*/ 222432 w 1679153"/>
                  <a:gd name="connsiteY576" fmla="*/ 175764 h 1244590"/>
                  <a:gd name="connsiteX577" fmla="*/ 212281 w 1679153"/>
                  <a:gd name="connsiteY577" fmla="*/ 184098 h 1244590"/>
                  <a:gd name="connsiteX578" fmla="*/ 204250 w 1679153"/>
                  <a:gd name="connsiteY578" fmla="*/ 188643 h 1244590"/>
                  <a:gd name="connsiteX579" fmla="*/ 196371 w 1679153"/>
                  <a:gd name="connsiteY579" fmla="*/ 193795 h 1244590"/>
                  <a:gd name="connsiteX580" fmla="*/ 192128 w 1679153"/>
                  <a:gd name="connsiteY580" fmla="*/ 195462 h 1244590"/>
                  <a:gd name="connsiteX581" fmla="*/ 187734 w 1679153"/>
                  <a:gd name="connsiteY581" fmla="*/ 196219 h 1244590"/>
                  <a:gd name="connsiteX582" fmla="*/ 183037 w 1679153"/>
                  <a:gd name="connsiteY582" fmla="*/ 197734 h 1244590"/>
                  <a:gd name="connsiteX583" fmla="*/ 176522 w 1679153"/>
                  <a:gd name="connsiteY583" fmla="*/ 200310 h 1244590"/>
                  <a:gd name="connsiteX584" fmla="*/ 170006 w 1679153"/>
                  <a:gd name="connsiteY584" fmla="*/ 203795 h 1244590"/>
                  <a:gd name="connsiteX585" fmla="*/ 159400 w 1679153"/>
                  <a:gd name="connsiteY585" fmla="*/ 211220 h 1244590"/>
                  <a:gd name="connsiteX586" fmla="*/ 157885 w 1679153"/>
                  <a:gd name="connsiteY586" fmla="*/ 213038 h 1244590"/>
                  <a:gd name="connsiteX587" fmla="*/ 153945 w 1679153"/>
                  <a:gd name="connsiteY587" fmla="*/ 219705 h 1244590"/>
                  <a:gd name="connsiteX588" fmla="*/ 153793 w 1679153"/>
                  <a:gd name="connsiteY588" fmla="*/ 223341 h 1244590"/>
                  <a:gd name="connsiteX589" fmla="*/ 155460 w 1679153"/>
                  <a:gd name="connsiteY589" fmla="*/ 226826 h 1244590"/>
                  <a:gd name="connsiteX590" fmla="*/ 157733 w 1679153"/>
                  <a:gd name="connsiteY590" fmla="*/ 229554 h 1244590"/>
                  <a:gd name="connsiteX591" fmla="*/ 160460 w 1679153"/>
                  <a:gd name="connsiteY591" fmla="*/ 231524 h 1244590"/>
                  <a:gd name="connsiteX592" fmla="*/ 163642 w 1679153"/>
                  <a:gd name="connsiteY592" fmla="*/ 232584 h 1244590"/>
                  <a:gd name="connsiteX593" fmla="*/ 174400 w 1679153"/>
                  <a:gd name="connsiteY593" fmla="*/ 232281 h 1244590"/>
                  <a:gd name="connsiteX594" fmla="*/ 178643 w 1679153"/>
                  <a:gd name="connsiteY594" fmla="*/ 232736 h 1244590"/>
                  <a:gd name="connsiteX595" fmla="*/ 187128 w 1679153"/>
                  <a:gd name="connsiteY595" fmla="*/ 235463 h 1244590"/>
                  <a:gd name="connsiteX596" fmla="*/ 191825 w 1679153"/>
                  <a:gd name="connsiteY596" fmla="*/ 235766 h 1244590"/>
                  <a:gd name="connsiteX597" fmla="*/ 198795 w 1679153"/>
                  <a:gd name="connsiteY597" fmla="*/ 234251 h 1244590"/>
                  <a:gd name="connsiteX598" fmla="*/ 203189 w 1679153"/>
                  <a:gd name="connsiteY598" fmla="*/ 232433 h 1244590"/>
                  <a:gd name="connsiteX599" fmla="*/ 207887 w 1679153"/>
                  <a:gd name="connsiteY599" fmla="*/ 231978 h 1244590"/>
                  <a:gd name="connsiteX600" fmla="*/ 214402 w 1679153"/>
                  <a:gd name="connsiteY600" fmla="*/ 232130 h 1244590"/>
                  <a:gd name="connsiteX601" fmla="*/ 221220 w 1679153"/>
                  <a:gd name="connsiteY601" fmla="*/ 230766 h 1244590"/>
                  <a:gd name="connsiteX602" fmla="*/ 226372 w 1679153"/>
                  <a:gd name="connsiteY602" fmla="*/ 228796 h 1244590"/>
                  <a:gd name="connsiteX603" fmla="*/ 229251 w 1679153"/>
                  <a:gd name="connsiteY603" fmla="*/ 228493 h 1244590"/>
                  <a:gd name="connsiteX604" fmla="*/ 232281 w 1679153"/>
                  <a:gd name="connsiteY604" fmla="*/ 228948 h 1244590"/>
                  <a:gd name="connsiteX605" fmla="*/ 235615 w 1679153"/>
                  <a:gd name="connsiteY605" fmla="*/ 230311 h 1244590"/>
                  <a:gd name="connsiteX606" fmla="*/ 236373 w 1679153"/>
                  <a:gd name="connsiteY606" fmla="*/ 231069 h 1244590"/>
                  <a:gd name="connsiteX607" fmla="*/ 228493 w 1679153"/>
                  <a:gd name="connsiteY607" fmla="*/ 232736 h 1244590"/>
                  <a:gd name="connsiteX608" fmla="*/ 223948 w 1679153"/>
                  <a:gd name="connsiteY608" fmla="*/ 234706 h 1244590"/>
                  <a:gd name="connsiteX609" fmla="*/ 219554 w 1679153"/>
                  <a:gd name="connsiteY609" fmla="*/ 237281 h 1244590"/>
                  <a:gd name="connsiteX610" fmla="*/ 218341 w 1679153"/>
                  <a:gd name="connsiteY610" fmla="*/ 239251 h 1244590"/>
                  <a:gd name="connsiteX611" fmla="*/ 216523 w 1679153"/>
                  <a:gd name="connsiteY611" fmla="*/ 244706 h 1244590"/>
                  <a:gd name="connsiteX612" fmla="*/ 214250 w 1679153"/>
                  <a:gd name="connsiteY612" fmla="*/ 253646 h 1244590"/>
                  <a:gd name="connsiteX613" fmla="*/ 210765 w 1679153"/>
                  <a:gd name="connsiteY613" fmla="*/ 262888 h 1244590"/>
                  <a:gd name="connsiteX614" fmla="*/ 206068 w 1679153"/>
                  <a:gd name="connsiteY614" fmla="*/ 272283 h 1244590"/>
                  <a:gd name="connsiteX615" fmla="*/ 202432 w 1679153"/>
                  <a:gd name="connsiteY615" fmla="*/ 278192 h 1244590"/>
                  <a:gd name="connsiteX616" fmla="*/ 198644 w 1679153"/>
                  <a:gd name="connsiteY616" fmla="*/ 282132 h 1244590"/>
                  <a:gd name="connsiteX617" fmla="*/ 191371 w 1679153"/>
                  <a:gd name="connsiteY617" fmla="*/ 288495 h 1244590"/>
                  <a:gd name="connsiteX618" fmla="*/ 187431 w 1679153"/>
                  <a:gd name="connsiteY618" fmla="*/ 291071 h 1244590"/>
                  <a:gd name="connsiteX619" fmla="*/ 184552 w 1679153"/>
                  <a:gd name="connsiteY619" fmla="*/ 291980 h 1244590"/>
                  <a:gd name="connsiteX620" fmla="*/ 180007 w 1679153"/>
                  <a:gd name="connsiteY620" fmla="*/ 291980 h 1244590"/>
                  <a:gd name="connsiteX621" fmla="*/ 170612 w 1679153"/>
                  <a:gd name="connsiteY621" fmla="*/ 290768 h 1244590"/>
                  <a:gd name="connsiteX622" fmla="*/ 149551 w 1679153"/>
                  <a:gd name="connsiteY622" fmla="*/ 291677 h 1244590"/>
                  <a:gd name="connsiteX623" fmla="*/ 146066 w 1679153"/>
                  <a:gd name="connsiteY623" fmla="*/ 292132 h 1244590"/>
                  <a:gd name="connsiteX624" fmla="*/ 139854 w 1679153"/>
                  <a:gd name="connsiteY624" fmla="*/ 294405 h 1244590"/>
                  <a:gd name="connsiteX625" fmla="*/ 135460 w 1679153"/>
                  <a:gd name="connsiteY625" fmla="*/ 295162 h 1244590"/>
                  <a:gd name="connsiteX626" fmla="*/ 130005 w 1679153"/>
                  <a:gd name="connsiteY626" fmla="*/ 295314 h 1244590"/>
                  <a:gd name="connsiteX627" fmla="*/ 121520 w 1679153"/>
                  <a:gd name="connsiteY627" fmla="*/ 296981 h 1244590"/>
                  <a:gd name="connsiteX628" fmla="*/ 109095 w 1679153"/>
                  <a:gd name="connsiteY628" fmla="*/ 300466 h 1244590"/>
                  <a:gd name="connsiteX629" fmla="*/ 103640 w 1679153"/>
                  <a:gd name="connsiteY629" fmla="*/ 302738 h 1244590"/>
                  <a:gd name="connsiteX630" fmla="*/ 104095 w 1679153"/>
                  <a:gd name="connsiteY630" fmla="*/ 303950 h 1244590"/>
                  <a:gd name="connsiteX631" fmla="*/ 106519 w 1679153"/>
                  <a:gd name="connsiteY631" fmla="*/ 306375 h 1244590"/>
                  <a:gd name="connsiteX632" fmla="*/ 106368 w 1679153"/>
                  <a:gd name="connsiteY632" fmla="*/ 307284 h 1244590"/>
                  <a:gd name="connsiteX633" fmla="*/ 104549 w 1679153"/>
                  <a:gd name="connsiteY633" fmla="*/ 307890 h 1244590"/>
                  <a:gd name="connsiteX634" fmla="*/ 77730 w 1679153"/>
                  <a:gd name="connsiteY634" fmla="*/ 312739 h 1244590"/>
                  <a:gd name="connsiteX635" fmla="*/ 65609 w 1679153"/>
                  <a:gd name="connsiteY635" fmla="*/ 315921 h 1244590"/>
                  <a:gd name="connsiteX636" fmla="*/ 59851 w 1679153"/>
                  <a:gd name="connsiteY636" fmla="*/ 318042 h 1244590"/>
                  <a:gd name="connsiteX637" fmla="*/ 56366 w 1679153"/>
                  <a:gd name="connsiteY637" fmla="*/ 320163 h 1244590"/>
                  <a:gd name="connsiteX638" fmla="*/ 52275 w 1679153"/>
                  <a:gd name="connsiteY638" fmla="*/ 321224 h 1244590"/>
                  <a:gd name="connsiteX639" fmla="*/ 38941 w 1679153"/>
                  <a:gd name="connsiteY639" fmla="*/ 320921 h 1244590"/>
                  <a:gd name="connsiteX640" fmla="*/ 35607 w 1679153"/>
                  <a:gd name="connsiteY640" fmla="*/ 321072 h 1244590"/>
                  <a:gd name="connsiteX641" fmla="*/ 31819 w 1679153"/>
                  <a:gd name="connsiteY641" fmla="*/ 321981 h 1244590"/>
                  <a:gd name="connsiteX642" fmla="*/ 21667 w 1679153"/>
                  <a:gd name="connsiteY642" fmla="*/ 326224 h 1244590"/>
                  <a:gd name="connsiteX643" fmla="*/ 11515 w 1679153"/>
                  <a:gd name="connsiteY643" fmla="*/ 329103 h 1244590"/>
                  <a:gd name="connsiteX644" fmla="*/ 9394 w 1679153"/>
                  <a:gd name="connsiteY644" fmla="*/ 330467 h 1244590"/>
                  <a:gd name="connsiteX645" fmla="*/ 3788 w 1679153"/>
                  <a:gd name="connsiteY645" fmla="*/ 335467 h 1244590"/>
                  <a:gd name="connsiteX646" fmla="*/ 2879 w 1679153"/>
                  <a:gd name="connsiteY646" fmla="*/ 337740 h 1244590"/>
                  <a:gd name="connsiteX647" fmla="*/ 4091 w 1679153"/>
                  <a:gd name="connsiteY647" fmla="*/ 339406 h 1244590"/>
                  <a:gd name="connsiteX648" fmla="*/ 6818 w 1679153"/>
                  <a:gd name="connsiteY648" fmla="*/ 341528 h 1244590"/>
                  <a:gd name="connsiteX649" fmla="*/ 6515 w 1679153"/>
                  <a:gd name="connsiteY649" fmla="*/ 342740 h 1244590"/>
                  <a:gd name="connsiteX650" fmla="*/ 0 w 1679153"/>
                  <a:gd name="connsiteY650" fmla="*/ 347740 h 1244590"/>
                  <a:gd name="connsiteX651" fmla="*/ 758 w 1679153"/>
                  <a:gd name="connsiteY651" fmla="*/ 350164 h 1244590"/>
                  <a:gd name="connsiteX652" fmla="*/ 6364 w 1679153"/>
                  <a:gd name="connsiteY652" fmla="*/ 354255 h 1244590"/>
                  <a:gd name="connsiteX653" fmla="*/ 15607 w 1679153"/>
                  <a:gd name="connsiteY653" fmla="*/ 359862 h 1244590"/>
                  <a:gd name="connsiteX654" fmla="*/ 18031 w 1679153"/>
                  <a:gd name="connsiteY654" fmla="*/ 361831 h 1244590"/>
                  <a:gd name="connsiteX655" fmla="*/ 20607 w 1679153"/>
                  <a:gd name="connsiteY655" fmla="*/ 363044 h 1244590"/>
                  <a:gd name="connsiteX656" fmla="*/ 31971 w 1679153"/>
                  <a:gd name="connsiteY656" fmla="*/ 365165 h 1244590"/>
                  <a:gd name="connsiteX657" fmla="*/ 35759 w 1679153"/>
                  <a:gd name="connsiteY657" fmla="*/ 366680 h 1244590"/>
                  <a:gd name="connsiteX658" fmla="*/ 39092 w 1679153"/>
                  <a:gd name="connsiteY658" fmla="*/ 369256 h 1244590"/>
                  <a:gd name="connsiteX659" fmla="*/ 42274 w 1679153"/>
                  <a:gd name="connsiteY659" fmla="*/ 370317 h 1244590"/>
                  <a:gd name="connsiteX660" fmla="*/ 49850 w 1679153"/>
                  <a:gd name="connsiteY660" fmla="*/ 371529 h 1244590"/>
                  <a:gd name="connsiteX661" fmla="*/ 57123 w 1679153"/>
                  <a:gd name="connsiteY661" fmla="*/ 371529 h 1244590"/>
                  <a:gd name="connsiteX662" fmla="*/ 60305 w 1679153"/>
                  <a:gd name="connsiteY662" fmla="*/ 371074 h 1244590"/>
                  <a:gd name="connsiteX663" fmla="*/ 65760 w 1679153"/>
                  <a:gd name="connsiteY663" fmla="*/ 368498 h 1244590"/>
                  <a:gd name="connsiteX664" fmla="*/ 73942 w 1679153"/>
                  <a:gd name="connsiteY664" fmla="*/ 368650 h 1244590"/>
                  <a:gd name="connsiteX665" fmla="*/ 74851 w 1679153"/>
                  <a:gd name="connsiteY665" fmla="*/ 369256 h 1244590"/>
                  <a:gd name="connsiteX666" fmla="*/ 69245 w 1679153"/>
                  <a:gd name="connsiteY666" fmla="*/ 371226 h 1244590"/>
                  <a:gd name="connsiteX667" fmla="*/ 61669 w 1679153"/>
                  <a:gd name="connsiteY667" fmla="*/ 376074 h 1244590"/>
                  <a:gd name="connsiteX668" fmla="*/ 62426 w 1679153"/>
                  <a:gd name="connsiteY668" fmla="*/ 377135 h 1244590"/>
                  <a:gd name="connsiteX669" fmla="*/ 68336 w 1679153"/>
                  <a:gd name="connsiteY669" fmla="*/ 377741 h 1244590"/>
                  <a:gd name="connsiteX670" fmla="*/ 73639 w 1679153"/>
                  <a:gd name="connsiteY670" fmla="*/ 380771 h 1244590"/>
                  <a:gd name="connsiteX671" fmla="*/ 73791 w 1679153"/>
                  <a:gd name="connsiteY671" fmla="*/ 383953 h 1244590"/>
                  <a:gd name="connsiteX672" fmla="*/ 77730 w 1679153"/>
                  <a:gd name="connsiteY672" fmla="*/ 386075 h 1244590"/>
                  <a:gd name="connsiteX673" fmla="*/ 94852 w 1679153"/>
                  <a:gd name="connsiteY673" fmla="*/ 390772 h 1244590"/>
                  <a:gd name="connsiteX674" fmla="*/ 98943 w 1679153"/>
                  <a:gd name="connsiteY674" fmla="*/ 391075 h 1244590"/>
                  <a:gd name="connsiteX675" fmla="*/ 101973 w 1679153"/>
                  <a:gd name="connsiteY675" fmla="*/ 390620 h 1244590"/>
                  <a:gd name="connsiteX676" fmla="*/ 105155 w 1679153"/>
                  <a:gd name="connsiteY676" fmla="*/ 389408 h 1244590"/>
                  <a:gd name="connsiteX677" fmla="*/ 108489 w 1679153"/>
                  <a:gd name="connsiteY677" fmla="*/ 387287 h 1244590"/>
                  <a:gd name="connsiteX678" fmla="*/ 111974 w 1679153"/>
                  <a:gd name="connsiteY678" fmla="*/ 384256 h 1244590"/>
                  <a:gd name="connsiteX679" fmla="*/ 114853 w 1679153"/>
                  <a:gd name="connsiteY679" fmla="*/ 383044 h 1244590"/>
                  <a:gd name="connsiteX680" fmla="*/ 117277 w 1679153"/>
                  <a:gd name="connsiteY680" fmla="*/ 383650 h 1244590"/>
                  <a:gd name="connsiteX681" fmla="*/ 123944 w 1679153"/>
                  <a:gd name="connsiteY681" fmla="*/ 386529 h 1244590"/>
                  <a:gd name="connsiteX682" fmla="*/ 128187 w 1679153"/>
                  <a:gd name="connsiteY682" fmla="*/ 387287 h 1244590"/>
                  <a:gd name="connsiteX683" fmla="*/ 132581 w 1679153"/>
                  <a:gd name="connsiteY683" fmla="*/ 387893 h 1244590"/>
                  <a:gd name="connsiteX684" fmla="*/ 140460 w 1679153"/>
                  <a:gd name="connsiteY684" fmla="*/ 387590 h 1244590"/>
                  <a:gd name="connsiteX685" fmla="*/ 145157 w 1679153"/>
                  <a:gd name="connsiteY685" fmla="*/ 386529 h 1244590"/>
                  <a:gd name="connsiteX686" fmla="*/ 155157 w 1679153"/>
                  <a:gd name="connsiteY686" fmla="*/ 381226 h 1244590"/>
                  <a:gd name="connsiteX687" fmla="*/ 160006 w 1679153"/>
                  <a:gd name="connsiteY687" fmla="*/ 379105 h 1244590"/>
                  <a:gd name="connsiteX688" fmla="*/ 164097 w 1679153"/>
                  <a:gd name="connsiteY688" fmla="*/ 378196 h 1244590"/>
                  <a:gd name="connsiteX689" fmla="*/ 167734 w 1679153"/>
                  <a:gd name="connsiteY689" fmla="*/ 378499 h 1244590"/>
                  <a:gd name="connsiteX690" fmla="*/ 174400 w 1679153"/>
                  <a:gd name="connsiteY690" fmla="*/ 382287 h 1244590"/>
                  <a:gd name="connsiteX691" fmla="*/ 178188 w 1679153"/>
                  <a:gd name="connsiteY691" fmla="*/ 385317 h 1244590"/>
                  <a:gd name="connsiteX692" fmla="*/ 179249 w 1679153"/>
                  <a:gd name="connsiteY692" fmla="*/ 388196 h 1244590"/>
                  <a:gd name="connsiteX693" fmla="*/ 177582 w 1679153"/>
                  <a:gd name="connsiteY693" fmla="*/ 390923 h 1244590"/>
                  <a:gd name="connsiteX694" fmla="*/ 174097 w 1679153"/>
                  <a:gd name="connsiteY694" fmla="*/ 395317 h 1244590"/>
                  <a:gd name="connsiteX695" fmla="*/ 174249 w 1679153"/>
                  <a:gd name="connsiteY695" fmla="*/ 397893 h 1244590"/>
                  <a:gd name="connsiteX696" fmla="*/ 176370 w 1679153"/>
                  <a:gd name="connsiteY696" fmla="*/ 400924 h 1244590"/>
                  <a:gd name="connsiteX697" fmla="*/ 175916 w 1679153"/>
                  <a:gd name="connsiteY697" fmla="*/ 401984 h 1244590"/>
                  <a:gd name="connsiteX698" fmla="*/ 167279 w 1679153"/>
                  <a:gd name="connsiteY698" fmla="*/ 398651 h 1244590"/>
                  <a:gd name="connsiteX699" fmla="*/ 160915 w 1679153"/>
                  <a:gd name="connsiteY699" fmla="*/ 397136 h 1244590"/>
                  <a:gd name="connsiteX700" fmla="*/ 147278 w 1679153"/>
                  <a:gd name="connsiteY700" fmla="*/ 395924 h 1244590"/>
                  <a:gd name="connsiteX701" fmla="*/ 128035 w 1679153"/>
                  <a:gd name="connsiteY701" fmla="*/ 396227 h 1244590"/>
                  <a:gd name="connsiteX702" fmla="*/ 115610 w 1679153"/>
                  <a:gd name="connsiteY702" fmla="*/ 398348 h 1244590"/>
                  <a:gd name="connsiteX703" fmla="*/ 111368 w 1679153"/>
                  <a:gd name="connsiteY703" fmla="*/ 400469 h 1244590"/>
                  <a:gd name="connsiteX704" fmla="*/ 105004 w 1679153"/>
                  <a:gd name="connsiteY704" fmla="*/ 406985 h 1244590"/>
                  <a:gd name="connsiteX705" fmla="*/ 86518 w 1679153"/>
                  <a:gd name="connsiteY705" fmla="*/ 405015 h 1244590"/>
                  <a:gd name="connsiteX706" fmla="*/ 60608 w 1679153"/>
                  <a:gd name="connsiteY706" fmla="*/ 406985 h 1244590"/>
                  <a:gd name="connsiteX707" fmla="*/ 53032 w 1679153"/>
                  <a:gd name="connsiteY707" fmla="*/ 408500 h 1244590"/>
                  <a:gd name="connsiteX708" fmla="*/ 50456 w 1679153"/>
                  <a:gd name="connsiteY708" fmla="*/ 409712 h 1244590"/>
                  <a:gd name="connsiteX709" fmla="*/ 47729 w 1679153"/>
                  <a:gd name="connsiteY709" fmla="*/ 411682 h 1244590"/>
                  <a:gd name="connsiteX710" fmla="*/ 45002 w 1679153"/>
                  <a:gd name="connsiteY710" fmla="*/ 414409 h 1244590"/>
                  <a:gd name="connsiteX711" fmla="*/ 45305 w 1679153"/>
                  <a:gd name="connsiteY711" fmla="*/ 416985 h 1244590"/>
                  <a:gd name="connsiteX712" fmla="*/ 48790 w 1679153"/>
                  <a:gd name="connsiteY712" fmla="*/ 419561 h 1244590"/>
                  <a:gd name="connsiteX713" fmla="*/ 56517 w 1679153"/>
                  <a:gd name="connsiteY713" fmla="*/ 422743 h 1244590"/>
                  <a:gd name="connsiteX714" fmla="*/ 55457 w 1679153"/>
                  <a:gd name="connsiteY714" fmla="*/ 423500 h 1244590"/>
                  <a:gd name="connsiteX715" fmla="*/ 54850 w 1679153"/>
                  <a:gd name="connsiteY715" fmla="*/ 424712 h 1244590"/>
                  <a:gd name="connsiteX716" fmla="*/ 54850 w 1679153"/>
                  <a:gd name="connsiteY716" fmla="*/ 426228 h 1244590"/>
                  <a:gd name="connsiteX717" fmla="*/ 56517 w 1679153"/>
                  <a:gd name="connsiteY717" fmla="*/ 427591 h 1244590"/>
                  <a:gd name="connsiteX718" fmla="*/ 59851 w 1679153"/>
                  <a:gd name="connsiteY718" fmla="*/ 428804 h 1244590"/>
                  <a:gd name="connsiteX719" fmla="*/ 64548 w 1679153"/>
                  <a:gd name="connsiteY719" fmla="*/ 429561 h 1244590"/>
                  <a:gd name="connsiteX720" fmla="*/ 70457 w 1679153"/>
                  <a:gd name="connsiteY720" fmla="*/ 426834 h 1244590"/>
                  <a:gd name="connsiteX721" fmla="*/ 85003 w 1679153"/>
                  <a:gd name="connsiteY721" fmla="*/ 419106 h 1244590"/>
                  <a:gd name="connsiteX722" fmla="*/ 84549 w 1679153"/>
                  <a:gd name="connsiteY722" fmla="*/ 420318 h 1244590"/>
                  <a:gd name="connsiteX723" fmla="*/ 82882 w 1679153"/>
                  <a:gd name="connsiteY723" fmla="*/ 422440 h 1244590"/>
                  <a:gd name="connsiteX724" fmla="*/ 80154 w 1679153"/>
                  <a:gd name="connsiteY724" fmla="*/ 425622 h 1244590"/>
                  <a:gd name="connsiteX725" fmla="*/ 79700 w 1679153"/>
                  <a:gd name="connsiteY725" fmla="*/ 428500 h 1244590"/>
                  <a:gd name="connsiteX726" fmla="*/ 81670 w 1679153"/>
                  <a:gd name="connsiteY726" fmla="*/ 431076 h 1244590"/>
                  <a:gd name="connsiteX727" fmla="*/ 83640 w 1679153"/>
                  <a:gd name="connsiteY727" fmla="*/ 432743 h 1244590"/>
                  <a:gd name="connsiteX728" fmla="*/ 85609 w 1679153"/>
                  <a:gd name="connsiteY728" fmla="*/ 433652 h 1244590"/>
                  <a:gd name="connsiteX729" fmla="*/ 97125 w 1679153"/>
                  <a:gd name="connsiteY729" fmla="*/ 436531 h 1244590"/>
                  <a:gd name="connsiteX730" fmla="*/ 110459 w 1679153"/>
                  <a:gd name="connsiteY730" fmla="*/ 437592 h 1244590"/>
                  <a:gd name="connsiteX731" fmla="*/ 125308 w 1679153"/>
                  <a:gd name="connsiteY731" fmla="*/ 436986 h 1244590"/>
                  <a:gd name="connsiteX732" fmla="*/ 128338 w 1679153"/>
                  <a:gd name="connsiteY732" fmla="*/ 438501 h 1244590"/>
                  <a:gd name="connsiteX733" fmla="*/ 127429 w 1679153"/>
                  <a:gd name="connsiteY733" fmla="*/ 439410 h 1244590"/>
                  <a:gd name="connsiteX734" fmla="*/ 124702 w 1679153"/>
                  <a:gd name="connsiteY734" fmla="*/ 440471 h 1244590"/>
                  <a:gd name="connsiteX735" fmla="*/ 113337 w 1679153"/>
                  <a:gd name="connsiteY735" fmla="*/ 442137 h 1244590"/>
                  <a:gd name="connsiteX736" fmla="*/ 107731 w 1679153"/>
                  <a:gd name="connsiteY736" fmla="*/ 443653 h 1244590"/>
                  <a:gd name="connsiteX737" fmla="*/ 93034 w 1679153"/>
                  <a:gd name="connsiteY737" fmla="*/ 450774 h 1244590"/>
                  <a:gd name="connsiteX738" fmla="*/ 90761 w 1679153"/>
                  <a:gd name="connsiteY738" fmla="*/ 452895 h 1244590"/>
                  <a:gd name="connsiteX739" fmla="*/ 91367 w 1679153"/>
                  <a:gd name="connsiteY739" fmla="*/ 454411 h 1244590"/>
                  <a:gd name="connsiteX740" fmla="*/ 93791 w 1679153"/>
                  <a:gd name="connsiteY740" fmla="*/ 456683 h 1244590"/>
                  <a:gd name="connsiteX741" fmla="*/ 101064 w 1679153"/>
                  <a:gd name="connsiteY741" fmla="*/ 459562 h 1244590"/>
                  <a:gd name="connsiteX742" fmla="*/ 110459 w 1679153"/>
                  <a:gd name="connsiteY742" fmla="*/ 464865 h 1244590"/>
                  <a:gd name="connsiteX743" fmla="*/ 116065 w 1679153"/>
                  <a:gd name="connsiteY743" fmla="*/ 466987 h 1244590"/>
                  <a:gd name="connsiteX744" fmla="*/ 122732 w 1679153"/>
                  <a:gd name="connsiteY744" fmla="*/ 470320 h 1244590"/>
                  <a:gd name="connsiteX745" fmla="*/ 127277 w 1679153"/>
                  <a:gd name="connsiteY745" fmla="*/ 471684 h 1244590"/>
                  <a:gd name="connsiteX746" fmla="*/ 163491 w 1679153"/>
                  <a:gd name="connsiteY746" fmla="*/ 477290 h 1244590"/>
                  <a:gd name="connsiteX747" fmla="*/ 167582 w 1679153"/>
                  <a:gd name="connsiteY747" fmla="*/ 476836 h 1244590"/>
                  <a:gd name="connsiteX748" fmla="*/ 162733 w 1679153"/>
                  <a:gd name="connsiteY748" fmla="*/ 472745 h 1244590"/>
                  <a:gd name="connsiteX749" fmla="*/ 157279 w 1679153"/>
                  <a:gd name="connsiteY749" fmla="*/ 466987 h 1244590"/>
                  <a:gd name="connsiteX750" fmla="*/ 156672 w 1679153"/>
                  <a:gd name="connsiteY750" fmla="*/ 464562 h 1244590"/>
                  <a:gd name="connsiteX751" fmla="*/ 159097 w 1679153"/>
                  <a:gd name="connsiteY751" fmla="*/ 463502 h 1244590"/>
                  <a:gd name="connsiteX752" fmla="*/ 162279 w 1679153"/>
                  <a:gd name="connsiteY752" fmla="*/ 463199 h 1244590"/>
                  <a:gd name="connsiteX753" fmla="*/ 168188 w 1679153"/>
                  <a:gd name="connsiteY753" fmla="*/ 466078 h 1244590"/>
                  <a:gd name="connsiteX754" fmla="*/ 171067 w 1679153"/>
                  <a:gd name="connsiteY754" fmla="*/ 467290 h 1244590"/>
                  <a:gd name="connsiteX755" fmla="*/ 173491 w 1679153"/>
                  <a:gd name="connsiteY755" fmla="*/ 467744 h 1244590"/>
                  <a:gd name="connsiteX756" fmla="*/ 176370 w 1679153"/>
                  <a:gd name="connsiteY756" fmla="*/ 466835 h 1244590"/>
                  <a:gd name="connsiteX757" fmla="*/ 182583 w 1679153"/>
                  <a:gd name="connsiteY757" fmla="*/ 463199 h 1244590"/>
                  <a:gd name="connsiteX758" fmla="*/ 187431 w 1679153"/>
                  <a:gd name="connsiteY758" fmla="*/ 461987 h 1244590"/>
                  <a:gd name="connsiteX759" fmla="*/ 189552 w 1679153"/>
                  <a:gd name="connsiteY759" fmla="*/ 462138 h 1244590"/>
                  <a:gd name="connsiteX760" fmla="*/ 191977 w 1679153"/>
                  <a:gd name="connsiteY760" fmla="*/ 463502 h 1244590"/>
                  <a:gd name="connsiteX761" fmla="*/ 194704 w 1679153"/>
                  <a:gd name="connsiteY761" fmla="*/ 465926 h 1244590"/>
                  <a:gd name="connsiteX762" fmla="*/ 197735 w 1679153"/>
                  <a:gd name="connsiteY762" fmla="*/ 467593 h 1244590"/>
                  <a:gd name="connsiteX763" fmla="*/ 200916 w 1679153"/>
                  <a:gd name="connsiteY763" fmla="*/ 468350 h 1244590"/>
                  <a:gd name="connsiteX764" fmla="*/ 203341 w 1679153"/>
                  <a:gd name="connsiteY764" fmla="*/ 468350 h 1244590"/>
                  <a:gd name="connsiteX765" fmla="*/ 204856 w 1679153"/>
                  <a:gd name="connsiteY765" fmla="*/ 467441 h 1244590"/>
                  <a:gd name="connsiteX766" fmla="*/ 211068 w 1679153"/>
                  <a:gd name="connsiteY766" fmla="*/ 467138 h 1244590"/>
                  <a:gd name="connsiteX767" fmla="*/ 215917 w 1679153"/>
                  <a:gd name="connsiteY767" fmla="*/ 465926 h 1244590"/>
                  <a:gd name="connsiteX768" fmla="*/ 221978 w 1679153"/>
                  <a:gd name="connsiteY768" fmla="*/ 463502 h 1244590"/>
                  <a:gd name="connsiteX769" fmla="*/ 226069 w 1679153"/>
                  <a:gd name="connsiteY769" fmla="*/ 461380 h 1244590"/>
                  <a:gd name="connsiteX770" fmla="*/ 230312 w 1679153"/>
                  <a:gd name="connsiteY770" fmla="*/ 458502 h 1244590"/>
                  <a:gd name="connsiteX771" fmla="*/ 232433 w 1679153"/>
                  <a:gd name="connsiteY771" fmla="*/ 457744 h 1244590"/>
                  <a:gd name="connsiteX772" fmla="*/ 234706 w 1679153"/>
                  <a:gd name="connsiteY772" fmla="*/ 458502 h 1244590"/>
                  <a:gd name="connsiteX773" fmla="*/ 237130 w 1679153"/>
                  <a:gd name="connsiteY773" fmla="*/ 460774 h 1244590"/>
                  <a:gd name="connsiteX774" fmla="*/ 241979 w 1679153"/>
                  <a:gd name="connsiteY774" fmla="*/ 463956 h 1244590"/>
                  <a:gd name="connsiteX775" fmla="*/ 245161 w 1679153"/>
                  <a:gd name="connsiteY775" fmla="*/ 463502 h 1244590"/>
                  <a:gd name="connsiteX776" fmla="*/ 251221 w 1679153"/>
                  <a:gd name="connsiteY776" fmla="*/ 460017 h 1244590"/>
                  <a:gd name="connsiteX777" fmla="*/ 256222 w 1679153"/>
                  <a:gd name="connsiteY777" fmla="*/ 456532 h 1244590"/>
                  <a:gd name="connsiteX778" fmla="*/ 260313 w 1679153"/>
                  <a:gd name="connsiteY778" fmla="*/ 455774 h 1244590"/>
                  <a:gd name="connsiteX779" fmla="*/ 268192 w 1679153"/>
                  <a:gd name="connsiteY779" fmla="*/ 457592 h 1244590"/>
                  <a:gd name="connsiteX780" fmla="*/ 273192 w 1679153"/>
                  <a:gd name="connsiteY780" fmla="*/ 460926 h 1244590"/>
                  <a:gd name="connsiteX781" fmla="*/ 275465 w 1679153"/>
                  <a:gd name="connsiteY781" fmla="*/ 461532 h 1244590"/>
                  <a:gd name="connsiteX782" fmla="*/ 282283 w 1679153"/>
                  <a:gd name="connsiteY782" fmla="*/ 461077 h 1244590"/>
                  <a:gd name="connsiteX783" fmla="*/ 293193 w 1679153"/>
                  <a:gd name="connsiteY783" fmla="*/ 462138 h 1244590"/>
                  <a:gd name="connsiteX784" fmla="*/ 306224 w 1679153"/>
                  <a:gd name="connsiteY784" fmla="*/ 465320 h 1244590"/>
                  <a:gd name="connsiteX785" fmla="*/ 312890 w 1679153"/>
                  <a:gd name="connsiteY785" fmla="*/ 465623 h 1244590"/>
                  <a:gd name="connsiteX786" fmla="*/ 318042 w 1679153"/>
                  <a:gd name="connsiteY786" fmla="*/ 466835 h 1244590"/>
                  <a:gd name="connsiteX787" fmla="*/ 326679 w 1679153"/>
                  <a:gd name="connsiteY787" fmla="*/ 470320 h 1244590"/>
                  <a:gd name="connsiteX788" fmla="*/ 345922 w 1679153"/>
                  <a:gd name="connsiteY788" fmla="*/ 476230 h 1244590"/>
                  <a:gd name="connsiteX789" fmla="*/ 358347 w 1679153"/>
                  <a:gd name="connsiteY789" fmla="*/ 481684 h 1244590"/>
                  <a:gd name="connsiteX790" fmla="*/ 365771 w 1679153"/>
                  <a:gd name="connsiteY790" fmla="*/ 483806 h 1244590"/>
                  <a:gd name="connsiteX791" fmla="*/ 370771 w 1679153"/>
                  <a:gd name="connsiteY791" fmla="*/ 486078 h 1244590"/>
                  <a:gd name="connsiteX792" fmla="*/ 375772 w 1679153"/>
                  <a:gd name="connsiteY792" fmla="*/ 489109 h 1244590"/>
                  <a:gd name="connsiteX793" fmla="*/ 381226 w 1679153"/>
                  <a:gd name="connsiteY793" fmla="*/ 491079 h 1244590"/>
                  <a:gd name="connsiteX794" fmla="*/ 387136 w 1679153"/>
                  <a:gd name="connsiteY794" fmla="*/ 491836 h 1244590"/>
                  <a:gd name="connsiteX795" fmla="*/ 391227 w 1679153"/>
                  <a:gd name="connsiteY795" fmla="*/ 493351 h 1244590"/>
                  <a:gd name="connsiteX796" fmla="*/ 394863 w 1679153"/>
                  <a:gd name="connsiteY796" fmla="*/ 497594 h 1244590"/>
                  <a:gd name="connsiteX797" fmla="*/ 398500 w 1679153"/>
                  <a:gd name="connsiteY797" fmla="*/ 503503 h 1244590"/>
                  <a:gd name="connsiteX798" fmla="*/ 397591 w 1679153"/>
                  <a:gd name="connsiteY798" fmla="*/ 505473 h 1244590"/>
                  <a:gd name="connsiteX799" fmla="*/ 388802 w 1679153"/>
                  <a:gd name="connsiteY799" fmla="*/ 510322 h 1244590"/>
                  <a:gd name="connsiteX800" fmla="*/ 389863 w 1679153"/>
                  <a:gd name="connsiteY800" fmla="*/ 512140 h 1244590"/>
                  <a:gd name="connsiteX801" fmla="*/ 398348 w 1679153"/>
                  <a:gd name="connsiteY801" fmla="*/ 516231 h 1244590"/>
                  <a:gd name="connsiteX802" fmla="*/ 400318 w 1679153"/>
                  <a:gd name="connsiteY802" fmla="*/ 517898 h 1244590"/>
                  <a:gd name="connsiteX803" fmla="*/ 402288 w 1679153"/>
                  <a:gd name="connsiteY803" fmla="*/ 520170 h 1244590"/>
                  <a:gd name="connsiteX804" fmla="*/ 406227 w 1679153"/>
                  <a:gd name="connsiteY804" fmla="*/ 525625 h 1244590"/>
                  <a:gd name="connsiteX805" fmla="*/ 410470 w 1679153"/>
                  <a:gd name="connsiteY805" fmla="*/ 529262 h 1244590"/>
                  <a:gd name="connsiteX806" fmla="*/ 422743 w 1679153"/>
                  <a:gd name="connsiteY806" fmla="*/ 534413 h 1244590"/>
                  <a:gd name="connsiteX807" fmla="*/ 427440 w 1679153"/>
                  <a:gd name="connsiteY807" fmla="*/ 537292 h 1244590"/>
                  <a:gd name="connsiteX808" fmla="*/ 430773 w 1679153"/>
                  <a:gd name="connsiteY808" fmla="*/ 540171 h 1244590"/>
                  <a:gd name="connsiteX809" fmla="*/ 433198 w 1679153"/>
                  <a:gd name="connsiteY809" fmla="*/ 543050 h 1244590"/>
                  <a:gd name="connsiteX810" fmla="*/ 434713 w 1679153"/>
                  <a:gd name="connsiteY810" fmla="*/ 545929 h 1244590"/>
                  <a:gd name="connsiteX811" fmla="*/ 436380 w 1679153"/>
                  <a:gd name="connsiteY811" fmla="*/ 548050 h 1244590"/>
                  <a:gd name="connsiteX812" fmla="*/ 438349 w 1679153"/>
                  <a:gd name="connsiteY812" fmla="*/ 549263 h 1244590"/>
                  <a:gd name="connsiteX813" fmla="*/ 445926 w 1679153"/>
                  <a:gd name="connsiteY813" fmla="*/ 552444 h 1244590"/>
                  <a:gd name="connsiteX814" fmla="*/ 453199 w 1679153"/>
                  <a:gd name="connsiteY814" fmla="*/ 557142 h 1244590"/>
                  <a:gd name="connsiteX815" fmla="*/ 450623 w 1679153"/>
                  <a:gd name="connsiteY815" fmla="*/ 559111 h 1244590"/>
                  <a:gd name="connsiteX816" fmla="*/ 447441 w 1679153"/>
                  <a:gd name="connsiteY816" fmla="*/ 559414 h 1244590"/>
                  <a:gd name="connsiteX817" fmla="*/ 441683 w 1679153"/>
                  <a:gd name="connsiteY817" fmla="*/ 560930 h 1244590"/>
                  <a:gd name="connsiteX818" fmla="*/ 440016 w 1679153"/>
                  <a:gd name="connsiteY818" fmla="*/ 562445 h 1244590"/>
                  <a:gd name="connsiteX819" fmla="*/ 441683 w 1679153"/>
                  <a:gd name="connsiteY819" fmla="*/ 565172 h 1244590"/>
                  <a:gd name="connsiteX820" fmla="*/ 441380 w 1679153"/>
                  <a:gd name="connsiteY820" fmla="*/ 567748 h 1244590"/>
                  <a:gd name="connsiteX821" fmla="*/ 442138 w 1679153"/>
                  <a:gd name="connsiteY821" fmla="*/ 570475 h 1244590"/>
                  <a:gd name="connsiteX822" fmla="*/ 440319 w 1679153"/>
                  <a:gd name="connsiteY822" fmla="*/ 573657 h 1244590"/>
                  <a:gd name="connsiteX823" fmla="*/ 433955 w 1679153"/>
                  <a:gd name="connsiteY823" fmla="*/ 575021 h 1244590"/>
                  <a:gd name="connsiteX824" fmla="*/ 429107 w 1679153"/>
                  <a:gd name="connsiteY824" fmla="*/ 576991 h 1244590"/>
                  <a:gd name="connsiteX825" fmla="*/ 425925 w 1679153"/>
                  <a:gd name="connsiteY825" fmla="*/ 578809 h 1244590"/>
                  <a:gd name="connsiteX826" fmla="*/ 426985 w 1679153"/>
                  <a:gd name="connsiteY826" fmla="*/ 579264 h 1244590"/>
                  <a:gd name="connsiteX827" fmla="*/ 433501 w 1679153"/>
                  <a:gd name="connsiteY827" fmla="*/ 578506 h 1244590"/>
                  <a:gd name="connsiteX828" fmla="*/ 441683 w 1679153"/>
                  <a:gd name="connsiteY828" fmla="*/ 576991 h 1244590"/>
                  <a:gd name="connsiteX829" fmla="*/ 446077 w 1679153"/>
                  <a:gd name="connsiteY829" fmla="*/ 575779 h 1244590"/>
                  <a:gd name="connsiteX830" fmla="*/ 448804 w 1679153"/>
                  <a:gd name="connsiteY830" fmla="*/ 575779 h 1244590"/>
                  <a:gd name="connsiteX831" fmla="*/ 451380 w 1679153"/>
                  <a:gd name="connsiteY831" fmla="*/ 576688 h 1244590"/>
                  <a:gd name="connsiteX832" fmla="*/ 453350 w 1679153"/>
                  <a:gd name="connsiteY832" fmla="*/ 578506 h 1244590"/>
                  <a:gd name="connsiteX833" fmla="*/ 456078 w 1679153"/>
                  <a:gd name="connsiteY833" fmla="*/ 583355 h 1244590"/>
                  <a:gd name="connsiteX834" fmla="*/ 457593 w 1679153"/>
                  <a:gd name="connsiteY834" fmla="*/ 585021 h 1244590"/>
                  <a:gd name="connsiteX835" fmla="*/ 458956 w 1679153"/>
                  <a:gd name="connsiteY835" fmla="*/ 587294 h 1244590"/>
                  <a:gd name="connsiteX836" fmla="*/ 459411 w 1679153"/>
                  <a:gd name="connsiteY836" fmla="*/ 588203 h 1244590"/>
                  <a:gd name="connsiteX837" fmla="*/ 459411 w 1679153"/>
                  <a:gd name="connsiteY837" fmla="*/ 588961 h 1244590"/>
                  <a:gd name="connsiteX838" fmla="*/ 461229 w 1679153"/>
                  <a:gd name="connsiteY838" fmla="*/ 590779 h 1244590"/>
                  <a:gd name="connsiteX839" fmla="*/ 462744 w 1679153"/>
                  <a:gd name="connsiteY839" fmla="*/ 594113 h 1244590"/>
                  <a:gd name="connsiteX840" fmla="*/ 463654 w 1679153"/>
                  <a:gd name="connsiteY840" fmla="*/ 598052 h 1244590"/>
                  <a:gd name="connsiteX841" fmla="*/ 461987 w 1679153"/>
                  <a:gd name="connsiteY841" fmla="*/ 598507 h 1244590"/>
                  <a:gd name="connsiteX842" fmla="*/ 460017 w 1679153"/>
                  <a:gd name="connsiteY842" fmla="*/ 598052 h 1244590"/>
                  <a:gd name="connsiteX843" fmla="*/ 458199 w 1679153"/>
                  <a:gd name="connsiteY843" fmla="*/ 602749 h 1244590"/>
                  <a:gd name="connsiteX844" fmla="*/ 456835 w 1679153"/>
                  <a:gd name="connsiteY844" fmla="*/ 605022 h 1244590"/>
                  <a:gd name="connsiteX845" fmla="*/ 456078 w 1679153"/>
                  <a:gd name="connsiteY845" fmla="*/ 606992 h 1244590"/>
                  <a:gd name="connsiteX846" fmla="*/ 456229 w 1679153"/>
                  <a:gd name="connsiteY846" fmla="*/ 608659 h 1244590"/>
                  <a:gd name="connsiteX847" fmla="*/ 459259 w 1679153"/>
                  <a:gd name="connsiteY847" fmla="*/ 609719 h 1244590"/>
                  <a:gd name="connsiteX848" fmla="*/ 462441 w 1679153"/>
                  <a:gd name="connsiteY848" fmla="*/ 611386 h 1244590"/>
                  <a:gd name="connsiteX849" fmla="*/ 464866 w 1679153"/>
                  <a:gd name="connsiteY849" fmla="*/ 613659 h 1244590"/>
                  <a:gd name="connsiteX850" fmla="*/ 465623 w 1679153"/>
                  <a:gd name="connsiteY850" fmla="*/ 615325 h 1244590"/>
                  <a:gd name="connsiteX851" fmla="*/ 466078 w 1679153"/>
                  <a:gd name="connsiteY851" fmla="*/ 617598 h 1244590"/>
                  <a:gd name="connsiteX852" fmla="*/ 468351 w 1679153"/>
                  <a:gd name="connsiteY852" fmla="*/ 616841 h 1244590"/>
                  <a:gd name="connsiteX853" fmla="*/ 474108 w 1679153"/>
                  <a:gd name="connsiteY853" fmla="*/ 613659 h 1244590"/>
                  <a:gd name="connsiteX854" fmla="*/ 477290 w 1679153"/>
                  <a:gd name="connsiteY854" fmla="*/ 616992 h 1244590"/>
                  <a:gd name="connsiteX855" fmla="*/ 478503 w 1679153"/>
                  <a:gd name="connsiteY855" fmla="*/ 620629 h 1244590"/>
                  <a:gd name="connsiteX856" fmla="*/ 478200 w 1679153"/>
                  <a:gd name="connsiteY856" fmla="*/ 624114 h 1244590"/>
                  <a:gd name="connsiteX857" fmla="*/ 477290 w 1679153"/>
                  <a:gd name="connsiteY857" fmla="*/ 627902 h 1244590"/>
                  <a:gd name="connsiteX858" fmla="*/ 474715 w 1679153"/>
                  <a:gd name="connsiteY858" fmla="*/ 630023 h 1244590"/>
                  <a:gd name="connsiteX859" fmla="*/ 470927 w 1679153"/>
                  <a:gd name="connsiteY859" fmla="*/ 631235 h 1244590"/>
                  <a:gd name="connsiteX860" fmla="*/ 468199 w 1679153"/>
                  <a:gd name="connsiteY860" fmla="*/ 632750 h 1244590"/>
                  <a:gd name="connsiteX861" fmla="*/ 468199 w 1679153"/>
                  <a:gd name="connsiteY861" fmla="*/ 635781 h 1244590"/>
                  <a:gd name="connsiteX862" fmla="*/ 468805 w 1679153"/>
                  <a:gd name="connsiteY862" fmla="*/ 638205 h 1244590"/>
                  <a:gd name="connsiteX863" fmla="*/ 469714 w 1679153"/>
                  <a:gd name="connsiteY863" fmla="*/ 639114 h 1244590"/>
                  <a:gd name="connsiteX864" fmla="*/ 472139 w 1679153"/>
                  <a:gd name="connsiteY864" fmla="*/ 639417 h 1244590"/>
                  <a:gd name="connsiteX865" fmla="*/ 474412 w 1679153"/>
                  <a:gd name="connsiteY865" fmla="*/ 640478 h 1244590"/>
                  <a:gd name="connsiteX866" fmla="*/ 476836 w 1679153"/>
                  <a:gd name="connsiteY866" fmla="*/ 640933 h 1244590"/>
                  <a:gd name="connsiteX867" fmla="*/ 479109 w 1679153"/>
                  <a:gd name="connsiteY867" fmla="*/ 642145 h 1244590"/>
                  <a:gd name="connsiteX868" fmla="*/ 481533 w 1679153"/>
                  <a:gd name="connsiteY868" fmla="*/ 641842 h 1244590"/>
                  <a:gd name="connsiteX869" fmla="*/ 483351 w 1679153"/>
                  <a:gd name="connsiteY869" fmla="*/ 640629 h 1244590"/>
                  <a:gd name="connsiteX870" fmla="*/ 485018 w 1679153"/>
                  <a:gd name="connsiteY870" fmla="*/ 637751 h 1244590"/>
                  <a:gd name="connsiteX871" fmla="*/ 490624 w 1679153"/>
                  <a:gd name="connsiteY871" fmla="*/ 640326 h 1244590"/>
                  <a:gd name="connsiteX872" fmla="*/ 493200 w 1679153"/>
                  <a:gd name="connsiteY872" fmla="*/ 642902 h 1244590"/>
                  <a:gd name="connsiteX873" fmla="*/ 494109 w 1679153"/>
                  <a:gd name="connsiteY873" fmla="*/ 645327 h 1244590"/>
                  <a:gd name="connsiteX874" fmla="*/ 493503 w 1679153"/>
                  <a:gd name="connsiteY874" fmla="*/ 647448 h 1244590"/>
                  <a:gd name="connsiteX875" fmla="*/ 493655 w 1679153"/>
                  <a:gd name="connsiteY875" fmla="*/ 649569 h 1244590"/>
                  <a:gd name="connsiteX876" fmla="*/ 494412 w 1679153"/>
                  <a:gd name="connsiteY876" fmla="*/ 651690 h 1244590"/>
                  <a:gd name="connsiteX877" fmla="*/ 494109 w 1679153"/>
                  <a:gd name="connsiteY877" fmla="*/ 654266 h 1244590"/>
                  <a:gd name="connsiteX878" fmla="*/ 492746 w 1679153"/>
                  <a:gd name="connsiteY878" fmla="*/ 657297 h 1244590"/>
                  <a:gd name="connsiteX879" fmla="*/ 489109 w 1679153"/>
                  <a:gd name="connsiteY879" fmla="*/ 660933 h 1244590"/>
                  <a:gd name="connsiteX880" fmla="*/ 485776 w 1679153"/>
                  <a:gd name="connsiteY880" fmla="*/ 662903 h 1244590"/>
                  <a:gd name="connsiteX881" fmla="*/ 483654 w 1679153"/>
                  <a:gd name="connsiteY881" fmla="*/ 664721 h 1244590"/>
                  <a:gd name="connsiteX882" fmla="*/ 474563 w 1679153"/>
                  <a:gd name="connsiteY882" fmla="*/ 664570 h 1244590"/>
                  <a:gd name="connsiteX883" fmla="*/ 470623 w 1679153"/>
                  <a:gd name="connsiteY883" fmla="*/ 667146 h 1244590"/>
                  <a:gd name="connsiteX884" fmla="*/ 471533 w 1679153"/>
                  <a:gd name="connsiteY884" fmla="*/ 668055 h 1244590"/>
                  <a:gd name="connsiteX885" fmla="*/ 475321 w 1679153"/>
                  <a:gd name="connsiteY885" fmla="*/ 668964 h 1244590"/>
                  <a:gd name="connsiteX886" fmla="*/ 478957 w 1679153"/>
                  <a:gd name="connsiteY886" fmla="*/ 672297 h 1244590"/>
                  <a:gd name="connsiteX887" fmla="*/ 476684 w 1679153"/>
                  <a:gd name="connsiteY887" fmla="*/ 674570 h 1244590"/>
                  <a:gd name="connsiteX888" fmla="*/ 470927 w 1679153"/>
                  <a:gd name="connsiteY888" fmla="*/ 674116 h 1244590"/>
                  <a:gd name="connsiteX889" fmla="*/ 469714 w 1679153"/>
                  <a:gd name="connsiteY889" fmla="*/ 675025 h 1244590"/>
                  <a:gd name="connsiteX890" fmla="*/ 469108 w 1679153"/>
                  <a:gd name="connsiteY890" fmla="*/ 678964 h 1244590"/>
                  <a:gd name="connsiteX891" fmla="*/ 471230 w 1679153"/>
                  <a:gd name="connsiteY891" fmla="*/ 681237 h 1244590"/>
                  <a:gd name="connsiteX892" fmla="*/ 478351 w 1679153"/>
                  <a:gd name="connsiteY892" fmla="*/ 680176 h 1244590"/>
                  <a:gd name="connsiteX893" fmla="*/ 490018 w 1679153"/>
                  <a:gd name="connsiteY893" fmla="*/ 670176 h 1244590"/>
                  <a:gd name="connsiteX894" fmla="*/ 491533 w 1679153"/>
                  <a:gd name="connsiteY894" fmla="*/ 670934 h 1244590"/>
                  <a:gd name="connsiteX895" fmla="*/ 491533 w 1679153"/>
                  <a:gd name="connsiteY895" fmla="*/ 672146 h 1244590"/>
                  <a:gd name="connsiteX896" fmla="*/ 490624 w 1679153"/>
                  <a:gd name="connsiteY896" fmla="*/ 673661 h 1244590"/>
                  <a:gd name="connsiteX897" fmla="*/ 487897 w 1679153"/>
                  <a:gd name="connsiteY897" fmla="*/ 676540 h 1244590"/>
                  <a:gd name="connsiteX898" fmla="*/ 478503 w 1679153"/>
                  <a:gd name="connsiteY898" fmla="*/ 684722 h 1244590"/>
                  <a:gd name="connsiteX899" fmla="*/ 474715 w 1679153"/>
                  <a:gd name="connsiteY899" fmla="*/ 692601 h 1244590"/>
                  <a:gd name="connsiteX900" fmla="*/ 472139 w 1679153"/>
                  <a:gd name="connsiteY900" fmla="*/ 702298 h 1244590"/>
                  <a:gd name="connsiteX901" fmla="*/ 469866 w 1679153"/>
                  <a:gd name="connsiteY901" fmla="*/ 703814 h 1244590"/>
                  <a:gd name="connsiteX902" fmla="*/ 468805 w 1679153"/>
                  <a:gd name="connsiteY902" fmla="*/ 706238 h 1244590"/>
                  <a:gd name="connsiteX903" fmla="*/ 468805 w 1679153"/>
                  <a:gd name="connsiteY903" fmla="*/ 709571 h 1244590"/>
                  <a:gd name="connsiteX904" fmla="*/ 470775 w 1679153"/>
                  <a:gd name="connsiteY904" fmla="*/ 713359 h 1244590"/>
                  <a:gd name="connsiteX905" fmla="*/ 474715 w 1679153"/>
                  <a:gd name="connsiteY905" fmla="*/ 717450 h 1244590"/>
                  <a:gd name="connsiteX906" fmla="*/ 477745 w 1679153"/>
                  <a:gd name="connsiteY906" fmla="*/ 719723 h 1244590"/>
                  <a:gd name="connsiteX907" fmla="*/ 485472 w 1679153"/>
                  <a:gd name="connsiteY907" fmla="*/ 720632 h 1244590"/>
                  <a:gd name="connsiteX908" fmla="*/ 491988 w 1679153"/>
                  <a:gd name="connsiteY908" fmla="*/ 722299 h 1244590"/>
                  <a:gd name="connsiteX909" fmla="*/ 495473 w 1679153"/>
                  <a:gd name="connsiteY909" fmla="*/ 722754 h 1244590"/>
                  <a:gd name="connsiteX910" fmla="*/ 505625 w 1679153"/>
                  <a:gd name="connsiteY910" fmla="*/ 721845 h 1244590"/>
                  <a:gd name="connsiteX911" fmla="*/ 509564 w 1679153"/>
                  <a:gd name="connsiteY911" fmla="*/ 720178 h 1244590"/>
                  <a:gd name="connsiteX912" fmla="*/ 511534 w 1679153"/>
                  <a:gd name="connsiteY912" fmla="*/ 720178 h 1244590"/>
                  <a:gd name="connsiteX913" fmla="*/ 515322 w 1679153"/>
                  <a:gd name="connsiteY913" fmla="*/ 718057 h 1244590"/>
                  <a:gd name="connsiteX914" fmla="*/ 516686 w 1679153"/>
                  <a:gd name="connsiteY914" fmla="*/ 714723 h 1244590"/>
                  <a:gd name="connsiteX915" fmla="*/ 515474 w 1679153"/>
                  <a:gd name="connsiteY915" fmla="*/ 711390 h 1244590"/>
                  <a:gd name="connsiteX916" fmla="*/ 513655 w 1679153"/>
                  <a:gd name="connsiteY916" fmla="*/ 708056 h 1244590"/>
                  <a:gd name="connsiteX917" fmla="*/ 515171 w 1679153"/>
                  <a:gd name="connsiteY917" fmla="*/ 708208 h 1244590"/>
                  <a:gd name="connsiteX918" fmla="*/ 517140 w 1679153"/>
                  <a:gd name="connsiteY918" fmla="*/ 708965 h 1244590"/>
                  <a:gd name="connsiteX919" fmla="*/ 520322 w 1679153"/>
                  <a:gd name="connsiteY919" fmla="*/ 707147 h 1244590"/>
                  <a:gd name="connsiteX920" fmla="*/ 520928 w 1679153"/>
                  <a:gd name="connsiteY920" fmla="*/ 705177 h 1244590"/>
                  <a:gd name="connsiteX921" fmla="*/ 522141 w 1679153"/>
                  <a:gd name="connsiteY921" fmla="*/ 703208 h 1244590"/>
                  <a:gd name="connsiteX922" fmla="*/ 526232 w 1679153"/>
                  <a:gd name="connsiteY922" fmla="*/ 700783 h 1244590"/>
                  <a:gd name="connsiteX923" fmla="*/ 528656 w 1679153"/>
                  <a:gd name="connsiteY923" fmla="*/ 698510 h 1244590"/>
                  <a:gd name="connsiteX924" fmla="*/ 529111 w 1679153"/>
                  <a:gd name="connsiteY924" fmla="*/ 696238 h 1244590"/>
                  <a:gd name="connsiteX925" fmla="*/ 527747 w 1679153"/>
                  <a:gd name="connsiteY925" fmla="*/ 691995 h 1244590"/>
                  <a:gd name="connsiteX926" fmla="*/ 524565 w 1679153"/>
                  <a:gd name="connsiteY926" fmla="*/ 688207 h 1244590"/>
                  <a:gd name="connsiteX927" fmla="*/ 522595 w 1679153"/>
                  <a:gd name="connsiteY927" fmla="*/ 686692 h 1244590"/>
                  <a:gd name="connsiteX928" fmla="*/ 520171 w 1679153"/>
                  <a:gd name="connsiteY928" fmla="*/ 683964 h 1244590"/>
                  <a:gd name="connsiteX929" fmla="*/ 519262 w 1679153"/>
                  <a:gd name="connsiteY929" fmla="*/ 681389 h 1244590"/>
                  <a:gd name="connsiteX930" fmla="*/ 518656 w 1679153"/>
                  <a:gd name="connsiteY930" fmla="*/ 678510 h 1244590"/>
                  <a:gd name="connsiteX931" fmla="*/ 517746 w 1679153"/>
                  <a:gd name="connsiteY931" fmla="*/ 676237 h 1244590"/>
                  <a:gd name="connsiteX932" fmla="*/ 516534 w 1679153"/>
                  <a:gd name="connsiteY932" fmla="*/ 674419 h 1244590"/>
                  <a:gd name="connsiteX933" fmla="*/ 517292 w 1679153"/>
                  <a:gd name="connsiteY933" fmla="*/ 673206 h 1244590"/>
                  <a:gd name="connsiteX934" fmla="*/ 524110 w 1679153"/>
                  <a:gd name="connsiteY934" fmla="*/ 672146 h 1244590"/>
                  <a:gd name="connsiteX935" fmla="*/ 523504 w 1679153"/>
                  <a:gd name="connsiteY935" fmla="*/ 672752 h 1244590"/>
                  <a:gd name="connsiteX936" fmla="*/ 520625 w 1679153"/>
                  <a:gd name="connsiteY936" fmla="*/ 674116 h 1244590"/>
                  <a:gd name="connsiteX937" fmla="*/ 519716 w 1679153"/>
                  <a:gd name="connsiteY937" fmla="*/ 675782 h 1244590"/>
                  <a:gd name="connsiteX938" fmla="*/ 522747 w 1679153"/>
                  <a:gd name="connsiteY938" fmla="*/ 682146 h 1244590"/>
                  <a:gd name="connsiteX939" fmla="*/ 524262 w 1679153"/>
                  <a:gd name="connsiteY939" fmla="*/ 683964 h 1244590"/>
                  <a:gd name="connsiteX940" fmla="*/ 526080 w 1679153"/>
                  <a:gd name="connsiteY940" fmla="*/ 685328 h 1244590"/>
                  <a:gd name="connsiteX941" fmla="*/ 530323 w 1679153"/>
                  <a:gd name="connsiteY941" fmla="*/ 690328 h 1244590"/>
                  <a:gd name="connsiteX942" fmla="*/ 531535 w 1679153"/>
                  <a:gd name="connsiteY942" fmla="*/ 693662 h 1244590"/>
                  <a:gd name="connsiteX943" fmla="*/ 531989 w 1679153"/>
                  <a:gd name="connsiteY943" fmla="*/ 696995 h 1244590"/>
                  <a:gd name="connsiteX944" fmla="*/ 531838 w 1679153"/>
                  <a:gd name="connsiteY944" fmla="*/ 699571 h 1244590"/>
                  <a:gd name="connsiteX945" fmla="*/ 532444 w 1679153"/>
                  <a:gd name="connsiteY945" fmla="*/ 701086 h 1244590"/>
                  <a:gd name="connsiteX946" fmla="*/ 537596 w 1679153"/>
                  <a:gd name="connsiteY946" fmla="*/ 700177 h 1244590"/>
                  <a:gd name="connsiteX947" fmla="*/ 537899 w 1679153"/>
                  <a:gd name="connsiteY947" fmla="*/ 701844 h 1244590"/>
                  <a:gd name="connsiteX948" fmla="*/ 534868 w 1679153"/>
                  <a:gd name="connsiteY948" fmla="*/ 705177 h 1244590"/>
                  <a:gd name="connsiteX949" fmla="*/ 533353 w 1679153"/>
                  <a:gd name="connsiteY949" fmla="*/ 706389 h 1244590"/>
                  <a:gd name="connsiteX950" fmla="*/ 528656 w 1679153"/>
                  <a:gd name="connsiteY950" fmla="*/ 708662 h 1244590"/>
                  <a:gd name="connsiteX951" fmla="*/ 528959 w 1679153"/>
                  <a:gd name="connsiteY951" fmla="*/ 710329 h 1244590"/>
                  <a:gd name="connsiteX952" fmla="*/ 529565 w 1679153"/>
                  <a:gd name="connsiteY952" fmla="*/ 711693 h 1244590"/>
                  <a:gd name="connsiteX953" fmla="*/ 533808 w 1679153"/>
                  <a:gd name="connsiteY953" fmla="*/ 713662 h 1244590"/>
                  <a:gd name="connsiteX954" fmla="*/ 536990 w 1679153"/>
                  <a:gd name="connsiteY954" fmla="*/ 713814 h 1244590"/>
                  <a:gd name="connsiteX955" fmla="*/ 543960 w 1679153"/>
                  <a:gd name="connsiteY955" fmla="*/ 710481 h 1244590"/>
                  <a:gd name="connsiteX956" fmla="*/ 549111 w 1679153"/>
                  <a:gd name="connsiteY956" fmla="*/ 707450 h 1244590"/>
                  <a:gd name="connsiteX957" fmla="*/ 551081 w 1679153"/>
                  <a:gd name="connsiteY957" fmla="*/ 706996 h 1244590"/>
                  <a:gd name="connsiteX958" fmla="*/ 563657 w 1679153"/>
                  <a:gd name="connsiteY958" fmla="*/ 709117 h 1244590"/>
                  <a:gd name="connsiteX959" fmla="*/ 566839 w 1679153"/>
                  <a:gd name="connsiteY959" fmla="*/ 708814 h 1244590"/>
                  <a:gd name="connsiteX960" fmla="*/ 571536 w 1679153"/>
                  <a:gd name="connsiteY960" fmla="*/ 707147 h 1244590"/>
                  <a:gd name="connsiteX961" fmla="*/ 575173 w 1679153"/>
                  <a:gd name="connsiteY961" fmla="*/ 706389 h 1244590"/>
                  <a:gd name="connsiteX962" fmla="*/ 575476 w 1679153"/>
                  <a:gd name="connsiteY962" fmla="*/ 706996 h 1244590"/>
                  <a:gd name="connsiteX963" fmla="*/ 570021 w 1679153"/>
                  <a:gd name="connsiteY963" fmla="*/ 710632 h 1244590"/>
                  <a:gd name="connsiteX964" fmla="*/ 548657 w 1679153"/>
                  <a:gd name="connsiteY964" fmla="*/ 715632 h 1244590"/>
                  <a:gd name="connsiteX965" fmla="*/ 544717 w 1679153"/>
                  <a:gd name="connsiteY965" fmla="*/ 717905 h 1244590"/>
                  <a:gd name="connsiteX966" fmla="*/ 543505 w 1679153"/>
                  <a:gd name="connsiteY966" fmla="*/ 720178 h 1244590"/>
                  <a:gd name="connsiteX967" fmla="*/ 541687 w 1679153"/>
                  <a:gd name="connsiteY967" fmla="*/ 722299 h 1244590"/>
                  <a:gd name="connsiteX968" fmla="*/ 539414 w 1679153"/>
                  <a:gd name="connsiteY968" fmla="*/ 723208 h 1244590"/>
                  <a:gd name="connsiteX969" fmla="*/ 538656 w 1679153"/>
                  <a:gd name="connsiteY969" fmla="*/ 725178 h 1244590"/>
                  <a:gd name="connsiteX970" fmla="*/ 541687 w 1679153"/>
                  <a:gd name="connsiteY970" fmla="*/ 731845 h 1244590"/>
                  <a:gd name="connsiteX971" fmla="*/ 544717 w 1679153"/>
                  <a:gd name="connsiteY971" fmla="*/ 732299 h 1244590"/>
                  <a:gd name="connsiteX972" fmla="*/ 548051 w 1679153"/>
                  <a:gd name="connsiteY972" fmla="*/ 732148 h 1244590"/>
                  <a:gd name="connsiteX973" fmla="*/ 554566 w 1679153"/>
                  <a:gd name="connsiteY973" fmla="*/ 730784 h 1244590"/>
                  <a:gd name="connsiteX974" fmla="*/ 557748 w 1679153"/>
                  <a:gd name="connsiteY974" fmla="*/ 731390 h 1244590"/>
                  <a:gd name="connsiteX975" fmla="*/ 562748 w 1679153"/>
                  <a:gd name="connsiteY975" fmla="*/ 733512 h 1244590"/>
                  <a:gd name="connsiteX976" fmla="*/ 567445 w 1679153"/>
                  <a:gd name="connsiteY976" fmla="*/ 734875 h 1244590"/>
                  <a:gd name="connsiteX977" fmla="*/ 574870 w 1679153"/>
                  <a:gd name="connsiteY977" fmla="*/ 734421 h 1244590"/>
                  <a:gd name="connsiteX978" fmla="*/ 586234 w 1679153"/>
                  <a:gd name="connsiteY978" fmla="*/ 735027 h 1244590"/>
                  <a:gd name="connsiteX979" fmla="*/ 591689 w 1679153"/>
                  <a:gd name="connsiteY979" fmla="*/ 738815 h 1244590"/>
                  <a:gd name="connsiteX980" fmla="*/ 596083 w 1679153"/>
                  <a:gd name="connsiteY980" fmla="*/ 740936 h 1244590"/>
                  <a:gd name="connsiteX981" fmla="*/ 595780 w 1679153"/>
                  <a:gd name="connsiteY981" fmla="*/ 741694 h 1244590"/>
                  <a:gd name="connsiteX982" fmla="*/ 593052 w 1679153"/>
                  <a:gd name="connsiteY982" fmla="*/ 742451 h 1244590"/>
                  <a:gd name="connsiteX983" fmla="*/ 589264 w 1679153"/>
                  <a:gd name="connsiteY983" fmla="*/ 742148 h 1244590"/>
                  <a:gd name="connsiteX984" fmla="*/ 582143 w 1679153"/>
                  <a:gd name="connsiteY984" fmla="*/ 740330 h 1244590"/>
                  <a:gd name="connsiteX985" fmla="*/ 578809 w 1679153"/>
                  <a:gd name="connsiteY985" fmla="*/ 740027 h 1244590"/>
                  <a:gd name="connsiteX986" fmla="*/ 575476 w 1679153"/>
                  <a:gd name="connsiteY986" fmla="*/ 740482 h 1244590"/>
                  <a:gd name="connsiteX987" fmla="*/ 576082 w 1679153"/>
                  <a:gd name="connsiteY987" fmla="*/ 741391 h 1244590"/>
                  <a:gd name="connsiteX988" fmla="*/ 583204 w 1679153"/>
                  <a:gd name="connsiteY988" fmla="*/ 745027 h 1244590"/>
                  <a:gd name="connsiteX989" fmla="*/ 585931 w 1679153"/>
                  <a:gd name="connsiteY989" fmla="*/ 745785 h 1244590"/>
                  <a:gd name="connsiteX990" fmla="*/ 589719 w 1679153"/>
                  <a:gd name="connsiteY990" fmla="*/ 748361 h 1244590"/>
                  <a:gd name="connsiteX991" fmla="*/ 588961 w 1679153"/>
                  <a:gd name="connsiteY991" fmla="*/ 752603 h 1244590"/>
                  <a:gd name="connsiteX992" fmla="*/ 587901 w 1679153"/>
                  <a:gd name="connsiteY992" fmla="*/ 753815 h 1244590"/>
                  <a:gd name="connsiteX993" fmla="*/ 587294 w 1679153"/>
                  <a:gd name="connsiteY993" fmla="*/ 756543 h 1244590"/>
                  <a:gd name="connsiteX994" fmla="*/ 587749 w 1679153"/>
                  <a:gd name="connsiteY994" fmla="*/ 761391 h 1244590"/>
                  <a:gd name="connsiteX995" fmla="*/ 591840 w 1679153"/>
                  <a:gd name="connsiteY995" fmla="*/ 764422 h 1244590"/>
                  <a:gd name="connsiteX996" fmla="*/ 598356 w 1679153"/>
                  <a:gd name="connsiteY996" fmla="*/ 768210 h 1244590"/>
                  <a:gd name="connsiteX997" fmla="*/ 603962 w 1679153"/>
                  <a:gd name="connsiteY997" fmla="*/ 768967 h 1244590"/>
                  <a:gd name="connsiteX998" fmla="*/ 605780 w 1679153"/>
                  <a:gd name="connsiteY998" fmla="*/ 770028 h 1244590"/>
                  <a:gd name="connsiteX999" fmla="*/ 605325 w 1679153"/>
                  <a:gd name="connsiteY999" fmla="*/ 771089 h 1244590"/>
                  <a:gd name="connsiteX1000" fmla="*/ 600174 w 1679153"/>
                  <a:gd name="connsiteY1000" fmla="*/ 772604 h 1244590"/>
                  <a:gd name="connsiteX1001" fmla="*/ 598204 w 1679153"/>
                  <a:gd name="connsiteY1001" fmla="*/ 772604 h 1244590"/>
                  <a:gd name="connsiteX1002" fmla="*/ 585476 w 1679153"/>
                  <a:gd name="connsiteY1002" fmla="*/ 769270 h 1244590"/>
                  <a:gd name="connsiteX1003" fmla="*/ 582446 w 1679153"/>
                  <a:gd name="connsiteY1003" fmla="*/ 768816 h 1244590"/>
                  <a:gd name="connsiteX1004" fmla="*/ 575324 w 1679153"/>
                  <a:gd name="connsiteY1004" fmla="*/ 765634 h 1244590"/>
                  <a:gd name="connsiteX1005" fmla="*/ 558354 w 1679153"/>
                  <a:gd name="connsiteY1005" fmla="*/ 756543 h 1244590"/>
                  <a:gd name="connsiteX1006" fmla="*/ 552142 w 1679153"/>
                  <a:gd name="connsiteY1006" fmla="*/ 754421 h 1244590"/>
                  <a:gd name="connsiteX1007" fmla="*/ 547445 w 1679153"/>
                  <a:gd name="connsiteY1007" fmla="*/ 753361 h 1244590"/>
                  <a:gd name="connsiteX1008" fmla="*/ 539565 w 1679153"/>
                  <a:gd name="connsiteY1008" fmla="*/ 752452 h 1244590"/>
                  <a:gd name="connsiteX1009" fmla="*/ 531838 w 1679153"/>
                  <a:gd name="connsiteY1009" fmla="*/ 752906 h 1244590"/>
                  <a:gd name="connsiteX1010" fmla="*/ 528050 w 1679153"/>
                  <a:gd name="connsiteY1010" fmla="*/ 752603 h 1244590"/>
                  <a:gd name="connsiteX1011" fmla="*/ 523050 w 1679153"/>
                  <a:gd name="connsiteY1011" fmla="*/ 751088 h 1244590"/>
                  <a:gd name="connsiteX1012" fmla="*/ 518504 w 1679153"/>
                  <a:gd name="connsiteY1012" fmla="*/ 750330 h 1244590"/>
                  <a:gd name="connsiteX1013" fmla="*/ 510170 w 1679153"/>
                  <a:gd name="connsiteY1013" fmla="*/ 749876 h 1244590"/>
                  <a:gd name="connsiteX1014" fmla="*/ 505322 w 1679153"/>
                  <a:gd name="connsiteY1014" fmla="*/ 751391 h 1244590"/>
                  <a:gd name="connsiteX1015" fmla="*/ 502746 w 1679153"/>
                  <a:gd name="connsiteY1015" fmla="*/ 753209 h 1244590"/>
                  <a:gd name="connsiteX1016" fmla="*/ 500170 w 1679153"/>
                  <a:gd name="connsiteY1016" fmla="*/ 755785 h 1244590"/>
                  <a:gd name="connsiteX1017" fmla="*/ 500928 w 1679153"/>
                  <a:gd name="connsiteY1017" fmla="*/ 757906 h 1244590"/>
                  <a:gd name="connsiteX1018" fmla="*/ 505322 w 1679153"/>
                  <a:gd name="connsiteY1018" fmla="*/ 762149 h 1244590"/>
                  <a:gd name="connsiteX1019" fmla="*/ 511080 w 1679153"/>
                  <a:gd name="connsiteY1019" fmla="*/ 767301 h 1244590"/>
                  <a:gd name="connsiteX1020" fmla="*/ 514413 w 1679153"/>
                  <a:gd name="connsiteY1020" fmla="*/ 769574 h 1244590"/>
                  <a:gd name="connsiteX1021" fmla="*/ 521080 w 1679153"/>
                  <a:gd name="connsiteY1021" fmla="*/ 771240 h 1244590"/>
                  <a:gd name="connsiteX1022" fmla="*/ 532293 w 1679153"/>
                  <a:gd name="connsiteY1022" fmla="*/ 772907 h 1244590"/>
                  <a:gd name="connsiteX1023" fmla="*/ 541384 w 1679153"/>
                  <a:gd name="connsiteY1023" fmla="*/ 775483 h 1244590"/>
                  <a:gd name="connsiteX1024" fmla="*/ 548505 w 1679153"/>
                  <a:gd name="connsiteY1024" fmla="*/ 778816 h 1244590"/>
                  <a:gd name="connsiteX1025" fmla="*/ 553808 w 1679153"/>
                  <a:gd name="connsiteY1025" fmla="*/ 781847 h 1244590"/>
                  <a:gd name="connsiteX1026" fmla="*/ 560172 w 1679153"/>
                  <a:gd name="connsiteY1026" fmla="*/ 786544 h 1244590"/>
                  <a:gd name="connsiteX1027" fmla="*/ 562445 w 1679153"/>
                  <a:gd name="connsiteY1027" fmla="*/ 787453 h 1244590"/>
                  <a:gd name="connsiteX1028" fmla="*/ 580476 w 1679153"/>
                  <a:gd name="connsiteY1028" fmla="*/ 790180 h 1244590"/>
                  <a:gd name="connsiteX1029" fmla="*/ 583204 w 1679153"/>
                  <a:gd name="connsiteY1029" fmla="*/ 791089 h 1244590"/>
                  <a:gd name="connsiteX1030" fmla="*/ 585325 w 1679153"/>
                  <a:gd name="connsiteY1030" fmla="*/ 790938 h 1244590"/>
                  <a:gd name="connsiteX1031" fmla="*/ 591537 w 1679153"/>
                  <a:gd name="connsiteY1031" fmla="*/ 787908 h 1244590"/>
                  <a:gd name="connsiteX1032" fmla="*/ 593810 w 1679153"/>
                  <a:gd name="connsiteY1032" fmla="*/ 787605 h 1244590"/>
                  <a:gd name="connsiteX1033" fmla="*/ 597446 w 1679153"/>
                  <a:gd name="connsiteY1033" fmla="*/ 788514 h 1244590"/>
                  <a:gd name="connsiteX1034" fmla="*/ 602144 w 1679153"/>
                  <a:gd name="connsiteY1034" fmla="*/ 790332 h 1244590"/>
                  <a:gd name="connsiteX1035" fmla="*/ 607447 w 1679153"/>
                  <a:gd name="connsiteY1035" fmla="*/ 789726 h 1244590"/>
                  <a:gd name="connsiteX1036" fmla="*/ 612144 w 1679153"/>
                  <a:gd name="connsiteY1036" fmla="*/ 788514 h 1244590"/>
                  <a:gd name="connsiteX1037" fmla="*/ 615174 w 1679153"/>
                  <a:gd name="connsiteY1037" fmla="*/ 789120 h 1244590"/>
                  <a:gd name="connsiteX1038" fmla="*/ 616084 w 1679153"/>
                  <a:gd name="connsiteY1038" fmla="*/ 789726 h 1244590"/>
                  <a:gd name="connsiteX1039" fmla="*/ 614871 w 1679153"/>
                  <a:gd name="connsiteY1039" fmla="*/ 790786 h 1244590"/>
                  <a:gd name="connsiteX1040" fmla="*/ 611538 w 1679153"/>
                  <a:gd name="connsiteY1040" fmla="*/ 792150 h 1244590"/>
                  <a:gd name="connsiteX1041" fmla="*/ 610477 w 1679153"/>
                  <a:gd name="connsiteY1041" fmla="*/ 793665 h 1244590"/>
                  <a:gd name="connsiteX1042" fmla="*/ 614720 w 1679153"/>
                  <a:gd name="connsiteY1042" fmla="*/ 799120 h 1244590"/>
                  <a:gd name="connsiteX1043" fmla="*/ 614568 w 1679153"/>
                  <a:gd name="connsiteY1043" fmla="*/ 800484 h 1244590"/>
                  <a:gd name="connsiteX1044" fmla="*/ 611538 w 1679153"/>
                  <a:gd name="connsiteY1044" fmla="*/ 801847 h 1244590"/>
                  <a:gd name="connsiteX1045" fmla="*/ 604416 w 1679153"/>
                  <a:gd name="connsiteY1045" fmla="*/ 803969 h 1244590"/>
                  <a:gd name="connsiteX1046" fmla="*/ 602144 w 1679153"/>
                  <a:gd name="connsiteY1046" fmla="*/ 806999 h 1244590"/>
                  <a:gd name="connsiteX1047" fmla="*/ 601992 w 1679153"/>
                  <a:gd name="connsiteY1047" fmla="*/ 810181 h 1244590"/>
                  <a:gd name="connsiteX1048" fmla="*/ 600174 w 1679153"/>
                  <a:gd name="connsiteY1048" fmla="*/ 816242 h 1244590"/>
                  <a:gd name="connsiteX1049" fmla="*/ 599719 w 1679153"/>
                  <a:gd name="connsiteY1049" fmla="*/ 819272 h 1244590"/>
                  <a:gd name="connsiteX1050" fmla="*/ 595174 w 1679153"/>
                  <a:gd name="connsiteY1050" fmla="*/ 825939 h 1244590"/>
                  <a:gd name="connsiteX1051" fmla="*/ 594719 w 1679153"/>
                  <a:gd name="connsiteY1051" fmla="*/ 829121 h 1244590"/>
                  <a:gd name="connsiteX1052" fmla="*/ 600931 w 1679153"/>
                  <a:gd name="connsiteY1052" fmla="*/ 829273 h 1244590"/>
                  <a:gd name="connsiteX1053" fmla="*/ 605932 w 1679153"/>
                  <a:gd name="connsiteY1053" fmla="*/ 827909 h 1244590"/>
                  <a:gd name="connsiteX1054" fmla="*/ 609568 w 1679153"/>
                  <a:gd name="connsiteY1054" fmla="*/ 827303 h 1244590"/>
                  <a:gd name="connsiteX1055" fmla="*/ 611689 w 1679153"/>
                  <a:gd name="connsiteY1055" fmla="*/ 829273 h 1244590"/>
                  <a:gd name="connsiteX1056" fmla="*/ 616084 w 1679153"/>
                  <a:gd name="connsiteY1056" fmla="*/ 830182 h 1244590"/>
                  <a:gd name="connsiteX1057" fmla="*/ 616084 w 1679153"/>
                  <a:gd name="connsiteY1057" fmla="*/ 830939 h 1244590"/>
                  <a:gd name="connsiteX1058" fmla="*/ 613508 w 1679153"/>
                  <a:gd name="connsiteY1058" fmla="*/ 832606 h 1244590"/>
                  <a:gd name="connsiteX1059" fmla="*/ 602598 w 1679153"/>
                  <a:gd name="connsiteY1059" fmla="*/ 833667 h 1244590"/>
                  <a:gd name="connsiteX1060" fmla="*/ 594568 w 1679153"/>
                  <a:gd name="connsiteY1060" fmla="*/ 833061 h 1244590"/>
                  <a:gd name="connsiteX1061" fmla="*/ 593658 w 1679153"/>
                  <a:gd name="connsiteY1061" fmla="*/ 834879 h 1244590"/>
                  <a:gd name="connsiteX1062" fmla="*/ 592598 w 1679153"/>
                  <a:gd name="connsiteY1062" fmla="*/ 842152 h 1244590"/>
                  <a:gd name="connsiteX1063" fmla="*/ 590022 w 1679153"/>
                  <a:gd name="connsiteY1063" fmla="*/ 851698 h 1244590"/>
                  <a:gd name="connsiteX1064" fmla="*/ 592749 w 1679153"/>
                  <a:gd name="connsiteY1064" fmla="*/ 851698 h 1244590"/>
                  <a:gd name="connsiteX1065" fmla="*/ 595931 w 1679153"/>
                  <a:gd name="connsiteY1065" fmla="*/ 850940 h 1244590"/>
                  <a:gd name="connsiteX1066" fmla="*/ 601992 w 1679153"/>
                  <a:gd name="connsiteY1066" fmla="*/ 848061 h 1244590"/>
                  <a:gd name="connsiteX1067" fmla="*/ 602144 w 1679153"/>
                  <a:gd name="connsiteY1067" fmla="*/ 849273 h 1244590"/>
                  <a:gd name="connsiteX1068" fmla="*/ 598204 w 1679153"/>
                  <a:gd name="connsiteY1068" fmla="*/ 854425 h 1244590"/>
                  <a:gd name="connsiteX1069" fmla="*/ 594870 w 1679153"/>
                  <a:gd name="connsiteY1069" fmla="*/ 857456 h 1244590"/>
                  <a:gd name="connsiteX1070" fmla="*/ 593204 w 1679153"/>
                  <a:gd name="connsiteY1070" fmla="*/ 858516 h 1244590"/>
                  <a:gd name="connsiteX1071" fmla="*/ 583355 w 1679153"/>
                  <a:gd name="connsiteY1071" fmla="*/ 860789 h 1244590"/>
                  <a:gd name="connsiteX1072" fmla="*/ 579416 w 1679153"/>
                  <a:gd name="connsiteY1072" fmla="*/ 861395 h 1244590"/>
                  <a:gd name="connsiteX1073" fmla="*/ 575173 w 1679153"/>
                  <a:gd name="connsiteY1073" fmla="*/ 860789 h 1244590"/>
                  <a:gd name="connsiteX1074" fmla="*/ 560930 w 1679153"/>
                  <a:gd name="connsiteY1074" fmla="*/ 853516 h 1244590"/>
                  <a:gd name="connsiteX1075" fmla="*/ 552748 w 1679153"/>
                  <a:gd name="connsiteY1075" fmla="*/ 853213 h 1244590"/>
                  <a:gd name="connsiteX1076" fmla="*/ 544869 w 1679153"/>
                  <a:gd name="connsiteY1076" fmla="*/ 855486 h 1244590"/>
                  <a:gd name="connsiteX1077" fmla="*/ 540929 w 1679153"/>
                  <a:gd name="connsiteY1077" fmla="*/ 857910 h 1244590"/>
                  <a:gd name="connsiteX1078" fmla="*/ 536232 w 1679153"/>
                  <a:gd name="connsiteY1078" fmla="*/ 867304 h 1244590"/>
                  <a:gd name="connsiteX1079" fmla="*/ 532899 w 1679153"/>
                  <a:gd name="connsiteY1079" fmla="*/ 870183 h 1244590"/>
                  <a:gd name="connsiteX1080" fmla="*/ 531686 w 1679153"/>
                  <a:gd name="connsiteY1080" fmla="*/ 872759 h 1244590"/>
                  <a:gd name="connsiteX1081" fmla="*/ 534262 w 1679153"/>
                  <a:gd name="connsiteY1081" fmla="*/ 872911 h 1244590"/>
                  <a:gd name="connsiteX1082" fmla="*/ 537444 w 1679153"/>
                  <a:gd name="connsiteY1082" fmla="*/ 872456 h 1244590"/>
                  <a:gd name="connsiteX1083" fmla="*/ 548202 w 1679153"/>
                  <a:gd name="connsiteY1083" fmla="*/ 872153 h 1244590"/>
                  <a:gd name="connsiteX1084" fmla="*/ 549111 w 1679153"/>
                  <a:gd name="connsiteY1084" fmla="*/ 873668 h 1244590"/>
                  <a:gd name="connsiteX1085" fmla="*/ 550475 w 1679153"/>
                  <a:gd name="connsiteY1085" fmla="*/ 874426 h 1244590"/>
                  <a:gd name="connsiteX1086" fmla="*/ 559263 w 1679153"/>
                  <a:gd name="connsiteY1086" fmla="*/ 876396 h 1244590"/>
                  <a:gd name="connsiteX1087" fmla="*/ 564263 w 1679153"/>
                  <a:gd name="connsiteY1087" fmla="*/ 876244 h 1244590"/>
                  <a:gd name="connsiteX1088" fmla="*/ 575021 w 1679153"/>
                  <a:gd name="connsiteY1088" fmla="*/ 874729 h 1244590"/>
                  <a:gd name="connsiteX1089" fmla="*/ 579718 w 1679153"/>
                  <a:gd name="connsiteY1089" fmla="*/ 873668 h 1244590"/>
                  <a:gd name="connsiteX1090" fmla="*/ 583961 w 1679153"/>
                  <a:gd name="connsiteY1090" fmla="*/ 869274 h 1244590"/>
                  <a:gd name="connsiteX1091" fmla="*/ 583355 w 1679153"/>
                  <a:gd name="connsiteY1091" fmla="*/ 868517 h 1244590"/>
                  <a:gd name="connsiteX1092" fmla="*/ 583961 w 1679153"/>
                  <a:gd name="connsiteY1092" fmla="*/ 868062 h 1244590"/>
                  <a:gd name="connsiteX1093" fmla="*/ 588355 w 1679153"/>
                  <a:gd name="connsiteY1093" fmla="*/ 867001 h 1244590"/>
                  <a:gd name="connsiteX1094" fmla="*/ 590628 w 1679153"/>
                  <a:gd name="connsiteY1094" fmla="*/ 866850 h 1244590"/>
                  <a:gd name="connsiteX1095" fmla="*/ 591689 w 1679153"/>
                  <a:gd name="connsiteY1095" fmla="*/ 868517 h 1244590"/>
                  <a:gd name="connsiteX1096" fmla="*/ 590628 w 1679153"/>
                  <a:gd name="connsiteY1096" fmla="*/ 871395 h 1244590"/>
                  <a:gd name="connsiteX1097" fmla="*/ 587143 w 1679153"/>
                  <a:gd name="connsiteY1097" fmla="*/ 875335 h 1244590"/>
                  <a:gd name="connsiteX1098" fmla="*/ 585476 w 1679153"/>
                  <a:gd name="connsiteY1098" fmla="*/ 876547 h 1244590"/>
                  <a:gd name="connsiteX1099" fmla="*/ 584870 w 1679153"/>
                  <a:gd name="connsiteY1099" fmla="*/ 877456 h 1244590"/>
                  <a:gd name="connsiteX1100" fmla="*/ 584416 w 1679153"/>
                  <a:gd name="connsiteY1100" fmla="*/ 880032 h 1244590"/>
                  <a:gd name="connsiteX1101" fmla="*/ 583810 w 1679153"/>
                  <a:gd name="connsiteY1101" fmla="*/ 881244 h 1244590"/>
                  <a:gd name="connsiteX1102" fmla="*/ 582143 w 1679153"/>
                  <a:gd name="connsiteY1102" fmla="*/ 883063 h 1244590"/>
                  <a:gd name="connsiteX1103" fmla="*/ 580022 w 1679153"/>
                  <a:gd name="connsiteY1103" fmla="*/ 884123 h 1244590"/>
                  <a:gd name="connsiteX1104" fmla="*/ 575021 w 1679153"/>
                  <a:gd name="connsiteY1104" fmla="*/ 883972 h 1244590"/>
                  <a:gd name="connsiteX1105" fmla="*/ 567445 w 1679153"/>
                  <a:gd name="connsiteY1105" fmla="*/ 883063 h 1244590"/>
                  <a:gd name="connsiteX1106" fmla="*/ 557142 w 1679153"/>
                  <a:gd name="connsiteY1106" fmla="*/ 879729 h 1244590"/>
                  <a:gd name="connsiteX1107" fmla="*/ 544717 w 1679153"/>
                  <a:gd name="connsiteY1107" fmla="*/ 877002 h 1244590"/>
                  <a:gd name="connsiteX1108" fmla="*/ 540626 w 1679153"/>
                  <a:gd name="connsiteY1108" fmla="*/ 876396 h 1244590"/>
                  <a:gd name="connsiteX1109" fmla="*/ 537596 w 1679153"/>
                  <a:gd name="connsiteY1109" fmla="*/ 876850 h 1244590"/>
                  <a:gd name="connsiteX1110" fmla="*/ 535929 w 1679153"/>
                  <a:gd name="connsiteY1110" fmla="*/ 881093 h 1244590"/>
                  <a:gd name="connsiteX1111" fmla="*/ 531989 w 1679153"/>
                  <a:gd name="connsiteY1111" fmla="*/ 888063 h 1244590"/>
                  <a:gd name="connsiteX1112" fmla="*/ 525777 w 1679153"/>
                  <a:gd name="connsiteY1112" fmla="*/ 894275 h 1244590"/>
                  <a:gd name="connsiteX1113" fmla="*/ 524717 w 1679153"/>
                  <a:gd name="connsiteY1113" fmla="*/ 897609 h 1244590"/>
                  <a:gd name="connsiteX1114" fmla="*/ 524717 w 1679153"/>
                  <a:gd name="connsiteY1114" fmla="*/ 900033 h 1244590"/>
                  <a:gd name="connsiteX1115" fmla="*/ 523959 w 1679153"/>
                  <a:gd name="connsiteY1115" fmla="*/ 902306 h 1244590"/>
                  <a:gd name="connsiteX1116" fmla="*/ 521686 w 1679153"/>
                  <a:gd name="connsiteY1116" fmla="*/ 907912 h 1244590"/>
                  <a:gd name="connsiteX1117" fmla="*/ 525323 w 1679153"/>
                  <a:gd name="connsiteY1117" fmla="*/ 908518 h 1244590"/>
                  <a:gd name="connsiteX1118" fmla="*/ 530323 w 1679153"/>
                  <a:gd name="connsiteY1118" fmla="*/ 906700 h 1244590"/>
                  <a:gd name="connsiteX1119" fmla="*/ 542293 w 1679153"/>
                  <a:gd name="connsiteY1119" fmla="*/ 898063 h 1244590"/>
                  <a:gd name="connsiteX1120" fmla="*/ 544566 w 1679153"/>
                  <a:gd name="connsiteY1120" fmla="*/ 897305 h 1244590"/>
                  <a:gd name="connsiteX1121" fmla="*/ 550778 w 1679153"/>
                  <a:gd name="connsiteY1121" fmla="*/ 896245 h 1244590"/>
                  <a:gd name="connsiteX1122" fmla="*/ 554263 w 1679153"/>
                  <a:gd name="connsiteY1122" fmla="*/ 895184 h 1244590"/>
                  <a:gd name="connsiteX1123" fmla="*/ 559718 w 1679153"/>
                  <a:gd name="connsiteY1123" fmla="*/ 894275 h 1244590"/>
                  <a:gd name="connsiteX1124" fmla="*/ 566233 w 1679153"/>
                  <a:gd name="connsiteY1124" fmla="*/ 897002 h 1244590"/>
                  <a:gd name="connsiteX1125" fmla="*/ 570627 w 1679153"/>
                  <a:gd name="connsiteY1125" fmla="*/ 897609 h 1244590"/>
                  <a:gd name="connsiteX1126" fmla="*/ 575476 w 1679153"/>
                  <a:gd name="connsiteY1126" fmla="*/ 898821 h 1244590"/>
                  <a:gd name="connsiteX1127" fmla="*/ 584870 w 1679153"/>
                  <a:gd name="connsiteY1127" fmla="*/ 898063 h 1244590"/>
                  <a:gd name="connsiteX1128" fmla="*/ 587598 w 1679153"/>
                  <a:gd name="connsiteY1128" fmla="*/ 896548 h 1244590"/>
                  <a:gd name="connsiteX1129" fmla="*/ 597295 w 1679153"/>
                  <a:gd name="connsiteY1129" fmla="*/ 895639 h 1244590"/>
                  <a:gd name="connsiteX1130" fmla="*/ 599568 w 1679153"/>
                  <a:gd name="connsiteY1130" fmla="*/ 896699 h 1244590"/>
                  <a:gd name="connsiteX1131" fmla="*/ 595628 w 1679153"/>
                  <a:gd name="connsiteY1131" fmla="*/ 898518 h 1244590"/>
                  <a:gd name="connsiteX1132" fmla="*/ 591840 w 1679153"/>
                  <a:gd name="connsiteY1132" fmla="*/ 898972 h 1244590"/>
                  <a:gd name="connsiteX1133" fmla="*/ 591689 w 1679153"/>
                  <a:gd name="connsiteY1133" fmla="*/ 900790 h 1244590"/>
                  <a:gd name="connsiteX1134" fmla="*/ 606235 w 1679153"/>
                  <a:gd name="connsiteY1134" fmla="*/ 907154 h 1244590"/>
                  <a:gd name="connsiteX1135" fmla="*/ 606992 w 1679153"/>
                  <a:gd name="connsiteY1135" fmla="*/ 908670 h 1244590"/>
                  <a:gd name="connsiteX1136" fmla="*/ 604416 w 1679153"/>
                  <a:gd name="connsiteY1136" fmla="*/ 909579 h 1244590"/>
                  <a:gd name="connsiteX1137" fmla="*/ 591386 w 1679153"/>
                  <a:gd name="connsiteY1137" fmla="*/ 903669 h 1244590"/>
                  <a:gd name="connsiteX1138" fmla="*/ 583961 w 1679153"/>
                  <a:gd name="connsiteY1138" fmla="*/ 902154 h 1244590"/>
                  <a:gd name="connsiteX1139" fmla="*/ 578052 w 1679153"/>
                  <a:gd name="connsiteY1139" fmla="*/ 903215 h 1244590"/>
                  <a:gd name="connsiteX1140" fmla="*/ 571385 w 1679153"/>
                  <a:gd name="connsiteY1140" fmla="*/ 902457 h 1244590"/>
                  <a:gd name="connsiteX1141" fmla="*/ 558354 w 1679153"/>
                  <a:gd name="connsiteY1141" fmla="*/ 898366 h 1244590"/>
                  <a:gd name="connsiteX1142" fmla="*/ 554869 w 1679153"/>
                  <a:gd name="connsiteY1142" fmla="*/ 897912 h 1244590"/>
                  <a:gd name="connsiteX1143" fmla="*/ 550626 w 1679153"/>
                  <a:gd name="connsiteY1143" fmla="*/ 898518 h 1244590"/>
                  <a:gd name="connsiteX1144" fmla="*/ 542293 w 1679153"/>
                  <a:gd name="connsiteY1144" fmla="*/ 901397 h 1244590"/>
                  <a:gd name="connsiteX1145" fmla="*/ 535323 w 1679153"/>
                  <a:gd name="connsiteY1145" fmla="*/ 906245 h 1244590"/>
                  <a:gd name="connsiteX1146" fmla="*/ 530171 w 1679153"/>
                  <a:gd name="connsiteY1146" fmla="*/ 909124 h 1244590"/>
                  <a:gd name="connsiteX1147" fmla="*/ 526535 w 1679153"/>
                  <a:gd name="connsiteY1147" fmla="*/ 910336 h 1244590"/>
                  <a:gd name="connsiteX1148" fmla="*/ 519716 w 1679153"/>
                  <a:gd name="connsiteY1148" fmla="*/ 914124 h 1244590"/>
                  <a:gd name="connsiteX1149" fmla="*/ 519565 w 1679153"/>
                  <a:gd name="connsiteY1149" fmla="*/ 918367 h 1244590"/>
                  <a:gd name="connsiteX1150" fmla="*/ 517443 w 1679153"/>
                  <a:gd name="connsiteY1150" fmla="*/ 927307 h 1244590"/>
                  <a:gd name="connsiteX1151" fmla="*/ 522898 w 1679153"/>
                  <a:gd name="connsiteY1151" fmla="*/ 934277 h 1244590"/>
                  <a:gd name="connsiteX1152" fmla="*/ 526383 w 1679153"/>
                  <a:gd name="connsiteY1152" fmla="*/ 936095 h 1244590"/>
                  <a:gd name="connsiteX1153" fmla="*/ 529565 w 1679153"/>
                  <a:gd name="connsiteY1153" fmla="*/ 937004 h 1244590"/>
                  <a:gd name="connsiteX1154" fmla="*/ 531535 w 1679153"/>
                  <a:gd name="connsiteY1154" fmla="*/ 936701 h 1244590"/>
                  <a:gd name="connsiteX1155" fmla="*/ 535474 w 1679153"/>
                  <a:gd name="connsiteY1155" fmla="*/ 937307 h 1244590"/>
                  <a:gd name="connsiteX1156" fmla="*/ 544263 w 1679153"/>
                  <a:gd name="connsiteY1156" fmla="*/ 937913 h 1244590"/>
                  <a:gd name="connsiteX1157" fmla="*/ 553808 w 1679153"/>
                  <a:gd name="connsiteY1157" fmla="*/ 937762 h 1244590"/>
                  <a:gd name="connsiteX1158" fmla="*/ 557445 w 1679153"/>
                  <a:gd name="connsiteY1158" fmla="*/ 938368 h 1244590"/>
                  <a:gd name="connsiteX1159" fmla="*/ 558657 w 1679153"/>
                  <a:gd name="connsiteY1159" fmla="*/ 939125 h 1244590"/>
                  <a:gd name="connsiteX1160" fmla="*/ 557445 w 1679153"/>
                  <a:gd name="connsiteY1160" fmla="*/ 940034 h 1244590"/>
                  <a:gd name="connsiteX1161" fmla="*/ 555778 w 1679153"/>
                  <a:gd name="connsiteY1161" fmla="*/ 940489 h 1244590"/>
                  <a:gd name="connsiteX1162" fmla="*/ 552748 w 1679153"/>
                  <a:gd name="connsiteY1162" fmla="*/ 940337 h 1244590"/>
                  <a:gd name="connsiteX1163" fmla="*/ 540778 w 1679153"/>
                  <a:gd name="connsiteY1163" fmla="*/ 941550 h 1244590"/>
                  <a:gd name="connsiteX1164" fmla="*/ 538656 w 1679153"/>
                  <a:gd name="connsiteY1164" fmla="*/ 944883 h 1244590"/>
                  <a:gd name="connsiteX1165" fmla="*/ 535626 w 1679153"/>
                  <a:gd name="connsiteY1165" fmla="*/ 946398 h 1244590"/>
                  <a:gd name="connsiteX1166" fmla="*/ 530323 w 1679153"/>
                  <a:gd name="connsiteY1166" fmla="*/ 949732 h 1244590"/>
                  <a:gd name="connsiteX1167" fmla="*/ 529868 w 1679153"/>
                  <a:gd name="connsiteY1167" fmla="*/ 950944 h 1244590"/>
                  <a:gd name="connsiteX1168" fmla="*/ 528807 w 1679153"/>
                  <a:gd name="connsiteY1168" fmla="*/ 952762 h 1244590"/>
                  <a:gd name="connsiteX1169" fmla="*/ 526232 w 1679153"/>
                  <a:gd name="connsiteY1169" fmla="*/ 955944 h 1244590"/>
                  <a:gd name="connsiteX1170" fmla="*/ 524413 w 1679153"/>
                  <a:gd name="connsiteY1170" fmla="*/ 960490 h 1244590"/>
                  <a:gd name="connsiteX1171" fmla="*/ 524717 w 1679153"/>
                  <a:gd name="connsiteY1171" fmla="*/ 963672 h 1244590"/>
                  <a:gd name="connsiteX1172" fmla="*/ 523959 w 1679153"/>
                  <a:gd name="connsiteY1172" fmla="*/ 966853 h 1244590"/>
                  <a:gd name="connsiteX1173" fmla="*/ 524868 w 1679153"/>
                  <a:gd name="connsiteY1173" fmla="*/ 972308 h 1244590"/>
                  <a:gd name="connsiteX1174" fmla="*/ 526989 w 1679153"/>
                  <a:gd name="connsiteY1174" fmla="*/ 973066 h 1244590"/>
                  <a:gd name="connsiteX1175" fmla="*/ 530474 w 1679153"/>
                  <a:gd name="connsiteY1175" fmla="*/ 972157 h 1244590"/>
                  <a:gd name="connsiteX1176" fmla="*/ 537444 w 1679153"/>
                  <a:gd name="connsiteY1176" fmla="*/ 971399 h 1244590"/>
                  <a:gd name="connsiteX1177" fmla="*/ 540778 w 1679153"/>
                  <a:gd name="connsiteY1177" fmla="*/ 970338 h 1244590"/>
                  <a:gd name="connsiteX1178" fmla="*/ 543960 w 1679153"/>
                  <a:gd name="connsiteY1178" fmla="*/ 968520 h 1244590"/>
                  <a:gd name="connsiteX1179" fmla="*/ 546838 w 1679153"/>
                  <a:gd name="connsiteY1179" fmla="*/ 965944 h 1244590"/>
                  <a:gd name="connsiteX1180" fmla="*/ 550626 w 1679153"/>
                  <a:gd name="connsiteY1180" fmla="*/ 963217 h 1244590"/>
                  <a:gd name="connsiteX1181" fmla="*/ 557597 w 1679153"/>
                  <a:gd name="connsiteY1181" fmla="*/ 958974 h 1244590"/>
                  <a:gd name="connsiteX1182" fmla="*/ 573961 w 1679153"/>
                  <a:gd name="connsiteY1182" fmla="*/ 947459 h 1244590"/>
                  <a:gd name="connsiteX1183" fmla="*/ 578809 w 1679153"/>
                  <a:gd name="connsiteY1183" fmla="*/ 944883 h 1244590"/>
                  <a:gd name="connsiteX1184" fmla="*/ 585476 w 1679153"/>
                  <a:gd name="connsiteY1184" fmla="*/ 940337 h 1244590"/>
                  <a:gd name="connsiteX1185" fmla="*/ 588810 w 1679153"/>
                  <a:gd name="connsiteY1185" fmla="*/ 938671 h 1244590"/>
                  <a:gd name="connsiteX1186" fmla="*/ 590325 w 1679153"/>
                  <a:gd name="connsiteY1186" fmla="*/ 939125 h 1244590"/>
                  <a:gd name="connsiteX1187" fmla="*/ 589416 w 1679153"/>
                  <a:gd name="connsiteY1187" fmla="*/ 940943 h 1244590"/>
                  <a:gd name="connsiteX1188" fmla="*/ 582294 w 1679153"/>
                  <a:gd name="connsiteY1188" fmla="*/ 945944 h 1244590"/>
                  <a:gd name="connsiteX1189" fmla="*/ 577900 w 1679153"/>
                  <a:gd name="connsiteY1189" fmla="*/ 948216 h 1244590"/>
                  <a:gd name="connsiteX1190" fmla="*/ 573961 w 1679153"/>
                  <a:gd name="connsiteY1190" fmla="*/ 949732 h 1244590"/>
                  <a:gd name="connsiteX1191" fmla="*/ 572142 w 1679153"/>
                  <a:gd name="connsiteY1191" fmla="*/ 951095 h 1244590"/>
                  <a:gd name="connsiteX1192" fmla="*/ 571082 w 1679153"/>
                  <a:gd name="connsiteY1192" fmla="*/ 952762 h 1244590"/>
                  <a:gd name="connsiteX1193" fmla="*/ 567748 w 1679153"/>
                  <a:gd name="connsiteY1193" fmla="*/ 956399 h 1244590"/>
                  <a:gd name="connsiteX1194" fmla="*/ 565021 w 1679153"/>
                  <a:gd name="connsiteY1194" fmla="*/ 958065 h 1244590"/>
                  <a:gd name="connsiteX1195" fmla="*/ 561385 w 1679153"/>
                  <a:gd name="connsiteY1195" fmla="*/ 959580 h 1244590"/>
                  <a:gd name="connsiteX1196" fmla="*/ 555475 w 1679153"/>
                  <a:gd name="connsiteY1196" fmla="*/ 963065 h 1244590"/>
                  <a:gd name="connsiteX1197" fmla="*/ 541535 w 1679153"/>
                  <a:gd name="connsiteY1197" fmla="*/ 971854 h 1244590"/>
                  <a:gd name="connsiteX1198" fmla="*/ 532293 w 1679153"/>
                  <a:gd name="connsiteY1198" fmla="*/ 976248 h 1244590"/>
                  <a:gd name="connsiteX1199" fmla="*/ 531383 w 1679153"/>
                  <a:gd name="connsiteY1199" fmla="*/ 977308 h 1244590"/>
                  <a:gd name="connsiteX1200" fmla="*/ 532747 w 1679153"/>
                  <a:gd name="connsiteY1200" fmla="*/ 977915 h 1244590"/>
                  <a:gd name="connsiteX1201" fmla="*/ 534717 w 1679153"/>
                  <a:gd name="connsiteY1201" fmla="*/ 980036 h 1244590"/>
                  <a:gd name="connsiteX1202" fmla="*/ 535474 w 1679153"/>
                  <a:gd name="connsiteY1202" fmla="*/ 980339 h 1244590"/>
                  <a:gd name="connsiteX1203" fmla="*/ 539262 w 1679153"/>
                  <a:gd name="connsiteY1203" fmla="*/ 980490 h 1244590"/>
                  <a:gd name="connsiteX1204" fmla="*/ 535777 w 1679153"/>
                  <a:gd name="connsiteY1204" fmla="*/ 989885 h 1244590"/>
                  <a:gd name="connsiteX1205" fmla="*/ 536687 w 1679153"/>
                  <a:gd name="connsiteY1205" fmla="*/ 997915 h 1244590"/>
                  <a:gd name="connsiteX1206" fmla="*/ 537899 w 1679153"/>
                  <a:gd name="connsiteY1206" fmla="*/ 998824 h 1244590"/>
                  <a:gd name="connsiteX1207" fmla="*/ 542293 w 1679153"/>
                  <a:gd name="connsiteY1207" fmla="*/ 999279 h 1244590"/>
                  <a:gd name="connsiteX1208" fmla="*/ 548657 w 1679153"/>
                  <a:gd name="connsiteY1208" fmla="*/ 998218 h 1244590"/>
                  <a:gd name="connsiteX1209" fmla="*/ 554414 w 1679153"/>
                  <a:gd name="connsiteY1209" fmla="*/ 1003976 h 1244590"/>
                  <a:gd name="connsiteX1210" fmla="*/ 560021 w 1679153"/>
                  <a:gd name="connsiteY1210" fmla="*/ 1003976 h 1244590"/>
                  <a:gd name="connsiteX1211" fmla="*/ 568506 w 1679153"/>
                  <a:gd name="connsiteY1211" fmla="*/ 999127 h 1244590"/>
                  <a:gd name="connsiteX1212" fmla="*/ 571536 w 1679153"/>
                  <a:gd name="connsiteY1212" fmla="*/ 997006 h 1244590"/>
                  <a:gd name="connsiteX1213" fmla="*/ 575476 w 1679153"/>
                  <a:gd name="connsiteY1213" fmla="*/ 993067 h 1244590"/>
                  <a:gd name="connsiteX1214" fmla="*/ 576991 w 1679153"/>
                  <a:gd name="connsiteY1214" fmla="*/ 992157 h 1244590"/>
                  <a:gd name="connsiteX1215" fmla="*/ 586082 w 1679153"/>
                  <a:gd name="connsiteY1215" fmla="*/ 989582 h 1244590"/>
                  <a:gd name="connsiteX1216" fmla="*/ 592901 w 1679153"/>
                  <a:gd name="connsiteY1216" fmla="*/ 989279 h 1244590"/>
                  <a:gd name="connsiteX1217" fmla="*/ 594416 w 1679153"/>
                  <a:gd name="connsiteY1217" fmla="*/ 989733 h 1244590"/>
                  <a:gd name="connsiteX1218" fmla="*/ 594416 w 1679153"/>
                  <a:gd name="connsiteY1218" fmla="*/ 990794 h 1244590"/>
                  <a:gd name="connsiteX1219" fmla="*/ 590022 w 1679153"/>
                  <a:gd name="connsiteY1219" fmla="*/ 990945 h 1244590"/>
                  <a:gd name="connsiteX1220" fmla="*/ 580022 w 1679153"/>
                  <a:gd name="connsiteY1220" fmla="*/ 992460 h 1244590"/>
                  <a:gd name="connsiteX1221" fmla="*/ 577294 w 1679153"/>
                  <a:gd name="connsiteY1221" fmla="*/ 994430 h 1244590"/>
                  <a:gd name="connsiteX1222" fmla="*/ 570476 w 1679153"/>
                  <a:gd name="connsiteY1222" fmla="*/ 1000643 h 1244590"/>
                  <a:gd name="connsiteX1223" fmla="*/ 564718 w 1679153"/>
                  <a:gd name="connsiteY1223" fmla="*/ 1004582 h 1244590"/>
                  <a:gd name="connsiteX1224" fmla="*/ 556990 w 1679153"/>
                  <a:gd name="connsiteY1224" fmla="*/ 1008067 h 1244590"/>
                  <a:gd name="connsiteX1225" fmla="*/ 555778 w 1679153"/>
                  <a:gd name="connsiteY1225" fmla="*/ 1008673 h 1244590"/>
                  <a:gd name="connsiteX1226" fmla="*/ 554869 w 1679153"/>
                  <a:gd name="connsiteY1226" fmla="*/ 1009582 h 1244590"/>
                  <a:gd name="connsiteX1227" fmla="*/ 555930 w 1679153"/>
                  <a:gd name="connsiteY1227" fmla="*/ 1012007 h 1244590"/>
                  <a:gd name="connsiteX1228" fmla="*/ 557293 w 1679153"/>
                  <a:gd name="connsiteY1228" fmla="*/ 1014431 h 1244590"/>
                  <a:gd name="connsiteX1229" fmla="*/ 557293 w 1679153"/>
                  <a:gd name="connsiteY1229" fmla="*/ 1015189 h 1244590"/>
                  <a:gd name="connsiteX1230" fmla="*/ 562445 w 1679153"/>
                  <a:gd name="connsiteY1230" fmla="*/ 1017461 h 1244590"/>
                  <a:gd name="connsiteX1231" fmla="*/ 563051 w 1679153"/>
                  <a:gd name="connsiteY1231" fmla="*/ 1021704 h 1244590"/>
                  <a:gd name="connsiteX1232" fmla="*/ 566082 w 1679153"/>
                  <a:gd name="connsiteY1232" fmla="*/ 1033523 h 1244590"/>
                  <a:gd name="connsiteX1233" fmla="*/ 566991 w 1679153"/>
                  <a:gd name="connsiteY1233" fmla="*/ 1038523 h 1244590"/>
                  <a:gd name="connsiteX1234" fmla="*/ 566839 w 1679153"/>
                  <a:gd name="connsiteY1234" fmla="*/ 1042311 h 1244590"/>
                  <a:gd name="connsiteX1235" fmla="*/ 566991 w 1679153"/>
                  <a:gd name="connsiteY1235" fmla="*/ 1050341 h 1244590"/>
                  <a:gd name="connsiteX1236" fmla="*/ 567748 w 1679153"/>
                  <a:gd name="connsiteY1236" fmla="*/ 1053372 h 1244590"/>
                  <a:gd name="connsiteX1237" fmla="*/ 569567 w 1679153"/>
                  <a:gd name="connsiteY1237" fmla="*/ 1057311 h 1244590"/>
                  <a:gd name="connsiteX1238" fmla="*/ 571688 w 1679153"/>
                  <a:gd name="connsiteY1238" fmla="*/ 1058978 h 1244590"/>
                  <a:gd name="connsiteX1239" fmla="*/ 574112 w 1679153"/>
                  <a:gd name="connsiteY1239" fmla="*/ 1058372 h 1244590"/>
                  <a:gd name="connsiteX1240" fmla="*/ 576233 w 1679153"/>
                  <a:gd name="connsiteY1240" fmla="*/ 1056251 h 1244590"/>
                  <a:gd name="connsiteX1241" fmla="*/ 578506 w 1679153"/>
                  <a:gd name="connsiteY1241" fmla="*/ 1052008 h 1244590"/>
                  <a:gd name="connsiteX1242" fmla="*/ 584113 w 1679153"/>
                  <a:gd name="connsiteY1242" fmla="*/ 1044281 h 1244590"/>
                  <a:gd name="connsiteX1243" fmla="*/ 586082 w 1679153"/>
                  <a:gd name="connsiteY1243" fmla="*/ 1041099 h 1244590"/>
                  <a:gd name="connsiteX1244" fmla="*/ 587143 w 1679153"/>
                  <a:gd name="connsiteY1244" fmla="*/ 1037614 h 1244590"/>
                  <a:gd name="connsiteX1245" fmla="*/ 590173 w 1679153"/>
                  <a:gd name="connsiteY1245" fmla="*/ 1035038 h 1244590"/>
                  <a:gd name="connsiteX1246" fmla="*/ 593355 w 1679153"/>
                  <a:gd name="connsiteY1246" fmla="*/ 1033826 h 1244590"/>
                  <a:gd name="connsiteX1247" fmla="*/ 592446 w 1679153"/>
                  <a:gd name="connsiteY1247" fmla="*/ 1037311 h 1244590"/>
                  <a:gd name="connsiteX1248" fmla="*/ 591082 w 1679153"/>
                  <a:gd name="connsiteY1248" fmla="*/ 1040796 h 1244590"/>
                  <a:gd name="connsiteX1249" fmla="*/ 597446 w 1679153"/>
                  <a:gd name="connsiteY1249" fmla="*/ 1039129 h 1244590"/>
                  <a:gd name="connsiteX1250" fmla="*/ 600174 w 1679153"/>
                  <a:gd name="connsiteY1250" fmla="*/ 1037765 h 1244590"/>
                  <a:gd name="connsiteX1251" fmla="*/ 603204 w 1679153"/>
                  <a:gd name="connsiteY1251" fmla="*/ 1035492 h 1244590"/>
                  <a:gd name="connsiteX1252" fmla="*/ 604871 w 1679153"/>
                  <a:gd name="connsiteY1252" fmla="*/ 1033219 h 1244590"/>
                  <a:gd name="connsiteX1253" fmla="*/ 603659 w 1679153"/>
                  <a:gd name="connsiteY1253" fmla="*/ 1030341 h 1244590"/>
                  <a:gd name="connsiteX1254" fmla="*/ 601234 w 1679153"/>
                  <a:gd name="connsiteY1254" fmla="*/ 1023219 h 1244590"/>
                  <a:gd name="connsiteX1255" fmla="*/ 599568 w 1679153"/>
                  <a:gd name="connsiteY1255" fmla="*/ 1019886 h 1244590"/>
                  <a:gd name="connsiteX1256" fmla="*/ 598356 w 1679153"/>
                  <a:gd name="connsiteY1256" fmla="*/ 1015189 h 1244590"/>
                  <a:gd name="connsiteX1257" fmla="*/ 599416 w 1679153"/>
                  <a:gd name="connsiteY1257" fmla="*/ 1015340 h 1244590"/>
                  <a:gd name="connsiteX1258" fmla="*/ 601386 w 1679153"/>
                  <a:gd name="connsiteY1258" fmla="*/ 1018977 h 1244590"/>
                  <a:gd name="connsiteX1259" fmla="*/ 602598 w 1679153"/>
                  <a:gd name="connsiteY1259" fmla="*/ 1021704 h 1244590"/>
                  <a:gd name="connsiteX1260" fmla="*/ 606235 w 1679153"/>
                  <a:gd name="connsiteY1260" fmla="*/ 1027310 h 1244590"/>
                  <a:gd name="connsiteX1261" fmla="*/ 606386 w 1679153"/>
                  <a:gd name="connsiteY1261" fmla="*/ 1029128 h 1244590"/>
                  <a:gd name="connsiteX1262" fmla="*/ 607144 w 1679153"/>
                  <a:gd name="connsiteY1262" fmla="*/ 1030492 h 1244590"/>
                  <a:gd name="connsiteX1263" fmla="*/ 610780 w 1679153"/>
                  <a:gd name="connsiteY1263" fmla="*/ 1034280 h 1244590"/>
                  <a:gd name="connsiteX1264" fmla="*/ 616690 w 1679153"/>
                  <a:gd name="connsiteY1264" fmla="*/ 1033674 h 1244590"/>
                  <a:gd name="connsiteX1265" fmla="*/ 618811 w 1679153"/>
                  <a:gd name="connsiteY1265" fmla="*/ 1034735 h 1244590"/>
                  <a:gd name="connsiteX1266" fmla="*/ 621538 w 1679153"/>
                  <a:gd name="connsiteY1266" fmla="*/ 1037007 h 1244590"/>
                  <a:gd name="connsiteX1267" fmla="*/ 622296 w 1679153"/>
                  <a:gd name="connsiteY1267" fmla="*/ 1042311 h 1244590"/>
                  <a:gd name="connsiteX1268" fmla="*/ 624417 w 1679153"/>
                  <a:gd name="connsiteY1268" fmla="*/ 1045796 h 1244590"/>
                  <a:gd name="connsiteX1269" fmla="*/ 624569 w 1679153"/>
                  <a:gd name="connsiteY1269" fmla="*/ 1048523 h 1244590"/>
                  <a:gd name="connsiteX1270" fmla="*/ 620478 w 1679153"/>
                  <a:gd name="connsiteY1270" fmla="*/ 1046705 h 1244590"/>
                  <a:gd name="connsiteX1271" fmla="*/ 617447 w 1679153"/>
                  <a:gd name="connsiteY1271" fmla="*/ 1041250 h 1244590"/>
                  <a:gd name="connsiteX1272" fmla="*/ 615023 w 1679153"/>
                  <a:gd name="connsiteY1272" fmla="*/ 1038220 h 1244590"/>
                  <a:gd name="connsiteX1273" fmla="*/ 611235 w 1679153"/>
                  <a:gd name="connsiteY1273" fmla="*/ 1037765 h 1244590"/>
                  <a:gd name="connsiteX1274" fmla="*/ 605932 w 1679153"/>
                  <a:gd name="connsiteY1274" fmla="*/ 1038371 h 1244590"/>
                  <a:gd name="connsiteX1275" fmla="*/ 601386 w 1679153"/>
                  <a:gd name="connsiteY1275" fmla="*/ 1039886 h 1244590"/>
                  <a:gd name="connsiteX1276" fmla="*/ 601083 w 1679153"/>
                  <a:gd name="connsiteY1276" fmla="*/ 1041099 h 1244590"/>
                  <a:gd name="connsiteX1277" fmla="*/ 601689 w 1679153"/>
                  <a:gd name="connsiteY1277" fmla="*/ 1043674 h 1244590"/>
                  <a:gd name="connsiteX1278" fmla="*/ 599719 w 1679153"/>
                  <a:gd name="connsiteY1278" fmla="*/ 1043220 h 1244590"/>
                  <a:gd name="connsiteX1279" fmla="*/ 594113 w 1679153"/>
                  <a:gd name="connsiteY1279" fmla="*/ 1042917 h 1244590"/>
                  <a:gd name="connsiteX1280" fmla="*/ 590780 w 1679153"/>
                  <a:gd name="connsiteY1280" fmla="*/ 1043523 h 1244590"/>
                  <a:gd name="connsiteX1281" fmla="*/ 586082 w 1679153"/>
                  <a:gd name="connsiteY1281" fmla="*/ 1047766 h 1244590"/>
                  <a:gd name="connsiteX1282" fmla="*/ 582597 w 1679153"/>
                  <a:gd name="connsiteY1282" fmla="*/ 1054281 h 1244590"/>
                  <a:gd name="connsiteX1283" fmla="*/ 577900 w 1679153"/>
                  <a:gd name="connsiteY1283" fmla="*/ 1059130 h 1244590"/>
                  <a:gd name="connsiteX1284" fmla="*/ 578658 w 1679153"/>
                  <a:gd name="connsiteY1284" fmla="*/ 1060948 h 1244590"/>
                  <a:gd name="connsiteX1285" fmla="*/ 581385 w 1679153"/>
                  <a:gd name="connsiteY1285" fmla="*/ 1063675 h 1244590"/>
                  <a:gd name="connsiteX1286" fmla="*/ 582597 w 1679153"/>
                  <a:gd name="connsiteY1286" fmla="*/ 1063978 h 1244590"/>
                  <a:gd name="connsiteX1287" fmla="*/ 584113 w 1679153"/>
                  <a:gd name="connsiteY1287" fmla="*/ 1063675 h 1244590"/>
                  <a:gd name="connsiteX1288" fmla="*/ 586688 w 1679153"/>
                  <a:gd name="connsiteY1288" fmla="*/ 1062766 h 1244590"/>
                  <a:gd name="connsiteX1289" fmla="*/ 587901 w 1679153"/>
                  <a:gd name="connsiteY1289" fmla="*/ 1062918 h 1244590"/>
                  <a:gd name="connsiteX1290" fmla="*/ 595477 w 1679153"/>
                  <a:gd name="connsiteY1290" fmla="*/ 1061402 h 1244590"/>
                  <a:gd name="connsiteX1291" fmla="*/ 605022 w 1679153"/>
                  <a:gd name="connsiteY1291" fmla="*/ 1058524 h 1244590"/>
                  <a:gd name="connsiteX1292" fmla="*/ 611538 w 1679153"/>
                  <a:gd name="connsiteY1292" fmla="*/ 1055039 h 1244590"/>
                  <a:gd name="connsiteX1293" fmla="*/ 612750 w 1679153"/>
                  <a:gd name="connsiteY1293" fmla="*/ 1054736 h 1244590"/>
                  <a:gd name="connsiteX1294" fmla="*/ 612144 w 1679153"/>
                  <a:gd name="connsiteY1294" fmla="*/ 1056857 h 1244590"/>
                  <a:gd name="connsiteX1295" fmla="*/ 611235 w 1679153"/>
                  <a:gd name="connsiteY1295" fmla="*/ 1058524 h 1244590"/>
                  <a:gd name="connsiteX1296" fmla="*/ 611386 w 1679153"/>
                  <a:gd name="connsiteY1296" fmla="*/ 1059433 h 1244590"/>
                  <a:gd name="connsiteX1297" fmla="*/ 613811 w 1679153"/>
                  <a:gd name="connsiteY1297" fmla="*/ 1059736 h 1244590"/>
                  <a:gd name="connsiteX1298" fmla="*/ 617447 w 1679153"/>
                  <a:gd name="connsiteY1298" fmla="*/ 1059281 h 1244590"/>
                  <a:gd name="connsiteX1299" fmla="*/ 615174 w 1679153"/>
                  <a:gd name="connsiteY1299" fmla="*/ 1061251 h 1244590"/>
                  <a:gd name="connsiteX1300" fmla="*/ 608507 w 1679153"/>
                  <a:gd name="connsiteY1300" fmla="*/ 1061554 h 1244590"/>
                  <a:gd name="connsiteX1301" fmla="*/ 605325 w 1679153"/>
                  <a:gd name="connsiteY1301" fmla="*/ 1062160 h 1244590"/>
                  <a:gd name="connsiteX1302" fmla="*/ 599871 w 1679153"/>
                  <a:gd name="connsiteY1302" fmla="*/ 1064130 h 1244590"/>
                  <a:gd name="connsiteX1303" fmla="*/ 589416 w 1679153"/>
                  <a:gd name="connsiteY1303" fmla="*/ 1066403 h 1244590"/>
                  <a:gd name="connsiteX1304" fmla="*/ 582143 w 1679153"/>
                  <a:gd name="connsiteY1304" fmla="*/ 1068524 h 1244590"/>
                  <a:gd name="connsiteX1305" fmla="*/ 584719 w 1679153"/>
                  <a:gd name="connsiteY1305" fmla="*/ 1072918 h 1244590"/>
                  <a:gd name="connsiteX1306" fmla="*/ 582294 w 1679153"/>
                  <a:gd name="connsiteY1306" fmla="*/ 1079282 h 1244590"/>
                  <a:gd name="connsiteX1307" fmla="*/ 584264 w 1679153"/>
                  <a:gd name="connsiteY1307" fmla="*/ 1084282 h 1244590"/>
                  <a:gd name="connsiteX1308" fmla="*/ 591992 w 1679153"/>
                  <a:gd name="connsiteY1308" fmla="*/ 1093222 h 1244590"/>
                  <a:gd name="connsiteX1309" fmla="*/ 596840 w 1679153"/>
                  <a:gd name="connsiteY1309" fmla="*/ 1100949 h 1244590"/>
                  <a:gd name="connsiteX1310" fmla="*/ 600174 w 1679153"/>
                  <a:gd name="connsiteY1310" fmla="*/ 1104889 h 1244590"/>
                  <a:gd name="connsiteX1311" fmla="*/ 602598 w 1679153"/>
                  <a:gd name="connsiteY1311" fmla="*/ 1108222 h 1244590"/>
                  <a:gd name="connsiteX1312" fmla="*/ 604265 w 1679153"/>
                  <a:gd name="connsiteY1312" fmla="*/ 1109889 h 1244590"/>
                  <a:gd name="connsiteX1313" fmla="*/ 608053 w 1679153"/>
                  <a:gd name="connsiteY1313" fmla="*/ 1112162 h 1244590"/>
                  <a:gd name="connsiteX1314" fmla="*/ 608962 w 1679153"/>
                  <a:gd name="connsiteY1314" fmla="*/ 1113374 h 1244590"/>
                  <a:gd name="connsiteX1315" fmla="*/ 610932 w 1679153"/>
                  <a:gd name="connsiteY1315" fmla="*/ 1114435 h 1244590"/>
                  <a:gd name="connsiteX1316" fmla="*/ 613508 w 1679153"/>
                  <a:gd name="connsiteY1316" fmla="*/ 1118526 h 1244590"/>
                  <a:gd name="connsiteX1317" fmla="*/ 613962 w 1679153"/>
                  <a:gd name="connsiteY1317" fmla="*/ 1119738 h 1244590"/>
                  <a:gd name="connsiteX1318" fmla="*/ 615326 w 1679153"/>
                  <a:gd name="connsiteY1318" fmla="*/ 1119435 h 1244590"/>
                  <a:gd name="connsiteX1319" fmla="*/ 621993 w 1679153"/>
                  <a:gd name="connsiteY1319" fmla="*/ 1113071 h 1244590"/>
                  <a:gd name="connsiteX1320" fmla="*/ 630175 w 1679153"/>
                  <a:gd name="connsiteY1320" fmla="*/ 1110192 h 1244590"/>
                  <a:gd name="connsiteX1321" fmla="*/ 622447 w 1679153"/>
                  <a:gd name="connsiteY1321" fmla="*/ 1116253 h 1244590"/>
                  <a:gd name="connsiteX1322" fmla="*/ 618962 w 1679153"/>
                  <a:gd name="connsiteY1322" fmla="*/ 1120344 h 1244590"/>
                  <a:gd name="connsiteX1323" fmla="*/ 616386 w 1679153"/>
                  <a:gd name="connsiteY1323" fmla="*/ 1124132 h 1244590"/>
                  <a:gd name="connsiteX1324" fmla="*/ 617599 w 1679153"/>
                  <a:gd name="connsiteY1324" fmla="*/ 1125950 h 1244590"/>
                  <a:gd name="connsiteX1325" fmla="*/ 617447 w 1679153"/>
                  <a:gd name="connsiteY1325" fmla="*/ 1130344 h 1244590"/>
                  <a:gd name="connsiteX1326" fmla="*/ 616841 w 1679153"/>
                  <a:gd name="connsiteY1326" fmla="*/ 1132314 h 1244590"/>
                  <a:gd name="connsiteX1327" fmla="*/ 615780 w 1679153"/>
                  <a:gd name="connsiteY1327" fmla="*/ 1134738 h 1244590"/>
                  <a:gd name="connsiteX1328" fmla="*/ 616690 w 1679153"/>
                  <a:gd name="connsiteY1328" fmla="*/ 1135041 h 1244590"/>
                  <a:gd name="connsiteX1329" fmla="*/ 619568 w 1679153"/>
                  <a:gd name="connsiteY1329" fmla="*/ 1137314 h 1244590"/>
                  <a:gd name="connsiteX1330" fmla="*/ 622599 w 1679153"/>
                  <a:gd name="connsiteY1330" fmla="*/ 1139284 h 1244590"/>
                  <a:gd name="connsiteX1331" fmla="*/ 626084 w 1679153"/>
                  <a:gd name="connsiteY1331" fmla="*/ 1140951 h 1244590"/>
                  <a:gd name="connsiteX1332" fmla="*/ 629872 w 1679153"/>
                  <a:gd name="connsiteY1332" fmla="*/ 1142617 h 1244590"/>
                  <a:gd name="connsiteX1333" fmla="*/ 633205 w 1679153"/>
                  <a:gd name="connsiteY1333" fmla="*/ 1143224 h 1244590"/>
                  <a:gd name="connsiteX1334" fmla="*/ 636842 w 1679153"/>
                  <a:gd name="connsiteY1334" fmla="*/ 1144890 h 1244590"/>
                  <a:gd name="connsiteX1335" fmla="*/ 633660 w 1679153"/>
                  <a:gd name="connsiteY1335" fmla="*/ 1148375 h 1244590"/>
                  <a:gd name="connsiteX1336" fmla="*/ 633205 w 1679153"/>
                  <a:gd name="connsiteY1336" fmla="*/ 1150800 h 1244590"/>
                  <a:gd name="connsiteX1337" fmla="*/ 633660 w 1679153"/>
                  <a:gd name="connsiteY1337" fmla="*/ 1153982 h 1244590"/>
                  <a:gd name="connsiteX1338" fmla="*/ 634721 w 1679153"/>
                  <a:gd name="connsiteY1338" fmla="*/ 1154739 h 1244590"/>
                  <a:gd name="connsiteX1339" fmla="*/ 642297 w 1679153"/>
                  <a:gd name="connsiteY1339" fmla="*/ 1154285 h 1244590"/>
                  <a:gd name="connsiteX1340" fmla="*/ 644266 w 1679153"/>
                  <a:gd name="connsiteY1340" fmla="*/ 1152769 h 1244590"/>
                  <a:gd name="connsiteX1341" fmla="*/ 646388 w 1679153"/>
                  <a:gd name="connsiteY1341" fmla="*/ 1150497 h 1244590"/>
                  <a:gd name="connsiteX1342" fmla="*/ 648660 w 1679153"/>
                  <a:gd name="connsiteY1342" fmla="*/ 1149890 h 1244590"/>
                  <a:gd name="connsiteX1343" fmla="*/ 651691 w 1679153"/>
                  <a:gd name="connsiteY1343" fmla="*/ 1150042 h 1244590"/>
                  <a:gd name="connsiteX1344" fmla="*/ 656540 w 1679153"/>
                  <a:gd name="connsiteY1344" fmla="*/ 1151254 h 1244590"/>
                  <a:gd name="connsiteX1345" fmla="*/ 650782 w 1679153"/>
                  <a:gd name="connsiteY1345" fmla="*/ 1152921 h 1244590"/>
                  <a:gd name="connsiteX1346" fmla="*/ 649873 w 1679153"/>
                  <a:gd name="connsiteY1346" fmla="*/ 1153982 h 1244590"/>
                  <a:gd name="connsiteX1347" fmla="*/ 648206 w 1679153"/>
                  <a:gd name="connsiteY1347" fmla="*/ 1154891 h 1244590"/>
                  <a:gd name="connsiteX1348" fmla="*/ 643206 w 1679153"/>
                  <a:gd name="connsiteY1348" fmla="*/ 1157163 h 1244590"/>
                  <a:gd name="connsiteX1349" fmla="*/ 641387 w 1679153"/>
                  <a:gd name="connsiteY1349" fmla="*/ 1159133 h 1244590"/>
                  <a:gd name="connsiteX1350" fmla="*/ 641842 w 1679153"/>
                  <a:gd name="connsiteY1350" fmla="*/ 1161255 h 1244590"/>
                  <a:gd name="connsiteX1351" fmla="*/ 643509 w 1679153"/>
                  <a:gd name="connsiteY1351" fmla="*/ 1163982 h 1244590"/>
                  <a:gd name="connsiteX1352" fmla="*/ 643357 w 1679153"/>
                  <a:gd name="connsiteY1352" fmla="*/ 1165043 h 1244590"/>
                  <a:gd name="connsiteX1353" fmla="*/ 644569 w 1679153"/>
                  <a:gd name="connsiteY1353" fmla="*/ 1166558 h 1244590"/>
                  <a:gd name="connsiteX1354" fmla="*/ 646539 w 1679153"/>
                  <a:gd name="connsiteY1354" fmla="*/ 1167618 h 1244590"/>
                  <a:gd name="connsiteX1355" fmla="*/ 645781 w 1679153"/>
                  <a:gd name="connsiteY1355" fmla="*/ 1169891 h 1244590"/>
                  <a:gd name="connsiteX1356" fmla="*/ 643963 w 1679153"/>
                  <a:gd name="connsiteY1356" fmla="*/ 1171710 h 1244590"/>
                  <a:gd name="connsiteX1357" fmla="*/ 646236 w 1679153"/>
                  <a:gd name="connsiteY1357" fmla="*/ 1173376 h 1244590"/>
                  <a:gd name="connsiteX1358" fmla="*/ 650479 w 1679153"/>
                  <a:gd name="connsiteY1358" fmla="*/ 1174437 h 1244590"/>
                  <a:gd name="connsiteX1359" fmla="*/ 652145 w 1679153"/>
                  <a:gd name="connsiteY1359" fmla="*/ 1178376 h 1244590"/>
                  <a:gd name="connsiteX1360" fmla="*/ 652752 w 1679153"/>
                  <a:gd name="connsiteY1360" fmla="*/ 1181558 h 1244590"/>
                  <a:gd name="connsiteX1361" fmla="*/ 653964 w 1679153"/>
                  <a:gd name="connsiteY1361" fmla="*/ 1184740 h 1244590"/>
                  <a:gd name="connsiteX1362" fmla="*/ 662903 w 1679153"/>
                  <a:gd name="connsiteY1362" fmla="*/ 1185952 h 1244590"/>
                  <a:gd name="connsiteX1363" fmla="*/ 663964 w 1679153"/>
                  <a:gd name="connsiteY1363" fmla="*/ 1186558 h 1244590"/>
                  <a:gd name="connsiteX1364" fmla="*/ 665631 w 1679153"/>
                  <a:gd name="connsiteY1364" fmla="*/ 1187013 h 1244590"/>
                  <a:gd name="connsiteX1365" fmla="*/ 667449 w 1679153"/>
                  <a:gd name="connsiteY1365" fmla="*/ 1188528 h 1244590"/>
                  <a:gd name="connsiteX1366" fmla="*/ 667601 w 1679153"/>
                  <a:gd name="connsiteY1366" fmla="*/ 1189134 h 1244590"/>
                  <a:gd name="connsiteX1367" fmla="*/ 668813 w 1679153"/>
                  <a:gd name="connsiteY1367" fmla="*/ 1190498 h 1244590"/>
                  <a:gd name="connsiteX1368" fmla="*/ 668055 w 1679153"/>
                  <a:gd name="connsiteY1368" fmla="*/ 1195801 h 1244590"/>
                  <a:gd name="connsiteX1369" fmla="*/ 673358 w 1679153"/>
                  <a:gd name="connsiteY1369" fmla="*/ 1195498 h 1244590"/>
                  <a:gd name="connsiteX1370" fmla="*/ 674722 w 1679153"/>
                  <a:gd name="connsiteY1370" fmla="*/ 1196104 h 1244590"/>
                  <a:gd name="connsiteX1371" fmla="*/ 682601 w 1679153"/>
                  <a:gd name="connsiteY1371" fmla="*/ 1195498 h 1244590"/>
                  <a:gd name="connsiteX1372" fmla="*/ 685026 w 1679153"/>
                  <a:gd name="connsiteY1372" fmla="*/ 1196256 h 1244590"/>
                  <a:gd name="connsiteX1373" fmla="*/ 681389 w 1679153"/>
                  <a:gd name="connsiteY1373" fmla="*/ 1198377 h 1244590"/>
                  <a:gd name="connsiteX1374" fmla="*/ 673207 w 1679153"/>
                  <a:gd name="connsiteY1374" fmla="*/ 1202165 h 1244590"/>
                  <a:gd name="connsiteX1375" fmla="*/ 672146 w 1679153"/>
                  <a:gd name="connsiteY1375" fmla="*/ 1204135 h 1244590"/>
                  <a:gd name="connsiteX1376" fmla="*/ 673813 w 1679153"/>
                  <a:gd name="connsiteY1376" fmla="*/ 1205650 h 1244590"/>
                  <a:gd name="connsiteX1377" fmla="*/ 675783 w 1679153"/>
                  <a:gd name="connsiteY1377" fmla="*/ 1206711 h 1244590"/>
                  <a:gd name="connsiteX1378" fmla="*/ 678359 w 1679153"/>
                  <a:gd name="connsiteY1378" fmla="*/ 1207620 h 1244590"/>
                  <a:gd name="connsiteX1379" fmla="*/ 683510 w 1679153"/>
                  <a:gd name="connsiteY1379" fmla="*/ 1207468 h 1244590"/>
                  <a:gd name="connsiteX1380" fmla="*/ 686237 w 1679153"/>
                  <a:gd name="connsiteY1380" fmla="*/ 1207317 h 1244590"/>
                  <a:gd name="connsiteX1381" fmla="*/ 684571 w 1679153"/>
                  <a:gd name="connsiteY1381" fmla="*/ 1204438 h 1244590"/>
                  <a:gd name="connsiteX1382" fmla="*/ 684419 w 1679153"/>
                  <a:gd name="connsiteY1382" fmla="*/ 1203226 h 1244590"/>
                  <a:gd name="connsiteX1383" fmla="*/ 686844 w 1679153"/>
                  <a:gd name="connsiteY1383" fmla="*/ 1203226 h 1244590"/>
                  <a:gd name="connsiteX1384" fmla="*/ 690329 w 1679153"/>
                  <a:gd name="connsiteY1384" fmla="*/ 1202317 h 1244590"/>
                  <a:gd name="connsiteX1385" fmla="*/ 693511 w 1679153"/>
                  <a:gd name="connsiteY1385" fmla="*/ 1202468 h 1244590"/>
                  <a:gd name="connsiteX1386" fmla="*/ 696086 w 1679153"/>
                  <a:gd name="connsiteY1386" fmla="*/ 1204286 h 1244590"/>
                  <a:gd name="connsiteX1387" fmla="*/ 700026 w 1679153"/>
                  <a:gd name="connsiteY1387" fmla="*/ 1205044 h 1244590"/>
                  <a:gd name="connsiteX1388" fmla="*/ 702753 w 1679153"/>
                  <a:gd name="connsiteY1388" fmla="*/ 1203832 h 1244590"/>
                  <a:gd name="connsiteX1389" fmla="*/ 706693 w 1679153"/>
                  <a:gd name="connsiteY1389" fmla="*/ 1203529 h 1244590"/>
                  <a:gd name="connsiteX1390" fmla="*/ 709572 w 1679153"/>
                  <a:gd name="connsiteY1390" fmla="*/ 1203680 h 1244590"/>
                  <a:gd name="connsiteX1391" fmla="*/ 711390 w 1679153"/>
                  <a:gd name="connsiteY1391" fmla="*/ 1201862 h 1244590"/>
                  <a:gd name="connsiteX1392" fmla="*/ 713814 w 1679153"/>
                  <a:gd name="connsiteY1392" fmla="*/ 1200044 h 1244590"/>
                  <a:gd name="connsiteX1393" fmla="*/ 717451 w 1679153"/>
                  <a:gd name="connsiteY1393" fmla="*/ 1197620 h 1244590"/>
                  <a:gd name="connsiteX1394" fmla="*/ 725330 w 1679153"/>
                  <a:gd name="connsiteY1394" fmla="*/ 1195044 h 1244590"/>
                  <a:gd name="connsiteX1395" fmla="*/ 733058 w 1679153"/>
                  <a:gd name="connsiteY1395" fmla="*/ 1192013 h 1244590"/>
                  <a:gd name="connsiteX1396" fmla="*/ 734118 w 1679153"/>
                  <a:gd name="connsiteY1396" fmla="*/ 1190650 h 1244590"/>
                  <a:gd name="connsiteX1397" fmla="*/ 733967 w 1679153"/>
                  <a:gd name="connsiteY1397" fmla="*/ 1188680 h 1244590"/>
                  <a:gd name="connsiteX1398" fmla="*/ 734876 w 1679153"/>
                  <a:gd name="connsiteY1398" fmla="*/ 1187468 h 1244590"/>
                  <a:gd name="connsiteX1399" fmla="*/ 736846 w 1679153"/>
                  <a:gd name="connsiteY1399" fmla="*/ 1186862 h 1244590"/>
                  <a:gd name="connsiteX1400" fmla="*/ 737452 w 1679153"/>
                  <a:gd name="connsiteY1400" fmla="*/ 1188377 h 1244590"/>
                  <a:gd name="connsiteX1401" fmla="*/ 736694 w 1679153"/>
                  <a:gd name="connsiteY1401" fmla="*/ 1192013 h 1244590"/>
                  <a:gd name="connsiteX1402" fmla="*/ 735179 w 1679153"/>
                  <a:gd name="connsiteY1402" fmla="*/ 1194741 h 1244590"/>
                  <a:gd name="connsiteX1403" fmla="*/ 732906 w 1679153"/>
                  <a:gd name="connsiteY1403" fmla="*/ 1197165 h 1244590"/>
                  <a:gd name="connsiteX1404" fmla="*/ 729572 w 1679153"/>
                  <a:gd name="connsiteY1404" fmla="*/ 1205196 h 1244590"/>
                  <a:gd name="connsiteX1405" fmla="*/ 732148 w 1679153"/>
                  <a:gd name="connsiteY1405" fmla="*/ 1211862 h 1244590"/>
                  <a:gd name="connsiteX1406" fmla="*/ 734118 w 1679153"/>
                  <a:gd name="connsiteY1406" fmla="*/ 1212468 h 1244590"/>
                  <a:gd name="connsiteX1407" fmla="*/ 735330 w 1679153"/>
                  <a:gd name="connsiteY1407" fmla="*/ 1213378 h 1244590"/>
                  <a:gd name="connsiteX1408" fmla="*/ 741846 w 1679153"/>
                  <a:gd name="connsiteY1408" fmla="*/ 1214893 h 1244590"/>
                  <a:gd name="connsiteX1409" fmla="*/ 744725 w 1679153"/>
                  <a:gd name="connsiteY1409" fmla="*/ 1215802 h 1244590"/>
                  <a:gd name="connsiteX1410" fmla="*/ 749119 w 1679153"/>
                  <a:gd name="connsiteY1410" fmla="*/ 1217923 h 1244590"/>
                  <a:gd name="connsiteX1411" fmla="*/ 750482 w 1679153"/>
                  <a:gd name="connsiteY1411" fmla="*/ 1218832 h 1244590"/>
                  <a:gd name="connsiteX1412" fmla="*/ 753210 w 1679153"/>
                  <a:gd name="connsiteY1412" fmla="*/ 1218378 h 1244590"/>
                  <a:gd name="connsiteX1413" fmla="*/ 758665 w 1679153"/>
                  <a:gd name="connsiteY1413" fmla="*/ 1216257 h 1244590"/>
                  <a:gd name="connsiteX1414" fmla="*/ 767604 w 1679153"/>
                  <a:gd name="connsiteY1414" fmla="*/ 1209741 h 1244590"/>
                  <a:gd name="connsiteX1415" fmla="*/ 768059 w 1679153"/>
                  <a:gd name="connsiteY1415" fmla="*/ 1210196 h 1244590"/>
                  <a:gd name="connsiteX1416" fmla="*/ 765028 w 1679153"/>
                  <a:gd name="connsiteY1416" fmla="*/ 1215347 h 1244590"/>
                  <a:gd name="connsiteX1417" fmla="*/ 761695 w 1679153"/>
                  <a:gd name="connsiteY1417" fmla="*/ 1218378 h 1244590"/>
                  <a:gd name="connsiteX1418" fmla="*/ 758816 w 1679153"/>
                  <a:gd name="connsiteY1418" fmla="*/ 1220045 h 1244590"/>
                  <a:gd name="connsiteX1419" fmla="*/ 755483 w 1679153"/>
                  <a:gd name="connsiteY1419" fmla="*/ 1221408 h 1244590"/>
                  <a:gd name="connsiteX1420" fmla="*/ 750937 w 1679153"/>
                  <a:gd name="connsiteY1420" fmla="*/ 1221863 h 1244590"/>
                  <a:gd name="connsiteX1421" fmla="*/ 751089 w 1679153"/>
                  <a:gd name="connsiteY1421" fmla="*/ 1225045 h 1244590"/>
                  <a:gd name="connsiteX1422" fmla="*/ 750634 w 1679153"/>
                  <a:gd name="connsiteY1422" fmla="*/ 1228833 h 1244590"/>
                  <a:gd name="connsiteX1423" fmla="*/ 766089 w 1679153"/>
                  <a:gd name="connsiteY1423" fmla="*/ 1235045 h 1244590"/>
                  <a:gd name="connsiteX1424" fmla="*/ 771544 w 1679153"/>
                  <a:gd name="connsiteY1424" fmla="*/ 1236409 h 1244590"/>
                  <a:gd name="connsiteX1425" fmla="*/ 773665 w 1679153"/>
                  <a:gd name="connsiteY1425" fmla="*/ 1235954 h 1244590"/>
                  <a:gd name="connsiteX1426" fmla="*/ 775180 w 1679153"/>
                  <a:gd name="connsiteY1426" fmla="*/ 1233227 h 1244590"/>
                  <a:gd name="connsiteX1427" fmla="*/ 778665 w 1679153"/>
                  <a:gd name="connsiteY1427" fmla="*/ 1228681 h 1244590"/>
                  <a:gd name="connsiteX1428" fmla="*/ 781847 w 1679153"/>
                  <a:gd name="connsiteY1428" fmla="*/ 1226105 h 1244590"/>
                  <a:gd name="connsiteX1429" fmla="*/ 783211 w 1679153"/>
                  <a:gd name="connsiteY1429" fmla="*/ 1227318 h 1244590"/>
                  <a:gd name="connsiteX1430" fmla="*/ 781696 w 1679153"/>
                  <a:gd name="connsiteY1430" fmla="*/ 1229893 h 1244590"/>
                  <a:gd name="connsiteX1431" fmla="*/ 776999 w 1679153"/>
                  <a:gd name="connsiteY1431" fmla="*/ 1234742 h 1244590"/>
                  <a:gd name="connsiteX1432" fmla="*/ 775635 w 1679153"/>
                  <a:gd name="connsiteY1432" fmla="*/ 1236560 h 1244590"/>
                  <a:gd name="connsiteX1433" fmla="*/ 776695 w 1679153"/>
                  <a:gd name="connsiteY1433" fmla="*/ 1240348 h 1244590"/>
                  <a:gd name="connsiteX1434" fmla="*/ 777453 w 1679153"/>
                  <a:gd name="connsiteY1434" fmla="*/ 1241257 h 1244590"/>
                  <a:gd name="connsiteX1435" fmla="*/ 778817 w 1679153"/>
                  <a:gd name="connsiteY1435" fmla="*/ 1241106 h 1244590"/>
                  <a:gd name="connsiteX1436" fmla="*/ 780483 w 1679153"/>
                  <a:gd name="connsiteY1436" fmla="*/ 1241409 h 1244590"/>
                  <a:gd name="connsiteX1437" fmla="*/ 783362 w 1679153"/>
                  <a:gd name="connsiteY1437" fmla="*/ 1240500 h 1244590"/>
                  <a:gd name="connsiteX1438" fmla="*/ 785938 w 1679153"/>
                  <a:gd name="connsiteY1438" fmla="*/ 1240197 h 1244590"/>
                  <a:gd name="connsiteX1439" fmla="*/ 784878 w 1679153"/>
                  <a:gd name="connsiteY1439" fmla="*/ 1242167 h 1244590"/>
                  <a:gd name="connsiteX1440" fmla="*/ 784575 w 1679153"/>
                  <a:gd name="connsiteY1440" fmla="*/ 1243985 h 1244590"/>
                  <a:gd name="connsiteX1441" fmla="*/ 790332 w 1679153"/>
                  <a:gd name="connsiteY1441" fmla="*/ 1244591 h 1244590"/>
                  <a:gd name="connsiteX1442" fmla="*/ 793514 w 1679153"/>
                  <a:gd name="connsiteY1442" fmla="*/ 1243379 h 1244590"/>
                  <a:gd name="connsiteX1443" fmla="*/ 795787 w 1679153"/>
                  <a:gd name="connsiteY1443" fmla="*/ 1243227 h 1244590"/>
                  <a:gd name="connsiteX1444" fmla="*/ 797151 w 1679153"/>
                  <a:gd name="connsiteY1444" fmla="*/ 1242773 h 1244590"/>
                  <a:gd name="connsiteX1445" fmla="*/ 795333 w 1679153"/>
                  <a:gd name="connsiteY1445" fmla="*/ 1241257 h 1244590"/>
                  <a:gd name="connsiteX1446" fmla="*/ 789726 w 1679153"/>
                  <a:gd name="connsiteY1446" fmla="*/ 1237621 h 1244590"/>
                  <a:gd name="connsiteX1447" fmla="*/ 789272 w 1679153"/>
                  <a:gd name="connsiteY1447" fmla="*/ 1236409 h 1244590"/>
                  <a:gd name="connsiteX1448" fmla="*/ 797151 w 1679153"/>
                  <a:gd name="connsiteY1448" fmla="*/ 1239136 h 1244590"/>
                  <a:gd name="connsiteX1449" fmla="*/ 798514 w 1679153"/>
                  <a:gd name="connsiteY1449" fmla="*/ 1240045 h 1244590"/>
                  <a:gd name="connsiteX1450" fmla="*/ 806697 w 1679153"/>
                  <a:gd name="connsiteY1450" fmla="*/ 1240348 h 1244590"/>
                  <a:gd name="connsiteX1451" fmla="*/ 808969 w 1679153"/>
                  <a:gd name="connsiteY1451" fmla="*/ 1237772 h 1244590"/>
                  <a:gd name="connsiteX1452" fmla="*/ 812000 w 1679153"/>
                  <a:gd name="connsiteY1452" fmla="*/ 1234894 h 1244590"/>
                  <a:gd name="connsiteX1453" fmla="*/ 810788 w 1679153"/>
                  <a:gd name="connsiteY1453" fmla="*/ 1226560 h 1244590"/>
                  <a:gd name="connsiteX1454" fmla="*/ 810788 w 1679153"/>
                  <a:gd name="connsiteY1454" fmla="*/ 1225045 h 1244590"/>
                  <a:gd name="connsiteX1455" fmla="*/ 811091 w 1679153"/>
                  <a:gd name="connsiteY1455" fmla="*/ 1223681 h 1244590"/>
                  <a:gd name="connsiteX1456" fmla="*/ 809575 w 1679153"/>
                  <a:gd name="connsiteY1456" fmla="*/ 1221257 h 1244590"/>
                  <a:gd name="connsiteX1457" fmla="*/ 807303 w 1679153"/>
                  <a:gd name="connsiteY1457" fmla="*/ 1218984 h 1244590"/>
                  <a:gd name="connsiteX1458" fmla="*/ 800787 w 1679153"/>
                  <a:gd name="connsiteY1458" fmla="*/ 1217772 h 1244590"/>
                  <a:gd name="connsiteX1459" fmla="*/ 797151 w 1679153"/>
                  <a:gd name="connsiteY1459" fmla="*/ 1216560 h 1244590"/>
                  <a:gd name="connsiteX1460" fmla="*/ 792605 w 1679153"/>
                  <a:gd name="connsiteY1460" fmla="*/ 1215802 h 1244590"/>
                  <a:gd name="connsiteX1461" fmla="*/ 789575 w 1679153"/>
                  <a:gd name="connsiteY1461" fmla="*/ 1213984 h 1244590"/>
                  <a:gd name="connsiteX1462" fmla="*/ 790029 w 1679153"/>
                  <a:gd name="connsiteY1462" fmla="*/ 1212772 h 1244590"/>
                  <a:gd name="connsiteX1463" fmla="*/ 793666 w 1679153"/>
                  <a:gd name="connsiteY1463" fmla="*/ 1212772 h 1244590"/>
                  <a:gd name="connsiteX1464" fmla="*/ 798969 w 1679153"/>
                  <a:gd name="connsiteY1464" fmla="*/ 1213529 h 1244590"/>
                  <a:gd name="connsiteX1465" fmla="*/ 805787 w 1679153"/>
                  <a:gd name="connsiteY1465" fmla="*/ 1215802 h 1244590"/>
                  <a:gd name="connsiteX1466" fmla="*/ 810182 w 1679153"/>
                  <a:gd name="connsiteY1466" fmla="*/ 1216257 h 1244590"/>
                  <a:gd name="connsiteX1467" fmla="*/ 810939 w 1679153"/>
                  <a:gd name="connsiteY1467" fmla="*/ 1215802 h 1244590"/>
                  <a:gd name="connsiteX1468" fmla="*/ 814121 w 1679153"/>
                  <a:gd name="connsiteY1468" fmla="*/ 1215499 h 1244590"/>
                  <a:gd name="connsiteX1469" fmla="*/ 823061 w 1679153"/>
                  <a:gd name="connsiteY1469" fmla="*/ 1205347 h 1244590"/>
                  <a:gd name="connsiteX1470" fmla="*/ 825031 w 1679153"/>
                  <a:gd name="connsiteY1470" fmla="*/ 1193074 h 1244590"/>
                  <a:gd name="connsiteX1471" fmla="*/ 829122 w 1679153"/>
                  <a:gd name="connsiteY1471" fmla="*/ 1180649 h 1244590"/>
                  <a:gd name="connsiteX1472" fmla="*/ 831243 w 1679153"/>
                  <a:gd name="connsiteY1472" fmla="*/ 1173376 h 1244590"/>
                  <a:gd name="connsiteX1473" fmla="*/ 833213 w 1679153"/>
                  <a:gd name="connsiteY1473" fmla="*/ 1170043 h 1244590"/>
                  <a:gd name="connsiteX1474" fmla="*/ 833819 w 1679153"/>
                  <a:gd name="connsiteY1474" fmla="*/ 1167315 h 1244590"/>
                  <a:gd name="connsiteX1475" fmla="*/ 826697 w 1679153"/>
                  <a:gd name="connsiteY1475" fmla="*/ 1165800 h 1244590"/>
                  <a:gd name="connsiteX1476" fmla="*/ 828213 w 1679153"/>
                  <a:gd name="connsiteY1476" fmla="*/ 1164133 h 1244590"/>
                  <a:gd name="connsiteX1477" fmla="*/ 832758 w 1679153"/>
                  <a:gd name="connsiteY1477" fmla="*/ 1163376 h 1244590"/>
                  <a:gd name="connsiteX1478" fmla="*/ 835940 w 1679153"/>
                  <a:gd name="connsiteY1478" fmla="*/ 1163527 h 1244590"/>
                  <a:gd name="connsiteX1479" fmla="*/ 839728 w 1679153"/>
                  <a:gd name="connsiteY1479" fmla="*/ 1159891 h 1244590"/>
                  <a:gd name="connsiteX1480" fmla="*/ 838516 w 1679153"/>
                  <a:gd name="connsiteY1480" fmla="*/ 1155800 h 1244590"/>
                  <a:gd name="connsiteX1481" fmla="*/ 838819 w 1679153"/>
                  <a:gd name="connsiteY1481" fmla="*/ 1153224 h 1244590"/>
                  <a:gd name="connsiteX1482" fmla="*/ 836243 w 1679153"/>
                  <a:gd name="connsiteY1482" fmla="*/ 1151254 h 1244590"/>
                  <a:gd name="connsiteX1483" fmla="*/ 833970 w 1679153"/>
                  <a:gd name="connsiteY1483" fmla="*/ 1147315 h 1244590"/>
                  <a:gd name="connsiteX1484" fmla="*/ 835940 w 1679153"/>
                  <a:gd name="connsiteY1484" fmla="*/ 1141557 h 1244590"/>
                  <a:gd name="connsiteX1485" fmla="*/ 836395 w 1679153"/>
                  <a:gd name="connsiteY1485" fmla="*/ 1139133 h 1244590"/>
                  <a:gd name="connsiteX1486" fmla="*/ 837304 w 1679153"/>
                  <a:gd name="connsiteY1486" fmla="*/ 1137011 h 1244590"/>
                  <a:gd name="connsiteX1487" fmla="*/ 836092 w 1679153"/>
                  <a:gd name="connsiteY1487" fmla="*/ 1134132 h 1244590"/>
                  <a:gd name="connsiteX1488" fmla="*/ 838213 w 1679153"/>
                  <a:gd name="connsiteY1488" fmla="*/ 1132163 h 1244590"/>
                  <a:gd name="connsiteX1489" fmla="*/ 838516 w 1679153"/>
                  <a:gd name="connsiteY1489" fmla="*/ 1129738 h 1244590"/>
                  <a:gd name="connsiteX1490" fmla="*/ 829879 w 1679153"/>
                  <a:gd name="connsiteY1490" fmla="*/ 1128526 h 1244590"/>
                  <a:gd name="connsiteX1491" fmla="*/ 824273 w 1679153"/>
                  <a:gd name="connsiteY1491" fmla="*/ 1126859 h 1244590"/>
                  <a:gd name="connsiteX1492" fmla="*/ 819273 w 1679153"/>
                  <a:gd name="connsiteY1492" fmla="*/ 1125193 h 1244590"/>
                  <a:gd name="connsiteX1493" fmla="*/ 816849 w 1679153"/>
                  <a:gd name="connsiteY1493" fmla="*/ 1123374 h 1244590"/>
                  <a:gd name="connsiteX1494" fmla="*/ 819424 w 1679153"/>
                  <a:gd name="connsiteY1494" fmla="*/ 1123071 h 1244590"/>
                  <a:gd name="connsiteX1495" fmla="*/ 822455 w 1679153"/>
                  <a:gd name="connsiteY1495" fmla="*/ 1123677 h 1244590"/>
                  <a:gd name="connsiteX1496" fmla="*/ 831092 w 1679153"/>
                  <a:gd name="connsiteY1496" fmla="*/ 1123223 h 1244590"/>
                  <a:gd name="connsiteX1497" fmla="*/ 834122 w 1679153"/>
                  <a:gd name="connsiteY1497" fmla="*/ 1123829 h 1244590"/>
                  <a:gd name="connsiteX1498" fmla="*/ 841092 w 1679153"/>
                  <a:gd name="connsiteY1498" fmla="*/ 1124435 h 1244590"/>
                  <a:gd name="connsiteX1499" fmla="*/ 843365 w 1679153"/>
                  <a:gd name="connsiteY1499" fmla="*/ 1122768 h 1244590"/>
                  <a:gd name="connsiteX1500" fmla="*/ 845183 w 1679153"/>
                  <a:gd name="connsiteY1500" fmla="*/ 1122617 h 1244590"/>
                  <a:gd name="connsiteX1501" fmla="*/ 850335 w 1679153"/>
                  <a:gd name="connsiteY1501" fmla="*/ 1115950 h 1244590"/>
                  <a:gd name="connsiteX1502" fmla="*/ 852456 w 1679153"/>
                  <a:gd name="connsiteY1502" fmla="*/ 1114889 h 1244590"/>
                  <a:gd name="connsiteX1503" fmla="*/ 852759 w 1679153"/>
                  <a:gd name="connsiteY1503" fmla="*/ 1112465 h 1244590"/>
                  <a:gd name="connsiteX1504" fmla="*/ 844577 w 1679153"/>
                  <a:gd name="connsiteY1504" fmla="*/ 1108980 h 1244590"/>
                  <a:gd name="connsiteX1505" fmla="*/ 840183 w 1679153"/>
                  <a:gd name="connsiteY1505" fmla="*/ 1106252 h 1244590"/>
                  <a:gd name="connsiteX1506" fmla="*/ 838819 w 1679153"/>
                  <a:gd name="connsiteY1506" fmla="*/ 1104737 h 1244590"/>
                  <a:gd name="connsiteX1507" fmla="*/ 837910 w 1679153"/>
                  <a:gd name="connsiteY1507" fmla="*/ 1102313 h 1244590"/>
                  <a:gd name="connsiteX1508" fmla="*/ 840183 w 1679153"/>
                  <a:gd name="connsiteY1508" fmla="*/ 1103222 h 1244590"/>
                  <a:gd name="connsiteX1509" fmla="*/ 842152 w 1679153"/>
                  <a:gd name="connsiteY1509" fmla="*/ 1104434 h 1244590"/>
                  <a:gd name="connsiteX1510" fmla="*/ 847001 w 1679153"/>
                  <a:gd name="connsiteY1510" fmla="*/ 1108222 h 1244590"/>
                  <a:gd name="connsiteX1511" fmla="*/ 852910 w 1679153"/>
                  <a:gd name="connsiteY1511" fmla="*/ 1108525 h 1244590"/>
                  <a:gd name="connsiteX1512" fmla="*/ 857911 w 1679153"/>
                  <a:gd name="connsiteY1512" fmla="*/ 1108374 h 1244590"/>
                  <a:gd name="connsiteX1513" fmla="*/ 859577 w 1679153"/>
                  <a:gd name="connsiteY1513" fmla="*/ 1108677 h 1244590"/>
                  <a:gd name="connsiteX1514" fmla="*/ 862608 w 1679153"/>
                  <a:gd name="connsiteY1514" fmla="*/ 1105646 h 1244590"/>
                  <a:gd name="connsiteX1515" fmla="*/ 864729 w 1679153"/>
                  <a:gd name="connsiteY1515" fmla="*/ 1102313 h 1244590"/>
                  <a:gd name="connsiteX1516" fmla="*/ 867153 w 1679153"/>
                  <a:gd name="connsiteY1516" fmla="*/ 1099586 h 1244590"/>
                  <a:gd name="connsiteX1517" fmla="*/ 866396 w 1679153"/>
                  <a:gd name="connsiteY1517" fmla="*/ 1098070 h 1244590"/>
                  <a:gd name="connsiteX1518" fmla="*/ 865941 w 1679153"/>
                  <a:gd name="connsiteY1518" fmla="*/ 1096404 h 1244590"/>
                  <a:gd name="connsiteX1519" fmla="*/ 868517 w 1679153"/>
                  <a:gd name="connsiteY1519" fmla="*/ 1093676 h 1244590"/>
                  <a:gd name="connsiteX1520" fmla="*/ 868669 w 1679153"/>
                  <a:gd name="connsiteY1520" fmla="*/ 1089282 h 1244590"/>
                  <a:gd name="connsiteX1521" fmla="*/ 872608 w 1679153"/>
                  <a:gd name="connsiteY1521" fmla="*/ 1089585 h 1244590"/>
                  <a:gd name="connsiteX1522" fmla="*/ 876245 w 1679153"/>
                  <a:gd name="connsiteY1522" fmla="*/ 1088525 h 1244590"/>
                  <a:gd name="connsiteX1523" fmla="*/ 876396 w 1679153"/>
                  <a:gd name="connsiteY1523" fmla="*/ 1084434 h 1244590"/>
                  <a:gd name="connsiteX1524" fmla="*/ 882457 w 1679153"/>
                  <a:gd name="connsiteY1524" fmla="*/ 1080191 h 1244590"/>
                  <a:gd name="connsiteX1525" fmla="*/ 882154 w 1679153"/>
                  <a:gd name="connsiteY1525" fmla="*/ 1078524 h 1244590"/>
                  <a:gd name="connsiteX1526" fmla="*/ 879730 w 1679153"/>
                  <a:gd name="connsiteY1526" fmla="*/ 1071251 h 1244590"/>
                  <a:gd name="connsiteX1527" fmla="*/ 880639 w 1679153"/>
                  <a:gd name="connsiteY1527" fmla="*/ 1062312 h 1244590"/>
                  <a:gd name="connsiteX1528" fmla="*/ 874881 w 1679153"/>
                  <a:gd name="connsiteY1528" fmla="*/ 1060948 h 1244590"/>
                  <a:gd name="connsiteX1529" fmla="*/ 871093 w 1679153"/>
                  <a:gd name="connsiteY1529" fmla="*/ 1061251 h 1244590"/>
                  <a:gd name="connsiteX1530" fmla="*/ 869275 w 1679153"/>
                  <a:gd name="connsiteY1530" fmla="*/ 1062766 h 1244590"/>
                  <a:gd name="connsiteX1531" fmla="*/ 865335 w 1679153"/>
                  <a:gd name="connsiteY1531" fmla="*/ 1060342 h 1244590"/>
                  <a:gd name="connsiteX1532" fmla="*/ 854274 w 1679153"/>
                  <a:gd name="connsiteY1532" fmla="*/ 1055039 h 1244590"/>
                  <a:gd name="connsiteX1533" fmla="*/ 865335 w 1679153"/>
                  <a:gd name="connsiteY1533" fmla="*/ 1055796 h 1244590"/>
                  <a:gd name="connsiteX1534" fmla="*/ 868062 w 1679153"/>
                  <a:gd name="connsiteY1534" fmla="*/ 1056402 h 1244590"/>
                  <a:gd name="connsiteX1535" fmla="*/ 870638 w 1679153"/>
                  <a:gd name="connsiteY1535" fmla="*/ 1057766 h 1244590"/>
                  <a:gd name="connsiteX1536" fmla="*/ 876245 w 1679153"/>
                  <a:gd name="connsiteY1536" fmla="*/ 1058372 h 1244590"/>
                  <a:gd name="connsiteX1537" fmla="*/ 878820 w 1679153"/>
                  <a:gd name="connsiteY1537" fmla="*/ 1056402 h 1244590"/>
                  <a:gd name="connsiteX1538" fmla="*/ 878517 w 1679153"/>
                  <a:gd name="connsiteY1538" fmla="*/ 1053675 h 1244590"/>
                  <a:gd name="connsiteX1539" fmla="*/ 884578 w 1679153"/>
                  <a:gd name="connsiteY1539" fmla="*/ 1053069 h 1244590"/>
                  <a:gd name="connsiteX1540" fmla="*/ 890033 w 1679153"/>
                  <a:gd name="connsiteY1540" fmla="*/ 1049584 h 1244590"/>
                  <a:gd name="connsiteX1541" fmla="*/ 892609 w 1679153"/>
                  <a:gd name="connsiteY1541" fmla="*/ 1047159 h 1244590"/>
                  <a:gd name="connsiteX1542" fmla="*/ 891851 w 1679153"/>
                  <a:gd name="connsiteY1542" fmla="*/ 1044735 h 1244590"/>
                  <a:gd name="connsiteX1543" fmla="*/ 890033 w 1679153"/>
                  <a:gd name="connsiteY1543" fmla="*/ 1042159 h 1244590"/>
                  <a:gd name="connsiteX1544" fmla="*/ 885791 w 1679153"/>
                  <a:gd name="connsiteY1544" fmla="*/ 1038674 h 1244590"/>
                  <a:gd name="connsiteX1545" fmla="*/ 883366 w 1679153"/>
                  <a:gd name="connsiteY1545" fmla="*/ 1031856 h 1244590"/>
                  <a:gd name="connsiteX1546" fmla="*/ 879730 w 1679153"/>
                  <a:gd name="connsiteY1546" fmla="*/ 1027916 h 1244590"/>
                  <a:gd name="connsiteX1547" fmla="*/ 875032 w 1679153"/>
                  <a:gd name="connsiteY1547" fmla="*/ 1029583 h 1244590"/>
                  <a:gd name="connsiteX1548" fmla="*/ 871244 w 1679153"/>
                  <a:gd name="connsiteY1548" fmla="*/ 1030038 h 1244590"/>
                  <a:gd name="connsiteX1549" fmla="*/ 869578 w 1679153"/>
                  <a:gd name="connsiteY1549" fmla="*/ 1024734 h 1244590"/>
                  <a:gd name="connsiteX1550" fmla="*/ 867911 w 1679153"/>
                  <a:gd name="connsiteY1550" fmla="*/ 1022613 h 1244590"/>
                  <a:gd name="connsiteX1551" fmla="*/ 868062 w 1679153"/>
                  <a:gd name="connsiteY1551" fmla="*/ 1019734 h 1244590"/>
                  <a:gd name="connsiteX1552" fmla="*/ 873669 w 1679153"/>
                  <a:gd name="connsiteY1552" fmla="*/ 1020643 h 1244590"/>
                  <a:gd name="connsiteX1553" fmla="*/ 879426 w 1679153"/>
                  <a:gd name="connsiteY1553" fmla="*/ 1019431 h 1244590"/>
                  <a:gd name="connsiteX1554" fmla="*/ 890791 w 1679153"/>
                  <a:gd name="connsiteY1554" fmla="*/ 1022159 h 1244590"/>
                  <a:gd name="connsiteX1555" fmla="*/ 897003 w 1679153"/>
                  <a:gd name="connsiteY1555" fmla="*/ 1019734 h 1244590"/>
                  <a:gd name="connsiteX1556" fmla="*/ 899427 w 1679153"/>
                  <a:gd name="connsiteY1556" fmla="*/ 1018067 h 1244590"/>
                  <a:gd name="connsiteX1557" fmla="*/ 904124 w 1679153"/>
                  <a:gd name="connsiteY1557" fmla="*/ 1013067 h 1244590"/>
                  <a:gd name="connsiteX1558" fmla="*/ 907155 w 1679153"/>
                  <a:gd name="connsiteY1558" fmla="*/ 1011552 h 1244590"/>
                  <a:gd name="connsiteX1559" fmla="*/ 909125 w 1679153"/>
                  <a:gd name="connsiteY1559" fmla="*/ 1009128 h 1244590"/>
                  <a:gd name="connsiteX1560" fmla="*/ 907003 w 1679153"/>
                  <a:gd name="connsiteY1560" fmla="*/ 1007916 h 1244590"/>
                  <a:gd name="connsiteX1561" fmla="*/ 892306 w 1679153"/>
                  <a:gd name="connsiteY1561" fmla="*/ 1001097 h 1244590"/>
                  <a:gd name="connsiteX1562" fmla="*/ 892760 w 1679153"/>
                  <a:gd name="connsiteY1562" fmla="*/ 999582 h 1244590"/>
                  <a:gd name="connsiteX1563" fmla="*/ 898518 w 1679153"/>
                  <a:gd name="connsiteY1563" fmla="*/ 999582 h 1244590"/>
                  <a:gd name="connsiteX1564" fmla="*/ 913519 w 1679153"/>
                  <a:gd name="connsiteY1564" fmla="*/ 998218 h 1244590"/>
                  <a:gd name="connsiteX1565" fmla="*/ 922459 w 1679153"/>
                  <a:gd name="connsiteY1565" fmla="*/ 997158 h 1244590"/>
                  <a:gd name="connsiteX1566" fmla="*/ 934883 w 1679153"/>
                  <a:gd name="connsiteY1566" fmla="*/ 996552 h 1244590"/>
                  <a:gd name="connsiteX1567" fmla="*/ 946702 w 1679153"/>
                  <a:gd name="connsiteY1567" fmla="*/ 992612 h 1244590"/>
                  <a:gd name="connsiteX1568" fmla="*/ 946702 w 1679153"/>
                  <a:gd name="connsiteY1568" fmla="*/ 988066 h 1244590"/>
                  <a:gd name="connsiteX1569" fmla="*/ 946247 w 1679153"/>
                  <a:gd name="connsiteY1569" fmla="*/ 986854 h 1244590"/>
                  <a:gd name="connsiteX1570" fmla="*/ 940035 w 1679153"/>
                  <a:gd name="connsiteY1570" fmla="*/ 983066 h 1244590"/>
                  <a:gd name="connsiteX1571" fmla="*/ 937914 w 1679153"/>
                  <a:gd name="connsiteY1571" fmla="*/ 979127 h 1244590"/>
                  <a:gd name="connsiteX1572" fmla="*/ 941247 w 1679153"/>
                  <a:gd name="connsiteY1572" fmla="*/ 980339 h 1244590"/>
                  <a:gd name="connsiteX1573" fmla="*/ 948368 w 1679153"/>
                  <a:gd name="connsiteY1573" fmla="*/ 983975 h 1244590"/>
                  <a:gd name="connsiteX1574" fmla="*/ 950187 w 1679153"/>
                  <a:gd name="connsiteY1574" fmla="*/ 980793 h 1244590"/>
                  <a:gd name="connsiteX1575" fmla="*/ 953066 w 1679153"/>
                  <a:gd name="connsiteY1575" fmla="*/ 973217 h 1244590"/>
                  <a:gd name="connsiteX1576" fmla="*/ 955793 w 1679153"/>
                  <a:gd name="connsiteY1576" fmla="*/ 970338 h 1244590"/>
                  <a:gd name="connsiteX1577" fmla="*/ 958975 w 1679153"/>
                  <a:gd name="connsiteY1577" fmla="*/ 967611 h 1244590"/>
                  <a:gd name="connsiteX1578" fmla="*/ 952460 w 1679153"/>
                  <a:gd name="connsiteY1578" fmla="*/ 964884 h 1244590"/>
                  <a:gd name="connsiteX1579" fmla="*/ 947914 w 1679153"/>
                  <a:gd name="connsiteY1579" fmla="*/ 962005 h 1244590"/>
                  <a:gd name="connsiteX1580" fmla="*/ 950793 w 1679153"/>
                  <a:gd name="connsiteY1580" fmla="*/ 961399 h 1244590"/>
                  <a:gd name="connsiteX1581" fmla="*/ 957308 w 1679153"/>
                  <a:gd name="connsiteY1581" fmla="*/ 962005 h 1244590"/>
                  <a:gd name="connsiteX1582" fmla="*/ 963975 w 1679153"/>
                  <a:gd name="connsiteY1582" fmla="*/ 963672 h 1244590"/>
                  <a:gd name="connsiteX1583" fmla="*/ 971551 w 1679153"/>
                  <a:gd name="connsiteY1583" fmla="*/ 964732 h 1244590"/>
                  <a:gd name="connsiteX1584" fmla="*/ 971854 w 1679153"/>
                  <a:gd name="connsiteY1584" fmla="*/ 965641 h 1244590"/>
                  <a:gd name="connsiteX1585" fmla="*/ 966248 w 1679153"/>
                  <a:gd name="connsiteY1585" fmla="*/ 970641 h 1244590"/>
                  <a:gd name="connsiteX1586" fmla="*/ 957914 w 1679153"/>
                  <a:gd name="connsiteY1586" fmla="*/ 980490 h 1244590"/>
                  <a:gd name="connsiteX1587" fmla="*/ 956854 w 1679153"/>
                  <a:gd name="connsiteY1587" fmla="*/ 983521 h 1244590"/>
                  <a:gd name="connsiteX1588" fmla="*/ 957611 w 1679153"/>
                  <a:gd name="connsiteY1588" fmla="*/ 985945 h 1244590"/>
                  <a:gd name="connsiteX1589" fmla="*/ 956399 w 1679153"/>
                  <a:gd name="connsiteY1589" fmla="*/ 987915 h 1244590"/>
                  <a:gd name="connsiteX1590" fmla="*/ 952005 w 1679153"/>
                  <a:gd name="connsiteY1590" fmla="*/ 992612 h 1244590"/>
                  <a:gd name="connsiteX1591" fmla="*/ 953217 w 1679153"/>
                  <a:gd name="connsiteY1591" fmla="*/ 996097 h 1244590"/>
                  <a:gd name="connsiteX1592" fmla="*/ 958672 w 1679153"/>
                  <a:gd name="connsiteY1592" fmla="*/ 997915 h 1244590"/>
                  <a:gd name="connsiteX1593" fmla="*/ 961096 w 1679153"/>
                  <a:gd name="connsiteY1593" fmla="*/ 996249 h 1244590"/>
                  <a:gd name="connsiteX1594" fmla="*/ 965187 w 1679153"/>
                  <a:gd name="connsiteY1594" fmla="*/ 996400 h 1244590"/>
                  <a:gd name="connsiteX1595" fmla="*/ 968066 w 1679153"/>
                  <a:gd name="connsiteY1595" fmla="*/ 995188 h 1244590"/>
                  <a:gd name="connsiteX1596" fmla="*/ 970187 w 1679153"/>
                  <a:gd name="connsiteY1596" fmla="*/ 992309 h 1244590"/>
                  <a:gd name="connsiteX1597" fmla="*/ 970491 w 1679153"/>
                  <a:gd name="connsiteY1597" fmla="*/ 989127 h 1244590"/>
                  <a:gd name="connsiteX1598" fmla="*/ 972763 w 1679153"/>
                  <a:gd name="connsiteY1598" fmla="*/ 989279 h 1244590"/>
                  <a:gd name="connsiteX1599" fmla="*/ 977460 w 1679153"/>
                  <a:gd name="connsiteY1599" fmla="*/ 985491 h 1244590"/>
                  <a:gd name="connsiteX1600" fmla="*/ 978521 w 1679153"/>
                  <a:gd name="connsiteY1600" fmla="*/ 986854 h 1244590"/>
                  <a:gd name="connsiteX1601" fmla="*/ 981097 w 1679153"/>
                  <a:gd name="connsiteY1601" fmla="*/ 989430 h 1244590"/>
                  <a:gd name="connsiteX1602" fmla="*/ 984127 w 1679153"/>
                  <a:gd name="connsiteY1602" fmla="*/ 989885 h 1244590"/>
                  <a:gd name="connsiteX1603" fmla="*/ 987006 w 1679153"/>
                  <a:gd name="connsiteY1603" fmla="*/ 988824 h 1244590"/>
                  <a:gd name="connsiteX1604" fmla="*/ 988370 w 1679153"/>
                  <a:gd name="connsiteY1604" fmla="*/ 988975 h 1244590"/>
                  <a:gd name="connsiteX1605" fmla="*/ 989128 w 1679153"/>
                  <a:gd name="connsiteY1605" fmla="*/ 987915 h 1244590"/>
                  <a:gd name="connsiteX1606" fmla="*/ 991855 w 1679153"/>
                  <a:gd name="connsiteY1606" fmla="*/ 982157 h 1244590"/>
                  <a:gd name="connsiteX1607" fmla="*/ 992310 w 1679153"/>
                  <a:gd name="connsiteY1607" fmla="*/ 980642 h 1244590"/>
                  <a:gd name="connsiteX1608" fmla="*/ 992158 w 1679153"/>
                  <a:gd name="connsiteY1608" fmla="*/ 979127 h 1244590"/>
                  <a:gd name="connsiteX1609" fmla="*/ 995946 w 1679153"/>
                  <a:gd name="connsiteY1609" fmla="*/ 981248 h 1244590"/>
                  <a:gd name="connsiteX1610" fmla="*/ 995643 w 1679153"/>
                  <a:gd name="connsiteY1610" fmla="*/ 982612 h 1244590"/>
                  <a:gd name="connsiteX1611" fmla="*/ 996249 w 1679153"/>
                  <a:gd name="connsiteY1611" fmla="*/ 987157 h 1244590"/>
                  <a:gd name="connsiteX1612" fmla="*/ 998673 w 1679153"/>
                  <a:gd name="connsiteY1612" fmla="*/ 985642 h 1244590"/>
                  <a:gd name="connsiteX1613" fmla="*/ 1005340 w 1679153"/>
                  <a:gd name="connsiteY1613" fmla="*/ 980187 h 1244590"/>
                  <a:gd name="connsiteX1614" fmla="*/ 1011553 w 1679153"/>
                  <a:gd name="connsiteY1614" fmla="*/ 976854 h 1244590"/>
                  <a:gd name="connsiteX1615" fmla="*/ 1013977 w 1679153"/>
                  <a:gd name="connsiteY1615" fmla="*/ 974884 h 1244590"/>
                  <a:gd name="connsiteX1616" fmla="*/ 1016704 w 1679153"/>
                  <a:gd name="connsiteY1616" fmla="*/ 973217 h 1244590"/>
                  <a:gd name="connsiteX1617" fmla="*/ 1013219 w 1679153"/>
                  <a:gd name="connsiteY1617" fmla="*/ 964884 h 1244590"/>
                  <a:gd name="connsiteX1618" fmla="*/ 1011704 w 1679153"/>
                  <a:gd name="connsiteY1618" fmla="*/ 963368 h 1244590"/>
                  <a:gd name="connsiteX1619" fmla="*/ 1011098 w 1679153"/>
                  <a:gd name="connsiteY1619" fmla="*/ 962005 h 1244590"/>
                  <a:gd name="connsiteX1620" fmla="*/ 1010340 w 1679153"/>
                  <a:gd name="connsiteY1620" fmla="*/ 961096 h 1244590"/>
                  <a:gd name="connsiteX1621" fmla="*/ 1010189 w 1679153"/>
                  <a:gd name="connsiteY1621" fmla="*/ 959429 h 1244590"/>
                  <a:gd name="connsiteX1622" fmla="*/ 1014583 w 1679153"/>
                  <a:gd name="connsiteY1622" fmla="*/ 962459 h 1244590"/>
                  <a:gd name="connsiteX1623" fmla="*/ 1015795 w 1679153"/>
                  <a:gd name="connsiteY1623" fmla="*/ 963823 h 1244590"/>
                  <a:gd name="connsiteX1624" fmla="*/ 1022614 w 1679153"/>
                  <a:gd name="connsiteY1624" fmla="*/ 967611 h 1244590"/>
                  <a:gd name="connsiteX1625" fmla="*/ 1025947 w 1679153"/>
                  <a:gd name="connsiteY1625" fmla="*/ 967308 h 1244590"/>
                  <a:gd name="connsiteX1626" fmla="*/ 1028675 w 1679153"/>
                  <a:gd name="connsiteY1626" fmla="*/ 968066 h 1244590"/>
                  <a:gd name="connsiteX1627" fmla="*/ 1031857 w 1679153"/>
                  <a:gd name="connsiteY1627" fmla="*/ 966702 h 1244590"/>
                  <a:gd name="connsiteX1628" fmla="*/ 1043978 w 1679153"/>
                  <a:gd name="connsiteY1628" fmla="*/ 959580 h 1244590"/>
                  <a:gd name="connsiteX1629" fmla="*/ 1045493 w 1679153"/>
                  <a:gd name="connsiteY1629" fmla="*/ 957914 h 1244590"/>
                  <a:gd name="connsiteX1630" fmla="*/ 1046857 w 1679153"/>
                  <a:gd name="connsiteY1630" fmla="*/ 955489 h 1244590"/>
                  <a:gd name="connsiteX1631" fmla="*/ 1048221 w 1679153"/>
                  <a:gd name="connsiteY1631" fmla="*/ 952307 h 1244590"/>
                  <a:gd name="connsiteX1632" fmla="*/ 1049736 w 1679153"/>
                  <a:gd name="connsiteY1632" fmla="*/ 950489 h 1244590"/>
                  <a:gd name="connsiteX1633" fmla="*/ 1052766 w 1679153"/>
                  <a:gd name="connsiteY1633" fmla="*/ 950186 h 1244590"/>
                  <a:gd name="connsiteX1634" fmla="*/ 1053978 w 1679153"/>
                  <a:gd name="connsiteY1634" fmla="*/ 950641 h 1244590"/>
                  <a:gd name="connsiteX1635" fmla="*/ 1055948 w 1679153"/>
                  <a:gd name="connsiteY1635" fmla="*/ 949277 h 1244590"/>
                  <a:gd name="connsiteX1636" fmla="*/ 1058524 w 1679153"/>
                  <a:gd name="connsiteY1636" fmla="*/ 946095 h 1244590"/>
                  <a:gd name="connsiteX1637" fmla="*/ 1064585 w 1679153"/>
                  <a:gd name="connsiteY1637" fmla="*/ 936095 h 1244590"/>
                  <a:gd name="connsiteX1638" fmla="*/ 1072010 w 1679153"/>
                  <a:gd name="connsiteY1638" fmla="*/ 925337 h 1244590"/>
                  <a:gd name="connsiteX1639" fmla="*/ 1074131 w 1679153"/>
                  <a:gd name="connsiteY1639" fmla="*/ 921397 h 1244590"/>
                  <a:gd name="connsiteX1640" fmla="*/ 1074888 w 1679153"/>
                  <a:gd name="connsiteY1640" fmla="*/ 918670 h 1244590"/>
                  <a:gd name="connsiteX1641" fmla="*/ 1074282 w 1679153"/>
                  <a:gd name="connsiteY1641" fmla="*/ 917003 h 1244590"/>
                  <a:gd name="connsiteX1642" fmla="*/ 1074585 w 1679153"/>
                  <a:gd name="connsiteY1642" fmla="*/ 915943 h 1244590"/>
                  <a:gd name="connsiteX1643" fmla="*/ 1075798 w 1679153"/>
                  <a:gd name="connsiteY1643" fmla="*/ 915488 h 1244590"/>
                  <a:gd name="connsiteX1644" fmla="*/ 1078828 w 1679153"/>
                  <a:gd name="connsiteY1644" fmla="*/ 912912 h 1244590"/>
                  <a:gd name="connsiteX1645" fmla="*/ 1080343 w 1679153"/>
                  <a:gd name="connsiteY1645" fmla="*/ 910942 h 1244590"/>
                  <a:gd name="connsiteX1646" fmla="*/ 1084131 w 1679153"/>
                  <a:gd name="connsiteY1646" fmla="*/ 904427 h 1244590"/>
                  <a:gd name="connsiteX1647" fmla="*/ 1085495 w 1679153"/>
                  <a:gd name="connsiteY1647" fmla="*/ 902912 h 1244590"/>
                  <a:gd name="connsiteX1648" fmla="*/ 1087162 w 1679153"/>
                  <a:gd name="connsiteY1648" fmla="*/ 901851 h 1244590"/>
                  <a:gd name="connsiteX1649" fmla="*/ 1090798 w 1679153"/>
                  <a:gd name="connsiteY1649" fmla="*/ 900790 h 1244590"/>
                  <a:gd name="connsiteX1650" fmla="*/ 1103677 w 1679153"/>
                  <a:gd name="connsiteY1650" fmla="*/ 892760 h 1244590"/>
                  <a:gd name="connsiteX1651" fmla="*/ 1105799 w 1679153"/>
                  <a:gd name="connsiteY1651" fmla="*/ 892154 h 1244590"/>
                  <a:gd name="connsiteX1652" fmla="*/ 1108374 w 1679153"/>
                  <a:gd name="connsiteY1652" fmla="*/ 890336 h 1244590"/>
                  <a:gd name="connsiteX1653" fmla="*/ 1111405 w 1679153"/>
                  <a:gd name="connsiteY1653" fmla="*/ 887154 h 1244590"/>
                  <a:gd name="connsiteX1654" fmla="*/ 1111708 w 1679153"/>
                  <a:gd name="connsiteY1654" fmla="*/ 883820 h 1244590"/>
                  <a:gd name="connsiteX1655" fmla="*/ 1109132 w 1679153"/>
                  <a:gd name="connsiteY1655" fmla="*/ 880184 h 1244590"/>
                  <a:gd name="connsiteX1656" fmla="*/ 1105950 w 1679153"/>
                  <a:gd name="connsiteY1656" fmla="*/ 876699 h 1244590"/>
                  <a:gd name="connsiteX1657" fmla="*/ 1106253 w 1679153"/>
                  <a:gd name="connsiteY1657" fmla="*/ 876093 h 1244590"/>
                  <a:gd name="connsiteX1658" fmla="*/ 1108223 w 1679153"/>
                  <a:gd name="connsiteY1658" fmla="*/ 876093 h 1244590"/>
                  <a:gd name="connsiteX1659" fmla="*/ 1109890 w 1679153"/>
                  <a:gd name="connsiteY1659" fmla="*/ 875638 h 1244590"/>
                  <a:gd name="connsiteX1660" fmla="*/ 1111102 w 1679153"/>
                  <a:gd name="connsiteY1660" fmla="*/ 874577 h 1244590"/>
                  <a:gd name="connsiteX1661" fmla="*/ 1110647 w 1679153"/>
                  <a:gd name="connsiteY1661" fmla="*/ 872911 h 1244590"/>
                  <a:gd name="connsiteX1662" fmla="*/ 1108678 w 1679153"/>
                  <a:gd name="connsiteY1662" fmla="*/ 870638 h 1244590"/>
                  <a:gd name="connsiteX1663" fmla="*/ 1107465 w 1679153"/>
                  <a:gd name="connsiteY1663" fmla="*/ 868365 h 1244590"/>
                  <a:gd name="connsiteX1664" fmla="*/ 1107162 w 1679153"/>
                  <a:gd name="connsiteY1664" fmla="*/ 865941 h 1244590"/>
                  <a:gd name="connsiteX1665" fmla="*/ 1112314 w 1679153"/>
                  <a:gd name="connsiteY1665" fmla="*/ 868365 h 1244590"/>
                  <a:gd name="connsiteX1666" fmla="*/ 1123072 w 1679153"/>
                  <a:gd name="connsiteY1666" fmla="*/ 875638 h 1244590"/>
                  <a:gd name="connsiteX1667" fmla="*/ 1131860 w 1679153"/>
                  <a:gd name="connsiteY1667" fmla="*/ 880487 h 1244590"/>
                  <a:gd name="connsiteX1668" fmla="*/ 1138679 w 1679153"/>
                  <a:gd name="connsiteY1668" fmla="*/ 882759 h 1244590"/>
                  <a:gd name="connsiteX1669" fmla="*/ 1143830 w 1679153"/>
                  <a:gd name="connsiteY1669" fmla="*/ 883669 h 1244590"/>
                  <a:gd name="connsiteX1670" fmla="*/ 1147315 w 1679153"/>
                  <a:gd name="connsiteY1670" fmla="*/ 883063 h 1244590"/>
                  <a:gd name="connsiteX1671" fmla="*/ 1153831 w 1679153"/>
                  <a:gd name="connsiteY1671" fmla="*/ 880941 h 1244590"/>
                  <a:gd name="connsiteX1672" fmla="*/ 1153982 w 1679153"/>
                  <a:gd name="connsiteY1672" fmla="*/ 878820 h 1244590"/>
                  <a:gd name="connsiteX1673" fmla="*/ 1151103 w 1679153"/>
                  <a:gd name="connsiteY1673" fmla="*/ 875790 h 1244590"/>
                  <a:gd name="connsiteX1674" fmla="*/ 1150952 w 1679153"/>
                  <a:gd name="connsiteY1674" fmla="*/ 874577 h 1244590"/>
                  <a:gd name="connsiteX1675" fmla="*/ 1162013 w 1679153"/>
                  <a:gd name="connsiteY1675" fmla="*/ 877305 h 1244590"/>
                  <a:gd name="connsiteX1676" fmla="*/ 1165346 w 1679153"/>
                  <a:gd name="connsiteY1676" fmla="*/ 877002 h 1244590"/>
                  <a:gd name="connsiteX1677" fmla="*/ 1169286 w 1679153"/>
                  <a:gd name="connsiteY1677" fmla="*/ 873517 h 1244590"/>
                  <a:gd name="connsiteX1678" fmla="*/ 1171710 w 1679153"/>
                  <a:gd name="connsiteY1678" fmla="*/ 872305 h 1244590"/>
                  <a:gd name="connsiteX1679" fmla="*/ 1174286 w 1679153"/>
                  <a:gd name="connsiteY1679" fmla="*/ 871698 h 1244590"/>
                  <a:gd name="connsiteX1680" fmla="*/ 1178529 w 1679153"/>
                  <a:gd name="connsiteY1680" fmla="*/ 871698 h 1244590"/>
                  <a:gd name="connsiteX1681" fmla="*/ 1186408 w 1679153"/>
                  <a:gd name="connsiteY1681" fmla="*/ 872759 h 1244590"/>
                  <a:gd name="connsiteX1682" fmla="*/ 1191256 w 1679153"/>
                  <a:gd name="connsiteY1682" fmla="*/ 872305 h 1244590"/>
                  <a:gd name="connsiteX1683" fmla="*/ 1195651 w 1679153"/>
                  <a:gd name="connsiteY1683" fmla="*/ 870789 h 1244590"/>
                  <a:gd name="connsiteX1684" fmla="*/ 1202014 w 1679153"/>
                  <a:gd name="connsiteY1684" fmla="*/ 869426 h 1244590"/>
                  <a:gd name="connsiteX1685" fmla="*/ 1215348 w 1679153"/>
                  <a:gd name="connsiteY1685" fmla="*/ 865335 h 1244590"/>
                  <a:gd name="connsiteX1686" fmla="*/ 1221864 w 1679153"/>
                  <a:gd name="connsiteY1686" fmla="*/ 863819 h 1244590"/>
                  <a:gd name="connsiteX1687" fmla="*/ 1229440 w 1679153"/>
                  <a:gd name="connsiteY1687" fmla="*/ 863062 h 1244590"/>
                  <a:gd name="connsiteX1688" fmla="*/ 1245501 w 1679153"/>
                  <a:gd name="connsiteY1688" fmla="*/ 858668 h 1244590"/>
                  <a:gd name="connsiteX1689" fmla="*/ 1250501 w 1679153"/>
                  <a:gd name="connsiteY1689" fmla="*/ 857910 h 1244590"/>
                  <a:gd name="connsiteX1690" fmla="*/ 1257774 w 1679153"/>
                  <a:gd name="connsiteY1690" fmla="*/ 855334 h 1244590"/>
                  <a:gd name="connsiteX1691" fmla="*/ 1262168 w 1679153"/>
                  <a:gd name="connsiteY1691" fmla="*/ 854425 h 1244590"/>
                  <a:gd name="connsiteX1692" fmla="*/ 1266865 w 1679153"/>
                  <a:gd name="connsiteY1692" fmla="*/ 854274 h 1244590"/>
                  <a:gd name="connsiteX1693" fmla="*/ 1270805 w 1679153"/>
                  <a:gd name="connsiteY1693" fmla="*/ 853061 h 1244590"/>
                  <a:gd name="connsiteX1694" fmla="*/ 1273835 w 1679153"/>
                  <a:gd name="connsiteY1694" fmla="*/ 850637 h 1244590"/>
                  <a:gd name="connsiteX1695" fmla="*/ 1276260 w 1679153"/>
                  <a:gd name="connsiteY1695" fmla="*/ 849273 h 1244590"/>
                  <a:gd name="connsiteX1696" fmla="*/ 1281260 w 1679153"/>
                  <a:gd name="connsiteY1696" fmla="*/ 847607 h 1244590"/>
                  <a:gd name="connsiteX1697" fmla="*/ 1288381 w 1679153"/>
                  <a:gd name="connsiteY1697" fmla="*/ 844122 h 1244590"/>
                  <a:gd name="connsiteX1698" fmla="*/ 1290351 w 1679153"/>
                  <a:gd name="connsiteY1698" fmla="*/ 842303 h 1244590"/>
                  <a:gd name="connsiteX1699" fmla="*/ 1290957 w 1679153"/>
                  <a:gd name="connsiteY1699" fmla="*/ 841091 h 1244590"/>
                  <a:gd name="connsiteX1700" fmla="*/ 1291715 w 1679153"/>
                  <a:gd name="connsiteY1700" fmla="*/ 837909 h 1244590"/>
                  <a:gd name="connsiteX1701" fmla="*/ 1292775 w 1679153"/>
                  <a:gd name="connsiteY1701" fmla="*/ 836697 h 1244590"/>
                  <a:gd name="connsiteX1702" fmla="*/ 1300200 w 1679153"/>
                  <a:gd name="connsiteY1702" fmla="*/ 834424 h 1244590"/>
                  <a:gd name="connsiteX1703" fmla="*/ 1305049 w 1679153"/>
                  <a:gd name="connsiteY1703" fmla="*/ 830939 h 1244590"/>
                  <a:gd name="connsiteX1704" fmla="*/ 1305351 w 1679153"/>
                  <a:gd name="connsiteY1704" fmla="*/ 829576 h 1244590"/>
                  <a:gd name="connsiteX1705" fmla="*/ 1302321 w 1679153"/>
                  <a:gd name="connsiteY1705" fmla="*/ 826242 h 1244590"/>
                  <a:gd name="connsiteX1706" fmla="*/ 1303836 w 1679153"/>
                  <a:gd name="connsiteY1706" fmla="*/ 825636 h 1244590"/>
                  <a:gd name="connsiteX1707" fmla="*/ 1311109 w 1679153"/>
                  <a:gd name="connsiteY1707" fmla="*/ 824576 h 1244590"/>
                  <a:gd name="connsiteX1708" fmla="*/ 1314594 w 1679153"/>
                  <a:gd name="connsiteY1708" fmla="*/ 823363 h 1244590"/>
                  <a:gd name="connsiteX1709" fmla="*/ 1322473 w 1679153"/>
                  <a:gd name="connsiteY1709" fmla="*/ 819121 h 1244590"/>
                  <a:gd name="connsiteX1710" fmla="*/ 1326716 w 1679153"/>
                  <a:gd name="connsiteY1710" fmla="*/ 817606 h 1244590"/>
                  <a:gd name="connsiteX1711" fmla="*/ 1328686 w 1679153"/>
                  <a:gd name="connsiteY1711" fmla="*/ 815636 h 1244590"/>
                  <a:gd name="connsiteX1712" fmla="*/ 1328534 w 1679153"/>
                  <a:gd name="connsiteY1712" fmla="*/ 813363 h 1244590"/>
                  <a:gd name="connsiteX1713" fmla="*/ 1327777 w 1679153"/>
                  <a:gd name="connsiteY1713" fmla="*/ 811696 h 1244590"/>
                  <a:gd name="connsiteX1714" fmla="*/ 1326564 w 1679153"/>
                  <a:gd name="connsiteY1714" fmla="*/ 810636 h 1244590"/>
                  <a:gd name="connsiteX1715" fmla="*/ 1327928 w 1679153"/>
                  <a:gd name="connsiteY1715" fmla="*/ 810333 h 1244590"/>
                  <a:gd name="connsiteX1716" fmla="*/ 1336262 w 1679153"/>
                  <a:gd name="connsiteY1716" fmla="*/ 811848 h 1244590"/>
                  <a:gd name="connsiteX1717" fmla="*/ 1338686 w 1679153"/>
                  <a:gd name="connsiteY1717" fmla="*/ 811545 h 1244590"/>
                  <a:gd name="connsiteX1718" fmla="*/ 1341868 w 1679153"/>
                  <a:gd name="connsiteY1718" fmla="*/ 810484 h 1244590"/>
                  <a:gd name="connsiteX1719" fmla="*/ 1342625 w 1679153"/>
                  <a:gd name="connsiteY1719" fmla="*/ 808666 h 1244590"/>
                  <a:gd name="connsiteX1720" fmla="*/ 1341111 w 1679153"/>
                  <a:gd name="connsiteY1720" fmla="*/ 806090 h 1244590"/>
                  <a:gd name="connsiteX1721" fmla="*/ 1339747 w 1679153"/>
                  <a:gd name="connsiteY1721" fmla="*/ 804272 h 1244590"/>
                  <a:gd name="connsiteX1722" fmla="*/ 1338383 w 1679153"/>
                  <a:gd name="connsiteY1722" fmla="*/ 803363 h 1244590"/>
                  <a:gd name="connsiteX1723" fmla="*/ 1339898 w 1679153"/>
                  <a:gd name="connsiteY1723" fmla="*/ 803060 h 1244590"/>
                  <a:gd name="connsiteX1724" fmla="*/ 1347020 w 1679153"/>
                  <a:gd name="connsiteY1724" fmla="*/ 803211 h 1244590"/>
                  <a:gd name="connsiteX1725" fmla="*/ 1355656 w 1679153"/>
                  <a:gd name="connsiteY1725" fmla="*/ 800787 h 1244590"/>
                  <a:gd name="connsiteX1726" fmla="*/ 1360808 w 1679153"/>
                  <a:gd name="connsiteY1726" fmla="*/ 800787 h 1244590"/>
                  <a:gd name="connsiteX1727" fmla="*/ 1361717 w 1679153"/>
                  <a:gd name="connsiteY1727" fmla="*/ 800181 h 1244590"/>
                  <a:gd name="connsiteX1728" fmla="*/ 1359747 w 1679153"/>
                  <a:gd name="connsiteY1728" fmla="*/ 796393 h 1244590"/>
                  <a:gd name="connsiteX1729" fmla="*/ 1361263 w 1679153"/>
                  <a:gd name="connsiteY1729" fmla="*/ 795484 h 1244590"/>
                  <a:gd name="connsiteX1730" fmla="*/ 1367020 w 1679153"/>
                  <a:gd name="connsiteY1730" fmla="*/ 794423 h 1244590"/>
                  <a:gd name="connsiteX1731" fmla="*/ 1369597 w 1679153"/>
                  <a:gd name="connsiteY1731" fmla="*/ 793362 h 1244590"/>
                  <a:gd name="connsiteX1732" fmla="*/ 1372627 w 1679153"/>
                  <a:gd name="connsiteY1732" fmla="*/ 792908 h 1244590"/>
                  <a:gd name="connsiteX1733" fmla="*/ 1377475 w 1679153"/>
                  <a:gd name="connsiteY1733" fmla="*/ 791393 h 1244590"/>
                  <a:gd name="connsiteX1734" fmla="*/ 1381566 w 1679153"/>
                  <a:gd name="connsiteY1734" fmla="*/ 789120 h 1244590"/>
                  <a:gd name="connsiteX1735" fmla="*/ 1382930 w 1679153"/>
                  <a:gd name="connsiteY1735" fmla="*/ 787453 h 1244590"/>
                  <a:gd name="connsiteX1736" fmla="*/ 1383688 w 1679153"/>
                  <a:gd name="connsiteY1736" fmla="*/ 785483 h 1244590"/>
                  <a:gd name="connsiteX1737" fmla="*/ 1381566 w 1679153"/>
                  <a:gd name="connsiteY1737" fmla="*/ 784574 h 1244590"/>
                  <a:gd name="connsiteX1738" fmla="*/ 1357323 w 1679153"/>
                  <a:gd name="connsiteY1738" fmla="*/ 785180 h 1244590"/>
                  <a:gd name="connsiteX1739" fmla="*/ 1343838 w 1679153"/>
                  <a:gd name="connsiteY1739" fmla="*/ 783968 h 1244590"/>
                  <a:gd name="connsiteX1740" fmla="*/ 1333686 w 1679153"/>
                  <a:gd name="connsiteY1740" fmla="*/ 781847 h 1244590"/>
                  <a:gd name="connsiteX1741" fmla="*/ 1314291 w 1679153"/>
                  <a:gd name="connsiteY1741" fmla="*/ 776240 h 1244590"/>
                  <a:gd name="connsiteX1742" fmla="*/ 1292927 w 1679153"/>
                  <a:gd name="connsiteY1742" fmla="*/ 773362 h 1244590"/>
                  <a:gd name="connsiteX1743" fmla="*/ 1290351 w 1679153"/>
                  <a:gd name="connsiteY1743" fmla="*/ 773665 h 1244590"/>
                  <a:gd name="connsiteX1744" fmla="*/ 1275805 w 1679153"/>
                  <a:gd name="connsiteY1744" fmla="*/ 778665 h 1244590"/>
                  <a:gd name="connsiteX1745" fmla="*/ 1268684 w 1679153"/>
                  <a:gd name="connsiteY1745" fmla="*/ 779877 h 1244590"/>
                  <a:gd name="connsiteX1746" fmla="*/ 1259441 w 1679153"/>
                  <a:gd name="connsiteY1746" fmla="*/ 778816 h 1244590"/>
                  <a:gd name="connsiteX1747" fmla="*/ 1251865 w 1679153"/>
                  <a:gd name="connsiteY1747" fmla="*/ 780786 h 1244590"/>
                  <a:gd name="connsiteX1748" fmla="*/ 1248683 w 1679153"/>
                  <a:gd name="connsiteY1748" fmla="*/ 783817 h 1244590"/>
                  <a:gd name="connsiteX1749" fmla="*/ 1245198 w 1679153"/>
                  <a:gd name="connsiteY1749" fmla="*/ 788817 h 1244590"/>
                  <a:gd name="connsiteX1750" fmla="*/ 1242167 w 1679153"/>
                  <a:gd name="connsiteY1750" fmla="*/ 791089 h 1244590"/>
                  <a:gd name="connsiteX1751" fmla="*/ 1235500 w 1679153"/>
                  <a:gd name="connsiteY1751" fmla="*/ 789271 h 1244590"/>
                  <a:gd name="connsiteX1752" fmla="*/ 1237319 w 1679153"/>
                  <a:gd name="connsiteY1752" fmla="*/ 784574 h 1244590"/>
                  <a:gd name="connsiteX1753" fmla="*/ 1243683 w 1679153"/>
                  <a:gd name="connsiteY1753" fmla="*/ 780028 h 1244590"/>
                  <a:gd name="connsiteX1754" fmla="*/ 1247167 w 1679153"/>
                  <a:gd name="connsiteY1754" fmla="*/ 778059 h 1244590"/>
                  <a:gd name="connsiteX1755" fmla="*/ 1250804 w 1679153"/>
                  <a:gd name="connsiteY1755" fmla="*/ 776847 h 1244590"/>
                  <a:gd name="connsiteX1756" fmla="*/ 1259138 w 1679153"/>
                  <a:gd name="connsiteY1756" fmla="*/ 775028 h 1244590"/>
                  <a:gd name="connsiteX1757" fmla="*/ 1264441 w 1679153"/>
                  <a:gd name="connsiteY1757" fmla="*/ 773210 h 1244590"/>
                  <a:gd name="connsiteX1758" fmla="*/ 1266259 w 1679153"/>
                  <a:gd name="connsiteY1758" fmla="*/ 771240 h 1244590"/>
                  <a:gd name="connsiteX1759" fmla="*/ 1264744 w 1679153"/>
                  <a:gd name="connsiteY1759" fmla="*/ 769270 h 1244590"/>
                  <a:gd name="connsiteX1760" fmla="*/ 1263229 w 1679153"/>
                  <a:gd name="connsiteY1760" fmla="*/ 768058 h 1244590"/>
                  <a:gd name="connsiteX1761" fmla="*/ 1261714 w 1679153"/>
                  <a:gd name="connsiteY1761" fmla="*/ 767452 h 1244590"/>
                  <a:gd name="connsiteX1762" fmla="*/ 1259744 w 1679153"/>
                  <a:gd name="connsiteY1762" fmla="*/ 767452 h 1244590"/>
                  <a:gd name="connsiteX1763" fmla="*/ 1236561 w 1679153"/>
                  <a:gd name="connsiteY1763" fmla="*/ 770786 h 1244590"/>
                  <a:gd name="connsiteX1764" fmla="*/ 1225046 w 1679153"/>
                  <a:gd name="connsiteY1764" fmla="*/ 770937 h 1244590"/>
                  <a:gd name="connsiteX1765" fmla="*/ 1210651 w 1679153"/>
                  <a:gd name="connsiteY1765" fmla="*/ 767301 h 1244590"/>
                  <a:gd name="connsiteX1766" fmla="*/ 1208075 w 1679153"/>
                  <a:gd name="connsiteY1766" fmla="*/ 767301 h 1244590"/>
                  <a:gd name="connsiteX1767" fmla="*/ 1199287 w 1679153"/>
                  <a:gd name="connsiteY1767" fmla="*/ 768816 h 1244590"/>
                  <a:gd name="connsiteX1768" fmla="*/ 1196105 w 1679153"/>
                  <a:gd name="connsiteY1768" fmla="*/ 768967 h 1244590"/>
                  <a:gd name="connsiteX1769" fmla="*/ 1197014 w 1679153"/>
                  <a:gd name="connsiteY1769" fmla="*/ 768210 h 1244590"/>
                  <a:gd name="connsiteX1770" fmla="*/ 1210954 w 1679153"/>
                  <a:gd name="connsiteY1770" fmla="*/ 763967 h 1244590"/>
                  <a:gd name="connsiteX1771" fmla="*/ 1213984 w 1679153"/>
                  <a:gd name="connsiteY1771" fmla="*/ 762604 h 1244590"/>
                  <a:gd name="connsiteX1772" fmla="*/ 1221409 w 1679153"/>
                  <a:gd name="connsiteY1772" fmla="*/ 758513 h 1244590"/>
                  <a:gd name="connsiteX1773" fmla="*/ 1223530 w 1679153"/>
                  <a:gd name="connsiteY1773" fmla="*/ 756391 h 1244590"/>
                  <a:gd name="connsiteX1774" fmla="*/ 1224742 w 1679153"/>
                  <a:gd name="connsiteY1774" fmla="*/ 753512 h 1244590"/>
                  <a:gd name="connsiteX1775" fmla="*/ 1225955 w 1679153"/>
                  <a:gd name="connsiteY1775" fmla="*/ 749421 h 1244590"/>
                  <a:gd name="connsiteX1776" fmla="*/ 1225652 w 1679153"/>
                  <a:gd name="connsiteY1776" fmla="*/ 746694 h 1244590"/>
                  <a:gd name="connsiteX1777" fmla="*/ 1222318 w 1679153"/>
                  <a:gd name="connsiteY1777" fmla="*/ 745179 h 1244590"/>
                  <a:gd name="connsiteX1778" fmla="*/ 1217470 w 1679153"/>
                  <a:gd name="connsiteY1778" fmla="*/ 743967 h 1244590"/>
                  <a:gd name="connsiteX1779" fmla="*/ 1214591 w 1679153"/>
                  <a:gd name="connsiteY1779" fmla="*/ 741845 h 1244590"/>
                  <a:gd name="connsiteX1780" fmla="*/ 1217166 w 1679153"/>
                  <a:gd name="connsiteY1780" fmla="*/ 741088 h 1244590"/>
                  <a:gd name="connsiteX1781" fmla="*/ 1228530 w 1679153"/>
                  <a:gd name="connsiteY1781" fmla="*/ 741391 h 1244590"/>
                  <a:gd name="connsiteX1782" fmla="*/ 1233985 w 1679153"/>
                  <a:gd name="connsiteY1782" fmla="*/ 741845 h 1244590"/>
                  <a:gd name="connsiteX1783" fmla="*/ 1243683 w 1679153"/>
                  <a:gd name="connsiteY1783" fmla="*/ 743815 h 1244590"/>
                  <a:gd name="connsiteX1784" fmla="*/ 1250955 w 1679153"/>
                  <a:gd name="connsiteY1784" fmla="*/ 744270 h 1244590"/>
                  <a:gd name="connsiteX1785" fmla="*/ 1260501 w 1679153"/>
                  <a:gd name="connsiteY1785" fmla="*/ 743967 h 1244590"/>
                  <a:gd name="connsiteX1786" fmla="*/ 1264441 w 1679153"/>
                  <a:gd name="connsiteY1786" fmla="*/ 743057 h 1244590"/>
                  <a:gd name="connsiteX1787" fmla="*/ 1275956 w 1679153"/>
                  <a:gd name="connsiteY1787" fmla="*/ 738966 h 1244590"/>
                  <a:gd name="connsiteX1788" fmla="*/ 1279896 w 1679153"/>
                  <a:gd name="connsiteY1788" fmla="*/ 736845 h 1244590"/>
                  <a:gd name="connsiteX1789" fmla="*/ 1287320 w 1679153"/>
                  <a:gd name="connsiteY1789" fmla="*/ 732299 h 1244590"/>
                  <a:gd name="connsiteX1790" fmla="*/ 1289290 w 1679153"/>
                  <a:gd name="connsiteY1790" fmla="*/ 728208 h 1244590"/>
                  <a:gd name="connsiteX1791" fmla="*/ 1288381 w 1679153"/>
                  <a:gd name="connsiteY1791" fmla="*/ 723057 h 1244590"/>
                  <a:gd name="connsiteX1792" fmla="*/ 1286715 w 1679153"/>
                  <a:gd name="connsiteY1792" fmla="*/ 719420 h 1244590"/>
                  <a:gd name="connsiteX1793" fmla="*/ 1284441 w 1679153"/>
                  <a:gd name="connsiteY1793" fmla="*/ 717450 h 1244590"/>
                  <a:gd name="connsiteX1794" fmla="*/ 1278078 w 1679153"/>
                  <a:gd name="connsiteY1794" fmla="*/ 716541 h 1244590"/>
                  <a:gd name="connsiteX1795" fmla="*/ 1267775 w 1679153"/>
                  <a:gd name="connsiteY1795" fmla="*/ 716844 h 1244590"/>
                  <a:gd name="connsiteX1796" fmla="*/ 1259895 w 1679153"/>
                  <a:gd name="connsiteY1796" fmla="*/ 716541 h 1244590"/>
                  <a:gd name="connsiteX1797" fmla="*/ 1249743 w 1679153"/>
                  <a:gd name="connsiteY1797" fmla="*/ 714875 h 1244590"/>
                  <a:gd name="connsiteX1798" fmla="*/ 1248228 w 1679153"/>
                  <a:gd name="connsiteY1798" fmla="*/ 711390 h 1244590"/>
                  <a:gd name="connsiteX1799" fmla="*/ 1250350 w 1679153"/>
                  <a:gd name="connsiteY1799" fmla="*/ 710177 h 1244590"/>
                  <a:gd name="connsiteX1800" fmla="*/ 1252471 w 1679153"/>
                  <a:gd name="connsiteY1800" fmla="*/ 710026 h 1244590"/>
                  <a:gd name="connsiteX1801" fmla="*/ 1261259 w 1679153"/>
                  <a:gd name="connsiteY1801" fmla="*/ 712450 h 1244590"/>
                  <a:gd name="connsiteX1802" fmla="*/ 1274290 w 1679153"/>
                  <a:gd name="connsiteY1802" fmla="*/ 712147 h 1244590"/>
                  <a:gd name="connsiteX1803" fmla="*/ 1283229 w 1679153"/>
                  <a:gd name="connsiteY1803" fmla="*/ 713056 h 1244590"/>
                  <a:gd name="connsiteX1804" fmla="*/ 1289442 w 1679153"/>
                  <a:gd name="connsiteY1804" fmla="*/ 715178 h 1244590"/>
                  <a:gd name="connsiteX1805" fmla="*/ 1295200 w 1679153"/>
                  <a:gd name="connsiteY1805" fmla="*/ 718208 h 1244590"/>
                  <a:gd name="connsiteX1806" fmla="*/ 1300351 w 1679153"/>
                  <a:gd name="connsiteY1806" fmla="*/ 721996 h 1244590"/>
                  <a:gd name="connsiteX1807" fmla="*/ 1306412 w 1679153"/>
                  <a:gd name="connsiteY1807" fmla="*/ 725178 h 1244590"/>
                  <a:gd name="connsiteX1808" fmla="*/ 1313382 w 1679153"/>
                  <a:gd name="connsiteY1808" fmla="*/ 727602 h 1244590"/>
                  <a:gd name="connsiteX1809" fmla="*/ 1319443 w 1679153"/>
                  <a:gd name="connsiteY1809" fmla="*/ 730784 h 1244590"/>
                  <a:gd name="connsiteX1810" fmla="*/ 1324443 w 1679153"/>
                  <a:gd name="connsiteY1810" fmla="*/ 734724 h 1244590"/>
                  <a:gd name="connsiteX1811" fmla="*/ 1327473 w 1679153"/>
                  <a:gd name="connsiteY1811" fmla="*/ 739724 h 1244590"/>
                  <a:gd name="connsiteX1812" fmla="*/ 1328534 w 1679153"/>
                  <a:gd name="connsiteY1812" fmla="*/ 745936 h 1244590"/>
                  <a:gd name="connsiteX1813" fmla="*/ 1331261 w 1679153"/>
                  <a:gd name="connsiteY1813" fmla="*/ 752603 h 1244590"/>
                  <a:gd name="connsiteX1814" fmla="*/ 1335656 w 1679153"/>
                  <a:gd name="connsiteY1814" fmla="*/ 759725 h 1244590"/>
                  <a:gd name="connsiteX1815" fmla="*/ 1340504 w 1679153"/>
                  <a:gd name="connsiteY1815" fmla="*/ 764422 h 1244590"/>
                  <a:gd name="connsiteX1816" fmla="*/ 1353232 w 1679153"/>
                  <a:gd name="connsiteY1816" fmla="*/ 769574 h 1244590"/>
                  <a:gd name="connsiteX1817" fmla="*/ 1357020 w 1679153"/>
                  <a:gd name="connsiteY1817" fmla="*/ 770028 h 1244590"/>
                  <a:gd name="connsiteX1818" fmla="*/ 1363839 w 1679153"/>
                  <a:gd name="connsiteY1818" fmla="*/ 769574 h 1244590"/>
                  <a:gd name="connsiteX1819" fmla="*/ 1370657 w 1679153"/>
                  <a:gd name="connsiteY1819" fmla="*/ 770180 h 1244590"/>
                  <a:gd name="connsiteX1820" fmla="*/ 1372930 w 1679153"/>
                  <a:gd name="connsiteY1820" fmla="*/ 767452 h 1244590"/>
                  <a:gd name="connsiteX1821" fmla="*/ 1374445 w 1679153"/>
                  <a:gd name="connsiteY1821" fmla="*/ 756088 h 1244590"/>
                  <a:gd name="connsiteX1822" fmla="*/ 1375051 w 1679153"/>
                  <a:gd name="connsiteY1822" fmla="*/ 753967 h 1244590"/>
                  <a:gd name="connsiteX1823" fmla="*/ 1375203 w 1679153"/>
                  <a:gd name="connsiteY1823" fmla="*/ 751846 h 1244590"/>
                  <a:gd name="connsiteX1824" fmla="*/ 1377627 w 1679153"/>
                  <a:gd name="connsiteY1824" fmla="*/ 749270 h 1244590"/>
                  <a:gd name="connsiteX1825" fmla="*/ 1378082 w 1679153"/>
                  <a:gd name="connsiteY1825" fmla="*/ 759876 h 1244590"/>
                  <a:gd name="connsiteX1826" fmla="*/ 1378687 w 1679153"/>
                  <a:gd name="connsiteY1826" fmla="*/ 761694 h 1244590"/>
                  <a:gd name="connsiteX1827" fmla="*/ 1378687 w 1679153"/>
                  <a:gd name="connsiteY1827" fmla="*/ 763664 h 1244590"/>
                  <a:gd name="connsiteX1828" fmla="*/ 1379142 w 1679153"/>
                  <a:gd name="connsiteY1828" fmla="*/ 766543 h 1244590"/>
                  <a:gd name="connsiteX1829" fmla="*/ 1379142 w 1679153"/>
                  <a:gd name="connsiteY1829" fmla="*/ 769119 h 1244590"/>
                  <a:gd name="connsiteX1830" fmla="*/ 1387779 w 1679153"/>
                  <a:gd name="connsiteY1830" fmla="*/ 768664 h 1244590"/>
                  <a:gd name="connsiteX1831" fmla="*/ 1391264 w 1679153"/>
                  <a:gd name="connsiteY1831" fmla="*/ 770028 h 1244590"/>
                  <a:gd name="connsiteX1832" fmla="*/ 1399901 w 1679153"/>
                  <a:gd name="connsiteY1832" fmla="*/ 768816 h 1244590"/>
                  <a:gd name="connsiteX1833" fmla="*/ 1402779 w 1679153"/>
                  <a:gd name="connsiteY1833" fmla="*/ 765937 h 1244590"/>
                  <a:gd name="connsiteX1834" fmla="*/ 1401567 w 1679153"/>
                  <a:gd name="connsiteY1834" fmla="*/ 761391 h 1244590"/>
                  <a:gd name="connsiteX1835" fmla="*/ 1400204 w 1679153"/>
                  <a:gd name="connsiteY1835" fmla="*/ 750785 h 1244590"/>
                  <a:gd name="connsiteX1836" fmla="*/ 1398840 w 1679153"/>
                  <a:gd name="connsiteY1836" fmla="*/ 748209 h 1244590"/>
                  <a:gd name="connsiteX1837" fmla="*/ 1398991 w 1679153"/>
                  <a:gd name="connsiteY1837" fmla="*/ 745179 h 1244590"/>
                  <a:gd name="connsiteX1838" fmla="*/ 1398385 w 1679153"/>
                  <a:gd name="connsiteY1838" fmla="*/ 736391 h 1244590"/>
                  <a:gd name="connsiteX1839" fmla="*/ 1398840 w 1679153"/>
                  <a:gd name="connsiteY1839" fmla="*/ 730633 h 1244590"/>
                  <a:gd name="connsiteX1840" fmla="*/ 1398082 w 1679153"/>
                  <a:gd name="connsiteY1840" fmla="*/ 723966 h 1244590"/>
                  <a:gd name="connsiteX1841" fmla="*/ 1396567 w 1679153"/>
                  <a:gd name="connsiteY1841" fmla="*/ 716844 h 1244590"/>
                  <a:gd name="connsiteX1842" fmla="*/ 1390809 w 1679153"/>
                  <a:gd name="connsiteY1842" fmla="*/ 715329 h 1244590"/>
                  <a:gd name="connsiteX1843" fmla="*/ 1385051 w 1679153"/>
                  <a:gd name="connsiteY1843" fmla="*/ 718208 h 1244590"/>
                  <a:gd name="connsiteX1844" fmla="*/ 1383233 w 1679153"/>
                  <a:gd name="connsiteY1844" fmla="*/ 718360 h 1244590"/>
                  <a:gd name="connsiteX1845" fmla="*/ 1381415 w 1679153"/>
                  <a:gd name="connsiteY1845" fmla="*/ 719269 h 1244590"/>
                  <a:gd name="connsiteX1846" fmla="*/ 1380051 w 1679153"/>
                  <a:gd name="connsiteY1846" fmla="*/ 722299 h 1244590"/>
                  <a:gd name="connsiteX1847" fmla="*/ 1378082 w 1679153"/>
                  <a:gd name="connsiteY1847" fmla="*/ 728663 h 1244590"/>
                  <a:gd name="connsiteX1848" fmla="*/ 1376415 w 1679153"/>
                  <a:gd name="connsiteY1848" fmla="*/ 721845 h 1244590"/>
                  <a:gd name="connsiteX1849" fmla="*/ 1376112 w 1679153"/>
                  <a:gd name="connsiteY1849" fmla="*/ 718208 h 1244590"/>
                  <a:gd name="connsiteX1850" fmla="*/ 1375657 w 1679153"/>
                  <a:gd name="connsiteY1850" fmla="*/ 715935 h 1244590"/>
                  <a:gd name="connsiteX1851" fmla="*/ 1376718 w 1679153"/>
                  <a:gd name="connsiteY1851" fmla="*/ 714723 h 1244590"/>
                  <a:gd name="connsiteX1852" fmla="*/ 1380961 w 1679153"/>
                  <a:gd name="connsiteY1852" fmla="*/ 712753 h 1244590"/>
                  <a:gd name="connsiteX1853" fmla="*/ 1389142 w 1679153"/>
                  <a:gd name="connsiteY1853" fmla="*/ 706389 h 1244590"/>
                  <a:gd name="connsiteX1854" fmla="*/ 1390658 w 1679153"/>
                  <a:gd name="connsiteY1854" fmla="*/ 703511 h 1244590"/>
                  <a:gd name="connsiteX1855" fmla="*/ 1382324 w 1679153"/>
                  <a:gd name="connsiteY1855" fmla="*/ 703056 h 1244590"/>
                  <a:gd name="connsiteX1856" fmla="*/ 1379445 w 1679153"/>
                  <a:gd name="connsiteY1856" fmla="*/ 702298 h 1244590"/>
                  <a:gd name="connsiteX1857" fmla="*/ 1375960 w 1679153"/>
                  <a:gd name="connsiteY1857" fmla="*/ 695025 h 1244590"/>
                  <a:gd name="connsiteX1858" fmla="*/ 1374142 w 1679153"/>
                  <a:gd name="connsiteY1858" fmla="*/ 694268 h 1244590"/>
                  <a:gd name="connsiteX1859" fmla="*/ 1365808 w 1679153"/>
                  <a:gd name="connsiteY1859" fmla="*/ 692146 h 1244590"/>
                  <a:gd name="connsiteX1860" fmla="*/ 1363384 w 1679153"/>
                  <a:gd name="connsiteY1860" fmla="*/ 690631 h 1244590"/>
                  <a:gd name="connsiteX1861" fmla="*/ 1354141 w 1679153"/>
                  <a:gd name="connsiteY1861" fmla="*/ 686389 h 1244590"/>
                  <a:gd name="connsiteX1862" fmla="*/ 1346111 w 1679153"/>
                  <a:gd name="connsiteY1862" fmla="*/ 683358 h 1244590"/>
                  <a:gd name="connsiteX1863" fmla="*/ 1340353 w 1679153"/>
                  <a:gd name="connsiteY1863" fmla="*/ 680176 h 1244590"/>
                  <a:gd name="connsiteX1864" fmla="*/ 1328231 w 1679153"/>
                  <a:gd name="connsiteY1864" fmla="*/ 674419 h 1244590"/>
                  <a:gd name="connsiteX1865" fmla="*/ 1323382 w 1679153"/>
                  <a:gd name="connsiteY1865" fmla="*/ 672449 h 1244590"/>
                  <a:gd name="connsiteX1866" fmla="*/ 1319140 w 1679153"/>
                  <a:gd name="connsiteY1866" fmla="*/ 668661 h 1244590"/>
                  <a:gd name="connsiteX1867" fmla="*/ 1316564 w 1679153"/>
                  <a:gd name="connsiteY1867" fmla="*/ 667752 h 1244590"/>
                  <a:gd name="connsiteX1868" fmla="*/ 1311715 w 1679153"/>
                  <a:gd name="connsiteY1868" fmla="*/ 670176 h 1244590"/>
                  <a:gd name="connsiteX1869" fmla="*/ 1304291 w 1679153"/>
                  <a:gd name="connsiteY1869" fmla="*/ 672449 h 1244590"/>
                  <a:gd name="connsiteX1870" fmla="*/ 1301867 w 1679153"/>
                  <a:gd name="connsiteY1870" fmla="*/ 670024 h 1244590"/>
                  <a:gd name="connsiteX1871" fmla="*/ 1303988 w 1679153"/>
                  <a:gd name="connsiteY1871" fmla="*/ 668661 h 1244590"/>
                  <a:gd name="connsiteX1872" fmla="*/ 1312018 w 1679153"/>
                  <a:gd name="connsiteY1872" fmla="*/ 665933 h 1244590"/>
                  <a:gd name="connsiteX1873" fmla="*/ 1315806 w 1679153"/>
                  <a:gd name="connsiteY1873" fmla="*/ 664267 h 1244590"/>
                  <a:gd name="connsiteX1874" fmla="*/ 1317170 w 1679153"/>
                  <a:gd name="connsiteY1874" fmla="*/ 660327 h 1244590"/>
                  <a:gd name="connsiteX1875" fmla="*/ 1313837 w 1679153"/>
                  <a:gd name="connsiteY1875" fmla="*/ 645478 h 1244590"/>
                  <a:gd name="connsiteX1876" fmla="*/ 1313382 w 1679153"/>
                  <a:gd name="connsiteY1876" fmla="*/ 644417 h 1244590"/>
                  <a:gd name="connsiteX1877" fmla="*/ 1312776 w 1679153"/>
                  <a:gd name="connsiteY1877" fmla="*/ 643811 h 1244590"/>
                  <a:gd name="connsiteX1878" fmla="*/ 1308079 w 1679153"/>
                  <a:gd name="connsiteY1878" fmla="*/ 644417 h 1244590"/>
                  <a:gd name="connsiteX1879" fmla="*/ 1301109 w 1679153"/>
                  <a:gd name="connsiteY1879" fmla="*/ 646842 h 1244590"/>
                  <a:gd name="connsiteX1880" fmla="*/ 1297775 w 1679153"/>
                  <a:gd name="connsiteY1880" fmla="*/ 648509 h 1244590"/>
                  <a:gd name="connsiteX1881" fmla="*/ 1288684 w 1679153"/>
                  <a:gd name="connsiteY1881" fmla="*/ 649115 h 1244590"/>
                  <a:gd name="connsiteX1882" fmla="*/ 1277472 w 1679153"/>
                  <a:gd name="connsiteY1882" fmla="*/ 653054 h 1244590"/>
                  <a:gd name="connsiteX1883" fmla="*/ 1274441 w 1679153"/>
                  <a:gd name="connsiteY1883" fmla="*/ 654418 h 1244590"/>
                  <a:gd name="connsiteX1884" fmla="*/ 1269441 w 1679153"/>
                  <a:gd name="connsiteY1884" fmla="*/ 655478 h 1244590"/>
                  <a:gd name="connsiteX1885" fmla="*/ 1267168 w 1679153"/>
                  <a:gd name="connsiteY1885" fmla="*/ 655175 h 1244590"/>
                  <a:gd name="connsiteX1886" fmla="*/ 1262168 w 1679153"/>
                  <a:gd name="connsiteY1886" fmla="*/ 653206 h 1244590"/>
                  <a:gd name="connsiteX1887" fmla="*/ 1274593 w 1679153"/>
                  <a:gd name="connsiteY1887" fmla="*/ 649115 h 1244590"/>
                  <a:gd name="connsiteX1888" fmla="*/ 1278078 w 1679153"/>
                  <a:gd name="connsiteY1888" fmla="*/ 649266 h 1244590"/>
                  <a:gd name="connsiteX1889" fmla="*/ 1284139 w 1679153"/>
                  <a:gd name="connsiteY1889" fmla="*/ 646539 h 1244590"/>
                  <a:gd name="connsiteX1890" fmla="*/ 1300654 w 1679153"/>
                  <a:gd name="connsiteY1890" fmla="*/ 642448 h 1244590"/>
                  <a:gd name="connsiteX1891" fmla="*/ 1302927 w 1679153"/>
                  <a:gd name="connsiteY1891" fmla="*/ 639569 h 1244590"/>
                  <a:gd name="connsiteX1892" fmla="*/ 1307776 w 1679153"/>
                  <a:gd name="connsiteY1892" fmla="*/ 637902 h 1244590"/>
                  <a:gd name="connsiteX1893" fmla="*/ 1313382 w 1679153"/>
                  <a:gd name="connsiteY1893" fmla="*/ 636235 h 1244590"/>
                  <a:gd name="connsiteX1894" fmla="*/ 1317776 w 1679153"/>
                  <a:gd name="connsiteY1894" fmla="*/ 636538 h 1244590"/>
                  <a:gd name="connsiteX1895" fmla="*/ 1320049 w 1679153"/>
                  <a:gd name="connsiteY1895" fmla="*/ 642599 h 1244590"/>
                  <a:gd name="connsiteX1896" fmla="*/ 1325201 w 1679153"/>
                  <a:gd name="connsiteY1896" fmla="*/ 654872 h 1244590"/>
                  <a:gd name="connsiteX1897" fmla="*/ 1333080 w 1679153"/>
                  <a:gd name="connsiteY1897" fmla="*/ 664721 h 1244590"/>
                  <a:gd name="connsiteX1898" fmla="*/ 1338989 w 1679153"/>
                  <a:gd name="connsiteY1898" fmla="*/ 667146 h 1244590"/>
                  <a:gd name="connsiteX1899" fmla="*/ 1343989 w 1679153"/>
                  <a:gd name="connsiteY1899" fmla="*/ 670176 h 1244590"/>
                  <a:gd name="connsiteX1900" fmla="*/ 1356717 w 1679153"/>
                  <a:gd name="connsiteY1900" fmla="*/ 673509 h 1244590"/>
                  <a:gd name="connsiteX1901" fmla="*/ 1370354 w 1679153"/>
                  <a:gd name="connsiteY1901" fmla="*/ 678813 h 1244590"/>
                  <a:gd name="connsiteX1902" fmla="*/ 1376112 w 1679153"/>
                  <a:gd name="connsiteY1902" fmla="*/ 682146 h 1244590"/>
                  <a:gd name="connsiteX1903" fmla="*/ 1381718 w 1679153"/>
                  <a:gd name="connsiteY1903" fmla="*/ 684116 h 1244590"/>
                  <a:gd name="connsiteX1904" fmla="*/ 1383233 w 1679153"/>
                  <a:gd name="connsiteY1904" fmla="*/ 678964 h 1244590"/>
                  <a:gd name="connsiteX1905" fmla="*/ 1382173 w 1679153"/>
                  <a:gd name="connsiteY1905" fmla="*/ 672600 h 1244590"/>
                  <a:gd name="connsiteX1906" fmla="*/ 1387779 w 1679153"/>
                  <a:gd name="connsiteY1906" fmla="*/ 669721 h 1244590"/>
                  <a:gd name="connsiteX1907" fmla="*/ 1389597 w 1679153"/>
                  <a:gd name="connsiteY1907" fmla="*/ 657448 h 1244590"/>
                  <a:gd name="connsiteX1908" fmla="*/ 1389142 w 1679153"/>
                  <a:gd name="connsiteY1908" fmla="*/ 653054 h 1244590"/>
                  <a:gd name="connsiteX1909" fmla="*/ 1388839 w 1679153"/>
                  <a:gd name="connsiteY1909" fmla="*/ 642751 h 1244590"/>
                  <a:gd name="connsiteX1910" fmla="*/ 1384445 w 1679153"/>
                  <a:gd name="connsiteY1910" fmla="*/ 640326 h 1244590"/>
                  <a:gd name="connsiteX1911" fmla="*/ 1377475 w 1679153"/>
                  <a:gd name="connsiteY1911" fmla="*/ 639266 h 1244590"/>
                  <a:gd name="connsiteX1912" fmla="*/ 1366414 w 1679153"/>
                  <a:gd name="connsiteY1912" fmla="*/ 634114 h 1244590"/>
                  <a:gd name="connsiteX1913" fmla="*/ 1362475 w 1679153"/>
                  <a:gd name="connsiteY1913" fmla="*/ 629568 h 1244590"/>
                  <a:gd name="connsiteX1914" fmla="*/ 1355656 w 1679153"/>
                  <a:gd name="connsiteY1914" fmla="*/ 628356 h 1244590"/>
                  <a:gd name="connsiteX1915" fmla="*/ 1349899 w 1679153"/>
                  <a:gd name="connsiteY1915" fmla="*/ 624871 h 1244590"/>
                  <a:gd name="connsiteX1916" fmla="*/ 1342929 w 1679153"/>
                  <a:gd name="connsiteY1916" fmla="*/ 621841 h 1244590"/>
                  <a:gd name="connsiteX1917" fmla="*/ 1337777 w 1679153"/>
                  <a:gd name="connsiteY1917" fmla="*/ 617598 h 1244590"/>
                  <a:gd name="connsiteX1918" fmla="*/ 1331413 w 1679153"/>
                  <a:gd name="connsiteY1918" fmla="*/ 616992 h 1244590"/>
                  <a:gd name="connsiteX1919" fmla="*/ 1318988 w 1679153"/>
                  <a:gd name="connsiteY1919" fmla="*/ 616235 h 1244590"/>
                  <a:gd name="connsiteX1920" fmla="*/ 1306109 w 1679153"/>
                  <a:gd name="connsiteY1920" fmla="*/ 617598 h 1244590"/>
                  <a:gd name="connsiteX1921" fmla="*/ 1300351 w 1679153"/>
                  <a:gd name="connsiteY1921" fmla="*/ 619417 h 1244590"/>
                  <a:gd name="connsiteX1922" fmla="*/ 1296715 w 1679153"/>
                  <a:gd name="connsiteY1922" fmla="*/ 623962 h 1244590"/>
                  <a:gd name="connsiteX1923" fmla="*/ 1279441 w 1679153"/>
                  <a:gd name="connsiteY1923" fmla="*/ 628053 h 1244590"/>
                  <a:gd name="connsiteX1924" fmla="*/ 1274744 w 1679153"/>
                  <a:gd name="connsiteY1924" fmla="*/ 628356 h 1244590"/>
                  <a:gd name="connsiteX1925" fmla="*/ 1268380 w 1679153"/>
                  <a:gd name="connsiteY1925" fmla="*/ 629568 h 1244590"/>
                  <a:gd name="connsiteX1926" fmla="*/ 1259592 w 1679153"/>
                  <a:gd name="connsiteY1926" fmla="*/ 632144 h 1244590"/>
                  <a:gd name="connsiteX1927" fmla="*/ 1250955 w 1679153"/>
                  <a:gd name="connsiteY1927" fmla="*/ 631235 h 1244590"/>
                  <a:gd name="connsiteX1928" fmla="*/ 1247622 w 1679153"/>
                  <a:gd name="connsiteY1928" fmla="*/ 631538 h 1244590"/>
                  <a:gd name="connsiteX1929" fmla="*/ 1243228 w 1679153"/>
                  <a:gd name="connsiteY1929" fmla="*/ 634872 h 1244590"/>
                  <a:gd name="connsiteX1930" fmla="*/ 1241410 w 1679153"/>
                  <a:gd name="connsiteY1930" fmla="*/ 634872 h 1244590"/>
                  <a:gd name="connsiteX1931" fmla="*/ 1239440 w 1679153"/>
                  <a:gd name="connsiteY1931" fmla="*/ 633811 h 1244590"/>
                  <a:gd name="connsiteX1932" fmla="*/ 1238076 w 1679153"/>
                  <a:gd name="connsiteY1932" fmla="*/ 632599 h 1244590"/>
                  <a:gd name="connsiteX1933" fmla="*/ 1237319 w 1679153"/>
                  <a:gd name="connsiteY1933" fmla="*/ 631235 h 1244590"/>
                  <a:gd name="connsiteX1934" fmla="*/ 1239743 w 1679153"/>
                  <a:gd name="connsiteY1934" fmla="*/ 630174 h 1244590"/>
                  <a:gd name="connsiteX1935" fmla="*/ 1245349 w 1679153"/>
                  <a:gd name="connsiteY1935" fmla="*/ 629265 h 1244590"/>
                  <a:gd name="connsiteX1936" fmla="*/ 1250955 w 1679153"/>
                  <a:gd name="connsiteY1936" fmla="*/ 629114 h 1244590"/>
                  <a:gd name="connsiteX1937" fmla="*/ 1256410 w 1679153"/>
                  <a:gd name="connsiteY1937" fmla="*/ 629720 h 1244590"/>
                  <a:gd name="connsiteX1938" fmla="*/ 1260047 w 1679153"/>
                  <a:gd name="connsiteY1938" fmla="*/ 629417 h 1244590"/>
                  <a:gd name="connsiteX1939" fmla="*/ 1262016 w 1679153"/>
                  <a:gd name="connsiteY1939" fmla="*/ 628356 h 1244590"/>
                  <a:gd name="connsiteX1940" fmla="*/ 1265198 w 1679153"/>
                  <a:gd name="connsiteY1940" fmla="*/ 625326 h 1244590"/>
                  <a:gd name="connsiteX1941" fmla="*/ 1263532 w 1679153"/>
                  <a:gd name="connsiteY1941" fmla="*/ 623659 h 1244590"/>
                  <a:gd name="connsiteX1942" fmla="*/ 1248077 w 1679153"/>
                  <a:gd name="connsiteY1942" fmla="*/ 618659 h 1244590"/>
                  <a:gd name="connsiteX1943" fmla="*/ 1245349 w 1679153"/>
                  <a:gd name="connsiteY1943" fmla="*/ 615325 h 1244590"/>
                  <a:gd name="connsiteX1944" fmla="*/ 1253380 w 1679153"/>
                  <a:gd name="connsiteY1944" fmla="*/ 618356 h 1244590"/>
                  <a:gd name="connsiteX1945" fmla="*/ 1259138 w 1679153"/>
                  <a:gd name="connsiteY1945" fmla="*/ 620023 h 1244590"/>
                  <a:gd name="connsiteX1946" fmla="*/ 1268987 w 1679153"/>
                  <a:gd name="connsiteY1946" fmla="*/ 621841 h 1244590"/>
                  <a:gd name="connsiteX1947" fmla="*/ 1275502 w 1679153"/>
                  <a:gd name="connsiteY1947" fmla="*/ 624720 h 1244590"/>
                  <a:gd name="connsiteX1948" fmla="*/ 1278381 w 1679153"/>
                  <a:gd name="connsiteY1948" fmla="*/ 625023 h 1244590"/>
                  <a:gd name="connsiteX1949" fmla="*/ 1287169 w 1679153"/>
                  <a:gd name="connsiteY1949" fmla="*/ 623659 h 1244590"/>
                  <a:gd name="connsiteX1950" fmla="*/ 1289290 w 1679153"/>
                  <a:gd name="connsiteY1950" fmla="*/ 622902 h 1244590"/>
                  <a:gd name="connsiteX1951" fmla="*/ 1295200 w 1679153"/>
                  <a:gd name="connsiteY1951" fmla="*/ 617750 h 1244590"/>
                  <a:gd name="connsiteX1952" fmla="*/ 1298988 w 1679153"/>
                  <a:gd name="connsiteY1952" fmla="*/ 615629 h 1244590"/>
                  <a:gd name="connsiteX1953" fmla="*/ 1306715 w 1679153"/>
                  <a:gd name="connsiteY1953" fmla="*/ 612750 h 1244590"/>
                  <a:gd name="connsiteX1954" fmla="*/ 1313079 w 1679153"/>
                  <a:gd name="connsiteY1954" fmla="*/ 611386 h 1244590"/>
                  <a:gd name="connsiteX1955" fmla="*/ 1313382 w 1679153"/>
                  <a:gd name="connsiteY1955" fmla="*/ 609871 h 1244590"/>
                  <a:gd name="connsiteX1956" fmla="*/ 1309746 w 1679153"/>
                  <a:gd name="connsiteY1956" fmla="*/ 607749 h 1244590"/>
                  <a:gd name="connsiteX1957" fmla="*/ 1299594 w 1679153"/>
                  <a:gd name="connsiteY1957" fmla="*/ 599264 h 1244590"/>
                  <a:gd name="connsiteX1958" fmla="*/ 1295503 w 1679153"/>
                  <a:gd name="connsiteY1958" fmla="*/ 596385 h 1244590"/>
                  <a:gd name="connsiteX1959" fmla="*/ 1292775 w 1679153"/>
                  <a:gd name="connsiteY1959" fmla="*/ 593810 h 1244590"/>
                  <a:gd name="connsiteX1960" fmla="*/ 1292927 w 1679153"/>
                  <a:gd name="connsiteY1960" fmla="*/ 593203 h 1244590"/>
                  <a:gd name="connsiteX1961" fmla="*/ 1297624 w 1679153"/>
                  <a:gd name="connsiteY1961" fmla="*/ 595173 h 1244590"/>
                  <a:gd name="connsiteX1962" fmla="*/ 1304291 w 1679153"/>
                  <a:gd name="connsiteY1962" fmla="*/ 599416 h 1244590"/>
                  <a:gd name="connsiteX1963" fmla="*/ 1309897 w 1679153"/>
                  <a:gd name="connsiteY1963" fmla="*/ 603658 h 1244590"/>
                  <a:gd name="connsiteX1964" fmla="*/ 1313231 w 1679153"/>
                  <a:gd name="connsiteY1964" fmla="*/ 605477 h 1244590"/>
                  <a:gd name="connsiteX1965" fmla="*/ 1316109 w 1679153"/>
                  <a:gd name="connsiteY1965" fmla="*/ 606386 h 1244590"/>
                  <a:gd name="connsiteX1966" fmla="*/ 1319140 w 1679153"/>
                  <a:gd name="connsiteY1966" fmla="*/ 606234 h 1244590"/>
                  <a:gd name="connsiteX1967" fmla="*/ 1322322 w 1679153"/>
                  <a:gd name="connsiteY1967" fmla="*/ 605022 h 1244590"/>
                  <a:gd name="connsiteX1968" fmla="*/ 1325352 w 1679153"/>
                  <a:gd name="connsiteY1968" fmla="*/ 602749 h 1244590"/>
                  <a:gd name="connsiteX1969" fmla="*/ 1330352 w 1679153"/>
                  <a:gd name="connsiteY1969" fmla="*/ 597901 h 1244590"/>
                  <a:gd name="connsiteX1970" fmla="*/ 1341262 w 1679153"/>
                  <a:gd name="connsiteY1970" fmla="*/ 609719 h 1244590"/>
                  <a:gd name="connsiteX1971" fmla="*/ 1355656 w 1679153"/>
                  <a:gd name="connsiteY1971" fmla="*/ 617447 h 1244590"/>
                  <a:gd name="connsiteX1972" fmla="*/ 1362323 w 1679153"/>
                  <a:gd name="connsiteY1972" fmla="*/ 620174 h 1244590"/>
                  <a:gd name="connsiteX1973" fmla="*/ 1379900 w 1679153"/>
                  <a:gd name="connsiteY1973" fmla="*/ 624265 h 1244590"/>
                  <a:gd name="connsiteX1974" fmla="*/ 1384294 w 1679153"/>
                  <a:gd name="connsiteY1974" fmla="*/ 624265 h 1244590"/>
                  <a:gd name="connsiteX1975" fmla="*/ 1392779 w 1679153"/>
                  <a:gd name="connsiteY1975" fmla="*/ 619568 h 1244590"/>
                  <a:gd name="connsiteX1976" fmla="*/ 1401719 w 1679153"/>
                  <a:gd name="connsiteY1976" fmla="*/ 615629 h 1244590"/>
                  <a:gd name="connsiteX1977" fmla="*/ 1407780 w 1679153"/>
                  <a:gd name="connsiteY1977" fmla="*/ 614265 h 1244590"/>
                  <a:gd name="connsiteX1978" fmla="*/ 1426568 w 1679153"/>
                  <a:gd name="connsiteY1978" fmla="*/ 613962 h 1244590"/>
                  <a:gd name="connsiteX1979" fmla="*/ 1430053 w 1679153"/>
                  <a:gd name="connsiteY1979" fmla="*/ 612447 h 1244590"/>
                  <a:gd name="connsiteX1980" fmla="*/ 1431720 w 1679153"/>
                  <a:gd name="connsiteY1980" fmla="*/ 603961 h 1244590"/>
                  <a:gd name="connsiteX1981" fmla="*/ 1434750 w 1679153"/>
                  <a:gd name="connsiteY1981" fmla="*/ 595022 h 1244590"/>
                  <a:gd name="connsiteX1982" fmla="*/ 1433993 w 1679153"/>
                  <a:gd name="connsiteY1982" fmla="*/ 593507 h 1244590"/>
                  <a:gd name="connsiteX1983" fmla="*/ 1416719 w 1679153"/>
                  <a:gd name="connsiteY1983" fmla="*/ 588658 h 1244590"/>
                  <a:gd name="connsiteX1984" fmla="*/ 1409143 w 1679153"/>
                  <a:gd name="connsiteY1984" fmla="*/ 587597 h 1244590"/>
                  <a:gd name="connsiteX1985" fmla="*/ 1390355 w 1679153"/>
                  <a:gd name="connsiteY1985" fmla="*/ 587143 h 1244590"/>
                  <a:gd name="connsiteX1986" fmla="*/ 1386263 w 1679153"/>
                  <a:gd name="connsiteY1986" fmla="*/ 586082 h 1244590"/>
                  <a:gd name="connsiteX1987" fmla="*/ 1382475 w 1679153"/>
                  <a:gd name="connsiteY1987" fmla="*/ 583961 h 1244590"/>
                  <a:gd name="connsiteX1988" fmla="*/ 1380657 w 1679153"/>
                  <a:gd name="connsiteY1988" fmla="*/ 582142 h 1244590"/>
                  <a:gd name="connsiteX1989" fmla="*/ 1380809 w 1679153"/>
                  <a:gd name="connsiteY1989" fmla="*/ 580627 h 1244590"/>
                  <a:gd name="connsiteX1990" fmla="*/ 1381870 w 1679153"/>
                  <a:gd name="connsiteY1990" fmla="*/ 578809 h 1244590"/>
                  <a:gd name="connsiteX1991" fmla="*/ 1383839 w 1679153"/>
                  <a:gd name="connsiteY1991" fmla="*/ 576688 h 1244590"/>
                  <a:gd name="connsiteX1992" fmla="*/ 1384445 w 1679153"/>
                  <a:gd name="connsiteY1992" fmla="*/ 574566 h 1244590"/>
                  <a:gd name="connsiteX1993" fmla="*/ 1383839 w 1679153"/>
                  <a:gd name="connsiteY1993" fmla="*/ 572445 h 1244590"/>
                  <a:gd name="connsiteX1994" fmla="*/ 1382627 w 1679153"/>
                  <a:gd name="connsiteY1994" fmla="*/ 570930 h 1244590"/>
                  <a:gd name="connsiteX1995" fmla="*/ 1380657 w 1679153"/>
                  <a:gd name="connsiteY1995" fmla="*/ 570172 h 1244590"/>
                  <a:gd name="connsiteX1996" fmla="*/ 1380961 w 1679153"/>
                  <a:gd name="connsiteY1996" fmla="*/ 569263 h 1244590"/>
                  <a:gd name="connsiteX1997" fmla="*/ 1384900 w 1679153"/>
                  <a:gd name="connsiteY1997" fmla="*/ 567748 h 1244590"/>
                  <a:gd name="connsiteX1998" fmla="*/ 1390506 w 1679153"/>
                  <a:gd name="connsiteY1998" fmla="*/ 564566 h 1244590"/>
                  <a:gd name="connsiteX1999" fmla="*/ 1391870 w 1679153"/>
                  <a:gd name="connsiteY1999" fmla="*/ 561839 h 1244590"/>
                  <a:gd name="connsiteX2000" fmla="*/ 1390203 w 1679153"/>
                  <a:gd name="connsiteY2000" fmla="*/ 554869 h 1244590"/>
                  <a:gd name="connsiteX2001" fmla="*/ 1391264 w 1679153"/>
                  <a:gd name="connsiteY2001" fmla="*/ 555020 h 1244590"/>
                  <a:gd name="connsiteX2002" fmla="*/ 1396264 w 1679153"/>
                  <a:gd name="connsiteY2002" fmla="*/ 559566 h 1244590"/>
                  <a:gd name="connsiteX2003" fmla="*/ 1394294 w 1679153"/>
                  <a:gd name="connsiteY2003" fmla="*/ 566384 h 1244590"/>
                  <a:gd name="connsiteX2004" fmla="*/ 1390961 w 1679153"/>
                  <a:gd name="connsiteY2004" fmla="*/ 572445 h 1244590"/>
                  <a:gd name="connsiteX2005" fmla="*/ 1401264 w 1679153"/>
                  <a:gd name="connsiteY2005" fmla="*/ 576839 h 1244590"/>
                  <a:gd name="connsiteX2006" fmla="*/ 1413537 w 1679153"/>
                  <a:gd name="connsiteY2006" fmla="*/ 579718 h 1244590"/>
                  <a:gd name="connsiteX2007" fmla="*/ 1426568 w 1679153"/>
                  <a:gd name="connsiteY2007" fmla="*/ 578354 h 1244590"/>
                  <a:gd name="connsiteX2008" fmla="*/ 1438084 w 1679153"/>
                  <a:gd name="connsiteY2008" fmla="*/ 574718 h 1244590"/>
                  <a:gd name="connsiteX2009" fmla="*/ 1437326 w 1679153"/>
                  <a:gd name="connsiteY2009" fmla="*/ 570475 h 1244590"/>
                  <a:gd name="connsiteX2010" fmla="*/ 1443084 w 1679153"/>
                  <a:gd name="connsiteY2010" fmla="*/ 570475 h 1244590"/>
                  <a:gd name="connsiteX2011" fmla="*/ 1453993 w 1679153"/>
                  <a:gd name="connsiteY2011" fmla="*/ 571839 h 1244590"/>
                  <a:gd name="connsiteX2012" fmla="*/ 1458842 w 1679153"/>
                  <a:gd name="connsiteY2012" fmla="*/ 571233 h 1244590"/>
                  <a:gd name="connsiteX2013" fmla="*/ 1461569 w 1679153"/>
                  <a:gd name="connsiteY2013" fmla="*/ 570475 h 1244590"/>
                  <a:gd name="connsiteX2014" fmla="*/ 1463085 w 1679153"/>
                  <a:gd name="connsiteY2014" fmla="*/ 569263 h 1244590"/>
                  <a:gd name="connsiteX2015" fmla="*/ 1464297 w 1679153"/>
                  <a:gd name="connsiteY2015" fmla="*/ 567293 h 1244590"/>
                  <a:gd name="connsiteX2016" fmla="*/ 1465054 w 1679153"/>
                  <a:gd name="connsiteY2016" fmla="*/ 564112 h 1244590"/>
                  <a:gd name="connsiteX2017" fmla="*/ 1465509 w 1679153"/>
                  <a:gd name="connsiteY2017" fmla="*/ 559869 h 1244590"/>
                  <a:gd name="connsiteX2018" fmla="*/ 1463842 w 1679153"/>
                  <a:gd name="connsiteY2018" fmla="*/ 556232 h 1244590"/>
                  <a:gd name="connsiteX2019" fmla="*/ 1460054 w 1679153"/>
                  <a:gd name="connsiteY2019" fmla="*/ 553202 h 1244590"/>
                  <a:gd name="connsiteX2020" fmla="*/ 1457024 w 1679153"/>
                  <a:gd name="connsiteY2020" fmla="*/ 551990 h 1244590"/>
                  <a:gd name="connsiteX2021" fmla="*/ 1449902 w 1679153"/>
                  <a:gd name="connsiteY2021" fmla="*/ 539565 h 1244590"/>
                  <a:gd name="connsiteX2022" fmla="*/ 1444902 w 1679153"/>
                  <a:gd name="connsiteY2022" fmla="*/ 532747 h 1244590"/>
                  <a:gd name="connsiteX2023" fmla="*/ 1438690 w 1679153"/>
                  <a:gd name="connsiteY2023" fmla="*/ 530322 h 1244590"/>
                  <a:gd name="connsiteX2024" fmla="*/ 1433083 w 1679153"/>
                  <a:gd name="connsiteY2024" fmla="*/ 532747 h 1244590"/>
                  <a:gd name="connsiteX2025" fmla="*/ 1429901 w 1679153"/>
                  <a:gd name="connsiteY2025" fmla="*/ 540020 h 1244590"/>
                  <a:gd name="connsiteX2026" fmla="*/ 1427780 w 1679153"/>
                  <a:gd name="connsiteY2026" fmla="*/ 546232 h 1244590"/>
                  <a:gd name="connsiteX2027" fmla="*/ 1420962 w 1679153"/>
                  <a:gd name="connsiteY2027" fmla="*/ 551232 h 1244590"/>
                  <a:gd name="connsiteX2028" fmla="*/ 1416113 w 1679153"/>
                  <a:gd name="connsiteY2028" fmla="*/ 550172 h 1244590"/>
                  <a:gd name="connsiteX2029" fmla="*/ 1416113 w 1679153"/>
                  <a:gd name="connsiteY2029" fmla="*/ 549263 h 1244590"/>
                  <a:gd name="connsiteX2030" fmla="*/ 1417931 w 1679153"/>
                  <a:gd name="connsiteY2030" fmla="*/ 548202 h 1244590"/>
                  <a:gd name="connsiteX2031" fmla="*/ 1420204 w 1679153"/>
                  <a:gd name="connsiteY2031" fmla="*/ 545777 h 1244590"/>
                  <a:gd name="connsiteX2032" fmla="*/ 1422780 w 1679153"/>
                  <a:gd name="connsiteY2032" fmla="*/ 541838 h 1244590"/>
                  <a:gd name="connsiteX2033" fmla="*/ 1423083 w 1679153"/>
                  <a:gd name="connsiteY2033" fmla="*/ 537141 h 1244590"/>
                  <a:gd name="connsiteX2034" fmla="*/ 1420962 w 1679153"/>
                  <a:gd name="connsiteY2034" fmla="*/ 531686 h 1244590"/>
                  <a:gd name="connsiteX2035" fmla="*/ 1419144 w 1679153"/>
                  <a:gd name="connsiteY2035" fmla="*/ 528353 h 1244590"/>
                  <a:gd name="connsiteX2036" fmla="*/ 1417628 w 1679153"/>
                  <a:gd name="connsiteY2036" fmla="*/ 527140 h 1244590"/>
                  <a:gd name="connsiteX2037" fmla="*/ 1415658 w 1679153"/>
                  <a:gd name="connsiteY2037" fmla="*/ 526837 h 1244590"/>
                  <a:gd name="connsiteX2038" fmla="*/ 1413386 w 1679153"/>
                  <a:gd name="connsiteY2038" fmla="*/ 527443 h 1244590"/>
                  <a:gd name="connsiteX2039" fmla="*/ 1404749 w 1679153"/>
                  <a:gd name="connsiteY2039" fmla="*/ 531383 h 1244590"/>
                  <a:gd name="connsiteX2040" fmla="*/ 1400961 w 1679153"/>
                  <a:gd name="connsiteY2040" fmla="*/ 532747 h 1244590"/>
                  <a:gd name="connsiteX2041" fmla="*/ 1398234 w 1679153"/>
                  <a:gd name="connsiteY2041" fmla="*/ 533201 h 1244590"/>
                  <a:gd name="connsiteX2042" fmla="*/ 1395809 w 1679153"/>
                  <a:gd name="connsiteY2042" fmla="*/ 532747 h 1244590"/>
                  <a:gd name="connsiteX2043" fmla="*/ 1392476 w 1679153"/>
                  <a:gd name="connsiteY2043" fmla="*/ 530928 h 1244590"/>
                  <a:gd name="connsiteX2044" fmla="*/ 1387173 w 1679153"/>
                  <a:gd name="connsiteY2044" fmla="*/ 527443 h 1244590"/>
                  <a:gd name="connsiteX2045" fmla="*/ 1383536 w 1679153"/>
                  <a:gd name="connsiteY2045" fmla="*/ 524565 h 1244590"/>
                  <a:gd name="connsiteX2046" fmla="*/ 1393688 w 1679153"/>
                  <a:gd name="connsiteY2046" fmla="*/ 528959 h 1244590"/>
                  <a:gd name="connsiteX2047" fmla="*/ 1399446 w 1679153"/>
                  <a:gd name="connsiteY2047" fmla="*/ 529868 h 1244590"/>
                  <a:gd name="connsiteX2048" fmla="*/ 1405961 w 1679153"/>
                  <a:gd name="connsiteY2048" fmla="*/ 527595 h 1244590"/>
                  <a:gd name="connsiteX2049" fmla="*/ 1410355 w 1679153"/>
                  <a:gd name="connsiteY2049" fmla="*/ 523807 h 1244590"/>
                  <a:gd name="connsiteX2050" fmla="*/ 1414598 w 1679153"/>
                  <a:gd name="connsiteY2050" fmla="*/ 522898 h 1244590"/>
                  <a:gd name="connsiteX2051" fmla="*/ 1419750 w 1679153"/>
                  <a:gd name="connsiteY2051" fmla="*/ 522443 h 1244590"/>
                  <a:gd name="connsiteX2052" fmla="*/ 1431265 w 1679153"/>
                  <a:gd name="connsiteY2052" fmla="*/ 513807 h 1244590"/>
                  <a:gd name="connsiteX2053" fmla="*/ 1439144 w 1679153"/>
                  <a:gd name="connsiteY2053" fmla="*/ 514110 h 1244590"/>
                  <a:gd name="connsiteX2054" fmla="*/ 1443842 w 1679153"/>
                  <a:gd name="connsiteY2054" fmla="*/ 516989 h 1244590"/>
                  <a:gd name="connsiteX2055" fmla="*/ 1447478 w 1679153"/>
                  <a:gd name="connsiteY2055" fmla="*/ 519716 h 1244590"/>
                  <a:gd name="connsiteX2056" fmla="*/ 1450054 w 1679153"/>
                  <a:gd name="connsiteY2056" fmla="*/ 522292 h 1244590"/>
                  <a:gd name="connsiteX2057" fmla="*/ 1453387 w 1679153"/>
                  <a:gd name="connsiteY2057" fmla="*/ 522746 h 1244590"/>
                  <a:gd name="connsiteX2058" fmla="*/ 1457478 w 1679153"/>
                  <a:gd name="connsiteY2058" fmla="*/ 521080 h 1244590"/>
                  <a:gd name="connsiteX2059" fmla="*/ 1460206 w 1679153"/>
                  <a:gd name="connsiteY2059" fmla="*/ 518352 h 1244590"/>
                  <a:gd name="connsiteX2060" fmla="*/ 1461569 w 1679153"/>
                  <a:gd name="connsiteY2060" fmla="*/ 514564 h 1244590"/>
                  <a:gd name="connsiteX2061" fmla="*/ 1461873 w 1679153"/>
                  <a:gd name="connsiteY2061" fmla="*/ 509716 h 1244590"/>
                  <a:gd name="connsiteX2062" fmla="*/ 1460964 w 1679153"/>
                  <a:gd name="connsiteY2062" fmla="*/ 503655 h 1244590"/>
                  <a:gd name="connsiteX2063" fmla="*/ 1460054 w 1679153"/>
                  <a:gd name="connsiteY2063" fmla="*/ 499564 h 1244590"/>
                  <a:gd name="connsiteX2064" fmla="*/ 1459145 w 1679153"/>
                  <a:gd name="connsiteY2064" fmla="*/ 497442 h 1244590"/>
                  <a:gd name="connsiteX2065" fmla="*/ 1458690 w 1679153"/>
                  <a:gd name="connsiteY2065" fmla="*/ 495170 h 1244590"/>
                  <a:gd name="connsiteX2066" fmla="*/ 1458539 w 1679153"/>
                  <a:gd name="connsiteY2066" fmla="*/ 492594 h 1244590"/>
                  <a:gd name="connsiteX2067" fmla="*/ 1457933 w 1679153"/>
                  <a:gd name="connsiteY2067" fmla="*/ 488806 h 1244590"/>
                  <a:gd name="connsiteX2068" fmla="*/ 1456418 w 1679153"/>
                  <a:gd name="connsiteY2068" fmla="*/ 486684 h 1244590"/>
                  <a:gd name="connsiteX2069" fmla="*/ 1449902 w 1679153"/>
                  <a:gd name="connsiteY2069" fmla="*/ 480927 h 1244590"/>
                  <a:gd name="connsiteX2070" fmla="*/ 1445811 w 1679153"/>
                  <a:gd name="connsiteY2070" fmla="*/ 475320 h 1244590"/>
                  <a:gd name="connsiteX2071" fmla="*/ 1448387 w 1679153"/>
                  <a:gd name="connsiteY2071" fmla="*/ 468350 h 1244590"/>
                  <a:gd name="connsiteX2072" fmla="*/ 1441872 w 1679153"/>
                  <a:gd name="connsiteY2072" fmla="*/ 462744 h 1244590"/>
                  <a:gd name="connsiteX2073" fmla="*/ 1437023 w 1679153"/>
                  <a:gd name="connsiteY2073" fmla="*/ 461987 h 1244590"/>
                  <a:gd name="connsiteX2074" fmla="*/ 1432780 w 1679153"/>
                  <a:gd name="connsiteY2074" fmla="*/ 462138 h 1244590"/>
                  <a:gd name="connsiteX2075" fmla="*/ 1429295 w 1679153"/>
                  <a:gd name="connsiteY2075" fmla="*/ 461684 h 1244590"/>
                  <a:gd name="connsiteX2076" fmla="*/ 1423235 w 1679153"/>
                  <a:gd name="connsiteY2076" fmla="*/ 459714 h 1244590"/>
                  <a:gd name="connsiteX2077" fmla="*/ 1420356 w 1679153"/>
                  <a:gd name="connsiteY2077" fmla="*/ 458047 h 1244590"/>
                  <a:gd name="connsiteX2078" fmla="*/ 1412174 w 1679153"/>
                  <a:gd name="connsiteY2078" fmla="*/ 460017 h 1244590"/>
                  <a:gd name="connsiteX2079" fmla="*/ 1405810 w 1679153"/>
                  <a:gd name="connsiteY2079" fmla="*/ 460168 h 1244590"/>
                  <a:gd name="connsiteX2080" fmla="*/ 1403840 w 1679153"/>
                  <a:gd name="connsiteY2080" fmla="*/ 459714 h 1244590"/>
                  <a:gd name="connsiteX2081" fmla="*/ 1401567 w 1679153"/>
                  <a:gd name="connsiteY2081" fmla="*/ 458502 h 1244590"/>
                  <a:gd name="connsiteX2082" fmla="*/ 1396416 w 1679153"/>
                  <a:gd name="connsiteY2082" fmla="*/ 452441 h 1244590"/>
                  <a:gd name="connsiteX2083" fmla="*/ 1393082 w 1679153"/>
                  <a:gd name="connsiteY2083" fmla="*/ 442592 h 1244590"/>
                  <a:gd name="connsiteX2084" fmla="*/ 1389597 w 1679153"/>
                  <a:gd name="connsiteY2084" fmla="*/ 441683 h 1244590"/>
                  <a:gd name="connsiteX2085" fmla="*/ 1381566 w 1679153"/>
                  <a:gd name="connsiteY2085" fmla="*/ 440925 h 1244590"/>
                  <a:gd name="connsiteX2086" fmla="*/ 1379294 w 1679153"/>
                  <a:gd name="connsiteY2086" fmla="*/ 440319 h 1244590"/>
                  <a:gd name="connsiteX2087" fmla="*/ 1377475 w 1679153"/>
                  <a:gd name="connsiteY2087" fmla="*/ 439562 h 1244590"/>
                  <a:gd name="connsiteX2088" fmla="*/ 1373081 w 1679153"/>
                  <a:gd name="connsiteY2088" fmla="*/ 436380 h 1244590"/>
                  <a:gd name="connsiteX2089" fmla="*/ 1373081 w 1679153"/>
                  <a:gd name="connsiteY2089" fmla="*/ 435016 h 1244590"/>
                  <a:gd name="connsiteX2090" fmla="*/ 1374596 w 1679153"/>
                  <a:gd name="connsiteY2090" fmla="*/ 433652 h 1244590"/>
                  <a:gd name="connsiteX2091" fmla="*/ 1380657 w 1679153"/>
                  <a:gd name="connsiteY2091" fmla="*/ 430016 h 1244590"/>
                  <a:gd name="connsiteX2092" fmla="*/ 1384749 w 1679153"/>
                  <a:gd name="connsiteY2092" fmla="*/ 430016 h 1244590"/>
                  <a:gd name="connsiteX2093" fmla="*/ 1391718 w 1679153"/>
                  <a:gd name="connsiteY2093" fmla="*/ 432895 h 1244590"/>
                  <a:gd name="connsiteX2094" fmla="*/ 1396718 w 1679153"/>
                  <a:gd name="connsiteY2094" fmla="*/ 435925 h 1244590"/>
                  <a:gd name="connsiteX2095" fmla="*/ 1400355 w 1679153"/>
                  <a:gd name="connsiteY2095" fmla="*/ 436077 h 1244590"/>
                  <a:gd name="connsiteX2096" fmla="*/ 1418235 w 1679153"/>
                  <a:gd name="connsiteY2096" fmla="*/ 427137 h 1244590"/>
                  <a:gd name="connsiteX2097" fmla="*/ 1418689 w 1679153"/>
                  <a:gd name="connsiteY2097" fmla="*/ 424561 h 1244590"/>
                  <a:gd name="connsiteX2098" fmla="*/ 1431114 w 1679153"/>
                  <a:gd name="connsiteY2098" fmla="*/ 422591 h 1244590"/>
                  <a:gd name="connsiteX2099" fmla="*/ 1442629 w 1679153"/>
                  <a:gd name="connsiteY2099" fmla="*/ 422137 h 1244590"/>
                  <a:gd name="connsiteX2100" fmla="*/ 1448084 w 1679153"/>
                  <a:gd name="connsiteY2100" fmla="*/ 422894 h 1244590"/>
                  <a:gd name="connsiteX2101" fmla="*/ 1457781 w 1679153"/>
                  <a:gd name="connsiteY2101" fmla="*/ 425925 h 1244590"/>
                  <a:gd name="connsiteX2102" fmla="*/ 1467479 w 1679153"/>
                  <a:gd name="connsiteY2102" fmla="*/ 427288 h 1244590"/>
                  <a:gd name="connsiteX2103" fmla="*/ 1472328 w 1679153"/>
                  <a:gd name="connsiteY2103" fmla="*/ 428652 h 1244590"/>
                  <a:gd name="connsiteX2104" fmla="*/ 1475509 w 1679153"/>
                  <a:gd name="connsiteY2104" fmla="*/ 430319 h 1244590"/>
                  <a:gd name="connsiteX2105" fmla="*/ 1478994 w 1679153"/>
                  <a:gd name="connsiteY2105" fmla="*/ 431228 h 1244590"/>
                  <a:gd name="connsiteX2106" fmla="*/ 1482631 w 1679153"/>
                  <a:gd name="connsiteY2106" fmla="*/ 431531 h 1244590"/>
                  <a:gd name="connsiteX2107" fmla="*/ 1485206 w 1679153"/>
                  <a:gd name="connsiteY2107" fmla="*/ 430622 h 1244590"/>
                  <a:gd name="connsiteX2108" fmla="*/ 1488389 w 1679153"/>
                  <a:gd name="connsiteY2108" fmla="*/ 425925 h 1244590"/>
                  <a:gd name="connsiteX2109" fmla="*/ 1490055 w 1679153"/>
                  <a:gd name="connsiteY2109" fmla="*/ 422440 h 1244590"/>
                  <a:gd name="connsiteX2110" fmla="*/ 1490964 w 1679153"/>
                  <a:gd name="connsiteY2110" fmla="*/ 417136 h 1244590"/>
                  <a:gd name="connsiteX2111" fmla="*/ 1491268 w 1679153"/>
                  <a:gd name="connsiteY2111" fmla="*/ 410166 h 1244590"/>
                  <a:gd name="connsiteX2112" fmla="*/ 1490055 w 1679153"/>
                  <a:gd name="connsiteY2112" fmla="*/ 405318 h 1244590"/>
                  <a:gd name="connsiteX2113" fmla="*/ 1487176 w 1679153"/>
                  <a:gd name="connsiteY2113" fmla="*/ 402742 h 1244590"/>
                  <a:gd name="connsiteX2114" fmla="*/ 1483237 w 1679153"/>
                  <a:gd name="connsiteY2114" fmla="*/ 401378 h 1244590"/>
                  <a:gd name="connsiteX2115" fmla="*/ 1474600 w 1679153"/>
                  <a:gd name="connsiteY2115" fmla="*/ 401530 h 1244590"/>
                  <a:gd name="connsiteX2116" fmla="*/ 1468388 w 1679153"/>
                  <a:gd name="connsiteY2116" fmla="*/ 404257 h 1244590"/>
                  <a:gd name="connsiteX2117" fmla="*/ 1463691 w 1679153"/>
                  <a:gd name="connsiteY2117" fmla="*/ 404863 h 1244590"/>
                  <a:gd name="connsiteX2118" fmla="*/ 1460206 w 1679153"/>
                  <a:gd name="connsiteY2118" fmla="*/ 403500 h 1244590"/>
                  <a:gd name="connsiteX2119" fmla="*/ 1455811 w 1679153"/>
                  <a:gd name="connsiteY2119" fmla="*/ 400621 h 1244590"/>
                  <a:gd name="connsiteX2120" fmla="*/ 1449751 w 1679153"/>
                  <a:gd name="connsiteY2120" fmla="*/ 398348 h 1244590"/>
                  <a:gd name="connsiteX2121" fmla="*/ 1438235 w 1679153"/>
                  <a:gd name="connsiteY2121" fmla="*/ 396227 h 1244590"/>
                  <a:gd name="connsiteX2122" fmla="*/ 1431871 w 1679153"/>
                  <a:gd name="connsiteY2122" fmla="*/ 391681 h 1244590"/>
                  <a:gd name="connsiteX2123" fmla="*/ 1425962 w 1679153"/>
                  <a:gd name="connsiteY2123" fmla="*/ 381681 h 1244590"/>
                  <a:gd name="connsiteX2124" fmla="*/ 1432629 w 1679153"/>
                  <a:gd name="connsiteY2124" fmla="*/ 379105 h 1244590"/>
                  <a:gd name="connsiteX2125" fmla="*/ 1440205 w 1679153"/>
                  <a:gd name="connsiteY2125" fmla="*/ 377438 h 1244590"/>
                  <a:gd name="connsiteX2126" fmla="*/ 1445963 w 1679153"/>
                  <a:gd name="connsiteY2126" fmla="*/ 378802 h 1244590"/>
                  <a:gd name="connsiteX2127" fmla="*/ 1457630 w 1679153"/>
                  <a:gd name="connsiteY2127" fmla="*/ 384408 h 1244590"/>
                  <a:gd name="connsiteX2128" fmla="*/ 1459145 w 1679153"/>
                  <a:gd name="connsiteY2128" fmla="*/ 384711 h 1244590"/>
                  <a:gd name="connsiteX2129" fmla="*/ 1463842 w 1679153"/>
                  <a:gd name="connsiteY2129" fmla="*/ 383499 h 1244590"/>
                  <a:gd name="connsiteX2130" fmla="*/ 1463842 w 1679153"/>
                  <a:gd name="connsiteY2130" fmla="*/ 381378 h 1244590"/>
                  <a:gd name="connsiteX2131" fmla="*/ 1461115 w 1679153"/>
                  <a:gd name="connsiteY2131" fmla="*/ 378044 h 1244590"/>
                  <a:gd name="connsiteX2132" fmla="*/ 1458539 w 1679153"/>
                  <a:gd name="connsiteY2132" fmla="*/ 375620 h 1244590"/>
                  <a:gd name="connsiteX2133" fmla="*/ 1452175 w 1679153"/>
                  <a:gd name="connsiteY2133" fmla="*/ 372741 h 1244590"/>
                  <a:gd name="connsiteX2134" fmla="*/ 1444751 w 1679153"/>
                  <a:gd name="connsiteY2134" fmla="*/ 370620 h 1244590"/>
                  <a:gd name="connsiteX2135" fmla="*/ 1435962 w 1679153"/>
                  <a:gd name="connsiteY2135" fmla="*/ 367135 h 1244590"/>
                  <a:gd name="connsiteX2136" fmla="*/ 1428992 w 1679153"/>
                  <a:gd name="connsiteY2136" fmla="*/ 365316 h 1244590"/>
                  <a:gd name="connsiteX2137" fmla="*/ 1420962 w 1679153"/>
                  <a:gd name="connsiteY2137" fmla="*/ 364104 h 1244590"/>
                  <a:gd name="connsiteX2138" fmla="*/ 1413537 w 1679153"/>
                  <a:gd name="connsiteY2138" fmla="*/ 367892 h 1244590"/>
                  <a:gd name="connsiteX2139" fmla="*/ 1406719 w 1679153"/>
                  <a:gd name="connsiteY2139" fmla="*/ 376680 h 1244590"/>
                  <a:gd name="connsiteX2140" fmla="*/ 1401264 w 1679153"/>
                  <a:gd name="connsiteY2140" fmla="*/ 379408 h 1244590"/>
                  <a:gd name="connsiteX2141" fmla="*/ 1397173 w 1679153"/>
                  <a:gd name="connsiteY2141" fmla="*/ 376074 h 1244590"/>
                  <a:gd name="connsiteX2142" fmla="*/ 1396718 w 1679153"/>
                  <a:gd name="connsiteY2142" fmla="*/ 371226 h 1244590"/>
                  <a:gd name="connsiteX2143" fmla="*/ 1399901 w 1679153"/>
                  <a:gd name="connsiteY2143" fmla="*/ 364862 h 1244590"/>
                  <a:gd name="connsiteX2144" fmla="*/ 1403082 w 1679153"/>
                  <a:gd name="connsiteY2144" fmla="*/ 359256 h 1244590"/>
                  <a:gd name="connsiteX2145" fmla="*/ 1406264 w 1679153"/>
                  <a:gd name="connsiteY2145" fmla="*/ 354407 h 1244590"/>
                  <a:gd name="connsiteX2146" fmla="*/ 1408537 w 1679153"/>
                  <a:gd name="connsiteY2146" fmla="*/ 348498 h 1244590"/>
                  <a:gd name="connsiteX2147" fmla="*/ 1409901 w 1679153"/>
                  <a:gd name="connsiteY2147" fmla="*/ 341376 h 1244590"/>
                  <a:gd name="connsiteX2148" fmla="*/ 1411719 w 1679153"/>
                  <a:gd name="connsiteY2148" fmla="*/ 336224 h 1244590"/>
                  <a:gd name="connsiteX2149" fmla="*/ 1418235 w 1679153"/>
                  <a:gd name="connsiteY2149" fmla="*/ 325769 h 1244590"/>
                  <a:gd name="connsiteX2150" fmla="*/ 1418386 w 1679153"/>
                  <a:gd name="connsiteY2150" fmla="*/ 323345 h 1244590"/>
                  <a:gd name="connsiteX2151" fmla="*/ 1413083 w 1679153"/>
                  <a:gd name="connsiteY2151" fmla="*/ 320466 h 1244590"/>
                  <a:gd name="connsiteX2152" fmla="*/ 1413234 w 1679153"/>
                  <a:gd name="connsiteY2152" fmla="*/ 319557 h 1244590"/>
                  <a:gd name="connsiteX2153" fmla="*/ 1427477 w 1679153"/>
                  <a:gd name="connsiteY2153" fmla="*/ 310769 h 1244590"/>
                  <a:gd name="connsiteX2154" fmla="*/ 1433538 w 1679153"/>
                  <a:gd name="connsiteY2154" fmla="*/ 309254 h 1244590"/>
                  <a:gd name="connsiteX2155" fmla="*/ 1438841 w 1679153"/>
                  <a:gd name="connsiteY2155" fmla="*/ 309102 h 1244590"/>
                  <a:gd name="connsiteX2156" fmla="*/ 1442933 w 1679153"/>
                  <a:gd name="connsiteY2156" fmla="*/ 308345 h 1244590"/>
                  <a:gd name="connsiteX2157" fmla="*/ 1445054 w 1679153"/>
                  <a:gd name="connsiteY2157" fmla="*/ 306829 h 1244590"/>
                  <a:gd name="connsiteX2158" fmla="*/ 1447326 w 1679153"/>
                  <a:gd name="connsiteY2158" fmla="*/ 304254 h 1244590"/>
                  <a:gd name="connsiteX2159" fmla="*/ 1448842 w 1679153"/>
                  <a:gd name="connsiteY2159" fmla="*/ 301375 h 1244590"/>
                  <a:gd name="connsiteX2160" fmla="*/ 1449599 w 1679153"/>
                  <a:gd name="connsiteY2160" fmla="*/ 298193 h 1244590"/>
                  <a:gd name="connsiteX2161" fmla="*/ 1450660 w 1679153"/>
                  <a:gd name="connsiteY2161" fmla="*/ 296071 h 1244590"/>
                  <a:gd name="connsiteX2162" fmla="*/ 1451872 w 1679153"/>
                  <a:gd name="connsiteY2162" fmla="*/ 295011 h 1244590"/>
                  <a:gd name="connsiteX2163" fmla="*/ 1464448 w 1679153"/>
                  <a:gd name="connsiteY2163" fmla="*/ 291526 h 1244590"/>
                  <a:gd name="connsiteX2164" fmla="*/ 1469600 w 1679153"/>
                  <a:gd name="connsiteY2164" fmla="*/ 289708 h 1244590"/>
                  <a:gd name="connsiteX2165" fmla="*/ 1471873 w 1679153"/>
                  <a:gd name="connsiteY2165" fmla="*/ 288041 h 1244590"/>
                  <a:gd name="connsiteX2166" fmla="*/ 1472479 w 1679153"/>
                  <a:gd name="connsiteY2166" fmla="*/ 286071 h 1244590"/>
                  <a:gd name="connsiteX2167" fmla="*/ 1471418 w 1679153"/>
                  <a:gd name="connsiteY2167" fmla="*/ 283647 h 1244590"/>
                  <a:gd name="connsiteX2168" fmla="*/ 1469752 w 1679153"/>
                  <a:gd name="connsiteY2168" fmla="*/ 281374 h 1244590"/>
                  <a:gd name="connsiteX2169" fmla="*/ 1467479 w 1679153"/>
                  <a:gd name="connsiteY2169" fmla="*/ 279101 h 1244590"/>
                  <a:gd name="connsiteX2170" fmla="*/ 1465509 w 1679153"/>
                  <a:gd name="connsiteY2170" fmla="*/ 278040 h 1244590"/>
                  <a:gd name="connsiteX2171" fmla="*/ 1463842 w 1679153"/>
                  <a:gd name="connsiteY2171" fmla="*/ 278192 h 1244590"/>
                  <a:gd name="connsiteX2172" fmla="*/ 1460357 w 1679153"/>
                  <a:gd name="connsiteY2172" fmla="*/ 277586 h 1244590"/>
                  <a:gd name="connsiteX2173" fmla="*/ 1459903 w 1679153"/>
                  <a:gd name="connsiteY2173" fmla="*/ 274555 h 1244590"/>
                  <a:gd name="connsiteX2174" fmla="*/ 1460812 w 1679153"/>
                  <a:gd name="connsiteY2174" fmla="*/ 268949 h 1244590"/>
                  <a:gd name="connsiteX2175" fmla="*/ 1462024 w 1679153"/>
                  <a:gd name="connsiteY2175" fmla="*/ 264101 h 1244590"/>
                  <a:gd name="connsiteX2176" fmla="*/ 1463691 w 1679153"/>
                  <a:gd name="connsiteY2176" fmla="*/ 259858 h 1244590"/>
                  <a:gd name="connsiteX2177" fmla="*/ 1463994 w 1679153"/>
                  <a:gd name="connsiteY2177" fmla="*/ 256828 h 1244590"/>
                  <a:gd name="connsiteX2178" fmla="*/ 1462024 w 1679153"/>
                  <a:gd name="connsiteY2178" fmla="*/ 253646 h 1244590"/>
                  <a:gd name="connsiteX2179" fmla="*/ 1460964 w 1679153"/>
                  <a:gd name="connsiteY2179" fmla="*/ 252585 h 1244590"/>
                  <a:gd name="connsiteX2180" fmla="*/ 1457478 w 1679153"/>
                  <a:gd name="connsiteY2180" fmla="*/ 252282 h 1244590"/>
                  <a:gd name="connsiteX2181" fmla="*/ 1448690 w 1679153"/>
                  <a:gd name="connsiteY2181" fmla="*/ 252888 h 1244590"/>
                  <a:gd name="connsiteX2182" fmla="*/ 1444751 w 1679153"/>
                  <a:gd name="connsiteY2182" fmla="*/ 252282 h 1244590"/>
                  <a:gd name="connsiteX2183" fmla="*/ 1442478 w 1679153"/>
                  <a:gd name="connsiteY2183" fmla="*/ 251221 h 1244590"/>
                  <a:gd name="connsiteX2184" fmla="*/ 1440508 w 1679153"/>
                  <a:gd name="connsiteY2184" fmla="*/ 249403 h 1244590"/>
                  <a:gd name="connsiteX2185" fmla="*/ 1439296 w 1679153"/>
                  <a:gd name="connsiteY2185" fmla="*/ 246070 h 1244590"/>
                  <a:gd name="connsiteX2186" fmla="*/ 1438841 w 1679153"/>
                  <a:gd name="connsiteY2186" fmla="*/ 241069 h 1244590"/>
                  <a:gd name="connsiteX2187" fmla="*/ 1440205 w 1679153"/>
                  <a:gd name="connsiteY2187" fmla="*/ 236524 h 1244590"/>
                  <a:gd name="connsiteX2188" fmla="*/ 1443235 w 1679153"/>
                  <a:gd name="connsiteY2188" fmla="*/ 232281 h 1244590"/>
                  <a:gd name="connsiteX2189" fmla="*/ 1447932 w 1679153"/>
                  <a:gd name="connsiteY2189" fmla="*/ 228190 h 1244590"/>
                  <a:gd name="connsiteX2190" fmla="*/ 1457630 w 1679153"/>
                  <a:gd name="connsiteY2190" fmla="*/ 222129 h 1244590"/>
                  <a:gd name="connsiteX2191" fmla="*/ 1459903 w 1679153"/>
                  <a:gd name="connsiteY2191" fmla="*/ 221069 h 1244590"/>
                  <a:gd name="connsiteX2192" fmla="*/ 1465964 w 1679153"/>
                  <a:gd name="connsiteY2192" fmla="*/ 220766 h 1244590"/>
                  <a:gd name="connsiteX2193" fmla="*/ 1470812 w 1679153"/>
                  <a:gd name="connsiteY2193" fmla="*/ 221675 h 1244590"/>
                  <a:gd name="connsiteX2194" fmla="*/ 1480055 w 1679153"/>
                  <a:gd name="connsiteY2194" fmla="*/ 224251 h 1244590"/>
                  <a:gd name="connsiteX2195" fmla="*/ 1497025 w 1679153"/>
                  <a:gd name="connsiteY2195" fmla="*/ 226523 h 1244590"/>
                  <a:gd name="connsiteX2196" fmla="*/ 1506571 w 1679153"/>
                  <a:gd name="connsiteY2196" fmla="*/ 226220 h 1244590"/>
                  <a:gd name="connsiteX2197" fmla="*/ 1516571 w 1679153"/>
                  <a:gd name="connsiteY2197" fmla="*/ 224705 h 1244590"/>
                  <a:gd name="connsiteX2198" fmla="*/ 1521117 w 1679153"/>
                  <a:gd name="connsiteY2198" fmla="*/ 224554 h 1244590"/>
                  <a:gd name="connsiteX2199" fmla="*/ 1526117 w 1679153"/>
                  <a:gd name="connsiteY2199" fmla="*/ 225463 h 1244590"/>
                  <a:gd name="connsiteX2200" fmla="*/ 1530057 w 1679153"/>
                  <a:gd name="connsiteY2200" fmla="*/ 225008 h 1244590"/>
                  <a:gd name="connsiteX2201" fmla="*/ 1540512 w 1679153"/>
                  <a:gd name="connsiteY2201" fmla="*/ 221675 h 1244590"/>
                  <a:gd name="connsiteX2202" fmla="*/ 1549300 w 1679153"/>
                  <a:gd name="connsiteY2202" fmla="*/ 216826 h 1244590"/>
                  <a:gd name="connsiteX2203" fmla="*/ 1555664 w 1679153"/>
                  <a:gd name="connsiteY2203" fmla="*/ 212735 h 1244590"/>
                  <a:gd name="connsiteX2204" fmla="*/ 1555512 w 1679153"/>
                  <a:gd name="connsiteY2204" fmla="*/ 210614 h 1244590"/>
                  <a:gd name="connsiteX2205" fmla="*/ 1542027 w 1679153"/>
                  <a:gd name="connsiteY2205" fmla="*/ 206977 h 1244590"/>
                  <a:gd name="connsiteX2206" fmla="*/ 1537633 w 1679153"/>
                  <a:gd name="connsiteY2206" fmla="*/ 205311 h 1244590"/>
                  <a:gd name="connsiteX2207" fmla="*/ 1532936 w 1679153"/>
                  <a:gd name="connsiteY2207" fmla="*/ 201371 h 1244590"/>
                  <a:gd name="connsiteX2208" fmla="*/ 1545057 w 1679153"/>
                  <a:gd name="connsiteY2208" fmla="*/ 196522 h 1244590"/>
                  <a:gd name="connsiteX2209" fmla="*/ 1553845 w 1679153"/>
                  <a:gd name="connsiteY2209" fmla="*/ 196977 h 1244590"/>
                  <a:gd name="connsiteX2210" fmla="*/ 1566270 w 1679153"/>
                  <a:gd name="connsiteY2210" fmla="*/ 196371 h 1244590"/>
                  <a:gd name="connsiteX2211" fmla="*/ 1575816 w 1679153"/>
                  <a:gd name="connsiteY2211" fmla="*/ 191825 h 1244590"/>
                  <a:gd name="connsiteX2212" fmla="*/ 1594756 w 1679153"/>
                  <a:gd name="connsiteY2212" fmla="*/ 189098 h 1244590"/>
                  <a:gd name="connsiteX2213" fmla="*/ 1596726 w 1679153"/>
                  <a:gd name="connsiteY2213" fmla="*/ 188340 h 1244590"/>
                  <a:gd name="connsiteX2214" fmla="*/ 1601878 w 1679153"/>
                  <a:gd name="connsiteY2214" fmla="*/ 184704 h 1244590"/>
                  <a:gd name="connsiteX2215" fmla="*/ 1602181 w 1679153"/>
                  <a:gd name="connsiteY2215" fmla="*/ 182279 h 1244590"/>
                  <a:gd name="connsiteX2216" fmla="*/ 1600059 w 1679153"/>
                  <a:gd name="connsiteY2216" fmla="*/ 179552 h 1244590"/>
                  <a:gd name="connsiteX2217" fmla="*/ 1595059 w 1679153"/>
                  <a:gd name="connsiteY2217" fmla="*/ 175612 h 1244590"/>
                  <a:gd name="connsiteX2218" fmla="*/ 1596120 w 1679153"/>
                  <a:gd name="connsiteY2218" fmla="*/ 174400 h 1244590"/>
                  <a:gd name="connsiteX2219" fmla="*/ 1603090 w 1679153"/>
                  <a:gd name="connsiteY2219" fmla="*/ 173037 h 1244590"/>
                  <a:gd name="connsiteX2220" fmla="*/ 1613848 w 1679153"/>
                  <a:gd name="connsiteY2220" fmla="*/ 172734 h 1244590"/>
                  <a:gd name="connsiteX2221" fmla="*/ 1623545 w 1679153"/>
                  <a:gd name="connsiteY2221" fmla="*/ 171521 h 1244590"/>
                  <a:gd name="connsiteX2222" fmla="*/ 1632485 w 1679153"/>
                  <a:gd name="connsiteY2222" fmla="*/ 168339 h 1244590"/>
                  <a:gd name="connsiteX2223" fmla="*/ 1650667 w 1679153"/>
                  <a:gd name="connsiteY2223" fmla="*/ 158945 h 1244590"/>
                  <a:gd name="connsiteX2224" fmla="*/ 1657031 w 1679153"/>
                  <a:gd name="connsiteY2224" fmla="*/ 153945 h 1244590"/>
                  <a:gd name="connsiteX2225" fmla="*/ 1676274 w 1679153"/>
                  <a:gd name="connsiteY2225" fmla="*/ 146521 h 1244590"/>
                  <a:gd name="connsiteX2226" fmla="*/ 1679002 w 1679153"/>
                  <a:gd name="connsiteY2226" fmla="*/ 144399 h 1244590"/>
                  <a:gd name="connsiteX2227" fmla="*/ 1679153 w 1679153"/>
                  <a:gd name="connsiteY2227" fmla="*/ 142884 h 1244590"/>
                  <a:gd name="connsiteX2228" fmla="*/ 1675668 w 1679153"/>
                  <a:gd name="connsiteY2228" fmla="*/ 141975 h 1244590"/>
                  <a:gd name="connsiteX2229" fmla="*/ 1498389 w 1679153"/>
                  <a:gd name="connsiteY2229" fmla="*/ 256373 h 1244590"/>
                  <a:gd name="connsiteX2230" fmla="*/ 1509904 w 1679153"/>
                  <a:gd name="connsiteY2230" fmla="*/ 249252 h 1244590"/>
                  <a:gd name="connsiteX2231" fmla="*/ 1515662 w 1679153"/>
                  <a:gd name="connsiteY2231" fmla="*/ 242130 h 1244590"/>
                  <a:gd name="connsiteX2232" fmla="*/ 1513692 w 1679153"/>
                  <a:gd name="connsiteY2232" fmla="*/ 236675 h 1244590"/>
                  <a:gd name="connsiteX2233" fmla="*/ 1499753 w 1679153"/>
                  <a:gd name="connsiteY2233" fmla="*/ 235009 h 1244590"/>
                  <a:gd name="connsiteX2234" fmla="*/ 1484297 w 1679153"/>
                  <a:gd name="connsiteY2234" fmla="*/ 237736 h 1244590"/>
                  <a:gd name="connsiteX2235" fmla="*/ 1472024 w 1679153"/>
                  <a:gd name="connsiteY2235" fmla="*/ 242130 h 1244590"/>
                  <a:gd name="connsiteX2236" fmla="*/ 1468236 w 1679153"/>
                  <a:gd name="connsiteY2236" fmla="*/ 247585 h 1244590"/>
                  <a:gd name="connsiteX2237" fmla="*/ 1471115 w 1679153"/>
                  <a:gd name="connsiteY2237" fmla="*/ 252585 h 1244590"/>
                  <a:gd name="connsiteX2238" fmla="*/ 1481267 w 1679153"/>
                  <a:gd name="connsiteY2238" fmla="*/ 255918 h 1244590"/>
                  <a:gd name="connsiteX2239" fmla="*/ 1498389 w 1679153"/>
                  <a:gd name="connsiteY2239" fmla="*/ 256373 h 124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Lst>
                <a:rect l="l" t="t" r="r" b="b"/>
                <a:pathLst>
                  <a:path w="1679153" h="1244590">
                    <a:moveTo>
                      <a:pt x="711693" y="1205196"/>
                    </a:moveTo>
                    <a:lnTo>
                      <a:pt x="711693" y="1206105"/>
                    </a:lnTo>
                    <a:lnTo>
                      <a:pt x="715027" y="1205802"/>
                    </a:lnTo>
                    <a:lnTo>
                      <a:pt x="718057" y="1206862"/>
                    </a:lnTo>
                    <a:lnTo>
                      <a:pt x="719572" y="1209135"/>
                    </a:lnTo>
                    <a:lnTo>
                      <a:pt x="722754" y="1210196"/>
                    </a:lnTo>
                    <a:lnTo>
                      <a:pt x="725936" y="1205196"/>
                    </a:lnTo>
                    <a:lnTo>
                      <a:pt x="726239" y="1202771"/>
                    </a:lnTo>
                    <a:lnTo>
                      <a:pt x="727148" y="1200801"/>
                    </a:lnTo>
                    <a:lnTo>
                      <a:pt x="727451" y="1198529"/>
                    </a:lnTo>
                    <a:lnTo>
                      <a:pt x="722300" y="1200044"/>
                    </a:lnTo>
                    <a:lnTo>
                      <a:pt x="711693" y="1205196"/>
                    </a:lnTo>
                    <a:close/>
                    <a:moveTo>
                      <a:pt x="973370" y="992915"/>
                    </a:moveTo>
                    <a:lnTo>
                      <a:pt x="972915" y="996703"/>
                    </a:lnTo>
                    <a:lnTo>
                      <a:pt x="974279" y="1000188"/>
                    </a:lnTo>
                    <a:lnTo>
                      <a:pt x="978521" y="1000188"/>
                    </a:lnTo>
                    <a:lnTo>
                      <a:pt x="979733" y="998218"/>
                    </a:lnTo>
                    <a:lnTo>
                      <a:pt x="980642" y="994279"/>
                    </a:lnTo>
                    <a:lnTo>
                      <a:pt x="978067" y="991551"/>
                    </a:lnTo>
                    <a:lnTo>
                      <a:pt x="973370" y="992915"/>
                    </a:lnTo>
                    <a:close/>
                    <a:moveTo>
                      <a:pt x="521080" y="826545"/>
                    </a:moveTo>
                    <a:lnTo>
                      <a:pt x="525929" y="826697"/>
                    </a:lnTo>
                    <a:lnTo>
                      <a:pt x="541687" y="822606"/>
                    </a:lnTo>
                    <a:lnTo>
                      <a:pt x="548051" y="821545"/>
                    </a:lnTo>
                    <a:lnTo>
                      <a:pt x="566082" y="815484"/>
                    </a:lnTo>
                    <a:lnTo>
                      <a:pt x="569415" y="812454"/>
                    </a:lnTo>
                    <a:lnTo>
                      <a:pt x="571839" y="809727"/>
                    </a:lnTo>
                    <a:lnTo>
                      <a:pt x="571688" y="808211"/>
                    </a:lnTo>
                    <a:lnTo>
                      <a:pt x="569718" y="806848"/>
                    </a:lnTo>
                    <a:lnTo>
                      <a:pt x="568961" y="805787"/>
                    </a:lnTo>
                    <a:lnTo>
                      <a:pt x="569567" y="804878"/>
                    </a:lnTo>
                    <a:lnTo>
                      <a:pt x="569718" y="803969"/>
                    </a:lnTo>
                    <a:lnTo>
                      <a:pt x="569567" y="802908"/>
                    </a:lnTo>
                    <a:lnTo>
                      <a:pt x="568809" y="800938"/>
                    </a:lnTo>
                    <a:lnTo>
                      <a:pt x="567900" y="799726"/>
                    </a:lnTo>
                    <a:lnTo>
                      <a:pt x="558202" y="796999"/>
                    </a:lnTo>
                    <a:lnTo>
                      <a:pt x="549111" y="793059"/>
                    </a:lnTo>
                    <a:lnTo>
                      <a:pt x="538960" y="783362"/>
                    </a:lnTo>
                    <a:lnTo>
                      <a:pt x="533656" y="780180"/>
                    </a:lnTo>
                    <a:lnTo>
                      <a:pt x="531535" y="779422"/>
                    </a:lnTo>
                    <a:lnTo>
                      <a:pt x="514262" y="775786"/>
                    </a:lnTo>
                    <a:lnTo>
                      <a:pt x="504261" y="774725"/>
                    </a:lnTo>
                    <a:lnTo>
                      <a:pt x="495170" y="777756"/>
                    </a:lnTo>
                    <a:lnTo>
                      <a:pt x="493048" y="779574"/>
                    </a:lnTo>
                    <a:lnTo>
                      <a:pt x="492291" y="780938"/>
                    </a:lnTo>
                    <a:lnTo>
                      <a:pt x="491837" y="782301"/>
                    </a:lnTo>
                    <a:lnTo>
                      <a:pt x="491837" y="783665"/>
                    </a:lnTo>
                    <a:lnTo>
                      <a:pt x="492443" y="786089"/>
                    </a:lnTo>
                    <a:lnTo>
                      <a:pt x="493352" y="787756"/>
                    </a:lnTo>
                    <a:lnTo>
                      <a:pt x="496685" y="789726"/>
                    </a:lnTo>
                    <a:lnTo>
                      <a:pt x="505776" y="793059"/>
                    </a:lnTo>
                    <a:lnTo>
                      <a:pt x="504716" y="793968"/>
                    </a:lnTo>
                    <a:lnTo>
                      <a:pt x="496534" y="791847"/>
                    </a:lnTo>
                    <a:lnTo>
                      <a:pt x="493200" y="792605"/>
                    </a:lnTo>
                    <a:lnTo>
                      <a:pt x="491685" y="794878"/>
                    </a:lnTo>
                    <a:lnTo>
                      <a:pt x="489564" y="804120"/>
                    </a:lnTo>
                    <a:lnTo>
                      <a:pt x="491079" y="806545"/>
                    </a:lnTo>
                    <a:lnTo>
                      <a:pt x="492746" y="808211"/>
                    </a:lnTo>
                    <a:lnTo>
                      <a:pt x="494715" y="809120"/>
                    </a:lnTo>
                    <a:lnTo>
                      <a:pt x="501231" y="810787"/>
                    </a:lnTo>
                    <a:lnTo>
                      <a:pt x="511231" y="811393"/>
                    </a:lnTo>
                    <a:lnTo>
                      <a:pt x="515019" y="811999"/>
                    </a:lnTo>
                    <a:lnTo>
                      <a:pt x="516989" y="812908"/>
                    </a:lnTo>
                    <a:lnTo>
                      <a:pt x="519565" y="812605"/>
                    </a:lnTo>
                    <a:lnTo>
                      <a:pt x="520777" y="814272"/>
                    </a:lnTo>
                    <a:lnTo>
                      <a:pt x="522444" y="815030"/>
                    </a:lnTo>
                    <a:lnTo>
                      <a:pt x="524262" y="816242"/>
                    </a:lnTo>
                    <a:lnTo>
                      <a:pt x="517898" y="817606"/>
                    </a:lnTo>
                    <a:lnTo>
                      <a:pt x="513655" y="817606"/>
                    </a:lnTo>
                    <a:lnTo>
                      <a:pt x="510625" y="818060"/>
                    </a:lnTo>
                    <a:lnTo>
                      <a:pt x="510019" y="819272"/>
                    </a:lnTo>
                    <a:lnTo>
                      <a:pt x="511686" y="821091"/>
                    </a:lnTo>
                    <a:lnTo>
                      <a:pt x="513655" y="822454"/>
                    </a:lnTo>
                    <a:lnTo>
                      <a:pt x="517746" y="824121"/>
                    </a:lnTo>
                    <a:lnTo>
                      <a:pt x="520777" y="825939"/>
                    </a:lnTo>
                    <a:lnTo>
                      <a:pt x="521080" y="826545"/>
                    </a:lnTo>
                    <a:close/>
                    <a:moveTo>
                      <a:pt x="29243" y="393651"/>
                    </a:moveTo>
                    <a:lnTo>
                      <a:pt x="22425" y="391984"/>
                    </a:lnTo>
                    <a:lnTo>
                      <a:pt x="19546" y="391529"/>
                    </a:lnTo>
                    <a:lnTo>
                      <a:pt x="15304" y="391681"/>
                    </a:lnTo>
                    <a:lnTo>
                      <a:pt x="10000" y="392742"/>
                    </a:lnTo>
                    <a:lnTo>
                      <a:pt x="8485" y="393651"/>
                    </a:lnTo>
                    <a:lnTo>
                      <a:pt x="8334" y="396378"/>
                    </a:lnTo>
                    <a:lnTo>
                      <a:pt x="11667" y="398196"/>
                    </a:lnTo>
                    <a:lnTo>
                      <a:pt x="21213" y="400469"/>
                    </a:lnTo>
                    <a:lnTo>
                      <a:pt x="30910" y="400015"/>
                    </a:lnTo>
                    <a:lnTo>
                      <a:pt x="36365" y="398348"/>
                    </a:lnTo>
                    <a:lnTo>
                      <a:pt x="37274" y="395924"/>
                    </a:lnTo>
                    <a:lnTo>
                      <a:pt x="34092" y="395469"/>
                    </a:lnTo>
                    <a:lnTo>
                      <a:pt x="29243" y="393651"/>
                    </a:lnTo>
                    <a:close/>
                    <a:moveTo>
                      <a:pt x="471533" y="661236"/>
                    </a:moveTo>
                    <a:lnTo>
                      <a:pt x="472745" y="661085"/>
                    </a:lnTo>
                    <a:lnTo>
                      <a:pt x="479563" y="655024"/>
                    </a:lnTo>
                    <a:lnTo>
                      <a:pt x="482745" y="653054"/>
                    </a:lnTo>
                    <a:lnTo>
                      <a:pt x="486685" y="649569"/>
                    </a:lnTo>
                    <a:lnTo>
                      <a:pt x="486230" y="648054"/>
                    </a:lnTo>
                    <a:lnTo>
                      <a:pt x="481533" y="646993"/>
                    </a:lnTo>
                    <a:lnTo>
                      <a:pt x="480775" y="647902"/>
                    </a:lnTo>
                    <a:lnTo>
                      <a:pt x="475472" y="649721"/>
                    </a:lnTo>
                    <a:lnTo>
                      <a:pt x="473048" y="650175"/>
                    </a:lnTo>
                    <a:lnTo>
                      <a:pt x="471533" y="650175"/>
                    </a:lnTo>
                    <a:lnTo>
                      <a:pt x="468957" y="649418"/>
                    </a:lnTo>
                    <a:lnTo>
                      <a:pt x="460017" y="650024"/>
                    </a:lnTo>
                    <a:lnTo>
                      <a:pt x="457744" y="651539"/>
                    </a:lnTo>
                    <a:lnTo>
                      <a:pt x="453956" y="653357"/>
                    </a:lnTo>
                    <a:lnTo>
                      <a:pt x="455926" y="655933"/>
                    </a:lnTo>
                    <a:lnTo>
                      <a:pt x="458653" y="656539"/>
                    </a:lnTo>
                    <a:lnTo>
                      <a:pt x="461532" y="655933"/>
                    </a:lnTo>
                    <a:lnTo>
                      <a:pt x="463351" y="656236"/>
                    </a:lnTo>
                    <a:lnTo>
                      <a:pt x="464563" y="656691"/>
                    </a:lnTo>
                    <a:lnTo>
                      <a:pt x="464866" y="657448"/>
                    </a:lnTo>
                    <a:lnTo>
                      <a:pt x="465775" y="658509"/>
                    </a:lnTo>
                    <a:lnTo>
                      <a:pt x="468351" y="658963"/>
                    </a:lnTo>
                    <a:lnTo>
                      <a:pt x="469714" y="660479"/>
                    </a:lnTo>
                    <a:lnTo>
                      <a:pt x="471533" y="661236"/>
                    </a:lnTo>
                    <a:close/>
                    <a:moveTo>
                      <a:pt x="1461873" y="114550"/>
                    </a:moveTo>
                    <a:lnTo>
                      <a:pt x="1471115" y="120459"/>
                    </a:lnTo>
                    <a:lnTo>
                      <a:pt x="1478388" y="121368"/>
                    </a:lnTo>
                    <a:lnTo>
                      <a:pt x="1481267" y="119247"/>
                    </a:lnTo>
                    <a:lnTo>
                      <a:pt x="1477176" y="112428"/>
                    </a:lnTo>
                    <a:lnTo>
                      <a:pt x="1470206" y="105761"/>
                    </a:lnTo>
                    <a:lnTo>
                      <a:pt x="1463387" y="100761"/>
                    </a:lnTo>
                    <a:lnTo>
                      <a:pt x="1458387" y="101216"/>
                    </a:lnTo>
                    <a:lnTo>
                      <a:pt x="1455206" y="103792"/>
                    </a:lnTo>
                    <a:lnTo>
                      <a:pt x="1455660" y="109549"/>
                    </a:lnTo>
                    <a:lnTo>
                      <a:pt x="1461873" y="114550"/>
                    </a:lnTo>
                    <a:close/>
                    <a:moveTo>
                      <a:pt x="712754" y="85761"/>
                    </a:moveTo>
                    <a:lnTo>
                      <a:pt x="728966" y="90458"/>
                    </a:lnTo>
                    <a:lnTo>
                      <a:pt x="747301" y="97579"/>
                    </a:lnTo>
                    <a:lnTo>
                      <a:pt x="758816" y="104701"/>
                    </a:lnTo>
                    <a:lnTo>
                      <a:pt x="764422" y="103489"/>
                    </a:lnTo>
                    <a:lnTo>
                      <a:pt x="766847" y="92882"/>
                    </a:lnTo>
                    <a:lnTo>
                      <a:pt x="767604" y="82276"/>
                    </a:lnTo>
                    <a:lnTo>
                      <a:pt x="763059" y="76973"/>
                    </a:lnTo>
                    <a:lnTo>
                      <a:pt x="749573" y="70457"/>
                    </a:lnTo>
                    <a:lnTo>
                      <a:pt x="722603" y="62730"/>
                    </a:lnTo>
                    <a:lnTo>
                      <a:pt x="711996" y="64548"/>
                    </a:lnTo>
                    <a:lnTo>
                      <a:pt x="698662" y="65154"/>
                    </a:lnTo>
                    <a:lnTo>
                      <a:pt x="696541" y="69093"/>
                    </a:lnTo>
                    <a:lnTo>
                      <a:pt x="697753" y="73488"/>
                    </a:lnTo>
                    <a:lnTo>
                      <a:pt x="712754" y="85761"/>
                    </a:lnTo>
                    <a:close/>
                    <a:moveTo>
                      <a:pt x="1505814" y="523504"/>
                    </a:moveTo>
                    <a:lnTo>
                      <a:pt x="1502480" y="520170"/>
                    </a:lnTo>
                    <a:lnTo>
                      <a:pt x="1501571" y="514867"/>
                    </a:lnTo>
                    <a:lnTo>
                      <a:pt x="1499449" y="508958"/>
                    </a:lnTo>
                    <a:lnTo>
                      <a:pt x="1493237" y="510928"/>
                    </a:lnTo>
                    <a:lnTo>
                      <a:pt x="1487176" y="513352"/>
                    </a:lnTo>
                    <a:lnTo>
                      <a:pt x="1482176" y="509867"/>
                    </a:lnTo>
                    <a:lnTo>
                      <a:pt x="1476116" y="513807"/>
                    </a:lnTo>
                    <a:lnTo>
                      <a:pt x="1475358" y="520625"/>
                    </a:lnTo>
                    <a:lnTo>
                      <a:pt x="1475055" y="527443"/>
                    </a:lnTo>
                    <a:lnTo>
                      <a:pt x="1481116" y="531383"/>
                    </a:lnTo>
                    <a:lnTo>
                      <a:pt x="1489752" y="530928"/>
                    </a:lnTo>
                    <a:lnTo>
                      <a:pt x="1510814" y="531838"/>
                    </a:lnTo>
                    <a:lnTo>
                      <a:pt x="1516117" y="529413"/>
                    </a:lnTo>
                    <a:lnTo>
                      <a:pt x="1513238" y="523049"/>
                    </a:lnTo>
                    <a:lnTo>
                      <a:pt x="1505814" y="523504"/>
                    </a:lnTo>
                    <a:close/>
                    <a:moveTo>
                      <a:pt x="1502026" y="368347"/>
                    </a:moveTo>
                    <a:lnTo>
                      <a:pt x="1494601" y="377135"/>
                    </a:lnTo>
                    <a:lnTo>
                      <a:pt x="1493389" y="379862"/>
                    </a:lnTo>
                    <a:lnTo>
                      <a:pt x="1495359" y="381378"/>
                    </a:lnTo>
                    <a:lnTo>
                      <a:pt x="1500662" y="381378"/>
                    </a:lnTo>
                    <a:lnTo>
                      <a:pt x="1506723" y="377590"/>
                    </a:lnTo>
                    <a:lnTo>
                      <a:pt x="1509147" y="373044"/>
                    </a:lnTo>
                    <a:lnTo>
                      <a:pt x="1508086" y="368498"/>
                    </a:lnTo>
                    <a:lnTo>
                      <a:pt x="1504450" y="367589"/>
                    </a:lnTo>
                    <a:lnTo>
                      <a:pt x="1502026" y="368347"/>
                    </a:lnTo>
                    <a:close/>
                    <a:moveTo>
                      <a:pt x="598962" y="802454"/>
                    </a:moveTo>
                    <a:lnTo>
                      <a:pt x="603204" y="800484"/>
                    </a:lnTo>
                    <a:lnTo>
                      <a:pt x="604719" y="798969"/>
                    </a:lnTo>
                    <a:lnTo>
                      <a:pt x="605174" y="798059"/>
                    </a:lnTo>
                    <a:lnTo>
                      <a:pt x="598053" y="795181"/>
                    </a:lnTo>
                    <a:lnTo>
                      <a:pt x="593810" y="794423"/>
                    </a:lnTo>
                    <a:lnTo>
                      <a:pt x="590628" y="794878"/>
                    </a:lnTo>
                    <a:lnTo>
                      <a:pt x="586688" y="797756"/>
                    </a:lnTo>
                    <a:lnTo>
                      <a:pt x="587598" y="800181"/>
                    </a:lnTo>
                    <a:lnTo>
                      <a:pt x="586992" y="803666"/>
                    </a:lnTo>
                    <a:lnTo>
                      <a:pt x="587598" y="806545"/>
                    </a:lnTo>
                    <a:lnTo>
                      <a:pt x="589870" y="812454"/>
                    </a:lnTo>
                    <a:lnTo>
                      <a:pt x="590780" y="813818"/>
                    </a:lnTo>
                    <a:lnTo>
                      <a:pt x="591689" y="814272"/>
                    </a:lnTo>
                    <a:lnTo>
                      <a:pt x="595931" y="812605"/>
                    </a:lnTo>
                    <a:lnTo>
                      <a:pt x="597143" y="811090"/>
                    </a:lnTo>
                    <a:lnTo>
                      <a:pt x="596992" y="809423"/>
                    </a:lnTo>
                    <a:lnTo>
                      <a:pt x="597295" y="807151"/>
                    </a:lnTo>
                    <a:lnTo>
                      <a:pt x="598962" y="802454"/>
                    </a:lnTo>
                    <a:close/>
                    <a:moveTo>
                      <a:pt x="524565" y="739269"/>
                    </a:moveTo>
                    <a:lnTo>
                      <a:pt x="527141" y="738966"/>
                    </a:lnTo>
                    <a:lnTo>
                      <a:pt x="528505" y="738209"/>
                    </a:lnTo>
                    <a:lnTo>
                      <a:pt x="529414" y="736845"/>
                    </a:lnTo>
                    <a:lnTo>
                      <a:pt x="529868" y="735178"/>
                    </a:lnTo>
                    <a:lnTo>
                      <a:pt x="530020" y="733209"/>
                    </a:lnTo>
                    <a:lnTo>
                      <a:pt x="529717" y="731542"/>
                    </a:lnTo>
                    <a:lnTo>
                      <a:pt x="527747" y="728360"/>
                    </a:lnTo>
                    <a:lnTo>
                      <a:pt x="525777" y="726087"/>
                    </a:lnTo>
                    <a:lnTo>
                      <a:pt x="522595" y="726845"/>
                    </a:lnTo>
                    <a:lnTo>
                      <a:pt x="518201" y="730633"/>
                    </a:lnTo>
                    <a:lnTo>
                      <a:pt x="515928" y="733209"/>
                    </a:lnTo>
                    <a:lnTo>
                      <a:pt x="515625" y="734572"/>
                    </a:lnTo>
                    <a:lnTo>
                      <a:pt x="516080" y="735784"/>
                    </a:lnTo>
                    <a:lnTo>
                      <a:pt x="517292" y="736694"/>
                    </a:lnTo>
                    <a:lnTo>
                      <a:pt x="524565" y="739269"/>
                    </a:lnTo>
                    <a:close/>
                    <a:moveTo>
                      <a:pt x="1483388" y="473351"/>
                    </a:moveTo>
                    <a:lnTo>
                      <a:pt x="1481267" y="452895"/>
                    </a:lnTo>
                    <a:lnTo>
                      <a:pt x="1479297" y="439258"/>
                    </a:lnTo>
                    <a:lnTo>
                      <a:pt x="1475206" y="435773"/>
                    </a:lnTo>
                    <a:lnTo>
                      <a:pt x="1470358" y="436228"/>
                    </a:lnTo>
                    <a:lnTo>
                      <a:pt x="1469600" y="442743"/>
                    </a:lnTo>
                    <a:lnTo>
                      <a:pt x="1469600" y="451229"/>
                    </a:lnTo>
                    <a:lnTo>
                      <a:pt x="1480206" y="474714"/>
                    </a:lnTo>
                    <a:lnTo>
                      <a:pt x="1483388" y="473351"/>
                    </a:lnTo>
                    <a:close/>
                    <a:moveTo>
                      <a:pt x="1227470" y="760179"/>
                    </a:moveTo>
                    <a:lnTo>
                      <a:pt x="1226712" y="761240"/>
                    </a:lnTo>
                    <a:lnTo>
                      <a:pt x="1224742" y="765179"/>
                    </a:lnTo>
                    <a:lnTo>
                      <a:pt x="1224742" y="766543"/>
                    </a:lnTo>
                    <a:lnTo>
                      <a:pt x="1225652" y="767452"/>
                    </a:lnTo>
                    <a:lnTo>
                      <a:pt x="1228530" y="768058"/>
                    </a:lnTo>
                    <a:lnTo>
                      <a:pt x="1234288" y="766846"/>
                    </a:lnTo>
                    <a:lnTo>
                      <a:pt x="1250350" y="764270"/>
                    </a:lnTo>
                    <a:lnTo>
                      <a:pt x="1263986" y="763210"/>
                    </a:lnTo>
                    <a:lnTo>
                      <a:pt x="1271259" y="765331"/>
                    </a:lnTo>
                    <a:lnTo>
                      <a:pt x="1273077" y="768210"/>
                    </a:lnTo>
                    <a:lnTo>
                      <a:pt x="1274593" y="768210"/>
                    </a:lnTo>
                    <a:lnTo>
                      <a:pt x="1279139" y="765482"/>
                    </a:lnTo>
                    <a:lnTo>
                      <a:pt x="1282927" y="762301"/>
                    </a:lnTo>
                    <a:lnTo>
                      <a:pt x="1285957" y="761088"/>
                    </a:lnTo>
                    <a:lnTo>
                      <a:pt x="1296866" y="758361"/>
                    </a:lnTo>
                    <a:lnTo>
                      <a:pt x="1298382" y="756391"/>
                    </a:lnTo>
                    <a:lnTo>
                      <a:pt x="1298230" y="755331"/>
                    </a:lnTo>
                    <a:lnTo>
                      <a:pt x="1297472" y="753967"/>
                    </a:lnTo>
                    <a:lnTo>
                      <a:pt x="1295048" y="751997"/>
                    </a:lnTo>
                    <a:lnTo>
                      <a:pt x="1296260" y="751240"/>
                    </a:lnTo>
                    <a:lnTo>
                      <a:pt x="1296866" y="750482"/>
                    </a:lnTo>
                    <a:lnTo>
                      <a:pt x="1297018" y="749270"/>
                    </a:lnTo>
                    <a:lnTo>
                      <a:pt x="1296866" y="747906"/>
                    </a:lnTo>
                    <a:lnTo>
                      <a:pt x="1295957" y="745027"/>
                    </a:lnTo>
                    <a:lnTo>
                      <a:pt x="1295200" y="743967"/>
                    </a:lnTo>
                    <a:lnTo>
                      <a:pt x="1290957" y="742300"/>
                    </a:lnTo>
                    <a:lnTo>
                      <a:pt x="1289593" y="741239"/>
                    </a:lnTo>
                    <a:lnTo>
                      <a:pt x="1287775" y="738966"/>
                    </a:lnTo>
                    <a:lnTo>
                      <a:pt x="1285199" y="738815"/>
                    </a:lnTo>
                    <a:lnTo>
                      <a:pt x="1270956" y="745027"/>
                    </a:lnTo>
                    <a:lnTo>
                      <a:pt x="1263229" y="747148"/>
                    </a:lnTo>
                    <a:lnTo>
                      <a:pt x="1253531" y="747755"/>
                    </a:lnTo>
                    <a:lnTo>
                      <a:pt x="1246258" y="747452"/>
                    </a:lnTo>
                    <a:lnTo>
                      <a:pt x="1242167" y="746997"/>
                    </a:lnTo>
                    <a:lnTo>
                      <a:pt x="1235955" y="745027"/>
                    </a:lnTo>
                    <a:lnTo>
                      <a:pt x="1233379" y="745785"/>
                    </a:lnTo>
                    <a:lnTo>
                      <a:pt x="1232470" y="751088"/>
                    </a:lnTo>
                    <a:lnTo>
                      <a:pt x="1233228" y="754876"/>
                    </a:lnTo>
                    <a:lnTo>
                      <a:pt x="1230803" y="758361"/>
                    </a:lnTo>
                    <a:lnTo>
                      <a:pt x="1227470" y="760179"/>
                    </a:lnTo>
                    <a:close/>
                    <a:moveTo>
                      <a:pt x="574415" y="748361"/>
                    </a:moveTo>
                    <a:lnTo>
                      <a:pt x="578052" y="748209"/>
                    </a:lnTo>
                    <a:lnTo>
                      <a:pt x="579870" y="747603"/>
                    </a:lnTo>
                    <a:lnTo>
                      <a:pt x="579264" y="746391"/>
                    </a:lnTo>
                    <a:lnTo>
                      <a:pt x="574415" y="743967"/>
                    </a:lnTo>
                    <a:lnTo>
                      <a:pt x="570021" y="742300"/>
                    </a:lnTo>
                    <a:lnTo>
                      <a:pt x="566233" y="742754"/>
                    </a:lnTo>
                    <a:lnTo>
                      <a:pt x="565173" y="745936"/>
                    </a:lnTo>
                    <a:lnTo>
                      <a:pt x="565324" y="746997"/>
                    </a:lnTo>
                    <a:lnTo>
                      <a:pt x="565930" y="747603"/>
                    </a:lnTo>
                    <a:lnTo>
                      <a:pt x="574415" y="748361"/>
                    </a:lnTo>
                    <a:close/>
                    <a:moveTo>
                      <a:pt x="1473842" y="334861"/>
                    </a:moveTo>
                    <a:lnTo>
                      <a:pt x="1471873" y="333800"/>
                    </a:lnTo>
                    <a:lnTo>
                      <a:pt x="1468994" y="334861"/>
                    </a:lnTo>
                    <a:lnTo>
                      <a:pt x="1463387" y="339558"/>
                    </a:lnTo>
                    <a:lnTo>
                      <a:pt x="1463842" y="349104"/>
                    </a:lnTo>
                    <a:lnTo>
                      <a:pt x="1465964" y="357437"/>
                    </a:lnTo>
                    <a:lnTo>
                      <a:pt x="1468388" y="363650"/>
                    </a:lnTo>
                    <a:lnTo>
                      <a:pt x="1472024" y="361528"/>
                    </a:lnTo>
                    <a:lnTo>
                      <a:pt x="1475206" y="353195"/>
                    </a:lnTo>
                    <a:lnTo>
                      <a:pt x="1473237" y="347437"/>
                    </a:lnTo>
                    <a:lnTo>
                      <a:pt x="1473237" y="338952"/>
                    </a:lnTo>
                    <a:lnTo>
                      <a:pt x="1473842" y="334861"/>
                    </a:lnTo>
                    <a:close/>
                    <a:moveTo>
                      <a:pt x="1675668" y="141975"/>
                    </a:moveTo>
                    <a:lnTo>
                      <a:pt x="1667940" y="137126"/>
                    </a:lnTo>
                    <a:lnTo>
                      <a:pt x="1658243" y="132429"/>
                    </a:lnTo>
                    <a:lnTo>
                      <a:pt x="1651576" y="130156"/>
                    </a:lnTo>
                    <a:lnTo>
                      <a:pt x="1637333" y="127732"/>
                    </a:lnTo>
                    <a:lnTo>
                      <a:pt x="1616878" y="123186"/>
                    </a:lnTo>
                    <a:lnTo>
                      <a:pt x="1602181" y="121520"/>
                    </a:lnTo>
                    <a:lnTo>
                      <a:pt x="1575210" y="121065"/>
                    </a:lnTo>
                    <a:lnTo>
                      <a:pt x="1569149" y="120004"/>
                    </a:lnTo>
                    <a:lnTo>
                      <a:pt x="1566270" y="120156"/>
                    </a:lnTo>
                    <a:lnTo>
                      <a:pt x="1554906" y="123338"/>
                    </a:lnTo>
                    <a:lnTo>
                      <a:pt x="1550815" y="123944"/>
                    </a:lnTo>
                    <a:lnTo>
                      <a:pt x="1546876" y="125459"/>
                    </a:lnTo>
                    <a:lnTo>
                      <a:pt x="1544300" y="127126"/>
                    </a:lnTo>
                    <a:lnTo>
                      <a:pt x="1536724" y="133944"/>
                    </a:lnTo>
                    <a:lnTo>
                      <a:pt x="1528542" y="139399"/>
                    </a:lnTo>
                    <a:lnTo>
                      <a:pt x="1522481" y="145460"/>
                    </a:lnTo>
                    <a:lnTo>
                      <a:pt x="1520662" y="146824"/>
                    </a:lnTo>
                    <a:lnTo>
                      <a:pt x="1514450" y="148945"/>
                    </a:lnTo>
                    <a:lnTo>
                      <a:pt x="1507329" y="146975"/>
                    </a:lnTo>
                    <a:lnTo>
                      <a:pt x="1500359" y="146066"/>
                    </a:lnTo>
                    <a:lnTo>
                      <a:pt x="1496268" y="144399"/>
                    </a:lnTo>
                    <a:lnTo>
                      <a:pt x="1487025" y="142429"/>
                    </a:lnTo>
                    <a:lnTo>
                      <a:pt x="1481267" y="142732"/>
                    </a:lnTo>
                    <a:lnTo>
                      <a:pt x="1467933" y="141369"/>
                    </a:lnTo>
                    <a:lnTo>
                      <a:pt x="1465964" y="133035"/>
                    </a:lnTo>
                    <a:lnTo>
                      <a:pt x="1454902" y="133035"/>
                    </a:lnTo>
                    <a:lnTo>
                      <a:pt x="1444296" y="138035"/>
                    </a:lnTo>
                    <a:lnTo>
                      <a:pt x="1423992" y="154551"/>
                    </a:lnTo>
                    <a:lnTo>
                      <a:pt x="1420356" y="156824"/>
                    </a:lnTo>
                    <a:lnTo>
                      <a:pt x="1413386" y="160157"/>
                    </a:lnTo>
                    <a:lnTo>
                      <a:pt x="1405052" y="163339"/>
                    </a:lnTo>
                    <a:lnTo>
                      <a:pt x="1391870" y="171673"/>
                    </a:lnTo>
                    <a:lnTo>
                      <a:pt x="1387476" y="173643"/>
                    </a:lnTo>
                    <a:lnTo>
                      <a:pt x="1367323" y="180613"/>
                    </a:lnTo>
                    <a:lnTo>
                      <a:pt x="1364748" y="183189"/>
                    </a:lnTo>
                    <a:lnTo>
                      <a:pt x="1363232" y="185764"/>
                    </a:lnTo>
                    <a:lnTo>
                      <a:pt x="1359293" y="189249"/>
                    </a:lnTo>
                    <a:lnTo>
                      <a:pt x="1356868" y="188492"/>
                    </a:lnTo>
                    <a:lnTo>
                      <a:pt x="1357020" y="184704"/>
                    </a:lnTo>
                    <a:lnTo>
                      <a:pt x="1360354" y="179552"/>
                    </a:lnTo>
                    <a:lnTo>
                      <a:pt x="1373990" y="168491"/>
                    </a:lnTo>
                    <a:lnTo>
                      <a:pt x="1378233" y="165915"/>
                    </a:lnTo>
                    <a:lnTo>
                      <a:pt x="1390658" y="156369"/>
                    </a:lnTo>
                    <a:lnTo>
                      <a:pt x="1397173" y="152127"/>
                    </a:lnTo>
                    <a:lnTo>
                      <a:pt x="1403234" y="146369"/>
                    </a:lnTo>
                    <a:lnTo>
                      <a:pt x="1410659" y="135611"/>
                    </a:lnTo>
                    <a:lnTo>
                      <a:pt x="1412931" y="129399"/>
                    </a:lnTo>
                    <a:lnTo>
                      <a:pt x="1413537" y="123186"/>
                    </a:lnTo>
                    <a:lnTo>
                      <a:pt x="1413689" y="117883"/>
                    </a:lnTo>
                    <a:lnTo>
                      <a:pt x="1413386" y="113641"/>
                    </a:lnTo>
                    <a:lnTo>
                      <a:pt x="1412325" y="110307"/>
                    </a:lnTo>
                    <a:lnTo>
                      <a:pt x="1407628" y="104701"/>
                    </a:lnTo>
                    <a:lnTo>
                      <a:pt x="1401567" y="104095"/>
                    </a:lnTo>
                    <a:lnTo>
                      <a:pt x="1374596" y="105610"/>
                    </a:lnTo>
                    <a:lnTo>
                      <a:pt x="1364293" y="107125"/>
                    </a:lnTo>
                    <a:lnTo>
                      <a:pt x="1359747" y="108337"/>
                    </a:lnTo>
                    <a:lnTo>
                      <a:pt x="1357626" y="109852"/>
                    </a:lnTo>
                    <a:lnTo>
                      <a:pt x="1355808" y="112731"/>
                    </a:lnTo>
                    <a:lnTo>
                      <a:pt x="1354141" y="116822"/>
                    </a:lnTo>
                    <a:lnTo>
                      <a:pt x="1351868" y="120610"/>
                    </a:lnTo>
                    <a:lnTo>
                      <a:pt x="1348989" y="124247"/>
                    </a:lnTo>
                    <a:lnTo>
                      <a:pt x="1345201" y="126368"/>
                    </a:lnTo>
                    <a:lnTo>
                      <a:pt x="1327170" y="129096"/>
                    </a:lnTo>
                    <a:lnTo>
                      <a:pt x="1319140" y="117125"/>
                    </a:lnTo>
                    <a:lnTo>
                      <a:pt x="1303836" y="109246"/>
                    </a:lnTo>
                    <a:lnTo>
                      <a:pt x="1251865" y="106216"/>
                    </a:lnTo>
                    <a:lnTo>
                      <a:pt x="1230197" y="106064"/>
                    </a:lnTo>
                    <a:lnTo>
                      <a:pt x="1200651" y="109549"/>
                    </a:lnTo>
                    <a:lnTo>
                      <a:pt x="1183529" y="113337"/>
                    </a:lnTo>
                    <a:lnTo>
                      <a:pt x="1176256" y="112277"/>
                    </a:lnTo>
                    <a:lnTo>
                      <a:pt x="1174135" y="105610"/>
                    </a:lnTo>
                    <a:lnTo>
                      <a:pt x="1177316" y="100458"/>
                    </a:lnTo>
                    <a:lnTo>
                      <a:pt x="1182620" y="98488"/>
                    </a:lnTo>
                    <a:lnTo>
                      <a:pt x="1338989" y="90003"/>
                    </a:lnTo>
                    <a:lnTo>
                      <a:pt x="1359293" y="87427"/>
                    </a:lnTo>
                    <a:lnTo>
                      <a:pt x="1377021" y="83336"/>
                    </a:lnTo>
                    <a:lnTo>
                      <a:pt x="1390051" y="78033"/>
                    </a:lnTo>
                    <a:lnTo>
                      <a:pt x="1400355" y="72275"/>
                    </a:lnTo>
                    <a:lnTo>
                      <a:pt x="1402931" y="69093"/>
                    </a:lnTo>
                    <a:lnTo>
                      <a:pt x="1401264" y="66518"/>
                    </a:lnTo>
                    <a:lnTo>
                      <a:pt x="1398234" y="63184"/>
                    </a:lnTo>
                    <a:lnTo>
                      <a:pt x="1392021" y="60911"/>
                    </a:lnTo>
                    <a:lnTo>
                      <a:pt x="1375506" y="55911"/>
                    </a:lnTo>
                    <a:lnTo>
                      <a:pt x="1351414" y="53184"/>
                    </a:lnTo>
                    <a:lnTo>
                      <a:pt x="1343535" y="53941"/>
                    </a:lnTo>
                    <a:lnTo>
                      <a:pt x="1339747" y="52578"/>
                    </a:lnTo>
                    <a:lnTo>
                      <a:pt x="1337323" y="49396"/>
                    </a:lnTo>
                    <a:lnTo>
                      <a:pt x="1330352" y="48790"/>
                    </a:lnTo>
                    <a:lnTo>
                      <a:pt x="1322170" y="49850"/>
                    </a:lnTo>
                    <a:lnTo>
                      <a:pt x="1311867" y="40153"/>
                    </a:lnTo>
                    <a:lnTo>
                      <a:pt x="1304291" y="30456"/>
                    </a:lnTo>
                    <a:lnTo>
                      <a:pt x="1276411" y="34850"/>
                    </a:lnTo>
                    <a:lnTo>
                      <a:pt x="1252774" y="36820"/>
                    </a:lnTo>
                    <a:lnTo>
                      <a:pt x="1232622" y="36062"/>
                    </a:lnTo>
                    <a:lnTo>
                      <a:pt x="1221258" y="36971"/>
                    </a:lnTo>
                    <a:lnTo>
                      <a:pt x="1193226" y="34395"/>
                    </a:lnTo>
                    <a:lnTo>
                      <a:pt x="1171710" y="33789"/>
                    </a:lnTo>
                    <a:lnTo>
                      <a:pt x="1160195" y="35001"/>
                    </a:lnTo>
                    <a:lnTo>
                      <a:pt x="1129284" y="41971"/>
                    </a:lnTo>
                    <a:lnTo>
                      <a:pt x="1120496" y="42880"/>
                    </a:lnTo>
                    <a:lnTo>
                      <a:pt x="1115193" y="42426"/>
                    </a:lnTo>
                    <a:lnTo>
                      <a:pt x="1116254" y="35456"/>
                    </a:lnTo>
                    <a:lnTo>
                      <a:pt x="1128830" y="35153"/>
                    </a:lnTo>
                    <a:lnTo>
                      <a:pt x="1168225" y="30456"/>
                    </a:lnTo>
                    <a:lnTo>
                      <a:pt x="1237167" y="28031"/>
                    </a:lnTo>
                    <a:lnTo>
                      <a:pt x="1275199" y="26062"/>
                    </a:lnTo>
                    <a:lnTo>
                      <a:pt x="1282623" y="25001"/>
                    </a:lnTo>
                    <a:lnTo>
                      <a:pt x="1285805" y="23334"/>
                    </a:lnTo>
                    <a:lnTo>
                      <a:pt x="1281866" y="21516"/>
                    </a:lnTo>
                    <a:lnTo>
                      <a:pt x="1252168" y="15455"/>
                    </a:lnTo>
                    <a:lnTo>
                      <a:pt x="1234288" y="13182"/>
                    </a:lnTo>
                    <a:lnTo>
                      <a:pt x="1215500" y="11364"/>
                    </a:lnTo>
                    <a:lnTo>
                      <a:pt x="1212621" y="11516"/>
                    </a:lnTo>
                    <a:lnTo>
                      <a:pt x="1198681" y="6667"/>
                    </a:lnTo>
                    <a:lnTo>
                      <a:pt x="1172316" y="2424"/>
                    </a:lnTo>
                    <a:lnTo>
                      <a:pt x="1151861" y="455"/>
                    </a:lnTo>
                    <a:lnTo>
                      <a:pt x="1089434" y="0"/>
                    </a:lnTo>
                    <a:lnTo>
                      <a:pt x="1078070" y="1515"/>
                    </a:lnTo>
                    <a:lnTo>
                      <a:pt x="1066100" y="4849"/>
                    </a:lnTo>
                    <a:lnTo>
                      <a:pt x="1058070" y="5000"/>
                    </a:lnTo>
                    <a:lnTo>
                      <a:pt x="1049887" y="3030"/>
                    </a:lnTo>
                    <a:lnTo>
                      <a:pt x="1043372" y="2121"/>
                    </a:lnTo>
                    <a:lnTo>
                      <a:pt x="1035947" y="2273"/>
                    </a:lnTo>
                    <a:lnTo>
                      <a:pt x="1029887" y="3788"/>
                    </a:lnTo>
                    <a:lnTo>
                      <a:pt x="1022008" y="4243"/>
                    </a:lnTo>
                    <a:lnTo>
                      <a:pt x="990491" y="4394"/>
                    </a:lnTo>
                    <a:lnTo>
                      <a:pt x="989431" y="5000"/>
                    </a:lnTo>
                    <a:lnTo>
                      <a:pt x="988673" y="6364"/>
                    </a:lnTo>
                    <a:lnTo>
                      <a:pt x="988219" y="8485"/>
                    </a:lnTo>
                    <a:lnTo>
                      <a:pt x="985036" y="9546"/>
                    </a:lnTo>
                    <a:lnTo>
                      <a:pt x="976248" y="9394"/>
                    </a:lnTo>
                    <a:lnTo>
                      <a:pt x="966248" y="7273"/>
                    </a:lnTo>
                    <a:lnTo>
                      <a:pt x="959733" y="7425"/>
                    </a:lnTo>
                    <a:lnTo>
                      <a:pt x="956854" y="8334"/>
                    </a:lnTo>
                    <a:lnTo>
                      <a:pt x="953217" y="11667"/>
                    </a:lnTo>
                    <a:lnTo>
                      <a:pt x="950187" y="13485"/>
                    </a:lnTo>
                    <a:lnTo>
                      <a:pt x="947005" y="13637"/>
                    </a:lnTo>
                    <a:lnTo>
                      <a:pt x="937308" y="12728"/>
                    </a:lnTo>
                    <a:lnTo>
                      <a:pt x="934429" y="13637"/>
                    </a:lnTo>
                    <a:lnTo>
                      <a:pt x="931701" y="15758"/>
                    </a:lnTo>
                    <a:lnTo>
                      <a:pt x="931701" y="18486"/>
                    </a:lnTo>
                    <a:lnTo>
                      <a:pt x="934580" y="21667"/>
                    </a:lnTo>
                    <a:lnTo>
                      <a:pt x="937459" y="23637"/>
                    </a:lnTo>
                    <a:lnTo>
                      <a:pt x="952460" y="28637"/>
                    </a:lnTo>
                    <a:lnTo>
                      <a:pt x="953975" y="30304"/>
                    </a:lnTo>
                    <a:lnTo>
                      <a:pt x="951854" y="34850"/>
                    </a:lnTo>
                    <a:lnTo>
                      <a:pt x="951247" y="38183"/>
                    </a:lnTo>
                    <a:lnTo>
                      <a:pt x="949581" y="40456"/>
                    </a:lnTo>
                    <a:lnTo>
                      <a:pt x="948066" y="41517"/>
                    </a:lnTo>
                    <a:lnTo>
                      <a:pt x="944732" y="41517"/>
                    </a:lnTo>
                    <a:lnTo>
                      <a:pt x="926853" y="29395"/>
                    </a:lnTo>
                    <a:lnTo>
                      <a:pt x="916246" y="27425"/>
                    </a:lnTo>
                    <a:lnTo>
                      <a:pt x="908822" y="23789"/>
                    </a:lnTo>
                    <a:lnTo>
                      <a:pt x="900640" y="20758"/>
                    </a:lnTo>
                    <a:lnTo>
                      <a:pt x="887760" y="18486"/>
                    </a:lnTo>
                    <a:lnTo>
                      <a:pt x="878669" y="22425"/>
                    </a:lnTo>
                    <a:lnTo>
                      <a:pt x="870790" y="28637"/>
                    </a:lnTo>
                    <a:lnTo>
                      <a:pt x="862002" y="34395"/>
                    </a:lnTo>
                    <a:lnTo>
                      <a:pt x="855941" y="32577"/>
                    </a:lnTo>
                    <a:lnTo>
                      <a:pt x="851547" y="32425"/>
                    </a:lnTo>
                    <a:lnTo>
                      <a:pt x="847759" y="31213"/>
                    </a:lnTo>
                    <a:lnTo>
                      <a:pt x="841395" y="27274"/>
                    </a:lnTo>
                    <a:lnTo>
                      <a:pt x="835789" y="25455"/>
                    </a:lnTo>
                    <a:lnTo>
                      <a:pt x="821697" y="23637"/>
                    </a:lnTo>
                    <a:lnTo>
                      <a:pt x="815333" y="23183"/>
                    </a:lnTo>
                    <a:lnTo>
                      <a:pt x="810333" y="23789"/>
                    </a:lnTo>
                    <a:lnTo>
                      <a:pt x="782908" y="31213"/>
                    </a:lnTo>
                    <a:lnTo>
                      <a:pt x="770332" y="32425"/>
                    </a:lnTo>
                    <a:lnTo>
                      <a:pt x="757604" y="35910"/>
                    </a:lnTo>
                    <a:lnTo>
                      <a:pt x="749573" y="40153"/>
                    </a:lnTo>
                    <a:lnTo>
                      <a:pt x="736088" y="37123"/>
                    </a:lnTo>
                    <a:lnTo>
                      <a:pt x="728966" y="36971"/>
                    </a:lnTo>
                    <a:lnTo>
                      <a:pt x="720481" y="44699"/>
                    </a:lnTo>
                    <a:lnTo>
                      <a:pt x="729876" y="51062"/>
                    </a:lnTo>
                    <a:lnTo>
                      <a:pt x="737148" y="51366"/>
                    </a:lnTo>
                    <a:lnTo>
                      <a:pt x="752755" y="50608"/>
                    </a:lnTo>
                    <a:lnTo>
                      <a:pt x="760331" y="49244"/>
                    </a:lnTo>
                    <a:lnTo>
                      <a:pt x="767604" y="49396"/>
                    </a:lnTo>
                    <a:lnTo>
                      <a:pt x="781847" y="51214"/>
                    </a:lnTo>
                    <a:lnTo>
                      <a:pt x="858517" y="56517"/>
                    </a:lnTo>
                    <a:lnTo>
                      <a:pt x="860335" y="58487"/>
                    </a:lnTo>
                    <a:lnTo>
                      <a:pt x="860638" y="61517"/>
                    </a:lnTo>
                    <a:lnTo>
                      <a:pt x="846395" y="63184"/>
                    </a:lnTo>
                    <a:lnTo>
                      <a:pt x="843668" y="62578"/>
                    </a:lnTo>
                    <a:lnTo>
                      <a:pt x="841546" y="61214"/>
                    </a:lnTo>
                    <a:lnTo>
                      <a:pt x="836698" y="60154"/>
                    </a:lnTo>
                    <a:lnTo>
                      <a:pt x="825334" y="59093"/>
                    </a:lnTo>
                    <a:lnTo>
                      <a:pt x="759271" y="56063"/>
                    </a:lnTo>
                    <a:lnTo>
                      <a:pt x="751240" y="56972"/>
                    </a:lnTo>
                    <a:lnTo>
                      <a:pt x="745785" y="58639"/>
                    </a:lnTo>
                    <a:lnTo>
                      <a:pt x="745937" y="60154"/>
                    </a:lnTo>
                    <a:lnTo>
                      <a:pt x="772605" y="72578"/>
                    </a:lnTo>
                    <a:lnTo>
                      <a:pt x="779423" y="77427"/>
                    </a:lnTo>
                    <a:lnTo>
                      <a:pt x="781847" y="84397"/>
                    </a:lnTo>
                    <a:lnTo>
                      <a:pt x="779271" y="88185"/>
                    </a:lnTo>
                    <a:lnTo>
                      <a:pt x="773362" y="91518"/>
                    </a:lnTo>
                    <a:lnTo>
                      <a:pt x="770938" y="101973"/>
                    </a:lnTo>
                    <a:lnTo>
                      <a:pt x="771241" y="107277"/>
                    </a:lnTo>
                    <a:lnTo>
                      <a:pt x="772301" y="111822"/>
                    </a:lnTo>
                    <a:lnTo>
                      <a:pt x="774120" y="115762"/>
                    </a:lnTo>
                    <a:lnTo>
                      <a:pt x="773968" y="118944"/>
                    </a:lnTo>
                    <a:lnTo>
                      <a:pt x="771847" y="121368"/>
                    </a:lnTo>
                    <a:lnTo>
                      <a:pt x="768513" y="123489"/>
                    </a:lnTo>
                    <a:lnTo>
                      <a:pt x="764119" y="122883"/>
                    </a:lnTo>
                    <a:lnTo>
                      <a:pt x="753210" y="120156"/>
                    </a:lnTo>
                    <a:lnTo>
                      <a:pt x="716996" y="102276"/>
                    </a:lnTo>
                    <a:lnTo>
                      <a:pt x="696692" y="97125"/>
                    </a:lnTo>
                    <a:lnTo>
                      <a:pt x="655479" y="81518"/>
                    </a:lnTo>
                    <a:lnTo>
                      <a:pt x="623356" y="76973"/>
                    </a:lnTo>
                    <a:lnTo>
                      <a:pt x="601992" y="76821"/>
                    </a:lnTo>
                    <a:lnTo>
                      <a:pt x="597295" y="77730"/>
                    </a:lnTo>
                    <a:lnTo>
                      <a:pt x="598810" y="82882"/>
                    </a:lnTo>
                    <a:lnTo>
                      <a:pt x="604871" y="92731"/>
                    </a:lnTo>
                    <a:lnTo>
                      <a:pt x="613508" y="100610"/>
                    </a:lnTo>
                    <a:lnTo>
                      <a:pt x="632751" y="110459"/>
                    </a:lnTo>
                    <a:lnTo>
                      <a:pt x="636993" y="114095"/>
                    </a:lnTo>
                    <a:lnTo>
                      <a:pt x="634115" y="115459"/>
                    </a:lnTo>
                    <a:lnTo>
                      <a:pt x="628205" y="115762"/>
                    </a:lnTo>
                    <a:lnTo>
                      <a:pt x="614720" y="114701"/>
                    </a:lnTo>
                    <a:lnTo>
                      <a:pt x="600174" y="115610"/>
                    </a:lnTo>
                    <a:lnTo>
                      <a:pt x="587598" y="106974"/>
                    </a:lnTo>
                    <a:lnTo>
                      <a:pt x="576537" y="103489"/>
                    </a:lnTo>
                    <a:lnTo>
                      <a:pt x="548657" y="87124"/>
                    </a:lnTo>
                    <a:lnTo>
                      <a:pt x="541838" y="87124"/>
                    </a:lnTo>
                    <a:lnTo>
                      <a:pt x="539414" y="91822"/>
                    </a:lnTo>
                    <a:lnTo>
                      <a:pt x="539717" y="100610"/>
                    </a:lnTo>
                    <a:lnTo>
                      <a:pt x="544566" y="105913"/>
                    </a:lnTo>
                    <a:lnTo>
                      <a:pt x="543354" y="110610"/>
                    </a:lnTo>
                    <a:lnTo>
                      <a:pt x="541384" y="116974"/>
                    </a:lnTo>
                    <a:lnTo>
                      <a:pt x="538505" y="121671"/>
                    </a:lnTo>
                    <a:lnTo>
                      <a:pt x="534868" y="124702"/>
                    </a:lnTo>
                    <a:lnTo>
                      <a:pt x="530777" y="128944"/>
                    </a:lnTo>
                    <a:lnTo>
                      <a:pt x="527292" y="131217"/>
                    </a:lnTo>
                    <a:lnTo>
                      <a:pt x="526383" y="129702"/>
                    </a:lnTo>
                    <a:lnTo>
                      <a:pt x="526232" y="125611"/>
                    </a:lnTo>
                    <a:lnTo>
                      <a:pt x="526535" y="104095"/>
                    </a:lnTo>
                    <a:lnTo>
                      <a:pt x="524110" y="97276"/>
                    </a:lnTo>
                    <a:lnTo>
                      <a:pt x="519110" y="92428"/>
                    </a:lnTo>
                    <a:lnTo>
                      <a:pt x="515474" y="89549"/>
                    </a:lnTo>
                    <a:lnTo>
                      <a:pt x="507595" y="86367"/>
                    </a:lnTo>
                    <a:lnTo>
                      <a:pt x="500170" y="84700"/>
                    </a:lnTo>
                    <a:lnTo>
                      <a:pt x="495321" y="84700"/>
                    </a:lnTo>
                    <a:lnTo>
                      <a:pt x="478351" y="88185"/>
                    </a:lnTo>
                    <a:lnTo>
                      <a:pt x="474412" y="89246"/>
                    </a:lnTo>
                    <a:lnTo>
                      <a:pt x="472745" y="91670"/>
                    </a:lnTo>
                    <a:lnTo>
                      <a:pt x="454562" y="93337"/>
                    </a:lnTo>
                    <a:lnTo>
                      <a:pt x="444259" y="92882"/>
                    </a:lnTo>
                    <a:lnTo>
                      <a:pt x="413349" y="96822"/>
                    </a:lnTo>
                    <a:lnTo>
                      <a:pt x="385923" y="101822"/>
                    </a:lnTo>
                    <a:lnTo>
                      <a:pt x="371074" y="107580"/>
                    </a:lnTo>
                    <a:lnTo>
                      <a:pt x="370923" y="109246"/>
                    </a:lnTo>
                    <a:lnTo>
                      <a:pt x="383196" y="113337"/>
                    </a:lnTo>
                    <a:lnTo>
                      <a:pt x="390015" y="117429"/>
                    </a:lnTo>
                    <a:lnTo>
                      <a:pt x="399257" y="124398"/>
                    </a:lnTo>
                    <a:lnTo>
                      <a:pt x="409561" y="130459"/>
                    </a:lnTo>
                    <a:lnTo>
                      <a:pt x="428349" y="138944"/>
                    </a:lnTo>
                    <a:lnTo>
                      <a:pt x="436834" y="143642"/>
                    </a:lnTo>
                    <a:lnTo>
                      <a:pt x="442289" y="147884"/>
                    </a:lnTo>
                    <a:lnTo>
                      <a:pt x="443501" y="150005"/>
                    </a:lnTo>
                    <a:lnTo>
                      <a:pt x="440319" y="149854"/>
                    </a:lnTo>
                    <a:lnTo>
                      <a:pt x="436683" y="148793"/>
                    </a:lnTo>
                    <a:lnTo>
                      <a:pt x="430622" y="145763"/>
                    </a:lnTo>
                    <a:lnTo>
                      <a:pt x="419107" y="138490"/>
                    </a:lnTo>
                    <a:lnTo>
                      <a:pt x="411227" y="135156"/>
                    </a:lnTo>
                    <a:lnTo>
                      <a:pt x="403348" y="133187"/>
                    </a:lnTo>
                    <a:lnTo>
                      <a:pt x="393803" y="128793"/>
                    </a:lnTo>
                    <a:lnTo>
                      <a:pt x="379408" y="119853"/>
                    </a:lnTo>
                    <a:lnTo>
                      <a:pt x="370468" y="115913"/>
                    </a:lnTo>
                    <a:lnTo>
                      <a:pt x="360619" y="114701"/>
                    </a:lnTo>
                    <a:lnTo>
                      <a:pt x="353498" y="112731"/>
                    </a:lnTo>
                    <a:lnTo>
                      <a:pt x="348043" y="112428"/>
                    </a:lnTo>
                    <a:lnTo>
                      <a:pt x="338952" y="113641"/>
                    </a:lnTo>
                    <a:lnTo>
                      <a:pt x="327740" y="117883"/>
                    </a:lnTo>
                    <a:lnTo>
                      <a:pt x="323042" y="120914"/>
                    </a:lnTo>
                    <a:lnTo>
                      <a:pt x="317891" y="125005"/>
                    </a:lnTo>
                    <a:lnTo>
                      <a:pt x="316981" y="128490"/>
                    </a:lnTo>
                    <a:lnTo>
                      <a:pt x="318648" y="132581"/>
                    </a:lnTo>
                    <a:lnTo>
                      <a:pt x="319860" y="139096"/>
                    </a:lnTo>
                    <a:lnTo>
                      <a:pt x="320769" y="148036"/>
                    </a:lnTo>
                    <a:lnTo>
                      <a:pt x="319103" y="155460"/>
                    </a:lnTo>
                    <a:lnTo>
                      <a:pt x="314860" y="161521"/>
                    </a:lnTo>
                    <a:lnTo>
                      <a:pt x="311678" y="165006"/>
                    </a:lnTo>
                    <a:lnTo>
                      <a:pt x="309405" y="166067"/>
                    </a:lnTo>
                    <a:lnTo>
                      <a:pt x="306224" y="166067"/>
                    </a:lnTo>
                    <a:lnTo>
                      <a:pt x="300011" y="164703"/>
                    </a:lnTo>
                    <a:lnTo>
                      <a:pt x="294860" y="162430"/>
                    </a:lnTo>
                    <a:lnTo>
                      <a:pt x="288041" y="161066"/>
                    </a:lnTo>
                    <a:lnTo>
                      <a:pt x="277889" y="159854"/>
                    </a:lnTo>
                    <a:lnTo>
                      <a:pt x="271525" y="159551"/>
                    </a:lnTo>
                    <a:lnTo>
                      <a:pt x="269101" y="160309"/>
                    </a:lnTo>
                    <a:lnTo>
                      <a:pt x="263040" y="164400"/>
                    </a:lnTo>
                    <a:lnTo>
                      <a:pt x="262434" y="168339"/>
                    </a:lnTo>
                    <a:lnTo>
                      <a:pt x="266222" y="177734"/>
                    </a:lnTo>
                    <a:lnTo>
                      <a:pt x="268040" y="180916"/>
                    </a:lnTo>
                    <a:lnTo>
                      <a:pt x="267283" y="181219"/>
                    </a:lnTo>
                    <a:lnTo>
                      <a:pt x="256828" y="172885"/>
                    </a:lnTo>
                    <a:lnTo>
                      <a:pt x="253040" y="170915"/>
                    </a:lnTo>
                    <a:lnTo>
                      <a:pt x="249100" y="170006"/>
                    </a:lnTo>
                    <a:lnTo>
                      <a:pt x="244403" y="170006"/>
                    </a:lnTo>
                    <a:lnTo>
                      <a:pt x="227281" y="173643"/>
                    </a:lnTo>
                    <a:lnTo>
                      <a:pt x="222432" y="175764"/>
                    </a:lnTo>
                    <a:lnTo>
                      <a:pt x="212281" y="184098"/>
                    </a:lnTo>
                    <a:lnTo>
                      <a:pt x="204250" y="188643"/>
                    </a:lnTo>
                    <a:lnTo>
                      <a:pt x="196371" y="193795"/>
                    </a:lnTo>
                    <a:lnTo>
                      <a:pt x="192128" y="195462"/>
                    </a:lnTo>
                    <a:lnTo>
                      <a:pt x="187734" y="196219"/>
                    </a:lnTo>
                    <a:lnTo>
                      <a:pt x="183037" y="197734"/>
                    </a:lnTo>
                    <a:lnTo>
                      <a:pt x="176522" y="200310"/>
                    </a:lnTo>
                    <a:lnTo>
                      <a:pt x="170006" y="203795"/>
                    </a:lnTo>
                    <a:lnTo>
                      <a:pt x="159400" y="211220"/>
                    </a:lnTo>
                    <a:lnTo>
                      <a:pt x="157885" y="213038"/>
                    </a:lnTo>
                    <a:lnTo>
                      <a:pt x="153945" y="219705"/>
                    </a:lnTo>
                    <a:lnTo>
                      <a:pt x="153793" y="223341"/>
                    </a:lnTo>
                    <a:lnTo>
                      <a:pt x="155460" y="226826"/>
                    </a:lnTo>
                    <a:lnTo>
                      <a:pt x="157733" y="229554"/>
                    </a:lnTo>
                    <a:lnTo>
                      <a:pt x="160460" y="231524"/>
                    </a:lnTo>
                    <a:lnTo>
                      <a:pt x="163642" y="232584"/>
                    </a:lnTo>
                    <a:lnTo>
                      <a:pt x="174400" y="232281"/>
                    </a:lnTo>
                    <a:lnTo>
                      <a:pt x="178643" y="232736"/>
                    </a:lnTo>
                    <a:lnTo>
                      <a:pt x="187128" y="235463"/>
                    </a:lnTo>
                    <a:lnTo>
                      <a:pt x="191825" y="235766"/>
                    </a:lnTo>
                    <a:lnTo>
                      <a:pt x="198795" y="234251"/>
                    </a:lnTo>
                    <a:lnTo>
                      <a:pt x="203189" y="232433"/>
                    </a:lnTo>
                    <a:lnTo>
                      <a:pt x="207887" y="231978"/>
                    </a:lnTo>
                    <a:lnTo>
                      <a:pt x="214402" y="232130"/>
                    </a:lnTo>
                    <a:lnTo>
                      <a:pt x="221220" y="230766"/>
                    </a:lnTo>
                    <a:lnTo>
                      <a:pt x="226372" y="228796"/>
                    </a:lnTo>
                    <a:lnTo>
                      <a:pt x="229251" y="228493"/>
                    </a:lnTo>
                    <a:lnTo>
                      <a:pt x="232281" y="228948"/>
                    </a:lnTo>
                    <a:lnTo>
                      <a:pt x="235615" y="230311"/>
                    </a:lnTo>
                    <a:lnTo>
                      <a:pt x="236373" y="231069"/>
                    </a:lnTo>
                    <a:lnTo>
                      <a:pt x="228493" y="232736"/>
                    </a:lnTo>
                    <a:lnTo>
                      <a:pt x="223948" y="234706"/>
                    </a:lnTo>
                    <a:lnTo>
                      <a:pt x="219554" y="237281"/>
                    </a:lnTo>
                    <a:lnTo>
                      <a:pt x="218341" y="239251"/>
                    </a:lnTo>
                    <a:lnTo>
                      <a:pt x="216523" y="244706"/>
                    </a:lnTo>
                    <a:lnTo>
                      <a:pt x="214250" y="253646"/>
                    </a:lnTo>
                    <a:lnTo>
                      <a:pt x="210765" y="262888"/>
                    </a:lnTo>
                    <a:lnTo>
                      <a:pt x="206068" y="272283"/>
                    </a:lnTo>
                    <a:lnTo>
                      <a:pt x="202432" y="278192"/>
                    </a:lnTo>
                    <a:lnTo>
                      <a:pt x="198644" y="282132"/>
                    </a:lnTo>
                    <a:lnTo>
                      <a:pt x="191371" y="288495"/>
                    </a:lnTo>
                    <a:lnTo>
                      <a:pt x="187431" y="291071"/>
                    </a:lnTo>
                    <a:lnTo>
                      <a:pt x="184552" y="291980"/>
                    </a:lnTo>
                    <a:lnTo>
                      <a:pt x="180007" y="291980"/>
                    </a:lnTo>
                    <a:lnTo>
                      <a:pt x="170612" y="290768"/>
                    </a:lnTo>
                    <a:lnTo>
                      <a:pt x="149551" y="291677"/>
                    </a:lnTo>
                    <a:lnTo>
                      <a:pt x="146066" y="292132"/>
                    </a:lnTo>
                    <a:lnTo>
                      <a:pt x="139854" y="294405"/>
                    </a:lnTo>
                    <a:lnTo>
                      <a:pt x="135460" y="295162"/>
                    </a:lnTo>
                    <a:lnTo>
                      <a:pt x="130005" y="295314"/>
                    </a:lnTo>
                    <a:lnTo>
                      <a:pt x="121520" y="296981"/>
                    </a:lnTo>
                    <a:lnTo>
                      <a:pt x="109095" y="300466"/>
                    </a:lnTo>
                    <a:lnTo>
                      <a:pt x="103640" y="302738"/>
                    </a:lnTo>
                    <a:lnTo>
                      <a:pt x="104095" y="303950"/>
                    </a:lnTo>
                    <a:lnTo>
                      <a:pt x="106519" y="306375"/>
                    </a:lnTo>
                    <a:lnTo>
                      <a:pt x="106368" y="307284"/>
                    </a:lnTo>
                    <a:lnTo>
                      <a:pt x="104549" y="307890"/>
                    </a:lnTo>
                    <a:lnTo>
                      <a:pt x="77730" y="312739"/>
                    </a:lnTo>
                    <a:lnTo>
                      <a:pt x="65609" y="315921"/>
                    </a:lnTo>
                    <a:lnTo>
                      <a:pt x="59851" y="318042"/>
                    </a:lnTo>
                    <a:lnTo>
                      <a:pt x="56366" y="320163"/>
                    </a:lnTo>
                    <a:lnTo>
                      <a:pt x="52275" y="321224"/>
                    </a:lnTo>
                    <a:lnTo>
                      <a:pt x="38941" y="320921"/>
                    </a:lnTo>
                    <a:lnTo>
                      <a:pt x="35607" y="321072"/>
                    </a:lnTo>
                    <a:lnTo>
                      <a:pt x="31819" y="321981"/>
                    </a:lnTo>
                    <a:lnTo>
                      <a:pt x="21667" y="326224"/>
                    </a:lnTo>
                    <a:lnTo>
                      <a:pt x="11515" y="329103"/>
                    </a:lnTo>
                    <a:lnTo>
                      <a:pt x="9394" y="330467"/>
                    </a:lnTo>
                    <a:lnTo>
                      <a:pt x="3788" y="335467"/>
                    </a:lnTo>
                    <a:lnTo>
                      <a:pt x="2879" y="337740"/>
                    </a:lnTo>
                    <a:lnTo>
                      <a:pt x="4091" y="339406"/>
                    </a:lnTo>
                    <a:lnTo>
                      <a:pt x="6818" y="341528"/>
                    </a:lnTo>
                    <a:lnTo>
                      <a:pt x="6515" y="342740"/>
                    </a:lnTo>
                    <a:lnTo>
                      <a:pt x="0" y="347740"/>
                    </a:lnTo>
                    <a:lnTo>
                      <a:pt x="758" y="350164"/>
                    </a:lnTo>
                    <a:lnTo>
                      <a:pt x="6364" y="354255"/>
                    </a:lnTo>
                    <a:lnTo>
                      <a:pt x="15607" y="359862"/>
                    </a:lnTo>
                    <a:lnTo>
                      <a:pt x="18031" y="361831"/>
                    </a:lnTo>
                    <a:lnTo>
                      <a:pt x="20607" y="363044"/>
                    </a:lnTo>
                    <a:lnTo>
                      <a:pt x="31971" y="365165"/>
                    </a:lnTo>
                    <a:lnTo>
                      <a:pt x="35759" y="366680"/>
                    </a:lnTo>
                    <a:lnTo>
                      <a:pt x="39092" y="369256"/>
                    </a:lnTo>
                    <a:lnTo>
                      <a:pt x="42274" y="370317"/>
                    </a:lnTo>
                    <a:lnTo>
                      <a:pt x="49850" y="371529"/>
                    </a:lnTo>
                    <a:lnTo>
                      <a:pt x="57123" y="371529"/>
                    </a:lnTo>
                    <a:lnTo>
                      <a:pt x="60305" y="371074"/>
                    </a:lnTo>
                    <a:lnTo>
                      <a:pt x="65760" y="368498"/>
                    </a:lnTo>
                    <a:lnTo>
                      <a:pt x="73942" y="368650"/>
                    </a:lnTo>
                    <a:lnTo>
                      <a:pt x="74851" y="369256"/>
                    </a:lnTo>
                    <a:lnTo>
                      <a:pt x="69245" y="371226"/>
                    </a:lnTo>
                    <a:lnTo>
                      <a:pt x="61669" y="376074"/>
                    </a:lnTo>
                    <a:lnTo>
                      <a:pt x="62426" y="377135"/>
                    </a:lnTo>
                    <a:lnTo>
                      <a:pt x="68336" y="377741"/>
                    </a:lnTo>
                    <a:lnTo>
                      <a:pt x="73639" y="380771"/>
                    </a:lnTo>
                    <a:lnTo>
                      <a:pt x="73791" y="383953"/>
                    </a:lnTo>
                    <a:lnTo>
                      <a:pt x="77730" y="386075"/>
                    </a:lnTo>
                    <a:lnTo>
                      <a:pt x="94852" y="390772"/>
                    </a:lnTo>
                    <a:lnTo>
                      <a:pt x="98943" y="391075"/>
                    </a:lnTo>
                    <a:lnTo>
                      <a:pt x="101973" y="390620"/>
                    </a:lnTo>
                    <a:lnTo>
                      <a:pt x="105155" y="389408"/>
                    </a:lnTo>
                    <a:lnTo>
                      <a:pt x="108489" y="387287"/>
                    </a:lnTo>
                    <a:lnTo>
                      <a:pt x="111974" y="384256"/>
                    </a:lnTo>
                    <a:lnTo>
                      <a:pt x="114853" y="383044"/>
                    </a:lnTo>
                    <a:lnTo>
                      <a:pt x="117277" y="383650"/>
                    </a:lnTo>
                    <a:lnTo>
                      <a:pt x="123944" y="386529"/>
                    </a:lnTo>
                    <a:lnTo>
                      <a:pt x="128187" y="387287"/>
                    </a:lnTo>
                    <a:lnTo>
                      <a:pt x="132581" y="387893"/>
                    </a:lnTo>
                    <a:lnTo>
                      <a:pt x="140460" y="387590"/>
                    </a:lnTo>
                    <a:lnTo>
                      <a:pt x="145157" y="386529"/>
                    </a:lnTo>
                    <a:lnTo>
                      <a:pt x="155157" y="381226"/>
                    </a:lnTo>
                    <a:lnTo>
                      <a:pt x="160006" y="379105"/>
                    </a:lnTo>
                    <a:lnTo>
                      <a:pt x="164097" y="378196"/>
                    </a:lnTo>
                    <a:lnTo>
                      <a:pt x="167734" y="378499"/>
                    </a:lnTo>
                    <a:lnTo>
                      <a:pt x="174400" y="382287"/>
                    </a:lnTo>
                    <a:lnTo>
                      <a:pt x="178188" y="385317"/>
                    </a:lnTo>
                    <a:lnTo>
                      <a:pt x="179249" y="388196"/>
                    </a:lnTo>
                    <a:lnTo>
                      <a:pt x="177582" y="390923"/>
                    </a:lnTo>
                    <a:lnTo>
                      <a:pt x="174097" y="395317"/>
                    </a:lnTo>
                    <a:lnTo>
                      <a:pt x="174249" y="397893"/>
                    </a:lnTo>
                    <a:lnTo>
                      <a:pt x="176370" y="400924"/>
                    </a:lnTo>
                    <a:lnTo>
                      <a:pt x="175916" y="401984"/>
                    </a:lnTo>
                    <a:lnTo>
                      <a:pt x="167279" y="398651"/>
                    </a:lnTo>
                    <a:lnTo>
                      <a:pt x="160915" y="397136"/>
                    </a:lnTo>
                    <a:lnTo>
                      <a:pt x="147278" y="395924"/>
                    </a:lnTo>
                    <a:lnTo>
                      <a:pt x="128035" y="396227"/>
                    </a:lnTo>
                    <a:lnTo>
                      <a:pt x="115610" y="398348"/>
                    </a:lnTo>
                    <a:lnTo>
                      <a:pt x="111368" y="400469"/>
                    </a:lnTo>
                    <a:lnTo>
                      <a:pt x="105004" y="406985"/>
                    </a:lnTo>
                    <a:lnTo>
                      <a:pt x="86518" y="405015"/>
                    </a:lnTo>
                    <a:lnTo>
                      <a:pt x="60608" y="406985"/>
                    </a:lnTo>
                    <a:lnTo>
                      <a:pt x="53032" y="408500"/>
                    </a:lnTo>
                    <a:lnTo>
                      <a:pt x="50456" y="409712"/>
                    </a:lnTo>
                    <a:lnTo>
                      <a:pt x="47729" y="411682"/>
                    </a:lnTo>
                    <a:lnTo>
                      <a:pt x="45002" y="414409"/>
                    </a:lnTo>
                    <a:lnTo>
                      <a:pt x="45305" y="416985"/>
                    </a:lnTo>
                    <a:lnTo>
                      <a:pt x="48790" y="419561"/>
                    </a:lnTo>
                    <a:lnTo>
                      <a:pt x="56517" y="422743"/>
                    </a:lnTo>
                    <a:lnTo>
                      <a:pt x="55457" y="423500"/>
                    </a:lnTo>
                    <a:lnTo>
                      <a:pt x="54850" y="424712"/>
                    </a:lnTo>
                    <a:lnTo>
                      <a:pt x="54850" y="426228"/>
                    </a:lnTo>
                    <a:lnTo>
                      <a:pt x="56517" y="427591"/>
                    </a:lnTo>
                    <a:lnTo>
                      <a:pt x="59851" y="428804"/>
                    </a:lnTo>
                    <a:lnTo>
                      <a:pt x="64548" y="429561"/>
                    </a:lnTo>
                    <a:lnTo>
                      <a:pt x="70457" y="426834"/>
                    </a:lnTo>
                    <a:lnTo>
                      <a:pt x="85003" y="419106"/>
                    </a:lnTo>
                    <a:lnTo>
                      <a:pt x="84549" y="420318"/>
                    </a:lnTo>
                    <a:lnTo>
                      <a:pt x="82882" y="422440"/>
                    </a:lnTo>
                    <a:lnTo>
                      <a:pt x="80154" y="425622"/>
                    </a:lnTo>
                    <a:lnTo>
                      <a:pt x="79700" y="428500"/>
                    </a:lnTo>
                    <a:lnTo>
                      <a:pt x="81670" y="431076"/>
                    </a:lnTo>
                    <a:lnTo>
                      <a:pt x="83640" y="432743"/>
                    </a:lnTo>
                    <a:lnTo>
                      <a:pt x="85609" y="433652"/>
                    </a:lnTo>
                    <a:lnTo>
                      <a:pt x="97125" y="436531"/>
                    </a:lnTo>
                    <a:lnTo>
                      <a:pt x="110459" y="437592"/>
                    </a:lnTo>
                    <a:lnTo>
                      <a:pt x="125308" y="436986"/>
                    </a:lnTo>
                    <a:lnTo>
                      <a:pt x="128338" y="438501"/>
                    </a:lnTo>
                    <a:lnTo>
                      <a:pt x="127429" y="439410"/>
                    </a:lnTo>
                    <a:lnTo>
                      <a:pt x="124702" y="440471"/>
                    </a:lnTo>
                    <a:lnTo>
                      <a:pt x="113337" y="442137"/>
                    </a:lnTo>
                    <a:lnTo>
                      <a:pt x="107731" y="443653"/>
                    </a:lnTo>
                    <a:lnTo>
                      <a:pt x="93034" y="450774"/>
                    </a:lnTo>
                    <a:lnTo>
                      <a:pt x="90761" y="452895"/>
                    </a:lnTo>
                    <a:lnTo>
                      <a:pt x="91367" y="454411"/>
                    </a:lnTo>
                    <a:lnTo>
                      <a:pt x="93791" y="456683"/>
                    </a:lnTo>
                    <a:lnTo>
                      <a:pt x="101064" y="459562"/>
                    </a:lnTo>
                    <a:lnTo>
                      <a:pt x="110459" y="464865"/>
                    </a:lnTo>
                    <a:lnTo>
                      <a:pt x="116065" y="466987"/>
                    </a:lnTo>
                    <a:lnTo>
                      <a:pt x="122732" y="470320"/>
                    </a:lnTo>
                    <a:lnTo>
                      <a:pt x="127277" y="471684"/>
                    </a:lnTo>
                    <a:lnTo>
                      <a:pt x="163491" y="477290"/>
                    </a:lnTo>
                    <a:lnTo>
                      <a:pt x="167582" y="476836"/>
                    </a:lnTo>
                    <a:lnTo>
                      <a:pt x="162733" y="472745"/>
                    </a:lnTo>
                    <a:lnTo>
                      <a:pt x="157279" y="466987"/>
                    </a:lnTo>
                    <a:lnTo>
                      <a:pt x="156672" y="464562"/>
                    </a:lnTo>
                    <a:lnTo>
                      <a:pt x="159097" y="463502"/>
                    </a:lnTo>
                    <a:lnTo>
                      <a:pt x="162279" y="463199"/>
                    </a:lnTo>
                    <a:lnTo>
                      <a:pt x="168188" y="466078"/>
                    </a:lnTo>
                    <a:lnTo>
                      <a:pt x="171067" y="467290"/>
                    </a:lnTo>
                    <a:lnTo>
                      <a:pt x="173491" y="467744"/>
                    </a:lnTo>
                    <a:lnTo>
                      <a:pt x="176370" y="466835"/>
                    </a:lnTo>
                    <a:lnTo>
                      <a:pt x="182583" y="463199"/>
                    </a:lnTo>
                    <a:lnTo>
                      <a:pt x="187431" y="461987"/>
                    </a:lnTo>
                    <a:lnTo>
                      <a:pt x="189552" y="462138"/>
                    </a:lnTo>
                    <a:lnTo>
                      <a:pt x="191977" y="463502"/>
                    </a:lnTo>
                    <a:lnTo>
                      <a:pt x="194704" y="465926"/>
                    </a:lnTo>
                    <a:lnTo>
                      <a:pt x="197735" y="467593"/>
                    </a:lnTo>
                    <a:lnTo>
                      <a:pt x="200916" y="468350"/>
                    </a:lnTo>
                    <a:lnTo>
                      <a:pt x="203341" y="468350"/>
                    </a:lnTo>
                    <a:lnTo>
                      <a:pt x="204856" y="467441"/>
                    </a:lnTo>
                    <a:lnTo>
                      <a:pt x="211068" y="467138"/>
                    </a:lnTo>
                    <a:lnTo>
                      <a:pt x="215917" y="465926"/>
                    </a:lnTo>
                    <a:lnTo>
                      <a:pt x="221978" y="463502"/>
                    </a:lnTo>
                    <a:lnTo>
                      <a:pt x="226069" y="461380"/>
                    </a:lnTo>
                    <a:lnTo>
                      <a:pt x="230312" y="458502"/>
                    </a:lnTo>
                    <a:lnTo>
                      <a:pt x="232433" y="457744"/>
                    </a:lnTo>
                    <a:lnTo>
                      <a:pt x="234706" y="458502"/>
                    </a:lnTo>
                    <a:lnTo>
                      <a:pt x="237130" y="460774"/>
                    </a:lnTo>
                    <a:lnTo>
                      <a:pt x="241979" y="463956"/>
                    </a:lnTo>
                    <a:lnTo>
                      <a:pt x="245161" y="463502"/>
                    </a:lnTo>
                    <a:lnTo>
                      <a:pt x="251221" y="460017"/>
                    </a:lnTo>
                    <a:lnTo>
                      <a:pt x="256222" y="456532"/>
                    </a:lnTo>
                    <a:lnTo>
                      <a:pt x="260313" y="455774"/>
                    </a:lnTo>
                    <a:lnTo>
                      <a:pt x="268192" y="457592"/>
                    </a:lnTo>
                    <a:lnTo>
                      <a:pt x="273192" y="460926"/>
                    </a:lnTo>
                    <a:lnTo>
                      <a:pt x="275465" y="461532"/>
                    </a:lnTo>
                    <a:lnTo>
                      <a:pt x="282283" y="461077"/>
                    </a:lnTo>
                    <a:lnTo>
                      <a:pt x="293193" y="462138"/>
                    </a:lnTo>
                    <a:lnTo>
                      <a:pt x="306224" y="465320"/>
                    </a:lnTo>
                    <a:lnTo>
                      <a:pt x="312890" y="465623"/>
                    </a:lnTo>
                    <a:lnTo>
                      <a:pt x="318042" y="466835"/>
                    </a:lnTo>
                    <a:lnTo>
                      <a:pt x="326679" y="470320"/>
                    </a:lnTo>
                    <a:lnTo>
                      <a:pt x="345922" y="476230"/>
                    </a:lnTo>
                    <a:lnTo>
                      <a:pt x="358347" y="481684"/>
                    </a:lnTo>
                    <a:lnTo>
                      <a:pt x="365771" y="483806"/>
                    </a:lnTo>
                    <a:lnTo>
                      <a:pt x="370771" y="486078"/>
                    </a:lnTo>
                    <a:lnTo>
                      <a:pt x="375772" y="489109"/>
                    </a:lnTo>
                    <a:lnTo>
                      <a:pt x="381226" y="491079"/>
                    </a:lnTo>
                    <a:lnTo>
                      <a:pt x="387136" y="491836"/>
                    </a:lnTo>
                    <a:lnTo>
                      <a:pt x="391227" y="493351"/>
                    </a:lnTo>
                    <a:lnTo>
                      <a:pt x="394863" y="497594"/>
                    </a:lnTo>
                    <a:lnTo>
                      <a:pt x="398500" y="503503"/>
                    </a:lnTo>
                    <a:lnTo>
                      <a:pt x="397591" y="505473"/>
                    </a:lnTo>
                    <a:lnTo>
                      <a:pt x="388802" y="510322"/>
                    </a:lnTo>
                    <a:lnTo>
                      <a:pt x="389863" y="512140"/>
                    </a:lnTo>
                    <a:lnTo>
                      <a:pt x="398348" y="516231"/>
                    </a:lnTo>
                    <a:lnTo>
                      <a:pt x="400318" y="517898"/>
                    </a:lnTo>
                    <a:lnTo>
                      <a:pt x="402288" y="520170"/>
                    </a:lnTo>
                    <a:lnTo>
                      <a:pt x="406227" y="525625"/>
                    </a:lnTo>
                    <a:lnTo>
                      <a:pt x="410470" y="529262"/>
                    </a:lnTo>
                    <a:lnTo>
                      <a:pt x="422743" y="534413"/>
                    </a:lnTo>
                    <a:lnTo>
                      <a:pt x="427440" y="537292"/>
                    </a:lnTo>
                    <a:lnTo>
                      <a:pt x="430773" y="540171"/>
                    </a:lnTo>
                    <a:lnTo>
                      <a:pt x="433198" y="543050"/>
                    </a:lnTo>
                    <a:lnTo>
                      <a:pt x="434713" y="545929"/>
                    </a:lnTo>
                    <a:lnTo>
                      <a:pt x="436380" y="548050"/>
                    </a:lnTo>
                    <a:lnTo>
                      <a:pt x="438349" y="549263"/>
                    </a:lnTo>
                    <a:lnTo>
                      <a:pt x="445926" y="552444"/>
                    </a:lnTo>
                    <a:lnTo>
                      <a:pt x="453199" y="557142"/>
                    </a:lnTo>
                    <a:lnTo>
                      <a:pt x="450623" y="559111"/>
                    </a:lnTo>
                    <a:lnTo>
                      <a:pt x="447441" y="559414"/>
                    </a:lnTo>
                    <a:lnTo>
                      <a:pt x="441683" y="560930"/>
                    </a:lnTo>
                    <a:lnTo>
                      <a:pt x="440016" y="562445"/>
                    </a:lnTo>
                    <a:lnTo>
                      <a:pt x="441683" y="565172"/>
                    </a:lnTo>
                    <a:lnTo>
                      <a:pt x="441380" y="567748"/>
                    </a:lnTo>
                    <a:lnTo>
                      <a:pt x="442138" y="570475"/>
                    </a:lnTo>
                    <a:lnTo>
                      <a:pt x="440319" y="573657"/>
                    </a:lnTo>
                    <a:lnTo>
                      <a:pt x="433955" y="575021"/>
                    </a:lnTo>
                    <a:lnTo>
                      <a:pt x="429107" y="576991"/>
                    </a:lnTo>
                    <a:lnTo>
                      <a:pt x="425925" y="578809"/>
                    </a:lnTo>
                    <a:lnTo>
                      <a:pt x="426985" y="579264"/>
                    </a:lnTo>
                    <a:lnTo>
                      <a:pt x="433501" y="578506"/>
                    </a:lnTo>
                    <a:lnTo>
                      <a:pt x="441683" y="576991"/>
                    </a:lnTo>
                    <a:lnTo>
                      <a:pt x="446077" y="575779"/>
                    </a:lnTo>
                    <a:lnTo>
                      <a:pt x="448804" y="575779"/>
                    </a:lnTo>
                    <a:lnTo>
                      <a:pt x="451380" y="576688"/>
                    </a:lnTo>
                    <a:lnTo>
                      <a:pt x="453350" y="578506"/>
                    </a:lnTo>
                    <a:lnTo>
                      <a:pt x="456078" y="583355"/>
                    </a:lnTo>
                    <a:lnTo>
                      <a:pt x="457593" y="585021"/>
                    </a:lnTo>
                    <a:lnTo>
                      <a:pt x="458956" y="587294"/>
                    </a:lnTo>
                    <a:lnTo>
                      <a:pt x="459411" y="588203"/>
                    </a:lnTo>
                    <a:lnTo>
                      <a:pt x="459411" y="588961"/>
                    </a:lnTo>
                    <a:lnTo>
                      <a:pt x="461229" y="590779"/>
                    </a:lnTo>
                    <a:lnTo>
                      <a:pt x="462744" y="594113"/>
                    </a:lnTo>
                    <a:lnTo>
                      <a:pt x="463654" y="598052"/>
                    </a:lnTo>
                    <a:lnTo>
                      <a:pt x="461987" y="598507"/>
                    </a:lnTo>
                    <a:lnTo>
                      <a:pt x="460017" y="598052"/>
                    </a:lnTo>
                    <a:lnTo>
                      <a:pt x="458199" y="602749"/>
                    </a:lnTo>
                    <a:lnTo>
                      <a:pt x="456835" y="605022"/>
                    </a:lnTo>
                    <a:lnTo>
                      <a:pt x="456078" y="606992"/>
                    </a:lnTo>
                    <a:lnTo>
                      <a:pt x="456229" y="608659"/>
                    </a:lnTo>
                    <a:lnTo>
                      <a:pt x="459259" y="609719"/>
                    </a:lnTo>
                    <a:lnTo>
                      <a:pt x="462441" y="611386"/>
                    </a:lnTo>
                    <a:lnTo>
                      <a:pt x="464866" y="613659"/>
                    </a:lnTo>
                    <a:lnTo>
                      <a:pt x="465623" y="615325"/>
                    </a:lnTo>
                    <a:lnTo>
                      <a:pt x="466078" y="617598"/>
                    </a:lnTo>
                    <a:lnTo>
                      <a:pt x="468351" y="616841"/>
                    </a:lnTo>
                    <a:lnTo>
                      <a:pt x="474108" y="613659"/>
                    </a:lnTo>
                    <a:lnTo>
                      <a:pt x="477290" y="616992"/>
                    </a:lnTo>
                    <a:lnTo>
                      <a:pt x="478503" y="620629"/>
                    </a:lnTo>
                    <a:lnTo>
                      <a:pt x="478200" y="624114"/>
                    </a:lnTo>
                    <a:lnTo>
                      <a:pt x="477290" y="627902"/>
                    </a:lnTo>
                    <a:lnTo>
                      <a:pt x="474715" y="630023"/>
                    </a:lnTo>
                    <a:lnTo>
                      <a:pt x="470927" y="631235"/>
                    </a:lnTo>
                    <a:lnTo>
                      <a:pt x="468199" y="632750"/>
                    </a:lnTo>
                    <a:lnTo>
                      <a:pt x="468199" y="635781"/>
                    </a:lnTo>
                    <a:lnTo>
                      <a:pt x="468805" y="638205"/>
                    </a:lnTo>
                    <a:lnTo>
                      <a:pt x="469714" y="639114"/>
                    </a:lnTo>
                    <a:lnTo>
                      <a:pt x="472139" y="639417"/>
                    </a:lnTo>
                    <a:lnTo>
                      <a:pt x="474412" y="640478"/>
                    </a:lnTo>
                    <a:lnTo>
                      <a:pt x="476836" y="640933"/>
                    </a:lnTo>
                    <a:lnTo>
                      <a:pt x="479109" y="642145"/>
                    </a:lnTo>
                    <a:lnTo>
                      <a:pt x="481533" y="641842"/>
                    </a:lnTo>
                    <a:lnTo>
                      <a:pt x="483351" y="640629"/>
                    </a:lnTo>
                    <a:lnTo>
                      <a:pt x="485018" y="637751"/>
                    </a:lnTo>
                    <a:lnTo>
                      <a:pt x="490624" y="640326"/>
                    </a:lnTo>
                    <a:lnTo>
                      <a:pt x="493200" y="642902"/>
                    </a:lnTo>
                    <a:lnTo>
                      <a:pt x="494109" y="645327"/>
                    </a:lnTo>
                    <a:lnTo>
                      <a:pt x="493503" y="647448"/>
                    </a:lnTo>
                    <a:lnTo>
                      <a:pt x="493655" y="649569"/>
                    </a:lnTo>
                    <a:lnTo>
                      <a:pt x="494412" y="651690"/>
                    </a:lnTo>
                    <a:lnTo>
                      <a:pt x="494109" y="654266"/>
                    </a:lnTo>
                    <a:lnTo>
                      <a:pt x="492746" y="657297"/>
                    </a:lnTo>
                    <a:lnTo>
                      <a:pt x="489109" y="660933"/>
                    </a:lnTo>
                    <a:lnTo>
                      <a:pt x="485776" y="662903"/>
                    </a:lnTo>
                    <a:lnTo>
                      <a:pt x="483654" y="664721"/>
                    </a:lnTo>
                    <a:lnTo>
                      <a:pt x="474563" y="664570"/>
                    </a:lnTo>
                    <a:lnTo>
                      <a:pt x="470623" y="667146"/>
                    </a:lnTo>
                    <a:lnTo>
                      <a:pt x="471533" y="668055"/>
                    </a:lnTo>
                    <a:lnTo>
                      <a:pt x="475321" y="668964"/>
                    </a:lnTo>
                    <a:lnTo>
                      <a:pt x="478957" y="672297"/>
                    </a:lnTo>
                    <a:lnTo>
                      <a:pt x="476684" y="674570"/>
                    </a:lnTo>
                    <a:lnTo>
                      <a:pt x="470927" y="674116"/>
                    </a:lnTo>
                    <a:lnTo>
                      <a:pt x="469714" y="675025"/>
                    </a:lnTo>
                    <a:lnTo>
                      <a:pt x="469108" y="678964"/>
                    </a:lnTo>
                    <a:lnTo>
                      <a:pt x="471230" y="681237"/>
                    </a:lnTo>
                    <a:lnTo>
                      <a:pt x="478351" y="680176"/>
                    </a:lnTo>
                    <a:lnTo>
                      <a:pt x="490018" y="670176"/>
                    </a:lnTo>
                    <a:lnTo>
                      <a:pt x="491533" y="670934"/>
                    </a:lnTo>
                    <a:lnTo>
                      <a:pt x="491533" y="672146"/>
                    </a:lnTo>
                    <a:lnTo>
                      <a:pt x="490624" y="673661"/>
                    </a:lnTo>
                    <a:lnTo>
                      <a:pt x="487897" y="676540"/>
                    </a:lnTo>
                    <a:lnTo>
                      <a:pt x="478503" y="684722"/>
                    </a:lnTo>
                    <a:lnTo>
                      <a:pt x="474715" y="692601"/>
                    </a:lnTo>
                    <a:lnTo>
                      <a:pt x="472139" y="702298"/>
                    </a:lnTo>
                    <a:lnTo>
                      <a:pt x="469866" y="703814"/>
                    </a:lnTo>
                    <a:lnTo>
                      <a:pt x="468805" y="706238"/>
                    </a:lnTo>
                    <a:lnTo>
                      <a:pt x="468805" y="709571"/>
                    </a:lnTo>
                    <a:lnTo>
                      <a:pt x="470775" y="713359"/>
                    </a:lnTo>
                    <a:lnTo>
                      <a:pt x="474715" y="717450"/>
                    </a:lnTo>
                    <a:lnTo>
                      <a:pt x="477745" y="719723"/>
                    </a:lnTo>
                    <a:lnTo>
                      <a:pt x="485472" y="720632"/>
                    </a:lnTo>
                    <a:lnTo>
                      <a:pt x="491988" y="722299"/>
                    </a:lnTo>
                    <a:lnTo>
                      <a:pt x="495473" y="722754"/>
                    </a:lnTo>
                    <a:lnTo>
                      <a:pt x="505625" y="721845"/>
                    </a:lnTo>
                    <a:lnTo>
                      <a:pt x="509564" y="720178"/>
                    </a:lnTo>
                    <a:lnTo>
                      <a:pt x="511534" y="720178"/>
                    </a:lnTo>
                    <a:lnTo>
                      <a:pt x="515322" y="718057"/>
                    </a:lnTo>
                    <a:lnTo>
                      <a:pt x="516686" y="714723"/>
                    </a:lnTo>
                    <a:lnTo>
                      <a:pt x="515474" y="711390"/>
                    </a:lnTo>
                    <a:lnTo>
                      <a:pt x="513655" y="708056"/>
                    </a:lnTo>
                    <a:lnTo>
                      <a:pt x="515171" y="708208"/>
                    </a:lnTo>
                    <a:lnTo>
                      <a:pt x="517140" y="708965"/>
                    </a:lnTo>
                    <a:lnTo>
                      <a:pt x="520322" y="707147"/>
                    </a:lnTo>
                    <a:lnTo>
                      <a:pt x="520928" y="705177"/>
                    </a:lnTo>
                    <a:lnTo>
                      <a:pt x="522141" y="703208"/>
                    </a:lnTo>
                    <a:lnTo>
                      <a:pt x="526232" y="700783"/>
                    </a:lnTo>
                    <a:lnTo>
                      <a:pt x="528656" y="698510"/>
                    </a:lnTo>
                    <a:lnTo>
                      <a:pt x="529111" y="696238"/>
                    </a:lnTo>
                    <a:lnTo>
                      <a:pt x="527747" y="691995"/>
                    </a:lnTo>
                    <a:lnTo>
                      <a:pt x="524565" y="688207"/>
                    </a:lnTo>
                    <a:lnTo>
                      <a:pt x="522595" y="686692"/>
                    </a:lnTo>
                    <a:lnTo>
                      <a:pt x="520171" y="683964"/>
                    </a:lnTo>
                    <a:lnTo>
                      <a:pt x="519262" y="681389"/>
                    </a:lnTo>
                    <a:lnTo>
                      <a:pt x="518656" y="678510"/>
                    </a:lnTo>
                    <a:lnTo>
                      <a:pt x="517746" y="676237"/>
                    </a:lnTo>
                    <a:lnTo>
                      <a:pt x="516534" y="674419"/>
                    </a:lnTo>
                    <a:lnTo>
                      <a:pt x="517292" y="673206"/>
                    </a:lnTo>
                    <a:lnTo>
                      <a:pt x="524110" y="672146"/>
                    </a:lnTo>
                    <a:lnTo>
                      <a:pt x="523504" y="672752"/>
                    </a:lnTo>
                    <a:lnTo>
                      <a:pt x="520625" y="674116"/>
                    </a:lnTo>
                    <a:lnTo>
                      <a:pt x="519716" y="675782"/>
                    </a:lnTo>
                    <a:lnTo>
                      <a:pt x="522747" y="682146"/>
                    </a:lnTo>
                    <a:lnTo>
                      <a:pt x="524262" y="683964"/>
                    </a:lnTo>
                    <a:lnTo>
                      <a:pt x="526080" y="685328"/>
                    </a:lnTo>
                    <a:lnTo>
                      <a:pt x="530323" y="690328"/>
                    </a:lnTo>
                    <a:lnTo>
                      <a:pt x="531535" y="693662"/>
                    </a:lnTo>
                    <a:lnTo>
                      <a:pt x="531989" y="696995"/>
                    </a:lnTo>
                    <a:lnTo>
                      <a:pt x="531838" y="699571"/>
                    </a:lnTo>
                    <a:lnTo>
                      <a:pt x="532444" y="701086"/>
                    </a:lnTo>
                    <a:lnTo>
                      <a:pt x="537596" y="700177"/>
                    </a:lnTo>
                    <a:lnTo>
                      <a:pt x="537899" y="701844"/>
                    </a:lnTo>
                    <a:lnTo>
                      <a:pt x="534868" y="705177"/>
                    </a:lnTo>
                    <a:lnTo>
                      <a:pt x="533353" y="706389"/>
                    </a:lnTo>
                    <a:lnTo>
                      <a:pt x="528656" y="708662"/>
                    </a:lnTo>
                    <a:lnTo>
                      <a:pt x="528959" y="710329"/>
                    </a:lnTo>
                    <a:lnTo>
                      <a:pt x="529565" y="711693"/>
                    </a:lnTo>
                    <a:lnTo>
                      <a:pt x="533808" y="713662"/>
                    </a:lnTo>
                    <a:lnTo>
                      <a:pt x="536990" y="713814"/>
                    </a:lnTo>
                    <a:lnTo>
                      <a:pt x="543960" y="710481"/>
                    </a:lnTo>
                    <a:lnTo>
                      <a:pt x="549111" y="707450"/>
                    </a:lnTo>
                    <a:lnTo>
                      <a:pt x="551081" y="706996"/>
                    </a:lnTo>
                    <a:lnTo>
                      <a:pt x="563657" y="709117"/>
                    </a:lnTo>
                    <a:lnTo>
                      <a:pt x="566839" y="708814"/>
                    </a:lnTo>
                    <a:lnTo>
                      <a:pt x="571536" y="707147"/>
                    </a:lnTo>
                    <a:lnTo>
                      <a:pt x="575173" y="706389"/>
                    </a:lnTo>
                    <a:lnTo>
                      <a:pt x="575476" y="706996"/>
                    </a:lnTo>
                    <a:lnTo>
                      <a:pt x="570021" y="710632"/>
                    </a:lnTo>
                    <a:lnTo>
                      <a:pt x="548657" y="715632"/>
                    </a:lnTo>
                    <a:lnTo>
                      <a:pt x="544717" y="717905"/>
                    </a:lnTo>
                    <a:lnTo>
                      <a:pt x="543505" y="720178"/>
                    </a:lnTo>
                    <a:lnTo>
                      <a:pt x="541687" y="722299"/>
                    </a:lnTo>
                    <a:lnTo>
                      <a:pt x="539414" y="723208"/>
                    </a:lnTo>
                    <a:lnTo>
                      <a:pt x="538656" y="725178"/>
                    </a:lnTo>
                    <a:lnTo>
                      <a:pt x="541687" y="731845"/>
                    </a:lnTo>
                    <a:lnTo>
                      <a:pt x="544717" y="732299"/>
                    </a:lnTo>
                    <a:lnTo>
                      <a:pt x="548051" y="732148"/>
                    </a:lnTo>
                    <a:lnTo>
                      <a:pt x="554566" y="730784"/>
                    </a:lnTo>
                    <a:lnTo>
                      <a:pt x="557748" y="731390"/>
                    </a:lnTo>
                    <a:lnTo>
                      <a:pt x="562748" y="733512"/>
                    </a:lnTo>
                    <a:lnTo>
                      <a:pt x="567445" y="734875"/>
                    </a:lnTo>
                    <a:lnTo>
                      <a:pt x="574870" y="734421"/>
                    </a:lnTo>
                    <a:lnTo>
                      <a:pt x="586234" y="735027"/>
                    </a:lnTo>
                    <a:lnTo>
                      <a:pt x="591689" y="738815"/>
                    </a:lnTo>
                    <a:lnTo>
                      <a:pt x="596083" y="740936"/>
                    </a:lnTo>
                    <a:lnTo>
                      <a:pt x="595780" y="741694"/>
                    </a:lnTo>
                    <a:lnTo>
                      <a:pt x="593052" y="742451"/>
                    </a:lnTo>
                    <a:lnTo>
                      <a:pt x="589264" y="742148"/>
                    </a:lnTo>
                    <a:lnTo>
                      <a:pt x="582143" y="740330"/>
                    </a:lnTo>
                    <a:lnTo>
                      <a:pt x="578809" y="740027"/>
                    </a:lnTo>
                    <a:lnTo>
                      <a:pt x="575476" y="740482"/>
                    </a:lnTo>
                    <a:lnTo>
                      <a:pt x="576082" y="741391"/>
                    </a:lnTo>
                    <a:lnTo>
                      <a:pt x="583204" y="745027"/>
                    </a:lnTo>
                    <a:lnTo>
                      <a:pt x="585931" y="745785"/>
                    </a:lnTo>
                    <a:lnTo>
                      <a:pt x="589719" y="748361"/>
                    </a:lnTo>
                    <a:lnTo>
                      <a:pt x="588961" y="752603"/>
                    </a:lnTo>
                    <a:lnTo>
                      <a:pt x="587901" y="753815"/>
                    </a:lnTo>
                    <a:lnTo>
                      <a:pt x="587294" y="756543"/>
                    </a:lnTo>
                    <a:lnTo>
                      <a:pt x="587749" y="761391"/>
                    </a:lnTo>
                    <a:lnTo>
                      <a:pt x="591840" y="764422"/>
                    </a:lnTo>
                    <a:lnTo>
                      <a:pt x="598356" y="768210"/>
                    </a:lnTo>
                    <a:lnTo>
                      <a:pt x="603962" y="768967"/>
                    </a:lnTo>
                    <a:lnTo>
                      <a:pt x="605780" y="770028"/>
                    </a:lnTo>
                    <a:lnTo>
                      <a:pt x="605325" y="771089"/>
                    </a:lnTo>
                    <a:lnTo>
                      <a:pt x="600174" y="772604"/>
                    </a:lnTo>
                    <a:lnTo>
                      <a:pt x="598204" y="772604"/>
                    </a:lnTo>
                    <a:lnTo>
                      <a:pt x="585476" y="769270"/>
                    </a:lnTo>
                    <a:lnTo>
                      <a:pt x="582446" y="768816"/>
                    </a:lnTo>
                    <a:lnTo>
                      <a:pt x="575324" y="765634"/>
                    </a:lnTo>
                    <a:lnTo>
                      <a:pt x="558354" y="756543"/>
                    </a:lnTo>
                    <a:lnTo>
                      <a:pt x="552142" y="754421"/>
                    </a:lnTo>
                    <a:lnTo>
                      <a:pt x="547445" y="753361"/>
                    </a:lnTo>
                    <a:lnTo>
                      <a:pt x="539565" y="752452"/>
                    </a:lnTo>
                    <a:lnTo>
                      <a:pt x="531838" y="752906"/>
                    </a:lnTo>
                    <a:lnTo>
                      <a:pt x="528050" y="752603"/>
                    </a:lnTo>
                    <a:lnTo>
                      <a:pt x="523050" y="751088"/>
                    </a:lnTo>
                    <a:lnTo>
                      <a:pt x="518504" y="750330"/>
                    </a:lnTo>
                    <a:lnTo>
                      <a:pt x="510170" y="749876"/>
                    </a:lnTo>
                    <a:lnTo>
                      <a:pt x="505322" y="751391"/>
                    </a:lnTo>
                    <a:lnTo>
                      <a:pt x="502746" y="753209"/>
                    </a:lnTo>
                    <a:lnTo>
                      <a:pt x="500170" y="755785"/>
                    </a:lnTo>
                    <a:lnTo>
                      <a:pt x="500928" y="757906"/>
                    </a:lnTo>
                    <a:lnTo>
                      <a:pt x="505322" y="762149"/>
                    </a:lnTo>
                    <a:lnTo>
                      <a:pt x="511080" y="767301"/>
                    </a:lnTo>
                    <a:lnTo>
                      <a:pt x="514413" y="769574"/>
                    </a:lnTo>
                    <a:lnTo>
                      <a:pt x="521080" y="771240"/>
                    </a:lnTo>
                    <a:lnTo>
                      <a:pt x="532293" y="772907"/>
                    </a:lnTo>
                    <a:lnTo>
                      <a:pt x="541384" y="775483"/>
                    </a:lnTo>
                    <a:lnTo>
                      <a:pt x="548505" y="778816"/>
                    </a:lnTo>
                    <a:lnTo>
                      <a:pt x="553808" y="781847"/>
                    </a:lnTo>
                    <a:lnTo>
                      <a:pt x="560172" y="786544"/>
                    </a:lnTo>
                    <a:lnTo>
                      <a:pt x="562445" y="787453"/>
                    </a:lnTo>
                    <a:lnTo>
                      <a:pt x="580476" y="790180"/>
                    </a:lnTo>
                    <a:lnTo>
                      <a:pt x="583204" y="791089"/>
                    </a:lnTo>
                    <a:lnTo>
                      <a:pt x="585325" y="790938"/>
                    </a:lnTo>
                    <a:lnTo>
                      <a:pt x="591537" y="787908"/>
                    </a:lnTo>
                    <a:lnTo>
                      <a:pt x="593810" y="787605"/>
                    </a:lnTo>
                    <a:lnTo>
                      <a:pt x="597446" y="788514"/>
                    </a:lnTo>
                    <a:lnTo>
                      <a:pt x="602144" y="790332"/>
                    </a:lnTo>
                    <a:lnTo>
                      <a:pt x="607447" y="789726"/>
                    </a:lnTo>
                    <a:lnTo>
                      <a:pt x="612144" y="788514"/>
                    </a:lnTo>
                    <a:lnTo>
                      <a:pt x="615174" y="789120"/>
                    </a:lnTo>
                    <a:lnTo>
                      <a:pt x="616084" y="789726"/>
                    </a:lnTo>
                    <a:lnTo>
                      <a:pt x="614871" y="790786"/>
                    </a:lnTo>
                    <a:lnTo>
                      <a:pt x="611538" y="792150"/>
                    </a:lnTo>
                    <a:lnTo>
                      <a:pt x="610477" y="793665"/>
                    </a:lnTo>
                    <a:lnTo>
                      <a:pt x="614720" y="799120"/>
                    </a:lnTo>
                    <a:lnTo>
                      <a:pt x="614568" y="800484"/>
                    </a:lnTo>
                    <a:lnTo>
                      <a:pt x="611538" y="801847"/>
                    </a:lnTo>
                    <a:lnTo>
                      <a:pt x="604416" y="803969"/>
                    </a:lnTo>
                    <a:lnTo>
                      <a:pt x="602144" y="806999"/>
                    </a:lnTo>
                    <a:lnTo>
                      <a:pt x="601992" y="810181"/>
                    </a:lnTo>
                    <a:lnTo>
                      <a:pt x="600174" y="816242"/>
                    </a:lnTo>
                    <a:lnTo>
                      <a:pt x="599719" y="819272"/>
                    </a:lnTo>
                    <a:lnTo>
                      <a:pt x="595174" y="825939"/>
                    </a:lnTo>
                    <a:lnTo>
                      <a:pt x="594719" y="829121"/>
                    </a:lnTo>
                    <a:lnTo>
                      <a:pt x="600931" y="829273"/>
                    </a:lnTo>
                    <a:lnTo>
                      <a:pt x="605932" y="827909"/>
                    </a:lnTo>
                    <a:lnTo>
                      <a:pt x="609568" y="827303"/>
                    </a:lnTo>
                    <a:lnTo>
                      <a:pt x="611689" y="829273"/>
                    </a:lnTo>
                    <a:lnTo>
                      <a:pt x="616084" y="830182"/>
                    </a:lnTo>
                    <a:lnTo>
                      <a:pt x="616084" y="830939"/>
                    </a:lnTo>
                    <a:lnTo>
                      <a:pt x="613508" y="832606"/>
                    </a:lnTo>
                    <a:lnTo>
                      <a:pt x="602598" y="833667"/>
                    </a:lnTo>
                    <a:lnTo>
                      <a:pt x="594568" y="833061"/>
                    </a:lnTo>
                    <a:lnTo>
                      <a:pt x="593658" y="834879"/>
                    </a:lnTo>
                    <a:lnTo>
                      <a:pt x="592598" y="842152"/>
                    </a:lnTo>
                    <a:lnTo>
                      <a:pt x="590022" y="851698"/>
                    </a:lnTo>
                    <a:lnTo>
                      <a:pt x="592749" y="851698"/>
                    </a:lnTo>
                    <a:lnTo>
                      <a:pt x="595931" y="850940"/>
                    </a:lnTo>
                    <a:lnTo>
                      <a:pt x="601992" y="848061"/>
                    </a:lnTo>
                    <a:lnTo>
                      <a:pt x="602144" y="849273"/>
                    </a:lnTo>
                    <a:lnTo>
                      <a:pt x="598204" y="854425"/>
                    </a:lnTo>
                    <a:lnTo>
                      <a:pt x="594870" y="857456"/>
                    </a:lnTo>
                    <a:lnTo>
                      <a:pt x="593204" y="858516"/>
                    </a:lnTo>
                    <a:lnTo>
                      <a:pt x="583355" y="860789"/>
                    </a:lnTo>
                    <a:lnTo>
                      <a:pt x="579416" y="861395"/>
                    </a:lnTo>
                    <a:lnTo>
                      <a:pt x="575173" y="860789"/>
                    </a:lnTo>
                    <a:lnTo>
                      <a:pt x="560930" y="853516"/>
                    </a:lnTo>
                    <a:lnTo>
                      <a:pt x="552748" y="853213"/>
                    </a:lnTo>
                    <a:lnTo>
                      <a:pt x="544869" y="855486"/>
                    </a:lnTo>
                    <a:lnTo>
                      <a:pt x="540929" y="857910"/>
                    </a:lnTo>
                    <a:lnTo>
                      <a:pt x="536232" y="867304"/>
                    </a:lnTo>
                    <a:lnTo>
                      <a:pt x="532899" y="870183"/>
                    </a:lnTo>
                    <a:lnTo>
                      <a:pt x="531686" y="872759"/>
                    </a:lnTo>
                    <a:lnTo>
                      <a:pt x="534262" y="872911"/>
                    </a:lnTo>
                    <a:lnTo>
                      <a:pt x="537444" y="872456"/>
                    </a:lnTo>
                    <a:lnTo>
                      <a:pt x="548202" y="872153"/>
                    </a:lnTo>
                    <a:lnTo>
                      <a:pt x="549111" y="873668"/>
                    </a:lnTo>
                    <a:lnTo>
                      <a:pt x="550475" y="874426"/>
                    </a:lnTo>
                    <a:lnTo>
                      <a:pt x="559263" y="876396"/>
                    </a:lnTo>
                    <a:lnTo>
                      <a:pt x="564263" y="876244"/>
                    </a:lnTo>
                    <a:lnTo>
                      <a:pt x="575021" y="874729"/>
                    </a:lnTo>
                    <a:lnTo>
                      <a:pt x="579718" y="873668"/>
                    </a:lnTo>
                    <a:lnTo>
                      <a:pt x="583961" y="869274"/>
                    </a:lnTo>
                    <a:lnTo>
                      <a:pt x="583355" y="868517"/>
                    </a:lnTo>
                    <a:lnTo>
                      <a:pt x="583961" y="868062"/>
                    </a:lnTo>
                    <a:lnTo>
                      <a:pt x="588355" y="867001"/>
                    </a:lnTo>
                    <a:lnTo>
                      <a:pt x="590628" y="866850"/>
                    </a:lnTo>
                    <a:lnTo>
                      <a:pt x="591689" y="868517"/>
                    </a:lnTo>
                    <a:lnTo>
                      <a:pt x="590628" y="871395"/>
                    </a:lnTo>
                    <a:lnTo>
                      <a:pt x="587143" y="875335"/>
                    </a:lnTo>
                    <a:lnTo>
                      <a:pt x="585476" y="876547"/>
                    </a:lnTo>
                    <a:lnTo>
                      <a:pt x="584870" y="877456"/>
                    </a:lnTo>
                    <a:lnTo>
                      <a:pt x="584416" y="880032"/>
                    </a:lnTo>
                    <a:lnTo>
                      <a:pt x="583810" y="881244"/>
                    </a:lnTo>
                    <a:lnTo>
                      <a:pt x="582143" y="883063"/>
                    </a:lnTo>
                    <a:lnTo>
                      <a:pt x="580022" y="884123"/>
                    </a:lnTo>
                    <a:lnTo>
                      <a:pt x="575021" y="883972"/>
                    </a:lnTo>
                    <a:lnTo>
                      <a:pt x="567445" y="883063"/>
                    </a:lnTo>
                    <a:lnTo>
                      <a:pt x="557142" y="879729"/>
                    </a:lnTo>
                    <a:lnTo>
                      <a:pt x="544717" y="877002"/>
                    </a:lnTo>
                    <a:lnTo>
                      <a:pt x="540626" y="876396"/>
                    </a:lnTo>
                    <a:lnTo>
                      <a:pt x="537596" y="876850"/>
                    </a:lnTo>
                    <a:lnTo>
                      <a:pt x="535929" y="881093"/>
                    </a:lnTo>
                    <a:lnTo>
                      <a:pt x="531989" y="888063"/>
                    </a:lnTo>
                    <a:lnTo>
                      <a:pt x="525777" y="894275"/>
                    </a:lnTo>
                    <a:lnTo>
                      <a:pt x="524717" y="897609"/>
                    </a:lnTo>
                    <a:lnTo>
                      <a:pt x="524717" y="900033"/>
                    </a:lnTo>
                    <a:lnTo>
                      <a:pt x="523959" y="902306"/>
                    </a:lnTo>
                    <a:lnTo>
                      <a:pt x="521686" y="907912"/>
                    </a:lnTo>
                    <a:lnTo>
                      <a:pt x="525323" y="908518"/>
                    </a:lnTo>
                    <a:lnTo>
                      <a:pt x="530323" y="906700"/>
                    </a:lnTo>
                    <a:lnTo>
                      <a:pt x="542293" y="898063"/>
                    </a:lnTo>
                    <a:lnTo>
                      <a:pt x="544566" y="897305"/>
                    </a:lnTo>
                    <a:lnTo>
                      <a:pt x="550778" y="896245"/>
                    </a:lnTo>
                    <a:lnTo>
                      <a:pt x="554263" y="895184"/>
                    </a:lnTo>
                    <a:lnTo>
                      <a:pt x="559718" y="894275"/>
                    </a:lnTo>
                    <a:lnTo>
                      <a:pt x="566233" y="897002"/>
                    </a:lnTo>
                    <a:lnTo>
                      <a:pt x="570627" y="897609"/>
                    </a:lnTo>
                    <a:lnTo>
                      <a:pt x="575476" y="898821"/>
                    </a:lnTo>
                    <a:lnTo>
                      <a:pt x="584870" y="898063"/>
                    </a:lnTo>
                    <a:lnTo>
                      <a:pt x="587598" y="896548"/>
                    </a:lnTo>
                    <a:lnTo>
                      <a:pt x="597295" y="895639"/>
                    </a:lnTo>
                    <a:lnTo>
                      <a:pt x="599568" y="896699"/>
                    </a:lnTo>
                    <a:lnTo>
                      <a:pt x="595628" y="898518"/>
                    </a:lnTo>
                    <a:lnTo>
                      <a:pt x="591840" y="898972"/>
                    </a:lnTo>
                    <a:lnTo>
                      <a:pt x="591689" y="900790"/>
                    </a:lnTo>
                    <a:lnTo>
                      <a:pt x="606235" y="907154"/>
                    </a:lnTo>
                    <a:lnTo>
                      <a:pt x="606992" y="908670"/>
                    </a:lnTo>
                    <a:lnTo>
                      <a:pt x="604416" y="909579"/>
                    </a:lnTo>
                    <a:lnTo>
                      <a:pt x="591386" y="903669"/>
                    </a:lnTo>
                    <a:lnTo>
                      <a:pt x="583961" y="902154"/>
                    </a:lnTo>
                    <a:lnTo>
                      <a:pt x="578052" y="903215"/>
                    </a:lnTo>
                    <a:lnTo>
                      <a:pt x="571385" y="902457"/>
                    </a:lnTo>
                    <a:lnTo>
                      <a:pt x="558354" y="898366"/>
                    </a:lnTo>
                    <a:lnTo>
                      <a:pt x="554869" y="897912"/>
                    </a:lnTo>
                    <a:lnTo>
                      <a:pt x="550626" y="898518"/>
                    </a:lnTo>
                    <a:lnTo>
                      <a:pt x="542293" y="901397"/>
                    </a:lnTo>
                    <a:lnTo>
                      <a:pt x="535323" y="906245"/>
                    </a:lnTo>
                    <a:lnTo>
                      <a:pt x="530171" y="909124"/>
                    </a:lnTo>
                    <a:lnTo>
                      <a:pt x="526535" y="910336"/>
                    </a:lnTo>
                    <a:lnTo>
                      <a:pt x="519716" y="914124"/>
                    </a:lnTo>
                    <a:lnTo>
                      <a:pt x="519565" y="918367"/>
                    </a:lnTo>
                    <a:lnTo>
                      <a:pt x="517443" y="927307"/>
                    </a:lnTo>
                    <a:lnTo>
                      <a:pt x="522898" y="934277"/>
                    </a:lnTo>
                    <a:lnTo>
                      <a:pt x="526383" y="936095"/>
                    </a:lnTo>
                    <a:lnTo>
                      <a:pt x="529565" y="937004"/>
                    </a:lnTo>
                    <a:lnTo>
                      <a:pt x="531535" y="936701"/>
                    </a:lnTo>
                    <a:lnTo>
                      <a:pt x="535474" y="937307"/>
                    </a:lnTo>
                    <a:lnTo>
                      <a:pt x="544263" y="937913"/>
                    </a:lnTo>
                    <a:lnTo>
                      <a:pt x="553808" y="937762"/>
                    </a:lnTo>
                    <a:lnTo>
                      <a:pt x="557445" y="938368"/>
                    </a:lnTo>
                    <a:lnTo>
                      <a:pt x="558657" y="939125"/>
                    </a:lnTo>
                    <a:lnTo>
                      <a:pt x="557445" y="940034"/>
                    </a:lnTo>
                    <a:lnTo>
                      <a:pt x="555778" y="940489"/>
                    </a:lnTo>
                    <a:lnTo>
                      <a:pt x="552748" y="940337"/>
                    </a:lnTo>
                    <a:lnTo>
                      <a:pt x="540778" y="941550"/>
                    </a:lnTo>
                    <a:lnTo>
                      <a:pt x="538656" y="944883"/>
                    </a:lnTo>
                    <a:lnTo>
                      <a:pt x="535626" y="946398"/>
                    </a:lnTo>
                    <a:lnTo>
                      <a:pt x="530323" y="949732"/>
                    </a:lnTo>
                    <a:lnTo>
                      <a:pt x="529868" y="950944"/>
                    </a:lnTo>
                    <a:lnTo>
                      <a:pt x="528807" y="952762"/>
                    </a:lnTo>
                    <a:lnTo>
                      <a:pt x="526232" y="955944"/>
                    </a:lnTo>
                    <a:lnTo>
                      <a:pt x="524413" y="960490"/>
                    </a:lnTo>
                    <a:lnTo>
                      <a:pt x="524717" y="963672"/>
                    </a:lnTo>
                    <a:lnTo>
                      <a:pt x="523959" y="966853"/>
                    </a:lnTo>
                    <a:lnTo>
                      <a:pt x="524868" y="972308"/>
                    </a:lnTo>
                    <a:lnTo>
                      <a:pt x="526989" y="973066"/>
                    </a:lnTo>
                    <a:lnTo>
                      <a:pt x="530474" y="972157"/>
                    </a:lnTo>
                    <a:lnTo>
                      <a:pt x="537444" y="971399"/>
                    </a:lnTo>
                    <a:lnTo>
                      <a:pt x="540778" y="970338"/>
                    </a:lnTo>
                    <a:lnTo>
                      <a:pt x="543960" y="968520"/>
                    </a:lnTo>
                    <a:lnTo>
                      <a:pt x="546838" y="965944"/>
                    </a:lnTo>
                    <a:lnTo>
                      <a:pt x="550626" y="963217"/>
                    </a:lnTo>
                    <a:lnTo>
                      <a:pt x="557597" y="958974"/>
                    </a:lnTo>
                    <a:lnTo>
                      <a:pt x="573961" y="947459"/>
                    </a:lnTo>
                    <a:lnTo>
                      <a:pt x="578809" y="944883"/>
                    </a:lnTo>
                    <a:lnTo>
                      <a:pt x="585476" y="940337"/>
                    </a:lnTo>
                    <a:lnTo>
                      <a:pt x="588810" y="938671"/>
                    </a:lnTo>
                    <a:lnTo>
                      <a:pt x="590325" y="939125"/>
                    </a:lnTo>
                    <a:lnTo>
                      <a:pt x="589416" y="940943"/>
                    </a:lnTo>
                    <a:lnTo>
                      <a:pt x="582294" y="945944"/>
                    </a:lnTo>
                    <a:lnTo>
                      <a:pt x="577900" y="948216"/>
                    </a:lnTo>
                    <a:lnTo>
                      <a:pt x="573961" y="949732"/>
                    </a:lnTo>
                    <a:lnTo>
                      <a:pt x="572142" y="951095"/>
                    </a:lnTo>
                    <a:lnTo>
                      <a:pt x="571082" y="952762"/>
                    </a:lnTo>
                    <a:lnTo>
                      <a:pt x="567748" y="956399"/>
                    </a:lnTo>
                    <a:lnTo>
                      <a:pt x="565021" y="958065"/>
                    </a:lnTo>
                    <a:lnTo>
                      <a:pt x="561385" y="959580"/>
                    </a:lnTo>
                    <a:lnTo>
                      <a:pt x="555475" y="963065"/>
                    </a:lnTo>
                    <a:lnTo>
                      <a:pt x="541535" y="971854"/>
                    </a:lnTo>
                    <a:lnTo>
                      <a:pt x="532293" y="976248"/>
                    </a:lnTo>
                    <a:lnTo>
                      <a:pt x="531383" y="977308"/>
                    </a:lnTo>
                    <a:lnTo>
                      <a:pt x="532747" y="977915"/>
                    </a:lnTo>
                    <a:lnTo>
                      <a:pt x="534717" y="980036"/>
                    </a:lnTo>
                    <a:lnTo>
                      <a:pt x="535474" y="980339"/>
                    </a:lnTo>
                    <a:lnTo>
                      <a:pt x="539262" y="980490"/>
                    </a:lnTo>
                    <a:lnTo>
                      <a:pt x="535777" y="989885"/>
                    </a:lnTo>
                    <a:lnTo>
                      <a:pt x="536687" y="997915"/>
                    </a:lnTo>
                    <a:lnTo>
                      <a:pt x="537899" y="998824"/>
                    </a:lnTo>
                    <a:lnTo>
                      <a:pt x="542293" y="999279"/>
                    </a:lnTo>
                    <a:lnTo>
                      <a:pt x="548657" y="998218"/>
                    </a:lnTo>
                    <a:lnTo>
                      <a:pt x="554414" y="1003976"/>
                    </a:lnTo>
                    <a:lnTo>
                      <a:pt x="560021" y="1003976"/>
                    </a:lnTo>
                    <a:lnTo>
                      <a:pt x="568506" y="999127"/>
                    </a:lnTo>
                    <a:lnTo>
                      <a:pt x="571536" y="997006"/>
                    </a:lnTo>
                    <a:lnTo>
                      <a:pt x="575476" y="993067"/>
                    </a:lnTo>
                    <a:lnTo>
                      <a:pt x="576991" y="992157"/>
                    </a:lnTo>
                    <a:lnTo>
                      <a:pt x="586082" y="989582"/>
                    </a:lnTo>
                    <a:lnTo>
                      <a:pt x="592901" y="989279"/>
                    </a:lnTo>
                    <a:lnTo>
                      <a:pt x="594416" y="989733"/>
                    </a:lnTo>
                    <a:lnTo>
                      <a:pt x="594416" y="990794"/>
                    </a:lnTo>
                    <a:lnTo>
                      <a:pt x="590022" y="990945"/>
                    </a:lnTo>
                    <a:lnTo>
                      <a:pt x="580022" y="992460"/>
                    </a:lnTo>
                    <a:lnTo>
                      <a:pt x="577294" y="994430"/>
                    </a:lnTo>
                    <a:lnTo>
                      <a:pt x="570476" y="1000643"/>
                    </a:lnTo>
                    <a:lnTo>
                      <a:pt x="564718" y="1004582"/>
                    </a:lnTo>
                    <a:lnTo>
                      <a:pt x="556990" y="1008067"/>
                    </a:lnTo>
                    <a:lnTo>
                      <a:pt x="555778" y="1008673"/>
                    </a:lnTo>
                    <a:lnTo>
                      <a:pt x="554869" y="1009582"/>
                    </a:lnTo>
                    <a:lnTo>
                      <a:pt x="555930" y="1012007"/>
                    </a:lnTo>
                    <a:lnTo>
                      <a:pt x="557293" y="1014431"/>
                    </a:lnTo>
                    <a:lnTo>
                      <a:pt x="557293" y="1015189"/>
                    </a:lnTo>
                    <a:lnTo>
                      <a:pt x="562445" y="1017461"/>
                    </a:lnTo>
                    <a:lnTo>
                      <a:pt x="563051" y="1021704"/>
                    </a:lnTo>
                    <a:lnTo>
                      <a:pt x="566082" y="1033523"/>
                    </a:lnTo>
                    <a:lnTo>
                      <a:pt x="566991" y="1038523"/>
                    </a:lnTo>
                    <a:lnTo>
                      <a:pt x="566839" y="1042311"/>
                    </a:lnTo>
                    <a:lnTo>
                      <a:pt x="566991" y="1050341"/>
                    </a:lnTo>
                    <a:lnTo>
                      <a:pt x="567748" y="1053372"/>
                    </a:lnTo>
                    <a:lnTo>
                      <a:pt x="569567" y="1057311"/>
                    </a:lnTo>
                    <a:lnTo>
                      <a:pt x="571688" y="1058978"/>
                    </a:lnTo>
                    <a:lnTo>
                      <a:pt x="574112" y="1058372"/>
                    </a:lnTo>
                    <a:lnTo>
                      <a:pt x="576233" y="1056251"/>
                    </a:lnTo>
                    <a:lnTo>
                      <a:pt x="578506" y="1052008"/>
                    </a:lnTo>
                    <a:lnTo>
                      <a:pt x="584113" y="1044281"/>
                    </a:lnTo>
                    <a:lnTo>
                      <a:pt x="586082" y="1041099"/>
                    </a:lnTo>
                    <a:lnTo>
                      <a:pt x="587143" y="1037614"/>
                    </a:lnTo>
                    <a:lnTo>
                      <a:pt x="590173" y="1035038"/>
                    </a:lnTo>
                    <a:lnTo>
                      <a:pt x="593355" y="1033826"/>
                    </a:lnTo>
                    <a:lnTo>
                      <a:pt x="592446" y="1037311"/>
                    </a:lnTo>
                    <a:lnTo>
                      <a:pt x="591082" y="1040796"/>
                    </a:lnTo>
                    <a:lnTo>
                      <a:pt x="597446" y="1039129"/>
                    </a:lnTo>
                    <a:lnTo>
                      <a:pt x="600174" y="1037765"/>
                    </a:lnTo>
                    <a:lnTo>
                      <a:pt x="603204" y="1035492"/>
                    </a:lnTo>
                    <a:lnTo>
                      <a:pt x="604871" y="1033219"/>
                    </a:lnTo>
                    <a:lnTo>
                      <a:pt x="603659" y="1030341"/>
                    </a:lnTo>
                    <a:lnTo>
                      <a:pt x="601234" y="1023219"/>
                    </a:lnTo>
                    <a:lnTo>
                      <a:pt x="599568" y="1019886"/>
                    </a:lnTo>
                    <a:lnTo>
                      <a:pt x="598356" y="1015189"/>
                    </a:lnTo>
                    <a:lnTo>
                      <a:pt x="599416" y="1015340"/>
                    </a:lnTo>
                    <a:lnTo>
                      <a:pt x="601386" y="1018977"/>
                    </a:lnTo>
                    <a:lnTo>
                      <a:pt x="602598" y="1021704"/>
                    </a:lnTo>
                    <a:lnTo>
                      <a:pt x="606235" y="1027310"/>
                    </a:lnTo>
                    <a:lnTo>
                      <a:pt x="606386" y="1029128"/>
                    </a:lnTo>
                    <a:lnTo>
                      <a:pt x="607144" y="1030492"/>
                    </a:lnTo>
                    <a:lnTo>
                      <a:pt x="610780" y="1034280"/>
                    </a:lnTo>
                    <a:lnTo>
                      <a:pt x="616690" y="1033674"/>
                    </a:lnTo>
                    <a:lnTo>
                      <a:pt x="618811" y="1034735"/>
                    </a:lnTo>
                    <a:lnTo>
                      <a:pt x="621538" y="1037007"/>
                    </a:lnTo>
                    <a:lnTo>
                      <a:pt x="622296" y="1042311"/>
                    </a:lnTo>
                    <a:lnTo>
                      <a:pt x="624417" y="1045796"/>
                    </a:lnTo>
                    <a:lnTo>
                      <a:pt x="624569" y="1048523"/>
                    </a:lnTo>
                    <a:lnTo>
                      <a:pt x="620478" y="1046705"/>
                    </a:lnTo>
                    <a:lnTo>
                      <a:pt x="617447" y="1041250"/>
                    </a:lnTo>
                    <a:lnTo>
                      <a:pt x="615023" y="1038220"/>
                    </a:lnTo>
                    <a:lnTo>
                      <a:pt x="611235" y="1037765"/>
                    </a:lnTo>
                    <a:lnTo>
                      <a:pt x="605932" y="1038371"/>
                    </a:lnTo>
                    <a:lnTo>
                      <a:pt x="601386" y="1039886"/>
                    </a:lnTo>
                    <a:lnTo>
                      <a:pt x="601083" y="1041099"/>
                    </a:lnTo>
                    <a:lnTo>
                      <a:pt x="601689" y="1043674"/>
                    </a:lnTo>
                    <a:lnTo>
                      <a:pt x="599719" y="1043220"/>
                    </a:lnTo>
                    <a:lnTo>
                      <a:pt x="594113" y="1042917"/>
                    </a:lnTo>
                    <a:lnTo>
                      <a:pt x="590780" y="1043523"/>
                    </a:lnTo>
                    <a:lnTo>
                      <a:pt x="586082" y="1047766"/>
                    </a:lnTo>
                    <a:lnTo>
                      <a:pt x="582597" y="1054281"/>
                    </a:lnTo>
                    <a:lnTo>
                      <a:pt x="577900" y="1059130"/>
                    </a:lnTo>
                    <a:lnTo>
                      <a:pt x="578658" y="1060948"/>
                    </a:lnTo>
                    <a:lnTo>
                      <a:pt x="581385" y="1063675"/>
                    </a:lnTo>
                    <a:lnTo>
                      <a:pt x="582597" y="1063978"/>
                    </a:lnTo>
                    <a:lnTo>
                      <a:pt x="584113" y="1063675"/>
                    </a:lnTo>
                    <a:lnTo>
                      <a:pt x="586688" y="1062766"/>
                    </a:lnTo>
                    <a:lnTo>
                      <a:pt x="587901" y="1062918"/>
                    </a:lnTo>
                    <a:lnTo>
                      <a:pt x="595477" y="1061402"/>
                    </a:lnTo>
                    <a:lnTo>
                      <a:pt x="605022" y="1058524"/>
                    </a:lnTo>
                    <a:lnTo>
                      <a:pt x="611538" y="1055039"/>
                    </a:lnTo>
                    <a:lnTo>
                      <a:pt x="612750" y="1054736"/>
                    </a:lnTo>
                    <a:lnTo>
                      <a:pt x="612144" y="1056857"/>
                    </a:lnTo>
                    <a:lnTo>
                      <a:pt x="611235" y="1058524"/>
                    </a:lnTo>
                    <a:lnTo>
                      <a:pt x="611386" y="1059433"/>
                    </a:lnTo>
                    <a:lnTo>
                      <a:pt x="613811" y="1059736"/>
                    </a:lnTo>
                    <a:lnTo>
                      <a:pt x="617447" y="1059281"/>
                    </a:lnTo>
                    <a:lnTo>
                      <a:pt x="615174" y="1061251"/>
                    </a:lnTo>
                    <a:lnTo>
                      <a:pt x="608507" y="1061554"/>
                    </a:lnTo>
                    <a:lnTo>
                      <a:pt x="605325" y="1062160"/>
                    </a:lnTo>
                    <a:lnTo>
                      <a:pt x="599871" y="1064130"/>
                    </a:lnTo>
                    <a:lnTo>
                      <a:pt x="589416" y="1066403"/>
                    </a:lnTo>
                    <a:lnTo>
                      <a:pt x="582143" y="1068524"/>
                    </a:lnTo>
                    <a:lnTo>
                      <a:pt x="584719" y="1072918"/>
                    </a:lnTo>
                    <a:lnTo>
                      <a:pt x="582294" y="1079282"/>
                    </a:lnTo>
                    <a:lnTo>
                      <a:pt x="584264" y="1084282"/>
                    </a:lnTo>
                    <a:lnTo>
                      <a:pt x="591992" y="1093222"/>
                    </a:lnTo>
                    <a:lnTo>
                      <a:pt x="596840" y="1100949"/>
                    </a:lnTo>
                    <a:lnTo>
                      <a:pt x="600174" y="1104889"/>
                    </a:lnTo>
                    <a:lnTo>
                      <a:pt x="602598" y="1108222"/>
                    </a:lnTo>
                    <a:lnTo>
                      <a:pt x="604265" y="1109889"/>
                    </a:lnTo>
                    <a:lnTo>
                      <a:pt x="608053" y="1112162"/>
                    </a:lnTo>
                    <a:lnTo>
                      <a:pt x="608962" y="1113374"/>
                    </a:lnTo>
                    <a:lnTo>
                      <a:pt x="610932" y="1114435"/>
                    </a:lnTo>
                    <a:lnTo>
                      <a:pt x="613508" y="1118526"/>
                    </a:lnTo>
                    <a:lnTo>
                      <a:pt x="613962" y="1119738"/>
                    </a:lnTo>
                    <a:lnTo>
                      <a:pt x="615326" y="1119435"/>
                    </a:lnTo>
                    <a:lnTo>
                      <a:pt x="621993" y="1113071"/>
                    </a:lnTo>
                    <a:lnTo>
                      <a:pt x="630175" y="1110192"/>
                    </a:lnTo>
                    <a:lnTo>
                      <a:pt x="622447" y="1116253"/>
                    </a:lnTo>
                    <a:lnTo>
                      <a:pt x="618962" y="1120344"/>
                    </a:lnTo>
                    <a:lnTo>
                      <a:pt x="616386" y="1124132"/>
                    </a:lnTo>
                    <a:lnTo>
                      <a:pt x="617599" y="1125950"/>
                    </a:lnTo>
                    <a:lnTo>
                      <a:pt x="617447" y="1130344"/>
                    </a:lnTo>
                    <a:lnTo>
                      <a:pt x="616841" y="1132314"/>
                    </a:lnTo>
                    <a:lnTo>
                      <a:pt x="615780" y="1134738"/>
                    </a:lnTo>
                    <a:lnTo>
                      <a:pt x="616690" y="1135041"/>
                    </a:lnTo>
                    <a:lnTo>
                      <a:pt x="619568" y="1137314"/>
                    </a:lnTo>
                    <a:lnTo>
                      <a:pt x="622599" y="1139284"/>
                    </a:lnTo>
                    <a:lnTo>
                      <a:pt x="626084" y="1140951"/>
                    </a:lnTo>
                    <a:lnTo>
                      <a:pt x="629872" y="1142617"/>
                    </a:lnTo>
                    <a:lnTo>
                      <a:pt x="633205" y="1143224"/>
                    </a:lnTo>
                    <a:lnTo>
                      <a:pt x="636842" y="1144890"/>
                    </a:lnTo>
                    <a:lnTo>
                      <a:pt x="633660" y="1148375"/>
                    </a:lnTo>
                    <a:lnTo>
                      <a:pt x="633205" y="1150800"/>
                    </a:lnTo>
                    <a:lnTo>
                      <a:pt x="633660" y="1153982"/>
                    </a:lnTo>
                    <a:lnTo>
                      <a:pt x="634721" y="1154739"/>
                    </a:lnTo>
                    <a:lnTo>
                      <a:pt x="642297" y="1154285"/>
                    </a:lnTo>
                    <a:lnTo>
                      <a:pt x="644266" y="1152769"/>
                    </a:lnTo>
                    <a:lnTo>
                      <a:pt x="646388" y="1150497"/>
                    </a:lnTo>
                    <a:lnTo>
                      <a:pt x="648660" y="1149890"/>
                    </a:lnTo>
                    <a:lnTo>
                      <a:pt x="651691" y="1150042"/>
                    </a:lnTo>
                    <a:lnTo>
                      <a:pt x="656540" y="1151254"/>
                    </a:lnTo>
                    <a:lnTo>
                      <a:pt x="650782" y="1152921"/>
                    </a:lnTo>
                    <a:lnTo>
                      <a:pt x="649873" y="1153982"/>
                    </a:lnTo>
                    <a:lnTo>
                      <a:pt x="648206" y="1154891"/>
                    </a:lnTo>
                    <a:lnTo>
                      <a:pt x="643206" y="1157163"/>
                    </a:lnTo>
                    <a:lnTo>
                      <a:pt x="641387" y="1159133"/>
                    </a:lnTo>
                    <a:lnTo>
                      <a:pt x="641842" y="1161255"/>
                    </a:lnTo>
                    <a:lnTo>
                      <a:pt x="643509" y="1163982"/>
                    </a:lnTo>
                    <a:lnTo>
                      <a:pt x="643357" y="1165043"/>
                    </a:lnTo>
                    <a:lnTo>
                      <a:pt x="644569" y="1166558"/>
                    </a:lnTo>
                    <a:lnTo>
                      <a:pt x="646539" y="1167618"/>
                    </a:lnTo>
                    <a:lnTo>
                      <a:pt x="645781" y="1169891"/>
                    </a:lnTo>
                    <a:lnTo>
                      <a:pt x="643963" y="1171710"/>
                    </a:lnTo>
                    <a:lnTo>
                      <a:pt x="646236" y="1173376"/>
                    </a:lnTo>
                    <a:lnTo>
                      <a:pt x="650479" y="1174437"/>
                    </a:lnTo>
                    <a:lnTo>
                      <a:pt x="652145" y="1178376"/>
                    </a:lnTo>
                    <a:lnTo>
                      <a:pt x="652752" y="1181558"/>
                    </a:lnTo>
                    <a:lnTo>
                      <a:pt x="653964" y="1184740"/>
                    </a:lnTo>
                    <a:lnTo>
                      <a:pt x="662903" y="1185952"/>
                    </a:lnTo>
                    <a:lnTo>
                      <a:pt x="663964" y="1186558"/>
                    </a:lnTo>
                    <a:lnTo>
                      <a:pt x="665631" y="1187013"/>
                    </a:lnTo>
                    <a:lnTo>
                      <a:pt x="667449" y="1188528"/>
                    </a:lnTo>
                    <a:lnTo>
                      <a:pt x="667601" y="1189134"/>
                    </a:lnTo>
                    <a:lnTo>
                      <a:pt x="668813" y="1190498"/>
                    </a:lnTo>
                    <a:lnTo>
                      <a:pt x="668055" y="1195801"/>
                    </a:lnTo>
                    <a:lnTo>
                      <a:pt x="673358" y="1195498"/>
                    </a:lnTo>
                    <a:lnTo>
                      <a:pt x="674722" y="1196104"/>
                    </a:lnTo>
                    <a:lnTo>
                      <a:pt x="682601" y="1195498"/>
                    </a:lnTo>
                    <a:lnTo>
                      <a:pt x="685026" y="1196256"/>
                    </a:lnTo>
                    <a:lnTo>
                      <a:pt x="681389" y="1198377"/>
                    </a:lnTo>
                    <a:lnTo>
                      <a:pt x="673207" y="1202165"/>
                    </a:lnTo>
                    <a:lnTo>
                      <a:pt x="672146" y="1204135"/>
                    </a:lnTo>
                    <a:lnTo>
                      <a:pt x="673813" y="1205650"/>
                    </a:lnTo>
                    <a:lnTo>
                      <a:pt x="675783" y="1206711"/>
                    </a:lnTo>
                    <a:lnTo>
                      <a:pt x="678359" y="1207620"/>
                    </a:lnTo>
                    <a:lnTo>
                      <a:pt x="683510" y="1207468"/>
                    </a:lnTo>
                    <a:lnTo>
                      <a:pt x="686237" y="1207317"/>
                    </a:lnTo>
                    <a:lnTo>
                      <a:pt x="684571" y="1204438"/>
                    </a:lnTo>
                    <a:lnTo>
                      <a:pt x="684419" y="1203226"/>
                    </a:lnTo>
                    <a:lnTo>
                      <a:pt x="686844" y="1203226"/>
                    </a:lnTo>
                    <a:lnTo>
                      <a:pt x="690329" y="1202317"/>
                    </a:lnTo>
                    <a:lnTo>
                      <a:pt x="693511" y="1202468"/>
                    </a:lnTo>
                    <a:lnTo>
                      <a:pt x="696086" y="1204286"/>
                    </a:lnTo>
                    <a:lnTo>
                      <a:pt x="700026" y="1205044"/>
                    </a:lnTo>
                    <a:lnTo>
                      <a:pt x="702753" y="1203832"/>
                    </a:lnTo>
                    <a:lnTo>
                      <a:pt x="706693" y="1203529"/>
                    </a:lnTo>
                    <a:lnTo>
                      <a:pt x="709572" y="1203680"/>
                    </a:lnTo>
                    <a:lnTo>
                      <a:pt x="711390" y="1201862"/>
                    </a:lnTo>
                    <a:lnTo>
                      <a:pt x="713814" y="1200044"/>
                    </a:lnTo>
                    <a:lnTo>
                      <a:pt x="717451" y="1197620"/>
                    </a:lnTo>
                    <a:lnTo>
                      <a:pt x="725330" y="1195044"/>
                    </a:lnTo>
                    <a:lnTo>
                      <a:pt x="733058" y="1192013"/>
                    </a:lnTo>
                    <a:lnTo>
                      <a:pt x="734118" y="1190650"/>
                    </a:lnTo>
                    <a:lnTo>
                      <a:pt x="733967" y="1188680"/>
                    </a:lnTo>
                    <a:lnTo>
                      <a:pt x="734876" y="1187468"/>
                    </a:lnTo>
                    <a:lnTo>
                      <a:pt x="736846" y="1186862"/>
                    </a:lnTo>
                    <a:lnTo>
                      <a:pt x="737452" y="1188377"/>
                    </a:lnTo>
                    <a:lnTo>
                      <a:pt x="736694" y="1192013"/>
                    </a:lnTo>
                    <a:lnTo>
                      <a:pt x="735179" y="1194741"/>
                    </a:lnTo>
                    <a:lnTo>
                      <a:pt x="732906" y="1197165"/>
                    </a:lnTo>
                    <a:lnTo>
                      <a:pt x="729572" y="1205196"/>
                    </a:lnTo>
                    <a:lnTo>
                      <a:pt x="732148" y="1211862"/>
                    </a:lnTo>
                    <a:lnTo>
                      <a:pt x="734118" y="1212468"/>
                    </a:lnTo>
                    <a:lnTo>
                      <a:pt x="735330" y="1213378"/>
                    </a:lnTo>
                    <a:lnTo>
                      <a:pt x="741846" y="1214893"/>
                    </a:lnTo>
                    <a:lnTo>
                      <a:pt x="744725" y="1215802"/>
                    </a:lnTo>
                    <a:lnTo>
                      <a:pt x="749119" y="1217923"/>
                    </a:lnTo>
                    <a:lnTo>
                      <a:pt x="750482" y="1218832"/>
                    </a:lnTo>
                    <a:lnTo>
                      <a:pt x="753210" y="1218378"/>
                    </a:lnTo>
                    <a:lnTo>
                      <a:pt x="758665" y="1216257"/>
                    </a:lnTo>
                    <a:lnTo>
                      <a:pt x="767604" y="1209741"/>
                    </a:lnTo>
                    <a:lnTo>
                      <a:pt x="768059" y="1210196"/>
                    </a:lnTo>
                    <a:lnTo>
                      <a:pt x="765028" y="1215347"/>
                    </a:lnTo>
                    <a:lnTo>
                      <a:pt x="761695" y="1218378"/>
                    </a:lnTo>
                    <a:lnTo>
                      <a:pt x="758816" y="1220045"/>
                    </a:lnTo>
                    <a:lnTo>
                      <a:pt x="755483" y="1221408"/>
                    </a:lnTo>
                    <a:lnTo>
                      <a:pt x="750937" y="1221863"/>
                    </a:lnTo>
                    <a:lnTo>
                      <a:pt x="751089" y="1225045"/>
                    </a:lnTo>
                    <a:lnTo>
                      <a:pt x="750634" y="1228833"/>
                    </a:lnTo>
                    <a:lnTo>
                      <a:pt x="766089" y="1235045"/>
                    </a:lnTo>
                    <a:lnTo>
                      <a:pt x="771544" y="1236409"/>
                    </a:lnTo>
                    <a:lnTo>
                      <a:pt x="773665" y="1235954"/>
                    </a:lnTo>
                    <a:lnTo>
                      <a:pt x="775180" y="1233227"/>
                    </a:lnTo>
                    <a:lnTo>
                      <a:pt x="778665" y="1228681"/>
                    </a:lnTo>
                    <a:lnTo>
                      <a:pt x="781847" y="1226105"/>
                    </a:lnTo>
                    <a:lnTo>
                      <a:pt x="783211" y="1227318"/>
                    </a:lnTo>
                    <a:lnTo>
                      <a:pt x="781696" y="1229893"/>
                    </a:lnTo>
                    <a:lnTo>
                      <a:pt x="776999" y="1234742"/>
                    </a:lnTo>
                    <a:lnTo>
                      <a:pt x="775635" y="1236560"/>
                    </a:lnTo>
                    <a:lnTo>
                      <a:pt x="776695" y="1240348"/>
                    </a:lnTo>
                    <a:lnTo>
                      <a:pt x="777453" y="1241257"/>
                    </a:lnTo>
                    <a:lnTo>
                      <a:pt x="778817" y="1241106"/>
                    </a:lnTo>
                    <a:lnTo>
                      <a:pt x="780483" y="1241409"/>
                    </a:lnTo>
                    <a:lnTo>
                      <a:pt x="783362" y="1240500"/>
                    </a:lnTo>
                    <a:lnTo>
                      <a:pt x="785938" y="1240197"/>
                    </a:lnTo>
                    <a:lnTo>
                      <a:pt x="784878" y="1242167"/>
                    </a:lnTo>
                    <a:lnTo>
                      <a:pt x="784575" y="1243985"/>
                    </a:lnTo>
                    <a:lnTo>
                      <a:pt x="790332" y="1244591"/>
                    </a:lnTo>
                    <a:lnTo>
                      <a:pt x="793514" y="1243379"/>
                    </a:lnTo>
                    <a:lnTo>
                      <a:pt x="795787" y="1243227"/>
                    </a:lnTo>
                    <a:lnTo>
                      <a:pt x="797151" y="1242773"/>
                    </a:lnTo>
                    <a:lnTo>
                      <a:pt x="795333" y="1241257"/>
                    </a:lnTo>
                    <a:lnTo>
                      <a:pt x="789726" y="1237621"/>
                    </a:lnTo>
                    <a:lnTo>
                      <a:pt x="789272" y="1236409"/>
                    </a:lnTo>
                    <a:lnTo>
                      <a:pt x="797151" y="1239136"/>
                    </a:lnTo>
                    <a:lnTo>
                      <a:pt x="798514" y="1240045"/>
                    </a:lnTo>
                    <a:lnTo>
                      <a:pt x="806697" y="1240348"/>
                    </a:lnTo>
                    <a:lnTo>
                      <a:pt x="808969" y="1237772"/>
                    </a:lnTo>
                    <a:lnTo>
                      <a:pt x="812000" y="1234894"/>
                    </a:lnTo>
                    <a:lnTo>
                      <a:pt x="810788" y="1226560"/>
                    </a:lnTo>
                    <a:lnTo>
                      <a:pt x="810788" y="1225045"/>
                    </a:lnTo>
                    <a:lnTo>
                      <a:pt x="811091" y="1223681"/>
                    </a:lnTo>
                    <a:lnTo>
                      <a:pt x="809575" y="1221257"/>
                    </a:lnTo>
                    <a:lnTo>
                      <a:pt x="807303" y="1218984"/>
                    </a:lnTo>
                    <a:lnTo>
                      <a:pt x="800787" y="1217772"/>
                    </a:lnTo>
                    <a:lnTo>
                      <a:pt x="797151" y="1216560"/>
                    </a:lnTo>
                    <a:lnTo>
                      <a:pt x="792605" y="1215802"/>
                    </a:lnTo>
                    <a:lnTo>
                      <a:pt x="789575" y="1213984"/>
                    </a:lnTo>
                    <a:lnTo>
                      <a:pt x="790029" y="1212772"/>
                    </a:lnTo>
                    <a:lnTo>
                      <a:pt x="793666" y="1212772"/>
                    </a:lnTo>
                    <a:lnTo>
                      <a:pt x="798969" y="1213529"/>
                    </a:lnTo>
                    <a:lnTo>
                      <a:pt x="805787" y="1215802"/>
                    </a:lnTo>
                    <a:lnTo>
                      <a:pt x="810182" y="1216257"/>
                    </a:lnTo>
                    <a:lnTo>
                      <a:pt x="810939" y="1215802"/>
                    </a:lnTo>
                    <a:lnTo>
                      <a:pt x="814121" y="1215499"/>
                    </a:lnTo>
                    <a:lnTo>
                      <a:pt x="823061" y="1205347"/>
                    </a:lnTo>
                    <a:lnTo>
                      <a:pt x="825031" y="1193074"/>
                    </a:lnTo>
                    <a:lnTo>
                      <a:pt x="829122" y="1180649"/>
                    </a:lnTo>
                    <a:lnTo>
                      <a:pt x="831243" y="1173376"/>
                    </a:lnTo>
                    <a:lnTo>
                      <a:pt x="833213" y="1170043"/>
                    </a:lnTo>
                    <a:lnTo>
                      <a:pt x="833819" y="1167315"/>
                    </a:lnTo>
                    <a:lnTo>
                      <a:pt x="826697" y="1165800"/>
                    </a:lnTo>
                    <a:lnTo>
                      <a:pt x="828213" y="1164133"/>
                    </a:lnTo>
                    <a:lnTo>
                      <a:pt x="832758" y="1163376"/>
                    </a:lnTo>
                    <a:lnTo>
                      <a:pt x="835940" y="1163527"/>
                    </a:lnTo>
                    <a:lnTo>
                      <a:pt x="839728" y="1159891"/>
                    </a:lnTo>
                    <a:lnTo>
                      <a:pt x="838516" y="1155800"/>
                    </a:lnTo>
                    <a:lnTo>
                      <a:pt x="838819" y="1153224"/>
                    </a:lnTo>
                    <a:lnTo>
                      <a:pt x="836243" y="1151254"/>
                    </a:lnTo>
                    <a:lnTo>
                      <a:pt x="833970" y="1147315"/>
                    </a:lnTo>
                    <a:lnTo>
                      <a:pt x="835940" y="1141557"/>
                    </a:lnTo>
                    <a:lnTo>
                      <a:pt x="836395" y="1139133"/>
                    </a:lnTo>
                    <a:lnTo>
                      <a:pt x="837304" y="1137011"/>
                    </a:lnTo>
                    <a:lnTo>
                      <a:pt x="836092" y="1134132"/>
                    </a:lnTo>
                    <a:lnTo>
                      <a:pt x="838213" y="1132163"/>
                    </a:lnTo>
                    <a:lnTo>
                      <a:pt x="838516" y="1129738"/>
                    </a:lnTo>
                    <a:lnTo>
                      <a:pt x="829879" y="1128526"/>
                    </a:lnTo>
                    <a:lnTo>
                      <a:pt x="824273" y="1126859"/>
                    </a:lnTo>
                    <a:lnTo>
                      <a:pt x="819273" y="1125193"/>
                    </a:lnTo>
                    <a:lnTo>
                      <a:pt x="816849" y="1123374"/>
                    </a:lnTo>
                    <a:lnTo>
                      <a:pt x="819424" y="1123071"/>
                    </a:lnTo>
                    <a:lnTo>
                      <a:pt x="822455" y="1123677"/>
                    </a:lnTo>
                    <a:lnTo>
                      <a:pt x="831092" y="1123223"/>
                    </a:lnTo>
                    <a:lnTo>
                      <a:pt x="834122" y="1123829"/>
                    </a:lnTo>
                    <a:lnTo>
                      <a:pt x="841092" y="1124435"/>
                    </a:lnTo>
                    <a:lnTo>
                      <a:pt x="843365" y="1122768"/>
                    </a:lnTo>
                    <a:lnTo>
                      <a:pt x="845183" y="1122617"/>
                    </a:lnTo>
                    <a:lnTo>
                      <a:pt x="850335" y="1115950"/>
                    </a:lnTo>
                    <a:lnTo>
                      <a:pt x="852456" y="1114889"/>
                    </a:lnTo>
                    <a:lnTo>
                      <a:pt x="852759" y="1112465"/>
                    </a:lnTo>
                    <a:lnTo>
                      <a:pt x="844577" y="1108980"/>
                    </a:lnTo>
                    <a:lnTo>
                      <a:pt x="840183" y="1106252"/>
                    </a:lnTo>
                    <a:lnTo>
                      <a:pt x="838819" y="1104737"/>
                    </a:lnTo>
                    <a:lnTo>
                      <a:pt x="837910" y="1102313"/>
                    </a:lnTo>
                    <a:lnTo>
                      <a:pt x="840183" y="1103222"/>
                    </a:lnTo>
                    <a:lnTo>
                      <a:pt x="842152" y="1104434"/>
                    </a:lnTo>
                    <a:lnTo>
                      <a:pt x="847001" y="1108222"/>
                    </a:lnTo>
                    <a:lnTo>
                      <a:pt x="852910" y="1108525"/>
                    </a:lnTo>
                    <a:lnTo>
                      <a:pt x="857911" y="1108374"/>
                    </a:lnTo>
                    <a:lnTo>
                      <a:pt x="859577" y="1108677"/>
                    </a:lnTo>
                    <a:lnTo>
                      <a:pt x="862608" y="1105646"/>
                    </a:lnTo>
                    <a:lnTo>
                      <a:pt x="864729" y="1102313"/>
                    </a:lnTo>
                    <a:lnTo>
                      <a:pt x="867153" y="1099586"/>
                    </a:lnTo>
                    <a:lnTo>
                      <a:pt x="866396" y="1098070"/>
                    </a:lnTo>
                    <a:lnTo>
                      <a:pt x="865941" y="1096404"/>
                    </a:lnTo>
                    <a:lnTo>
                      <a:pt x="868517" y="1093676"/>
                    </a:lnTo>
                    <a:lnTo>
                      <a:pt x="868669" y="1089282"/>
                    </a:lnTo>
                    <a:lnTo>
                      <a:pt x="872608" y="1089585"/>
                    </a:lnTo>
                    <a:lnTo>
                      <a:pt x="876245" y="1088525"/>
                    </a:lnTo>
                    <a:lnTo>
                      <a:pt x="876396" y="1084434"/>
                    </a:lnTo>
                    <a:lnTo>
                      <a:pt x="882457" y="1080191"/>
                    </a:lnTo>
                    <a:lnTo>
                      <a:pt x="882154" y="1078524"/>
                    </a:lnTo>
                    <a:lnTo>
                      <a:pt x="879730" y="1071251"/>
                    </a:lnTo>
                    <a:lnTo>
                      <a:pt x="880639" y="1062312"/>
                    </a:lnTo>
                    <a:lnTo>
                      <a:pt x="874881" y="1060948"/>
                    </a:lnTo>
                    <a:lnTo>
                      <a:pt x="871093" y="1061251"/>
                    </a:lnTo>
                    <a:lnTo>
                      <a:pt x="869275" y="1062766"/>
                    </a:lnTo>
                    <a:lnTo>
                      <a:pt x="865335" y="1060342"/>
                    </a:lnTo>
                    <a:lnTo>
                      <a:pt x="854274" y="1055039"/>
                    </a:lnTo>
                    <a:lnTo>
                      <a:pt x="865335" y="1055796"/>
                    </a:lnTo>
                    <a:lnTo>
                      <a:pt x="868062" y="1056402"/>
                    </a:lnTo>
                    <a:lnTo>
                      <a:pt x="870638" y="1057766"/>
                    </a:lnTo>
                    <a:lnTo>
                      <a:pt x="876245" y="1058372"/>
                    </a:lnTo>
                    <a:lnTo>
                      <a:pt x="878820" y="1056402"/>
                    </a:lnTo>
                    <a:lnTo>
                      <a:pt x="878517" y="1053675"/>
                    </a:lnTo>
                    <a:lnTo>
                      <a:pt x="884578" y="1053069"/>
                    </a:lnTo>
                    <a:lnTo>
                      <a:pt x="890033" y="1049584"/>
                    </a:lnTo>
                    <a:lnTo>
                      <a:pt x="892609" y="1047159"/>
                    </a:lnTo>
                    <a:lnTo>
                      <a:pt x="891851" y="1044735"/>
                    </a:lnTo>
                    <a:lnTo>
                      <a:pt x="890033" y="1042159"/>
                    </a:lnTo>
                    <a:lnTo>
                      <a:pt x="885791" y="1038674"/>
                    </a:lnTo>
                    <a:lnTo>
                      <a:pt x="883366" y="1031856"/>
                    </a:lnTo>
                    <a:lnTo>
                      <a:pt x="879730" y="1027916"/>
                    </a:lnTo>
                    <a:lnTo>
                      <a:pt x="875032" y="1029583"/>
                    </a:lnTo>
                    <a:lnTo>
                      <a:pt x="871244" y="1030038"/>
                    </a:lnTo>
                    <a:lnTo>
                      <a:pt x="869578" y="1024734"/>
                    </a:lnTo>
                    <a:lnTo>
                      <a:pt x="867911" y="1022613"/>
                    </a:lnTo>
                    <a:lnTo>
                      <a:pt x="868062" y="1019734"/>
                    </a:lnTo>
                    <a:lnTo>
                      <a:pt x="873669" y="1020643"/>
                    </a:lnTo>
                    <a:lnTo>
                      <a:pt x="879426" y="1019431"/>
                    </a:lnTo>
                    <a:lnTo>
                      <a:pt x="890791" y="1022159"/>
                    </a:lnTo>
                    <a:lnTo>
                      <a:pt x="897003" y="1019734"/>
                    </a:lnTo>
                    <a:lnTo>
                      <a:pt x="899427" y="1018067"/>
                    </a:lnTo>
                    <a:lnTo>
                      <a:pt x="904124" y="1013067"/>
                    </a:lnTo>
                    <a:lnTo>
                      <a:pt x="907155" y="1011552"/>
                    </a:lnTo>
                    <a:lnTo>
                      <a:pt x="909125" y="1009128"/>
                    </a:lnTo>
                    <a:lnTo>
                      <a:pt x="907003" y="1007916"/>
                    </a:lnTo>
                    <a:lnTo>
                      <a:pt x="892306" y="1001097"/>
                    </a:lnTo>
                    <a:lnTo>
                      <a:pt x="892760" y="999582"/>
                    </a:lnTo>
                    <a:lnTo>
                      <a:pt x="898518" y="999582"/>
                    </a:lnTo>
                    <a:lnTo>
                      <a:pt x="913519" y="998218"/>
                    </a:lnTo>
                    <a:lnTo>
                      <a:pt x="922459" y="997158"/>
                    </a:lnTo>
                    <a:lnTo>
                      <a:pt x="934883" y="996552"/>
                    </a:lnTo>
                    <a:lnTo>
                      <a:pt x="946702" y="992612"/>
                    </a:lnTo>
                    <a:lnTo>
                      <a:pt x="946702" y="988066"/>
                    </a:lnTo>
                    <a:lnTo>
                      <a:pt x="946247" y="986854"/>
                    </a:lnTo>
                    <a:lnTo>
                      <a:pt x="940035" y="983066"/>
                    </a:lnTo>
                    <a:lnTo>
                      <a:pt x="937914" y="979127"/>
                    </a:lnTo>
                    <a:lnTo>
                      <a:pt x="941247" y="980339"/>
                    </a:lnTo>
                    <a:lnTo>
                      <a:pt x="948368" y="983975"/>
                    </a:lnTo>
                    <a:lnTo>
                      <a:pt x="950187" y="980793"/>
                    </a:lnTo>
                    <a:lnTo>
                      <a:pt x="953066" y="973217"/>
                    </a:lnTo>
                    <a:lnTo>
                      <a:pt x="955793" y="970338"/>
                    </a:lnTo>
                    <a:lnTo>
                      <a:pt x="958975" y="967611"/>
                    </a:lnTo>
                    <a:lnTo>
                      <a:pt x="952460" y="964884"/>
                    </a:lnTo>
                    <a:lnTo>
                      <a:pt x="947914" y="962005"/>
                    </a:lnTo>
                    <a:lnTo>
                      <a:pt x="950793" y="961399"/>
                    </a:lnTo>
                    <a:lnTo>
                      <a:pt x="957308" y="962005"/>
                    </a:lnTo>
                    <a:lnTo>
                      <a:pt x="963975" y="963672"/>
                    </a:lnTo>
                    <a:lnTo>
                      <a:pt x="971551" y="964732"/>
                    </a:lnTo>
                    <a:lnTo>
                      <a:pt x="971854" y="965641"/>
                    </a:lnTo>
                    <a:lnTo>
                      <a:pt x="966248" y="970641"/>
                    </a:lnTo>
                    <a:lnTo>
                      <a:pt x="957914" y="980490"/>
                    </a:lnTo>
                    <a:lnTo>
                      <a:pt x="956854" y="983521"/>
                    </a:lnTo>
                    <a:lnTo>
                      <a:pt x="957611" y="985945"/>
                    </a:lnTo>
                    <a:lnTo>
                      <a:pt x="956399" y="987915"/>
                    </a:lnTo>
                    <a:lnTo>
                      <a:pt x="952005" y="992612"/>
                    </a:lnTo>
                    <a:lnTo>
                      <a:pt x="953217" y="996097"/>
                    </a:lnTo>
                    <a:lnTo>
                      <a:pt x="958672" y="997915"/>
                    </a:lnTo>
                    <a:lnTo>
                      <a:pt x="961096" y="996249"/>
                    </a:lnTo>
                    <a:lnTo>
                      <a:pt x="965187" y="996400"/>
                    </a:lnTo>
                    <a:lnTo>
                      <a:pt x="968066" y="995188"/>
                    </a:lnTo>
                    <a:lnTo>
                      <a:pt x="970187" y="992309"/>
                    </a:lnTo>
                    <a:lnTo>
                      <a:pt x="970491" y="989127"/>
                    </a:lnTo>
                    <a:lnTo>
                      <a:pt x="972763" y="989279"/>
                    </a:lnTo>
                    <a:lnTo>
                      <a:pt x="977460" y="985491"/>
                    </a:lnTo>
                    <a:lnTo>
                      <a:pt x="978521" y="986854"/>
                    </a:lnTo>
                    <a:lnTo>
                      <a:pt x="981097" y="989430"/>
                    </a:lnTo>
                    <a:lnTo>
                      <a:pt x="984127" y="989885"/>
                    </a:lnTo>
                    <a:lnTo>
                      <a:pt x="987006" y="988824"/>
                    </a:lnTo>
                    <a:lnTo>
                      <a:pt x="988370" y="988975"/>
                    </a:lnTo>
                    <a:lnTo>
                      <a:pt x="989128" y="987915"/>
                    </a:lnTo>
                    <a:lnTo>
                      <a:pt x="991855" y="982157"/>
                    </a:lnTo>
                    <a:lnTo>
                      <a:pt x="992310" y="980642"/>
                    </a:lnTo>
                    <a:lnTo>
                      <a:pt x="992158" y="979127"/>
                    </a:lnTo>
                    <a:lnTo>
                      <a:pt x="995946" y="981248"/>
                    </a:lnTo>
                    <a:lnTo>
                      <a:pt x="995643" y="982612"/>
                    </a:lnTo>
                    <a:lnTo>
                      <a:pt x="996249" y="987157"/>
                    </a:lnTo>
                    <a:lnTo>
                      <a:pt x="998673" y="985642"/>
                    </a:lnTo>
                    <a:lnTo>
                      <a:pt x="1005340" y="980187"/>
                    </a:lnTo>
                    <a:lnTo>
                      <a:pt x="1011553" y="976854"/>
                    </a:lnTo>
                    <a:lnTo>
                      <a:pt x="1013977" y="974884"/>
                    </a:lnTo>
                    <a:lnTo>
                      <a:pt x="1016704" y="973217"/>
                    </a:lnTo>
                    <a:lnTo>
                      <a:pt x="1013219" y="964884"/>
                    </a:lnTo>
                    <a:lnTo>
                      <a:pt x="1011704" y="963368"/>
                    </a:lnTo>
                    <a:lnTo>
                      <a:pt x="1011098" y="962005"/>
                    </a:lnTo>
                    <a:lnTo>
                      <a:pt x="1010340" y="961096"/>
                    </a:lnTo>
                    <a:lnTo>
                      <a:pt x="1010189" y="959429"/>
                    </a:lnTo>
                    <a:lnTo>
                      <a:pt x="1014583" y="962459"/>
                    </a:lnTo>
                    <a:lnTo>
                      <a:pt x="1015795" y="963823"/>
                    </a:lnTo>
                    <a:lnTo>
                      <a:pt x="1022614" y="967611"/>
                    </a:lnTo>
                    <a:lnTo>
                      <a:pt x="1025947" y="967308"/>
                    </a:lnTo>
                    <a:lnTo>
                      <a:pt x="1028675" y="968066"/>
                    </a:lnTo>
                    <a:lnTo>
                      <a:pt x="1031857" y="966702"/>
                    </a:lnTo>
                    <a:lnTo>
                      <a:pt x="1043978" y="959580"/>
                    </a:lnTo>
                    <a:lnTo>
                      <a:pt x="1045493" y="957914"/>
                    </a:lnTo>
                    <a:lnTo>
                      <a:pt x="1046857" y="955489"/>
                    </a:lnTo>
                    <a:lnTo>
                      <a:pt x="1048221" y="952307"/>
                    </a:lnTo>
                    <a:lnTo>
                      <a:pt x="1049736" y="950489"/>
                    </a:lnTo>
                    <a:lnTo>
                      <a:pt x="1052766" y="950186"/>
                    </a:lnTo>
                    <a:lnTo>
                      <a:pt x="1053978" y="950641"/>
                    </a:lnTo>
                    <a:lnTo>
                      <a:pt x="1055948" y="949277"/>
                    </a:lnTo>
                    <a:lnTo>
                      <a:pt x="1058524" y="946095"/>
                    </a:lnTo>
                    <a:lnTo>
                      <a:pt x="1064585" y="936095"/>
                    </a:lnTo>
                    <a:lnTo>
                      <a:pt x="1072010" y="925337"/>
                    </a:lnTo>
                    <a:lnTo>
                      <a:pt x="1074131" y="921397"/>
                    </a:lnTo>
                    <a:lnTo>
                      <a:pt x="1074888" y="918670"/>
                    </a:lnTo>
                    <a:lnTo>
                      <a:pt x="1074282" y="917003"/>
                    </a:lnTo>
                    <a:lnTo>
                      <a:pt x="1074585" y="915943"/>
                    </a:lnTo>
                    <a:lnTo>
                      <a:pt x="1075798" y="915488"/>
                    </a:lnTo>
                    <a:lnTo>
                      <a:pt x="1078828" y="912912"/>
                    </a:lnTo>
                    <a:lnTo>
                      <a:pt x="1080343" y="910942"/>
                    </a:lnTo>
                    <a:lnTo>
                      <a:pt x="1084131" y="904427"/>
                    </a:lnTo>
                    <a:lnTo>
                      <a:pt x="1085495" y="902912"/>
                    </a:lnTo>
                    <a:lnTo>
                      <a:pt x="1087162" y="901851"/>
                    </a:lnTo>
                    <a:lnTo>
                      <a:pt x="1090798" y="900790"/>
                    </a:lnTo>
                    <a:lnTo>
                      <a:pt x="1103677" y="892760"/>
                    </a:lnTo>
                    <a:lnTo>
                      <a:pt x="1105799" y="892154"/>
                    </a:lnTo>
                    <a:lnTo>
                      <a:pt x="1108374" y="890336"/>
                    </a:lnTo>
                    <a:lnTo>
                      <a:pt x="1111405" y="887154"/>
                    </a:lnTo>
                    <a:lnTo>
                      <a:pt x="1111708" y="883820"/>
                    </a:lnTo>
                    <a:lnTo>
                      <a:pt x="1109132" y="880184"/>
                    </a:lnTo>
                    <a:lnTo>
                      <a:pt x="1105950" y="876699"/>
                    </a:lnTo>
                    <a:lnTo>
                      <a:pt x="1106253" y="876093"/>
                    </a:lnTo>
                    <a:lnTo>
                      <a:pt x="1108223" y="876093"/>
                    </a:lnTo>
                    <a:lnTo>
                      <a:pt x="1109890" y="875638"/>
                    </a:lnTo>
                    <a:lnTo>
                      <a:pt x="1111102" y="874577"/>
                    </a:lnTo>
                    <a:lnTo>
                      <a:pt x="1110647" y="872911"/>
                    </a:lnTo>
                    <a:lnTo>
                      <a:pt x="1108678" y="870638"/>
                    </a:lnTo>
                    <a:lnTo>
                      <a:pt x="1107465" y="868365"/>
                    </a:lnTo>
                    <a:lnTo>
                      <a:pt x="1107162" y="865941"/>
                    </a:lnTo>
                    <a:lnTo>
                      <a:pt x="1112314" y="868365"/>
                    </a:lnTo>
                    <a:lnTo>
                      <a:pt x="1123072" y="875638"/>
                    </a:lnTo>
                    <a:lnTo>
                      <a:pt x="1131860" y="880487"/>
                    </a:lnTo>
                    <a:lnTo>
                      <a:pt x="1138679" y="882759"/>
                    </a:lnTo>
                    <a:lnTo>
                      <a:pt x="1143830" y="883669"/>
                    </a:lnTo>
                    <a:lnTo>
                      <a:pt x="1147315" y="883063"/>
                    </a:lnTo>
                    <a:lnTo>
                      <a:pt x="1153831" y="880941"/>
                    </a:lnTo>
                    <a:lnTo>
                      <a:pt x="1153982" y="878820"/>
                    </a:lnTo>
                    <a:lnTo>
                      <a:pt x="1151103" y="875790"/>
                    </a:lnTo>
                    <a:lnTo>
                      <a:pt x="1150952" y="874577"/>
                    </a:lnTo>
                    <a:lnTo>
                      <a:pt x="1162013" y="877305"/>
                    </a:lnTo>
                    <a:lnTo>
                      <a:pt x="1165346" y="877002"/>
                    </a:lnTo>
                    <a:lnTo>
                      <a:pt x="1169286" y="873517"/>
                    </a:lnTo>
                    <a:lnTo>
                      <a:pt x="1171710" y="872305"/>
                    </a:lnTo>
                    <a:lnTo>
                      <a:pt x="1174286" y="871698"/>
                    </a:lnTo>
                    <a:lnTo>
                      <a:pt x="1178529" y="871698"/>
                    </a:lnTo>
                    <a:lnTo>
                      <a:pt x="1186408" y="872759"/>
                    </a:lnTo>
                    <a:lnTo>
                      <a:pt x="1191256" y="872305"/>
                    </a:lnTo>
                    <a:lnTo>
                      <a:pt x="1195651" y="870789"/>
                    </a:lnTo>
                    <a:lnTo>
                      <a:pt x="1202014" y="869426"/>
                    </a:lnTo>
                    <a:lnTo>
                      <a:pt x="1215348" y="865335"/>
                    </a:lnTo>
                    <a:lnTo>
                      <a:pt x="1221864" y="863819"/>
                    </a:lnTo>
                    <a:lnTo>
                      <a:pt x="1229440" y="863062"/>
                    </a:lnTo>
                    <a:lnTo>
                      <a:pt x="1245501" y="858668"/>
                    </a:lnTo>
                    <a:lnTo>
                      <a:pt x="1250501" y="857910"/>
                    </a:lnTo>
                    <a:lnTo>
                      <a:pt x="1257774" y="855334"/>
                    </a:lnTo>
                    <a:lnTo>
                      <a:pt x="1262168" y="854425"/>
                    </a:lnTo>
                    <a:lnTo>
                      <a:pt x="1266865" y="854274"/>
                    </a:lnTo>
                    <a:lnTo>
                      <a:pt x="1270805" y="853061"/>
                    </a:lnTo>
                    <a:lnTo>
                      <a:pt x="1273835" y="850637"/>
                    </a:lnTo>
                    <a:lnTo>
                      <a:pt x="1276260" y="849273"/>
                    </a:lnTo>
                    <a:lnTo>
                      <a:pt x="1281260" y="847607"/>
                    </a:lnTo>
                    <a:lnTo>
                      <a:pt x="1288381" y="844122"/>
                    </a:lnTo>
                    <a:lnTo>
                      <a:pt x="1290351" y="842303"/>
                    </a:lnTo>
                    <a:lnTo>
                      <a:pt x="1290957" y="841091"/>
                    </a:lnTo>
                    <a:lnTo>
                      <a:pt x="1291715" y="837909"/>
                    </a:lnTo>
                    <a:lnTo>
                      <a:pt x="1292775" y="836697"/>
                    </a:lnTo>
                    <a:lnTo>
                      <a:pt x="1300200" y="834424"/>
                    </a:lnTo>
                    <a:lnTo>
                      <a:pt x="1305049" y="830939"/>
                    </a:lnTo>
                    <a:lnTo>
                      <a:pt x="1305351" y="829576"/>
                    </a:lnTo>
                    <a:lnTo>
                      <a:pt x="1302321" y="826242"/>
                    </a:lnTo>
                    <a:lnTo>
                      <a:pt x="1303836" y="825636"/>
                    </a:lnTo>
                    <a:lnTo>
                      <a:pt x="1311109" y="824576"/>
                    </a:lnTo>
                    <a:lnTo>
                      <a:pt x="1314594" y="823363"/>
                    </a:lnTo>
                    <a:lnTo>
                      <a:pt x="1322473" y="819121"/>
                    </a:lnTo>
                    <a:lnTo>
                      <a:pt x="1326716" y="817606"/>
                    </a:lnTo>
                    <a:lnTo>
                      <a:pt x="1328686" y="815636"/>
                    </a:lnTo>
                    <a:lnTo>
                      <a:pt x="1328534" y="813363"/>
                    </a:lnTo>
                    <a:lnTo>
                      <a:pt x="1327777" y="811696"/>
                    </a:lnTo>
                    <a:lnTo>
                      <a:pt x="1326564" y="810636"/>
                    </a:lnTo>
                    <a:lnTo>
                      <a:pt x="1327928" y="810333"/>
                    </a:lnTo>
                    <a:lnTo>
                      <a:pt x="1336262" y="811848"/>
                    </a:lnTo>
                    <a:lnTo>
                      <a:pt x="1338686" y="811545"/>
                    </a:lnTo>
                    <a:lnTo>
                      <a:pt x="1341868" y="810484"/>
                    </a:lnTo>
                    <a:lnTo>
                      <a:pt x="1342625" y="808666"/>
                    </a:lnTo>
                    <a:lnTo>
                      <a:pt x="1341111" y="806090"/>
                    </a:lnTo>
                    <a:lnTo>
                      <a:pt x="1339747" y="804272"/>
                    </a:lnTo>
                    <a:lnTo>
                      <a:pt x="1338383" y="803363"/>
                    </a:lnTo>
                    <a:lnTo>
                      <a:pt x="1339898" y="803060"/>
                    </a:lnTo>
                    <a:lnTo>
                      <a:pt x="1347020" y="803211"/>
                    </a:lnTo>
                    <a:lnTo>
                      <a:pt x="1355656" y="800787"/>
                    </a:lnTo>
                    <a:lnTo>
                      <a:pt x="1360808" y="800787"/>
                    </a:lnTo>
                    <a:lnTo>
                      <a:pt x="1361717" y="800181"/>
                    </a:lnTo>
                    <a:lnTo>
                      <a:pt x="1359747" y="796393"/>
                    </a:lnTo>
                    <a:lnTo>
                      <a:pt x="1361263" y="795484"/>
                    </a:lnTo>
                    <a:lnTo>
                      <a:pt x="1367020" y="794423"/>
                    </a:lnTo>
                    <a:lnTo>
                      <a:pt x="1369597" y="793362"/>
                    </a:lnTo>
                    <a:lnTo>
                      <a:pt x="1372627" y="792908"/>
                    </a:lnTo>
                    <a:lnTo>
                      <a:pt x="1377475" y="791393"/>
                    </a:lnTo>
                    <a:lnTo>
                      <a:pt x="1381566" y="789120"/>
                    </a:lnTo>
                    <a:lnTo>
                      <a:pt x="1382930" y="787453"/>
                    </a:lnTo>
                    <a:lnTo>
                      <a:pt x="1383688" y="785483"/>
                    </a:lnTo>
                    <a:lnTo>
                      <a:pt x="1381566" y="784574"/>
                    </a:lnTo>
                    <a:lnTo>
                      <a:pt x="1357323" y="785180"/>
                    </a:lnTo>
                    <a:lnTo>
                      <a:pt x="1343838" y="783968"/>
                    </a:lnTo>
                    <a:lnTo>
                      <a:pt x="1333686" y="781847"/>
                    </a:lnTo>
                    <a:lnTo>
                      <a:pt x="1314291" y="776240"/>
                    </a:lnTo>
                    <a:lnTo>
                      <a:pt x="1292927" y="773362"/>
                    </a:lnTo>
                    <a:lnTo>
                      <a:pt x="1290351" y="773665"/>
                    </a:lnTo>
                    <a:lnTo>
                      <a:pt x="1275805" y="778665"/>
                    </a:lnTo>
                    <a:lnTo>
                      <a:pt x="1268684" y="779877"/>
                    </a:lnTo>
                    <a:lnTo>
                      <a:pt x="1259441" y="778816"/>
                    </a:lnTo>
                    <a:lnTo>
                      <a:pt x="1251865" y="780786"/>
                    </a:lnTo>
                    <a:lnTo>
                      <a:pt x="1248683" y="783817"/>
                    </a:lnTo>
                    <a:lnTo>
                      <a:pt x="1245198" y="788817"/>
                    </a:lnTo>
                    <a:lnTo>
                      <a:pt x="1242167" y="791089"/>
                    </a:lnTo>
                    <a:lnTo>
                      <a:pt x="1235500" y="789271"/>
                    </a:lnTo>
                    <a:lnTo>
                      <a:pt x="1237319" y="784574"/>
                    </a:lnTo>
                    <a:lnTo>
                      <a:pt x="1243683" y="780028"/>
                    </a:lnTo>
                    <a:lnTo>
                      <a:pt x="1247167" y="778059"/>
                    </a:lnTo>
                    <a:lnTo>
                      <a:pt x="1250804" y="776847"/>
                    </a:lnTo>
                    <a:lnTo>
                      <a:pt x="1259138" y="775028"/>
                    </a:lnTo>
                    <a:lnTo>
                      <a:pt x="1264441" y="773210"/>
                    </a:lnTo>
                    <a:lnTo>
                      <a:pt x="1266259" y="771240"/>
                    </a:lnTo>
                    <a:lnTo>
                      <a:pt x="1264744" y="769270"/>
                    </a:lnTo>
                    <a:lnTo>
                      <a:pt x="1263229" y="768058"/>
                    </a:lnTo>
                    <a:lnTo>
                      <a:pt x="1261714" y="767452"/>
                    </a:lnTo>
                    <a:lnTo>
                      <a:pt x="1259744" y="767452"/>
                    </a:lnTo>
                    <a:lnTo>
                      <a:pt x="1236561" y="770786"/>
                    </a:lnTo>
                    <a:lnTo>
                      <a:pt x="1225046" y="770937"/>
                    </a:lnTo>
                    <a:lnTo>
                      <a:pt x="1210651" y="767301"/>
                    </a:lnTo>
                    <a:lnTo>
                      <a:pt x="1208075" y="767301"/>
                    </a:lnTo>
                    <a:lnTo>
                      <a:pt x="1199287" y="768816"/>
                    </a:lnTo>
                    <a:lnTo>
                      <a:pt x="1196105" y="768967"/>
                    </a:lnTo>
                    <a:lnTo>
                      <a:pt x="1197014" y="768210"/>
                    </a:lnTo>
                    <a:lnTo>
                      <a:pt x="1210954" y="763967"/>
                    </a:lnTo>
                    <a:lnTo>
                      <a:pt x="1213984" y="762604"/>
                    </a:lnTo>
                    <a:lnTo>
                      <a:pt x="1221409" y="758513"/>
                    </a:lnTo>
                    <a:lnTo>
                      <a:pt x="1223530" y="756391"/>
                    </a:lnTo>
                    <a:lnTo>
                      <a:pt x="1224742" y="753512"/>
                    </a:lnTo>
                    <a:lnTo>
                      <a:pt x="1225955" y="749421"/>
                    </a:lnTo>
                    <a:lnTo>
                      <a:pt x="1225652" y="746694"/>
                    </a:lnTo>
                    <a:lnTo>
                      <a:pt x="1222318" y="745179"/>
                    </a:lnTo>
                    <a:lnTo>
                      <a:pt x="1217470" y="743967"/>
                    </a:lnTo>
                    <a:lnTo>
                      <a:pt x="1214591" y="741845"/>
                    </a:lnTo>
                    <a:lnTo>
                      <a:pt x="1217166" y="741088"/>
                    </a:lnTo>
                    <a:lnTo>
                      <a:pt x="1228530" y="741391"/>
                    </a:lnTo>
                    <a:lnTo>
                      <a:pt x="1233985" y="741845"/>
                    </a:lnTo>
                    <a:lnTo>
                      <a:pt x="1243683" y="743815"/>
                    </a:lnTo>
                    <a:lnTo>
                      <a:pt x="1250955" y="744270"/>
                    </a:lnTo>
                    <a:lnTo>
                      <a:pt x="1260501" y="743967"/>
                    </a:lnTo>
                    <a:lnTo>
                      <a:pt x="1264441" y="743057"/>
                    </a:lnTo>
                    <a:lnTo>
                      <a:pt x="1275956" y="738966"/>
                    </a:lnTo>
                    <a:lnTo>
                      <a:pt x="1279896" y="736845"/>
                    </a:lnTo>
                    <a:lnTo>
                      <a:pt x="1287320" y="732299"/>
                    </a:lnTo>
                    <a:lnTo>
                      <a:pt x="1289290" y="728208"/>
                    </a:lnTo>
                    <a:lnTo>
                      <a:pt x="1288381" y="723057"/>
                    </a:lnTo>
                    <a:lnTo>
                      <a:pt x="1286715" y="719420"/>
                    </a:lnTo>
                    <a:lnTo>
                      <a:pt x="1284441" y="717450"/>
                    </a:lnTo>
                    <a:lnTo>
                      <a:pt x="1278078" y="716541"/>
                    </a:lnTo>
                    <a:lnTo>
                      <a:pt x="1267775" y="716844"/>
                    </a:lnTo>
                    <a:lnTo>
                      <a:pt x="1259895" y="716541"/>
                    </a:lnTo>
                    <a:lnTo>
                      <a:pt x="1249743" y="714875"/>
                    </a:lnTo>
                    <a:lnTo>
                      <a:pt x="1248228" y="711390"/>
                    </a:lnTo>
                    <a:lnTo>
                      <a:pt x="1250350" y="710177"/>
                    </a:lnTo>
                    <a:lnTo>
                      <a:pt x="1252471" y="710026"/>
                    </a:lnTo>
                    <a:lnTo>
                      <a:pt x="1261259" y="712450"/>
                    </a:lnTo>
                    <a:lnTo>
                      <a:pt x="1274290" y="712147"/>
                    </a:lnTo>
                    <a:lnTo>
                      <a:pt x="1283229" y="713056"/>
                    </a:lnTo>
                    <a:lnTo>
                      <a:pt x="1289442" y="715178"/>
                    </a:lnTo>
                    <a:lnTo>
                      <a:pt x="1295200" y="718208"/>
                    </a:lnTo>
                    <a:lnTo>
                      <a:pt x="1300351" y="721996"/>
                    </a:lnTo>
                    <a:lnTo>
                      <a:pt x="1306412" y="725178"/>
                    </a:lnTo>
                    <a:lnTo>
                      <a:pt x="1313382" y="727602"/>
                    </a:lnTo>
                    <a:lnTo>
                      <a:pt x="1319443" y="730784"/>
                    </a:lnTo>
                    <a:lnTo>
                      <a:pt x="1324443" y="734724"/>
                    </a:lnTo>
                    <a:lnTo>
                      <a:pt x="1327473" y="739724"/>
                    </a:lnTo>
                    <a:lnTo>
                      <a:pt x="1328534" y="745936"/>
                    </a:lnTo>
                    <a:lnTo>
                      <a:pt x="1331261" y="752603"/>
                    </a:lnTo>
                    <a:lnTo>
                      <a:pt x="1335656" y="759725"/>
                    </a:lnTo>
                    <a:lnTo>
                      <a:pt x="1340504" y="764422"/>
                    </a:lnTo>
                    <a:lnTo>
                      <a:pt x="1353232" y="769574"/>
                    </a:lnTo>
                    <a:lnTo>
                      <a:pt x="1357020" y="770028"/>
                    </a:lnTo>
                    <a:lnTo>
                      <a:pt x="1363839" y="769574"/>
                    </a:lnTo>
                    <a:lnTo>
                      <a:pt x="1370657" y="770180"/>
                    </a:lnTo>
                    <a:lnTo>
                      <a:pt x="1372930" y="767452"/>
                    </a:lnTo>
                    <a:lnTo>
                      <a:pt x="1374445" y="756088"/>
                    </a:lnTo>
                    <a:lnTo>
                      <a:pt x="1375051" y="753967"/>
                    </a:lnTo>
                    <a:lnTo>
                      <a:pt x="1375203" y="751846"/>
                    </a:lnTo>
                    <a:lnTo>
                      <a:pt x="1377627" y="749270"/>
                    </a:lnTo>
                    <a:lnTo>
                      <a:pt x="1378082" y="759876"/>
                    </a:lnTo>
                    <a:lnTo>
                      <a:pt x="1378687" y="761694"/>
                    </a:lnTo>
                    <a:lnTo>
                      <a:pt x="1378687" y="763664"/>
                    </a:lnTo>
                    <a:lnTo>
                      <a:pt x="1379142" y="766543"/>
                    </a:lnTo>
                    <a:lnTo>
                      <a:pt x="1379142" y="769119"/>
                    </a:lnTo>
                    <a:lnTo>
                      <a:pt x="1387779" y="768664"/>
                    </a:lnTo>
                    <a:lnTo>
                      <a:pt x="1391264" y="770028"/>
                    </a:lnTo>
                    <a:lnTo>
                      <a:pt x="1399901" y="768816"/>
                    </a:lnTo>
                    <a:lnTo>
                      <a:pt x="1402779" y="765937"/>
                    </a:lnTo>
                    <a:lnTo>
                      <a:pt x="1401567" y="761391"/>
                    </a:lnTo>
                    <a:lnTo>
                      <a:pt x="1400204" y="750785"/>
                    </a:lnTo>
                    <a:lnTo>
                      <a:pt x="1398840" y="748209"/>
                    </a:lnTo>
                    <a:lnTo>
                      <a:pt x="1398991" y="745179"/>
                    </a:lnTo>
                    <a:lnTo>
                      <a:pt x="1398385" y="736391"/>
                    </a:lnTo>
                    <a:lnTo>
                      <a:pt x="1398840" y="730633"/>
                    </a:lnTo>
                    <a:lnTo>
                      <a:pt x="1398082" y="723966"/>
                    </a:lnTo>
                    <a:lnTo>
                      <a:pt x="1396567" y="716844"/>
                    </a:lnTo>
                    <a:lnTo>
                      <a:pt x="1390809" y="715329"/>
                    </a:lnTo>
                    <a:lnTo>
                      <a:pt x="1385051" y="718208"/>
                    </a:lnTo>
                    <a:lnTo>
                      <a:pt x="1383233" y="718360"/>
                    </a:lnTo>
                    <a:lnTo>
                      <a:pt x="1381415" y="719269"/>
                    </a:lnTo>
                    <a:lnTo>
                      <a:pt x="1380051" y="722299"/>
                    </a:lnTo>
                    <a:lnTo>
                      <a:pt x="1378082" y="728663"/>
                    </a:lnTo>
                    <a:lnTo>
                      <a:pt x="1376415" y="721845"/>
                    </a:lnTo>
                    <a:lnTo>
                      <a:pt x="1376112" y="718208"/>
                    </a:lnTo>
                    <a:lnTo>
                      <a:pt x="1375657" y="715935"/>
                    </a:lnTo>
                    <a:lnTo>
                      <a:pt x="1376718" y="714723"/>
                    </a:lnTo>
                    <a:lnTo>
                      <a:pt x="1380961" y="712753"/>
                    </a:lnTo>
                    <a:lnTo>
                      <a:pt x="1389142" y="706389"/>
                    </a:lnTo>
                    <a:lnTo>
                      <a:pt x="1390658" y="703511"/>
                    </a:lnTo>
                    <a:lnTo>
                      <a:pt x="1382324" y="703056"/>
                    </a:lnTo>
                    <a:lnTo>
                      <a:pt x="1379445" y="702298"/>
                    </a:lnTo>
                    <a:lnTo>
                      <a:pt x="1375960" y="695025"/>
                    </a:lnTo>
                    <a:lnTo>
                      <a:pt x="1374142" y="694268"/>
                    </a:lnTo>
                    <a:lnTo>
                      <a:pt x="1365808" y="692146"/>
                    </a:lnTo>
                    <a:lnTo>
                      <a:pt x="1363384" y="690631"/>
                    </a:lnTo>
                    <a:lnTo>
                      <a:pt x="1354141" y="686389"/>
                    </a:lnTo>
                    <a:lnTo>
                      <a:pt x="1346111" y="683358"/>
                    </a:lnTo>
                    <a:lnTo>
                      <a:pt x="1340353" y="680176"/>
                    </a:lnTo>
                    <a:lnTo>
                      <a:pt x="1328231" y="674419"/>
                    </a:lnTo>
                    <a:lnTo>
                      <a:pt x="1323382" y="672449"/>
                    </a:lnTo>
                    <a:lnTo>
                      <a:pt x="1319140" y="668661"/>
                    </a:lnTo>
                    <a:lnTo>
                      <a:pt x="1316564" y="667752"/>
                    </a:lnTo>
                    <a:lnTo>
                      <a:pt x="1311715" y="670176"/>
                    </a:lnTo>
                    <a:lnTo>
                      <a:pt x="1304291" y="672449"/>
                    </a:lnTo>
                    <a:lnTo>
                      <a:pt x="1301867" y="670024"/>
                    </a:lnTo>
                    <a:lnTo>
                      <a:pt x="1303988" y="668661"/>
                    </a:lnTo>
                    <a:lnTo>
                      <a:pt x="1312018" y="665933"/>
                    </a:lnTo>
                    <a:lnTo>
                      <a:pt x="1315806" y="664267"/>
                    </a:lnTo>
                    <a:lnTo>
                      <a:pt x="1317170" y="660327"/>
                    </a:lnTo>
                    <a:lnTo>
                      <a:pt x="1313837" y="645478"/>
                    </a:lnTo>
                    <a:lnTo>
                      <a:pt x="1313382" y="644417"/>
                    </a:lnTo>
                    <a:lnTo>
                      <a:pt x="1312776" y="643811"/>
                    </a:lnTo>
                    <a:lnTo>
                      <a:pt x="1308079" y="644417"/>
                    </a:lnTo>
                    <a:lnTo>
                      <a:pt x="1301109" y="646842"/>
                    </a:lnTo>
                    <a:lnTo>
                      <a:pt x="1297775" y="648509"/>
                    </a:lnTo>
                    <a:lnTo>
                      <a:pt x="1288684" y="649115"/>
                    </a:lnTo>
                    <a:lnTo>
                      <a:pt x="1277472" y="653054"/>
                    </a:lnTo>
                    <a:lnTo>
                      <a:pt x="1274441" y="654418"/>
                    </a:lnTo>
                    <a:lnTo>
                      <a:pt x="1269441" y="655478"/>
                    </a:lnTo>
                    <a:lnTo>
                      <a:pt x="1267168" y="655175"/>
                    </a:lnTo>
                    <a:lnTo>
                      <a:pt x="1262168" y="653206"/>
                    </a:lnTo>
                    <a:lnTo>
                      <a:pt x="1274593" y="649115"/>
                    </a:lnTo>
                    <a:lnTo>
                      <a:pt x="1278078" y="649266"/>
                    </a:lnTo>
                    <a:lnTo>
                      <a:pt x="1284139" y="646539"/>
                    </a:lnTo>
                    <a:lnTo>
                      <a:pt x="1300654" y="642448"/>
                    </a:lnTo>
                    <a:lnTo>
                      <a:pt x="1302927" y="639569"/>
                    </a:lnTo>
                    <a:lnTo>
                      <a:pt x="1307776" y="637902"/>
                    </a:lnTo>
                    <a:lnTo>
                      <a:pt x="1313382" y="636235"/>
                    </a:lnTo>
                    <a:lnTo>
                      <a:pt x="1317776" y="636538"/>
                    </a:lnTo>
                    <a:lnTo>
                      <a:pt x="1320049" y="642599"/>
                    </a:lnTo>
                    <a:lnTo>
                      <a:pt x="1325201" y="654872"/>
                    </a:lnTo>
                    <a:lnTo>
                      <a:pt x="1333080" y="664721"/>
                    </a:lnTo>
                    <a:lnTo>
                      <a:pt x="1338989" y="667146"/>
                    </a:lnTo>
                    <a:lnTo>
                      <a:pt x="1343989" y="670176"/>
                    </a:lnTo>
                    <a:lnTo>
                      <a:pt x="1356717" y="673509"/>
                    </a:lnTo>
                    <a:lnTo>
                      <a:pt x="1370354" y="678813"/>
                    </a:lnTo>
                    <a:lnTo>
                      <a:pt x="1376112" y="682146"/>
                    </a:lnTo>
                    <a:lnTo>
                      <a:pt x="1381718" y="684116"/>
                    </a:lnTo>
                    <a:lnTo>
                      <a:pt x="1383233" y="678964"/>
                    </a:lnTo>
                    <a:lnTo>
                      <a:pt x="1382173" y="672600"/>
                    </a:lnTo>
                    <a:lnTo>
                      <a:pt x="1387779" y="669721"/>
                    </a:lnTo>
                    <a:lnTo>
                      <a:pt x="1389597" y="657448"/>
                    </a:lnTo>
                    <a:lnTo>
                      <a:pt x="1389142" y="653054"/>
                    </a:lnTo>
                    <a:lnTo>
                      <a:pt x="1388839" y="642751"/>
                    </a:lnTo>
                    <a:lnTo>
                      <a:pt x="1384445" y="640326"/>
                    </a:lnTo>
                    <a:lnTo>
                      <a:pt x="1377475" y="639266"/>
                    </a:lnTo>
                    <a:lnTo>
                      <a:pt x="1366414" y="634114"/>
                    </a:lnTo>
                    <a:lnTo>
                      <a:pt x="1362475" y="629568"/>
                    </a:lnTo>
                    <a:lnTo>
                      <a:pt x="1355656" y="628356"/>
                    </a:lnTo>
                    <a:lnTo>
                      <a:pt x="1349899" y="624871"/>
                    </a:lnTo>
                    <a:lnTo>
                      <a:pt x="1342929" y="621841"/>
                    </a:lnTo>
                    <a:lnTo>
                      <a:pt x="1337777" y="617598"/>
                    </a:lnTo>
                    <a:lnTo>
                      <a:pt x="1331413" y="616992"/>
                    </a:lnTo>
                    <a:lnTo>
                      <a:pt x="1318988" y="616235"/>
                    </a:lnTo>
                    <a:lnTo>
                      <a:pt x="1306109" y="617598"/>
                    </a:lnTo>
                    <a:lnTo>
                      <a:pt x="1300351" y="619417"/>
                    </a:lnTo>
                    <a:lnTo>
                      <a:pt x="1296715" y="623962"/>
                    </a:lnTo>
                    <a:lnTo>
                      <a:pt x="1279441" y="628053"/>
                    </a:lnTo>
                    <a:lnTo>
                      <a:pt x="1274744" y="628356"/>
                    </a:lnTo>
                    <a:lnTo>
                      <a:pt x="1268380" y="629568"/>
                    </a:lnTo>
                    <a:lnTo>
                      <a:pt x="1259592" y="632144"/>
                    </a:lnTo>
                    <a:lnTo>
                      <a:pt x="1250955" y="631235"/>
                    </a:lnTo>
                    <a:lnTo>
                      <a:pt x="1247622" y="631538"/>
                    </a:lnTo>
                    <a:lnTo>
                      <a:pt x="1243228" y="634872"/>
                    </a:lnTo>
                    <a:lnTo>
                      <a:pt x="1241410" y="634872"/>
                    </a:lnTo>
                    <a:lnTo>
                      <a:pt x="1239440" y="633811"/>
                    </a:lnTo>
                    <a:lnTo>
                      <a:pt x="1238076" y="632599"/>
                    </a:lnTo>
                    <a:lnTo>
                      <a:pt x="1237319" y="631235"/>
                    </a:lnTo>
                    <a:lnTo>
                      <a:pt x="1239743" y="630174"/>
                    </a:lnTo>
                    <a:lnTo>
                      <a:pt x="1245349" y="629265"/>
                    </a:lnTo>
                    <a:lnTo>
                      <a:pt x="1250955" y="629114"/>
                    </a:lnTo>
                    <a:lnTo>
                      <a:pt x="1256410" y="629720"/>
                    </a:lnTo>
                    <a:lnTo>
                      <a:pt x="1260047" y="629417"/>
                    </a:lnTo>
                    <a:lnTo>
                      <a:pt x="1262016" y="628356"/>
                    </a:lnTo>
                    <a:lnTo>
                      <a:pt x="1265198" y="625326"/>
                    </a:lnTo>
                    <a:lnTo>
                      <a:pt x="1263532" y="623659"/>
                    </a:lnTo>
                    <a:lnTo>
                      <a:pt x="1248077" y="618659"/>
                    </a:lnTo>
                    <a:lnTo>
                      <a:pt x="1245349" y="615325"/>
                    </a:lnTo>
                    <a:lnTo>
                      <a:pt x="1253380" y="618356"/>
                    </a:lnTo>
                    <a:lnTo>
                      <a:pt x="1259138" y="620023"/>
                    </a:lnTo>
                    <a:lnTo>
                      <a:pt x="1268987" y="621841"/>
                    </a:lnTo>
                    <a:lnTo>
                      <a:pt x="1275502" y="624720"/>
                    </a:lnTo>
                    <a:lnTo>
                      <a:pt x="1278381" y="625023"/>
                    </a:lnTo>
                    <a:lnTo>
                      <a:pt x="1287169" y="623659"/>
                    </a:lnTo>
                    <a:lnTo>
                      <a:pt x="1289290" y="622902"/>
                    </a:lnTo>
                    <a:lnTo>
                      <a:pt x="1295200" y="617750"/>
                    </a:lnTo>
                    <a:lnTo>
                      <a:pt x="1298988" y="615629"/>
                    </a:lnTo>
                    <a:lnTo>
                      <a:pt x="1306715" y="612750"/>
                    </a:lnTo>
                    <a:lnTo>
                      <a:pt x="1313079" y="611386"/>
                    </a:lnTo>
                    <a:lnTo>
                      <a:pt x="1313382" y="609871"/>
                    </a:lnTo>
                    <a:lnTo>
                      <a:pt x="1309746" y="607749"/>
                    </a:lnTo>
                    <a:lnTo>
                      <a:pt x="1299594" y="599264"/>
                    </a:lnTo>
                    <a:lnTo>
                      <a:pt x="1295503" y="596385"/>
                    </a:lnTo>
                    <a:lnTo>
                      <a:pt x="1292775" y="593810"/>
                    </a:lnTo>
                    <a:lnTo>
                      <a:pt x="1292927" y="593203"/>
                    </a:lnTo>
                    <a:lnTo>
                      <a:pt x="1297624" y="595173"/>
                    </a:lnTo>
                    <a:lnTo>
                      <a:pt x="1304291" y="599416"/>
                    </a:lnTo>
                    <a:lnTo>
                      <a:pt x="1309897" y="603658"/>
                    </a:lnTo>
                    <a:lnTo>
                      <a:pt x="1313231" y="605477"/>
                    </a:lnTo>
                    <a:lnTo>
                      <a:pt x="1316109" y="606386"/>
                    </a:lnTo>
                    <a:lnTo>
                      <a:pt x="1319140" y="606234"/>
                    </a:lnTo>
                    <a:lnTo>
                      <a:pt x="1322322" y="605022"/>
                    </a:lnTo>
                    <a:lnTo>
                      <a:pt x="1325352" y="602749"/>
                    </a:lnTo>
                    <a:lnTo>
                      <a:pt x="1330352" y="597901"/>
                    </a:lnTo>
                    <a:lnTo>
                      <a:pt x="1341262" y="609719"/>
                    </a:lnTo>
                    <a:lnTo>
                      <a:pt x="1355656" y="617447"/>
                    </a:lnTo>
                    <a:lnTo>
                      <a:pt x="1362323" y="620174"/>
                    </a:lnTo>
                    <a:lnTo>
                      <a:pt x="1379900" y="624265"/>
                    </a:lnTo>
                    <a:lnTo>
                      <a:pt x="1384294" y="624265"/>
                    </a:lnTo>
                    <a:lnTo>
                      <a:pt x="1392779" y="619568"/>
                    </a:lnTo>
                    <a:lnTo>
                      <a:pt x="1401719" y="615629"/>
                    </a:lnTo>
                    <a:lnTo>
                      <a:pt x="1407780" y="614265"/>
                    </a:lnTo>
                    <a:lnTo>
                      <a:pt x="1426568" y="613962"/>
                    </a:lnTo>
                    <a:lnTo>
                      <a:pt x="1430053" y="612447"/>
                    </a:lnTo>
                    <a:lnTo>
                      <a:pt x="1431720" y="603961"/>
                    </a:lnTo>
                    <a:lnTo>
                      <a:pt x="1434750" y="595022"/>
                    </a:lnTo>
                    <a:lnTo>
                      <a:pt x="1433993" y="593507"/>
                    </a:lnTo>
                    <a:lnTo>
                      <a:pt x="1416719" y="588658"/>
                    </a:lnTo>
                    <a:lnTo>
                      <a:pt x="1409143" y="587597"/>
                    </a:lnTo>
                    <a:lnTo>
                      <a:pt x="1390355" y="587143"/>
                    </a:lnTo>
                    <a:lnTo>
                      <a:pt x="1386263" y="586082"/>
                    </a:lnTo>
                    <a:lnTo>
                      <a:pt x="1382475" y="583961"/>
                    </a:lnTo>
                    <a:lnTo>
                      <a:pt x="1380657" y="582142"/>
                    </a:lnTo>
                    <a:lnTo>
                      <a:pt x="1380809" y="580627"/>
                    </a:lnTo>
                    <a:lnTo>
                      <a:pt x="1381870" y="578809"/>
                    </a:lnTo>
                    <a:lnTo>
                      <a:pt x="1383839" y="576688"/>
                    </a:lnTo>
                    <a:lnTo>
                      <a:pt x="1384445" y="574566"/>
                    </a:lnTo>
                    <a:lnTo>
                      <a:pt x="1383839" y="572445"/>
                    </a:lnTo>
                    <a:lnTo>
                      <a:pt x="1382627" y="570930"/>
                    </a:lnTo>
                    <a:lnTo>
                      <a:pt x="1380657" y="570172"/>
                    </a:lnTo>
                    <a:lnTo>
                      <a:pt x="1380961" y="569263"/>
                    </a:lnTo>
                    <a:lnTo>
                      <a:pt x="1384900" y="567748"/>
                    </a:lnTo>
                    <a:lnTo>
                      <a:pt x="1390506" y="564566"/>
                    </a:lnTo>
                    <a:lnTo>
                      <a:pt x="1391870" y="561839"/>
                    </a:lnTo>
                    <a:lnTo>
                      <a:pt x="1390203" y="554869"/>
                    </a:lnTo>
                    <a:lnTo>
                      <a:pt x="1391264" y="555020"/>
                    </a:lnTo>
                    <a:lnTo>
                      <a:pt x="1396264" y="559566"/>
                    </a:lnTo>
                    <a:lnTo>
                      <a:pt x="1394294" y="566384"/>
                    </a:lnTo>
                    <a:lnTo>
                      <a:pt x="1390961" y="572445"/>
                    </a:lnTo>
                    <a:lnTo>
                      <a:pt x="1401264" y="576839"/>
                    </a:lnTo>
                    <a:lnTo>
                      <a:pt x="1413537" y="579718"/>
                    </a:lnTo>
                    <a:lnTo>
                      <a:pt x="1426568" y="578354"/>
                    </a:lnTo>
                    <a:lnTo>
                      <a:pt x="1438084" y="574718"/>
                    </a:lnTo>
                    <a:lnTo>
                      <a:pt x="1437326" y="570475"/>
                    </a:lnTo>
                    <a:lnTo>
                      <a:pt x="1443084" y="570475"/>
                    </a:lnTo>
                    <a:lnTo>
                      <a:pt x="1453993" y="571839"/>
                    </a:lnTo>
                    <a:lnTo>
                      <a:pt x="1458842" y="571233"/>
                    </a:lnTo>
                    <a:lnTo>
                      <a:pt x="1461569" y="570475"/>
                    </a:lnTo>
                    <a:lnTo>
                      <a:pt x="1463085" y="569263"/>
                    </a:lnTo>
                    <a:lnTo>
                      <a:pt x="1464297" y="567293"/>
                    </a:lnTo>
                    <a:lnTo>
                      <a:pt x="1465054" y="564112"/>
                    </a:lnTo>
                    <a:lnTo>
                      <a:pt x="1465509" y="559869"/>
                    </a:lnTo>
                    <a:lnTo>
                      <a:pt x="1463842" y="556232"/>
                    </a:lnTo>
                    <a:lnTo>
                      <a:pt x="1460054" y="553202"/>
                    </a:lnTo>
                    <a:lnTo>
                      <a:pt x="1457024" y="551990"/>
                    </a:lnTo>
                    <a:lnTo>
                      <a:pt x="1449902" y="539565"/>
                    </a:lnTo>
                    <a:lnTo>
                      <a:pt x="1444902" y="532747"/>
                    </a:lnTo>
                    <a:lnTo>
                      <a:pt x="1438690" y="530322"/>
                    </a:lnTo>
                    <a:lnTo>
                      <a:pt x="1433083" y="532747"/>
                    </a:lnTo>
                    <a:lnTo>
                      <a:pt x="1429901" y="540020"/>
                    </a:lnTo>
                    <a:lnTo>
                      <a:pt x="1427780" y="546232"/>
                    </a:lnTo>
                    <a:lnTo>
                      <a:pt x="1420962" y="551232"/>
                    </a:lnTo>
                    <a:lnTo>
                      <a:pt x="1416113" y="550172"/>
                    </a:lnTo>
                    <a:lnTo>
                      <a:pt x="1416113" y="549263"/>
                    </a:lnTo>
                    <a:lnTo>
                      <a:pt x="1417931" y="548202"/>
                    </a:lnTo>
                    <a:lnTo>
                      <a:pt x="1420204" y="545777"/>
                    </a:lnTo>
                    <a:lnTo>
                      <a:pt x="1422780" y="541838"/>
                    </a:lnTo>
                    <a:lnTo>
                      <a:pt x="1423083" y="537141"/>
                    </a:lnTo>
                    <a:lnTo>
                      <a:pt x="1420962" y="531686"/>
                    </a:lnTo>
                    <a:lnTo>
                      <a:pt x="1419144" y="528353"/>
                    </a:lnTo>
                    <a:lnTo>
                      <a:pt x="1417628" y="527140"/>
                    </a:lnTo>
                    <a:lnTo>
                      <a:pt x="1415658" y="526837"/>
                    </a:lnTo>
                    <a:lnTo>
                      <a:pt x="1413386" y="527443"/>
                    </a:lnTo>
                    <a:lnTo>
                      <a:pt x="1404749" y="531383"/>
                    </a:lnTo>
                    <a:lnTo>
                      <a:pt x="1400961" y="532747"/>
                    </a:lnTo>
                    <a:lnTo>
                      <a:pt x="1398234" y="533201"/>
                    </a:lnTo>
                    <a:lnTo>
                      <a:pt x="1395809" y="532747"/>
                    </a:lnTo>
                    <a:lnTo>
                      <a:pt x="1392476" y="530928"/>
                    </a:lnTo>
                    <a:lnTo>
                      <a:pt x="1387173" y="527443"/>
                    </a:lnTo>
                    <a:lnTo>
                      <a:pt x="1383536" y="524565"/>
                    </a:lnTo>
                    <a:lnTo>
                      <a:pt x="1393688" y="528959"/>
                    </a:lnTo>
                    <a:lnTo>
                      <a:pt x="1399446" y="529868"/>
                    </a:lnTo>
                    <a:lnTo>
                      <a:pt x="1405961" y="527595"/>
                    </a:lnTo>
                    <a:lnTo>
                      <a:pt x="1410355" y="523807"/>
                    </a:lnTo>
                    <a:lnTo>
                      <a:pt x="1414598" y="522898"/>
                    </a:lnTo>
                    <a:lnTo>
                      <a:pt x="1419750" y="522443"/>
                    </a:lnTo>
                    <a:lnTo>
                      <a:pt x="1431265" y="513807"/>
                    </a:lnTo>
                    <a:lnTo>
                      <a:pt x="1439144" y="514110"/>
                    </a:lnTo>
                    <a:lnTo>
                      <a:pt x="1443842" y="516989"/>
                    </a:lnTo>
                    <a:lnTo>
                      <a:pt x="1447478" y="519716"/>
                    </a:lnTo>
                    <a:lnTo>
                      <a:pt x="1450054" y="522292"/>
                    </a:lnTo>
                    <a:lnTo>
                      <a:pt x="1453387" y="522746"/>
                    </a:lnTo>
                    <a:lnTo>
                      <a:pt x="1457478" y="521080"/>
                    </a:lnTo>
                    <a:lnTo>
                      <a:pt x="1460206" y="518352"/>
                    </a:lnTo>
                    <a:lnTo>
                      <a:pt x="1461569" y="514564"/>
                    </a:lnTo>
                    <a:lnTo>
                      <a:pt x="1461873" y="509716"/>
                    </a:lnTo>
                    <a:lnTo>
                      <a:pt x="1460964" y="503655"/>
                    </a:lnTo>
                    <a:lnTo>
                      <a:pt x="1460054" y="499564"/>
                    </a:lnTo>
                    <a:lnTo>
                      <a:pt x="1459145" y="497442"/>
                    </a:lnTo>
                    <a:lnTo>
                      <a:pt x="1458690" y="495170"/>
                    </a:lnTo>
                    <a:lnTo>
                      <a:pt x="1458539" y="492594"/>
                    </a:lnTo>
                    <a:lnTo>
                      <a:pt x="1457933" y="488806"/>
                    </a:lnTo>
                    <a:lnTo>
                      <a:pt x="1456418" y="486684"/>
                    </a:lnTo>
                    <a:lnTo>
                      <a:pt x="1449902" y="480927"/>
                    </a:lnTo>
                    <a:lnTo>
                      <a:pt x="1445811" y="475320"/>
                    </a:lnTo>
                    <a:lnTo>
                      <a:pt x="1448387" y="468350"/>
                    </a:lnTo>
                    <a:lnTo>
                      <a:pt x="1441872" y="462744"/>
                    </a:lnTo>
                    <a:lnTo>
                      <a:pt x="1437023" y="461987"/>
                    </a:lnTo>
                    <a:lnTo>
                      <a:pt x="1432780" y="462138"/>
                    </a:lnTo>
                    <a:lnTo>
                      <a:pt x="1429295" y="461684"/>
                    </a:lnTo>
                    <a:lnTo>
                      <a:pt x="1423235" y="459714"/>
                    </a:lnTo>
                    <a:lnTo>
                      <a:pt x="1420356" y="458047"/>
                    </a:lnTo>
                    <a:lnTo>
                      <a:pt x="1412174" y="460017"/>
                    </a:lnTo>
                    <a:lnTo>
                      <a:pt x="1405810" y="460168"/>
                    </a:lnTo>
                    <a:lnTo>
                      <a:pt x="1403840" y="459714"/>
                    </a:lnTo>
                    <a:lnTo>
                      <a:pt x="1401567" y="458502"/>
                    </a:lnTo>
                    <a:lnTo>
                      <a:pt x="1396416" y="452441"/>
                    </a:lnTo>
                    <a:lnTo>
                      <a:pt x="1393082" y="442592"/>
                    </a:lnTo>
                    <a:lnTo>
                      <a:pt x="1389597" y="441683"/>
                    </a:lnTo>
                    <a:lnTo>
                      <a:pt x="1381566" y="440925"/>
                    </a:lnTo>
                    <a:lnTo>
                      <a:pt x="1379294" y="440319"/>
                    </a:lnTo>
                    <a:lnTo>
                      <a:pt x="1377475" y="439562"/>
                    </a:lnTo>
                    <a:lnTo>
                      <a:pt x="1373081" y="436380"/>
                    </a:lnTo>
                    <a:lnTo>
                      <a:pt x="1373081" y="435016"/>
                    </a:lnTo>
                    <a:lnTo>
                      <a:pt x="1374596" y="433652"/>
                    </a:lnTo>
                    <a:lnTo>
                      <a:pt x="1380657" y="430016"/>
                    </a:lnTo>
                    <a:lnTo>
                      <a:pt x="1384749" y="430016"/>
                    </a:lnTo>
                    <a:lnTo>
                      <a:pt x="1391718" y="432895"/>
                    </a:lnTo>
                    <a:lnTo>
                      <a:pt x="1396718" y="435925"/>
                    </a:lnTo>
                    <a:lnTo>
                      <a:pt x="1400355" y="436077"/>
                    </a:lnTo>
                    <a:lnTo>
                      <a:pt x="1418235" y="427137"/>
                    </a:lnTo>
                    <a:lnTo>
                      <a:pt x="1418689" y="424561"/>
                    </a:lnTo>
                    <a:lnTo>
                      <a:pt x="1431114" y="422591"/>
                    </a:lnTo>
                    <a:lnTo>
                      <a:pt x="1442629" y="422137"/>
                    </a:lnTo>
                    <a:lnTo>
                      <a:pt x="1448084" y="422894"/>
                    </a:lnTo>
                    <a:lnTo>
                      <a:pt x="1457781" y="425925"/>
                    </a:lnTo>
                    <a:lnTo>
                      <a:pt x="1467479" y="427288"/>
                    </a:lnTo>
                    <a:lnTo>
                      <a:pt x="1472328" y="428652"/>
                    </a:lnTo>
                    <a:lnTo>
                      <a:pt x="1475509" y="430319"/>
                    </a:lnTo>
                    <a:lnTo>
                      <a:pt x="1478994" y="431228"/>
                    </a:lnTo>
                    <a:lnTo>
                      <a:pt x="1482631" y="431531"/>
                    </a:lnTo>
                    <a:lnTo>
                      <a:pt x="1485206" y="430622"/>
                    </a:lnTo>
                    <a:lnTo>
                      <a:pt x="1488389" y="425925"/>
                    </a:lnTo>
                    <a:lnTo>
                      <a:pt x="1490055" y="422440"/>
                    </a:lnTo>
                    <a:lnTo>
                      <a:pt x="1490964" y="417136"/>
                    </a:lnTo>
                    <a:lnTo>
                      <a:pt x="1491268" y="410166"/>
                    </a:lnTo>
                    <a:lnTo>
                      <a:pt x="1490055" y="405318"/>
                    </a:lnTo>
                    <a:lnTo>
                      <a:pt x="1487176" y="402742"/>
                    </a:lnTo>
                    <a:lnTo>
                      <a:pt x="1483237" y="401378"/>
                    </a:lnTo>
                    <a:lnTo>
                      <a:pt x="1474600" y="401530"/>
                    </a:lnTo>
                    <a:lnTo>
                      <a:pt x="1468388" y="404257"/>
                    </a:lnTo>
                    <a:lnTo>
                      <a:pt x="1463691" y="404863"/>
                    </a:lnTo>
                    <a:lnTo>
                      <a:pt x="1460206" y="403500"/>
                    </a:lnTo>
                    <a:lnTo>
                      <a:pt x="1455811" y="400621"/>
                    </a:lnTo>
                    <a:lnTo>
                      <a:pt x="1449751" y="398348"/>
                    </a:lnTo>
                    <a:lnTo>
                      <a:pt x="1438235" y="396227"/>
                    </a:lnTo>
                    <a:lnTo>
                      <a:pt x="1431871" y="391681"/>
                    </a:lnTo>
                    <a:lnTo>
                      <a:pt x="1425962" y="381681"/>
                    </a:lnTo>
                    <a:lnTo>
                      <a:pt x="1432629" y="379105"/>
                    </a:lnTo>
                    <a:lnTo>
                      <a:pt x="1440205" y="377438"/>
                    </a:lnTo>
                    <a:lnTo>
                      <a:pt x="1445963" y="378802"/>
                    </a:lnTo>
                    <a:lnTo>
                      <a:pt x="1457630" y="384408"/>
                    </a:lnTo>
                    <a:lnTo>
                      <a:pt x="1459145" y="384711"/>
                    </a:lnTo>
                    <a:lnTo>
                      <a:pt x="1463842" y="383499"/>
                    </a:lnTo>
                    <a:lnTo>
                      <a:pt x="1463842" y="381378"/>
                    </a:lnTo>
                    <a:lnTo>
                      <a:pt x="1461115" y="378044"/>
                    </a:lnTo>
                    <a:lnTo>
                      <a:pt x="1458539" y="375620"/>
                    </a:lnTo>
                    <a:lnTo>
                      <a:pt x="1452175" y="372741"/>
                    </a:lnTo>
                    <a:lnTo>
                      <a:pt x="1444751" y="370620"/>
                    </a:lnTo>
                    <a:lnTo>
                      <a:pt x="1435962" y="367135"/>
                    </a:lnTo>
                    <a:lnTo>
                      <a:pt x="1428992" y="365316"/>
                    </a:lnTo>
                    <a:lnTo>
                      <a:pt x="1420962" y="364104"/>
                    </a:lnTo>
                    <a:lnTo>
                      <a:pt x="1413537" y="367892"/>
                    </a:lnTo>
                    <a:lnTo>
                      <a:pt x="1406719" y="376680"/>
                    </a:lnTo>
                    <a:lnTo>
                      <a:pt x="1401264" y="379408"/>
                    </a:lnTo>
                    <a:lnTo>
                      <a:pt x="1397173" y="376074"/>
                    </a:lnTo>
                    <a:lnTo>
                      <a:pt x="1396718" y="371226"/>
                    </a:lnTo>
                    <a:lnTo>
                      <a:pt x="1399901" y="364862"/>
                    </a:lnTo>
                    <a:lnTo>
                      <a:pt x="1403082" y="359256"/>
                    </a:lnTo>
                    <a:lnTo>
                      <a:pt x="1406264" y="354407"/>
                    </a:lnTo>
                    <a:lnTo>
                      <a:pt x="1408537" y="348498"/>
                    </a:lnTo>
                    <a:lnTo>
                      <a:pt x="1409901" y="341376"/>
                    </a:lnTo>
                    <a:lnTo>
                      <a:pt x="1411719" y="336224"/>
                    </a:lnTo>
                    <a:lnTo>
                      <a:pt x="1418235" y="325769"/>
                    </a:lnTo>
                    <a:lnTo>
                      <a:pt x="1418386" y="323345"/>
                    </a:lnTo>
                    <a:lnTo>
                      <a:pt x="1413083" y="320466"/>
                    </a:lnTo>
                    <a:lnTo>
                      <a:pt x="1413234" y="319557"/>
                    </a:lnTo>
                    <a:lnTo>
                      <a:pt x="1427477" y="310769"/>
                    </a:lnTo>
                    <a:lnTo>
                      <a:pt x="1433538" y="309254"/>
                    </a:lnTo>
                    <a:lnTo>
                      <a:pt x="1438841" y="309102"/>
                    </a:lnTo>
                    <a:lnTo>
                      <a:pt x="1442933" y="308345"/>
                    </a:lnTo>
                    <a:lnTo>
                      <a:pt x="1445054" y="306829"/>
                    </a:lnTo>
                    <a:lnTo>
                      <a:pt x="1447326" y="304254"/>
                    </a:lnTo>
                    <a:lnTo>
                      <a:pt x="1448842" y="301375"/>
                    </a:lnTo>
                    <a:lnTo>
                      <a:pt x="1449599" y="298193"/>
                    </a:lnTo>
                    <a:lnTo>
                      <a:pt x="1450660" y="296071"/>
                    </a:lnTo>
                    <a:lnTo>
                      <a:pt x="1451872" y="295011"/>
                    </a:lnTo>
                    <a:lnTo>
                      <a:pt x="1464448" y="291526"/>
                    </a:lnTo>
                    <a:lnTo>
                      <a:pt x="1469600" y="289708"/>
                    </a:lnTo>
                    <a:lnTo>
                      <a:pt x="1471873" y="288041"/>
                    </a:lnTo>
                    <a:lnTo>
                      <a:pt x="1472479" y="286071"/>
                    </a:lnTo>
                    <a:lnTo>
                      <a:pt x="1471418" y="283647"/>
                    </a:lnTo>
                    <a:lnTo>
                      <a:pt x="1469752" y="281374"/>
                    </a:lnTo>
                    <a:lnTo>
                      <a:pt x="1467479" y="279101"/>
                    </a:lnTo>
                    <a:lnTo>
                      <a:pt x="1465509" y="278040"/>
                    </a:lnTo>
                    <a:lnTo>
                      <a:pt x="1463842" y="278192"/>
                    </a:lnTo>
                    <a:lnTo>
                      <a:pt x="1460357" y="277586"/>
                    </a:lnTo>
                    <a:lnTo>
                      <a:pt x="1459903" y="274555"/>
                    </a:lnTo>
                    <a:lnTo>
                      <a:pt x="1460812" y="268949"/>
                    </a:lnTo>
                    <a:lnTo>
                      <a:pt x="1462024" y="264101"/>
                    </a:lnTo>
                    <a:lnTo>
                      <a:pt x="1463691" y="259858"/>
                    </a:lnTo>
                    <a:lnTo>
                      <a:pt x="1463994" y="256828"/>
                    </a:lnTo>
                    <a:lnTo>
                      <a:pt x="1462024" y="253646"/>
                    </a:lnTo>
                    <a:lnTo>
                      <a:pt x="1460964" y="252585"/>
                    </a:lnTo>
                    <a:lnTo>
                      <a:pt x="1457478" y="252282"/>
                    </a:lnTo>
                    <a:lnTo>
                      <a:pt x="1448690" y="252888"/>
                    </a:lnTo>
                    <a:lnTo>
                      <a:pt x="1444751" y="252282"/>
                    </a:lnTo>
                    <a:lnTo>
                      <a:pt x="1442478" y="251221"/>
                    </a:lnTo>
                    <a:lnTo>
                      <a:pt x="1440508" y="249403"/>
                    </a:lnTo>
                    <a:lnTo>
                      <a:pt x="1439296" y="246070"/>
                    </a:lnTo>
                    <a:lnTo>
                      <a:pt x="1438841" y="241069"/>
                    </a:lnTo>
                    <a:lnTo>
                      <a:pt x="1440205" y="236524"/>
                    </a:lnTo>
                    <a:lnTo>
                      <a:pt x="1443235" y="232281"/>
                    </a:lnTo>
                    <a:lnTo>
                      <a:pt x="1447932" y="228190"/>
                    </a:lnTo>
                    <a:lnTo>
                      <a:pt x="1457630" y="222129"/>
                    </a:lnTo>
                    <a:lnTo>
                      <a:pt x="1459903" y="221069"/>
                    </a:lnTo>
                    <a:lnTo>
                      <a:pt x="1465964" y="220766"/>
                    </a:lnTo>
                    <a:lnTo>
                      <a:pt x="1470812" y="221675"/>
                    </a:lnTo>
                    <a:lnTo>
                      <a:pt x="1480055" y="224251"/>
                    </a:lnTo>
                    <a:lnTo>
                      <a:pt x="1497025" y="226523"/>
                    </a:lnTo>
                    <a:lnTo>
                      <a:pt x="1506571" y="226220"/>
                    </a:lnTo>
                    <a:lnTo>
                      <a:pt x="1516571" y="224705"/>
                    </a:lnTo>
                    <a:lnTo>
                      <a:pt x="1521117" y="224554"/>
                    </a:lnTo>
                    <a:lnTo>
                      <a:pt x="1526117" y="225463"/>
                    </a:lnTo>
                    <a:lnTo>
                      <a:pt x="1530057" y="225008"/>
                    </a:lnTo>
                    <a:lnTo>
                      <a:pt x="1540512" y="221675"/>
                    </a:lnTo>
                    <a:lnTo>
                      <a:pt x="1549300" y="216826"/>
                    </a:lnTo>
                    <a:lnTo>
                      <a:pt x="1555664" y="212735"/>
                    </a:lnTo>
                    <a:lnTo>
                      <a:pt x="1555512" y="210614"/>
                    </a:lnTo>
                    <a:lnTo>
                      <a:pt x="1542027" y="206977"/>
                    </a:lnTo>
                    <a:lnTo>
                      <a:pt x="1537633" y="205311"/>
                    </a:lnTo>
                    <a:lnTo>
                      <a:pt x="1532936" y="201371"/>
                    </a:lnTo>
                    <a:lnTo>
                      <a:pt x="1545057" y="196522"/>
                    </a:lnTo>
                    <a:lnTo>
                      <a:pt x="1553845" y="196977"/>
                    </a:lnTo>
                    <a:lnTo>
                      <a:pt x="1566270" y="196371"/>
                    </a:lnTo>
                    <a:lnTo>
                      <a:pt x="1575816" y="191825"/>
                    </a:lnTo>
                    <a:lnTo>
                      <a:pt x="1594756" y="189098"/>
                    </a:lnTo>
                    <a:lnTo>
                      <a:pt x="1596726" y="188340"/>
                    </a:lnTo>
                    <a:lnTo>
                      <a:pt x="1601878" y="184704"/>
                    </a:lnTo>
                    <a:lnTo>
                      <a:pt x="1602181" y="182279"/>
                    </a:lnTo>
                    <a:lnTo>
                      <a:pt x="1600059" y="179552"/>
                    </a:lnTo>
                    <a:lnTo>
                      <a:pt x="1595059" y="175612"/>
                    </a:lnTo>
                    <a:lnTo>
                      <a:pt x="1596120" y="174400"/>
                    </a:lnTo>
                    <a:lnTo>
                      <a:pt x="1603090" y="173037"/>
                    </a:lnTo>
                    <a:lnTo>
                      <a:pt x="1613848" y="172734"/>
                    </a:lnTo>
                    <a:lnTo>
                      <a:pt x="1623545" y="171521"/>
                    </a:lnTo>
                    <a:lnTo>
                      <a:pt x="1632485" y="168339"/>
                    </a:lnTo>
                    <a:lnTo>
                      <a:pt x="1650667" y="158945"/>
                    </a:lnTo>
                    <a:lnTo>
                      <a:pt x="1657031" y="153945"/>
                    </a:lnTo>
                    <a:lnTo>
                      <a:pt x="1676274" y="146521"/>
                    </a:lnTo>
                    <a:lnTo>
                      <a:pt x="1679002" y="144399"/>
                    </a:lnTo>
                    <a:lnTo>
                      <a:pt x="1679153" y="142884"/>
                    </a:lnTo>
                    <a:lnTo>
                      <a:pt x="1675668" y="141975"/>
                    </a:lnTo>
                    <a:close/>
                    <a:moveTo>
                      <a:pt x="1498389" y="256373"/>
                    </a:moveTo>
                    <a:lnTo>
                      <a:pt x="1509904" y="249252"/>
                    </a:lnTo>
                    <a:lnTo>
                      <a:pt x="1515662" y="242130"/>
                    </a:lnTo>
                    <a:lnTo>
                      <a:pt x="1513692" y="236675"/>
                    </a:lnTo>
                    <a:lnTo>
                      <a:pt x="1499753" y="235009"/>
                    </a:lnTo>
                    <a:lnTo>
                      <a:pt x="1484297" y="237736"/>
                    </a:lnTo>
                    <a:lnTo>
                      <a:pt x="1472024" y="242130"/>
                    </a:lnTo>
                    <a:lnTo>
                      <a:pt x="1468236" y="247585"/>
                    </a:lnTo>
                    <a:lnTo>
                      <a:pt x="1471115" y="252585"/>
                    </a:lnTo>
                    <a:lnTo>
                      <a:pt x="1481267" y="255918"/>
                    </a:lnTo>
                    <a:lnTo>
                      <a:pt x="1498389" y="2563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0" name="Freeform: Shape 3279">
                <a:extLst>
                  <a:ext uri="{FF2B5EF4-FFF2-40B4-BE49-F238E27FC236}">
                    <a16:creationId xmlns:a16="http://schemas.microsoft.com/office/drawing/2014/main" id="{0D1C6858-98B7-4F80-B1BF-414B2451F5A1}"/>
                  </a:ext>
                </a:extLst>
              </p:cNvPr>
              <p:cNvSpPr/>
              <p:nvPr/>
            </p:nvSpPr>
            <p:spPr>
              <a:xfrm>
                <a:off x="5688409" y="4257285"/>
                <a:ext cx="121216" cy="175309"/>
              </a:xfrm>
              <a:custGeom>
                <a:avLst/>
                <a:gdLst>
                  <a:gd name="connsiteX0" fmla="*/ 121217 w 121216"/>
                  <a:gd name="connsiteY0" fmla="*/ 137581 h 175309"/>
                  <a:gd name="connsiteX1" fmla="*/ 120004 w 121216"/>
                  <a:gd name="connsiteY1" fmla="*/ 137278 h 175309"/>
                  <a:gd name="connsiteX2" fmla="*/ 118489 w 121216"/>
                  <a:gd name="connsiteY2" fmla="*/ 136823 h 175309"/>
                  <a:gd name="connsiteX3" fmla="*/ 117580 w 121216"/>
                  <a:gd name="connsiteY3" fmla="*/ 136066 h 175309"/>
                  <a:gd name="connsiteX4" fmla="*/ 116216 w 121216"/>
                  <a:gd name="connsiteY4" fmla="*/ 134247 h 175309"/>
                  <a:gd name="connsiteX5" fmla="*/ 115762 w 121216"/>
                  <a:gd name="connsiteY5" fmla="*/ 132732 h 175309"/>
                  <a:gd name="connsiteX6" fmla="*/ 113792 w 121216"/>
                  <a:gd name="connsiteY6" fmla="*/ 132581 h 175309"/>
                  <a:gd name="connsiteX7" fmla="*/ 111216 w 121216"/>
                  <a:gd name="connsiteY7" fmla="*/ 130914 h 175309"/>
                  <a:gd name="connsiteX8" fmla="*/ 108943 w 121216"/>
                  <a:gd name="connsiteY8" fmla="*/ 129247 h 175309"/>
                  <a:gd name="connsiteX9" fmla="*/ 108186 w 121216"/>
                  <a:gd name="connsiteY9" fmla="*/ 127429 h 175309"/>
                  <a:gd name="connsiteX10" fmla="*/ 108337 w 121216"/>
                  <a:gd name="connsiteY10" fmla="*/ 126520 h 175309"/>
                  <a:gd name="connsiteX11" fmla="*/ 108034 w 121216"/>
                  <a:gd name="connsiteY11" fmla="*/ 125611 h 175309"/>
                  <a:gd name="connsiteX12" fmla="*/ 107125 w 121216"/>
                  <a:gd name="connsiteY12" fmla="*/ 125308 h 175309"/>
                  <a:gd name="connsiteX13" fmla="*/ 105155 w 121216"/>
                  <a:gd name="connsiteY13" fmla="*/ 121217 h 175309"/>
                  <a:gd name="connsiteX14" fmla="*/ 103792 w 121216"/>
                  <a:gd name="connsiteY14" fmla="*/ 119701 h 175309"/>
                  <a:gd name="connsiteX15" fmla="*/ 103186 w 121216"/>
                  <a:gd name="connsiteY15" fmla="*/ 118338 h 175309"/>
                  <a:gd name="connsiteX16" fmla="*/ 103337 w 121216"/>
                  <a:gd name="connsiteY16" fmla="*/ 117277 h 175309"/>
                  <a:gd name="connsiteX17" fmla="*/ 103034 w 121216"/>
                  <a:gd name="connsiteY17" fmla="*/ 115913 h 175309"/>
                  <a:gd name="connsiteX18" fmla="*/ 103488 w 121216"/>
                  <a:gd name="connsiteY18" fmla="*/ 114853 h 175309"/>
                  <a:gd name="connsiteX19" fmla="*/ 104701 w 121216"/>
                  <a:gd name="connsiteY19" fmla="*/ 114095 h 175309"/>
                  <a:gd name="connsiteX20" fmla="*/ 105004 w 121216"/>
                  <a:gd name="connsiteY20" fmla="*/ 113337 h 175309"/>
                  <a:gd name="connsiteX21" fmla="*/ 105155 w 121216"/>
                  <a:gd name="connsiteY21" fmla="*/ 111519 h 175309"/>
                  <a:gd name="connsiteX22" fmla="*/ 105761 w 121216"/>
                  <a:gd name="connsiteY22" fmla="*/ 108034 h 175309"/>
                  <a:gd name="connsiteX23" fmla="*/ 106216 w 121216"/>
                  <a:gd name="connsiteY23" fmla="*/ 104549 h 175309"/>
                  <a:gd name="connsiteX24" fmla="*/ 105004 w 121216"/>
                  <a:gd name="connsiteY24" fmla="*/ 103640 h 175309"/>
                  <a:gd name="connsiteX25" fmla="*/ 103488 w 121216"/>
                  <a:gd name="connsiteY25" fmla="*/ 103337 h 175309"/>
                  <a:gd name="connsiteX26" fmla="*/ 102731 w 121216"/>
                  <a:gd name="connsiteY26" fmla="*/ 102276 h 175309"/>
                  <a:gd name="connsiteX27" fmla="*/ 102428 w 121216"/>
                  <a:gd name="connsiteY27" fmla="*/ 100761 h 175309"/>
                  <a:gd name="connsiteX28" fmla="*/ 102428 w 121216"/>
                  <a:gd name="connsiteY28" fmla="*/ 99246 h 175309"/>
                  <a:gd name="connsiteX29" fmla="*/ 105307 w 121216"/>
                  <a:gd name="connsiteY29" fmla="*/ 94397 h 175309"/>
                  <a:gd name="connsiteX30" fmla="*/ 104701 w 121216"/>
                  <a:gd name="connsiteY30" fmla="*/ 82882 h 175309"/>
                  <a:gd name="connsiteX31" fmla="*/ 105155 w 121216"/>
                  <a:gd name="connsiteY31" fmla="*/ 81215 h 175309"/>
                  <a:gd name="connsiteX32" fmla="*/ 106519 w 121216"/>
                  <a:gd name="connsiteY32" fmla="*/ 80003 h 175309"/>
                  <a:gd name="connsiteX33" fmla="*/ 107580 w 121216"/>
                  <a:gd name="connsiteY33" fmla="*/ 78639 h 175309"/>
                  <a:gd name="connsiteX34" fmla="*/ 107580 w 121216"/>
                  <a:gd name="connsiteY34" fmla="*/ 77124 h 175309"/>
                  <a:gd name="connsiteX35" fmla="*/ 105610 w 121216"/>
                  <a:gd name="connsiteY35" fmla="*/ 73790 h 175309"/>
                  <a:gd name="connsiteX36" fmla="*/ 101973 w 121216"/>
                  <a:gd name="connsiteY36" fmla="*/ 71215 h 175309"/>
                  <a:gd name="connsiteX37" fmla="*/ 100155 w 121216"/>
                  <a:gd name="connsiteY37" fmla="*/ 69093 h 175309"/>
                  <a:gd name="connsiteX38" fmla="*/ 99095 w 121216"/>
                  <a:gd name="connsiteY38" fmla="*/ 67124 h 175309"/>
                  <a:gd name="connsiteX39" fmla="*/ 98943 w 121216"/>
                  <a:gd name="connsiteY39" fmla="*/ 66063 h 175309"/>
                  <a:gd name="connsiteX40" fmla="*/ 101216 w 121216"/>
                  <a:gd name="connsiteY40" fmla="*/ 64699 h 175309"/>
                  <a:gd name="connsiteX41" fmla="*/ 102125 w 121216"/>
                  <a:gd name="connsiteY41" fmla="*/ 63639 h 175309"/>
                  <a:gd name="connsiteX42" fmla="*/ 102277 w 121216"/>
                  <a:gd name="connsiteY42" fmla="*/ 62426 h 175309"/>
                  <a:gd name="connsiteX43" fmla="*/ 101367 w 121216"/>
                  <a:gd name="connsiteY43" fmla="*/ 60305 h 175309"/>
                  <a:gd name="connsiteX44" fmla="*/ 101519 w 121216"/>
                  <a:gd name="connsiteY44" fmla="*/ 56366 h 175309"/>
                  <a:gd name="connsiteX45" fmla="*/ 102428 w 121216"/>
                  <a:gd name="connsiteY45" fmla="*/ 53487 h 175309"/>
                  <a:gd name="connsiteX46" fmla="*/ 103186 w 121216"/>
                  <a:gd name="connsiteY46" fmla="*/ 49699 h 175309"/>
                  <a:gd name="connsiteX47" fmla="*/ 103186 w 121216"/>
                  <a:gd name="connsiteY47" fmla="*/ 48638 h 175309"/>
                  <a:gd name="connsiteX48" fmla="*/ 101064 w 121216"/>
                  <a:gd name="connsiteY48" fmla="*/ 46365 h 175309"/>
                  <a:gd name="connsiteX49" fmla="*/ 99852 w 121216"/>
                  <a:gd name="connsiteY49" fmla="*/ 46062 h 175309"/>
                  <a:gd name="connsiteX50" fmla="*/ 98943 w 121216"/>
                  <a:gd name="connsiteY50" fmla="*/ 46214 h 175309"/>
                  <a:gd name="connsiteX51" fmla="*/ 96670 w 121216"/>
                  <a:gd name="connsiteY51" fmla="*/ 47729 h 175309"/>
                  <a:gd name="connsiteX52" fmla="*/ 95912 w 121216"/>
                  <a:gd name="connsiteY52" fmla="*/ 47881 h 175309"/>
                  <a:gd name="connsiteX53" fmla="*/ 95458 w 121216"/>
                  <a:gd name="connsiteY53" fmla="*/ 47426 h 175309"/>
                  <a:gd name="connsiteX54" fmla="*/ 95155 w 121216"/>
                  <a:gd name="connsiteY54" fmla="*/ 46820 h 175309"/>
                  <a:gd name="connsiteX55" fmla="*/ 95912 w 121216"/>
                  <a:gd name="connsiteY55" fmla="*/ 45911 h 175309"/>
                  <a:gd name="connsiteX56" fmla="*/ 95610 w 121216"/>
                  <a:gd name="connsiteY56" fmla="*/ 44850 h 175309"/>
                  <a:gd name="connsiteX57" fmla="*/ 96367 w 121216"/>
                  <a:gd name="connsiteY57" fmla="*/ 43941 h 175309"/>
                  <a:gd name="connsiteX58" fmla="*/ 97731 w 121216"/>
                  <a:gd name="connsiteY58" fmla="*/ 43486 h 175309"/>
                  <a:gd name="connsiteX59" fmla="*/ 98185 w 121216"/>
                  <a:gd name="connsiteY59" fmla="*/ 43032 h 175309"/>
                  <a:gd name="connsiteX60" fmla="*/ 96216 w 121216"/>
                  <a:gd name="connsiteY60" fmla="*/ 42426 h 175309"/>
                  <a:gd name="connsiteX61" fmla="*/ 96064 w 121216"/>
                  <a:gd name="connsiteY61" fmla="*/ 41820 h 175309"/>
                  <a:gd name="connsiteX62" fmla="*/ 96216 w 121216"/>
                  <a:gd name="connsiteY62" fmla="*/ 41214 h 175309"/>
                  <a:gd name="connsiteX63" fmla="*/ 96670 w 121216"/>
                  <a:gd name="connsiteY63" fmla="*/ 41062 h 175309"/>
                  <a:gd name="connsiteX64" fmla="*/ 97276 w 121216"/>
                  <a:gd name="connsiteY64" fmla="*/ 41062 h 175309"/>
                  <a:gd name="connsiteX65" fmla="*/ 97579 w 121216"/>
                  <a:gd name="connsiteY65" fmla="*/ 40607 h 175309"/>
                  <a:gd name="connsiteX66" fmla="*/ 97882 w 121216"/>
                  <a:gd name="connsiteY66" fmla="*/ 37426 h 175309"/>
                  <a:gd name="connsiteX67" fmla="*/ 98185 w 121216"/>
                  <a:gd name="connsiteY67" fmla="*/ 36365 h 175309"/>
                  <a:gd name="connsiteX68" fmla="*/ 98337 w 121216"/>
                  <a:gd name="connsiteY68" fmla="*/ 34092 h 175309"/>
                  <a:gd name="connsiteX69" fmla="*/ 98640 w 121216"/>
                  <a:gd name="connsiteY69" fmla="*/ 25607 h 175309"/>
                  <a:gd name="connsiteX70" fmla="*/ 99095 w 121216"/>
                  <a:gd name="connsiteY70" fmla="*/ 24698 h 175309"/>
                  <a:gd name="connsiteX71" fmla="*/ 99246 w 121216"/>
                  <a:gd name="connsiteY71" fmla="*/ 24092 h 175309"/>
                  <a:gd name="connsiteX72" fmla="*/ 97882 w 121216"/>
                  <a:gd name="connsiteY72" fmla="*/ 23637 h 175309"/>
                  <a:gd name="connsiteX73" fmla="*/ 94700 w 121216"/>
                  <a:gd name="connsiteY73" fmla="*/ 21364 h 175309"/>
                  <a:gd name="connsiteX74" fmla="*/ 92882 w 121216"/>
                  <a:gd name="connsiteY74" fmla="*/ 19546 h 175309"/>
                  <a:gd name="connsiteX75" fmla="*/ 91215 w 121216"/>
                  <a:gd name="connsiteY75" fmla="*/ 17728 h 175309"/>
                  <a:gd name="connsiteX76" fmla="*/ 89852 w 121216"/>
                  <a:gd name="connsiteY76" fmla="*/ 16667 h 175309"/>
                  <a:gd name="connsiteX77" fmla="*/ 87276 w 121216"/>
                  <a:gd name="connsiteY77" fmla="*/ 14849 h 175309"/>
                  <a:gd name="connsiteX78" fmla="*/ 86367 w 121216"/>
                  <a:gd name="connsiteY78" fmla="*/ 13637 h 175309"/>
                  <a:gd name="connsiteX79" fmla="*/ 86367 w 121216"/>
                  <a:gd name="connsiteY79" fmla="*/ 12425 h 175309"/>
                  <a:gd name="connsiteX80" fmla="*/ 87124 w 121216"/>
                  <a:gd name="connsiteY80" fmla="*/ 10152 h 175309"/>
                  <a:gd name="connsiteX81" fmla="*/ 88336 w 121216"/>
                  <a:gd name="connsiteY81" fmla="*/ 7576 h 175309"/>
                  <a:gd name="connsiteX82" fmla="*/ 89094 w 121216"/>
                  <a:gd name="connsiteY82" fmla="*/ 4091 h 175309"/>
                  <a:gd name="connsiteX83" fmla="*/ 88640 w 121216"/>
                  <a:gd name="connsiteY83" fmla="*/ 3030 h 175309"/>
                  <a:gd name="connsiteX84" fmla="*/ 86973 w 121216"/>
                  <a:gd name="connsiteY84" fmla="*/ 1364 h 175309"/>
                  <a:gd name="connsiteX85" fmla="*/ 80609 w 121216"/>
                  <a:gd name="connsiteY85" fmla="*/ 0 h 175309"/>
                  <a:gd name="connsiteX86" fmla="*/ 80155 w 121216"/>
                  <a:gd name="connsiteY86" fmla="*/ 1364 h 175309"/>
                  <a:gd name="connsiteX87" fmla="*/ 79245 w 121216"/>
                  <a:gd name="connsiteY87" fmla="*/ 2273 h 175309"/>
                  <a:gd name="connsiteX88" fmla="*/ 77881 w 121216"/>
                  <a:gd name="connsiteY88" fmla="*/ 2273 h 175309"/>
                  <a:gd name="connsiteX89" fmla="*/ 76972 w 121216"/>
                  <a:gd name="connsiteY89" fmla="*/ 2121 h 175309"/>
                  <a:gd name="connsiteX90" fmla="*/ 76367 w 121216"/>
                  <a:gd name="connsiteY90" fmla="*/ 3030 h 175309"/>
                  <a:gd name="connsiteX91" fmla="*/ 75306 w 121216"/>
                  <a:gd name="connsiteY91" fmla="*/ 4394 h 175309"/>
                  <a:gd name="connsiteX92" fmla="*/ 73791 w 121216"/>
                  <a:gd name="connsiteY92" fmla="*/ 5000 h 175309"/>
                  <a:gd name="connsiteX93" fmla="*/ 72427 w 121216"/>
                  <a:gd name="connsiteY93" fmla="*/ 5909 h 175309"/>
                  <a:gd name="connsiteX94" fmla="*/ 71669 w 121216"/>
                  <a:gd name="connsiteY94" fmla="*/ 6667 h 175309"/>
                  <a:gd name="connsiteX95" fmla="*/ 71063 w 121216"/>
                  <a:gd name="connsiteY95" fmla="*/ 6667 h 175309"/>
                  <a:gd name="connsiteX96" fmla="*/ 69548 w 121216"/>
                  <a:gd name="connsiteY96" fmla="*/ 4849 h 175309"/>
                  <a:gd name="connsiteX97" fmla="*/ 67730 w 121216"/>
                  <a:gd name="connsiteY97" fmla="*/ 4697 h 175309"/>
                  <a:gd name="connsiteX98" fmla="*/ 64093 w 121216"/>
                  <a:gd name="connsiteY98" fmla="*/ 5000 h 175309"/>
                  <a:gd name="connsiteX99" fmla="*/ 62426 w 121216"/>
                  <a:gd name="connsiteY99" fmla="*/ 4546 h 175309"/>
                  <a:gd name="connsiteX100" fmla="*/ 60305 w 121216"/>
                  <a:gd name="connsiteY100" fmla="*/ 4394 h 175309"/>
                  <a:gd name="connsiteX101" fmla="*/ 55002 w 121216"/>
                  <a:gd name="connsiteY101" fmla="*/ 4697 h 175309"/>
                  <a:gd name="connsiteX102" fmla="*/ 46668 w 121216"/>
                  <a:gd name="connsiteY102" fmla="*/ 3939 h 175309"/>
                  <a:gd name="connsiteX103" fmla="*/ 45305 w 121216"/>
                  <a:gd name="connsiteY103" fmla="*/ 4394 h 175309"/>
                  <a:gd name="connsiteX104" fmla="*/ 45002 w 121216"/>
                  <a:gd name="connsiteY104" fmla="*/ 4697 h 175309"/>
                  <a:gd name="connsiteX105" fmla="*/ 36819 w 121216"/>
                  <a:gd name="connsiteY105" fmla="*/ 4697 h 175309"/>
                  <a:gd name="connsiteX106" fmla="*/ 27728 w 121216"/>
                  <a:gd name="connsiteY106" fmla="*/ 4849 h 175309"/>
                  <a:gd name="connsiteX107" fmla="*/ 20152 w 121216"/>
                  <a:gd name="connsiteY107" fmla="*/ 5000 h 175309"/>
                  <a:gd name="connsiteX108" fmla="*/ 13485 w 121216"/>
                  <a:gd name="connsiteY108" fmla="*/ 5000 h 175309"/>
                  <a:gd name="connsiteX109" fmla="*/ 13485 w 121216"/>
                  <a:gd name="connsiteY109" fmla="*/ 4697 h 175309"/>
                  <a:gd name="connsiteX110" fmla="*/ 11364 w 121216"/>
                  <a:gd name="connsiteY110" fmla="*/ 4697 h 175309"/>
                  <a:gd name="connsiteX111" fmla="*/ 11061 w 121216"/>
                  <a:gd name="connsiteY111" fmla="*/ 5303 h 175309"/>
                  <a:gd name="connsiteX112" fmla="*/ 9243 w 121216"/>
                  <a:gd name="connsiteY112" fmla="*/ 12122 h 175309"/>
                  <a:gd name="connsiteX113" fmla="*/ 9091 w 121216"/>
                  <a:gd name="connsiteY113" fmla="*/ 15758 h 175309"/>
                  <a:gd name="connsiteX114" fmla="*/ 10000 w 121216"/>
                  <a:gd name="connsiteY114" fmla="*/ 18182 h 175309"/>
                  <a:gd name="connsiteX115" fmla="*/ 11212 w 121216"/>
                  <a:gd name="connsiteY115" fmla="*/ 19546 h 175309"/>
                  <a:gd name="connsiteX116" fmla="*/ 12425 w 121216"/>
                  <a:gd name="connsiteY116" fmla="*/ 20152 h 175309"/>
                  <a:gd name="connsiteX117" fmla="*/ 12576 w 121216"/>
                  <a:gd name="connsiteY117" fmla="*/ 21061 h 175309"/>
                  <a:gd name="connsiteX118" fmla="*/ 11515 w 121216"/>
                  <a:gd name="connsiteY118" fmla="*/ 22122 h 175309"/>
                  <a:gd name="connsiteX119" fmla="*/ 11667 w 121216"/>
                  <a:gd name="connsiteY119" fmla="*/ 23183 h 175309"/>
                  <a:gd name="connsiteX120" fmla="*/ 12728 w 121216"/>
                  <a:gd name="connsiteY120" fmla="*/ 24395 h 175309"/>
                  <a:gd name="connsiteX121" fmla="*/ 13031 w 121216"/>
                  <a:gd name="connsiteY121" fmla="*/ 25607 h 175309"/>
                  <a:gd name="connsiteX122" fmla="*/ 12425 w 121216"/>
                  <a:gd name="connsiteY122" fmla="*/ 26819 h 175309"/>
                  <a:gd name="connsiteX123" fmla="*/ 12576 w 121216"/>
                  <a:gd name="connsiteY123" fmla="*/ 29850 h 175309"/>
                  <a:gd name="connsiteX124" fmla="*/ 13485 w 121216"/>
                  <a:gd name="connsiteY124" fmla="*/ 34547 h 175309"/>
                  <a:gd name="connsiteX125" fmla="*/ 13485 w 121216"/>
                  <a:gd name="connsiteY125" fmla="*/ 37729 h 175309"/>
                  <a:gd name="connsiteX126" fmla="*/ 12728 w 121216"/>
                  <a:gd name="connsiteY126" fmla="*/ 39092 h 175309"/>
                  <a:gd name="connsiteX127" fmla="*/ 13031 w 121216"/>
                  <a:gd name="connsiteY127" fmla="*/ 41517 h 175309"/>
                  <a:gd name="connsiteX128" fmla="*/ 14698 w 121216"/>
                  <a:gd name="connsiteY128" fmla="*/ 44850 h 175309"/>
                  <a:gd name="connsiteX129" fmla="*/ 15000 w 121216"/>
                  <a:gd name="connsiteY129" fmla="*/ 46365 h 175309"/>
                  <a:gd name="connsiteX130" fmla="*/ 15303 w 121216"/>
                  <a:gd name="connsiteY130" fmla="*/ 47729 h 175309"/>
                  <a:gd name="connsiteX131" fmla="*/ 14698 w 121216"/>
                  <a:gd name="connsiteY131" fmla="*/ 49850 h 175309"/>
                  <a:gd name="connsiteX132" fmla="*/ 14849 w 121216"/>
                  <a:gd name="connsiteY132" fmla="*/ 51214 h 175309"/>
                  <a:gd name="connsiteX133" fmla="*/ 15607 w 121216"/>
                  <a:gd name="connsiteY133" fmla="*/ 51820 h 175309"/>
                  <a:gd name="connsiteX134" fmla="*/ 15152 w 121216"/>
                  <a:gd name="connsiteY134" fmla="*/ 53487 h 175309"/>
                  <a:gd name="connsiteX135" fmla="*/ 13637 w 121216"/>
                  <a:gd name="connsiteY135" fmla="*/ 56517 h 175309"/>
                  <a:gd name="connsiteX136" fmla="*/ 13637 w 121216"/>
                  <a:gd name="connsiteY136" fmla="*/ 58336 h 175309"/>
                  <a:gd name="connsiteX137" fmla="*/ 15152 w 121216"/>
                  <a:gd name="connsiteY137" fmla="*/ 58790 h 175309"/>
                  <a:gd name="connsiteX138" fmla="*/ 16364 w 121216"/>
                  <a:gd name="connsiteY138" fmla="*/ 60760 h 175309"/>
                  <a:gd name="connsiteX139" fmla="*/ 16970 w 121216"/>
                  <a:gd name="connsiteY139" fmla="*/ 63942 h 175309"/>
                  <a:gd name="connsiteX140" fmla="*/ 17576 w 121216"/>
                  <a:gd name="connsiteY140" fmla="*/ 65002 h 175309"/>
                  <a:gd name="connsiteX141" fmla="*/ 17728 w 121216"/>
                  <a:gd name="connsiteY141" fmla="*/ 65608 h 175309"/>
                  <a:gd name="connsiteX142" fmla="*/ 18788 w 121216"/>
                  <a:gd name="connsiteY142" fmla="*/ 73336 h 175309"/>
                  <a:gd name="connsiteX143" fmla="*/ 20152 w 121216"/>
                  <a:gd name="connsiteY143" fmla="*/ 81215 h 175309"/>
                  <a:gd name="connsiteX144" fmla="*/ 19395 w 121216"/>
                  <a:gd name="connsiteY144" fmla="*/ 82276 h 175309"/>
                  <a:gd name="connsiteX145" fmla="*/ 18182 w 121216"/>
                  <a:gd name="connsiteY145" fmla="*/ 82427 h 175309"/>
                  <a:gd name="connsiteX146" fmla="*/ 17273 w 121216"/>
                  <a:gd name="connsiteY146" fmla="*/ 82882 h 175309"/>
                  <a:gd name="connsiteX147" fmla="*/ 17122 w 121216"/>
                  <a:gd name="connsiteY147" fmla="*/ 83639 h 175309"/>
                  <a:gd name="connsiteX148" fmla="*/ 17576 w 121216"/>
                  <a:gd name="connsiteY148" fmla="*/ 84700 h 175309"/>
                  <a:gd name="connsiteX149" fmla="*/ 17273 w 121216"/>
                  <a:gd name="connsiteY149" fmla="*/ 85609 h 175309"/>
                  <a:gd name="connsiteX150" fmla="*/ 15758 w 121216"/>
                  <a:gd name="connsiteY150" fmla="*/ 86367 h 175309"/>
                  <a:gd name="connsiteX151" fmla="*/ 12425 w 121216"/>
                  <a:gd name="connsiteY151" fmla="*/ 88791 h 175309"/>
                  <a:gd name="connsiteX152" fmla="*/ 12273 w 121216"/>
                  <a:gd name="connsiteY152" fmla="*/ 89700 h 175309"/>
                  <a:gd name="connsiteX153" fmla="*/ 11364 w 121216"/>
                  <a:gd name="connsiteY153" fmla="*/ 91821 h 175309"/>
                  <a:gd name="connsiteX154" fmla="*/ 10606 w 121216"/>
                  <a:gd name="connsiteY154" fmla="*/ 93185 h 175309"/>
                  <a:gd name="connsiteX155" fmla="*/ 9546 w 121216"/>
                  <a:gd name="connsiteY155" fmla="*/ 95458 h 175309"/>
                  <a:gd name="connsiteX156" fmla="*/ 7879 w 121216"/>
                  <a:gd name="connsiteY156" fmla="*/ 101822 h 175309"/>
                  <a:gd name="connsiteX157" fmla="*/ 7121 w 121216"/>
                  <a:gd name="connsiteY157" fmla="*/ 106974 h 175309"/>
                  <a:gd name="connsiteX158" fmla="*/ 7121 w 121216"/>
                  <a:gd name="connsiteY158" fmla="*/ 108640 h 175309"/>
                  <a:gd name="connsiteX159" fmla="*/ 6364 w 121216"/>
                  <a:gd name="connsiteY159" fmla="*/ 109701 h 175309"/>
                  <a:gd name="connsiteX160" fmla="*/ 5606 w 121216"/>
                  <a:gd name="connsiteY160" fmla="*/ 111368 h 175309"/>
                  <a:gd name="connsiteX161" fmla="*/ 2121 w 121216"/>
                  <a:gd name="connsiteY161" fmla="*/ 115913 h 175309"/>
                  <a:gd name="connsiteX162" fmla="*/ 303 w 121216"/>
                  <a:gd name="connsiteY162" fmla="*/ 119550 h 175309"/>
                  <a:gd name="connsiteX163" fmla="*/ 455 w 121216"/>
                  <a:gd name="connsiteY163" fmla="*/ 121065 h 175309"/>
                  <a:gd name="connsiteX164" fmla="*/ 606 w 121216"/>
                  <a:gd name="connsiteY164" fmla="*/ 122732 h 175309"/>
                  <a:gd name="connsiteX165" fmla="*/ 0 w 121216"/>
                  <a:gd name="connsiteY165" fmla="*/ 123792 h 175309"/>
                  <a:gd name="connsiteX166" fmla="*/ 151 w 121216"/>
                  <a:gd name="connsiteY166" fmla="*/ 126974 h 175309"/>
                  <a:gd name="connsiteX167" fmla="*/ 606 w 121216"/>
                  <a:gd name="connsiteY167" fmla="*/ 129550 h 175309"/>
                  <a:gd name="connsiteX168" fmla="*/ 1212 w 121216"/>
                  <a:gd name="connsiteY168" fmla="*/ 131975 h 175309"/>
                  <a:gd name="connsiteX169" fmla="*/ 3788 w 121216"/>
                  <a:gd name="connsiteY169" fmla="*/ 139248 h 175309"/>
                  <a:gd name="connsiteX170" fmla="*/ 5152 w 121216"/>
                  <a:gd name="connsiteY170" fmla="*/ 143490 h 175309"/>
                  <a:gd name="connsiteX171" fmla="*/ 6061 w 121216"/>
                  <a:gd name="connsiteY171" fmla="*/ 146975 h 175309"/>
                  <a:gd name="connsiteX172" fmla="*/ 6818 w 121216"/>
                  <a:gd name="connsiteY172" fmla="*/ 149399 h 175309"/>
                  <a:gd name="connsiteX173" fmla="*/ 7424 w 121216"/>
                  <a:gd name="connsiteY173" fmla="*/ 150308 h 175309"/>
                  <a:gd name="connsiteX174" fmla="*/ 7727 w 121216"/>
                  <a:gd name="connsiteY174" fmla="*/ 151218 h 175309"/>
                  <a:gd name="connsiteX175" fmla="*/ 11515 w 121216"/>
                  <a:gd name="connsiteY175" fmla="*/ 151975 h 175309"/>
                  <a:gd name="connsiteX176" fmla="*/ 12273 w 121216"/>
                  <a:gd name="connsiteY176" fmla="*/ 152430 h 175309"/>
                  <a:gd name="connsiteX177" fmla="*/ 13334 w 121216"/>
                  <a:gd name="connsiteY177" fmla="*/ 156975 h 175309"/>
                  <a:gd name="connsiteX178" fmla="*/ 13182 w 121216"/>
                  <a:gd name="connsiteY178" fmla="*/ 159097 h 175309"/>
                  <a:gd name="connsiteX179" fmla="*/ 12425 w 121216"/>
                  <a:gd name="connsiteY179" fmla="*/ 159854 h 175309"/>
                  <a:gd name="connsiteX180" fmla="*/ 12425 w 121216"/>
                  <a:gd name="connsiteY180" fmla="*/ 161521 h 175309"/>
                  <a:gd name="connsiteX181" fmla="*/ 12273 w 121216"/>
                  <a:gd name="connsiteY181" fmla="*/ 163794 h 175309"/>
                  <a:gd name="connsiteX182" fmla="*/ 11667 w 121216"/>
                  <a:gd name="connsiteY182" fmla="*/ 164551 h 175309"/>
                  <a:gd name="connsiteX183" fmla="*/ 9546 w 121216"/>
                  <a:gd name="connsiteY183" fmla="*/ 164703 h 175309"/>
                  <a:gd name="connsiteX184" fmla="*/ 8182 w 121216"/>
                  <a:gd name="connsiteY184" fmla="*/ 165612 h 175309"/>
                  <a:gd name="connsiteX185" fmla="*/ 6212 w 121216"/>
                  <a:gd name="connsiteY185" fmla="*/ 165157 h 175309"/>
                  <a:gd name="connsiteX186" fmla="*/ 4394 w 121216"/>
                  <a:gd name="connsiteY186" fmla="*/ 165309 h 175309"/>
                  <a:gd name="connsiteX187" fmla="*/ 3636 w 121216"/>
                  <a:gd name="connsiteY187" fmla="*/ 166370 h 175309"/>
                  <a:gd name="connsiteX188" fmla="*/ 4394 w 121216"/>
                  <a:gd name="connsiteY188" fmla="*/ 166521 h 175309"/>
                  <a:gd name="connsiteX189" fmla="*/ 7727 w 121216"/>
                  <a:gd name="connsiteY189" fmla="*/ 167582 h 175309"/>
                  <a:gd name="connsiteX190" fmla="*/ 14243 w 121216"/>
                  <a:gd name="connsiteY190" fmla="*/ 168339 h 175309"/>
                  <a:gd name="connsiteX191" fmla="*/ 23183 w 121216"/>
                  <a:gd name="connsiteY191" fmla="*/ 170764 h 175309"/>
                  <a:gd name="connsiteX192" fmla="*/ 26819 w 121216"/>
                  <a:gd name="connsiteY192" fmla="*/ 172279 h 175309"/>
                  <a:gd name="connsiteX193" fmla="*/ 31516 w 121216"/>
                  <a:gd name="connsiteY193" fmla="*/ 175158 h 175309"/>
                  <a:gd name="connsiteX194" fmla="*/ 33941 w 121216"/>
                  <a:gd name="connsiteY194" fmla="*/ 175310 h 175309"/>
                  <a:gd name="connsiteX195" fmla="*/ 40153 w 121216"/>
                  <a:gd name="connsiteY195" fmla="*/ 171976 h 175309"/>
                  <a:gd name="connsiteX196" fmla="*/ 43941 w 121216"/>
                  <a:gd name="connsiteY196" fmla="*/ 169249 h 175309"/>
                  <a:gd name="connsiteX197" fmla="*/ 47729 w 121216"/>
                  <a:gd name="connsiteY197" fmla="*/ 167734 h 175309"/>
                  <a:gd name="connsiteX198" fmla="*/ 59699 w 121216"/>
                  <a:gd name="connsiteY198" fmla="*/ 163794 h 175309"/>
                  <a:gd name="connsiteX199" fmla="*/ 66972 w 121216"/>
                  <a:gd name="connsiteY199" fmla="*/ 162582 h 175309"/>
                  <a:gd name="connsiteX200" fmla="*/ 70457 w 121216"/>
                  <a:gd name="connsiteY200" fmla="*/ 160157 h 175309"/>
                  <a:gd name="connsiteX201" fmla="*/ 75457 w 121216"/>
                  <a:gd name="connsiteY201" fmla="*/ 158036 h 175309"/>
                  <a:gd name="connsiteX202" fmla="*/ 79245 w 121216"/>
                  <a:gd name="connsiteY202" fmla="*/ 155157 h 175309"/>
                  <a:gd name="connsiteX203" fmla="*/ 85306 w 121216"/>
                  <a:gd name="connsiteY203" fmla="*/ 153339 h 175309"/>
                  <a:gd name="connsiteX204" fmla="*/ 95912 w 121216"/>
                  <a:gd name="connsiteY204" fmla="*/ 148187 h 175309"/>
                  <a:gd name="connsiteX205" fmla="*/ 107125 w 121216"/>
                  <a:gd name="connsiteY205" fmla="*/ 148036 h 175309"/>
                  <a:gd name="connsiteX206" fmla="*/ 109246 w 121216"/>
                  <a:gd name="connsiteY206" fmla="*/ 148036 h 175309"/>
                  <a:gd name="connsiteX207" fmla="*/ 114701 w 121216"/>
                  <a:gd name="connsiteY207" fmla="*/ 146672 h 175309"/>
                  <a:gd name="connsiteX208" fmla="*/ 116368 w 121216"/>
                  <a:gd name="connsiteY208" fmla="*/ 144096 h 175309"/>
                  <a:gd name="connsiteX209" fmla="*/ 117580 w 121216"/>
                  <a:gd name="connsiteY209" fmla="*/ 141672 h 175309"/>
                  <a:gd name="connsiteX210" fmla="*/ 119095 w 121216"/>
                  <a:gd name="connsiteY210" fmla="*/ 140157 h 175309"/>
                  <a:gd name="connsiteX211" fmla="*/ 121217 w 121216"/>
                  <a:gd name="connsiteY211" fmla="*/ 139096 h 17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121216" h="175309">
                    <a:moveTo>
                      <a:pt x="121217" y="137581"/>
                    </a:moveTo>
                    <a:lnTo>
                      <a:pt x="120004" y="137278"/>
                    </a:lnTo>
                    <a:lnTo>
                      <a:pt x="118489" y="136823"/>
                    </a:lnTo>
                    <a:lnTo>
                      <a:pt x="117580" y="136066"/>
                    </a:lnTo>
                    <a:lnTo>
                      <a:pt x="116216" y="134247"/>
                    </a:lnTo>
                    <a:lnTo>
                      <a:pt x="115762" y="132732"/>
                    </a:lnTo>
                    <a:lnTo>
                      <a:pt x="113792" y="132581"/>
                    </a:lnTo>
                    <a:lnTo>
                      <a:pt x="111216" y="130914"/>
                    </a:lnTo>
                    <a:lnTo>
                      <a:pt x="108943" y="129247"/>
                    </a:lnTo>
                    <a:lnTo>
                      <a:pt x="108186" y="127429"/>
                    </a:lnTo>
                    <a:lnTo>
                      <a:pt x="108337" y="126520"/>
                    </a:lnTo>
                    <a:lnTo>
                      <a:pt x="108034" y="125611"/>
                    </a:lnTo>
                    <a:lnTo>
                      <a:pt x="107125" y="125308"/>
                    </a:lnTo>
                    <a:lnTo>
                      <a:pt x="105155" y="121217"/>
                    </a:lnTo>
                    <a:lnTo>
                      <a:pt x="103792" y="119701"/>
                    </a:lnTo>
                    <a:lnTo>
                      <a:pt x="103186" y="118338"/>
                    </a:lnTo>
                    <a:lnTo>
                      <a:pt x="103337" y="117277"/>
                    </a:lnTo>
                    <a:lnTo>
                      <a:pt x="103034" y="115913"/>
                    </a:lnTo>
                    <a:lnTo>
                      <a:pt x="103488" y="114853"/>
                    </a:lnTo>
                    <a:lnTo>
                      <a:pt x="104701" y="114095"/>
                    </a:lnTo>
                    <a:lnTo>
                      <a:pt x="105004" y="113337"/>
                    </a:lnTo>
                    <a:lnTo>
                      <a:pt x="105155" y="111519"/>
                    </a:lnTo>
                    <a:lnTo>
                      <a:pt x="105761" y="108034"/>
                    </a:lnTo>
                    <a:lnTo>
                      <a:pt x="106216" y="104549"/>
                    </a:lnTo>
                    <a:lnTo>
                      <a:pt x="105004" y="103640"/>
                    </a:lnTo>
                    <a:lnTo>
                      <a:pt x="103488" y="103337"/>
                    </a:lnTo>
                    <a:lnTo>
                      <a:pt x="102731" y="102276"/>
                    </a:lnTo>
                    <a:lnTo>
                      <a:pt x="102428" y="100761"/>
                    </a:lnTo>
                    <a:lnTo>
                      <a:pt x="102428" y="99246"/>
                    </a:lnTo>
                    <a:lnTo>
                      <a:pt x="105307" y="94397"/>
                    </a:lnTo>
                    <a:lnTo>
                      <a:pt x="104701" y="82882"/>
                    </a:lnTo>
                    <a:lnTo>
                      <a:pt x="105155" y="81215"/>
                    </a:lnTo>
                    <a:lnTo>
                      <a:pt x="106519" y="80003"/>
                    </a:lnTo>
                    <a:lnTo>
                      <a:pt x="107580" y="78639"/>
                    </a:lnTo>
                    <a:lnTo>
                      <a:pt x="107580" y="77124"/>
                    </a:lnTo>
                    <a:lnTo>
                      <a:pt x="105610" y="73790"/>
                    </a:lnTo>
                    <a:lnTo>
                      <a:pt x="101973" y="71215"/>
                    </a:lnTo>
                    <a:lnTo>
                      <a:pt x="100155" y="69093"/>
                    </a:lnTo>
                    <a:lnTo>
                      <a:pt x="99095" y="67124"/>
                    </a:lnTo>
                    <a:lnTo>
                      <a:pt x="98943" y="66063"/>
                    </a:lnTo>
                    <a:lnTo>
                      <a:pt x="101216" y="64699"/>
                    </a:lnTo>
                    <a:lnTo>
                      <a:pt x="102125" y="63639"/>
                    </a:lnTo>
                    <a:lnTo>
                      <a:pt x="102277" y="62426"/>
                    </a:lnTo>
                    <a:lnTo>
                      <a:pt x="101367" y="60305"/>
                    </a:lnTo>
                    <a:lnTo>
                      <a:pt x="101519" y="56366"/>
                    </a:lnTo>
                    <a:lnTo>
                      <a:pt x="102428" y="53487"/>
                    </a:lnTo>
                    <a:lnTo>
                      <a:pt x="103186" y="49699"/>
                    </a:lnTo>
                    <a:lnTo>
                      <a:pt x="103186" y="48638"/>
                    </a:lnTo>
                    <a:lnTo>
                      <a:pt x="101064" y="46365"/>
                    </a:lnTo>
                    <a:lnTo>
                      <a:pt x="99852" y="46062"/>
                    </a:lnTo>
                    <a:lnTo>
                      <a:pt x="98943" y="46214"/>
                    </a:lnTo>
                    <a:lnTo>
                      <a:pt x="96670" y="47729"/>
                    </a:lnTo>
                    <a:lnTo>
                      <a:pt x="95912" y="47881"/>
                    </a:lnTo>
                    <a:lnTo>
                      <a:pt x="95458" y="47426"/>
                    </a:lnTo>
                    <a:lnTo>
                      <a:pt x="95155" y="46820"/>
                    </a:lnTo>
                    <a:lnTo>
                      <a:pt x="95912" y="45911"/>
                    </a:lnTo>
                    <a:lnTo>
                      <a:pt x="95610" y="44850"/>
                    </a:lnTo>
                    <a:lnTo>
                      <a:pt x="96367" y="43941"/>
                    </a:lnTo>
                    <a:lnTo>
                      <a:pt x="97731" y="43486"/>
                    </a:lnTo>
                    <a:lnTo>
                      <a:pt x="98185" y="43032"/>
                    </a:lnTo>
                    <a:lnTo>
                      <a:pt x="96216" y="42426"/>
                    </a:lnTo>
                    <a:lnTo>
                      <a:pt x="96064" y="41820"/>
                    </a:lnTo>
                    <a:lnTo>
                      <a:pt x="96216" y="41214"/>
                    </a:lnTo>
                    <a:lnTo>
                      <a:pt x="96670" y="41062"/>
                    </a:lnTo>
                    <a:lnTo>
                      <a:pt x="97276" y="41062"/>
                    </a:lnTo>
                    <a:lnTo>
                      <a:pt x="97579" y="40607"/>
                    </a:lnTo>
                    <a:lnTo>
                      <a:pt x="97882" y="37426"/>
                    </a:lnTo>
                    <a:lnTo>
                      <a:pt x="98185" y="36365"/>
                    </a:lnTo>
                    <a:lnTo>
                      <a:pt x="98337" y="34092"/>
                    </a:lnTo>
                    <a:lnTo>
                      <a:pt x="98640" y="25607"/>
                    </a:lnTo>
                    <a:lnTo>
                      <a:pt x="99095" y="24698"/>
                    </a:lnTo>
                    <a:lnTo>
                      <a:pt x="99246" y="24092"/>
                    </a:lnTo>
                    <a:lnTo>
                      <a:pt x="97882" y="23637"/>
                    </a:lnTo>
                    <a:lnTo>
                      <a:pt x="94700" y="21364"/>
                    </a:lnTo>
                    <a:lnTo>
                      <a:pt x="92882" y="19546"/>
                    </a:lnTo>
                    <a:lnTo>
                      <a:pt x="91215" y="17728"/>
                    </a:lnTo>
                    <a:lnTo>
                      <a:pt x="89852" y="16667"/>
                    </a:lnTo>
                    <a:lnTo>
                      <a:pt x="87276" y="14849"/>
                    </a:lnTo>
                    <a:lnTo>
                      <a:pt x="86367" y="13637"/>
                    </a:lnTo>
                    <a:lnTo>
                      <a:pt x="86367" y="12425"/>
                    </a:lnTo>
                    <a:lnTo>
                      <a:pt x="87124" y="10152"/>
                    </a:lnTo>
                    <a:lnTo>
                      <a:pt x="88336" y="7576"/>
                    </a:lnTo>
                    <a:lnTo>
                      <a:pt x="89094" y="4091"/>
                    </a:lnTo>
                    <a:lnTo>
                      <a:pt x="88640" y="3030"/>
                    </a:lnTo>
                    <a:lnTo>
                      <a:pt x="86973" y="1364"/>
                    </a:lnTo>
                    <a:lnTo>
                      <a:pt x="80609" y="0"/>
                    </a:lnTo>
                    <a:lnTo>
                      <a:pt x="80155" y="1364"/>
                    </a:lnTo>
                    <a:lnTo>
                      <a:pt x="79245" y="2273"/>
                    </a:lnTo>
                    <a:lnTo>
                      <a:pt x="77881" y="2273"/>
                    </a:lnTo>
                    <a:lnTo>
                      <a:pt x="76972" y="2121"/>
                    </a:lnTo>
                    <a:lnTo>
                      <a:pt x="76367" y="3030"/>
                    </a:lnTo>
                    <a:lnTo>
                      <a:pt x="75306" y="4394"/>
                    </a:lnTo>
                    <a:lnTo>
                      <a:pt x="73791" y="5000"/>
                    </a:lnTo>
                    <a:lnTo>
                      <a:pt x="72427" y="5909"/>
                    </a:lnTo>
                    <a:lnTo>
                      <a:pt x="71669" y="6667"/>
                    </a:lnTo>
                    <a:lnTo>
                      <a:pt x="71063" y="6667"/>
                    </a:lnTo>
                    <a:lnTo>
                      <a:pt x="69548" y="4849"/>
                    </a:lnTo>
                    <a:lnTo>
                      <a:pt x="67730" y="4697"/>
                    </a:lnTo>
                    <a:lnTo>
                      <a:pt x="64093" y="5000"/>
                    </a:lnTo>
                    <a:lnTo>
                      <a:pt x="62426" y="4546"/>
                    </a:lnTo>
                    <a:lnTo>
                      <a:pt x="60305" y="4394"/>
                    </a:lnTo>
                    <a:lnTo>
                      <a:pt x="55002" y="4697"/>
                    </a:lnTo>
                    <a:lnTo>
                      <a:pt x="46668" y="3939"/>
                    </a:lnTo>
                    <a:lnTo>
                      <a:pt x="45305" y="4394"/>
                    </a:lnTo>
                    <a:lnTo>
                      <a:pt x="45002" y="4697"/>
                    </a:lnTo>
                    <a:lnTo>
                      <a:pt x="36819" y="4697"/>
                    </a:lnTo>
                    <a:lnTo>
                      <a:pt x="27728" y="4849"/>
                    </a:lnTo>
                    <a:lnTo>
                      <a:pt x="20152" y="5000"/>
                    </a:lnTo>
                    <a:lnTo>
                      <a:pt x="13485" y="5000"/>
                    </a:lnTo>
                    <a:lnTo>
                      <a:pt x="13485" y="4697"/>
                    </a:lnTo>
                    <a:lnTo>
                      <a:pt x="11364" y="4697"/>
                    </a:lnTo>
                    <a:lnTo>
                      <a:pt x="11061" y="5303"/>
                    </a:lnTo>
                    <a:lnTo>
                      <a:pt x="9243" y="12122"/>
                    </a:lnTo>
                    <a:lnTo>
                      <a:pt x="9091" y="15758"/>
                    </a:lnTo>
                    <a:lnTo>
                      <a:pt x="10000" y="18182"/>
                    </a:lnTo>
                    <a:lnTo>
                      <a:pt x="11212" y="19546"/>
                    </a:lnTo>
                    <a:lnTo>
                      <a:pt x="12425" y="20152"/>
                    </a:lnTo>
                    <a:lnTo>
                      <a:pt x="12576" y="21061"/>
                    </a:lnTo>
                    <a:lnTo>
                      <a:pt x="11515" y="22122"/>
                    </a:lnTo>
                    <a:lnTo>
                      <a:pt x="11667" y="23183"/>
                    </a:lnTo>
                    <a:lnTo>
                      <a:pt x="12728" y="24395"/>
                    </a:lnTo>
                    <a:lnTo>
                      <a:pt x="13031" y="25607"/>
                    </a:lnTo>
                    <a:lnTo>
                      <a:pt x="12425" y="26819"/>
                    </a:lnTo>
                    <a:lnTo>
                      <a:pt x="12576" y="29850"/>
                    </a:lnTo>
                    <a:lnTo>
                      <a:pt x="13485" y="34547"/>
                    </a:lnTo>
                    <a:lnTo>
                      <a:pt x="13485" y="37729"/>
                    </a:lnTo>
                    <a:lnTo>
                      <a:pt x="12728" y="39092"/>
                    </a:lnTo>
                    <a:lnTo>
                      <a:pt x="13031" y="41517"/>
                    </a:lnTo>
                    <a:lnTo>
                      <a:pt x="14698" y="44850"/>
                    </a:lnTo>
                    <a:lnTo>
                      <a:pt x="15000" y="46365"/>
                    </a:lnTo>
                    <a:lnTo>
                      <a:pt x="15303" y="47729"/>
                    </a:lnTo>
                    <a:lnTo>
                      <a:pt x="14698" y="49850"/>
                    </a:lnTo>
                    <a:lnTo>
                      <a:pt x="14849" y="51214"/>
                    </a:lnTo>
                    <a:lnTo>
                      <a:pt x="15607" y="51820"/>
                    </a:lnTo>
                    <a:lnTo>
                      <a:pt x="15152" y="53487"/>
                    </a:lnTo>
                    <a:lnTo>
                      <a:pt x="13637" y="56517"/>
                    </a:lnTo>
                    <a:lnTo>
                      <a:pt x="13637" y="58336"/>
                    </a:lnTo>
                    <a:lnTo>
                      <a:pt x="15152" y="58790"/>
                    </a:lnTo>
                    <a:lnTo>
                      <a:pt x="16364" y="60760"/>
                    </a:lnTo>
                    <a:lnTo>
                      <a:pt x="16970" y="63942"/>
                    </a:lnTo>
                    <a:lnTo>
                      <a:pt x="17576" y="65002"/>
                    </a:lnTo>
                    <a:lnTo>
                      <a:pt x="17728" y="65608"/>
                    </a:lnTo>
                    <a:lnTo>
                      <a:pt x="18788" y="73336"/>
                    </a:lnTo>
                    <a:lnTo>
                      <a:pt x="20152" y="81215"/>
                    </a:lnTo>
                    <a:lnTo>
                      <a:pt x="19395" y="82276"/>
                    </a:lnTo>
                    <a:lnTo>
                      <a:pt x="18182" y="82427"/>
                    </a:lnTo>
                    <a:lnTo>
                      <a:pt x="17273" y="82882"/>
                    </a:lnTo>
                    <a:lnTo>
                      <a:pt x="17122" y="83639"/>
                    </a:lnTo>
                    <a:lnTo>
                      <a:pt x="17576" y="84700"/>
                    </a:lnTo>
                    <a:lnTo>
                      <a:pt x="17273" y="85609"/>
                    </a:lnTo>
                    <a:lnTo>
                      <a:pt x="15758" y="86367"/>
                    </a:lnTo>
                    <a:lnTo>
                      <a:pt x="12425" y="88791"/>
                    </a:lnTo>
                    <a:lnTo>
                      <a:pt x="12273" y="89700"/>
                    </a:lnTo>
                    <a:lnTo>
                      <a:pt x="11364" y="91821"/>
                    </a:lnTo>
                    <a:lnTo>
                      <a:pt x="10606" y="93185"/>
                    </a:lnTo>
                    <a:lnTo>
                      <a:pt x="9546" y="95458"/>
                    </a:lnTo>
                    <a:lnTo>
                      <a:pt x="7879" y="101822"/>
                    </a:lnTo>
                    <a:lnTo>
                      <a:pt x="7121" y="106974"/>
                    </a:lnTo>
                    <a:lnTo>
                      <a:pt x="7121" y="108640"/>
                    </a:lnTo>
                    <a:lnTo>
                      <a:pt x="6364" y="109701"/>
                    </a:lnTo>
                    <a:lnTo>
                      <a:pt x="5606" y="111368"/>
                    </a:lnTo>
                    <a:lnTo>
                      <a:pt x="2121" y="115913"/>
                    </a:lnTo>
                    <a:lnTo>
                      <a:pt x="303" y="119550"/>
                    </a:lnTo>
                    <a:lnTo>
                      <a:pt x="455" y="121065"/>
                    </a:lnTo>
                    <a:lnTo>
                      <a:pt x="606" y="122732"/>
                    </a:lnTo>
                    <a:lnTo>
                      <a:pt x="0" y="123792"/>
                    </a:lnTo>
                    <a:lnTo>
                      <a:pt x="151" y="126974"/>
                    </a:lnTo>
                    <a:lnTo>
                      <a:pt x="606" y="129550"/>
                    </a:lnTo>
                    <a:lnTo>
                      <a:pt x="1212" y="131975"/>
                    </a:lnTo>
                    <a:lnTo>
                      <a:pt x="3788" y="139248"/>
                    </a:lnTo>
                    <a:lnTo>
                      <a:pt x="5152" y="143490"/>
                    </a:lnTo>
                    <a:lnTo>
                      <a:pt x="6061" y="146975"/>
                    </a:lnTo>
                    <a:lnTo>
                      <a:pt x="6818" y="149399"/>
                    </a:lnTo>
                    <a:lnTo>
                      <a:pt x="7424" y="150308"/>
                    </a:lnTo>
                    <a:lnTo>
                      <a:pt x="7727" y="151218"/>
                    </a:lnTo>
                    <a:lnTo>
                      <a:pt x="11515" y="151975"/>
                    </a:lnTo>
                    <a:lnTo>
                      <a:pt x="12273" y="152430"/>
                    </a:lnTo>
                    <a:lnTo>
                      <a:pt x="13334" y="156975"/>
                    </a:lnTo>
                    <a:lnTo>
                      <a:pt x="13182" y="159097"/>
                    </a:lnTo>
                    <a:lnTo>
                      <a:pt x="12425" y="159854"/>
                    </a:lnTo>
                    <a:lnTo>
                      <a:pt x="12425" y="161521"/>
                    </a:lnTo>
                    <a:lnTo>
                      <a:pt x="12273" y="163794"/>
                    </a:lnTo>
                    <a:lnTo>
                      <a:pt x="11667" y="164551"/>
                    </a:lnTo>
                    <a:lnTo>
                      <a:pt x="9546" y="164703"/>
                    </a:lnTo>
                    <a:lnTo>
                      <a:pt x="8182" y="165612"/>
                    </a:lnTo>
                    <a:lnTo>
                      <a:pt x="6212" y="165157"/>
                    </a:lnTo>
                    <a:lnTo>
                      <a:pt x="4394" y="165309"/>
                    </a:lnTo>
                    <a:lnTo>
                      <a:pt x="3636" y="166370"/>
                    </a:lnTo>
                    <a:lnTo>
                      <a:pt x="4394" y="166521"/>
                    </a:lnTo>
                    <a:lnTo>
                      <a:pt x="7727" y="167582"/>
                    </a:lnTo>
                    <a:lnTo>
                      <a:pt x="14243" y="168339"/>
                    </a:lnTo>
                    <a:lnTo>
                      <a:pt x="23183" y="170764"/>
                    </a:lnTo>
                    <a:lnTo>
                      <a:pt x="26819" y="172279"/>
                    </a:lnTo>
                    <a:lnTo>
                      <a:pt x="31516" y="175158"/>
                    </a:lnTo>
                    <a:lnTo>
                      <a:pt x="33941" y="175310"/>
                    </a:lnTo>
                    <a:lnTo>
                      <a:pt x="40153" y="171976"/>
                    </a:lnTo>
                    <a:lnTo>
                      <a:pt x="43941" y="169249"/>
                    </a:lnTo>
                    <a:lnTo>
                      <a:pt x="47729" y="167734"/>
                    </a:lnTo>
                    <a:lnTo>
                      <a:pt x="59699" y="163794"/>
                    </a:lnTo>
                    <a:lnTo>
                      <a:pt x="66972" y="162582"/>
                    </a:lnTo>
                    <a:lnTo>
                      <a:pt x="70457" y="160157"/>
                    </a:lnTo>
                    <a:lnTo>
                      <a:pt x="75457" y="158036"/>
                    </a:lnTo>
                    <a:lnTo>
                      <a:pt x="79245" y="155157"/>
                    </a:lnTo>
                    <a:lnTo>
                      <a:pt x="85306" y="153339"/>
                    </a:lnTo>
                    <a:lnTo>
                      <a:pt x="95912" y="148187"/>
                    </a:lnTo>
                    <a:lnTo>
                      <a:pt x="107125" y="148036"/>
                    </a:lnTo>
                    <a:lnTo>
                      <a:pt x="109246" y="148036"/>
                    </a:lnTo>
                    <a:lnTo>
                      <a:pt x="114701" y="146672"/>
                    </a:lnTo>
                    <a:lnTo>
                      <a:pt x="116368" y="144096"/>
                    </a:lnTo>
                    <a:lnTo>
                      <a:pt x="117580" y="141672"/>
                    </a:lnTo>
                    <a:lnTo>
                      <a:pt x="119095" y="140157"/>
                    </a:lnTo>
                    <a:lnTo>
                      <a:pt x="121217" y="139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1" name="Freeform: Shape 3280">
                <a:extLst>
                  <a:ext uri="{FF2B5EF4-FFF2-40B4-BE49-F238E27FC236}">
                    <a16:creationId xmlns:a16="http://schemas.microsoft.com/office/drawing/2014/main" id="{3FBC2F9F-D970-4A37-B30F-C9C42CCEA521}"/>
                  </a:ext>
                </a:extLst>
              </p:cNvPr>
              <p:cNvSpPr/>
              <p:nvPr/>
            </p:nvSpPr>
            <p:spPr>
              <a:xfrm>
                <a:off x="4282902" y="4404715"/>
                <a:ext cx="81063" cy="99700"/>
              </a:xfrm>
              <a:custGeom>
                <a:avLst/>
                <a:gdLst>
                  <a:gd name="connsiteX0" fmla="*/ 81064 w 81063"/>
                  <a:gd name="connsiteY0" fmla="*/ 44850 h 99700"/>
                  <a:gd name="connsiteX1" fmla="*/ 80609 w 81063"/>
                  <a:gd name="connsiteY1" fmla="*/ 42426 h 99700"/>
                  <a:gd name="connsiteX2" fmla="*/ 79700 w 81063"/>
                  <a:gd name="connsiteY2" fmla="*/ 40759 h 99700"/>
                  <a:gd name="connsiteX3" fmla="*/ 77427 w 81063"/>
                  <a:gd name="connsiteY3" fmla="*/ 33032 h 99700"/>
                  <a:gd name="connsiteX4" fmla="*/ 76215 w 81063"/>
                  <a:gd name="connsiteY4" fmla="*/ 31213 h 99700"/>
                  <a:gd name="connsiteX5" fmla="*/ 74851 w 81063"/>
                  <a:gd name="connsiteY5" fmla="*/ 31365 h 99700"/>
                  <a:gd name="connsiteX6" fmla="*/ 73791 w 81063"/>
                  <a:gd name="connsiteY6" fmla="*/ 34244 h 99700"/>
                  <a:gd name="connsiteX7" fmla="*/ 73488 w 81063"/>
                  <a:gd name="connsiteY7" fmla="*/ 36668 h 99700"/>
                  <a:gd name="connsiteX8" fmla="*/ 72730 w 81063"/>
                  <a:gd name="connsiteY8" fmla="*/ 37729 h 99700"/>
                  <a:gd name="connsiteX9" fmla="*/ 71518 w 81063"/>
                  <a:gd name="connsiteY9" fmla="*/ 38941 h 99700"/>
                  <a:gd name="connsiteX10" fmla="*/ 71518 w 81063"/>
                  <a:gd name="connsiteY10" fmla="*/ 38032 h 99700"/>
                  <a:gd name="connsiteX11" fmla="*/ 72124 w 81063"/>
                  <a:gd name="connsiteY11" fmla="*/ 36820 h 99700"/>
                  <a:gd name="connsiteX12" fmla="*/ 72579 w 81063"/>
                  <a:gd name="connsiteY12" fmla="*/ 34547 h 99700"/>
                  <a:gd name="connsiteX13" fmla="*/ 71215 w 81063"/>
                  <a:gd name="connsiteY13" fmla="*/ 31062 h 99700"/>
                  <a:gd name="connsiteX14" fmla="*/ 70003 w 81063"/>
                  <a:gd name="connsiteY14" fmla="*/ 29092 h 99700"/>
                  <a:gd name="connsiteX15" fmla="*/ 65457 w 81063"/>
                  <a:gd name="connsiteY15" fmla="*/ 25152 h 99700"/>
                  <a:gd name="connsiteX16" fmla="*/ 62578 w 81063"/>
                  <a:gd name="connsiteY16" fmla="*/ 27577 h 99700"/>
                  <a:gd name="connsiteX17" fmla="*/ 63639 w 81063"/>
                  <a:gd name="connsiteY17" fmla="*/ 24698 h 99700"/>
                  <a:gd name="connsiteX18" fmla="*/ 63639 w 81063"/>
                  <a:gd name="connsiteY18" fmla="*/ 22880 h 99700"/>
                  <a:gd name="connsiteX19" fmla="*/ 59093 w 81063"/>
                  <a:gd name="connsiteY19" fmla="*/ 20758 h 99700"/>
                  <a:gd name="connsiteX20" fmla="*/ 50608 w 81063"/>
                  <a:gd name="connsiteY20" fmla="*/ 13940 h 99700"/>
                  <a:gd name="connsiteX21" fmla="*/ 46972 w 81063"/>
                  <a:gd name="connsiteY21" fmla="*/ 9849 h 99700"/>
                  <a:gd name="connsiteX22" fmla="*/ 36820 w 81063"/>
                  <a:gd name="connsiteY22" fmla="*/ 6516 h 99700"/>
                  <a:gd name="connsiteX23" fmla="*/ 31668 w 81063"/>
                  <a:gd name="connsiteY23" fmla="*/ 6061 h 99700"/>
                  <a:gd name="connsiteX24" fmla="*/ 21061 w 81063"/>
                  <a:gd name="connsiteY24" fmla="*/ 0 h 99700"/>
                  <a:gd name="connsiteX25" fmla="*/ 18940 w 81063"/>
                  <a:gd name="connsiteY25" fmla="*/ 455 h 99700"/>
                  <a:gd name="connsiteX26" fmla="*/ 17122 w 81063"/>
                  <a:gd name="connsiteY26" fmla="*/ 2879 h 99700"/>
                  <a:gd name="connsiteX27" fmla="*/ 14546 w 81063"/>
                  <a:gd name="connsiteY27" fmla="*/ 10152 h 99700"/>
                  <a:gd name="connsiteX28" fmla="*/ 12576 w 81063"/>
                  <a:gd name="connsiteY28" fmla="*/ 11516 h 99700"/>
                  <a:gd name="connsiteX29" fmla="*/ 10304 w 81063"/>
                  <a:gd name="connsiteY29" fmla="*/ 13485 h 99700"/>
                  <a:gd name="connsiteX30" fmla="*/ 7728 w 81063"/>
                  <a:gd name="connsiteY30" fmla="*/ 16213 h 99700"/>
                  <a:gd name="connsiteX31" fmla="*/ 4394 w 81063"/>
                  <a:gd name="connsiteY31" fmla="*/ 21061 h 99700"/>
                  <a:gd name="connsiteX32" fmla="*/ 4546 w 81063"/>
                  <a:gd name="connsiteY32" fmla="*/ 22425 h 99700"/>
                  <a:gd name="connsiteX33" fmla="*/ 3788 w 81063"/>
                  <a:gd name="connsiteY33" fmla="*/ 23637 h 99700"/>
                  <a:gd name="connsiteX34" fmla="*/ 3637 w 81063"/>
                  <a:gd name="connsiteY34" fmla="*/ 25758 h 99700"/>
                  <a:gd name="connsiteX35" fmla="*/ 3940 w 81063"/>
                  <a:gd name="connsiteY35" fmla="*/ 28183 h 99700"/>
                  <a:gd name="connsiteX36" fmla="*/ 4697 w 81063"/>
                  <a:gd name="connsiteY36" fmla="*/ 29698 h 99700"/>
                  <a:gd name="connsiteX37" fmla="*/ 5152 w 81063"/>
                  <a:gd name="connsiteY37" fmla="*/ 32729 h 99700"/>
                  <a:gd name="connsiteX38" fmla="*/ 4546 w 81063"/>
                  <a:gd name="connsiteY38" fmla="*/ 35456 h 99700"/>
                  <a:gd name="connsiteX39" fmla="*/ 4697 w 81063"/>
                  <a:gd name="connsiteY39" fmla="*/ 36971 h 99700"/>
                  <a:gd name="connsiteX40" fmla="*/ 5455 w 81063"/>
                  <a:gd name="connsiteY40" fmla="*/ 39395 h 99700"/>
                  <a:gd name="connsiteX41" fmla="*/ 5909 w 81063"/>
                  <a:gd name="connsiteY41" fmla="*/ 41971 h 99700"/>
                  <a:gd name="connsiteX42" fmla="*/ 5909 w 81063"/>
                  <a:gd name="connsiteY42" fmla="*/ 43032 h 99700"/>
                  <a:gd name="connsiteX43" fmla="*/ 6667 w 81063"/>
                  <a:gd name="connsiteY43" fmla="*/ 43941 h 99700"/>
                  <a:gd name="connsiteX44" fmla="*/ 7425 w 81063"/>
                  <a:gd name="connsiteY44" fmla="*/ 44850 h 99700"/>
                  <a:gd name="connsiteX45" fmla="*/ 7273 w 81063"/>
                  <a:gd name="connsiteY45" fmla="*/ 47123 h 99700"/>
                  <a:gd name="connsiteX46" fmla="*/ 9849 w 81063"/>
                  <a:gd name="connsiteY46" fmla="*/ 51214 h 99700"/>
                  <a:gd name="connsiteX47" fmla="*/ 11364 w 81063"/>
                  <a:gd name="connsiteY47" fmla="*/ 53032 h 99700"/>
                  <a:gd name="connsiteX48" fmla="*/ 13788 w 81063"/>
                  <a:gd name="connsiteY48" fmla="*/ 54851 h 99700"/>
                  <a:gd name="connsiteX49" fmla="*/ 14546 w 81063"/>
                  <a:gd name="connsiteY49" fmla="*/ 56669 h 99700"/>
                  <a:gd name="connsiteX50" fmla="*/ 15910 w 81063"/>
                  <a:gd name="connsiteY50" fmla="*/ 58639 h 99700"/>
                  <a:gd name="connsiteX51" fmla="*/ 16667 w 81063"/>
                  <a:gd name="connsiteY51" fmla="*/ 58942 h 99700"/>
                  <a:gd name="connsiteX52" fmla="*/ 17122 w 81063"/>
                  <a:gd name="connsiteY52" fmla="*/ 59699 h 99700"/>
                  <a:gd name="connsiteX53" fmla="*/ 16667 w 81063"/>
                  <a:gd name="connsiteY53" fmla="*/ 61366 h 99700"/>
                  <a:gd name="connsiteX54" fmla="*/ 16516 w 81063"/>
                  <a:gd name="connsiteY54" fmla="*/ 63639 h 99700"/>
                  <a:gd name="connsiteX55" fmla="*/ 15152 w 81063"/>
                  <a:gd name="connsiteY55" fmla="*/ 66215 h 99700"/>
                  <a:gd name="connsiteX56" fmla="*/ 11667 w 81063"/>
                  <a:gd name="connsiteY56" fmla="*/ 70912 h 99700"/>
                  <a:gd name="connsiteX57" fmla="*/ 11213 w 81063"/>
                  <a:gd name="connsiteY57" fmla="*/ 71972 h 99700"/>
                  <a:gd name="connsiteX58" fmla="*/ 12122 w 81063"/>
                  <a:gd name="connsiteY58" fmla="*/ 75912 h 99700"/>
                  <a:gd name="connsiteX59" fmla="*/ 11667 w 81063"/>
                  <a:gd name="connsiteY59" fmla="*/ 79245 h 99700"/>
                  <a:gd name="connsiteX60" fmla="*/ 11516 w 81063"/>
                  <a:gd name="connsiteY60" fmla="*/ 80761 h 99700"/>
                  <a:gd name="connsiteX61" fmla="*/ 9849 w 81063"/>
                  <a:gd name="connsiteY61" fmla="*/ 83639 h 99700"/>
                  <a:gd name="connsiteX62" fmla="*/ 5758 w 81063"/>
                  <a:gd name="connsiteY62" fmla="*/ 90458 h 99700"/>
                  <a:gd name="connsiteX63" fmla="*/ 3485 w 81063"/>
                  <a:gd name="connsiteY63" fmla="*/ 91670 h 99700"/>
                  <a:gd name="connsiteX64" fmla="*/ 2121 w 81063"/>
                  <a:gd name="connsiteY64" fmla="*/ 93640 h 99700"/>
                  <a:gd name="connsiteX65" fmla="*/ 1212 w 81063"/>
                  <a:gd name="connsiteY65" fmla="*/ 93640 h 99700"/>
                  <a:gd name="connsiteX66" fmla="*/ 303 w 81063"/>
                  <a:gd name="connsiteY66" fmla="*/ 93791 h 99700"/>
                  <a:gd name="connsiteX67" fmla="*/ 0 w 81063"/>
                  <a:gd name="connsiteY67" fmla="*/ 94094 h 99700"/>
                  <a:gd name="connsiteX68" fmla="*/ 606 w 81063"/>
                  <a:gd name="connsiteY68" fmla="*/ 94398 h 99700"/>
                  <a:gd name="connsiteX69" fmla="*/ 1818 w 81063"/>
                  <a:gd name="connsiteY69" fmla="*/ 95004 h 99700"/>
                  <a:gd name="connsiteX70" fmla="*/ 2727 w 81063"/>
                  <a:gd name="connsiteY70" fmla="*/ 96367 h 99700"/>
                  <a:gd name="connsiteX71" fmla="*/ 5000 w 81063"/>
                  <a:gd name="connsiteY71" fmla="*/ 97428 h 99700"/>
                  <a:gd name="connsiteX72" fmla="*/ 8788 w 81063"/>
                  <a:gd name="connsiteY72" fmla="*/ 98792 h 99700"/>
                  <a:gd name="connsiteX73" fmla="*/ 10606 w 81063"/>
                  <a:gd name="connsiteY73" fmla="*/ 98792 h 99700"/>
                  <a:gd name="connsiteX74" fmla="*/ 12273 w 81063"/>
                  <a:gd name="connsiteY74" fmla="*/ 99246 h 99700"/>
                  <a:gd name="connsiteX75" fmla="*/ 13182 w 81063"/>
                  <a:gd name="connsiteY75" fmla="*/ 99701 h 99700"/>
                  <a:gd name="connsiteX76" fmla="*/ 14394 w 81063"/>
                  <a:gd name="connsiteY76" fmla="*/ 98943 h 99700"/>
                  <a:gd name="connsiteX77" fmla="*/ 18334 w 81063"/>
                  <a:gd name="connsiteY77" fmla="*/ 96670 h 99700"/>
                  <a:gd name="connsiteX78" fmla="*/ 20152 w 81063"/>
                  <a:gd name="connsiteY78" fmla="*/ 95458 h 99700"/>
                  <a:gd name="connsiteX79" fmla="*/ 21516 w 81063"/>
                  <a:gd name="connsiteY79" fmla="*/ 94549 h 99700"/>
                  <a:gd name="connsiteX80" fmla="*/ 22425 w 81063"/>
                  <a:gd name="connsiteY80" fmla="*/ 93640 h 99700"/>
                  <a:gd name="connsiteX81" fmla="*/ 23183 w 81063"/>
                  <a:gd name="connsiteY81" fmla="*/ 93337 h 99700"/>
                  <a:gd name="connsiteX82" fmla="*/ 23637 w 81063"/>
                  <a:gd name="connsiteY82" fmla="*/ 93943 h 99700"/>
                  <a:gd name="connsiteX83" fmla="*/ 24092 w 81063"/>
                  <a:gd name="connsiteY83" fmla="*/ 94549 h 99700"/>
                  <a:gd name="connsiteX84" fmla="*/ 25456 w 81063"/>
                  <a:gd name="connsiteY84" fmla="*/ 95004 h 99700"/>
                  <a:gd name="connsiteX85" fmla="*/ 28789 w 81063"/>
                  <a:gd name="connsiteY85" fmla="*/ 95913 h 99700"/>
                  <a:gd name="connsiteX86" fmla="*/ 30304 w 81063"/>
                  <a:gd name="connsiteY86" fmla="*/ 96064 h 99700"/>
                  <a:gd name="connsiteX87" fmla="*/ 32425 w 81063"/>
                  <a:gd name="connsiteY87" fmla="*/ 95458 h 99700"/>
                  <a:gd name="connsiteX88" fmla="*/ 34092 w 81063"/>
                  <a:gd name="connsiteY88" fmla="*/ 94246 h 99700"/>
                  <a:gd name="connsiteX89" fmla="*/ 35001 w 81063"/>
                  <a:gd name="connsiteY89" fmla="*/ 93791 h 99700"/>
                  <a:gd name="connsiteX90" fmla="*/ 36365 w 81063"/>
                  <a:gd name="connsiteY90" fmla="*/ 95004 h 99700"/>
                  <a:gd name="connsiteX91" fmla="*/ 37274 w 81063"/>
                  <a:gd name="connsiteY91" fmla="*/ 96670 h 99700"/>
                  <a:gd name="connsiteX92" fmla="*/ 37880 w 81063"/>
                  <a:gd name="connsiteY92" fmla="*/ 97428 h 99700"/>
                  <a:gd name="connsiteX93" fmla="*/ 39244 w 81063"/>
                  <a:gd name="connsiteY93" fmla="*/ 97276 h 99700"/>
                  <a:gd name="connsiteX94" fmla="*/ 41971 w 81063"/>
                  <a:gd name="connsiteY94" fmla="*/ 97579 h 99700"/>
                  <a:gd name="connsiteX95" fmla="*/ 43941 w 81063"/>
                  <a:gd name="connsiteY95" fmla="*/ 98034 h 99700"/>
                  <a:gd name="connsiteX96" fmla="*/ 45153 w 81063"/>
                  <a:gd name="connsiteY96" fmla="*/ 98034 h 99700"/>
                  <a:gd name="connsiteX97" fmla="*/ 46820 w 81063"/>
                  <a:gd name="connsiteY97" fmla="*/ 97276 h 99700"/>
                  <a:gd name="connsiteX98" fmla="*/ 47729 w 81063"/>
                  <a:gd name="connsiteY98" fmla="*/ 95761 h 99700"/>
                  <a:gd name="connsiteX99" fmla="*/ 50153 w 81063"/>
                  <a:gd name="connsiteY99" fmla="*/ 94398 h 99700"/>
                  <a:gd name="connsiteX100" fmla="*/ 52426 w 81063"/>
                  <a:gd name="connsiteY100" fmla="*/ 93034 h 99700"/>
                  <a:gd name="connsiteX101" fmla="*/ 53638 w 81063"/>
                  <a:gd name="connsiteY101" fmla="*/ 91367 h 99700"/>
                  <a:gd name="connsiteX102" fmla="*/ 55608 w 81063"/>
                  <a:gd name="connsiteY102" fmla="*/ 88640 h 99700"/>
                  <a:gd name="connsiteX103" fmla="*/ 56214 w 81063"/>
                  <a:gd name="connsiteY103" fmla="*/ 87427 h 99700"/>
                  <a:gd name="connsiteX104" fmla="*/ 56366 w 81063"/>
                  <a:gd name="connsiteY104" fmla="*/ 85458 h 99700"/>
                  <a:gd name="connsiteX105" fmla="*/ 59093 w 81063"/>
                  <a:gd name="connsiteY105" fmla="*/ 79548 h 99700"/>
                  <a:gd name="connsiteX106" fmla="*/ 60154 w 81063"/>
                  <a:gd name="connsiteY106" fmla="*/ 78488 h 99700"/>
                  <a:gd name="connsiteX107" fmla="*/ 60608 w 81063"/>
                  <a:gd name="connsiteY107" fmla="*/ 76518 h 99700"/>
                  <a:gd name="connsiteX108" fmla="*/ 61821 w 81063"/>
                  <a:gd name="connsiteY108" fmla="*/ 74397 h 99700"/>
                  <a:gd name="connsiteX109" fmla="*/ 61821 w 81063"/>
                  <a:gd name="connsiteY109" fmla="*/ 72579 h 99700"/>
                  <a:gd name="connsiteX110" fmla="*/ 62578 w 81063"/>
                  <a:gd name="connsiteY110" fmla="*/ 70912 h 99700"/>
                  <a:gd name="connsiteX111" fmla="*/ 64093 w 81063"/>
                  <a:gd name="connsiteY111" fmla="*/ 69397 h 99700"/>
                  <a:gd name="connsiteX112" fmla="*/ 65305 w 81063"/>
                  <a:gd name="connsiteY112" fmla="*/ 68336 h 99700"/>
                  <a:gd name="connsiteX113" fmla="*/ 67124 w 81063"/>
                  <a:gd name="connsiteY113" fmla="*/ 65912 h 99700"/>
                  <a:gd name="connsiteX114" fmla="*/ 68336 w 81063"/>
                  <a:gd name="connsiteY114" fmla="*/ 63487 h 99700"/>
                  <a:gd name="connsiteX115" fmla="*/ 71518 w 81063"/>
                  <a:gd name="connsiteY115" fmla="*/ 58184 h 99700"/>
                  <a:gd name="connsiteX116" fmla="*/ 71821 w 81063"/>
                  <a:gd name="connsiteY116" fmla="*/ 56669 h 99700"/>
                  <a:gd name="connsiteX117" fmla="*/ 73033 w 81063"/>
                  <a:gd name="connsiteY117" fmla="*/ 55760 h 99700"/>
                  <a:gd name="connsiteX118" fmla="*/ 73488 w 81063"/>
                  <a:gd name="connsiteY118" fmla="*/ 54699 h 99700"/>
                  <a:gd name="connsiteX119" fmla="*/ 74851 w 81063"/>
                  <a:gd name="connsiteY119" fmla="*/ 53184 h 99700"/>
                  <a:gd name="connsiteX120" fmla="*/ 76215 w 81063"/>
                  <a:gd name="connsiteY120" fmla="*/ 52123 h 99700"/>
                  <a:gd name="connsiteX121" fmla="*/ 76821 w 81063"/>
                  <a:gd name="connsiteY121" fmla="*/ 50456 h 99700"/>
                  <a:gd name="connsiteX122" fmla="*/ 77882 w 81063"/>
                  <a:gd name="connsiteY122" fmla="*/ 48790 h 99700"/>
                  <a:gd name="connsiteX123" fmla="*/ 80155 w 81063"/>
                  <a:gd name="connsiteY123" fmla="*/ 47577 h 99700"/>
                  <a:gd name="connsiteX124" fmla="*/ 81064 w 81063"/>
                  <a:gd name="connsiteY124" fmla="*/ 46972 h 99700"/>
                  <a:gd name="connsiteX125" fmla="*/ 80912 w 81063"/>
                  <a:gd name="connsiteY125" fmla="*/ 45911 h 9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1063" h="99700">
                    <a:moveTo>
                      <a:pt x="81064" y="44850"/>
                    </a:moveTo>
                    <a:lnTo>
                      <a:pt x="80609" y="42426"/>
                    </a:lnTo>
                    <a:lnTo>
                      <a:pt x="79700" y="40759"/>
                    </a:lnTo>
                    <a:lnTo>
                      <a:pt x="77427" y="33032"/>
                    </a:lnTo>
                    <a:lnTo>
                      <a:pt x="76215" y="31213"/>
                    </a:lnTo>
                    <a:lnTo>
                      <a:pt x="74851" y="31365"/>
                    </a:lnTo>
                    <a:lnTo>
                      <a:pt x="73791" y="34244"/>
                    </a:lnTo>
                    <a:lnTo>
                      <a:pt x="73488" y="36668"/>
                    </a:lnTo>
                    <a:lnTo>
                      <a:pt x="72730" y="37729"/>
                    </a:lnTo>
                    <a:lnTo>
                      <a:pt x="71518" y="38941"/>
                    </a:lnTo>
                    <a:lnTo>
                      <a:pt x="71518" y="38032"/>
                    </a:lnTo>
                    <a:lnTo>
                      <a:pt x="72124" y="36820"/>
                    </a:lnTo>
                    <a:lnTo>
                      <a:pt x="72579" y="34547"/>
                    </a:lnTo>
                    <a:lnTo>
                      <a:pt x="71215" y="31062"/>
                    </a:lnTo>
                    <a:lnTo>
                      <a:pt x="70003" y="29092"/>
                    </a:lnTo>
                    <a:lnTo>
                      <a:pt x="65457" y="25152"/>
                    </a:lnTo>
                    <a:lnTo>
                      <a:pt x="62578" y="27577"/>
                    </a:lnTo>
                    <a:lnTo>
                      <a:pt x="63639" y="24698"/>
                    </a:lnTo>
                    <a:lnTo>
                      <a:pt x="63639" y="22880"/>
                    </a:lnTo>
                    <a:lnTo>
                      <a:pt x="59093" y="20758"/>
                    </a:lnTo>
                    <a:lnTo>
                      <a:pt x="50608" y="13940"/>
                    </a:lnTo>
                    <a:lnTo>
                      <a:pt x="46972" y="9849"/>
                    </a:lnTo>
                    <a:lnTo>
                      <a:pt x="36820" y="6516"/>
                    </a:lnTo>
                    <a:lnTo>
                      <a:pt x="31668" y="6061"/>
                    </a:lnTo>
                    <a:lnTo>
                      <a:pt x="21061" y="0"/>
                    </a:lnTo>
                    <a:lnTo>
                      <a:pt x="18940" y="455"/>
                    </a:lnTo>
                    <a:lnTo>
                      <a:pt x="17122" y="2879"/>
                    </a:lnTo>
                    <a:lnTo>
                      <a:pt x="14546" y="10152"/>
                    </a:lnTo>
                    <a:lnTo>
                      <a:pt x="12576" y="11516"/>
                    </a:lnTo>
                    <a:lnTo>
                      <a:pt x="10304" y="13485"/>
                    </a:lnTo>
                    <a:lnTo>
                      <a:pt x="7728" y="16213"/>
                    </a:lnTo>
                    <a:lnTo>
                      <a:pt x="4394" y="21061"/>
                    </a:lnTo>
                    <a:lnTo>
                      <a:pt x="4546" y="22425"/>
                    </a:lnTo>
                    <a:lnTo>
                      <a:pt x="3788" y="23637"/>
                    </a:lnTo>
                    <a:lnTo>
                      <a:pt x="3637" y="25758"/>
                    </a:lnTo>
                    <a:lnTo>
                      <a:pt x="3940" y="28183"/>
                    </a:lnTo>
                    <a:lnTo>
                      <a:pt x="4697" y="29698"/>
                    </a:lnTo>
                    <a:lnTo>
                      <a:pt x="5152" y="32729"/>
                    </a:lnTo>
                    <a:lnTo>
                      <a:pt x="4546" y="35456"/>
                    </a:lnTo>
                    <a:lnTo>
                      <a:pt x="4697" y="36971"/>
                    </a:lnTo>
                    <a:lnTo>
                      <a:pt x="5455" y="39395"/>
                    </a:lnTo>
                    <a:lnTo>
                      <a:pt x="5909" y="41971"/>
                    </a:lnTo>
                    <a:lnTo>
                      <a:pt x="5909" y="43032"/>
                    </a:lnTo>
                    <a:lnTo>
                      <a:pt x="6667" y="43941"/>
                    </a:lnTo>
                    <a:lnTo>
                      <a:pt x="7425" y="44850"/>
                    </a:lnTo>
                    <a:lnTo>
                      <a:pt x="7273" y="47123"/>
                    </a:lnTo>
                    <a:lnTo>
                      <a:pt x="9849" y="51214"/>
                    </a:lnTo>
                    <a:lnTo>
                      <a:pt x="11364" y="53032"/>
                    </a:lnTo>
                    <a:lnTo>
                      <a:pt x="13788" y="54851"/>
                    </a:lnTo>
                    <a:lnTo>
                      <a:pt x="14546" y="56669"/>
                    </a:lnTo>
                    <a:lnTo>
                      <a:pt x="15910" y="58639"/>
                    </a:lnTo>
                    <a:lnTo>
                      <a:pt x="16667" y="58942"/>
                    </a:lnTo>
                    <a:lnTo>
                      <a:pt x="17122" y="59699"/>
                    </a:lnTo>
                    <a:lnTo>
                      <a:pt x="16667" y="61366"/>
                    </a:lnTo>
                    <a:lnTo>
                      <a:pt x="16516" y="63639"/>
                    </a:lnTo>
                    <a:lnTo>
                      <a:pt x="15152" y="66215"/>
                    </a:lnTo>
                    <a:lnTo>
                      <a:pt x="11667" y="70912"/>
                    </a:lnTo>
                    <a:lnTo>
                      <a:pt x="11213" y="71972"/>
                    </a:lnTo>
                    <a:lnTo>
                      <a:pt x="12122" y="75912"/>
                    </a:lnTo>
                    <a:lnTo>
                      <a:pt x="11667" y="79245"/>
                    </a:lnTo>
                    <a:lnTo>
                      <a:pt x="11516" y="80761"/>
                    </a:lnTo>
                    <a:lnTo>
                      <a:pt x="9849" y="83639"/>
                    </a:lnTo>
                    <a:lnTo>
                      <a:pt x="5758" y="90458"/>
                    </a:lnTo>
                    <a:lnTo>
                      <a:pt x="3485" y="91670"/>
                    </a:lnTo>
                    <a:lnTo>
                      <a:pt x="2121" y="93640"/>
                    </a:lnTo>
                    <a:lnTo>
                      <a:pt x="1212" y="93640"/>
                    </a:lnTo>
                    <a:lnTo>
                      <a:pt x="303" y="93791"/>
                    </a:lnTo>
                    <a:lnTo>
                      <a:pt x="0" y="94094"/>
                    </a:lnTo>
                    <a:lnTo>
                      <a:pt x="606" y="94398"/>
                    </a:lnTo>
                    <a:lnTo>
                      <a:pt x="1818" y="95004"/>
                    </a:lnTo>
                    <a:lnTo>
                      <a:pt x="2727" y="96367"/>
                    </a:lnTo>
                    <a:lnTo>
                      <a:pt x="5000" y="97428"/>
                    </a:lnTo>
                    <a:lnTo>
                      <a:pt x="8788" y="98792"/>
                    </a:lnTo>
                    <a:lnTo>
                      <a:pt x="10606" y="98792"/>
                    </a:lnTo>
                    <a:lnTo>
                      <a:pt x="12273" y="99246"/>
                    </a:lnTo>
                    <a:lnTo>
                      <a:pt x="13182" y="99701"/>
                    </a:lnTo>
                    <a:lnTo>
                      <a:pt x="14394" y="98943"/>
                    </a:lnTo>
                    <a:lnTo>
                      <a:pt x="18334" y="96670"/>
                    </a:lnTo>
                    <a:lnTo>
                      <a:pt x="20152" y="95458"/>
                    </a:lnTo>
                    <a:lnTo>
                      <a:pt x="21516" y="94549"/>
                    </a:lnTo>
                    <a:lnTo>
                      <a:pt x="22425" y="93640"/>
                    </a:lnTo>
                    <a:lnTo>
                      <a:pt x="23183" y="93337"/>
                    </a:lnTo>
                    <a:lnTo>
                      <a:pt x="23637" y="93943"/>
                    </a:lnTo>
                    <a:lnTo>
                      <a:pt x="24092" y="94549"/>
                    </a:lnTo>
                    <a:lnTo>
                      <a:pt x="25456" y="95004"/>
                    </a:lnTo>
                    <a:lnTo>
                      <a:pt x="28789" y="95913"/>
                    </a:lnTo>
                    <a:lnTo>
                      <a:pt x="30304" y="96064"/>
                    </a:lnTo>
                    <a:lnTo>
                      <a:pt x="32425" y="95458"/>
                    </a:lnTo>
                    <a:lnTo>
                      <a:pt x="34092" y="94246"/>
                    </a:lnTo>
                    <a:lnTo>
                      <a:pt x="35001" y="93791"/>
                    </a:lnTo>
                    <a:lnTo>
                      <a:pt x="36365" y="95004"/>
                    </a:lnTo>
                    <a:lnTo>
                      <a:pt x="37274" y="96670"/>
                    </a:lnTo>
                    <a:lnTo>
                      <a:pt x="37880" y="97428"/>
                    </a:lnTo>
                    <a:lnTo>
                      <a:pt x="39244" y="97276"/>
                    </a:lnTo>
                    <a:lnTo>
                      <a:pt x="41971" y="97579"/>
                    </a:lnTo>
                    <a:lnTo>
                      <a:pt x="43941" y="98034"/>
                    </a:lnTo>
                    <a:lnTo>
                      <a:pt x="45153" y="98034"/>
                    </a:lnTo>
                    <a:lnTo>
                      <a:pt x="46820" y="97276"/>
                    </a:lnTo>
                    <a:lnTo>
                      <a:pt x="47729" y="95761"/>
                    </a:lnTo>
                    <a:lnTo>
                      <a:pt x="50153" y="94398"/>
                    </a:lnTo>
                    <a:lnTo>
                      <a:pt x="52426" y="93034"/>
                    </a:lnTo>
                    <a:lnTo>
                      <a:pt x="53638" y="91367"/>
                    </a:lnTo>
                    <a:lnTo>
                      <a:pt x="55608" y="88640"/>
                    </a:lnTo>
                    <a:lnTo>
                      <a:pt x="56214" y="87427"/>
                    </a:lnTo>
                    <a:lnTo>
                      <a:pt x="56366" y="85458"/>
                    </a:lnTo>
                    <a:lnTo>
                      <a:pt x="59093" y="79548"/>
                    </a:lnTo>
                    <a:lnTo>
                      <a:pt x="60154" y="78488"/>
                    </a:lnTo>
                    <a:lnTo>
                      <a:pt x="60608" y="76518"/>
                    </a:lnTo>
                    <a:lnTo>
                      <a:pt x="61821" y="74397"/>
                    </a:lnTo>
                    <a:lnTo>
                      <a:pt x="61821" y="72579"/>
                    </a:lnTo>
                    <a:lnTo>
                      <a:pt x="62578" y="70912"/>
                    </a:lnTo>
                    <a:lnTo>
                      <a:pt x="64093" y="69397"/>
                    </a:lnTo>
                    <a:lnTo>
                      <a:pt x="65305" y="68336"/>
                    </a:lnTo>
                    <a:lnTo>
                      <a:pt x="67124" y="65912"/>
                    </a:lnTo>
                    <a:lnTo>
                      <a:pt x="68336" y="63487"/>
                    </a:lnTo>
                    <a:lnTo>
                      <a:pt x="71518" y="58184"/>
                    </a:lnTo>
                    <a:lnTo>
                      <a:pt x="71821" y="56669"/>
                    </a:lnTo>
                    <a:lnTo>
                      <a:pt x="73033" y="55760"/>
                    </a:lnTo>
                    <a:lnTo>
                      <a:pt x="73488" y="54699"/>
                    </a:lnTo>
                    <a:lnTo>
                      <a:pt x="74851" y="53184"/>
                    </a:lnTo>
                    <a:lnTo>
                      <a:pt x="76215" y="52123"/>
                    </a:lnTo>
                    <a:lnTo>
                      <a:pt x="76821" y="50456"/>
                    </a:lnTo>
                    <a:lnTo>
                      <a:pt x="77882" y="48790"/>
                    </a:lnTo>
                    <a:lnTo>
                      <a:pt x="80155" y="47577"/>
                    </a:lnTo>
                    <a:lnTo>
                      <a:pt x="81064" y="46972"/>
                    </a:lnTo>
                    <a:lnTo>
                      <a:pt x="80912" y="4591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2" name="Freeform: Shape 3281">
                <a:extLst>
                  <a:ext uri="{FF2B5EF4-FFF2-40B4-BE49-F238E27FC236}">
                    <a16:creationId xmlns:a16="http://schemas.microsoft.com/office/drawing/2014/main" id="{29BD0C9E-AF1A-4BEB-8D57-804BD4AD56BB}"/>
                  </a:ext>
                </a:extLst>
              </p:cNvPr>
              <p:cNvSpPr/>
              <p:nvPr/>
            </p:nvSpPr>
            <p:spPr>
              <a:xfrm>
                <a:off x="6871028" y="3295280"/>
                <a:ext cx="183188" cy="82124"/>
              </a:xfrm>
              <a:custGeom>
                <a:avLst/>
                <a:gdLst>
                  <a:gd name="connsiteX0" fmla="*/ 181674 w 183188"/>
                  <a:gd name="connsiteY0" fmla="*/ 73184 h 82124"/>
                  <a:gd name="connsiteX1" fmla="*/ 178643 w 183188"/>
                  <a:gd name="connsiteY1" fmla="*/ 71215 h 82124"/>
                  <a:gd name="connsiteX2" fmla="*/ 175310 w 183188"/>
                  <a:gd name="connsiteY2" fmla="*/ 69396 h 82124"/>
                  <a:gd name="connsiteX3" fmla="*/ 173188 w 183188"/>
                  <a:gd name="connsiteY3" fmla="*/ 67881 h 82124"/>
                  <a:gd name="connsiteX4" fmla="*/ 171673 w 183188"/>
                  <a:gd name="connsiteY4" fmla="*/ 64699 h 82124"/>
                  <a:gd name="connsiteX5" fmla="*/ 170310 w 183188"/>
                  <a:gd name="connsiteY5" fmla="*/ 64396 h 82124"/>
                  <a:gd name="connsiteX6" fmla="*/ 170006 w 183188"/>
                  <a:gd name="connsiteY6" fmla="*/ 64093 h 82124"/>
                  <a:gd name="connsiteX7" fmla="*/ 169703 w 183188"/>
                  <a:gd name="connsiteY7" fmla="*/ 63033 h 82124"/>
                  <a:gd name="connsiteX8" fmla="*/ 169855 w 183188"/>
                  <a:gd name="connsiteY8" fmla="*/ 61517 h 82124"/>
                  <a:gd name="connsiteX9" fmla="*/ 170310 w 183188"/>
                  <a:gd name="connsiteY9" fmla="*/ 60305 h 82124"/>
                  <a:gd name="connsiteX10" fmla="*/ 171673 w 183188"/>
                  <a:gd name="connsiteY10" fmla="*/ 59851 h 82124"/>
                  <a:gd name="connsiteX11" fmla="*/ 173037 w 183188"/>
                  <a:gd name="connsiteY11" fmla="*/ 59699 h 82124"/>
                  <a:gd name="connsiteX12" fmla="*/ 174249 w 183188"/>
                  <a:gd name="connsiteY12" fmla="*/ 58638 h 82124"/>
                  <a:gd name="connsiteX13" fmla="*/ 175916 w 183188"/>
                  <a:gd name="connsiteY13" fmla="*/ 56517 h 82124"/>
                  <a:gd name="connsiteX14" fmla="*/ 176522 w 183188"/>
                  <a:gd name="connsiteY14" fmla="*/ 55305 h 82124"/>
                  <a:gd name="connsiteX15" fmla="*/ 176067 w 183188"/>
                  <a:gd name="connsiteY15" fmla="*/ 54850 h 82124"/>
                  <a:gd name="connsiteX16" fmla="*/ 172128 w 183188"/>
                  <a:gd name="connsiteY16" fmla="*/ 53032 h 82124"/>
                  <a:gd name="connsiteX17" fmla="*/ 170613 w 183188"/>
                  <a:gd name="connsiteY17" fmla="*/ 52123 h 82124"/>
                  <a:gd name="connsiteX18" fmla="*/ 169097 w 183188"/>
                  <a:gd name="connsiteY18" fmla="*/ 51972 h 82124"/>
                  <a:gd name="connsiteX19" fmla="*/ 166067 w 183188"/>
                  <a:gd name="connsiteY19" fmla="*/ 51517 h 82124"/>
                  <a:gd name="connsiteX20" fmla="*/ 163491 w 183188"/>
                  <a:gd name="connsiteY20" fmla="*/ 50608 h 82124"/>
                  <a:gd name="connsiteX21" fmla="*/ 162279 w 183188"/>
                  <a:gd name="connsiteY21" fmla="*/ 49396 h 82124"/>
                  <a:gd name="connsiteX22" fmla="*/ 160612 w 183188"/>
                  <a:gd name="connsiteY22" fmla="*/ 48184 h 82124"/>
                  <a:gd name="connsiteX23" fmla="*/ 157279 w 183188"/>
                  <a:gd name="connsiteY23" fmla="*/ 46517 h 82124"/>
                  <a:gd name="connsiteX24" fmla="*/ 154854 w 183188"/>
                  <a:gd name="connsiteY24" fmla="*/ 45002 h 82124"/>
                  <a:gd name="connsiteX25" fmla="*/ 154703 w 183188"/>
                  <a:gd name="connsiteY25" fmla="*/ 44092 h 82124"/>
                  <a:gd name="connsiteX26" fmla="*/ 156218 w 183188"/>
                  <a:gd name="connsiteY26" fmla="*/ 40001 h 82124"/>
                  <a:gd name="connsiteX27" fmla="*/ 157279 w 183188"/>
                  <a:gd name="connsiteY27" fmla="*/ 36213 h 82124"/>
                  <a:gd name="connsiteX28" fmla="*/ 156672 w 183188"/>
                  <a:gd name="connsiteY28" fmla="*/ 35456 h 82124"/>
                  <a:gd name="connsiteX29" fmla="*/ 155309 w 183188"/>
                  <a:gd name="connsiteY29" fmla="*/ 34698 h 82124"/>
                  <a:gd name="connsiteX30" fmla="*/ 152733 w 183188"/>
                  <a:gd name="connsiteY30" fmla="*/ 34092 h 82124"/>
                  <a:gd name="connsiteX31" fmla="*/ 146824 w 183188"/>
                  <a:gd name="connsiteY31" fmla="*/ 34395 h 82124"/>
                  <a:gd name="connsiteX32" fmla="*/ 143036 w 183188"/>
                  <a:gd name="connsiteY32" fmla="*/ 30456 h 82124"/>
                  <a:gd name="connsiteX33" fmla="*/ 141824 w 183188"/>
                  <a:gd name="connsiteY33" fmla="*/ 29546 h 82124"/>
                  <a:gd name="connsiteX34" fmla="*/ 139399 w 183188"/>
                  <a:gd name="connsiteY34" fmla="*/ 28940 h 82124"/>
                  <a:gd name="connsiteX35" fmla="*/ 135914 w 183188"/>
                  <a:gd name="connsiteY35" fmla="*/ 27728 h 82124"/>
                  <a:gd name="connsiteX36" fmla="*/ 133793 w 183188"/>
                  <a:gd name="connsiteY36" fmla="*/ 26819 h 82124"/>
                  <a:gd name="connsiteX37" fmla="*/ 133339 w 183188"/>
                  <a:gd name="connsiteY37" fmla="*/ 27122 h 82124"/>
                  <a:gd name="connsiteX38" fmla="*/ 131065 w 183188"/>
                  <a:gd name="connsiteY38" fmla="*/ 31516 h 82124"/>
                  <a:gd name="connsiteX39" fmla="*/ 128944 w 183188"/>
                  <a:gd name="connsiteY39" fmla="*/ 28486 h 82124"/>
                  <a:gd name="connsiteX40" fmla="*/ 127732 w 183188"/>
                  <a:gd name="connsiteY40" fmla="*/ 27577 h 82124"/>
                  <a:gd name="connsiteX41" fmla="*/ 125763 w 183188"/>
                  <a:gd name="connsiteY41" fmla="*/ 27122 h 82124"/>
                  <a:gd name="connsiteX42" fmla="*/ 123944 w 183188"/>
                  <a:gd name="connsiteY42" fmla="*/ 27122 h 82124"/>
                  <a:gd name="connsiteX43" fmla="*/ 119096 w 183188"/>
                  <a:gd name="connsiteY43" fmla="*/ 28637 h 82124"/>
                  <a:gd name="connsiteX44" fmla="*/ 115459 w 183188"/>
                  <a:gd name="connsiteY44" fmla="*/ 30304 h 82124"/>
                  <a:gd name="connsiteX45" fmla="*/ 112883 w 183188"/>
                  <a:gd name="connsiteY45" fmla="*/ 31516 h 82124"/>
                  <a:gd name="connsiteX46" fmla="*/ 110156 w 183188"/>
                  <a:gd name="connsiteY46" fmla="*/ 32122 h 82124"/>
                  <a:gd name="connsiteX47" fmla="*/ 108943 w 183188"/>
                  <a:gd name="connsiteY47" fmla="*/ 33183 h 82124"/>
                  <a:gd name="connsiteX48" fmla="*/ 105307 w 183188"/>
                  <a:gd name="connsiteY48" fmla="*/ 33032 h 82124"/>
                  <a:gd name="connsiteX49" fmla="*/ 103489 w 183188"/>
                  <a:gd name="connsiteY49" fmla="*/ 32274 h 82124"/>
                  <a:gd name="connsiteX50" fmla="*/ 102883 w 183188"/>
                  <a:gd name="connsiteY50" fmla="*/ 31516 h 82124"/>
                  <a:gd name="connsiteX51" fmla="*/ 103186 w 183188"/>
                  <a:gd name="connsiteY51" fmla="*/ 30153 h 82124"/>
                  <a:gd name="connsiteX52" fmla="*/ 104398 w 183188"/>
                  <a:gd name="connsiteY52" fmla="*/ 28637 h 82124"/>
                  <a:gd name="connsiteX53" fmla="*/ 104549 w 183188"/>
                  <a:gd name="connsiteY53" fmla="*/ 27880 h 82124"/>
                  <a:gd name="connsiteX54" fmla="*/ 104095 w 183188"/>
                  <a:gd name="connsiteY54" fmla="*/ 27122 h 82124"/>
                  <a:gd name="connsiteX55" fmla="*/ 99701 w 183188"/>
                  <a:gd name="connsiteY55" fmla="*/ 25152 h 82124"/>
                  <a:gd name="connsiteX56" fmla="*/ 97882 w 183188"/>
                  <a:gd name="connsiteY56" fmla="*/ 23940 h 82124"/>
                  <a:gd name="connsiteX57" fmla="*/ 92125 w 183188"/>
                  <a:gd name="connsiteY57" fmla="*/ 22274 h 82124"/>
                  <a:gd name="connsiteX58" fmla="*/ 85155 w 183188"/>
                  <a:gd name="connsiteY58" fmla="*/ 19243 h 82124"/>
                  <a:gd name="connsiteX59" fmla="*/ 82730 w 183188"/>
                  <a:gd name="connsiteY59" fmla="*/ 17122 h 82124"/>
                  <a:gd name="connsiteX60" fmla="*/ 82427 w 183188"/>
                  <a:gd name="connsiteY60" fmla="*/ 15758 h 82124"/>
                  <a:gd name="connsiteX61" fmla="*/ 79700 w 183188"/>
                  <a:gd name="connsiteY61" fmla="*/ 14394 h 82124"/>
                  <a:gd name="connsiteX62" fmla="*/ 76064 w 183188"/>
                  <a:gd name="connsiteY62" fmla="*/ 13182 h 82124"/>
                  <a:gd name="connsiteX63" fmla="*/ 73336 w 183188"/>
                  <a:gd name="connsiteY63" fmla="*/ 13637 h 82124"/>
                  <a:gd name="connsiteX64" fmla="*/ 70760 w 183188"/>
                  <a:gd name="connsiteY64" fmla="*/ 13637 h 82124"/>
                  <a:gd name="connsiteX65" fmla="*/ 66821 w 183188"/>
                  <a:gd name="connsiteY65" fmla="*/ 11364 h 82124"/>
                  <a:gd name="connsiteX66" fmla="*/ 63033 w 183188"/>
                  <a:gd name="connsiteY66" fmla="*/ 11212 h 82124"/>
                  <a:gd name="connsiteX67" fmla="*/ 58638 w 183188"/>
                  <a:gd name="connsiteY67" fmla="*/ 11970 h 82124"/>
                  <a:gd name="connsiteX68" fmla="*/ 57729 w 183188"/>
                  <a:gd name="connsiteY68" fmla="*/ 12273 h 82124"/>
                  <a:gd name="connsiteX69" fmla="*/ 56669 w 183188"/>
                  <a:gd name="connsiteY69" fmla="*/ 12576 h 82124"/>
                  <a:gd name="connsiteX70" fmla="*/ 43790 w 183188"/>
                  <a:gd name="connsiteY70" fmla="*/ 11515 h 82124"/>
                  <a:gd name="connsiteX71" fmla="*/ 40607 w 183188"/>
                  <a:gd name="connsiteY71" fmla="*/ 9697 h 82124"/>
                  <a:gd name="connsiteX72" fmla="*/ 37729 w 183188"/>
                  <a:gd name="connsiteY72" fmla="*/ 7727 h 82124"/>
                  <a:gd name="connsiteX73" fmla="*/ 30153 w 183188"/>
                  <a:gd name="connsiteY73" fmla="*/ 6364 h 82124"/>
                  <a:gd name="connsiteX74" fmla="*/ 26365 w 183188"/>
                  <a:gd name="connsiteY74" fmla="*/ 5000 h 82124"/>
                  <a:gd name="connsiteX75" fmla="*/ 22577 w 183188"/>
                  <a:gd name="connsiteY75" fmla="*/ 2879 h 82124"/>
                  <a:gd name="connsiteX76" fmla="*/ 18334 w 183188"/>
                  <a:gd name="connsiteY76" fmla="*/ 1061 h 82124"/>
                  <a:gd name="connsiteX77" fmla="*/ 14849 w 183188"/>
                  <a:gd name="connsiteY77" fmla="*/ 1818 h 82124"/>
                  <a:gd name="connsiteX78" fmla="*/ 10000 w 183188"/>
                  <a:gd name="connsiteY78" fmla="*/ 758 h 82124"/>
                  <a:gd name="connsiteX79" fmla="*/ 4697 w 183188"/>
                  <a:gd name="connsiteY79" fmla="*/ 0 h 82124"/>
                  <a:gd name="connsiteX80" fmla="*/ 2879 w 183188"/>
                  <a:gd name="connsiteY80" fmla="*/ 455 h 82124"/>
                  <a:gd name="connsiteX81" fmla="*/ 1212 w 183188"/>
                  <a:gd name="connsiteY81" fmla="*/ 2727 h 82124"/>
                  <a:gd name="connsiteX82" fmla="*/ 0 w 183188"/>
                  <a:gd name="connsiteY82" fmla="*/ 4849 h 82124"/>
                  <a:gd name="connsiteX83" fmla="*/ 5758 w 183188"/>
                  <a:gd name="connsiteY83" fmla="*/ 8485 h 82124"/>
                  <a:gd name="connsiteX84" fmla="*/ 13182 w 183188"/>
                  <a:gd name="connsiteY84" fmla="*/ 13940 h 82124"/>
                  <a:gd name="connsiteX85" fmla="*/ 15001 w 183188"/>
                  <a:gd name="connsiteY85" fmla="*/ 14849 h 82124"/>
                  <a:gd name="connsiteX86" fmla="*/ 23486 w 183188"/>
                  <a:gd name="connsiteY86" fmla="*/ 16667 h 82124"/>
                  <a:gd name="connsiteX87" fmla="*/ 29698 w 183188"/>
                  <a:gd name="connsiteY87" fmla="*/ 21061 h 82124"/>
                  <a:gd name="connsiteX88" fmla="*/ 31517 w 183188"/>
                  <a:gd name="connsiteY88" fmla="*/ 24546 h 82124"/>
                  <a:gd name="connsiteX89" fmla="*/ 39395 w 183188"/>
                  <a:gd name="connsiteY89" fmla="*/ 27425 h 82124"/>
                  <a:gd name="connsiteX90" fmla="*/ 41365 w 183188"/>
                  <a:gd name="connsiteY90" fmla="*/ 30153 h 82124"/>
                  <a:gd name="connsiteX91" fmla="*/ 43790 w 183188"/>
                  <a:gd name="connsiteY91" fmla="*/ 38638 h 82124"/>
                  <a:gd name="connsiteX92" fmla="*/ 46062 w 183188"/>
                  <a:gd name="connsiteY92" fmla="*/ 46971 h 82124"/>
                  <a:gd name="connsiteX93" fmla="*/ 48790 w 183188"/>
                  <a:gd name="connsiteY93" fmla="*/ 52729 h 82124"/>
                  <a:gd name="connsiteX94" fmla="*/ 48790 w 183188"/>
                  <a:gd name="connsiteY94" fmla="*/ 55457 h 82124"/>
                  <a:gd name="connsiteX95" fmla="*/ 48638 w 183188"/>
                  <a:gd name="connsiteY95" fmla="*/ 57729 h 82124"/>
                  <a:gd name="connsiteX96" fmla="*/ 47123 w 183188"/>
                  <a:gd name="connsiteY96" fmla="*/ 61366 h 82124"/>
                  <a:gd name="connsiteX97" fmla="*/ 41972 w 183188"/>
                  <a:gd name="connsiteY97" fmla="*/ 67578 h 82124"/>
                  <a:gd name="connsiteX98" fmla="*/ 43790 w 183188"/>
                  <a:gd name="connsiteY98" fmla="*/ 68184 h 82124"/>
                  <a:gd name="connsiteX99" fmla="*/ 47123 w 183188"/>
                  <a:gd name="connsiteY99" fmla="*/ 69093 h 82124"/>
                  <a:gd name="connsiteX100" fmla="*/ 49244 w 183188"/>
                  <a:gd name="connsiteY100" fmla="*/ 70002 h 82124"/>
                  <a:gd name="connsiteX101" fmla="*/ 50457 w 183188"/>
                  <a:gd name="connsiteY101" fmla="*/ 70306 h 82124"/>
                  <a:gd name="connsiteX102" fmla="*/ 53336 w 183188"/>
                  <a:gd name="connsiteY102" fmla="*/ 68184 h 82124"/>
                  <a:gd name="connsiteX103" fmla="*/ 57427 w 183188"/>
                  <a:gd name="connsiteY103" fmla="*/ 68336 h 82124"/>
                  <a:gd name="connsiteX104" fmla="*/ 61063 w 183188"/>
                  <a:gd name="connsiteY104" fmla="*/ 68487 h 82124"/>
                  <a:gd name="connsiteX105" fmla="*/ 63033 w 183188"/>
                  <a:gd name="connsiteY105" fmla="*/ 68942 h 82124"/>
                  <a:gd name="connsiteX106" fmla="*/ 65305 w 183188"/>
                  <a:gd name="connsiteY106" fmla="*/ 69548 h 82124"/>
                  <a:gd name="connsiteX107" fmla="*/ 68033 w 183188"/>
                  <a:gd name="connsiteY107" fmla="*/ 70002 h 82124"/>
                  <a:gd name="connsiteX108" fmla="*/ 69245 w 183188"/>
                  <a:gd name="connsiteY108" fmla="*/ 69093 h 82124"/>
                  <a:gd name="connsiteX109" fmla="*/ 70912 w 183188"/>
                  <a:gd name="connsiteY109" fmla="*/ 66214 h 82124"/>
                  <a:gd name="connsiteX110" fmla="*/ 71518 w 183188"/>
                  <a:gd name="connsiteY110" fmla="*/ 65760 h 82124"/>
                  <a:gd name="connsiteX111" fmla="*/ 71972 w 183188"/>
                  <a:gd name="connsiteY111" fmla="*/ 65457 h 82124"/>
                  <a:gd name="connsiteX112" fmla="*/ 73942 w 183188"/>
                  <a:gd name="connsiteY112" fmla="*/ 65305 h 82124"/>
                  <a:gd name="connsiteX113" fmla="*/ 75912 w 183188"/>
                  <a:gd name="connsiteY113" fmla="*/ 65457 h 82124"/>
                  <a:gd name="connsiteX114" fmla="*/ 76821 w 183188"/>
                  <a:gd name="connsiteY114" fmla="*/ 66063 h 82124"/>
                  <a:gd name="connsiteX115" fmla="*/ 77730 w 183188"/>
                  <a:gd name="connsiteY115" fmla="*/ 68336 h 82124"/>
                  <a:gd name="connsiteX116" fmla="*/ 80155 w 183188"/>
                  <a:gd name="connsiteY116" fmla="*/ 69245 h 82124"/>
                  <a:gd name="connsiteX117" fmla="*/ 84246 w 183188"/>
                  <a:gd name="connsiteY117" fmla="*/ 72881 h 82124"/>
                  <a:gd name="connsiteX118" fmla="*/ 86822 w 183188"/>
                  <a:gd name="connsiteY118" fmla="*/ 74397 h 82124"/>
                  <a:gd name="connsiteX119" fmla="*/ 87428 w 183188"/>
                  <a:gd name="connsiteY119" fmla="*/ 75003 h 82124"/>
                  <a:gd name="connsiteX120" fmla="*/ 86518 w 183188"/>
                  <a:gd name="connsiteY120" fmla="*/ 75760 h 82124"/>
                  <a:gd name="connsiteX121" fmla="*/ 86822 w 183188"/>
                  <a:gd name="connsiteY121" fmla="*/ 76669 h 82124"/>
                  <a:gd name="connsiteX122" fmla="*/ 88337 w 183188"/>
                  <a:gd name="connsiteY122" fmla="*/ 77882 h 82124"/>
                  <a:gd name="connsiteX123" fmla="*/ 90306 w 183188"/>
                  <a:gd name="connsiteY123" fmla="*/ 78336 h 82124"/>
                  <a:gd name="connsiteX124" fmla="*/ 92428 w 183188"/>
                  <a:gd name="connsiteY124" fmla="*/ 78185 h 82124"/>
                  <a:gd name="connsiteX125" fmla="*/ 93640 w 183188"/>
                  <a:gd name="connsiteY125" fmla="*/ 78639 h 82124"/>
                  <a:gd name="connsiteX126" fmla="*/ 94549 w 183188"/>
                  <a:gd name="connsiteY126" fmla="*/ 79245 h 82124"/>
                  <a:gd name="connsiteX127" fmla="*/ 94700 w 183188"/>
                  <a:gd name="connsiteY127" fmla="*/ 80306 h 82124"/>
                  <a:gd name="connsiteX128" fmla="*/ 94700 w 183188"/>
                  <a:gd name="connsiteY128" fmla="*/ 80912 h 82124"/>
                  <a:gd name="connsiteX129" fmla="*/ 96064 w 183188"/>
                  <a:gd name="connsiteY129" fmla="*/ 80609 h 82124"/>
                  <a:gd name="connsiteX130" fmla="*/ 100307 w 183188"/>
                  <a:gd name="connsiteY130" fmla="*/ 80609 h 82124"/>
                  <a:gd name="connsiteX131" fmla="*/ 104398 w 183188"/>
                  <a:gd name="connsiteY131" fmla="*/ 80154 h 82124"/>
                  <a:gd name="connsiteX132" fmla="*/ 107580 w 183188"/>
                  <a:gd name="connsiteY132" fmla="*/ 79245 h 82124"/>
                  <a:gd name="connsiteX133" fmla="*/ 112125 w 183188"/>
                  <a:gd name="connsiteY133" fmla="*/ 78488 h 82124"/>
                  <a:gd name="connsiteX134" fmla="*/ 114095 w 183188"/>
                  <a:gd name="connsiteY134" fmla="*/ 77730 h 82124"/>
                  <a:gd name="connsiteX135" fmla="*/ 116217 w 183188"/>
                  <a:gd name="connsiteY135" fmla="*/ 77427 h 82124"/>
                  <a:gd name="connsiteX136" fmla="*/ 123035 w 183188"/>
                  <a:gd name="connsiteY136" fmla="*/ 78185 h 82124"/>
                  <a:gd name="connsiteX137" fmla="*/ 125459 w 183188"/>
                  <a:gd name="connsiteY137" fmla="*/ 77579 h 82124"/>
                  <a:gd name="connsiteX138" fmla="*/ 133035 w 183188"/>
                  <a:gd name="connsiteY138" fmla="*/ 77427 h 82124"/>
                  <a:gd name="connsiteX139" fmla="*/ 133187 w 183188"/>
                  <a:gd name="connsiteY139" fmla="*/ 77276 h 82124"/>
                  <a:gd name="connsiteX140" fmla="*/ 132278 w 183188"/>
                  <a:gd name="connsiteY140" fmla="*/ 76366 h 82124"/>
                  <a:gd name="connsiteX141" fmla="*/ 132278 w 183188"/>
                  <a:gd name="connsiteY141" fmla="*/ 75912 h 82124"/>
                  <a:gd name="connsiteX142" fmla="*/ 136672 w 183188"/>
                  <a:gd name="connsiteY142" fmla="*/ 75306 h 82124"/>
                  <a:gd name="connsiteX143" fmla="*/ 137429 w 183188"/>
                  <a:gd name="connsiteY143" fmla="*/ 74851 h 82124"/>
                  <a:gd name="connsiteX144" fmla="*/ 143339 w 183188"/>
                  <a:gd name="connsiteY144" fmla="*/ 70609 h 82124"/>
                  <a:gd name="connsiteX145" fmla="*/ 145157 w 183188"/>
                  <a:gd name="connsiteY145" fmla="*/ 69699 h 82124"/>
                  <a:gd name="connsiteX146" fmla="*/ 148945 w 183188"/>
                  <a:gd name="connsiteY146" fmla="*/ 70609 h 82124"/>
                  <a:gd name="connsiteX147" fmla="*/ 156976 w 183188"/>
                  <a:gd name="connsiteY147" fmla="*/ 73336 h 82124"/>
                  <a:gd name="connsiteX148" fmla="*/ 156370 w 183188"/>
                  <a:gd name="connsiteY148" fmla="*/ 75003 h 82124"/>
                  <a:gd name="connsiteX149" fmla="*/ 157279 w 183188"/>
                  <a:gd name="connsiteY149" fmla="*/ 75912 h 82124"/>
                  <a:gd name="connsiteX150" fmla="*/ 159097 w 183188"/>
                  <a:gd name="connsiteY150" fmla="*/ 77124 h 82124"/>
                  <a:gd name="connsiteX151" fmla="*/ 162582 w 183188"/>
                  <a:gd name="connsiteY151" fmla="*/ 78336 h 82124"/>
                  <a:gd name="connsiteX152" fmla="*/ 165612 w 183188"/>
                  <a:gd name="connsiteY152" fmla="*/ 78942 h 82124"/>
                  <a:gd name="connsiteX153" fmla="*/ 167127 w 183188"/>
                  <a:gd name="connsiteY153" fmla="*/ 78336 h 82124"/>
                  <a:gd name="connsiteX154" fmla="*/ 169400 w 183188"/>
                  <a:gd name="connsiteY154" fmla="*/ 77882 h 82124"/>
                  <a:gd name="connsiteX155" fmla="*/ 172431 w 183188"/>
                  <a:gd name="connsiteY155" fmla="*/ 79397 h 82124"/>
                  <a:gd name="connsiteX156" fmla="*/ 175158 w 183188"/>
                  <a:gd name="connsiteY156" fmla="*/ 81215 h 82124"/>
                  <a:gd name="connsiteX157" fmla="*/ 176522 w 183188"/>
                  <a:gd name="connsiteY157" fmla="*/ 81821 h 82124"/>
                  <a:gd name="connsiteX158" fmla="*/ 177279 w 183188"/>
                  <a:gd name="connsiteY158" fmla="*/ 82124 h 82124"/>
                  <a:gd name="connsiteX159" fmla="*/ 179401 w 183188"/>
                  <a:gd name="connsiteY159" fmla="*/ 81518 h 82124"/>
                  <a:gd name="connsiteX160" fmla="*/ 181825 w 183188"/>
                  <a:gd name="connsiteY160" fmla="*/ 79245 h 82124"/>
                  <a:gd name="connsiteX161" fmla="*/ 182886 w 183188"/>
                  <a:gd name="connsiteY161" fmla="*/ 76366 h 82124"/>
                  <a:gd name="connsiteX162" fmla="*/ 183189 w 183188"/>
                  <a:gd name="connsiteY162" fmla="*/ 75003 h 8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83188" h="82124">
                    <a:moveTo>
                      <a:pt x="181674" y="73184"/>
                    </a:moveTo>
                    <a:lnTo>
                      <a:pt x="178643" y="71215"/>
                    </a:lnTo>
                    <a:lnTo>
                      <a:pt x="175310" y="69396"/>
                    </a:lnTo>
                    <a:lnTo>
                      <a:pt x="173188" y="67881"/>
                    </a:lnTo>
                    <a:lnTo>
                      <a:pt x="171673" y="64699"/>
                    </a:lnTo>
                    <a:lnTo>
                      <a:pt x="170310" y="64396"/>
                    </a:lnTo>
                    <a:lnTo>
                      <a:pt x="170006" y="64093"/>
                    </a:lnTo>
                    <a:lnTo>
                      <a:pt x="169703" y="63033"/>
                    </a:lnTo>
                    <a:lnTo>
                      <a:pt x="169855" y="61517"/>
                    </a:lnTo>
                    <a:lnTo>
                      <a:pt x="170310" y="60305"/>
                    </a:lnTo>
                    <a:lnTo>
                      <a:pt x="171673" y="59851"/>
                    </a:lnTo>
                    <a:lnTo>
                      <a:pt x="173037" y="59699"/>
                    </a:lnTo>
                    <a:lnTo>
                      <a:pt x="174249" y="58638"/>
                    </a:lnTo>
                    <a:lnTo>
                      <a:pt x="175916" y="56517"/>
                    </a:lnTo>
                    <a:lnTo>
                      <a:pt x="176522" y="55305"/>
                    </a:lnTo>
                    <a:lnTo>
                      <a:pt x="176067" y="54850"/>
                    </a:lnTo>
                    <a:lnTo>
                      <a:pt x="172128" y="53032"/>
                    </a:lnTo>
                    <a:lnTo>
                      <a:pt x="170613" y="52123"/>
                    </a:lnTo>
                    <a:lnTo>
                      <a:pt x="169097" y="51972"/>
                    </a:lnTo>
                    <a:lnTo>
                      <a:pt x="166067" y="51517"/>
                    </a:lnTo>
                    <a:lnTo>
                      <a:pt x="163491" y="50608"/>
                    </a:lnTo>
                    <a:lnTo>
                      <a:pt x="162279" y="49396"/>
                    </a:lnTo>
                    <a:lnTo>
                      <a:pt x="160612" y="48184"/>
                    </a:lnTo>
                    <a:lnTo>
                      <a:pt x="157279" y="46517"/>
                    </a:lnTo>
                    <a:lnTo>
                      <a:pt x="154854" y="45002"/>
                    </a:lnTo>
                    <a:lnTo>
                      <a:pt x="154703" y="44092"/>
                    </a:lnTo>
                    <a:lnTo>
                      <a:pt x="156218" y="40001"/>
                    </a:lnTo>
                    <a:lnTo>
                      <a:pt x="157279" y="36213"/>
                    </a:lnTo>
                    <a:lnTo>
                      <a:pt x="156672" y="35456"/>
                    </a:lnTo>
                    <a:lnTo>
                      <a:pt x="155309" y="34698"/>
                    </a:lnTo>
                    <a:lnTo>
                      <a:pt x="152733" y="34092"/>
                    </a:lnTo>
                    <a:lnTo>
                      <a:pt x="146824" y="34395"/>
                    </a:lnTo>
                    <a:lnTo>
                      <a:pt x="143036" y="30456"/>
                    </a:lnTo>
                    <a:lnTo>
                      <a:pt x="141824" y="29546"/>
                    </a:lnTo>
                    <a:lnTo>
                      <a:pt x="139399" y="28940"/>
                    </a:lnTo>
                    <a:lnTo>
                      <a:pt x="135914" y="27728"/>
                    </a:lnTo>
                    <a:lnTo>
                      <a:pt x="133793" y="26819"/>
                    </a:lnTo>
                    <a:lnTo>
                      <a:pt x="133339" y="27122"/>
                    </a:lnTo>
                    <a:lnTo>
                      <a:pt x="131065" y="31516"/>
                    </a:lnTo>
                    <a:lnTo>
                      <a:pt x="128944" y="28486"/>
                    </a:lnTo>
                    <a:lnTo>
                      <a:pt x="127732" y="27577"/>
                    </a:lnTo>
                    <a:lnTo>
                      <a:pt x="125763" y="27122"/>
                    </a:lnTo>
                    <a:lnTo>
                      <a:pt x="123944" y="27122"/>
                    </a:lnTo>
                    <a:lnTo>
                      <a:pt x="119096" y="28637"/>
                    </a:lnTo>
                    <a:lnTo>
                      <a:pt x="115459" y="30304"/>
                    </a:lnTo>
                    <a:lnTo>
                      <a:pt x="112883" y="31516"/>
                    </a:lnTo>
                    <a:lnTo>
                      <a:pt x="110156" y="32122"/>
                    </a:lnTo>
                    <a:lnTo>
                      <a:pt x="108943" y="33183"/>
                    </a:lnTo>
                    <a:lnTo>
                      <a:pt x="105307" y="33032"/>
                    </a:lnTo>
                    <a:lnTo>
                      <a:pt x="103489" y="32274"/>
                    </a:lnTo>
                    <a:lnTo>
                      <a:pt x="102883" y="31516"/>
                    </a:lnTo>
                    <a:lnTo>
                      <a:pt x="103186" y="30153"/>
                    </a:lnTo>
                    <a:lnTo>
                      <a:pt x="104398" y="28637"/>
                    </a:lnTo>
                    <a:lnTo>
                      <a:pt x="104549" y="27880"/>
                    </a:lnTo>
                    <a:lnTo>
                      <a:pt x="104095" y="27122"/>
                    </a:lnTo>
                    <a:lnTo>
                      <a:pt x="99701" y="25152"/>
                    </a:lnTo>
                    <a:lnTo>
                      <a:pt x="97882" y="23940"/>
                    </a:lnTo>
                    <a:lnTo>
                      <a:pt x="92125" y="22274"/>
                    </a:lnTo>
                    <a:lnTo>
                      <a:pt x="85155" y="19243"/>
                    </a:lnTo>
                    <a:lnTo>
                      <a:pt x="82730" y="17122"/>
                    </a:lnTo>
                    <a:lnTo>
                      <a:pt x="82427" y="15758"/>
                    </a:lnTo>
                    <a:lnTo>
                      <a:pt x="79700" y="14394"/>
                    </a:lnTo>
                    <a:lnTo>
                      <a:pt x="76064" y="13182"/>
                    </a:lnTo>
                    <a:lnTo>
                      <a:pt x="73336" y="13637"/>
                    </a:lnTo>
                    <a:lnTo>
                      <a:pt x="70760" y="13637"/>
                    </a:lnTo>
                    <a:lnTo>
                      <a:pt x="66821" y="11364"/>
                    </a:lnTo>
                    <a:lnTo>
                      <a:pt x="63033" y="11212"/>
                    </a:lnTo>
                    <a:lnTo>
                      <a:pt x="58638" y="11970"/>
                    </a:lnTo>
                    <a:lnTo>
                      <a:pt x="57729" y="12273"/>
                    </a:lnTo>
                    <a:lnTo>
                      <a:pt x="56669" y="12576"/>
                    </a:lnTo>
                    <a:lnTo>
                      <a:pt x="43790" y="11515"/>
                    </a:lnTo>
                    <a:lnTo>
                      <a:pt x="40607" y="9697"/>
                    </a:lnTo>
                    <a:lnTo>
                      <a:pt x="37729" y="7727"/>
                    </a:lnTo>
                    <a:lnTo>
                      <a:pt x="30153" y="6364"/>
                    </a:lnTo>
                    <a:lnTo>
                      <a:pt x="26365" y="5000"/>
                    </a:lnTo>
                    <a:lnTo>
                      <a:pt x="22577" y="2879"/>
                    </a:lnTo>
                    <a:lnTo>
                      <a:pt x="18334" y="1061"/>
                    </a:lnTo>
                    <a:lnTo>
                      <a:pt x="14849" y="1818"/>
                    </a:lnTo>
                    <a:lnTo>
                      <a:pt x="10000" y="758"/>
                    </a:lnTo>
                    <a:lnTo>
                      <a:pt x="4697" y="0"/>
                    </a:lnTo>
                    <a:lnTo>
                      <a:pt x="2879" y="455"/>
                    </a:lnTo>
                    <a:lnTo>
                      <a:pt x="1212" y="2727"/>
                    </a:lnTo>
                    <a:lnTo>
                      <a:pt x="0" y="4849"/>
                    </a:lnTo>
                    <a:lnTo>
                      <a:pt x="5758" y="8485"/>
                    </a:lnTo>
                    <a:lnTo>
                      <a:pt x="13182" y="13940"/>
                    </a:lnTo>
                    <a:lnTo>
                      <a:pt x="15001" y="14849"/>
                    </a:lnTo>
                    <a:lnTo>
                      <a:pt x="23486" y="16667"/>
                    </a:lnTo>
                    <a:lnTo>
                      <a:pt x="29698" y="21061"/>
                    </a:lnTo>
                    <a:lnTo>
                      <a:pt x="31517" y="24546"/>
                    </a:lnTo>
                    <a:lnTo>
                      <a:pt x="39395" y="27425"/>
                    </a:lnTo>
                    <a:lnTo>
                      <a:pt x="41365" y="30153"/>
                    </a:lnTo>
                    <a:lnTo>
                      <a:pt x="43790" y="38638"/>
                    </a:lnTo>
                    <a:lnTo>
                      <a:pt x="46062" y="46971"/>
                    </a:lnTo>
                    <a:lnTo>
                      <a:pt x="48790" y="52729"/>
                    </a:lnTo>
                    <a:lnTo>
                      <a:pt x="48790" y="55457"/>
                    </a:lnTo>
                    <a:lnTo>
                      <a:pt x="48638" y="57729"/>
                    </a:lnTo>
                    <a:lnTo>
                      <a:pt x="47123" y="61366"/>
                    </a:lnTo>
                    <a:lnTo>
                      <a:pt x="41972" y="67578"/>
                    </a:lnTo>
                    <a:lnTo>
                      <a:pt x="43790" y="68184"/>
                    </a:lnTo>
                    <a:lnTo>
                      <a:pt x="47123" y="69093"/>
                    </a:lnTo>
                    <a:lnTo>
                      <a:pt x="49244" y="70002"/>
                    </a:lnTo>
                    <a:lnTo>
                      <a:pt x="50457" y="70306"/>
                    </a:lnTo>
                    <a:lnTo>
                      <a:pt x="53336" y="68184"/>
                    </a:lnTo>
                    <a:lnTo>
                      <a:pt x="57427" y="68336"/>
                    </a:lnTo>
                    <a:lnTo>
                      <a:pt x="61063" y="68487"/>
                    </a:lnTo>
                    <a:lnTo>
                      <a:pt x="63033" y="68942"/>
                    </a:lnTo>
                    <a:lnTo>
                      <a:pt x="65305" y="69548"/>
                    </a:lnTo>
                    <a:lnTo>
                      <a:pt x="68033" y="70002"/>
                    </a:lnTo>
                    <a:lnTo>
                      <a:pt x="69245" y="69093"/>
                    </a:lnTo>
                    <a:lnTo>
                      <a:pt x="70912" y="66214"/>
                    </a:lnTo>
                    <a:lnTo>
                      <a:pt x="71518" y="65760"/>
                    </a:lnTo>
                    <a:lnTo>
                      <a:pt x="71972" y="65457"/>
                    </a:lnTo>
                    <a:lnTo>
                      <a:pt x="73942" y="65305"/>
                    </a:lnTo>
                    <a:lnTo>
                      <a:pt x="75912" y="65457"/>
                    </a:lnTo>
                    <a:lnTo>
                      <a:pt x="76821" y="66063"/>
                    </a:lnTo>
                    <a:lnTo>
                      <a:pt x="77730" y="68336"/>
                    </a:lnTo>
                    <a:lnTo>
                      <a:pt x="80155" y="69245"/>
                    </a:lnTo>
                    <a:lnTo>
                      <a:pt x="84246" y="72881"/>
                    </a:lnTo>
                    <a:lnTo>
                      <a:pt x="86822" y="74397"/>
                    </a:lnTo>
                    <a:lnTo>
                      <a:pt x="87428" y="75003"/>
                    </a:lnTo>
                    <a:lnTo>
                      <a:pt x="86518" y="75760"/>
                    </a:lnTo>
                    <a:lnTo>
                      <a:pt x="86822" y="76669"/>
                    </a:lnTo>
                    <a:lnTo>
                      <a:pt x="88337" y="77882"/>
                    </a:lnTo>
                    <a:lnTo>
                      <a:pt x="90306" y="78336"/>
                    </a:lnTo>
                    <a:lnTo>
                      <a:pt x="92428" y="78185"/>
                    </a:lnTo>
                    <a:lnTo>
                      <a:pt x="93640" y="78639"/>
                    </a:lnTo>
                    <a:lnTo>
                      <a:pt x="94549" y="79245"/>
                    </a:lnTo>
                    <a:lnTo>
                      <a:pt x="94700" y="80306"/>
                    </a:lnTo>
                    <a:lnTo>
                      <a:pt x="94700" y="80912"/>
                    </a:lnTo>
                    <a:lnTo>
                      <a:pt x="96064" y="80609"/>
                    </a:lnTo>
                    <a:lnTo>
                      <a:pt x="100307" y="80609"/>
                    </a:lnTo>
                    <a:lnTo>
                      <a:pt x="104398" y="80154"/>
                    </a:lnTo>
                    <a:lnTo>
                      <a:pt x="107580" y="79245"/>
                    </a:lnTo>
                    <a:lnTo>
                      <a:pt x="112125" y="78488"/>
                    </a:lnTo>
                    <a:lnTo>
                      <a:pt x="114095" y="77730"/>
                    </a:lnTo>
                    <a:lnTo>
                      <a:pt x="116217" y="77427"/>
                    </a:lnTo>
                    <a:lnTo>
                      <a:pt x="123035" y="78185"/>
                    </a:lnTo>
                    <a:lnTo>
                      <a:pt x="125459" y="77579"/>
                    </a:lnTo>
                    <a:lnTo>
                      <a:pt x="133035" y="77427"/>
                    </a:lnTo>
                    <a:lnTo>
                      <a:pt x="133187" y="77276"/>
                    </a:lnTo>
                    <a:lnTo>
                      <a:pt x="132278" y="76366"/>
                    </a:lnTo>
                    <a:lnTo>
                      <a:pt x="132278" y="75912"/>
                    </a:lnTo>
                    <a:lnTo>
                      <a:pt x="136672" y="75306"/>
                    </a:lnTo>
                    <a:lnTo>
                      <a:pt x="137429" y="74851"/>
                    </a:lnTo>
                    <a:lnTo>
                      <a:pt x="143339" y="70609"/>
                    </a:lnTo>
                    <a:lnTo>
                      <a:pt x="145157" y="69699"/>
                    </a:lnTo>
                    <a:lnTo>
                      <a:pt x="148945" y="70609"/>
                    </a:lnTo>
                    <a:lnTo>
                      <a:pt x="156976" y="73336"/>
                    </a:lnTo>
                    <a:lnTo>
                      <a:pt x="156370" y="75003"/>
                    </a:lnTo>
                    <a:lnTo>
                      <a:pt x="157279" y="75912"/>
                    </a:lnTo>
                    <a:lnTo>
                      <a:pt x="159097" y="77124"/>
                    </a:lnTo>
                    <a:lnTo>
                      <a:pt x="162582" y="78336"/>
                    </a:lnTo>
                    <a:lnTo>
                      <a:pt x="165612" y="78942"/>
                    </a:lnTo>
                    <a:lnTo>
                      <a:pt x="167127" y="78336"/>
                    </a:lnTo>
                    <a:lnTo>
                      <a:pt x="169400" y="77882"/>
                    </a:lnTo>
                    <a:lnTo>
                      <a:pt x="172431" y="79397"/>
                    </a:lnTo>
                    <a:lnTo>
                      <a:pt x="175158" y="81215"/>
                    </a:lnTo>
                    <a:lnTo>
                      <a:pt x="176522" y="81821"/>
                    </a:lnTo>
                    <a:lnTo>
                      <a:pt x="177279" y="82124"/>
                    </a:lnTo>
                    <a:lnTo>
                      <a:pt x="179401" y="81518"/>
                    </a:lnTo>
                    <a:lnTo>
                      <a:pt x="181825" y="79245"/>
                    </a:lnTo>
                    <a:lnTo>
                      <a:pt x="182886" y="76366"/>
                    </a:lnTo>
                    <a:lnTo>
                      <a:pt x="183189" y="750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3" name="Freeform: Shape 3282">
                <a:extLst>
                  <a:ext uri="{FF2B5EF4-FFF2-40B4-BE49-F238E27FC236}">
                    <a16:creationId xmlns:a16="http://schemas.microsoft.com/office/drawing/2014/main" id="{B4F46D43-CAF1-444C-994F-8113AF98C967}"/>
                  </a:ext>
                </a:extLst>
              </p:cNvPr>
              <p:cNvSpPr/>
              <p:nvPr/>
            </p:nvSpPr>
            <p:spPr>
              <a:xfrm>
                <a:off x="4086834" y="4227890"/>
                <a:ext cx="4697" cy="6212"/>
              </a:xfrm>
              <a:custGeom>
                <a:avLst/>
                <a:gdLst>
                  <a:gd name="connsiteX0" fmla="*/ 3333 w 4697"/>
                  <a:gd name="connsiteY0" fmla="*/ 0 h 6212"/>
                  <a:gd name="connsiteX1" fmla="*/ 1818 w 4697"/>
                  <a:gd name="connsiteY1" fmla="*/ 1364 h 6212"/>
                  <a:gd name="connsiteX2" fmla="*/ 758 w 4697"/>
                  <a:gd name="connsiteY2" fmla="*/ 3485 h 6212"/>
                  <a:gd name="connsiteX3" fmla="*/ 606 w 4697"/>
                  <a:gd name="connsiteY3" fmla="*/ 5152 h 6212"/>
                  <a:gd name="connsiteX4" fmla="*/ 0 w 4697"/>
                  <a:gd name="connsiteY4" fmla="*/ 6212 h 6212"/>
                  <a:gd name="connsiteX5" fmla="*/ 1818 w 4697"/>
                  <a:gd name="connsiteY5" fmla="*/ 6061 h 6212"/>
                  <a:gd name="connsiteX6" fmla="*/ 4243 w 4697"/>
                  <a:gd name="connsiteY6" fmla="*/ 5000 h 6212"/>
                  <a:gd name="connsiteX7" fmla="*/ 4697 w 4697"/>
                  <a:gd name="connsiteY7" fmla="*/ 303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7" h="6212">
                    <a:moveTo>
                      <a:pt x="3333" y="0"/>
                    </a:moveTo>
                    <a:lnTo>
                      <a:pt x="1818" y="1364"/>
                    </a:lnTo>
                    <a:lnTo>
                      <a:pt x="758" y="3485"/>
                    </a:lnTo>
                    <a:lnTo>
                      <a:pt x="606" y="5152"/>
                    </a:lnTo>
                    <a:lnTo>
                      <a:pt x="0" y="6212"/>
                    </a:lnTo>
                    <a:lnTo>
                      <a:pt x="1818" y="6061"/>
                    </a:lnTo>
                    <a:lnTo>
                      <a:pt x="4243" y="5000"/>
                    </a:lnTo>
                    <a:lnTo>
                      <a:pt x="4697"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4" name="Freeform: Shape 3283">
                <a:extLst>
                  <a:ext uri="{FF2B5EF4-FFF2-40B4-BE49-F238E27FC236}">
                    <a16:creationId xmlns:a16="http://schemas.microsoft.com/office/drawing/2014/main" id="{0692E7C1-DB1D-4438-A29B-CD1CA858F182}"/>
                  </a:ext>
                </a:extLst>
              </p:cNvPr>
              <p:cNvSpPr/>
              <p:nvPr/>
            </p:nvSpPr>
            <p:spPr>
              <a:xfrm>
                <a:off x="6015239" y="4499567"/>
                <a:ext cx="158187" cy="168945"/>
              </a:xfrm>
              <a:custGeom>
                <a:avLst/>
                <a:gdLst>
                  <a:gd name="connsiteX0" fmla="*/ 156672 w 158187"/>
                  <a:gd name="connsiteY0" fmla="*/ 92579 h 168945"/>
                  <a:gd name="connsiteX1" fmla="*/ 156218 w 158187"/>
                  <a:gd name="connsiteY1" fmla="*/ 88943 h 168945"/>
                  <a:gd name="connsiteX2" fmla="*/ 157127 w 158187"/>
                  <a:gd name="connsiteY2" fmla="*/ 84245 h 168945"/>
                  <a:gd name="connsiteX3" fmla="*/ 158187 w 158187"/>
                  <a:gd name="connsiteY3" fmla="*/ 79245 h 168945"/>
                  <a:gd name="connsiteX4" fmla="*/ 158036 w 158187"/>
                  <a:gd name="connsiteY4" fmla="*/ 78033 h 168945"/>
                  <a:gd name="connsiteX5" fmla="*/ 156672 w 158187"/>
                  <a:gd name="connsiteY5" fmla="*/ 76669 h 168945"/>
                  <a:gd name="connsiteX6" fmla="*/ 155005 w 158187"/>
                  <a:gd name="connsiteY6" fmla="*/ 75306 h 168945"/>
                  <a:gd name="connsiteX7" fmla="*/ 150611 w 158187"/>
                  <a:gd name="connsiteY7" fmla="*/ 74094 h 168945"/>
                  <a:gd name="connsiteX8" fmla="*/ 149096 w 158187"/>
                  <a:gd name="connsiteY8" fmla="*/ 72275 h 168945"/>
                  <a:gd name="connsiteX9" fmla="*/ 147884 w 158187"/>
                  <a:gd name="connsiteY9" fmla="*/ 70457 h 168945"/>
                  <a:gd name="connsiteX10" fmla="*/ 146975 w 158187"/>
                  <a:gd name="connsiteY10" fmla="*/ 69851 h 168945"/>
                  <a:gd name="connsiteX11" fmla="*/ 142278 w 158187"/>
                  <a:gd name="connsiteY11" fmla="*/ 69093 h 168945"/>
                  <a:gd name="connsiteX12" fmla="*/ 141217 w 158187"/>
                  <a:gd name="connsiteY12" fmla="*/ 68033 h 168945"/>
                  <a:gd name="connsiteX13" fmla="*/ 141520 w 158187"/>
                  <a:gd name="connsiteY13" fmla="*/ 65002 h 168945"/>
                  <a:gd name="connsiteX14" fmla="*/ 141975 w 158187"/>
                  <a:gd name="connsiteY14" fmla="*/ 60457 h 168945"/>
                  <a:gd name="connsiteX15" fmla="*/ 141823 w 158187"/>
                  <a:gd name="connsiteY15" fmla="*/ 57275 h 168945"/>
                  <a:gd name="connsiteX16" fmla="*/ 142732 w 158187"/>
                  <a:gd name="connsiteY16" fmla="*/ 54850 h 168945"/>
                  <a:gd name="connsiteX17" fmla="*/ 143641 w 158187"/>
                  <a:gd name="connsiteY17" fmla="*/ 52881 h 168945"/>
                  <a:gd name="connsiteX18" fmla="*/ 145763 w 158187"/>
                  <a:gd name="connsiteY18" fmla="*/ 50911 h 168945"/>
                  <a:gd name="connsiteX19" fmla="*/ 146823 w 158187"/>
                  <a:gd name="connsiteY19" fmla="*/ 48487 h 168945"/>
                  <a:gd name="connsiteX20" fmla="*/ 147429 w 158187"/>
                  <a:gd name="connsiteY20" fmla="*/ 47880 h 168945"/>
                  <a:gd name="connsiteX21" fmla="*/ 151369 w 158187"/>
                  <a:gd name="connsiteY21" fmla="*/ 47577 h 168945"/>
                  <a:gd name="connsiteX22" fmla="*/ 152733 w 158187"/>
                  <a:gd name="connsiteY22" fmla="*/ 46517 h 168945"/>
                  <a:gd name="connsiteX23" fmla="*/ 153945 w 158187"/>
                  <a:gd name="connsiteY23" fmla="*/ 45608 h 168945"/>
                  <a:gd name="connsiteX24" fmla="*/ 154399 w 158187"/>
                  <a:gd name="connsiteY24" fmla="*/ 44244 h 168945"/>
                  <a:gd name="connsiteX25" fmla="*/ 155763 w 158187"/>
                  <a:gd name="connsiteY25" fmla="*/ 41971 h 168945"/>
                  <a:gd name="connsiteX26" fmla="*/ 156824 w 158187"/>
                  <a:gd name="connsiteY26" fmla="*/ 40456 h 168945"/>
                  <a:gd name="connsiteX27" fmla="*/ 156975 w 158187"/>
                  <a:gd name="connsiteY27" fmla="*/ 39395 h 168945"/>
                  <a:gd name="connsiteX28" fmla="*/ 156824 w 158187"/>
                  <a:gd name="connsiteY28" fmla="*/ 38032 h 168945"/>
                  <a:gd name="connsiteX29" fmla="*/ 155612 w 158187"/>
                  <a:gd name="connsiteY29" fmla="*/ 35153 h 168945"/>
                  <a:gd name="connsiteX30" fmla="*/ 154096 w 158187"/>
                  <a:gd name="connsiteY30" fmla="*/ 32880 h 168945"/>
                  <a:gd name="connsiteX31" fmla="*/ 153339 w 158187"/>
                  <a:gd name="connsiteY31" fmla="*/ 31971 h 168945"/>
                  <a:gd name="connsiteX32" fmla="*/ 151521 w 158187"/>
                  <a:gd name="connsiteY32" fmla="*/ 26516 h 168945"/>
                  <a:gd name="connsiteX33" fmla="*/ 150005 w 158187"/>
                  <a:gd name="connsiteY33" fmla="*/ 25304 h 168945"/>
                  <a:gd name="connsiteX34" fmla="*/ 146823 w 158187"/>
                  <a:gd name="connsiteY34" fmla="*/ 24546 h 168945"/>
                  <a:gd name="connsiteX35" fmla="*/ 140914 w 158187"/>
                  <a:gd name="connsiteY35" fmla="*/ 23940 h 168945"/>
                  <a:gd name="connsiteX36" fmla="*/ 137429 w 158187"/>
                  <a:gd name="connsiteY36" fmla="*/ 25001 h 168945"/>
                  <a:gd name="connsiteX37" fmla="*/ 131974 w 158187"/>
                  <a:gd name="connsiteY37" fmla="*/ 26819 h 168945"/>
                  <a:gd name="connsiteX38" fmla="*/ 127883 w 158187"/>
                  <a:gd name="connsiteY38" fmla="*/ 28031 h 168945"/>
                  <a:gd name="connsiteX39" fmla="*/ 125156 w 158187"/>
                  <a:gd name="connsiteY39" fmla="*/ 28789 h 168945"/>
                  <a:gd name="connsiteX40" fmla="*/ 123489 w 158187"/>
                  <a:gd name="connsiteY40" fmla="*/ 28637 h 168945"/>
                  <a:gd name="connsiteX41" fmla="*/ 122883 w 158187"/>
                  <a:gd name="connsiteY41" fmla="*/ 27728 h 168945"/>
                  <a:gd name="connsiteX42" fmla="*/ 123944 w 158187"/>
                  <a:gd name="connsiteY42" fmla="*/ 26971 h 168945"/>
                  <a:gd name="connsiteX43" fmla="*/ 124398 w 158187"/>
                  <a:gd name="connsiteY43" fmla="*/ 25304 h 168945"/>
                  <a:gd name="connsiteX44" fmla="*/ 123792 w 158187"/>
                  <a:gd name="connsiteY44" fmla="*/ 23031 h 168945"/>
                  <a:gd name="connsiteX45" fmla="*/ 122731 w 158187"/>
                  <a:gd name="connsiteY45" fmla="*/ 20758 h 168945"/>
                  <a:gd name="connsiteX46" fmla="*/ 122126 w 158187"/>
                  <a:gd name="connsiteY46" fmla="*/ 17728 h 168945"/>
                  <a:gd name="connsiteX47" fmla="*/ 122277 w 158187"/>
                  <a:gd name="connsiteY47" fmla="*/ 13940 h 168945"/>
                  <a:gd name="connsiteX48" fmla="*/ 123338 w 158187"/>
                  <a:gd name="connsiteY48" fmla="*/ 10303 h 168945"/>
                  <a:gd name="connsiteX49" fmla="*/ 125610 w 158187"/>
                  <a:gd name="connsiteY49" fmla="*/ 5606 h 168945"/>
                  <a:gd name="connsiteX50" fmla="*/ 125610 w 158187"/>
                  <a:gd name="connsiteY50" fmla="*/ 3788 h 168945"/>
                  <a:gd name="connsiteX51" fmla="*/ 125005 w 158187"/>
                  <a:gd name="connsiteY51" fmla="*/ 2121 h 168945"/>
                  <a:gd name="connsiteX52" fmla="*/ 123641 w 158187"/>
                  <a:gd name="connsiteY52" fmla="*/ 1212 h 168945"/>
                  <a:gd name="connsiteX53" fmla="*/ 121217 w 158187"/>
                  <a:gd name="connsiteY53" fmla="*/ 1061 h 168945"/>
                  <a:gd name="connsiteX54" fmla="*/ 113943 w 158187"/>
                  <a:gd name="connsiteY54" fmla="*/ 1364 h 168945"/>
                  <a:gd name="connsiteX55" fmla="*/ 108488 w 158187"/>
                  <a:gd name="connsiteY55" fmla="*/ 1212 h 168945"/>
                  <a:gd name="connsiteX56" fmla="*/ 106670 w 158187"/>
                  <a:gd name="connsiteY56" fmla="*/ 909 h 168945"/>
                  <a:gd name="connsiteX57" fmla="*/ 104700 w 158187"/>
                  <a:gd name="connsiteY57" fmla="*/ 455 h 168945"/>
                  <a:gd name="connsiteX58" fmla="*/ 100155 w 158187"/>
                  <a:gd name="connsiteY58" fmla="*/ 151 h 168945"/>
                  <a:gd name="connsiteX59" fmla="*/ 94549 w 158187"/>
                  <a:gd name="connsiteY59" fmla="*/ 455 h 168945"/>
                  <a:gd name="connsiteX60" fmla="*/ 93185 w 158187"/>
                  <a:gd name="connsiteY60" fmla="*/ 303 h 168945"/>
                  <a:gd name="connsiteX61" fmla="*/ 88639 w 158187"/>
                  <a:gd name="connsiteY61" fmla="*/ 455 h 168945"/>
                  <a:gd name="connsiteX62" fmla="*/ 78184 w 158187"/>
                  <a:gd name="connsiteY62" fmla="*/ 0 h 168945"/>
                  <a:gd name="connsiteX63" fmla="*/ 72427 w 158187"/>
                  <a:gd name="connsiteY63" fmla="*/ 0 h 168945"/>
                  <a:gd name="connsiteX64" fmla="*/ 72578 w 158187"/>
                  <a:gd name="connsiteY64" fmla="*/ 1061 h 168945"/>
                  <a:gd name="connsiteX65" fmla="*/ 72275 w 158187"/>
                  <a:gd name="connsiteY65" fmla="*/ 1818 h 168945"/>
                  <a:gd name="connsiteX66" fmla="*/ 71972 w 158187"/>
                  <a:gd name="connsiteY66" fmla="*/ 3636 h 168945"/>
                  <a:gd name="connsiteX67" fmla="*/ 71972 w 158187"/>
                  <a:gd name="connsiteY67" fmla="*/ 9849 h 168945"/>
                  <a:gd name="connsiteX68" fmla="*/ 71972 w 158187"/>
                  <a:gd name="connsiteY68" fmla="*/ 15152 h 168945"/>
                  <a:gd name="connsiteX69" fmla="*/ 71972 w 158187"/>
                  <a:gd name="connsiteY69" fmla="*/ 20910 h 168945"/>
                  <a:gd name="connsiteX70" fmla="*/ 71972 w 158187"/>
                  <a:gd name="connsiteY70" fmla="*/ 26971 h 168945"/>
                  <a:gd name="connsiteX71" fmla="*/ 72124 w 158187"/>
                  <a:gd name="connsiteY71" fmla="*/ 31971 h 168945"/>
                  <a:gd name="connsiteX72" fmla="*/ 72124 w 158187"/>
                  <a:gd name="connsiteY72" fmla="*/ 35304 h 168945"/>
                  <a:gd name="connsiteX73" fmla="*/ 66517 w 158187"/>
                  <a:gd name="connsiteY73" fmla="*/ 35304 h 168945"/>
                  <a:gd name="connsiteX74" fmla="*/ 59093 w 158187"/>
                  <a:gd name="connsiteY74" fmla="*/ 35304 h 168945"/>
                  <a:gd name="connsiteX75" fmla="*/ 51668 w 158187"/>
                  <a:gd name="connsiteY75" fmla="*/ 35304 h 168945"/>
                  <a:gd name="connsiteX76" fmla="*/ 44244 w 158187"/>
                  <a:gd name="connsiteY76" fmla="*/ 35304 h 168945"/>
                  <a:gd name="connsiteX77" fmla="*/ 40456 w 158187"/>
                  <a:gd name="connsiteY77" fmla="*/ 35304 h 168945"/>
                  <a:gd name="connsiteX78" fmla="*/ 36365 w 158187"/>
                  <a:gd name="connsiteY78" fmla="*/ 35153 h 168945"/>
                  <a:gd name="connsiteX79" fmla="*/ 35001 w 158187"/>
                  <a:gd name="connsiteY79" fmla="*/ 35456 h 168945"/>
                  <a:gd name="connsiteX80" fmla="*/ 34092 w 158187"/>
                  <a:gd name="connsiteY80" fmla="*/ 36213 h 168945"/>
                  <a:gd name="connsiteX81" fmla="*/ 33031 w 158187"/>
                  <a:gd name="connsiteY81" fmla="*/ 36365 h 168945"/>
                  <a:gd name="connsiteX82" fmla="*/ 31668 w 158187"/>
                  <a:gd name="connsiteY82" fmla="*/ 35759 h 168945"/>
                  <a:gd name="connsiteX83" fmla="*/ 30152 w 158187"/>
                  <a:gd name="connsiteY83" fmla="*/ 35304 h 168945"/>
                  <a:gd name="connsiteX84" fmla="*/ 29850 w 158187"/>
                  <a:gd name="connsiteY84" fmla="*/ 34698 h 168945"/>
                  <a:gd name="connsiteX85" fmla="*/ 28940 w 158187"/>
                  <a:gd name="connsiteY85" fmla="*/ 33335 h 168945"/>
                  <a:gd name="connsiteX86" fmla="*/ 27425 w 158187"/>
                  <a:gd name="connsiteY86" fmla="*/ 33183 h 168945"/>
                  <a:gd name="connsiteX87" fmla="*/ 26667 w 158187"/>
                  <a:gd name="connsiteY87" fmla="*/ 33335 h 168945"/>
                  <a:gd name="connsiteX88" fmla="*/ 25607 w 158187"/>
                  <a:gd name="connsiteY88" fmla="*/ 34092 h 168945"/>
                  <a:gd name="connsiteX89" fmla="*/ 24395 w 158187"/>
                  <a:gd name="connsiteY89" fmla="*/ 34395 h 168945"/>
                  <a:gd name="connsiteX90" fmla="*/ 23940 w 158187"/>
                  <a:gd name="connsiteY90" fmla="*/ 35607 h 168945"/>
                  <a:gd name="connsiteX91" fmla="*/ 25304 w 158187"/>
                  <a:gd name="connsiteY91" fmla="*/ 41365 h 168945"/>
                  <a:gd name="connsiteX92" fmla="*/ 25304 w 158187"/>
                  <a:gd name="connsiteY92" fmla="*/ 45305 h 168945"/>
                  <a:gd name="connsiteX93" fmla="*/ 25152 w 158187"/>
                  <a:gd name="connsiteY93" fmla="*/ 46820 h 168945"/>
                  <a:gd name="connsiteX94" fmla="*/ 24697 w 158187"/>
                  <a:gd name="connsiteY94" fmla="*/ 47123 h 168945"/>
                  <a:gd name="connsiteX95" fmla="*/ 23486 w 158187"/>
                  <a:gd name="connsiteY95" fmla="*/ 46365 h 168945"/>
                  <a:gd name="connsiteX96" fmla="*/ 22879 w 158187"/>
                  <a:gd name="connsiteY96" fmla="*/ 44547 h 168945"/>
                  <a:gd name="connsiteX97" fmla="*/ 21819 w 158187"/>
                  <a:gd name="connsiteY97" fmla="*/ 44395 h 168945"/>
                  <a:gd name="connsiteX98" fmla="*/ 17273 w 158187"/>
                  <a:gd name="connsiteY98" fmla="*/ 45911 h 168945"/>
                  <a:gd name="connsiteX99" fmla="*/ 17121 w 158187"/>
                  <a:gd name="connsiteY99" fmla="*/ 47426 h 168945"/>
                  <a:gd name="connsiteX100" fmla="*/ 19091 w 158187"/>
                  <a:gd name="connsiteY100" fmla="*/ 49244 h 168945"/>
                  <a:gd name="connsiteX101" fmla="*/ 21061 w 158187"/>
                  <a:gd name="connsiteY101" fmla="*/ 52729 h 168945"/>
                  <a:gd name="connsiteX102" fmla="*/ 23183 w 158187"/>
                  <a:gd name="connsiteY102" fmla="*/ 54396 h 168945"/>
                  <a:gd name="connsiteX103" fmla="*/ 29395 w 158187"/>
                  <a:gd name="connsiteY103" fmla="*/ 57275 h 168945"/>
                  <a:gd name="connsiteX104" fmla="*/ 34092 w 158187"/>
                  <a:gd name="connsiteY104" fmla="*/ 56517 h 168945"/>
                  <a:gd name="connsiteX105" fmla="*/ 35607 w 158187"/>
                  <a:gd name="connsiteY105" fmla="*/ 57275 h 168945"/>
                  <a:gd name="connsiteX106" fmla="*/ 30455 w 158187"/>
                  <a:gd name="connsiteY106" fmla="*/ 59093 h 168945"/>
                  <a:gd name="connsiteX107" fmla="*/ 30001 w 158187"/>
                  <a:gd name="connsiteY107" fmla="*/ 61366 h 168945"/>
                  <a:gd name="connsiteX108" fmla="*/ 28334 w 158187"/>
                  <a:gd name="connsiteY108" fmla="*/ 60154 h 168945"/>
                  <a:gd name="connsiteX109" fmla="*/ 23940 w 158187"/>
                  <a:gd name="connsiteY109" fmla="*/ 58487 h 168945"/>
                  <a:gd name="connsiteX110" fmla="*/ 21061 w 158187"/>
                  <a:gd name="connsiteY110" fmla="*/ 58184 h 168945"/>
                  <a:gd name="connsiteX111" fmla="*/ 19395 w 158187"/>
                  <a:gd name="connsiteY111" fmla="*/ 57123 h 168945"/>
                  <a:gd name="connsiteX112" fmla="*/ 18788 w 158187"/>
                  <a:gd name="connsiteY112" fmla="*/ 55760 h 168945"/>
                  <a:gd name="connsiteX113" fmla="*/ 18486 w 158187"/>
                  <a:gd name="connsiteY113" fmla="*/ 54093 h 168945"/>
                  <a:gd name="connsiteX114" fmla="*/ 17879 w 158187"/>
                  <a:gd name="connsiteY114" fmla="*/ 53184 h 168945"/>
                  <a:gd name="connsiteX115" fmla="*/ 16516 w 158187"/>
                  <a:gd name="connsiteY115" fmla="*/ 54699 h 168945"/>
                  <a:gd name="connsiteX116" fmla="*/ 17121 w 158187"/>
                  <a:gd name="connsiteY116" fmla="*/ 59396 h 168945"/>
                  <a:gd name="connsiteX117" fmla="*/ 17425 w 158187"/>
                  <a:gd name="connsiteY117" fmla="*/ 64093 h 168945"/>
                  <a:gd name="connsiteX118" fmla="*/ 16364 w 158187"/>
                  <a:gd name="connsiteY118" fmla="*/ 72124 h 168945"/>
                  <a:gd name="connsiteX119" fmla="*/ 11970 w 158187"/>
                  <a:gd name="connsiteY119" fmla="*/ 78033 h 168945"/>
                  <a:gd name="connsiteX120" fmla="*/ 10455 w 158187"/>
                  <a:gd name="connsiteY120" fmla="*/ 79548 h 168945"/>
                  <a:gd name="connsiteX121" fmla="*/ 9243 w 158187"/>
                  <a:gd name="connsiteY121" fmla="*/ 79851 h 168945"/>
                  <a:gd name="connsiteX122" fmla="*/ 8031 w 158187"/>
                  <a:gd name="connsiteY122" fmla="*/ 79700 h 168945"/>
                  <a:gd name="connsiteX123" fmla="*/ 6666 w 158187"/>
                  <a:gd name="connsiteY123" fmla="*/ 81215 h 168945"/>
                  <a:gd name="connsiteX124" fmla="*/ 3333 w 158187"/>
                  <a:gd name="connsiteY124" fmla="*/ 81821 h 168945"/>
                  <a:gd name="connsiteX125" fmla="*/ 1515 w 158187"/>
                  <a:gd name="connsiteY125" fmla="*/ 79245 h 168945"/>
                  <a:gd name="connsiteX126" fmla="*/ 0 w 158187"/>
                  <a:gd name="connsiteY126" fmla="*/ 78639 h 168945"/>
                  <a:gd name="connsiteX127" fmla="*/ 3939 w 158187"/>
                  <a:gd name="connsiteY127" fmla="*/ 87276 h 168945"/>
                  <a:gd name="connsiteX128" fmla="*/ 4848 w 158187"/>
                  <a:gd name="connsiteY128" fmla="*/ 88185 h 168945"/>
                  <a:gd name="connsiteX129" fmla="*/ 5757 w 158187"/>
                  <a:gd name="connsiteY129" fmla="*/ 90306 h 168945"/>
                  <a:gd name="connsiteX130" fmla="*/ 6666 w 158187"/>
                  <a:gd name="connsiteY130" fmla="*/ 91670 h 168945"/>
                  <a:gd name="connsiteX131" fmla="*/ 10000 w 158187"/>
                  <a:gd name="connsiteY131" fmla="*/ 97731 h 168945"/>
                  <a:gd name="connsiteX132" fmla="*/ 13788 w 158187"/>
                  <a:gd name="connsiteY132" fmla="*/ 100155 h 168945"/>
                  <a:gd name="connsiteX133" fmla="*/ 15303 w 158187"/>
                  <a:gd name="connsiteY133" fmla="*/ 99852 h 168945"/>
                  <a:gd name="connsiteX134" fmla="*/ 16364 w 158187"/>
                  <a:gd name="connsiteY134" fmla="*/ 99549 h 168945"/>
                  <a:gd name="connsiteX135" fmla="*/ 16970 w 158187"/>
                  <a:gd name="connsiteY135" fmla="*/ 98791 h 168945"/>
                  <a:gd name="connsiteX136" fmla="*/ 17728 w 158187"/>
                  <a:gd name="connsiteY136" fmla="*/ 98488 h 168945"/>
                  <a:gd name="connsiteX137" fmla="*/ 15909 w 158187"/>
                  <a:gd name="connsiteY137" fmla="*/ 102731 h 168945"/>
                  <a:gd name="connsiteX138" fmla="*/ 16364 w 158187"/>
                  <a:gd name="connsiteY138" fmla="*/ 103640 h 168945"/>
                  <a:gd name="connsiteX139" fmla="*/ 17273 w 158187"/>
                  <a:gd name="connsiteY139" fmla="*/ 104246 h 168945"/>
                  <a:gd name="connsiteX140" fmla="*/ 19091 w 158187"/>
                  <a:gd name="connsiteY140" fmla="*/ 104095 h 168945"/>
                  <a:gd name="connsiteX141" fmla="*/ 20455 w 158187"/>
                  <a:gd name="connsiteY141" fmla="*/ 103489 h 168945"/>
                  <a:gd name="connsiteX142" fmla="*/ 21970 w 158187"/>
                  <a:gd name="connsiteY142" fmla="*/ 104701 h 168945"/>
                  <a:gd name="connsiteX143" fmla="*/ 22576 w 158187"/>
                  <a:gd name="connsiteY143" fmla="*/ 105913 h 168945"/>
                  <a:gd name="connsiteX144" fmla="*/ 19243 w 158187"/>
                  <a:gd name="connsiteY144" fmla="*/ 106974 h 168945"/>
                  <a:gd name="connsiteX145" fmla="*/ 18031 w 158187"/>
                  <a:gd name="connsiteY145" fmla="*/ 106974 h 168945"/>
                  <a:gd name="connsiteX146" fmla="*/ 16970 w 158187"/>
                  <a:gd name="connsiteY146" fmla="*/ 106822 h 168945"/>
                  <a:gd name="connsiteX147" fmla="*/ 9243 w 158187"/>
                  <a:gd name="connsiteY147" fmla="*/ 98034 h 168945"/>
                  <a:gd name="connsiteX148" fmla="*/ 9697 w 158187"/>
                  <a:gd name="connsiteY148" fmla="*/ 100004 h 168945"/>
                  <a:gd name="connsiteX149" fmla="*/ 12576 w 158187"/>
                  <a:gd name="connsiteY149" fmla="*/ 104095 h 168945"/>
                  <a:gd name="connsiteX150" fmla="*/ 15303 w 158187"/>
                  <a:gd name="connsiteY150" fmla="*/ 109398 h 168945"/>
                  <a:gd name="connsiteX151" fmla="*/ 15000 w 158187"/>
                  <a:gd name="connsiteY151" fmla="*/ 110913 h 168945"/>
                  <a:gd name="connsiteX152" fmla="*/ 15455 w 158187"/>
                  <a:gd name="connsiteY152" fmla="*/ 112125 h 168945"/>
                  <a:gd name="connsiteX153" fmla="*/ 17576 w 158187"/>
                  <a:gd name="connsiteY153" fmla="*/ 112277 h 168945"/>
                  <a:gd name="connsiteX154" fmla="*/ 21364 w 158187"/>
                  <a:gd name="connsiteY154" fmla="*/ 113943 h 168945"/>
                  <a:gd name="connsiteX155" fmla="*/ 21819 w 158187"/>
                  <a:gd name="connsiteY155" fmla="*/ 115156 h 168945"/>
                  <a:gd name="connsiteX156" fmla="*/ 21364 w 158187"/>
                  <a:gd name="connsiteY156" fmla="*/ 115913 h 168945"/>
                  <a:gd name="connsiteX157" fmla="*/ 17576 w 158187"/>
                  <a:gd name="connsiteY157" fmla="*/ 113943 h 168945"/>
                  <a:gd name="connsiteX158" fmla="*/ 16364 w 158187"/>
                  <a:gd name="connsiteY158" fmla="*/ 114246 h 168945"/>
                  <a:gd name="connsiteX159" fmla="*/ 18334 w 158187"/>
                  <a:gd name="connsiteY159" fmla="*/ 116216 h 168945"/>
                  <a:gd name="connsiteX160" fmla="*/ 19243 w 158187"/>
                  <a:gd name="connsiteY160" fmla="*/ 117580 h 168945"/>
                  <a:gd name="connsiteX161" fmla="*/ 22728 w 158187"/>
                  <a:gd name="connsiteY161" fmla="*/ 121368 h 168945"/>
                  <a:gd name="connsiteX162" fmla="*/ 23940 w 158187"/>
                  <a:gd name="connsiteY162" fmla="*/ 123186 h 168945"/>
                  <a:gd name="connsiteX163" fmla="*/ 24395 w 158187"/>
                  <a:gd name="connsiteY163" fmla="*/ 124853 h 168945"/>
                  <a:gd name="connsiteX164" fmla="*/ 25304 w 158187"/>
                  <a:gd name="connsiteY164" fmla="*/ 126823 h 168945"/>
                  <a:gd name="connsiteX165" fmla="*/ 26667 w 158187"/>
                  <a:gd name="connsiteY165" fmla="*/ 128186 h 168945"/>
                  <a:gd name="connsiteX166" fmla="*/ 29243 w 158187"/>
                  <a:gd name="connsiteY166" fmla="*/ 128035 h 168945"/>
                  <a:gd name="connsiteX167" fmla="*/ 31819 w 158187"/>
                  <a:gd name="connsiteY167" fmla="*/ 128944 h 168945"/>
                  <a:gd name="connsiteX168" fmla="*/ 34395 w 158187"/>
                  <a:gd name="connsiteY168" fmla="*/ 130156 h 168945"/>
                  <a:gd name="connsiteX169" fmla="*/ 37274 w 158187"/>
                  <a:gd name="connsiteY169" fmla="*/ 131823 h 168945"/>
                  <a:gd name="connsiteX170" fmla="*/ 36516 w 158187"/>
                  <a:gd name="connsiteY170" fmla="*/ 132581 h 168945"/>
                  <a:gd name="connsiteX171" fmla="*/ 35607 w 158187"/>
                  <a:gd name="connsiteY171" fmla="*/ 132883 h 168945"/>
                  <a:gd name="connsiteX172" fmla="*/ 29092 w 158187"/>
                  <a:gd name="connsiteY172" fmla="*/ 129702 h 168945"/>
                  <a:gd name="connsiteX173" fmla="*/ 27880 w 158187"/>
                  <a:gd name="connsiteY173" fmla="*/ 129550 h 168945"/>
                  <a:gd name="connsiteX174" fmla="*/ 28940 w 158187"/>
                  <a:gd name="connsiteY174" fmla="*/ 130914 h 168945"/>
                  <a:gd name="connsiteX175" fmla="*/ 35759 w 158187"/>
                  <a:gd name="connsiteY175" fmla="*/ 137278 h 168945"/>
                  <a:gd name="connsiteX176" fmla="*/ 45002 w 158187"/>
                  <a:gd name="connsiteY176" fmla="*/ 144399 h 168945"/>
                  <a:gd name="connsiteX177" fmla="*/ 51517 w 158187"/>
                  <a:gd name="connsiteY177" fmla="*/ 151672 h 168945"/>
                  <a:gd name="connsiteX178" fmla="*/ 53032 w 158187"/>
                  <a:gd name="connsiteY178" fmla="*/ 154854 h 168945"/>
                  <a:gd name="connsiteX179" fmla="*/ 58790 w 158187"/>
                  <a:gd name="connsiteY179" fmla="*/ 159400 h 168945"/>
                  <a:gd name="connsiteX180" fmla="*/ 61517 w 158187"/>
                  <a:gd name="connsiteY180" fmla="*/ 162127 h 168945"/>
                  <a:gd name="connsiteX181" fmla="*/ 63790 w 158187"/>
                  <a:gd name="connsiteY181" fmla="*/ 166521 h 168945"/>
                  <a:gd name="connsiteX182" fmla="*/ 66517 w 158187"/>
                  <a:gd name="connsiteY182" fmla="*/ 168945 h 168945"/>
                  <a:gd name="connsiteX183" fmla="*/ 68184 w 158187"/>
                  <a:gd name="connsiteY183" fmla="*/ 164854 h 168945"/>
                  <a:gd name="connsiteX184" fmla="*/ 69396 w 158187"/>
                  <a:gd name="connsiteY184" fmla="*/ 162885 h 168945"/>
                  <a:gd name="connsiteX185" fmla="*/ 70760 w 158187"/>
                  <a:gd name="connsiteY185" fmla="*/ 161521 h 168945"/>
                  <a:gd name="connsiteX186" fmla="*/ 76669 w 158187"/>
                  <a:gd name="connsiteY186" fmla="*/ 158187 h 168945"/>
                  <a:gd name="connsiteX187" fmla="*/ 77579 w 158187"/>
                  <a:gd name="connsiteY187" fmla="*/ 158339 h 168945"/>
                  <a:gd name="connsiteX188" fmla="*/ 81669 w 158187"/>
                  <a:gd name="connsiteY188" fmla="*/ 162582 h 168945"/>
                  <a:gd name="connsiteX189" fmla="*/ 83033 w 158187"/>
                  <a:gd name="connsiteY189" fmla="*/ 162885 h 168945"/>
                  <a:gd name="connsiteX190" fmla="*/ 84397 w 158187"/>
                  <a:gd name="connsiteY190" fmla="*/ 162885 h 168945"/>
                  <a:gd name="connsiteX191" fmla="*/ 86215 w 158187"/>
                  <a:gd name="connsiteY191" fmla="*/ 163036 h 168945"/>
                  <a:gd name="connsiteX192" fmla="*/ 86973 w 158187"/>
                  <a:gd name="connsiteY192" fmla="*/ 162127 h 168945"/>
                  <a:gd name="connsiteX193" fmla="*/ 87124 w 158187"/>
                  <a:gd name="connsiteY193" fmla="*/ 161066 h 168945"/>
                  <a:gd name="connsiteX194" fmla="*/ 85912 w 158187"/>
                  <a:gd name="connsiteY194" fmla="*/ 159854 h 168945"/>
                  <a:gd name="connsiteX195" fmla="*/ 85760 w 158187"/>
                  <a:gd name="connsiteY195" fmla="*/ 158491 h 168945"/>
                  <a:gd name="connsiteX196" fmla="*/ 86518 w 158187"/>
                  <a:gd name="connsiteY196" fmla="*/ 157127 h 168945"/>
                  <a:gd name="connsiteX197" fmla="*/ 87124 w 158187"/>
                  <a:gd name="connsiteY197" fmla="*/ 155460 h 168945"/>
                  <a:gd name="connsiteX198" fmla="*/ 88336 w 158187"/>
                  <a:gd name="connsiteY198" fmla="*/ 153642 h 168945"/>
                  <a:gd name="connsiteX199" fmla="*/ 88488 w 158187"/>
                  <a:gd name="connsiteY199" fmla="*/ 152733 h 168945"/>
                  <a:gd name="connsiteX200" fmla="*/ 87124 w 158187"/>
                  <a:gd name="connsiteY200" fmla="*/ 151824 h 168945"/>
                  <a:gd name="connsiteX201" fmla="*/ 84397 w 158187"/>
                  <a:gd name="connsiteY201" fmla="*/ 150308 h 168945"/>
                  <a:gd name="connsiteX202" fmla="*/ 82427 w 158187"/>
                  <a:gd name="connsiteY202" fmla="*/ 148945 h 168945"/>
                  <a:gd name="connsiteX203" fmla="*/ 81821 w 158187"/>
                  <a:gd name="connsiteY203" fmla="*/ 147581 h 168945"/>
                  <a:gd name="connsiteX204" fmla="*/ 82276 w 158187"/>
                  <a:gd name="connsiteY204" fmla="*/ 145763 h 168945"/>
                  <a:gd name="connsiteX205" fmla="*/ 83791 w 158187"/>
                  <a:gd name="connsiteY205" fmla="*/ 144399 h 168945"/>
                  <a:gd name="connsiteX206" fmla="*/ 83791 w 158187"/>
                  <a:gd name="connsiteY206" fmla="*/ 143642 h 168945"/>
                  <a:gd name="connsiteX207" fmla="*/ 82427 w 158187"/>
                  <a:gd name="connsiteY207" fmla="*/ 142278 h 168945"/>
                  <a:gd name="connsiteX208" fmla="*/ 81367 w 158187"/>
                  <a:gd name="connsiteY208" fmla="*/ 140914 h 168945"/>
                  <a:gd name="connsiteX209" fmla="*/ 80457 w 158187"/>
                  <a:gd name="connsiteY209" fmla="*/ 140157 h 168945"/>
                  <a:gd name="connsiteX210" fmla="*/ 77579 w 158187"/>
                  <a:gd name="connsiteY210" fmla="*/ 139550 h 168945"/>
                  <a:gd name="connsiteX211" fmla="*/ 78184 w 158187"/>
                  <a:gd name="connsiteY211" fmla="*/ 137732 h 168945"/>
                  <a:gd name="connsiteX212" fmla="*/ 79245 w 158187"/>
                  <a:gd name="connsiteY212" fmla="*/ 135156 h 168945"/>
                  <a:gd name="connsiteX213" fmla="*/ 79397 w 158187"/>
                  <a:gd name="connsiteY213" fmla="*/ 133035 h 168945"/>
                  <a:gd name="connsiteX214" fmla="*/ 78639 w 158187"/>
                  <a:gd name="connsiteY214" fmla="*/ 127732 h 168945"/>
                  <a:gd name="connsiteX215" fmla="*/ 78791 w 158187"/>
                  <a:gd name="connsiteY215" fmla="*/ 126671 h 168945"/>
                  <a:gd name="connsiteX216" fmla="*/ 79548 w 158187"/>
                  <a:gd name="connsiteY216" fmla="*/ 126217 h 168945"/>
                  <a:gd name="connsiteX217" fmla="*/ 81063 w 158187"/>
                  <a:gd name="connsiteY217" fmla="*/ 126823 h 168945"/>
                  <a:gd name="connsiteX218" fmla="*/ 82730 w 158187"/>
                  <a:gd name="connsiteY218" fmla="*/ 127580 h 168945"/>
                  <a:gd name="connsiteX219" fmla="*/ 87276 w 158187"/>
                  <a:gd name="connsiteY219" fmla="*/ 126368 h 168945"/>
                  <a:gd name="connsiteX220" fmla="*/ 88943 w 158187"/>
                  <a:gd name="connsiteY220" fmla="*/ 126217 h 168945"/>
                  <a:gd name="connsiteX221" fmla="*/ 90306 w 158187"/>
                  <a:gd name="connsiteY221" fmla="*/ 127277 h 168945"/>
                  <a:gd name="connsiteX222" fmla="*/ 91973 w 158187"/>
                  <a:gd name="connsiteY222" fmla="*/ 128035 h 168945"/>
                  <a:gd name="connsiteX223" fmla="*/ 102428 w 158187"/>
                  <a:gd name="connsiteY223" fmla="*/ 125914 h 168945"/>
                  <a:gd name="connsiteX224" fmla="*/ 102731 w 158187"/>
                  <a:gd name="connsiteY224" fmla="*/ 123489 h 168945"/>
                  <a:gd name="connsiteX225" fmla="*/ 103337 w 158187"/>
                  <a:gd name="connsiteY225" fmla="*/ 121519 h 168945"/>
                  <a:gd name="connsiteX226" fmla="*/ 103337 w 158187"/>
                  <a:gd name="connsiteY226" fmla="*/ 119853 h 168945"/>
                  <a:gd name="connsiteX227" fmla="*/ 102882 w 158187"/>
                  <a:gd name="connsiteY227" fmla="*/ 118944 h 168945"/>
                  <a:gd name="connsiteX228" fmla="*/ 102428 w 158187"/>
                  <a:gd name="connsiteY228" fmla="*/ 118186 h 168945"/>
                  <a:gd name="connsiteX229" fmla="*/ 102125 w 158187"/>
                  <a:gd name="connsiteY229" fmla="*/ 116671 h 168945"/>
                  <a:gd name="connsiteX230" fmla="*/ 102125 w 158187"/>
                  <a:gd name="connsiteY230" fmla="*/ 115004 h 168945"/>
                  <a:gd name="connsiteX231" fmla="*/ 103034 w 158187"/>
                  <a:gd name="connsiteY231" fmla="*/ 114095 h 168945"/>
                  <a:gd name="connsiteX232" fmla="*/ 106367 w 158187"/>
                  <a:gd name="connsiteY232" fmla="*/ 112125 h 168945"/>
                  <a:gd name="connsiteX233" fmla="*/ 107428 w 158187"/>
                  <a:gd name="connsiteY233" fmla="*/ 112277 h 168945"/>
                  <a:gd name="connsiteX234" fmla="*/ 109853 w 158187"/>
                  <a:gd name="connsiteY234" fmla="*/ 113337 h 168945"/>
                  <a:gd name="connsiteX235" fmla="*/ 111974 w 158187"/>
                  <a:gd name="connsiteY235" fmla="*/ 115004 h 168945"/>
                  <a:gd name="connsiteX236" fmla="*/ 113943 w 158187"/>
                  <a:gd name="connsiteY236" fmla="*/ 118641 h 168945"/>
                  <a:gd name="connsiteX237" fmla="*/ 115307 w 158187"/>
                  <a:gd name="connsiteY237" fmla="*/ 121671 h 168945"/>
                  <a:gd name="connsiteX238" fmla="*/ 117429 w 158187"/>
                  <a:gd name="connsiteY238" fmla="*/ 125459 h 168945"/>
                  <a:gd name="connsiteX239" fmla="*/ 121974 w 158187"/>
                  <a:gd name="connsiteY239" fmla="*/ 126974 h 168945"/>
                  <a:gd name="connsiteX240" fmla="*/ 127429 w 158187"/>
                  <a:gd name="connsiteY240" fmla="*/ 127883 h 168945"/>
                  <a:gd name="connsiteX241" fmla="*/ 130307 w 158187"/>
                  <a:gd name="connsiteY241" fmla="*/ 127580 h 168945"/>
                  <a:gd name="connsiteX242" fmla="*/ 134550 w 158187"/>
                  <a:gd name="connsiteY242" fmla="*/ 124398 h 168945"/>
                  <a:gd name="connsiteX243" fmla="*/ 136974 w 158187"/>
                  <a:gd name="connsiteY243" fmla="*/ 121974 h 168945"/>
                  <a:gd name="connsiteX244" fmla="*/ 137732 w 158187"/>
                  <a:gd name="connsiteY244" fmla="*/ 120610 h 168945"/>
                  <a:gd name="connsiteX245" fmla="*/ 139096 w 158187"/>
                  <a:gd name="connsiteY245" fmla="*/ 121368 h 168945"/>
                  <a:gd name="connsiteX246" fmla="*/ 140611 w 158187"/>
                  <a:gd name="connsiteY246" fmla="*/ 124550 h 168945"/>
                  <a:gd name="connsiteX247" fmla="*/ 141672 w 158187"/>
                  <a:gd name="connsiteY247" fmla="*/ 125914 h 168945"/>
                  <a:gd name="connsiteX248" fmla="*/ 141975 w 158187"/>
                  <a:gd name="connsiteY248" fmla="*/ 127126 h 168945"/>
                  <a:gd name="connsiteX249" fmla="*/ 141217 w 158187"/>
                  <a:gd name="connsiteY249" fmla="*/ 128489 h 168945"/>
                  <a:gd name="connsiteX250" fmla="*/ 141975 w 158187"/>
                  <a:gd name="connsiteY250" fmla="*/ 129550 h 168945"/>
                  <a:gd name="connsiteX251" fmla="*/ 144854 w 158187"/>
                  <a:gd name="connsiteY251" fmla="*/ 130156 h 168945"/>
                  <a:gd name="connsiteX252" fmla="*/ 147429 w 158187"/>
                  <a:gd name="connsiteY252" fmla="*/ 129550 h 168945"/>
                  <a:gd name="connsiteX253" fmla="*/ 148490 w 158187"/>
                  <a:gd name="connsiteY253" fmla="*/ 128186 h 168945"/>
                  <a:gd name="connsiteX254" fmla="*/ 150460 w 158187"/>
                  <a:gd name="connsiteY254" fmla="*/ 126520 h 168945"/>
                  <a:gd name="connsiteX255" fmla="*/ 150460 w 158187"/>
                  <a:gd name="connsiteY255" fmla="*/ 125005 h 168945"/>
                  <a:gd name="connsiteX256" fmla="*/ 149399 w 158187"/>
                  <a:gd name="connsiteY256" fmla="*/ 124095 h 168945"/>
                  <a:gd name="connsiteX257" fmla="*/ 149399 w 158187"/>
                  <a:gd name="connsiteY257" fmla="*/ 122732 h 168945"/>
                  <a:gd name="connsiteX258" fmla="*/ 150460 w 158187"/>
                  <a:gd name="connsiteY258" fmla="*/ 121823 h 168945"/>
                  <a:gd name="connsiteX259" fmla="*/ 151521 w 158187"/>
                  <a:gd name="connsiteY259" fmla="*/ 118944 h 168945"/>
                  <a:gd name="connsiteX260" fmla="*/ 151824 w 158187"/>
                  <a:gd name="connsiteY260" fmla="*/ 116974 h 168945"/>
                  <a:gd name="connsiteX261" fmla="*/ 152884 w 158187"/>
                  <a:gd name="connsiteY261" fmla="*/ 115610 h 168945"/>
                  <a:gd name="connsiteX262" fmla="*/ 154854 w 158187"/>
                  <a:gd name="connsiteY262" fmla="*/ 114701 h 168945"/>
                  <a:gd name="connsiteX263" fmla="*/ 155460 w 158187"/>
                  <a:gd name="connsiteY263" fmla="*/ 113943 h 168945"/>
                  <a:gd name="connsiteX264" fmla="*/ 156521 w 158187"/>
                  <a:gd name="connsiteY264" fmla="*/ 109095 h 168945"/>
                  <a:gd name="connsiteX265" fmla="*/ 156066 w 158187"/>
                  <a:gd name="connsiteY265" fmla="*/ 107277 h 168945"/>
                  <a:gd name="connsiteX266" fmla="*/ 156066 w 158187"/>
                  <a:gd name="connsiteY266" fmla="*/ 105761 h 168945"/>
                  <a:gd name="connsiteX267" fmla="*/ 157278 w 158187"/>
                  <a:gd name="connsiteY267" fmla="*/ 103943 h 168945"/>
                  <a:gd name="connsiteX268" fmla="*/ 157430 w 158187"/>
                  <a:gd name="connsiteY268" fmla="*/ 100913 h 168945"/>
                  <a:gd name="connsiteX269" fmla="*/ 156975 w 158187"/>
                  <a:gd name="connsiteY269" fmla="*/ 95913 h 16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58187" h="168945">
                    <a:moveTo>
                      <a:pt x="156672" y="92579"/>
                    </a:moveTo>
                    <a:lnTo>
                      <a:pt x="156218" y="88943"/>
                    </a:lnTo>
                    <a:lnTo>
                      <a:pt x="157127" y="84245"/>
                    </a:lnTo>
                    <a:lnTo>
                      <a:pt x="158187" y="79245"/>
                    </a:lnTo>
                    <a:lnTo>
                      <a:pt x="158036" y="78033"/>
                    </a:lnTo>
                    <a:lnTo>
                      <a:pt x="156672" y="76669"/>
                    </a:lnTo>
                    <a:lnTo>
                      <a:pt x="155005" y="75306"/>
                    </a:lnTo>
                    <a:lnTo>
                      <a:pt x="150611" y="74094"/>
                    </a:lnTo>
                    <a:lnTo>
                      <a:pt x="149096" y="72275"/>
                    </a:lnTo>
                    <a:lnTo>
                      <a:pt x="147884" y="70457"/>
                    </a:lnTo>
                    <a:lnTo>
                      <a:pt x="146975" y="69851"/>
                    </a:lnTo>
                    <a:lnTo>
                      <a:pt x="142278" y="69093"/>
                    </a:lnTo>
                    <a:lnTo>
                      <a:pt x="141217" y="68033"/>
                    </a:lnTo>
                    <a:lnTo>
                      <a:pt x="141520" y="65002"/>
                    </a:lnTo>
                    <a:lnTo>
                      <a:pt x="141975" y="60457"/>
                    </a:lnTo>
                    <a:lnTo>
                      <a:pt x="141823" y="57275"/>
                    </a:lnTo>
                    <a:lnTo>
                      <a:pt x="142732" y="54850"/>
                    </a:lnTo>
                    <a:lnTo>
                      <a:pt x="143641" y="52881"/>
                    </a:lnTo>
                    <a:lnTo>
                      <a:pt x="145763" y="50911"/>
                    </a:lnTo>
                    <a:lnTo>
                      <a:pt x="146823" y="48487"/>
                    </a:lnTo>
                    <a:lnTo>
                      <a:pt x="147429" y="47880"/>
                    </a:lnTo>
                    <a:lnTo>
                      <a:pt x="151369" y="47577"/>
                    </a:lnTo>
                    <a:lnTo>
                      <a:pt x="152733" y="46517"/>
                    </a:lnTo>
                    <a:lnTo>
                      <a:pt x="153945" y="45608"/>
                    </a:lnTo>
                    <a:lnTo>
                      <a:pt x="154399" y="44244"/>
                    </a:lnTo>
                    <a:lnTo>
                      <a:pt x="155763" y="41971"/>
                    </a:lnTo>
                    <a:lnTo>
                      <a:pt x="156824" y="40456"/>
                    </a:lnTo>
                    <a:lnTo>
                      <a:pt x="156975" y="39395"/>
                    </a:lnTo>
                    <a:lnTo>
                      <a:pt x="156824" y="38032"/>
                    </a:lnTo>
                    <a:lnTo>
                      <a:pt x="155612" y="35153"/>
                    </a:lnTo>
                    <a:lnTo>
                      <a:pt x="154096" y="32880"/>
                    </a:lnTo>
                    <a:lnTo>
                      <a:pt x="153339" y="31971"/>
                    </a:lnTo>
                    <a:lnTo>
                      <a:pt x="151521" y="26516"/>
                    </a:lnTo>
                    <a:lnTo>
                      <a:pt x="150005" y="25304"/>
                    </a:lnTo>
                    <a:lnTo>
                      <a:pt x="146823" y="24546"/>
                    </a:lnTo>
                    <a:lnTo>
                      <a:pt x="140914" y="23940"/>
                    </a:lnTo>
                    <a:lnTo>
                      <a:pt x="137429" y="25001"/>
                    </a:lnTo>
                    <a:lnTo>
                      <a:pt x="131974" y="26819"/>
                    </a:lnTo>
                    <a:lnTo>
                      <a:pt x="127883" y="28031"/>
                    </a:lnTo>
                    <a:lnTo>
                      <a:pt x="125156" y="28789"/>
                    </a:lnTo>
                    <a:lnTo>
                      <a:pt x="123489" y="28637"/>
                    </a:lnTo>
                    <a:lnTo>
                      <a:pt x="122883" y="27728"/>
                    </a:lnTo>
                    <a:lnTo>
                      <a:pt x="123944" y="26971"/>
                    </a:lnTo>
                    <a:lnTo>
                      <a:pt x="124398" y="25304"/>
                    </a:lnTo>
                    <a:lnTo>
                      <a:pt x="123792" y="23031"/>
                    </a:lnTo>
                    <a:lnTo>
                      <a:pt x="122731" y="20758"/>
                    </a:lnTo>
                    <a:lnTo>
                      <a:pt x="122126" y="17728"/>
                    </a:lnTo>
                    <a:lnTo>
                      <a:pt x="122277" y="13940"/>
                    </a:lnTo>
                    <a:lnTo>
                      <a:pt x="123338" y="10303"/>
                    </a:lnTo>
                    <a:lnTo>
                      <a:pt x="125610" y="5606"/>
                    </a:lnTo>
                    <a:lnTo>
                      <a:pt x="125610" y="3788"/>
                    </a:lnTo>
                    <a:lnTo>
                      <a:pt x="125005" y="2121"/>
                    </a:lnTo>
                    <a:lnTo>
                      <a:pt x="123641" y="1212"/>
                    </a:lnTo>
                    <a:lnTo>
                      <a:pt x="121217" y="1061"/>
                    </a:lnTo>
                    <a:lnTo>
                      <a:pt x="113943" y="1364"/>
                    </a:lnTo>
                    <a:lnTo>
                      <a:pt x="108488" y="1212"/>
                    </a:lnTo>
                    <a:lnTo>
                      <a:pt x="106670" y="909"/>
                    </a:lnTo>
                    <a:lnTo>
                      <a:pt x="104700" y="455"/>
                    </a:lnTo>
                    <a:lnTo>
                      <a:pt x="100155" y="151"/>
                    </a:lnTo>
                    <a:lnTo>
                      <a:pt x="94549" y="455"/>
                    </a:lnTo>
                    <a:lnTo>
                      <a:pt x="93185" y="303"/>
                    </a:lnTo>
                    <a:lnTo>
                      <a:pt x="88639" y="455"/>
                    </a:lnTo>
                    <a:lnTo>
                      <a:pt x="78184" y="0"/>
                    </a:lnTo>
                    <a:lnTo>
                      <a:pt x="72427" y="0"/>
                    </a:lnTo>
                    <a:lnTo>
                      <a:pt x="72578" y="1061"/>
                    </a:lnTo>
                    <a:lnTo>
                      <a:pt x="72275" y="1818"/>
                    </a:lnTo>
                    <a:lnTo>
                      <a:pt x="71972" y="3636"/>
                    </a:lnTo>
                    <a:lnTo>
                      <a:pt x="71972" y="9849"/>
                    </a:lnTo>
                    <a:lnTo>
                      <a:pt x="71972" y="15152"/>
                    </a:lnTo>
                    <a:lnTo>
                      <a:pt x="71972" y="20910"/>
                    </a:lnTo>
                    <a:lnTo>
                      <a:pt x="71972" y="26971"/>
                    </a:lnTo>
                    <a:lnTo>
                      <a:pt x="72124" y="31971"/>
                    </a:lnTo>
                    <a:lnTo>
                      <a:pt x="72124" y="35304"/>
                    </a:lnTo>
                    <a:lnTo>
                      <a:pt x="66517" y="35304"/>
                    </a:lnTo>
                    <a:lnTo>
                      <a:pt x="59093" y="35304"/>
                    </a:lnTo>
                    <a:lnTo>
                      <a:pt x="51668" y="35304"/>
                    </a:lnTo>
                    <a:lnTo>
                      <a:pt x="44244" y="35304"/>
                    </a:lnTo>
                    <a:lnTo>
                      <a:pt x="40456" y="35304"/>
                    </a:lnTo>
                    <a:lnTo>
                      <a:pt x="36365" y="35153"/>
                    </a:lnTo>
                    <a:lnTo>
                      <a:pt x="35001" y="35456"/>
                    </a:lnTo>
                    <a:lnTo>
                      <a:pt x="34092" y="36213"/>
                    </a:lnTo>
                    <a:lnTo>
                      <a:pt x="33031" y="36365"/>
                    </a:lnTo>
                    <a:lnTo>
                      <a:pt x="31668" y="35759"/>
                    </a:lnTo>
                    <a:lnTo>
                      <a:pt x="30152" y="35304"/>
                    </a:lnTo>
                    <a:lnTo>
                      <a:pt x="29850" y="34698"/>
                    </a:lnTo>
                    <a:lnTo>
                      <a:pt x="28940" y="33335"/>
                    </a:lnTo>
                    <a:lnTo>
                      <a:pt x="27425" y="33183"/>
                    </a:lnTo>
                    <a:lnTo>
                      <a:pt x="26667" y="33335"/>
                    </a:lnTo>
                    <a:lnTo>
                      <a:pt x="25607" y="34092"/>
                    </a:lnTo>
                    <a:lnTo>
                      <a:pt x="24395" y="34395"/>
                    </a:lnTo>
                    <a:lnTo>
                      <a:pt x="23940" y="35607"/>
                    </a:lnTo>
                    <a:lnTo>
                      <a:pt x="25304" y="41365"/>
                    </a:lnTo>
                    <a:lnTo>
                      <a:pt x="25304" y="45305"/>
                    </a:lnTo>
                    <a:lnTo>
                      <a:pt x="25152" y="46820"/>
                    </a:lnTo>
                    <a:lnTo>
                      <a:pt x="24697" y="47123"/>
                    </a:lnTo>
                    <a:lnTo>
                      <a:pt x="23486" y="46365"/>
                    </a:lnTo>
                    <a:lnTo>
                      <a:pt x="22879" y="44547"/>
                    </a:lnTo>
                    <a:lnTo>
                      <a:pt x="21819" y="44395"/>
                    </a:lnTo>
                    <a:lnTo>
                      <a:pt x="17273" y="45911"/>
                    </a:lnTo>
                    <a:lnTo>
                      <a:pt x="17121" y="47426"/>
                    </a:lnTo>
                    <a:lnTo>
                      <a:pt x="19091" y="49244"/>
                    </a:lnTo>
                    <a:lnTo>
                      <a:pt x="21061" y="52729"/>
                    </a:lnTo>
                    <a:lnTo>
                      <a:pt x="23183" y="54396"/>
                    </a:lnTo>
                    <a:lnTo>
                      <a:pt x="29395" y="57275"/>
                    </a:lnTo>
                    <a:lnTo>
                      <a:pt x="34092" y="56517"/>
                    </a:lnTo>
                    <a:lnTo>
                      <a:pt x="35607" y="57275"/>
                    </a:lnTo>
                    <a:lnTo>
                      <a:pt x="30455" y="59093"/>
                    </a:lnTo>
                    <a:lnTo>
                      <a:pt x="30001" y="61366"/>
                    </a:lnTo>
                    <a:lnTo>
                      <a:pt x="28334" y="60154"/>
                    </a:lnTo>
                    <a:lnTo>
                      <a:pt x="23940" y="58487"/>
                    </a:lnTo>
                    <a:lnTo>
                      <a:pt x="21061" y="58184"/>
                    </a:lnTo>
                    <a:lnTo>
                      <a:pt x="19395" y="57123"/>
                    </a:lnTo>
                    <a:lnTo>
                      <a:pt x="18788" y="55760"/>
                    </a:lnTo>
                    <a:lnTo>
                      <a:pt x="18486" y="54093"/>
                    </a:lnTo>
                    <a:lnTo>
                      <a:pt x="17879" y="53184"/>
                    </a:lnTo>
                    <a:lnTo>
                      <a:pt x="16516" y="54699"/>
                    </a:lnTo>
                    <a:lnTo>
                      <a:pt x="17121" y="59396"/>
                    </a:lnTo>
                    <a:lnTo>
                      <a:pt x="17425" y="64093"/>
                    </a:lnTo>
                    <a:lnTo>
                      <a:pt x="16364" y="72124"/>
                    </a:lnTo>
                    <a:lnTo>
                      <a:pt x="11970" y="78033"/>
                    </a:lnTo>
                    <a:lnTo>
                      <a:pt x="10455" y="79548"/>
                    </a:lnTo>
                    <a:lnTo>
                      <a:pt x="9243" y="79851"/>
                    </a:lnTo>
                    <a:lnTo>
                      <a:pt x="8031" y="79700"/>
                    </a:lnTo>
                    <a:lnTo>
                      <a:pt x="6666" y="81215"/>
                    </a:lnTo>
                    <a:lnTo>
                      <a:pt x="3333" y="81821"/>
                    </a:lnTo>
                    <a:lnTo>
                      <a:pt x="1515" y="79245"/>
                    </a:lnTo>
                    <a:lnTo>
                      <a:pt x="0" y="78639"/>
                    </a:lnTo>
                    <a:lnTo>
                      <a:pt x="3939" y="87276"/>
                    </a:lnTo>
                    <a:lnTo>
                      <a:pt x="4848" y="88185"/>
                    </a:lnTo>
                    <a:lnTo>
                      <a:pt x="5757" y="90306"/>
                    </a:lnTo>
                    <a:lnTo>
                      <a:pt x="6666" y="91670"/>
                    </a:lnTo>
                    <a:lnTo>
                      <a:pt x="10000" y="97731"/>
                    </a:lnTo>
                    <a:lnTo>
                      <a:pt x="13788" y="100155"/>
                    </a:lnTo>
                    <a:lnTo>
                      <a:pt x="15303" y="99852"/>
                    </a:lnTo>
                    <a:lnTo>
                      <a:pt x="16364" y="99549"/>
                    </a:lnTo>
                    <a:lnTo>
                      <a:pt x="16970" y="98791"/>
                    </a:lnTo>
                    <a:lnTo>
                      <a:pt x="17728" y="98488"/>
                    </a:lnTo>
                    <a:lnTo>
                      <a:pt x="15909" y="102731"/>
                    </a:lnTo>
                    <a:lnTo>
                      <a:pt x="16364" y="103640"/>
                    </a:lnTo>
                    <a:lnTo>
                      <a:pt x="17273" y="104246"/>
                    </a:lnTo>
                    <a:lnTo>
                      <a:pt x="19091" y="104095"/>
                    </a:lnTo>
                    <a:lnTo>
                      <a:pt x="20455" y="103489"/>
                    </a:lnTo>
                    <a:lnTo>
                      <a:pt x="21970" y="104701"/>
                    </a:lnTo>
                    <a:lnTo>
                      <a:pt x="22576" y="105913"/>
                    </a:lnTo>
                    <a:lnTo>
                      <a:pt x="19243" y="106974"/>
                    </a:lnTo>
                    <a:lnTo>
                      <a:pt x="18031" y="106974"/>
                    </a:lnTo>
                    <a:lnTo>
                      <a:pt x="16970" y="106822"/>
                    </a:lnTo>
                    <a:lnTo>
                      <a:pt x="9243" y="98034"/>
                    </a:lnTo>
                    <a:lnTo>
                      <a:pt x="9697" y="100004"/>
                    </a:lnTo>
                    <a:lnTo>
                      <a:pt x="12576" y="104095"/>
                    </a:lnTo>
                    <a:lnTo>
                      <a:pt x="15303" y="109398"/>
                    </a:lnTo>
                    <a:lnTo>
                      <a:pt x="15000" y="110913"/>
                    </a:lnTo>
                    <a:lnTo>
                      <a:pt x="15455" y="112125"/>
                    </a:lnTo>
                    <a:lnTo>
                      <a:pt x="17576" y="112277"/>
                    </a:lnTo>
                    <a:lnTo>
                      <a:pt x="21364" y="113943"/>
                    </a:lnTo>
                    <a:lnTo>
                      <a:pt x="21819" y="115156"/>
                    </a:lnTo>
                    <a:lnTo>
                      <a:pt x="21364" y="115913"/>
                    </a:lnTo>
                    <a:lnTo>
                      <a:pt x="17576" y="113943"/>
                    </a:lnTo>
                    <a:lnTo>
                      <a:pt x="16364" y="114246"/>
                    </a:lnTo>
                    <a:lnTo>
                      <a:pt x="18334" y="116216"/>
                    </a:lnTo>
                    <a:lnTo>
                      <a:pt x="19243" y="117580"/>
                    </a:lnTo>
                    <a:lnTo>
                      <a:pt x="22728" y="121368"/>
                    </a:lnTo>
                    <a:lnTo>
                      <a:pt x="23940" y="123186"/>
                    </a:lnTo>
                    <a:lnTo>
                      <a:pt x="24395" y="124853"/>
                    </a:lnTo>
                    <a:lnTo>
                      <a:pt x="25304" y="126823"/>
                    </a:lnTo>
                    <a:lnTo>
                      <a:pt x="26667" y="128186"/>
                    </a:lnTo>
                    <a:lnTo>
                      <a:pt x="29243" y="128035"/>
                    </a:lnTo>
                    <a:lnTo>
                      <a:pt x="31819" y="128944"/>
                    </a:lnTo>
                    <a:lnTo>
                      <a:pt x="34395" y="130156"/>
                    </a:lnTo>
                    <a:lnTo>
                      <a:pt x="37274" y="131823"/>
                    </a:lnTo>
                    <a:lnTo>
                      <a:pt x="36516" y="132581"/>
                    </a:lnTo>
                    <a:lnTo>
                      <a:pt x="35607" y="132883"/>
                    </a:lnTo>
                    <a:lnTo>
                      <a:pt x="29092" y="129702"/>
                    </a:lnTo>
                    <a:lnTo>
                      <a:pt x="27880" y="129550"/>
                    </a:lnTo>
                    <a:lnTo>
                      <a:pt x="28940" y="130914"/>
                    </a:lnTo>
                    <a:lnTo>
                      <a:pt x="35759" y="137278"/>
                    </a:lnTo>
                    <a:lnTo>
                      <a:pt x="45002" y="144399"/>
                    </a:lnTo>
                    <a:lnTo>
                      <a:pt x="51517" y="151672"/>
                    </a:lnTo>
                    <a:lnTo>
                      <a:pt x="53032" y="154854"/>
                    </a:lnTo>
                    <a:lnTo>
                      <a:pt x="58790" y="159400"/>
                    </a:lnTo>
                    <a:lnTo>
                      <a:pt x="61517" y="162127"/>
                    </a:lnTo>
                    <a:lnTo>
                      <a:pt x="63790" y="166521"/>
                    </a:lnTo>
                    <a:lnTo>
                      <a:pt x="66517" y="168945"/>
                    </a:lnTo>
                    <a:lnTo>
                      <a:pt x="68184" y="164854"/>
                    </a:lnTo>
                    <a:lnTo>
                      <a:pt x="69396" y="162885"/>
                    </a:lnTo>
                    <a:lnTo>
                      <a:pt x="70760" y="161521"/>
                    </a:lnTo>
                    <a:lnTo>
                      <a:pt x="76669" y="158187"/>
                    </a:lnTo>
                    <a:lnTo>
                      <a:pt x="77579" y="158339"/>
                    </a:lnTo>
                    <a:lnTo>
                      <a:pt x="81669" y="162582"/>
                    </a:lnTo>
                    <a:lnTo>
                      <a:pt x="83033" y="162885"/>
                    </a:lnTo>
                    <a:lnTo>
                      <a:pt x="84397" y="162885"/>
                    </a:lnTo>
                    <a:lnTo>
                      <a:pt x="86215" y="163036"/>
                    </a:lnTo>
                    <a:lnTo>
                      <a:pt x="86973" y="162127"/>
                    </a:lnTo>
                    <a:lnTo>
                      <a:pt x="87124" y="161066"/>
                    </a:lnTo>
                    <a:lnTo>
                      <a:pt x="85912" y="159854"/>
                    </a:lnTo>
                    <a:lnTo>
                      <a:pt x="85760" y="158491"/>
                    </a:lnTo>
                    <a:lnTo>
                      <a:pt x="86518" y="157127"/>
                    </a:lnTo>
                    <a:lnTo>
                      <a:pt x="87124" y="155460"/>
                    </a:lnTo>
                    <a:lnTo>
                      <a:pt x="88336" y="153642"/>
                    </a:lnTo>
                    <a:lnTo>
                      <a:pt x="88488" y="152733"/>
                    </a:lnTo>
                    <a:lnTo>
                      <a:pt x="87124" y="151824"/>
                    </a:lnTo>
                    <a:lnTo>
                      <a:pt x="84397" y="150308"/>
                    </a:lnTo>
                    <a:lnTo>
                      <a:pt x="82427" y="148945"/>
                    </a:lnTo>
                    <a:lnTo>
                      <a:pt x="81821" y="147581"/>
                    </a:lnTo>
                    <a:lnTo>
                      <a:pt x="82276" y="145763"/>
                    </a:lnTo>
                    <a:lnTo>
                      <a:pt x="83791" y="144399"/>
                    </a:lnTo>
                    <a:lnTo>
                      <a:pt x="83791" y="143642"/>
                    </a:lnTo>
                    <a:lnTo>
                      <a:pt x="82427" y="142278"/>
                    </a:lnTo>
                    <a:lnTo>
                      <a:pt x="81367" y="140914"/>
                    </a:lnTo>
                    <a:lnTo>
                      <a:pt x="80457" y="140157"/>
                    </a:lnTo>
                    <a:lnTo>
                      <a:pt x="77579" y="139550"/>
                    </a:lnTo>
                    <a:lnTo>
                      <a:pt x="78184" y="137732"/>
                    </a:lnTo>
                    <a:lnTo>
                      <a:pt x="79245" y="135156"/>
                    </a:lnTo>
                    <a:lnTo>
                      <a:pt x="79397" y="133035"/>
                    </a:lnTo>
                    <a:lnTo>
                      <a:pt x="78639" y="127732"/>
                    </a:lnTo>
                    <a:lnTo>
                      <a:pt x="78791" y="126671"/>
                    </a:lnTo>
                    <a:lnTo>
                      <a:pt x="79548" y="126217"/>
                    </a:lnTo>
                    <a:lnTo>
                      <a:pt x="81063" y="126823"/>
                    </a:lnTo>
                    <a:lnTo>
                      <a:pt x="82730" y="127580"/>
                    </a:lnTo>
                    <a:lnTo>
                      <a:pt x="87276" y="126368"/>
                    </a:lnTo>
                    <a:lnTo>
                      <a:pt x="88943" y="126217"/>
                    </a:lnTo>
                    <a:lnTo>
                      <a:pt x="90306" y="127277"/>
                    </a:lnTo>
                    <a:lnTo>
                      <a:pt x="91973" y="128035"/>
                    </a:lnTo>
                    <a:lnTo>
                      <a:pt x="102428" y="125914"/>
                    </a:lnTo>
                    <a:lnTo>
                      <a:pt x="102731" y="123489"/>
                    </a:lnTo>
                    <a:lnTo>
                      <a:pt x="103337" y="121519"/>
                    </a:lnTo>
                    <a:lnTo>
                      <a:pt x="103337" y="119853"/>
                    </a:lnTo>
                    <a:lnTo>
                      <a:pt x="102882" y="118944"/>
                    </a:lnTo>
                    <a:lnTo>
                      <a:pt x="102428" y="118186"/>
                    </a:lnTo>
                    <a:lnTo>
                      <a:pt x="102125" y="116671"/>
                    </a:lnTo>
                    <a:lnTo>
                      <a:pt x="102125" y="115004"/>
                    </a:lnTo>
                    <a:lnTo>
                      <a:pt x="103034" y="114095"/>
                    </a:lnTo>
                    <a:lnTo>
                      <a:pt x="106367" y="112125"/>
                    </a:lnTo>
                    <a:lnTo>
                      <a:pt x="107428" y="112277"/>
                    </a:lnTo>
                    <a:lnTo>
                      <a:pt x="109853" y="113337"/>
                    </a:lnTo>
                    <a:lnTo>
                      <a:pt x="111974" y="115004"/>
                    </a:lnTo>
                    <a:lnTo>
                      <a:pt x="113943" y="118641"/>
                    </a:lnTo>
                    <a:lnTo>
                      <a:pt x="115307" y="121671"/>
                    </a:lnTo>
                    <a:lnTo>
                      <a:pt x="117429" y="125459"/>
                    </a:lnTo>
                    <a:lnTo>
                      <a:pt x="121974" y="126974"/>
                    </a:lnTo>
                    <a:lnTo>
                      <a:pt x="127429" y="127883"/>
                    </a:lnTo>
                    <a:lnTo>
                      <a:pt x="130307" y="127580"/>
                    </a:lnTo>
                    <a:lnTo>
                      <a:pt x="134550" y="124398"/>
                    </a:lnTo>
                    <a:lnTo>
                      <a:pt x="136974" y="121974"/>
                    </a:lnTo>
                    <a:lnTo>
                      <a:pt x="137732" y="120610"/>
                    </a:lnTo>
                    <a:lnTo>
                      <a:pt x="139096" y="121368"/>
                    </a:lnTo>
                    <a:lnTo>
                      <a:pt x="140611" y="124550"/>
                    </a:lnTo>
                    <a:lnTo>
                      <a:pt x="141672" y="125914"/>
                    </a:lnTo>
                    <a:lnTo>
                      <a:pt x="141975" y="127126"/>
                    </a:lnTo>
                    <a:lnTo>
                      <a:pt x="141217" y="128489"/>
                    </a:lnTo>
                    <a:lnTo>
                      <a:pt x="141975" y="129550"/>
                    </a:lnTo>
                    <a:lnTo>
                      <a:pt x="144854" y="130156"/>
                    </a:lnTo>
                    <a:lnTo>
                      <a:pt x="147429" y="129550"/>
                    </a:lnTo>
                    <a:lnTo>
                      <a:pt x="148490" y="128186"/>
                    </a:lnTo>
                    <a:lnTo>
                      <a:pt x="150460" y="126520"/>
                    </a:lnTo>
                    <a:lnTo>
                      <a:pt x="150460" y="125005"/>
                    </a:lnTo>
                    <a:lnTo>
                      <a:pt x="149399" y="124095"/>
                    </a:lnTo>
                    <a:lnTo>
                      <a:pt x="149399" y="122732"/>
                    </a:lnTo>
                    <a:lnTo>
                      <a:pt x="150460" y="121823"/>
                    </a:lnTo>
                    <a:lnTo>
                      <a:pt x="151521" y="118944"/>
                    </a:lnTo>
                    <a:lnTo>
                      <a:pt x="151824" y="116974"/>
                    </a:lnTo>
                    <a:lnTo>
                      <a:pt x="152884" y="115610"/>
                    </a:lnTo>
                    <a:lnTo>
                      <a:pt x="154854" y="114701"/>
                    </a:lnTo>
                    <a:lnTo>
                      <a:pt x="155460" y="113943"/>
                    </a:lnTo>
                    <a:lnTo>
                      <a:pt x="156521" y="109095"/>
                    </a:lnTo>
                    <a:lnTo>
                      <a:pt x="156066" y="107277"/>
                    </a:lnTo>
                    <a:lnTo>
                      <a:pt x="156066" y="105761"/>
                    </a:lnTo>
                    <a:lnTo>
                      <a:pt x="157278" y="103943"/>
                    </a:lnTo>
                    <a:lnTo>
                      <a:pt x="157430" y="100913"/>
                    </a:lnTo>
                    <a:lnTo>
                      <a:pt x="156975" y="959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5" name="Freeform: Shape 3284">
                <a:extLst>
                  <a:ext uri="{FF2B5EF4-FFF2-40B4-BE49-F238E27FC236}">
                    <a16:creationId xmlns:a16="http://schemas.microsoft.com/office/drawing/2014/main" id="{A86747CE-9354-4DC5-A97A-04E3B4E225BB}"/>
                  </a:ext>
                </a:extLst>
              </p:cNvPr>
              <p:cNvSpPr/>
              <p:nvPr/>
            </p:nvSpPr>
            <p:spPr>
              <a:xfrm>
                <a:off x="5647801" y="3034665"/>
                <a:ext cx="391075" cy="332436"/>
              </a:xfrm>
              <a:custGeom>
                <a:avLst/>
                <a:gdLst>
                  <a:gd name="connsiteX0" fmla="*/ 350467 w 391075"/>
                  <a:gd name="connsiteY0" fmla="*/ 75154 h 332436"/>
                  <a:gd name="connsiteX1" fmla="*/ 348346 w 391075"/>
                  <a:gd name="connsiteY1" fmla="*/ 74245 h 332436"/>
                  <a:gd name="connsiteX2" fmla="*/ 342891 w 391075"/>
                  <a:gd name="connsiteY2" fmla="*/ 73185 h 332436"/>
                  <a:gd name="connsiteX3" fmla="*/ 337739 w 391075"/>
                  <a:gd name="connsiteY3" fmla="*/ 72427 h 332436"/>
                  <a:gd name="connsiteX4" fmla="*/ 335467 w 391075"/>
                  <a:gd name="connsiteY4" fmla="*/ 71518 h 332436"/>
                  <a:gd name="connsiteX5" fmla="*/ 333346 w 391075"/>
                  <a:gd name="connsiteY5" fmla="*/ 69245 h 332436"/>
                  <a:gd name="connsiteX6" fmla="*/ 332133 w 391075"/>
                  <a:gd name="connsiteY6" fmla="*/ 69245 h 332436"/>
                  <a:gd name="connsiteX7" fmla="*/ 329709 w 391075"/>
                  <a:gd name="connsiteY7" fmla="*/ 70003 h 332436"/>
                  <a:gd name="connsiteX8" fmla="*/ 326679 w 391075"/>
                  <a:gd name="connsiteY8" fmla="*/ 70609 h 332436"/>
                  <a:gd name="connsiteX9" fmla="*/ 324406 w 391075"/>
                  <a:gd name="connsiteY9" fmla="*/ 70154 h 332436"/>
                  <a:gd name="connsiteX10" fmla="*/ 323042 w 391075"/>
                  <a:gd name="connsiteY10" fmla="*/ 70306 h 332436"/>
                  <a:gd name="connsiteX11" fmla="*/ 322285 w 391075"/>
                  <a:gd name="connsiteY11" fmla="*/ 70760 h 332436"/>
                  <a:gd name="connsiteX12" fmla="*/ 321830 w 391075"/>
                  <a:gd name="connsiteY12" fmla="*/ 70306 h 332436"/>
                  <a:gd name="connsiteX13" fmla="*/ 321224 w 391075"/>
                  <a:gd name="connsiteY13" fmla="*/ 68336 h 332436"/>
                  <a:gd name="connsiteX14" fmla="*/ 320012 w 391075"/>
                  <a:gd name="connsiteY14" fmla="*/ 67881 h 332436"/>
                  <a:gd name="connsiteX15" fmla="*/ 318194 w 391075"/>
                  <a:gd name="connsiteY15" fmla="*/ 67427 h 332436"/>
                  <a:gd name="connsiteX16" fmla="*/ 316981 w 391075"/>
                  <a:gd name="connsiteY16" fmla="*/ 67578 h 332436"/>
                  <a:gd name="connsiteX17" fmla="*/ 316224 w 391075"/>
                  <a:gd name="connsiteY17" fmla="*/ 68639 h 332436"/>
                  <a:gd name="connsiteX18" fmla="*/ 315011 w 391075"/>
                  <a:gd name="connsiteY18" fmla="*/ 69397 h 332436"/>
                  <a:gd name="connsiteX19" fmla="*/ 313951 w 391075"/>
                  <a:gd name="connsiteY19" fmla="*/ 69245 h 332436"/>
                  <a:gd name="connsiteX20" fmla="*/ 310466 w 391075"/>
                  <a:gd name="connsiteY20" fmla="*/ 64699 h 332436"/>
                  <a:gd name="connsiteX21" fmla="*/ 309557 w 391075"/>
                  <a:gd name="connsiteY21" fmla="*/ 63639 h 332436"/>
                  <a:gd name="connsiteX22" fmla="*/ 309253 w 391075"/>
                  <a:gd name="connsiteY22" fmla="*/ 62730 h 332436"/>
                  <a:gd name="connsiteX23" fmla="*/ 308344 w 391075"/>
                  <a:gd name="connsiteY23" fmla="*/ 61063 h 332436"/>
                  <a:gd name="connsiteX24" fmla="*/ 306223 w 391075"/>
                  <a:gd name="connsiteY24" fmla="*/ 59396 h 332436"/>
                  <a:gd name="connsiteX25" fmla="*/ 304102 w 391075"/>
                  <a:gd name="connsiteY25" fmla="*/ 58790 h 332436"/>
                  <a:gd name="connsiteX26" fmla="*/ 303042 w 391075"/>
                  <a:gd name="connsiteY26" fmla="*/ 58942 h 332436"/>
                  <a:gd name="connsiteX27" fmla="*/ 301223 w 391075"/>
                  <a:gd name="connsiteY27" fmla="*/ 58032 h 332436"/>
                  <a:gd name="connsiteX28" fmla="*/ 300314 w 391075"/>
                  <a:gd name="connsiteY28" fmla="*/ 57426 h 332436"/>
                  <a:gd name="connsiteX29" fmla="*/ 298647 w 391075"/>
                  <a:gd name="connsiteY29" fmla="*/ 57275 h 332436"/>
                  <a:gd name="connsiteX30" fmla="*/ 296980 w 391075"/>
                  <a:gd name="connsiteY30" fmla="*/ 57729 h 332436"/>
                  <a:gd name="connsiteX31" fmla="*/ 295768 w 391075"/>
                  <a:gd name="connsiteY31" fmla="*/ 58790 h 332436"/>
                  <a:gd name="connsiteX32" fmla="*/ 294101 w 391075"/>
                  <a:gd name="connsiteY32" fmla="*/ 59093 h 332436"/>
                  <a:gd name="connsiteX33" fmla="*/ 292738 w 391075"/>
                  <a:gd name="connsiteY33" fmla="*/ 58790 h 332436"/>
                  <a:gd name="connsiteX34" fmla="*/ 291829 w 391075"/>
                  <a:gd name="connsiteY34" fmla="*/ 58032 h 332436"/>
                  <a:gd name="connsiteX35" fmla="*/ 291071 w 391075"/>
                  <a:gd name="connsiteY35" fmla="*/ 57578 h 332436"/>
                  <a:gd name="connsiteX36" fmla="*/ 288950 w 391075"/>
                  <a:gd name="connsiteY36" fmla="*/ 56972 h 332436"/>
                  <a:gd name="connsiteX37" fmla="*/ 288041 w 391075"/>
                  <a:gd name="connsiteY37" fmla="*/ 55760 h 332436"/>
                  <a:gd name="connsiteX38" fmla="*/ 285920 w 391075"/>
                  <a:gd name="connsiteY38" fmla="*/ 55760 h 332436"/>
                  <a:gd name="connsiteX39" fmla="*/ 283192 w 391075"/>
                  <a:gd name="connsiteY39" fmla="*/ 56214 h 332436"/>
                  <a:gd name="connsiteX40" fmla="*/ 281374 w 391075"/>
                  <a:gd name="connsiteY40" fmla="*/ 56820 h 332436"/>
                  <a:gd name="connsiteX41" fmla="*/ 280465 w 391075"/>
                  <a:gd name="connsiteY41" fmla="*/ 56820 h 332436"/>
                  <a:gd name="connsiteX42" fmla="*/ 278495 w 391075"/>
                  <a:gd name="connsiteY42" fmla="*/ 55305 h 332436"/>
                  <a:gd name="connsiteX43" fmla="*/ 276222 w 391075"/>
                  <a:gd name="connsiteY43" fmla="*/ 53032 h 332436"/>
                  <a:gd name="connsiteX44" fmla="*/ 274858 w 391075"/>
                  <a:gd name="connsiteY44" fmla="*/ 51972 h 332436"/>
                  <a:gd name="connsiteX45" fmla="*/ 274252 w 391075"/>
                  <a:gd name="connsiteY45" fmla="*/ 51063 h 332436"/>
                  <a:gd name="connsiteX46" fmla="*/ 272434 w 391075"/>
                  <a:gd name="connsiteY46" fmla="*/ 50608 h 332436"/>
                  <a:gd name="connsiteX47" fmla="*/ 270010 w 391075"/>
                  <a:gd name="connsiteY47" fmla="*/ 49396 h 332436"/>
                  <a:gd name="connsiteX48" fmla="*/ 268343 w 391075"/>
                  <a:gd name="connsiteY48" fmla="*/ 48184 h 332436"/>
                  <a:gd name="connsiteX49" fmla="*/ 266828 w 391075"/>
                  <a:gd name="connsiteY49" fmla="*/ 47426 h 332436"/>
                  <a:gd name="connsiteX50" fmla="*/ 264707 w 391075"/>
                  <a:gd name="connsiteY50" fmla="*/ 46972 h 332436"/>
                  <a:gd name="connsiteX51" fmla="*/ 263040 w 391075"/>
                  <a:gd name="connsiteY51" fmla="*/ 46972 h 332436"/>
                  <a:gd name="connsiteX52" fmla="*/ 262585 w 391075"/>
                  <a:gd name="connsiteY52" fmla="*/ 44850 h 332436"/>
                  <a:gd name="connsiteX53" fmla="*/ 262434 w 391075"/>
                  <a:gd name="connsiteY53" fmla="*/ 42426 h 332436"/>
                  <a:gd name="connsiteX54" fmla="*/ 261070 w 391075"/>
                  <a:gd name="connsiteY54" fmla="*/ 40759 h 332436"/>
                  <a:gd name="connsiteX55" fmla="*/ 263040 w 391075"/>
                  <a:gd name="connsiteY55" fmla="*/ 34395 h 332436"/>
                  <a:gd name="connsiteX56" fmla="*/ 261828 w 391075"/>
                  <a:gd name="connsiteY56" fmla="*/ 33789 h 332436"/>
                  <a:gd name="connsiteX57" fmla="*/ 260615 w 391075"/>
                  <a:gd name="connsiteY57" fmla="*/ 34244 h 332436"/>
                  <a:gd name="connsiteX58" fmla="*/ 258797 w 391075"/>
                  <a:gd name="connsiteY58" fmla="*/ 35759 h 332436"/>
                  <a:gd name="connsiteX59" fmla="*/ 257888 w 391075"/>
                  <a:gd name="connsiteY59" fmla="*/ 37577 h 332436"/>
                  <a:gd name="connsiteX60" fmla="*/ 257434 w 391075"/>
                  <a:gd name="connsiteY60" fmla="*/ 39092 h 332436"/>
                  <a:gd name="connsiteX61" fmla="*/ 254403 w 391075"/>
                  <a:gd name="connsiteY61" fmla="*/ 40608 h 332436"/>
                  <a:gd name="connsiteX62" fmla="*/ 249555 w 391075"/>
                  <a:gd name="connsiteY62" fmla="*/ 41214 h 332436"/>
                  <a:gd name="connsiteX63" fmla="*/ 244251 w 391075"/>
                  <a:gd name="connsiteY63" fmla="*/ 40608 h 332436"/>
                  <a:gd name="connsiteX64" fmla="*/ 243494 w 391075"/>
                  <a:gd name="connsiteY64" fmla="*/ 40153 h 332436"/>
                  <a:gd name="connsiteX65" fmla="*/ 243191 w 391075"/>
                  <a:gd name="connsiteY65" fmla="*/ 39698 h 332436"/>
                  <a:gd name="connsiteX66" fmla="*/ 243191 w 391075"/>
                  <a:gd name="connsiteY66" fmla="*/ 39092 h 332436"/>
                  <a:gd name="connsiteX67" fmla="*/ 243494 w 391075"/>
                  <a:gd name="connsiteY67" fmla="*/ 38183 h 332436"/>
                  <a:gd name="connsiteX68" fmla="*/ 244403 w 391075"/>
                  <a:gd name="connsiteY68" fmla="*/ 37123 h 332436"/>
                  <a:gd name="connsiteX69" fmla="*/ 244706 w 391075"/>
                  <a:gd name="connsiteY69" fmla="*/ 35607 h 332436"/>
                  <a:gd name="connsiteX70" fmla="*/ 243797 w 391075"/>
                  <a:gd name="connsiteY70" fmla="*/ 34395 h 332436"/>
                  <a:gd name="connsiteX71" fmla="*/ 243191 w 391075"/>
                  <a:gd name="connsiteY71" fmla="*/ 33941 h 332436"/>
                  <a:gd name="connsiteX72" fmla="*/ 243494 w 391075"/>
                  <a:gd name="connsiteY72" fmla="*/ 32729 h 332436"/>
                  <a:gd name="connsiteX73" fmla="*/ 244251 w 391075"/>
                  <a:gd name="connsiteY73" fmla="*/ 31213 h 332436"/>
                  <a:gd name="connsiteX74" fmla="*/ 244403 w 391075"/>
                  <a:gd name="connsiteY74" fmla="*/ 30304 h 332436"/>
                  <a:gd name="connsiteX75" fmla="*/ 240766 w 391075"/>
                  <a:gd name="connsiteY75" fmla="*/ 27577 h 332436"/>
                  <a:gd name="connsiteX76" fmla="*/ 238191 w 391075"/>
                  <a:gd name="connsiteY76" fmla="*/ 27122 h 332436"/>
                  <a:gd name="connsiteX77" fmla="*/ 235615 w 391075"/>
                  <a:gd name="connsiteY77" fmla="*/ 26971 h 332436"/>
                  <a:gd name="connsiteX78" fmla="*/ 233645 w 391075"/>
                  <a:gd name="connsiteY78" fmla="*/ 26668 h 332436"/>
                  <a:gd name="connsiteX79" fmla="*/ 232584 w 391075"/>
                  <a:gd name="connsiteY79" fmla="*/ 26819 h 332436"/>
                  <a:gd name="connsiteX80" fmla="*/ 231827 w 391075"/>
                  <a:gd name="connsiteY80" fmla="*/ 27577 h 332436"/>
                  <a:gd name="connsiteX81" fmla="*/ 231069 w 391075"/>
                  <a:gd name="connsiteY81" fmla="*/ 28183 h 332436"/>
                  <a:gd name="connsiteX82" fmla="*/ 230463 w 391075"/>
                  <a:gd name="connsiteY82" fmla="*/ 27577 h 332436"/>
                  <a:gd name="connsiteX83" fmla="*/ 229402 w 391075"/>
                  <a:gd name="connsiteY83" fmla="*/ 22880 h 332436"/>
                  <a:gd name="connsiteX84" fmla="*/ 228493 w 391075"/>
                  <a:gd name="connsiteY84" fmla="*/ 22122 h 332436"/>
                  <a:gd name="connsiteX85" fmla="*/ 225311 w 391075"/>
                  <a:gd name="connsiteY85" fmla="*/ 21364 h 332436"/>
                  <a:gd name="connsiteX86" fmla="*/ 220917 w 391075"/>
                  <a:gd name="connsiteY86" fmla="*/ 21061 h 332436"/>
                  <a:gd name="connsiteX87" fmla="*/ 219705 w 391075"/>
                  <a:gd name="connsiteY87" fmla="*/ 20152 h 332436"/>
                  <a:gd name="connsiteX88" fmla="*/ 219099 w 391075"/>
                  <a:gd name="connsiteY88" fmla="*/ 18031 h 332436"/>
                  <a:gd name="connsiteX89" fmla="*/ 218644 w 391075"/>
                  <a:gd name="connsiteY89" fmla="*/ 15455 h 332436"/>
                  <a:gd name="connsiteX90" fmla="*/ 217129 w 391075"/>
                  <a:gd name="connsiteY90" fmla="*/ 13031 h 332436"/>
                  <a:gd name="connsiteX91" fmla="*/ 216372 w 391075"/>
                  <a:gd name="connsiteY91" fmla="*/ 12425 h 332436"/>
                  <a:gd name="connsiteX92" fmla="*/ 215008 w 391075"/>
                  <a:gd name="connsiteY92" fmla="*/ 11364 h 332436"/>
                  <a:gd name="connsiteX93" fmla="*/ 212735 w 391075"/>
                  <a:gd name="connsiteY93" fmla="*/ 11819 h 332436"/>
                  <a:gd name="connsiteX94" fmla="*/ 210008 w 391075"/>
                  <a:gd name="connsiteY94" fmla="*/ 13182 h 332436"/>
                  <a:gd name="connsiteX95" fmla="*/ 208341 w 391075"/>
                  <a:gd name="connsiteY95" fmla="*/ 13637 h 332436"/>
                  <a:gd name="connsiteX96" fmla="*/ 207735 w 391075"/>
                  <a:gd name="connsiteY96" fmla="*/ 13788 h 332436"/>
                  <a:gd name="connsiteX97" fmla="*/ 205462 w 391075"/>
                  <a:gd name="connsiteY97" fmla="*/ 12425 h 332436"/>
                  <a:gd name="connsiteX98" fmla="*/ 203038 w 391075"/>
                  <a:gd name="connsiteY98" fmla="*/ 10303 h 332436"/>
                  <a:gd name="connsiteX99" fmla="*/ 201068 w 391075"/>
                  <a:gd name="connsiteY99" fmla="*/ 8031 h 332436"/>
                  <a:gd name="connsiteX100" fmla="*/ 200613 w 391075"/>
                  <a:gd name="connsiteY100" fmla="*/ 6667 h 332436"/>
                  <a:gd name="connsiteX101" fmla="*/ 201220 w 391075"/>
                  <a:gd name="connsiteY101" fmla="*/ 5152 h 332436"/>
                  <a:gd name="connsiteX102" fmla="*/ 200462 w 391075"/>
                  <a:gd name="connsiteY102" fmla="*/ 3940 h 332436"/>
                  <a:gd name="connsiteX103" fmla="*/ 199401 w 391075"/>
                  <a:gd name="connsiteY103" fmla="*/ 1667 h 332436"/>
                  <a:gd name="connsiteX104" fmla="*/ 199098 w 391075"/>
                  <a:gd name="connsiteY104" fmla="*/ 0 h 332436"/>
                  <a:gd name="connsiteX105" fmla="*/ 196977 w 391075"/>
                  <a:gd name="connsiteY105" fmla="*/ 1061 h 332436"/>
                  <a:gd name="connsiteX106" fmla="*/ 182431 w 391075"/>
                  <a:gd name="connsiteY106" fmla="*/ 3788 h 332436"/>
                  <a:gd name="connsiteX107" fmla="*/ 178491 w 391075"/>
                  <a:gd name="connsiteY107" fmla="*/ 5758 h 332436"/>
                  <a:gd name="connsiteX108" fmla="*/ 175915 w 391075"/>
                  <a:gd name="connsiteY108" fmla="*/ 7576 h 332436"/>
                  <a:gd name="connsiteX109" fmla="*/ 174249 w 391075"/>
                  <a:gd name="connsiteY109" fmla="*/ 10000 h 332436"/>
                  <a:gd name="connsiteX110" fmla="*/ 173491 w 391075"/>
                  <a:gd name="connsiteY110" fmla="*/ 12879 h 332436"/>
                  <a:gd name="connsiteX111" fmla="*/ 172734 w 391075"/>
                  <a:gd name="connsiteY111" fmla="*/ 28941 h 332436"/>
                  <a:gd name="connsiteX112" fmla="*/ 173794 w 391075"/>
                  <a:gd name="connsiteY112" fmla="*/ 30456 h 332436"/>
                  <a:gd name="connsiteX113" fmla="*/ 172582 w 391075"/>
                  <a:gd name="connsiteY113" fmla="*/ 31213 h 332436"/>
                  <a:gd name="connsiteX114" fmla="*/ 171673 w 391075"/>
                  <a:gd name="connsiteY114" fmla="*/ 32122 h 332436"/>
                  <a:gd name="connsiteX115" fmla="*/ 168794 w 391075"/>
                  <a:gd name="connsiteY115" fmla="*/ 36213 h 332436"/>
                  <a:gd name="connsiteX116" fmla="*/ 164400 w 391075"/>
                  <a:gd name="connsiteY116" fmla="*/ 39395 h 332436"/>
                  <a:gd name="connsiteX117" fmla="*/ 155612 w 391075"/>
                  <a:gd name="connsiteY117" fmla="*/ 42577 h 332436"/>
                  <a:gd name="connsiteX118" fmla="*/ 147127 w 391075"/>
                  <a:gd name="connsiteY118" fmla="*/ 44244 h 332436"/>
                  <a:gd name="connsiteX119" fmla="*/ 135308 w 391075"/>
                  <a:gd name="connsiteY119" fmla="*/ 50002 h 332436"/>
                  <a:gd name="connsiteX120" fmla="*/ 133641 w 391075"/>
                  <a:gd name="connsiteY120" fmla="*/ 53638 h 332436"/>
                  <a:gd name="connsiteX121" fmla="*/ 133186 w 391075"/>
                  <a:gd name="connsiteY121" fmla="*/ 55154 h 332436"/>
                  <a:gd name="connsiteX122" fmla="*/ 133793 w 391075"/>
                  <a:gd name="connsiteY122" fmla="*/ 56820 h 332436"/>
                  <a:gd name="connsiteX123" fmla="*/ 137884 w 391075"/>
                  <a:gd name="connsiteY123" fmla="*/ 58487 h 332436"/>
                  <a:gd name="connsiteX124" fmla="*/ 142278 w 391075"/>
                  <a:gd name="connsiteY124" fmla="*/ 58184 h 332436"/>
                  <a:gd name="connsiteX125" fmla="*/ 141672 w 391075"/>
                  <a:gd name="connsiteY125" fmla="*/ 59093 h 332436"/>
                  <a:gd name="connsiteX126" fmla="*/ 133944 w 391075"/>
                  <a:gd name="connsiteY126" fmla="*/ 60760 h 332436"/>
                  <a:gd name="connsiteX127" fmla="*/ 129853 w 391075"/>
                  <a:gd name="connsiteY127" fmla="*/ 63336 h 332436"/>
                  <a:gd name="connsiteX128" fmla="*/ 125610 w 391075"/>
                  <a:gd name="connsiteY128" fmla="*/ 64548 h 332436"/>
                  <a:gd name="connsiteX129" fmla="*/ 115762 w 391075"/>
                  <a:gd name="connsiteY129" fmla="*/ 62578 h 332436"/>
                  <a:gd name="connsiteX130" fmla="*/ 109095 w 391075"/>
                  <a:gd name="connsiteY130" fmla="*/ 62427 h 332436"/>
                  <a:gd name="connsiteX131" fmla="*/ 103791 w 391075"/>
                  <a:gd name="connsiteY131" fmla="*/ 61214 h 332436"/>
                  <a:gd name="connsiteX132" fmla="*/ 98943 w 391075"/>
                  <a:gd name="connsiteY132" fmla="*/ 61366 h 332436"/>
                  <a:gd name="connsiteX133" fmla="*/ 97428 w 391075"/>
                  <a:gd name="connsiteY133" fmla="*/ 59396 h 332436"/>
                  <a:gd name="connsiteX134" fmla="*/ 96367 w 391075"/>
                  <a:gd name="connsiteY134" fmla="*/ 57578 h 332436"/>
                  <a:gd name="connsiteX135" fmla="*/ 95458 w 391075"/>
                  <a:gd name="connsiteY135" fmla="*/ 53941 h 332436"/>
                  <a:gd name="connsiteX136" fmla="*/ 95610 w 391075"/>
                  <a:gd name="connsiteY136" fmla="*/ 51063 h 332436"/>
                  <a:gd name="connsiteX137" fmla="*/ 92731 w 391075"/>
                  <a:gd name="connsiteY137" fmla="*/ 50153 h 332436"/>
                  <a:gd name="connsiteX138" fmla="*/ 86670 w 391075"/>
                  <a:gd name="connsiteY138" fmla="*/ 51517 h 332436"/>
                  <a:gd name="connsiteX139" fmla="*/ 83488 w 391075"/>
                  <a:gd name="connsiteY139" fmla="*/ 51063 h 332436"/>
                  <a:gd name="connsiteX140" fmla="*/ 79397 w 391075"/>
                  <a:gd name="connsiteY140" fmla="*/ 50911 h 332436"/>
                  <a:gd name="connsiteX141" fmla="*/ 78942 w 391075"/>
                  <a:gd name="connsiteY141" fmla="*/ 52729 h 332436"/>
                  <a:gd name="connsiteX142" fmla="*/ 79094 w 391075"/>
                  <a:gd name="connsiteY142" fmla="*/ 54093 h 332436"/>
                  <a:gd name="connsiteX143" fmla="*/ 80609 w 391075"/>
                  <a:gd name="connsiteY143" fmla="*/ 57881 h 332436"/>
                  <a:gd name="connsiteX144" fmla="*/ 83942 w 391075"/>
                  <a:gd name="connsiteY144" fmla="*/ 64093 h 332436"/>
                  <a:gd name="connsiteX145" fmla="*/ 86821 w 391075"/>
                  <a:gd name="connsiteY145" fmla="*/ 68033 h 332436"/>
                  <a:gd name="connsiteX146" fmla="*/ 87276 w 391075"/>
                  <a:gd name="connsiteY146" fmla="*/ 81973 h 332436"/>
                  <a:gd name="connsiteX147" fmla="*/ 89548 w 391075"/>
                  <a:gd name="connsiteY147" fmla="*/ 85761 h 332436"/>
                  <a:gd name="connsiteX148" fmla="*/ 92427 w 391075"/>
                  <a:gd name="connsiteY148" fmla="*/ 87276 h 332436"/>
                  <a:gd name="connsiteX149" fmla="*/ 90761 w 391075"/>
                  <a:gd name="connsiteY149" fmla="*/ 87730 h 332436"/>
                  <a:gd name="connsiteX150" fmla="*/ 80154 w 391075"/>
                  <a:gd name="connsiteY150" fmla="*/ 88185 h 332436"/>
                  <a:gd name="connsiteX151" fmla="*/ 79397 w 391075"/>
                  <a:gd name="connsiteY151" fmla="*/ 86821 h 332436"/>
                  <a:gd name="connsiteX152" fmla="*/ 77881 w 391075"/>
                  <a:gd name="connsiteY152" fmla="*/ 85761 h 332436"/>
                  <a:gd name="connsiteX153" fmla="*/ 76063 w 391075"/>
                  <a:gd name="connsiteY153" fmla="*/ 87882 h 332436"/>
                  <a:gd name="connsiteX154" fmla="*/ 75154 w 391075"/>
                  <a:gd name="connsiteY154" fmla="*/ 89700 h 332436"/>
                  <a:gd name="connsiteX155" fmla="*/ 73033 w 391075"/>
                  <a:gd name="connsiteY155" fmla="*/ 87427 h 332436"/>
                  <a:gd name="connsiteX156" fmla="*/ 63032 w 391075"/>
                  <a:gd name="connsiteY156" fmla="*/ 87276 h 332436"/>
                  <a:gd name="connsiteX157" fmla="*/ 56366 w 391075"/>
                  <a:gd name="connsiteY157" fmla="*/ 91216 h 332436"/>
                  <a:gd name="connsiteX158" fmla="*/ 53638 w 391075"/>
                  <a:gd name="connsiteY158" fmla="*/ 88943 h 332436"/>
                  <a:gd name="connsiteX159" fmla="*/ 47880 w 391075"/>
                  <a:gd name="connsiteY159" fmla="*/ 82276 h 332436"/>
                  <a:gd name="connsiteX160" fmla="*/ 41668 w 391075"/>
                  <a:gd name="connsiteY160" fmla="*/ 80458 h 332436"/>
                  <a:gd name="connsiteX161" fmla="*/ 35152 w 391075"/>
                  <a:gd name="connsiteY161" fmla="*/ 81367 h 332436"/>
                  <a:gd name="connsiteX162" fmla="*/ 33183 w 391075"/>
                  <a:gd name="connsiteY162" fmla="*/ 83033 h 332436"/>
                  <a:gd name="connsiteX163" fmla="*/ 28637 w 391075"/>
                  <a:gd name="connsiteY163" fmla="*/ 85003 h 332436"/>
                  <a:gd name="connsiteX164" fmla="*/ 24849 w 391075"/>
                  <a:gd name="connsiteY164" fmla="*/ 85609 h 332436"/>
                  <a:gd name="connsiteX165" fmla="*/ 19243 w 391075"/>
                  <a:gd name="connsiteY165" fmla="*/ 85155 h 332436"/>
                  <a:gd name="connsiteX166" fmla="*/ 6364 w 391075"/>
                  <a:gd name="connsiteY166" fmla="*/ 88185 h 332436"/>
                  <a:gd name="connsiteX167" fmla="*/ 1212 w 391075"/>
                  <a:gd name="connsiteY167" fmla="*/ 91064 h 332436"/>
                  <a:gd name="connsiteX168" fmla="*/ 0 w 391075"/>
                  <a:gd name="connsiteY168" fmla="*/ 94246 h 332436"/>
                  <a:gd name="connsiteX169" fmla="*/ 455 w 391075"/>
                  <a:gd name="connsiteY169" fmla="*/ 95610 h 332436"/>
                  <a:gd name="connsiteX170" fmla="*/ 1212 w 391075"/>
                  <a:gd name="connsiteY170" fmla="*/ 97276 h 332436"/>
                  <a:gd name="connsiteX171" fmla="*/ 4848 w 391075"/>
                  <a:gd name="connsiteY171" fmla="*/ 97428 h 332436"/>
                  <a:gd name="connsiteX172" fmla="*/ 6515 w 391075"/>
                  <a:gd name="connsiteY172" fmla="*/ 96973 h 332436"/>
                  <a:gd name="connsiteX173" fmla="*/ 10152 w 391075"/>
                  <a:gd name="connsiteY173" fmla="*/ 97125 h 332436"/>
                  <a:gd name="connsiteX174" fmla="*/ 10910 w 391075"/>
                  <a:gd name="connsiteY174" fmla="*/ 97579 h 332436"/>
                  <a:gd name="connsiteX175" fmla="*/ 12576 w 391075"/>
                  <a:gd name="connsiteY175" fmla="*/ 97882 h 332436"/>
                  <a:gd name="connsiteX176" fmla="*/ 14243 w 391075"/>
                  <a:gd name="connsiteY176" fmla="*/ 99398 h 332436"/>
                  <a:gd name="connsiteX177" fmla="*/ 9849 w 391075"/>
                  <a:gd name="connsiteY177" fmla="*/ 99701 h 332436"/>
                  <a:gd name="connsiteX178" fmla="*/ 7273 w 391075"/>
                  <a:gd name="connsiteY178" fmla="*/ 99549 h 332436"/>
                  <a:gd name="connsiteX179" fmla="*/ 6364 w 391075"/>
                  <a:gd name="connsiteY179" fmla="*/ 99246 h 332436"/>
                  <a:gd name="connsiteX180" fmla="*/ 5152 w 391075"/>
                  <a:gd name="connsiteY180" fmla="*/ 100004 h 332436"/>
                  <a:gd name="connsiteX181" fmla="*/ 6061 w 391075"/>
                  <a:gd name="connsiteY181" fmla="*/ 101519 h 332436"/>
                  <a:gd name="connsiteX182" fmla="*/ 6970 w 391075"/>
                  <a:gd name="connsiteY182" fmla="*/ 102125 h 332436"/>
                  <a:gd name="connsiteX183" fmla="*/ 9091 w 391075"/>
                  <a:gd name="connsiteY183" fmla="*/ 102580 h 332436"/>
                  <a:gd name="connsiteX184" fmla="*/ 11970 w 391075"/>
                  <a:gd name="connsiteY184" fmla="*/ 104246 h 332436"/>
                  <a:gd name="connsiteX185" fmla="*/ 10606 w 391075"/>
                  <a:gd name="connsiteY185" fmla="*/ 105610 h 332436"/>
                  <a:gd name="connsiteX186" fmla="*/ 6970 w 391075"/>
                  <a:gd name="connsiteY186" fmla="*/ 106671 h 332436"/>
                  <a:gd name="connsiteX187" fmla="*/ 3788 w 391075"/>
                  <a:gd name="connsiteY187" fmla="*/ 107125 h 332436"/>
                  <a:gd name="connsiteX188" fmla="*/ 2424 w 391075"/>
                  <a:gd name="connsiteY188" fmla="*/ 108792 h 332436"/>
                  <a:gd name="connsiteX189" fmla="*/ 9243 w 391075"/>
                  <a:gd name="connsiteY189" fmla="*/ 111216 h 332436"/>
                  <a:gd name="connsiteX190" fmla="*/ 10758 w 391075"/>
                  <a:gd name="connsiteY190" fmla="*/ 114398 h 332436"/>
                  <a:gd name="connsiteX191" fmla="*/ 12424 w 391075"/>
                  <a:gd name="connsiteY191" fmla="*/ 116368 h 332436"/>
                  <a:gd name="connsiteX192" fmla="*/ 14698 w 391075"/>
                  <a:gd name="connsiteY192" fmla="*/ 116822 h 332436"/>
                  <a:gd name="connsiteX193" fmla="*/ 18940 w 391075"/>
                  <a:gd name="connsiteY193" fmla="*/ 115459 h 332436"/>
                  <a:gd name="connsiteX194" fmla="*/ 23637 w 391075"/>
                  <a:gd name="connsiteY194" fmla="*/ 115762 h 332436"/>
                  <a:gd name="connsiteX195" fmla="*/ 34395 w 391075"/>
                  <a:gd name="connsiteY195" fmla="*/ 118641 h 332436"/>
                  <a:gd name="connsiteX196" fmla="*/ 36213 w 391075"/>
                  <a:gd name="connsiteY196" fmla="*/ 120156 h 332436"/>
                  <a:gd name="connsiteX197" fmla="*/ 37577 w 391075"/>
                  <a:gd name="connsiteY197" fmla="*/ 119853 h 332436"/>
                  <a:gd name="connsiteX198" fmla="*/ 39395 w 391075"/>
                  <a:gd name="connsiteY198" fmla="*/ 120156 h 332436"/>
                  <a:gd name="connsiteX199" fmla="*/ 41214 w 391075"/>
                  <a:gd name="connsiteY199" fmla="*/ 121065 h 332436"/>
                  <a:gd name="connsiteX200" fmla="*/ 42426 w 391075"/>
                  <a:gd name="connsiteY200" fmla="*/ 120762 h 332436"/>
                  <a:gd name="connsiteX201" fmla="*/ 44092 w 391075"/>
                  <a:gd name="connsiteY201" fmla="*/ 120762 h 332436"/>
                  <a:gd name="connsiteX202" fmla="*/ 46668 w 391075"/>
                  <a:gd name="connsiteY202" fmla="*/ 123338 h 332436"/>
                  <a:gd name="connsiteX203" fmla="*/ 49395 w 391075"/>
                  <a:gd name="connsiteY203" fmla="*/ 124095 h 332436"/>
                  <a:gd name="connsiteX204" fmla="*/ 52274 w 391075"/>
                  <a:gd name="connsiteY204" fmla="*/ 123641 h 332436"/>
                  <a:gd name="connsiteX205" fmla="*/ 54244 w 391075"/>
                  <a:gd name="connsiteY205" fmla="*/ 123186 h 332436"/>
                  <a:gd name="connsiteX206" fmla="*/ 55760 w 391075"/>
                  <a:gd name="connsiteY206" fmla="*/ 123944 h 332436"/>
                  <a:gd name="connsiteX207" fmla="*/ 54093 w 391075"/>
                  <a:gd name="connsiteY207" fmla="*/ 126217 h 332436"/>
                  <a:gd name="connsiteX208" fmla="*/ 54850 w 391075"/>
                  <a:gd name="connsiteY208" fmla="*/ 126974 h 332436"/>
                  <a:gd name="connsiteX209" fmla="*/ 57729 w 391075"/>
                  <a:gd name="connsiteY209" fmla="*/ 126520 h 332436"/>
                  <a:gd name="connsiteX210" fmla="*/ 60760 w 391075"/>
                  <a:gd name="connsiteY210" fmla="*/ 126520 h 332436"/>
                  <a:gd name="connsiteX211" fmla="*/ 62729 w 391075"/>
                  <a:gd name="connsiteY211" fmla="*/ 127126 h 332436"/>
                  <a:gd name="connsiteX212" fmla="*/ 64245 w 391075"/>
                  <a:gd name="connsiteY212" fmla="*/ 128490 h 332436"/>
                  <a:gd name="connsiteX213" fmla="*/ 62881 w 391075"/>
                  <a:gd name="connsiteY213" fmla="*/ 130459 h 332436"/>
                  <a:gd name="connsiteX214" fmla="*/ 61366 w 391075"/>
                  <a:gd name="connsiteY214" fmla="*/ 131520 h 332436"/>
                  <a:gd name="connsiteX215" fmla="*/ 62123 w 391075"/>
                  <a:gd name="connsiteY215" fmla="*/ 133944 h 332436"/>
                  <a:gd name="connsiteX216" fmla="*/ 63942 w 391075"/>
                  <a:gd name="connsiteY216" fmla="*/ 134702 h 332436"/>
                  <a:gd name="connsiteX217" fmla="*/ 66215 w 391075"/>
                  <a:gd name="connsiteY217" fmla="*/ 135157 h 332436"/>
                  <a:gd name="connsiteX218" fmla="*/ 76518 w 391075"/>
                  <a:gd name="connsiteY218" fmla="*/ 134096 h 332436"/>
                  <a:gd name="connsiteX219" fmla="*/ 82882 w 391075"/>
                  <a:gd name="connsiteY219" fmla="*/ 137429 h 332436"/>
                  <a:gd name="connsiteX220" fmla="*/ 80760 w 391075"/>
                  <a:gd name="connsiteY220" fmla="*/ 137126 h 332436"/>
                  <a:gd name="connsiteX221" fmla="*/ 78033 w 391075"/>
                  <a:gd name="connsiteY221" fmla="*/ 135914 h 332436"/>
                  <a:gd name="connsiteX222" fmla="*/ 75154 w 391075"/>
                  <a:gd name="connsiteY222" fmla="*/ 135460 h 332436"/>
                  <a:gd name="connsiteX223" fmla="*/ 72881 w 391075"/>
                  <a:gd name="connsiteY223" fmla="*/ 135763 h 332436"/>
                  <a:gd name="connsiteX224" fmla="*/ 71821 w 391075"/>
                  <a:gd name="connsiteY224" fmla="*/ 137126 h 332436"/>
                  <a:gd name="connsiteX225" fmla="*/ 70457 w 391075"/>
                  <a:gd name="connsiteY225" fmla="*/ 139248 h 332436"/>
                  <a:gd name="connsiteX226" fmla="*/ 71972 w 391075"/>
                  <a:gd name="connsiteY226" fmla="*/ 140460 h 332436"/>
                  <a:gd name="connsiteX227" fmla="*/ 73639 w 391075"/>
                  <a:gd name="connsiteY227" fmla="*/ 140914 h 332436"/>
                  <a:gd name="connsiteX228" fmla="*/ 75306 w 391075"/>
                  <a:gd name="connsiteY228" fmla="*/ 143490 h 332436"/>
                  <a:gd name="connsiteX229" fmla="*/ 73336 w 391075"/>
                  <a:gd name="connsiteY229" fmla="*/ 147581 h 332436"/>
                  <a:gd name="connsiteX230" fmla="*/ 73336 w 391075"/>
                  <a:gd name="connsiteY230" fmla="*/ 149551 h 332436"/>
                  <a:gd name="connsiteX231" fmla="*/ 74245 w 391075"/>
                  <a:gd name="connsiteY231" fmla="*/ 151369 h 332436"/>
                  <a:gd name="connsiteX232" fmla="*/ 78033 w 391075"/>
                  <a:gd name="connsiteY232" fmla="*/ 155612 h 332436"/>
                  <a:gd name="connsiteX233" fmla="*/ 81669 w 391075"/>
                  <a:gd name="connsiteY233" fmla="*/ 161521 h 332436"/>
                  <a:gd name="connsiteX234" fmla="*/ 92427 w 391075"/>
                  <a:gd name="connsiteY234" fmla="*/ 167127 h 332436"/>
                  <a:gd name="connsiteX235" fmla="*/ 94549 w 391075"/>
                  <a:gd name="connsiteY235" fmla="*/ 167885 h 332436"/>
                  <a:gd name="connsiteX236" fmla="*/ 96519 w 391075"/>
                  <a:gd name="connsiteY236" fmla="*/ 168036 h 332436"/>
                  <a:gd name="connsiteX237" fmla="*/ 99094 w 391075"/>
                  <a:gd name="connsiteY237" fmla="*/ 168491 h 332436"/>
                  <a:gd name="connsiteX238" fmla="*/ 99549 w 391075"/>
                  <a:gd name="connsiteY238" fmla="*/ 170461 h 332436"/>
                  <a:gd name="connsiteX239" fmla="*/ 99398 w 391075"/>
                  <a:gd name="connsiteY239" fmla="*/ 172128 h 332436"/>
                  <a:gd name="connsiteX240" fmla="*/ 100307 w 391075"/>
                  <a:gd name="connsiteY240" fmla="*/ 181673 h 332436"/>
                  <a:gd name="connsiteX241" fmla="*/ 101367 w 391075"/>
                  <a:gd name="connsiteY241" fmla="*/ 185764 h 332436"/>
                  <a:gd name="connsiteX242" fmla="*/ 101973 w 391075"/>
                  <a:gd name="connsiteY242" fmla="*/ 186825 h 332436"/>
                  <a:gd name="connsiteX243" fmla="*/ 102277 w 391075"/>
                  <a:gd name="connsiteY243" fmla="*/ 187886 h 332436"/>
                  <a:gd name="connsiteX244" fmla="*/ 100003 w 391075"/>
                  <a:gd name="connsiteY244" fmla="*/ 186977 h 332436"/>
                  <a:gd name="connsiteX245" fmla="*/ 97428 w 391075"/>
                  <a:gd name="connsiteY245" fmla="*/ 186825 h 332436"/>
                  <a:gd name="connsiteX246" fmla="*/ 97882 w 391075"/>
                  <a:gd name="connsiteY246" fmla="*/ 188795 h 332436"/>
                  <a:gd name="connsiteX247" fmla="*/ 98640 w 391075"/>
                  <a:gd name="connsiteY247" fmla="*/ 189704 h 332436"/>
                  <a:gd name="connsiteX248" fmla="*/ 106519 w 391075"/>
                  <a:gd name="connsiteY248" fmla="*/ 194704 h 332436"/>
                  <a:gd name="connsiteX249" fmla="*/ 108943 w 391075"/>
                  <a:gd name="connsiteY249" fmla="*/ 197128 h 332436"/>
                  <a:gd name="connsiteX250" fmla="*/ 110458 w 391075"/>
                  <a:gd name="connsiteY250" fmla="*/ 200007 h 332436"/>
                  <a:gd name="connsiteX251" fmla="*/ 113034 w 391075"/>
                  <a:gd name="connsiteY251" fmla="*/ 210008 h 332436"/>
                  <a:gd name="connsiteX252" fmla="*/ 114701 w 391075"/>
                  <a:gd name="connsiteY252" fmla="*/ 211371 h 332436"/>
                  <a:gd name="connsiteX253" fmla="*/ 115610 w 391075"/>
                  <a:gd name="connsiteY253" fmla="*/ 213038 h 332436"/>
                  <a:gd name="connsiteX254" fmla="*/ 113337 w 391075"/>
                  <a:gd name="connsiteY254" fmla="*/ 211523 h 332436"/>
                  <a:gd name="connsiteX255" fmla="*/ 111822 w 391075"/>
                  <a:gd name="connsiteY255" fmla="*/ 210008 h 332436"/>
                  <a:gd name="connsiteX256" fmla="*/ 109701 w 391075"/>
                  <a:gd name="connsiteY256" fmla="*/ 202583 h 332436"/>
                  <a:gd name="connsiteX257" fmla="*/ 108034 w 391075"/>
                  <a:gd name="connsiteY257" fmla="*/ 200310 h 332436"/>
                  <a:gd name="connsiteX258" fmla="*/ 104852 w 391075"/>
                  <a:gd name="connsiteY258" fmla="*/ 197735 h 332436"/>
                  <a:gd name="connsiteX259" fmla="*/ 101064 w 391075"/>
                  <a:gd name="connsiteY259" fmla="*/ 195159 h 332436"/>
                  <a:gd name="connsiteX260" fmla="*/ 99246 w 391075"/>
                  <a:gd name="connsiteY260" fmla="*/ 201523 h 332436"/>
                  <a:gd name="connsiteX261" fmla="*/ 98185 w 391075"/>
                  <a:gd name="connsiteY261" fmla="*/ 207583 h 332436"/>
                  <a:gd name="connsiteX262" fmla="*/ 96670 w 391075"/>
                  <a:gd name="connsiteY262" fmla="*/ 224251 h 332436"/>
                  <a:gd name="connsiteX263" fmla="*/ 97276 w 391075"/>
                  <a:gd name="connsiteY263" fmla="*/ 223645 h 332436"/>
                  <a:gd name="connsiteX264" fmla="*/ 97882 w 391075"/>
                  <a:gd name="connsiteY264" fmla="*/ 222281 h 332436"/>
                  <a:gd name="connsiteX265" fmla="*/ 99246 w 391075"/>
                  <a:gd name="connsiteY265" fmla="*/ 221069 h 332436"/>
                  <a:gd name="connsiteX266" fmla="*/ 101367 w 391075"/>
                  <a:gd name="connsiteY266" fmla="*/ 223493 h 332436"/>
                  <a:gd name="connsiteX267" fmla="*/ 98791 w 391075"/>
                  <a:gd name="connsiteY267" fmla="*/ 224402 h 332436"/>
                  <a:gd name="connsiteX268" fmla="*/ 96822 w 391075"/>
                  <a:gd name="connsiteY268" fmla="*/ 227887 h 332436"/>
                  <a:gd name="connsiteX269" fmla="*/ 94094 w 391075"/>
                  <a:gd name="connsiteY269" fmla="*/ 245918 h 332436"/>
                  <a:gd name="connsiteX270" fmla="*/ 90306 w 391075"/>
                  <a:gd name="connsiteY270" fmla="*/ 261070 h 332436"/>
                  <a:gd name="connsiteX271" fmla="*/ 86367 w 391075"/>
                  <a:gd name="connsiteY271" fmla="*/ 265313 h 332436"/>
                  <a:gd name="connsiteX272" fmla="*/ 81972 w 391075"/>
                  <a:gd name="connsiteY272" fmla="*/ 266373 h 332436"/>
                  <a:gd name="connsiteX273" fmla="*/ 81972 w 391075"/>
                  <a:gd name="connsiteY273" fmla="*/ 267586 h 332436"/>
                  <a:gd name="connsiteX274" fmla="*/ 83033 w 391075"/>
                  <a:gd name="connsiteY274" fmla="*/ 269101 h 332436"/>
                  <a:gd name="connsiteX275" fmla="*/ 84094 w 391075"/>
                  <a:gd name="connsiteY275" fmla="*/ 269707 h 332436"/>
                  <a:gd name="connsiteX276" fmla="*/ 86367 w 391075"/>
                  <a:gd name="connsiteY276" fmla="*/ 270465 h 332436"/>
                  <a:gd name="connsiteX277" fmla="*/ 88185 w 391075"/>
                  <a:gd name="connsiteY277" fmla="*/ 270616 h 332436"/>
                  <a:gd name="connsiteX278" fmla="*/ 90609 w 391075"/>
                  <a:gd name="connsiteY278" fmla="*/ 271070 h 332436"/>
                  <a:gd name="connsiteX279" fmla="*/ 92276 w 391075"/>
                  <a:gd name="connsiteY279" fmla="*/ 271980 h 332436"/>
                  <a:gd name="connsiteX280" fmla="*/ 92427 w 391075"/>
                  <a:gd name="connsiteY280" fmla="*/ 273343 h 332436"/>
                  <a:gd name="connsiteX281" fmla="*/ 91973 w 391075"/>
                  <a:gd name="connsiteY281" fmla="*/ 274859 h 332436"/>
                  <a:gd name="connsiteX282" fmla="*/ 90912 w 391075"/>
                  <a:gd name="connsiteY282" fmla="*/ 276374 h 332436"/>
                  <a:gd name="connsiteX283" fmla="*/ 90306 w 391075"/>
                  <a:gd name="connsiteY283" fmla="*/ 277434 h 332436"/>
                  <a:gd name="connsiteX284" fmla="*/ 90912 w 391075"/>
                  <a:gd name="connsiteY284" fmla="*/ 278041 h 332436"/>
                  <a:gd name="connsiteX285" fmla="*/ 91822 w 391075"/>
                  <a:gd name="connsiteY285" fmla="*/ 278495 h 332436"/>
                  <a:gd name="connsiteX286" fmla="*/ 92731 w 391075"/>
                  <a:gd name="connsiteY286" fmla="*/ 278647 h 332436"/>
                  <a:gd name="connsiteX287" fmla="*/ 93336 w 391075"/>
                  <a:gd name="connsiteY287" fmla="*/ 278495 h 332436"/>
                  <a:gd name="connsiteX288" fmla="*/ 93791 w 391075"/>
                  <a:gd name="connsiteY288" fmla="*/ 277586 h 332436"/>
                  <a:gd name="connsiteX289" fmla="*/ 94700 w 391075"/>
                  <a:gd name="connsiteY289" fmla="*/ 276525 h 332436"/>
                  <a:gd name="connsiteX290" fmla="*/ 95155 w 391075"/>
                  <a:gd name="connsiteY290" fmla="*/ 276374 h 332436"/>
                  <a:gd name="connsiteX291" fmla="*/ 95155 w 391075"/>
                  <a:gd name="connsiteY291" fmla="*/ 276980 h 332436"/>
                  <a:gd name="connsiteX292" fmla="*/ 95610 w 391075"/>
                  <a:gd name="connsiteY292" fmla="*/ 277737 h 332436"/>
                  <a:gd name="connsiteX293" fmla="*/ 98640 w 391075"/>
                  <a:gd name="connsiteY293" fmla="*/ 278950 h 332436"/>
                  <a:gd name="connsiteX294" fmla="*/ 105307 w 391075"/>
                  <a:gd name="connsiteY294" fmla="*/ 281374 h 332436"/>
                  <a:gd name="connsiteX295" fmla="*/ 107883 w 391075"/>
                  <a:gd name="connsiteY295" fmla="*/ 281374 h 332436"/>
                  <a:gd name="connsiteX296" fmla="*/ 110004 w 391075"/>
                  <a:gd name="connsiteY296" fmla="*/ 281677 h 332436"/>
                  <a:gd name="connsiteX297" fmla="*/ 110610 w 391075"/>
                  <a:gd name="connsiteY297" fmla="*/ 282738 h 332436"/>
                  <a:gd name="connsiteX298" fmla="*/ 114853 w 391075"/>
                  <a:gd name="connsiteY298" fmla="*/ 286374 h 332436"/>
                  <a:gd name="connsiteX299" fmla="*/ 115913 w 391075"/>
                  <a:gd name="connsiteY299" fmla="*/ 286223 h 332436"/>
                  <a:gd name="connsiteX300" fmla="*/ 117731 w 391075"/>
                  <a:gd name="connsiteY300" fmla="*/ 286374 h 332436"/>
                  <a:gd name="connsiteX301" fmla="*/ 120004 w 391075"/>
                  <a:gd name="connsiteY301" fmla="*/ 286071 h 332436"/>
                  <a:gd name="connsiteX302" fmla="*/ 121671 w 391075"/>
                  <a:gd name="connsiteY302" fmla="*/ 285313 h 332436"/>
                  <a:gd name="connsiteX303" fmla="*/ 122731 w 391075"/>
                  <a:gd name="connsiteY303" fmla="*/ 285465 h 332436"/>
                  <a:gd name="connsiteX304" fmla="*/ 123944 w 391075"/>
                  <a:gd name="connsiteY304" fmla="*/ 286223 h 332436"/>
                  <a:gd name="connsiteX305" fmla="*/ 125308 w 391075"/>
                  <a:gd name="connsiteY305" fmla="*/ 286829 h 332436"/>
                  <a:gd name="connsiteX306" fmla="*/ 127126 w 391075"/>
                  <a:gd name="connsiteY306" fmla="*/ 288041 h 332436"/>
                  <a:gd name="connsiteX307" fmla="*/ 128793 w 391075"/>
                  <a:gd name="connsiteY307" fmla="*/ 289556 h 332436"/>
                  <a:gd name="connsiteX308" fmla="*/ 129853 w 391075"/>
                  <a:gd name="connsiteY308" fmla="*/ 290011 h 332436"/>
                  <a:gd name="connsiteX309" fmla="*/ 136520 w 391075"/>
                  <a:gd name="connsiteY309" fmla="*/ 288950 h 332436"/>
                  <a:gd name="connsiteX310" fmla="*/ 138035 w 391075"/>
                  <a:gd name="connsiteY310" fmla="*/ 289859 h 332436"/>
                  <a:gd name="connsiteX311" fmla="*/ 139551 w 391075"/>
                  <a:gd name="connsiteY311" fmla="*/ 289859 h 332436"/>
                  <a:gd name="connsiteX312" fmla="*/ 141369 w 391075"/>
                  <a:gd name="connsiteY312" fmla="*/ 289556 h 332436"/>
                  <a:gd name="connsiteX313" fmla="*/ 145157 w 391075"/>
                  <a:gd name="connsiteY313" fmla="*/ 290011 h 332436"/>
                  <a:gd name="connsiteX314" fmla="*/ 148339 w 391075"/>
                  <a:gd name="connsiteY314" fmla="*/ 289859 h 332436"/>
                  <a:gd name="connsiteX315" fmla="*/ 148642 w 391075"/>
                  <a:gd name="connsiteY315" fmla="*/ 289556 h 332436"/>
                  <a:gd name="connsiteX316" fmla="*/ 148945 w 391075"/>
                  <a:gd name="connsiteY316" fmla="*/ 286223 h 332436"/>
                  <a:gd name="connsiteX317" fmla="*/ 149399 w 391075"/>
                  <a:gd name="connsiteY317" fmla="*/ 285010 h 332436"/>
                  <a:gd name="connsiteX318" fmla="*/ 150157 w 391075"/>
                  <a:gd name="connsiteY318" fmla="*/ 284707 h 332436"/>
                  <a:gd name="connsiteX319" fmla="*/ 151975 w 391075"/>
                  <a:gd name="connsiteY319" fmla="*/ 285010 h 332436"/>
                  <a:gd name="connsiteX320" fmla="*/ 158642 w 391075"/>
                  <a:gd name="connsiteY320" fmla="*/ 286980 h 332436"/>
                  <a:gd name="connsiteX321" fmla="*/ 161370 w 391075"/>
                  <a:gd name="connsiteY321" fmla="*/ 288192 h 332436"/>
                  <a:gd name="connsiteX322" fmla="*/ 164097 w 391075"/>
                  <a:gd name="connsiteY322" fmla="*/ 289101 h 332436"/>
                  <a:gd name="connsiteX323" fmla="*/ 166370 w 391075"/>
                  <a:gd name="connsiteY323" fmla="*/ 289253 h 332436"/>
                  <a:gd name="connsiteX324" fmla="*/ 167885 w 391075"/>
                  <a:gd name="connsiteY324" fmla="*/ 289859 h 332436"/>
                  <a:gd name="connsiteX325" fmla="*/ 170006 w 391075"/>
                  <a:gd name="connsiteY325" fmla="*/ 293041 h 332436"/>
                  <a:gd name="connsiteX326" fmla="*/ 170915 w 391075"/>
                  <a:gd name="connsiteY326" fmla="*/ 292132 h 332436"/>
                  <a:gd name="connsiteX327" fmla="*/ 172127 w 391075"/>
                  <a:gd name="connsiteY327" fmla="*/ 291374 h 332436"/>
                  <a:gd name="connsiteX328" fmla="*/ 173946 w 391075"/>
                  <a:gd name="connsiteY328" fmla="*/ 291677 h 332436"/>
                  <a:gd name="connsiteX329" fmla="*/ 177885 w 391075"/>
                  <a:gd name="connsiteY329" fmla="*/ 292738 h 332436"/>
                  <a:gd name="connsiteX330" fmla="*/ 178643 w 391075"/>
                  <a:gd name="connsiteY330" fmla="*/ 293647 h 332436"/>
                  <a:gd name="connsiteX331" fmla="*/ 178643 w 391075"/>
                  <a:gd name="connsiteY331" fmla="*/ 294253 h 332436"/>
                  <a:gd name="connsiteX332" fmla="*/ 177885 w 391075"/>
                  <a:gd name="connsiteY332" fmla="*/ 295314 h 332436"/>
                  <a:gd name="connsiteX333" fmla="*/ 177734 w 391075"/>
                  <a:gd name="connsiteY333" fmla="*/ 296071 h 332436"/>
                  <a:gd name="connsiteX334" fmla="*/ 181976 w 391075"/>
                  <a:gd name="connsiteY334" fmla="*/ 297587 h 332436"/>
                  <a:gd name="connsiteX335" fmla="*/ 183794 w 391075"/>
                  <a:gd name="connsiteY335" fmla="*/ 298647 h 332436"/>
                  <a:gd name="connsiteX336" fmla="*/ 184401 w 391075"/>
                  <a:gd name="connsiteY336" fmla="*/ 299708 h 332436"/>
                  <a:gd name="connsiteX337" fmla="*/ 185310 w 391075"/>
                  <a:gd name="connsiteY337" fmla="*/ 300769 h 332436"/>
                  <a:gd name="connsiteX338" fmla="*/ 186522 w 391075"/>
                  <a:gd name="connsiteY338" fmla="*/ 300920 h 332436"/>
                  <a:gd name="connsiteX339" fmla="*/ 188340 w 391075"/>
                  <a:gd name="connsiteY339" fmla="*/ 299859 h 332436"/>
                  <a:gd name="connsiteX340" fmla="*/ 191067 w 391075"/>
                  <a:gd name="connsiteY340" fmla="*/ 298647 h 332436"/>
                  <a:gd name="connsiteX341" fmla="*/ 195765 w 391075"/>
                  <a:gd name="connsiteY341" fmla="*/ 299708 h 332436"/>
                  <a:gd name="connsiteX342" fmla="*/ 201068 w 391075"/>
                  <a:gd name="connsiteY342" fmla="*/ 301223 h 332436"/>
                  <a:gd name="connsiteX343" fmla="*/ 203341 w 391075"/>
                  <a:gd name="connsiteY343" fmla="*/ 301375 h 332436"/>
                  <a:gd name="connsiteX344" fmla="*/ 203492 w 391075"/>
                  <a:gd name="connsiteY344" fmla="*/ 300617 h 332436"/>
                  <a:gd name="connsiteX345" fmla="*/ 203947 w 391075"/>
                  <a:gd name="connsiteY345" fmla="*/ 299556 h 332436"/>
                  <a:gd name="connsiteX346" fmla="*/ 204856 w 391075"/>
                  <a:gd name="connsiteY346" fmla="*/ 299102 h 332436"/>
                  <a:gd name="connsiteX347" fmla="*/ 206220 w 391075"/>
                  <a:gd name="connsiteY347" fmla="*/ 298950 h 332436"/>
                  <a:gd name="connsiteX348" fmla="*/ 208038 w 391075"/>
                  <a:gd name="connsiteY348" fmla="*/ 298344 h 332436"/>
                  <a:gd name="connsiteX349" fmla="*/ 210159 w 391075"/>
                  <a:gd name="connsiteY349" fmla="*/ 297435 h 332436"/>
                  <a:gd name="connsiteX350" fmla="*/ 212280 w 391075"/>
                  <a:gd name="connsiteY350" fmla="*/ 297132 h 332436"/>
                  <a:gd name="connsiteX351" fmla="*/ 214553 w 391075"/>
                  <a:gd name="connsiteY351" fmla="*/ 297738 h 332436"/>
                  <a:gd name="connsiteX352" fmla="*/ 217281 w 391075"/>
                  <a:gd name="connsiteY352" fmla="*/ 298344 h 332436"/>
                  <a:gd name="connsiteX353" fmla="*/ 218947 w 391075"/>
                  <a:gd name="connsiteY353" fmla="*/ 298344 h 332436"/>
                  <a:gd name="connsiteX354" fmla="*/ 218644 w 391075"/>
                  <a:gd name="connsiteY354" fmla="*/ 297284 h 332436"/>
                  <a:gd name="connsiteX355" fmla="*/ 215765 w 391075"/>
                  <a:gd name="connsiteY355" fmla="*/ 293041 h 332436"/>
                  <a:gd name="connsiteX356" fmla="*/ 214402 w 391075"/>
                  <a:gd name="connsiteY356" fmla="*/ 284859 h 332436"/>
                  <a:gd name="connsiteX357" fmla="*/ 214705 w 391075"/>
                  <a:gd name="connsiteY357" fmla="*/ 282283 h 332436"/>
                  <a:gd name="connsiteX358" fmla="*/ 217735 w 391075"/>
                  <a:gd name="connsiteY358" fmla="*/ 276828 h 332436"/>
                  <a:gd name="connsiteX359" fmla="*/ 220311 w 391075"/>
                  <a:gd name="connsiteY359" fmla="*/ 273040 h 332436"/>
                  <a:gd name="connsiteX360" fmla="*/ 234706 w 391075"/>
                  <a:gd name="connsiteY360" fmla="*/ 264101 h 332436"/>
                  <a:gd name="connsiteX361" fmla="*/ 236827 w 391075"/>
                  <a:gd name="connsiteY361" fmla="*/ 262282 h 332436"/>
                  <a:gd name="connsiteX362" fmla="*/ 238191 w 391075"/>
                  <a:gd name="connsiteY362" fmla="*/ 260767 h 332436"/>
                  <a:gd name="connsiteX363" fmla="*/ 242130 w 391075"/>
                  <a:gd name="connsiteY363" fmla="*/ 259706 h 332436"/>
                  <a:gd name="connsiteX364" fmla="*/ 242736 w 391075"/>
                  <a:gd name="connsiteY364" fmla="*/ 260010 h 332436"/>
                  <a:gd name="connsiteX365" fmla="*/ 243797 w 391075"/>
                  <a:gd name="connsiteY365" fmla="*/ 260616 h 332436"/>
                  <a:gd name="connsiteX366" fmla="*/ 245161 w 391075"/>
                  <a:gd name="connsiteY366" fmla="*/ 262585 h 332436"/>
                  <a:gd name="connsiteX367" fmla="*/ 246827 w 391075"/>
                  <a:gd name="connsiteY367" fmla="*/ 263343 h 332436"/>
                  <a:gd name="connsiteX368" fmla="*/ 250918 w 391075"/>
                  <a:gd name="connsiteY368" fmla="*/ 264101 h 332436"/>
                  <a:gd name="connsiteX369" fmla="*/ 251827 w 391075"/>
                  <a:gd name="connsiteY369" fmla="*/ 264404 h 332436"/>
                  <a:gd name="connsiteX370" fmla="*/ 257888 w 391075"/>
                  <a:gd name="connsiteY370" fmla="*/ 266373 h 332436"/>
                  <a:gd name="connsiteX371" fmla="*/ 260161 w 391075"/>
                  <a:gd name="connsiteY371" fmla="*/ 266828 h 332436"/>
                  <a:gd name="connsiteX372" fmla="*/ 262282 w 391075"/>
                  <a:gd name="connsiteY372" fmla="*/ 266676 h 332436"/>
                  <a:gd name="connsiteX373" fmla="*/ 262282 w 391075"/>
                  <a:gd name="connsiteY373" fmla="*/ 265919 h 332436"/>
                  <a:gd name="connsiteX374" fmla="*/ 262888 w 391075"/>
                  <a:gd name="connsiteY374" fmla="*/ 265767 h 332436"/>
                  <a:gd name="connsiteX375" fmla="*/ 263797 w 391075"/>
                  <a:gd name="connsiteY375" fmla="*/ 266070 h 332436"/>
                  <a:gd name="connsiteX376" fmla="*/ 264555 w 391075"/>
                  <a:gd name="connsiteY376" fmla="*/ 265464 h 332436"/>
                  <a:gd name="connsiteX377" fmla="*/ 265616 w 391075"/>
                  <a:gd name="connsiteY377" fmla="*/ 265010 h 332436"/>
                  <a:gd name="connsiteX378" fmla="*/ 267434 w 391075"/>
                  <a:gd name="connsiteY378" fmla="*/ 265010 h 332436"/>
                  <a:gd name="connsiteX379" fmla="*/ 269707 w 391075"/>
                  <a:gd name="connsiteY379" fmla="*/ 264404 h 332436"/>
                  <a:gd name="connsiteX380" fmla="*/ 269707 w 391075"/>
                  <a:gd name="connsiteY380" fmla="*/ 265616 h 332436"/>
                  <a:gd name="connsiteX381" fmla="*/ 270010 w 391075"/>
                  <a:gd name="connsiteY381" fmla="*/ 266979 h 332436"/>
                  <a:gd name="connsiteX382" fmla="*/ 271373 w 391075"/>
                  <a:gd name="connsiteY382" fmla="*/ 267586 h 332436"/>
                  <a:gd name="connsiteX383" fmla="*/ 273495 w 391075"/>
                  <a:gd name="connsiteY383" fmla="*/ 267434 h 332436"/>
                  <a:gd name="connsiteX384" fmla="*/ 276828 w 391075"/>
                  <a:gd name="connsiteY384" fmla="*/ 267737 h 332436"/>
                  <a:gd name="connsiteX385" fmla="*/ 279253 w 391075"/>
                  <a:gd name="connsiteY385" fmla="*/ 271525 h 332436"/>
                  <a:gd name="connsiteX386" fmla="*/ 286525 w 391075"/>
                  <a:gd name="connsiteY386" fmla="*/ 273192 h 332436"/>
                  <a:gd name="connsiteX387" fmla="*/ 290313 w 391075"/>
                  <a:gd name="connsiteY387" fmla="*/ 275768 h 332436"/>
                  <a:gd name="connsiteX388" fmla="*/ 296375 w 391075"/>
                  <a:gd name="connsiteY388" fmla="*/ 275616 h 332436"/>
                  <a:gd name="connsiteX389" fmla="*/ 298647 w 391075"/>
                  <a:gd name="connsiteY389" fmla="*/ 276525 h 332436"/>
                  <a:gd name="connsiteX390" fmla="*/ 303799 w 391075"/>
                  <a:gd name="connsiteY390" fmla="*/ 274253 h 332436"/>
                  <a:gd name="connsiteX391" fmla="*/ 308951 w 391075"/>
                  <a:gd name="connsiteY391" fmla="*/ 273192 h 332436"/>
                  <a:gd name="connsiteX392" fmla="*/ 311072 w 391075"/>
                  <a:gd name="connsiteY392" fmla="*/ 272131 h 332436"/>
                  <a:gd name="connsiteX393" fmla="*/ 313496 w 391075"/>
                  <a:gd name="connsiteY393" fmla="*/ 270010 h 332436"/>
                  <a:gd name="connsiteX394" fmla="*/ 314254 w 391075"/>
                  <a:gd name="connsiteY394" fmla="*/ 267586 h 332436"/>
                  <a:gd name="connsiteX395" fmla="*/ 315011 w 391075"/>
                  <a:gd name="connsiteY395" fmla="*/ 266222 h 332436"/>
                  <a:gd name="connsiteX396" fmla="*/ 319103 w 391075"/>
                  <a:gd name="connsiteY396" fmla="*/ 264101 h 332436"/>
                  <a:gd name="connsiteX397" fmla="*/ 327739 w 391075"/>
                  <a:gd name="connsiteY397" fmla="*/ 256828 h 332436"/>
                  <a:gd name="connsiteX398" fmla="*/ 329861 w 391075"/>
                  <a:gd name="connsiteY398" fmla="*/ 255615 h 332436"/>
                  <a:gd name="connsiteX399" fmla="*/ 333042 w 391075"/>
                  <a:gd name="connsiteY399" fmla="*/ 254403 h 332436"/>
                  <a:gd name="connsiteX400" fmla="*/ 333042 w 391075"/>
                  <a:gd name="connsiteY400" fmla="*/ 253646 h 332436"/>
                  <a:gd name="connsiteX401" fmla="*/ 333497 w 391075"/>
                  <a:gd name="connsiteY401" fmla="*/ 253191 h 332436"/>
                  <a:gd name="connsiteX402" fmla="*/ 334103 w 391075"/>
                  <a:gd name="connsiteY402" fmla="*/ 253040 h 332436"/>
                  <a:gd name="connsiteX403" fmla="*/ 334709 w 391075"/>
                  <a:gd name="connsiteY403" fmla="*/ 253343 h 332436"/>
                  <a:gd name="connsiteX404" fmla="*/ 334709 w 391075"/>
                  <a:gd name="connsiteY404" fmla="*/ 253646 h 332436"/>
                  <a:gd name="connsiteX405" fmla="*/ 336224 w 391075"/>
                  <a:gd name="connsiteY405" fmla="*/ 253040 h 332436"/>
                  <a:gd name="connsiteX406" fmla="*/ 336224 w 391075"/>
                  <a:gd name="connsiteY406" fmla="*/ 251221 h 332436"/>
                  <a:gd name="connsiteX407" fmla="*/ 335921 w 391075"/>
                  <a:gd name="connsiteY407" fmla="*/ 249858 h 332436"/>
                  <a:gd name="connsiteX408" fmla="*/ 336982 w 391075"/>
                  <a:gd name="connsiteY408" fmla="*/ 248342 h 332436"/>
                  <a:gd name="connsiteX409" fmla="*/ 338800 w 391075"/>
                  <a:gd name="connsiteY409" fmla="*/ 246524 h 332436"/>
                  <a:gd name="connsiteX410" fmla="*/ 340467 w 391075"/>
                  <a:gd name="connsiteY410" fmla="*/ 244251 h 332436"/>
                  <a:gd name="connsiteX411" fmla="*/ 341225 w 391075"/>
                  <a:gd name="connsiteY411" fmla="*/ 242585 h 332436"/>
                  <a:gd name="connsiteX412" fmla="*/ 340922 w 391075"/>
                  <a:gd name="connsiteY412" fmla="*/ 241524 h 332436"/>
                  <a:gd name="connsiteX413" fmla="*/ 340164 w 391075"/>
                  <a:gd name="connsiteY413" fmla="*/ 239857 h 332436"/>
                  <a:gd name="connsiteX414" fmla="*/ 339103 w 391075"/>
                  <a:gd name="connsiteY414" fmla="*/ 239706 h 332436"/>
                  <a:gd name="connsiteX415" fmla="*/ 332891 w 391075"/>
                  <a:gd name="connsiteY415" fmla="*/ 241069 h 332436"/>
                  <a:gd name="connsiteX416" fmla="*/ 331527 w 391075"/>
                  <a:gd name="connsiteY416" fmla="*/ 240766 h 332436"/>
                  <a:gd name="connsiteX417" fmla="*/ 326830 w 391075"/>
                  <a:gd name="connsiteY417" fmla="*/ 238645 h 332436"/>
                  <a:gd name="connsiteX418" fmla="*/ 321830 w 391075"/>
                  <a:gd name="connsiteY418" fmla="*/ 236069 h 332436"/>
                  <a:gd name="connsiteX419" fmla="*/ 320012 w 391075"/>
                  <a:gd name="connsiteY419" fmla="*/ 234251 h 332436"/>
                  <a:gd name="connsiteX420" fmla="*/ 319254 w 391075"/>
                  <a:gd name="connsiteY420" fmla="*/ 232433 h 332436"/>
                  <a:gd name="connsiteX421" fmla="*/ 319708 w 391075"/>
                  <a:gd name="connsiteY421" fmla="*/ 231221 h 332436"/>
                  <a:gd name="connsiteX422" fmla="*/ 319254 w 391075"/>
                  <a:gd name="connsiteY422" fmla="*/ 230008 h 332436"/>
                  <a:gd name="connsiteX423" fmla="*/ 318345 w 391075"/>
                  <a:gd name="connsiteY423" fmla="*/ 228342 h 332436"/>
                  <a:gd name="connsiteX424" fmla="*/ 319254 w 391075"/>
                  <a:gd name="connsiteY424" fmla="*/ 226523 h 332436"/>
                  <a:gd name="connsiteX425" fmla="*/ 320769 w 391075"/>
                  <a:gd name="connsiteY425" fmla="*/ 224251 h 332436"/>
                  <a:gd name="connsiteX426" fmla="*/ 321527 w 391075"/>
                  <a:gd name="connsiteY426" fmla="*/ 222735 h 332436"/>
                  <a:gd name="connsiteX427" fmla="*/ 322891 w 391075"/>
                  <a:gd name="connsiteY427" fmla="*/ 222281 h 332436"/>
                  <a:gd name="connsiteX428" fmla="*/ 323496 w 391075"/>
                  <a:gd name="connsiteY428" fmla="*/ 221372 h 332436"/>
                  <a:gd name="connsiteX429" fmla="*/ 322436 w 391075"/>
                  <a:gd name="connsiteY429" fmla="*/ 217584 h 332436"/>
                  <a:gd name="connsiteX430" fmla="*/ 321830 w 391075"/>
                  <a:gd name="connsiteY430" fmla="*/ 216978 h 332436"/>
                  <a:gd name="connsiteX431" fmla="*/ 320921 w 391075"/>
                  <a:gd name="connsiteY431" fmla="*/ 216523 h 332436"/>
                  <a:gd name="connsiteX432" fmla="*/ 319557 w 391075"/>
                  <a:gd name="connsiteY432" fmla="*/ 216523 h 332436"/>
                  <a:gd name="connsiteX433" fmla="*/ 317133 w 391075"/>
                  <a:gd name="connsiteY433" fmla="*/ 215766 h 332436"/>
                  <a:gd name="connsiteX434" fmla="*/ 315466 w 391075"/>
                  <a:gd name="connsiteY434" fmla="*/ 214402 h 332436"/>
                  <a:gd name="connsiteX435" fmla="*/ 315163 w 391075"/>
                  <a:gd name="connsiteY435" fmla="*/ 212735 h 332436"/>
                  <a:gd name="connsiteX436" fmla="*/ 314254 w 391075"/>
                  <a:gd name="connsiteY436" fmla="*/ 211068 h 332436"/>
                  <a:gd name="connsiteX437" fmla="*/ 312739 w 391075"/>
                  <a:gd name="connsiteY437" fmla="*/ 209553 h 332436"/>
                  <a:gd name="connsiteX438" fmla="*/ 312587 w 391075"/>
                  <a:gd name="connsiteY438" fmla="*/ 207886 h 332436"/>
                  <a:gd name="connsiteX439" fmla="*/ 314406 w 391075"/>
                  <a:gd name="connsiteY439" fmla="*/ 206977 h 332436"/>
                  <a:gd name="connsiteX440" fmla="*/ 316830 w 391075"/>
                  <a:gd name="connsiteY440" fmla="*/ 206977 h 332436"/>
                  <a:gd name="connsiteX441" fmla="*/ 318497 w 391075"/>
                  <a:gd name="connsiteY441" fmla="*/ 207280 h 332436"/>
                  <a:gd name="connsiteX442" fmla="*/ 322285 w 391075"/>
                  <a:gd name="connsiteY442" fmla="*/ 204553 h 332436"/>
                  <a:gd name="connsiteX443" fmla="*/ 323648 w 391075"/>
                  <a:gd name="connsiteY443" fmla="*/ 204250 h 332436"/>
                  <a:gd name="connsiteX444" fmla="*/ 324860 w 391075"/>
                  <a:gd name="connsiteY444" fmla="*/ 203644 h 332436"/>
                  <a:gd name="connsiteX445" fmla="*/ 325921 w 391075"/>
                  <a:gd name="connsiteY445" fmla="*/ 200007 h 332436"/>
                  <a:gd name="connsiteX446" fmla="*/ 326679 w 391075"/>
                  <a:gd name="connsiteY446" fmla="*/ 198947 h 332436"/>
                  <a:gd name="connsiteX447" fmla="*/ 326830 w 391075"/>
                  <a:gd name="connsiteY447" fmla="*/ 198341 h 332436"/>
                  <a:gd name="connsiteX448" fmla="*/ 326073 w 391075"/>
                  <a:gd name="connsiteY448" fmla="*/ 197583 h 332436"/>
                  <a:gd name="connsiteX449" fmla="*/ 323042 w 391075"/>
                  <a:gd name="connsiteY449" fmla="*/ 195007 h 332436"/>
                  <a:gd name="connsiteX450" fmla="*/ 321678 w 391075"/>
                  <a:gd name="connsiteY450" fmla="*/ 192280 h 332436"/>
                  <a:gd name="connsiteX451" fmla="*/ 319406 w 391075"/>
                  <a:gd name="connsiteY451" fmla="*/ 189249 h 332436"/>
                  <a:gd name="connsiteX452" fmla="*/ 317284 w 391075"/>
                  <a:gd name="connsiteY452" fmla="*/ 187886 h 332436"/>
                  <a:gd name="connsiteX453" fmla="*/ 316830 w 391075"/>
                  <a:gd name="connsiteY453" fmla="*/ 186825 h 332436"/>
                  <a:gd name="connsiteX454" fmla="*/ 316830 w 391075"/>
                  <a:gd name="connsiteY454" fmla="*/ 185461 h 332436"/>
                  <a:gd name="connsiteX455" fmla="*/ 317284 w 391075"/>
                  <a:gd name="connsiteY455" fmla="*/ 184249 h 332436"/>
                  <a:gd name="connsiteX456" fmla="*/ 321072 w 391075"/>
                  <a:gd name="connsiteY456" fmla="*/ 182431 h 332436"/>
                  <a:gd name="connsiteX457" fmla="*/ 323194 w 391075"/>
                  <a:gd name="connsiteY457" fmla="*/ 180461 h 332436"/>
                  <a:gd name="connsiteX458" fmla="*/ 322739 w 391075"/>
                  <a:gd name="connsiteY458" fmla="*/ 179401 h 332436"/>
                  <a:gd name="connsiteX459" fmla="*/ 321375 w 391075"/>
                  <a:gd name="connsiteY459" fmla="*/ 177431 h 332436"/>
                  <a:gd name="connsiteX460" fmla="*/ 319860 w 391075"/>
                  <a:gd name="connsiteY460" fmla="*/ 176219 h 332436"/>
                  <a:gd name="connsiteX461" fmla="*/ 318799 w 391075"/>
                  <a:gd name="connsiteY461" fmla="*/ 175006 h 332436"/>
                  <a:gd name="connsiteX462" fmla="*/ 317436 w 391075"/>
                  <a:gd name="connsiteY462" fmla="*/ 173643 h 332436"/>
                  <a:gd name="connsiteX463" fmla="*/ 316527 w 391075"/>
                  <a:gd name="connsiteY463" fmla="*/ 172431 h 332436"/>
                  <a:gd name="connsiteX464" fmla="*/ 317739 w 391075"/>
                  <a:gd name="connsiteY464" fmla="*/ 168643 h 332436"/>
                  <a:gd name="connsiteX465" fmla="*/ 316830 w 391075"/>
                  <a:gd name="connsiteY465" fmla="*/ 167279 h 332436"/>
                  <a:gd name="connsiteX466" fmla="*/ 316375 w 391075"/>
                  <a:gd name="connsiteY466" fmla="*/ 165461 h 332436"/>
                  <a:gd name="connsiteX467" fmla="*/ 316678 w 391075"/>
                  <a:gd name="connsiteY467" fmla="*/ 164248 h 332436"/>
                  <a:gd name="connsiteX468" fmla="*/ 316224 w 391075"/>
                  <a:gd name="connsiteY468" fmla="*/ 163945 h 332436"/>
                  <a:gd name="connsiteX469" fmla="*/ 311375 w 391075"/>
                  <a:gd name="connsiteY469" fmla="*/ 163188 h 332436"/>
                  <a:gd name="connsiteX470" fmla="*/ 307284 w 391075"/>
                  <a:gd name="connsiteY470" fmla="*/ 163491 h 332436"/>
                  <a:gd name="connsiteX471" fmla="*/ 304405 w 391075"/>
                  <a:gd name="connsiteY471" fmla="*/ 164703 h 332436"/>
                  <a:gd name="connsiteX472" fmla="*/ 301981 w 391075"/>
                  <a:gd name="connsiteY472" fmla="*/ 166824 h 332436"/>
                  <a:gd name="connsiteX473" fmla="*/ 301677 w 391075"/>
                  <a:gd name="connsiteY473" fmla="*/ 167279 h 332436"/>
                  <a:gd name="connsiteX474" fmla="*/ 301829 w 391075"/>
                  <a:gd name="connsiteY474" fmla="*/ 167582 h 332436"/>
                  <a:gd name="connsiteX475" fmla="*/ 303042 w 391075"/>
                  <a:gd name="connsiteY475" fmla="*/ 169552 h 332436"/>
                  <a:gd name="connsiteX476" fmla="*/ 301072 w 391075"/>
                  <a:gd name="connsiteY476" fmla="*/ 171521 h 332436"/>
                  <a:gd name="connsiteX477" fmla="*/ 298041 w 391075"/>
                  <a:gd name="connsiteY477" fmla="*/ 173037 h 332436"/>
                  <a:gd name="connsiteX478" fmla="*/ 295920 w 391075"/>
                  <a:gd name="connsiteY478" fmla="*/ 173188 h 332436"/>
                  <a:gd name="connsiteX479" fmla="*/ 295011 w 391075"/>
                  <a:gd name="connsiteY479" fmla="*/ 172885 h 332436"/>
                  <a:gd name="connsiteX480" fmla="*/ 295011 w 391075"/>
                  <a:gd name="connsiteY480" fmla="*/ 170764 h 332436"/>
                  <a:gd name="connsiteX481" fmla="*/ 296829 w 391075"/>
                  <a:gd name="connsiteY481" fmla="*/ 170006 h 332436"/>
                  <a:gd name="connsiteX482" fmla="*/ 298496 w 391075"/>
                  <a:gd name="connsiteY482" fmla="*/ 168643 h 332436"/>
                  <a:gd name="connsiteX483" fmla="*/ 299102 w 391075"/>
                  <a:gd name="connsiteY483" fmla="*/ 166673 h 332436"/>
                  <a:gd name="connsiteX484" fmla="*/ 299254 w 391075"/>
                  <a:gd name="connsiteY484" fmla="*/ 165309 h 332436"/>
                  <a:gd name="connsiteX485" fmla="*/ 297587 w 391075"/>
                  <a:gd name="connsiteY485" fmla="*/ 163642 h 332436"/>
                  <a:gd name="connsiteX486" fmla="*/ 297738 w 391075"/>
                  <a:gd name="connsiteY486" fmla="*/ 162582 h 332436"/>
                  <a:gd name="connsiteX487" fmla="*/ 298799 w 391075"/>
                  <a:gd name="connsiteY487" fmla="*/ 160612 h 332436"/>
                  <a:gd name="connsiteX488" fmla="*/ 299405 w 391075"/>
                  <a:gd name="connsiteY488" fmla="*/ 158794 h 332436"/>
                  <a:gd name="connsiteX489" fmla="*/ 300314 w 391075"/>
                  <a:gd name="connsiteY489" fmla="*/ 157279 h 332436"/>
                  <a:gd name="connsiteX490" fmla="*/ 303647 w 391075"/>
                  <a:gd name="connsiteY490" fmla="*/ 154854 h 332436"/>
                  <a:gd name="connsiteX491" fmla="*/ 307132 w 391075"/>
                  <a:gd name="connsiteY491" fmla="*/ 152430 h 332436"/>
                  <a:gd name="connsiteX492" fmla="*/ 307587 w 391075"/>
                  <a:gd name="connsiteY492" fmla="*/ 149854 h 332436"/>
                  <a:gd name="connsiteX493" fmla="*/ 307890 w 391075"/>
                  <a:gd name="connsiteY493" fmla="*/ 146672 h 332436"/>
                  <a:gd name="connsiteX494" fmla="*/ 308344 w 391075"/>
                  <a:gd name="connsiteY494" fmla="*/ 145914 h 332436"/>
                  <a:gd name="connsiteX495" fmla="*/ 312890 w 391075"/>
                  <a:gd name="connsiteY495" fmla="*/ 143945 h 332436"/>
                  <a:gd name="connsiteX496" fmla="*/ 314102 w 391075"/>
                  <a:gd name="connsiteY496" fmla="*/ 143187 h 332436"/>
                  <a:gd name="connsiteX497" fmla="*/ 314708 w 391075"/>
                  <a:gd name="connsiteY497" fmla="*/ 142126 h 332436"/>
                  <a:gd name="connsiteX498" fmla="*/ 318345 w 391075"/>
                  <a:gd name="connsiteY498" fmla="*/ 138490 h 332436"/>
                  <a:gd name="connsiteX499" fmla="*/ 321982 w 391075"/>
                  <a:gd name="connsiteY499" fmla="*/ 134853 h 332436"/>
                  <a:gd name="connsiteX500" fmla="*/ 322739 w 391075"/>
                  <a:gd name="connsiteY500" fmla="*/ 133641 h 332436"/>
                  <a:gd name="connsiteX501" fmla="*/ 323345 w 391075"/>
                  <a:gd name="connsiteY501" fmla="*/ 132884 h 332436"/>
                  <a:gd name="connsiteX502" fmla="*/ 323345 w 391075"/>
                  <a:gd name="connsiteY502" fmla="*/ 132278 h 332436"/>
                  <a:gd name="connsiteX503" fmla="*/ 322891 w 391075"/>
                  <a:gd name="connsiteY503" fmla="*/ 131823 h 332436"/>
                  <a:gd name="connsiteX504" fmla="*/ 321224 w 391075"/>
                  <a:gd name="connsiteY504" fmla="*/ 131520 h 332436"/>
                  <a:gd name="connsiteX505" fmla="*/ 320618 w 391075"/>
                  <a:gd name="connsiteY505" fmla="*/ 130308 h 332436"/>
                  <a:gd name="connsiteX506" fmla="*/ 322436 w 391075"/>
                  <a:gd name="connsiteY506" fmla="*/ 128338 h 332436"/>
                  <a:gd name="connsiteX507" fmla="*/ 324709 w 391075"/>
                  <a:gd name="connsiteY507" fmla="*/ 127126 h 332436"/>
                  <a:gd name="connsiteX508" fmla="*/ 326982 w 391075"/>
                  <a:gd name="connsiteY508" fmla="*/ 127126 h 332436"/>
                  <a:gd name="connsiteX509" fmla="*/ 327891 w 391075"/>
                  <a:gd name="connsiteY509" fmla="*/ 127732 h 332436"/>
                  <a:gd name="connsiteX510" fmla="*/ 327891 w 391075"/>
                  <a:gd name="connsiteY510" fmla="*/ 128338 h 332436"/>
                  <a:gd name="connsiteX511" fmla="*/ 328800 w 391075"/>
                  <a:gd name="connsiteY511" fmla="*/ 129096 h 332436"/>
                  <a:gd name="connsiteX512" fmla="*/ 330467 w 391075"/>
                  <a:gd name="connsiteY512" fmla="*/ 129399 h 332436"/>
                  <a:gd name="connsiteX513" fmla="*/ 332588 w 391075"/>
                  <a:gd name="connsiteY513" fmla="*/ 129096 h 332436"/>
                  <a:gd name="connsiteX514" fmla="*/ 334709 w 391075"/>
                  <a:gd name="connsiteY514" fmla="*/ 128338 h 332436"/>
                  <a:gd name="connsiteX515" fmla="*/ 336073 w 391075"/>
                  <a:gd name="connsiteY515" fmla="*/ 126520 h 332436"/>
                  <a:gd name="connsiteX516" fmla="*/ 336830 w 391075"/>
                  <a:gd name="connsiteY516" fmla="*/ 125156 h 332436"/>
                  <a:gd name="connsiteX517" fmla="*/ 340164 w 391075"/>
                  <a:gd name="connsiteY517" fmla="*/ 123641 h 332436"/>
                  <a:gd name="connsiteX518" fmla="*/ 338800 w 391075"/>
                  <a:gd name="connsiteY518" fmla="*/ 123186 h 332436"/>
                  <a:gd name="connsiteX519" fmla="*/ 337739 w 391075"/>
                  <a:gd name="connsiteY519" fmla="*/ 120914 h 332436"/>
                  <a:gd name="connsiteX520" fmla="*/ 338043 w 391075"/>
                  <a:gd name="connsiteY520" fmla="*/ 117429 h 332436"/>
                  <a:gd name="connsiteX521" fmla="*/ 339558 w 391075"/>
                  <a:gd name="connsiteY521" fmla="*/ 112883 h 332436"/>
                  <a:gd name="connsiteX522" fmla="*/ 340012 w 391075"/>
                  <a:gd name="connsiteY522" fmla="*/ 109550 h 332436"/>
                  <a:gd name="connsiteX523" fmla="*/ 339406 w 391075"/>
                  <a:gd name="connsiteY523" fmla="*/ 107428 h 332436"/>
                  <a:gd name="connsiteX524" fmla="*/ 340316 w 391075"/>
                  <a:gd name="connsiteY524" fmla="*/ 104246 h 332436"/>
                  <a:gd name="connsiteX525" fmla="*/ 342740 w 391075"/>
                  <a:gd name="connsiteY525" fmla="*/ 100004 h 332436"/>
                  <a:gd name="connsiteX526" fmla="*/ 344406 w 391075"/>
                  <a:gd name="connsiteY526" fmla="*/ 95458 h 332436"/>
                  <a:gd name="connsiteX527" fmla="*/ 345164 w 391075"/>
                  <a:gd name="connsiteY527" fmla="*/ 90609 h 332436"/>
                  <a:gd name="connsiteX528" fmla="*/ 346376 w 391075"/>
                  <a:gd name="connsiteY528" fmla="*/ 87427 h 332436"/>
                  <a:gd name="connsiteX529" fmla="*/ 348649 w 391075"/>
                  <a:gd name="connsiteY529" fmla="*/ 85306 h 332436"/>
                  <a:gd name="connsiteX530" fmla="*/ 354104 w 391075"/>
                  <a:gd name="connsiteY530" fmla="*/ 79094 h 332436"/>
                  <a:gd name="connsiteX531" fmla="*/ 354559 w 391075"/>
                  <a:gd name="connsiteY531" fmla="*/ 78639 h 332436"/>
                  <a:gd name="connsiteX532" fmla="*/ 354407 w 391075"/>
                  <a:gd name="connsiteY532" fmla="*/ 75609 h 332436"/>
                  <a:gd name="connsiteX533" fmla="*/ 350467 w 391075"/>
                  <a:gd name="connsiteY533" fmla="*/ 75154 h 332436"/>
                  <a:gd name="connsiteX534" fmla="*/ 389560 w 391075"/>
                  <a:gd name="connsiteY534" fmla="*/ 293193 h 332436"/>
                  <a:gd name="connsiteX535" fmla="*/ 388499 w 391075"/>
                  <a:gd name="connsiteY535" fmla="*/ 292132 h 332436"/>
                  <a:gd name="connsiteX536" fmla="*/ 388044 w 391075"/>
                  <a:gd name="connsiteY536" fmla="*/ 290768 h 332436"/>
                  <a:gd name="connsiteX537" fmla="*/ 388802 w 391075"/>
                  <a:gd name="connsiteY537" fmla="*/ 285920 h 332436"/>
                  <a:gd name="connsiteX538" fmla="*/ 388802 w 391075"/>
                  <a:gd name="connsiteY538" fmla="*/ 284101 h 332436"/>
                  <a:gd name="connsiteX539" fmla="*/ 388347 w 391075"/>
                  <a:gd name="connsiteY539" fmla="*/ 281374 h 332436"/>
                  <a:gd name="connsiteX540" fmla="*/ 388347 w 391075"/>
                  <a:gd name="connsiteY540" fmla="*/ 280162 h 332436"/>
                  <a:gd name="connsiteX541" fmla="*/ 386984 w 391075"/>
                  <a:gd name="connsiteY541" fmla="*/ 278798 h 332436"/>
                  <a:gd name="connsiteX542" fmla="*/ 385620 w 391075"/>
                  <a:gd name="connsiteY542" fmla="*/ 278950 h 332436"/>
                  <a:gd name="connsiteX543" fmla="*/ 384711 w 391075"/>
                  <a:gd name="connsiteY543" fmla="*/ 281374 h 332436"/>
                  <a:gd name="connsiteX544" fmla="*/ 384559 w 391075"/>
                  <a:gd name="connsiteY544" fmla="*/ 285617 h 332436"/>
                  <a:gd name="connsiteX545" fmla="*/ 385014 w 391075"/>
                  <a:gd name="connsiteY545" fmla="*/ 287132 h 332436"/>
                  <a:gd name="connsiteX546" fmla="*/ 384256 w 391075"/>
                  <a:gd name="connsiteY546" fmla="*/ 288950 h 332436"/>
                  <a:gd name="connsiteX547" fmla="*/ 383499 w 391075"/>
                  <a:gd name="connsiteY547" fmla="*/ 289556 h 332436"/>
                  <a:gd name="connsiteX548" fmla="*/ 382590 w 391075"/>
                  <a:gd name="connsiteY548" fmla="*/ 288950 h 332436"/>
                  <a:gd name="connsiteX549" fmla="*/ 381075 w 391075"/>
                  <a:gd name="connsiteY549" fmla="*/ 288344 h 332436"/>
                  <a:gd name="connsiteX550" fmla="*/ 379408 w 391075"/>
                  <a:gd name="connsiteY550" fmla="*/ 288192 h 332436"/>
                  <a:gd name="connsiteX551" fmla="*/ 378044 w 391075"/>
                  <a:gd name="connsiteY551" fmla="*/ 289101 h 332436"/>
                  <a:gd name="connsiteX552" fmla="*/ 376832 w 391075"/>
                  <a:gd name="connsiteY552" fmla="*/ 290465 h 332436"/>
                  <a:gd name="connsiteX553" fmla="*/ 375468 w 391075"/>
                  <a:gd name="connsiteY553" fmla="*/ 291071 h 332436"/>
                  <a:gd name="connsiteX554" fmla="*/ 370468 w 391075"/>
                  <a:gd name="connsiteY554" fmla="*/ 292283 h 332436"/>
                  <a:gd name="connsiteX555" fmla="*/ 367741 w 391075"/>
                  <a:gd name="connsiteY555" fmla="*/ 294253 h 332436"/>
                  <a:gd name="connsiteX556" fmla="*/ 365771 w 391075"/>
                  <a:gd name="connsiteY556" fmla="*/ 298344 h 332436"/>
                  <a:gd name="connsiteX557" fmla="*/ 364407 w 391075"/>
                  <a:gd name="connsiteY557" fmla="*/ 299708 h 332436"/>
                  <a:gd name="connsiteX558" fmla="*/ 363801 w 391075"/>
                  <a:gd name="connsiteY558" fmla="*/ 300617 h 332436"/>
                  <a:gd name="connsiteX559" fmla="*/ 364559 w 391075"/>
                  <a:gd name="connsiteY559" fmla="*/ 301072 h 332436"/>
                  <a:gd name="connsiteX560" fmla="*/ 365468 w 391075"/>
                  <a:gd name="connsiteY560" fmla="*/ 301072 h 332436"/>
                  <a:gd name="connsiteX561" fmla="*/ 366832 w 391075"/>
                  <a:gd name="connsiteY561" fmla="*/ 303041 h 332436"/>
                  <a:gd name="connsiteX562" fmla="*/ 365013 w 391075"/>
                  <a:gd name="connsiteY562" fmla="*/ 303951 h 332436"/>
                  <a:gd name="connsiteX563" fmla="*/ 363801 w 391075"/>
                  <a:gd name="connsiteY563" fmla="*/ 305314 h 332436"/>
                  <a:gd name="connsiteX564" fmla="*/ 364407 w 391075"/>
                  <a:gd name="connsiteY564" fmla="*/ 307284 h 332436"/>
                  <a:gd name="connsiteX565" fmla="*/ 365923 w 391075"/>
                  <a:gd name="connsiteY565" fmla="*/ 308648 h 332436"/>
                  <a:gd name="connsiteX566" fmla="*/ 367589 w 391075"/>
                  <a:gd name="connsiteY566" fmla="*/ 309405 h 332436"/>
                  <a:gd name="connsiteX567" fmla="*/ 367589 w 391075"/>
                  <a:gd name="connsiteY567" fmla="*/ 311072 h 332436"/>
                  <a:gd name="connsiteX568" fmla="*/ 366225 w 391075"/>
                  <a:gd name="connsiteY568" fmla="*/ 312587 h 332436"/>
                  <a:gd name="connsiteX569" fmla="*/ 365165 w 391075"/>
                  <a:gd name="connsiteY569" fmla="*/ 313799 h 332436"/>
                  <a:gd name="connsiteX570" fmla="*/ 365316 w 391075"/>
                  <a:gd name="connsiteY570" fmla="*/ 314709 h 332436"/>
                  <a:gd name="connsiteX571" fmla="*/ 366680 w 391075"/>
                  <a:gd name="connsiteY571" fmla="*/ 315012 h 332436"/>
                  <a:gd name="connsiteX572" fmla="*/ 368498 w 391075"/>
                  <a:gd name="connsiteY572" fmla="*/ 314860 h 332436"/>
                  <a:gd name="connsiteX573" fmla="*/ 368953 w 391075"/>
                  <a:gd name="connsiteY573" fmla="*/ 316678 h 332436"/>
                  <a:gd name="connsiteX574" fmla="*/ 367892 w 391075"/>
                  <a:gd name="connsiteY574" fmla="*/ 318800 h 332436"/>
                  <a:gd name="connsiteX575" fmla="*/ 367892 w 391075"/>
                  <a:gd name="connsiteY575" fmla="*/ 320163 h 332436"/>
                  <a:gd name="connsiteX576" fmla="*/ 369407 w 391075"/>
                  <a:gd name="connsiteY576" fmla="*/ 320921 h 332436"/>
                  <a:gd name="connsiteX577" fmla="*/ 372590 w 391075"/>
                  <a:gd name="connsiteY577" fmla="*/ 322133 h 332436"/>
                  <a:gd name="connsiteX578" fmla="*/ 372438 w 391075"/>
                  <a:gd name="connsiteY578" fmla="*/ 323194 h 332436"/>
                  <a:gd name="connsiteX579" fmla="*/ 371074 w 391075"/>
                  <a:gd name="connsiteY579" fmla="*/ 324557 h 332436"/>
                  <a:gd name="connsiteX580" fmla="*/ 370468 w 391075"/>
                  <a:gd name="connsiteY580" fmla="*/ 325769 h 332436"/>
                  <a:gd name="connsiteX581" fmla="*/ 371377 w 391075"/>
                  <a:gd name="connsiteY581" fmla="*/ 326679 h 332436"/>
                  <a:gd name="connsiteX582" fmla="*/ 372892 w 391075"/>
                  <a:gd name="connsiteY582" fmla="*/ 328042 h 332436"/>
                  <a:gd name="connsiteX583" fmla="*/ 375923 w 391075"/>
                  <a:gd name="connsiteY583" fmla="*/ 329406 h 332436"/>
                  <a:gd name="connsiteX584" fmla="*/ 380923 w 391075"/>
                  <a:gd name="connsiteY584" fmla="*/ 332436 h 332436"/>
                  <a:gd name="connsiteX585" fmla="*/ 382741 w 391075"/>
                  <a:gd name="connsiteY585" fmla="*/ 330012 h 332436"/>
                  <a:gd name="connsiteX586" fmla="*/ 384863 w 391075"/>
                  <a:gd name="connsiteY586" fmla="*/ 324557 h 332436"/>
                  <a:gd name="connsiteX587" fmla="*/ 386075 w 391075"/>
                  <a:gd name="connsiteY587" fmla="*/ 322891 h 332436"/>
                  <a:gd name="connsiteX588" fmla="*/ 386681 w 391075"/>
                  <a:gd name="connsiteY588" fmla="*/ 321224 h 332436"/>
                  <a:gd name="connsiteX589" fmla="*/ 386833 w 391075"/>
                  <a:gd name="connsiteY589" fmla="*/ 314860 h 332436"/>
                  <a:gd name="connsiteX590" fmla="*/ 387590 w 391075"/>
                  <a:gd name="connsiteY590" fmla="*/ 313345 h 332436"/>
                  <a:gd name="connsiteX591" fmla="*/ 390923 w 391075"/>
                  <a:gd name="connsiteY591" fmla="*/ 308193 h 332436"/>
                  <a:gd name="connsiteX592" fmla="*/ 391075 w 391075"/>
                  <a:gd name="connsiteY592" fmla="*/ 307132 h 332436"/>
                  <a:gd name="connsiteX593" fmla="*/ 390317 w 391075"/>
                  <a:gd name="connsiteY593" fmla="*/ 294253 h 332436"/>
                  <a:gd name="connsiteX594" fmla="*/ 389560 w 391075"/>
                  <a:gd name="connsiteY594" fmla="*/ 293193 h 332436"/>
                  <a:gd name="connsiteX595" fmla="*/ 96215 w 391075"/>
                  <a:gd name="connsiteY595" fmla="*/ 185007 h 332436"/>
                  <a:gd name="connsiteX596" fmla="*/ 97124 w 391075"/>
                  <a:gd name="connsiteY596" fmla="*/ 181976 h 332436"/>
                  <a:gd name="connsiteX597" fmla="*/ 94246 w 391075"/>
                  <a:gd name="connsiteY597" fmla="*/ 178643 h 332436"/>
                  <a:gd name="connsiteX598" fmla="*/ 91367 w 391075"/>
                  <a:gd name="connsiteY598" fmla="*/ 176976 h 332436"/>
                  <a:gd name="connsiteX599" fmla="*/ 91367 w 391075"/>
                  <a:gd name="connsiteY599" fmla="*/ 177582 h 332436"/>
                  <a:gd name="connsiteX600" fmla="*/ 91973 w 391075"/>
                  <a:gd name="connsiteY600" fmla="*/ 179855 h 332436"/>
                  <a:gd name="connsiteX601" fmla="*/ 94397 w 391075"/>
                  <a:gd name="connsiteY601" fmla="*/ 182279 h 332436"/>
                  <a:gd name="connsiteX602" fmla="*/ 96215 w 391075"/>
                  <a:gd name="connsiteY602" fmla="*/ 185007 h 33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Lst>
                <a:rect l="l" t="t" r="r" b="b"/>
                <a:pathLst>
                  <a:path w="391075" h="332436">
                    <a:moveTo>
                      <a:pt x="350467" y="75154"/>
                    </a:moveTo>
                    <a:lnTo>
                      <a:pt x="348346" y="74245"/>
                    </a:lnTo>
                    <a:lnTo>
                      <a:pt x="342891" y="73185"/>
                    </a:lnTo>
                    <a:lnTo>
                      <a:pt x="337739" y="72427"/>
                    </a:lnTo>
                    <a:lnTo>
                      <a:pt x="335467" y="71518"/>
                    </a:lnTo>
                    <a:lnTo>
                      <a:pt x="333346" y="69245"/>
                    </a:lnTo>
                    <a:lnTo>
                      <a:pt x="332133" y="69245"/>
                    </a:lnTo>
                    <a:lnTo>
                      <a:pt x="329709" y="70003"/>
                    </a:lnTo>
                    <a:lnTo>
                      <a:pt x="326679" y="70609"/>
                    </a:lnTo>
                    <a:lnTo>
                      <a:pt x="324406" y="70154"/>
                    </a:lnTo>
                    <a:lnTo>
                      <a:pt x="323042" y="70306"/>
                    </a:lnTo>
                    <a:lnTo>
                      <a:pt x="322285" y="70760"/>
                    </a:lnTo>
                    <a:lnTo>
                      <a:pt x="321830" y="70306"/>
                    </a:lnTo>
                    <a:lnTo>
                      <a:pt x="321224" y="68336"/>
                    </a:lnTo>
                    <a:lnTo>
                      <a:pt x="320012" y="67881"/>
                    </a:lnTo>
                    <a:lnTo>
                      <a:pt x="318194" y="67427"/>
                    </a:lnTo>
                    <a:lnTo>
                      <a:pt x="316981" y="67578"/>
                    </a:lnTo>
                    <a:lnTo>
                      <a:pt x="316224" y="68639"/>
                    </a:lnTo>
                    <a:lnTo>
                      <a:pt x="315011" y="69397"/>
                    </a:lnTo>
                    <a:lnTo>
                      <a:pt x="313951" y="69245"/>
                    </a:lnTo>
                    <a:lnTo>
                      <a:pt x="310466" y="64699"/>
                    </a:lnTo>
                    <a:lnTo>
                      <a:pt x="309557" y="63639"/>
                    </a:lnTo>
                    <a:lnTo>
                      <a:pt x="309253" y="62730"/>
                    </a:lnTo>
                    <a:lnTo>
                      <a:pt x="308344" y="61063"/>
                    </a:lnTo>
                    <a:lnTo>
                      <a:pt x="306223" y="59396"/>
                    </a:lnTo>
                    <a:lnTo>
                      <a:pt x="304102" y="58790"/>
                    </a:lnTo>
                    <a:lnTo>
                      <a:pt x="303042" y="58942"/>
                    </a:lnTo>
                    <a:lnTo>
                      <a:pt x="301223" y="58032"/>
                    </a:lnTo>
                    <a:lnTo>
                      <a:pt x="300314" y="57426"/>
                    </a:lnTo>
                    <a:lnTo>
                      <a:pt x="298647" y="57275"/>
                    </a:lnTo>
                    <a:lnTo>
                      <a:pt x="296980" y="57729"/>
                    </a:lnTo>
                    <a:lnTo>
                      <a:pt x="295768" y="58790"/>
                    </a:lnTo>
                    <a:lnTo>
                      <a:pt x="294101" y="59093"/>
                    </a:lnTo>
                    <a:lnTo>
                      <a:pt x="292738" y="58790"/>
                    </a:lnTo>
                    <a:lnTo>
                      <a:pt x="291829" y="58032"/>
                    </a:lnTo>
                    <a:lnTo>
                      <a:pt x="291071" y="57578"/>
                    </a:lnTo>
                    <a:lnTo>
                      <a:pt x="288950" y="56972"/>
                    </a:lnTo>
                    <a:lnTo>
                      <a:pt x="288041" y="55760"/>
                    </a:lnTo>
                    <a:lnTo>
                      <a:pt x="285920" y="55760"/>
                    </a:lnTo>
                    <a:lnTo>
                      <a:pt x="283192" y="56214"/>
                    </a:lnTo>
                    <a:lnTo>
                      <a:pt x="281374" y="56820"/>
                    </a:lnTo>
                    <a:lnTo>
                      <a:pt x="280465" y="56820"/>
                    </a:lnTo>
                    <a:lnTo>
                      <a:pt x="278495" y="55305"/>
                    </a:lnTo>
                    <a:lnTo>
                      <a:pt x="276222" y="53032"/>
                    </a:lnTo>
                    <a:lnTo>
                      <a:pt x="274858" y="51972"/>
                    </a:lnTo>
                    <a:lnTo>
                      <a:pt x="274252" y="51063"/>
                    </a:lnTo>
                    <a:lnTo>
                      <a:pt x="272434" y="50608"/>
                    </a:lnTo>
                    <a:lnTo>
                      <a:pt x="270010" y="49396"/>
                    </a:lnTo>
                    <a:lnTo>
                      <a:pt x="268343" y="48184"/>
                    </a:lnTo>
                    <a:lnTo>
                      <a:pt x="266828" y="47426"/>
                    </a:lnTo>
                    <a:lnTo>
                      <a:pt x="264707" y="46972"/>
                    </a:lnTo>
                    <a:lnTo>
                      <a:pt x="263040" y="46972"/>
                    </a:lnTo>
                    <a:lnTo>
                      <a:pt x="262585" y="44850"/>
                    </a:lnTo>
                    <a:lnTo>
                      <a:pt x="262434" y="42426"/>
                    </a:lnTo>
                    <a:lnTo>
                      <a:pt x="261070" y="40759"/>
                    </a:lnTo>
                    <a:lnTo>
                      <a:pt x="263040" y="34395"/>
                    </a:lnTo>
                    <a:lnTo>
                      <a:pt x="261828" y="33789"/>
                    </a:lnTo>
                    <a:lnTo>
                      <a:pt x="260615" y="34244"/>
                    </a:lnTo>
                    <a:lnTo>
                      <a:pt x="258797" y="35759"/>
                    </a:lnTo>
                    <a:lnTo>
                      <a:pt x="257888" y="37577"/>
                    </a:lnTo>
                    <a:lnTo>
                      <a:pt x="257434" y="39092"/>
                    </a:lnTo>
                    <a:lnTo>
                      <a:pt x="254403" y="40608"/>
                    </a:lnTo>
                    <a:lnTo>
                      <a:pt x="249555" y="41214"/>
                    </a:lnTo>
                    <a:lnTo>
                      <a:pt x="244251" y="40608"/>
                    </a:lnTo>
                    <a:lnTo>
                      <a:pt x="243494" y="40153"/>
                    </a:lnTo>
                    <a:lnTo>
                      <a:pt x="243191" y="39698"/>
                    </a:lnTo>
                    <a:lnTo>
                      <a:pt x="243191" y="39092"/>
                    </a:lnTo>
                    <a:lnTo>
                      <a:pt x="243494" y="38183"/>
                    </a:lnTo>
                    <a:lnTo>
                      <a:pt x="244403" y="37123"/>
                    </a:lnTo>
                    <a:lnTo>
                      <a:pt x="244706" y="35607"/>
                    </a:lnTo>
                    <a:lnTo>
                      <a:pt x="243797" y="34395"/>
                    </a:lnTo>
                    <a:lnTo>
                      <a:pt x="243191" y="33941"/>
                    </a:lnTo>
                    <a:lnTo>
                      <a:pt x="243494" y="32729"/>
                    </a:lnTo>
                    <a:lnTo>
                      <a:pt x="244251" y="31213"/>
                    </a:lnTo>
                    <a:lnTo>
                      <a:pt x="244403" y="30304"/>
                    </a:lnTo>
                    <a:lnTo>
                      <a:pt x="240766" y="27577"/>
                    </a:lnTo>
                    <a:lnTo>
                      <a:pt x="238191" y="27122"/>
                    </a:lnTo>
                    <a:lnTo>
                      <a:pt x="235615" y="26971"/>
                    </a:lnTo>
                    <a:lnTo>
                      <a:pt x="233645" y="26668"/>
                    </a:lnTo>
                    <a:lnTo>
                      <a:pt x="232584" y="26819"/>
                    </a:lnTo>
                    <a:lnTo>
                      <a:pt x="231827" y="27577"/>
                    </a:lnTo>
                    <a:lnTo>
                      <a:pt x="231069" y="28183"/>
                    </a:lnTo>
                    <a:lnTo>
                      <a:pt x="230463" y="27577"/>
                    </a:lnTo>
                    <a:lnTo>
                      <a:pt x="229402" y="22880"/>
                    </a:lnTo>
                    <a:lnTo>
                      <a:pt x="228493" y="22122"/>
                    </a:lnTo>
                    <a:lnTo>
                      <a:pt x="225311" y="21364"/>
                    </a:lnTo>
                    <a:lnTo>
                      <a:pt x="220917" y="21061"/>
                    </a:lnTo>
                    <a:lnTo>
                      <a:pt x="219705" y="20152"/>
                    </a:lnTo>
                    <a:lnTo>
                      <a:pt x="219099" y="18031"/>
                    </a:lnTo>
                    <a:lnTo>
                      <a:pt x="218644" y="15455"/>
                    </a:lnTo>
                    <a:lnTo>
                      <a:pt x="217129" y="13031"/>
                    </a:lnTo>
                    <a:lnTo>
                      <a:pt x="216372" y="12425"/>
                    </a:lnTo>
                    <a:lnTo>
                      <a:pt x="215008" y="11364"/>
                    </a:lnTo>
                    <a:lnTo>
                      <a:pt x="212735" y="11819"/>
                    </a:lnTo>
                    <a:lnTo>
                      <a:pt x="210008" y="13182"/>
                    </a:lnTo>
                    <a:lnTo>
                      <a:pt x="208341" y="13637"/>
                    </a:lnTo>
                    <a:lnTo>
                      <a:pt x="207735" y="13788"/>
                    </a:lnTo>
                    <a:lnTo>
                      <a:pt x="205462" y="12425"/>
                    </a:lnTo>
                    <a:lnTo>
                      <a:pt x="203038" y="10303"/>
                    </a:lnTo>
                    <a:lnTo>
                      <a:pt x="201068" y="8031"/>
                    </a:lnTo>
                    <a:lnTo>
                      <a:pt x="200613" y="6667"/>
                    </a:lnTo>
                    <a:lnTo>
                      <a:pt x="201220" y="5152"/>
                    </a:lnTo>
                    <a:lnTo>
                      <a:pt x="200462" y="3940"/>
                    </a:lnTo>
                    <a:lnTo>
                      <a:pt x="199401" y="1667"/>
                    </a:lnTo>
                    <a:lnTo>
                      <a:pt x="199098" y="0"/>
                    </a:lnTo>
                    <a:lnTo>
                      <a:pt x="196977" y="1061"/>
                    </a:lnTo>
                    <a:lnTo>
                      <a:pt x="182431" y="3788"/>
                    </a:lnTo>
                    <a:lnTo>
                      <a:pt x="178491" y="5758"/>
                    </a:lnTo>
                    <a:lnTo>
                      <a:pt x="175915" y="7576"/>
                    </a:lnTo>
                    <a:lnTo>
                      <a:pt x="174249" y="10000"/>
                    </a:lnTo>
                    <a:lnTo>
                      <a:pt x="173491" y="12879"/>
                    </a:lnTo>
                    <a:lnTo>
                      <a:pt x="172734" y="28941"/>
                    </a:lnTo>
                    <a:lnTo>
                      <a:pt x="173794" y="30456"/>
                    </a:lnTo>
                    <a:lnTo>
                      <a:pt x="172582" y="31213"/>
                    </a:lnTo>
                    <a:lnTo>
                      <a:pt x="171673" y="32122"/>
                    </a:lnTo>
                    <a:lnTo>
                      <a:pt x="168794" y="36213"/>
                    </a:lnTo>
                    <a:lnTo>
                      <a:pt x="164400" y="39395"/>
                    </a:lnTo>
                    <a:lnTo>
                      <a:pt x="155612" y="42577"/>
                    </a:lnTo>
                    <a:lnTo>
                      <a:pt x="147127" y="44244"/>
                    </a:lnTo>
                    <a:lnTo>
                      <a:pt x="135308" y="50002"/>
                    </a:lnTo>
                    <a:lnTo>
                      <a:pt x="133641" y="53638"/>
                    </a:lnTo>
                    <a:lnTo>
                      <a:pt x="133186" y="55154"/>
                    </a:lnTo>
                    <a:lnTo>
                      <a:pt x="133793" y="56820"/>
                    </a:lnTo>
                    <a:lnTo>
                      <a:pt x="137884" y="58487"/>
                    </a:lnTo>
                    <a:lnTo>
                      <a:pt x="142278" y="58184"/>
                    </a:lnTo>
                    <a:lnTo>
                      <a:pt x="141672" y="59093"/>
                    </a:lnTo>
                    <a:lnTo>
                      <a:pt x="133944" y="60760"/>
                    </a:lnTo>
                    <a:lnTo>
                      <a:pt x="129853" y="63336"/>
                    </a:lnTo>
                    <a:lnTo>
                      <a:pt x="125610" y="64548"/>
                    </a:lnTo>
                    <a:lnTo>
                      <a:pt x="115762" y="62578"/>
                    </a:lnTo>
                    <a:lnTo>
                      <a:pt x="109095" y="62427"/>
                    </a:lnTo>
                    <a:lnTo>
                      <a:pt x="103791" y="61214"/>
                    </a:lnTo>
                    <a:lnTo>
                      <a:pt x="98943" y="61366"/>
                    </a:lnTo>
                    <a:lnTo>
                      <a:pt x="97428" y="59396"/>
                    </a:lnTo>
                    <a:lnTo>
                      <a:pt x="96367" y="57578"/>
                    </a:lnTo>
                    <a:lnTo>
                      <a:pt x="95458" y="53941"/>
                    </a:lnTo>
                    <a:lnTo>
                      <a:pt x="95610" y="51063"/>
                    </a:lnTo>
                    <a:lnTo>
                      <a:pt x="92731" y="50153"/>
                    </a:lnTo>
                    <a:lnTo>
                      <a:pt x="86670" y="51517"/>
                    </a:lnTo>
                    <a:lnTo>
                      <a:pt x="83488" y="51063"/>
                    </a:lnTo>
                    <a:lnTo>
                      <a:pt x="79397" y="50911"/>
                    </a:lnTo>
                    <a:lnTo>
                      <a:pt x="78942" y="52729"/>
                    </a:lnTo>
                    <a:lnTo>
                      <a:pt x="79094" y="54093"/>
                    </a:lnTo>
                    <a:lnTo>
                      <a:pt x="80609" y="57881"/>
                    </a:lnTo>
                    <a:lnTo>
                      <a:pt x="83942" y="64093"/>
                    </a:lnTo>
                    <a:lnTo>
                      <a:pt x="86821" y="68033"/>
                    </a:lnTo>
                    <a:lnTo>
                      <a:pt x="87276" y="81973"/>
                    </a:lnTo>
                    <a:lnTo>
                      <a:pt x="89548" y="85761"/>
                    </a:lnTo>
                    <a:lnTo>
                      <a:pt x="92427" y="87276"/>
                    </a:lnTo>
                    <a:lnTo>
                      <a:pt x="90761" y="87730"/>
                    </a:lnTo>
                    <a:lnTo>
                      <a:pt x="80154" y="88185"/>
                    </a:lnTo>
                    <a:lnTo>
                      <a:pt x="79397" y="86821"/>
                    </a:lnTo>
                    <a:lnTo>
                      <a:pt x="77881" y="85761"/>
                    </a:lnTo>
                    <a:lnTo>
                      <a:pt x="76063" y="87882"/>
                    </a:lnTo>
                    <a:lnTo>
                      <a:pt x="75154" y="89700"/>
                    </a:lnTo>
                    <a:lnTo>
                      <a:pt x="73033" y="87427"/>
                    </a:lnTo>
                    <a:lnTo>
                      <a:pt x="63032" y="87276"/>
                    </a:lnTo>
                    <a:lnTo>
                      <a:pt x="56366" y="91216"/>
                    </a:lnTo>
                    <a:lnTo>
                      <a:pt x="53638" y="88943"/>
                    </a:lnTo>
                    <a:lnTo>
                      <a:pt x="47880" y="82276"/>
                    </a:lnTo>
                    <a:lnTo>
                      <a:pt x="41668" y="80458"/>
                    </a:lnTo>
                    <a:lnTo>
                      <a:pt x="35152" y="81367"/>
                    </a:lnTo>
                    <a:lnTo>
                      <a:pt x="33183" y="83033"/>
                    </a:lnTo>
                    <a:lnTo>
                      <a:pt x="28637" y="85003"/>
                    </a:lnTo>
                    <a:lnTo>
                      <a:pt x="24849" y="85609"/>
                    </a:lnTo>
                    <a:lnTo>
                      <a:pt x="19243" y="85155"/>
                    </a:lnTo>
                    <a:lnTo>
                      <a:pt x="6364" y="88185"/>
                    </a:lnTo>
                    <a:lnTo>
                      <a:pt x="1212" y="91064"/>
                    </a:lnTo>
                    <a:lnTo>
                      <a:pt x="0" y="94246"/>
                    </a:lnTo>
                    <a:lnTo>
                      <a:pt x="455" y="95610"/>
                    </a:lnTo>
                    <a:lnTo>
                      <a:pt x="1212" y="97276"/>
                    </a:lnTo>
                    <a:lnTo>
                      <a:pt x="4848" y="97428"/>
                    </a:lnTo>
                    <a:lnTo>
                      <a:pt x="6515" y="96973"/>
                    </a:lnTo>
                    <a:lnTo>
                      <a:pt x="10152" y="97125"/>
                    </a:lnTo>
                    <a:lnTo>
                      <a:pt x="10910" y="97579"/>
                    </a:lnTo>
                    <a:lnTo>
                      <a:pt x="12576" y="97882"/>
                    </a:lnTo>
                    <a:lnTo>
                      <a:pt x="14243" y="99398"/>
                    </a:lnTo>
                    <a:lnTo>
                      <a:pt x="9849" y="99701"/>
                    </a:lnTo>
                    <a:lnTo>
                      <a:pt x="7273" y="99549"/>
                    </a:lnTo>
                    <a:lnTo>
                      <a:pt x="6364" y="99246"/>
                    </a:lnTo>
                    <a:lnTo>
                      <a:pt x="5152" y="100004"/>
                    </a:lnTo>
                    <a:lnTo>
                      <a:pt x="6061" y="101519"/>
                    </a:lnTo>
                    <a:lnTo>
                      <a:pt x="6970" y="102125"/>
                    </a:lnTo>
                    <a:lnTo>
                      <a:pt x="9091" y="102580"/>
                    </a:lnTo>
                    <a:lnTo>
                      <a:pt x="11970" y="104246"/>
                    </a:lnTo>
                    <a:lnTo>
                      <a:pt x="10606" y="105610"/>
                    </a:lnTo>
                    <a:lnTo>
                      <a:pt x="6970" y="106671"/>
                    </a:lnTo>
                    <a:lnTo>
                      <a:pt x="3788" y="107125"/>
                    </a:lnTo>
                    <a:lnTo>
                      <a:pt x="2424" y="108792"/>
                    </a:lnTo>
                    <a:lnTo>
                      <a:pt x="9243" y="111216"/>
                    </a:lnTo>
                    <a:lnTo>
                      <a:pt x="10758" y="114398"/>
                    </a:lnTo>
                    <a:lnTo>
                      <a:pt x="12424" y="116368"/>
                    </a:lnTo>
                    <a:lnTo>
                      <a:pt x="14698" y="116822"/>
                    </a:lnTo>
                    <a:lnTo>
                      <a:pt x="18940" y="115459"/>
                    </a:lnTo>
                    <a:lnTo>
                      <a:pt x="23637" y="115762"/>
                    </a:lnTo>
                    <a:lnTo>
                      <a:pt x="34395" y="118641"/>
                    </a:lnTo>
                    <a:lnTo>
                      <a:pt x="36213" y="120156"/>
                    </a:lnTo>
                    <a:lnTo>
                      <a:pt x="37577" y="119853"/>
                    </a:lnTo>
                    <a:lnTo>
                      <a:pt x="39395" y="120156"/>
                    </a:lnTo>
                    <a:lnTo>
                      <a:pt x="41214" y="121065"/>
                    </a:lnTo>
                    <a:lnTo>
                      <a:pt x="42426" y="120762"/>
                    </a:lnTo>
                    <a:lnTo>
                      <a:pt x="44092" y="120762"/>
                    </a:lnTo>
                    <a:lnTo>
                      <a:pt x="46668" y="123338"/>
                    </a:lnTo>
                    <a:lnTo>
                      <a:pt x="49395" y="124095"/>
                    </a:lnTo>
                    <a:lnTo>
                      <a:pt x="52274" y="123641"/>
                    </a:lnTo>
                    <a:lnTo>
                      <a:pt x="54244" y="123186"/>
                    </a:lnTo>
                    <a:lnTo>
                      <a:pt x="55760" y="123944"/>
                    </a:lnTo>
                    <a:lnTo>
                      <a:pt x="54093" y="126217"/>
                    </a:lnTo>
                    <a:lnTo>
                      <a:pt x="54850" y="126974"/>
                    </a:lnTo>
                    <a:lnTo>
                      <a:pt x="57729" y="126520"/>
                    </a:lnTo>
                    <a:lnTo>
                      <a:pt x="60760" y="126520"/>
                    </a:lnTo>
                    <a:lnTo>
                      <a:pt x="62729" y="127126"/>
                    </a:lnTo>
                    <a:lnTo>
                      <a:pt x="64245" y="128490"/>
                    </a:lnTo>
                    <a:lnTo>
                      <a:pt x="62881" y="130459"/>
                    </a:lnTo>
                    <a:lnTo>
                      <a:pt x="61366" y="131520"/>
                    </a:lnTo>
                    <a:lnTo>
                      <a:pt x="62123" y="133944"/>
                    </a:lnTo>
                    <a:lnTo>
                      <a:pt x="63942" y="134702"/>
                    </a:lnTo>
                    <a:lnTo>
                      <a:pt x="66215" y="135157"/>
                    </a:lnTo>
                    <a:lnTo>
                      <a:pt x="76518" y="134096"/>
                    </a:lnTo>
                    <a:lnTo>
                      <a:pt x="82882" y="137429"/>
                    </a:lnTo>
                    <a:lnTo>
                      <a:pt x="80760" y="137126"/>
                    </a:lnTo>
                    <a:lnTo>
                      <a:pt x="78033" y="135914"/>
                    </a:lnTo>
                    <a:lnTo>
                      <a:pt x="75154" y="135460"/>
                    </a:lnTo>
                    <a:lnTo>
                      <a:pt x="72881" y="135763"/>
                    </a:lnTo>
                    <a:lnTo>
                      <a:pt x="71821" y="137126"/>
                    </a:lnTo>
                    <a:lnTo>
                      <a:pt x="70457" y="139248"/>
                    </a:lnTo>
                    <a:lnTo>
                      <a:pt x="71972" y="140460"/>
                    </a:lnTo>
                    <a:lnTo>
                      <a:pt x="73639" y="140914"/>
                    </a:lnTo>
                    <a:lnTo>
                      <a:pt x="75306" y="143490"/>
                    </a:lnTo>
                    <a:lnTo>
                      <a:pt x="73336" y="147581"/>
                    </a:lnTo>
                    <a:lnTo>
                      <a:pt x="73336" y="149551"/>
                    </a:lnTo>
                    <a:lnTo>
                      <a:pt x="74245" y="151369"/>
                    </a:lnTo>
                    <a:lnTo>
                      <a:pt x="78033" y="155612"/>
                    </a:lnTo>
                    <a:lnTo>
                      <a:pt x="81669" y="161521"/>
                    </a:lnTo>
                    <a:lnTo>
                      <a:pt x="92427" y="167127"/>
                    </a:lnTo>
                    <a:lnTo>
                      <a:pt x="94549" y="167885"/>
                    </a:lnTo>
                    <a:lnTo>
                      <a:pt x="96519" y="168036"/>
                    </a:lnTo>
                    <a:lnTo>
                      <a:pt x="99094" y="168491"/>
                    </a:lnTo>
                    <a:lnTo>
                      <a:pt x="99549" y="170461"/>
                    </a:lnTo>
                    <a:lnTo>
                      <a:pt x="99398" y="172128"/>
                    </a:lnTo>
                    <a:lnTo>
                      <a:pt x="100307" y="181673"/>
                    </a:lnTo>
                    <a:lnTo>
                      <a:pt x="101367" y="185764"/>
                    </a:lnTo>
                    <a:lnTo>
                      <a:pt x="101973" y="186825"/>
                    </a:lnTo>
                    <a:lnTo>
                      <a:pt x="102277" y="187886"/>
                    </a:lnTo>
                    <a:lnTo>
                      <a:pt x="100003" y="186977"/>
                    </a:lnTo>
                    <a:lnTo>
                      <a:pt x="97428" y="186825"/>
                    </a:lnTo>
                    <a:lnTo>
                      <a:pt x="97882" y="188795"/>
                    </a:lnTo>
                    <a:lnTo>
                      <a:pt x="98640" y="189704"/>
                    </a:lnTo>
                    <a:lnTo>
                      <a:pt x="106519" y="194704"/>
                    </a:lnTo>
                    <a:lnTo>
                      <a:pt x="108943" y="197128"/>
                    </a:lnTo>
                    <a:lnTo>
                      <a:pt x="110458" y="200007"/>
                    </a:lnTo>
                    <a:lnTo>
                      <a:pt x="113034" y="210008"/>
                    </a:lnTo>
                    <a:lnTo>
                      <a:pt x="114701" y="211371"/>
                    </a:lnTo>
                    <a:lnTo>
                      <a:pt x="115610" y="213038"/>
                    </a:lnTo>
                    <a:lnTo>
                      <a:pt x="113337" y="211523"/>
                    </a:lnTo>
                    <a:lnTo>
                      <a:pt x="111822" y="210008"/>
                    </a:lnTo>
                    <a:lnTo>
                      <a:pt x="109701" y="202583"/>
                    </a:lnTo>
                    <a:lnTo>
                      <a:pt x="108034" y="200310"/>
                    </a:lnTo>
                    <a:lnTo>
                      <a:pt x="104852" y="197735"/>
                    </a:lnTo>
                    <a:lnTo>
                      <a:pt x="101064" y="195159"/>
                    </a:lnTo>
                    <a:lnTo>
                      <a:pt x="99246" y="201523"/>
                    </a:lnTo>
                    <a:lnTo>
                      <a:pt x="98185" y="207583"/>
                    </a:lnTo>
                    <a:lnTo>
                      <a:pt x="96670" y="224251"/>
                    </a:lnTo>
                    <a:lnTo>
                      <a:pt x="97276" y="223645"/>
                    </a:lnTo>
                    <a:lnTo>
                      <a:pt x="97882" y="222281"/>
                    </a:lnTo>
                    <a:lnTo>
                      <a:pt x="99246" y="221069"/>
                    </a:lnTo>
                    <a:lnTo>
                      <a:pt x="101367" y="223493"/>
                    </a:lnTo>
                    <a:lnTo>
                      <a:pt x="98791" y="224402"/>
                    </a:lnTo>
                    <a:lnTo>
                      <a:pt x="96822" y="227887"/>
                    </a:lnTo>
                    <a:lnTo>
                      <a:pt x="94094" y="245918"/>
                    </a:lnTo>
                    <a:lnTo>
                      <a:pt x="90306" y="261070"/>
                    </a:lnTo>
                    <a:lnTo>
                      <a:pt x="86367" y="265313"/>
                    </a:lnTo>
                    <a:lnTo>
                      <a:pt x="81972" y="266373"/>
                    </a:lnTo>
                    <a:lnTo>
                      <a:pt x="81972" y="267586"/>
                    </a:lnTo>
                    <a:lnTo>
                      <a:pt x="83033" y="269101"/>
                    </a:lnTo>
                    <a:lnTo>
                      <a:pt x="84094" y="269707"/>
                    </a:lnTo>
                    <a:lnTo>
                      <a:pt x="86367" y="270465"/>
                    </a:lnTo>
                    <a:lnTo>
                      <a:pt x="88185" y="270616"/>
                    </a:lnTo>
                    <a:lnTo>
                      <a:pt x="90609" y="271070"/>
                    </a:lnTo>
                    <a:lnTo>
                      <a:pt x="92276" y="271980"/>
                    </a:lnTo>
                    <a:lnTo>
                      <a:pt x="92427" y="273343"/>
                    </a:lnTo>
                    <a:lnTo>
                      <a:pt x="91973" y="274859"/>
                    </a:lnTo>
                    <a:lnTo>
                      <a:pt x="90912" y="276374"/>
                    </a:lnTo>
                    <a:lnTo>
                      <a:pt x="90306" y="277434"/>
                    </a:lnTo>
                    <a:lnTo>
                      <a:pt x="90912" y="278041"/>
                    </a:lnTo>
                    <a:lnTo>
                      <a:pt x="91822" y="278495"/>
                    </a:lnTo>
                    <a:lnTo>
                      <a:pt x="92731" y="278647"/>
                    </a:lnTo>
                    <a:lnTo>
                      <a:pt x="93336" y="278495"/>
                    </a:lnTo>
                    <a:lnTo>
                      <a:pt x="93791" y="277586"/>
                    </a:lnTo>
                    <a:lnTo>
                      <a:pt x="94700" y="276525"/>
                    </a:lnTo>
                    <a:lnTo>
                      <a:pt x="95155" y="276374"/>
                    </a:lnTo>
                    <a:lnTo>
                      <a:pt x="95155" y="276980"/>
                    </a:lnTo>
                    <a:lnTo>
                      <a:pt x="95610" y="277737"/>
                    </a:lnTo>
                    <a:lnTo>
                      <a:pt x="98640" y="278950"/>
                    </a:lnTo>
                    <a:lnTo>
                      <a:pt x="105307" y="281374"/>
                    </a:lnTo>
                    <a:lnTo>
                      <a:pt x="107883" y="281374"/>
                    </a:lnTo>
                    <a:lnTo>
                      <a:pt x="110004" y="281677"/>
                    </a:lnTo>
                    <a:lnTo>
                      <a:pt x="110610" y="282738"/>
                    </a:lnTo>
                    <a:lnTo>
                      <a:pt x="114853" y="286374"/>
                    </a:lnTo>
                    <a:lnTo>
                      <a:pt x="115913" y="286223"/>
                    </a:lnTo>
                    <a:lnTo>
                      <a:pt x="117731" y="286374"/>
                    </a:lnTo>
                    <a:lnTo>
                      <a:pt x="120004" y="286071"/>
                    </a:lnTo>
                    <a:lnTo>
                      <a:pt x="121671" y="285313"/>
                    </a:lnTo>
                    <a:lnTo>
                      <a:pt x="122731" y="285465"/>
                    </a:lnTo>
                    <a:lnTo>
                      <a:pt x="123944" y="286223"/>
                    </a:lnTo>
                    <a:lnTo>
                      <a:pt x="125308" y="286829"/>
                    </a:lnTo>
                    <a:lnTo>
                      <a:pt x="127126" y="288041"/>
                    </a:lnTo>
                    <a:lnTo>
                      <a:pt x="128793" y="289556"/>
                    </a:lnTo>
                    <a:lnTo>
                      <a:pt x="129853" y="290011"/>
                    </a:lnTo>
                    <a:lnTo>
                      <a:pt x="136520" y="288950"/>
                    </a:lnTo>
                    <a:lnTo>
                      <a:pt x="138035" y="289859"/>
                    </a:lnTo>
                    <a:lnTo>
                      <a:pt x="139551" y="289859"/>
                    </a:lnTo>
                    <a:lnTo>
                      <a:pt x="141369" y="289556"/>
                    </a:lnTo>
                    <a:lnTo>
                      <a:pt x="145157" y="290011"/>
                    </a:lnTo>
                    <a:lnTo>
                      <a:pt x="148339" y="289859"/>
                    </a:lnTo>
                    <a:lnTo>
                      <a:pt x="148642" y="289556"/>
                    </a:lnTo>
                    <a:lnTo>
                      <a:pt x="148945" y="286223"/>
                    </a:lnTo>
                    <a:lnTo>
                      <a:pt x="149399" y="285010"/>
                    </a:lnTo>
                    <a:lnTo>
                      <a:pt x="150157" y="284707"/>
                    </a:lnTo>
                    <a:lnTo>
                      <a:pt x="151975" y="285010"/>
                    </a:lnTo>
                    <a:lnTo>
                      <a:pt x="158642" y="286980"/>
                    </a:lnTo>
                    <a:lnTo>
                      <a:pt x="161370" y="288192"/>
                    </a:lnTo>
                    <a:lnTo>
                      <a:pt x="164097" y="289101"/>
                    </a:lnTo>
                    <a:lnTo>
                      <a:pt x="166370" y="289253"/>
                    </a:lnTo>
                    <a:lnTo>
                      <a:pt x="167885" y="289859"/>
                    </a:lnTo>
                    <a:lnTo>
                      <a:pt x="170006" y="293041"/>
                    </a:lnTo>
                    <a:lnTo>
                      <a:pt x="170915" y="292132"/>
                    </a:lnTo>
                    <a:lnTo>
                      <a:pt x="172127" y="291374"/>
                    </a:lnTo>
                    <a:lnTo>
                      <a:pt x="173946" y="291677"/>
                    </a:lnTo>
                    <a:lnTo>
                      <a:pt x="177885" y="292738"/>
                    </a:lnTo>
                    <a:lnTo>
                      <a:pt x="178643" y="293647"/>
                    </a:lnTo>
                    <a:lnTo>
                      <a:pt x="178643" y="294253"/>
                    </a:lnTo>
                    <a:lnTo>
                      <a:pt x="177885" y="295314"/>
                    </a:lnTo>
                    <a:lnTo>
                      <a:pt x="177734" y="296071"/>
                    </a:lnTo>
                    <a:lnTo>
                      <a:pt x="181976" y="297587"/>
                    </a:lnTo>
                    <a:lnTo>
                      <a:pt x="183794" y="298647"/>
                    </a:lnTo>
                    <a:lnTo>
                      <a:pt x="184401" y="299708"/>
                    </a:lnTo>
                    <a:lnTo>
                      <a:pt x="185310" y="300769"/>
                    </a:lnTo>
                    <a:lnTo>
                      <a:pt x="186522" y="300920"/>
                    </a:lnTo>
                    <a:lnTo>
                      <a:pt x="188340" y="299859"/>
                    </a:lnTo>
                    <a:lnTo>
                      <a:pt x="191067" y="298647"/>
                    </a:lnTo>
                    <a:lnTo>
                      <a:pt x="195765" y="299708"/>
                    </a:lnTo>
                    <a:lnTo>
                      <a:pt x="201068" y="301223"/>
                    </a:lnTo>
                    <a:lnTo>
                      <a:pt x="203341" y="301375"/>
                    </a:lnTo>
                    <a:lnTo>
                      <a:pt x="203492" y="300617"/>
                    </a:lnTo>
                    <a:lnTo>
                      <a:pt x="203947" y="299556"/>
                    </a:lnTo>
                    <a:lnTo>
                      <a:pt x="204856" y="299102"/>
                    </a:lnTo>
                    <a:lnTo>
                      <a:pt x="206220" y="298950"/>
                    </a:lnTo>
                    <a:lnTo>
                      <a:pt x="208038" y="298344"/>
                    </a:lnTo>
                    <a:lnTo>
                      <a:pt x="210159" y="297435"/>
                    </a:lnTo>
                    <a:lnTo>
                      <a:pt x="212280" y="297132"/>
                    </a:lnTo>
                    <a:lnTo>
                      <a:pt x="214553" y="297738"/>
                    </a:lnTo>
                    <a:lnTo>
                      <a:pt x="217281" y="298344"/>
                    </a:lnTo>
                    <a:lnTo>
                      <a:pt x="218947" y="298344"/>
                    </a:lnTo>
                    <a:lnTo>
                      <a:pt x="218644" y="297284"/>
                    </a:lnTo>
                    <a:lnTo>
                      <a:pt x="215765" y="293041"/>
                    </a:lnTo>
                    <a:lnTo>
                      <a:pt x="214402" y="284859"/>
                    </a:lnTo>
                    <a:lnTo>
                      <a:pt x="214705" y="282283"/>
                    </a:lnTo>
                    <a:lnTo>
                      <a:pt x="217735" y="276828"/>
                    </a:lnTo>
                    <a:lnTo>
                      <a:pt x="220311" y="273040"/>
                    </a:lnTo>
                    <a:lnTo>
                      <a:pt x="234706" y="264101"/>
                    </a:lnTo>
                    <a:lnTo>
                      <a:pt x="236827" y="262282"/>
                    </a:lnTo>
                    <a:lnTo>
                      <a:pt x="238191" y="260767"/>
                    </a:lnTo>
                    <a:lnTo>
                      <a:pt x="242130" y="259706"/>
                    </a:lnTo>
                    <a:lnTo>
                      <a:pt x="242736" y="260010"/>
                    </a:lnTo>
                    <a:lnTo>
                      <a:pt x="243797" y="260616"/>
                    </a:lnTo>
                    <a:lnTo>
                      <a:pt x="245161" y="262585"/>
                    </a:lnTo>
                    <a:lnTo>
                      <a:pt x="246827" y="263343"/>
                    </a:lnTo>
                    <a:lnTo>
                      <a:pt x="250918" y="264101"/>
                    </a:lnTo>
                    <a:lnTo>
                      <a:pt x="251827" y="264404"/>
                    </a:lnTo>
                    <a:lnTo>
                      <a:pt x="257888" y="266373"/>
                    </a:lnTo>
                    <a:lnTo>
                      <a:pt x="260161" y="266828"/>
                    </a:lnTo>
                    <a:lnTo>
                      <a:pt x="262282" y="266676"/>
                    </a:lnTo>
                    <a:lnTo>
                      <a:pt x="262282" y="265919"/>
                    </a:lnTo>
                    <a:lnTo>
                      <a:pt x="262888" y="265767"/>
                    </a:lnTo>
                    <a:lnTo>
                      <a:pt x="263797" y="266070"/>
                    </a:lnTo>
                    <a:lnTo>
                      <a:pt x="264555" y="265464"/>
                    </a:lnTo>
                    <a:lnTo>
                      <a:pt x="265616" y="265010"/>
                    </a:lnTo>
                    <a:lnTo>
                      <a:pt x="267434" y="265010"/>
                    </a:lnTo>
                    <a:lnTo>
                      <a:pt x="269707" y="264404"/>
                    </a:lnTo>
                    <a:lnTo>
                      <a:pt x="269707" y="265616"/>
                    </a:lnTo>
                    <a:lnTo>
                      <a:pt x="270010" y="266979"/>
                    </a:lnTo>
                    <a:lnTo>
                      <a:pt x="271373" y="267586"/>
                    </a:lnTo>
                    <a:lnTo>
                      <a:pt x="273495" y="267434"/>
                    </a:lnTo>
                    <a:lnTo>
                      <a:pt x="276828" y="267737"/>
                    </a:lnTo>
                    <a:lnTo>
                      <a:pt x="279253" y="271525"/>
                    </a:lnTo>
                    <a:lnTo>
                      <a:pt x="286525" y="273192"/>
                    </a:lnTo>
                    <a:lnTo>
                      <a:pt x="290313" y="275768"/>
                    </a:lnTo>
                    <a:lnTo>
                      <a:pt x="296375" y="275616"/>
                    </a:lnTo>
                    <a:lnTo>
                      <a:pt x="298647" y="276525"/>
                    </a:lnTo>
                    <a:lnTo>
                      <a:pt x="303799" y="274253"/>
                    </a:lnTo>
                    <a:lnTo>
                      <a:pt x="308951" y="273192"/>
                    </a:lnTo>
                    <a:lnTo>
                      <a:pt x="311072" y="272131"/>
                    </a:lnTo>
                    <a:lnTo>
                      <a:pt x="313496" y="270010"/>
                    </a:lnTo>
                    <a:lnTo>
                      <a:pt x="314254" y="267586"/>
                    </a:lnTo>
                    <a:lnTo>
                      <a:pt x="315011" y="266222"/>
                    </a:lnTo>
                    <a:lnTo>
                      <a:pt x="319103" y="264101"/>
                    </a:lnTo>
                    <a:lnTo>
                      <a:pt x="327739" y="256828"/>
                    </a:lnTo>
                    <a:lnTo>
                      <a:pt x="329861" y="255615"/>
                    </a:lnTo>
                    <a:lnTo>
                      <a:pt x="333042" y="254403"/>
                    </a:lnTo>
                    <a:lnTo>
                      <a:pt x="333042" y="253646"/>
                    </a:lnTo>
                    <a:lnTo>
                      <a:pt x="333497" y="253191"/>
                    </a:lnTo>
                    <a:lnTo>
                      <a:pt x="334103" y="253040"/>
                    </a:lnTo>
                    <a:lnTo>
                      <a:pt x="334709" y="253343"/>
                    </a:lnTo>
                    <a:lnTo>
                      <a:pt x="334709" y="253646"/>
                    </a:lnTo>
                    <a:lnTo>
                      <a:pt x="336224" y="253040"/>
                    </a:lnTo>
                    <a:lnTo>
                      <a:pt x="336224" y="251221"/>
                    </a:lnTo>
                    <a:lnTo>
                      <a:pt x="335921" y="249858"/>
                    </a:lnTo>
                    <a:lnTo>
                      <a:pt x="336982" y="248342"/>
                    </a:lnTo>
                    <a:lnTo>
                      <a:pt x="338800" y="246524"/>
                    </a:lnTo>
                    <a:lnTo>
                      <a:pt x="340467" y="244251"/>
                    </a:lnTo>
                    <a:lnTo>
                      <a:pt x="341225" y="242585"/>
                    </a:lnTo>
                    <a:lnTo>
                      <a:pt x="340922" y="241524"/>
                    </a:lnTo>
                    <a:lnTo>
                      <a:pt x="340164" y="239857"/>
                    </a:lnTo>
                    <a:lnTo>
                      <a:pt x="339103" y="239706"/>
                    </a:lnTo>
                    <a:lnTo>
                      <a:pt x="332891" y="241069"/>
                    </a:lnTo>
                    <a:lnTo>
                      <a:pt x="331527" y="240766"/>
                    </a:lnTo>
                    <a:lnTo>
                      <a:pt x="326830" y="238645"/>
                    </a:lnTo>
                    <a:lnTo>
                      <a:pt x="321830" y="236069"/>
                    </a:lnTo>
                    <a:lnTo>
                      <a:pt x="320012" y="234251"/>
                    </a:lnTo>
                    <a:lnTo>
                      <a:pt x="319254" y="232433"/>
                    </a:lnTo>
                    <a:lnTo>
                      <a:pt x="319708" y="231221"/>
                    </a:lnTo>
                    <a:lnTo>
                      <a:pt x="319254" y="230008"/>
                    </a:lnTo>
                    <a:lnTo>
                      <a:pt x="318345" y="228342"/>
                    </a:lnTo>
                    <a:lnTo>
                      <a:pt x="319254" y="226523"/>
                    </a:lnTo>
                    <a:lnTo>
                      <a:pt x="320769" y="224251"/>
                    </a:lnTo>
                    <a:lnTo>
                      <a:pt x="321527" y="222735"/>
                    </a:lnTo>
                    <a:lnTo>
                      <a:pt x="322891" y="222281"/>
                    </a:lnTo>
                    <a:lnTo>
                      <a:pt x="323496" y="221372"/>
                    </a:lnTo>
                    <a:lnTo>
                      <a:pt x="322436" y="217584"/>
                    </a:lnTo>
                    <a:lnTo>
                      <a:pt x="321830" y="216978"/>
                    </a:lnTo>
                    <a:lnTo>
                      <a:pt x="320921" y="216523"/>
                    </a:lnTo>
                    <a:lnTo>
                      <a:pt x="319557" y="216523"/>
                    </a:lnTo>
                    <a:lnTo>
                      <a:pt x="317133" y="215766"/>
                    </a:lnTo>
                    <a:lnTo>
                      <a:pt x="315466" y="214402"/>
                    </a:lnTo>
                    <a:lnTo>
                      <a:pt x="315163" y="212735"/>
                    </a:lnTo>
                    <a:lnTo>
                      <a:pt x="314254" y="211068"/>
                    </a:lnTo>
                    <a:lnTo>
                      <a:pt x="312739" y="209553"/>
                    </a:lnTo>
                    <a:lnTo>
                      <a:pt x="312587" y="207886"/>
                    </a:lnTo>
                    <a:lnTo>
                      <a:pt x="314406" y="206977"/>
                    </a:lnTo>
                    <a:lnTo>
                      <a:pt x="316830" y="206977"/>
                    </a:lnTo>
                    <a:lnTo>
                      <a:pt x="318497" y="207280"/>
                    </a:lnTo>
                    <a:lnTo>
                      <a:pt x="322285" y="204553"/>
                    </a:lnTo>
                    <a:lnTo>
                      <a:pt x="323648" y="204250"/>
                    </a:lnTo>
                    <a:lnTo>
                      <a:pt x="324860" y="203644"/>
                    </a:lnTo>
                    <a:lnTo>
                      <a:pt x="325921" y="200007"/>
                    </a:lnTo>
                    <a:lnTo>
                      <a:pt x="326679" y="198947"/>
                    </a:lnTo>
                    <a:lnTo>
                      <a:pt x="326830" y="198341"/>
                    </a:lnTo>
                    <a:lnTo>
                      <a:pt x="326073" y="197583"/>
                    </a:lnTo>
                    <a:lnTo>
                      <a:pt x="323042" y="195007"/>
                    </a:lnTo>
                    <a:lnTo>
                      <a:pt x="321678" y="192280"/>
                    </a:lnTo>
                    <a:lnTo>
                      <a:pt x="319406" y="189249"/>
                    </a:lnTo>
                    <a:lnTo>
                      <a:pt x="317284" y="187886"/>
                    </a:lnTo>
                    <a:lnTo>
                      <a:pt x="316830" y="186825"/>
                    </a:lnTo>
                    <a:lnTo>
                      <a:pt x="316830" y="185461"/>
                    </a:lnTo>
                    <a:lnTo>
                      <a:pt x="317284" y="184249"/>
                    </a:lnTo>
                    <a:lnTo>
                      <a:pt x="321072" y="182431"/>
                    </a:lnTo>
                    <a:lnTo>
                      <a:pt x="323194" y="180461"/>
                    </a:lnTo>
                    <a:lnTo>
                      <a:pt x="322739" y="179401"/>
                    </a:lnTo>
                    <a:lnTo>
                      <a:pt x="321375" y="177431"/>
                    </a:lnTo>
                    <a:lnTo>
                      <a:pt x="319860" y="176219"/>
                    </a:lnTo>
                    <a:lnTo>
                      <a:pt x="318799" y="175006"/>
                    </a:lnTo>
                    <a:lnTo>
                      <a:pt x="317436" y="173643"/>
                    </a:lnTo>
                    <a:lnTo>
                      <a:pt x="316527" y="172431"/>
                    </a:lnTo>
                    <a:lnTo>
                      <a:pt x="317739" y="168643"/>
                    </a:lnTo>
                    <a:lnTo>
                      <a:pt x="316830" y="167279"/>
                    </a:lnTo>
                    <a:lnTo>
                      <a:pt x="316375" y="165461"/>
                    </a:lnTo>
                    <a:lnTo>
                      <a:pt x="316678" y="164248"/>
                    </a:lnTo>
                    <a:lnTo>
                      <a:pt x="316224" y="163945"/>
                    </a:lnTo>
                    <a:lnTo>
                      <a:pt x="311375" y="163188"/>
                    </a:lnTo>
                    <a:lnTo>
                      <a:pt x="307284" y="163491"/>
                    </a:lnTo>
                    <a:lnTo>
                      <a:pt x="304405" y="164703"/>
                    </a:lnTo>
                    <a:lnTo>
                      <a:pt x="301981" y="166824"/>
                    </a:lnTo>
                    <a:lnTo>
                      <a:pt x="301677" y="167279"/>
                    </a:lnTo>
                    <a:lnTo>
                      <a:pt x="301829" y="167582"/>
                    </a:lnTo>
                    <a:lnTo>
                      <a:pt x="303042" y="169552"/>
                    </a:lnTo>
                    <a:lnTo>
                      <a:pt x="301072" y="171521"/>
                    </a:lnTo>
                    <a:lnTo>
                      <a:pt x="298041" y="173037"/>
                    </a:lnTo>
                    <a:lnTo>
                      <a:pt x="295920" y="173188"/>
                    </a:lnTo>
                    <a:lnTo>
                      <a:pt x="295011" y="172885"/>
                    </a:lnTo>
                    <a:lnTo>
                      <a:pt x="295011" y="170764"/>
                    </a:lnTo>
                    <a:lnTo>
                      <a:pt x="296829" y="170006"/>
                    </a:lnTo>
                    <a:lnTo>
                      <a:pt x="298496" y="168643"/>
                    </a:lnTo>
                    <a:lnTo>
                      <a:pt x="299102" y="166673"/>
                    </a:lnTo>
                    <a:lnTo>
                      <a:pt x="299254" y="165309"/>
                    </a:lnTo>
                    <a:lnTo>
                      <a:pt x="297587" y="163642"/>
                    </a:lnTo>
                    <a:lnTo>
                      <a:pt x="297738" y="162582"/>
                    </a:lnTo>
                    <a:lnTo>
                      <a:pt x="298799" y="160612"/>
                    </a:lnTo>
                    <a:lnTo>
                      <a:pt x="299405" y="158794"/>
                    </a:lnTo>
                    <a:lnTo>
                      <a:pt x="300314" y="157279"/>
                    </a:lnTo>
                    <a:lnTo>
                      <a:pt x="303647" y="154854"/>
                    </a:lnTo>
                    <a:lnTo>
                      <a:pt x="307132" y="152430"/>
                    </a:lnTo>
                    <a:lnTo>
                      <a:pt x="307587" y="149854"/>
                    </a:lnTo>
                    <a:lnTo>
                      <a:pt x="307890" y="146672"/>
                    </a:lnTo>
                    <a:lnTo>
                      <a:pt x="308344" y="145914"/>
                    </a:lnTo>
                    <a:lnTo>
                      <a:pt x="312890" y="143945"/>
                    </a:lnTo>
                    <a:lnTo>
                      <a:pt x="314102" y="143187"/>
                    </a:lnTo>
                    <a:lnTo>
                      <a:pt x="314708" y="142126"/>
                    </a:lnTo>
                    <a:lnTo>
                      <a:pt x="318345" y="138490"/>
                    </a:lnTo>
                    <a:lnTo>
                      <a:pt x="321982" y="134853"/>
                    </a:lnTo>
                    <a:lnTo>
                      <a:pt x="322739" y="133641"/>
                    </a:lnTo>
                    <a:lnTo>
                      <a:pt x="323345" y="132884"/>
                    </a:lnTo>
                    <a:lnTo>
                      <a:pt x="323345" y="132278"/>
                    </a:lnTo>
                    <a:lnTo>
                      <a:pt x="322891" y="131823"/>
                    </a:lnTo>
                    <a:lnTo>
                      <a:pt x="321224" y="131520"/>
                    </a:lnTo>
                    <a:lnTo>
                      <a:pt x="320618" y="130308"/>
                    </a:lnTo>
                    <a:lnTo>
                      <a:pt x="322436" y="128338"/>
                    </a:lnTo>
                    <a:lnTo>
                      <a:pt x="324709" y="127126"/>
                    </a:lnTo>
                    <a:lnTo>
                      <a:pt x="326982" y="127126"/>
                    </a:lnTo>
                    <a:lnTo>
                      <a:pt x="327891" y="127732"/>
                    </a:lnTo>
                    <a:lnTo>
                      <a:pt x="327891" y="128338"/>
                    </a:lnTo>
                    <a:lnTo>
                      <a:pt x="328800" y="129096"/>
                    </a:lnTo>
                    <a:lnTo>
                      <a:pt x="330467" y="129399"/>
                    </a:lnTo>
                    <a:lnTo>
                      <a:pt x="332588" y="129096"/>
                    </a:lnTo>
                    <a:lnTo>
                      <a:pt x="334709" y="128338"/>
                    </a:lnTo>
                    <a:lnTo>
                      <a:pt x="336073" y="126520"/>
                    </a:lnTo>
                    <a:lnTo>
                      <a:pt x="336830" y="125156"/>
                    </a:lnTo>
                    <a:lnTo>
                      <a:pt x="340164" y="123641"/>
                    </a:lnTo>
                    <a:lnTo>
                      <a:pt x="338800" y="123186"/>
                    </a:lnTo>
                    <a:lnTo>
                      <a:pt x="337739" y="120914"/>
                    </a:lnTo>
                    <a:lnTo>
                      <a:pt x="338043" y="117429"/>
                    </a:lnTo>
                    <a:lnTo>
                      <a:pt x="339558" y="112883"/>
                    </a:lnTo>
                    <a:lnTo>
                      <a:pt x="340012" y="109550"/>
                    </a:lnTo>
                    <a:lnTo>
                      <a:pt x="339406" y="107428"/>
                    </a:lnTo>
                    <a:lnTo>
                      <a:pt x="340316" y="104246"/>
                    </a:lnTo>
                    <a:lnTo>
                      <a:pt x="342740" y="100004"/>
                    </a:lnTo>
                    <a:lnTo>
                      <a:pt x="344406" y="95458"/>
                    </a:lnTo>
                    <a:lnTo>
                      <a:pt x="345164" y="90609"/>
                    </a:lnTo>
                    <a:lnTo>
                      <a:pt x="346376" y="87427"/>
                    </a:lnTo>
                    <a:lnTo>
                      <a:pt x="348649" y="85306"/>
                    </a:lnTo>
                    <a:lnTo>
                      <a:pt x="354104" y="79094"/>
                    </a:lnTo>
                    <a:lnTo>
                      <a:pt x="354559" y="78639"/>
                    </a:lnTo>
                    <a:lnTo>
                      <a:pt x="354407" y="75609"/>
                    </a:lnTo>
                    <a:lnTo>
                      <a:pt x="350467" y="75154"/>
                    </a:lnTo>
                    <a:close/>
                    <a:moveTo>
                      <a:pt x="389560" y="293193"/>
                    </a:moveTo>
                    <a:lnTo>
                      <a:pt x="388499" y="292132"/>
                    </a:lnTo>
                    <a:lnTo>
                      <a:pt x="388044" y="290768"/>
                    </a:lnTo>
                    <a:lnTo>
                      <a:pt x="388802" y="285920"/>
                    </a:lnTo>
                    <a:lnTo>
                      <a:pt x="388802" y="284101"/>
                    </a:lnTo>
                    <a:lnTo>
                      <a:pt x="388347" y="281374"/>
                    </a:lnTo>
                    <a:lnTo>
                      <a:pt x="388347" y="280162"/>
                    </a:lnTo>
                    <a:lnTo>
                      <a:pt x="386984" y="278798"/>
                    </a:lnTo>
                    <a:lnTo>
                      <a:pt x="385620" y="278950"/>
                    </a:lnTo>
                    <a:lnTo>
                      <a:pt x="384711" y="281374"/>
                    </a:lnTo>
                    <a:lnTo>
                      <a:pt x="384559" y="285617"/>
                    </a:lnTo>
                    <a:lnTo>
                      <a:pt x="385014" y="287132"/>
                    </a:lnTo>
                    <a:lnTo>
                      <a:pt x="384256" y="288950"/>
                    </a:lnTo>
                    <a:lnTo>
                      <a:pt x="383499" y="289556"/>
                    </a:lnTo>
                    <a:lnTo>
                      <a:pt x="382590" y="288950"/>
                    </a:lnTo>
                    <a:lnTo>
                      <a:pt x="381075" y="288344"/>
                    </a:lnTo>
                    <a:lnTo>
                      <a:pt x="379408" y="288192"/>
                    </a:lnTo>
                    <a:lnTo>
                      <a:pt x="378044" y="289101"/>
                    </a:lnTo>
                    <a:lnTo>
                      <a:pt x="376832" y="290465"/>
                    </a:lnTo>
                    <a:lnTo>
                      <a:pt x="375468" y="291071"/>
                    </a:lnTo>
                    <a:lnTo>
                      <a:pt x="370468" y="292283"/>
                    </a:lnTo>
                    <a:lnTo>
                      <a:pt x="367741" y="294253"/>
                    </a:lnTo>
                    <a:lnTo>
                      <a:pt x="365771" y="298344"/>
                    </a:lnTo>
                    <a:lnTo>
                      <a:pt x="364407" y="299708"/>
                    </a:lnTo>
                    <a:lnTo>
                      <a:pt x="363801" y="300617"/>
                    </a:lnTo>
                    <a:lnTo>
                      <a:pt x="364559" y="301072"/>
                    </a:lnTo>
                    <a:lnTo>
                      <a:pt x="365468" y="301072"/>
                    </a:lnTo>
                    <a:lnTo>
                      <a:pt x="366832" y="303041"/>
                    </a:lnTo>
                    <a:lnTo>
                      <a:pt x="365013" y="303951"/>
                    </a:lnTo>
                    <a:lnTo>
                      <a:pt x="363801" y="305314"/>
                    </a:lnTo>
                    <a:lnTo>
                      <a:pt x="364407" y="307284"/>
                    </a:lnTo>
                    <a:lnTo>
                      <a:pt x="365923" y="308648"/>
                    </a:lnTo>
                    <a:lnTo>
                      <a:pt x="367589" y="309405"/>
                    </a:lnTo>
                    <a:lnTo>
                      <a:pt x="367589" y="311072"/>
                    </a:lnTo>
                    <a:lnTo>
                      <a:pt x="366225" y="312587"/>
                    </a:lnTo>
                    <a:lnTo>
                      <a:pt x="365165" y="313799"/>
                    </a:lnTo>
                    <a:lnTo>
                      <a:pt x="365316" y="314709"/>
                    </a:lnTo>
                    <a:lnTo>
                      <a:pt x="366680" y="315012"/>
                    </a:lnTo>
                    <a:lnTo>
                      <a:pt x="368498" y="314860"/>
                    </a:lnTo>
                    <a:lnTo>
                      <a:pt x="368953" y="316678"/>
                    </a:lnTo>
                    <a:lnTo>
                      <a:pt x="367892" y="318800"/>
                    </a:lnTo>
                    <a:lnTo>
                      <a:pt x="367892" y="320163"/>
                    </a:lnTo>
                    <a:lnTo>
                      <a:pt x="369407" y="320921"/>
                    </a:lnTo>
                    <a:lnTo>
                      <a:pt x="372590" y="322133"/>
                    </a:lnTo>
                    <a:lnTo>
                      <a:pt x="372438" y="323194"/>
                    </a:lnTo>
                    <a:lnTo>
                      <a:pt x="371074" y="324557"/>
                    </a:lnTo>
                    <a:lnTo>
                      <a:pt x="370468" y="325769"/>
                    </a:lnTo>
                    <a:lnTo>
                      <a:pt x="371377" y="326679"/>
                    </a:lnTo>
                    <a:lnTo>
                      <a:pt x="372892" y="328042"/>
                    </a:lnTo>
                    <a:lnTo>
                      <a:pt x="375923" y="329406"/>
                    </a:lnTo>
                    <a:lnTo>
                      <a:pt x="380923" y="332436"/>
                    </a:lnTo>
                    <a:lnTo>
                      <a:pt x="382741" y="330012"/>
                    </a:lnTo>
                    <a:lnTo>
                      <a:pt x="384863" y="324557"/>
                    </a:lnTo>
                    <a:lnTo>
                      <a:pt x="386075" y="322891"/>
                    </a:lnTo>
                    <a:lnTo>
                      <a:pt x="386681" y="321224"/>
                    </a:lnTo>
                    <a:lnTo>
                      <a:pt x="386833" y="314860"/>
                    </a:lnTo>
                    <a:lnTo>
                      <a:pt x="387590" y="313345"/>
                    </a:lnTo>
                    <a:lnTo>
                      <a:pt x="390923" y="308193"/>
                    </a:lnTo>
                    <a:lnTo>
                      <a:pt x="391075" y="307132"/>
                    </a:lnTo>
                    <a:lnTo>
                      <a:pt x="390317" y="294253"/>
                    </a:lnTo>
                    <a:lnTo>
                      <a:pt x="389560" y="293193"/>
                    </a:lnTo>
                    <a:close/>
                    <a:moveTo>
                      <a:pt x="96215" y="185007"/>
                    </a:moveTo>
                    <a:lnTo>
                      <a:pt x="97124" y="181976"/>
                    </a:lnTo>
                    <a:lnTo>
                      <a:pt x="94246" y="178643"/>
                    </a:lnTo>
                    <a:lnTo>
                      <a:pt x="91367" y="176976"/>
                    </a:lnTo>
                    <a:lnTo>
                      <a:pt x="91367" y="177582"/>
                    </a:lnTo>
                    <a:lnTo>
                      <a:pt x="91973" y="179855"/>
                    </a:lnTo>
                    <a:lnTo>
                      <a:pt x="94397" y="182279"/>
                    </a:lnTo>
                    <a:lnTo>
                      <a:pt x="96215" y="1850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6" name="Freeform: Shape 3285">
                <a:extLst>
                  <a:ext uri="{FF2B5EF4-FFF2-40B4-BE49-F238E27FC236}">
                    <a16:creationId xmlns:a16="http://schemas.microsoft.com/office/drawing/2014/main" id="{00E08E8A-D6D4-42B3-B09B-2606F7495815}"/>
                  </a:ext>
                </a:extLst>
              </p:cNvPr>
              <p:cNvSpPr/>
              <p:nvPr/>
            </p:nvSpPr>
            <p:spPr>
              <a:xfrm>
                <a:off x="5574010" y="2594346"/>
                <a:ext cx="28031" cy="40001"/>
              </a:xfrm>
              <a:custGeom>
                <a:avLst/>
                <a:gdLst>
                  <a:gd name="connsiteX0" fmla="*/ 19698 w 28031"/>
                  <a:gd name="connsiteY0" fmla="*/ 36365 h 40001"/>
                  <a:gd name="connsiteX1" fmla="*/ 18637 w 28031"/>
                  <a:gd name="connsiteY1" fmla="*/ 34698 h 40001"/>
                  <a:gd name="connsiteX2" fmla="*/ 18637 w 28031"/>
                  <a:gd name="connsiteY2" fmla="*/ 33335 h 40001"/>
                  <a:gd name="connsiteX3" fmla="*/ 17880 w 28031"/>
                  <a:gd name="connsiteY3" fmla="*/ 32729 h 40001"/>
                  <a:gd name="connsiteX4" fmla="*/ 14849 w 28031"/>
                  <a:gd name="connsiteY4" fmla="*/ 31971 h 40001"/>
                  <a:gd name="connsiteX5" fmla="*/ 14243 w 28031"/>
                  <a:gd name="connsiteY5" fmla="*/ 30759 h 40001"/>
                  <a:gd name="connsiteX6" fmla="*/ 13486 w 28031"/>
                  <a:gd name="connsiteY6" fmla="*/ 30607 h 40001"/>
                  <a:gd name="connsiteX7" fmla="*/ 13637 w 28031"/>
                  <a:gd name="connsiteY7" fmla="*/ 31971 h 40001"/>
                  <a:gd name="connsiteX8" fmla="*/ 14698 w 28031"/>
                  <a:gd name="connsiteY8" fmla="*/ 34850 h 40001"/>
                  <a:gd name="connsiteX9" fmla="*/ 17880 w 28031"/>
                  <a:gd name="connsiteY9" fmla="*/ 38335 h 40001"/>
                  <a:gd name="connsiteX10" fmla="*/ 19698 w 28031"/>
                  <a:gd name="connsiteY10" fmla="*/ 39850 h 40001"/>
                  <a:gd name="connsiteX11" fmla="*/ 20304 w 28031"/>
                  <a:gd name="connsiteY11" fmla="*/ 40001 h 40001"/>
                  <a:gd name="connsiteX12" fmla="*/ 19698 w 28031"/>
                  <a:gd name="connsiteY12" fmla="*/ 38789 h 40001"/>
                  <a:gd name="connsiteX13" fmla="*/ 19698 w 28031"/>
                  <a:gd name="connsiteY13" fmla="*/ 36365 h 40001"/>
                  <a:gd name="connsiteX14" fmla="*/ 6516 w 28031"/>
                  <a:gd name="connsiteY14" fmla="*/ 9243 h 40001"/>
                  <a:gd name="connsiteX15" fmla="*/ 5152 w 28031"/>
                  <a:gd name="connsiteY15" fmla="*/ 8788 h 40001"/>
                  <a:gd name="connsiteX16" fmla="*/ 2424 w 28031"/>
                  <a:gd name="connsiteY16" fmla="*/ 9394 h 40001"/>
                  <a:gd name="connsiteX17" fmla="*/ 0 w 28031"/>
                  <a:gd name="connsiteY17" fmla="*/ 9394 h 40001"/>
                  <a:gd name="connsiteX18" fmla="*/ 1212 w 28031"/>
                  <a:gd name="connsiteY18" fmla="*/ 12122 h 40001"/>
                  <a:gd name="connsiteX19" fmla="*/ 4546 w 28031"/>
                  <a:gd name="connsiteY19" fmla="*/ 13334 h 40001"/>
                  <a:gd name="connsiteX20" fmla="*/ 6667 w 28031"/>
                  <a:gd name="connsiteY20" fmla="*/ 13637 h 40001"/>
                  <a:gd name="connsiteX21" fmla="*/ 8334 w 28031"/>
                  <a:gd name="connsiteY21" fmla="*/ 13334 h 40001"/>
                  <a:gd name="connsiteX22" fmla="*/ 9698 w 28031"/>
                  <a:gd name="connsiteY22" fmla="*/ 12273 h 40001"/>
                  <a:gd name="connsiteX23" fmla="*/ 8788 w 28031"/>
                  <a:gd name="connsiteY23" fmla="*/ 11061 h 40001"/>
                  <a:gd name="connsiteX24" fmla="*/ 6516 w 28031"/>
                  <a:gd name="connsiteY24" fmla="*/ 9243 h 40001"/>
                  <a:gd name="connsiteX25" fmla="*/ 19243 w 28031"/>
                  <a:gd name="connsiteY25" fmla="*/ 17273 h 40001"/>
                  <a:gd name="connsiteX26" fmla="*/ 19546 w 28031"/>
                  <a:gd name="connsiteY26" fmla="*/ 16667 h 40001"/>
                  <a:gd name="connsiteX27" fmla="*/ 19395 w 28031"/>
                  <a:gd name="connsiteY27" fmla="*/ 15607 h 40001"/>
                  <a:gd name="connsiteX28" fmla="*/ 16971 w 28031"/>
                  <a:gd name="connsiteY28" fmla="*/ 11819 h 40001"/>
                  <a:gd name="connsiteX29" fmla="*/ 16213 w 28031"/>
                  <a:gd name="connsiteY29" fmla="*/ 11212 h 40001"/>
                  <a:gd name="connsiteX30" fmla="*/ 16061 w 28031"/>
                  <a:gd name="connsiteY30" fmla="*/ 10152 h 40001"/>
                  <a:gd name="connsiteX31" fmla="*/ 16516 w 28031"/>
                  <a:gd name="connsiteY31" fmla="*/ 9243 h 40001"/>
                  <a:gd name="connsiteX32" fmla="*/ 18031 w 28031"/>
                  <a:gd name="connsiteY32" fmla="*/ 9546 h 40001"/>
                  <a:gd name="connsiteX33" fmla="*/ 20001 w 28031"/>
                  <a:gd name="connsiteY33" fmla="*/ 11061 h 40001"/>
                  <a:gd name="connsiteX34" fmla="*/ 21062 w 28031"/>
                  <a:gd name="connsiteY34" fmla="*/ 11061 h 40001"/>
                  <a:gd name="connsiteX35" fmla="*/ 21668 w 28031"/>
                  <a:gd name="connsiteY35" fmla="*/ 5303 h 40001"/>
                  <a:gd name="connsiteX36" fmla="*/ 16971 w 28031"/>
                  <a:gd name="connsiteY36" fmla="*/ 3636 h 40001"/>
                  <a:gd name="connsiteX37" fmla="*/ 12728 w 28031"/>
                  <a:gd name="connsiteY37" fmla="*/ 1515 h 40001"/>
                  <a:gd name="connsiteX38" fmla="*/ 6819 w 28031"/>
                  <a:gd name="connsiteY38" fmla="*/ 2879 h 40001"/>
                  <a:gd name="connsiteX39" fmla="*/ 11213 w 28031"/>
                  <a:gd name="connsiteY39" fmla="*/ 11061 h 40001"/>
                  <a:gd name="connsiteX40" fmla="*/ 16819 w 28031"/>
                  <a:gd name="connsiteY40" fmla="*/ 16061 h 40001"/>
                  <a:gd name="connsiteX41" fmla="*/ 19243 w 28031"/>
                  <a:gd name="connsiteY41" fmla="*/ 17273 h 40001"/>
                  <a:gd name="connsiteX42" fmla="*/ 20910 w 28031"/>
                  <a:gd name="connsiteY42" fmla="*/ 21061 h 40001"/>
                  <a:gd name="connsiteX43" fmla="*/ 17425 w 28031"/>
                  <a:gd name="connsiteY43" fmla="*/ 19698 h 40001"/>
                  <a:gd name="connsiteX44" fmla="*/ 16061 w 28031"/>
                  <a:gd name="connsiteY44" fmla="*/ 19395 h 40001"/>
                  <a:gd name="connsiteX45" fmla="*/ 14849 w 28031"/>
                  <a:gd name="connsiteY45" fmla="*/ 19546 h 40001"/>
                  <a:gd name="connsiteX46" fmla="*/ 15455 w 28031"/>
                  <a:gd name="connsiteY46" fmla="*/ 21061 h 40001"/>
                  <a:gd name="connsiteX47" fmla="*/ 16061 w 28031"/>
                  <a:gd name="connsiteY47" fmla="*/ 21970 h 40001"/>
                  <a:gd name="connsiteX48" fmla="*/ 18183 w 28031"/>
                  <a:gd name="connsiteY48" fmla="*/ 23031 h 40001"/>
                  <a:gd name="connsiteX49" fmla="*/ 20759 w 28031"/>
                  <a:gd name="connsiteY49" fmla="*/ 25001 h 40001"/>
                  <a:gd name="connsiteX50" fmla="*/ 21516 w 28031"/>
                  <a:gd name="connsiteY50" fmla="*/ 25001 h 40001"/>
                  <a:gd name="connsiteX51" fmla="*/ 22122 w 28031"/>
                  <a:gd name="connsiteY51" fmla="*/ 23486 h 40001"/>
                  <a:gd name="connsiteX52" fmla="*/ 22122 w 28031"/>
                  <a:gd name="connsiteY52" fmla="*/ 22577 h 40001"/>
                  <a:gd name="connsiteX53" fmla="*/ 20910 w 28031"/>
                  <a:gd name="connsiteY53" fmla="*/ 21061 h 40001"/>
                  <a:gd name="connsiteX54" fmla="*/ 26062 w 28031"/>
                  <a:gd name="connsiteY54" fmla="*/ 2727 h 40001"/>
                  <a:gd name="connsiteX55" fmla="*/ 23789 w 28031"/>
                  <a:gd name="connsiteY55" fmla="*/ 0 h 40001"/>
                  <a:gd name="connsiteX56" fmla="*/ 23789 w 28031"/>
                  <a:gd name="connsiteY56" fmla="*/ 3333 h 40001"/>
                  <a:gd name="connsiteX57" fmla="*/ 23637 w 28031"/>
                  <a:gd name="connsiteY57" fmla="*/ 5606 h 40001"/>
                  <a:gd name="connsiteX58" fmla="*/ 24092 w 28031"/>
                  <a:gd name="connsiteY58" fmla="*/ 6364 h 40001"/>
                  <a:gd name="connsiteX59" fmla="*/ 24698 w 28031"/>
                  <a:gd name="connsiteY59" fmla="*/ 6667 h 40001"/>
                  <a:gd name="connsiteX60" fmla="*/ 26668 w 28031"/>
                  <a:gd name="connsiteY60" fmla="*/ 7121 h 40001"/>
                  <a:gd name="connsiteX61" fmla="*/ 28031 w 28031"/>
                  <a:gd name="connsiteY61" fmla="*/ 4091 h 40001"/>
                  <a:gd name="connsiteX62" fmla="*/ 26062 w 28031"/>
                  <a:gd name="connsiteY62" fmla="*/ 2727 h 4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8031" h="40001">
                    <a:moveTo>
                      <a:pt x="19698" y="36365"/>
                    </a:moveTo>
                    <a:lnTo>
                      <a:pt x="18637" y="34698"/>
                    </a:lnTo>
                    <a:lnTo>
                      <a:pt x="18637" y="33335"/>
                    </a:lnTo>
                    <a:lnTo>
                      <a:pt x="17880" y="32729"/>
                    </a:lnTo>
                    <a:lnTo>
                      <a:pt x="14849" y="31971"/>
                    </a:lnTo>
                    <a:lnTo>
                      <a:pt x="14243" y="30759"/>
                    </a:lnTo>
                    <a:lnTo>
                      <a:pt x="13486" y="30607"/>
                    </a:lnTo>
                    <a:lnTo>
                      <a:pt x="13637" y="31971"/>
                    </a:lnTo>
                    <a:lnTo>
                      <a:pt x="14698" y="34850"/>
                    </a:lnTo>
                    <a:lnTo>
                      <a:pt x="17880" y="38335"/>
                    </a:lnTo>
                    <a:lnTo>
                      <a:pt x="19698" y="39850"/>
                    </a:lnTo>
                    <a:lnTo>
                      <a:pt x="20304" y="40001"/>
                    </a:lnTo>
                    <a:lnTo>
                      <a:pt x="19698" y="38789"/>
                    </a:lnTo>
                    <a:lnTo>
                      <a:pt x="19698" y="36365"/>
                    </a:lnTo>
                    <a:close/>
                    <a:moveTo>
                      <a:pt x="6516" y="9243"/>
                    </a:moveTo>
                    <a:lnTo>
                      <a:pt x="5152" y="8788"/>
                    </a:lnTo>
                    <a:lnTo>
                      <a:pt x="2424" y="9394"/>
                    </a:lnTo>
                    <a:lnTo>
                      <a:pt x="0" y="9394"/>
                    </a:lnTo>
                    <a:lnTo>
                      <a:pt x="1212" y="12122"/>
                    </a:lnTo>
                    <a:lnTo>
                      <a:pt x="4546" y="13334"/>
                    </a:lnTo>
                    <a:lnTo>
                      <a:pt x="6667" y="13637"/>
                    </a:lnTo>
                    <a:lnTo>
                      <a:pt x="8334" y="13334"/>
                    </a:lnTo>
                    <a:lnTo>
                      <a:pt x="9698" y="12273"/>
                    </a:lnTo>
                    <a:lnTo>
                      <a:pt x="8788" y="11061"/>
                    </a:lnTo>
                    <a:lnTo>
                      <a:pt x="6516" y="9243"/>
                    </a:lnTo>
                    <a:close/>
                    <a:moveTo>
                      <a:pt x="19243" y="17273"/>
                    </a:moveTo>
                    <a:lnTo>
                      <a:pt x="19546" y="16667"/>
                    </a:lnTo>
                    <a:lnTo>
                      <a:pt x="19395" y="15607"/>
                    </a:lnTo>
                    <a:lnTo>
                      <a:pt x="16971" y="11819"/>
                    </a:lnTo>
                    <a:lnTo>
                      <a:pt x="16213" y="11212"/>
                    </a:lnTo>
                    <a:lnTo>
                      <a:pt x="16061" y="10152"/>
                    </a:lnTo>
                    <a:lnTo>
                      <a:pt x="16516" y="9243"/>
                    </a:lnTo>
                    <a:lnTo>
                      <a:pt x="18031" y="9546"/>
                    </a:lnTo>
                    <a:lnTo>
                      <a:pt x="20001" y="11061"/>
                    </a:lnTo>
                    <a:lnTo>
                      <a:pt x="21062" y="11061"/>
                    </a:lnTo>
                    <a:lnTo>
                      <a:pt x="21668" y="5303"/>
                    </a:lnTo>
                    <a:lnTo>
                      <a:pt x="16971" y="3636"/>
                    </a:lnTo>
                    <a:lnTo>
                      <a:pt x="12728" y="1515"/>
                    </a:lnTo>
                    <a:lnTo>
                      <a:pt x="6819" y="2879"/>
                    </a:lnTo>
                    <a:lnTo>
                      <a:pt x="11213" y="11061"/>
                    </a:lnTo>
                    <a:lnTo>
                      <a:pt x="16819" y="16061"/>
                    </a:lnTo>
                    <a:lnTo>
                      <a:pt x="19243" y="17273"/>
                    </a:lnTo>
                    <a:close/>
                    <a:moveTo>
                      <a:pt x="20910" y="21061"/>
                    </a:moveTo>
                    <a:lnTo>
                      <a:pt x="17425" y="19698"/>
                    </a:lnTo>
                    <a:lnTo>
                      <a:pt x="16061" y="19395"/>
                    </a:lnTo>
                    <a:lnTo>
                      <a:pt x="14849" y="19546"/>
                    </a:lnTo>
                    <a:lnTo>
                      <a:pt x="15455" y="21061"/>
                    </a:lnTo>
                    <a:lnTo>
                      <a:pt x="16061" y="21970"/>
                    </a:lnTo>
                    <a:lnTo>
                      <a:pt x="18183" y="23031"/>
                    </a:lnTo>
                    <a:lnTo>
                      <a:pt x="20759" y="25001"/>
                    </a:lnTo>
                    <a:lnTo>
                      <a:pt x="21516" y="25001"/>
                    </a:lnTo>
                    <a:lnTo>
                      <a:pt x="22122" y="23486"/>
                    </a:lnTo>
                    <a:lnTo>
                      <a:pt x="22122" y="22577"/>
                    </a:lnTo>
                    <a:lnTo>
                      <a:pt x="20910" y="21061"/>
                    </a:lnTo>
                    <a:close/>
                    <a:moveTo>
                      <a:pt x="26062" y="2727"/>
                    </a:moveTo>
                    <a:lnTo>
                      <a:pt x="23789" y="0"/>
                    </a:lnTo>
                    <a:lnTo>
                      <a:pt x="23789" y="3333"/>
                    </a:lnTo>
                    <a:lnTo>
                      <a:pt x="23637" y="5606"/>
                    </a:lnTo>
                    <a:lnTo>
                      <a:pt x="24092" y="6364"/>
                    </a:lnTo>
                    <a:lnTo>
                      <a:pt x="24698" y="6667"/>
                    </a:lnTo>
                    <a:lnTo>
                      <a:pt x="26668" y="7121"/>
                    </a:lnTo>
                    <a:lnTo>
                      <a:pt x="28031" y="4091"/>
                    </a:lnTo>
                    <a:lnTo>
                      <a:pt x="26062"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7" name="Freeform: Shape 3286">
                <a:extLst>
                  <a:ext uri="{FF2B5EF4-FFF2-40B4-BE49-F238E27FC236}">
                    <a16:creationId xmlns:a16="http://schemas.microsoft.com/office/drawing/2014/main" id="{4085257A-1DD3-484B-87F6-F62FDD1A02FE}"/>
                  </a:ext>
                </a:extLst>
              </p:cNvPr>
              <p:cNvSpPr/>
              <p:nvPr/>
            </p:nvSpPr>
            <p:spPr>
              <a:xfrm>
                <a:off x="9554764" y="4300620"/>
                <a:ext cx="681995" cy="117731"/>
              </a:xfrm>
              <a:custGeom>
                <a:avLst/>
                <a:gdLst>
                  <a:gd name="connsiteX0" fmla="*/ 378044 w 681995"/>
                  <a:gd name="connsiteY0" fmla="*/ 58184 h 117731"/>
                  <a:gd name="connsiteX1" fmla="*/ 377590 w 681995"/>
                  <a:gd name="connsiteY1" fmla="*/ 58184 h 117731"/>
                  <a:gd name="connsiteX2" fmla="*/ 377438 w 681995"/>
                  <a:gd name="connsiteY2" fmla="*/ 58487 h 117731"/>
                  <a:gd name="connsiteX3" fmla="*/ 377286 w 681995"/>
                  <a:gd name="connsiteY3" fmla="*/ 59245 h 117731"/>
                  <a:gd name="connsiteX4" fmla="*/ 377590 w 681995"/>
                  <a:gd name="connsiteY4" fmla="*/ 59396 h 117731"/>
                  <a:gd name="connsiteX5" fmla="*/ 378044 w 681995"/>
                  <a:gd name="connsiteY5" fmla="*/ 59245 h 117731"/>
                  <a:gd name="connsiteX6" fmla="*/ 378954 w 681995"/>
                  <a:gd name="connsiteY6" fmla="*/ 58638 h 117731"/>
                  <a:gd name="connsiteX7" fmla="*/ 378954 w 681995"/>
                  <a:gd name="connsiteY7" fmla="*/ 58487 h 117731"/>
                  <a:gd name="connsiteX8" fmla="*/ 378044 w 681995"/>
                  <a:gd name="connsiteY8" fmla="*/ 58184 h 117731"/>
                  <a:gd name="connsiteX9" fmla="*/ 371074 w 681995"/>
                  <a:gd name="connsiteY9" fmla="*/ 60305 h 117731"/>
                  <a:gd name="connsiteX10" fmla="*/ 370468 w 681995"/>
                  <a:gd name="connsiteY10" fmla="*/ 60305 h 117731"/>
                  <a:gd name="connsiteX11" fmla="*/ 370165 w 681995"/>
                  <a:gd name="connsiteY11" fmla="*/ 60608 h 117731"/>
                  <a:gd name="connsiteX12" fmla="*/ 370619 w 681995"/>
                  <a:gd name="connsiteY12" fmla="*/ 60760 h 117731"/>
                  <a:gd name="connsiteX13" fmla="*/ 370468 w 681995"/>
                  <a:gd name="connsiteY13" fmla="*/ 61214 h 117731"/>
                  <a:gd name="connsiteX14" fmla="*/ 369710 w 681995"/>
                  <a:gd name="connsiteY14" fmla="*/ 61366 h 117731"/>
                  <a:gd name="connsiteX15" fmla="*/ 369558 w 681995"/>
                  <a:gd name="connsiteY15" fmla="*/ 61517 h 117731"/>
                  <a:gd name="connsiteX16" fmla="*/ 369862 w 681995"/>
                  <a:gd name="connsiteY16" fmla="*/ 61669 h 117731"/>
                  <a:gd name="connsiteX17" fmla="*/ 371528 w 681995"/>
                  <a:gd name="connsiteY17" fmla="*/ 61820 h 117731"/>
                  <a:gd name="connsiteX18" fmla="*/ 371680 w 681995"/>
                  <a:gd name="connsiteY18" fmla="*/ 61517 h 117731"/>
                  <a:gd name="connsiteX19" fmla="*/ 371832 w 681995"/>
                  <a:gd name="connsiteY19" fmla="*/ 61063 h 117731"/>
                  <a:gd name="connsiteX20" fmla="*/ 371680 w 681995"/>
                  <a:gd name="connsiteY20" fmla="*/ 60608 h 117731"/>
                  <a:gd name="connsiteX21" fmla="*/ 371074 w 681995"/>
                  <a:gd name="connsiteY21" fmla="*/ 60305 h 117731"/>
                  <a:gd name="connsiteX22" fmla="*/ 2272 w 681995"/>
                  <a:gd name="connsiteY22" fmla="*/ 151 h 117731"/>
                  <a:gd name="connsiteX23" fmla="*/ 1515 w 681995"/>
                  <a:gd name="connsiteY23" fmla="*/ 1061 h 117731"/>
                  <a:gd name="connsiteX24" fmla="*/ 606 w 681995"/>
                  <a:gd name="connsiteY24" fmla="*/ 2576 h 117731"/>
                  <a:gd name="connsiteX25" fmla="*/ 0 w 681995"/>
                  <a:gd name="connsiteY25" fmla="*/ 3939 h 117731"/>
                  <a:gd name="connsiteX26" fmla="*/ 152 w 681995"/>
                  <a:gd name="connsiteY26" fmla="*/ 4697 h 117731"/>
                  <a:gd name="connsiteX27" fmla="*/ 2272 w 681995"/>
                  <a:gd name="connsiteY27" fmla="*/ 2424 h 117731"/>
                  <a:gd name="connsiteX28" fmla="*/ 3333 w 681995"/>
                  <a:gd name="connsiteY28" fmla="*/ 2273 h 117731"/>
                  <a:gd name="connsiteX29" fmla="*/ 4242 w 681995"/>
                  <a:gd name="connsiteY29" fmla="*/ 1212 h 117731"/>
                  <a:gd name="connsiteX30" fmla="*/ 3485 w 681995"/>
                  <a:gd name="connsiteY30" fmla="*/ 0 h 117731"/>
                  <a:gd name="connsiteX31" fmla="*/ 2272 w 681995"/>
                  <a:gd name="connsiteY31" fmla="*/ 151 h 117731"/>
                  <a:gd name="connsiteX32" fmla="*/ 553505 w 681995"/>
                  <a:gd name="connsiteY32" fmla="*/ 72275 h 117731"/>
                  <a:gd name="connsiteX33" fmla="*/ 550474 w 681995"/>
                  <a:gd name="connsiteY33" fmla="*/ 71518 h 117731"/>
                  <a:gd name="connsiteX34" fmla="*/ 549111 w 681995"/>
                  <a:gd name="connsiteY34" fmla="*/ 72427 h 117731"/>
                  <a:gd name="connsiteX35" fmla="*/ 548959 w 681995"/>
                  <a:gd name="connsiteY35" fmla="*/ 73488 h 117731"/>
                  <a:gd name="connsiteX36" fmla="*/ 549869 w 681995"/>
                  <a:gd name="connsiteY36" fmla="*/ 74094 h 117731"/>
                  <a:gd name="connsiteX37" fmla="*/ 550474 w 681995"/>
                  <a:gd name="connsiteY37" fmla="*/ 76366 h 117731"/>
                  <a:gd name="connsiteX38" fmla="*/ 552444 w 681995"/>
                  <a:gd name="connsiteY38" fmla="*/ 76669 h 117731"/>
                  <a:gd name="connsiteX39" fmla="*/ 554112 w 681995"/>
                  <a:gd name="connsiteY39" fmla="*/ 76063 h 117731"/>
                  <a:gd name="connsiteX40" fmla="*/ 553960 w 681995"/>
                  <a:gd name="connsiteY40" fmla="*/ 75003 h 117731"/>
                  <a:gd name="connsiteX41" fmla="*/ 554717 w 681995"/>
                  <a:gd name="connsiteY41" fmla="*/ 73942 h 117731"/>
                  <a:gd name="connsiteX42" fmla="*/ 553505 w 681995"/>
                  <a:gd name="connsiteY42" fmla="*/ 72275 h 117731"/>
                  <a:gd name="connsiteX43" fmla="*/ 681843 w 681995"/>
                  <a:gd name="connsiteY43" fmla="*/ 116519 h 117731"/>
                  <a:gd name="connsiteX44" fmla="*/ 681085 w 681995"/>
                  <a:gd name="connsiteY44" fmla="*/ 116216 h 117731"/>
                  <a:gd name="connsiteX45" fmla="*/ 680025 w 681995"/>
                  <a:gd name="connsiteY45" fmla="*/ 116671 h 117731"/>
                  <a:gd name="connsiteX46" fmla="*/ 680328 w 681995"/>
                  <a:gd name="connsiteY46" fmla="*/ 117125 h 117731"/>
                  <a:gd name="connsiteX47" fmla="*/ 681995 w 681995"/>
                  <a:gd name="connsiteY47" fmla="*/ 117732 h 117731"/>
                  <a:gd name="connsiteX48" fmla="*/ 681843 w 681995"/>
                  <a:gd name="connsiteY48" fmla="*/ 116519 h 11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81995" h="117731">
                    <a:moveTo>
                      <a:pt x="378044" y="58184"/>
                    </a:moveTo>
                    <a:lnTo>
                      <a:pt x="377590" y="58184"/>
                    </a:lnTo>
                    <a:lnTo>
                      <a:pt x="377438" y="58487"/>
                    </a:lnTo>
                    <a:lnTo>
                      <a:pt x="377286" y="59245"/>
                    </a:lnTo>
                    <a:lnTo>
                      <a:pt x="377590" y="59396"/>
                    </a:lnTo>
                    <a:lnTo>
                      <a:pt x="378044" y="59245"/>
                    </a:lnTo>
                    <a:lnTo>
                      <a:pt x="378954" y="58638"/>
                    </a:lnTo>
                    <a:lnTo>
                      <a:pt x="378954" y="58487"/>
                    </a:lnTo>
                    <a:lnTo>
                      <a:pt x="378044" y="58184"/>
                    </a:lnTo>
                    <a:close/>
                    <a:moveTo>
                      <a:pt x="371074" y="60305"/>
                    </a:moveTo>
                    <a:lnTo>
                      <a:pt x="370468" y="60305"/>
                    </a:lnTo>
                    <a:lnTo>
                      <a:pt x="370165" y="60608"/>
                    </a:lnTo>
                    <a:lnTo>
                      <a:pt x="370619" y="60760"/>
                    </a:lnTo>
                    <a:lnTo>
                      <a:pt x="370468" y="61214"/>
                    </a:lnTo>
                    <a:lnTo>
                      <a:pt x="369710" y="61366"/>
                    </a:lnTo>
                    <a:lnTo>
                      <a:pt x="369558" y="61517"/>
                    </a:lnTo>
                    <a:lnTo>
                      <a:pt x="369862" y="61669"/>
                    </a:lnTo>
                    <a:lnTo>
                      <a:pt x="371528" y="61820"/>
                    </a:lnTo>
                    <a:lnTo>
                      <a:pt x="371680" y="61517"/>
                    </a:lnTo>
                    <a:lnTo>
                      <a:pt x="371832" y="61063"/>
                    </a:lnTo>
                    <a:lnTo>
                      <a:pt x="371680" y="60608"/>
                    </a:lnTo>
                    <a:lnTo>
                      <a:pt x="371074" y="60305"/>
                    </a:lnTo>
                    <a:close/>
                    <a:moveTo>
                      <a:pt x="2272" y="151"/>
                    </a:moveTo>
                    <a:lnTo>
                      <a:pt x="1515" y="1061"/>
                    </a:lnTo>
                    <a:lnTo>
                      <a:pt x="606" y="2576"/>
                    </a:lnTo>
                    <a:lnTo>
                      <a:pt x="0" y="3939"/>
                    </a:lnTo>
                    <a:lnTo>
                      <a:pt x="152" y="4697"/>
                    </a:lnTo>
                    <a:lnTo>
                      <a:pt x="2272" y="2424"/>
                    </a:lnTo>
                    <a:lnTo>
                      <a:pt x="3333" y="2273"/>
                    </a:lnTo>
                    <a:lnTo>
                      <a:pt x="4242" y="1212"/>
                    </a:lnTo>
                    <a:lnTo>
                      <a:pt x="3485" y="0"/>
                    </a:lnTo>
                    <a:lnTo>
                      <a:pt x="2272" y="151"/>
                    </a:lnTo>
                    <a:close/>
                    <a:moveTo>
                      <a:pt x="553505" y="72275"/>
                    </a:moveTo>
                    <a:lnTo>
                      <a:pt x="550474" y="71518"/>
                    </a:lnTo>
                    <a:lnTo>
                      <a:pt x="549111" y="72427"/>
                    </a:lnTo>
                    <a:lnTo>
                      <a:pt x="548959" y="73488"/>
                    </a:lnTo>
                    <a:lnTo>
                      <a:pt x="549869" y="74094"/>
                    </a:lnTo>
                    <a:lnTo>
                      <a:pt x="550474" y="76366"/>
                    </a:lnTo>
                    <a:lnTo>
                      <a:pt x="552444" y="76669"/>
                    </a:lnTo>
                    <a:lnTo>
                      <a:pt x="554112" y="76063"/>
                    </a:lnTo>
                    <a:lnTo>
                      <a:pt x="553960" y="75003"/>
                    </a:lnTo>
                    <a:lnTo>
                      <a:pt x="554717" y="73942"/>
                    </a:lnTo>
                    <a:lnTo>
                      <a:pt x="553505" y="72275"/>
                    </a:lnTo>
                    <a:close/>
                    <a:moveTo>
                      <a:pt x="681843" y="116519"/>
                    </a:moveTo>
                    <a:lnTo>
                      <a:pt x="681085" y="116216"/>
                    </a:lnTo>
                    <a:lnTo>
                      <a:pt x="680025" y="116671"/>
                    </a:lnTo>
                    <a:lnTo>
                      <a:pt x="680328" y="117125"/>
                    </a:lnTo>
                    <a:lnTo>
                      <a:pt x="681995" y="117732"/>
                    </a:lnTo>
                    <a:lnTo>
                      <a:pt x="681843" y="11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8" name="Freeform: Shape 3287">
                <a:extLst>
                  <a:ext uri="{FF2B5EF4-FFF2-40B4-BE49-F238E27FC236}">
                    <a16:creationId xmlns:a16="http://schemas.microsoft.com/office/drawing/2014/main" id="{FDBFB8F0-9A83-4C35-AF22-4EFB150DA0D7}"/>
                  </a:ext>
                </a:extLst>
              </p:cNvPr>
              <p:cNvSpPr/>
              <p:nvPr/>
            </p:nvSpPr>
            <p:spPr>
              <a:xfrm>
                <a:off x="4104107" y="6096140"/>
                <a:ext cx="91367" cy="38031"/>
              </a:xfrm>
              <a:custGeom>
                <a:avLst/>
                <a:gdLst>
                  <a:gd name="connsiteX0" fmla="*/ 43184 w 91367"/>
                  <a:gd name="connsiteY0" fmla="*/ 14698 h 38031"/>
                  <a:gd name="connsiteX1" fmla="*/ 44850 w 91367"/>
                  <a:gd name="connsiteY1" fmla="*/ 12728 h 38031"/>
                  <a:gd name="connsiteX2" fmla="*/ 46972 w 91367"/>
                  <a:gd name="connsiteY2" fmla="*/ 11516 h 38031"/>
                  <a:gd name="connsiteX3" fmla="*/ 48184 w 91367"/>
                  <a:gd name="connsiteY3" fmla="*/ 10152 h 38031"/>
                  <a:gd name="connsiteX4" fmla="*/ 49244 w 91367"/>
                  <a:gd name="connsiteY4" fmla="*/ 8486 h 38031"/>
                  <a:gd name="connsiteX5" fmla="*/ 50911 w 91367"/>
                  <a:gd name="connsiteY5" fmla="*/ 7273 h 38031"/>
                  <a:gd name="connsiteX6" fmla="*/ 51669 w 91367"/>
                  <a:gd name="connsiteY6" fmla="*/ 5455 h 38031"/>
                  <a:gd name="connsiteX7" fmla="*/ 50154 w 91367"/>
                  <a:gd name="connsiteY7" fmla="*/ 3788 h 38031"/>
                  <a:gd name="connsiteX8" fmla="*/ 48335 w 91367"/>
                  <a:gd name="connsiteY8" fmla="*/ 2879 h 38031"/>
                  <a:gd name="connsiteX9" fmla="*/ 46214 w 91367"/>
                  <a:gd name="connsiteY9" fmla="*/ 4698 h 38031"/>
                  <a:gd name="connsiteX10" fmla="*/ 45456 w 91367"/>
                  <a:gd name="connsiteY10" fmla="*/ 4091 h 38031"/>
                  <a:gd name="connsiteX11" fmla="*/ 39547 w 91367"/>
                  <a:gd name="connsiteY11" fmla="*/ 5607 h 38031"/>
                  <a:gd name="connsiteX12" fmla="*/ 37426 w 91367"/>
                  <a:gd name="connsiteY12" fmla="*/ 5910 h 38031"/>
                  <a:gd name="connsiteX13" fmla="*/ 35911 w 91367"/>
                  <a:gd name="connsiteY13" fmla="*/ 4394 h 38031"/>
                  <a:gd name="connsiteX14" fmla="*/ 33789 w 91367"/>
                  <a:gd name="connsiteY14" fmla="*/ 3788 h 38031"/>
                  <a:gd name="connsiteX15" fmla="*/ 31213 w 91367"/>
                  <a:gd name="connsiteY15" fmla="*/ 4546 h 38031"/>
                  <a:gd name="connsiteX16" fmla="*/ 27577 w 91367"/>
                  <a:gd name="connsiteY16" fmla="*/ 7121 h 38031"/>
                  <a:gd name="connsiteX17" fmla="*/ 23637 w 91367"/>
                  <a:gd name="connsiteY17" fmla="*/ 6364 h 38031"/>
                  <a:gd name="connsiteX18" fmla="*/ 19243 w 91367"/>
                  <a:gd name="connsiteY18" fmla="*/ 4091 h 38031"/>
                  <a:gd name="connsiteX19" fmla="*/ 17273 w 91367"/>
                  <a:gd name="connsiteY19" fmla="*/ 2424 h 38031"/>
                  <a:gd name="connsiteX20" fmla="*/ 15758 w 91367"/>
                  <a:gd name="connsiteY20" fmla="*/ 2576 h 38031"/>
                  <a:gd name="connsiteX21" fmla="*/ 17122 w 91367"/>
                  <a:gd name="connsiteY21" fmla="*/ 5152 h 38031"/>
                  <a:gd name="connsiteX22" fmla="*/ 16970 w 91367"/>
                  <a:gd name="connsiteY22" fmla="*/ 6364 h 38031"/>
                  <a:gd name="connsiteX23" fmla="*/ 17425 w 91367"/>
                  <a:gd name="connsiteY23" fmla="*/ 7121 h 38031"/>
                  <a:gd name="connsiteX24" fmla="*/ 19849 w 91367"/>
                  <a:gd name="connsiteY24" fmla="*/ 9243 h 38031"/>
                  <a:gd name="connsiteX25" fmla="*/ 22880 w 91367"/>
                  <a:gd name="connsiteY25" fmla="*/ 10607 h 38031"/>
                  <a:gd name="connsiteX26" fmla="*/ 24395 w 91367"/>
                  <a:gd name="connsiteY26" fmla="*/ 12728 h 38031"/>
                  <a:gd name="connsiteX27" fmla="*/ 23486 w 91367"/>
                  <a:gd name="connsiteY27" fmla="*/ 13334 h 38031"/>
                  <a:gd name="connsiteX28" fmla="*/ 18334 w 91367"/>
                  <a:gd name="connsiteY28" fmla="*/ 14849 h 38031"/>
                  <a:gd name="connsiteX29" fmla="*/ 16667 w 91367"/>
                  <a:gd name="connsiteY29" fmla="*/ 14849 h 38031"/>
                  <a:gd name="connsiteX30" fmla="*/ 15152 w 91367"/>
                  <a:gd name="connsiteY30" fmla="*/ 15455 h 38031"/>
                  <a:gd name="connsiteX31" fmla="*/ 17425 w 91367"/>
                  <a:gd name="connsiteY31" fmla="*/ 17122 h 38031"/>
                  <a:gd name="connsiteX32" fmla="*/ 20759 w 91367"/>
                  <a:gd name="connsiteY32" fmla="*/ 16364 h 38031"/>
                  <a:gd name="connsiteX33" fmla="*/ 22122 w 91367"/>
                  <a:gd name="connsiteY33" fmla="*/ 15758 h 38031"/>
                  <a:gd name="connsiteX34" fmla="*/ 23486 w 91367"/>
                  <a:gd name="connsiteY34" fmla="*/ 15758 h 38031"/>
                  <a:gd name="connsiteX35" fmla="*/ 24547 w 91367"/>
                  <a:gd name="connsiteY35" fmla="*/ 16364 h 38031"/>
                  <a:gd name="connsiteX36" fmla="*/ 24547 w 91367"/>
                  <a:gd name="connsiteY36" fmla="*/ 17728 h 38031"/>
                  <a:gd name="connsiteX37" fmla="*/ 23183 w 91367"/>
                  <a:gd name="connsiteY37" fmla="*/ 18789 h 38031"/>
                  <a:gd name="connsiteX38" fmla="*/ 21971 w 91367"/>
                  <a:gd name="connsiteY38" fmla="*/ 20153 h 38031"/>
                  <a:gd name="connsiteX39" fmla="*/ 18789 w 91367"/>
                  <a:gd name="connsiteY39" fmla="*/ 21516 h 38031"/>
                  <a:gd name="connsiteX40" fmla="*/ 14849 w 91367"/>
                  <a:gd name="connsiteY40" fmla="*/ 24243 h 38031"/>
                  <a:gd name="connsiteX41" fmla="*/ 10152 w 91367"/>
                  <a:gd name="connsiteY41" fmla="*/ 24092 h 38031"/>
                  <a:gd name="connsiteX42" fmla="*/ 4697 w 91367"/>
                  <a:gd name="connsiteY42" fmla="*/ 28183 h 38031"/>
                  <a:gd name="connsiteX43" fmla="*/ 8788 w 91367"/>
                  <a:gd name="connsiteY43" fmla="*/ 31517 h 38031"/>
                  <a:gd name="connsiteX44" fmla="*/ 12273 w 91367"/>
                  <a:gd name="connsiteY44" fmla="*/ 33032 h 38031"/>
                  <a:gd name="connsiteX45" fmla="*/ 17122 w 91367"/>
                  <a:gd name="connsiteY45" fmla="*/ 33335 h 38031"/>
                  <a:gd name="connsiteX46" fmla="*/ 17728 w 91367"/>
                  <a:gd name="connsiteY46" fmla="*/ 32426 h 38031"/>
                  <a:gd name="connsiteX47" fmla="*/ 18637 w 91367"/>
                  <a:gd name="connsiteY47" fmla="*/ 32123 h 38031"/>
                  <a:gd name="connsiteX48" fmla="*/ 20455 w 91367"/>
                  <a:gd name="connsiteY48" fmla="*/ 31819 h 38031"/>
                  <a:gd name="connsiteX49" fmla="*/ 21364 w 91367"/>
                  <a:gd name="connsiteY49" fmla="*/ 31365 h 38031"/>
                  <a:gd name="connsiteX50" fmla="*/ 23183 w 91367"/>
                  <a:gd name="connsiteY50" fmla="*/ 28941 h 38031"/>
                  <a:gd name="connsiteX51" fmla="*/ 24395 w 91367"/>
                  <a:gd name="connsiteY51" fmla="*/ 25759 h 38031"/>
                  <a:gd name="connsiteX52" fmla="*/ 25759 w 91367"/>
                  <a:gd name="connsiteY52" fmla="*/ 25607 h 38031"/>
                  <a:gd name="connsiteX53" fmla="*/ 27425 w 91367"/>
                  <a:gd name="connsiteY53" fmla="*/ 26062 h 38031"/>
                  <a:gd name="connsiteX54" fmla="*/ 31365 w 91367"/>
                  <a:gd name="connsiteY54" fmla="*/ 25759 h 38031"/>
                  <a:gd name="connsiteX55" fmla="*/ 33183 w 91367"/>
                  <a:gd name="connsiteY55" fmla="*/ 25152 h 38031"/>
                  <a:gd name="connsiteX56" fmla="*/ 38790 w 91367"/>
                  <a:gd name="connsiteY56" fmla="*/ 19243 h 38031"/>
                  <a:gd name="connsiteX57" fmla="*/ 43184 w 91367"/>
                  <a:gd name="connsiteY57" fmla="*/ 14698 h 38031"/>
                  <a:gd name="connsiteX58" fmla="*/ 6364 w 91367"/>
                  <a:gd name="connsiteY58" fmla="*/ 22577 h 38031"/>
                  <a:gd name="connsiteX59" fmla="*/ 7425 w 91367"/>
                  <a:gd name="connsiteY59" fmla="*/ 18789 h 38031"/>
                  <a:gd name="connsiteX60" fmla="*/ 5455 w 91367"/>
                  <a:gd name="connsiteY60" fmla="*/ 18940 h 38031"/>
                  <a:gd name="connsiteX61" fmla="*/ 3485 w 91367"/>
                  <a:gd name="connsiteY61" fmla="*/ 18486 h 38031"/>
                  <a:gd name="connsiteX62" fmla="*/ 2576 w 91367"/>
                  <a:gd name="connsiteY62" fmla="*/ 19546 h 38031"/>
                  <a:gd name="connsiteX63" fmla="*/ 0 w 91367"/>
                  <a:gd name="connsiteY63" fmla="*/ 20455 h 38031"/>
                  <a:gd name="connsiteX64" fmla="*/ 758 w 91367"/>
                  <a:gd name="connsiteY64" fmla="*/ 21819 h 38031"/>
                  <a:gd name="connsiteX65" fmla="*/ 3031 w 91367"/>
                  <a:gd name="connsiteY65" fmla="*/ 24243 h 38031"/>
                  <a:gd name="connsiteX66" fmla="*/ 5303 w 91367"/>
                  <a:gd name="connsiteY66" fmla="*/ 24395 h 38031"/>
                  <a:gd name="connsiteX67" fmla="*/ 6364 w 91367"/>
                  <a:gd name="connsiteY67" fmla="*/ 22577 h 38031"/>
                  <a:gd name="connsiteX68" fmla="*/ 28335 w 91367"/>
                  <a:gd name="connsiteY68" fmla="*/ 4394 h 38031"/>
                  <a:gd name="connsiteX69" fmla="*/ 29244 w 91367"/>
                  <a:gd name="connsiteY69" fmla="*/ 2424 h 38031"/>
                  <a:gd name="connsiteX70" fmla="*/ 29395 w 91367"/>
                  <a:gd name="connsiteY70" fmla="*/ 1212 h 38031"/>
                  <a:gd name="connsiteX71" fmla="*/ 26668 w 91367"/>
                  <a:gd name="connsiteY71" fmla="*/ 0 h 38031"/>
                  <a:gd name="connsiteX72" fmla="*/ 23789 w 91367"/>
                  <a:gd name="connsiteY72" fmla="*/ 303 h 38031"/>
                  <a:gd name="connsiteX73" fmla="*/ 23789 w 91367"/>
                  <a:gd name="connsiteY73" fmla="*/ 3333 h 38031"/>
                  <a:gd name="connsiteX74" fmla="*/ 24547 w 91367"/>
                  <a:gd name="connsiteY74" fmla="*/ 4546 h 38031"/>
                  <a:gd name="connsiteX75" fmla="*/ 28335 w 91367"/>
                  <a:gd name="connsiteY75" fmla="*/ 4394 h 38031"/>
                  <a:gd name="connsiteX76" fmla="*/ 89852 w 91367"/>
                  <a:gd name="connsiteY76" fmla="*/ 11970 h 38031"/>
                  <a:gd name="connsiteX77" fmla="*/ 87276 w 91367"/>
                  <a:gd name="connsiteY77" fmla="*/ 11213 h 38031"/>
                  <a:gd name="connsiteX78" fmla="*/ 88488 w 91367"/>
                  <a:gd name="connsiteY78" fmla="*/ 9395 h 38031"/>
                  <a:gd name="connsiteX79" fmla="*/ 91367 w 91367"/>
                  <a:gd name="connsiteY79" fmla="*/ 8788 h 38031"/>
                  <a:gd name="connsiteX80" fmla="*/ 88185 w 91367"/>
                  <a:gd name="connsiteY80" fmla="*/ 4698 h 38031"/>
                  <a:gd name="connsiteX81" fmla="*/ 86670 w 91367"/>
                  <a:gd name="connsiteY81" fmla="*/ 3940 h 38031"/>
                  <a:gd name="connsiteX82" fmla="*/ 80306 w 91367"/>
                  <a:gd name="connsiteY82" fmla="*/ 4698 h 38031"/>
                  <a:gd name="connsiteX83" fmla="*/ 78791 w 91367"/>
                  <a:gd name="connsiteY83" fmla="*/ 5152 h 38031"/>
                  <a:gd name="connsiteX84" fmla="*/ 78033 w 91367"/>
                  <a:gd name="connsiteY84" fmla="*/ 6667 h 38031"/>
                  <a:gd name="connsiteX85" fmla="*/ 78336 w 91367"/>
                  <a:gd name="connsiteY85" fmla="*/ 8486 h 38031"/>
                  <a:gd name="connsiteX86" fmla="*/ 79246 w 91367"/>
                  <a:gd name="connsiteY86" fmla="*/ 10152 h 38031"/>
                  <a:gd name="connsiteX87" fmla="*/ 79397 w 91367"/>
                  <a:gd name="connsiteY87" fmla="*/ 11213 h 38031"/>
                  <a:gd name="connsiteX88" fmla="*/ 78336 w 91367"/>
                  <a:gd name="connsiteY88" fmla="*/ 11061 h 38031"/>
                  <a:gd name="connsiteX89" fmla="*/ 72730 w 91367"/>
                  <a:gd name="connsiteY89" fmla="*/ 8637 h 38031"/>
                  <a:gd name="connsiteX90" fmla="*/ 71821 w 91367"/>
                  <a:gd name="connsiteY90" fmla="*/ 7728 h 38031"/>
                  <a:gd name="connsiteX91" fmla="*/ 71518 w 91367"/>
                  <a:gd name="connsiteY91" fmla="*/ 5607 h 38031"/>
                  <a:gd name="connsiteX92" fmla="*/ 72882 w 91367"/>
                  <a:gd name="connsiteY92" fmla="*/ 5152 h 38031"/>
                  <a:gd name="connsiteX93" fmla="*/ 74548 w 91367"/>
                  <a:gd name="connsiteY93" fmla="*/ 5455 h 38031"/>
                  <a:gd name="connsiteX94" fmla="*/ 75306 w 91367"/>
                  <a:gd name="connsiteY94" fmla="*/ 3788 h 38031"/>
                  <a:gd name="connsiteX95" fmla="*/ 73942 w 91367"/>
                  <a:gd name="connsiteY95" fmla="*/ 1970 h 38031"/>
                  <a:gd name="connsiteX96" fmla="*/ 71669 w 91367"/>
                  <a:gd name="connsiteY96" fmla="*/ 1364 h 38031"/>
                  <a:gd name="connsiteX97" fmla="*/ 66366 w 91367"/>
                  <a:gd name="connsiteY97" fmla="*/ 2122 h 38031"/>
                  <a:gd name="connsiteX98" fmla="*/ 62124 w 91367"/>
                  <a:gd name="connsiteY98" fmla="*/ 0 h 38031"/>
                  <a:gd name="connsiteX99" fmla="*/ 60305 w 91367"/>
                  <a:gd name="connsiteY99" fmla="*/ 152 h 38031"/>
                  <a:gd name="connsiteX100" fmla="*/ 61215 w 91367"/>
                  <a:gd name="connsiteY100" fmla="*/ 3333 h 38031"/>
                  <a:gd name="connsiteX101" fmla="*/ 55457 w 91367"/>
                  <a:gd name="connsiteY101" fmla="*/ 8182 h 38031"/>
                  <a:gd name="connsiteX102" fmla="*/ 55305 w 91367"/>
                  <a:gd name="connsiteY102" fmla="*/ 11819 h 38031"/>
                  <a:gd name="connsiteX103" fmla="*/ 56214 w 91367"/>
                  <a:gd name="connsiteY103" fmla="*/ 14092 h 38031"/>
                  <a:gd name="connsiteX104" fmla="*/ 56366 w 91367"/>
                  <a:gd name="connsiteY104" fmla="*/ 15304 h 38031"/>
                  <a:gd name="connsiteX105" fmla="*/ 55457 w 91367"/>
                  <a:gd name="connsiteY105" fmla="*/ 15910 h 38031"/>
                  <a:gd name="connsiteX106" fmla="*/ 53184 w 91367"/>
                  <a:gd name="connsiteY106" fmla="*/ 16213 h 38031"/>
                  <a:gd name="connsiteX107" fmla="*/ 50911 w 91367"/>
                  <a:gd name="connsiteY107" fmla="*/ 17122 h 38031"/>
                  <a:gd name="connsiteX108" fmla="*/ 49699 w 91367"/>
                  <a:gd name="connsiteY108" fmla="*/ 18637 h 38031"/>
                  <a:gd name="connsiteX109" fmla="*/ 42578 w 91367"/>
                  <a:gd name="connsiteY109" fmla="*/ 23941 h 38031"/>
                  <a:gd name="connsiteX110" fmla="*/ 43487 w 91367"/>
                  <a:gd name="connsiteY110" fmla="*/ 25607 h 38031"/>
                  <a:gd name="connsiteX111" fmla="*/ 40456 w 91367"/>
                  <a:gd name="connsiteY111" fmla="*/ 29547 h 38031"/>
                  <a:gd name="connsiteX112" fmla="*/ 40456 w 91367"/>
                  <a:gd name="connsiteY112" fmla="*/ 31668 h 38031"/>
                  <a:gd name="connsiteX113" fmla="*/ 43638 w 91367"/>
                  <a:gd name="connsiteY113" fmla="*/ 35456 h 38031"/>
                  <a:gd name="connsiteX114" fmla="*/ 47426 w 91367"/>
                  <a:gd name="connsiteY114" fmla="*/ 38032 h 38031"/>
                  <a:gd name="connsiteX115" fmla="*/ 48941 w 91367"/>
                  <a:gd name="connsiteY115" fmla="*/ 33941 h 38031"/>
                  <a:gd name="connsiteX116" fmla="*/ 51214 w 91367"/>
                  <a:gd name="connsiteY116" fmla="*/ 33486 h 38031"/>
                  <a:gd name="connsiteX117" fmla="*/ 53790 w 91367"/>
                  <a:gd name="connsiteY117" fmla="*/ 34244 h 38031"/>
                  <a:gd name="connsiteX118" fmla="*/ 56366 w 91367"/>
                  <a:gd name="connsiteY118" fmla="*/ 33183 h 38031"/>
                  <a:gd name="connsiteX119" fmla="*/ 52881 w 91367"/>
                  <a:gd name="connsiteY119" fmla="*/ 27426 h 38031"/>
                  <a:gd name="connsiteX120" fmla="*/ 54699 w 91367"/>
                  <a:gd name="connsiteY120" fmla="*/ 27122 h 38031"/>
                  <a:gd name="connsiteX121" fmla="*/ 67730 w 91367"/>
                  <a:gd name="connsiteY121" fmla="*/ 30456 h 38031"/>
                  <a:gd name="connsiteX122" fmla="*/ 68184 w 91367"/>
                  <a:gd name="connsiteY122" fmla="*/ 27729 h 38031"/>
                  <a:gd name="connsiteX123" fmla="*/ 68033 w 91367"/>
                  <a:gd name="connsiteY123" fmla="*/ 26668 h 38031"/>
                  <a:gd name="connsiteX124" fmla="*/ 66972 w 91367"/>
                  <a:gd name="connsiteY124" fmla="*/ 24547 h 38031"/>
                  <a:gd name="connsiteX125" fmla="*/ 76518 w 91367"/>
                  <a:gd name="connsiteY125" fmla="*/ 21971 h 38031"/>
                  <a:gd name="connsiteX126" fmla="*/ 79700 w 91367"/>
                  <a:gd name="connsiteY126" fmla="*/ 20455 h 38031"/>
                  <a:gd name="connsiteX127" fmla="*/ 81518 w 91367"/>
                  <a:gd name="connsiteY127" fmla="*/ 18334 h 38031"/>
                  <a:gd name="connsiteX128" fmla="*/ 85609 w 91367"/>
                  <a:gd name="connsiteY128" fmla="*/ 17576 h 38031"/>
                  <a:gd name="connsiteX129" fmla="*/ 90155 w 91367"/>
                  <a:gd name="connsiteY129" fmla="*/ 16364 h 38031"/>
                  <a:gd name="connsiteX130" fmla="*/ 90306 w 91367"/>
                  <a:gd name="connsiteY130" fmla="*/ 15455 h 38031"/>
                  <a:gd name="connsiteX131" fmla="*/ 91367 w 91367"/>
                  <a:gd name="connsiteY131" fmla="*/ 13637 h 38031"/>
                  <a:gd name="connsiteX132" fmla="*/ 89852 w 91367"/>
                  <a:gd name="connsiteY132" fmla="*/ 11970 h 38031"/>
                  <a:gd name="connsiteX133" fmla="*/ 73488 w 91367"/>
                  <a:gd name="connsiteY133" fmla="*/ 26365 h 38031"/>
                  <a:gd name="connsiteX134" fmla="*/ 72427 w 91367"/>
                  <a:gd name="connsiteY134" fmla="*/ 26213 h 38031"/>
                  <a:gd name="connsiteX135" fmla="*/ 71215 w 91367"/>
                  <a:gd name="connsiteY135" fmla="*/ 27274 h 38031"/>
                  <a:gd name="connsiteX136" fmla="*/ 71972 w 91367"/>
                  <a:gd name="connsiteY136" fmla="*/ 28789 h 38031"/>
                  <a:gd name="connsiteX137" fmla="*/ 74094 w 91367"/>
                  <a:gd name="connsiteY137" fmla="*/ 29850 h 38031"/>
                  <a:gd name="connsiteX138" fmla="*/ 73942 w 91367"/>
                  <a:gd name="connsiteY138" fmla="*/ 26668 h 38031"/>
                  <a:gd name="connsiteX139" fmla="*/ 73488 w 91367"/>
                  <a:gd name="connsiteY139" fmla="*/ 26365 h 38031"/>
                  <a:gd name="connsiteX140" fmla="*/ 37123 w 91367"/>
                  <a:gd name="connsiteY140" fmla="*/ 31214 h 38031"/>
                  <a:gd name="connsiteX141" fmla="*/ 37274 w 91367"/>
                  <a:gd name="connsiteY141" fmla="*/ 31971 h 38031"/>
                  <a:gd name="connsiteX142" fmla="*/ 37274 w 91367"/>
                  <a:gd name="connsiteY142" fmla="*/ 33789 h 38031"/>
                  <a:gd name="connsiteX143" fmla="*/ 37880 w 91367"/>
                  <a:gd name="connsiteY143" fmla="*/ 35153 h 38031"/>
                  <a:gd name="connsiteX144" fmla="*/ 38335 w 91367"/>
                  <a:gd name="connsiteY144" fmla="*/ 35456 h 38031"/>
                  <a:gd name="connsiteX145" fmla="*/ 40153 w 91367"/>
                  <a:gd name="connsiteY145" fmla="*/ 34698 h 38031"/>
                  <a:gd name="connsiteX146" fmla="*/ 40153 w 91367"/>
                  <a:gd name="connsiteY146" fmla="*/ 32880 h 38031"/>
                  <a:gd name="connsiteX147" fmla="*/ 38183 w 91367"/>
                  <a:gd name="connsiteY147" fmla="*/ 31517 h 38031"/>
                  <a:gd name="connsiteX148" fmla="*/ 37123 w 91367"/>
                  <a:gd name="connsiteY148" fmla="*/ 31214 h 3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91367" h="38031">
                    <a:moveTo>
                      <a:pt x="43184" y="14698"/>
                    </a:moveTo>
                    <a:lnTo>
                      <a:pt x="44850" y="12728"/>
                    </a:lnTo>
                    <a:lnTo>
                      <a:pt x="46972" y="11516"/>
                    </a:lnTo>
                    <a:lnTo>
                      <a:pt x="48184" y="10152"/>
                    </a:lnTo>
                    <a:lnTo>
                      <a:pt x="49244" y="8486"/>
                    </a:lnTo>
                    <a:lnTo>
                      <a:pt x="50911" y="7273"/>
                    </a:lnTo>
                    <a:lnTo>
                      <a:pt x="51669" y="5455"/>
                    </a:lnTo>
                    <a:lnTo>
                      <a:pt x="50154" y="3788"/>
                    </a:lnTo>
                    <a:lnTo>
                      <a:pt x="48335" y="2879"/>
                    </a:lnTo>
                    <a:lnTo>
                      <a:pt x="46214" y="4698"/>
                    </a:lnTo>
                    <a:lnTo>
                      <a:pt x="45456" y="4091"/>
                    </a:lnTo>
                    <a:lnTo>
                      <a:pt x="39547" y="5607"/>
                    </a:lnTo>
                    <a:lnTo>
                      <a:pt x="37426" y="5910"/>
                    </a:lnTo>
                    <a:lnTo>
                      <a:pt x="35911" y="4394"/>
                    </a:lnTo>
                    <a:lnTo>
                      <a:pt x="33789" y="3788"/>
                    </a:lnTo>
                    <a:lnTo>
                      <a:pt x="31213" y="4546"/>
                    </a:lnTo>
                    <a:lnTo>
                      <a:pt x="27577" y="7121"/>
                    </a:lnTo>
                    <a:lnTo>
                      <a:pt x="23637" y="6364"/>
                    </a:lnTo>
                    <a:lnTo>
                      <a:pt x="19243" y="4091"/>
                    </a:lnTo>
                    <a:lnTo>
                      <a:pt x="17273" y="2424"/>
                    </a:lnTo>
                    <a:lnTo>
                      <a:pt x="15758" y="2576"/>
                    </a:lnTo>
                    <a:lnTo>
                      <a:pt x="17122" y="5152"/>
                    </a:lnTo>
                    <a:lnTo>
                      <a:pt x="16970" y="6364"/>
                    </a:lnTo>
                    <a:lnTo>
                      <a:pt x="17425" y="7121"/>
                    </a:lnTo>
                    <a:lnTo>
                      <a:pt x="19849" y="9243"/>
                    </a:lnTo>
                    <a:lnTo>
                      <a:pt x="22880" y="10607"/>
                    </a:lnTo>
                    <a:lnTo>
                      <a:pt x="24395" y="12728"/>
                    </a:lnTo>
                    <a:lnTo>
                      <a:pt x="23486" y="13334"/>
                    </a:lnTo>
                    <a:lnTo>
                      <a:pt x="18334" y="14849"/>
                    </a:lnTo>
                    <a:lnTo>
                      <a:pt x="16667" y="14849"/>
                    </a:lnTo>
                    <a:lnTo>
                      <a:pt x="15152" y="15455"/>
                    </a:lnTo>
                    <a:lnTo>
                      <a:pt x="17425" y="17122"/>
                    </a:lnTo>
                    <a:lnTo>
                      <a:pt x="20759" y="16364"/>
                    </a:lnTo>
                    <a:lnTo>
                      <a:pt x="22122" y="15758"/>
                    </a:lnTo>
                    <a:lnTo>
                      <a:pt x="23486" y="15758"/>
                    </a:lnTo>
                    <a:lnTo>
                      <a:pt x="24547" y="16364"/>
                    </a:lnTo>
                    <a:lnTo>
                      <a:pt x="24547" y="17728"/>
                    </a:lnTo>
                    <a:lnTo>
                      <a:pt x="23183" y="18789"/>
                    </a:lnTo>
                    <a:lnTo>
                      <a:pt x="21971" y="20153"/>
                    </a:lnTo>
                    <a:lnTo>
                      <a:pt x="18789" y="21516"/>
                    </a:lnTo>
                    <a:lnTo>
                      <a:pt x="14849" y="24243"/>
                    </a:lnTo>
                    <a:lnTo>
                      <a:pt x="10152" y="24092"/>
                    </a:lnTo>
                    <a:lnTo>
                      <a:pt x="4697" y="28183"/>
                    </a:lnTo>
                    <a:lnTo>
                      <a:pt x="8788" y="31517"/>
                    </a:lnTo>
                    <a:lnTo>
                      <a:pt x="12273" y="33032"/>
                    </a:lnTo>
                    <a:lnTo>
                      <a:pt x="17122" y="33335"/>
                    </a:lnTo>
                    <a:lnTo>
                      <a:pt x="17728" y="32426"/>
                    </a:lnTo>
                    <a:lnTo>
                      <a:pt x="18637" y="32123"/>
                    </a:lnTo>
                    <a:lnTo>
                      <a:pt x="20455" y="31819"/>
                    </a:lnTo>
                    <a:lnTo>
                      <a:pt x="21364" y="31365"/>
                    </a:lnTo>
                    <a:lnTo>
                      <a:pt x="23183" y="28941"/>
                    </a:lnTo>
                    <a:lnTo>
                      <a:pt x="24395" y="25759"/>
                    </a:lnTo>
                    <a:lnTo>
                      <a:pt x="25759" y="25607"/>
                    </a:lnTo>
                    <a:lnTo>
                      <a:pt x="27425" y="26062"/>
                    </a:lnTo>
                    <a:lnTo>
                      <a:pt x="31365" y="25759"/>
                    </a:lnTo>
                    <a:lnTo>
                      <a:pt x="33183" y="25152"/>
                    </a:lnTo>
                    <a:lnTo>
                      <a:pt x="38790" y="19243"/>
                    </a:lnTo>
                    <a:lnTo>
                      <a:pt x="43184" y="14698"/>
                    </a:lnTo>
                    <a:close/>
                    <a:moveTo>
                      <a:pt x="6364" y="22577"/>
                    </a:moveTo>
                    <a:lnTo>
                      <a:pt x="7425" y="18789"/>
                    </a:lnTo>
                    <a:lnTo>
                      <a:pt x="5455" y="18940"/>
                    </a:lnTo>
                    <a:lnTo>
                      <a:pt x="3485" y="18486"/>
                    </a:lnTo>
                    <a:lnTo>
                      <a:pt x="2576" y="19546"/>
                    </a:lnTo>
                    <a:lnTo>
                      <a:pt x="0" y="20455"/>
                    </a:lnTo>
                    <a:lnTo>
                      <a:pt x="758" y="21819"/>
                    </a:lnTo>
                    <a:lnTo>
                      <a:pt x="3031" y="24243"/>
                    </a:lnTo>
                    <a:lnTo>
                      <a:pt x="5303" y="24395"/>
                    </a:lnTo>
                    <a:lnTo>
                      <a:pt x="6364" y="22577"/>
                    </a:lnTo>
                    <a:close/>
                    <a:moveTo>
                      <a:pt x="28335" y="4394"/>
                    </a:moveTo>
                    <a:lnTo>
                      <a:pt x="29244" y="2424"/>
                    </a:lnTo>
                    <a:lnTo>
                      <a:pt x="29395" y="1212"/>
                    </a:lnTo>
                    <a:lnTo>
                      <a:pt x="26668" y="0"/>
                    </a:lnTo>
                    <a:lnTo>
                      <a:pt x="23789" y="303"/>
                    </a:lnTo>
                    <a:lnTo>
                      <a:pt x="23789" y="3333"/>
                    </a:lnTo>
                    <a:lnTo>
                      <a:pt x="24547" y="4546"/>
                    </a:lnTo>
                    <a:lnTo>
                      <a:pt x="28335" y="4394"/>
                    </a:lnTo>
                    <a:close/>
                    <a:moveTo>
                      <a:pt x="89852" y="11970"/>
                    </a:moveTo>
                    <a:lnTo>
                      <a:pt x="87276" y="11213"/>
                    </a:lnTo>
                    <a:lnTo>
                      <a:pt x="88488" y="9395"/>
                    </a:lnTo>
                    <a:lnTo>
                      <a:pt x="91367" y="8788"/>
                    </a:lnTo>
                    <a:lnTo>
                      <a:pt x="88185" y="4698"/>
                    </a:lnTo>
                    <a:lnTo>
                      <a:pt x="86670" y="3940"/>
                    </a:lnTo>
                    <a:lnTo>
                      <a:pt x="80306" y="4698"/>
                    </a:lnTo>
                    <a:lnTo>
                      <a:pt x="78791" y="5152"/>
                    </a:lnTo>
                    <a:lnTo>
                      <a:pt x="78033" y="6667"/>
                    </a:lnTo>
                    <a:lnTo>
                      <a:pt x="78336" y="8486"/>
                    </a:lnTo>
                    <a:lnTo>
                      <a:pt x="79246" y="10152"/>
                    </a:lnTo>
                    <a:lnTo>
                      <a:pt x="79397" y="11213"/>
                    </a:lnTo>
                    <a:lnTo>
                      <a:pt x="78336" y="11061"/>
                    </a:lnTo>
                    <a:lnTo>
                      <a:pt x="72730" y="8637"/>
                    </a:lnTo>
                    <a:lnTo>
                      <a:pt x="71821" y="7728"/>
                    </a:lnTo>
                    <a:lnTo>
                      <a:pt x="71518" y="5607"/>
                    </a:lnTo>
                    <a:lnTo>
                      <a:pt x="72882" y="5152"/>
                    </a:lnTo>
                    <a:lnTo>
                      <a:pt x="74548" y="5455"/>
                    </a:lnTo>
                    <a:lnTo>
                      <a:pt x="75306" y="3788"/>
                    </a:lnTo>
                    <a:lnTo>
                      <a:pt x="73942" y="1970"/>
                    </a:lnTo>
                    <a:lnTo>
                      <a:pt x="71669" y="1364"/>
                    </a:lnTo>
                    <a:lnTo>
                      <a:pt x="66366" y="2122"/>
                    </a:lnTo>
                    <a:lnTo>
                      <a:pt x="62124" y="0"/>
                    </a:lnTo>
                    <a:lnTo>
                      <a:pt x="60305" y="152"/>
                    </a:lnTo>
                    <a:lnTo>
                      <a:pt x="61215" y="3333"/>
                    </a:lnTo>
                    <a:lnTo>
                      <a:pt x="55457" y="8182"/>
                    </a:lnTo>
                    <a:lnTo>
                      <a:pt x="55305" y="11819"/>
                    </a:lnTo>
                    <a:lnTo>
                      <a:pt x="56214" y="14092"/>
                    </a:lnTo>
                    <a:lnTo>
                      <a:pt x="56366" y="15304"/>
                    </a:lnTo>
                    <a:lnTo>
                      <a:pt x="55457" y="15910"/>
                    </a:lnTo>
                    <a:lnTo>
                      <a:pt x="53184" y="16213"/>
                    </a:lnTo>
                    <a:lnTo>
                      <a:pt x="50911" y="17122"/>
                    </a:lnTo>
                    <a:lnTo>
                      <a:pt x="49699" y="18637"/>
                    </a:lnTo>
                    <a:lnTo>
                      <a:pt x="42578" y="23941"/>
                    </a:lnTo>
                    <a:lnTo>
                      <a:pt x="43487" y="25607"/>
                    </a:lnTo>
                    <a:lnTo>
                      <a:pt x="40456" y="29547"/>
                    </a:lnTo>
                    <a:lnTo>
                      <a:pt x="40456" y="31668"/>
                    </a:lnTo>
                    <a:lnTo>
                      <a:pt x="43638" y="35456"/>
                    </a:lnTo>
                    <a:lnTo>
                      <a:pt x="47426" y="38032"/>
                    </a:lnTo>
                    <a:lnTo>
                      <a:pt x="48941" y="33941"/>
                    </a:lnTo>
                    <a:lnTo>
                      <a:pt x="51214" y="33486"/>
                    </a:lnTo>
                    <a:lnTo>
                      <a:pt x="53790" y="34244"/>
                    </a:lnTo>
                    <a:lnTo>
                      <a:pt x="56366" y="33183"/>
                    </a:lnTo>
                    <a:lnTo>
                      <a:pt x="52881" y="27426"/>
                    </a:lnTo>
                    <a:lnTo>
                      <a:pt x="54699" y="27122"/>
                    </a:lnTo>
                    <a:lnTo>
                      <a:pt x="67730" y="30456"/>
                    </a:lnTo>
                    <a:lnTo>
                      <a:pt x="68184" y="27729"/>
                    </a:lnTo>
                    <a:lnTo>
                      <a:pt x="68033" y="26668"/>
                    </a:lnTo>
                    <a:lnTo>
                      <a:pt x="66972" y="24547"/>
                    </a:lnTo>
                    <a:lnTo>
                      <a:pt x="76518" y="21971"/>
                    </a:lnTo>
                    <a:lnTo>
                      <a:pt x="79700" y="20455"/>
                    </a:lnTo>
                    <a:lnTo>
                      <a:pt x="81518" y="18334"/>
                    </a:lnTo>
                    <a:lnTo>
                      <a:pt x="85609" y="17576"/>
                    </a:lnTo>
                    <a:lnTo>
                      <a:pt x="90155" y="16364"/>
                    </a:lnTo>
                    <a:lnTo>
                      <a:pt x="90306" y="15455"/>
                    </a:lnTo>
                    <a:lnTo>
                      <a:pt x="91367" y="13637"/>
                    </a:lnTo>
                    <a:lnTo>
                      <a:pt x="89852" y="11970"/>
                    </a:lnTo>
                    <a:close/>
                    <a:moveTo>
                      <a:pt x="73488" y="26365"/>
                    </a:moveTo>
                    <a:lnTo>
                      <a:pt x="72427" y="26213"/>
                    </a:lnTo>
                    <a:lnTo>
                      <a:pt x="71215" y="27274"/>
                    </a:lnTo>
                    <a:lnTo>
                      <a:pt x="71972" y="28789"/>
                    </a:lnTo>
                    <a:lnTo>
                      <a:pt x="74094" y="29850"/>
                    </a:lnTo>
                    <a:lnTo>
                      <a:pt x="73942" y="26668"/>
                    </a:lnTo>
                    <a:lnTo>
                      <a:pt x="73488" y="26365"/>
                    </a:lnTo>
                    <a:close/>
                    <a:moveTo>
                      <a:pt x="37123" y="31214"/>
                    </a:moveTo>
                    <a:lnTo>
                      <a:pt x="37274" y="31971"/>
                    </a:lnTo>
                    <a:lnTo>
                      <a:pt x="37274" y="33789"/>
                    </a:lnTo>
                    <a:lnTo>
                      <a:pt x="37880" y="35153"/>
                    </a:lnTo>
                    <a:lnTo>
                      <a:pt x="38335" y="35456"/>
                    </a:lnTo>
                    <a:lnTo>
                      <a:pt x="40153" y="34698"/>
                    </a:lnTo>
                    <a:lnTo>
                      <a:pt x="40153" y="32880"/>
                    </a:lnTo>
                    <a:lnTo>
                      <a:pt x="38183" y="31517"/>
                    </a:lnTo>
                    <a:lnTo>
                      <a:pt x="37123" y="3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9" name="Freeform: Shape 3288">
                <a:extLst>
                  <a:ext uri="{FF2B5EF4-FFF2-40B4-BE49-F238E27FC236}">
                    <a16:creationId xmlns:a16="http://schemas.microsoft.com/office/drawing/2014/main" id="{3C14D39A-240C-4299-98AC-A0DC15BDE438}"/>
                  </a:ext>
                </a:extLst>
              </p:cNvPr>
              <p:cNvSpPr/>
              <p:nvPr/>
            </p:nvSpPr>
            <p:spPr>
              <a:xfrm>
                <a:off x="10554043" y="4902915"/>
                <a:ext cx="195765" cy="258494"/>
              </a:xfrm>
              <a:custGeom>
                <a:avLst/>
                <a:gdLst>
                  <a:gd name="connsiteX0" fmla="*/ 145005 w 195765"/>
                  <a:gd name="connsiteY0" fmla="*/ 116368 h 258494"/>
                  <a:gd name="connsiteX1" fmla="*/ 145461 w 195765"/>
                  <a:gd name="connsiteY1" fmla="*/ 114095 h 258494"/>
                  <a:gd name="connsiteX2" fmla="*/ 146066 w 195765"/>
                  <a:gd name="connsiteY2" fmla="*/ 113186 h 258494"/>
                  <a:gd name="connsiteX3" fmla="*/ 146218 w 195765"/>
                  <a:gd name="connsiteY3" fmla="*/ 112277 h 258494"/>
                  <a:gd name="connsiteX4" fmla="*/ 145005 w 195765"/>
                  <a:gd name="connsiteY4" fmla="*/ 112277 h 258494"/>
                  <a:gd name="connsiteX5" fmla="*/ 143794 w 195765"/>
                  <a:gd name="connsiteY5" fmla="*/ 112883 h 258494"/>
                  <a:gd name="connsiteX6" fmla="*/ 139854 w 195765"/>
                  <a:gd name="connsiteY6" fmla="*/ 115459 h 258494"/>
                  <a:gd name="connsiteX7" fmla="*/ 136369 w 195765"/>
                  <a:gd name="connsiteY7" fmla="*/ 118641 h 258494"/>
                  <a:gd name="connsiteX8" fmla="*/ 136218 w 195765"/>
                  <a:gd name="connsiteY8" fmla="*/ 115610 h 258494"/>
                  <a:gd name="connsiteX9" fmla="*/ 137733 w 195765"/>
                  <a:gd name="connsiteY9" fmla="*/ 112580 h 258494"/>
                  <a:gd name="connsiteX10" fmla="*/ 141217 w 195765"/>
                  <a:gd name="connsiteY10" fmla="*/ 110307 h 258494"/>
                  <a:gd name="connsiteX11" fmla="*/ 142430 w 195765"/>
                  <a:gd name="connsiteY11" fmla="*/ 108186 h 258494"/>
                  <a:gd name="connsiteX12" fmla="*/ 143945 w 195765"/>
                  <a:gd name="connsiteY12" fmla="*/ 106216 h 258494"/>
                  <a:gd name="connsiteX13" fmla="*/ 148036 w 195765"/>
                  <a:gd name="connsiteY13" fmla="*/ 102428 h 258494"/>
                  <a:gd name="connsiteX14" fmla="*/ 148036 w 195765"/>
                  <a:gd name="connsiteY14" fmla="*/ 101973 h 258494"/>
                  <a:gd name="connsiteX15" fmla="*/ 143945 w 195765"/>
                  <a:gd name="connsiteY15" fmla="*/ 103640 h 258494"/>
                  <a:gd name="connsiteX16" fmla="*/ 142278 w 195765"/>
                  <a:gd name="connsiteY16" fmla="*/ 103792 h 258494"/>
                  <a:gd name="connsiteX17" fmla="*/ 140308 w 195765"/>
                  <a:gd name="connsiteY17" fmla="*/ 103337 h 258494"/>
                  <a:gd name="connsiteX18" fmla="*/ 138188 w 195765"/>
                  <a:gd name="connsiteY18" fmla="*/ 103792 h 258494"/>
                  <a:gd name="connsiteX19" fmla="*/ 135915 w 195765"/>
                  <a:gd name="connsiteY19" fmla="*/ 104549 h 258494"/>
                  <a:gd name="connsiteX20" fmla="*/ 133793 w 195765"/>
                  <a:gd name="connsiteY20" fmla="*/ 105761 h 258494"/>
                  <a:gd name="connsiteX21" fmla="*/ 130612 w 195765"/>
                  <a:gd name="connsiteY21" fmla="*/ 108186 h 258494"/>
                  <a:gd name="connsiteX22" fmla="*/ 128793 w 195765"/>
                  <a:gd name="connsiteY22" fmla="*/ 108640 h 258494"/>
                  <a:gd name="connsiteX23" fmla="*/ 126974 w 195765"/>
                  <a:gd name="connsiteY23" fmla="*/ 108792 h 258494"/>
                  <a:gd name="connsiteX24" fmla="*/ 123338 w 195765"/>
                  <a:gd name="connsiteY24" fmla="*/ 109701 h 258494"/>
                  <a:gd name="connsiteX25" fmla="*/ 119702 w 195765"/>
                  <a:gd name="connsiteY25" fmla="*/ 110913 h 258494"/>
                  <a:gd name="connsiteX26" fmla="*/ 117126 w 195765"/>
                  <a:gd name="connsiteY26" fmla="*/ 112580 h 258494"/>
                  <a:gd name="connsiteX27" fmla="*/ 115460 w 195765"/>
                  <a:gd name="connsiteY27" fmla="*/ 115156 h 258494"/>
                  <a:gd name="connsiteX28" fmla="*/ 113792 w 195765"/>
                  <a:gd name="connsiteY28" fmla="*/ 115307 h 258494"/>
                  <a:gd name="connsiteX29" fmla="*/ 112126 w 195765"/>
                  <a:gd name="connsiteY29" fmla="*/ 116216 h 258494"/>
                  <a:gd name="connsiteX30" fmla="*/ 110763 w 195765"/>
                  <a:gd name="connsiteY30" fmla="*/ 115762 h 258494"/>
                  <a:gd name="connsiteX31" fmla="*/ 109398 w 195765"/>
                  <a:gd name="connsiteY31" fmla="*/ 115004 h 258494"/>
                  <a:gd name="connsiteX32" fmla="*/ 108943 w 195765"/>
                  <a:gd name="connsiteY32" fmla="*/ 116216 h 258494"/>
                  <a:gd name="connsiteX33" fmla="*/ 108186 w 195765"/>
                  <a:gd name="connsiteY33" fmla="*/ 117277 h 258494"/>
                  <a:gd name="connsiteX34" fmla="*/ 107429 w 195765"/>
                  <a:gd name="connsiteY34" fmla="*/ 118035 h 258494"/>
                  <a:gd name="connsiteX35" fmla="*/ 106975 w 195765"/>
                  <a:gd name="connsiteY35" fmla="*/ 119701 h 258494"/>
                  <a:gd name="connsiteX36" fmla="*/ 109853 w 195765"/>
                  <a:gd name="connsiteY36" fmla="*/ 120004 h 258494"/>
                  <a:gd name="connsiteX37" fmla="*/ 110763 w 195765"/>
                  <a:gd name="connsiteY37" fmla="*/ 121368 h 258494"/>
                  <a:gd name="connsiteX38" fmla="*/ 111520 w 195765"/>
                  <a:gd name="connsiteY38" fmla="*/ 123338 h 258494"/>
                  <a:gd name="connsiteX39" fmla="*/ 112731 w 195765"/>
                  <a:gd name="connsiteY39" fmla="*/ 124853 h 258494"/>
                  <a:gd name="connsiteX40" fmla="*/ 115308 w 195765"/>
                  <a:gd name="connsiteY40" fmla="*/ 124247 h 258494"/>
                  <a:gd name="connsiteX41" fmla="*/ 117580 w 195765"/>
                  <a:gd name="connsiteY41" fmla="*/ 122429 h 258494"/>
                  <a:gd name="connsiteX42" fmla="*/ 119398 w 195765"/>
                  <a:gd name="connsiteY42" fmla="*/ 122883 h 258494"/>
                  <a:gd name="connsiteX43" fmla="*/ 120914 w 195765"/>
                  <a:gd name="connsiteY43" fmla="*/ 122732 h 258494"/>
                  <a:gd name="connsiteX44" fmla="*/ 122277 w 195765"/>
                  <a:gd name="connsiteY44" fmla="*/ 120307 h 258494"/>
                  <a:gd name="connsiteX45" fmla="*/ 126369 w 195765"/>
                  <a:gd name="connsiteY45" fmla="*/ 117429 h 258494"/>
                  <a:gd name="connsiteX46" fmla="*/ 129096 w 195765"/>
                  <a:gd name="connsiteY46" fmla="*/ 117429 h 258494"/>
                  <a:gd name="connsiteX47" fmla="*/ 129703 w 195765"/>
                  <a:gd name="connsiteY47" fmla="*/ 117580 h 258494"/>
                  <a:gd name="connsiteX48" fmla="*/ 130308 w 195765"/>
                  <a:gd name="connsiteY48" fmla="*/ 119095 h 258494"/>
                  <a:gd name="connsiteX49" fmla="*/ 131066 w 195765"/>
                  <a:gd name="connsiteY49" fmla="*/ 119701 h 258494"/>
                  <a:gd name="connsiteX50" fmla="*/ 132278 w 195765"/>
                  <a:gd name="connsiteY50" fmla="*/ 120156 h 258494"/>
                  <a:gd name="connsiteX51" fmla="*/ 133491 w 195765"/>
                  <a:gd name="connsiteY51" fmla="*/ 120156 h 258494"/>
                  <a:gd name="connsiteX52" fmla="*/ 136824 w 195765"/>
                  <a:gd name="connsiteY52" fmla="*/ 119550 h 258494"/>
                  <a:gd name="connsiteX53" fmla="*/ 140308 w 195765"/>
                  <a:gd name="connsiteY53" fmla="*/ 118338 h 258494"/>
                  <a:gd name="connsiteX54" fmla="*/ 143187 w 195765"/>
                  <a:gd name="connsiteY54" fmla="*/ 118186 h 258494"/>
                  <a:gd name="connsiteX55" fmla="*/ 146066 w 195765"/>
                  <a:gd name="connsiteY55" fmla="*/ 118338 h 258494"/>
                  <a:gd name="connsiteX56" fmla="*/ 145005 w 195765"/>
                  <a:gd name="connsiteY56" fmla="*/ 116368 h 258494"/>
                  <a:gd name="connsiteX57" fmla="*/ 114853 w 195765"/>
                  <a:gd name="connsiteY57" fmla="*/ 143187 h 258494"/>
                  <a:gd name="connsiteX58" fmla="*/ 113792 w 195765"/>
                  <a:gd name="connsiteY58" fmla="*/ 144854 h 258494"/>
                  <a:gd name="connsiteX59" fmla="*/ 114551 w 195765"/>
                  <a:gd name="connsiteY59" fmla="*/ 146520 h 258494"/>
                  <a:gd name="connsiteX60" fmla="*/ 115914 w 195765"/>
                  <a:gd name="connsiteY60" fmla="*/ 146066 h 258494"/>
                  <a:gd name="connsiteX61" fmla="*/ 116671 w 195765"/>
                  <a:gd name="connsiteY61" fmla="*/ 144702 h 258494"/>
                  <a:gd name="connsiteX62" fmla="*/ 116065 w 195765"/>
                  <a:gd name="connsiteY62" fmla="*/ 142884 h 258494"/>
                  <a:gd name="connsiteX63" fmla="*/ 114853 w 195765"/>
                  <a:gd name="connsiteY63" fmla="*/ 143187 h 258494"/>
                  <a:gd name="connsiteX64" fmla="*/ 129096 w 195765"/>
                  <a:gd name="connsiteY64" fmla="*/ 152127 h 258494"/>
                  <a:gd name="connsiteX65" fmla="*/ 128187 w 195765"/>
                  <a:gd name="connsiteY65" fmla="*/ 152884 h 258494"/>
                  <a:gd name="connsiteX66" fmla="*/ 127733 w 195765"/>
                  <a:gd name="connsiteY66" fmla="*/ 153642 h 258494"/>
                  <a:gd name="connsiteX67" fmla="*/ 127581 w 195765"/>
                  <a:gd name="connsiteY67" fmla="*/ 154551 h 258494"/>
                  <a:gd name="connsiteX68" fmla="*/ 130005 w 195765"/>
                  <a:gd name="connsiteY68" fmla="*/ 156824 h 258494"/>
                  <a:gd name="connsiteX69" fmla="*/ 130308 w 195765"/>
                  <a:gd name="connsiteY69" fmla="*/ 156521 h 258494"/>
                  <a:gd name="connsiteX70" fmla="*/ 130612 w 195765"/>
                  <a:gd name="connsiteY70" fmla="*/ 155460 h 258494"/>
                  <a:gd name="connsiteX71" fmla="*/ 130005 w 195765"/>
                  <a:gd name="connsiteY71" fmla="*/ 153339 h 258494"/>
                  <a:gd name="connsiteX72" fmla="*/ 129096 w 195765"/>
                  <a:gd name="connsiteY72" fmla="*/ 152127 h 258494"/>
                  <a:gd name="connsiteX73" fmla="*/ 148036 w 195765"/>
                  <a:gd name="connsiteY73" fmla="*/ 102428 h 258494"/>
                  <a:gd name="connsiteX74" fmla="*/ 149249 w 195765"/>
                  <a:gd name="connsiteY74" fmla="*/ 101822 h 258494"/>
                  <a:gd name="connsiteX75" fmla="*/ 149552 w 195765"/>
                  <a:gd name="connsiteY75" fmla="*/ 101216 h 258494"/>
                  <a:gd name="connsiteX76" fmla="*/ 148945 w 195765"/>
                  <a:gd name="connsiteY76" fmla="*/ 101216 h 258494"/>
                  <a:gd name="connsiteX77" fmla="*/ 148036 w 195765"/>
                  <a:gd name="connsiteY77" fmla="*/ 101973 h 258494"/>
                  <a:gd name="connsiteX78" fmla="*/ 148036 w 195765"/>
                  <a:gd name="connsiteY78" fmla="*/ 102125 h 258494"/>
                  <a:gd name="connsiteX79" fmla="*/ 148036 w 195765"/>
                  <a:gd name="connsiteY79" fmla="*/ 102428 h 258494"/>
                  <a:gd name="connsiteX80" fmla="*/ 148036 w 195765"/>
                  <a:gd name="connsiteY80" fmla="*/ 112883 h 258494"/>
                  <a:gd name="connsiteX81" fmla="*/ 150006 w 195765"/>
                  <a:gd name="connsiteY81" fmla="*/ 111822 h 258494"/>
                  <a:gd name="connsiteX82" fmla="*/ 150006 w 195765"/>
                  <a:gd name="connsiteY82" fmla="*/ 111216 h 258494"/>
                  <a:gd name="connsiteX83" fmla="*/ 150763 w 195765"/>
                  <a:gd name="connsiteY83" fmla="*/ 109852 h 258494"/>
                  <a:gd name="connsiteX84" fmla="*/ 149552 w 195765"/>
                  <a:gd name="connsiteY84" fmla="*/ 110156 h 258494"/>
                  <a:gd name="connsiteX85" fmla="*/ 148036 w 195765"/>
                  <a:gd name="connsiteY85" fmla="*/ 111519 h 258494"/>
                  <a:gd name="connsiteX86" fmla="*/ 148036 w 195765"/>
                  <a:gd name="connsiteY86" fmla="*/ 112883 h 258494"/>
                  <a:gd name="connsiteX87" fmla="*/ 131823 w 195765"/>
                  <a:gd name="connsiteY87" fmla="*/ 132884 h 258494"/>
                  <a:gd name="connsiteX88" fmla="*/ 130914 w 195765"/>
                  <a:gd name="connsiteY88" fmla="*/ 132884 h 258494"/>
                  <a:gd name="connsiteX89" fmla="*/ 131369 w 195765"/>
                  <a:gd name="connsiteY89" fmla="*/ 136672 h 258494"/>
                  <a:gd name="connsiteX90" fmla="*/ 132278 w 195765"/>
                  <a:gd name="connsiteY90" fmla="*/ 135914 h 258494"/>
                  <a:gd name="connsiteX91" fmla="*/ 132884 w 195765"/>
                  <a:gd name="connsiteY91" fmla="*/ 134247 h 258494"/>
                  <a:gd name="connsiteX92" fmla="*/ 132430 w 195765"/>
                  <a:gd name="connsiteY92" fmla="*/ 133338 h 258494"/>
                  <a:gd name="connsiteX93" fmla="*/ 131823 w 195765"/>
                  <a:gd name="connsiteY93" fmla="*/ 132884 h 258494"/>
                  <a:gd name="connsiteX94" fmla="*/ 455 w 195765"/>
                  <a:gd name="connsiteY94" fmla="*/ 257434 h 258494"/>
                  <a:gd name="connsiteX95" fmla="*/ 0 w 195765"/>
                  <a:gd name="connsiteY95" fmla="*/ 257737 h 258494"/>
                  <a:gd name="connsiteX96" fmla="*/ 152 w 195765"/>
                  <a:gd name="connsiteY96" fmla="*/ 258343 h 258494"/>
                  <a:gd name="connsiteX97" fmla="*/ 910 w 195765"/>
                  <a:gd name="connsiteY97" fmla="*/ 258494 h 258494"/>
                  <a:gd name="connsiteX98" fmla="*/ 1061 w 195765"/>
                  <a:gd name="connsiteY98" fmla="*/ 258191 h 258494"/>
                  <a:gd name="connsiteX99" fmla="*/ 1061 w 195765"/>
                  <a:gd name="connsiteY99" fmla="*/ 257585 h 258494"/>
                  <a:gd name="connsiteX100" fmla="*/ 455 w 195765"/>
                  <a:gd name="connsiteY100" fmla="*/ 257434 h 258494"/>
                  <a:gd name="connsiteX101" fmla="*/ 67882 w 195765"/>
                  <a:gd name="connsiteY101" fmla="*/ 0 h 258494"/>
                  <a:gd name="connsiteX102" fmla="*/ 66821 w 195765"/>
                  <a:gd name="connsiteY102" fmla="*/ 303 h 258494"/>
                  <a:gd name="connsiteX103" fmla="*/ 66215 w 195765"/>
                  <a:gd name="connsiteY103" fmla="*/ 455 h 258494"/>
                  <a:gd name="connsiteX104" fmla="*/ 66518 w 195765"/>
                  <a:gd name="connsiteY104" fmla="*/ 909 h 258494"/>
                  <a:gd name="connsiteX105" fmla="*/ 68184 w 195765"/>
                  <a:gd name="connsiteY105" fmla="*/ 1212 h 258494"/>
                  <a:gd name="connsiteX106" fmla="*/ 69245 w 195765"/>
                  <a:gd name="connsiteY106" fmla="*/ 909 h 258494"/>
                  <a:gd name="connsiteX107" fmla="*/ 69397 w 195765"/>
                  <a:gd name="connsiteY107" fmla="*/ 606 h 258494"/>
                  <a:gd name="connsiteX108" fmla="*/ 69094 w 195765"/>
                  <a:gd name="connsiteY108" fmla="*/ 303 h 258494"/>
                  <a:gd name="connsiteX109" fmla="*/ 67882 w 195765"/>
                  <a:gd name="connsiteY109" fmla="*/ 0 h 258494"/>
                  <a:gd name="connsiteX110" fmla="*/ 102580 w 195765"/>
                  <a:gd name="connsiteY110" fmla="*/ 180007 h 258494"/>
                  <a:gd name="connsiteX111" fmla="*/ 101217 w 195765"/>
                  <a:gd name="connsiteY111" fmla="*/ 180613 h 258494"/>
                  <a:gd name="connsiteX112" fmla="*/ 99247 w 195765"/>
                  <a:gd name="connsiteY112" fmla="*/ 180916 h 258494"/>
                  <a:gd name="connsiteX113" fmla="*/ 97883 w 195765"/>
                  <a:gd name="connsiteY113" fmla="*/ 182582 h 258494"/>
                  <a:gd name="connsiteX114" fmla="*/ 96520 w 195765"/>
                  <a:gd name="connsiteY114" fmla="*/ 183643 h 258494"/>
                  <a:gd name="connsiteX115" fmla="*/ 95155 w 195765"/>
                  <a:gd name="connsiteY115" fmla="*/ 183492 h 258494"/>
                  <a:gd name="connsiteX116" fmla="*/ 93791 w 195765"/>
                  <a:gd name="connsiteY116" fmla="*/ 184704 h 258494"/>
                  <a:gd name="connsiteX117" fmla="*/ 92580 w 195765"/>
                  <a:gd name="connsiteY117" fmla="*/ 185310 h 258494"/>
                  <a:gd name="connsiteX118" fmla="*/ 94246 w 195765"/>
                  <a:gd name="connsiteY118" fmla="*/ 186219 h 258494"/>
                  <a:gd name="connsiteX119" fmla="*/ 98186 w 195765"/>
                  <a:gd name="connsiteY119" fmla="*/ 185310 h 258494"/>
                  <a:gd name="connsiteX120" fmla="*/ 98792 w 195765"/>
                  <a:gd name="connsiteY120" fmla="*/ 185007 h 258494"/>
                  <a:gd name="connsiteX121" fmla="*/ 98944 w 195765"/>
                  <a:gd name="connsiteY121" fmla="*/ 184401 h 258494"/>
                  <a:gd name="connsiteX122" fmla="*/ 99549 w 195765"/>
                  <a:gd name="connsiteY122" fmla="*/ 183643 h 258494"/>
                  <a:gd name="connsiteX123" fmla="*/ 101671 w 195765"/>
                  <a:gd name="connsiteY123" fmla="*/ 181825 h 258494"/>
                  <a:gd name="connsiteX124" fmla="*/ 102428 w 195765"/>
                  <a:gd name="connsiteY124" fmla="*/ 181976 h 258494"/>
                  <a:gd name="connsiteX125" fmla="*/ 103641 w 195765"/>
                  <a:gd name="connsiteY125" fmla="*/ 183037 h 258494"/>
                  <a:gd name="connsiteX126" fmla="*/ 107125 w 195765"/>
                  <a:gd name="connsiteY126" fmla="*/ 182279 h 258494"/>
                  <a:gd name="connsiteX127" fmla="*/ 107125 w 195765"/>
                  <a:gd name="connsiteY127" fmla="*/ 181067 h 258494"/>
                  <a:gd name="connsiteX128" fmla="*/ 105307 w 195765"/>
                  <a:gd name="connsiteY128" fmla="*/ 180461 h 258494"/>
                  <a:gd name="connsiteX129" fmla="*/ 102580 w 195765"/>
                  <a:gd name="connsiteY129" fmla="*/ 180007 h 258494"/>
                  <a:gd name="connsiteX130" fmla="*/ 73791 w 195765"/>
                  <a:gd name="connsiteY130" fmla="*/ 127126 h 258494"/>
                  <a:gd name="connsiteX131" fmla="*/ 73033 w 195765"/>
                  <a:gd name="connsiteY131" fmla="*/ 127277 h 258494"/>
                  <a:gd name="connsiteX132" fmla="*/ 72579 w 195765"/>
                  <a:gd name="connsiteY132" fmla="*/ 127429 h 258494"/>
                  <a:gd name="connsiteX133" fmla="*/ 71822 w 195765"/>
                  <a:gd name="connsiteY133" fmla="*/ 128187 h 258494"/>
                  <a:gd name="connsiteX134" fmla="*/ 71063 w 195765"/>
                  <a:gd name="connsiteY134" fmla="*/ 130459 h 258494"/>
                  <a:gd name="connsiteX135" fmla="*/ 72427 w 195765"/>
                  <a:gd name="connsiteY135" fmla="*/ 130005 h 258494"/>
                  <a:gd name="connsiteX136" fmla="*/ 73640 w 195765"/>
                  <a:gd name="connsiteY136" fmla="*/ 128793 h 258494"/>
                  <a:gd name="connsiteX137" fmla="*/ 73791 w 195765"/>
                  <a:gd name="connsiteY137" fmla="*/ 127126 h 258494"/>
                  <a:gd name="connsiteX138" fmla="*/ 109853 w 195765"/>
                  <a:gd name="connsiteY138" fmla="*/ 149248 h 258494"/>
                  <a:gd name="connsiteX139" fmla="*/ 109095 w 195765"/>
                  <a:gd name="connsiteY139" fmla="*/ 146672 h 258494"/>
                  <a:gd name="connsiteX140" fmla="*/ 109702 w 195765"/>
                  <a:gd name="connsiteY140" fmla="*/ 145308 h 258494"/>
                  <a:gd name="connsiteX141" fmla="*/ 109550 w 195765"/>
                  <a:gd name="connsiteY141" fmla="*/ 143945 h 258494"/>
                  <a:gd name="connsiteX142" fmla="*/ 107732 w 195765"/>
                  <a:gd name="connsiteY142" fmla="*/ 142429 h 258494"/>
                  <a:gd name="connsiteX143" fmla="*/ 104701 w 195765"/>
                  <a:gd name="connsiteY143" fmla="*/ 140460 h 258494"/>
                  <a:gd name="connsiteX144" fmla="*/ 102732 w 195765"/>
                  <a:gd name="connsiteY144" fmla="*/ 138035 h 258494"/>
                  <a:gd name="connsiteX145" fmla="*/ 101974 w 195765"/>
                  <a:gd name="connsiteY145" fmla="*/ 137884 h 258494"/>
                  <a:gd name="connsiteX146" fmla="*/ 101217 w 195765"/>
                  <a:gd name="connsiteY146" fmla="*/ 137278 h 258494"/>
                  <a:gd name="connsiteX147" fmla="*/ 101217 w 195765"/>
                  <a:gd name="connsiteY147" fmla="*/ 136066 h 258494"/>
                  <a:gd name="connsiteX148" fmla="*/ 100308 w 195765"/>
                  <a:gd name="connsiteY148" fmla="*/ 134853 h 258494"/>
                  <a:gd name="connsiteX149" fmla="*/ 98640 w 195765"/>
                  <a:gd name="connsiteY149" fmla="*/ 134399 h 258494"/>
                  <a:gd name="connsiteX150" fmla="*/ 96974 w 195765"/>
                  <a:gd name="connsiteY150" fmla="*/ 135156 h 258494"/>
                  <a:gd name="connsiteX151" fmla="*/ 91822 w 195765"/>
                  <a:gd name="connsiteY151" fmla="*/ 136672 h 258494"/>
                  <a:gd name="connsiteX152" fmla="*/ 88489 w 195765"/>
                  <a:gd name="connsiteY152" fmla="*/ 136520 h 258494"/>
                  <a:gd name="connsiteX153" fmla="*/ 83034 w 195765"/>
                  <a:gd name="connsiteY153" fmla="*/ 138490 h 258494"/>
                  <a:gd name="connsiteX154" fmla="*/ 80003 w 195765"/>
                  <a:gd name="connsiteY154" fmla="*/ 140763 h 258494"/>
                  <a:gd name="connsiteX155" fmla="*/ 77124 w 195765"/>
                  <a:gd name="connsiteY155" fmla="*/ 143339 h 258494"/>
                  <a:gd name="connsiteX156" fmla="*/ 77276 w 195765"/>
                  <a:gd name="connsiteY156" fmla="*/ 144702 h 258494"/>
                  <a:gd name="connsiteX157" fmla="*/ 77730 w 195765"/>
                  <a:gd name="connsiteY157" fmla="*/ 146217 h 258494"/>
                  <a:gd name="connsiteX158" fmla="*/ 77428 w 195765"/>
                  <a:gd name="connsiteY158" fmla="*/ 146672 h 258494"/>
                  <a:gd name="connsiteX159" fmla="*/ 76670 w 195765"/>
                  <a:gd name="connsiteY159" fmla="*/ 146975 h 258494"/>
                  <a:gd name="connsiteX160" fmla="*/ 76215 w 195765"/>
                  <a:gd name="connsiteY160" fmla="*/ 147581 h 258494"/>
                  <a:gd name="connsiteX161" fmla="*/ 76064 w 195765"/>
                  <a:gd name="connsiteY161" fmla="*/ 148490 h 258494"/>
                  <a:gd name="connsiteX162" fmla="*/ 74851 w 195765"/>
                  <a:gd name="connsiteY162" fmla="*/ 149248 h 258494"/>
                  <a:gd name="connsiteX163" fmla="*/ 73488 w 195765"/>
                  <a:gd name="connsiteY163" fmla="*/ 149703 h 258494"/>
                  <a:gd name="connsiteX164" fmla="*/ 73185 w 195765"/>
                  <a:gd name="connsiteY164" fmla="*/ 151218 h 258494"/>
                  <a:gd name="connsiteX165" fmla="*/ 73488 w 195765"/>
                  <a:gd name="connsiteY165" fmla="*/ 152733 h 258494"/>
                  <a:gd name="connsiteX166" fmla="*/ 75003 w 195765"/>
                  <a:gd name="connsiteY166" fmla="*/ 155763 h 258494"/>
                  <a:gd name="connsiteX167" fmla="*/ 76670 w 195765"/>
                  <a:gd name="connsiteY167" fmla="*/ 156975 h 258494"/>
                  <a:gd name="connsiteX168" fmla="*/ 78639 w 195765"/>
                  <a:gd name="connsiteY168" fmla="*/ 157733 h 258494"/>
                  <a:gd name="connsiteX169" fmla="*/ 83488 w 195765"/>
                  <a:gd name="connsiteY169" fmla="*/ 158642 h 258494"/>
                  <a:gd name="connsiteX170" fmla="*/ 87124 w 195765"/>
                  <a:gd name="connsiteY170" fmla="*/ 159703 h 258494"/>
                  <a:gd name="connsiteX171" fmla="*/ 89246 w 195765"/>
                  <a:gd name="connsiteY171" fmla="*/ 160763 h 258494"/>
                  <a:gd name="connsiteX172" fmla="*/ 92277 w 195765"/>
                  <a:gd name="connsiteY172" fmla="*/ 161067 h 258494"/>
                  <a:gd name="connsiteX173" fmla="*/ 95307 w 195765"/>
                  <a:gd name="connsiteY173" fmla="*/ 160612 h 258494"/>
                  <a:gd name="connsiteX174" fmla="*/ 97883 w 195765"/>
                  <a:gd name="connsiteY174" fmla="*/ 160612 h 258494"/>
                  <a:gd name="connsiteX175" fmla="*/ 100156 w 195765"/>
                  <a:gd name="connsiteY175" fmla="*/ 158794 h 258494"/>
                  <a:gd name="connsiteX176" fmla="*/ 102580 w 195765"/>
                  <a:gd name="connsiteY176" fmla="*/ 157430 h 258494"/>
                  <a:gd name="connsiteX177" fmla="*/ 105155 w 195765"/>
                  <a:gd name="connsiteY177" fmla="*/ 157127 h 258494"/>
                  <a:gd name="connsiteX178" fmla="*/ 106216 w 195765"/>
                  <a:gd name="connsiteY178" fmla="*/ 157581 h 258494"/>
                  <a:gd name="connsiteX179" fmla="*/ 106975 w 195765"/>
                  <a:gd name="connsiteY179" fmla="*/ 156824 h 258494"/>
                  <a:gd name="connsiteX180" fmla="*/ 110004 w 195765"/>
                  <a:gd name="connsiteY180" fmla="*/ 156672 h 258494"/>
                  <a:gd name="connsiteX181" fmla="*/ 111974 w 195765"/>
                  <a:gd name="connsiteY181" fmla="*/ 155915 h 258494"/>
                  <a:gd name="connsiteX182" fmla="*/ 110611 w 195765"/>
                  <a:gd name="connsiteY182" fmla="*/ 151824 h 258494"/>
                  <a:gd name="connsiteX183" fmla="*/ 109853 w 195765"/>
                  <a:gd name="connsiteY183" fmla="*/ 149248 h 258494"/>
                  <a:gd name="connsiteX184" fmla="*/ 181219 w 195765"/>
                  <a:gd name="connsiteY184" fmla="*/ 158945 h 258494"/>
                  <a:gd name="connsiteX185" fmla="*/ 179704 w 195765"/>
                  <a:gd name="connsiteY185" fmla="*/ 159400 h 258494"/>
                  <a:gd name="connsiteX186" fmla="*/ 180310 w 195765"/>
                  <a:gd name="connsiteY186" fmla="*/ 160006 h 258494"/>
                  <a:gd name="connsiteX187" fmla="*/ 181825 w 195765"/>
                  <a:gd name="connsiteY187" fmla="*/ 160915 h 258494"/>
                  <a:gd name="connsiteX188" fmla="*/ 182128 w 195765"/>
                  <a:gd name="connsiteY188" fmla="*/ 160460 h 258494"/>
                  <a:gd name="connsiteX189" fmla="*/ 182128 w 195765"/>
                  <a:gd name="connsiteY189" fmla="*/ 159248 h 258494"/>
                  <a:gd name="connsiteX190" fmla="*/ 181219 w 195765"/>
                  <a:gd name="connsiteY190" fmla="*/ 158945 h 258494"/>
                  <a:gd name="connsiteX191" fmla="*/ 176674 w 195765"/>
                  <a:gd name="connsiteY191" fmla="*/ 130762 h 258494"/>
                  <a:gd name="connsiteX192" fmla="*/ 175310 w 195765"/>
                  <a:gd name="connsiteY192" fmla="*/ 129853 h 258494"/>
                  <a:gd name="connsiteX193" fmla="*/ 175007 w 195765"/>
                  <a:gd name="connsiteY193" fmla="*/ 130156 h 258494"/>
                  <a:gd name="connsiteX194" fmla="*/ 175007 w 195765"/>
                  <a:gd name="connsiteY194" fmla="*/ 130762 h 258494"/>
                  <a:gd name="connsiteX195" fmla="*/ 176219 w 195765"/>
                  <a:gd name="connsiteY195" fmla="*/ 131672 h 258494"/>
                  <a:gd name="connsiteX196" fmla="*/ 176068 w 195765"/>
                  <a:gd name="connsiteY196" fmla="*/ 132429 h 258494"/>
                  <a:gd name="connsiteX197" fmla="*/ 175310 w 195765"/>
                  <a:gd name="connsiteY197" fmla="*/ 134096 h 258494"/>
                  <a:gd name="connsiteX198" fmla="*/ 175916 w 195765"/>
                  <a:gd name="connsiteY198" fmla="*/ 134399 h 258494"/>
                  <a:gd name="connsiteX199" fmla="*/ 176674 w 195765"/>
                  <a:gd name="connsiteY199" fmla="*/ 133490 h 258494"/>
                  <a:gd name="connsiteX200" fmla="*/ 177583 w 195765"/>
                  <a:gd name="connsiteY200" fmla="*/ 132884 h 258494"/>
                  <a:gd name="connsiteX201" fmla="*/ 177886 w 195765"/>
                  <a:gd name="connsiteY201" fmla="*/ 132126 h 258494"/>
                  <a:gd name="connsiteX202" fmla="*/ 177734 w 195765"/>
                  <a:gd name="connsiteY202" fmla="*/ 131672 h 258494"/>
                  <a:gd name="connsiteX203" fmla="*/ 176674 w 195765"/>
                  <a:gd name="connsiteY203" fmla="*/ 130762 h 258494"/>
                  <a:gd name="connsiteX204" fmla="*/ 183189 w 195765"/>
                  <a:gd name="connsiteY204" fmla="*/ 228796 h 258494"/>
                  <a:gd name="connsiteX205" fmla="*/ 183037 w 195765"/>
                  <a:gd name="connsiteY205" fmla="*/ 228645 h 258494"/>
                  <a:gd name="connsiteX206" fmla="*/ 182886 w 195765"/>
                  <a:gd name="connsiteY206" fmla="*/ 228493 h 258494"/>
                  <a:gd name="connsiteX207" fmla="*/ 182735 w 195765"/>
                  <a:gd name="connsiteY207" fmla="*/ 228493 h 258494"/>
                  <a:gd name="connsiteX208" fmla="*/ 182583 w 195765"/>
                  <a:gd name="connsiteY208" fmla="*/ 228645 h 258494"/>
                  <a:gd name="connsiteX209" fmla="*/ 182583 w 195765"/>
                  <a:gd name="connsiteY209" fmla="*/ 228796 h 258494"/>
                  <a:gd name="connsiteX210" fmla="*/ 182735 w 195765"/>
                  <a:gd name="connsiteY210" fmla="*/ 228948 h 258494"/>
                  <a:gd name="connsiteX211" fmla="*/ 182886 w 195765"/>
                  <a:gd name="connsiteY211" fmla="*/ 229099 h 258494"/>
                  <a:gd name="connsiteX212" fmla="*/ 183037 w 195765"/>
                  <a:gd name="connsiteY212" fmla="*/ 229099 h 258494"/>
                  <a:gd name="connsiteX213" fmla="*/ 183037 w 195765"/>
                  <a:gd name="connsiteY213" fmla="*/ 228948 h 258494"/>
                  <a:gd name="connsiteX214" fmla="*/ 183189 w 195765"/>
                  <a:gd name="connsiteY214" fmla="*/ 228796 h 258494"/>
                  <a:gd name="connsiteX215" fmla="*/ 195766 w 195765"/>
                  <a:gd name="connsiteY215" fmla="*/ 151824 h 258494"/>
                  <a:gd name="connsiteX216" fmla="*/ 195008 w 195765"/>
                  <a:gd name="connsiteY216" fmla="*/ 150612 h 258494"/>
                  <a:gd name="connsiteX217" fmla="*/ 193796 w 195765"/>
                  <a:gd name="connsiteY217" fmla="*/ 150308 h 258494"/>
                  <a:gd name="connsiteX218" fmla="*/ 192887 w 195765"/>
                  <a:gd name="connsiteY218" fmla="*/ 151521 h 258494"/>
                  <a:gd name="connsiteX219" fmla="*/ 194250 w 195765"/>
                  <a:gd name="connsiteY219" fmla="*/ 152733 h 258494"/>
                  <a:gd name="connsiteX220" fmla="*/ 195766 w 195765"/>
                  <a:gd name="connsiteY220" fmla="*/ 152430 h 258494"/>
                  <a:gd name="connsiteX221" fmla="*/ 195766 w 195765"/>
                  <a:gd name="connsiteY221" fmla="*/ 151824 h 258494"/>
                  <a:gd name="connsiteX222" fmla="*/ 147733 w 195765"/>
                  <a:gd name="connsiteY222" fmla="*/ 112883 h 258494"/>
                  <a:gd name="connsiteX223" fmla="*/ 148036 w 195765"/>
                  <a:gd name="connsiteY223" fmla="*/ 112883 h 258494"/>
                  <a:gd name="connsiteX224" fmla="*/ 148036 w 195765"/>
                  <a:gd name="connsiteY224" fmla="*/ 111519 h 258494"/>
                  <a:gd name="connsiteX225" fmla="*/ 147582 w 195765"/>
                  <a:gd name="connsiteY225" fmla="*/ 112428 h 258494"/>
                  <a:gd name="connsiteX226" fmla="*/ 147733 w 195765"/>
                  <a:gd name="connsiteY226" fmla="*/ 112883 h 258494"/>
                  <a:gd name="connsiteX227" fmla="*/ 187583 w 195765"/>
                  <a:gd name="connsiteY227" fmla="*/ 186219 h 258494"/>
                  <a:gd name="connsiteX228" fmla="*/ 187129 w 195765"/>
                  <a:gd name="connsiteY228" fmla="*/ 185916 h 258494"/>
                  <a:gd name="connsiteX229" fmla="*/ 187129 w 195765"/>
                  <a:gd name="connsiteY229" fmla="*/ 185461 h 258494"/>
                  <a:gd name="connsiteX230" fmla="*/ 187432 w 195765"/>
                  <a:gd name="connsiteY230" fmla="*/ 185310 h 258494"/>
                  <a:gd name="connsiteX231" fmla="*/ 187583 w 195765"/>
                  <a:gd name="connsiteY231" fmla="*/ 185158 h 258494"/>
                  <a:gd name="connsiteX232" fmla="*/ 187280 w 195765"/>
                  <a:gd name="connsiteY232" fmla="*/ 185007 h 258494"/>
                  <a:gd name="connsiteX233" fmla="*/ 186674 w 195765"/>
                  <a:gd name="connsiteY233" fmla="*/ 185310 h 258494"/>
                  <a:gd name="connsiteX234" fmla="*/ 186371 w 195765"/>
                  <a:gd name="connsiteY234" fmla="*/ 185764 h 258494"/>
                  <a:gd name="connsiteX235" fmla="*/ 186371 w 195765"/>
                  <a:gd name="connsiteY235" fmla="*/ 186219 h 258494"/>
                  <a:gd name="connsiteX236" fmla="*/ 186977 w 195765"/>
                  <a:gd name="connsiteY236" fmla="*/ 186673 h 258494"/>
                  <a:gd name="connsiteX237" fmla="*/ 187734 w 195765"/>
                  <a:gd name="connsiteY237" fmla="*/ 186976 h 258494"/>
                  <a:gd name="connsiteX238" fmla="*/ 188038 w 195765"/>
                  <a:gd name="connsiteY238" fmla="*/ 186673 h 258494"/>
                  <a:gd name="connsiteX239" fmla="*/ 187886 w 195765"/>
                  <a:gd name="connsiteY239" fmla="*/ 186370 h 258494"/>
                  <a:gd name="connsiteX240" fmla="*/ 187583 w 195765"/>
                  <a:gd name="connsiteY240" fmla="*/ 186219 h 258494"/>
                  <a:gd name="connsiteX241" fmla="*/ 151824 w 195765"/>
                  <a:gd name="connsiteY241" fmla="*/ 116974 h 258494"/>
                  <a:gd name="connsiteX242" fmla="*/ 150915 w 195765"/>
                  <a:gd name="connsiteY242" fmla="*/ 117277 h 258494"/>
                  <a:gd name="connsiteX243" fmla="*/ 148036 w 195765"/>
                  <a:gd name="connsiteY243" fmla="*/ 119701 h 258494"/>
                  <a:gd name="connsiteX244" fmla="*/ 148036 w 195765"/>
                  <a:gd name="connsiteY244" fmla="*/ 119701 h 258494"/>
                  <a:gd name="connsiteX245" fmla="*/ 148036 w 195765"/>
                  <a:gd name="connsiteY245" fmla="*/ 120762 h 258494"/>
                  <a:gd name="connsiteX246" fmla="*/ 148036 w 195765"/>
                  <a:gd name="connsiteY246" fmla="*/ 121671 h 258494"/>
                  <a:gd name="connsiteX247" fmla="*/ 148036 w 195765"/>
                  <a:gd name="connsiteY247" fmla="*/ 123035 h 258494"/>
                  <a:gd name="connsiteX248" fmla="*/ 148036 w 195765"/>
                  <a:gd name="connsiteY248" fmla="*/ 124550 h 258494"/>
                  <a:gd name="connsiteX249" fmla="*/ 148794 w 195765"/>
                  <a:gd name="connsiteY249" fmla="*/ 123489 h 258494"/>
                  <a:gd name="connsiteX250" fmla="*/ 151672 w 195765"/>
                  <a:gd name="connsiteY250" fmla="*/ 121368 h 258494"/>
                  <a:gd name="connsiteX251" fmla="*/ 152885 w 195765"/>
                  <a:gd name="connsiteY251" fmla="*/ 118944 h 258494"/>
                  <a:gd name="connsiteX252" fmla="*/ 151824 w 195765"/>
                  <a:gd name="connsiteY252" fmla="*/ 116974 h 258494"/>
                  <a:gd name="connsiteX253" fmla="*/ 174098 w 195765"/>
                  <a:gd name="connsiteY253" fmla="*/ 151521 h 258494"/>
                  <a:gd name="connsiteX254" fmla="*/ 173189 w 195765"/>
                  <a:gd name="connsiteY254" fmla="*/ 152127 h 258494"/>
                  <a:gd name="connsiteX255" fmla="*/ 173643 w 195765"/>
                  <a:gd name="connsiteY255" fmla="*/ 152884 h 258494"/>
                  <a:gd name="connsiteX256" fmla="*/ 174249 w 195765"/>
                  <a:gd name="connsiteY256" fmla="*/ 153339 h 258494"/>
                  <a:gd name="connsiteX257" fmla="*/ 174856 w 195765"/>
                  <a:gd name="connsiteY257" fmla="*/ 153491 h 258494"/>
                  <a:gd name="connsiteX258" fmla="*/ 175613 w 195765"/>
                  <a:gd name="connsiteY258" fmla="*/ 153036 h 258494"/>
                  <a:gd name="connsiteX259" fmla="*/ 175310 w 195765"/>
                  <a:gd name="connsiteY259" fmla="*/ 152278 h 258494"/>
                  <a:gd name="connsiteX260" fmla="*/ 174098 w 195765"/>
                  <a:gd name="connsiteY260" fmla="*/ 151521 h 258494"/>
                  <a:gd name="connsiteX261" fmla="*/ 145309 w 195765"/>
                  <a:gd name="connsiteY261" fmla="*/ 124701 h 258494"/>
                  <a:gd name="connsiteX262" fmla="*/ 146066 w 195765"/>
                  <a:gd name="connsiteY262" fmla="*/ 125762 h 258494"/>
                  <a:gd name="connsiteX263" fmla="*/ 148036 w 195765"/>
                  <a:gd name="connsiteY263" fmla="*/ 124701 h 258494"/>
                  <a:gd name="connsiteX264" fmla="*/ 148036 w 195765"/>
                  <a:gd name="connsiteY264" fmla="*/ 121823 h 258494"/>
                  <a:gd name="connsiteX265" fmla="*/ 148036 w 195765"/>
                  <a:gd name="connsiteY265" fmla="*/ 119853 h 258494"/>
                  <a:gd name="connsiteX266" fmla="*/ 146218 w 195765"/>
                  <a:gd name="connsiteY266" fmla="*/ 122429 h 258494"/>
                  <a:gd name="connsiteX267" fmla="*/ 145309 w 195765"/>
                  <a:gd name="connsiteY267" fmla="*/ 124701 h 258494"/>
                  <a:gd name="connsiteX268" fmla="*/ 152733 w 195765"/>
                  <a:gd name="connsiteY268" fmla="*/ 179704 h 258494"/>
                  <a:gd name="connsiteX269" fmla="*/ 151976 w 195765"/>
                  <a:gd name="connsiteY269" fmla="*/ 180310 h 258494"/>
                  <a:gd name="connsiteX270" fmla="*/ 151824 w 195765"/>
                  <a:gd name="connsiteY270" fmla="*/ 180916 h 258494"/>
                  <a:gd name="connsiteX271" fmla="*/ 151672 w 195765"/>
                  <a:gd name="connsiteY271" fmla="*/ 181370 h 258494"/>
                  <a:gd name="connsiteX272" fmla="*/ 151672 w 195765"/>
                  <a:gd name="connsiteY272" fmla="*/ 181976 h 258494"/>
                  <a:gd name="connsiteX273" fmla="*/ 151976 w 195765"/>
                  <a:gd name="connsiteY273" fmla="*/ 182128 h 258494"/>
                  <a:gd name="connsiteX274" fmla="*/ 151976 w 195765"/>
                  <a:gd name="connsiteY274" fmla="*/ 181825 h 258494"/>
                  <a:gd name="connsiteX275" fmla="*/ 152127 w 195765"/>
                  <a:gd name="connsiteY275" fmla="*/ 181219 h 258494"/>
                  <a:gd name="connsiteX276" fmla="*/ 152279 w 195765"/>
                  <a:gd name="connsiteY276" fmla="*/ 180916 h 258494"/>
                  <a:gd name="connsiteX277" fmla="*/ 152582 w 195765"/>
                  <a:gd name="connsiteY277" fmla="*/ 180764 h 258494"/>
                  <a:gd name="connsiteX278" fmla="*/ 153037 w 195765"/>
                  <a:gd name="connsiteY278" fmla="*/ 181067 h 258494"/>
                  <a:gd name="connsiteX279" fmla="*/ 153491 w 195765"/>
                  <a:gd name="connsiteY279" fmla="*/ 181067 h 258494"/>
                  <a:gd name="connsiteX280" fmla="*/ 153491 w 195765"/>
                  <a:gd name="connsiteY280" fmla="*/ 180310 h 258494"/>
                  <a:gd name="connsiteX281" fmla="*/ 152733 w 195765"/>
                  <a:gd name="connsiteY281" fmla="*/ 179704 h 25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Lst>
                <a:rect l="l" t="t" r="r" b="b"/>
                <a:pathLst>
                  <a:path w="195765" h="258494">
                    <a:moveTo>
                      <a:pt x="145005" y="116368"/>
                    </a:moveTo>
                    <a:lnTo>
                      <a:pt x="145461" y="114095"/>
                    </a:lnTo>
                    <a:lnTo>
                      <a:pt x="146066" y="113186"/>
                    </a:lnTo>
                    <a:lnTo>
                      <a:pt x="146218" y="112277"/>
                    </a:lnTo>
                    <a:lnTo>
                      <a:pt x="145005" y="112277"/>
                    </a:lnTo>
                    <a:lnTo>
                      <a:pt x="143794" y="112883"/>
                    </a:lnTo>
                    <a:lnTo>
                      <a:pt x="139854" y="115459"/>
                    </a:lnTo>
                    <a:lnTo>
                      <a:pt x="136369" y="118641"/>
                    </a:lnTo>
                    <a:lnTo>
                      <a:pt x="136218" y="115610"/>
                    </a:lnTo>
                    <a:lnTo>
                      <a:pt x="137733" y="112580"/>
                    </a:lnTo>
                    <a:lnTo>
                      <a:pt x="141217" y="110307"/>
                    </a:lnTo>
                    <a:lnTo>
                      <a:pt x="142430" y="108186"/>
                    </a:lnTo>
                    <a:lnTo>
                      <a:pt x="143945" y="106216"/>
                    </a:lnTo>
                    <a:lnTo>
                      <a:pt x="148036" y="102428"/>
                    </a:lnTo>
                    <a:lnTo>
                      <a:pt x="148036" y="101973"/>
                    </a:lnTo>
                    <a:lnTo>
                      <a:pt x="143945" y="103640"/>
                    </a:lnTo>
                    <a:lnTo>
                      <a:pt x="142278" y="103792"/>
                    </a:lnTo>
                    <a:lnTo>
                      <a:pt x="140308" y="103337"/>
                    </a:lnTo>
                    <a:lnTo>
                      <a:pt x="138188" y="103792"/>
                    </a:lnTo>
                    <a:lnTo>
                      <a:pt x="135915" y="104549"/>
                    </a:lnTo>
                    <a:lnTo>
                      <a:pt x="133793" y="105761"/>
                    </a:lnTo>
                    <a:lnTo>
                      <a:pt x="130612" y="108186"/>
                    </a:lnTo>
                    <a:lnTo>
                      <a:pt x="128793" y="108640"/>
                    </a:lnTo>
                    <a:lnTo>
                      <a:pt x="126974" y="108792"/>
                    </a:lnTo>
                    <a:lnTo>
                      <a:pt x="123338" y="109701"/>
                    </a:lnTo>
                    <a:lnTo>
                      <a:pt x="119702" y="110913"/>
                    </a:lnTo>
                    <a:lnTo>
                      <a:pt x="117126" y="112580"/>
                    </a:lnTo>
                    <a:lnTo>
                      <a:pt x="115460" y="115156"/>
                    </a:lnTo>
                    <a:lnTo>
                      <a:pt x="113792" y="115307"/>
                    </a:lnTo>
                    <a:lnTo>
                      <a:pt x="112126" y="116216"/>
                    </a:lnTo>
                    <a:lnTo>
                      <a:pt x="110763" y="115762"/>
                    </a:lnTo>
                    <a:lnTo>
                      <a:pt x="109398" y="115004"/>
                    </a:lnTo>
                    <a:lnTo>
                      <a:pt x="108943" y="116216"/>
                    </a:lnTo>
                    <a:lnTo>
                      <a:pt x="108186" y="117277"/>
                    </a:lnTo>
                    <a:lnTo>
                      <a:pt x="107429" y="118035"/>
                    </a:lnTo>
                    <a:lnTo>
                      <a:pt x="106975" y="119701"/>
                    </a:lnTo>
                    <a:lnTo>
                      <a:pt x="109853" y="120004"/>
                    </a:lnTo>
                    <a:lnTo>
                      <a:pt x="110763" y="121368"/>
                    </a:lnTo>
                    <a:lnTo>
                      <a:pt x="111520" y="123338"/>
                    </a:lnTo>
                    <a:lnTo>
                      <a:pt x="112731" y="124853"/>
                    </a:lnTo>
                    <a:lnTo>
                      <a:pt x="115308" y="124247"/>
                    </a:lnTo>
                    <a:lnTo>
                      <a:pt x="117580" y="122429"/>
                    </a:lnTo>
                    <a:lnTo>
                      <a:pt x="119398" y="122883"/>
                    </a:lnTo>
                    <a:lnTo>
                      <a:pt x="120914" y="122732"/>
                    </a:lnTo>
                    <a:lnTo>
                      <a:pt x="122277" y="120307"/>
                    </a:lnTo>
                    <a:lnTo>
                      <a:pt x="126369" y="117429"/>
                    </a:lnTo>
                    <a:lnTo>
                      <a:pt x="129096" y="117429"/>
                    </a:lnTo>
                    <a:lnTo>
                      <a:pt x="129703" y="117580"/>
                    </a:lnTo>
                    <a:lnTo>
                      <a:pt x="130308" y="119095"/>
                    </a:lnTo>
                    <a:lnTo>
                      <a:pt x="131066" y="119701"/>
                    </a:lnTo>
                    <a:lnTo>
                      <a:pt x="132278" y="120156"/>
                    </a:lnTo>
                    <a:lnTo>
                      <a:pt x="133491" y="120156"/>
                    </a:lnTo>
                    <a:lnTo>
                      <a:pt x="136824" y="119550"/>
                    </a:lnTo>
                    <a:lnTo>
                      <a:pt x="140308" y="118338"/>
                    </a:lnTo>
                    <a:lnTo>
                      <a:pt x="143187" y="118186"/>
                    </a:lnTo>
                    <a:lnTo>
                      <a:pt x="146066" y="118338"/>
                    </a:lnTo>
                    <a:lnTo>
                      <a:pt x="145005" y="116368"/>
                    </a:lnTo>
                    <a:close/>
                    <a:moveTo>
                      <a:pt x="114853" y="143187"/>
                    </a:moveTo>
                    <a:lnTo>
                      <a:pt x="113792" y="144854"/>
                    </a:lnTo>
                    <a:lnTo>
                      <a:pt x="114551" y="146520"/>
                    </a:lnTo>
                    <a:lnTo>
                      <a:pt x="115914" y="146066"/>
                    </a:lnTo>
                    <a:lnTo>
                      <a:pt x="116671" y="144702"/>
                    </a:lnTo>
                    <a:lnTo>
                      <a:pt x="116065" y="142884"/>
                    </a:lnTo>
                    <a:lnTo>
                      <a:pt x="114853" y="143187"/>
                    </a:lnTo>
                    <a:close/>
                    <a:moveTo>
                      <a:pt x="129096" y="152127"/>
                    </a:moveTo>
                    <a:lnTo>
                      <a:pt x="128187" y="152884"/>
                    </a:lnTo>
                    <a:lnTo>
                      <a:pt x="127733" y="153642"/>
                    </a:lnTo>
                    <a:lnTo>
                      <a:pt x="127581" y="154551"/>
                    </a:lnTo>
                    <a:lnTo>
                      <a:pt x="130005" y="156824"/>
                    </a:lnTo>
                    <a:lnTo>
                      <a:pt x="130308" y="156521"/>
                    </a:lnTo>
                    <a:lnTo>
                      <a:pt x="130612" y="155460"/>
                    </a:lnTo>
                    <a:lnTo>
                      <a:pt x="130005" y="153339"/>
                    </a:lnTo>
                    <a:lnTo>
                      <a:pt x="129096" y="152127"/>
                    </a:lnTo>
                    <a:close/>
                    <a:moveTo>
                      <a:pt x="148036" y="102428"/>
                    </a:moveTo>
                    <a:lnTo>
                      <a:pt x="149249" y="101822"/>
                    </a:lnTo>
                    <a:lnTo>
                      <a:pt x="149552" y="101216"/>
                    </a:lnTo>
                    <a:lnTo>
                      <a:pt x="148945" y="101216"/>
                    </a:lnTo>
                    <a:lnTo>
                      <a:pt x="148036" y="101973"/>
                    </a:lnTo>
                    <a:lnTo>
                      <a:pt x="148036" y="102125"/>
                    </a:lnTo>
                    <a:lnTo>
                      <a:pt x="148036" y="102428"/>
                    </a:lnTo>
                    <a:close/>
                    <a:moveTo>
                      <a:pt x="148036" y="112883"/>
                    </a:moveTo>
                    <a:lnTo>
                      <a:pt x="150006" y="111822"/>
                    </a:lnTo>
                    <a:lnTo>
                      <a:pt x="150006" y="111216"/>
                    </a:lnTo>
                    <a:lnTo>
                      <a:pt x="150763" y="109852"/>
                    </a:lnTo>
                    <a:lnTo>
                      <a:pt x="149552" y="110156"/>
                    </a:lnTo>
                    <a:lnTo>
                      <a:pt x="148036" y="111519"/>
                    </a:lnTo>
                    <a:lnTo>
                      <a:pt x="148036" y="112883"/>
                    </a:lnTo>
                    <a:close/>
                    <a:moveTo>
                      <a:pt x="131823" y="132884"/>
                    </a:moveTo>
                    <a:lnTo>
                      <a:pt x="130914" y="132884"/>
                    </a:lnTo>
                    <a:lnTo>
                      <a:pt x="131369" y="136672"/>
                    </a:lnTo>
                    <a:lnTo>
                      <a:pt x="132278" y="135914"/>
                    </a:lnTo>
                    <a:lnTo>
                      <a:pt x="132884" y="134247"/>
                    </a:lnTo>
                    <a:lnTo>
                      <a:pt x="132430" y="133338"/>
                    </a:lnTo>
                    <a:lnTo>
                      <a:pt x="131823" y="132884"/>
                    </a:lnTo>
                    <a:close/>
                    <a:moveTo>
                      <a:pt x="455" y="257434"/>
                    </a:moveTo>
                    <a:lnTo>
                      <a:pt x="0" y="257737"/>
                    </a:lnTo>
                    <a:lnTo>
                      <a:pt x="152" y="258343"/>
                    </a:lnTo>
                    <a:lnTo>
                      <a:pt x="910" y="258494"/>
                    </a:lnTo>
                    <a:lnTo>
                      <a:pt x="1061" y="258191"/>
                    </a:lnTo>
                    <a:lnTo>
                      <a:pt x="1061" y="257585"/>
                    </a:lnTo>
                    <a:lnTo>
                      <a:pt x="455" y="257434"/>
                    </a:lnTo>
                    <a:close/>
                    <a:moveTo>
                      <a:pt x="67882" y="0"/>
                    </a:moveTo>
                    <a:lnTo>
                      <a:pt x="66821" y="303"/>
                    </a:lnTo>
                    <a:lnTo>
                      <a:pt x="66215" y="455"/>
                    </a:lnTo>
                    <a:lnTo>
                      <a:pt x="66518" y="909"/>
                    </a:lnTo>
                    <a:lnTo>
                      <a:pt x="68184" y="1212"/>
                    </a:lnTo>
                    <a:lnTo>
                      <a:pt x="69245" y="909"/>
                    </a:lnTo>
                    <a:lnTo>
                      <a:pt x="69397" y="606"/>
                    </a:lnTo>
                    <a:lnTo>
                      <a:pt x="69094" y="303"/>
                    </a:lnTo>
                    <a:lnTo>
                      <a:pt x="67882" y="0"/>
                    </a:lnTo>
                    <a:close/>
                    <a:moveTo>
                      <a:pt x="102580" y="180007"/>
                    </a:moveTo>
                    <a:lnTo>
                      <a:pt x="101217" y="180613"/>
                    </a:lnTo>
                    <a:lnTo>
                      <a:pt x="99247" y="180916"/>
                    </a:lnTo>
                    <a:lnTo>
                      <a:pt x="97883" y="182582"/>
                    </a:lnTo>
                    <a:lnTo>
                      <a:pt x="96520" y="183643"/>
                    </a:lnTo>
                    <a:lnTo>
                      <a:pt x="95155" y="183492"/>
                    </a:lnTo>
                    <a:lnTo>
                      <a:pt x="93791" y="184704"/>
                    </a:lnTo>
                    <a:lnTo>
                      <a:pt x="92580" y="185310"/>
                    </a:lnTo>
                    <a:lnTo>
                      <a:pt x="94246" y="186219"/>
                    </a:lnTo>
                    <a:lnTo>
                      <a:pt x="98186" y="185310"/>
                    </a:lnTo>
                    <a:lnTo>
                      <a:pt x="98792" y="185007"/>
                    </a:lnTo>
                    <a:lnTo>
                      <a:pt x="98944" y="184401"/>
                    </a:lnTo>
                    <a:lnTo>
                      <a:pt x="99549" y="183643"/>
                    </a:lnTo>
                    <a:lnTo>
                      <a:pt x="101671" y="181825"/>
                    </a:lnTo>
                    <a:lnTo>
                      <a:pt x="102428" y="181976"/>
                    </a:lnTo>
                    <a:lnTo>
                      <a:pt x="103641" y="183037"/>
                    </a:lnTo>
                    <a:lnTo>
                      <a:pt x="107125" y="182279"/>
                    </a:lnTo>
                    <a:lnTo>
                      <a:pt x="107125" y="181067"/>
                    </a:lnTo>
                    <a:lnTo>
                      <a:pt x="105307" y="180461"/>
                    </a:lnTo>
                    <a:lnTo>
                      <a:pt x="102580" y="180007"/>
                    </a:lnTo>
                    <a:close/>
                    <a:moveTo>
                      <a:pt x="73791" y="127126"/>
                    </a:moveTo>
                    <a:lnTo>
                      <a:pt x="73033" y="127277"/>
                    </a:lnTo>
                    <a:lnTo>
                      <a:pt x="72579" y="127429"/>
                    </a:lnTo>
                    <a:lnTo>
                      <a:pt x="71822" y="128187"/>
                    </a:lnTo>
                    <a:lnTo>
                      <a:pt x="71063" y="130459"/>
                    </a:lnTo>
                    <a:lnTo>
                      <a:pt x="72427" y="130005"/>
                    </a:lnTo>
                    <a:lnTo>
                      <a:pt x="73640" y="128793"/>
                    </a:lnTo>
                    <a:lnTo>
                      <a:pt x="73791" y="127126"/>
                    </a:lnTo>
                    <a:close/>
                    <a:moveTo>
                      <a:pt x="109853" y="149248"/>
                    </a:moveTo>
                    <a:lnTo>
                      <a:pt x="109095" y="146672"/>
                    </a:lnTo>
                    <a:lnTo>
                      <a:pt x="109702" y="145308"/>
                    </a:lnTo>
                    <a:lnTo>
                      <a:pt x="109550" y="143945"/>
                    </a:lnTo>
                    <a:lnTo>
                      <a:pt x="107732" y="142429"/>
                    </a:lnTo>
                    <a:lnTo>
                      <a:pt x="104701" y="140460"/>
                    </a:lnTo>
                    <a:lnTo>
                      <a:pt x="102732" y="138035"/>
                    </a:lnTo>
                    <a:lnTo>
                      <a:pt x="101974" y="137884"/>
                    </a:lnTo>
                    <a:lnTo>
                      <a:pt x="101217" y="137278"/>
                    </a:lnTo>
                    <a:lnTo>
                      <a:pt x="101217" y="136066"/>
                    </a:lnTo>
                    <a:lnTo>
                      <a:pt x="100308" y="134853"/>
                    </a:lnTo>
                    <a:lnTo>
                      <a:pt x="98640" y="134399"/>
                    </a:lnTo>
                    <a:lnTo>
                      <a:pt x="96974" y="135156"/>
                    </a:lnTo>
                    <a:lnTo>
                      <a:pt x="91822" y="136672"/>
                    </a:lnTo>
                    <a:lnTo>
                      <a:pt x="88489" y="136520"/>
                    </a:lnTo>
                    <a:lnTo>
                      <a:pt x="83034" y="138490"/>
                    </a:lnTo>
                    <a:lnTo>
                      <a:pt x="80003" y="140763"/>
                    </a:lnTo>
                    <a:lnTo>
                      <a:pt x="77124" y="143339"/>
                    </a:lnTo>
                    <a:lnTo>
                      <a:pt x="77276" y="144702"/>
                    </a:lnTo>
                    <a:lnTo>
                      <a:pt x="77730" y="146217"/>
                    </a:lnTo>
                    <a:lnTo>
                      <a:pt x="77428" y="146672"/>
                    </a:lnTo>
                    <a:lnTo>
                      <a:pt x="76670" y="146975"/>
                    </a:lnTo>
                    <a:lnTo>
                      <a:pt x="76215" y="147581"/>
                    </a:lnTo>
                    <a:lnTo>
                      <a:pt x="76064" y="148490"/>
                    </a:lnTo>
                    <a:lnTo>
                      <a:pt x="74851" y="149248"/>
                    </a:lnTo>
                    <a:lnTo>
                      <a:pt x="73488" y="149703"/>
                    </a:lnTo>
                    <a:lnTo>
                      <a:pt x="73185" y="151218"/>
                    </a:lnTo>
                    <a:lnTo>
                      <a:pt x="73488" y="152733"/>
                    </a:lnTo>
                    <a:lnTo>
                      <a:pt x="75003" y="155763"/>
                    </a:lnTo>
                    <a:lnTo>
                      <a:pt x="76670" y="156975"/>
                    </a:lnTo>
                    <a:lnTo>
                      <a:pt x="78639" y="157733"/>
                    </a:lnTo>
                    <a:lnTo>
                      <a:pt x="83488" y="158642"/>
                    </a:lnTo>
                    <a:lnTo>
                      <a:pt x="87124" y="159703"/>
                    </a:lnTo>
                    <a:lnTo>
                      <a:pt x="89246" y="160763"/>
                    </a:lnTo>
                    <a:lnTo>
                      <a:pt x="92277" y="161067"/>
                    </a:lnTo>
                    <a:lnTo>
                      <a:pt x="95307" y="160612"/>
                    </a:lnTo>
                    <a:lnTo>
                      <a:pt x="97883" y="160612"/>
                    </a:lnTo>
                    <a:lnTo>
                      <a:pt x="100156" y="158794"/>
                    </a:lnTo>
                    <a:lnTo>
                      <a:pt x="102580" y="157430"/>
                    </a:lnTo>
                    <a:lnTo>
                      <a:pt x="105155" y="157127"/>
                    </a:lnTo>
                    <a:lnTo>
                      <a:pt x="106216" y="157581"/>
                    </a:lnTo>
                    <a:lnTo>
                      <a:pt x="106975" y="156824"/>
                    </a:lnTo>
                    <a:lnTo>
                      <a:pt x="110004" y="156672"/>
                    </a:lnTo>
                    <a:lnTo>
                      <a:pt x="111974" y="155915"/>
                    </a:lnTo>
                    <a:lnTo>
                      <a:pt x="110611" y="151824"/>
                    </a:lnTo>
                    <a:lnTo>
                      <a:pt x="109853" y="149248"/>
                    </a:lnTo>
                    <a:close/>
                    <a:moveTo>
                      <a:pt x="181219" y="158945"/>
                    </a:moveTo>
                    <a:lnTo>
                      <a:pt x="179704" y="159400"/>
                    </a:lnTo>
                    <a:lnTo>
                      <a:pt x="180310" y="160006"/>
                    </a:lnTo>
                    <a:lnTo>
                      <a:pt x="181825" y="160915"/>
                    </a:lnTo>
                    <a:lnTo>
                      <a:pt x="182128" y="160460"/>
                    </a:lnTo>
                    <a:lnTo>
                      <a:pt x="182128" y="159248"/>
                    </a:lnTo>
                    <a:lnTo>
                      <a:pt x="181219" y="158945"/>
                    </a:lnTo>
                    <a:close/>
                    <a:moveTo>
                      <a:pt x="176674" y="130762"/>
                    </a:moveTo>
                    <a:lnTo>
                      <a:pt x="175310" y="129853"/>
                    </a:lnTo>
                    <a:lnTo>
                      <a:pt x="175007" y="130156"/>
                    </a:lnTo>
                    <a:lnTo>
                      <a:pt x="175007" y="130762"/>
                    </a:lnTo>
                    <a:lnTo>
                      <a:pt x="176219" y="131672"/>
                    </a:lnTo>
                    <a:lnTo>
                      <a:pt x="176068" y="132429"/>
                    </a:lnTo>
                    <a:lnTo>
                      <a:pt x="175310" y="134096"/>
                    </a:lnTo>
                    <a:lnTo>
                      <a:pt x="175916" y="134399"/>
                    </a:lnTo>
                    <a:lnTo>
                      <a:pt x="176674" y="133490"/>
                    </a:lnTo>
                    <a:lnTo>
                      <a:pt x="177583" y="132884"/>
                    </a:lnTo>
                    <a:lnTo>
                      <a:pt x="177886" y="132126"/>
                    </a:lnTo>
                    <a:lnTo>
                      <a:pt x="177734" y="131672"/>
                    </a:lnTo>
                    <a:lnTo>
                      <a:pt x="176674" y="130762"/>
                    </a:lnTo>
                    <a:close/>
                    <a:moveTo>
                      <a:pt x="183189" y="228796"/>
                    </a:moveTo>
                    <a:lnTo>
                      <a:pt x="183037" y="228645"/>
                    </a:lnTo>
                    <a:lnTo>
                      <a:pt x="182886" y="228493"/>
                    </a:lnTo>
                    <a:lnTo>
                      <a:pt x="182735" y="228493"/>
                    </a:lnTo>
                    <a:lnTo>
                      <a:pt x="182583" y="228645"/>
                    </a:lnTo>
                    <a:lnTo>
                      <a:pt x="182583" y="228796"/>
                    </a:lnTo>
                    <a:lnTo>
                      <a:pt x="182735" y="228948"/>
                    </a:lnTo>
                    <a:lnTo>
                      <a:pt x="182886" y="229099"/>
                    </a:lnTo>
                    <a:lnTo>
                      <a:pt x="183037" y="229099"/>
                    </a:lnTo>
                    <a:lnTo>
                      <a:pt x="183037" y="228948"/>
                    </a:lnTo>
                    <a:lnTo>
                      <a:pt x="183189" y="228796"/>
                    </a:lnTo>
                    <a:close/>
                    <a:moveTo>
                      <a:pt x="195766" y="151824"/>
                    </a:moveTo>
                    <a:lnTo>
                      <a:pt x="195008" y="150612"/>
                    </a:lnTo>
                    <a:lnTo>
                      <a:pt x="193796" y="150308"/>
                    </a:lnTo>
                    <a:lnTo>
                      <a:pt x="192887" y="151521"/>
                    </a:lnTo>
                    <a:lnTo>
                      <a:pt x="194250" y="152733"/>
                    </a:lnTo>
                    <a:lnTo>
                      <a:pt x="195766" y="152430"/>
                    </a:lnTo>
                    <a:lnTo>
                      <a:pt x="195766" y="151824"/>
                    </a:lnTo>
                    <a:close/>
                    <a:moveTo>
                      <a:pt x="147733" y="112883"/>
                    </a:moveTo>
                    <a:lnTo>
                      <a:pt x="148036" y="112883"/>
                    </a:lnTo>
                    <a:lnTo>
                      <a:pt x="148036" y="111519"/>
                    </a:lnTo>
                    <a:lnTo>
                      <a:pt x="147582" y="112428"/>
                    </a:lnTo>
                    <a:lnTo>
                      <a:pt x="147733" y="112883"/>
                    </a:lnTo>
                    <a:close/>
                    <a:moveTo>
                      <a:pt x="187583" y="186219"/>
                    </a:moveTo>
                    <a:lnTo>
                      <a:pt x="187129" y="185916"/>
                    </a:lnTo>
                    <a:lnTo>
                      <a:pt x="187129" y="185461"/>
                    </a:lnTo>
                    <a:lnTo>
                      <a:pt x="187432" y="185310"/>
                    </a:lnTo>
                    <a:lnTo>
                      <a:pt x="187583" y="185158"/>
                    </a:lnTo>
                    <a:lnTo>
                      <a:pt x="187280" y="185007"/>
                    </a:lnTo>
                    <a:lnTo>
                      <a:pt x="186674" y="185310"/>
                    </a:lnTo>
                    <a:lnTo>
                      <a:pt x="186371" y="185764"/>
                    </a:lnTo>
                    <a:lnTo>
                      <a:pt x="186371" y="186219"/>
                    </a:lnTo>
                    <a:lnTo>
                      <a:pt x="186977" y="186673"/>
                    </a:lnTo>
                    <a:lnTo>
                      <a:pt x="187734" y="186976"/>
                    </a:lnTo>
                    <a:lnTo>
                      <a:pt x="188038" y="186673"/>
                    </a:lnTo>
                    <a:lnTo>
                      <a:pt x="187886" y="186370"/>
                    </a:lnTo>
                    <a:lnTo>
                      <a:pt x="187583" y="186219"/>
                    </a:lnTo>
                    <a:close/>
                    <a:moveTo>
                      <a:pt x="151824" y="116974"/>
                    </a:moveTo>
                    <a:lnTo>
                      <a:pt x="150915" y="117277"/>
                    </a:lnTo>
                    <a:lnTo>
                      <a:pt x="148036" y="119701"/>
                    </a:lnTo>
                    <a:lnTo>
                      <a:pt x="148036" y="119701"/>
                    </a:lnTo>
                    <a:lnTo>
                      <a:pt x="148036" y="120762"/>
                    </a:lnTo>
                    <a:lnTo>
                      <a:pt x="148036" y="121671"/>
                    </a:lnTo>
                    <a:lnTo>
                      <a:pt x="148036" y="123035"/>
                    </a:lnTo>
                    <a:lnTo>
                      <a:pt x="148036" y="124550"/>
                    </a:lnTo>
                    <a:lnTo>
                      <a:pt x="148794" y="123489"/>
                    </a:lnTo>
                    <a:lnTo>
                      <a:pt x="151672" y="121368"/>
                    </a:lnTo>
                    <a:lnTo>
                      <a:pt x="152885" y="118944"/>
                    </a:lnTo>
                    <a:lnTo>
                      <a:pt x="151824" y="116974"/>
                    </a:lnTo>
                    <a:close/>
                    <a:moveTo>
                      <a:pt x="174098" y="151521"/>
                    </a:moveTo>
                    <a:lnTo>
                      <a:pt x="173189" y="152127"/>
                    </a:lnTo>
                    <a:lnTo>
                      <a:pt x="173643" y="152884"/>
                    </a:lnTo>
                    <a:lnTo>
                      <a:pt x="174249" y="153339"/>
                    </a:lnTo>
                    <a:lnTo>
                      <a:pt x="174856" y="153491"/>
                    </a:lnTo>
                    <a:lnTo>
                      <a:pt x="175613" y="153036"/>
                    </a:lnTo>
                    <a:lnTo>
                      <a:pt x="175310" y="152278"/>
                    </a:lnTo>
                    <a:lnTo>
                      <a:pt x="174098" y="151521"/>
                    </a:lnTo>
                    <a:close/>
                    <a:moveTo>
                      <a:pt x="145309" y="124701"/>
                    </a:moveTo>
                    <a:lnTo>
                      <a:pt x="146066" y="125762"/>
                    </a:lnTo>
                    <a:lnTo>
                      <a:pt x="148036" y="124701"/>
                    </a:lnTo>
                    <a:lnTo>
                      <a:pt x="148036" y="121823"/>
                    </a:lnTo>
                    <a:lnTo>
                      <a:pt x="148036" y="119853"/>
                    </a:lnTo>
                    <a:lnTo>
                      <a:pt x="146218" y="122429"/>
                    </a:lnTo>
                    <a:lnTo>
                      <a:pt x="145309" y="124701"/>
                    </a:lnTo>
                    <a:close/>
                    <a:moveTo>
                      <a:pt x="152733" y="179704"/>
                    </a:moveTo>
                    <a:lnTo>
                      <a:pt x="151976" y="180310"/>
                    </a:lnTo>
                    <a:lnTo>
                      <a:pt x="151824" y="180916"/>
                    </a:lnTo>
                    <a:lnTo>
                      <a:pt x="151672" y="181370"/>
                    </a:lnTo>
                    <a:lnTo>
                      <a:pt x="151672" y="181976"/>
                    </a:lnTo>
                    <a:lnTo>
                      <a:pt x="151976" y="182128"/>
                    </a:lnTo>
                    <a:lnTo>
                      <a:pt x="151976" y="181825"/>
                    </a:lnTo>
                    <a:lnTo>
                      <a:pt x="152127" y="181219"/>
                    </a:lnTo>
                    <a:lnTo>
                      <a:pt x="152279" y="180916"/>
                    </a:lnTo>
                    <a:lnTo>
                      <a:pt x="152582" y="180764"/>
                    </a:lnTo>
                    <a:lnTo>
                      <a:pt x="153037" y="181067"/>
                    </a:lnTo>
                    <a:lnTo>
                      <a:pt x="153491" y="181067"/>
                    </a:lnTo>
                    <a:lnTo>
                      <a:pt x="153491" y="180310"/>
                    </a:lnTo>
                    <a:lnTo>
                      <a:pt x="152733" y="1797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0" name="Freeform: Shape 3289">
                <a:extLst>
                  <a:ext uri="{FF2B5EF4-FFF2-40B4-BE49-F238E27FC236}">
                    <a16:creationId xmlns:a16="http://schemas.microsoft.com/office/drawing/2014/main" id="{AD679976-550D-4D1C-B49D-529AE1DB1947}"/>
                  </a:ext>
                </a:extLst>
              </p:cNvPr>
              <p:cNvSpPr/>
              <p:nvPr/>
            </p:nvSpPr>
            <p:spPr>
              <a:xfrm>
                <a:off x="6311159" y="2243575"/>
                <a:ext cx="328951" cy="456380"/>
              </a:xfrm>
              <a:custGeom>
                <a:avLst/>
                <a:gdLst>
                  <a:gd name="connsiteX0" fmla="*/ 56214 w 328951"/>
                  <a:gd name="connsiteY0" fmla="*/ 441986 h 456380"/>
                  <a:gd name="connsiteX1" fmla="*/ 54547 w 328951"/>
                  <a:gd name="connsiteY1" fmla="*/ 442895 h 456380"/>
                  <a:gd name="connsiteX2" fmla="*/ 53941 w 328951"/>
                  <a:gd name="connsiteY2" fmla="*/ 443804 h 456380"/>
                  <a:gd name="connsiteX3" fmla="*/ 55456 w 328951"/>
                  <a:gd name="connsiteY3" fmla="*/ 445016 h 456380"/>
                  <a:gd name="connsiteX4" fmla="*/ 57881 w 328951"/>
                  <a:gd name="connsiteY4" fmla="*/ 444562 h 456380"/>
                  <a:gd name="connsiteX5" fmla="*/ 58487 w 328951"/>
                  <a:gd name="connsiteY5" fmla="*/ 443198 h 456380"/>
                  <a:gd name="connsiteX6" fmla="*/ 58032 w 328951"/>
                  <a:gd name="connsiteY6" fmla="*/ 441986 h 456380"/>
                  <a:gd name="connsiteX7" fmla="*/ 56214 w 328951"/>
                  <a:gd name="connsiteY7" fmla="*/ 441986 h 456380"/>
                  <a:gd name="connsiteX8" fmla="*/ 59850 w 328951"/>
                  <a:gd name="connsiteY8" fmla="*/ 441986 h 456380"/>
                  <a:gd name="connsiteX9" fmla="*/ 59548 w 328951"/>
                  <a:gd name="connsiteY9" fmla="*/ 444410 h 456380"/>
                  <a:gd name="connsiteX10" fmla="*/ 60608 w 328951"/>
                  <a:gd name="connsiteY10" fmla="*/ 444713 h 456380"/>
                  <a:gd name="connsiteX11" fmla="*/ 63336 w 328951"/>
                  <a:gd name="connsiteY11" fmla="*/ 443350 h 456380"/>
                  <a:gd name="connsiteX12" fmla="*/ 64245 w 328951"/>
                  <a:gd name="connsiteY12" fmla="*/ 440774 h 456380"/>
                  <a:gd name="connsiteX13" fmla="*/ 61517 w 328951"/>
                  <a:gd name="connsiteY13" fmla="*/ 440925 h 456380"/>
                  <a:gd name="connsiteX14" fmla="*/ 59850 w 328951"/>
                  <a:gd name="connsiteY14" fmla="*/ 441986 h 456380"/>
                  <a:gd name="connsiteX15" fmla="*/ 47123 w 328951"/>
                  <a:gd name="connsiteY15" fmla="*/ 311375 h 456380"/>
                  <a:gd name="connsiteX16" fmla="*/ 42880 w 328951"/>
                  <a:gd name="connsiteY16" fmla="*/ 311375 h 456380"/>
                  <a:gd name="connsiteX17" fmla="*/ 44698 w 328951"/>
                  <a:gd name="connsiteY17" fmla="*/ 314709 h 456380"/>
                  <a:gd name="connsiteX18" fmla="*/ 47577 w 328951"/>
                  <a:gd name="connsiteY18" fmla="*/ 316830 h 456380"/>
                  <a:gd name="connsiteX19" fmla="*/ 49093 w 328951"/>
                  <a:gd name="connsiteY19" fmla="*/ 316375 h 456380"/>
                  <a:gd name="connsiteX20" fmla="*/ 49395 w 328951"/>
                  <a:gd name="connsiteY20" fmla="*/ 315618 h 456380"/>
                  <a:gd name="connsiteX21" fmla="*/ 50759 w 328951"/>
                  <a:gd name="connsiteY21" fmla="*/ 314405 h 456380"/>
                  <a:gd name="connsiteX22" fmla="*/ 51062 w 328951"/>
                  <a:gd name="connsiteY22" fmla="*/ 314709 h 456380"/>
                  <a:gd name="connsiteX23" fmla="*/ 52123 w 328951"/>
                  <a:gd name="connsiteY23" fmla="*/ 314860 h 456380"/>
                  <a:gd name="connsiteX24" fmla="*/ 52274 w 328951"/>
                  <a:gd name="connsiteY24" fmla="*/ 312739 h 456380"/>
                  <a:gd name="connsiteX25" fmla="*/ 50759 w 328951"/>
                  <a:gd name="connsiteY25" fmla="*/ 311981 h 456380"/>
                  <a:gd name="connsiteX26" fmla="*/ 48638 w 328951"/>
                  <a:gd name="connsiteY26" fmla="*/ 313496 h 456380"/>
                  <a:gd name="connsiteX27" fmla="*/ 46971 w 328951"/>
                  <a:gd name="connsiteY27" fmla="*/ 313648 h 456380"/>
                  <a:gd name="connsiteX28" fmla="*/ 46668 w 328951"/>
                  <a:gd name="connsiteY28" fmla="*/ 312890 h 456380"/>
                  <a:gd name="connsiteX29" fmla="*/ 46820 w 328951"/>
                  <a:gd name="connsiteY29" fmla="*/ 312133 h 456380"/>
                  <a:gd name="connsiteX30" fmla="*/ 47123 w 328951"/>
                  <a:gd name="connsiteY30" fmla="*/ 311375 h 456380"/>
                  <a:gd name="connsiteX31" fmla="*/ 47880 w 328951"/>
                  <a:gd name="connsiteY31" fmla="*/ 422894 h 456380"/>
                  <a:gd name="connsiteX32" fmla="*/ 46668 w 328951"/>
                  <a:gd name="connsiteY32" fmla="*/ 423652 h 456380"/>
                  <a:gd name="connsiteX33" fmla="*/ 46365 w 328951"/>
                  <a:gd name="connsiteY33" fmla="*/ 424409 h 456380"/>
                  <a:gd name="connsiteX34" fmla="*/ 47123 w 328951"/>
                  <a:gd name="connsiteY34" fmla="*/ 427591 h 456380"/>
                  <a:gd name="connsiteX35" fmla="*/ 48638 w 328951"/>
                  <a:gd name="connsiteY35" fmla="*/ 429561 h 456380"/>
                  <a:gd name="connsiteX36" fmla="*/ 50456 w 328951"/>
                  <a:gd name="connsiteY36" fmla="*/ 429258 h 456380"/>
                  <a:gd name="connsiteX37" fmla="*/ 52274 w 328951"/>
                  <a:gd name="connsiteY37" fmla="*/ 429410 h 456380"/>
                  <a:gd name="connsiteX38" fmla="*/ 52729 w 328951"/>
                  <a:gd name="connsiteY38" fmla="*/ 427440 h 456380"/>
                  <a:gd name="connsiteX39" fmla="*/ 48638 w 328951"/>
                  <a:gd name="connsiteY39" fmla="*/ 424712 h 456380"/>
                  <a:gd name="connsiteX40" fmla="*/ 47880 w 328951"/>
                  <a:gd name="connsiteY40" fmla="*/ 422894 h 456380"/>
                  <a:gd name="connsiteX41" fmla="*/ 65457 w 328951"/>
                  <a:gd name="connsiteY41" fmla="*/ 432895 h 456380"/>
                  <a:gd name="connsiteX42" fmla="*/ 66669 w 328951"/>
                  <a:gd name="connsiteY42" fmla="*/ 432592 h 456380"/>
                  <a:gd name="connsiteX43" fmla="*/ 65457 w 328951"/>
                  <a:gd name="connsiteY43" fmla="*/ 431076 h 456380"/>
                  <a:gd name="connsiteX44" fmla="*/ 63336 w 328951"/>
                  <a:gd name="connsiteY44" fmla="*/ 429713 h 456380"/>
                  <a:gd name="connsiteX45" fmla="*/ 63184 w 328951"/>
                  <a:gd name="connsiteY45" fmla="*/ 430470 h 456380"/>
                  <a:gd name="connsiteX46" fmla="*/ 63942 w 328951"/>
                  <a:gd name="connsiteY46" fmla="*/ 432137 h 456380"/>
                  <a:gd name="connsiteX47" fmla="*/ 62881 w 328951"/>
                  <a:gd name="connsiteY47" fmla="*/ 432592 h 456380"/>
                  <a:gd name="connsiteX48" fmla="*/ 63184 w 328951"/>
                  <a:gd name="connsiteY48" fmla="*/ 433349 h 456380"/>
                  <a:gd name="connsiteX49" fmla="*/ 66063 w 328951"/>
                  <a:gd name="connsiteY49" fmla="*/ 435319 h 456380"/>
                  <a:gd name="connsiteX50" fmla="*/ 68033 w 328951"/>
                  <a:gd name="connsiteY50" fmla="*/ 435167 h 456380"/>
                  <a:gd name="connsiteX51" fmla="*/ 67578 w 328951"/>
                  <a:gd name="connsiteY51" fmla="*/ 434410 h 456380"/>
                  <a:gd name="connsiteX52" fmla="*/ 65457 w 328951"/>
                  <a:gd name="connsiteY52" fmla="*/ 432895 h 456380"/>
                  <a:gd name="connsiteX53" fmla="*/ 328194 w 328951"/>
                  <a:gd name="connsiteY53" fmla="*/ 325163 h 456380"/>
                  <a:gd name="connsiteX54" fmla="*/ 326224 w 328951"/>
                  <a:gd name="connsiteY54" fmla="*/ 322891 h 456380"/>
                  <a:gd name="connsiteX55" fmla="*/ 323496 w 328951"/>
                  <a:gd name="connsiteY55" fmla="*/ 320315 h 456380"/>
                  <a:gd name="connsiteX56" fmla="*/ 321073 w 328951"/>
                  <a:gd name="connsiteY56" fmla="*/ 317133 h 456380"/>
                  <a:gd name="connsiteX57" fmla="*/ 319254 w 328951"/>
                  <a:gd name="connsiteY57" fmla="*/ 314254 h 456380"/>
                  <a:gd name="connsiteX58" fmla="*/ 313648 w 328951"/>
                  <a:gd name="connsiteY58" fmla="*/ 310314 h 456380"/>
                  <a:gd name="connsiteX59" fmla="*/ 304860 w 328951"/>
                  <a:gd name="connsiteY59" fmla="*/ 305314 h 456380"/>
                  <a:gd name="connsiteX60" fmla="*/ 298344 w 328951"/>
                  <a:gd name="connsiteY60" fmla="*/ 301526 h 456380"/>
                  <a:gd name="connsiteX61" fmla="*/ 288344 w 328951"/>
                  <a:gd name="connsiteY61" fmla="*/ 293496 h 456380"/>
                  <a:gd name="connsiteX62" fmla="*/ 286525 w 328951"/>
                  <a:gd name="connsiteY62" fmla="*/ 291526 h 456380"/>
                  <a:gd name="connsiteX63" fmla="*/ 286829 w 328951"/>
                  <a:gd name="connsiteY63" fmla="*/ 291071 h 456380"/>
                  <a:gd name="connsiteX64" fmla="*/ 292435 w 328951"/>
                  <a:gd name="connsiteY64" fmla="*/ 288647 h 456380"/>
                  <a:gd name="connsiteX65" fmla="*/ 298041 w 328951"/>
                  <a:gd name="connsiteY65" fmla="*/ 282283 h 456380"/>
                  <a:gd name="connsiteX66" fmla="*/ 300465 w 328951"/>
                  <a:gd name="connsiteY66" fmla="*/ 279101 h 456380"/>
                  <a:gd name="connsiteX67" fmla="*/ 301072 w 328951"/>
                  <a:gd name="connsiteY67" fmla="*/ 276677 h 456380"/>
                  <a:gd name="connsiteX68" fmla="*/ 301072 w 328951"/>
                  <a:gd name="connsiteY68" fmla="*/ 273949 h 456380"/>
                  <a:gd name="connsiteX69" fmla="*/ 300920 w 328951"/>
                  <a:gd name="connsiteY69" fmla="*/ 271222 h 456380"/>
                  <a:gd name="connsiteX70" fmla="*/ 300163 w 328951"/>
                  <a:gd name="connsiteY70" fmla="*/ 269555 h 456380"/>
                  <a:gd name="connsiteX71" fmla="*/ 297435 w 328951"/>
                  <a:gd name="connsiteY71" fmla="*/ 267586 h 456380"/>
                  <a:gd name="connsiteX72" fmla="*/ 289708 w 328951"/>
                  <a:gd name="connsiteY72" fmla="*/ 263949 h 456380"/>
                  <a:gd name="connsiteX73" fmla="*/ 287889 w 328951"/>
                  <a:gd name="connsiteY73" fmla="*/ 260616 h 456380"/>
                  <a:gd name="connsiteX74" fmla="*/ 286374 w 328951"/>
                  <a:gd name="connsiteY74" fmla="*/ 256979 h 456380"/>
                  <a:gd name="connsiteX75" fmla="*/ 286374 w 328951"/>
                  <a:gd name="connsiteY75" fmla="*/ 255464 h 456380"/>
                  <a:gd name="connsiteX76" fmla="*/ 290011 w 328951"/>
                  <a:gd name="connsiteY76" fmla="*/ 251676 h 456380"/>
                  <a:gd name="connsiteX77" fmla="*/ 290162 w 328951"/>
                  <a:gd name="connsiteY77" fmla="*/ 249706 h 456380"/>
                  <a:gd name="connsiteX78" fmla="*/ 289708 w 328951"/>
                  <a:gd name="connsiteY78" fmla="*/ 247736 h 456380"/>
                  <a:gd name="connsiteX79" fmla="*/ 288647 w 328951"/>
                  <a:gd name="connsiteY79" fmla="*/ 246221 h 456380"/>
                  <a:gd name="connsiteX80" fmla="*/ 280768 w 328951"/>
                  <a:gd name="connsiteY80" fmla="*/ 244554 h 456380"/>
                  <a:gd name="connsiteX81" fmla="*/ 278495 w 328951"/>
                  <a:gd name="connsiteY81" fmla="*/ 242736 h 456380"/>
                  <a:gd name="connsiteX82" fmla="*/ 276677 w 328951"/>
                  <a:gd name="connsiteY82" fmla="*/ 239857 h 456380"/>
                  <a:gd name="connsiteX83" fmla="*/ 275768 w 328951"/>
                  <a:gd name="connsiteY83" fmla="*/ 237281 h 456380"/>
                  <a:gd name="connsiteX84" fmla="*/ 275616 w 328951"/>
                  <a:gd name="connsiteY84" fmla="*/ 235766 h 456380"/>
                  <a:gd name="connsiteX85" fmla="*/ 276222 w 328951"/>
                  <a:gd name="connsiteY85" fmla="*/ 234100 h 456380"/>
                  <a:gd name="connsiteX86" fmla="*/ 278949 w 328951"/>
                  <a:gd name="connsiteY86" fmla="*/ 232281 h 456380"/>
                  <a:gd name="connsiteX87" fmla="*/ 281374 w 328951"/>
                  <a:gd name="connsiteY87" fmla="*/ 231069 h 456380"/>
                  <a:gd name="connsiteX88" fmla="*/ 281828 w 328951"/>
                  <a:gd name="connsiteY88" fmla="*/ 229402 h 456380"/>
                  <a:gd name="connsiteX89" fmla="*/ 281828 w 328951"/>
                  <a:gd name="connsiteY89" fmla="*/ 227584 h 456380"/>
                  <a:gd name="connsiteX90" fmla="*/ 281374 w 328951"/>
                  <a:gd name="connsiteY90" fmla="*/ 226675 h 456380"/>
                  <a:gd name="connsiteX91" fmla="*/ 276374 w 328951"/>
                  <a:gd name="connsiteY91" fmla="*/ 225766 h 456380"/>
                  <a:gd name="connsiteX92" fmla="*/ 275919 w 328951"/>
                  <a:gd name="connsiteY92" fmla="*/ 225311 h 456380"/>
                  <a:gd name="connsiteX93" fmla="*/ 275768 w 328951"/>
                  <a:gd name="connsiteY93" fmla="*/ 224705 h 456380"/>
                  <a:gd name="connsiteX94" fmla="*/ 276071 w 328951"/>
                  <a:gd name="connsiteY94" fmla="*/ 223948 h 456380"/>
                  <a:gd name="connsiteX95" fmla="*/ 278798 w 328951"/>
                  <a:gd name="connsiteY95" fmla="*/ 220766 h 456380"/>
                  <a:gd name="connsiteX96" fmla="*/ 279101 w 328951"/>
                  <a:gd name="connsiteY96" fmla="*/ 214705 h 456380"/>
                  <a:gd name="connsiteX97" fmla="*/ 281677 w 328951"/>
                  <a:gd name="connsiteY97" fmla="*/ 210462 h 456380"/>
                  <a:gd name="connsiteX98" fmla="*/ 278798 w 328951"/>
                  <a:gd name="connsiteY98" fmla="*/ 207886 h 456380"/>
                  <a:gd name="connsiteX99" fmla="*/ 278949 w 328951"/>
                  <a:gd name="connsiteY99" fmla="*/ 207432 h 456380"/>
                  <a:gd name="connsiteX100" fmla="*/ 283344 w 328951"/>
                  <a:gd name="connsiteY100" fmla="*/ 206068 h 456380"/>
                  <a:gd name="connsiteX101" fmla="*/ 287283 w 328951"/>
                  <a:gd name="connsiteY101" fmla="*/ 205765 h 456380"/>
                  <a:gd name="connsiteX102" fmla="*/ 289101 w 328951"/>
                  <a:gd name="connsiteY102" fmla="*/ 205311 h 456380"/>
                  <a:gd name="connsiteX103" fmla="*/ 289253 w 328951"/>
                  <a:gd name="connsiteY103" fmla="*/ 203341 h 456380"/>
                  <a:gd name="connsiteX104" fmla="*/ 288799 w 328951"/>
                  <a:gd name="connsiteY104" fmla="*/ 200613 h 456380"/>
                  <a:gd name="connsiteX105" fmla="*/ 284707 w 328951"/>
                  <a:gd name="connsiteY105" fmla="*/ 189855 h 456380"/>
                  <a:gd name="connsiteX106" fmla="*/ 283798 w 328951"/>
                  <a:gd name="connsiteY106" fmla="*/ 186825 h 456380"/>
                  <a:gd name="connsiteX107" fmla="*/ 281071 w 328951"/>
                  <a:gd name="connsiteY107" fmla="*/ 182885 h 456380"/>
                  <a:gd name="connsiteX108" fmla="*/ 279253 w 328951"/>
                  <a:gd name="connsiteY108" fmla="*/ 180310 h 456380"/>
                  <a:gd name="connsiteX109" fmla="*/ 277889 w 328951"/>
                  <a:gd name="connsiteY109" fmla="*/ 178491 h 456380"/>
                  <a:gd name="connsiteX110" fmla="*/ 275768 w 328951"/>
                  <a:gd name="connsiteY110" fmla="*/ 174855 h 456380"/>
                  <a:gd name="connsiteX111" fmla="*/ 274556 w 328951"/>
                  <a:gd name="connsiteY111" fmla="*/ 171067 h 456380"/>
                  <a:gd name="connsiteX112" fmla="*/ 272434 w 328951"/>
                  <a:gd name="connsiteY112" fmla="*/ 166824 h 456380"/>
                  <a:gd name="connsiteX113" fmla="*/ 269707 w 328951"/>
                  <a:gd name="connsiteY113" fmla="*/ 162733 h 456380"/>
                  <a:gd name="connsiteX114" fmla="*/ 267585 w 328951"/>
                  <a:gd name="connsiteY114" fmla="*/ 159097 h 456380"/>
                  <a:gd name="connsiteX115" fmla="*/ 262131 w 328951"/>
                  <a:gd name="connsiteY115" fmla="*/ 151975 h 456380"/>
                  <a:gd name="connsiteX116" fmla="*/ 261373 w 328951"/>
                  <a:gd name="connsiteY116" fmla="*/ 150006 h 456380"/>
                  <a:gd name="connsiteX117" fmla="*/ 261525 w 328951"/>
                  <a:gd name="connsiteY117" fmla="*/ 148187 h 456380"/>
                  <a:gd name="connsiteX118" fmla="*/ 261979 w 328951"/>
                  <a:gd name="connsiteY118" fmla="*/ 146369 h 456380"/>
                  <a:gd name="connsiteX119" fmla="*/ 266222 w 328951"/>
                  <a:gd name="connsiteY119" fmla="*/ 140611 h 456380"/>
                  <a:gd name="connsiteX120" fmla="*/ 270161 w 328951"/>
                  <a:gd name="connsiteY120" fmla="*/ 135763 h 456380"/>
                  <a:gd name="connsiteX121" fmla="*/ 275161 w 328951"/>
                  <a:gd name="connsiteY121" fmla="*/ 130005 h 456380"/>
                  <a:gd name="connsiteX122" fmla="*/ 280010 w 328951"/>
                  <a:gd name="connsiteY122" fmla="*/ 125308 h 456380"/>
                  <a:gd name="connsiteX123" fmla="*/ 285162 w 328951"/>
                  <a:gd name="connsiteY123" fmla="*/ 119701 h 456380"/>
                  <a:gd name="connsiteX124" fmla="*/ 286374 w 328951"/>
                  <a:gd name="connsiteY124" fmla="*/ 114095 h 456380"/>
                  <a:gd name="connsiteX125" fmla="*/ 286071 w 328951"/>
                  <a:gd name="connsiteY125" fmla="*/ 113186 h 456380"/>
                  <a:gd name="connsiteX126" fmla="*/ 281828 w 328951"/>
                  <a:gd name="connsiteY126" fmla="*/ 110156 h 456380"/>
                  <a:gd name="connsiteX127" fmla="*/ 273646 w 328951"/>
                  <a:gd name="connsiteY127" fmla="*/ 101973 h 456380"/>
                  <a:gd name="connsiteX128" fmla="*/ 268646 w 328951"/>
                  <a:gd name="connsiteY128" fmla="*/ 95761 h 456380"/>
                  <a:gd name="connsiteX129" fmla="*/ 260919 w 328951"/>
                  <a:gd name="connsiteY129" fmla="*/ 93185 h 456380"/>
                  <a:gd name="connsiteX130" fmla="*/ 250615 w 328951"/>
                  <a:gd name="connsiteY130" fmla="*/ 89852 h 456380"/>
                  <a:gd name="connsiteX131" fmla="*/ 247130 w 328951"/>
                  <a:gd name="connsiteY131" fmla="*/ 82276 h 456380"/>
                  <a:gd name="connsiteX132" fmla="*/ 244706 w 328951"/>
                  <a:gd name="connsiteY132" fmla="*/ 75760 h 456380"/>
                  <a:gd name="connsiteX133" fmla="*/ 245009 w 328951"/>
                  <a:gd name="connsiteY133" fmla="*/ 73488 h 456380"/>
                  <a:gd name="connsiteX134" fmla="*/ 252433 w 328951"/>
                  <a:gd name="connsiteY134" fmla="*/ 62275 h 456380"/>
                  <a:gd name="connsiteX135" fmla="*/ 253191 w 328951"/>
                  <a:gd name="connsiteY135" fmla="*/ 60305 h 456380"/>
                  <a:gd name="connsiteX136" fmla="*/ 253039 w 328951"/>
                  <a:gd name="connsiteY136" fmla="*/ 59093 h 456380"/>
                  <a:gd name="connsiteX137" fmla="*/ 252282 w 328951"/>
                  <a:gd name="connsiteY137" fmla="*/ 58335 h 456380"/>
                  <a:gd name="connsiteX138" fmla="*/ 251221 w 328951"/>
                  <a:gd name="connsiteY138" fmla="*/ 57881 h 456380"/>
                  <a:gd name="connsiteX139" fmla="*/ 244251 w 328951"/>
                  <a:gd name="connsiteY139" fmla="*/ 57578 h 456380"/>
                  <a:gd name="connsiteX140" fmla="*/ 243191 w 328951"/>
                  <a:gd name="connsiteY140" fmla="*/ 56063 h 456380"/>
                  <a:gd name="connsiteX141" fmla="*/ 247282 w 328951"/>
                  <a:gd name="connsiteY141" fmla="*/ 54851 h 456380"/>
                  <a:gd name="connsiteX142" fmla="*/ 250767 w 328951"/>
                  <a:gd name="connsiteY142" fmla="*/ 53335 h 456380"/>
                  <a:gd name="connsiteX143" fmla="*/ 256373 w 328951"/>
                  <a:gd name="connsiteY143" fmla="*/ 51063 h 456380"/>
                  <a:gd name="connsiteX144" fmla="*/ 258191 w 328951"/>
                  <a:gd name="connsiteY144" fmla="*/ 50456 h 456380"/>
                  <a:gd name="connsiteX145" fmla="*/ 256221 w 328951"/>
                  <a:gd name="connsiteY145" fmla="*/ 48638 h 456380"/>
                  <a:gd name="connsiteX146" fmla="*/ 254555 w 328951"/>
                  <a:gd name="connsiteY146" fmla="*/ 45759 h 456380"/>
                  <a:gd name="connsiteX147" fmla="*/ 254858 w 328951"/>
                  <a:gd name="connsiteY147" fmla="*/ 43032 h 456380"/>
                  <a:gd name="connsiteX148" fmla="*/ 259706 w 328951"/>
                  <a:gd name="connsiteY148" fmla="*/ 37729 h 456380"/>
                  <a:gd name="connsiteX149" fmla="*/ 264252 w 328951"/>
                  <a:gd name="connsiteY149" fmla="*/ 33941 h 456380"/>
                  <a:gd name="connsiteX150" fmla="*/ 265464 w 328951"/>
                  <a:gd name="connsiteY150" fmla="*/ 32577 h 456380"/>
                  <a:gd name="connsiteX151" fmla="*/ 268040 w 328951"/>
                  <a:gd name="connsiteY151" fmla="*/ 28789 h 456380"/>
                  <a:gd name="connsiteX152" fmla="*/ 262737 w 328951"/>
                  <a:gd name="connsiteY152" fmla="*/ 19092 h 456380"/>
                  <a:gd name="connsiteX153" fmla="*/ 253343 w 328951"/>
                  <a:gd name="connsiteY153" fmla="*/ 16213 h 456380"/>
                  <a:gd name="connsiteX154" fmla="*/ 242736 w 328951"/>
                  <a:gd name="connsiteY154" fmla="*/ 11819 h 456380"/>
                  <a:gd name="connsiteX155" fmla="*/ 238796 w 328951"/>
                  <a:gd name="connsiteY155" fmla="*/ 9394 h 456380"/>
                  <a:gd name="connsiteX156" fmla="*/ 232736 w 328951"/>
                  <a:gd name="connsiteY156" fmla="*/ 4546 h 456380"/>
                  <a:gd name="connsiteX157" fmla="*/ 228493 w 328951"/>
                  <a:gd name="connsiteY157" fmla="*/ 152 h 456380"/>
                  <a:gd name="connsiteX158" fmla="*/ 224553 w 328951"/>
                  <a:gd name="connsiteY158" fmla="*/ 0 h 456380"/>
                  <a:gd name="connsiteX159" fmla="*/ 220311 w 328951"/>
                  <a:gd name="connsiteY159" fmla="*/ 1061 h 456380"/>
                  <a:gd name="connsiteX160" fmla="*/ 213644 w 328951"/>
                  <a:gd name="connsiteY160" fmla="*/ 5152 h 456380"/>
                  <a:gd name="connsiteX161" fmla="*/ 209705 w 328951"/>
                  <a:gd name="connsiteY161" fmla="*/ 7121 h 456380"/>
                  <a:gd name="connsiteX162" fmla="*/ 207583 w 328951"/>
                  <a:gd name="connsiteY162" fmla="*/ 7728 h 456380"/>
                  <a:gd name="connsiteX163" fmla="*/ 207129 w 328951"/>
                  <a:gd name="connsiteY163" fmla="*/ 7879 h 456380"/>
                  <a:gd name="connsiteX164" fmla="*/ 202432 w 328951"/>
                  <a:gd name="connsiteY164" fmla="*/ 6667 h 456380"/>
                  <a:gd name="connsiteX165" fmla="*/ 197128 w 328951"/>
                  <a:gd name="connsiteY165" fmla="*/ 6364 h 456380"/>
                  <a:gd name="connsiteX166" fmla="*/ 192886 w 328951"/>
                  <a:gd name="connsiteY166" fmla="*/ 6667 h 456380"/>
                  <a:gd name="connsiteX167" fmla="*/ 191219 w 328951"/>
                  <a:gd name="connsiteY167" fmla="*/ 7273 h 456380"/>
                  <a:gd name="connsiteX168" fmla="*/ 185310 w 328951"/>
                  <a:gd name="connsiteY168" fmla="*/ 13788 h 456380"/>
                  <a:gd name="connsiteX169" fmla="*/ 181219 w 328951"/>
                  <a:gd name="connsiteY169" fmla="*/ 17122 h 456380"/>
                  <a:gd name="connsiteX170" fmla="*/ 178946 w 328951"/>
                  <a:gd name="connsiteY170" fmla="*/ 18182 h 456380"/>
                  <a:gd name="connsiteX171" fmla="*/ 177279 w 328951"/>
                  <a:gd name="connsiteY171" fmla="*/ 20152 h 456380"/>
                  <a:gd name="connsiteX172" fmla="*/ 175915 w 328951"/>
                  <a:gd name="connsiteY172" fmla="*/ 23334 h 456380"/>
                  <a:gd name="connsiteX173" fmla="*/ 172885 w 328951"/>
                  <a:gd name="connsiteY173" fmla="*/ 34092 h 456380"/>
                  <a:gd name="connsiteX174" fmla="*/ 170612 w 328951"/>
                  <a:gd name="connsiteY174" fmla="*/ 38183 h 456380"/>
                  <a:gd name="connsiteX175" fmla="*/ 170158 w 328951"/>
                  <a:gd name="connsiteY175" fmla="*/ 40608 h 456380"/>
                  <a:gd name="connsiteX176" fmla="*/ 170764 w 328951"/>
                  <a:gd name="connsiteY176" fmla="*/ 48032 h 456380"/>
                  <a:gd name="connsiteX177" fmla="*/ 170158 w 328951"/>
                  <a:gd name="connsiteY177" fmla="*/ 52123 h 456380"/>
                  <a:gd name="connsiteX178" fmla="*/ 167430 w 328951"/>
                  <a:gd name="connsiteY178" fmla="*/ 55457 h 456380"/>
                  <a:gd name="connsiteX179" fmla="*/ 165460 w 328951"/>
                  <a:gd name="connsiteY179" fmla="*/ 56972 h 456380"/>
                  <a:gd name="connsiteX180" fmla="*/ 162885 w 328951"/>
                  <a:gd name="connsiteY180" fmla="*/ 57275 h 456380"/>
                  <a:gd name="connsiteX181" fmla="*/ 159551 w 328951"/>
                  <a:gd name="connsiteY181" fmla="*/ 58184 h 456380"/>
                  <a:gd name="connsiteX182" fmla="*/ 156521 w 328951"/>
                  <a:gd name="connsiteY182" fmla="*/ 60154 h 456380"/>
                  <a:gd name="connsiteX183" fmla="*/ 154400 w 328951"/>
                  <a:gd name="connsiteY183" fmla="*/ 62881 h 456380"/>
                  <a:gd name="connsiteX184" fmla="*/ 151975 w 328951"/>
                  <a:gd name="connsiteY184" fmla="*/ 68942 h 456380"/>
                  <a:gd name="connsiteX185" fmla="*/ 148490 w 328951"/>
                  <a:gd name="connsiteY185" fmla="*/ 70457 h 456380"/>
                  <a:gd name="connsiteX186" fmla="*/ 144702 w 328951"/>
                  <a:gd name="connsiteY186" fmla="*/ 69851 h 456380"/>
                  <a:gd name="connsiteX187" fmla="*/ 141975 w 328951"/>
                  <a:gd name="connsiteY187" fmla="*/ 67578 h 456380"/>
                  <a:gd name="connsiteX188" fmla="*/ 136217 w 328951"/>
                  <a:gd name="connsiteY188" fmla="*/ 65912 h 456380"/>
                  <a:gd name="connsiteX189" fmla="*/ 131823 w 328951"/>
                  <a:gd name="connsiteY189" fmla="*/ 64851 h 456380"/>
                  <a:gd name="connsiteX190" fmla="*/ 126974 w 328951"/>
                  <a:gd name="connsiteY190" fmla="*/ 62427 h 456380"/>
                  <a:gd name="connsiteX191" fmla="*/ 122731 w 328951"/>
                  <a:gd name="connsiteY191" fmla="*/ 60608 h 456380"/>
                  <a:gd name="connsiteX192" fmla="*/ 118792 w 328951"/>
                  <a:gd name="connsiteY192" fmla="*/ 60305 h 456380"/>
                  <a:gd name="connsiteX193" fmla="*/ 116520 w 328951"/>
                  <a:gd name="connsiteY193" fmla="*/ 62578 h 456380"/>
                  <a:gd name="connsiteX194" fmla="*/ 114701 w 328951"/>
                  <a:gd name="connsiteY194" fmla="*/ 64699 h 456380"/>
                  <a:gd name="connsiteX195" fmla="*/ 108034 w 328951"/>
                  <a:gd name="connsiteY195" fmla="*/ 66366 h 456380"/>
                  <a:gd name="connsiteX196" fmla="*/ 104246 w 328951"/>
                  <a:gd name="connsiteY196" fmla="*/ 67730 h 456380"/>
                  <a:gd name="connsiteX197" fmla="*/ 99398 w 328951"/>
                  <a:gd name="connsiteY197" fmla="*/ 68033 h 456380"/>
                  <a:gd name="connsiteX198" fmla="*/ 97428 w 328951"/>
                  <a:gd name="connsiteY198" fmla="*/ 66518 h 456380"/>
                  <a:gd name="connsiteX199" fmla="*/ 90306 w 328951"/>
                  <a:gd name="connsiteY199" fmla="*/ 65457 h 456380"/>
                  <a:gd name="connsiteX200" fmla="*/ 81821 w 328951"/>
                  <a:gd name="connsiteY200" fmla="*/ 64245 h 456380"/>
                  <a:gd name="connsiteX201" fmla="*/ 79397 w 328951"/>
                  <a:gd name="connsiteY201" fmla="*/ 64245 h 456380"/>
                  <a:gd name="connsiteX202" fmla="*/ 78639 w 328951"/>
                  <a:gd name="connsiteY202" fmla="*/ 61517 h 456380"/>
                  <a:gd name="connsiteX203" fmla="*/ 76366 w 328951"/>
                  <a:gd name="connsiteY203" fmla="*/ 57729 h 456380"/>
                  <a:gd name="connsiteX204" fmla="*/ 70305 w 328951"/>
                  <a:gd name="connsiteY204" fmla="*/ 51214 h 456380"/>
                  <a:gd name="connsiteX205" fmla="*/ 67881 w 328951"/>
                  <a:gd name="connsiteY205" fmla="*/ 48941 h 456380"/>
                  <a:gd name="connsiteX206" fmla="*/ 63184 w 328951"/>
                  <a:gd name="connsiteY206" fmla="*/ 43486 h 456380"/>
                  <a:gd name="connsiteX207" fmla="*/ 57578 w 328951"/>
                  <a:gd name="connsiteY207" fmla="*/ 37880 h 456380"/>
                  <a:gd name="connsiteX208" fmla="*/ 56820 w 328951"/>
                  <a:gd name="connsiteY208" fmla="*/ 37729 h 456380"/>
                  <a:gd name="connsiteX209" fmla="*/ 53183 w 328951"/>
                  <a:gd name="connsiteY209" fmla="*/ 37577 h 456380"/>
                  <a:gd name="connsiteX210" fmla="*/ 47880 w 328951"/>
                  <a:gd name="connsiteY210" fmla="*/ 37729 h 456380"/>
                  <a:gd name="connsiteX211" fmla="*/ 44547 w 328951"/>
                  <a:gd name="connsiteY211" fmla="*/ 38941 h 456380"/>
                  <a:gd name="connsiteX212" fmla="*/ 42426 w 328951"/>
                  <a:gd name="connsiteY212" fmla="*/ 40608 h 456380"/>
                  <a:gd name="connsiteX213" fmla="*/ 42123 w 328951"/>
                  <a:gd name="connsiteY213" fmla="*/ 41971 h 456380"/>
                  <a:gd name="connsiteX214" fmla="*/ 44244 w 328951"/>
                  <a:gd name="connsiteY214" fmla="*/ 47123 h 456380"/>
                  <a:gd name="connsiteX215" fmla="*/ 43638 w 328951"/>
                  <a:gd name="connsiteY215" fmla="*/ 48335 h 456380"/>
                  <a:gd name="connsiteX216" fmla="*/ 42426 w 328951"/>
                  <a:gd name="connsiteY216" fmla="*/ 48941 h 456380"/>
                  <a:gd name="connsiteX217" fmla="*/ 37577 w 328951"/>
                  <a:gd name="connsiteY217" fmla="*/ 47578 h 456380"/>
                  <a:gd name="connsiteX218" fmla="*/ 31668 w 328951"/>
                  <a:gd name="connsiteY218" fmla="*/ 47729 h 456380"/>
                  <a:gd name="connsiteX219" fmla="*/ 30152 w 328951"/>
                  <a:gd name="connsiteY219" fmla="*/ 49244 h 456380"/>
                  <a:gd name="connsiteX220" fmla="*/ 37577 w 328951"/>
                  <a:gd name="connsiteY220" fmla="*/ 51972 h 456380"/>
                  <a:gd name="connsiteX221" fmla="*/ 37880 w 328951"/>
                  <a:gd name="connsiteY221" fmla="*/ 52578 h 456380"/>
                  <a:gd name="connsiteX222" fmla="*/ 37880 w 328951"/>
                  <a:gd name="connsiteY222" fmla="*/ 53941 h 456380"/>
                  <a:gd name="connsiteX223" fmla="*/ 38183 w 328951"/>
                  <a:gd name="connsiteY223" fmla="*/ 55457 h 456380"/>
                  <a:gd name="connsiteX224" fmla="*/ 45456 w 328951"/>
                  <a:gd name="connsiteY224" fmla="*/ 59245 h 456380"/>
                  <a:gd name="connsiteX225" fmla="*/ 47577 w 328951"/>
                  <a:gd name="connsiteY225" fmla="*/ 61214 h 456380"/>
                  <a:gd name="connsiteX226" fmla="*/ 51972 w 328951"/>
                  <a:gd name="connsiteY226" fmla="*/ 64245 h 456380"/>
                  <a:gd name="connsiteX227" fmla="*/ 53183 w 328951"/>
                  <a:gd name="connsiteY227" fmla="*/ 65912 h 456380"/>
                  <a:gd name="connsiteX228" fmla="*/ 57275 w 328951"/>
                  <a:gd name="connsiteY228" fmla="*/ 67881 h 456380"/>
                  <a:gd name="connsiteX229" fmla="*/ 60305 w 328951"/>
                  <a:gd name="connsiteY229" fmla="*/ 69851 h 456380"/>
                  <a:gd name="connsiteX230" fmla="*/ 63790 w 328951"/>
                  <a:gd name="connsiteY230" fmla="*/ 71518 h 456380"/>
                  <a:gd name="connsiteX231" fmla="*/ 67881 w 328951"/>
                  <a:gd name="connsiteY231" fmla="*/ 74094 h 456380"/>
                  <a:gd name="connsiteX232" fmla="*/ 73336 w 328951"/>
                  <a:gd name="connsiteY232" fmla="*/ 76063 h 456380"/>
                  <a:gd name="connsiteX233" fmla="*/ 77881 w 328951"/>
                  <a:gd name="connsiteY233" fmla="*/ 76669 h 456380"/>
                  <a:gd name="connsiteX234" fmla="*/ 89397 w 328951"/>
                  <a:gd name="connsiteY234" fmla="*/ 80154 h 456380"/>
                  <a:gd name="connsiteX235" fmla="*/ 91367 w 328951"/>
                  <a:gd name="connsiteY235" fmla="*/ 81215 h 456380"/>
                  <a:gd name="connsiteX236" fmla="*/ 94700 w 328951"/>
                  <a:gd name="connsiteY236" fmla="*/ 83639 h 456380"/>
                  <a:gd name="connsiteX237" fmla="*/ 98034 w 328951"/>
                  <a:gd name="connsiteY237" fmla="*/ 86367 h 456380"/>
                  <a:gd name="connsiteX238" fmla="*/ 100307 w 328951"/>
                  <a:gd name="connsiteY238" fmla="*/ 92125 h 456380"/>
                  <a:gd name="connsiteX239" fmla="*/ 104095 w 328951"/>
                  <a:gd name="connsiteY239" fmla="*/ 92428 h 456380"/>
                  <a:gd name="connsiteX240" fmla="*/ 105155 w 328951"/>
                  <a:gd name="connsiteY240" fmla="*/ 94397 h 456380"/>
                  <a:gd name="connsiteX241" fmla="*/ 108337 w 328951"/>
                  <a:gd name="connsiteY241" fmla="*/ 97731 h 456380"/>
                  <a:gd name="connsiteX242" fmla="*/ 112883 w 328951"/>
                  <a:gd name="connsiteY242" fmla="*/ 100761 h 456380"/>
                  <a:gd name="connsiteX243" fmla="*/ 112731 w 328951"/>
                  <a:gd name="connsiteY243" fmla="*/ 101822 h 456380"/>
                  <a:gd name="connsiteX244" fmla="*/ 109095 w 328951"/>
                  <a:gd name="connsiteY244" fmla="*/ 104549 h 456380"/>
                  <a:gd name="connsiteX245" fmla="*/ 108640 w 328951"/>
                  <a:gd name="connsiteY245" fmla="*/ 108186 h 456380"/>
                  <a:gd name="connsiteX246" fmla="*/ 108943 w 328951"/>
                  <a:gd name="connsiteY246" fmla="*/ 112883 h 456380"/>
                  <a:gd name="connsiteX247" fmla="*/ 110004 w 328951"/>
                  <a:gd name="connsiteY247" fmla="*/ 116671 h 456380"/>
                  <a:gd name="connsiteX248" fmla="*/ 109853 w 328951"/>
                  <a:gd name="connsiteY248" fmla="*/ 117732 h 456380"/>
                  <a:gd name="connsiteX249" fmla="*/ 108943 w 328951"/>
                  <a:gd name="connsiteY249" fmla="*/ 119095 h 456380"/>
                  <a:gd name="connsiteX250" fmla="*/ 107883 w 328951"/>
                  <a:gd name="connsiteY250" fmla="*/ 121217 h 456380"/>
                  <a:gd name="connsiteX251" fmla="*/ 107428 w 328951"/>
                  <a:gd name="connsiteY251" fmla="*/ 123035 h 456380"/>
                  <a:gd name="connsiteX252" fmla="*/ 107579 w 328951"/>
                  <a:gd name="connsiteY252" fmla="*/ 123944 h 456380"/>
                  <a:gd name="connsiteX253" fmla="*/ 107883 w 328951"/>
                  <a:gd name="connsiteY253" fmla="*/ 124399 h 456380"/>
                  <a:gd name="connsiteX254" fmla="*/ 109701 w 328951"/>
                  <a:gd name="connsiteY254" fmla="*/ 124399 h 456380"/>
                  <a:gd name="connsiteX255" fmla="*/ 113034 w 328951"/>
                  <a:gd name="connsiteY255" fmla="*/ 124853 h 456380"/>
                  <a:gd name="connsiteX256" fmla="*/ 115004 w 328951"/>
                  <a:gd name="connsiteY256" fmla="*/ 125611 h 456380"/>
                  <a:gd name="connsiteX257" fmla="*/ 116065 w 328951"/>
                  <a:gd name="connsiteY257" fmla="*/ 130005 h 456380"/>
                  <a:gd name="connsiteX258" fmla="*/ 115610 w 328951"/>
                  <a:gd name="connsiteY258" fmla="*/ 130914 h 456380"/>
                  <a:gd name="connsiteX259" fmla="*/ 112731 w 328951"/>
                  <a:gd name="connsiteY259" fmla="*/ 132884 h 456380"/>
                  <a:gd name="connsiteX260" fmla="*/ 111822 w 328951"/>
                  <a:gd name="connsiteY260" fmla="*/ 134399 h 456380"/>
                  <a:gd name="connsiteX261" fmla="*/ 111671 w 328951"/>
                  <a:gd name="connsiteY261" fmla="*/ 136672 h 456380"/>
                  <a:gd name="connsiteX262" fmla="*/ 112125 w 328951"/>
                  <a:gd name="connsiteY262" fmla="*/ 139248 h 456380"/>
                  <a:gd name="connsiteX263" fmla="*/ 113034 w 328951"/>
                  <a:gd name="connsiteY263" fmla="*/ 142126 h 456380"/>
                  <a:gd name="connsiteX264" fmla="*/ 115307 w 328951"/>
                  <a:gd name="connsiteY264" fmla="*/ 145157 h 456380"/>
                  <a:gd name="connsiteX265" fmla="*/ 118338 w 328951"/>
                  <a:gd name="connsiteY265" fmla="*/ 148339 h 456380"/>
                  <a:gd name="connsiteX266" fmla="*/ 120308 w 328951"/>
                  <a:gd name="connsiteY266" fmla="*/ 150915 h 456380"/>
                  <a:gd name="connsiteX267" fmla="*/ 121217 w 328951"/>
                  <a:gd name="connsiteY267" fmla="*/ 152733 h 456380"/>
                  <a:gd name="connsiteX268" fmla="*/ 121519 w 328951"/>
                  <a:gd name="connsiteY268" fmla="*/ 153945 h 456380"/>
                  <a:gd name="connsiteX269" fmla="*/ 120156 w 328951"/>
                  <a:gd name="connsiteY269" fmla="*/ 155612 h 456380"/>
                  <a:gd name="connsiteX270" fmla="*/ 118943 w 328951"/>
                  <a:gd name="connsiteY270" fmla="*/ 158794 h 456380"/>
                  <a:gd name="connsiteX271" fmla="*/ 118792 w 328951"/>
                  <a:gd name="connsiteY271" fmla="*/ 162430 h 456380"/>
                  <a:gd name="connsiteX272" fmla="*/ 118186 w 328951"/>
                  <a:gd name="connsiteY272" fmla="*/ 164855 h 456380"/>
                  <a:gd name="connsiteX273" fmla="*/ 115459 w 328951"/>
                  <a:gd name="connsiteY273" fmla="*/ 168036 h 456380"/>
                  <a:gd name="connsiteX274" fmla="*/ 113641 w 328951"/>
                  <a:gd name="connsiteY274" fmla="*/ 169249 h 456380"/>
                  <a:gd name="connsiteX275" fmla="*/ 113186 w 328951"/>
                  <a:gd name="connsiteY275" fmla="*/ 170915 h 456380"/>
                  <a:gd name="connsiteX276" fmla="*/ 113034 w 328951"/>
                  <a:gd name="connsiteY276" fmla="*/ 173794 h 456380"/>
                  <a:gd name="connsiteX277" fmla="*/ 113641 w 328951"/>
                  <a:gd name="connsiteY277" fmla="*/ 177279 h 456380"/>
                  <a:gd name="connsiteX278" fmla="*/ 113792 w 328951"/>
                  <a:gd name="connsiteY278" fmla="*/ 179704 h 456380"/>
                  <a:gd name="connsiteX279" fmla="*/ 114398 w 328951"/>
                  <a:gd name="connsiteY279" fmla="*/ 181370 h 456380"/>
                  <a:gd name="connsiteX280" fmla="*/ 115155 w 328951"/>
                  <a:gd name="connsiteY280" fmla="*/ 182431 h 456380"/>
                  <a:gd name="connsiteX281" fmla="*/ 119398 w 328951"/>
                  <a:gd name="connsiteY281" fmla="*/ 184401 h 456380"/>
                  <a:gd name="connsiteX282" fmla="*/ 121822 w 328951"/>
                  <a:gd name="connsiteY282" fmla="*/ 188340 h 456380"/>
                  <a:gd name="connsiteX283" fmla="*/ 123338 w 328951"/>
                  <a:gd name="connsiteY283" fmla="*/ 191522 h 456380"/>
                  <a:gd name="connsiteX284" fmla="*/ 126217 w 328951"/>
                  <a:gd name="connsiteY284" fmla="*/ 199856 h 456380"/>
                  <a:gd name="connsiteX285" fmla="*/ 128489 w 328951"/>
                  <a:gd name="connsiteY285" fmla="*/ 199553 h 456380"/>
                  <a:gd name="connsiteX286" fmla="*/ 133035 w 328951"/>
                  <a:gd name="connsiteY286" fmla="*/ 201068 h 456380"/>
                  <a:gd name="connsiteX287" fmla="*/ 136520 w 328951"/>
                  <a:gd name="connsiteY287" fmla="*/ 199250 h 456380"/>
                  <a:gd name="connsiteX288" fmla="*/ 138187 w 328951"/>
                  <a:gd name="connsiteY288" fmla="*/ 197583 h 456380"/>
                  <a:gd name="connsiteX289" fmla="*/ 139248 w 328951"/>
                  <a:gd name="connsiteY289" fmla="*/ 197583 h 456380"/>
                  <a:gd name="connsiteX290" fmla="*/ 139096 w 328951"/>
                  <a:gd name="connsiteY290" fmla="*/ 198795 h 456380"/>
                  <a:gd name="connsiteX291" fmla="*/ 137884 w 328951"/>
                  <a:gd name="connsiteY291" fmla="*/ 202129 h 456380"/>
                  <a:gd name="connsiteX292" fmla="*/ 140460 w 328951"/>
                  <a:gd name="connsiteY292" fmla="*/ 206068 h 456380"/>
                  <a:gd name="connsiteX293" fmla="*/ 142884 w 328951"/>
                  <a:gd name="connsiteY293" fmla="*/ 206674 h 456380"/>
                  <a:gd name="connsiteX294" fmla="*/ 145005 w 328951"/>
                  <a:gd name="connsiteY294" fmla="*/ 206523 h 456380"/>
                  <a:gd name="connsiteX295" fmla="*/ 156066 w 328951"/>
                  <a:gd name="connsiteY295" fmla="*/ 211674 h 456380"/>
                  <a:gd name="connsiteX296" fmla="*/ 158945 w 328951"/>
                  <a:gd name="connsiteY296" fmla="*/ 214705 h 456380"/>
                  <a:gd name="connsiteX297" fmla="*/ 157884 w 328951"/>
                  <a:gd name="connsiteY297" fmla="*/ 220311 h 456380"/>
                  <a:gd name="connsiteX298" fmla="*/ 157582 w 328951"/>
                  <a:gd name="connsiteY298" fmla="*/ 225160 h 456380"/>
                  <a:gd name="connsiteX299" fmla="*/ 156369 w 328951"/>
                  <a:gd name="connsiteY299" fmla="*/ 229554 h 456380"/>
                  <a:gd name="connsiteX300" fmla="*/ 158642 w 328951"/>
                  <a:gd name="connsiteY300" fmla="*/ 231524 h 456380"/>
                  <a:gd name="connsiteX301" fmla="*/ 159248 w 328951"/>
                  <a:gd name="connsiteY301" fmla="*/ 233039 h 456380"/>
                  <a:gd name="connsiteX302" fmla="*/ 159551 w 328951"/>
                  <a:gd name="connsiteY302" fmla="*/ 235463 h 456380"/>
                  <a:gd name="connsiteX303" fmla="*/ 156824 w 328951"/>
                  <a:gd name="connsiteY303" fmla="*/ 236524 h 456380"/>
                  <a:gd name="connsiteX304" fmla="*/ 155612 w 328951"/>
                  <a:gd name="connsiteY304" fmla="*/ 238039 h 456380"/>
                  <a:gd name="connsiteX305" fmla="*/ 157127 w 328951"/>
                  <a:gd name="connsiteY305" fmla="*/ 239554 h 456380"/>
                  <a:gd name="connsiteX306" fmla="*/ 157278 w 328951"/>
                  <a:gd name="connsiteY306" fmla="*/ 241979 h 456380"/>
                  <a:gd name="connsiteX307" fmla="*/ 155309 w 328951"/>
                  <a:gd name="connsiteY307" fmla="*/ 242282 h 456380"/>
                  <a:gd name="connsiteX308" fmla="*/ 153187 w 328951"/>
                  <a:gd name="connsiteY308" fmla="*/ 241372 h 456380"/>
                  <a:gd name="connsiteX309" fmla="*/ 148490 w 328951"/>
                  <a:gd name="connsiteY309" fmla="*/ 241069 h 456380"/>
                  <a:gd name="connsiteX310" fmla="*/ 143187 w 328951"/>
                  <a:gd name="connsiteY310" fmla="*/ 242433 h 456380"/>
                  <a:gd name="connsiteX311" fmla="*/ 140762 w 328951"/>
                  <a:gd name="connsiteY311" fmla="*/ 244403 h 456380"/>
                  <a:gd name="connsiteX312" fmla="*/ 138035 w 328951"/>
                  <a:gd name="connsiteY312" fmla="*/ 244706 h 456380"/>
                  <a:gd name="connsiteX313" fmla="*/ 137278 w 328951"/>
                  <a:gd name="connsiteY313" fmla="*/ 247433 h 456380"/>
                  <a:gd name="connsiteX314" fmla="*/ 134853 w 328951"/>
                  <a:gd name="connsiteY314" fmla="*/ 250009 h 456380"/>
                  <a:gd name="connsiteX315" fmla="*/ 130459 w 328951"/>
                  <a:gd name="connsiteY315" fmla="*/ 257282 h 456380"/>
                  <a:gd name="connsiteX316" fmla="*/ 123489 w 328951"/>
                  <a:gd name="connsiteY316" fmla="*/ 263040 h 456380"/>
                  <a:gd name="connsiteX317" fmla="*/ 120762 w 328951"/>
                  <a:gd name="connsiteY317" fmla="*/ 267889 h 456380"/>
                  <a:gd name="connsiteX318" fmla="*/ 119095 w 328951"/>
                  <a:gd name="connsiteY318" fmla="*/ 268646 h 456380"/>
                  <a:gd name="connsiteX319" fmla="*/ 113337 w 328951"/>
                  <a:gd name="connsiteY319" fmla="*/ 274101 h 456380"/>
                  <a:gd name="connsiteX320" fmla="*/ 111822 w 328951"/>
                  <a:gd name="connsiteY320" fmla="*/ 278192 h 456380"/>
                  <a:gd name="connsiteX321" fmla="*/ 108943 w 328951"/>
                  <a:gd name="connsiteY321" fmla="*/ 278495 h 456380"/>
                  <a:gd name="connsiteX322" fmla="*/ 102277 w 328951"/>
                  <a:gd name="connsiteY322" fmla="*/ 284556 h 456380"/>
                  <a:gd name="connsiteX323" fmla="*/ 99094 w 328951"/>
                  <a:gd name="connsiteY323" fmla="*/ 285920 h 456380"/>
                  <a:gd name="connsiteX324" fmla="*/ 95761 w 328951"/>
                  <a:gd name="connsiteY324" fmla="*/ 287738 h 456380"/>
                  <a:gd name="connsiteX325" fmla="*/ 88639 w 328951"/>
                  <a:gd name="connsiteY325" fmla="*/ 293799 h 456380"/>
                  <a:gd name="connsiteX326" fmla="*/ 82579 w 328951"/>
                  <a:gd name="connsiteY326" fmla="*/ 295314 h 456380"/>
                  <a:gd name="connsiteX327" fmla="*/ 82427 w 328951"/>
                  <a:gd name="connsiteY327" fmla="*/ 298193 h 456380"/>
                  <a:gd name="connsiteX328" fmla="*/ 78942 w 328951"/>
                  <a:gd name="connsiteY328" fmla="*/ 301981 h 456380"/>
                  <a:gd name="connsiteX329" fmla="*/ 76669 w 328951"/>
                  <a:gd name="connsiteY329" fmla="*/ 301526 h 456380"/>
                  <a:gd name="connsiteX330" fmla="*/ 76518 w 328951"/>
                  <a:gd name="connsiteY330" fmla="*/ 302890 h 456380"/>
                  <a:gd name="connsiteX331" fmla="*/ 77427 w 328951"/>
                  <a:gd name="connsiteY331" fmla="*/ 304254 h 456380"/>
                  <a:gd name="connsiteX332" fmla="*/ 75457 w 328951"/>
                  <a:gd name="connsiteY332" fmla="*/ 303647 h 456380"/>
                  <a:gd name="connsiteX333" fmla="*/ 74700 w 328951"/>
                  <a:gd name="connsiteY333" fmla="*/ 304405 h 456380"/>
                  <a:gd name="connsiteX334" fmla="*/ 75912 w 328951"/>
                  <a:gd name="connsiteY334" fmla="*/ 306981 h 456380"/>
                  <a:gd name="connsiteX335" fmla="*/ 76821 w 328951"/>
                  <a:gd name="connsiteY335" fmla="*/ 308345 h 456380"/>
                  <a:gd name="connsiteX336" fmla="*/ 76972 w 328951"/>
                  <a:gd name="connsiteY336" fmla="*/ 309860 h 456380"/>
                  <a:gd name="connsiteX337" fmla="*/ 71518 w 328951"/>
                  <a:gd name="connsiteY337" fmla="*/ 312739 h 456380"/>
                  <a:gd name="connsiteX338" fmla="*/ 65305 w 328951"/>
                  <a:gd name="connsiteY338" fmla="*/ 314254 h 456380"/>
                  <a:gd name="connsiteX339" fmla="*/ 62729 w 328951"/>
                  <a:gd name="connsiteY339" fmla="*/ 313042 h 456380"/>
                  <a:gd name="connsiteX340" fmla="*/ 55760 w 328951"/>
                  <a:gd name="connsiteY340" fmla="*/ 314557 h 456380"/>
                  <a:gd name="connsiteX341" fmla="*/ 55911 w 328951"/>
                  <a:gd name="connsiteY341" fmla="*/ 316678 h 456380"/>
                  <a:gd name="connsiteX342" fmla="*/ 56517 w 328951"/>
                  <a:gd name="connsiteY342" fmla="*/ 318497 h 456380"/>
                  <a:gd name="connsiteX343" fmla="*/ 58790 w 328951"/>
                  <a:gd name="connsiteY343" fmla="*/ 321678 h 456380"/>
                  <a:gd name="connsiteX344" fmla="*/ 53941 w 328951"/>
                  <a:gd name="connsiteY344" fmla="*/ 321981 h 456380"/>
                  <a:gd name="connsiteX345" fmla="*/ 53487 w 328951"/>
                  <a:gd name="connsiteY345" fmla="*/ 325618 h 456380"/>
                  <a:gd name="connsiteX346" fmla="*/ 46365 w 328951"/>
                  <a:gd name="connsiteY346" fmla="*/ 332436 h 456380"/>
                  <a:gd name="connsiteX347" fmla="*/ 45002 w 328951"/>
                  <a:gd name="connsiteY347" fmla="*/ 334558 h 456380"/>
                  <a:gd name="connsiteX348" fmla="*/ 44244 w 328951"/>
                  <a:gd name="connsiteY348" fmla="*/ 336679 h 456380"/>
                  <a:gd name="connsiteX349" fmla="*/ 43789 w 328951"/>
                  <a:gd name="connsiteY349" fmla="*/ 339558 h 456380"/>
                  <a:gd name="connsiteX350" fmla="*/ 44850 w 328951"/>
                  <a:gd name="connsiteY350" fmla="*/ 344103 h 456380"/>
                  <a:gd name="connsiteX351" fmla="*/ 45456 w 328951"/>
                  <a:gd name="connsiteY351" fmla="*/ 348346 h 456380"/>
                  <a:gd name="connsiteX352" fmla="*/ 49699 w 328951"/>
                  <a:gd name="connsiteY352" fmla="*/ 351377 h 456380"/>
                  <a:gd name="connsiteX353" fmla="*/ 50305 w 328951"/>
                  <a:gd name="connsiteY353" fmla="*/ 354104 h 456380"/>
                  <a:gd name="connsiteX354" fmla="*/ 50608 w 328951"/>
                  <a:gd name="connsiteY354" fmla="*/ 356377 h 456380"/>
                  <a:gd name="connsiteX355" fmla="*/ 49244 w 328951"/>
                  <a:gd name="connsiteY355" fmla="*/ 361074 h 456380"/>
                  <a:gd name="connsiteX356" fmla="*/ 48032 w 328951"/>
                  <a:gd name="connsiteY356" fmla="*/ 366225 h 456380"/>
                  <a:gd name="connsiteX357" fmla="*/ 51517 w 328951"/>
                  <a:gd name="connsiteY357" fmla="*/ 369407 h 456380"/>
                  <a:gd name="connsiteX358" fmla="*/ 53790 w 328951"/>
                  <a:gd name="connsiteY358" fmla="*/ 373801 h 456380"/>
                  <a:gd name="connsiteX359" fmla="*/ 55911 w 328951"/>
                  <a:gd name="connsiteY359" fmla="*/ 378347 h 456380"/>
                  <a:gd name="connsiteX360" fmla="*/ 56062 w 328951"/>
                  <a:gd name="connsiteY360" fmla="*/ 379862 h 456380"/>
                  <a:gd name="connsiteX361" fmla="*/ 57578 w 328951"/>
                  <a:gd name="connsiteY361" fmla="*/ 383044 h 456380"/>
                  <a:gd name="connsiteX362" fmla="*/ 57426 w 328951"/>
                  <a:gd name="connsiteY362" fmla="*/ 383650 h 456380"/>
                  <a:gd name="connsiteX363" fmla="*/ 57275 w 328951"/>
                  <a:gd name="connsiteY363" fmla="*/ 384105 h 456380"/>
                  <a:gd name="connsiteX364" fmla="*/ 55305 w 328951"/>
                  <a:gd name="connsiteY364" fmla="*/ 384105 h 456380"/>
                  <a:gd name="connsiteX365" fmla="*/ 54699 w 328951"/>
                  <a:gd name="connsiteY365" fmla="*/ 384711 h 456380"/>
                  <a:gd name="connsiteX366" fmla="*/ 55456 w 328951"/>
                  <a:gd name="connsiteY366" fmla="*/ 385923 h 456380"/>
                  <a:gd name="connsiteX367" fmla="*/ 56214 w 328951"/>
                  <a:gd name="connsiteY367" fmla="*/ 386529 h 456380"/>
                  <a:gd name="connsiteX368" fmla="*/ 56517 w 328951"/>
                  <a:gd name="connsiteY368" fmla="*/ 387590 h 456380"/>
                  <a:gd name="connsiteX369" fmla="*/ 54850 w 328951"/>
                  <a:gd name="connsiteY369" fmla="*/ 387590 h 456380"/>
                  <a:gd name="connsiteX370" fmla="*/ 54699 w 328951"/>
                  <a:gd name="connsiteY370" fmla="*/ 388802 h 456380"/>
                  <a:gd name="connsiteX371" fmla="*/ 55305 w 328951"/>
                  <a:gd name="connsiteY371" fmla="*/ 390620 h 456380"/>
                  <a:gd name="connsiteX372" fmla="*/ 55153 w 328951"/>
                  <a:gd name="connsiteY372" fmla="*/ 396075 h 456380"/>
                  <a:gd name="connsiteX373" fmla="*/ 54244 w 328951"/>
                  <a:gd name="connsiteY373" fmla="*/ 400621 h 456380"/>
                  <a:gd name="connsiteX374" fmla="*/ 53487 w 328951"/>
                  <a:gd name="connsiteY374" fmla="*/ 402439 h 456380"/>
                  <a:gd name="connsiteX375" fmla="*/ 51517 w 328951"/>
                  <a:gd name="connsiteY375" fmla="*/ 405318 h 456380"/>
                  <a:gd name="connsiteX376" fmla="*/ 51062 w 328951"/>
                  <a:gd name="connsiteY376" fmla="*/ 409106 h 456380"/>
                  <a:gd name="connsiteX377" fmla="*/ 51517 w 328951"/>
                  <a:gd name="connsiteY377" fmla="*/ 413955 h 456380"/>
                  <a:gd name="connsiteX378" fmla="*/ 52274 w 328951"/>
                  <a:gd name="connsiteY378" fmla="*/ 417440 h 456380"/>
                  <a:gd name="connsiteX379" fmla="*/ 52426 w 328951"/>
                  <a:gd name="connsiteY379" fmla="*/ 420318 h 456380"/>
                  <a:gd name="connsiteX380" fmla="*/ 52426 w 328951"/>
                  <a:gd name="connsiteY380" fmla="*/ 422743 h 456380"/>
                  <a:gd name="connsiteX381" fmla="*/ 53183 w 328951"/>
                  <a:gd name="connsiteY381" fmla="*/ 424409 h 456380"/>
                  <a:gd name="connsiteX382" fmla="*/ 55760 w 328951"/>
                  <a:gd name="connsiteY382" fmla="*/ 425470 h 456380"/>
                  <a:gd name="connsiteX383" fmla="*/ 58032 w 328951"/>
                  <a:gd name="connsiteY383" fmla="*/ 427137 h 456380"/>
                  <a:gd name="connsiteX384" fmla="*/ 61214 w 328951"/>
                  <a:gd name="connsiteY384" fmla="*/ 425016 h 456380"/>
                  <a:gd name="connsiteX385" fmla="*/ 63336 w 328951"/>
                  <a:gd name="connsiteY385" fmla="*/ 424561 h 456380"/>
                  <a:gd name="connsiteX386" fmla="*/ 64699 w 328951"/>
                  <a:gd name="connsiteY386" fmla="*/ 428197 h 456380"/>
                  <a:gd name="connsiteX387" fmla="*/ 66820 w 328951"/>
                  <a:gd name="connsiteY387" fmla="*/ 428349 h 456380"/>
                  <a:gd name="connsiteX388" fmla="*/ 75609 w 328951"/>
                  <a:gd name="connsiteY388" fmla="*/ 432440 h 456380"/>
                  <a:gd name="connsiteX389" fmla="*/ 82730 w 328951"/>
                  <a:gd name="connsiteY389" fmla="*/ 433501 h 456380"/>
                  <a:gd name="connsiteX390" fmla="*/ 83791 w 328951"/>
                  <a:gd name="connsiteY390" fmla="*/ 433198 h 456380"/>
                  <a:gd name="connsiteX391" fmla="*/ 84397 w 328951"/>
                  <a:gd name="connsiteY391" fmla="*/ 433349 h 456380"/>
                  <a:gd name="connsiteX392" fmla="*/ 84094 w 328951"/>
                  <a:gd name="connsiteY392" fmla="*/ 434258 h 456380"/>
                  <a:gd name="connsiteX393" fmla="*/ 82427 w 328951"/>
                  <a:gd name="connsiteY393" fmla="*/ 437440 h 456380"/>
                  <a:gd name="connsiteX394" fmla="*/ 82579 w 328951"/>
                  <a:gd name="connsiteY394" fmla="*/ 438198 h 456380"/>
                  <a:gd name="connsiteX395" fmla="*/ 84548 w 328951"/>
                  <a:gd name="connsiteY395" fmla="*/ 438501 h 456380"/>
                  <a:gd name="connsiteX396" fmla="*/ 84548 w 328951"/>
                  <a:gd name="connsiteY396" fmla="*/ 439562 h 456380"/>
                  <a:gd name="connsiteX397" fmla="*/ 83791 w 328951"/>
                  <a:gd name="connsiteY397" fmla="*/ 440471 h 456380"/>
                  <a:gd name="connsiteX398" fmla="*/ 82427 w 328951"/>
                  <a:gd name="connsiteY398" fmla="*/ 440774 h 456380"/>
                  <a:gd name="connsiteX399" fmla="*/ 81215 w 328951"/>
                  <a:gd name="connsiteY399" fmla="*/ 440622 h 456380"/>
                  <a:gd name="connsiteX400" fmla="*/ 80457 w 328951"/>
                  <a:gd name="connsiteY400" fmla="*/ 442440 h 456380"/>
                  <a:gd name="connsiteX401" fmla="*/ 81215 w 328951"/>
                  <a:gd name="connsiteY401" fmla="*/ 442895 h 456380"/>
                  <a:gd name="connsiteX402" fmla="*/ 80306 w 328951"/>
                  <a:gd name="connsiteY402" fmla="*/ 445168 h 456380"/>
                  <a:gd name="connsiteX403" fmla="*/ 80306 w 328951"/>
                  <a:gd name="connsiteY403" fmla="*/ 445925 h 456380"/>
                  <a:gd name="connsiteX404" fmla="*/ 80912 w 328951"/>
                  <a:gd name="connsiteY404" fmla="*/ 447744 h 456380"/>
                  <a:gd name="connsiteX405" fmla="*/ 85912 w 328951"/>
                  <a:gd name="connsiteY405" fmla="*/ 447744 h 456380"/>
                  <a:gd name="connsiteX406" fmla="*/ 87276 w 328951"/>
                  <a:gd name="connsiteY406" fmla="*/ 447289 h 456380"/>
                  <a:gd name="connsiteX407" fmla="*/ 88639 w 328951"/>
                  <a:gd name="connsiteY407" fmla="*/ 446531 h 456380"/>
                  <a:gd name="connsiteX408" fmla="*/ 89852 w 328951"/>
                  <a:gd name="connsiteY408" fmla="*/ 445774 h 456380"/>
                  <a:gd name="connsiteX409" fmla="*/ 90609 w 328951"/>
                  <a:gd name="connsiteY409" fmla="*/ 444713 h 456380"/>
                  <a:gd name="connsiteX410" fmla="*/ 91367 w 328951"/>
                  <a:gd name="connsiteY410" fmla="*/ 441228 h 456380"/>
                  <a:gd name="connsiteX411" fmla="*/ 91973 w 328951"/>
                  <a:gd name="connsiteY411" fmla="*/ 440016 h 456380"/>
                  <a:gd name="connsiteX412" fmla="*/ 93185 w 328951"/>
                  <a:gd name="connsiteY412" fmla="*/ 440319 h 456380"/>
                  <a:gd name="connsiteX413" fmla="*/ 95458 w 328951"/>
                  <a:gd name="connsiteY413" fmla="*/ 444865 h 456380"/>
                  <a:gd name="connsiteX414" fmla="*/ 97882 w 328951"/>
                  <a:gd name="connsiteY414" fmla="*/ 446986 h 456380"/>
                  <a:gd name="connsiteX415" fmla="*/ 99700 w 328951"/>
                  <a:gd name="connsiteY415" fmla="*/ 447289 h 456380"/>
                  <a:gd name="connsiteX416" fmla="*/ 101064 w 328951"/>
                  <a:gd name="connsiteY416" fmla="*/ 448047 h 456380"/>
                  <a:gd name="connsiteX417" fmla="*/ 100761 w 328951"/>
                  <a:gd name="connsiteY417" fmla="*/ 450016 h 456380"/>
                  <a:gd name="connsiteX418" fmla="*/ 98791 w 328951"/>
                  <a:gd name="connsiteY418" fmla="*/ 452441 h 456380"/>
                  <a:gd name="connsiteX419" fmla="*/ 95912 w 328951"/>
                  <a:gd name="connsiteY419" fmla="*/ 454259 h 456380"/>
                  <a:gd name="connsiteX420" fmla="*/ 94700 w 328951"/>
                  <a:gd name="connsiteY420" fmla="*/ 455926 h 456380"/>
                  <a:gd name="connsiteX421" fmla="*/ 96215 w 328951"/>
                  <a:gd name="connsiteY421" fmla="*/ 456380 h 456380"/>
                  <a:gd name="connsiteX422" fmla="*/ 100610 w 328951"/>
                  <a:gd name="connsiteY422" fmla="*/ 455168 h 456380"/>
                  <a:gd name="connsiteX423" fmla="*/ 104549 w 328951"/>
                  <a:gd name="connsiteY423" fmla="*/ 451835 h 456380"/>
                  <a:gd name="connsiteX424" fmla="*/ 108337 w 328951"/>
                  <a:gd name="connsiteY424" fmla="*/ 449410 h 456380"/>
                  <a:gd name="connsiteX425" fmla="*/ 111822 w 328951"/>
                  <a:gd name="connsiteY425" fmla="*/ 450168 h 456380"/>
                  <a:gd name="connsiteX426" fmla="*/ 115307 w 328951"/>
                  <a:gd name="connsiteY426" fmla="*/ 450319 h 456380"/>
                  <a:gd name="connsiteX427" fmla="*/ 123641 w 328951"/>
                  <a:gd name="connsiteY427" fmla="*/ 448501 h 456380"/>
                  <a:gd name="connsiteX428" fmla="*/ 132277 w 328951"/>
                  <a:gd name="connsiteY428" fmla="*/ 447138 h 456380"/>
                  <a:gd name="connsiteX429" fmla="*/ 135156 w 328951"/>
                  <a:gd name="connsiteY429" fmla="*/ 448047 h 456380"/>
                  <a:gd name="connsiteX430" fmla="*/ 137126 w 328951"/>
                  <a:gd name="connsiteY430" fmla="*/ 446986 h 456380"/>
                  <a:gd name="connsiteX431" fmla="*/ 139399 w 328951"/>
                  <a:gd name="connsiteY431" fmla="*/ 444259 h 456380"/>
                  <a:gd name="connsiteX432" fmla="*/ 146217 w 328951"/>
                  <a:gd name="connsiteY432" fmla="*/ 442440 h 456380"/>
                  <a:gd name="connsiteX433" fmla="*/ 149248 w 328951"/>
                  <a:gd name="connsiteY433" fmla="*/ 442440 h 456380"/>
                  <a:gd name="connsiteX434" fmla="*/ 154703 w 328951"/>
                  <a:gd name="connsiteY434" fmla="*/ 440925 h 456380"/>
                  <a:gd name="connsiteX435" fmla="*/ 157733 w 328951"/>
                  <a:gd name="connsiteY435" fmla="*/ 438652 h 456380"/>
                  <a:gd name="connsiteX436" fmla="*/ 162885 w 328951"/>
                  <a:gd name="connsiteY436" fmla="*/ 438198 h 456380"/>
                  <a:gd name="connsiteX437" fmla="*/ 165460 w 328951"/>
                  <a:gd name="connsiteY437" fmla="*/ 436531 h 456380"/>
                  <a:gd name="connsiteX438" fmla="*/ 168491 w 328951"/>
                  <a:gd name="connsiteY438" fmla="*/ 435319 h 456380"/>
                  <a:gd name="connsiteX439" fmla="*/ 170158 w 328951"/>
                  <a:gd name="connsiteY439" fmla="*/ 438046 h 456380"/>
                  <a:gd name="connsiteX440" fmla="*/ 171370 w 328951"/>
                  <a:gd name="connsiteY440" fmla="*/ 438046 h 456380"/>
                  <a:gd name="connsiteX441" fmla="*/ 173794 w 328951"/>
                  <a:gd name="connsiteY441" fmla="*/ 436077 h 456380"/>
                  <a:gd name="connsiteX442" fmla="*/ 176522 w 328951"/>
                  <a:gd name="connsiteY442" fmla="*/ 434713 h 456380"/>
                  <a:gd name="connsiteX443" fmla="*/ 178946 w 328951"/>
                  <a:gd name="connsiteY443" fmla="*/ 434864 h 456380"/>
                  <a:gd name="connsiteX444" fmla="*/ 179097 w 328951"/>
                  <a:gd name="connsiteY444" fmla="*/ 433652 h 456380"/>
                  <a:gd name="connsiteX445" fmla="*/ 178188 w 328951"/>
                  <a:gd name="connsiteY445" fmla="*/ 431379 h 456380"/>
                  <a:gd name="connsiteX446" fmla="*/ 176824 w 328951"/>
                  <a:gd name="connsiteY446" fmla="*/ 429410 h 456380"/>
                  <a:gd name="connsiteX447" fmla="*/ 178946 w 328951"/>
                  <a:gd name="connsiteY447" fmla="*/ 429410 h 456380"/>
                  <a:gd name="connsiteX448" fmla="*/ 183491 w 328951"/>
                  <a:gd name="connsiteY448" fmla="*/ 432288 h 456380"/>
                  <a:gd name="connsiteX449" fmla="*/ 188189 w 328951"/>
                  <a:gd name="connsiteY449" fmla="*/ 431531 h 456380"/>
                  <a:gd name="connsiteX450" fmla="*/ 190310 w 328951"/>
                  <a:gd name="connsiteY450" fmla="*/ 429713 h 456380"/>
                  <a:gd name="connsiteX451" fmla="*/ 191370 w 328951"/>
                  <a:gd name="connsiteY451" fmla="*/ 426228 h 456380"/>
                  <a:gd name="connsiteX452" fmla="*/ 193340 w 328951"/>
                  <a:gd name="connsiteY452" fmla="*/ 423197 h 456380"/>
                  <a:gd name="connsiteX453" fmla="*/ 194401 w 328951"/>
                  <a:gd name="connsiteY453" fmla="*/ 423046 h 456380"/>
                  <a:gd name="connsiteX454" fmla="*/ 193946 w 328951"/>
                  <a:gd name="connsiteY454" fmla="*/ 424561 h 456380"/>
                  <a:gd name="connsiteX455" fmla="*/ 192583 w 328951"/>
                  <a:gd name="connsiteY455" fmla="*/ 426682 h 456380"/>
                  <a:gd name="connsiteX456" fmla="*/ 191674 w 328951"/>
                  <a:gd name="connsiteY456" fmla="*/ 429713 h 456380"/>
                  <a:gd name="connsiteX457" fmla="*/ 192128 w 328951"/>
                  <a:gd name="connsiteY457" fmla="*/ 432137 h 456380"/>
                  <a:gd name="connsiteX458" fmla="*/ 194098 w 328951"/>
                  <a:gd name="connsiteY458" fmla="*/ 431076 h 456380"/>
                  <a:gd name="connsiteX459" fmla="*/ 197280 w 328951"/>
                  <a:gd name="connsiteY459" fmla="*/ 430319 h 456380"/>
                  <a:gd name="connsiteX460" fmla="*/ 203492 w 328951"/>
                  <a:gd name="connsiteY460" fmla="*/ 429713 h 456380"/>
                  <a:gd name="connsiteX461" fmla="*/ 206826 w 328951"/>
                  <a:gd name="connsiteY461" fmla="*/ 427440 h 456380"/>
                  <a:gd name="connsiteX462" fmla="*/ 210310 w 328951"/>
                  <a:gd name="connsiteY462" fmla="*/ 426682 h 456380"/>
                  <a:gd name="connsiteX463" fmla="*/ 211371 w 328951"/>
                  <a:gd name="connsiteY463" fmla="*/ 426834 h 456380"/>
                  <a:gd name="connsiteX464" fmla="*/ 217432 w 328951"/>
                  <a:gd name="connsiteY464" fmla="*/ 429864 h 456380"/>
                  <a:gd name="connsiteX465" fmla="*/ 219099 w 328951"/>
                  <a:gd name="connsiteY465" fmla="*/ 428804 h 456380"/>
                  <a:gd name="connsiteX466" fmla="*/ 223039 w 328951"/>
                  <a:gd name="connsiteY466" fmla="*/ 428500 h 456380"/>
                  <a:gd name="connsiteX467" fmla="*/ 225614 w 328951"/>
                  <a:gd name="connsiteY467" fmla="*/ 427137 h 456380"/>
                  <a:gd name="connsiteX468" fmla="*/ 226675 w 328951"/>
                  <a:gd name="connsiteY468" fmla="*/ 426985 h 456380"/>
                  <a:gd name="connsiteX469" fmla="*/ 236372 w 328951"/>
                  <a:gd name="connsiteY469" fmla="*/ 418349 h 456380"/>
                  <a:gd name="connsiteX470" fmla="*/ 243342 w 328951"/>
                  <a:gd name="connsiteY470" fmla="*/ 412136 h 456380"/>
                  <a:gd name="connsiteX471" fmla="*/ 244706 w 328951"/>
                  <a:gd name="connsiteY471" fmla="*/ 411227 h 456380"/>
                  <a:gd name="connsiteX472" fmla="*/ 247736 w 328951"/>
                  <a:gd name="connsiteY472" fmla="*/ 409560 h 456380"/>
                  <a:gd name="connsiteX473" fmla="*/ 250312 w 328951"/>
                  <a:gd name="connsiteY473" fmla="*/ 407742 h 456380"/>
                  <a:gd name="connsiteX474" fmla="*/ 252433 w 328951"/>
                  <a:gd name="connsiteY474" fmla="*/ 405469 h 456380"/>
                  <a:gd name="connsiteX475" fmla="*/ 259403 w 328951"/>
                  <a:gd name="connsiteY475" fmla="*/ 400924 h 456380"/>
                  <a:gd name="connsiteX476" fmla="*/ 266525 w 328951"/>
                  <a:gd name="connsiteY476" fmla="*/ 395924 h 456380"/>
                  <a:gd name="connsiteX477" fmla="*/ 273040 w 328951"/>
                  <a:gd name="connsiteY477" fmla="*/ 389408 h 456380"/>
                  <a:gd name="connsiteX478" fmla="*/ 275465 w 328951"/>
                  <a:gd name="connsiteY478" fmla="*/ 387287 h 456380"/>
                  <a:gd name="connsiteX479" fmla="*/ 278495 w 328951"/>
                  <a:gd name="connsiteY479" fmla="*/ 385014 h 456380"/>
                  <a:gd name="connsiteX480" fmla="*/ 285162 w 328951"/>
                  <a:gd name="connsiteY480" fmla="*/ 378044 h 456380"/>
                  <a:gd name="connsiteX481" fmla="*/ 287283 w 328951"/>
                  <a:gd name="connsiteY481" fmla="*/ 376074 h 456380"/>
                  <a:gd name="connsiteX482" fmla="*/ 295466 w 328951"/>
                  <a:gd name="connsiteY482" fmla="*/ 367286 h 456380"/>
                  <a:gd name="connsiteX483" fmla="*/ 300163 w 328951"/>
                  <a:gd name="connsiteY483" fmla="*/ 362892 h 456380"/>
                  <a:gd name="connsiteX484" fmla="*/ 302587 w 328951"/>
                  <a:gd name="connsiteY484" fmla="*/ 360316 h 456380"/>
                  <a:gd name="connsiteX485" fmla="*/ 312739 w 328951"/>
                  <a:gd name="connsiteY485" fmla="*/ 351983 h 456380"/>
                  <a:gd name="connsiteX486" fmla="*/ 319557 w 328951"/>
                  <a:gd name="connsiteY486" fmla="*/ 345316 h 456380"/>
                  <a:gd name="connsiteX487" fmla="*/ 322285 w 328951"/>
                  <a:gd name="connsiteY487" fmla="*/ 341679 h 456380"/>
                  <a:gd name="connsiteX488" fmla="*/ 324861 w 328951"/>
                  <a:gd name="connsiteY488" fmla="*/ 336376 h 456380"/>
                  <a:gd name="connsiteX489" fmla="*/ 326375 w 328951"/>
                  <a:gd name="connsiteY489" fmla="*/ 332739 h 456380"/>
                  <a:gd name="connsiteX490" fmla="*/ 328951 w 328951"/>
                  <a:gd name="connsiteY490" fmla="*/ 328042 h 456380"/>
                  <a:gd name="connsiteX491" fmla="*/ 328951 w 328951"/>
                  <a:gd name="connsiteY491" fmla="*/ 326527 h 456380"/>
                  <a:gd name="connsiteX492" fmla="*/ 328194 w 328951"/>
                  <a:gd name="connsiteY492" fmla="*/ 325163 h 456380"/>
                  <a:gd name="connsiteX493" fmla="*/ 145914 w 328951"/>
                  <a:gd name="connsiteY493" fmla="*/ 236221 h 456380"/>
                  <a:gd name="connsiteX494" fmla="*/ 147127 w 328951"/>
                  <a:gd name="connsiteY494" fmla="*/ 234706 h 456380"/>
                  <a:gd name="connsiteX495" fmla="*/ 150005 w 328951"/>
                  <a:gd name="connsiteY495" fmla="*/ 234100 h 456380"/>
                  <a:gd name="connsiteX496" fmla="*/ 149248 w 328951"/>
                  <a:gd name="connsiteY496" fmla="*/ 233342 h 456380"/>
                  <a:gd name="connsiteX497" fmla="*/ 144248 w 328951"/>
                  <a:gd name="connsiteY497" fmla="*/ 231978 h 456380"/>
                  <a:gd name="connsiteX498" fmla="*/ 140611 w 328951"/>
                  <a:gd name="connsiteY498" fmla="*/ 232584 h 456380"/>
                  <a:gd name="connsiteX499" fmla="*/ 138641 w 328951"/>
                  <a:gd name="connsiteY499" fmla="*/ 233948 h 456380"/>
                  <a:gd name="connsiteX500" fmla="*/ 138641 w 328951"/>
                  <a:gd name="connsiteY500" fmla="*/ 236827 h 456380"/>
                  <a:gd name="connsiteX501" fmla="*/ 141975 w 328951"/>
                  <a:gd name="connsiteY501" fmla="*/ 237736 h 456380"/>
                  <a:gd name="connsiteX502" fmla="*/ 145914 w 328951"/>
                  <a:gd name="connsiteY502" fmla="*/ 236221 h 456380"/>
                  <a:gd name="connsiteX503" fmla="*/ 79397 w 328951"/>
                  <a:gd name="connsiteY503" fmla="*/ 436683 h 456380"/>
                  <a:gd name="connsiteX504" fmla="*/ 77730 w 328951"/>
                  <a:gd name="connsiteY504" fmla="*/ 434561 h 456380"/>
                  <a:gd name="connsiteX505" fmla="*/ 76215 w 328951"/>
                  <a:gd name="connsiteY505" fmla="*/ 434864 h 456380"/>
                  <a:gd name="connsiteX506" fmla="*/ 72730 w 328951"/>
                  <a:gd name="connsiteY506" fmla="*/ 433804 h 456380"/>
                  <a:gd name="connsiteX507" fmla="*/ 71366 w 328951"/>
                  <a:gd name="connsiteY507" fmla="*/ 434410 h 456380"/>
                  <a:gd name="connsiteX508" fmla="*/ 70912 w 328951"/>
                  <a:gd name="connsiteY508" fmla="*/ 436077 h 456380"/>
                  <a:gd name="connsiteX509" fmla="*/ 70003 w 328951"/>
                  <a:gd name="connsiteY509" fmla="*/ 437289 h 456380"/>
                  <a:gd name="connsiteX510" fmla="*/ 71669 w 328951"/>
                  <a:gd name="connsiteY510" fmla="*/ 438198 h 456380"/>
                  <a:gd name="connsiteX511" fmla="*/ 73033 w 328951"/>
                  <a:gd name="connsiteY511" fmla="*/ 439410 h 456380"/>
                  <a:gd name="connsiteX512" fmla="*/ 73639 w 328951"/>
                  <a:gd name="connsiteY512" fmla="*/ 441077 h 456380"/>
                  <a:gd name="connsiteX513" fmla="*/ 75003 w 328951"/>
                  <a:gd name="connsiteY513" fmla="*/ 442289 h 456380"/>
                  <a:gd name="connsiteX514" fmla="*/ 77730 w 328951"/>
                  <a:gd name="connsiteY514" fmla="*/ 442289 h 456380"/>
                  <a:gd name="connsiteX515" fmla="*/ 77275 w 328951"/>
                  <a:gd name="connsiteY515" fmla="*/ 440774 h 456380"/>
                  <a:gd name="connsiteX516" fmla="*/ 76215 w 328951"/>
                  <a:gd name="connsiteY516" fmla="*/ 439713 h 456380"/>
                  <a:gd name="connsiteX517" fmla="*/ 76366 w 328951"/>
                  <a:gd name="connsiteY517" fmla="*/ 438046 h 456380"/>
                  <a:gd name="connsiteX518" fmla="*/ 79397 w 328951"/>
                  <a:gd name="connsiteY518" fmla="*/ 436683 h 456380"/>
                  <a:gd name="connsiteX519" fmla="*/ 30001 w 328951"/>
                  <a:gd name="connsiteY519" fmla="*/ 447441 h 456380"/>
                  <a:gd name="connsiteX520" fmla="*/ 29850 w 328951"/>
                  <a:gd name="connsiteY520" fmla="*/ 448350 h 456380"/>
                  <a:gd name="connsiteX521" fmla="*/ 27576 w 328951"/>
                  <a:gd name="connsiteY521" fmla="*/ 448501 h 456380"/>
                  <a:gd name="connsiteX522" fmla="*/ 26667 w 328951"/>
                  <a:gd name="connsiteY522" fmla="*/ 447592 h 456380"/>
                  <a:gd name="connsiteX523" fmla="*/ 24546 w 328951"/>
                  <a:gd name="connsiteY523" fmla="*/ 447744 h 456380"/>
                  <a:gd name="connsiteX524" fmla="*/ 24243 w 328951"/>
                  <a:gd name="connsiteY524" fmla="*/ 447289 h 456380"/>
                  <a:gd name="connsiteX525" fmla="*/ 25152 w 328951"/>
                  <a:gd name="connsiteY525" fmla="*/ 446380 h 456380"/>
                  <a:gd name="connsiteX526" fmla="*/ 26819 w 328951"/>
                  <a:gd name="connsiteY526" fmla="*/ 445774 h 456380"/>
                  <a:gd name="connsiteX527" fmla="*/ 28940 w 328951"/>
                  <a:gd name="connsiteY527" fmla="*/ 445925 h 456380"/>
                  <a:gd name="connsiteX528" fmla="*/ 30001 w 328951"/>
                  <a:gd name="connsiteY528" fmla="*/ 447441 h 456380"/>
                  <a:gd name="connsiteX529" fmla="*/ 3939 w 328951"/>
                  <a:gd name="connsiteY529" fmla="*/ 441380 h 456380"/>
                  <a:gd name="connsiteX530" fmla="*/ 4091 w 328951"/>
                  <a:gd name="connsiteY530" fmla="*/ 442289 h 456380"/>
                  <a:gd name="connsiteX531" fmla="*/ 3030 w 328951"/>
                  <a:gd name="connsiteY531" fmla="*/ 441986 h 456380"/>
                  <a:gd name="connsiteX532" fmla="*/ 2273 w 328951"/>
                  <a:gd name="connsiteY532" fmla="*/ 442289 h 456380"/>
                  <a:gd name="connsiteX533" fmla="*/ 1667 w 328951"/>
                  <a:gd name="connsiteY533" fmla="*/ 443350 h 456380"/>
                  <a:gd name="connsiteX534" fmla="*/ 455 w 328951"/>
                  <a:gd name="connsiteY534" fmla="*/ 442895 h 456380"/>
                  <a:gd name="connsiteX535" fmla="*/ 0 w 328951"/>
                  <a:gd name="connsiteY535" fmla="*/ 441228 h 456380"/>
                  <a:gd name="connsiteX536" fmla="*/ 909 w 328951"/>
                  <a:gd name="connsiteY536" fmla="*/ 438804 h 456380"/>
                  <a:gd name="connsiteX537" fmla="*/ 3030 w 328951"/>
                  <a:gd name="connsiteY537" fmla="*/ 438652 h 456380"/>
                  <a:gd name="connsiteX538" fmla="*/ 3939 w 328951"/>
                  <a:gd name="connsiteY538" fmla="*/ 441380 h 456380"/>
                  <a:gd name="connsiteX539" fmla="*/ 13031 w 328951"/>
                  <a:gd name="connsiteY539" fmla="*/ 434713 h 456380"/>
                  <a:gd name="connsiteX540" fmla="*/ 13940 w 328951"/>
                  <a:gd name="connsiteY540" fmla="*/ 434713 h 456380"/>
                  <a:gd name="connsiteX541" fmla="*/ 14243 w 328951"/>
                  <a:gd name="connsiteY541" fmla="*/ 434410 h 456380"/>
                  <a:gd name="connsiteX542" fmla="*/ 15758 w 328951"/>
                  <a:gd name="connsiteY542" fmla="*/ 434713 h 456380"/>
                  <a:gd name="connsiteX543" fmla="*/ 18031 w 328951"/>
                  <a:gd name="connsiteY543" fmla="*/ 436380 h 456380"/>
                  <a:gd name="connsiteX544" fmla="*/ 18486 w 328951"/>
                  <a:gd name="connsiteY544" fmla="*/ 437289 h 456380"/>
                  <a:gd name="connsiteX545" fmla="*/ 20000 w 328951"/>
                  <a:gd name="connsiteY545" fmla="*/ 437743 h 456380"/>
                  <a:gd name="connsiteX546" fmla="*/ 20455 w 328951"/>
                  <a:gd name="connsiteY546" fmla="*/ 438652 h 456380"/>
                  <a:gd name="connsiteX547" fmla="*/ 18637 w 328951"/>
                  <a:gd name="connsiteY547" fmla="*/ 441380 h 456380"/>
                  <a:gd name="connsiteX548" fmla="*/ 17576 w 328951"/>
                  <a:gd name="connsiteY548" fmla="*/ 441380 h 456380"/>
                  <a:gd name="connsiteX549" fmla="*/ 16819 w 328951"/>
                  <a:gd name="connsiteY549" fmla="*/ 441077 h 456380"/>
                  <a:gd name="connsiteX550" fmla="*/ 15455 w 328951"/>
                  <a:gd name="connsiteY550" fmla="*/ 441380 h 456380"/>
                  <a:gd name="connsiteX551" fmla="*/ 14546 w 328951"/>
                  <a:gd name="connsiteY551" fmla="*/ 441834 h 456380"/>
                  <a:gd name="connsiteX552" fmla="*/ 14243 w 328951"/>
                  <a:gd name="connsiteY552" fmla="*/ 443046 h 456380"/>
                  <a:gd name="connsiteX553" fmla="*/ 14243 w 328951"/>
                  <a:gd name="connsiteY553" fmla="*/ 445471 h 456380"/>
                  <a:gd name="connsiteX554" fmla="*/ 7879 w 328951"/>
                  <a:gd name="connsiteY554" fmla="*/ 445925 h 456380"/>
                  <a:gd name="connsiteX555" fmla="*/ 6364 w 328951"/>
                  <a:gd name="connsiteY555" fmla="*/ 445168 h 456380"/>
                  <a:gd name="connsiteX556" fmla="*/ 4394 w 328951"/>
                  <a:gd name="connsiteY556" fmla="*/ 439713 h 456380"/>
                  <a:gd name="connsiteX557" fmla="*/ 4848 w 328951"/>
                  <a:gd name="connsiteY557" fmla="*/ 438349 h 456380"/>
                  <a:gd name="connsiteX558" fmla="*/ 6212 w 328951"/>
                  <a:gd name="connsiteY558" fmla="*/ 437743 h 456380"/>
                  <a:gd name="connsiteX559" fmla="*/ 7424 w 328951"/>
                  <a:gd name="connsiteY559" fmla="*/ 437592 h 456380"/>
                  <a:gd name="connsiteX560" fmla="*/ 7576 w 328951"/>
                  <a:gd name="connsiteY560" fmla="*/ 440622 h 456380"/>
                  <a:gd name="connsiteX561" fmla="*/ 9243 w 328951"/>
                  <a:gd name="connsiteY561" fmla="*/ 440319 h 456380"/>
                  <a:gd name="connsiteX562" fmla="*/ 9849 w 328951"/>
                  <a:gd name="connsiteY562" fmla="*/ 438349 h 456380"/>
                  <a:gd name="connsiteX563" fmla="*/ 10000 w 328951"/>
                  <a:gd name="connsiteY563" fmla="*/ 436986 h 456380"/>
                  <a:gd name="connsiteX564" fmla="*/ 9545 w 328951"/>
                  <a:gd name="connsiteY564" fmla="*/ 436228 h 456380"/>
                  <a:gd name="connsiteX565" fmla="*/ 8333 w 328951"/>
                  <a:gd name="connsiteY565" fmla="*/ 435622 h 456380"/>
                  <a:gd name="connsiteX566" fmla="*/ 7727 w 328951"/>
                  <a:gd name="connsiteY566" fmla="*/ 434713 h 456380"/>
                  <a:gd name="connsiteX567" fmla="*/ 8636 w 328951"/>
                  <a:gd name="connsiteY567" fmla="*/ 433198 h 456380"/>
                  <a:gd name="connsiteX568" fmla="*/ 10455 w 328951"/>
                  <a:gd name="connsiteY568" fmla="*/ 432592 h 456380"/>
                  <a:gd name="connsiteX569" fmla="*/ 11970 w 328951"/>
                  <a:gd name="connsiteY569" fmla="*/ 434561 h 456380"/>
                  <a:gd name="connsiteX570" fmla="*/ 13031 w 328951"/>
                  <a:gd name="connsiteY570" fmla="*/ 434713 h 456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Lst>
                <a:rect l="l" t="t" r="r" b="b"/>
                <a:pathLst>
                  <a:path w="328951" h="456380">
                    <a:moveTo>
                      <a:pt x="56214" y="441986"/>
                    </a:moveTo>
                    <a:lnTo>
                      <a:pt x="54547" y="442895"/>
                    </a:lnTo>
                    <a:lnTo>
                      <a:pt x="53941" y="443804"/>
                    </a:lnTo>
                    <a:lnTo>
                      <a:pt x="55456" y="445016"/>
                    </a:lnTo>
                    <a:lnTo>
                      <a:pt x="57881" y="444562"/>
                    </a:lnTo>
                    <a:lnTo>
                      <a:pt x="58487" y="443198"/>
                    </a:lnTo>
                    <a:lnTo>
                      <a:pt x="58032" y="441986"/>
                    </a:lnTo>
                    <a:lnTo>
                      <a:pt x="56214" y="441986"/>
                    </a:lnTo>
                    <a:close/>
                    <a:moveTo>
                      <a:pt x="59850" y="441986"/>
                    </a:moveTo>
                    <a:lnTo>
                      <a:pt x="59548" y="444410"/>
                    </a:lnTo>
                    <a:lnTo>
                      <a:pt x="60608" y="444713"/>
                    </a:lnTo>
                    <a:lnTo>
                      <a:pt x="63336" y="443350"/>
                    </a:lnTo>
                    <a:lnTo>
                      <a:pt x="64245" y="440774"/>
                    </a:lnTo>
                    <a:lnTo>
                      <a:pt x="61517" y="440925"/>
                    </a:lnTo>
                    <a:lnTo>
                      <a:pt x="59850" y="441986"/>
                    </a:lnTo>
                    <a:close/>
                    <a:moveTo>
                      <a:pt x="47123" y="311375"/>
                    </a:moveTo>
                    <a:lnTo>
                      <a:pt x="42880" y="311375"/>
                    </a:lnTo>
                    <a:lnTo>
                      <a:pt x="44698" y="314709"/>
                    </a:lnTo>
                    <a:lnTo>
                      <a:pt x="47577" y="316830"/>
                    </a:lnTo>
                    <a:lnTo>
                      <a:pt x="49093" y="316375"/>
                    </a:lnTo>
                    <a:lnTo>
                      <a:pt x="49395" y="315618"/>
                    </a:lnTo>
                    <a:lnTo>
                      <a:pt x="50759" y="314405"/>
                    </a:lnTo>
                    <a:lnTo>
                      <a:pt x="51062" y="314709"/>
                    </a:lnTo>
                    <a:lnTo>
                      <a:pt x="52123" y="314860"/>
                    </a:lnTo>
                    <a:lnTo>
                      <a:pt x="52274" y="312739"/>
                    </a:lnTo>
                    <a:lnTo>
                      <a:pt x="50759" y="311981"/>
                    </a:lnTo>
                    <a:lnTo>
                      <a:pt x="48638" y="313496"/>
                    </a:lnTo>
                    <a:lnTo>
                      <a:pt x="46971" y="313648"/>
                    </a:lnTo>
                    <a:lnTo>
                      <a:pt x="46668" y="312890"/>
                    </a:lnTo>
                    <a:lnTo>
                      <a:pt x="46820" y="312133"/>
                    </a:lnTo>
                    <a:lnTo>
                      <a:pt x="47123" y="311375"/>
                    </a:lnTo>
                    <a:close/>
                    <a:moveTo>
                      <a:pt x="47880" y="422894"/>
                    </a:moveTo>
                    <a:lnTo>
                      <a:pt x="46668" y="423652"/>
                    </a:lnTo>
                    <a:lnTo>
                      <a:pt x="46365" y="424409"/>
                    </a:lnTo>
                    <a:lnTo>
                      <a:pt x="47123" y="427591"/>
                    </a:lnTo>
                    <a:lnTo>
                      <a:pt x="48638" y="429561"/>
                    </a:lnTo>
                    <a:lnTo>
                      <a:pt x="50456" y="429258"/>
                    </a:lnTo>
                    <a:lnTo>
                      <a:pt x="52274" y="429410"/>
                    </a:lnTo>
                    <a:lnTo>
                      <a:pt x="52729" y="427440"/>
                    </a:lnTo>
                    <a:lnTo>
                      <a:pt x="48638" y="424712"/>
                    </a:lnTo>
                    <a:lnTo>
                      <a:pt x="47880" y="422894"/>
                    </a:lnTo>
                    <a:close/>
                    <a:moveTo>
                      <a:pt x="65457" y="432895"/>
                    </a:moveTo>
                    <a:lnTo>
                      <a:pt x="66669" y="432592"/>
                    </a:lnTo>
                    <a:lnTo>
                      <a:pt x="65457" y="431076"/>
                    </a:lnTo>
                    <a:lnTo>
                      <a:pt x="63336" y="429713"/>
                    </a:lnTo>
                    <a:lnTo>
                      <a:pt x="63184" y="430470"/>
                    </a:lnTo>
                    <a:lnTo>
                      <a:pt x="63942" y="432137"/>
                    </a:lnTo>
                    <a:lnTo>
                      <a:pt x="62881" y="432592"/>
                    </a:lnTo>
                    <a:lnTo>
                      <a:pt x="63184" y="433349"/>
                    </a:lnTo>
                    <a:lnTo>
                      <a:pt x="66063" y="435319"/>
                    </a:lnTo>
                    <a:lnTo>
                      <a:pt x="68033" y="435167"/>
                    </a:lnTo>
                    <a:lnTo>
                      <a:pt x="67578" y="434410"/>
                    </a:lnTo>
                    <a:lnTo>
                      <a:pt x="65457" y="432895"/>
                    </a:lnTo>
                    <a:close/>
                    <a:moveTo>
                      <a:pt x="328194" y="325163"/>
                    </a:moveTo>
                    <a:lnTo>
                      <a:pt x="326224" y="322891"/>
                    </a:lnTo>
                    <a:lnTo>
                      <a:pt x="323496" y="320315"/>
                    </a:lnTo>
                    <a:lnTo>
                      <a:pt x="321073" y="317133"/>
                    </a:lnTo>
                    <a:lnTo>
                      <a:pt x="319254" y="314254"/>
                    </a:lnTo>
                    <a:lnTo>
                      <a:pt x="313648" y="310314"/>
                    </a:lnTo>
                    <a:lnTo>
                      <a:pt x="304860" y="305314"/>
                    </a:lnTo>
                    <a:lnTo>
                      <a:pt x="298344" y="301526"/>
                    </a:lnTo>
                    <a:lnTo>
                      <a:pt x="288344" y="293496"/>
                    </a:lnTo>
                    <a:lnTo>
                      <a:pt x="286525" y="291526"/>
                    </a:lnTo>
                    <a:lnTo>
                      <a:pt x="286829" y="291071"/>
                    </a:lnTo>
                    <a:lnTo>
                      <a:pt x="292435" y="288647"/>
                    </a:lnTo>
                    <a:lnTo>
                      <a:pt x="298041" y="282283"/>
                    </a:lnTo>
                    <a:lnTo>
                      <a:pt x="300465" y="279101"/>
                    </a:lnTo>
                    <a:lnTo>
                      <a:pt x="301072" y="276677"/>
                    </a:lnTo>
                    <a:lnTo>
                      <a:pt x="301072" y="273949"/>
                    </a:lnTo>
                    <a:lnTo>
                      <a:pt x="300920" y="271222"/>
                    </a:lnTo>
                    <a:lnTo>
                      <a:pt x="300163" y="269555"/>
                    </a:lnTo>
                    <a:lnTo>
                      <a:pt x="297435" y="267586"/>
                    </a:lnTo>
                    <a:lnTo>
                      <a:pt x="289708" y="263949"/>
                    </a:lnTo>
                    <a:lnTo>
                      <a:pt x="287889" y="260616"/>
                    </a:lnTo>
                    <a:lnTo>
                      <a:pt x="286374" y="256979"/>
                    </a:lnTo>
                    <a:lnTo>
                      <a:pt x="286374" y="255464"/>
                    </a:lnTo>
                    <a:lnTo>
                      <a:pt x="290011" y="251676"/>
                    </a:lnTo>
                    <a:lnTo>
                      <a:pt x="290162" y="249706"/>
                    </a:lnTo>
                    <a:lnTo>
                      <a:pt x="289708" y="247736"/>
                    </a:lnTo>
                    <a:lnTo>
                      <a:pt x="288647" y="246221"/>
                    </a:lnTo>
                    <a:lnTo>
                      <a:pt x="280768" y="244554"/>
                    </a:lnTo>
                    <a:lnTo>
                      <a:pt x="278495" y="242736"/>
                    </a:lnTo>
                    <a:lnTo>
                      <a:pt x="276677" y="239857"/>
                    </a:lnTo>
                    <a:lnTo>
                      <a:pt x="275768" y="237281"/>
                    </a:lnTo>
                    <a:lnTo>
                      <a:pt x="275616" y="235766"/>
                    </a:lnTo>
                    <a:lnTo>
                      <a:pt x="276222" y="234100"/>
                    </a:lnTo>
                    <a:lnTo>
                      <a:pt x="278949" y="232281"/>
                    </a:lnTo>
                    <a:lnTo>
                      <a:pt x="281374" y="231069"/>
                    </a:lnTo>
                    <a:lnTo>
                      <a:pt x="281828" y="229402"/>
                    </a:lnTo>
                    <a:lnTo>
                      <a:pt x="281828" y="227584"/>
                    </a:lnTo>
                    <a:lnTo>
                      <a:pt x="281374" y="226675"/>
                    </a:lnTo>
                    <a:lnTo>
                      <a:pt x="276374" y="225766"/>
                    </a:lnTo>
                    <a:lnTo>
                      <a:pt x="275919" y="225311"/>
                    </a:lnTo>
                    <a:lnTo>
                      <a:pt x="275768" y="224705"/>
                    </a:lnTo>
                    <a:lnTo>
                      <a:pt x="276071" y="223948"/>
                    </a:lnTo>
                    <a:lnTo>
                      <a:pt x="278798" y="220766"/>
                    </a:lnTo>
                    <a:lnTo>
                      <a:pt x="279101" y="214705"/>
                    </a:lnTo>
                    <a:lnTo>
                      <a:pt x="281677" y="210462"/>
                    </a:lnTo>
                    <a:lnTo>
                      <a:pt x="278798" y="207886"/>
                    </a:lnTo>
                    <a:lnTo>
                      <a:pt x="278949" y="207432"/>
                    </a:lnTo>
                    <a:lnTo>
                      <a:pt x="283344" y="206068"/>
                    </a:lnTo>
                    <a:lnTo>
                      <a:pt x="287283" y="205765"/>
                    </a:lnTo>
                    <a:lnTo>
                      <a:pt x="289101" y="205311"/>
                    </a:lnTo>
                    <a:lnTo>
                      <a:pt x="289253" y="203341"/>
                    </a:lnTo>
                    <a:lnTo>
                      <a:pt x="288799" y="200613"/>
                    </a:lnTo>
                    <a:lnTo>
                      <a:pt x="284707" y="189855"/>
                    </a:lnTo>
                    <a:lnTo>
                      <a:pt x="283798" y="186825"/>
                    </a:lnTo>
                    <a:lnTo>
                      <a:pt x="281071" y="182885"/>
                    </a:lnTo>
                    <a:lnTo>
                      <a:pt x="279253" y="180310"/>
                    </a:lnTo>
                    <a:lnTo>
                      <a:pt x="277889" y="178491"/>
                    </a:lnTo>
                    <a:lnTo>
                      <a:pt x="275768" y="174855"/>
                    </a:lnTo>
                    <a:lnTo>
                      <a:pt x="274556" y="171067"/>
                    </a:lnTo>
                    <a:lnTo>
                      <a:pt x="272434" y="166824"/>
                    </a:lnTo>
                    <a:lnTo>
                      <a:pt x="269707" y="162733"/>
                    </a:lnTo>
                    <a:lnTo>
                      <a:pt x="267585" y="159097"/>
                    </a:lnTo>
                    <a:lnTo>
                      <a:pt x="262131" y="151975"/>
                    </a:lnTo>
                    <a:lnTo>
                      <a:pt x="261373" y="150006"/>
                    </a:lnTo>
                    <a:lnTo>
                      <a:pt x="261525" y="148187"/>
                    </a:lnTo>
                    <a:lnTo>
                      <a:pt x="261979" y="146369"/>
                    </a:lnTo>
                    <a:lnTo>
                      <a:pt x="266222" y="140611"/>
                    </a:lnTo>
                    <a:lnTo>
                      <a:pt x="270161" y="135763"/>
                    </a:lnTo>
                    <a:lnTo>
                      <a:pt x="275161" y="130005"/>
                    </a:lnTo>
                    <a:lnTo>
                      <a:pt x="280010" y="125308"/>
                    </a:lnTo>
                    <a:lnTo>
                      <a:pt x="285162" y="119701"/>
                    </a:lnTo>
                    <a:lnTo>
                      <a:pt x="286374" y="114095"/>
                    </a:lnTo>
                    <a:lnTo>
                      <a:pt x="286071" y="113186"/>
                    </a:lnTo>
                    <a:lnTo>
                      <a:pt x="281828" y="110156"/>
                    </a:lnTo>
                    <a:lnTo>
                      <a:pt x="273646" y="101973"/>
                    </a:lnTo>
                    <a:lnTo>
                      <a:pt x="268646" y="95761"/>
                    </a:lnTo>
                    <a:lnTo>
                      <a:pt x="260919" y="93185"/>
                    </a:lnTo>
                    <a:lnTo>
                      <a:pt x="250615" y="89852"/>
                    </a:lnTo>
                    <a:lnTo>
                      <a:pt x="247130" y="82276"/>
                    </a:lnTo>
                    <a:lnTo>
                      <a:pt x="244706" y="75760"/>
                    </a:lnTo>
                    <a:lnTo>
                      <a:pt x="245009" y="73488"/>
                    </a:lnTo>
                    <a:lnTo>
                      <a:pt x="252433" y="62275"/>
                    </a:lnTo>
                    <a:lnTo>
                      <a:pt x="253191" y="60305"/>
                    </a:lnTo>
                    <a:lnTo>
                      <a:pt x="253039" y="59093"/>
                    </a:lnTo>
                    <a:lnTo>
                      <a:pt x="252282" y="58335"/>
                    </a:lnTo>
                    <a:lnTo>
                      <a:pt x="251221" y="57881"/>
                    </a:lnTo>
                    <a:lnTo>
                      <a:pt x="244251" y="57578"/>
                    </a:lnTo>
                    <a:lnTo>
                      <a:pt x="243191" y="56063"/>
                    </a:lnTo>
                    <a:lnTo>
                      <a:pt x="247282" y="54851"/>
                    </a:lnTo>
                    <a:lnTo>
                      <a:pt x="250767" y="53335"/>
                    </a:lnTo>
                    <a:lnTo>
                      <a:pt x="256373" y="51063"/>
                    </a:lnTo>
                    <a:lnTo>
                      <a:pt x="258191" y="50456"/>
                    </a:lnTo>
                    <a:lnTo>
                      <a:pt x="256221" y="48638"/>
                    </a:lnTo>
                    <a:lnTo>
                      <a:pt x="254555" y="45759"/>
                    </a:lnTo>
                    <a:lnTo>
                      <a:pt x="254858" y="43032"/>
                    </a:lnTo>
                    <a:lnTo>
                      <a:pt x="259706" y="37729"/>
                    </a:lnTo>
                    <a:lnTo>
                      <a:pt x="264252" y="33941"/>
                    </a:lnTo>
                    <a:lnTo>
                      <a:pt x="265464" y="32577"/>
                    </a:lnTo>
                    <a:lnTo>
                      <a:pt x="268040" y="28789"/>
                    </a:lnTo>
                    <a:lnTo>
                      <a:pt x="262737" y="19092"/>
                    </a:lnTo>
                    <a:lnTo>
                      <a:pt x="253343" y="16213"/>
                    </a:lnTo>
                    <a:lnTo>
                      <a:pt x="242736" y="11819"/>
                    </a:lnTo>
                    <a:lnTo>
                      <a:pt x="238796" y="9394"/>
                    </a:lnTo>
                    <a:lnTo>
                      <a:pt x="232736" y="4546"/>
                    </a:lnTo>
                    <a:lnTo>
                      <a:pt x="228493" y="152"/>
                    </a:lnTo>
                    <a:lnTo>
                      <a:pt x="224553" y="0"/>
                    </a:lnTo>
                    <a:lnTo>
                      <a:pt x="220311" y="1061"/>
                    </a:lnTo>
                    <a:lnTo>
                      <a:pt x="213644" y="5152"/>
                    </a:lnTo>
                    <a:lnTo>
                      <a:pt x="209705" y="7121"/>
                    </a:lnTo>
                    <a:lnTo>
                      <a:pt x="207583" y="7728"/>
                    </a:lnTo>
                    <a:lnTo>
                      <a:pt x="207129" y="7879"/>
                    </a:lnTo>
                    <a:lnTo>
                      <a:pt x="202432" y="6667"/>
                    </a:lnTo>
                    <a:lnTo>
                      <a:pt x="197128" y="6364"/>
                    </a:lnTo>
                    <a:lnTo>
                      <a:pt x="192886" y="6667"/>
                    </a:lnTo>
                    <a:lnTo>
                      <a:pt x="191219" y="7273"/>
                    </a:lnTo>
                    <a:lnTo>
                      <a:pt x="185310" y="13788"/>
                    </a:lnTo>
                    <a:lnTo>
                      <a:pt x="181219" y="17122"/>
                    </a:lnTo>
                    <a:lnTo>
                      <a:pt x="178946" y="18182"/>
                    </a:lnTo>
                    <a:lnTo>
                      <a:pt x="177279" y="20152"/>
                    </a:lnTo>
                    <a:lnTo>
                      <a:pt x="175915" y="23334"/>
                    </a:lnTo>
                    <a:lnTo>
                      <a:pt x="172885" y="34092"/>
                    </a:lnTo>
                    <a:lnTo>
                      <a:pt x="170612" y="38183"/>
                    </a:lnTo>
                    <a:lnTo>
                      <a:pt x="170158" y="40608"/>
                    </a:lnTo>
                    <a:lnTo>
                      <a:pt x="170764" y="48032"/>
                    </a:lnTo>
                    <a:lnTo>
                      <a:pt x="170158" y="52123"/>
                    </a:lnTo>
                    <a:lnTo>
                      <a:pt x="167430" y="55457"/>
                    </a:lnTo>
                    <a:lnTo>
                      <a:pt x="165460" y="56972"/>
                    </a:lnTo>
                    <a:lnTo>
                      <a:pt x="162885" y="57275"/>
                    </a:lnTo>
                    <a:lnTo>
                      <a:pt x="159551" y="58184"/>
                    </a:lnTo>
                    <a:lnTo>
                      <a:pt x="156521" y="60154"/>
                    </a:lnTo>
                    <a:lnTo>
                      <a:pt x="154400" y="62881"/>
                    </a:lnTo>
                    <a:lnTo>
                      <a:pt x="151975" y="68942"/>
                    </a:lnTo>
                    <a:lnTo>
                      <a:pt x="148490" y="70457"/>
                    </a:lnTo>
                    <a:lnTo>
                      <a:pt x="144702" y="69851"/>
                    </a:lnTo>
                    <a:lnTo>
                      <a:pt x="141975" y="67578"/>
                    </a:lnTo>
                    <a:lnTo>
                      <a:pt x="136217" y="65912"/>
                    </a:lnTo>
                    <a:lnTo>
                      <a:pt x="131823" y="64851"/>
                    </a:lnTo>
                    <a:lnTo>
                      <a:pt x="126974" y="62427"/>
                    </a:lnTo>
                    <a:lnTo>
                      <a:pt x="122731" y="60608"/>
                    </a:lnTo>
                    <a:lnTo>
                      <a:pt x="118792" y="60305"/>
                    </a:lnTo>
                    <a:lnTo>
                      <a:pt x="116520" y="62578"/>
                    </a:lnTo>
                    <a:lnTo>
                      <a:pt x="114701" y="64699"/>
                    </a:lnTo>
                    <a:lnTo>
                      <a:pt x="108034" y="66366"/>
                    </a:lnTo>
                    <a:lnTo>
                      <a:pt x="104246" y="67730"/>
                    </a:lnTo>
                    <a:lnTo>
                      <a:pt x="99398" y="68033"/>
                    </a:lnTo>
                    <a:lnTo>
                      <a:pt x="97428" y="66518"/>
                    </a:lnTo>
                    <a:lnTo>
                      <a:pt x="90306" y="65457"/>
                    </a:lnTo>
                    <a:lnTo>
                      <a:pt x="81821" y="64245"/>
                    </a:lnTo>
                    <a:lnTo>
                      <a:pt x="79397" y="64245"/>
                    </a:lnTo>
                    <a:lnTo>
                      <a:pt x="78639" y="61517"/>
                    </a:lnTo>
                    <a:lnTo>
                      <a:pt x="76366" y="57729"/>
                    </a:lnTo>
                    <a:lnTo>
                      <a:pt x="70305" y="51214"/>
                    </a:lnTo>
                    <a:lnTo>
                      <a:pt x="67881" y="48941"/>
                    </a:lnTo>
                    <a:lnTo>
                      <a:pt x="63184" y="43486"/>
                    </a:lnTo>
                    <a:lnTo>
                      <a:pt x="57578" y="37880"/>
                    </a:lnTo>
                    <a:lnTo>
                      <a:pt x="56820" y="37729"/>
                    </a:lnTo>
                    <a:lnTo>
                      <a:pt x="53183" y="37577"/>
                    </a:lnTo>
                    <a:lnTo>
                      <a:pt x="47880" y="37729"/>
                    </a:lnTo>
                    <a:lnTo>
                      <a:pt x="44547" y="38941"/>
                    </a:lnTo>
                    <a:lnTo>
                      <a:pt x="42426" y="40608"/>
                    </a:lnTo>
                    <a:lnTo>
                      <a:pt x="42123" y="41971"/>
                    </a:lnTo>
                    <a:lnTo>
                      <a:pt x="44244" y="47123"/>
                    </a:lnTo>
                    <a:lnTo>
                      <a:pt x="43638" y="48335"/>
                    </a:lnTo>
                    <a:lnTo>
                      <a:pt x="42426" y="48941"/>
                    </a:lnTo>
                    <a:lnTo>
                      <a:pt x="37577" y="47578"/>
                    </a:lnTo>
                    <a:lnTo>
                      <a:pt x="31668" y="47729"/>
                    </a:lnTo>
                    <a:lnTo>
                      <a:pt x="30152" y="49244"/>
                    </a:lnTo>
                    <a:lnTo>
                      <a:pt x="37577" y="51972"/>
                    </a:lnTo>
                    <a:lnTo>
                      <a:pt x="37880" y="52578"/>
                    </a:lnTo>
                    <a:lnTo>
                      <a:pt x="37880" y="53941"/>
                    </a:lnTo>
                    <a:lnTo>
                      <a:pt x="38183" y="55457"/>
                    </a:lnTo>
                    <a:lnTo>
                      <a:pt x="45456" y="59245"/>
                    </a:lnTo>
                    <a:lnTo>
                      <a:pt x="47577" y="61214"/>
                    </a:lnTo>
                    <a:lnTo>
                      <a:pt x="51972" y="64245"/>
                    </a:lnTo>
                    <a:lnTo>
                      <a:pt x="53183" y="65912"/>
                    </a:lnTo>
                    <a:lnTo>
                      <a:pt x="57275" y="67881"/>
                    </a:lnTo>
                    <a:lnTo>
                      <a:pt x="60305" y="69851"/>
                    </a:lnTo>
                    <a:lnTo>
                      <a:pt x="63790" y="71518"/>
                    </a:lnTo>
                    <a:lnTo>
                      <a:pt x="67881" y="74094"/>
                    </a:lnTo>
                    <a:lnTo>
                      <a:pt x="73336" y="76063"/>
                    </a:lnTo>
                    <a:lnTo>
                      <a:pt x="77881" y="76669"/>
                    </a:lnTo>
                    <a:lnTo>
                      <a:pt x="89397" y="80154"/>
                    </a:lnTo>
                    <a:lnTo>
                      <a:pt x="91367" y="81215"/>
                    </a:lnTo>
                    <a:lnTo>
                      <a:pt x="94700" y="83639"/>
                    </a:lnTo>
                    <a:lnTo>
                      <a:pt x="98034" y="86367"/>
                    </a:lnTo>
                    <a:lnTo>
                      <a:pt x="100307" y="92125"/>
                    </a:lnTo>
                    <a:lnTo>
                      <a:pt x="104095" y="92428"/>
                    </a:lnTo>
                    <a:lnTo>
                      <a:pt x="105155" y="94397"/>
                    </a:lnTo>
                    <a:lnTo>
                      <a:pt x="108337" y="97731"/>
                    </a:lnTo>
                    <a:lnTo>
                      <a:pt x="112883" y="100761"/>
                    </a:lnTo>
                    <a:lnTo>
                      <a:pt x="112731" y="101822"/>
                    </a:lnTo>
                    <a:lnTo>
                      <a:pt x="109095" y="104549"/>
                    </a:lnTo>
                    <a:lnTo>
                      <a:pt x="108640" y="108186"/>
                    </a:lnTo>
                    <a:lnTo>
                      <a:pt x="108943" y="112883"/>
                    </a:lnTo>
                    <a:lnTo>
                      <a:pt x="110004" y="116671"/>
                    </a:lnTo>
                    <a:lnTo>
                      <a:pt x="109853" y="117732"/>
                    </a:lnTo>
                    <a:lnTo>
                      <a:pt x="108943" y="119095"/>
                    </a:lnTo>
                    <a:lnTo>
                      <a:pt x="107883" y="121217"/>
                    </a:lnTo>
                    <a:lnTo>
                      <a:pt x="107428" y="123035"/>
                    </a:lnTo>
                    <a:lnTo>
                      <a:pt x="107579" y="123944"/>
                    </a:lnTo>
                    <a:lnTo>
                      <a:pt x="107883" y="124399"/>
                    </a:lnTo>
                    <a:lnTo>
                      <a:pt x="109701" y="124399"/>
                    </a:lnTo>
                    <a:lnTo>
                      <a:pt x="113034" y="124853"/>
                    </a:lnTo>
                    <a:lnTo>
                      <a:pt x="115004" y="125611"/>
                    </a:lnTo>
                    <a:lnTo>
                      <a:pt x="116065" y="130005"/>
                    </a:lnTo>
                    <a:lnTo>
                      <a:pt x="115610" y="130914"/>
                    </a:lnTo>
                    <a:lnTo>
                      <a:pt x="112731" y="132884"/>
                    </a:lnTo>
                    <a:lnTo>
                      <a:pt x="111822" y="134399"/>
                    </a:lnTo>
                    <a:lnTo>
                      <a:pt x="111671" y="136672"/>
                    </a:lnTo>
                    <a:lnTo>
                      <a:pt x="112125" y="139248"/>
                    </a:lnTo>
                    <a:lnTo>
                      <a:pt x="113034" y="142126"/>
                    </a:lnTo>
                    <a:lnTo>
                      <a:pt x="115307" y="145157"/>
                    </a:lnTo>
                    <a:lnTo>
                      <a:pt x="118338" y="148339"/>
                    </a:lnTo>
                    <a:lnTo>
                      <a:pt x="120308" y="150915"/>
                    </a:lnTo>
                    <a:lnTo>
                      <a:pt x="121217" y="152733"/>
                    </a:lnTo>
                    <a:lnTo>
                      <a:pt x="121519" y="153945"/>
                    </a:lnTo>
                    <a:lnTo>
                      <a:pt x="120156" y="155612"/>
                    </a:lnTo>
                    <a:lnTo>
                      <a:pt x="118943" y="158794"/>
                    </a:lnTo>
                    <a:lnTo>
                      <a:pt x="118792" y="162430"/>
                    </a:lnTo>
                    <a:lnTo>
                      <a:pt x="118186" y="164855"/>
                    </a:lnTo>
                    <a:lnTo>
                      <a:pt x="115459" y="168036"/>
                    </a:lnTo>
                    <a:lnTo>
                      <a:pt x="113641" y="169249"/>
                    </a:lnTo>
                    <a:lnTo>
                      <a:pt x="113186" y="170915"/>
                    </a:lnTo>
                    <a:lnTo>
                      <a:pt x="113034" y="173794"/>
                    </a:lnTo>
                    <a:lnTo>
                      <a:pt x="113641" y="177279"/>
                    </a:lnTo>
                    <a:lnTo>
                      <a:pt x="113792" y="179704"/>
                    </a:lnTo>
                    <a:lnTo>
                      <a:pt x="114398" y="181370"/>
                    </a:lnTo>
                    <a:lnTo>
                      <a:pt x="115155" y="182431"/>
                    </a:lnTo>
                    <a:lnTo>
                      <a:pt x="119398" y="184401"/>
                    </a:lnTo>
                    <a:lnTo>
                      <a:pt x="121822" y="188340"/>
                    </a:lnTo>
                    <a:lnTo>
                      <a:pt x="123338" y="191522"/>
                    </a:lnTo>
                    <a:lnTo>
                      <a:pt x="126217" y="199856"/>
                    </a:lnTo>
                    <a:lnTo>
                      <a:pt x="128489" y="199553"/>
                    </a:lnTo>
                    <a:lnTo>
                      <a:pt x="133035" y="201068"/>
                    </a:lnTo>
                    <a:lnTo>
                      <a:pt x="136520" y="199250"/>
                    </a:lnTo>
                    <a:lnTo>
                      <a:pt x="138187" y="197583"/>
                    </a:lnTo>
                    <a:lnTo>
                      <a:pt x="139248" y="197583"/>
                    </a:lnTo>
                    <a:lnTo>
                      <a:pt x="139096" y="198795"/>
                    </a:lnTo>
                    <a:lnTo>
                      <a:pt x="137884" y="202129"/>
                    </a:lnTo>
                    <a:lnTo>
                      <a:pt x="140460" y="206068"/>
                    </a:lnTo>
                    <a:lnTo>
                      <a:pt x="142884" y="206674"/>
                    </a:lnTo>
                    <a:lnTo>
                      <a:pt x="145005" y="206523"/>
                    </a:lnTo>
                    <a:lnTo>
                      <a:pt x="156066" y="211674"/>
                    </a:lnTo>
                    <a:lnTo>
                      <a:pt x="158945" y="214705"/>
                    </a:lnTo>
                    <a:lnTo>
                      <a:pt x="157884" y="220311"/>
                    </a:lnTo>
                    <a:lnTo>
                      <a:pt x="157582" y="225160"/>
                    </a:lnTo>
                    <a:lnTo>
                      <a:pt x="156369" y="229554"/>
                    </a:lnTo>
                    <a:lnTo>
                      <a:pt x="158642" y="231524"/>
                    </a:lnTo>
                    <a:lnTo>
                      <a:pt x="159248" y="233039"/>
                    </a:lnTo>
                    <a:lnTo>
                      <a:pt x="159551" y="235463"/>
                    </a:lnTo>
                    <a:lnTo>
                      <a:pt x="156824" y="236524"/>
                    </a:lnTo>
                    <a:lnTo>
                      <a:pt x="155612" y="238039"/>
                    </a:lnTo>
                    <a:lnTo>
                      <a:pt x="157127" y="239554"/>
                    </a:lnTo>
                    <a:lnTo>
                      <a:pt x="157278" y="241979"/>
                    </a:lnTo>
                    <a:lnTo>
                      <a:pt x="155309" y="242282"/>
                    </a:lnTo>
                    <a:lnTo>
                      <a:pt x="153187" y="241372"/>
                    </a:lnTo>
                    <a:lnTo>
                      <a:pt x="148490" y="241069"/>
                    </a:lnTo>
                    <a:lnTo>
                      <a:pt x="143187" y="242433"/>
                    </a:lnTo>
                    <a:lnTo>
                      <a:pt x="140762" y="244403"/>
                    </a:lnTo>
                    <a:lnTo>
                      <a:pt x="138035" y="244706"/>
                    </a:lnTo>
                    <a:lnTo>
                      <a:pt x="137278" y="247433"/>
                    </a:lnTo>
                    <a:lnTo>
                      <a:pt x="134853" y="250009"/>
                    </a:lnTo>
                    <a:lnTo>
                      <a:pt x="130459" y="257282"/>
                    </a:lnTo>
                    <a:lnTo>
                      <a:pt x="123489" y="263040"/>
                    </a:lnTo>
                    <a:lnTo>
                      <a:pt x="120762" y="267889"/>
                    </a:lnTo>
                    <a:lnTo>
                      <a:pt x="119095" y="268646"/>
                    </a:lnTo>
                    <a:lnTo>
                      <a:pt x="113337" y="274101"/>
                    </a:lnTo>
                    <a:lnTo>
                      <a:pt x="111822" y="278192"/>
                    </a:lnTo>
                    <a:lnTo>
                      <a:pt x="108943" y="278495"/>
                    </a:lnTo>
                    <a:lnTo>
                      <a:pt x="102277" y="284556"/>
                    </a:lnTo>
                    <a:lnTo>
                      <a:pt x="99094" y="285920"/>
                    </a:lnTo>
                    <a:lnTo>
                      <a:pt x="95761" y="287738"/>
                    </a:lnTo>
                    <a:lnTo>
                      <a:pt x="88639" y="293799"/>
                    </a:lnTo>
                    <a:lnTo>
                      <a:pt x="82579" y="295314"/>
                    </a:lnTo>
                    <a:lnTo>
                      <a:pt x="82427" y="298193"/>
                    </a:lnTo>
                    <a:lnTo>
                      <a:pt x="78942" y="301981"/>
                    </a:lnTo>
                    <a:lnTo>
                      <a:pt x="76669" y="301526"/>
                    </a:lnTo>
                    <a:lnTo>
                      <a:pt x="76518" y="302890"/>
                    </a:lnTo>
                    <a:lnTo>
                      <a:pt x="77427" y="304254"/>
                    </a:lnTo>
                    <a:lnTo>
                      <a:pt x="75457" y="303647"/>
                    </a:lnTo>
                    <a:lnTo>
                      <a:pt x="74700" y="304405"/>
                    </a:lnTo>
                    <a:lnTo>
                      <a:pt x="75912" y="306981"/>
                    </a:lnTo>
                    <a:lnTo>
                      <a:pt x="76821" y="308345"/>
                    </a:lnTo>
                    <a:lnTo>
                      <a:pt x="76972" y="309860"/>
                    </a:lnTo>
                    <a:lnTo>
                      <a:pt x="71518" y="312739"/>
                    </a:lnTo>
                    <a:lnTo>
                      <a:pt x="65305" y="314254"/>
                    </a:lnTo>
                    <a:lnTo>
                      <a:pt x="62729" y="313042"/>
                    </a:lnTo>
                    <a:lnTo>
                      <a:pt x="55760" y="314557"/>
                    </a:lnTo>
                    <a:lnTo>
                      <a:pt x="55911" y="316678"/>
                    </a:lnTo>
                    <a:lnTo>
                      <a:pt x="56517" y="318497"/>
                    </a:lnTo>
                    <a:lnTo>
                      <a:pt x="58790" y="321678"/>
                    </a:lnTo>
                    <a:lnTo>
                      <a:pt x="53941" y="321981"/>
                    </a:lnTo>
                    <a:lnTo>
                      <a:pt x="53487" y="325618"/>
                    </a:lnTo>
                    <a:lnTo>
                      <a:pt x="46365" y="332436"/>
                    </a:lnTo>
                    <a:lnTo>
                      <a:pt x="45002" y="334558"/>
                    </a:lnTo>
                    <a:lnTo>
                      <a:pt x="44244" y="336679"/>
                    </a:lnTo>
                    <a:lnTo>
                      <a:pt x="43789" y="339558"/>
                    </a:lnTo>
                    <a:lnTo>
                      <a:pt x="44850" y="344103"/>
                    </a:lnTo>
                    <a:lnTo>
                      <a:pt x="45456" y="348346"/>
                    </a:lnTo>
                    <a:lnTo>
                      <a:pt x="49699" y="351377"/>
                    </a:lnTo>
                    <a:lnTo>
                      <a:pt x="50305" y="354104"/>
                    </a:lnTo>
                    <a:lnTo>
                      <a:pt x="50608" y="356377"/>
                    </a:lnTo>
                    <a:lnTo>
                      <a:pt x="49244" y="361074"/>
                    </a:lnTo>
                    <a:lnTo>
                      <a:pt x="48032" y="366225"/>
                    </a:lnTo>
                    <a:lnTo>
                      <a:pt x="51517" y="369407"/>
                    </a:lnTo>
                    <a:lnTo>
                      <a:pt x="53790" y="373801"/>
                    </a:lnTo>
                    <a:lnTo>
                      <a:pt x="55911" y="378347"/>
                    </a:lnTo>
                    <a:lnTo>
                      <a:pt x="56062" y="379862"/>
                    </a:lnTo>
                    <a:lnTo>
                      <a:pt x="57578" y="383044"/>
                    </a:lnTo>
                    <a:lnTo>
                      <a:pt x="57426" y="383650"/>
                    </a:lnTo>
                    <a:lnTo>
                      <a:pt x="57275" y="384105"/>
                    </a:lnTo>
                    <a:lnTo>
                      <a:pt x="55305" y="384105"/>
                    </a:lnTo>
                    <a:lnTo>
                      <a:pt x="54699" y="384711"/>
                    </a:lnTo>
                    <a:lnTo>
                      <a:pt x="55456" y="385923"/>
                    </a:lnTo>
                    <a:lnTo>
                      <a:pt x="56214" y="386529"/>
                    </a:lnTo>
                    <a:lnTo>
                      <a:pt x="56517" y="387590"/>
                    </a:lnTo>
                    <a:lnTo>
                      <a:pt x="54850" y="387590"/>
                    </a:lnTo>
                    <a:lnTo>
                      <a:pt x="54699" y="388802"/>
                    </a:lnTo>
                    <a:lnTo>
                      <a:pt x="55305" y="390620"/>
                    </a:lnTo>
                    <a:lnTo>
                      <a:pt x="55153" y="396075"/>
                    </a:lnTo>
                    <a:lnTo>
                      <a:pt x="54244" y="400621"/>
                    </a:lnTo>
                    <a:lnTo>
                      <a:pt x="53487" y="402439"/>
                    </a:lnTo>
                    <a:lnTo>
                      <a:pt x="51517" y="405318"/>
                    </a:lnTo>
                    <a:lnTo>
                      <a:pt x="51062" y="409106"/>
                    </a:lnTo>
                    <a:lnTo>
                      <a:pt x="51517" y="413955"/>
                    </a:lnTo>
                    <a:lnTo>
                      <a:pt x="52274" y="417440"/>
                    </a:lnTo>
                    <a:lnTo>
                      <a:pt x="52426" y="420318"/>
                    </a:lnTo>
                    <a:lnTo>
                      <a:pt x="52426" y="422743"/>
                    </a:lnTo>
                    <a:lnTo>
                      <a:pt x="53183" y="424409"/>
                    </a:lnTo>
                    <a:lnTo>
                      <a:pt x="55760" y="425470"/>
                    </a:lnTo>
                    <a:lnTo>
                      <a:pt x="58032" y="427137"/>
                    </a:lnTo>
                    <a:lnTo>
                      <a:pt x="61214" y="425016"/>
                    </a:lnTo>
                    <a:lnTo>
                      <a:pt x="63336" y="424561"/>
                    </a:lnTo>
                    <a:lnTo>
                      <a:pt x="64699" y="428197"/>
                    </a:lnTo>
                    <a:lnTo>
                      <a:pt x="66820" y="428349"/>
                    </a:lnTo>
                    <a:lnTo>
                      <a:pt x="75609" y="432440"/>
                    </a:lnTo>
                    <a:lnTo>
                      <a:pt x="82730" y="433501"/>
                    </a:lnTo>
                    <a:lnTo>
                      <a:pt x="83791" y="433198"/>
                    </a:lnTo>
                    <a:lnTo>
                      <a:pt x="84397" y="433349"/>
                    </a:lnTo>
                    <a:lnTo>
                      <a:pt x="84094" y="434258"/>
                    </a:lnTo>
                    <a:lnTo>
                      <a:pt x="82427" y="437440"/>
                    </a:lnTo>
                    <a:lnTo>
                      <a:pt x="82579" y="438198"/>
                    </a:lnTo>
                    <a:lnTo>
                      <a:pt x="84548" y="438501"/>
                    </a:lnTo>
                    <a:lnTo>
                      <a:pt x="84548" y="439562"/>
                    </a:lnTo>
                    <a:lnTo>
                      <a:pt x="83791" y="440471"/>
                    </a:lnTo>
                    <a:lnTo>
                      <a:pt x="82427" y="440774"/>
                    </a:lnTo>
                    <a:lnTo>
                      <a:pt x="81215" y="440622"/>
                    </a:lnTo>
                    <a:lnTo>
                      <a:pt x="80457" y="442440"/>
                    </a:lnTo>
                    <a:lnTo>
                      <a:pt x="81215" y="442895"/>
                    </a:lnTo>
                    <a:lnTo>
                      <a:pt x="80306" y="445168"/>
                    </a:lnTo>
                    <a:lnTo>
                      <a:pt x="80306" y="445925"/>
                    </a:lnTo>
                    <a:lnTo>
                      <a:pt x="80912" y="447744"/>
                    </a:lnTo>
                    <a:lnTo>
                      <a:pt x="85912" y="447744"/>
                    </a:lnTo>
                    <a:lnTo>
                      <a:pt x="87276" y="447289"/>
                    </a:lnTo>
                    <a:lnTo>
                      <a:pt x="88639" y="446531"/>
                    </a:lnTo>
                    <a:lnTo>
                      <a:pt x="89852" y="445774"/>
                    </a:lnTo>
                    <a:lnTo>
                      <a:pt x="90609" y="444713"/>
                    </a:lnTo>
                    <a:lnTo>
                      <a:pt x="91367" y="441228"/>
                    </a:lnTo>
                    <a:lnTo>
                      <a:pt x="91973" y="440016"/>
                    </a:lnTo>
                    <a:lnTo>
                      <a:pt x="93185" y="440319"/>
                    </a:lnTo>
                    <a:lnTo>
                      <a:pt x="95458" y="444865"/>
                    </a:lnTo>
                    <a:lnTo>
                      <a:pt x="97882" y="446986"/>
                    </a:lnTo>
                    <a:lnTo>
                      <a:pt x="99700" y="447289"/>
                    </a:lnTo>
                    <a:lnTo>
                      <a:pt x="101064" y="448047"/>
                    </a:lnTo>
                    <a:lnTo>
                      <a:pt x="100761" y="450016"/>
                    </a:lnTo>
                    <a:lnTo>
                      <a:pt x="98791" y="452441"/>
                    </a:lnTo>
                    <a:lnTo>
                      <a:pt x="95912" y="454259"/>
                    </a:lnTo>
                    <a:lnTo>
                      <a:pt x="94700" y="455926"/>
                    </a:lnTo>
                    <a:lnTo>
                      <a:pt x="96215" y="456380"/>
                    </a:lnTo>
                    <a:lnTo>
                      <a:pt x="100610" y="455168"/>
                    </a:lnTo>
                    <a:lnTo>
                      <a:pt x="104549" y="451835"/>
                    </a:lnTo>
                    <a:lnTo>
                      <a:pt x="108337" y="449410"/>
                    </a:lnTo>
                    <a:lnTo>
                      <a:pt x="111822" y="450168"/>
                    </a:lnTo>
                    <a:lnTo>
                      <a:pt x="115307" y="450319"/>
                    </a:lnTo>
                    <a:lnTo>
                      <a:pt x="123641" y="448501"/>
                    </a:lnTo>
                    <a:lnTo>
                      <a:pt x="132277" y="447138"/>
                    </a:lnTo>
                    <a:lnTo>
                      <a:pt x="135156" y="448047"/>
                    </a:lnTo>
                    <a:lnTo>
                      <a:pt x="137126" y="446986"/>
                    </a:lnTo>
                    <a:lnTo>
                      <a:pt x="139399" y="444259"/>
                    </a:lnTo>
                    <a:lnTo>
                      <a:pt x="146217" y="442440"/>
                    </a:lnTo>
                    <a:lnTo>
                      <a:pt x="149248" y="442440"/>
                    </a:lnTo>
                    <a:lnTo>
                      <a:pt x="154703" y="440925"/>
                    </a:lnTo>
                    <a:lnTo>
                      <a:pt x="157733" y="438652"/>
                    </a:lnTo>
                    <a:lnTo>
                      <a:pt x="162885" y="438198"/>
                    </a:lnTo>
                    <a:lnTo>
                      <a:pt x="165460" y="436531"/>
                    </a:lnTo>
                    <a:lnTo>
                      <a:pt x="168491" y="435319"/>
                    </a:lnTo>
                    <a:lnTo>
                      <a:pt x="170158" y="438046"/>
                    </a:lnTo>
                    <a:lnTo>
                      <a:pt x="171370" y="438046"/>
                    </a:lnTo>
                    <a:lnTo>
                      <a:pt x="173794" y="436077"/>
                    </a:lnTo>
                    <a:lnTo>
                      <a:pt x="176522" y="434713"/>
                    </a:lnTo>
                    <a:lnTo>
                      <a:pt x="178946" y="434864"/>
                    </a:lnTo>
                    <a:lnTo>
                      <a:pt x="179097" y="433652"/>
                    </a:lnTo>
                    <a:lnTo>
                      <a:pt x="178188" y="431379"/>
                    </a:lnTo>
                    <a:lnTo>
                      <a:pt x="176824" y="429410"/>
                    </a:lnTo>
                    <a:lnTo>
                      <a:pt x="178946" y="429410"/>
                    </a:lnTo>
                    <a:lnTo>
                      <a:pt x="183491" y="432288"/>
                    </a:lnTo>
                    <a:lnTo>
                      <a:pt x="188189" y="431531"/>
                    </a:lnTo>
                    <a:lnTo>
                      <a:pt x="190310" y="429713"/>
                    </a:lnTo>
                    <a:lnTo>
                      <a:pt x="191370" y="426228"/>
                    </a:lnTo>
                    <a:lnTo>
                      <a:pt x="193340" y="423197"/>
                    </a:lnTo>
                    <a:lnTo>
                      <a:pt x="194401" y="423046"/>
                    </a:lnTo>
                    <a:lnTo>
                      <a:pt x="193946" y="424561"/>
                    </a:lnTo>
                    <a:lnTo>
                      <a:pt x="192583" y="426682"/>
                    </a:lnTo>
                    <a:lnTo>
                      <a:pt x="191674" y="429713"/>
                    </a:lnTo>
                    <a:lnTo>
                      <a:pt x="192128" y="432137"/>
                    </a:lnTo>
                    <a:lnTo>
                      <a:pt x="194098" y="431076"/>
                    </a:lnTo>
                    <a:lnTo>
                      <a:pt x="197280" y="430319"/>
                    </a:lnTo>
                    <a:lnTo>
                      <a:pt x="203492" y="429713"/>
                    </a:lnTo>
                    <a:lnTo>
                      <a:pt x="206826" y="427440"/>
                    </a:lnTo>
                    <a:lnTo>
                      <a:pt x="210310" y="426682"/>
                    </a:lnTo>
                    <a:lnTo>
                      <a:pt x="211371" y="426834"/>
                    </a:lnTo>
                    <a:lnTo>
                      <a:pt x="217432" y="429864"/>
                    </a:lnTo>
                    <a:lnTo>
                      <a:pt x="219099" y="428804"/>
                    </a:lnTo>
                    <a:lnTo>
                      <a:pt x="223039" y="428500"/>
                    </a:lnTo>
                    <a:lnTo>
                      <a:pt x="225614" y="427137"/>
                    </a:lnTo>
                    <a:lnTo>
                      <a:pt x="226675" y="426985"/>
                    </a:lnTo>
                    <a:lnTo>
                      <a:pt x="236372" y="418349"/>
                    </a:lnTo>
                    <a:lnTo>
                      <a:pt x="243342" y="412136"/>
                    </a:lnTo>
                    <a:lnTo>
                      <a:pt x="244706" y="411227"/>
                    </a:lnTo>
                    <a:lnTo>
                      <a:pt x="247736" y="409560"/>
                    </a:lnTo>
                    <a:lnTo>
                      <a:pt x="250312" y="407742"/>
                    </a:lnTo>
                    <a:lnTo>
                      <a:pt x="252433" y="405469"/>
                    </a:lnTo>
                    <a:lnTo>
                      <a:pt x="259403" y="400924"/>
                    </a:lnTo>
                    <a:lnTo>
                      <a:pt x="266525" y="395924"/>
                    </a:lnTo>
                    <a:lnTo>
                      <a:pt x="273040" y="389408"/>
                    </a:lnTo>
                    <a:lnTo>
                      <a:pt x="275465" y="387287"/>
                    </a:lnTo>
                    <a:lnTo>
                      <a:pt x="278495" y="385014"/>
                    </a:lnTo>
                    <a:lnTo>
                      <a:pt x="285162" y="378044"/>
                    </a:lnTo>
                    <a:lnTo>
                      <a:pt x="287283" y="376074"/>
                    </a:lnTo>
                    <a:lnTo>
                      <a:pt x="295466" y="367286"/>
                    </a:lnTo>
                    <a:lnTo>
                      <a:pt x="300163" y="362892"/>
                    </a:lnTo>
                    <a:lnTo>
                      <a:pt x="302587" y="360316"/>
                    </a:lnTo>
                    <a:lnTo>
                      <a:pt x="312739" y="351983"/>
                    </a:lnTo>
                    <a:lnTo>
                      <a:pt x="319557" y="345316"/>
                    </a:lnTo>
                    <a:lnTo>
                      <a:pt x="322285" y="341679"/>
                    </a:lnTo>
                    <a:lnTo>
                      <a:pt x="324861" y="336376"/>
                    </a:lnTo>
                    <a:lnTo>
                      <a:pt x="326375" y="332739"/>
                    </a:lnTo>
                    <a:lnTo>
                      <a:pt x="328951" y="328042"/>
                    </a:lnTo>
                    <a:lnTo>
                      <a:pt x="328951" y="326527"/>
                    </a:lnTo>
                    <a:lnTo>
                      <a:pt x="328194" y="325163"/>
                    </a:lnTo>
                    <a:close/>
                    <a:moveTo>
                      <a:pt x="145914" y="236221"/>
                    </a:moveTo>
                    <a:lnTo>
                      <a:pt x="147127" y="234706"/>
                    </a:lnTo>
                    <a:lnTo>
                      <a:pt x="150005" y="234100"/>
                    </a:lnTo>
                    <a:lnTo>
                      <a:pt x="149248" y="233342"/>
                    </a:lnTo>
                    <a:lnTo>
                      <a:pt x="144248" y="231978"/>
                    </a:lnTo>
                    <a:lnTo>
                      <a:pt x="140611" y="232584"/>
                    </a:lnTo>
                    <a:lnTo>
                      <a:pt x="138641" y="233948"/>
                    </a:lnTo>
                    <a:lnTo>
                      <a:pt x="138641" y="236827"/>
                    </a:lnTo>
                    <a:lnTo>
                      <a:pt x="141975" y="237736"/>
                    </a:lnTo>
                    <a:lnTo>
                      <a:pt x="145914" y="236221"/>
                    </a:lnTo>
                    <a:close/>
                    <a:moveTo>
                      <a:pt x="79397" y="436683"/>
                    </a:moveTo>
                    <a:lnTo>
                      <a:pt x="77730" y="434561"/>
                    </a:lnTo>
                    <a:lnTo>
                      <a:pt x="76215" y="434864"/>
                    </a:lnTo>
                    <a:lnTo>
                      <a:pt x="72730" y="433804"/>
                    </a:lnTo>
                    <a:lnTo>
                      <a:pt x="71366" y="434410"/>
                    </a:lnTo>
                    <a:lnTo>
                      <a:pt x="70912" y="436077"/>
                    </a:lnTo>
                    <a:lnTo>
                      <a:pt x="70003" y="437289"/>
                    </a:lnTo>
                    <a:lnTo>
                      <a:pt x="71669" y="438198"/>
                    </a:lnTo>
                    <a:lnTo>
                      <a:pt x="73033" y="439410"/>
                    </a:lnTo>
                    <a:lnTo>
                      <a:pt x="73639" y="441077"/>
                    </a:lnTo>
                    <a:lnTo>
                      <a:pt x="75003" y="442289"/>
                    </a:lnTo>
                    <a:lnTo>
                      <a:pt x="77730" y="442289"/>
                    </a:lnTo>
                    <a:lnTo>
                      <a:pt x="77275" y="440774"/>
                    </a:lnTo>
                    <a:lnTo>
                      <a:pt x="76215" y="439713"/>
                    </a:lnTo>
                    <a:lnTo>
                      <a:pt x="76366" y="438046"/>
                    </a:lnTo>
                    <a:lnTo>
                      <a:pt x="79397" y="436683"/>
                    </a:lnTo>
                    <a:close/>
                    <a:moveTo>
                      <a:pt x="30001" y="447441"/>
                    </a:moveTo>
                    <a:lnTo>
                      <a:pt x="29850" y="448350"/>
                    </a:lnTo>
                    <a:lnTo>
                      <a:pt x="27576" y="448501"/>
                    </a:lnTo>
                    <a:lnTo>
                      <a:pt x="26667" y="447592"/>
                    </a:lnTo>
                    <a:lnTo>
                      <a:pt x="24546" y="447744"/>
                    </a:lnTo>
                    <a:lnTo>
                      <a:pt x="24243" y="447289"/>
                    </a:lnTo>
                    <a:lnTo>
                      <a:pt x="25152" y="446380"/>
                    </a:lnTo>
                    <a:lnTo>
                      <a:pt x="26819" y="445774"/>
                    </a:lnTo>
                    <a:lnTo>
                      <a:pt x="28940" y="445925"/>
                    </a:lnTo>
                    <a:lnTo>
                      <a:pt x="30001" y="447441"/>
                    </a:lnTo>
                    <a:close/>
                    <a:moveTo>
                      <a:pt x="3939" y="441380"/>
                    </a:moveTo>
                    <a:lnTo>
                      <a:pt x="4091" y="442289"/>
                    </a:lnTo>
                    <a:lnTo>
                      <a:pt x="3030" y="441986"/>
                    </a:lnTo>
                    <a:lnTo>
                      <a:pt x="2273" y="442289"/>
                    </a:lnTo>
                    <a:lnTo>
                      <a:pt x="1667" y="443350"/>
                    </a:lnTo>
                    <a:lnTo>
                      <a:pt x="455" y="442895"/>
                    </a:lnTo>
                    <a:lnTo>
                      <a:pt x="0" y="441228"/>
                    </a:lnTo>
                    <a:lnTo>
                      <a:pt x="909" y="438804"/>
                    </a:lnTo>
                    <a:lnTo>
                      <a:pt x="3030" y="438652"/>
                    </a:lnTo>
                    <a:lnTo>
                      <a:pt x="3939" y="441380"/>
                    </a:lnTo>
                    <a:close/>
                    <a:moveTo>
                      <a:pt x="13031" y="434713"/>
                    </a:moveTo>
                    <a:lnTo>
                      <a:pt x="13940" y="434713"/>
                    </a:lnTo>
                    <a:lnTo>
                      <a:pt x="14243" y="434410"/>
                    </a:lnTo>
                    <a:lnTo>
                      <a:pt x="15758" y="434713"/>
                    </a:lnTo>
                    <a:lnTo>
                      <a:pt x="18031" y="436380"/>
                    </a:lnTo>
                    <a:lnTo>
                      <a:pt x="18486" y="437289"/>
                    </a:lnTo>
                    <a:lnTo>
                      <a:pt x="20000" y="437743"/>
                    </a:lnTo>
                    <a:lnTo>
                      <a:pt x="20455" y="438652"/>
                    </a:lnTo>
                    <a:lnTo>
                      <a:pt x="18637" y="441380"/>
                    </a:lnTo>
                    <a:lnTo>
                      <a:pt x="17576" y="441380"/>
                    </a:lnTo>
                    <a:lnTo>
                      <a:pt x="16819" y="441077"/>
                    </a:lnTo>
                    <a:lnTo>
                      <a:pt x="15455" y="441380"/>
                    </a:lnTo>
                    <a:lnTo>
                      <a:pt x="14546" y="441834"/>
                    </a:lnTo>
                    <a:lnTo>
                      <a:pt x="14243" y="443046"/>
                    </a:lnTo>
                    <a:lnTo>
                      <a:pt x="14243" y="445471"/>
                    </a:lnTo>
                    <a:lnTo>
                      <a:pt x="7879" y="445925"/>
                    </a:lnTo>
                    <a:lnTo>
                      <a:pt x="6364" y="445168"/>
                    </a:lnTo>
                    <a:lnTo>
                      <a:pt x="4394" y="439713"/>
                    </a:lnTo>
                    <a:lnTo>
                      <a:pt x="4848" y="438349"/>
                    </a:lnTo>
                    <a:lnTo>
                      <a:pt x="6212" y="437743"/>
                    </a:lnTo>
                    <a:lnTo>
                      <a:pt x="7424" y="437592"/>
                    </a:lnTo>
                    <a:lnTo>
                      <a:pt x="7576" y="440622"/>
                    </a:lnTo>
                    <a:lnTo>
                      <a:pt x="9243" y="440319"/>
                    </a:lnTo>
                    <a:lnTo>
                      <a:pt x="9849" y="438349"/>
                    </a:lnTo>
                    <a:lnTo>
                      <a:pt x="10000" y="436986"/>
                    </a:lnTo>
                    <a:lnTo>
                      <a:pt x="9545" y="436228"/>
                    </a:lnTo>
                    <a:lnTo>
                      <a:pt x="8333" y="435622"/>
                    </a:lnTo>
                    <a:lnTo>
                      <a:pt x="7727" y="434713"/>
                    </a:lnTo>
                    <a:lnTo>
                      <a:pt x="8636" y="433198"/>
                    </a:lnTo>
                    <a:lnTo>
                      <a:pt x="10455" y="432592"/>
                    </a:lnTo>
                    <a:lnTo>
                      <a:pt x="11970" y="434561"/>
                    </a:lnTo>
                    <a:lnTo>
                      <a:pt x="13031" y="4347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1" name="Freeform: Shape 3290">
                <a:extLst>
                  <a:ext uri="{FF2B5EF4-FFF2-40B4-BE49-F238E27FC236}">
                    <a16:creationId xmlns:a16="http://schemas.microsoft.com/office/drawing/2014/main" id="{60FCEF63-9EC9-4A97-82A0-B6EE5F3863E8}"/>
                  </a:ext>
                </a:extLst>
              </p:cNvPr>
              <p:cNvSpPr/>
              <p:nvPr/>
            </p:nvSpPr>
            <p:spPr>
              <a:xfrm>
                <a:off x="6680112" y="4155463"/>
                <a:ext cx="409863" cy="312587"/>
              </a:xfrm>
              <a:custGeom>
                <a:avLst/>
                <a:gdLst>
                  <a:gd name="connsiteX0" fmla="*/ 400470 w 409863"/>
                  <a:gd name="connsiteY0" fmla="*/ 188795 h 312587"/>
                  <a:gd name="connsiteX1" fmla="*/ 391378 w 409863"/>
                  <a:gd name="connsiteY1" fmla="*/ 188795 h 312587"/>
                  <a:gd name="connsiteX2" fmla="*/ 382439 w 409863"/>
                  <a:gd name="connsiteY2" fmla="*/ 188795 h 312587"/>
                  <a:gd name="connsiteX3" fmla="*/ 380772 w 409863"/>
                  <a:gd name="connsiteY3" fmla="*/ 188037 h 312587"/>
                  <a:gd name="connsiteX4" fmla="*/ 373347 w 409863"/>
                  <a:gd name="connsiteY4" fmla="*/ 185461 h 312587"/>
                  <a:gd name="connsiteX5" fmla="*/ 363802 w 409863"/>
                  <a:gd name="connsiteY5" fmla="*/ 182279 h 312587"/>
                  <a:gd name="connsiteX6" fmla="*/ 351983 w 409863"/>
                  <a:gd name="connsiteY6" fmla="*/ 178340 h 312587"/>
                  <a:gd name="connsiteX7" fmla="*/ 343498 w 409863"/>
                  <a:gd name="connsiteY7" fmla="*/ 175461 h 312587"/>
                  <a:gd name="connsiteX8" fmla="*/ 334558 w 409863"/>
                  <a:gd name="connsiteY8" fmla="*/ 172582 h 312587"/>
                  <a:gd name="connsiteX9" fmla="*/ 325467 w 409863"/>
                  <a:gd name="connsiteY9" fmla="*/ 169552 h 312587"/>
                  <a:gd name="connsiteX10" fmla="*/ 318194 w 409863"/>
                  <a:gd name="connsiteY10" fmla="*/ 167279 h 312587"/>
                  <a:gd name="connsiteX11" fmla="*/ 309254 w 409863"/>
                  <a:gd name="connsiteY11" fmla="*/ 164248 h 312587"/>
                  <a:gd name="connsiteX12" fmla="*/ 301527 w 409863"/>
                  <a:gd name="connsiteY12" fmla="*/ 161673 h 312587"/>
                  <a:gd name="connsiteX13" fmla="*/ 300466 w 409863"/>
                  <a:gd name="connsiteY13" fmla="*/ 161067 h 312587"/>
                  <a:gd name="connsiteX14" fmla="*/ 296223 w 409863"/>
                  <a:gd name="connsiteY14" fmla="*/ 157279 h 312587"/>
                  <a:gd name="connsiteX15" fmla="*/ 290617 w 409863"/>
                  <a:gd name="connsiteY15" fmla="*/ 152127 h 312587"/>
                  <a:gd name="connsiteX16" fmla="*/ 289556 w 409863"/>
                  <a:gd name="connsiteY16" fmla="*/ 151975 h 312587"/>
                  <a:gd name="connsiteX17" fmla="*/ 286829 w 409863"/>
                  <a:gd name="connsiteY17" fmla="*/ 150915 h 312587"/>
                  <a:gd name="connsiteX18" fmla="*/ 284405 w 409863"/>
                  <a:gd name="connsiteY18" fmla="*/ 148187 h 312587"/>
                  <a:gd name="connsiteX19" fmla="*/ 281829 w 409863"/>
                  <a:gd name="connsiteY19" fmla="*/ 144702 h 312587"/>
                  <a:gd name="connsiteX20" fmla="*/ 279556 w 409863"/>
                  <a:gd name="connsiteY20" fmla="*/ 140157 h 312587"/>
                  <a:gd name="connsiteX21" fmla="*/ 278495 w 409863"/>
                  <a:gd name="connsiteY21" fmla="*/ 137278 h 312587"/>
                  <a:gd name="connsiteX22" fmla="*/ 275465 w 409863"/>
                  <a:gd name="connsiteY22" fmla="*/ 135914 h 312587"/>
                  <a:gd name="connsiteX23" fmla="*/ 273950 w 409863"/>
                  <a:gd name="connsiteY23" fmla="*/ 133641 h 312587"/>
                  <a:gd name="connsiteX24" fmla="*/ 271223 w 409863"/>
                  <a:gd name="connsiteY24" fmla="*/ 130005 h 312587"/>
                  <a:gd name="connsiteX25" fmla="*/ 269253 w 409863"/>
                  <a:gd name="connsiteY25" fmla="*/ 128338 h 312587"/>
                  <a:gd name="connsiteX26" fmla="*/ 268495 w 409863"/>
                  <a:gd name="connsiteY26" fmla="*/ 126823 h 312587"/>
                  <a:gd name="connsiteX27" fmla="*/ 267737 w 409863"/>
                  <a:gd name="connsiteY27" fmla="*/ 123792 h 312587"/>
                  <a:gd name="connsiteX28" fmla="*/ 266070 w 409863"/>
                  <a:gd name="connsiteY28" fmla="*/ 120459 h 312587"/>
                  <a:gd name="connsiteX29" fmla="*/ 264556 w 409863"/>
                  <a:gd name="connsiteY29" fmla="*/ 118338 h 312587"/>
                  <a:gd name="connsiteX30" fmla="*/ 264252 w 409863"/>
                  <a:gd name="connsiteY30" fmla="*/ 117429 h 312587"/>
                  <a:gd name="connsiteX31" fmla="*/ 264252 w 409863"/>
                  <a:gd name="connsiteY31" fmla="*/ 116823 h 312587"/>
                  <a:gd name="connsiteX32" fmla="*/ 267131 w 409863"/>
                  <a:gd name="connsiteY32" fmla="*/ 112277 h 312587"/>
                  <a:gd name="connsiteX33" fmla="*/ 268344 w 409863"/>
                  <a:gd name="connsiteY33" fmla="*/ 110610 h 312587"/>
                  <a:gd name="connsiteX34" fmla="*/ 269858 w 409863"/>
                  <a:gd name="connsiteY34" fmla="*/ 109095 h 312587"/>
                  <a:gd name="connsiteX35" fmla="*/ 271071 w 409863"/>
                  <a:gd name="connsiteY35" fmla="*/ 107580 h 312587"/>
                  <a:gd name="connsiteX36" fmla="*/ 271525 w 409863"/>
                  <a:gd name="connsiteY36" fmla="*/ 106519 h 312587"/>
                  <a:gd name="connsiteX37" fmla="*/ 269253 w 409863"/>
                  <a:gd name="connsiteY37" fmla="*/ 106519 h 312587"/>
                  <a:gd name="connsiteX38" fmla="*/ 267586 w 409863"/>
                  <a:gd name="connsiteY38" fmla="*/ 106216 h 312587"/>
                  <a:gd name="connsiteX39" fmla="*/ 266525 w 409863"/>
                  <a:gd name="connsiteY39" fmla="*/ 105307 h 312587"/>
                  <a:gd name="connsiteX40" fmla="*/ 264101 w 409863"/>
                  <a:gd name="connsiteY40" fmla="*/ 104246 h 312587"/>
                  <a:gd name="connsiteX41" fmla="*/ 261525 w 409863"/>
                  <a:gd name="connsiteY41" fmla="*/ 104246 h 312587"/>
                  <a:gd name="connsiteX42" fmla="*/ 258949 w 409863"/>
                  <a:gd name="connsiteY42" fmla="*/ 105155 h 312587"/>
                  <a:gd name="connsiteX43" fmla="*/ 254706 w 409863"/>
                  <a:gd name="connsiteY43" fmla="*/ 106368 h 312587"/>
                  <a:gd name="connsiteX44" fmla="*/ 250767 w 409863"/>
                  <a:gd name="connsiteY44" fmla="*/ 106671 h 312587"/>
                  <a:gd name="connsiteX45" fmla="*/ 247585 w 409863"/>
                  <a:gd name="connsiteY45" fmla="*/ 107277 h 312587"/>
                  <a:gd name="connsiteX46" fmla="*/ 245009 w 409863"/>
                  <a:gd name="connsiteY46" fmla="*/ 108034 h 312587"/>
                  <a:gd name="connsiteX47" fmla="*/ 242737 w 409863"/>
                  <a:gd name="connsiteY47" fmla="*/ 107731 h 312587"/>
                  <a:gd name="connsiteX48" fmla="*/ 240767 w 409863"/>
                  <a:gd name="connsiteY48" fmla="*/ 106974 h 312587"/>
                  <a:gd name="connsiteX49" fmla="*/ 240312 w 409863"/>
                  <a:gd name="connsiteY49" fmla="*/ 101216 h 312587"/>
                  <a:gd name="connsiteX50" fmla="*/ 239858 w 409863"/>
                  <a:gd name="connsiteY50" fmla="*/ 95004 h 312587"/>
                  <a:gd name="connsiteX51" fmla="*/ 239858 w 409863"/>
                  <a:gd name="connsiteY51" fmla="*/ 90155 h 312587"/>
                  <a:gd name="connsiteX52" fmla="*/ 240615 w 409863"/>
                  <a:gd name="connsiteY52" fmla="*/ 87579 h 312587"/>
                  <a:gd name="connsiteX53" fmla="*/ 241221 w 409863"/>
                  <a:gd name="connsiteY53" fmla="*/ 86518 h 312587"/>
                  <a:gd name="connsiteX54" fmla="*/ 244858 w 409863"/>
                  <a:gd name="connsiteY54" fmla="*/ 82882 h 312587"/>
                  <a:gd name="connsiteX55" fmla="*/ 246070 w 409863"/>
                  <a:gd name="connsiteY55" fmla="*/ 81367 h 312587"/>
                  <a:gd name="connsiteX56" fmla="*/ 250313 w 409863"/>
                  <a:gd name="connsiteY56" fmla="*/ 75154 h 312587"/>
                  <a:gd name="connsiteX57" fmla="*/ 253949 w 409863"/>
                  <a:gd name="connsiteY57" fmla="*/ 70002 h 312587"/>
                  <a:gd name="connsiteX58" fmla="*/ 256525 w 409863"/>
                  <a:gd name="connsiteY58" fmla="*/ 66063 h 312587"/>
                  <a:gd name="connsiteX59" fmla="*/ 254101 w 409863"/>
                  <a:gd name="connsiteY59" fmla="*/ 63184 h 312587"/>
                  <a:gd name="connsiteX60" fmla="*/ 252434 w 409863"/>
                  <a:gd name="connsiteY60" fmla="*/ 60608 h 312587"/>
                  <a:gd name="connsiteX61" fmla="*/ 249858 w 409863"/>
                  <a:gd name="connsiteY61" fmla="*/ 57578 h 312587"/>
                  <a:gd name="connsiteX62" fmla="*/ 247434 w 409863"/>
                  <a:gd name="connsiteY62" fmla="*/ 56214 h 312587"/>
                  <a:gd name="connsiteX63" fmla="*/ 244858 w 409863"/>
                  <a:gd name="connsiteY63" fmla="*/ 54548 h 312587"/>
                  <a:gd name="connsiteX64" fmla="*/ 242433 w 409863"/>
                  <a:gd name="connsiteY64" fmla="*/ 50608 h 312587"/>
                  <a:gd name="connsiteX65" fmla="*/ 239858 w 409863"/>
                  <a:gd name="connsiteY65" fmla="*/ 46214 h 312587"/>
                  <a:gd name="connsiteX66" fmla="*/ 235918 w 409863"/>
                  <a:gd name="connsiteY66" fmla="*/ 42577 h 312587"/>
                  <a:gd name="connsiteX67" fmla="*/ 228796 w 409863"/>
                  <a:gd name="connsiteY67" fmla="*/ 37426 h 312587"/>
                  <a:gd name="connsiteX68" fmla="*/ 222281 w 409863"/>
                  <a:gd name="connsiteY68" fmla="*/ 30910 h 312587"/>
                  <a:gd name="connsiteX69" fmla="*/ 217130 w 409863"/>
                  <a:gd name="connsiteY69" fmla="*/ 24092 h 312587"/>
                  <a:gd name="connsiteX70" fmla="*/ 213948 w 409863"/>
                  <a:gd name="connsiteY70" fmla="*/ 20455 h 312587"/>
                  <a:gd name="connsiteX71" fmla="*/ 212584 w 409863"/>
                  <a:gd name="connsiteY71" fmla="*/ 19546 h 312587"/>
                  <a:gd name="connsiteX72" fmla="*/ 205917 w 409863"/>
                  <a:gd name="connsiteY72" fmla="*/ 17425 h 312587"/>
                  <a:gd name="connsiteX73" fmla="*/ 201220 w 409863"/>
                  <a:gd name="connsiteY73" fmla="*/ 14243 h 312587"/>
                  <a:gd name="connsiteX74" fmla="*/ 197583 w 409863"/>
                  <a:gd name="connsiteY74" fmla="*/ 11667 h 312587"/>
                  <a:gd name="connsiteX75" fmla="*/ 195311 w 409863"/>
                  <a:gd name="connsiteY75" fmla="*/ 10910 h 312587"/>
                  <a:gd name="connsiteX76" fmla="*/ 193189 w 409863"/>
                  <a:gd name="connsiteY76" fmla="*/ 10910 h 312587"/>
                  <a:gd name="connsiteX77" fmla="*/ 188644 w 409863"/>
                  <a:gd name="connsiteY77" fmla="*/ 11364 h 312587"/>
                  <a:gd name="connsiteX78" fmla="*/ 184856 w 409863"/>
                  <a:gd name="connsiteY78" fmla="*/ 9697 h 312587"/>
                  <a:gd name="connsiteX79" fmla="*/ 183189 w 409863"/>
                  <a:gd name="connsiteY79" fmla="*/ 9697 h 312587"/>
                  <a:gd name="connsiteX80" fmla="*/ 180765 w 409863"/>
                  <a:gd name="connsiteY80" fmla="*/ 9243 h 312587"/>
                  <a:gd name="connsiteX81" fmla="*/ 178643 w 409863"/>
                  <a:gd name="connsiteY81" fmla="*/ 8788 h 312587"/>
                  <a:gd name="connsiteX82" fmla="*/ 176370 w 409863"/>
                  <a:gd name="connsiteY82" fmla="*/ 9394 h 312587"/>
                  <a:gd name="connsiteX83" fmla="*/ 171522 w 409863"/>
                  <a:gd name="connsiteY83" fmla="*/ 10606 h 312587"/>
                  <a:gd name="connsiteX84" fmla="*/ 169552 w 409863"/>
                  <a:gd name="connsiteY84" fmla="*/ 10304 h 312587"/>
                  <a:gd name="connsiteX85" fmla="*/ 168491 w 409863"/>
                  <a:gd name="connsiteY85" fmla="*/ 8637 h 312587"/>
                  <a:gd name="connsiteX86" fmla="*/ 167885 w 409863"/>
                  <a:gd name="connsiteY86" fmla="*/ 7425 h 312587"/>
                  <a:gd name="connsiteX87" fmla="*/ 166218 w 409863"/>
                  <a:gd name="connsiteY87" fmla="*/ 6212 h 312587"/>
                  <a:gd name="connsiteX88" fmla="*/ 164855 w 409863"/>
                  <a:gd name="connsiteY88" fmla="*/ 6212 h 312587"/>
                  <a:gd name="connsiteX89" fmla="*/ 164097 w 409863"/>
                  <a:gd name="connsiteY89" fmla="*/ 7273 h 312587"/>
                  <a:gd name="connsiteX90" fmla="*/ 158946 w 409863"/>
                  <a:gd name="connsiteY90" fmla="*/ 10304 h 312587"/>
                  <a:gd name="connsiteX91" fmla="*/ 150612 w 409863"/>
                  <a:gd name="connsiteY91" fmla="*/ 11819 h 312587"/>
                  <a:gd name="connsiteX92" fmla="*/ 148642 w 409863"/>
                  <a:gd name="connsiteY92" fmla="*/ 11667 h 312587"/>
                  <a:gd name="connsiteX93" fmla="*/ 147127 w 409863"/>
                  <a:gd name="connsiteY93" fmla="*/ 10606 h 312587"/>
                  <a:gd name="connsiteX94" fmla="*/ 142884 w 409863"/>
                  <a:gd name="connsiteY94" fmla="*/ 5606 h 312587"/>
                  <a:gd name="connsiteX95" fmla="*/ 141672 w 409863"/>
                  <a:gd name="connsiteY95" fmla="*/ 4849 h 312587"/>
                  <a:gd name="connsiteX96" fmla="*/ 140611 w 409863"/>
                  <a:gd name="connsiteY96" fmla="*/ 4697 h 312587"/>
                  <a:gd name="connsiteX97" fmla="*/ 138642 w 409863"/>
                  <a:gd name="connsiteY97" fmla="*/ 4091 h 312587"/>
                  <a:gd name="connsiteX98" fmla="*/ 136823 w 409863"/>
                  <a:gd name="connsiteY98" fmla="*/ 3182 h 312587"/>
                  <a:gd name="connsiteX99" fmla="*/ 135308 w 409863"/>
                  <a:gd name="connsiteY99" fmla="*/ 1061 h 312587"/>
                  <a:gd name="connsiteX100" fmla="*/ 133641 w 409863"/>
                  <a:gd name="connsiteY100" fmla="*/ 0 h 312587"/>
                  <a:gd name="connsiteX101" fmla="*/ 131823 w 409863"/>
                  <a:gd name="connsiteY101" fmla="*/ 3939 h 312587"/>
                  <a:gd name="connsiteX102" fmla="*/ 128793 w 409863"/>
                  <a:gd name="connsiteY102" fmla="*/ 10910 h 312587"/>
                  <a:gd name="connsiteX103" fmla="*/ 127126 w 409863"/>
                  <a:gd name="connsiteY103" fmla="*/ 14698 h 312587"/>
                  <a:gd name="connsiteX104" fmla="*/ 125005 w 409863"/>
                  <a:gd name="connsiteY104" fmla="*/ 19546 h 312587"/>
                  <a:gd name="connsiteX105" fmla="*/ 124399 w 409863"/>
                  <a:gd name="connsiteY105" fmla="*/ 19546 h 312587"/>
                  <a:gd name="connsiteX106" fmla="*/ 123338 w 409863"/>
                  <a:gd name="connsiteY106" fmla="*/ 19243 h 312587"/>
                  <a:gd name="connsiteX107" fmla="*/ 119096 w 409863"/>
                  <a:gd name="connsiteY107" fmla="*/ 13334 h 312587"/>
                  <a:gd name="connsiteX108" fmla="*/ 116520 w 409863"/>
                  <a:gd name="connsiteY108" fmla="*/ 11061 h 312587"/>
                  <a:gd name="connsiteX109" fmla="*/ 114550 w 409863"/>
                  <a:gd name="connsiteY109" fmla="*/ 11213 h 312587"/>
                  <a:gd name="connsiteX110" fmla="*/ 113035 w 409863"/>
                  <a:gd name="connsiteY110" fmla="*/ 12273 h 312587"/>
                  <a:gd name="connsiteX111" fmla="*/ 112126 w 409863"/>
                  <a:gd name="connsiteY111" fmla="*/ 14394 h 312587"/>
                  <a:gd name="connsiteX112" fmla="*/ 111217 w 409863"/>
                  <a:gd name="connsiteY112" fmla="*/ 15607 h 312587"/>
                  <a:gd name="connsiteX113" fmla="*/ 110156 w 409863"/>
                  <a:gd name="connsiteY113" fmla="*/ 16061 h 312587"/>
                  <a:gd name="connsiteX114" fmla="*/ 107732 w 409863"/>
                  <a:gd name="connsiteY114" fmla="*/ 15758 h 312587"/>
                  <a:gd name="connsiteX115" fmla="*/ 104246 w 409863"/>
                  <a:gd name="connsiteY115" fmla="*/ 14849 h 312587"/>
                  <a:gd name="connsiteX116" fmla="*/ 100610 w 409863"/>
                  <a:gd name="connsiteY116" fmla="*/ 15152 h 312587"/>
                  <a:gd name="connsiteX117" fmla="*/ 96974 w 409863"/>
                  <a:gd name="connsiteY117" fmla="*/ 16516 h 312587"/>
                  <a:gd name="connsiteX118" fmla="*/ 96367 w 409863"/>
                  <a:gd name="connsiteY118" fmla="*/ 16516 h 312587"/>
                  <a:gd name="connsiteX119" fmla="*/ 94246 w 409863"/>
                  <a:gd name="connsiteY119" fmla="*/ 23940 h 312587"/>
                  <a:gd name="connsiteX120" fmla="*/ 94246 w 409863"/>
                  <a:gd name="connsiteY120" fmla="*/ 28031 h 312587"/>
                  <a:gd name="connsiteX121" fmla="*/ 92731 w 409863"/>
                  <a:gd name="connsiteY121" fmla="*/ 33941 h 312587"/>
                  <a:gd name="connsiteX122" fmla="*/ 91519 w 409863"/>
                  <a:gd name="connsiteY122" fmla="*/ 36668 h 312587"/>
                  <a:gd name="connsiteX123" fmla="*/ 90458 w 409863"/>
                  <a:gd name="connsiteY123" fmla="*/ 38335 h 312587"/>
                  <a:gd name="connsiteX124" fmla="*/ 89549 w 409863"/>
                  <a:gd name="connsiteY124" fmla="*/ 40001 h 312587"/>
                  <a:gd name="connsiteX125" fmla="*/ 87882 w 409863"/>
                  <a:gd name="connsiteY125" fmla="*/ 43789 h 312587"/>
                  <a:gd name="connsiteX126" fmla="*/ 86519 w 409863"/>
                  <a:gd name="connsiteY126" fmla="*/ 48638 h 312587"/>
                  <a:gd name="connsiteX127" fmla="*/ 85761 w 409863"/>
                  <a:gd name="connsiteY127" fmla="*/ 53790 h 312587"/>
                  <a:gd name="connsiteX128" fmla="*/ 85761 w 409863"/>
                  <a:gd name="connsiteY128" fmla="*/ 56669 h 312587"/>
                  <a:gd name="connsiteX129" fmla="*/ 85458 w 409863"/>
                  <a:gd name="connsiteY129" fmla="*/ 58032 h 312587"/>
                  <a:gd name="connsiteX130" fmla="*/ 85003 w 409863"/>
                  <a:gd name="connsiteY130" fmla="*/ 58790 h 312587"/>
                  <a:gd name="connsiteX131" fmla="*/ 81670 w 409863"/>
                  <a:gd name="connsiteY131" fmla="*/ 59396 h 312587"/>
                  <a:gd name="connsiteX132" fmla="*/ 77124 w 409863"/>
                  <a:gd name="connsiteY132" fmla="*/ 60002 h 312587"/>
                  <a:gd name="connsiteX133" fmla="*/ 74700 w 409863"/>
                  <a:gd name="connsiteY133" fmla="*/ 60608 h 312587"/>
                  <a:gd name="connsiteX134" fmla="*/ 73033 w 409863"/>
                  <a:gd name="connsiteY134" fmla="*/ 61669 h 312587"/>
                  <a:gd name="connsiteX135" fmla="*/ 71063 w 409863"/>
                  <a:gd name="connsiteY135" fmla="*/ 64093 h 312587"/>
                  <a:gd name="connsiteX136" fmla="*/ 66972 w 409863"/>
                  <a:gd name="connsiteY136" fmla="*/ 70609 h 312587"/>
                  <a:gd name="connsiteX137" fmla="*/ 64851 w 409863"/>
                  <a:gd name="connsiteY137" fmla="*/ 74548 h 312587"/>
                  <a:gd name="connsiteX138" fmla="*/ 61669 w 409863"/>
                  <a:gd name="connsiteY138" fmla="*/ 80155 h 312587"/>
                  <a:gd name="connsiteX139" fmla="*/ 57729 w 409863"/>
                  <a:gd name="connsiteY139" fmla="*/ 83943 h 312587"/>
                  <a:gd name="connsiteX140" fmla="*/ 56972 w 409863"/>
                  <a:gd name="connsiteY140" fmla="*/ 85912 h 312587"/>
                  <a:gd name="connsiteX141" fmla="*/ 56366 w 409863"/>
                  <a:gd name="connsiteY141" fmla="*/ 89397 h 312587"/>
                  <a:gd name="connsiteX142" fmla="*/ 54851 w 409863"/>
                  <a:gd name="connsiteY142" fmla="*/ 94852 h 312587"/>
                  <a:gd name="connsiteX143" fmla="*/ 53638 w 409863"/>
                  <a:gd name="connsiteY143" fmla="*/ 98792 h 312587"/>
                  <a:gd name="connsiteX144" fmla="*/ 53790 w 409863"/>
                  <a:gd name="connsiteY144" fmla="*/ 101973 h 312587"/>
                  <a:gd name="connsiteX145" fmla="*/ 52578 w 409863"/>
                  <a:gd name="connsiteY145" fmla="*/ 107428 h 312587"/>
                  <a:gd name="connsiteX146" fmla="*/ 52881 w 409863"/>
                  <a:gd name="connsiteY146" fmla="*/ 110156 h 312587"/>
                  <a:gd name="connsiteX147" fmla="*/ 51517 w 409863"/>
                  <a:gd name="connsiteY147" fmla="*/ 111671 h 312587"/>
                  <a:gd name="connsiteX148" fmla="*/ 49699 w 409863"/>
                  <a:gd name="connsiteY148" fmla="*/ 113035 h 312587"/>
                  <a:gd name="connsiteX149" fmla="*/ 48487 w 409863"/>
                  <a:gd name="connsiteY149" fmla="*/ 113489 h 312587"/>
                  <a:gd name="connsiteX150" fmla="*/ 45760 w 409863"/>
                  <a:gd name="connsiteY150" fmla="*/ 111822 h 312587"/>
                  <a:gd name="connsiteX151" fmla="*/ 43790 w 409863"/>
                  <a:gd name="connsiteY151" fmla="*/ 110156 h 312587"/>
                  <a:gd name="connsiteX152" fmla="*/ 43032 w 409863"/>
                  <a:gd name="connsiteY152" fmla="*/ 109701 h 312587"/>
                  <a:gd name="connsiteX153" fmla="*/ 41214 w 409863"/>
                  <a:gd name="connsiteY153" fmla="*/ 110762 h 312587"/>
                  <a:gd name="connsiteX154" fmla="*/ 39093 w 409863"/>
                  <a:gd name="connsiteY154" fmla="*/ 112277 h 312587"/>
                  <a:gd name="connsiteX155" fmla="*/ 36820 w 409863"/>
                  <a:gd name="connsiteY155" fmla="*/ 115762 h 312587"/>
                  <a:gd name="connsiteX156" fmla="*/ 34850 w 409863"/>
                  <a:gd name="connsiteY156" fmla="*/ 119398 h 312587"/>
                  <a:gd name="connsiteX157" fmla="*/ 35911 w 409863"/>
                  <a:gd name="connsiteY157" fmla="*/ 126974 h 312587"/>
                  <a:gd name="connsiteX158" fmla="*/ 35911 w 409863"/>
                  <a:gd name="connsiteY158" fmla="*/ 128641 h 312587"/>
                  <a:gd name="connsiteX159" fmla="*/ 35305 w 409863"/>
                  <a:gd name="connsiteY159" fmla="*/ 130459 h 312587"/>
                  <a:gd name="connsiteX160" fmla="*/ 32426 w 409863"/>
                  <a:gd name="connsiteY160" fmla="*/ 136217 h 312587"/>
                  <a:gd name="connsiteX161" fmla="*/ 31668 w 409863"/>
                  <a:gd name="connsiteY161" fmla="*/ 137884 h 312587"/>
                  <a:gd name="connsiteX162" fmla="*/ 30607 w 409863"/>
                  <a:gd name="connsiteY162" fmla="*/ 141369 h 312587"/>
                  <a:gd name="connsiteX163" fmla="*/ 29547 w 409863"/>
                  <a:gd name="connsiteY163" fmla="*/ 147278 h 312587"/>
                  <a:gd name="connsiteX164" fmla="*/ 29547 w 409863"/>
                  <a:gd name="connsiteY164" fmla="*/ 148642 h 312587"/>
                  <a:gd name="connsiteX165" fmla="*/ 29395 w 409863"/>
                  <a:gd name="connsiteY165" fmla="*/ 149854 h 312587"/>
                  <a:gd name="connsiteX166" fmla="*/ 29698 w 409863"/>
                  <a:gd name="connsiteY166" fmla="*/ 155309 h 312587"/>
                  <a:gd name="connsiteX167" fmla="*/ 29850 w 409863"/>
                  <a:gd name="connsiteY167" fmla="*/ 160157 h 312587"/>
                  <a:gd name="connsiteX168" fmla="*/ 30153 w 409863"/>
                  <a:gd name="connsiteY168" fmla="*/ 168188 h 312587"/>
                  <a:gd name="connsiteX169" fmla="*/ 30153 w 409863"/>
                  <a:gd name="connsiteY169" fmla="*/ 170158 h 312587"/>
                  <a:gd name="connsiteX170" fmla="*/ 30001 w 409863"/>
                  <a:gd name="connsiteY170" fmla="*/ 172733 h 312587"/>
                  <a:gd name="connsiteX171" fmla="*/ 29395 w 409863"/>
                  <a:gd name="connsiteY171" fmla="*/ 173794 h 312587"/>
                  <a:gd name="connsiteX172" fmla="*/ 27880 w 409863"/>
                  <a:gd name="connsiteY172" fmla="*/ 175310 h 312587"/>
                  <a:gd name="connsiteX173" fmla="*/ 26062 w 409863"/>
                  <a:gd name="connsiteY173" fmla="*/ 176522 h 312587"/>
                  <a:gd name="connsiteX174" fmla="*/ 21516 w 409863"/>
                  <a:gd name="connsiteY174" fmla="*/ 176976 h 312587"/>
                  <a:gd name="connsiteX175" fmla="*/ 17576 w 409863"/>
                  <a:gd name="connsiteY175" fmla="*/ 176825 h 312587"/>
                  <a:gd name="connsiteX176" fmla="*/ 14849 w 409863"/>
                  <a:gd name="connsiteY176" fmla="*/ 176522 h 312587"/>
                  <a:gd name="connsiteX177" fmla="*/ 11213 w 409863"/>
                  <a:gd name="connsiteY177" fmla="*/ 176522 h 312587"/>
                  <a:gd name="connsiteX178" fmla="*/ 7728 w 409863"/>
                  <a:gd name="connsiteY178" fmla="*/ 176825 h 312587"/>
                  <a:gd name="connsiteX179" fmla="*/ 6364 w 409863"/>
                  <a:gd name="connsiteY179" fmla="*/ 177885 h 312587"/>
                  <a:gd name="connsiteX180" fmla="*/ 4546 w 409863"/>
                  <a:gd name="connsiteY180" fmla="*/ 181825 h 312587"/>
                  <a:gd name="connsiteX181" fmla="*/ 1819 w 409863"/>
                  <a:gd name="connsiteY181" fmla="*/ 187583 h 312587"/>
                  <a:gd name="connsiteX182" fmla="*/ 303 w 409863"/>
                  <a:gd name="connsiteY182" fmla="*/ 190007 h 312587"/>
                  <a:gd name="connsiteX183" fmla="*/ 0 w 409863"/>
                  <a:gd name="connsiteY183" fmla="*/ 191522 h 312587"/>
                  <a:gd name="connsiteX184" fmla="*/ 455 w 409863"/>
                  <a:gd name="connsiteY184" fmla="*/ 192280 h 312587"/>
                  <a:gd name="connsiteX185" fmla="*/ 2122 w 409863"/>
                  <a:gd name="connsiteY185" fmla="*/ 193492 h 312587"/>
                  <a:gd name="connsiteX186" fmla="*/ 6212 w 409863"/>
                  <a:gd name="connsiteY186" fmla="*/ 195310 h 312587"/>
                  <a:gd name="connsiteX187" fmla="*/ 10758 w 409863"/>
                  <a:gd name="connsiteY187" fmla="*/ 196219 h 312587"/>
                  <a:gd name="connsiteX188" fmla="*/ 14092 w 409863"/>
                  <a:gd name="connsiteY188" fmla="*/ 196674 h 312587"/>
                  <a:gd name="connsiteX189" fmla="*/ 16365 w 409863"/>
                  <a:gd name="connsiteY189" fmla="*/ 197128 h 312587"/>
                  <a:gd name="connsiteX190" fmla="*/ 18183 w 409863"/>
                  <a:gd name="connsiteY190" fmla="*/ 197735 h 312587"/>
                  <a:gd name="connsiteX191" fmla="*/ 24698 w 409863"/>
                  <a:gd name="connsiteY191" fmla="*/ 202129 h 312587"/>
                  <a:gd name="connsiteX192" fmla="*/ 26668 w 409863"/>
                  <a:gd name="connsiteY192" fmla="*/ 204250 h 312587"/>
                  <a:gd name="connsiteX193" fmla="*/ 27880 w 409863"/>
                  <a:gd name="connsiteY193" fmla="*/ 206068 h 312587"/>
                  <a:gd name="connsiteX194" fmla="*/ 28183 w 409863"/>
                  <a:gd name="connsiteY194" fmla="*/ 207886 h 312587"/>
                  <a:gd name="connsiteX195" fmla="*/ 29092 w 409863"/>
                  <a:gd name="connsiteY195" fmla="*/ 209856 h 312587"/>
                  <a:gd name="connsiteX196" fmla="*/ 32880 w 409863"/>
                  <a:gd name="connsiteY196" fmla="*/ 213796 h 312587"/>
                  <a:gd name="connsiteX197" fmla="*/ 35001 w 409863"/>
                  <a:gd name="connsiteY197" fmla="*/ 215917 h 312587"/>
                  <a:gd name="connsiteX198" fmla="*/ 40608 w 409863"/>
                  <a:gd name="connsiteY198" fmla="*/ 218796 h 312587"/>
                  <a:gd name="connsiteX199" fmla="*/ 42729 w 409863"/>
                  <a:gd name="connsiteY199" fmla="*/ 222129 h 312587"/>
                  <a:gd name="connsiteX200" fmla="*/ 44850 w 409863"/>
                  <a:gd name="connsiteY200" fmla="*/ 223644 h 312587"/>
                  <a:gd name="connsiteX201" fmla="*/ 46820 w 409863"/>
                  <a:gd name="connsiteY201" fmla="*/ 225311 h 312587"/>
                  <a:gd name="connsiteX202" fmla="*/ 47881 w 409863"/>
                  <a:gd name="connsiteY202" fmla="*/ 227887 h 312587"/>
                  <a:gd name="connsiteX203" fmla="*/ 50305 w 409863"/>
                  <a:gd name="connsiteY203" fmla="*/ 235160 h 312587"/>
                  <a:gd name="connsiteX204" fmla="*/ 51972 w 409863"/>
                  <a:gd name="connsiteY204" fmla="*/ 238948 h 312587"/>
                  <a:gd name="connsiteX205" fmla="*/ 53638 w 409863"/>
                  <a:gd name="connsiteY205" fmla="*/ 242130 h 312587"/>
                  <a:gd name="connsiteX206" fmla="*/ 54245 w 409863"/>
                  <a:gd name="connsiteY206" fmla="*/ 247282 h 312587"/>
                  <a:gd name="connsiteX207" fmla="*/ 55608 w 409863"/>
                  <a:gd name="connsiteY207" fmla="*/ 249555 h 312587"/>
                  <a:gd name="connsiteX208" fmla="*/ 56972 w 409863"/>
                  <a:gd name="connsiteY208" fmla="*/ 252282 h 312587"/>
                  <a:gd name="connsiteX209" fmla="*/ 59245 w 409863"/>
                  <a:gd name="connsiteY209" fmla="*/ 254706 h 312587"/>
                  <a:gd name="connsiteX210" fmla="*/ 61669 w 409863"/>
                  <a:gd name="connsiteY210" fmla="*/ 256676 h 312587"/>
                  <a:gd name="connsiteX211" fmla="*/ 61972 w 409863"/>
                  <a:gd name="connsiteY211" fmla="*/ 257131 h 312587"/>
                  <a:gd name="connsiteX212" fmla="*/ 61972 w 409863"/>
                  <a:gd name="connsiteY212" fmla="*/ 258191 h 312587"/>
                  <a:gd name="connsiteX213" fmla="*/ 61972 w 409863"/>
                  <a:gd name="connsiteY213" fmla="*/ 259403 h 312587"/>
                  <a:gd name="connsiteX214" fmla="*/ 62578 w 409863"/>
                  <a:gd name="connsiteY214" fmla="*/ 260161 h 312587"/>
                  <a:gd name="connsiteX215" fmla="*/ 63639 w 409863"/>
                  <a:gd name="connsiteY215" fmla="*/ 260616 h 312587"/>
                  <a:gd name="connsiteX216" fmla="*/ 65003 w 409863"/>
                  <a:gd name="connsiteY216" fmla="*/ 260161 h 312587"/>
                  <a:gd name="connsiteX217" fmla="*/ 66366 w 409863"/>
                  <a:gd name="connsiteY217" fmla="*/ 259403 h 312587"/>
                  <a:gd name="connsiteX218" fmla="*/ 67579 w 409863"/>
                  <a:gd name="connsiteY218" fmla="*/ 259252 h 312587"/>
                  <a:gd name="connsiteX219" fmla="*/ 75155 w 409863"/>
                  <a:gd name="connsiteY219" fmla="*/ 261222 h 312587"/>
                  <a:gd name="connsiteX220" fmla="*/ 76367 w 409863"/>
                  <a:gd name="connsiteY220" fmla="*/ 263040 h 312587"/>
                  <a:gd name="connsiteX221" fmla="*/ 76215 w 409863"/>
                  <a:gd name="connsiteY221" fmla="*/ 265010 h 312587"/>
                  <a:gd name="connsiteX222" fmla="*/ 76669 w 409863"/>
                  <a:gd name="connsiteY222" fmla="*/ 266373 h 312587"/>
                  <a:gd name="connsiteX223" fmla="*/ 76064 w 409863"/>
                  <a:gd name="connsiteY223" fmla="*/ 267737 h 312587"/>
                  <a:gd name="connsiteX224" fmla="*/ 75458 w 409863"/>
                  <a:gd name="connsiteY224" fmla="*/ 271980 h 312587"/>
                  <a:gd name="connsiteX225" fmla="*/ 75609 w 409863"/>
                  <a:gd name="connsiteY225" fmla="*/ 275768 h 312587"/>
                  <a:gd name="connsiteX226" fmla="*/ 77882 w 409863"/>
                  <a:gd name="connsiteY226" fmla="*/ 278647 h 312587"/>
                  <a:gd name="connsiteX227" fmla="*/ 79852 w 409863"/>
                  <a:gd name="connsiteY227" fmla="*/ 280919 h 312587"/>
                  <a:gd name="connsiteX228" fmla="*/ 81518 w 409863"/>
                  <a:gd name="connsiteY228" fmla="*/ 284101 h 312587"/>
                  <a:gd name="connsiteX229" fmla="*/ 82731 w 409863"/>
                  <a:gd name="connsiteY229" fmla="*/ 285162 h 312587"/>
                  <a:gd name="connsiteX230" fmla="*/ 84246 w 409863"/>
                  <a:gd name="connsiteY230" fmla="*/ 285617 h 312587"/>
                  <a:gd name="connsiteX231" fmla="*/ 89549 w 409863"/>
                  <a:gd name="connsiteY231" fmla="*/ 285768 h 312587"/>
                  <a:gd name="connsiteX232" fmla="*/ 97125 w 409863"/>
                  <a:gd name="connsiteY232" fmla="*/ 285919 h 312587"/>
                  <a:gd name="connsiteX233" fmla="*/ 104550 w 409863"/>
                  <a:gd name="connsiteY233" fmla="*/ 286071 h 312587"/>
                  <a:gd name="connsiteX234" fmla="*/ 105307 w 409863"/>
                  <a:gd name="connsiteY234" fmla="*/ 286223 h 312587"/>
                  <a:gd name="connsiteX235" fmla="*/ 106822 w 409863"/>
                  <a:gd name="connsiteY235" fmla="*/ 286677 h 312587"/>
                  <a:gd name="connsiteX236" fmla="*/ 113641 w 409863"/>
                  <a:gd name="connsiteY236" fmla="*/ 290920 h 312587"/>
                  <a:gd name="connsiteX237" fmla="*/ 119853 w 409863"/>
                  <a:gd name="connsiteY237" fmla="*/ 294859 h 312587"/>
                  <a:gd name="connsiteX238" fmla="*/ 125156 w 409863"/>
                  <a:gd name="connsiteY238" fmla="*/ 298193 h 312587"/>
                  <a:gd name="connsiteX239" fmla="*/ 130308 w 409863"/>
                  <a:gd name="connsiteY239" fmla="*/ 301526 h 312587"/>
                  <a:gd name="connsiteX240" fmla="*/ 135308 w 409863"/>
                  <a:gd name="connsiteY240" fmla="*/ 304708 h 312587"/>
                  <a:gd name="connsiteX241" fmla="*/ 139096 w 409863"/>
                  <a:gd name="connsiteY241" fmla="*/ 307436 h 312587"/>
                  <a:gd name="connsiteX242" fmla="*/ 142884 w 409863"/>
                  <a:gd name="connsiteY242" fmla="*/ 308193 h 312587"/>
                  <a:gd name="connsiteX243" fmla="*/ 149097 w 409863"/>
                  <a:gd name="connsiteY243" fmla="*/ 308648 h 312587"/>
                  <a:gd name="connsiteX244" fmla="*/ 153491 w 409863"/>
                  <a:gd name="connsiteY244" fmla="*/ 308799 h 312587"/>
                  <a:gd name="connsiteX245" fmla="*/ 157430 w 409863"/>
                  <a:gd name="connsiteY245" fmla="*/ 309860 h 312587"/>
                  <a:gd name="connsiteX246" fmla="*/ 163339 w 409863"/>
                  <a:gd name="connsiteY246" fmla="*/ 310921 h 312587"/>
                  <a:gd name="connsiteX247" fmla="*/ 167582 w 409863"/>
                  <a:gd name="connsiteY247" fmla="*/ 311375 h 312587"/>
                  <a:gd name="connsiteX248" fmla="*/ 170310 w 409863"/>
                  <a:gd name="connsiteY248" fmla="*/ 311981 h 312587"/>
                  <a:gd name="connsiteX249" fmla="*/ 177734 w 409863"/>
                  <a:gd name="connsiteY249" fmla="*/ 312587 h 312587"/>
                  <a:gd name="connsiteX250" fmla="*/ 178946 w 409863"/>
                  <a:gd name="connsiteY250" fmla="*/ 312284 h 312587"/>
                  <a:gd name="connsiteX251" fmla="*/ 182128 w 409863"/>
                  <a:gd name="connsiteY251" fmla="*/ 309405 h 312587"/>
                  <a:gd name="connsiteX252" fmla="*/ 185765 w 409863"/>
                  <a:gd name="connsiteY252" fmla="*/ 304557 h 312587"/>
                  <a:gd name="connsiteX253" fmla="*/ 187128 w 409863"/>
                  <a:gd name="connsiteY253" fmla="*/ 301829 h 312587"/>
                  <a:gd name="connsiteX254" fmla="*/ 191825 w 409863"/>
                  <a:gd name="connsiteY254" fmla="*/ 299253 h 312587"/>
                  <a:gd name="connsiteX255" fmla="*/ 200159 w 409863"/>
                  <a:gd name="connsiteY255" fmla="*/ 295617 h 312587"/>
                  <a:gd name="connsiteX256" fmla="*/ 205917 w 409863"/>
                  <a:gd name="connsiteY256" fmla="*/ 293041 h 312587"/>
                  <a:gd name="connsiteX257" fmla="*/ 212432 w 409863"/>
                  <a:gd name="connsiteY257" fmla="*/ 290465 h 312587"/>
                  <a:gd name="connsiteX258" fmla="*/ 215311 w 409863"/>
                  <a:gd name="connsiteY258" fmla="*/ 292586 h 312587"/>
                  <a:gd name="connsiteX259" fmla="*/ 219402 w 409863"/>
                  <a:gd name="connsiteY259" fmla="*/ 296223 h 312587"/>
                  <a:gd name="connsiteX260" fmla="*/ 221220 w 409863"/>
                  <a:gd name="connsiteY260" fmla="*/ 298041 h 312587"/>
                  <a:gd name="connsiteX261" fmla="*/ 222736 w 409863"/>
                  <a:gd name="connsiteY261" fmla="*/ 298799 h 312587"/>
                  <a:gd name="connsiteX262" fmla="*/ 224857 w 409863"/>
                  <a:gd name="connsiteY262" fmla="*/ 299405 h 312587"/>
                  <a:gd name="connsiteX263" fmla="*/ 227584 w 409863"/>
                  <a:gd name="connsiteY263" fmla="*/ 299405 h 312587"/>
                  <a:gd name="connsiteX264" fmla="*/ 229100 w 409863"/>
                  <a:gd name="connsiteY264" fmla="*/ 299253 h 312587"/>
                  <a:gd name="connsiteX265" fmla="*/ 232130 w 409863"/>
                  <a:gd name="connsiteY265" fmla="*/ 298799 h 312587"/>
                  <a:gd name="connsiteX266" fmla="*/ 239100 w 409863"/>
                  <a:gd name="connsiteY266" fmla="*/ 298344 h 312587"/>
                  <a:gd name="connsiteX267" fmla="*/ 243039 w 409863"/>
                  <a:gd name="connsiteY267" fmla="*/ 298496 h 312587"/>
                  <a:gd name="connsiteX268" fmla="*/ 243949 w 409863"/>
                  <a:gd name="connsiteY268" fmla="*/ 296981 h 312587"/>
                  <a:gd name="connsiteX269" fmla="*/ 246827 w 409863"/>
                  <a:gd name="connsiteY269" fmla="*/ 294102 h 312587"/>
                  <a:gd name="connsiteX270" fmla="*/ 252434 w 409863"/>
                  <a:gd name="connsiteY270" fmla="*/ 292284 h 312587"/>
                  <a:gd name="connsiteX271" fmla="*/ 255919 w 409863"/>
                  <a:gd name="connsiteY271" fmla="*/ 292132 h 312587"/>
                  <a:gd name="connsiteX272" fmla="*/ 267889 w 409863"/>
                  <a:gd name="connsiteY272" fmla="*/ 289859 h 312587"/>
                  <a:gd name="connsiteX273" fmla="*/ 269707 w 409863"/>
                  <a:gd name="connsiteY273" fmla="*/ 288950 h 312587"/>
                  <a:gd name="connsiteX274" fmla="*/ 270768 w 409863"/>
                  <a:gd name="connsiteY274" fmla="*/ 288041 h 312587"/>
                  <a:gd name="connsiteX275" fmla="*/ 271677 w 409863"/>
                  <a:gd name="connsiteY275" fmla="*/ 285768 h 312587"/>
                  <a:gd name="connsiteX276" fmla="*/ 274101 w 409863"/>
                  <a:gd name="connsiteY276" fmla="*/ 282435 h 312587"/>
                  <a:gd name="connsiteX277" fmla="*/ 276980 w 409863"/>
                  <a:gd name="connsiteY277" fmla="*/ 280313 h 312587"/>
                  <a:gd name="connsiteX278" fmla="*/ 282738 w 409863"/>
                  <a:gd name="connsiteY278" fmla="*/ 277434 h 312587"/>
                  <a:gd name="connsiteX279" fmla="*/ 288344 w 409863"/>
                  <a:gd name="connsiteY279" fmla="*/ 275010 h 312587"/>
                  <a:gd name="connsiteX280" fmla="*/ 289556 w 409863"/>
                  <a:gd name="connsiteY280" fmla="*/ 274555 h 312587"/>
                  <a:gd name="connsiteX281" fmla="*/ 296223 w 409863"/>
                  <a:gd name="connsiteY281" fmla="*/ 273040 h 312587"/>
                  <a:gd name="connsiteX282" fmla="*/ 297890 w 409863"/>
                  <a:gd name="connsiteY282" fmla="*/ 272434 h 312587"/>
                  <a:gd name="connsiteX283" fmla="*/ 300618 w 409863"/>
                  <a:gd name="connsiteY283" fmla="*/ 271980 h 312587"/>
                  <a:gd name="connsiteX284" fmla="*/ 301678 w 409863"/>
                  <a:gd name="connsiteY284" fmla="*/ 271980 h 312587"/>
                  <a:gd name="connsiteX285" fmla="*/ 311072 w 409863"/>
                  <a:gd name="connsiteY285" fmla="*/ 272434 h 312587"/>
                  <a:gd name="connsiteX286" fmla="*/ 318345 w 409863"/>
                  <a:gd name="connsiteY286" fmla="*/ 272889 h 312587"/>
                  <a:gd name="connsiteX287" fmla="*/ 325921 w 409863"/>
                  <a:gd name="connsiteY287" fmla="*/ 273343 h 312587"/>
                  <a:gd name="connsiteX288" fmla="*/ 326679 w 409863"/>
                  <a:gd name="connsiteY288" fmla="*/ 273040 h 312587"/>
                  <a:gd name="connsiteX289" fmla="*/ 331982 w 409863"/>
                  <a:gd name="connsiteY289" fmla="*/ 267282 h 312587"/>
                  <a:gd name="connsiteX290" fmla="*/ 340316 w 409863"/>
                  <a:gd name="connsiteY290" fmla="*/ 258191 h 312587"/>
                  <a:gd name="connsiteX291" fmla="*/ 345619 w 409863"/>
                  <a:gd name="connsiteY291" fmla="*/ 252434 h 312587"/>
                  <a:gd name="connsiteX292" fmla="*/ 353953 w 409863"/>
                  <a:gd name="connsiteY292" fmla="*/ 243494 h 312587"/>
                  <a:gd name="connsiteX293" fmla="*/ 360165 w 409863"/>
                  <a:gd name="connsiteY293" fmla="*/ 236978 h 312587"/>
                  <a:gd name="connsiteX294" fmla="*/ 367287 w 409863"/>
                  <a:gd name="connsiteY294" fmla="*/ 229705 h 312587"/>
                  <a:gd name="connsiteX295" fmla="*/ 374105 w 409863"/>
                  <a:gd name="connsiteY295" fmla="*/ 223190 h 312587"/>
                  <a:gd name="connsiteX296" fmla="*/ 382287 w 409863"/>
                  <a:gd name="connsiteY296" fmla="*/ 215311 h 312587"/>
                  <a:gd name="connsiteX297" fmla="*/ 387439 w 409863"/>
                  <a:gd name="connsiteY297" fmla="*/ 210311 h 312587"/>
                  <a:gd name="connsiteX298" fmla="*/ 395469 w 409863"/>
                  <a:gd name="connsiteY298" fmla="*/ 202583 h 312587"/>
                  <a:gd name="connsiteX299" fmla="*/ 403045 w 409863"/>
                  <a:gd name="connsiteY299" fmla="*/ 195310 h 312587"/>
                  <a:gd name="connsiteX300" fmla="*/ 409864 w 409863"/>
                  <a:gd name="connsiteY300" fmla="*/ 188795 h 31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409863" h="312587">
                    <a:moveTo>
                      <a:pt x="400470" y="188795"/>
                    </a:moveTo>
                    <a:lnTo>
                      <a:pt x="391378" y="188795"/>
                    </a:lnTo>
                    <a:lnTo>
                      <a:pt x="382439" y="188795"/>
                    </a:lnTo>
                    <a:lnTo>
                      <a:pt x="380772" y="188037"/>
                    </a:lnTo>
                    <a:lnTo>
                      <a:pt x="373347" y="185461"/>
                    </a:lnTo>
                    <a:lnTo>
                      <a:pt x="363802" y="182279"/>
                    </a:lnTo>
                    <a:lnTo>
                      <a:pt x="351983" y="178340"/>
                    </a:lnTo>
                    <a:lnTo>
                      <a:pt x="343498" y="175461"/>
                    </a:lnTo>
                    <a:lnTo>
                      <a:pt x="334558" y="172582"/>
                    </a:lnTo>
                    <a:lnTo>
                      <a:pt x="325467" y="169552"/>
                    </a:lnTo>
                    <a:lnTo>
                      <a:pt x="318194" y="167279"/>
                    </a:lnTo>
                    <a:lnTo>
                      <a:pt x="309254" y="164248"/>
                    </a:lnTo>
                    <a:lnTo>
                      <a:pt x="301527" y="161673"/>
                    </a:lnTo>
                    <a:lnTo>
                      <a:pt x="300466" y="161067"/>
                    </a:lnTo>
                    <a:lnTo>
                      <a:pt x="296223" y="157279"/>
                    </a:lnTo>
                    <a:lnTo>
                      <a:pt x="290617" y="152127"/>
                    </a:lnTo>
                    <a:lnTo>
                      <a:pt x="289556" y="151975"/>
                    </a:lnTo>
                    <a:lnTo>
                      <a:pt x="286829" y="150915"/>
                    </a:lnTo>
                    <a:lnTo>
                      <a:pt x="284405" y="148187"/>
                    </a:lnTo>
                    <a:lnTo>
                      <a:pt x="281829" y="144702"/>
                    </a:lnTo>
                    <a:lnTo>
                      <a:pt x="279556" y="140157"/>
                    </a:lnTo>
                    <a:lnTo>
                      <a:pt x="278495" y="137278"/>
                    </a:lnTo>
                    <a:lnTo>
                      <a:pt x="275465" y="135914"/>
                    </a:lnTo>
                    <a:lnTo>
                      <a:pt x="273950" y="133641"/>
                    </a:lnTo>
                    <a:lnTo>
                      <a:pt x="271223" y="130005"/>
                    </a:lnTo>
                    <a:lnTo>
                      <a:pt x="269253" y="128338"/>
                    </a:lnTo>
                    <a:lnTo>
                      <a:pt x="268495" y="126823"/>
                    </a:lnTo>
                    <a:lnTo>
                      <a:pt x="267737" y="123792"/>
                    </a:lnTo>
                    <a:lnTo>
                      <a:pt x="266070" y="120459"/>
                    </a:lnTo>
                    <a:lnTo>
                      <a:pt x="264556" y="118338"/>
                    </a:lnTo>
                    <a:lnTo>
                      <a:pt x="264252" y="117429"/>
                    </a:lnTo>
                    <a:lnTo>
                      <a:pt x="264252" y="116823"/>
                    </a:lnTo>
                    <a:lnTo>
                      <a:pt x="267131" y="112277"/>
                    </a:lnTo>
                    <a:lnTo>
                      <a:pt x="268344" y="110610"/>
                    </a:lnTo>
                    <a:lnTo>
                      <a:pt x="269858" y="109095"/>
                    </a:lnTo>
                    <a:lnTo>
                      <a:pt x="271071" y="107580"/>
                    </a:lnTo>
                    <a:lnTo>
                      <a:pt x="271525" y="106519"/>
                    </a:lnTo>
                    <a:lnTo>
                      <a:pt x="269253" y="106519"/>
                    </a:lnTo>
                    <a:lnTo>
                      <a:pt x="267586" y="106216"/>
                    </a:lnTo>
                    <a:lnTo>
                      <a:pt x="266525" y="105307"/>
                    </a:lnTo>
                    <a:lnTo>
                      <a:pt x="264101" y="104246"/>
                    </a:lnTo>
                    <a:lnTo>
                      <a:pt x="261525" y="104246"/>
                    </a:lnTo>
                    <a:lnTo>
                      <a:pt x="258949" y="105155"/>
                    </a:lnTo>
                    <a:lnTo>
                      <a:pt x="254706" y="106368"/>
                    </a:lnTo>
                    <a:lnTo>
                      <a:pt x="250767" y="106671"/>
                    </a:lnTo>
                    <a:lnTo>
                      <a:pt x="247585" y="107277"/>
                    </a:lnTo>
                    <a:lnTo>
                      <a:pt x="245009" y="108034"/>
                    </a:lnTo>
                    <a:lnTo>
                      <a:pt x="242737" y="107731"/>
                    </a:lnTo>
                    <a:lnTo>
                      <a:pt x="240767" y="106974"/>
                    </a:lnTo>
                    <a:lnTo>
                      <a:pt x="240312" y="101216"/>
                    </a:lnTo>
                    <a:lnTo>
                      <a:pt x="239858" y="95004"/>
                    </a:lnTo>
                    <a:lnTo>
                      <a:pt x="239858" y="90155"/>
                    </a:lnTo>
                    <a:lnTo>
                      <a:pt x="240615" y="87579"/>
                    </a:lnTo>
                    <a:lnTo>
                      <a:pt x="241221" y="86518"/>
                    </a:lnTo>
                    <a:lnTo>
                      <a:pt x="244858" y="82882"/>
                    </a:lnTo>
                    <a:lnTo>
                      <a:pt x="246070" y="81367"/>
                    </a:lnTo>
                    <a:lnTo>
                      <a:pt x="250313" y="75154"/>
                    </a:lnTo>
                    <a:lnTo>
                      <a:pt x="253949" y="70002"/>
                    </a:lnTo>
                    <a:lnTo>
                      <a:pt x="256525" y="66063"/>
                    </a:lnTo>
                    <a:lnTo>
                      <a:pt x="254101" y="63184"/>
                    </a:lnTo>
                    <a:lnTo>
                      <a:pt x="252434" y="60608"/>
                    </a:lnTo>
                    <a:lnTo>
                      <a:pt x="249858" y="57578"/>
                    </a:lnTo>
                    <a:lnTo>
                      <a:pt x="247434" y="56214"/>
                    </a:lnTo>
                    <a:lnTo>
                      <a:pt x="244858" y="54548"/>
                    </a:lnTo>
                    <a:lnTo>
                      <a:pt x="242433" y="50608"/>
                    </a:lnTo>
                    <a:lnTo>
                      <a:pt x="239858" y="46214"/>
                    </a:lnTo>
                    <a:lnTo>
                      <a:pt x="235918" y="42577"/>
                    </a:lnTo>
                    <a:lnTo>
                      <a:pt x="228796" y="37426"/>
                    </a:lnTo>
                    <a:lnTo>
                      <a:pt x="222281" y="30910"/>
                    </a:lnTo>
                    <a:lnTo>
                      <a:pt x="217130" y="24092"/>
                    </a:lnTo>
                    <a:lnTo>
                      <a:pt x="213948" y="20455"/>
                    </a:lnTo>
                    <a:lnTo>
                      <a:pt x="212584" y="19546"/>
                    </a:lnTo>
                    <a:lnTo>
                      <a:pt x="205917" y="17425"/>
                    </a:lnTo>
                    <a:lnTo>
                      <a:pt x="201220" y="14243"/>
                    </a:lnTo>
                    <a:lnTo>
                      <a:pt x="197583" y="11667"/>
                    </a:lnTo>
                    <a:lnTo>
                      <a:pt x="195311" y="10910"/>
                    </a:lnTo>
                    <a:lnTo>
                      <a:pt x="193189" y="10910"/>
                    </a:lnTo>
                    <a:lnTo>
                      <a:pt x="188644" y="11364"/>
                    </a:lnTo>
                    <a:lnTo>
                      <a:pt x="184856" y="9697"/>
                    </a:lnTo>
                    <a:lnTo>
                      <a:pt x="183189" y="9697"/>
                    </a:lnTo>
                    <a:lnTo>
                      <a:pt x="180765" y="9243"/>
                    </a:lnTo>
                    <a:lnTo>
                      <a:pt x="178643" y="8788"/>
                    </a:lnTo>
                    <a:lnTo>
                      <a:pt x="176370" y="9394"/>
                    </a:lnTo>
                    <a:lnTo>
                      <a:pt x="171522" y="10606"/>
                    </a:lnTo>
                    <a:lnTo>
                      <a:pt x="169552" y="10304"/>
                    </a:lnTo>
                    <a:lnTo>
                      <a:pt x="168491" y="8637"/>
                    </a:lnTo>
                    <a:lnTo>
                      <a:pt x="167885" y="7425"/>
                    </a:lnTo>
                    <a:lnTo>
                      <a:pt x="166218" y="6212"/>
                    </a:lnTo>
                    <a:lnTo>
                      <a:pt x="164855" y="6212"/>
                    </a:lnTo>
                    <a:lnTo>
                      <a:pt x="164097" y="7273"/>
                    </a:lnTo>
                    <a:lnTo>
                      <a:pt x="158946" y="10304"/>
                    </a:lnTo>
                    <a:lnTo>
                      <a:pt x="150612" y="11819"/>
                    </a:lnTo>
                    <a:lnTo>
                      <a:pt x="148642" y="11667"/>
                    </a:lnTo>
                    <a:lnTo>
                      <a:pt x="147127" y="10606"/>
                    </a:lnTo>
                    <a:lnTo>
                      <a:pt x="142884" y="5606"/>
                    </a:lnTo>
                    <a:lnTo>
                      <a:pt x="141672" y="4849"/>
                    </a:lnTo>
                    <a:lnTo>
                      <a:pt x="140611" y="4697"/>
                    </a:lnTo>
                    <a:lnTo>
                      <a:pt x="138642" y="4091"/>
                    </a:lnTo>
                    <a:lnTo>
                      <a:pt x="136823" y="3182"/>
                    </a:lnTo>
                    <a:lnTo>
                      <a:pt x="135308" y="1061"/>
                    </a:lnTo>
                    <a:lnTo>
                      <a:pt x="133641" y="0"/>
                    </a:lnTo>
                    <a:lnTo>
                      <a:pt x="131823" y="3939"/>
                    </a:lnTo>
                    <a:lnTo>
                      <a:pt x="128793" y="10910"/>
                    </a:lnTo>
                    <a:lnTo>
                      <a:pt x="127126" y="14698"/>
                    </a:lnTo>
                    <a:lnTo>
                      <a:pt x="125005" y="19546"/>
                    </a:lnTo>
                    <a:lnTo>
                      <a:pt x="124399" y="19546"/>
                    </a:lnTo>
                    <a:lnTo>
                      <a:pt x="123338" y="19243"/>
                    </a:lnTo>
                    <a:lnTo>
                      <a:pt x="119096" y="13334"/>
                    </a:lnTo>
                    <a:lnTo>
                      <a:pt x="116520" y="11061"/>
                    </a:lnTo>
                    <a:lnTo>
                      <a:pt x="114550" y="11213"/>
                    </a:lnTo>
                    <a:lnTo>
                      <a:pt x="113035" y="12273"/>
                    </a:lnTo>
                    <a:lnTo>
                      <a:pt x="112126" y="14394"/>
                    </a:lnTo>
                    <a:lnTo>
                      <a:pt x="111217" y="15607"/>
                    </a:lnTo>
                    <a:lnTo>
                      <a:pt x="110156" y="16061"/>
                    </a:lnTo>
                    <a:lnTo>
                      <a:pt x="107732" y="15758"/>
                    </a:lnTo>
                    <a:lnTo>
                      <a:pt x="104246" y="14849"/>
                    </a:lnTo>
                    <a:lnTo>
                      <a:pt x="100610" y="15152"/>
                    </a:lnTo>
                    <a:lnTo>
                      <a:pt x="96974" y="16516"/>
                    </a:lnTo>
                    <a:lnTo>
                      <a:pt x="96367" y="16516"/>
                    </a:lnTo>
                    <a:lnTo>
                      <a:pt x="94246" y="23940"/>
                    </a:lnTo>
                    <a:lnTo>
                      <a:pt x="94246" y="28031"/>
                    </a:lnTo>
                    <a:lnTo>
                      <a:pt x="92731" y="33941"/>
                    </a:lnTo>
                    <a:lnTo>
                      <a:pt x="91519" y="36668"/>
                    </a:lnTo>
                    <a:lnTo>
                      <a:pt x="90458" y="38335"/>
                    </a:lnTo>
                    <a:lnTo>
                      <a:pt x="89549" y="40001"/>
                    </a:lnTo>
                    <a:lnTo>
                      <a:pt x="87882" y="43789"/>
                    </a:lnTo>
                    <a:lnTo>
                      <a:pt x="86519" y="48638"/>
                    </a:lnTo>
                    <a:lnTo>
                      <a:pt x="85761" y="53790"/>
                    </a:lnTo>
                    <a:lnTo>
                      <a:pt x="85761" y="56669"/>
                    </a:lnTo>
                    <a:lnTo>
                      <a:pt x="85458" y="58032"/>
                    </a:lnTo>
                    <a:lnTo>
                      <a:pt x="85003" y="58790"/>
                    </a:lnTo>
                    <a:lnTo>
                      <a:pt x="81670" y="59396"/>
                    </a:lnTo>
                    <a:lnTo>
                      <a:pt x="77124" y="60002"/>
                    </a:lnTo>
                    <a:lnTo>
                      <a:pt x="74700" y="60608"/>
                    </a:lnTo>
                    <a:lnTo>
                      <a:pt x="73033" y="61669"/>
                    </a:lnTo>
                    <a:lnTo>
                      <a:pt x="71063" y="64093"/>
                    </a:lnTo>
                    <a:lnTo>
                      <a:pt x="66972" y="70609"/>
                    </a:lnTo>
                    <a:lnTo>
                      <a:pt x="64851" y="74548"/>
                    </a:lnTo>
                    <a:lnTo>
                      <a:pt x="61669" y="80155"/>
                    </a:lnTo>
                    <a:lnTo>
                      <a:pt x="57729" y="83943"/>
                    </a:lnTo>
                    <a:lnTo>
                      <a:pt x="56972" y="85912"/>
                    </a:lnTo>
                    <a:lnTo>
                      <a:pt x="56366" y="89397"/>
                    </a:lnTo>
                    <a:lnTo>
                      <a:pt x="54851" y="94852"/>
                    </a:lnTo>
                    <a:lnTo>
                      <a:pt x="53638" y="98792"/>
                    </a:lnTo>
                    <a:lnTo>
                      <a:pt x="53790" y="101973"/>
                    </a:lnTo>
                    <a:lnTo>
                      <a:pt x="52578" y="107428"/>
                    </a:lnTo>
                    <a:lnTo>
                      <a:pt x="52881" y="110156"/>
                    </a:lnTo>
                    <a:lnTo>
                      <a:pt x="51517" y="111671"/>
                    </a:lnTo>
                    <a:lnTo>
                      <a:pt x="49699" y="113035"/>
                    </a:lnTo>
                    <a:lnTo>
                      <a:pt x="48487" y="113489"/>
                    </a:lnTo>
                    <a:lnTo>
                      <a:pt x="45760" y="111822"/>
                    </a:lnTo>
                    <a:lnTo>
                      <a:pt x="43790" y="110156"/>
                    </a:lnTo>
                    <a:lnTo>
                      <a:pt x="43032" y="109701"/>
                    </a:lnTo>
                    <a:lnTo>
                      <a:pt x="41214" y="110762"/>
                    </a:lnTo>
                    <a:lnTo>
                      <a:pt x="39093" y="112277"/>
                    </a:lnTo>
                    <a:lnTo>
                      <a:pt x="36820" y="115762"/>
                    </a:lnTo>
                    <a:lnTo>
                      <a:pt x="34850" y="119398"/>
                    </a:lnTo>
                    <a:lnTo>
                      <a:pt x="35911" y="126974"/>
                    </a:lnTo>
                    <a:lnTo>
                      <a:pt x="35911" y="128641"/>
                    </a:lnTo>
                    <a:lnTo>
                      <a:pt x="35305" y="130459"/>
                    </a:lnTo>
                    <a:lnTo>
                      <a:pt x="32426" y="136217"/>
                    </a:lnTo>
                    <a:lnTo>
                      <a:pt x="31668" y="137884"/>
                    </a:lnTo>
                    <a:lnTo>
                      <a:pt x="30607" y="141369"/>
                    </a:lnTo>
                    <a:lnTo>
                      <a:pt x="29547" y="147278"/>
                    </a:lnTo>
                    <a:lnTo>
                      <a:pt x="29547" y="148642"/>
                    </a:lnTo>
                    <a:lnTo>
                      <a:pt x="29395" y="149854"/>
                    </a:lnTo>
                    <a:lnTo>
                      <a:pt x="29698" y="155309"/>
                    </a:lnTo>
                    <a:lnTo>
                      <a:pt x="29850" y="160157"/>
                    </a:lnTo>
                    <a:lnTo>
                      <a:pt x="30153" y="168188"/>
                    </a:lnTo>
                    <a:lnTo>
                      <a:pt x="30153" y="170158"/>
                    </a:lnTo>
                    <a:lnTo>
                      <a:pt x="30001" y="172733"/>
                    </a:lnTo>
                    <a:lnTo>
                      <a:pt x="29395" y="173794"/>
                    </a:lnTo>
                    <a:lnTo>
                      <a:pt x="27880" y="175310"/>
                    </a:lnTo>
                    <a:lnTo>
                      <a:pt x="26062" y="176522"/>
                    </a:lnTo>
                    <a:lnTo>
                      <a:pt x="21516" y="176976"/>
                    </a:lnTo>
                    <a:lnTo>
                      <a:pt x="17576" y="176825"/>
                    </a:lnTo>
                    <a:lnTo>
                      <a:pt x="14849" y="176522"/>
                    </a:lnTo>
                    <a:lnTo>
                      <a:pt x="11213" y="176522"/>
                    </a:lnTo>
                    <a:lnTo>
                      <a:pt x="7728" y="176825"/>
                    </a:lnTo>
                    <a:lnTo>
                      <a:pt x="6364" y="177885"/>
                    </a:lnTo>
                    <a:lnTo>
                      <a:pt x="4546" y="181825"/>
                    </a:lnTo>
                    <a:lnTo>
                      <a:pt x="1819" y="187583"/>
                    </a:lnTo>
                    <a:lnTo>
                      <a:pt x="303" y="190007"/>
                    </a:lnTo>
                    <a:lnTo>
                      <a:pt x="0" y="191522"/>
                    </a:lnTo>
                    <a:lnTo>
                      <a:pt x="455" y="192280"/>
                    </a:lnTo>
                    <a:lnTo>
                      <a:pt x="2122" y="193492"/>
                    </a:lnTo>
                    <a:lnTo>
                      <a:pt x="6212" y="195310"/>
                    </a:lnTo>
                    <a:lnTo>
                      <a:pt x="10758" y="196219"/>
                    </a:lnTo>
                    <a:lnTo>
                      <a:pt x="14092" y="196674"/>
                    </a:lnTo>
                    <a:lnTo>
                      <a:pt x="16365" y="197128"/>
                    </a:lnTo>
                    <a:lnTo>
                      <a:pt x="18183" y="197735"/>
                    </a:lnTo>
                    <a:lnTo>
                      <a:pt x="24698" y="202129"/>
                    </a:lnTo>
                    <a:lnTo>
                      <a:pt x="26668" y="204250"/>
                    </a:lnTo>
                    <a:lnTo>
                      <a:pt x="27880" y="206068"/>
                    </a:lnTo>
                    <a:lnTo>
                      <a:pt x="28183" y="207886"/>
                    </a:lnTo>
                    <a:lnTo>
                      <a:pt x="29092" y="209856"/>
                    </a:lnTo>
                    <a:lnTo>
                      <a:pt x="32880" y="213796"/>
                    </a:lnTo>
                    <a:lnTo>
                      <a:pt x="35001" y="215917"/>
                    </a:lnTo>
                    <a:lnTo>
                      <a:pt x="40608" y="218796"/>
                    </a:lnTo>
                    <a:lnTo>
                      <a:pt x="42729" y="222129"/>
                    </a:lnTo>
                    <a:lnTo>
                      <a:pt x="44850" y="223644"/>
                    </a:lnTo>
                    <a:lnTo>
                      <a:pt x="46820" y="225311"/>
                    </a:lnTo>
                    <a:lnTo>
                      <a:pt x="47881" y="227887"/>
                    </a:lnTo>
                    <a:lnTo>
                      <a:pt x="50305" y="235160"/>
                    </a:lnTo>
                    <a:lnTo>
                      <a:pt x="51972" y="238948"/>
                    </a:lnTo>
                    <a:lnTo>
                      <a:pt x="53638" y="242130"/>
                    </a:lnTo>
                    <a:lnTo>
                      <a:pt x="54245" y="247282"/>
                    </a:lnTo>
                    <a:lnTo>
                      <a:pt x="55608" y="249555"/>
                    </a:lnTo>
                    <a:lnTo>
                      <a:pt x="56972" y="252282"/>
                    </a:lnTo>
                    <a:lnTo>
                      <a:pt x="59245" y="254706"/>
                    </a:lnTo>
                    <a:lnTo>
                      <a:pt x="61669" y="256676"/>
                    </a:lnTo>
                    <a:lnTo>
                      <a:pt x="61972" y="257131"/>
                    </a:lnTo>
                    <a:lnTo>
                      <a:pt x="61972" y="258191"/>
                    </a:lnTo>
                    <a:lnTo>
                      <a:pt x="61972" y="259403"/>
                    </a:lnTo>
                    <a:lnTo>
                      <a:pt x="62578" y="260161"/>
                    </a:lnTo>
                    <a:lnTo>
                      <a:pt x="63639" y="260616"/>
                    </a:lnTo>
                    <a:lnTo>
                      <a:pt x="65003" y="260161"/>
                    </a:lnTo>
                    <a:lnTo>
                      <a:pt x="66366" y="259403"/>
                    </a:lnTo>
                    <a:lnTo>
                      <a:pt x="67579" y="259252"/>
                    </a:lnTo>
                    <a:lnTo>
                      <a:pt x="75155" y="261222"/>
                    </a:lnTo>
                    <a:lnTo>
                      <a:pt x="76367" y="263040"/>
                    </a:lnTo>
                    <a:lnTo>
                      <a:pt x="76215" y="265010"/>
                    </a:lnTo>
                    <a:lnTo>
                      <a:pt x="76669" y="266373"/>
                    </a:lnTo>
                    <a:lnTo>
                      <a:pt x="76064" y="267737"/>
                    </a:lnTo>
                    <a:lnTo>
                      <a:pt x="75458" y="271980"/>
                    </a:lnTo>
                    <a:lnTo>
                      <a:pt x="75609" y="275768"/>
                    </a:lnTo>
                    <a:lnTo>
                      <a:pt x="77882" y="278647"/>
                    </a:lnTo>
                    <a:lnTo>
                      <a:pt x="79852" y="280919"/>
                    </a:lnTo>
                    <a:lnTo>
                      <a:pt x="81518" y="284101"/>
                    </a:lnTo>
                    <a:lnTo>
                      <a:pt x="82731" y="285162"/>
                    </a:lnTo>
                    <a:lnTo>
                      <a:pt x="84246" y="285617"/>
                    </a:lnTo>
                    <a:lnTo>
                      <a:pt x="89549" y="285768"/>
                    </a:lnTo>
                    <a:lnTo>
                      <a:pt x="97125" y="285919"/>
                    </a:lnTo>
                    <a:lnTo>
                      <a:pt x="104550" y="286071"/>
                    </a:lnTo>
                    <a:lnTo>
                      <a:pt x="105307" y="286223"/>
                    </a:lnTo>
                    <a:lnTo>
                      <a:pt x="106822" y="286677"/>
                    </a:lnTo>
                    <a:lnTo>
                      <a:pt x="113641" y="290920"/>
                    </a:lnTo>
                    <a:lnTo>
                      <a:pt x="119853" y="294859"/>
                    </a:lnTo>
                    <a:lnTo>
                      <a:pt x="125156" y="298193"/>
                    </a:lnTo>
                    <a:lnTo>
                      <a:pt x="130308" y="301526"/>
                    </a:lnTo>
                    <a:lnTo>
                      <a:pt x="135308" y="304708"/>
                    </a:lnTo>
                    <a:lnTo>
                      <a:pt x="139096" y="307436"/>
                    </a:lnTo>
                    <a:lnTo>
                      <a:pt x="142884" y="308193"/>
                    </a:lnTo>
                    <a:lnTo>
                      <a:pt x="149097" y="308648"/>
                    </a:lnTo>
                    <a:lnTo>
                      <a:pt x="153491" y="308799"/>
                    </a:lnTo>
                    <a:lnTo>
                      <a:pt x="157430" y="309860"/>
                    </a:lnTo>
                    <a:lnTo>
                      <a:pt x="163339" y="310921"/>
                    </a:lnTo>
                    <a:lnTo>
                      <a:pt x="167582" y="311375"/>
                    </a:lnTo>
                    <a:lnTo>
                      <a:pt x="170310" y="311981"/>
                    </a:lnTo>
                    <a:lnTo>
                      <a:pt x="177734" y="312587"/>
                    </a:lnTo>
                    <a:lnTo>
                      <a:pt x="178946" y="312284"/>
                    </a:lnTo>
                    <a:lnTo>
                      <a:pt x="182128" y="309405"/>
                    </a:lnTo>
                    <a:lnTo>
                      <a:pt x="185765" y="304557"/>
                    </a:lnTo>
                    <a:lnTo>
                      <a:pt x="187128" y="301829"/>
                    </a:lnTo>
                    <a:lnTo>
                      <a:pt x="191825" y="299253"/>
                    </a:lnTo>
                    <a:lnTo>
                      <a:pt x="200159" y="295617"/>
                    </a:lnTo>
                    <a:lnTo>
                      <a:pt x="205917" y="293041"/>
                    </a:lnTo>
                    <a:lnTo>
                      <a:pt x="212432" y="290465"/>
                    </a:lnTo>
                    <a:lnTo>
                      <a:pt x="215311" y="292586"/>
                    </a:lnTo>
                    <a:lnTo>
                      <a:pt x="219402" y="296223"/>
                    </a:lnTo>
                    <a:lnTo>
                      <a:pt x="221220" y="298041"/>
                    </a:lnTo>
                    <a:lnTo>
                      <a:pt x="222736" y="298799"/>
                    </a:lnTo>
                    <a:lnTo>
                      <a:pt x="224857" y="299405"/>
                    </a:lnTo>
                    <a:lnTo>
                      <a:pt x="227584" y="299405"/>
                    </a:lnTo>
                    <a:lnTo>
                      <a:pt x="229100" y="299253"/>
                    </a:lnTo>
                    <a:lnTo>
                      <a:pt x="232130" y="298799"/>
                    </a:lnTo>
                    <a:lnTo>
                      <a:pt x="239100" y="298344"/>
                    </a:lnTo>
                    <a:lnTo>
                      <a:pt x="243039" y="298496"/>
                    </a:lnTo>
                    <a:lnTo>
                      <a:pt x="243949" y="296981"/>
                    </a:lnTo>
                    <a:lnTo>
                      <a:pt x="246827" y="294102"/>
                    </a:lnTo>
                    <a:lnTo>
                      <a:pt x="252434" y="292284"/>
                    </a:lnTo>
                    <a:lnTo>
                      <a:pt x="255919" y="292132"/>
                    </a:lnTo>
                    <a:lnTo>
                      <a:pt x="267889" y="289859"/>
                    </a:lnTo>
                    <a:lnTo>
                      <a:pt x="269707" y="288950"/>
                    </a:lnTo>
                    <a:lnTo>
                      <a:pt x="270768" y="288041"/>
                    </a:lnTo>
                    <a:lnTo>
                      <a:pt x="271677" y="285768"/>
                    </a:lnTo>
                    <a:lnTo>
                      <a:pt x="274101" y="282435"/>
                    </a:lnTo>
                    <a:lnTo>
                      <a:pt x="276980" y="280313"/>
                    </a:lnTo>
                    <a:lnTo>
                      <a:pt x="282738" y="277434"/>
                    </a:lnTo>
                    <a:lnTo>
                      <a:pt x="288344" y="275010"/>
                    </a:lnTo>
                    <a:lnTo>
                      <a:pt x="289556" y="274555"/>
                    </a:lnTo>
                    <a:lnTo>
                      <a:pt x="296223" y="273040"/>
                    </a:lnTo>
                    <a:lnTo>
                      <a:pt x="297890" y="272434"/>
                    </a:lnTo>
                    <a:lnTo>
                      <a:pt x="300618" y="271980"/>
                    </a:lnTo>
                    <a:lnTo>
                      <a:pt x="301678" y="271980"/>
                    </a:lnTo>
                    <a:lnTo>
                      <a:pt x="311072" y="272434"/>
                    </a:lnTo>
                    <a:lnTo>
                      <a:pt x="318345" y="272889"/>
                    </a:lnTo>
                    <a:lnTo>
                      <a:pt x="325921" y="273343"/>
                    </a:lnTo>
                    <a:lnTo>
                      <a:pt x="326679" y="273040"/>
                    </a:lnTo>
                    <a:lnTo>
                      <a:pt x="331982" y="267282"/>
                    </a:lnTo>
                    <a:lnTo>
                      <a:pt x="340316" y="258191"/>
                    </a:lnTo>
                    <a:lnTo>
                      <a:pt x="345619" y="252434"/>
                    </a:lnTo>
                    <a:lnTo>
                      <a:pt x="353953" y="243494"/>
                    </a:lnTo>
                    <a:lnTo>
                      <a:pt x="360165" y="236978"/>
                    </a:lnTo>
                    <a:lnTo>
                      <a:pt x="367287" y="229705"/>
                    </a:lnTo>
                    <a:lnTo>
                      <a:pt x="374105" y="223190"/>
                    </a:lnTo>
                    <a:lnTo>
                      <a:pt x="382287" y="215311"/>
                    </a:lnTo>
                    <a:lnTo>
                      <a:pt x="387439" y="210311"/>
                    </a:lnTo>
                    <a:lnTo>
                      <a:pt x="395469" y="202583"/>
                    </a:lnTo>
                    <a:lnTo>
                      <a:pt x="403045" y="195310"/>
                    </a:lnTo>
                    <a:lnTo>
                      <a:pt x="409864" y="188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2" name="Freeform: Shape 3291">
                <a:extLst>
                  <a:ext uri="{FF2B5EF4-FFF2-40B4-BE49-F238E27FC236}">
                    <a16:creationId xmlns:a16="http://schemas.microsoft.com/office/drawing/2014/main" id="{68991BFA-3F4E-4C1F-ADC2-384F6BE45762}"/>
                  </a:ext>
                </a:extLst>
              </p:cNvPr>
              <p:cNvSpPr/>
              <p:nvPr/>
            </p:nvSpPr>
            <p:spPr>
              <a:xfrm>
                <a:off x="5280363" y="3288916"/>
                <a:ext cx="615173" cy="501988"/>
              </a:xfrm>
              <a:custGeom>
                <a:avLst/>
                <a:gdLst>
                  <a:gd name="connsiteX0" fmla="*/ 28183 w 615173"/>
                  <a:gd name="connsiteY0" fmla="*/ 486836 h 501988"/>
                  <a:gd name="connsiteX1" fmla="*/ 25910 w 615173"/>
                  <a:gd name="connsiteY1" fmla="*/ 485624 h 501988"/>
                  <a:gd name="connsiteX2" fmla="*/ 24697 w 615173"/>
                  <a:gd name="connsiteY2" fmla="*/ 485472 h 501988"/>
                  <a:gd name="connsiteX3" fmla="*/ 23788 w 615173"/>
                  <a:gd name="connsiteY3" fmla="*/ 486230 h 501988"/>
                  <a:gd name="connsiteX4" fmla="*/ 22879 w 615173"/>
                  <a:gd name="connsiteY4" fmla="*/ 487897 h 501988"/>
                  <a:gd name="connsiteX5" fmla="*/ 24243 w 615173"/>
                  <a:gd name="connsiteY5" fmla="*/ 490169 h 501988"/>
                  <a:gd name="connsiteX6" fmla="*/ 25607 w 615173"/>
                  <a:gd name="connsiteY6" fmla="*/ 490927 h 501988"/>
                  <a:gd name="connsiteX7" fmla="*/ 26667 w 615173"/>
                  <a:gd name="connsiteY7" fmla="*/ 490624 h 501988"/>
                  <a:gd name="connsiteX8" fmla="*/ 28940 w 615173"/>
                  <a:gd name="connsiteY8" fmla="*/ 488806 h 501988"/>
                  <a:gd name="connsiteX9" fmla="*/ 28940 w 615173"/>
                  <a:gd name="connsiteY9" fmla="*/ 488048 h 501988"/>
                  <a:gd name="connsiteX10" fmla="*/ 28183 w 615173"/>
                  <a:gd name="connsiteY10" fmla="*/ 486836 h 501988"/>
                  <a:gd name="connsiteX11" fmla="*/ 50305 w 615173"/>
                  <a:gd name="connsiteY11" fmla="*/ 475017 h 501988"/>
                  <a:gd name="connsiteX12" fmla="*/ 44850 w 615173"/>
                  <a:gd name="connsiteY12" fmla="*/ 479260 h 501988"/>
                  <a:gd name="connsiteX13" fmla="*/ 43789 w 615173"/>
                  <a:gd name="connsiteY13" fmla="*/ 479563 h 501988"/>
                  <a:gd name="connsiteX14" fmla="*/ 38486 w 615173"/>
                  <a:gd name="connsiteY14" fmla="*/ 480472 h 501988"/>
                  <a:gd name="connsiteX15" fmla="*/ 36062 w 615173"/>
                  <a:gd name="connsiteY15" fmla="*/ 480321 h 501988"/>
                  <a:gd name="connsiteX16" fmla="*/ 34395 w 615173"/>
                  <a:gd name="connsiteY16" fmla="*/ 481381 h 501988"/>
                  <a:gd name="connsiteX17" fmla="*/ 35456 w 615173"/>
                  <a:gd name="connsiteY17" fmla="*/ 482745 h 501988"/>
                  <a:gd name="connsiteX18" fmla="*/ 37426 w 615173"/>
                  <a:gd name="connsiteY18" fmla="*/ 486987 h 501988"/>
                  <a:gd name="connsiteX19" fmla="*/ 41214 w 615173"/>
                  <a:gd name="connsiteY19" fmla="*/ 491230 h 501988"/>
                  <a:gd name="connsiteX20" fmla="*/ 44395 w 615173"/>
                  <a:gd name="connsiteY20" fmla="*/ 490473 h 501988"/>
                  <a:gd name="connsiteX21" fmla="*/ 45607 w 615173"/>
                  <a:gd name="connsiteY21" fmla="*/ 489563 h 501988"/>
                  <a:gd name="connsiteX22" fmla="*/ 47729 w 615173"/>
                  <a:gd name="connsiteY22" fmla="*/ 486987 h 501988"/>
                  <a:gd name="connsiteX23" fmla="*/ 50002 w 615173"/>
                  <a:gd name="connsiteY23" fmla="*/ 480321 h 501988"/>
                  <a:gd name="connsiteX24" fmla="*/ 55911 w 615173"/>
                  <a:gd name="connsiteY24" fmla="*/ 475927 h 501988"/>
                  <a:gd name="connsiteX25" fmla="*/ 55760 w 615173"/>
                  <a:gd name="connsiteY25" fmla="*/ 474563 h 501988"/>
                  <a:gd name="connsiteX26" fmla="*/ 50305 w 615173"/>
                  <a:gd name="connsiteY26" fmla="*/ 475017 h 501988"/>
                  <a:gd name="connsiteX27" fmla="*/ 75457 w 615173"/>
                  <a:gd name="connsiteY27" fmla="*/ 487139 h 501988"/>
                  <a:gd name="connsiteX28" fmla="*/ 75003 w 615173"/>
                  <a:gd name="connsiteY28" fmla="*/ 486836 h 501988"/>
                  <a:gd name="connsiteX29" fmla="*/ 74548 w 615173"/>
                  <a:gd name="connsiteY29" fmla="*/ 486987 h 501988"/>
                  <a:gd name="connsiteX30" fmla="*/ 73942 w 615173"/>
                  <a:gd name="connsiteY30" fmla="*/ 487442 h 501988"/>
                  <a:gd name="connsiteX31" fmla="*/ 67578 w 615173"/>
                  <a:gd name="connsiteY31" fmla="*/ 486987 h 501988"/>
                  <a:gd name="connsiteX32" fmla="*/ 66517 w 615173"/>
                  <a:gd name="connsiteY32" fmla="*/ 489563 h 501988"/>
                  <a:gd name="connsiteX33" fmla="*/ 64093 w 615173"/>
                  <a:gd name="connsiteY33" fmla="*/ 491685 h 501988"/>
                  <a:gd name="connsiteX34" fmla="*/ 64093 w 615173"/>
                  <a:gd name="connsiteY34" fmla="*/ 494867 h 501988"/>
                  <a:gd name="connsiteX35" fmla="*/ 66820 w 615173"/>
                  <a:gd name="connsiteY35" fmla="*/ 497897 h 501988"/>
                  <a:gd name="connsiteX36" fmla="*/ 68336 w 615173"/>
                  <a:gd name="connsiteY36" fmla="*/ 498655 h 501988"/>
                  <a:gd name="connsiteX37" fmla="*/ 70912 w 615173"/>
                  <a:gd name="connsiteY37" fmla="*/ 498958 h 501988"/>
                  <a:gd name="connsiteX38" fmla="*/ 74245 w 615173"/>
                  <a:gd name="connsiteY38" fmla="*/ 497139 h 501988"/>
                  <a:gd name="connsiteX39" fmla="*/ 75609 w 615173"/>
                  <a:gd name="connsiteY39" fmla="*/ 495321 h 501988"/>
                  <a:gd name="connsiteX40" fmla="*/ 75760 w 615173"/>
                  <a:gd name="connsiteY40" fmla="*/ 491836 h 501988"/>
                  <a:gd name="connsiteX41" fmla="*/ 75154 w 615173"/>
                  <a:gd name="connsiteY41" fmla="*/ 489563 h 501988"/>
                  <a:gd name="connsiteX42" fmla="*/ 75457 w 615173"/>
                  <a:gd name="connsiteY42" fmla="*/ 487139 h 501988"/>
                  <a:gd name="connsiteX43" fmla="*/ 3182 w 615173"/>
                  <a:gd name="connsiteY43" fmla="*/ 498352 h 501988"/>
                  <a:gd name="connsiteX44" fmla="*/ 0 w 615173"/>
                  <a:gd name="connsiteY44" fmla="*/ 498503 h 501988"/>
                  <a:gd name="connsiteX45" fmla="*/ 606 w 615173"/>
                  <a:gd name="connsiteY45" fmla="*/ 499564 h 501988"/>
                  <a:gd name="connsiteX46" fmla="*/ 1364 w 615173"/>
                  <a:gd name="connsiteY46" fmla="*/ 500170 h 501988"/>
                  <a:gd name="connsiteX47" fmla="*/ 4697 w 615173"/>
                  <a:gd name="connsiteY47" fmla="*/ 501988 h 501988"/>
                  <a:gd name="connsiteX48" fmla="*/ 7273 w 615173"/>
                  <a:gd name="connsiteY48" fmla="*/ 497139 h 501988"/>
                  <a:gd name="connsiteX49" fmla="*/ 6212 w 615173"/>
                  <a:gd name="connsiteY49" fmla="*/ 495927 h 501988"/>
                  <a:gd name="connsiteX50" fmla="*/ 3182 w 615173"/>
                  <a:gd name="connsiteY50" fmla="*/ 498352 h 501988"/>
                  <a:gd name="connsiteX51" fmla="*/ 116822 w 615173"/>
                  <a:gd name="connsiteY51" fmla="*/ 469411 h 501988"/>
                  <a:gd name="connsiteX52" fmla="*/ 115004 w 615173"/>
                  <a:gd name="connsiteY52" fmla="*/ 469563 h 501988"/>
                  <a:gd name="connsiteX53" fmla="*/ 113641 w 615173"/>
                  <a:gd name="connsiteY53" fmla="*/ 470623 h 501988"/>
                  <a:gd name="connsiteX54" fmla="*/ 112883 w 615173"/>
                  <a:gd name="connsiteY54" fmla="*/ 473199 h 501988"/>
                  <a:gd name="connsiteX55" fmla="*/ 109549 w 615173"/>
                  <a:gd name="connsiteY55" fmla="*/ 479411 h 501988"/>
                  <a:gd name="connsiteX56" fmla="*/ 107428 w 615173"/>
                  <a:gd name="connsiteY56" fmla="*/ 485018 h 501988"/>
                  <a:gd name="connsiteX57" fmla="*/ 104095 w 615173"/>
                  <a:gd name="connsiteY57" fmla="*/ 487594 h 501988"/>
                  <a:gd name="connsiteX58" fmla="*/ 100307 w 615173"/>
                  <a:gd name="connsiteY58" fmla="*/ 488503 h 501988"/>
                  <a:gd name="connsiteX59" fmla="*/ 100912 w 615173"/>
                  <a:gd name="connsiteY59" fmla="*/ 489109 h 501988"/>
                  <a:gd name="connsiteX60" fmla="*/ 104700 w 615173"/>
                  <a:gd name="connsiteY60" fmla="*/ 489866 h 501988"/>
                  <a:gd name="connsiteX61" fmla="*/ 108488 w 615173"/>
                  <a:gd name="connsiteY61" fmla="*/ 486533 h 501988"/>
                  <a:gd name="connsiteX62" fmla="*/ 115913 w 615173"/>
                  <a:gd name="connsiteY62" fmla="*/ 484109 h 501988"/>
                  <a:gd name="connsiteX63" fmla="*/ 117731 w 615173"/>
                  <a:gd name="connsiteY63" fmla="*/ 479563 h 501988"/>
                  <a:gd name="connsiteX64" fmla="*/ 118641 w 615173"/>
                  <a:gd name="connsiteY64" fmla="*/ 474411 h 501988"/>
                  <a:gd name="connsiteX65" fmla="*/ 118641 w 615173"/>
                  <a:gd name="connsiteY65" fmla="*/ 471229 h 501988"/>
                  <a:gd name="connsiteX66" fmla="*/ 117883 w 615173"/>
                  <a:gd name="connsiteY66" fmla="*/ 469866 h 501988"/>
                  <a:gd name="connsiteX67" fmla="*/ 116822 w 615173"/>
                  <a:gd name="connsiteY67" fmla="*/ 469411 h 501988"/>
                  <a:gd name="connsiteX68" fmla="*/ 11364 w 615173"/>
                  <a:gd name="connsiteY68" fmla="*/ 468199 h 501988"/>
                  <a:gd name="connsiteX69" fmla="*/ 9849 w 615173"/>
                  <a:gd name="connsiteY69" fmla="*/ 466381 h 501988"/>
                  <a:gd name="connsiteX70" fmla="*/ 6212 w 615173"/>
                  <a:gd name="connsiteY70" fmla="*/ 466381 h 501988"/>
                  <a:gd name="connsiteX71" fmla="*/ 4243 w 615173"/>
                  <a:gd name="connsiteY71" fmla="*/ 468956 h 501988"/>
                  <a:gd name="connsiteX72" fmla="*/ 7424 w 615173"/>
                  <a:gd name="connsiteY72" fmla="*/ 474714 h 501988"/>
                  <a:gd name="connsiteX73" fmla="*/ 8031 w 615173"/>
                  <a:gd name="connsiteY73" fmla="*/ 476987 h 501988"/>
                  <a:gd name="connsiteX74" fmla="*/ 8788 w 615173"/>
                  <a:gd name="connsiteY74" fmla="*/ 476836 h 501988"/>
                  <a:gd name="connsiteX75" fmla="*/ 10910 w 615173"/>
                  <a:gd name="connsiteY75" fmla="*/ 474563 h 501988"/>
                  <a:gd name="connsiteX76" fmla="*/ 11212 w 615173"/>
                  <a:gd name="connsiteY76" fmla="*/ 473199 h 501988"/>
                  <a:gd name="connsiteX77" fmla="*/ 11061 w 615173"/>
                  <a:gd name="connsiteY77" fmla="*/ 471078 h 501988"/>
                  <a:gd name="connsiteX78" fmla="*/ 11819 w 615173"/>
                  <a:gd name="connsiteY78" fmla="*/ 470017 h 501988"/>
                  <a:gd name="connsiteX79" fmla="*/ 11364 w 615173"/>
                  <a:gd name="connsiteY79" fmla="*/ 468199 h 501988"/>
                  <a:gd name="connsiteX80" fmla="*/ 614871 w 615173"/>
                  <a:gd name="connsiteY80" fmla="*/ 125762 h 501988"/>
                  <a:gd name="connsiteX81" fmla="*/ 612447 w 615173"/>
                  <a:gd name="connsiteY81" fmla="*/ 122126 h 501988"/>
                  <a:gd name="connsiteX82" fmla="*/ 607901 w 615173"/>
                  <a:gd name="connsiteY82" fmla="*/ 120762 h 501988"/>
                  <a:gd name="connsiteX83" fmla="*/ 602295 w 615173"/>
                  <a:gd name="connsiteY83" fmla="*/ 121217 h 501988"/>
                  <a:gd name="connsiteX84" fmla="*/ 602143 w 615173"/>
                  <a:gd name="connsiteY84" fmla="*/ 122126 h 501988"/>
                  <a:gd name="connsiteX85" fmla="*/ 602143 w 615173"/>
                  <a:gd name="connsiteY85" fmla="*/ 124095 h 501988"/>
                  <a:gd name="connsiteX86" fmla="*/ 602750 w 615173"/>
                  <a:gd name="connsiteY86" fmla="*/ 124702 h 501988"/>
                  <a:gd name="connsiteX87" fmla="*/ 605477 w 615173"/>
                  <a:gd name="connsiteY87" fmla="*/ 125156 h 501988"/>
                  <a:gd name="connsiteX88" fmla="*/ 613962 w 615173"/>
                  <a:gd name="connsiteY88" fmla="*/ 128944 h 501988"/>
                  <a:gd name="connsiteX89" fmla="*/ 614417 w 615173"/>
                  <a:gd name="connsiteY89" fmla="*/ 128641 h 501988"/>
                  <a:gd name="connsiteX90" fmla="*/ 615174 w 615173"/>
                  <a:gd name="connsiteY90" fmla="*/ 126823 h 501988"/>
                  <a:gd name="connsiteX91" fmla="*/ 614871 w 615173"/>
                  <a:gd name="connsiteY91" fmla="*/ 125762 h 501988"/>
                  <a:gd name="connsiteX92" fmla="*/ 127429 w 615173"/>
                  <a:gd name="connsiteY92" fmla="*/ 455623 h 501988"/>
                  <a:gd name="connsiteX93" fmla="*/ 126519 w 615173"/>
                  <a:gd name="connsiteY93" fmla="*/ 457592 h 501988"/>
                  <a:gd name="connsiteX94" fmla="*/ 123338 w 615173"/>
                  <a:gd name="connsiteY94" fmla="*/ 458350 h 501988"/>
                  <a:gd name="connsiteX95" fmla="*/ 119550 w 615173"/>
                  <a:gd name="connsiteY95" fmla="*/ 460168 h 501988"/>
                  <a:gd name="connsiteX96" fmla="*/ 118641 w 615173"/>
                  <a:gd name="connsiteY96" fmla="*/ 461380 h 501988"/>
                  <a:gd name="connsiteX97" fmla="*/ 117580 w 615173"/>
                  <a:gd name="connsiteY97" fmla="*/ 465623 h 501988"/>
                  <a:gd name="connsiteX98" fmla="*/ 119701 w 615173"/>
                  <a:gd name="connsiteY98" fmla="*/ 466381 h 501988"/>
                  <a:gd name="connsiteX99" fmla="*/ 121519 w 615173"/>
                  <a:gd name="connsiteY99" fmla="*/ 464411 h 501988"/>
                  <a:gd name="connsiteX100" fmla="*/ 125914 w 615173"/>
                  <a:gd name="connsiteY100" fmla="*/ 462896 h 501988"/>
                  <a:gd name="connsiteX101" fmla="*/ 128035 w 615173"/>
                  <a:gd name="connsiteY101" fmla="*/ 461532 h 501988"/>
                  <a:gd name="connsiteX102" fmla="*/ 128641 w 615173"/>
                  <a:gd name="connsiteY102" fmla="*/ 457290 h 501988"/>
                  <a:gd name="connsiteX103" fmla="*/ 129550 w 615173"/>
                  <a:gd name="connsiteY103" fmla="*/ 455926 h 501988"/>
                  <a:gd name="connsiteX104" fmla="*/ 128489 w 615173"/>
                  <a:gd name="connsiteY104" fmla="*/ 454714 h 501988"/>
                  <a:gd name="connsiteX105" fmla="*/ 127429 w 615173"/>
                  <a:gd name="connsiteY105" fmla="*/ 455623 h 501988"/>
                  <a:gd name="connsiteX106" fmla="*/ 582900 w 615173"/>
                  <a:gd name="connsiteY106" fmla="*/ 62730 h 501988"/>
                  <a:gd name="connsiteX107" fmla="*/ 585628 w 615173"/>
                  <a:gd name="connsiteY107" fmla="*/ 60002 h 501988"/>
                  <a:gd name="connsiteX108" fmla="*/ 585324 w 615173"/>
                  <a:gd name="connsiteY108" fmla="*/ 55457 h 501988"/>
                  <a:gd name="connsiteX109" fmla="*/ 585021 w 615173"/>
                  <a:gd name="connsiteY109" fmla="*/ 54548 h 501988"/>
                  <a:gd name="connsiteX110" fmla="*/ 583658 w 615173"/>
                  <a:gd name="connsiteY110" fmla="*/ 53790 h 501988"/>
                  <a:gd name="connsiteX111" fmla="*/ 583052 w 615173"/>
                  <a:gd name="connsiteY111" fmla="*/ 52881 h 501988"/>
                  <a:gd name="connsiteX112" fmla="*/ 583506 w 615173"/>
                  <a:gd name="connsiteY112" fmla="*/ 49850 h 501988"/>
                  <a:gd name="connsiteX113" fmla="*/ 584870 w 615173"/>
                  <a:gd name="connsiteY113" fmla="*/ 49699 h 501988"/>
                  <a:gd name="connsiteX114" fmla="*/ 587294 w 615173"/>
                  <a:gd name="connsiteY114" fmla="*/ 48790 h 501988"/>
                  <a:gd name="connsiteX115" fmla="*/ 586840 w 615173"/>
                  <a:gd name="connsiteY115" fmla="*/ 46972 h 501988"/>
                  <a:gd name="connsiteX116" fmla="*/ 585476 w 615173"/>
                  <a:gd name="connsiteY116" fmla="*/ 46214 h 501988"/>
                  <a:gd name="connsiteX117" fmla="*/ 584719 w 615173"/>
                  <a:gd name="connsiteY117" fmla="*/ 44093 h 501988"/>
                  <a:gd name="connsiteX118" fmla="*/ 583052 w 615173"/>
                  <a:gd name="connsiteY118" fmla="*/ 44093 h 501988"/>
                  <a:gd name="connsiteX119" fmla="*/ 580324 w 615173"/>
                  <a:gd name="connsiteY119" fmla="*/ 43486 h 501988"/>
                  <a:gd name="connsiteX120" fmla="*/ 578052 w 615173"/>
                  <a:gd name="connsiteY120" fmla="*/ 42880 h 501988"/>
                  <a:gd name="connsiteX121" fmla="*/ 575930 w 615173"/>
                  <a:gd name="connsiteY121" fmla="*/ 43183 h 501988"/>
                  <a:gd name="connsiteX122" fmla="*/ 573809 w 615173"/>
                  <a:gd name="connsiteY122" fmla="*/ 44093 h 501988"/>
                  <a:gd name="connsiteX123" fmla="*/ 571991 w 615173"/>
                  <a:gd name="connsiteY123" fmla="*/ 44699 h 501988"/>
                  <a:gd name="connsiteX124" fmla="*/ 570627 w 615173"/>
                  <a:gd name="connsiteY124" fmla="*/ 44850 h 501988"/>
                  <a:gd name="connsiteX125" fmla="*/ 569718 w 615173"/>
                  <a:gd name="connsiteY125" fmla="*/ 45305 h 501988"/>
                  <a:gd name="connsiteX126" fmla="*/ 569263 w 615173"/>
                  <a:gd name="connsiteY126" fmla="*/ 46365 h 501988"/>
                  <a:gd name="connsiteX127" fmla="*/ 569112 w 615173"/>
                  <a:gd name="connsiteY127" fmla="*/ 47123 h 501988"/>
                  <a:gd name="connsiteX128" fmla="*/ 566839 w 615173"/>
                  <a:gd name="connsiteY128" fmla="*/ 46972 h 501988"/>
                  <a:gd name="connsiteX129" fmla="*/ 561536 w 615173"/>
                  <a:gd name="connsiteY129" fmla="*/ 45456 h 501988"/>
                  <a:gd name="connsiteX130" fmla="*/ 556839 w 615173"/>
                  <a:gd name="connsiteY130" fmla="*/ 44396 h 501988"/>
                  <a:gd name="connsiteX131" fmla="*/ 554111 w 615173"/>
                  <a:gd name="connsiteY131" fmla="*/ 45608 h 501988"/>
                  <a:gd name="connsiteX132" fmla="*/ 552293 w 615173"/>
                  <a:gd name="connsiteY132" fmla="*/ 46668 h 501988"/>
                  <a:gd name="connsiteX133" fmla="*/ 551081 w 615173"/>
                  <a:gd name="connsiteY133" fmla="*/ 46517 h 501988"/>
                  <a:gd name="connsiteX134" fmla="*/ 550172 w 615173"/>
                  <a:gd name="connsiteY134" fmla="*/ 45456 h 501988"/>
                  <a:gd name="connsiteX135" fmla="*/ 549566 w 615173"/>
                  <a:gd name="connsiteY135" fmla="*/ 44396 h 501988"/>
                  <a:gd name="connsiteX136" fmla="*/ 547748 w 615173"/>
                  <a:gd name="connsiteY136" fmla="*/ 43335 h 501988"/>
                  <a:gd name="connsiteX137" fmla="*/ 543505 w 615173"/>
                  <a:gd name="connsiteY137" fmla="*/ 41820 h 501988"/>
                  <a:gd name="connsiteX138" fmla="*/ 542747 w 615173"/>
                  <a:gd name="connsiteY138" fmla="*/ 41971 h 501988"/>
                  <a:gd name="connsiteX139" fmla="*/ 540171 w 615173"/>
                  <a:gd name="connsiteY139" fmla="*/ 43335 h 501988"/>
                  <a:gd name="connsiteX140" fmla="*/ 538808 w 615173"/>
                  <a:gd name="connsiteY140" fmla="*/ 43790 h 501988"/>
                  <a:gd name="connsiteX141" fmla="*/ 537444 w 615173"/>
                  <a:gd name="connsiteY141" fmla="*/ 44093 h 501988"/>
                  <a:gd name="connsiteX142" fmla="*/ 536383 w 615173"/>
                  <a:gd name="connsiteY142" fmla="*/ 43941 h 501988"/>
                  <a:gd name="connsiteX143" fmla="*/ 535777 w 615173"/>
                  <a:gd name="connsiteY143" fmla="*/ 43183 h 501988"/>
                  <a:gd name="connsiteX144" fmla="*/ 535777 w 615173"/>
                  <a:gd name="connsiteY144" fmla="*/ 41971 h 501988"/>
                  <a:gd name="connsiteX145" fmla="*/ 535474 w 615173"/>
                  <a:gd name="connsiteY145" fmla="*/ 40911 h 501988"/>
                  <a:gd name="connsiteX146" fmla="*/ 535323 w 615173"/>
                  <a:gd name="connsiteY146" fmla="*/ 40305 h 501988"/>
                  <a:gd name="connsiteX147" fmla="*/ 535626 w 615173"/>
                  <a:gd name="connsiteY147" fmla="*/ 38789 h 501988"/>
                  <a:gd name="connsiteX148" fmla="*/ 533505 w 615173"/>
                  <a:gd name="connsiteY148" fmla="*/ 35607 h 501988"/>
                  <a:gd name="connsiteX149" fmla="*/ 531989 w 615173"/>
                  <a:gd name="connsiteY149" fmla="*/ 35001 h 501988"/>
                  <a:gd name="connsiteX150" fmla="*/ 529717 w 615173"/>
                  <a:gd name="connsiteY150" fmla="*/ 34850 h 501988"/>
                  <a:gd name="connsiteX151" fmla="*/ 526989 w 615173"/>
                  <a:gd name="connsiteY151" fmla="*/ 33941 h 501988"/>
                  <a:gd name="connsiteX152" fmla="*/ 524262 w 615173"/>
                  <a:gd name="connsiteY152" fmla="*/ 32729 h 501988"/>
                  <a:gd name="connsiteX153" fmla="*/ 517595 w 615173"/>
                  <a:gd name="connsiteY153" fmla="*/ 30759 h 501988"/>
                  <a:gd name="connsiteX154" fmla="*/ 515776 w 615173"/>
                  <a:gd name="connsiteY154" fmla="*/ 30456 h 501988"/>
                  <a:gd name="connsiteX155" fmla="*/ 515019 w 615173"/>
                  <a:gd name="connsiteY155" fmla="*/ 30759 h 501988"/>
                  <a:gd name="connsiteX156" fmla="*/ 514564 w 615173"/>
                  <a:gd name="connsiteY156" fmla="*/ 31971 h 501988"/>
                  <a:gd name="connsiteX157" fmla="*/ 514261 w 615173"/>
                  <a:gd name="connsiteY157" fmla="*/ 35304 h 501988"/>
                  <a:gd name="connsiteX158" fmla="*/ 513958 w 615173"/>
                  <a:gd name="connsiteY158" fmla="*/ 35607 h 501988"/>
                  <a:gd name="connsiteX159" fmla="*/ 510776 w 615173"/>
                  <a:gd name="connsiteY159" fmla="*/ 35759 h 501988"/>
                  <a:gd name="connsiteX160" fmla="*/ 506988 w 615173"/>
                  <a:gd name="connsiteY160" fmla="*/ 35304 h 501988"/>
                  <a:gd name="connsiteX161" fmla="*/ 505170 w 615173"/>
                  <a:gd name="connsiteY161" fmla="*/ 35607 h 501988"/>
                  <a:gd name="connsiteX162" fmla="*/ 503655 w 615173"/>
                  <a:gd name="connsiteY162" fmla="*/ 35607 h 501988"/>
                  <a:gd name="connsiteX163" fmla="*/ 502140 w 615173"/>
                  <a:gd name="connsiteY163" fmla="*/ 34698 h 501988"/>
                  <a:gd name="connsiteX164" fmla="*/ 495473 w 615173"/>
                  <a:gd name="connsiteY164" fmla="*/ 35759 h 501988"/>
                  <a:gd name="connsiteX165" fmla="*/ 494412 w 615173"/>
                  <a:gd name="connsiteY165" fmla="*/ 35304 h 501988"/>
                  <a:gd name="connsiteX166" fmla="*/ 492745 w 615173"/>
                  <a:gd name="connsiteY166" fmla="*/ 33789 h 501988"/>
                  <a:gd name="connsiteX167" fmla="*/ 490927 w 615173"/>
                  <a:gd name="connsiteY167" fmla="*/ 32577 h 501988"/>
                  <a:gd name="connsiteX168" fmla="*/ 489564 w 615173"/>
                  <a:gd name="connsiteY168" fmla="*/ 31971 h 501988"/>
                  <a:gd name="connsiteX169" fmla="*/ 488351 w 615173"/>
                  <a:gd name="connsiteY169" fmla="*/ 31213 h 501988"/>
                  <a:gd name="connsiteX170" fmla="*/ 487290 w 615173"/>
                  <a:gd name="connsiteY170" fmla="*/ 31062 h 501988"/>
                  <a:gd name="connsiteX171" fmla="*/ 485624 w 615173"/>
                  <a:gd name="connsiteY171" fmla="*/ 31819 h 501988"/>
                  <a:gd name="connsiteX172" fmla="*/ 483351 w 615173"/>
                  <a:gd name="connsiteY172" fmla="*/ 32122 h 501988"/>
                  <a:gd name="connsiteX173" fmla="*/ 481533 w 615173"/>
                  <a:gd name="connsiteY173" fmla="*/ 31971 h 501988"/>
                  <a:gd name="connsiteX174" fmla="*/ 480472 w 615173"/>
                  <a:gd name="connsiteY174" fmla="*/ 32122 h 501988"/>
                  <a:gd name="connsiteX175" fmla="*/ 476230 w 615173"/>
                  <a:gd name="connsiteY175" fmla="*/ 28486 h 501988"/>
                  <a:gd name="connsiteX176" fmla="*/ 475623 w 615173"/>
                  <a:gd name="connsiteY176" fmla="*/ 27425 h 501988"/>
                  <a:gd name="connsiteX177" fmla="*/ 473502 w 615173"/>
                  <a:gd name="connsiteY177" fmla="*/ 27122 h 501988"/>
                  <a:gd name="connsiteX178" fmla="*/ 470926 w 615173"/>
                  <a:gd name="connsiteY178" fmla="*/ 27122 h 501988"/>
                  <a:gd name="connsiteX179" fmla="*/ 464259 w 615173"/>
                  <a:gd name="connsiteY179" fmla="*/ 24698 h 501988"/>
                  <a:gd name="connsiteX180" fmla="*/ 461229 w 615173"/>
                  <a:gd name="connsiteY180" fmla="*/ 23486 h 501988"/>
                  <a:gd name="connsiteX181" fmla="*/ 460774 w 615173"/>
                  <a:gd name="connsiteY181" fmla="*/ 22728 h 501988"/>
                  <a:gd name="connsiteX182" fmla="*/ 460774 w 615173"/>
                  <a:gd name="connsiteY182" fmla="*/ 22122 h 501988"/>
                  <a:gd name="connsiteX183" fmla="*/ 460320 w 615173"/>
                  <a:gd name="connsiteY183" fmla="*/ 22274 h 501988"/>
                  <a:gd name="connsiteX184" fmla="*/ 459411 w 615173"/>
                  <a:gd name="connsiteY184" fmla="*/ 23334 h 501988"/>
                  <a:gd name="connsiteX185" fmla="*/ 458956 w 615173"/>
                  <a:gd name="connsiteY185" fmla="*/ 24243 h 501988"/>
                  <a:gd name="connsiteX186" fmla="*/ 458350 w 615173"/>
                  <a:gd name="connsiteY186" fmla="*/ 24395 h 501988"/>
                  <a:gd name="connsiteX187" fmla="*/ 457441 w 615173"/>
                  <a:gd name="connsiteY187" fmla="*/ 24243 h 501988"/>
                  <a:gd name="connsiteX188" fmla="*/ 456532 w 615173"/>
                  <a:gd name="connsiteY188" fmla="*/ 23789 h 501988"/>
                  <a:gd name="connsiteX189" fmla="*/ 455926 w 615173"/>
                  <a:gd name="connsiteY189" fmla="*/ 23183 h 501988"/>
                  <a:gd name="connsiteX190" fmla="*/ 456532 w 615173"/>
                  <a:gd name="connsiteY190" fmla="*/ 22122 h 501988"/>
                  <a:gd name="connsiteX191" fmla="*/ 457592 w 615173"/>
                  <a:gd name="connsiteY191" fmla="*/ 20607 h 501988"/>
                  <a:gd name="connsiteX192" fmla="*/ 458047 w 615173"/>
                  <a:gd name="connsiteY192" fmla="*/ 19092 h 501988"/>
                  <a:gd name="connsiteX193" fmla="*/ 457896 w 615173"/>
                  <a:gd name="connsiteY193" fmla="*/ 17728 h 501988"/>
                  <a:gd name="connsiteX194" fmla="*/ 456229 w 615173"/>
                  <a:gd name="connsiteY194" fmla="*/ 16819 h 501988"/>
                  <a:gd name="connsiteX195" fmla="*/ 453804 w 615173"/>
                  <a:gd name="connsiteY195" fmla="*/ 16364 h 501988"/>
                  <a:gd name="connsiteX196" fmla="*/ 451986 w 615173"/>
                  <a:gd name="connsiteY196" fmla="*/ 16213 h 501988"/>
                  <a:gd name="connsiteX197" fmla="*/ 449714 w 615173"/>
                  <a:gd name="connsiteY197" fmla="*/ 15455 h 501988"/>
                  <a:gd name="connsiteX198" fmla="*/ 448653 w 615173"/>
                  <a:gd name="connsiteY198" fmla="*/ 14849 h 501988"/>
                  <a:gd name="connsiteX199" fmla="*/ 447592 w 615173"/>
                  <a:gd name="connsiteY199" fmla="*/ 13334 h 501988"/>
                  <a:gd name="connsiteX200" fmla="*/ 447592 w 615173"/>
                  <a:gd name="connsiteY200" fmla="*/ 12122 h 501988"/>
                  <a:gd name="connsiteX201" fmla="*/ 446683 w 615173"/>
                  <a:gd name="connsiteY201" fmla="*/ 12273 h 501988"/>
                  <a:gd name="connsiteX202" fmla="*/ 442289 w 615173"/>
                  <a:gd name="connsiteY202" fmla="*/ 14091 h 501988"/>
                  <a:gd name="connsiteX203" fmla="*/ 436683 w 615173"/>
                  <a:gd name="connsiteY203" fmla="*/ 14849 h 501988"/>
                  <a:gd name="connsiteX204" fmla="*/ 432895 w 615173"/>
                  <a:gd name="connsiteY204" fmla="*/ 14698 h 501988"/>
                  <a:gd name="connsiteX205" fmla="*/ 425470 w 615173"/>
                  <a:gd name="connsiteY205" fmla="*/ 11819 h 501988"/>
                  <a:gd name="connsiteX206" fmla="*/ 418197 w 615173"/>
                  <a:gd name="connsiteY206" fmla="*/ 10455 h 501988"/>
                  <a:gd name="connsiteX207" fmla="*/ 416228 w 615173"/>
                  <a:gd name="connsiteY207" fmla="*/ 10910 h 501988"/>
                  <a:gd name="connsiteX208" fmla="*/ 413500 w 615173"/>
                  <a:gd name="connsiteY208" fmla="*/ 13182 h 501988"/>
                  <a:gd name="connsiteX209" fmla="*/ 403348 w 615173"/>
                  <a:gd name="connsiteY209" fmla="*/ 10455 h 501988"/>
                  <a:gd name="connsiteX210" fmla="*/ 400469 w 615173"/>
                  <a:gd name="connsiteY210" fmla="*/ 8485 h 501988"/>
                  <a:gd name="connsiteX211" fmla="*/ 398197 w 615173"/>
                  <a:gd name="connsiteY211" fmla="*/ 8182 h 501988"/>
                  <a:gd name="connsiteX212" fmla="*/ 393499 w 615173"/>
                  <a:gd name="connsiteY212" fmla="*/ 9546 h 501988"/>
                  <a:gd name="connsiteX213" fmla="*/ 390317 w 615173"/>
                  <a:gd name="connsiteY213" fmla="*/ 8788 h 501988"/>
                  <a:gd name="connsiteX214" fmla="*/ 386833 w 615173"/>
                  <a:gd name="connsiteY214" fmla="*/ 10000 h 501988"/>
                  <a:gd name="connsiteX215" fmla="*/ 378650 w 615173"/>
                  <a:gd name="connsiteY215" fmla="*/ 11667 h 501988"/>
                  <a:gd name="connsiteX216" fmla="*/ 372892 w 615173"/>
                  <a:gd name="connsiteY216" fmla="*/ 11667 h 501988"/>
                  <a:gd name="connsiteX217" fmla="*/ 356983 w 615173"/>
                  <a:gd name="connsiteY217" fmla="*/ 8788 h 501988"/>
                  <a:gd name="connsiteX218" fmla="*/ 351225 w 615173"/>
                  <a:gd name="connsiteY218" fmla="*/ 7121 h 501988"/>
                  <a:gd name="connsiteX219" fmla="*/ 341679 w 615173"/>
                  <a:gd name="connsiteY219" fmla="*/ 6212 h 501988"/>
                  <a:gd name="connsiteX220" fmla="*/ 336679 w 615173"/>
                  <a:gd name="connsiteY220" fmla="*/ 4091 h 501988"/>
                  <a:gd name="connsiteX221" fmla="*/ 330315 w 615173"/>
                  <a:gd name="connsiteY221" fmla="*/ 5758 h 501988"/>
                  <a:gd name="connsiteX222" fmla="*/ 326375 w 615173"/>
                  <a:gd name="connsiteY222" fmla="*/ 5455 h 501988"/>
                  <a:gd name="connsiteX223" fmla="*/ 319557 w 615173"/>
                  <a:gd name="connsiteY223" fmla="*/ 6212 h 501988"/>
                  <a:gd name="connsiteX224" fmla="*/ 315618 w 615173"/>
                  <a:gd name="connsiteY224" fmla="*/ 5758 h 501988"/>
                  <a:gd name="connsiteX225" fmla="*/ 307890 w 615173"/>
                  <a:gd name="connsiteY225" fmla="*/ 5909 h 501988"/>
                  <a:gd name="connsiteX226" fmla="*/ 303496 w 615173"/>
                  <a:gd name="connsiteY226" fmla="*/ 6970 h 501988"/>
                  <a:gd name="connsiteX227" fmla="*/ 298041 w 615173"/>
                  <a:gd name="connsiteY227" fmla="*/ 5606 h 501988"/>
                  <a:gd name="connsiteX228" fmla="*/ 294253 w 615173"/>
                  <a:gd name="connsiteY228" fmla="*/ 2273 h 501988"/>
                  <a:gd name="connsiteX229" fmla="*/ 291374 w 615173"/>
                  <a:gd name="connsiteY229" fmla="*/ 758 h 501988"/>
                  <a:gd name="connsiteX230" fmla="*/ 288950 w 615173"/>
                  <a:gd name="connsiteY230" fmla="*/ 1212 h 501988"/>
                  <a:gd name="connsiteX231" fmla="*/ 286071 w 615173"/>
                  <a:gd name="connsiteY231" fmla="*/ 0 h 501988"/>
                  <a:gd name="connsiteX232" fmla="*/ 281828 w 615173"/>
                  <a:gd name="connsiteY232" fmla="*/ 1970 h 501988"/>
                  <a:gd name="connsiteX233" fmla="*/ 277737 w 615173"/>
                  <a:gd name="connsiteY233" fmla="*/ 2424 h 501988"/>
                  <a:gd name="connsiteX234" fmla="*/ 274101 w 615173"/>
                  <a:gd name="connsiteY234" fmla="*/ 4546 h 501988"/>
                  <a:gd name="connsiteX235" fmla="*/ 270768 w 615173"/>
                  <a:gd name="connsiteY235" fmla="*/ 6212 h 501988"/>
                  <a:gd name="connsiteX236" fmla="*/ 269858 w 615173"/>
                  <a:gd name="connsiteY236" fmla="*/ 7576 h 501988"/>
                  <a:gd name="connsiteX237" fmla="*/ 270919 w 615173"/>
                  <a:gd name="connsiteY237" fmla="*/ 8940 h 501988"/>
                  <a:gd name="connsiteX238" fmla="*/ 271070 w 615173"/>
                  <a:gd name="connsiteY238" fmla="*/ 10910 h 501988"/>
                  <a:gd name="connsiteX239" fmla="*/ 268191 w 615173"/>
                  <a:gd name="connsiteY239" fmla="*/ 12273 h 501988"/>
                  <a:gd name="connsiteX240" fmla="*/ 266373 w 615173"/>
                  <a:gd name="connsiteY240" fmla="*/ 12576 h 501988"/>
                  <a:gd name="connsiteX241" fmla="*/ 263192 w 615173"/>
                  <a:gd name="connsiteY241" fmla="*/ 14243 h 501988"/>
                  <a:gd name="connsiteX242" fmla="*/ 259706 w 615173"/>
                  <a:gd name="connsiteY242" fmla="*/ 14849 h 501988"/>
                  <a:gd name="connsiteX243" fmla="*/ 253949 w 615173"/>
                  <a:gd name="connsiteY243" fmla="*/ 14243 h 501988"/>
                  <a:gd name="connsiteX244" fmla="*/ 249858 w 615173"/>
                  <a:gd name="connsiteY244" fmla="*/ 17425 h 501988"/>
                  <a:gd name="connsiteX245" fmla="*/ 247888 w 615173"/>
                  <a:gd name="connsiteY245" fmla="*/ 18183 h 501988"/>
                  <a:gd name="connsiteX246" fmla="*/ 245615 w 615173"/>
                  <a:gd name="connsiteY246" fmla="*/ 19546 h 501988"/>
                  <a:gd name="connsiteX247" fmla="*/ 244100 w 615173"/>
                  <a:gd name="connsiteY247" fmla="*/ 24092 h 501988"/>
                  <a:gd name="connsiteX248" fmla="*/ 244100 w 615173"/>
                  <a:gd name="connsiteY248" fmla="*/ 26062 h 501988"/>
                  <a:gd name="connsiteX249" fmla="*/ 245615 w 615173"/>
                  <a:gd name="connsiteY249" fmla="*/ 28183 h 501988"/>
                  <a:gd name="connsiteX250" fmla="*/ 246979 w 615173"/>
                  <a:gd name="connsiteY250" fmla="*/ 29698 h 501988"/>
                  <a:gd name="connsiteX251" fmla="*/ 249251 w 615173"/>
                  <a:gd name="connsiteY251" fmla="*/ 31365 h 501988"/>
                  <a:gd name="connsiteX252" fmla="*/ 252433 w 615173"/>
                  <a:gd name="connsiteY252" fmla="*/ 31819 h 501988"/>
                  <a:gd name="connsiteX253" fmla="*/ 252130 w 615173"/>
                  <a:gd name="connsiteY253" fmla="*/ 32880 h 501988"/>
                  <a:gd name="connsiteX254" fmla="*/ 249403 w 615173"/>
                  <a:gd name="connsiteY254" fmla="*/ 36365 h 501988"/>
                  <a:gd name="connsiteX255" fmla="*/ 249403 w 615173"/>
                  <a:gd name="connsiteY255" fmla="*/ 38638 h 501988"/>
                  <a:gd name="connsiteX256" fmla="*/ 250615 w 615173"/>
                  <a:gd name="connsiteY256" fmla="*/ 38941 h 501988"/>
                  <a:gd name="connsiteX257" fmla="*/ 255464 w 615173"/>
                  <a:gd name="connsiteY257" fmla="*/ 37123 h 501988"/>
                  <a:gd name="connsiteX258" fmla="*/ 255767 w 615173"/>
                  <a:gd name="connsiteY258" fmla="*/ 38486 h 501988"/>
                  <a:gd name="connsiteX259" fmla="*/ 255464 w 615173"/>
                  <a:gd name="connsiteY259" fmla="*/ 39698 h 501988"/>
                  <a:gd name="connsiteX260" fmla="*/ 255464 w 615173"/>
                  <a:gd name="connsiteY260" fmla="*/ 42729 h 501988"/>
                  <a:gd name="connsiteX261" fmla="*/ 256373 w 615173"/>
                  <a:gd name="connsiteY261" fmla="*/ 43941 h 501988"/>
                  <a:gd name="connsiteX262" fmla="*/ 257585 w 615173"/>
                  <a:gd name="connsiteY262" fmla="*/ 44699 h 501988"/>
                  <a:gd name="connsiteX263" fmla="*/ 256525 w 615173"/>
                  <a:gd name="connsiteY263" fmla="*/ 46517 h 501988"/>
                  <a:gd name="connsiteX264" fmla="*/ 255464 w 615173"/>
                  <a:gd name="connsiteY264" fmla="*/ 47274 h 501988"/>
                  <a:gd name="connsiteX265" fmla="*/ 255312 w 615173"/>
                  <a:gd name="connsiteY265" fmla="*/ 48941 h 501988"/>
                  <a:gd name="connsiteX266" fmla="*/ 257737 w 615173"/>
                  <a:gd name="connsiteY266" fmla="*/ 48941 h 501988"/>
                  <a:gd name="connsiteX267" fmla="*/ 258797 w 615173"/>
                  <a:gd name="connsiteY267" fmla="*/ 49396 h 501988"/>
                  <a:gd name="connsiteX268" fmla="*/ 256525 w 615173"/>
                  <a:gd name="connsiteY268" fmla="*/ 51517 h 501988"/>
                  <a:gd name="connsiteX269" fmla="*/ 253343 w 615173"/>
                  <a:gd name="connsiteY269" fmla="*/ 55002 h 501988"/>
                  <a:gd name="connsiteX270" fmla="*/ 253646 w 615173"/>
                  <a:gd name="connsiteY270" fmla="*/ 60154 h 501988"/>
                  <a:gd name="connsiteX271" fmla="*/ 254403 w 615173"/>
                  <a:gd name="connsiteY271" fmla="*/ 60760 h 501988"/>
                  <a:gd name="connsiteX272" fmla="*/ 256525 w 615173"/>
                  <a:gd name="connsiteY272" fmla="*/ 60305 h 501988"/>
                  <a:gd name="connsiteX273" fmla="*/ 259100 w 615173"/>
                  <a:gd name="connsiteY273" fmla="*/ 58032 h 501988"/>
                  <a:gd name="connsiteX274" fmla="*/ 261676 w 615173"/>
                  <a:gd name="connsiteY274" fmla="*/ 56517 h 501988"/>
                  <a:gd name="connsiteX275" fmla="*/ 263040 w 615173"/>
                  <a:gd name="connsiteY275" fmla="*/ 55911 h 501988"/>
                  <a:gd name="connsiteX276" fmla="*/ 268949 w 615173"/>
                  <a:gd name="connsiteY276" fmla="*/ 54396 h 501988"/>
                  <a:gd name="connsiteX277" fmla="*/ 270464 w 615173"/>
                  <a:gd name="connsiteY277" fmla="*/ 53638 h 501988"/>
                  <a:gd name="connsiteX278" fmla="*/ 271980 w 615173"/>
                  <a:gd name="connsiteY278" fmla="*/ 53790 h 501988"/>
                  <a:gd name="connsiteX279" fmla="*/ 272283 w 615173"/>
                  <a:gd name="connsiteY279" fmla="*/ 54548 h 501988"/>
                  <a:gd name="connsiteX280" fmla="*/ 273192 w 615173"/>
                  <a:gd name="connsiteY280" fmla="*/ 55911 h 501988"/>
                  <a:gd name="connsiteX281" fmla="*/ 274101 w 615173"/>
                  <a:gd name="connsiteY281" fmla="*/ 56820 h 501988"/>
                  <a:gd name="connsiteX282" fmla="*/ 274404 w 615173"/>
                  <a:gd name="connsiteY282" fmla="*/ 57578 h 501988"/>
                  <a:gd name="connsiteX283" fmla="*/ 272131 w 615173"/>
                  <a:gd name="connsiteY283" fmla="*/ 60608 h 501988"/>
                  <a:gd name="connsiteX284" fmla="*/ 271828 w 615173"/>
                  <a:gd name="connsiteY284" fmla="*/ 61669 h 501988"/>
                  <a:gd name="connsiteX285" fmla="*/ 273040 w 615173"/>
                  <a:gd name="connsiteY285" fmla="*/ 63639 h 501988"/>
                  <a:gd name="connsiteX286" fmla="*/ 273192 w 615173"/>
                  <a:gd name="connsiteY286" fmla="*/ 64245 h 501988"/>
                  <a:gd name="connsiteX287" fmla="*/ 273798 w 615173"/>
                  <a:gd name="connsiteY287" fmla="*/ 64548 h 501988"/>
                  <a:gd name="connsiteX288" fmla="*/ 275313 w 615173"/>
                  <a:gd name="connsiteY288" fmla="*/ 64548 h 501988"/>
                  <a:gd name="connsiteX289" fmla="*/ 278192 w 615173"/>
                  <a:gd name="connsiteY289" fmla="*/ 63336 h 501988"/>
                  <a:gd name="connsiteX290" fmla="*/ 280162 w 615173"/>
                  <a:gd name="connsiteY290" fmla="*/ 62275 h 501988"/>
                  <a:gd name="connsiteX291" fmla="*/ 280768 w 615173"/>
                  <a:gd name="connsiteY291" fmla="*/ 62730 h 501988"/>
                  <a:gd name="connsiteX292" fmla="*/ 286374 w 615173"/>
                  <a:gd name="connsiteY292" fmla="*/ 62124 h 501988"/>
                  <a:gd name="connsiteX293" fmla="*/ 287738 w 615173"/>
                  <a:gd name="connsiteY293" fmla="*/ 62578 h 501988"/>
                  <a:gd name="connsiteX294" fmla="*/ 288647 w 615173"/>
                  <a:gd name="connsiteY294" fmla="*/ 63033 h 501988"/>
                  <a:gd name="connsiteX295" fmla="*/ 291374 w 615173"/>
                  <a:gd name="connsiteY295" fmla="*/ 63790 h 501988"/>
                  <a:gd name="connsiteX296" fmla="*/ 294405 w 615173"/>
                  <a:gd name="connsiteY296" fmla="*/ 63790 h 501988"/>
                  <a:gd name="connsiteX297" fmla="*/ 298041 w 615173"/>
                  <a:gd name="connsiteY297" fmla="*/ 62730 h 501988"/>
                  <a:gd name="connsiteX298" fmla="*/ 299708 w 615173"/>
                  <a:gd name="connsiteY298" fmla="*/ 61669 h 501988"/>
                  <a:gd name="connsiteX299" fmla="*/ 300011 w 615173"/>
                  <a:gd name="connsiteY299" fmla="*/ 60608 h 501988"/>
                  <a:gd name="connsiteX300" fmla="*/ 300163 w 615173"/>
                  <a:gd name="connsiteY300" fmla="*/ 59699 h 501988"/>
                  <a:gd name="connsiteX301" fmla="*/ 300617 w 615173"/>
                  <a:gd name="connsiteY301" fmla="*/ 59093 h 501988"/>
                  <a:gd name="connsiteX302" fmla="*/ 301526 w 615173"/>
                  <a:gd name="connsiteY302" fmla="*/ 58790 h 501988"/>
                  <a:gd name="connsiteX303" fmla="*/ 302890 w 615173"/>
                  <a:gd name="connsiteY303" fmla="*/ 59396 h 501988"/>
                  <a:gd name="connsiteX304" fmla="*/ 304708 w 615173"/>
                  <a:gd name="connsiteY304" fmla="*/ 59851 h 501988"/>
                  <a:gd name="connsiteX305" fmla="*/ 309253 w 615173"/>
                  <a:gd name="connsiteY305" fmla="*/ 60002 h 501988"/>
                  <a:gd name="connsiteX306" fmla="*/ 310163 w 615173"/>
                  <a:gd name="connsiteY306" fmla="*/ 59396 h 501988"/>
                  <a:gd name="connsiteX307" fmla="*/ 311678 w 615173"/>
                  <a:gd name="connsiteY307" fmla="*/ 59548 h 501988"/>
                  <a:gd name="connsiteX308" fmla="*/ 313648 w 615173"/>
                  <a:gd name="connsiteY308" fmla="*/ 60305 h 501988"/>
                  <a:gd name="connsiteX309" fmla="*/ 315920 w 615173"/>
                  <a:gd name="connsiteY309" fmla="*/ 60002 h 501988"/>
                  <a:gd name="connsiteX310" fmla="*/ 317133 w 615173"/>
                  <a:gd name="connsiteY310" fmla="*/ 60911 h 501988"/>
                  <a:gd name="connsiteX311" fmla="*/ 317587 w 615173"/>
                  <a:gd name="connsiteY311" fmla="*/ 62124 h 501988"/>
                  <a:gd name="connsiteX312" fmla="*/ 317739 w 615173"/>
                  <a:gd name="connsiteY312" fmla="*/ 64851 h 501988"/>
                  <a:gd name="connsiteX313" fmla="*/ 317587 w 615173"/>
                  <a:gd name="connsiteY313" fmla="*/ 67578 h 501988"/>
                  <a:gd name="connsiteX314" fmla="*/ 318042 w 615173"/>
                  <a:gd name="connsiteY314" fmla="*/ 68639 h 501988"/>
                  <a:gd name="connsiteX315" fmla="*/ 319557 w 615173"/>
                  <a:gd name="connsiteY315" fmla="*/ 68942 h 501988"/>
                  <a:gd name="connsiteX316" fmla="*/ 322133 w 615173"/>
                  <a:gd name="connsiteY316" fmla="*/ 68942 h 501988"/>
                  <a:gd name="connsiteX317" fmla="*/ 324406 w 615173"/>
                  <a:gd name="connsiteY317" fmla="*/ 69700 h 501988"/>
                  <a:gd name="connsiteX318" fmla="*/ 326224 w 615173"/>
                  <a:gd name="connsiteY318" fmla="*/ 71063 h 501988"/>
                  <a:gd name="connsiteX319" fmla="*/ 326830 w 615173"/>
                  <a:gd name="connsiteY319" fmla="*/ 72427 h 501988"/>
                  <a:gd name="connsiteX320" fmla="*/ 327133 w 615173"/>
                  <a:gd name="connsiteY320" fmla="*/ 73336 h 501988"/>
                  <a:gd name="connsiteX321" fmla="*/ 326224 w 615173"/>
                  <a:gd name="connsiteY321" fmla="*/ 73791 h 501988"/>
                  <a:gd name="connsiteX322" fmla="*/ 325012 w 615173"/>
                  <a:gd name="connsiteY322" fmla="*/ 75760 h 501988"/>
                  <a:gd name="connsiteX323" fmla="*/ 321830 w 615173"/>
                  <a:gd name="connsiteY323" fmla="*/ 78336 h 501988"/>
                  <a:gd name="connsiteX324" fmla="*/ 317436 w 615173"/>
                  <a:gd name="connsiteY324" fmla="*/ 80609 h 501988"/>
                  <a:gd name="connsiteX325" fmla="*/ 314102 w 615173"/>
                  <a:gd name="connsiteY325" fmla="*/ 83488 h 501988"/>
                  <a:gd name="connsiteX326" fmla="*/ 311830 w 615173"/>
                  <a:gd name="connsiteY326" fmla="*/ 86973 h 501988"/>
                  <a:gd name="connsiteX327" fmla="*/ 308951 w 615173"/>
                  <a:gd name="connsiteY327" fmla="*/ 88488 h 501988"/>
                  <a:gd name="connsiteX328" fmla="*/ 308042 w 615173"/>
                  <a:gd name="connsiteY328" fmla="*/ 89246 h 501988"/>
                  <a:gd name="connsiteX329" fmla="*/ 307739 w 615173"/>
                  <a:gd name="connsiteY329" fmla="*/ 90155 h 501988"/>
                  <a:gd name="connsiteX330" fmla="*/ 309708 w 615173"/>
                  <a:gd name="connsiteY330" fmla="*/ 94397 h 501988"/>
                  <a:gd name="connsiteX331" fmla="*/ 310314 w 615173"/>
                  <a:gd name="connsiteY331" fmla="*/ 97731 h 501988"/>
                  <a:gd name="connsiteX332" fmla="*/ 310769 w 615173"/>
                  <a:gd name="connsiteY332" fmla="*/ 101670 h 501988"/>
                  <a:gd name="connsiteX333" fmla="*/ 310466 w 615173"/>
                  <a:gd name="connsiteY333" fmla="*/ 102731 h 501988"/>
                  <a:gd name="connsiteX334" fmla="*/ 310314 w 615173"/>
                  <a:gd name="connsiteY334" fmla="*/ 107125 h 501988"/>
                  <a:gd name="connsiteX335" fmla="*/ 309860 w 615173"/>
                  <a:gd name="connsiteY335" fmla="*/ 108489 h 501988"/>
                  <a:gd name="connsiteX336" fmla="*/ 310011 w 615173"/>
                  <a:gd name="connsiteY336" fmla="*/ 109550 h 501988"/>
                  <a:gd name="connsiteX337" fmla="*/ 310769 w 615173"/>
                  <a:gd name="connsiteY337" fmla="*/ 110610 h 501988"/>
                  <a:gd name="connsiteX338" fmla="*/ 311072 w 615173"/>
                  <a:gd name="connsiteY338" fmla="*/ 111671 h 501988"/>
                  <a:gd name="connsiteX339" fmla="*/ 309708 w 615173"/>
                  <a:gd name="connsiteY339" fmla="*/ 113035 h 501988"/>
                  <a:gd name="connsiteX340" fmla="*/ 307284 w 615173"/>
                  <a:gd name="connsiteY340" fmla="*/ 114550 h 501988"/>
                  <a:gd name="connsiteX341" fmla="*/ 305465 w 615173"/>
                  <a:gd name="connsiteY341" fmla="*/ 115913 h 501988"/>
                  <a:gd name="connsiteX342" fmla="*/ 305011 w 615173"/>
                  <a:gd name="connsiteY342" fmla="*/ 117277 h 501988"/>
                  <a:gd name="connsiteX343" fmla="*/ 305163 w 615173"/>
                  <a:gd name="connsiteY343" fmla="*/ 118035 h 501988"/>
                  <a:gd name="connsiteX344" fmla="*/ 308193 w 615173"/>
                  <a:gd name="connsiteY344" fmla="*/ 120762 h 501988"/>
                  <a:gd name="connsiteX345" fmla="*/ 308799 w 615173"/>
                  <a:gd name="connsiteY345" fmla="*/ 121823 h 501988"/>
                  <a:gd name="connsiteX346" fmla="*/ 308344 w 615173"/>
                  <a:gd name="connsiteY346" fmla="*/ 124550 h 501988"/>
                  <a:gd name="connsiteX347" fmla="*/ 306526 w 615173"/>
                  <a:gd name="connsiteY347" fmla="*/ 128944 h 501988"/>
                  <a:gd name="connsiteX348" fmla="*/ 304860 w 615173"/>
                  <a:gd name="connsiteY348" fmla="*/ 131672 h 501988"/>
                  <a:gd name="connsiteX349" fmla="*/ 304556 w 615173"/>
                  <a:gd name="connsiteY349" fmla="*/ 131975 h 501988"/>
                  <a:gd name="connsiteX350" fmla="*/ 302587 w 615173"/>
                  <a:gd name="connsiteY350" fmla="*/ 132732 h 501988"/>
                  <a:gd name="connsiteX351" fmla="*/ 293344 w 615173"/>
                  <a:gd name="connsiteY351" fmla="*/ 132732 h 501988"/>
                  <a:gd name="connsiteX352" fmla="*/ 291071 w 615173"/>
                  <a:gd name="connsiteY352" fmla="*/ 133338 h 501988"/>
                  <a:gd name="connsiteX353" fmla="*/ 291374 w 615173"/>
                  <a:gd name="connsiteY353" fmla="*/ 133944 h 501988"/>
                  <a:gd name="connsiteX354" fmla="*/ 293496 w 615173"/>
                  <a:gd name="connsiteY354" fmla="*/ 137429 h 501988"/>
                  <a:gd name="connsiteX355" fmla="*/ 295768 w 615173"/>
                  <a:gd name="connsiteY355" fmla="*/ 139248 h 501988"/>
                  <a:gd name="connsiteX356" fmla="*/ 296526 w 615173"/>
                  <a:gd name="connsiteY356" fmla="*/ 139702 h 501988"/>
                  <a:gd name="connsiteX357" fmla="*/ 297284 w 615173"/>
                  <a:gd name="connsiteY357" fmla="*/ 143793 h 501988"/>
                  <a:gd name="connsiteX358" fmla="*/ 300920 w 615173"/>
                  <a:gd name="connsiteY358" fmla="*/ 150308 h 501988"/>
                  <a:gd name="connsiteX359" fmla="*/ 304405 w 615173"/>
                  <a:gd name="connsiteY359" fmla="*/ 151218 h 501988"/>
                  <a:gd name="connsiteX360" fmla="*/ 305617 w 615173"/>
                  <a:gd name="connsiteY360" fmla="*/ 152884 h 501988"/>
                  <a:gd name="connsiteX361" fmla="*/ 305314 w 615173"/>
                  <a:gd name="connsiteY361" fmla="*/ 155157 h 501988"/>
                  <a:gd name="connsiteX362" fmla="*/ 304254 w 615173"/>
                  <a:gd name="connsiteY362" fmla="*/ 157582 h 501988"/>
                  <a:gd name="connsiteX363" fmla="*/ 302132 w 615173"/>
                  <a:gd name="connsiteY363" fmla="*/ 160157 h 501988"/>
                  <a:gd name="connsiteX364" fmla="*/ 299556 w 615173"/>
                  <a:gd name="connsiteY364" fmla="*/ 161976 h 501988"/>
                  <a:gd name="connsiteX365" fmla="*/ 297889 w 615173"/>
                  <a:gd name="connsiteY365" fmla="*/ 163794 h 501988"/>
                  <a:gd name="connsiteX366" fmla="*/ 297738 w 615173"/>
                  <a:gd name="connsiteY366" fmla="*/ 165915 h 501988"/>
                  <a:gd name="connsiteX367" fmla="*/ 297132 w 615173"/>
                  <a:gd name="connsiteY367" fmla="*/ 168491 h 501988"/>
                  <a:gd name="connsiteX368" fmla="*/ 296375 w 615173"/>
                  <a:gd name="connsiteY368" fmla="*/ 170612 h 501988"/>
                  <a:gd name="connsiteX369" fmla="*/ 296223 w 615173"/>
                  <a:gd name="connsiteY369" fmla="*/ 171976 h 501988"/>
                  <a:gd name="connsiteX370" fmla="*/ 302738 w 615173"/>
                  <a:gd name="connsiteY370" fmla="*/ 180764 h 501988"/>
                  <a:gd name="connsiteX371" fmla="*/ 306375 w 615173"/>
                  <a:gd name="connsiteY371" fmla="*/ 180310 h 501988"/>
                  <a:gd name="connsiteX372" fmla="*/ 306830 w 615173"/>
                  <a:gd name="connsiteY372" fmla="*/ 180461 h 501988"/>
                  <a:gd name="connsiteX373" fmla="*/ 306223 w 615173"/>
                  <a:gd name="connsiteY373" fmla="*/ 182582 h 501988"/>
                  <a:gd name="connsiteX374" fmla="*/ 305011 w 615173"/>
                  <a:gd name="connsiteY374" fmla="*/ 185007 h 501988"/>
                  <a:gd name="connsiteX375" fmla="*/ 303647 w 615173"/>
                  <a:gd name="connsiteY375" fmla="*/ 185461 h 501988"/>
                  <a:gd name="connsiteX376" fmla="*/ 300617 w 615173"/>
                  <a:gd name="connsiteY376" fmla="*/ 186219 h 501988"/>
                  <a:gd name="connsiteX377" fmla="*/ 297738 w 615173"/>
                  <a:gd name="connsiteY377" fmla="*/ 189401 h 501988"/>
                  <a:gd name="connsiteX378" fmla="*/ 295314 w 615173"/>
                  <a:gd name="connsiteY378" fmla="*/ 193189 h 501988"/>
                  <a:gd name="connsiteX379" fmla="*/ 293496 w 615173"/>
                  <a:gd name="connsiteY379" fmla="*/ 195007 h 501988"/>
                  <a:gd name="connsiteX380" fmla="*/ 291829 w 615173"/>
                  <a:gd name="connsiteY380" fmla="*/ 199553 h 501988"/>
                  <a:gd name="connsiteX381" fmla="*/ 291980 w 615173"/>
                  <a:gd name="connsiteY381" fmla="*/ 201523 h 501988"/>
                  <a:gd name="connsiteX382" fmla="*/ 292738 w 615173"/>
                  <a:gd name="connsiteY382" fmla="*/ 204553 h 501988"/>
                  <a:gd name="connsiteX383" fmla="*/ 294405 w 615173"/>
                  <a:gd name="connsiteY383" fmla="*/ 212432 h 501988"/>
                  <a:gd name="connsiteX384" fmla="*/ 300768 w 615173"/>
                  <a:gd name="connsiteY384" fmla="*/ 211523 h 501988"/>
                  <a:gd name="connsiteX385" fmla="*/ 306223 w 615173"/>
                  <a:gd name="connsiteY385" fmla="*/ 211826 h 501988"/>
                  <a:gd name="connsiteX386" fmla="*/ 307435 w 615173"/>
                  <a:gd name="connsiteY386" fmla="*/ 211371 h 501988"/>
                  <a:gd name="connsiteX387" fmla="*/ 309253 w 615173"/>
                  <a:gd name="connsiteY387" fmla="*/ 209402 h 501988"/>
                  <a:gd name="connsiteX388" fmla="*/ 309405 w 615173"/>
                  <a:gd name="connsiteY388" fmla="*/ 210311 h 501988"/>
                  <a:gd name="connsiteX389" fmla="*/ 308648 w 615173"/>
                  <a:gd name="connsiteY389" fmla="*/ 211978 h 501988"/>
                  <a:gd name="connsiteX390" fmla="*/ 319406 w 615173"/>
                  <a:gd name="connsiteY390" fmla="*/ 219554 h 501988"/>
                  <a:gd name="connsiteX391" fmla="*/ 321982 w 615173"/>
                  <a:gd name="connsiteY391" fmla="*/ 223342 h 501988"/>
                  <a:gd name="connsiteX392" fmla="*/ 324103 w 615173"/>
                  <a:gd name="connsiteY392" fmla="*/ 220917 h 501988"/>
                  <a:gd name="connsiteX393" fmla="*/ 326982 w 615173"/>
                  <a:gd name="connsiteY393" fmla="*/ 220766 h 501988"/>
                  <a:gd name="connsiteX394" fmla="*/ 325770 w 615173"/>
                  <a:gd name="connsiteY394" fmla="*/ 221220 h 501988"/>
                  <a:gd name="connsiteX395" fmla="*/ 323951 w 615173"/>
                  <a:gd name="connsiteY395" fmla="*/ 222887 h 501988"/>
                  <a:gd name="connsiteX396" fmla="*/ 321678 w 615173"/>
                  <a:gd name="connsiteY396" fmla="*/ 226675 h 501988"/>
                  <a:gd name="connsiteX397" fmla="*/ 322436 w 615173"/>
                  <a:gd name="connsiteY397" fmla="*/ 229554 h 501988"/>
                  <a:gd name="connsiteX398" fmla="*/ 325618 w 615173"/>
                  <a:gd name="connsiteY398" fmla="*/ 230766 h 501988"/>
                  <a:gd name="connsiteX399" fmla="*/ 325921 w 615173"/>
                  <a:gd name="connsiteY399" fmla="*/ 231827 h 501988"/>
                  <a:gd name="connsiteX400" fmla="*/ 325770 w 615173"/>
                  <a:gd name="connsiteY400" fmla="*/ 233039 h 501988"/>
                  <a:gd name="connsiteX401" fmla="*/ 326830 w 615173"/>
                  <a:gd name="connsiteY401" fmla="*/ 236221 h 501988"/>
                  <a:gd name="connsiteX402" fmla="*/ 328345 w 615173"/>
                  <a:gd name="connsiteY402" fmla="*/ 239100 h 501988"/>
                  <a:gd name="connsiteX403" fmla="*/ 331830 w 615173"/>
                  <a:gd name="connsiteY403" fmla="*/ 243645 h 501988"/>
                  <a:gd name="connsiteX404" fmla="*/ 333951 w 615173"/>
                  <a:gd name="connsiteY404" fmla="*/ 243797 h 501988"/>
                  <a:gd name="connsiteX405" fmla="*/ 338194 w 615173"/>
                  <a:gd name="connsiteY405" fmla="*/ 246676 h 501988"/>
                  <a:gd name="connsiteX406" fmla="*/ 343194 w 615173"/>
                  <a:gd name="connsiteY406" fmla="*/ 248645 h 501988"/>
                  <a:gd name="connsiteX407" fmla="*/ 345164 w 615173"/>
                  <a:gd name="connsiteY407" fmla="*/ 248191 h 501988"/>
                  <a:gd name="connsiteX408" fmla="*/ 347588 w 615173"/>
                  <a:gd name="connsiteY408" fmla="*/ 247130 h 501988"/>
                  <a:gd name="connsiteX409" fmla="*/ 348043 w 615173"/>
                  <a:gd name="connsiteY409" fmla="*/ 244706 h 501988"/>
                  <a:gd name="connsiteX410" fmla="*/ 349104 w 615173"/>
                  <a:gd name="connsiteY410" fmla="*/ 244403 h 501988"/>
                  <a:gd name="connsiteX411" fmla="*/ 349861 w 615173"/>
                  <a:gd name="connsiteY411" fmla="*/ 245161 h 501988"/>
                  <a:gd name="connsiteX412" fmla="*/ 350467 w 615173"/>
                  <a:gd name="connsiteY412" fmla="*/ 245161 h 501988"/>
                  <a:gd name="connsiteX413" fmla="*/ 351376 w 615173"/>
                  <a:gd name="connsiteY413" fmla="*/ 241979 h 501988"/>
                  <a:gd name="connsiteX414" fmla="*/ 354104 w 615173"/>
                  <a:gd name="connsiteY414" fmla="*/ 237736 h 501988"/>
                  <a:gd name="connsiteX415" fmla="*/ 355770 w 615173"/>
                  <a:gd name="connsiteY415" fmla="*/ 236221 h 501988"/>
                  <a:gd name="connsiteX416" fmla="*/ 362286 w 615173"/>
                  <a:gd name="connsiteY416" fmla="*/ 233797 h 501988"/>
                  <a:gd name="connsiteX417" fmla="*/ 369407 w 615173"/>
                  <a:gd name="connsiteY417" fmla="*/ 233645 h 501988"/>
                  <a:gd name="connsiteX418" fmla="*/ 374104 w 615173"/>
                  <a:gd name="connsiteY418" fmla="*/ 229857 h 501988"/>
                  <a:gd name="connsiteX419" fmla="*/ 375923 w 615173"/>
                  <a:gd name="connsiteY419" fmla="*/ 227584 h 501988"/>
                  <a:gd name="connsiteX420" fmla="*/ 377741 w 615173"/>
                  <a:gd name="connsiteY420" fmla="*/ 226978 h 501988"/>
                  <a:gd name="connsiteX421" fmla="*/ 392439 w 615173"/>
                  <a:gd name="connsiteY421" fmla="*/ 225766 h 501988"/>
                  <a:gd name="connsiteX422" fmla="*/ 399257 w 615173"/>
                  <a:gd name="connsiteY422" fmla="*/ 226220 h 501988"/>
                  <a:gd name="connsiteX423" fmla="*/ 403348 w 615173"/>
                  <a:gd name="connsiteY423" fmla="*/ 227281 h 501988"/>
                  <a:gd name="connsiteX424" fmla="*/ 408045 w 615173"/>
                  <a:gd name="connsiteY424" fmla="*/ 225766 h 501988"/>
                  <a:gd name="connsiteX425" fmla="*/ 411075 w 615173"/>
                  <a:gd name="connsiteY425" fmla="*/ 225614 h 501988"/>
                  <a:gd name="connsiteX426" fmla="*/ 417894 w 615173"/>
                  <a:gd name="connsiteY426" fmla="*/ 226069 h 501988"/>
                  <a:gd name="connsiteX427" fmla="*/ 421076 w 615173"/>
                  <a:gd name="connsiteY427" fmla="*/ 226978 h 501988"/>
                  <a:gd name="connsiteX428" fmla="*/ 424258 w 615173"/>
                  <a:gd name="connsiteY428" fmla="*/ 225917 h 501988"/>
                  <a:gd name="connsiteX429" fmla="*/ 426379 w 615173"/>
                  <a:gd name="connsiteY429" fmla="*/ 224099 h 501988"/>
                  <a:gd name="connsiteX430" fmla="*/ 430319 w 615173"/>
                  <a:gd name="connsiteY430" fmla="*/ 223342 h 501988"/>
                  <a:gd name="connsiteX431" fmla="*/ 434410 w 615173"/>
                  <a:gd name="connsiteY431" fmla="*/ 223645 h 501988"/>
                  <a:gd name="connsiteX432" fmla="*/ 437592 w 615173"/>
                  <a:gd name="connsiteY432" fmla="*/ 225917 h 501988"/>
                  <a:gd name="connsiteX433" fmla="*/ 439713 w 615173"/>
                  <a:gd name="connsiteY433" fmla="*/ 225008 h 501988"/>
                  <a:gd name="connsiteX434" fmla="*/ 444410 w 615173"/>
                  <a:gd name="connsiteY434" fmla="*/ 219705 h 501988"/>
                  <a:gd name="connsiteX435" fmla="*/ 448350 w 615173"/>
                  <a:gd name="connsiteY435" fmla="*/ 210765 h 501988"/>
                  <a:gd name="connsiteX436" fmla="*/ 452592 w 615173"/>
                  <a:gd name="connsiteY436" fmla="*/ 205917 h 501988"/>
                  <a:gd name="connsiteX437" fmla="*/ 461229 w 615173"/>
                  <a:gd name="connsiteY437" fmla="*/ 200462 h 501988"/>
                  <a:gd name="connsiteX438" fmla="*/ 471835 w 615173"/>
                  <a:gd name="connsiteY438" fmla="*/ 200159 h 501988"/>
                  <a:gd name="connsiteX439" fmla="*/ 475017 w 615173"/>
                  <a:gd name="connsiteY439" fmla="*/ 199856 h 501988"/>
                  <a:gd name="connsiteX440" fmla="*/ 476381 w 615173"/>
                  <a:gd name="connsiteY440" fmla="*/ 199401 h 501988"/>
                  <a:gd name="connsiteX441" fmla="*/ 477745 w 615173"/>
                  <a:gd name="connsiteY441" fmla="*/ 198341 h 501988"/>
                  <a:gd name="connsiteX442" fmla="*/ 475017 w 615173"/>
                  <a:gd name="connsiteY442" fmla="*/ 195765 h 501988"/>
                  <a:gd name="connsiteX443" fmla="*/ 475321 w 615173"/>
                  <a:gd name="connsiteY443" fmla="*/ 193947 h 501988"/>
                  <a:gd name="connsiteX444" fmla="*/ 476987 w 615173"/>
                  <a:gd name="connsiteY444" fmla="*/ 191371 h 501988"/>
                  <a:gd name="connsiteX445" fmla="*/ 477290 w 615173"/>
                  <a:gd name="connsiteY445" fmla="*/ 190310 h 501988"/>
                  <a:gd name="connsiteX446" fmla="*/ 478957 w 615173"/>
                  <a:gd name="connsiteY446" fmla="*/ 186976 h 501988"/>
                  <a:gd name="connsiteX447" fmla="*/ 480018 w 615173"/>
                  <a:gd name="connsiteY447" fmla="*/ 181976 h 501988"/>
                  <a:gd name="connsiteX448" fmla="*/ 482593 w 615173"/>
                  <a:gd name="connsiteY448" fmla="*/ 180310 h 501988"/>
                  <a:gd name="connsiteX449" fmla="*/ 483351 w 615173"/>
                  <a:gd name="connsiteY449" fmla="*/ 176673 h 501988"/>
                  <a:gd name="connsiteX450" fmla="*/ 487139 w 615173"/>
                  <a:gd name="connsiteY450" fmla="*/ 172885 h 501988"/>
                  <a:gd name="connsiteX451" fmla="*/ 496079 w 615173"/>
                  <a:gd name="connsiteY451" fmla="*/ 168188 h 501988"/>
                  <a:gd name="connsiteX452" fmla="*/ 501231 w 615173"/>
                  <a:gd name="connsiteY452" fmla="*/ 164703 h 501988"/>
                  <a:gd name="connsiteX453" fmla="*/ 503049 w 615173"/>
                  <a:gd name="connsiteY453" fmla="*/ 162733 h 501988"/>
                  <a:gd name="connsiteX454" fmla="*/ 501837 w 615173"/>
                  <a:gd name="connsiteY454" fmla="*/ 160612 h 501988"/>
                  <a:gd name="connsiteX455" fmla="*/ 496685 w 615173"/>
                  <a:gd name="connsiteY455" fmla="*/ 158491 h 501988"/>
                  <a:gd name="connsiteX456" fmla="*/ 493957 w 615173"/>
                  <a:gd name="connsiteY456" fmla="*/ 156066 h 501988"/>
                  <a:gd name="connsiteX457" fmla="*/ 491988 w 615173"/>
                  <a:gd name="connsiteY457" fmla="*/ 153036 h 501988"/>
                  <a:gd name="connsiteX458" fmla="*/ 488654 w 615173"/>
                  <a:gd name="connsiteY458" fmla="*/ 141672 h 501988"/>
                  <a:gd name="connsiteX459" fmla="*/ 488654 w 615173"/>
                  <a:gd name="connsiteY459" fmla="*/ 138338 h 501988"/>
                  <a:gd name="connsiteX460" fmla="*/ 495473 w 615173"/>
                  <a:gd name="connsiteY460" fmla="*/ 126974 h 501988"/>
                  <a:gd name="connsiteX461" fmla="*/ 498654 w 615173"/>
                  <a:gd name="connsiteY461" fmla="*/ 122580 h 501988"/>
                  <a:gd name="connsiteX462" fmla="*/ 501837 w 615173"/>
                  <a:gd name="connsiteY462" fmla="*/ 119550 h 501988"/>
                  <a:gd name="connsiteX463" fmla="*/ 507443 w 615173"/>
                  <a:gd name="connsiteY463" fmla="*/ 112731 h 501988"/>
                  <a:gd name="connsiteX464" fmla="*/ 513807 w 615173"/>
                  <a:gd name="connsiteY464" fmla="*/ 103186 h 501988"/>
                  <a:gd name="connsiteX465" fmla="*/ 514716 w 615173"/>
                  <a:gd name="connsiteY465" fmla="*/ 102883 h 501988"/>
                  <a:gd name="connsiteX466" fmla="*/ 515625 w 615173"/>
                  <a:gd name="connsiteY466" fmla="*/ 103186 h 501988"/>
                  <a:gd name="connsiteX467" fmla="*/ 517292 w 615173"/>
                  <a:gd name="connsiteY467" fmla="*/ 102580 h 501988"/>
                  <a:gd name="connsiteX468" fmla="*/ 521080 w 615173"/>
                  <a:gd name="connsiteY468" fmla="*/ 100761 h 501988"/>
                  <a:gd name="connsiteX469" fmla="*/ 521989 w 615173"/>
                  <a:gd name="connsiteY469" fmla="*/ 99549 h 501988"/>
                  <a:gd name="connsiteX470" fmla="*/ 519413 w 615173"/>
                  <a:gd name="connsiteY470" fmla="*/ 96973 h 501988"/>
                  <a:gd name="connsiteX471" fmla="*/ 517140 w 615173"/>
                  <a:gd name="connsiteY471" fmla="*/ 96367 h 501988"/>
                  <a:gd name="connsiteX472" fmla="*/ 519868 w 615173"/>
                  <a:gd name="connsiteY472" fmla="*/ 94094 h 501988"/>
                  <a:gd name="connsiteX473" fmla="*/ 525777 w 615173"/>
                  <a:gd name="connsiteY473" fmla="*/ 88488 h 501988"/>
                  <a:gd name="connsiteX474" fmla="*/ 530474 w 615173"/>
                  <a:gd name="connsiteY474" fmla="*/ 87276 h 501988"/>
                  <a:gd name="connsiteX475" fmla="*/ 540323 w 615173"/>
                  <a:gd name="connsiteY475" fmla="*/ 84094 h 501988"/>
                  <a:gd name="connsiteX476" fmla="*/ 554414 w 615173"/>
                  <a:gd name="connsiteY476" fmla="*/ 81064 h 501988"/>
                  <a:gd name="connsiteX477" fmla="*/ 556081 w 615173"/>
                  <a:gd name="connsiteY477" fmla="*/ 80003 h 501988"/>
                  <a:gd name="connsiteX478" fmla="*/ 560627 w 615173"/>
                  <a:gd name="connsiteY478" fmla="*/ 75306 h 501988"/>
                  <a:gd name="connsiteX479" fmla="*/ 579567 w 615173"/>
                  <a:gd name="connsiteY479" fmla="*/ 65457 h 501988"/>
                  <a:gd name="connsiteX480" fmla="*/ 582900 w 615173"/>
                  <a:gd name="connsiteY480" fmla="*/ 62730 h 501988"/>
                  <a:gd name="connsiteX481" fmla="*/ 589719 w 615173"/>
                  <a:gd name="connsiteY481" fmla="*/ 130156 h 501988"/>
                  <a:gd name="connsiteX482" fmla="*/ 588203 w 615173"/>
                  <a:gd name="connsiteY482" fmla="*/ 129853 h 501988"/>
                  <a:gd name="connsiteX483" fmla="*/ 585476 w 615173"/>
                  <a:gd name="connsiteY483" fmla="*/ 130762 h 501988"/>
                  <a:gd name="connsiteX484" fmla="*/ 582900 w 615173"/>
                  <a:gd name="connsiteY484" fmla="*/ 129702 h 501988"/>
                  <a:gd name="connsiteX485" fmla="*/ 583203 w 615173"/>
                  <a:gd name="connsiteY485" fmla="*/ 128187 h 501988"/>
                  <a:gd name="connsiteX486" fmla="*/ 584112 w 615173"/>
                  <a:gd name="connsiteY486" fmla="*/ 127429 h 501988"/>
                  <a:gd name="connsiteX487" fmla="*/ 584264 w 615173"/>
                  <a:gd name="connsiteY487" fmla="*/ 126520 h 501988"/>
                  <a:gd name="connsiteX488" fmla="*/ 583355 w 615173"/>
                  <a:gd name="connsiteY488" fmla="*/ 125914 h 501988"/>
                  <a:gd name="connsiteX489" fmla="*/ 583355 w 615173"/>
                  <a:gd name="connsiteY489" fmla="*/ 125308 h 501988"/>
                  <a:gd name="connsiteX490" fmla="*/ 584264 w 615173"/>
                  <a:gd name="connsiteY490" fmla="*/ 124095 h 501988"/>
                  <a:gd name="connsiteX491" fmla="*/ 583203 w 615173"/>
                  <a:gd name="connsiteY491" fmla="*/ 123792 h 501988"/>
                  <a:gd name="connsiteX492" fmla="*/ 576233 w 615173"/>
                  <a:gd name="connsiteY492" fmla="*/ 125762 h 501988"/>
                  <a:gd name="connsiteX493" fmla="*/ 572900 w 615173"/>
                  <a:gd name="connsiteY493" fmla="*/ 127429 h 501988"/>
                  <a:gd name="connsiteX494" fmla="*/ 561536 w 615173"/>
                  <a:gd name="connsiteY494" fmla="*/ 135156 h 501988"/>
                  <a:gd name="connsiteX495" fmla="*/ 561536 w 615173"/>
                  <a:gd name="connsiteY495" fmla="*/ 136520 h 501988"/>
                  <a:gd name="connsiteX496" fmla="*/ 562142 w 615173"/>
                  <a:gd name="connsiteY496" fmla="*/ 137581 h 501988"/>
                  <a:gd name="connsiteX497" fmla="*/ 563960 w 615173"/>
                  <a:gd name="connsiteY497" fmla="*/ 137884 h 501988"/>
                  <a:gd name="connsiteX498" fmla="*/ 565021 w 615173"/>
                  <a:gd name="connsiteY498" fmla="*/ 139551 h 501988"/>
                  <a:gd name="connsiteX499" fmla="*/ 567142 w 615173"/>
                  <a:gd name="connsiteY499" fmla="*/ 137884 h 501988"/>
                  <a:gd name="connsiteX500" fmla="*/ 568809 w 615173"/>
                  <a:gd name="connsiteY500" fmla="*/ 137126 h 501988"/>
                  <a:gd name="connsiteX501" fmla="*/ 570627 w 615173"/>
                  <a:gd name="connsiteY501" fmla="*/ 137581 h 501988"/>
                  <a:gd name="connsiteX502" fmla="*/ 571839 w 615173"/>
                  <a:gd name="connsiteY502" fmla="*/ 138642 h 501988"/>
                  <a:gd name="connsiteX503" fmla="*/ 572445 w 615173"/>
                  <a:gd name="connsiteY503" fmla="*/ 141823 h 501988"/>
                  <a:gd name="connsiteX504" fmla="*/ 573203 w 615173"/>
                  <a:gd name="connsiteY504" fmla="*/ 142581 h 501988"/>
                  <a:gd name="connsiteX505" fmla="*/ 575930 w 615173"/>
                  <a:gd name="connsiteY505" fmla="*/ 143187 h 501988"/>
                  <a:gd name="connsiteX506" fmla="*/ 580627 w 615173"/>
                  <a:gd name="connsiteY506" fmla="*/ 145308 h 501988"/>
                  <a:gd name="connsiteX507" fmla="*/ 582900 w 615173"/>
                  <a:gd name="connsiteY507" fmla="*/ 144248 h 501988"/>
                  <a:gd name="connsiteX508" fmla="*/ 585324 w 615173"/>
                  <a:gd name="connsiteY508" fmla="*/ 142581 h 501988"/>
                  <a:gd name="connsiteX509" fmla="*/ 586688 w 615173"/>
                  <a:gd name="connsiteY509" fmla="*/ 139702 h 501988"/>
                  <a:gd name="connsiteX510" fmla="*/ 588203 w 615173"/>
                  <a:gd name="connsiteY510" fmla="*/ 137126 h 501988"/>
                  <a:gd name="connsiteX511" fmla="*/ 590021 w 615173"/>
                  <a:gd name="connsiteY511" fmla="*/ 134854 h 501988"/>
                  <a:gd name="connsiteX512" fmla="*/ 591386 w 615173"/>
                  <a:gd name="connsiteY512" fmla="*/ 132581 h 501988"/>
                  <a:gd name="connsiteX513" fmla="*/ 591082 w 615173"/>
                  <a:gd name="connsiteY513" fmla="*/ 130611 h 501988"/>
                  <a:gd name="connsiteX514" fmla="*/ 589719 w 615173"/>
                  <a:gd name="connsiteY514" fmla="*/ 130156 h 501988"/>
                  <a:gd name="connsiteX515" fmla="*/ 537747 w 615173"/>
                  <a:gd name="connsiteY515" fmla="*/ 164248 h 501988"/>
                  <a:gd name="connsiteX516" fmla="*/ 536080 w 615173"/>
                  <a:gd name="connsiteY516" fmla="*/ 162430 h 501988"/>
                  <a:gd name="connsiteX517" fmla="*/ 535626 w 615173"/>
                  <a:gd name="connsiteY517" fmla="*/ 163339 h 501988"/>
                  <a:gd name="connsiteX518" fmla="*/ 535171 w 615173"/>
                  <a:gd name="connsiteY518" fmla="*/ 164248 h 501988"/>
                  <a:gd name="connsiteX519" fmla="*/ 535323 w 615173"/>
                  <a:gd name="connsiteY519" fmla="*/ 165461 h 501988"/>
                  <a:gd name="connsiteX520" fmla="*/ 538050 w 615173"/>
                  <a:gd name="connsiteY520" fmla="*/ 165461 h 501988"/>
                  <a:gd name="connsiteX521" fmla="*/ 539868 w 615173"/>
                  <a:gd name="connsiteY521" fmla="*/ 165915 h 501988"/>
                  <a:gd name="connsiteX522" fmla="*/ 540474 w 615173"/>
                  <a:gd name="connsiteY522" fmla="*/ 165461 h 501988"/>
                  <a:gd name="connsiteX523" fmla="*/ 540474 w 615173"/>
                  <a:gd name="connsiteY523" fmla="*/ 164551 h 501988"/>
                  <a:gd name="connsiteX524" fmla="*/ 537747 w 615173"/>
                  <a:gd name="connsiteY524" fmla="*/ 164248 h 501988"/>
                  <a:gd name="connsiteX525" fmla="*/ 539565 w 615173"/>
                  <a:gd name="connsiteY525" fmla="*/ 151218 h 501988"/>
                  <a:gd name="connsiteX526" fmla="*/ 533656 w 615173"/>
                  <a:gd name="connsiteY526" fmla="*/ 152430 h 501988"/>
                  <a:gd name="connsiteX527" fmla="*/ 532444 w 615173"/>
                  <a:gd name="connsiteY527" fmla="*/ 153945 h 501988"/>
                  <a:gd name="connsiteX528" fmla="*/ 532444 w 615173"/>
                  <a:gd name="connsiteY528" fmla="*/ 155460 h 501988"/>
                  <a:gd name="connsiteX529" fmla="*/ 531232 w 615173"/>
                  <a:gd name="connsiteY529" fmla="*/ 155763 h 501988"/>
                  <a:gd name="connsiteX530" fmla="*/ 530323 w 615173"/>
                  <a:gd name="connsiteY530" fmla="*/ 158036 h 501988"/>
                  <a:gd name="connsiteX531" fmla="*/ 531232 w 615173"/>
                  <a:gd name="connsiteY531" fmla="*/ 158794 h 501988"/>
                  <a:gd name="connsiteX532" fmla="*/ 535323 w 615173"/>
                  <a:gd name="connsiteY532" fmla="*/ 159551 h 501988"/>
                  <a:gd name="connsiteX533" fmla="*/ 536383 w 615173"/>
                  <a:gd name="connsiteY533" fmla="*/ 157582 h 501988"/>
                  <a:gd name="connsiteX534" fmla="*/ 537747 w 615173"/>
                  <a:gd name="connsiteY534" fmla="*/ 157127 h 501988"/>
                  <a:gd name="connsiteX535" fmla="*/ 541232 w 615173"/>
                  <a:gd name="connsiteY535" fmla="*/ 153794 h 501988"/>
                  <a:gd name="connsiteX536" fmla="*/ 540929 w 615173"/>
                  <a:gd name="connsiteY536" fmla="*/ 152278 h 501988"/>
                  <a:gd name="connsiteX537" fmla="*/ 539565 w 615173"/>
                  <a:gd name="connsiteY537" fmla="*/ 151218 h 50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615173" h="501988">
                    <a:moveTo>
                      <a:pt x="28183" y="486836"/>
                    </a:moveTo>
                    <a:lnTo>
                      <a:pt x="25910" y="485624"/>
                    </a:lnTo>
                    <a:lnTo>
                      <a:pt x="24697" y="485472"/>
                    </a:lnTo>
                    <a:lnTo>
                      <a:pt x="23788" y="486230"/>
                    </a:lnTo>
                    <a:lnTo>
                      <a:pt x="22879" y="487897"/>
                    </a:lnTo>
                    <a:lnTo>
                      <a:pt x="24243" y="490169"/>
                    </a:lnTo>
                    <a:lnTo>
                      <a:pt x="25607" y="490927"/>
                    </a:lnTo>
                    <a:lnTo>
                      <a:pt x="26667" y="490624"/>
                    </a:lnTo>
                    <a:lnTo>
                      <a:pt x="28940" y="488806"/>
                    </a:lnTo>
                    <a:lnTo>
                      <a:pt x="28940" y="488048"/>
                    </a:lnTo>
                    <a:lnTo>
                      <a:pt x="28183" y="486836"/>
                    </a:lnTo>
                    <a:close/>
                    <a:moveTo>
                      <a:pt x="50305" y="475017"/>
                    </a:moveTo>
                    <a:lnTo>
                      <a:pt x="44850" y="479260"/>
                    </a:lnTo>
                    <a:lnTo>
                      <a:pt x="43789" y="479563"/>
                    </a:lnTo>
                    <a:lnTo>
                      <a:pt x="38486" y="480472"/>
                    </a:lnTo>
                    <a:lnTo>
                      <a:pt x="36062" y="480321"/>
                    </a:lnTo>
                    <a:lnTo>
                      <a:pt x="34395" y="481381"/>
                    </a:lnTo>
                    <a:lnTo>
                      <a:pt x="35456" y="482745"/>
                    </a:lnTo>
                    <a:lnTo>
                      <a:pt x="37426" y="486987"/>
                    </a:lnTo>
                    <a:lnTo>
                      <a:pt x="41214" y="491230"/>
                    </a:lnTo>
                    <a:lnTo>
                      <a:pt x="44395" y="490473"/>
                    </a:lnTo>
                    <a:lnTo>
                      <a:pt x="45607" y="489563"/>
                    </a:lnTo>
                    <a:lnTo>
                      <a:pt x="47729" y="486987"/>
                    </a:lnTo>
                    <a:lnTo>
                      <a:pt x="50002" y="480321"/>
                    </a:lnTo>
                    <a:lnTo>
                      <a:pt x="55911" y="475927"/>
                    </a:lnTo>
                    <a:lnTo>
                      <a:pt x="55760" y="474563"/>
                    </a:lnTo>
                    <a:lnTo>
                      <a:pt x="50305" y="475017"/>
                    </a:lnTo>
                    <a:close/>
                    <a:moveTo>
                      <a:pt x="75457" y="487139"/>
                    </a:moveTo>
                    <a:lnTo>
                      <a:pt x="75003" y="486836"/>
                    </a:lnTo>
                    <a:lnTo>
                      <a:pt x="74548" y="486987"/>
                    </a:lnTo>
                    <a:lnTo>
                      <a:pt x="73942" y="487442"/>
                    </a:lnTo>
                    <a:lnTo>
                      <a:pt x="67578" y="486987"/>
                    </a:lnTo>
                    <a:lnTo>
                      <a:pt x="66517" y="489563"/>
                    </a:lnTo>
                    <a:lnTo>
                      <a:pt x="64093" y="491685"/>
                    </a:lnTo>
                    <a:lnTo>
                      <a:pt x="64093" y="494867"/>
                    </a:lnTo>
                    <a:lnTo>
                      <a:pt x="66820" y="497897"/>
                    </a:lnTo>
                    <a:lnTo>
                      <a:pt x="68336" y="498655"/>
                    </a:lnTo>
                    <a:lnTo>
                      <a:pt x="70912" y="498958"/>
                    </a:lnTo>
                    <a:lnTo>
                      <a:pt x="74245" y="497139"/>
                    </a:lnTo>
                    <a:lnTo>
                      <a:pt x="75609" y="495321"/>
                    </a:lnTo>
                    <a:lnTo>
                      <a:pt x="75760" y="491836"/>
                    </a:lnTo>
                    <a:lnTo>
                      <a:pt x="75154" y="489563"/>
                    </a:lnTo>
                    <a:lnTo>
                      <a:pt x="75457" y="487139"/>
                    </a:lnTo>
                    <a:close/>
                    <a:moveTo>
                      <a:pt x="3182" y="498352"/>
                    </a:moveTo>
                    <a:lnTo>
                      <a:pt x="0" y="498503"/>
                    </a:lnTo>
                    <a:lnTo>
                      <a:pt x="606" y="499564"/>
                    </a:lnTo>
                    <a:lnTo>
                      <a:pt x="1364" y="500170"/>
                    </a:lnTo>
                    <a:lnTo>
                      <a:pt x="4697" y="501988"/>
                    </a:lnTo>
                    <a:lnTo>
                      <a:pt x="7273" y="497139"/>
                    </a:lnTo>
                    <a:lnTo>
                      <a:pt x="6212" y="495927"/>
                    </a:lnTo>
                    <a:lnTo>
                      <a:pt x="3182" y="498352"/>
                    </a:lnTo>
                    <a:close/>
                    <a:moveTo>
                      <a:pt x="116822" y="469411"/>
                    </a:moveTo>
                    <a:lnTo>
                      <a:pt x="115004" y="469563"/>
                    </a:lnTo>
                    <a:lnTo>
                      <a:pt x="113641" y="470623"/>
                    </a:lnTo>
                    <a:lnTo>
                      <a:pt x="112883" y="473199"/>
                    </a:lnTo>
                    <a:lnTo>
                      <a:pt x="109549" y="479411"/>
                    </a:lnTo>
                    <a:lnTo>
                      <a:pt x="107428" y="485018"/>
                    </a:lnTo>
                    <a:lnTo>
                      <a:pt x="104095" y="487594"/>
                    </a:lnTo>
                    <a:lnTo>
                      <a:pt x="100307" y="488503"/>
                    </a:lnTo>
                    <a:lnTo>
                      <a:pt x="100912" y="489109"/>
                    </a:lnTo>
                    <a:lnTo>
                      <a:pt x="104700" y="489866"/>
                    </a:lnTo>
                    <a:lnTo>
                      <a:pt x="108488" y="486533"/>
                    </a:lnTo>
                    <a:lnTo>
                      <a:pt x="115913" y="484109"/>
                    </a:lnTo>
                    <a:lnTo>
                      <a:pt x="117731" y="479563"/>
                    </a:lnTo>
                    <a:lnTo>
                      <a:pt x="118641" y="474411"/>
                    </a:lnTo>
                    <a:lnTo>
                      <a:pt x="118641" y="471229"/>
                    </a:lnTo>
                    <a:lnTo>
                      <a:pt x="117883" y="469866"/>
                    </a:lnTo>
                    <a:lnTo>
                      <a:pt x="116822" y="469411"/>
                    </a:lnTo>
                    <a:close/>
                    <a:moveTo>
                      <a:pt x="11364" y="468199"/>
                    </a:moveTo>
                    <a:lnTo>
                      <a:pt x="9849" y="466381"/>
                    </a:lnTo>
                    <a:lnTo>
                      <a:pt x="6212" y="466381"/>
                    </a:lnTo>
                    <a:lnTo>
                      <a:pt x="4243" y="468956"/>
                    </a:lnTo>
                    <a:lnTo>
                      <a:pt x="7424" y="474714"/>
                    </a:lnTo>
                    <a:lnTo>
                      <a:pt x="8031" y="476987"/>
                    </a:lnTo>
                    <a:lnTo>
                      <a:pt x="8788" y="476836"/>
                    </a:lnTo>
                    <a:lnTo>
                      <a:pt x="10910" y="474563"/>
                    </a:lnTo>
                    <a:lnTo>
                      <a:pt x="11212" y="473199"/>
                    </a:lnTo>
                    <a:lnTo>
                      <a:pt x="11061" y="471078"/>
                    </a:lnTo>
                    <a:lnTo>
                      <a:pt x="11819" y="470017"/>
                    </a:lnTo>
                    <a:lnTo>
                      <a:pt x="11364" y="468199"/>
                    </a:lnTo>
                    <a:close/>
                    <a:moveTo>
                      <a:pt x="614871" y="125762"/>
                    </a:moveTo>
                    <a:lnTo>
                      <a:pt x="612447" y="122126"/>
                    </a:lnTo>
                    <a:lnTo>
                      <a:pt x="607901" y="120762"/>
                    </a:lnTo>
                    <a:lnTo>
                      <a:pt x="602295" y="121217"/>
                    </a:lnTo>
                    <a:lnTo>
                      <a:pt x="602143" y="122126"/>
                    </a:lnTo>
                    <a:lnTo>
                      <a:pt x="602143" y="124095"/>
                    </a:lnTo>
                    <a:lnTo>
                      <a:pt x="602750" y="124702"/>
                    </a:lnTo>
                    <a:lnTo>
                      <a:pt x="605477" y="125156"/>
                    </a:lnTo>
                    <a:lnTo>
                      <a:pt x="613962" y="128944"/>
                    </a:lnTo>
                    <a:lnTo>
                      <a:pt x="614417" y="128641"/>
                    </a:lnTo>
                    <a:lnTo>
                      <a:pt x="615174" y="126823"/>
                    </a:lnTo>
                    <a:lnTo>
                      <a:pt x="614871" y="125762"/>
                    </a:lnTo>
                    <a:close/>
                    <a:moveTo>
                      <a:pt x="127429" y="455623"/>
                    </a:moveTo>
                    <a:lnTo>
                      <a:pt x="126519" y="457592"/>
                    </a:lnTo>
                    <a:lnTo>
                      <a:pt x="123338" y="458350"/>
                    </a:lnTo>
                    <a:lnTo>
                      <a:pt x="119550" y="460168"/>
                    </a:lnTo>
                    <a:lnTo>
                      <a:pt x="118641" y="461380"/>
                    </a:lnTo>
                    <a:lnTo>
                      <a:pt x="117580" y="465623"/>
                    </a:lnTo>
                    <a:lnTo>
                      <a:pt x="119701" y="466381"/>
                    </a:lnTo>
                    <a:lnTo>
                      <a:pt x="121519" y="464411"/>
                    </a:lnTo>
                    <a:lnTo>
                      <a:pt x="125914" y="462896"/>
                    </a:lnTo>
                    <a:lnTo>
                      <a:pt x="128035" y="461532"/>
                    </a:lnTo>
                    <a:lnTo>
                      <a:pt x="128641" y="457290"/>
                    </a:lnTo>
                    <a:lnTo>
                      <a:pt x="129550" y="455926"/>
                    </a:lnTo>
                    <a:lnTo>
                      <a:pt x="128489" y="454714"/>
                    </a:lnTo>
                    <a:lnTo>
                      <a:pt x="127429" y="455623"/>
                    </a:lnTo>
                    <a:close/>
                    <a:moveTo>
                      <a:pt x="582900" y="62730"/>
                    </a:moveTo>
                    <a:lnTo>
                      <a:pt x="585628" y="60002"/>
                    </a:lnTo>
                    <a:lnTo>
                      <a:pt x="585324" y="55457"/>
                    </a:lnTo>
                    <a:lnTo>
                      <a:pt x="585021" y="54548"/>
                    </a:lnTo>
                    <a:lnTo>
                      <a:pt x="583658" y="53790"/>
                    </a:lnTo>
                    <a:lnTo>
                      <a:pt x="583052" y="52881"/>
                    </a:lnTo>
                    <a:lnTo>
                      <a:pt x="583506" y="49850"/>
                    </a:lnTo>
                    <a:lnTo>
                      <a:pt x="584870" y="49699"/>
                    </a:lnTo>
                    <a:lnTo>
                      <a:pt x="587294" y="48790"/>
                    </a:lnTo>
                    <a:lnTo>
                      <a:pt x="586840" y="46972"/>
                    </a:lnTo>
                    <a:lnTo>
                      <a:pt x="585476" y="46214"/>
                    </a:lnTo>
                    <a:lnTo>
                      <a:pt x="584719" y="44093"/>
                    </a:lnTo>
                    <a:lnTo>
                      <a:pt x="583052" y="44093"/>
                    </a:lnTo>
                    <a:lnTo>
                      <a:pt x="580324" y="43486"/>
                    </a:lnTo>
                    <a:lnTo>
                      <a:pt x="578052" y="42880"/>
                    </a:lnTo>
                    <a:lnTo>
                      <a:pt x="575930" y="43183"/>
                    </a:lnTo>
                    <a:lnTo>
                      <a:pt x="573809" y="44093"/>
                    </a:lnTo>
                    <a:lnTo>
                      <a:pt x="571991" y="44699"/>
                    </a:lnTo>
                    <a:lnTo>
                      <a:pt x="570627" y="44850"/>
                    </a:lnTo>
                    <a:lnTo>
                      <a:pt x="569718" y="45305"/>
                    </a:lnTo>
                    <a:lnTo>
                      <a:pt x="569263" y="46365"/>
                    </a:lnTo>
                    <a:lnTo>
                      <a:pt x="569112" y="47123"/>
                    </a:lnTo>
                    <a:lnTo>
                      <a:pt x="566839" y="46972"/>
                    </a:lnTo>
                    <a:lnTo>
                      <a:pt x="561536" y="45456"/>
                    </a:lnTo>
                    <a:lnTo>
                      <a:pt x="556839" y="44396"/>
                    </a:lnTo>
                    <a:lnTo>
                      <a:pt x="554111" y="45608"/>
                    </a:lnTo>
                    <a:lnTo>
                      <a:pt x="552293" y="46668"/>
                    </a:lnTo>
                    <a:lnTo>
                      <a:pt x="551081" y="46517"/>
                    </a:lnTo>
                    <a:lnTo>
                      <a:pt x="550172" y="45456"/>
                    </a:lnTo>
                    <a:lnTo>
                      <a:pt x="549566" y="44396"/>
                    </a:lnTo>
                    <a:lnTo>
                      <a:pt x="547748" y="43335"/>
                    </a:lnTo>
                    <a:lnTo>
                      <a:pt x="543505" y="41820"/>
                    </a:lnTo>
                    <a:lnTo>
                      <a:pt x="542747" y="41971"/>
                    </a:lnTo>
                    <a:lnTo>
                      <a:pt x="540171" y="43335"/>
                    </a:lnTo>
                    <a:lnTo>
                      <a:pt x="538808" y="43790"/>
                    </a:lnTo>
                    <a:lnTo>
                      <a:pt x="537444" y="44093"/>
                    </a:lnTo>
                    <a:lnTo>
                      <a:pt x="536383" y="43941"/>
                    </a:lnTo>
                    <a:lnTo>
                      <a:pt x="535777" y="43183"/>
                    </a:lnTo>
                    <a:lnTo>
                      <a:pt x="535777" y="41971"/>
                    </a:lnTo>
                    <a:lnTo>
                      <a:pt x="535474" y="40911"/>
                    </a:lnTo>
                    <a:lnTo>
                      <a:pt x="535323" y="40305"/>
                    </a:lnTo>
                    <a:lnTo>
                      <a:pt x="535626" y="38789"/>
                    </a:lnTo>
                    <a:lnTo>
                      <a:pt x="533505" y="35607"/>
                    </a:lnTo>
                    <a:lnTo>
                      <a:pt x="531989" y="35001"/>
                    </a:lnTo>
                    <a:lnTo>
                      <a:pt x="529717" y="34850"/>
                    </a:lnTo>
                    <a:lnTo>
                      <a:pt x="526989" y="33941"/>
                    </a:lnTo>
                    <a:lnTo>
                      <a:pt x="524262" y="32729"/>
                    </a:lnTo>
                    <a:lnTo>
                      <a:pt x="517595" y="30759"/>
                    </a:lnTo>
                    <a:lnTo>
                      <a:pt x="515776" y="30456"/>
                    </a:lnTo>
                    <a:lnTo>
                      <a:pt x="515019" y="30759"/>
                    </a:lnTo>
                    <a:lnTo>
                      <a:pt x="514564" y="31971"/>
                    </a:lnTo>
                    <a:lnTo>
                      <a:pt x="514261" y="35304"/>
                    </a:lnTo>
                    <a:lnTo>
                      <a:pt x="513958" y="35607"/>
                    </a:lnTo>
                    <a:lnTo>
                      <a:pt x="510776" y="35759"/>
                    </a:lnTo>
                    <a:lnTo>
                      <a:pt x="506988" y="35304"/>
                    </a:lnTo>
                    <a:lnTo>
                      <a:pt x="505170" y="35607"/>
                    </a:lnTo>
                    <a:lnTo>
                      <a:pt x="503655" y="35607"/>
                    </a:lnTo>
                    <a:lnTo>
                      <a:pt x="502140" y="34698"/>
                    </a:lnTo>
                    <a:lnTo>
                      <a:pt x="495473" y="35759"/>
                    </a:lnTo>
                    <a:lnTo>
                      <a:pt x="494412" y="35304"/>
                    </a:lnTo>
                    <a:lnTo>
                      <a:pt x="492745" y="33789"/>
                    </a:lnTo>
                    <a:lnTo>
                      <a:pt x="490927" y="32577"/>
                    </a:lnTo>
                    <a:lnTo>
                      <a:pt x="489564" y="31971"/>
                    </a:lnTo>
                    <a:lnTo>
                      <a:pt x="488351" y="31213"/>
                    </a:lnTo>
                    <a:lnTo>
                      <a:pt x="487290" y="31062"/>
                    </a:lnTo>
                    <a:lnTo>
                      <a:pt x="485624" y="31819"/>
                    </a:lnTo>
                    <a:lnTo>
                      <a:pt x="483351" y="32122"/>
                    </a:lnTo>
                    <a:lnTo>
                      <a:pt x="481533" y="31971"/>
                    </a:lnTo>
                    <a:lnTo>
                      <a:pt x="480472" y="32122"/>
                    </a:lnTo>
                    <a:lnTo>
                      <a:pt x="476230" y="28486"/>
                    </a:lnTo>
                    <a:lnTo>
                      <a:pt x="475623" y="27425"/>
                    </a:lnTo>
                    <a:lnTo>
                      <a:pt x="473502" y="27122"/>
                    </a:lnTo>
                    <a:lnTo>
                      <a:pt x="470926" y="27122"/>
                    </a:lnTo>
                    <a:lnTo>
                      <a:pt x="464259" y="24698"/>
                    </a:lnTo>
                    <a:lnTo>
                      <a:pt x="461229" y="23486"/>
                    </a:lnTo>
                    <a:lnTo>
                      <a:pt x="460774" y="22728"/>
                    </a:lnTo>
                    <a:lnTo>
                      <a:pt x="460774" y="22122"/>
                    </a:lnTo>
                    <a:lnTo>
                      <a:pt x="460320" y="22274"/>
                    </a:lnTo>
                    <a:lnTo>
                      <a:pt x="459411" y="23334"/>
                    </a:lnTo>
                    <a:lnTo>
                      <a:pt x="458956" y="24243"/>
                    </a:lnTo>
                    <a:lnTo>
                      <a:pt x="458350" y="24395"/>
                    </a:lnTo>
                    <a:lnTo>
                      <a:pt x="457441" y="24243"/>
                    </a:lnTo>
                    <a:lnTo>
                      <a:pt x="456532" y="23789"/>
                    </a:lnTo>
                    <a:lnTo>
                      <a:pt x="455926" y="23183"/>
                    </a:lnTo>
                    <a:lnTo>
                      <a:pt x="456532" y="22122"/>
                    </a:lnTo>
                    <a:lnTo>
                      <a:pt x="457592" y="20607"/>
                    </a:lnTo>
                    <a:lnTo>
                      <a:pt x="458047" y="19092"/>
                    </a:lnTo>
                    <a:lnTo>
                      <a:pt x="457896" y="17728"/>
                    </a:lnTo>
                    <a:lnTo>
                      <a:pt x="456229" y="16819"/>
                    </a:lnTo>
                    <a:lnTo>
                      <a:pt x="453804" y="16364"/>
                    </a:lnTo>
                    <a:lnTo>
                      <a:pt x="451986" y="16213"/>
                    </a:lnTo>
                    <a:lnTo>
                      <a:pt x="449714" y="15455"/>
                    </a:lnTo>
                    <a:lnTo>
                      <a:pt x="448653" y="14849"/>
                    </a:lnTo>
                    <a:lnTo>
                      <a:pt x="447592" y="13334"/>
                    </a:lnTo>
                    <a:lnTo>
                      <a:pt x="447592" y="12122"/>
                    </a:lnTo>
                    <a:lnTo>
                      <a:pt x="446683" y="12273"/>
                    </a:lnTo>
                    <a:lnTo>
                      <a:pt x="442289" y="14091"/>
                    </a:lnTo>
                    <a:lnTo>
                      <a:pt x="436683" y="14849"/>
                    </a:lnTo>
                    <a:lnTo>
                      <a:pt x="432895" y="14698"/>
                    </a:lnTo>
                    <a:lnTo>
                      <a:pt x="425470" y="11819"/>
                    </a:lnTo>
                    <a:lnTo>
                      <a:pt x="418197" y="10455"/>
                    </a:lnTo>
                    <a:lnTo>
                      <a:pt x="416228" y="10910"/>
                    </a:lnTo>
                    <a:lnTo>
                      <a:pt x="413500" y="13182"/>
                    </a:lnTo>
                    <a:lnTo>
                      <a:pt x="403348" y="10455"/>
                    </a:lnTo>
                    <a:lnTo>
                      <a:pt x="400469" y="8485"/>
                    </a:lnTo>
                    <a:lnTo>
                      <a:pt x="398197" y="8182"/>
                    </a:lnTo>
                    <a:lnTo>
                      <a:pt x="393499" y="9546"/>
                    </a:lnTo>
                    <a:lnTo>
                      <a:pt x="390317" y="8788"/>
                    </a:lnTo>
                    <a:lnTo>
                      <a:pt x="386833" y="10000"/>
                    </a:lnTo>
                    <a:lnTo>
                      <a:pt x="378650" y="11667"/>
                    </a:lnTo>
                    <a:lnTo>
                      <a:pt x="372892" y="11667"/>
                    </a:lnTo>
                    <a:lnTo>
                      <a:pt x="356983" y="8788"/>
                    </a:lnTo>
                    <a:lnTo>
                      <a:pt x="351225" y="7121"/>
                    </a:lnTo>
                    <a:lnTo>
                      <a:pt x="341679" y="6212"/>
                    </a:lnTo>
                    <a:lnTo>
                      <a:pt x="336679" y="4091"/>
                    </a:lnTo>
                    <a:lnTo>
                      <a:pt x="330315" y="5758"/>
                    </a:lnTo>
                    <a:lnTo>
                      <a:pt x="326375" y="5455"/>
                    </a:lnTo>
                    <a:lnTo>
                      <a:pt x="319557" y="6212"/>
                    </a:lnTo>
                    <a:lnTo>
                      <a:pt x="315618" y="5758"/>
                    </a:lnTo>
                    <a:lnTo>
                      <a:pt x="307890" y="5909"/>
                    </a:lnTo>
                    <a:lnTo>
                      <a:pt x="303496" y="6970"/>
                    </a:lnTo>
                    <a:lnTo>
                      <a:pt x="298041" y="5606"/>
                    </a:lnTo>
                    <a:lnTo>
                      <a:pt x="294253" y="2273"/>
                    </a:lnTo>
                    <a:lnTo>
                      <a:pt x="291374" y="758"/>
                    </a:lnTo>
                    <a:lnTo>
                      <a:pt x="288950" y="1212"/>
                    </a:lnTo>
                    <a:lnTo>
                      <a:pt x="286071" y="0"/>
                    </a:lnTo>
                    <a:lnTo>
                      <a:pt x="281828" y="1970"/>
                    </a:lnTo>
                    <a:lnTo>
                      <a:pt x="277737" y="2424"/>
                    </a:lnTo>
                    <a:lnTo>
                      <a:pt x="274101" y="4546"/>
                    </a:lnTo>
                    <a:lnTo>
                      <a:pt x="270768" y="6212"/>
                    </a:lnTo>
                    <a:lnTo>
                      <a:pt x="269858" y="7576"/>
                    </a:lnTo>
                    <a:lnTo>
                      <a:pt x="270919" y="8940"/>
                    </a:lnTo>
                    <a:lnTo>
                      <a:pt x="271070" y="10910"/>
                    </a:lnTo>
                    <a:lnTo>
                      <a:pt x="268191" y="12273"/>
                    </a:lnTo>
                    <a:lnTo>
                      <a:pt x="266373" y="12576"/>
                    </a:lnTo>
                    <a:lnTo>
                      <a:pt x="263192" y="14243"/>
                    </a:lnTo>
                    <a:lnTo>
                      <a:pt x="259706" y="14849"/>
                    </a:lnTo>
                    <a:lnTo>
                      <a:pt x="253949" y="14243"/>
                    </a:lnTo>
                    <a:lnTo>
                      <a:pt x="249858" y="17425"/>
                    </a:lnTo>
                    <a:lnTo>
                      <a:pt x="247888" y="18183"/>
                    </a:lnTo>
                    <a:lnTo>
                      <a:pt x="245615" y="19546"/>
                    </a:lnTo>
                    <a:lnTo>
                      <a:pt x="244100" y="24092"/>
                    </a:lnTo>
                    <a:lnTo>
                      <a:pt x="244100" y="26062"/>
                    </a:lnTo>
                    <a:lnTo>
                      <a:pt x="245615" y="28183"/>
                    </a:lnTo>
                    <a:lnTo>
                      <a:pt x="246979" y="29698"/>
                    </a:lnTo>
                    <a:lnTo>
                      <a:pt x="249251" y="31365"/>
                    </a:lnTo>
                    <a:lnTo>
                      <a:pt x="252433" y="31819"/>
                    </a:lnTo>
                    <a:lnTo>
                      <a:pt x="252130" y="32880"/>
                    </a:lnTo>
                    <a:lnTo>
                      <a:pt x="249403" y="36365"/>
                    </a:lnTo>
                    <a:lnTo>
                      <a:pt x="249403" y="38638"/>
                    </a:lnTo>
                    <a:lnTo>
                      <a:pt x="250615" y="38941"/>
                    </a:lnTo>
                    <a:lnTo>
                      <a:pt x="255464" y="37123"/>
                    </a:lnTo>
                    <a:lnTo>
                      <a:pt x="255767" y="38486"/>
                    </a:lnTo>
                    <a:lnTo>
                      <a:pt x="255464" y="39698"/>
                    </a:lnTo>
                    <a:lnTo>
                      <a:pt x="255464" y="42729"/>
                    </a:lnTo>
                    <a:lnTo>
                      <a:pt x="256373" y="43941"/>
                    </a:lnTo>
                    <a:lnTo>
                      <a:pt x="257585" y="44699"/>
                    </a:lnTo>
                    <a:lnTo>
                      <a:pt x="256525" y="46517"/>
                    </a:lnTo>
                    <a:lnTo>
                      <a:pt x="255464" y="47274"/>
                    </a:lnTo>
                    <a:lnTo>
                      <a:pt x="255312" y="48941"/>
                    </a:lnTo>
                    <a:lnTo>
                      <a:pt x="257737" y="48941"/>
                    </a:lnTo>
                    <a:lnTo>
                      <a:pt x="258797" y="49396"/>
                    </a:lnTo>
                    <a:lnTo>
                      <a:pt x="256525" y="51517"/>
                    </a:lnTo>
                    <a:lnTo>
                      <a:pt x="253343" y="55002"/>
                    </a:lnTo>
                    <a:lnTo>
                      <a:pt x="253646" y="60154"/>
                    </a:lnTo>
                    <a:lnTo>
                      <a:pt x="254403" y="60760"/>
                    </a:lnTo>
                    <a:lnTo>
                      <a:pt x="256525" y="60305"/>
                    </a:lnTo>
                    <a:lnTo>
                      <a:pt x="259100" y="58032"/>
                    </a:lnTo>
                    <a:lnTo>
                      <a:pt x="261676" y="56517"/>
                    </a:lnTo>
                    <a:lnTo>
                      <a:pt x="263040" y="55911"/>
                    </a:lnTo>
                    <a:lnTo>
                      <a:pt x="268949" y="54396"/>
                    </a:lnTo>
                    <a:lnTo>
                      <a:pt x="270464" y="53638"/>
                    </a:lnTo>
                    <a:lnTo>
                      <a:pt x="271980" y="53790"/>
                    </a:lnTo>
                    <a:lnTo>
                      <a:pt x="272283" y="54548"/>
                    </a:lnTo>
                    <a:lnTo>
                      <a:pt x="273192" y="55911"/>
                    </a:lnTo>
                    <a:lnTo>
                      <a:pt x="274101" y="56820"/>
                    </a:lnTo>
                    <a:lnTo>
                      <a:pt x="274404" y="57578"/>
                    </a:lnTo>
                    <a:lnTo>
                      <a:pt x="272131" y="60608"/>
                    </a:lnTo>
                    <a:lnTo>
                      <a:pt x="271828" y="61669"/>
                    </a:lnTo>
                    <a:lnTo>
                      <a:pt x="273040" y="63639"/>
                    </a:lnTo>
                    <a:lnTo>
                      <a:pt x="273192" y="64245"/>
                    </a:lnTo>
                    <a:lnTo>
                      <a:pt x="273798" y="64548"/>
                    </a:lnTo>
                    <a:lnTo>
                      <a:pt x="275313" y="64548"/>
                    </a:lnTo>
                    <a:lnTo>
                      <a:pt x="278192" y="63336"/>
                    </a:lnTo>
                    <a:lnTo>
                      <a:pt x="280162" y="62275"/>
                    </a:lnTo>
                    <a:lnTo>
                      <a:pt x="280768" y="62730"/>
                    </a:lnTo>
                    <a:lnTo>
                      <a:pt x="286374" y="62124"/>
                    </a:lnTo>
                    <a:lnTo>
                      <a:pt x="287738" y="62578"/>
                    </a:lnTo>
                    <a:lnTo>
                      <a:pt x="288647" y="63033"/>
                    </a:lnTo>
                    <a:lnTo>
                      <a:pt x="291374" y="63790"/>
                    </a:lnTo>
                    <a:lnTo>
                      <a:pt x="294405" y="63790"/>
                    </a:lnTo>
                    <a:lnTo>
                      <a:pt x="298041" y="62730"/>
                    </a:lnTo>
                    <a:lnTo>
                      <a:pt x="299708" y="61669"/>
                    </a:lnTo>
                    <a:lnTo>
                      <a:pt x="300011" y="60608"/>
                    </a:lnTo>
                    <a:lnTo>
                      <a:pt x="300163" y="59699"/>
                    </a:lnTo>
                    <a:lnTo>
                      <a:pt x="300617" y="59093"/>
                    </a:lnTo>
                    <a:lnTo>
                      <a:pt x="301526" y="58790"/>
                    </a:lnTo>
                    <a:lnTo>
                      <a:pt x="302890" y="59396"/>
                    </a:lnTo>
                    <a:lnTo>
                      <a:pt x="304708" y="59851"/>
                    </a:lnTo>
                    <a:lnTo>
                      <a:pt x="309253" y="60002"/>
                    </a:lnTo>
                    <a:lnTo>
                      <a:pt x="310163" y="59396"/>
                    </a:lnTo>
                    <a:lnTo>
                      <a:pt x="311678" y="59548"/>
                    </a:lnTo>
                    <a:lnTo>
                      <a:pt x="313648" y="60305"/>
                    </a:lnTo>
                    <a:lnTo>
                      <a:pt x="315920" y="60002"/>
                    </a:lnTo>
                    <a:lnTo>
                      <a:pt x="317133" y="60911"/>
                    </a:lnTo>
                    <a:lnTo>
                      <a:pt x="317587" y="62124"/>
                    </a:lnTo>
                    <a:lnTo>
                      <a:pt x="317739" y="64851"/>
                    </a:lnTo>
                    <a:lnTo>
                      <a:pt x="317587" y="67578"/>
                    </a:lnTo>
                    <a:lnTo>
                      <a:pt x="318042" y="68639"/>
                    </a:lnTo>
                    <a:lnTo>
                      <a:pt x="319557" y="68942"/>
                    </a:lnTo>
                    <a:lnTo>
                      <a:pt x="322133" y="68942"/>
                    </a:lnTo>
                    <a:lnTo>
                      <a:pt x="324406" y="69700"/>
                    </a:lnTo>
                    <a:lnTo>
                      <a:pt x="326224" y="71063"/>
                    </a:lnTo>
                    <a:lnTo>
                      <a:pt x="326830" y="72427"/>
                    </a:lnTo>
                    <a:lnTo>
                      <a:pt x="327133" y="73336"/>
                    </a:lnTo>
                    <a:lnTo>
                      <a:pt x="326224" y="73791"/>
                    </a:lnTo>
                    <a:lnTo>
                      <a:pt x="325012" y="75760"/>
                    </a:lnTo>
                    <a:lnTo>
                      <a:pt x="321830" y="78336"/>
                    </a:lnTo>
                    <a:lnTo>
                      <a:pt x="317436" y="80609"/>
                    </a:lnTo>
                    <a:lnTo>
                      <a:pt x="314102" y="83488"/>
                    </a:lnTo>
                    <a:lnTo>
                      <a:pt x="311830" y="86973"/>
                    </a:lnTo>
                    <a:lnTo>
                      <a:pt x="308951" y="88488"/>
                    </a:lnTo>
                    <a:lnTo>
                      <a:pt x="308042" y="89246"/>
                    </a:lnTo>
                    <a:lnTo>
                      <a:pt x="307739" y="90155"/>
                    </a:lnTo>
                    <a:lnTo>
                      <a:pt x="309708" y="94397"/>
                    </a:lnTo>
                    <a:lnTo>
                      <a:pt x="310314" y="97731"/>
                    </a:lnTo>
                    <a:lnTo>
                      <a:pt x="310769" y="101670"/>
                    </a:lnTo>
                    <a:lnTo>
                      <a:pt x="310466" y="102731"/>
                    </a:lnTo>
                    <a:lnTo>
                      <a:pt x="310314" y="107125"/>
                    </a:lnTo>
                    <a:lnTo>
                      <a:pt x="309860" y="108489"/>
                    </a:lnTo>
                    <a:lnTo>
                      <a:pt x="310011" y="109550"/>
                    </a:lnTo>
                    <a:lnTo>
                      <a:pt x="310769" y="110610"/>
                    </a:lnTo>
                    <a:lnTo>
                      <a:pt x="311072" y="111671"/>
                    </a:lnTo>
                    <a:lnTo>
                      <a:pt x="309708" y="113035"/>
                    </a:lnTo>
                    <a:lnTo>
                      <a:pt x="307284" y="114550"/>
                    </a:lnTo>
                    <a:lnTo>
                      <a:pt x="305465" y="115913"/>
                    </a:lnTo>
                    <a:lnTo>
                      <a:pt x="305011" y="117277"/>
                    </a:lnTo>
                    <a:lnTo>
                      <a:pt x="305163" y="118035"/>
                    </a:lnTo>
                    <a:lnTo>
                      <a:pt x="308193" y="120762"/>
                    </a:lnTo>
                    <a:lnTo>
                      <a:pt x="308799" y="121823"/>
                    </a:lnTo>
                    <a:lnTo>
                      <a:pt x="308344" y="124550"/>
                    </a:lnTo>
                    <a:lnTo>
                      <a:pt x="306526" y="128944"/>
                    </a:lnTo>
                    <a:lnTo>
                      <a:pt x="304860" y="131672"/>
                    </a:lnTo>
                    <a:lnTo>
                      <a:pt x="304556" y="131975"/>
                    </a:lnTo>
                    <a:lnTo>
                      <a:pt x="302587" y="132732"/>
                    </a:lnTo>
                    <a:lnTo>
                      <a:pt x="293344" y="132732"/>
                    </a:lnTo>
                    <a:lnTo>
                      <a:pt x="291071" y="133338"/>
                    </a:lnTo>
                    <a:lnTo>
                      <a:pt x="291374" y="133944"/>
                    </a:lnTo>
                    <a:lnTo>
                      <a:pt x="293496" y="137429"/>
                    </a:lnTo>
                    <a:lnTo>
                      <a:pt x="295768" y="139248"/>
                    </a:lnTo>
                    <a:lnTo>
                      <a:pt x="296526" y="139702"/>
                    </a:lnTo>
                    <a:lnTo>
                      <a:pt x="297284" y="143793"/>
                    </a:lnTo>
                    <a:lnTo>
                      <a:pt x="300920" y="150308"/>
                    </a:lnTo>
                    <a:lnTo>
                      <a:pt x="304405" y="151218"/>
                    </a:lnTo>
                    <a:lnTo>
                      <a:pt x="305617" y="152884"/>
                    </a:lnTo>
                    <a:lnTo>
                      <a:pt x="305314" y="155157"/>
                    </a:lnTo>
                    <a:lnTo>
                      <a:pt x="304254" y="157582"/>
                    </a:lnTo>
                    <a:lnTo>
                      <a:pt x="302132" y="160157"/>
                    </a:lnTo>
                    <a:lnTo>
                      <a:pt x="299556" y="161976"/>
                    </a:lnTo>
                    <a:lnTo>
                      <a:pt x="297889" y="163794"/>
                    </a:lnTo>
                    <a:lnTo>
                      <a:pt x="297738" y="165915"/>
                    </a:lnTo>
                    <a:lnTo>
                      <a:pt x="297132" y="168491"/>
                    </a:lnTo>
                    <a:lnTo>
                      <a:pt x="296375" y="170612"/>
                    </a:lnTo>
                    <a:lnTo>
                      <a:pt x="296223" y="171976"/>
                    </a:lnTo>
                    <a:lnTo>
                      <a:pt x="302738" y="180764"/>
                    </a:lnTo>
                    <a:lnTo>
                      <a:pt x="306375" y="180310"/>
                    </a:lnTo>
                    <a:lnTo>
                      <a:pt x="306830" y="180461"/>
                    </a:lnTo>
                    <a:lnTo>
                      <a:pt x="306223" y="182582"/>
                    </a:lnTo>
                    <a:lnTo>
                      <a:pt x="305011" y="185007"/>
                    </a:lnTo>
                    <a:lnTo>
                      <a:pt x="303647" y="185461"/>
                    </a:lnTo>
                    <a:lnTo>
                      <a:pt x="300617" y="186219"/>
                    </a:lnTo>
                    <a:lnTo>
                      <a:pt x="297738" y="189401"/>
                    </a:lnTo>
                    <a:lnTo>
                      <a:pt x="295314" y="193189"/>
                    </a:lnTo>
                    <a:lnTo>
                      <a:pt x="293496" y="195007"/>
                    </a:lnTo>
                    <a:lnTo>
                      <a:pt x="291829" y="199553"/>
                    </a:lnTo>
                    <a:lnTo>
                      <a:pt x="291980" y="201523"/>
                    </a:lnTo>
                    <a:lnTo>
                      <a:pt x="292738" y="204553"/>
                    </a:lnTo>
                    <a:lnTo>
                      <a:pt x="294405" y="212432"/>
                    </a:lnTo>
                    <a:lnTo>
                      <a:pt x="300768" y="211523"/>
                    </a:lnTo>
                    <a:lnTo>
                      <a:pt x="306223" y="211826"/>
                    </a:lnTo>
                    <a:lnTo>
                      <a:pt x="307435" y="211371"/>
                    </a:lnTo>
                    <a:lnTo>
                      <a:pt x="309253" y="209402"/>
                    </a:lnTo>
                    <a:lnTo>
                      <a:pt x="309405" y="210311"/>
                    </a:lnTo>
                    <a:lnTo>
                      <a:pt x="308648" y="211978"/>
                    </a:lnTo>
                    <a:lnTo>
                      <a:pt x="319406" y="219554"/>
                    </a:lnTo>
                    <a:lnTo>
                      <a:pt x="321982" y="223342"/>
                    </a:lnTo>
                    <a:lnTo>
                      <a:pt x="324103" y="220917"/>
                    </a:lnTo>
                    <a:lnTo>
                      <a:pt x="326982" y="220766"/>
                    </a:lnTo>
                    <a:lnTo>
                      <a:pt x="325770" y="221220"/>
                    </a:lnTo>
                    <a:lnTo>
                      <a:pt x="323951" y="222887"/>
                    </a:lnTo>
                    <a:lnTo>
                      <a:pt x="321678" y="226675"/>
                    </a:lnTo>
                    <a:lnTo>
                      <a:pt x="322436" y="229554"/>
                    </a:lnTo>
                    <a:lnTo>
                      <a:pt x="325618" y="230766"/>
                    </a:lnTo>
                    <a:lnTo>
                      <a:pt x="325921" y="231827"/>
                    </a:lnTo>
                    <a:lnTo>
                      <a:pt x="325770" y="233039"/>
                    </a:lnTo>
                    <a:lnTo>
                      <a:pt x="326830" y="236221"/>
                    </a:lnTo>
                    <a:lnTo>
                      <a:pt x="328345" y="239100"/>
                    </a:lnTo>
                    <a:lnTo>
                      <a:pt x="331830" y="243645"/>
                    </a:lnTo>
                    <a:lnTo>
                      <a:pt x="333951" y="243797"/>
                    </a:lnTo>
                    <a:lnTo>
                      <a:pt x="338194" y="246676"/>
                    </a:lnTo>
                    <a:lnTo>
                      <a:pt x="343194" y="248645"/>
                    </a:lnTo>
                    <a:lnTo>
                      <a:pt x="345164" y="248191"/>
                    </a:lnTo>
                    <a:lnTo>
                      <a:pt x="347588" y="247130"/>
                    </a:lnTo>
                    <a:lnTo>
                      <a:pt x="348043" y="244706"/>
                    </a:lnTo>
                    <a:lnTo>
                      <a:pt x="349104" y="244403"/>
                    </a:lnTo>
                    <a:lnTo>
                      <a:pt x="349861" y="245161"/>
                    </a:lnTo>
                    <a:lnTo>
                      <a:pt x="350467" y="245161"/>
                    </a:lnTo>
                    <a:lnTo>
                      <a:pt x="351376" y="241979"/>
                    </a:lnTo>
                    <a:lnTo>
                      <a:pt x="354104" y="237736"/>
                    </a:lnTo>
                    <a:lnTo>
                      <a:pt x="355770" y="236221"/>
                    </a:lnTo>
                    <a:lnTo>
                      <a:pt x="362286" y="233797"/>
                    </a:lnTo>
                    <a:lnTo>
                      <a:pt x="369407" y="233645"/>
                    </a:lnTo>
                    <a:lnTo>
                      <a:pt x="374104" y="229857"/>
                    </a:lnTo>
                    <a:lnTo>
                      <a:pt x="375923" y="227584"/>
                    </a:lnTo>
                    <a:lnTo>
                      <a:pt x="377741" y="226978"/>
                    </a:lnTo>
                    <a:lnTo>
                      <a:pt x="392439" y="225766"/>
                    </a:lnTo>
                    <a:lnTo>
                      <a:pt x="399257" y="226220"/>
                    </a:lnTo>
                    <a:lnTo>
                      <a:pt x="403348" y="227281"/>
                    </a:lnTo>
                    <a:lnTo>
                      <a:pt x="408045" y="225766"/>
                    </a:lnTo>
                    <a:lnTo>
                      <a:pt x="411075" y="225614"/>
                    </a:lnTo>
                    <a:lnTo>
                      <a:pt x="417894" y="226069"/>
                    </a:lnTo>
                    <a:lnTo>
                      <a:pt x="421076" y="226978"/>
                    </a:lnTo>
                    <a:lnTo>
                      <a:pt x="424258" y="225917"/>
                    </a:lnTo>
                    <a:lnTo>
                      <a:pt x="426379" y="224099"/>
                    </a:lnTo>
                    <a:lnTo>
                      <a:pt x="430319" y="223342"/>
                    </a:lnTo>
                    <a:lnTo>
                      <a:pt x="434410" y="223645"/>
                    </a:lnTo>
                    <a:lnTo>
                      <a:pt x="437592" y="225917"/>
                    </a:lnTo>
                    <a:lnTo>
                      <a:pt x="439713" y="225008"/>
                    </a:lnTo>
                    <a:lnTo>
                      <a:pt x="444410" y="219705"/>
                    </a:lnTo>
                    <a:lnTo>
                      <a:pt x="448350" y="210765"/>
                    </a:lnTo>
                    <a:lnTo>
                      <a:pt x="452592" y="205917"/>
                    </a:lnTo>
                    <a:lnTo>
                      <a:pt x="461229" y="200462"/>
                    </a:lnTo>
                    <a:lnTo>
                      <a:pt x="471835" y="200159"/>
                    </a:lnTo>
                    <a:lnTo>
                      <a:pt x="475017" y="199856"/>
                    </a:lnTo>
                    <a:lnTo>
                      <a:pt x="476381" y="199401"/>
                    </a:lnTo>
                    <a:lnTo>
                      <a:pt x="477745" y="198341"/>
                    </a:lnTo>
                    <a:lnTo>
                      <a:pt x="475017" y="195765"/>
                    </a:lnTo>
                    <a:lnTo>
                      <a:pt x="475321" y="193947"/>
                    </a:lnTo>
                    <a:lnTo>
                      <a:pt x="476987" y="191371"/>
                    </a:lnTo>
                    <a:lnTo>
                      <a:pt x="477290" y="190310"/>
                    </a:lnTo>
                    <a:lnTo>
                      <a:pt x="478957" y="186976"/>
                    </a:lnTo>
                    <a:lnTo>
                      <a:pt x="480018" y="181976"/>
                    </a:lnTo>
                    <a:lnTo>
                      <a:pt x="482593" y="180310"/>
                    </a:lnTo>
                    <a:lnTo>
                      <a:pt x="483351" y="176673"/>
                    </a:lnTo>
                    <a:lnTo>
                      <a:pt x="487139" y="172885"/>
                    </a:lnTo>
                    <a:lnTo>
                      <a:pt x="496079" y="168188"/>
                    </a:lnTo>
                    <a:lnTo>
                      <a:pt x="501231" y="164703"/>
                    </a:lnTo>
                    <a:lnTo>
                      <a:pt x="503049" y="162733"/>
                    </a:lnTo>
                    <a:lnTo>
                      <a:pt x="501837" y="160612"/>
                    </a:lnTo>
                    <a:lnTo>
                      <a:pt x="496685" y="158491"/>
                    </a:lnTo>
                    <a:lnTo>
                      <a:pt x="493957" y="156066"/>
                    </a:lnTo>
                    <a:lnTo>
                      <a:pt x="491988" y="153036"/>
                    </a:lnTo>
                    <a:lnTo>
                      <a:pt x="488654" y="141672"/>
                    </a:lnTo>
                    <a:lnTo>
                      <a:pt x="488654" y="138338"/>
                    </a:lnTo>
                    <a:lnTo>
                      <a:pt x="495473" y="126974"/>
                    </a:lnTo>
                    <a:lnTo>
                      <a:pt x="498654" y="122580"/>
                    </a:lnTo>
                    <a:lnTo>
                      <a:pt x="501837" y="119550"/>
                    </a:lnTo>
                    <a:lnTo>
                      <a:pt x="507443" y="112731"/>
                    </a:lnTo>
                    <a:lnTo>
                      <a:pt x="513807" y="103186"/>
                    </a:lnTo>
                    <a:lnTo>
                      <a:pt x="514716" y="102883"/>
                    </a:lnTo>
                    <a:lnTo>
                      <a:pt x="515625" y="103186"/>
                    </a:lnTo>
                    <a:lnTo>
                      <a:pt x="517292" y="102580"/>
                    </a:lnTo>
                    <a:lnTo>
                      <a:pt x="521080" y="100761"/>
                    </a:lnTo>
                    <a:lnTo>
                      <a:pt x="521989" y="99549"/>
                    </a:lnTo>
                    <a:lnTo>
                      <a:pt x="519413" y="96973"/>
                    </a:lnTo>
                    <a:lnTo>
                      <a:pt x="517140" y="96367"/>
                    </a:lnTo>
                    <a:lnTo>
                      <a:pt x="519868" y="94094"/>
                    </a:lnTo>
                    <a:lnTo>
                      <a:pt x="525777" y="88488"/>
                    </a:lnTo>
                    <a:lnTo>
                      <a:pt x="530474" y="87276"/>
                    </a:lnTo>
                    <a:lnTo>
                      <a:pt x="540323" y="84094"/>
                    </a:lnTo>
                    <a:lnTo>
                      <a:pt x="554414" y="81064"/>
                    </a:lnTo>
                    <a:lnTo>
                      <a:pt x="556081" y="80003"/>
                    </a:lnTo>
                    <a:lnTo>
                      <a:pt x="560627" y="75306"/>
                    </a:lnTo>
                    <a:lnTo>
                      <a:pt x="579567" y="65457"/>
                    </a:lnTo>
                    <a:lnTo>
                      <a:pt x="582900" y="62730"/>
                    </a:lnTo>
                    <a:close/>
                    <a:moveTo>
                      <a:pt x="589719" y="130156"/>
                    </a:moveTo>
                    <a:lnTo>
                      <a:pt x="588203" y="129853"/>
                    </a:lnTo>
                    <a:lnTo>
                      <a:pt x="585476" y="130762"/>
                    </a:lnTo>
                    <a:lnTo>
                      <a:pt x="582900" y="129702"/>
                    </a:lnTo>
                    <a:lnTo>
                      <a:pt x="583203" y="128187"/>
                    </a:lnTo>
                    <a:lnTo>
                      <a:pt x="584112" y="127429"/>
                    </a:lnTo>
                    <a:lnTo>
                      <a:pt x="584264" y="126520"/>
                    </a:lnTo>
                    <a:lnTo>
                      <a:pt x="583355" y="125914"/>
                    </a:lnTo>
                    <a:lnTo>
                      <a:pt x="583355" y="125308"/>
                    </a:lnTo>
                    <a:lnTo>
                      <a:pt x="584264" y="124095"/>
                    </a:lnTo>
                    <a:lnTo>
                      <a:pt x="583203" y="123792"/>
                    </a:lnTo>
                    <a:lnTo>
                      <a:pt x="576233" y="125762"/>
                    </a:lnTo>
                    <a:lnTo>
                      <a:pt x="572900" y="127429"/>
                    </a:lnTo>
                    <a:lnTo>
                      <a:pt x="561536" y="135156"/>
                    </a:lnTo>
                    <a:lnTo>
                      <a:pt x="561536" y="136520"/>
                    </a:lnTo>
                    <a:lnTo>
                      <a:pt x="562142" y="137581"/>
                    </a:lnTo>
                    <a:lnTo>
                      <a:pt x="563960" y="137884"/>
                    </a:lnTo>
                    <a:lnTo>
                      <a:pt x="565021" y="139551"/>
                    </a:lnTo>
                    <a:lnTo>
                      <a:pt x="567142" y="137884"/>
                    </a:lnTo>
                    <a:lnTo>
                      <a:pt x="568809" y="137126"/>
                    </a:lnTo>
                    <a:lnTo>
                      <a:pt x="570627" y="137581"/>
                    </a:lnTo>
                    <a:lnTo>
                      <a:pt x="571839" y="138642"/>
                    </a:lnTo>
                    <a:lnTo>
                      <a:pt x="572445" y="141823"/>
                    </a:lnTo>
                    <a:lnTo>
                      <a:pt x="573203" y="142581"/>
                    </a:lnTo>
                    <a:lnTo>
                      <a:pt x="575930" y="143187"/>
                    </a:lnTo>
                    <a:lnTo>
                      <a:pt x="580627" y="145308"/>
                    </a:lnTo>
                    <a:lnTo>
                      <a:pt x="582900" y="144248"/>
                    </a:lnTo>
                    <a:lnTo>
                      <a:pt x="585324" y="142581"/>
                    </a:lnTo>
                    <a:lnTo>
                      <a:pt x="586688" y="139702"/>
                    </a:lnTo>
                    <a:lnTo>
                      <a:pt x="588203" y="137126"/>
                    </a:lnTo>
                    <a:lnTo>
                      <a:pt x="590021" y="134854"/>
                    </a:lnTo>
                    <a:lnTo>
                      <a:pt x="591386" y="132581"/>
                    </a:lnTo>
                    <a:lnTo>
                      <a:pt x="591082" y="130611"/>
                    </a:lnTo>
                    <a:lnTo>
                      <a:pt x="589719" y="130156"/>
                    </a:lnTo>
                    <a:close/>
                    <a:moveTo>
                      <a:pt x="537747" y="164248"/>
                    </a:moveTo>
                    <a:lnTo>
                      <a:pt x="536080" y="162430"/>
                    </a:lnTo>
                    <a:lnTo>
                      <a:pt x="535626" y="163339"/>
                    </a:lnTo>
                    <a:lnTo>
                      <a:pt x="535171" y="164248"/>
                    </a:lnTo>
                    <a:lnTo>
                      <a:pt x="535323" y="165461"/>
                    </a:lnTo>
                    <a:lnTo>
                      <a:pt x="538050" y="165461"/>
                    </a:lnTo>
                    <a:lnTo>
                      <a:pt x="539868" y="165915"/>
                    </a:lnTo>
                    <a:lnTo>
                      <a:pt x="540474" y="165461"/>
                    </a:lnTo>
                    <a:lnTo>
                      <a:pt x="540474" y="164551"/>
                    </a:lnTo>
                    <a:lnTo>
                      <a:pt x="537747" y="164248"/>
                    </a:lnTo>
                    <a:close/>
                    <a:moveTo>
                      <a:pt x="539565" y="151218"/>
                    </a:moveTo>
                    <a:lnTo>
                      <a:pt x="533656" y="152430"/>
                    </a:lnTo>
                    <a:lnTo>
                      <a:pt x="532444" y="153945"/>
                    </a:lnTo>
                    <a:lnTo>
                      <a:pt x="532444" y="155460"/>
                    </a:lnTo>
                    <a:lnTo>
                      <a:pt x="531232" y="155763"/>
                    </a:lnTo>
                    <a:lnTo>
                      <a:pt x="530323" y="158036"/>
                    </a:lnTo>
                    <a:lnTo>
                      <a:pt x="531232" y="158794"/>
                    </a:lnTo>
                    <a:lnTo>
                      <a:pt x="535323" y="159551"/>
                    </a:lnTo>
                    <a:lnTo>
                      <a:pt x="536383" y="157582"/>
                    </a:lnTo>
                    <a:lnTo>
                      <a:pt x="537747" y="157127"/>
                    </a:lnTo>
                    <a:lnTo>
                      <a:pt x="541232" y="153794"/>
                    </a:lnTo>
                    <a:lnTo>
                      <a:pt x="540929" y="152278"/>
                    </a:lnTo>
                    <a:lnTo>
                      <a:pt x="539565" y="1512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3" name="Freeform: Shape 3292">
                <a:extLst>
                  <a:ext uri="{FF2B5EF4-FFF2-40B4-BE49-F238E27FC236}">
                    <a16:creationId xmlns:a16="http://schemas.microsoft.com/office/drawing/2014/main" id="{845E0F3C-FB77-4C50-8664-1BA075F30469}"/>
                  </a:ext>
                </a:extLst>
              </p:cNvPr>
              <p:cNvSpPr/>
              <p:nvPr/>
            </p:nvSpPr>
            <p:spPr>
              <a:xfrm>
                <a:off x="6774055" y="4067127"/>
                <a:ext cx="182279" cy="156672"/>
              </a:xfrm>
              <a:custGeom>
                <a:avLst/>
                <a:gdLst>
                  <a:gd name="connsiteX0" fmla="*/ 100610 w 182279"/>
                  <a:gd name="connsiteY0" fmla="*/ 56669 h 156672"/>
                  <a:gd name="connsiteX1" fmla="*/ 99700 w 182279"/>
                  <a:gd name="connsiteY1" fmla="*/ 53941 h 156672"/>
                  <a:gd name="connsiteX2" fmla="*/ 98943 w 182279"/>
                  <a:gd name="connsiteY2" fmla="*/ 53335 h 156672"/>
                  <a:gd name="connsiteX3" fmla="*/ 98640 w 182279"/>
                  <a:gd name="connsiteY3" fmla="*/ 53941 h 156672"/>
                  <a:gd name="connsiteX4" fmla="*/ 97428 w 182279"/>
                  <a:gd name="connsiteY4" fmla="*/ 55002 h 156672"/>
                  <a:gd name="connsiteX5" fmla="*/ 97882 w 182279"/>
                  <a:gd name="connsiteY5" fmla="*/ 55608 h 156672"/>
                  <a:gd name="connsiteX6" fmla="*/ 100610 w 182279"/>
                  <a:gd name="connsiteY6" fmla="*/ 56669 h 156672"/>
                  <a:gd name="connsiteX7" fmla="*/ 181977 w 182279"/>
                  <a:gd name="connsiteY7" fmla="*/ 144399 h 156672"/>
                  <a:gd name="connsiteX8" fmla="*/ 179703 w 182279"/>
                  <a:gd name="connsiteY8" fmla="*/ 142278 h 156672"/>
                  <a:gd name="connsiteX9" fmla="*/ 178946 w 182279"/>
                  <a:gd name="connsiteY9" fmla="*/ 144854 h 156672"/>
                  <a:gd name="connsiteX10" fmla="*/ 174249 w 182279"/>
                  <a:gd name="connsiteY10" fmla="*/ 143339 h 156672"/>
                  <a:gd name="connsiteX11" fmla="*/ 172582 w 182279"/>
                  <a:gd name="connsiteY11" fmla="*/ 139096 h 156672"/>
                  <a:gd name="connsiteX12" fmla="*/ 166825 w 182279"/>
                  <a:gd name="connsiteY12" fmla="*/ 133490 h 156672"/>
                  <a:gd name="connsiteX13" fmla="*/ 163491 w 182279"/>
                  <a:gd name="connsiteY13" fmla="*/ 133793 h 156672"/>
                  <a:gd name="connsiteX14" fmla="*/ 161976 w 182279"/>
                  <a:gd name="connsiteY14" fmla="*/ 128641 h 156672"/>
                  <a:gd name="connsiteX15" fmla="*/ 159248 w 182279"/>
                  <a:gd name="connsiteY15" fmla="*/ 123338 h 156672"/>
                  <a:gd name="connsiteX16" fmla="*/ 143187 w 182279"/>
                  <a:gd name="connsiteY16" fmla="*/ 112428 h 156672"/>
                  <a:gd name="connsiteX17" fmla="*/ 138339 w 182279"/>
                  <a:gd name="connsiteY17" fmla="*/ 105155 h 156672"/>
                  <a:gd name="connsiteX18" fmla="*/ 130005 w 182279"/>
                  <a:gd name="connsiteY18" fmla="*/ 94700 h 156672"/>
                  <a:gd name="connsiteX19" fmla="*/ 119701 w 182279"/>
                  <a:gd name="connsiteY19" fmla="*/ 91367 h 156672"/>
                  <a:gd name="connsiteX20" fmla="*/ 115156 w 182279"/>
                  <a:gd name="connsiteY20" fmla="*/ 87427 h 156672"/>
                  <a:gd name="connsiteX21" fmla="*/ 112731 w 182279"/>
                  <a:gd name="connsiteY21" fmla="*/ 86064 h 156672"/>
                  <a:gd name="connsiteX22" fmla="*/ 109701 w 182279"/>
                  <a:gd name="connsiteY22" fmla="*/ 85155 h 156672"/>
                  <a:gd name="connsiteX23" fmla="*/ 106065 w 182279"/>
                  <a:gd name="connsiteY23" fmla="*/ 84852 h 156672"/>
                  <a:gd name="connsiteX24" fmla="*/ 103337 w 182279"/>
                  <a:gd name="connsiteY24" fmla="*/ 83791 h 156672"/>
                  <a:gd name="connsiteX25" fmla="*/ 100004 w 182279"/>
                  <a:gd name="connsiteY25" fmla="*/ 80003 h 156672"/>
                  <a:gd name="connsiteX26" fmla="*/ 99246 w 182279"/>
                  <a:gd name="connsiteY26" fmla="*/ 78185 h 156672"/>
                  <a:gd name="connsiteX27" fmla="*/ 98791 w 182279"/>
                  <a:gd name="connsiteY27" fmla="*/ 74851 h 156672"/>
                  <a:gd name="connsiteX28" fmla="*/ 97125 w 182279"/>
                  <a:gd name="connsiteY28" fmla="*/ 73185 h 156672"/>
                  <a:gd name="connsiteX29" fmla="*/ 93943 w 182279"/>
                  <a:gd name="connsiteY29" fmla="*/ 71063 h 156672"/>
                  <a:gd name="connsiteX30" fmla="*/ 92579 w 182279"/>
                  <a:gd name="connsiteY30" fmla="*/ 72579 h 156672"/>
                  <a:gd name="connsiteX31" fmla="*/ 91973 w 182279"/>
                  <a:gd name="connsiteY31" fmla="*/ 75154 h 156672"/>
                  <a:gd name="connsiteX32" fmla="*/ 92731 w 182279"/>
                  <a:gd name="connsiteY32" fmla="*/ 77276 h 156672"/>
                  <a:gd name="connsiteX33" fmla="*/ 92882 w 182279"/>
                  <a:gd name="connsiteY33" fmla="*/ 78488 h 156672"/>
                  <a:gd name="connsiteX34" fmla="*/ 91973 w 182279"/>
                  <a:gd name="connsiteY34" fmla="*/ 80609 h 156672"/>
                  <a:gd name="connsiteX35" fmla="*/ 90155 w 182279"/>
                  <a:gd name="connsiteY35" fmla="*/ 78185 h 156672"/>
                  <a:gd name="connsiteX36" fmla="*/ 87731 w 182279"/>
                  <a:gd name="connsiteY36" fmla="*/ 71518 h 156672"/>
                  <a:gd name="connsiteX37" fmla="*/ 86367 w 182279"/>
                  <a:gd name="connsiteY37" fmla="*/ 69548 h 156672"/>
                  <a:gd name="connsiteX38" fmla="*/ 84397 w 182279"/>
                  <a:gd name="connsiteY38" fmla="*/ 69245 h 156672"/>
                  <a:gd name="connsiteX39" fmla="*/ 82124 w 182279"/>
                  <a:gd name="connsiteY39" fmla="*/ 62124 h 156672"/>
                  <a:gd name="connsiteX40" fmla="*/ 78791 w 182279"/>
                  <a:gd name="connsiteY40" fmla="*/ 58336 h 156672"/>
                  <a:gd name="connsiteX41" fmla="*/ 76669 w 182279"/>
                  <a:gd name="connsiteY41" fmla="*/ 50760 h 156672"/>
                  <a:gd name="connsiteX42" fmla="*/ 74548 w 182279"/>
                  <a:gd name="connsiteY42" fmla="*/ 35759 h 156672"/>
                  <a:gd name="connsiteX43" fmla="*/ 71518 w 182279"/>
                  <a:gd name="connsiteY43" fmla="*/ 25758 h 156672"/>
                  <a:gd name="connsiteX44" fmla="*/ 68184 w 182279"/>
                  <a:gd name="connsiteY44" fmla="*/ 16213 h 156672"/>
                  <a:gd name="connsiteX45" fmla="*/ 59851 w 182279"/>
                  <a:gd name="connsiteY45" fmla="*/ 0 h 156672"/>
                  <a:gd name="connsiteX46" fmla="*/ 57427 w 182279"/>
                  <a:gd name="connsiteY46" fmla="*/ 1818 h 156672"/>
                  <a:gd name="connsiteX47" fmla="*/ 54699 w 182279"/>
                  <a:gd name="connsiteY47" fmla="*/ 5000 h 156672"/>
                  <a:gd name="connsiteX48" fmla="*/ 53941 w 182279"/>
                  <a:gd name="connsiteY48" fmla="*/ 6212 h 156672"/>
                  <a:gd name="connsiteX49" fmla="*/ 53638 w 182279"/>
                  <a:gd name="connsiteY49" fmla="*/ 6970 h 156672"/>
                  <a:gd name="connsiteX50" fmla="*/ 53335 w 182279"/>
                  <a:gd name="connsiteY50" fmla="*/ 7879 h 156672"/>
                  <a:gd name="connsiteX51" fmla="*/ 52578 w 182279"/>
                  <a:gd name="connsiteY51" fmla="*/ 8788 h 156672"/>
                  <a:gd name="connsiteX52" fmla="*/ 51062 w 182279"/>
                  <a:gd name="connsiteY52" fmla="*/ 10152 h 156672"/>
                  <a:gd name="connsiteX53" fmla="*/ 50456 w 182279"/>
                  <a:gd name="connsiteY53" fmla="*/ 10758 h 156672"/>
                  <a:gd name="connsiteX54" fmla="*/ 50153 w 182279"/>
                  <a:gd name="connsiteY54" fmla="*/ 11667 h 156672"/>
                  <a:gd name="connsiteX55" fmla="*/ 49244 w 182279"/>
                  <a:gd name="connsiteY55" fmla="*/ 12273 h 156672"/>
                  <a:gd name="connsiteX56" fmla="*/ 48183 w 182279"/>
                  <a:gd name="connsiteY56" fmla="*/ 12273 h 156672"/>
                  <a:gd name="connsiteX57" fmla="*/ 47274 w 182279"/>
                  <a:gd name="connsiteY57" fmla="*/ 12728 h 156672"/>
                  <a:gd name="connsiteX58" fmla="*/ 45911 w 182279"/>
                  <a:gd name="connsiteY58" fmla="*/ 13334 h 156672"/>
                  <a:gd name="connsiteX59" fmla="*/ 43941 w 182279"/>
                  <a:gd name="connsiteY59" fmla="*/ 13031 h 156672"/>
                  <a:gd name="connsiteX60" fmla="*/ 41820 w 182279"/>
                  <a:gd name="connsiteY60" fmla="*/ 13637 h 156672"/>
                  <a:gd name="connsiteX61" fmla="*/ 41062 w 182279"/>
                  <a:gd name="connsiteY61" fmla="*/ 14394 h 156672"/>
                  <a:gd name="connsiteX62" fmla="*/ 39395 w 182279"/>
                  <a:gd name="connsiteY62" fmla="*/ 15001 h 156672"/>
                  <a:gd name="connsiteX63" fmla="*/ 37729 w 182279"/>
                  <a:gd name="connsiteY63" fmla="*/ 15152 h 156672"/>
                  <a:gd name="connsiteX64" fmla="*/ 37123 w 182279"/>
                  <a:gd name="connsiteY64" fmla="*/ 15304 h 156672"/>
                  <a:gd name="connsiteX65" fmla="*/ 35607 w 182279"/>
                  <a:gd name="connsiteY65" fmla="*/ 16364 h 156672"/>
                  <a:gd name="connsiteX66" fmla="*/ 33789 w 182279"/>
                  <a:gd name="connsiteY66" fmla="*/ 17880 h 156672"/>
                  <a:gd name="connsiteX67" fmla="*/ 31516 w 182279"/>
                  <a:gd name="connsiteY67" fmla="*/ 18789 h 156672"/>
                  <a:gd name="connsiteX68" fmla="*/ 30759 w 182279"/>
                  <a:gd name="connsiteY68" fmla="*/ 19092 h 156672"/>
                  <a:gd name="connsiteX69" fmla="*/ 29698 w 182279"/>
                  <a:gd name="connsiteY69" fmla="*/ 20152 h 156672"/>
                  <a:gd name="connsiteX70" fmla="*/ 28183 w 182279"/>
                  <a:gd name="connsiteY70" fmla="*/ 25152 h 156672"/>
                  <a:gd name="connsiteX71" fmla="*/ 26971 w 182279"/>
                  <a:gd name="connsiteY71" fmla="*/ 26516 h 156672"/>
                  <a:gd name="connsiteX72" fmla="*/ 25001 w 182279"/>
                  <a:gd name="connsiteY72" fmla="*/ 26668 h 156672"/>
                  <a:gd name="connsiteX73" fmla="*/ 22425 w 182279"/>
                  <a:gd name="connsiteY73" fmla="*/ 26668 h 156672"/>
                  <a:gd name="connsiteX74" fmla="*/ 20304 w 182279"/>
                  <a:gd name="connsiteY74" fmla="*/ 27122 h 156672"/>
                  <a:gd name="connsiteX75" fmla="*/ 17274 w 182279"/>
                  <a:gd name="connsiteY75" fmla="*/ 26516 h 156672"/>
                  <a:gd name="connsiteX76" fmla="*/ 15909 w 182279"/>
                  <a:gd name="connsiteY76" fmla="*/ 26516 h 156672"/>
                  <a:gd name="connsiteX77" fmla="*/ 15607 w 182279"/>
                  <a:gd name="connsiteY77" fmla="*/ 27577 h 156672"/>
                  <a:gd name="connsiteX78" fmla="*/ 15000 w 182279"/>
                  <a:gd name="connsiteY78" fmla="*/ 31819 h 156672"/>
                  <a:gd name="connsiteX79" fmla="*/ 15152 w 182279"/>
                  <a:gd name="connsiteY79" fmla="*/ 33638 h 156672"/>
                  <a:gd name="connsiteX80" fmla="*/ 13940 w 182279"/>
                  <a:gd name="connsiteY80" fmla="*/ 35759 h 156672"/>
                  <a:gd name="connsiteX81" fmla="*/ 12576 w 182279"/>
                  <a:gd name="connsiteY81" fmla="*/ 38486 h 156672"/>
                  <a:gd name="connsiteX82" fmla="*/ 13031 w 182279"/>
                  <a:gd name="connsiteY82" fmla="*/ 43032 h 156672"/>
                  <a:gd name="connsiteX83" fmla="*/ 13182 w 182279"/>
                  <a:gd name="connsiteY83" fmla="*/ 47577 h 156672"/>
                  <a:gd name="connsiteX84" fmla="*/ 10758 w 182279"/>
                  <a:gd name="connsiteY84" fmla="*/ 54396 h 156672"/>
                  <a:gd name="connsiteX85" fmla="*/ 10455 w 182279"/>
                  <a:gd name="connsiteY85" fmla="*/ 55911 h 156672"/>
                  <a:gd name="connsiteX86" fmla="*/ 8031 w 182279"/>
                  <a:gd name="connsiteY86" fmla="*/ 61366 h 156672"/>
                  <a:gd name="connsiteX87" fmla="*/ 6819 w 182279"/>
                  <a:gd name="connsiteY87" fmla="*/ 63336 h 156672"/>
                  <a:gd name="connsiteX88" fmla="*/ 3788 w 182279"/>
                  <a:gd name="connsiteY88" fmla="*/ 73488 h 156672"/>
                  <a:gd name="connsiteX89" fmla="*/ 2576 w 182279"/>
                  <a:gd name="connsiteY89" fmla="*/ 76669 h 156672"/>
                  <a:gd name="connsiteX90" fmla="*/ 0 w 182279"/>
                  <a:gd name="connsiteY90" fmla="*/ 80003 h 156672"/>
                  <a:gd name="connsiteX91" fmla="*/ 606 w 182279"/>
                  <a:gd name="connsiteY91" fmla="*/ 85306 h 156672"/>
                  <a:gd name="connsiteX92" fmla="*/ 1212 w 182279"/>
                  <a:gd name="connsiteY92" fmla="*/ 90912 h 156672"/>
                  <a:gd name="connsiteX93" fmla="*/ 1818 w 182279"/>
                  <a:gd name="connsiteY93" fmla="*/ 96216 h 156672"/>
                  <a:gd name="connsiteX94" fmla="*/ 2727 w 182279"/>
                  <a:gd name="connsiteY94" fmla="*/ 104246 h 156672"/>
                  <a:gd name="connsiteX95" fmla="*/ 3182 w 182279"/>
                  <a:gd name="connsiteY95" fmla="*/ 104246 h 156672"/>
                  <a:gd name="connsiteX96" fmla="*/ 6970 w 182279"/>
                  <a:gd name="connsiteY96" fmla="*/ 102883 h 156672"/>
                  <a:gd name="connsiteX97" fmla="*/ 10607 w 182279"/>
                  <a:gd name="connsiteY97" fmla="*/ 102731 h 156672"/>
                  <a:gd name="connsiteX98" fmla="*/ 14091 w 182279"/>
                  <a:gd name="connsiteY98" fmla="*/ 103640 h 156672"/>
                  <a:gd name="connsiteX99" fmla="*/ 16364 w 182279"/>
                  <a:gd name="connsiteY99" fmla="*/ 103943 h 156672"/>
                  <a:gd name="connsiteX100" fmla="*/ 17425 w 182279"/>
                  <a:gd name="connsiteY100" fmla="*/ 103489 h 156672"/>
                  <a:gd name="connsiteX101" fmla="*/ 18334 w 182279"/>
                  <a:gd name="connsiteY101" fmla="*/ 102276 h 156672"/>
                  <a:gd name="connsiteX102" fmla="*/ 19243 w 182279"/>
                  <a:gd name="connsiteY102" fmla="*/ 100307 h 156672"/>
                  <a:gd name="connsiteX103" fmla="*/ 20607 w 182279"/>
                  <a:gd name="connsiteY103" fmla="*/ 99246 h 156672"/>
                  <a:gd name="connsiteX104" fmla="*/ 22576 w 182279"/>
                  <a:gd name="connsiteY104" fmla="*/ 99095 h 156672"/>
                  <a:gd name="connsiteX105" fmla="*/ 25153 w 182279"/>
                  <a:gd name="connsiteY105" fmla="*/ 101367 h 156672"/>
                  <a:gd name="connsiteX106" fmla="*/ 29395 w 182279"/>
                  <a:gd name="connsiteY106" fmla="*/ 107428 h 156672"/>
                  <a:gd name="connsiteX107" fmla="*/ 30456 w 182279"/>
                  <a:gd name="connsiteY107" fmla="*/ 107731 h 156672"/>
                  <a:gd name="connsiteX108" fmla="*/ 31062 w 182279"/>
                  <a:gd name="connsiteY108" fmla="*/ 107580 h 156672"/>
                  <a:gd name="connsiteX109" fmla="*/ 33183 w 182279"/>
                  <a:gd name="connsiteY109" fmla="*/ 102731 h 156672"/>
                  <a:gd name="connsiteX110" fmla="*/ 34850 w 182279"/>
                  <a:gd name="connsiteY110" fmla="*/ 98943 h 156672"/>
                  <a:gd name="connsiteX111" fmla="*/ 37880 w 182279"/>
                  <a:gd name="connsiteY111" fmla="*/ 91973 h 156672"/>
                  <a:gd name="connsiteX112" fmla="*/ 39698 w 182279"/>
                  <a:gd name="connsiteY112" fmla="*/ 88033 h 156672"/>
                  <a:gd name="connsiteX113" fmla="*/ 41365 w 182279"/>
                  <a:gd name="connsiteY113" fmla="*/ 89246 h 156672"/>
                  <a:gd name="connsiteX114" fmla="*/ 43032 w 182279"/>
                  <a:gd name="connsiteY114" fmla="*/ 91216 h 156672"/>
                  <a:gd name="connsiteX115" fmla="*/ 44850 w 182279"/>
                  <a:gd name="connsiteY115" fmla="*/ 92125 h 156672"/>
                  <a:gd name="connsiteX116" fmla="*/ 46820 w 182279"/>
                  <a:gd name="connsiteY116" fmla="*/ 92731 h 156672"/>
                  <a:gd name="connsiteX117" fmla="*/ 47729 w 182279"/>
                  <a:gd name="connsiteY117" fmla="*/ 92731 h 156672"/>
                  <a:gd name="connsiteX118" fmla="*/ 48941 w 182279"/>
                  <a:gd name="connsiteY118" fmla="*/ 93488 h 156672"/>
                  <a:gd name="connsiteX119" fmla="*/ 53184 w 182279"/>
                  <a:gd name="connsiteY119" fmla="*/ 98488 h 156672"/>
                  <a:gd name="connsiteX120" fmla="*/ 54699 w 182279"/>
                  <a:gd name="connsiteY120" fmla="*/ 99701 h 156672"/>
                  <a:gd name="connsiteX121" fmla="*/ 56669 w 182279"/>
                  <a:gd name="connsiteY121" fmla="*/ 99852 h 156672"/>
                  <a:gd name="connsiteX122" fmla="*/ 65154 w 182279"/>
                  <a:gd name="connsiteY122" fmla="*/ 98185 h 156672"/>
                  <a:gd name="connsiteX123" fmla="*/ 70154 w 182279"/>
                  <a:gd name="connsiteY123" fmla="*/ 95307 h 156672"/>
                  <a:gd name="connsiteX124" fmla="*/ 70912 w 182279"/>
                  <a:gd name="connsiteY124" fmla="*/ 94094 h 156672"/>
                  <a:gd name="connsiteX125" fmla="*/ 72275 w 182279"/>
                  <a:gd name="connsiteY125" fmla="*/ 94094 h 156672"/>
                  <a:gd name="connsiteX126" fmla="*/ 73942 w 182279"/>
                  <a:gd name="connsiteY126" fmla="*/ 95307 h 156672"/>
                  <a:gd name="connsiteX127" fmla="*/ 74548 w 182279"/>
                  <a:gd name="connsiteY127" fmla="*/ 96519 h 156672"/>
                  <a:gd name="connsiteX128" fmla="*/ 75609 w 182279"/>
                  <a:gd name="connsiteY128" fmla="*/ 98185 h 156672"/>
                  <a:gd name="connsiteX129" fmla="*/ 77579 w 182279"/>
                  <a:gd name="connsiteY129" fmla="*/ 98488 h 156672"/>
                  <a:gd name="connsiteX130" fmla="*/ 82427 w 182279"/>
                  <a:gd name="connsiteY130" fmla="*/ 97276 h 156672"/>
                  <a:gd name="connsiteX131" fmla="*/ 84700 w 182279"/>
                  <a:gd name="connsiteY131" fmla="*/ 96519 h 156672"/>
                  <a:gd name="connsiteX132" fmla="*/ 86670 w 182279"/>
                  <a:gd name="connsiteY132" fmla="*/ 97125 h 156672"/>
                  <a:gd name="connsiteX133" fmla="*/ 89246 w 182279"/>
                  <a:gd name="connsiteY133" fmla="*/ 97579 h 156672"/>
                  <a:gd name="connsiteX134" fmla="*/ 90912 w 182279"/>
                  <a:gd name="connsiteY134" fmla="*/ 97579 h 156672"/>
                  <a:gd name="connsiteX135" fmla="*/ 94700 w 182279"/>
                  <a:gd name="connsiteY135" fmla="*/ 99246 h 156672"/>
                  <a:gd name="connsiteX136" fmla="*/ 99246 w 182279"/>
                  <a:gd name="connsiteY136" fmla="*/ 98792 h 156672"/>
                  <a:gd name="connsiteX137" fmla="*/ 101367 w 182279"/>
                  <a:gd name="connsiteY137" fmla="*/ 98943 h 156672"/>
                  <a:gd name="connsiteX138" fmla="*/ 103640 w 182279"/>
                  <a:gd name="connsiteY138" fmla="*/ 99701 h 156672"/>
                  <a:gd name="connsiteX139" fmla="*/ 107277 w 182279"/>
                  <a:gd name="connsiteY139" fmla="*/ 102276 h 156672"/>
                  <a:gd name="connsiteX140" fmla="*/ 111974 w 182279"/>
                  <a:gd name="connsiteY140" fmla="*/ 105458 h 156672"/>
                  <a:gd name="connsiteX141" fmla="*/ 118641 w 182279"/>
                  <a:gd name="connsiteY141" fmla="*/ 107731 h 156672"/>
                  <a:gd name="connsiteX142" fmla="*/ 120005 w 182279"/>
                  <a:gd name="connsiteY142" fmla="*/ 108640 h 156672"/>
                  <a:gd name="connsiteX143" fmla="*/ 123186 w 182279"/>
                  <a:gd name="connsiteY143" fmla="*/ 112277 h 156672"/>
                  <a:gd name="connsiteX144" fmla="*/ 128186 w 182279"/>
                  <a:gd name="connsiteY144" fmla="*/ 119095 h 156672"/>
                  <a:gd name="connsiteX145" fmla="*/ 134702 w 182279"/>
                  <a:gd name="connsiteY145" fmla="*/ 125611 h 156672"/>
                  <a:gd name="connsiteX146" fmla="*/ 141823 w 182279"/>
                  <a:gd name="connsiteY146" fmla="*/ 130762 h 156672"/>
                  <a:gd name="connsiteX147" fmla="*/ 145611 w 182279"/>
                  <a:gd name="connsiteY147" fmla="*/ 134399 h 156672"/>
                  <a:gd name="connsiteX148" fmla="*/ 148187 w 182279"/>
                  <a:gd name="connsiteY148" fmla="*/ 138793 h 156672"/>
                  <a:gd name="connsiteX149" fmla="*/ 150763 w 182279"/>
                  <a:gd name="connsiteY149" fmla="*/ 142732 h 156672"/>
                  <a:gd name="connsiteX150" fmla="*/ 153339 w 182279"/>
                  <a:gd name="connsiteY150" fmla="*/ 144399 h 156672"/>
                  <a:gd name="connsiteX151" fmla="*/ 155763 w 182279"/>
                  <a:gd name="connsiteY151" fmla="*/ 145763 h 156672"/>
                  <a:gd name="connsiteX152" fmla="*/ 158188 w 182279"/>
                  <a:gd name="connsiteY152" fmla="*/ 148793 h 156672"/>
                  <a:gd name="connsiteX153" fmla="*/ 160006 w 182279"/>
                  <a:gd name="connsiteY153" fmla="*/ 151369 h 156672"/>
                  <a:gd name="connsiteX154" fmla="*/ 162430 w 182279"/>
                  <a:gd name="connsiteY154" fmla="*/ 154248 h 156672"/>
                  <a:gd name="connsiteX155" fmla="*/ 163188 w 182279"/>
                  <a:gd name="connsiteY155" fmla="*/ 153491 h 156672"/>
                  <a:gd name="connsiteX156" fmla="*/ 164248 w 182279"/>
                  <a:gd name="connsiteY156" fmla="*/ 152733 h 156672"/>
                  <a:gd name="connsiteX157" fmla="*/ 165006 w 182279"/>
                  <a:gd name="connsiteY157" fmla="*/ 152884 h 156672"/>
                  <a:gd name="connsiteX158" fmla="*/ 170158 w 182279"/>
                  <a:gd name="connsiteY158" fmla="*/ 156672 h 156672"/>
                  <a:gd name="connsiteX159" fmla="*/ 171067 w 182279"/>
                  <a:gd name="connsiteY159" fmla="*/ 156521 h 156672"/>
                  <a:gd name="connsiteX160" fmla="*/ 172885 w 182279"/>
                  <a:gd name="connsiteY160" fmla="*/ 155309 h 156672"/>
                  <a:gd name="connsiteX161" fmla="*/ 174401 w 182279"/>
                  <a:gd name="connsiteY161" fmla="*/ 151218 h 156672"/>
                  <a:gd name="connsiteX162" fmla="*/ 175461 w 182279"/>
                  <a:gd name="connsiteY162" fmla="*/ 149703 h 156672"/>
                  <a:gd name="connsiteX163" fmla="*/ 175915 w 182279"/>
                  <a:gd name="connsiteY163" fmla="*/ 149703 h 156672"/>
                  <a:gd name="connsiteX164" fmla="*/ 179249 w 182279"/>
                  <a:gd name="connsiteY164" fmla="*/ 148642 h 156672"/>
                  <a:gd name="connsiteX165" fmla="*/ 182279 w 182279"/>
                  <a:gd name="connsiteY165" fmla="*/ 147430 h 156672"/>
                  <a:gd name="connsiteX166" fmla="*/ 181977 w 182279"/>
                  <a:gd name="connsiteY166" fmla="*/ 144399 h 156672"/>
                  <a:gd name="connsiteX167" fmla="*/ 99549 w 182279"/>
                  <a:gd name="connsiteY167" fmla="*/ 65305 h 156672"/>
                  <a:gd name="connsiteX168" fmla="*/ 99398 w 182279"/>
                  <a:gd name="connsiteY168" fmla="*/ 65608 h 156672"/>
                  <a:gd name="connsiteX169" fmla="*/ 98337 w 182279"/>
                  <a:gd name="connsiteY169" fmla="*/ 65912 h 156672"/>
                  <a:gd name="connsiteX170" fmla="*/ 96216 w 182279"/>
                  <a:gd name="connsiteY170" fmla="*/ 64851 h 156672"/>
                  <a:gd name="connsiteX171" fmla="*/ 96973 w 182279"/>
                  <a:gd name="connsiteY171" fmla="*/ 67124 h 156672"/>
                  <a:gd name="connsiteX172" fmla="*/ 100307 w 182279"/>
                  <a:gd name="connsiteY172" fmla="*/ 67730 h 156672"/>
                  <a:gd name="connsiteX173" fmla="*/ 103034 w 182279"/>
                  <a:gd name="connsiteY173" fmla="*/ 67578 h 156672"/>
                  <a:gd name="connsiteX174" fmla="*/ 106065 w 182279"/>
                  <a:gd name="connsiteY174" fmla="*/ 68184 h 156672"/>
                  <a:gd name="connsiteX175" fmla="*/ 108641 w 182279"/>
                  <a:gd name="connsiteY175" fmla="*/ 68184 h 156672"/>
                  <a:gd name="connsiteX176" fmla="*/ 108943 w 182279"/>
                  <a:gd name="connsiteY176" fmla="*/ 66821 h 156672"/>
                  <a:gd name="connsiteX177" fmla="*/ 104549 w 182279"/>
                  <a:gd name="connsiteY177" fmla="*/ 64699 h 156672"/>
                  <a:gd name="connsiteX178" fmla="*/ 104095 w 182279"/>
                  <a:gd name="connsiteY178" fmla="*/ 65760 h 156672"/>
                  <a:gd name="connsiteX179" fmla="*/ 103488 w 182279"/>
                  <a:gd name="connsiteY179" fmla="*/ 66215 h 156672"/>
                  <a:gd name="connsiteX180" fmla="*/ 102731 w 182279"/>
                  <a:gd name="connsiteY180" fmla="*/ 66366 h 156672"/>
                  <a:gd name="connsiteX181" fmla="*/ 101670 w 182279"/>
                  <a:gd name="connsiteY181" fmla="*/ 64851 h 156672"/>
                  <a:gd name="connsiteX182" fmla="*/ 101367 w 182279"/>
                  <a:gd name="connsiteY182" fmla="*/ 62124 h 156672"/>
                  <a:gd name="connsiteX183" fmla="*/ 100458 w 182279"/>
                  <a:gd name="connsiteY183" fmla="*/ 60911 h 156672"/>
                  <a:gd name="connsiteX184" fmla="*/ 98943 w 182279"/>
                  <a:gd name="connsiteY184" fmla="*/ 59851 h 156672"/>
                  <a:gd name="connsiteX185" fmla="*/ 96519 w 182279"/>
                  <a:gd name="connsiteY185" fmla="*/ 59396 h 156672"/>
                  <a:gd name="connsiteX186" fmla="*/ 97731 w 182279"/>
                  <a:gd name="connsiteY186" fmla="*/ 61063 h 156672"/>
                  <a:gd name="connsiteX187" fmla="*/ 97125 w 182279"/>
                  <a:gd name="connsiteY187" fmla="*/ 61669 h 156672"/>
                  <a:gd name="connsiteX188" fmla="*/ 96216 w 182279"/>
                  <a:gd name="connsiteY188" fmla="*/ 62124 h 156672"/>
                  <a:gd name="connsiteX189" fmla="*/ 96064 w 182279"/>
                  <a:gd name="connsiteY189" fmla="*/ 63336 h 156672"/>
                  <a:gd name="connsiteX190" fmla="*/ 98186 w 182279"/>
                  <a:gd name="connsiteY190" fmla="*/ 63639 h 156672"/>
                  <a:gd name="connsiteX191" fmla="*/ 99549 w 182279"/>
                  <a:gd name="connsiteY191" fmla="*/ 65305 h 1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82279" h="156672">
                    <a:moveTo>
                      <a:pt x="100610" y="56669"/>
                    </a:moveTo>
                    <a:lnTo>
                      <a:pt x="99700" y="53941"/>
                    </a:lnTo>
                    <a:lnTo>
                      <a:pt x="98943" y="53335"/>
                    </a:lnTo>
                    <a:lnTo>
                      <a:pt x="98640" y="53941"/>
                    </a:lnTo>
                    <a:lnTo>
                      <a:pt x="97428" y="55002"/>
                    </a:lnTo>
                    <a:lnTo>
                      <a:pt x="97882" y="55608"/>
                    </a:lnTo>
                    <a:lnTo>
                      <a:pt x="100610" y="56669"/>
                    </a:lnTo>
                    <a:close/>
                    <a:moveTo>
                      <a:pt x="181977" y="144399"/>
                    </a:moveTo>
                    <a:lnTo>
                      <a:pt x="179703" y="142278"/>
                    </a:lnTo>
                    <a:lnTo>
                      <a:pt x="178946" y="144854"/>
                    </a:lnTo>
                    <a:lnTo>
                      <a:pt x="174249" y="143339"/>
                    </a:lnTo>
                    <a:lnTo>
                      <a:pt x="172582" y="139096"/>
                    </a:lnTo>
                    <a:lnTo>
                      <a:pt x="166825" y="133490"/>
                    </a:lnTo>
                    <a:lnTo>
                      <a:pt x="163491" y="133793"/>
                    </a:lnTo>
                    <a:lnTo>
                      <a:pt x="161976" y="128641"/>
                    </a:lnTo>
                    <a:lnTo>
                      <a:pt x="159248" y="123338"/>
                    </a:lnTo>
                    <a:lnTo>
                      <a:pt x="143187" y="112428"/>
                    </a:lnTo>
                    <a:lnTo>
                      <a:pt x="138339" y="105155"/>
                    </a:lnTo>
                    <a:lnTo>
                      <a:pt x="130005" y="94700"/>
                    </a:lnTo>
                    <a:lnTo>
                      <a:pt x="119701" y="91367"/>
                    </a:lnTo>
                    <a:lnTo>
                      <a:pt x="115156" y="87427"/>
                    </a:lnTo>
                    <a:lnTo>
                      <a:pt x="112731" y="86064"/>
                    </a:lnTo>
                    <a:lnTo>
                      <a:pt x="109701" y="85155"/>
                    </a:lnTo>
                    <a:lnTo>
                      <a:pt x="106065" y="84852"/>
                    </a:lnTo>
                    <a:lnTo>
                      <a:pt x="103337" y="83791"/>
                    </a:lnTo>
                    <a:lnTo>
                      <a:pt x="100004" y="80003"/>
                    </a:lnTo>
                    <a:lnTo>
                      <a:pt x="99246" y="78185"/>
                    </a:lnTo>
                    <a:lnTo>
                      <a:pt x="98791" y="74851"/>
                    </a:lnTo>
                    <a:lnTo>
                      <a:pt x="97125" y="73185"/>
                    </a:lnTo>
                    <a:lnTo>
                      <a:pt x="93943" y="71063"/>
                    </a:lnTo>
                    <a:lnTo>
                      <a:pt x="92579" y="72579"/>
                    </a:lnTo>
                    <a:lnTo>
                      <a:pt x="91973" y="75154"/>
                    </a:lnTo>
                    <a:lnTo>
                      <a:pt x="92731" y="77276"/>
                    </a:lnTo>
                    <a:lnTo>
                      <a:pt x="92882" y="78488"/>
                    </a:lnTo>
                    <a:lnTo>
                      <a:pt x="91973" y="80609"/>
                    </a:lnTo>
                    <a:lnTo>
                      <a:pt x="90155" y="78185"/>
                    </a:lnTo>
                    <a:lnTo>
                      <a:pt x="87731" y="71518"/>
                    </a:lnTo>
                    <a:lnTo>
                      <a:pt x="86367" y="69548"/>
                    </a:lnTo>
                    <a:lnTo>
                      <a:pt x="84397" y="69245"/>
                    </a:lnTo>
                    <a:lnTo>
                      <a:pt x="82124" y="62124"/>
                    </a:lnTo>
                    <a:lnTo>
                      <a:pt x="78791" y="58336"/>
                    </a:lnTo>
                    <a:lnTo>
                      <a:pt x="76669" y="50760"/>
                    </a:lnTo>
                    <a:lnTo>
                      <a:pt x="74548" y="35759"/>
                    </a:lnTo>
                    <a:lnTo>
                      <a:pt x="71518" y="25758"/>
                    </a:lnTo>
                    <a:lnTo>
                      <a:pt x="68184" y="16213"/>
                    </a:lnTo>
                    <a:lnTo>
                      <a:pt x="59851" y="0"/>
                    </a:lnTo>
                    <a:lnTo>
                      <a:pt x="57427" y="1818"/>
                    </a:lnTo>
                    <a:lnTo>
                      <a:pt x="54699" y="5000"/>
                    </a:lnTo>
                    <a:lnTo>
                      <a:pt x="53941" y="6212"/>
                    </a:lnTo>
                    <a:lnTo>
                      <a:pt x="53638" y="6970"/>
                    </a:lnTo>
                    <a:lnTo>
                      <a:pt x="53335" y="7879"/>
                    </a:lnTo>
                    <a:lnTo>
                      <a:pt x="52578" y="8788"/>
                    </a:lnTo>
                    <a:lnTo>
                      <a:pt x="51062" y="10152"/>
                    </a:lnTo>
                    <a:lnTo>
                      <a:pt x="50456" y="10758"/>
                    </a:lnTo>
                    <a:lnTo>
                      <a:pt x="50153" y="11667"/>
                    </a:lnTo>
                    <a:lnTo>
                      <a:pt x="49244" y="12273"/>
                    </a:lnTo>
                    <a:lnTo>
                      <a:pt x="48183" y="12273"/>
                    </a:lnTo>
                    <a:lnTo>
                      <a:pt x="47274" y="12728"/>
                    </a:lnTo>
                    <a:lnTo>
                      <a:pt x="45911" y="13334"/>
                    </a:lnTo>
                    <a:lnTo>
                      <a:pt x="43941" y="13031"/>
                    </a:lnTo>
                    <a:lnTo>
                      <a:pt x="41820" y="13637"/>
                    </a:lnTo>
                    <a:lnTo>
                      <a:pt x="41062" y="14394"/>
                    </a:lnTo>
                    <a:lnTo>
                      <a:pt x="39395" y="15001"/>
                    </a:lnTo>
                    <a:lnTo>
                      <a:pt x="37729" y="15152"/>
                    </a:lnTo>
                    <a:lnTo>
                      <a:pt x="37123" y="15304"/>
                    </a:lnTo>
                    <a:lnTo>
                      <a:pt x="35607" y="16364"/>
                    </a:lnTo>
                    <a:lnTo>
                      <a:pt x="33789" y="17880"/>
                    </a:lnTo>
                    <a:lnTo>
                      <a:pt x="31516" y="18789"/>
                    </a:lnTo>
                    <a:lnTo>
                      <a:pt x="30759" y="19092"/>
                    </a:lnTo>
                    <a:lnTo>
                      <a:pt x="29698" y="20152"/>
                    </a:lnTo>
                    <a:lnTo>
                      <a:pt x="28183" y="25152"/>
                    </a:lnTo>
                    <a:lnTo>
                      <a:pt x="26971" y="26516"/>
                    </a:lnTo>
                    <a:lnTo>
                      <a:pt x="25001" y="26668"/>
                    </a:lnTo>
                    <a:lnTo>
                      <a:pt x="22425" y="26668"/>
                    </a:lnTo>
                    <a:lnTo>
                      <a:pt x="20304" y="27122"/>
                    </a:lnTo>
                    <a:lnTo>
                      <a:pt x="17274" y="26516"/>
                    </a:lnTo>
                    <a:lnTo>
                      <a:pt x="15909" y="26516"/>
                    </a:lnTo>
                    <a:lnTo>
                      <a:pt x="15607" y="27577"/>
                    </a:lnTo>
                    <a:lnTo>
                      <a:pt x="15000" y="31819"/>
                    </a:lnTo>
                    <a:lnTo>
                      <a:pt x="15152" y="33638"/>
                    </a:lnTo>
                    <a:lnTo>
                      <a:pt x="13940" y="35759"/>
                    </a:lnTo>
                    <a:lnTo>
                      <a:pt x="12576" y="38486"/>
                    </a:lnTo>
                    <a:lnTo>
                      <a:pt x="13031" y="43032"/>
                    </a:lnTo>
                    <a:lnTo>
                      <a:pt x="13182" y="47577"/>
                    </a:lnTo>
                    <a:lnTo>
                      <a:pt x="10758" y="54396"/>
                    </a:lnTo>
                    <a:lnTo>
                      <a:pt x="10455" y="55911"/>
                    </a:lnTo>
                    <a:lnTo>
                      <a:pt x="8031" y="61366"/>
                    </a:lnTo>
                    <a:lnTo>
                      <a:pt x="6819" y="63336"/>
                    </a:lnTo>
                    <a:lnTo>
                      <a:pt x="3788" y="73488"/>
                    </a:lnTo>
                    <a:lnTo>
                      <a:pt x="2576" y="76669"/>
                    </a:lnTo>
                    <a:lnTo>
                      <a:pt x="0" y="80003"/>
                    </a:lnTo>
                    <a:lnTo>
                      <a:pt x="606" y="85306"/>
                    </a:lnTo>
                    <a:lnTo>
                      <a:pt x="1212" y="90912"/>
                    </a:lnTo>
                    <a:lnTo>
                      <a:pt x="1818" y="96216"/>
                    </a:lnTo>
                    <a:lnTo>
                      <a:pt x="2727" y="104246"/>
                    </a:lnTo>
                    <a:lnTo>
                      <a:pt x="3182" y="104246"/>
                    </a:lnTo>
                    <a:lnTo>
                      <a:pt x="6970" y="102883"/>
                    </a:lnTo>
                    <a:lnTo>
                      <a:pt x="10607" y="102731"/>
                    </a:lnTo>
                    <a:lnTo>
                      <a:pt x="14091" y="103640"/>
                    </a:lnTo>
                    <a:lnTo>
                      <a:pt x="16364" y="103943"/>
                    </a:lnTo>
                    <a:lnTo>
                      <a:pt x="17425" y="103489"/>
                    </a:lnTo>
                    <a:lnTo>
                      <a:pt x="18334" y="102276"/>
                    </a:lnTo>
                    <a:lnTo>
                      <a:pt x="19243" y="100307"/>
                    </a:lnTo>
                    <a:lnTo>
                      <a:pt x="20607" y="99246"/>
                    </a:lnTo>
                    <a:lnTo>
                      <a:pt x="22576" y="99095"/>
                    </a:lnTo>
                    <a:lnTo>
                      <a:pt x="25153" y="101367"/>
                    </a:lnTo>
                    <a:lnTo>
                      <a:pt x="29395" y="107428"/>
                    </a:lnTo>
                    <a:lnTo>
                      <a:pt x="30456" y="107731"/>
                    </a:lnTo>
                    <a:lnTo>
                      <a:pt x="31062" y="107580"/>
                    </a:lnTo>
                    <a:lnTo>
                      <a:pt x="33183" y="102731"/>
                    </a:lnTo>
                    <a:lnTo>
                      <a:pt x="34850" y="98943"/>
                    </a:lnTo>
                    <a:lnTo>
                      <a:pt x="37880" y="91973"/>
                    </a:lnTo>
                    <a:lnTo>
                      <a:pt x="39698" y="88033"/>
                    </a:lnTo>
                    <a:lnTo>
                      <a:pt x="41365" y="89246"/>
                    </a:lnTo>
                    <a:lnTo>
                      <a:pt x="43032" y="91216"/>
                    </a:lnTo>
                    <a:lnTo>
                      <a:pt x="44850" y="92125"/>
                    </a:lnTo>
                    <a:lnTo>
                      <a:pt x="46820" y="92731"/>
                    </a:lnTo>
                    <a:lnTo>
                      <a:pt x="47729" y="92731"/>
                    </a:lnTo>
                    <a:lnTo>
                      <a:pt x="48941" y="93488"/>
                    </a:lnTo>
                    <a:lnTo>
                      <a:pt x="53184" y="98488"/>
                    </a:lnTo>
                    <a:lnTo>
                      <a:pt x="54699" y="99701"/>
                    </a:lnTo>
                    <a:lnTo>
                      <a:pt x="56669" y="99852"/>
                    </a:lnTo>
                    <a:lnTo>
                      <a:pt x="65154" y="98185"/>
                    </a:lnTo>
                    <a:lnTo>
                      <a:pt x="70154" y="95307"/>
                    </a:lnTo>
                    <a:lnTo>
                      <a:pt x="70912" y="94094"/>
                    </a:lnTo>
                    <a:lnTo>
                      <a:pt x="72275" y="94094"/>
                    </a:lnTo>
                    <a:lnTo>
                      <a:pt x="73942" y="95307"/>
                    </a:lnTo>
                    <a:lnTo>
                      <a:pt x="74548" y="96519"/>
                    </a:lnTo>
                    <a:lnTo>
                      <a:pt x="75609" y="98185"/>
                    </a:lnTo>
                    <a:lnTo>
                      <a:pt x="77579" y="98488"/>
                    </a:lnTo>
                    <a:lnTo>
                      <a:pt x="82427" y="97276"/>
                    </a:lnTo>
                    <a:lnTo>
                      <a:pt x="84700" y="96519"/>
                    </a:lnTo>
                    <a:lnTo>
                      <a:pt x="86670" y="97125"/>
                    </a:lnTo>
                    <a:lnTo>
                      <a:pt x="89246" y="97579"/>
                    </a:lnTo>
                    <a:lnTo>
                      <a:pt x="90912" y="97579"/>
                    </a:lnTo>
                    <a:lnTo>
                      <a:pt x="94700" y="99246"/>
                    </a:lnTo>
                    <a:lnTo>
                      <a:pt x="99246" y="98792"/>
                    </a:lnTo>
                    <a:lnTo>
                      <a:pt x="101367" y="98943"/>
                    </a:lnTo>
                    <a:lnTo>
                      <a:pt x="103640" y="99701"/>
                    </a:lnTo>
                    <a:lnTo>
                      <a:pt x="107277" y="102276"/>
                    </a:lnTo>
                    <a:lnTo>
                      <a:pt x="111974" y="105458"/>
                    </a:lnTo>
                    <a:lnTo>
                      <a:pt x="118641" y="107731"/>
                    </a:lnTo>
                    <a:lnTo>
                      <a:pt x="120005" y="108640"/>
                    </a:lnTo>
                    <a:lnTo>
                      <a:pt x="123186" y="112277"/>
                    </a:lnTo>
                    <a:lnTo>
                      <a:pt x="128186" y="119095"/>
                    </a:lnTo>
                    <a:lnTo>
                      <a:pt x="134702" y="125611"/>
                    </a:lnTo>
                    <a:lnTo>
                      <a:pt x="141823" y="130762"/>
                    </a:lnTo>
                    <a:lnTo>
                      <a:pt x="145611" y="134399"/>
                    </a:lnTo>
                    <a:lnTo>
                      <a:pt x="148187" y="138793"/>
                    </a:lnTo>
                    <a:lnTo>
                      <a:pt x="150763" y="142732"/>
                    </a:lnTo>
                    <a:lnTo>
                      <a:pt x="153339" y="144399"/>
                    </a:lnTo>
                    <a:lnTo>
                      <a:pt x="155763" y="145763"/>
                    </a:lnTo>
                    <a:lnTo>
                      <a:pt x="158188" y="148793"/>
                    </a:lnTo>
                    <a:lnTo>
                      <a:pt x="160006" y="151369"/>
                    </a:lnTo>
                    <a:lnTo>
                      <a:pt x="162430" y="154248"/>
                    </a:lnTo>
                    <a:lnTo>
                      <a:pt x="163188" y="153491"/>
                    </a:lnTo>
                    <a:lnTo>
                      <a:pt x="164248" y="152733"/>
                    </a:lnTo>
                    <a:lnTo>
                      <a:pt x="165006" y="152884"/>
                    </a:lnTo>
                    <a:lnTo>
                      <a:pt x="170158" y="156672"/>
                    </a:lnTo>
                    <a:lnTo>
                      <a:pt x="171067" y="156521"/>
                    </a:lnTo>
                    <a:lnTo>
                      <a:pt x="172885" y="155309"/>
                    </a:lnTo>
                    <a:lnTo>
                      <a:pt x="174401" y="151218"/>
                    </a:lnTo>
                    <a:lnTo>
                      <a:pt x="175461" y="149703"/>
                    </a:lnTo>
                    <a:lnTo>
                      <a:pt x="175915" y="149703"/>
                    </a:lnTo>
                    <a:lnTo>
                      <a:pt x="179249" y="148642"/>
                    </a:lnTo>
                    <a:lnTo>
                      <a:pt x="182279" y="147430"/>
                    </a:lnTo>
                    <a:lnTo>
                      <a:pt x="181977" y="144399"/>
                    </a:lnTo>
                    <a:close/>
                    <a:moveTo>
                      <a:pt x="99549" y="65305"/>
                    </a:moveTo>
                    <a:lnTo>
                      <a:pt x="99398" y="65608"/>
                    </a:lnTo>
                    <a:lnTo>
                      <a:pt x="98337" y="65912"/>
                    </a:lnTo>
                    <a:lnTo>
                      <a:pt x="96216" y="64851"/>
                    </a:lnTo>
                    <a:lnTo>
                      <a:pt x="96973" y="67124"/>
                    </a:lnTo>
                    <a:lnTo>
                      <a:pt x="100307" y="67730"/>
                    </a:lnTo>
                    <a:lnTo>
                      <a:pt x="103034" y="67578"/>
                    </a:lnTo>
                    <a:lnTo>
                      <a:pt x="106065" y="68184"/>
                    </a:lnTo>
                    <a:lnTo>
                      <a:pt x="108641" y="68184"/>
                    </a:lnTo>
                    <a:lnTo>
                      <a:pt x="108943" y="66821"/>
                    </a:lnTo>
                    <a:lnTo>
                      <a:pt x="104549" y="64699"/>
                    </a:lnTo>
                    <a:lnTo>
                      <a:pt x="104095" y="65760"/>
                    </a:lnTo>
                    <a:lnTo>
                      <a:pt x="103488" y="66215"/>
                    </a:lnTo>
                    <a:lnTo>
                      <a:pt x="102731" y="66366"/>
                    </a:lnTo>
                    <a:lnTo>
                      <a:pt x="101670" y="64851"/>
                    </a:lnTo>
                    <a:lnTo>
                      <a:pt x="101367" y="62124"/>
                    </a:lnTo>
                    <a:lnTo>
                      <a:pt x="100458" y="60911"/>
                    </a:lnTo>
                    <a:lnTo>
                      <a:pt x="98943" y="59851"/>
                    </a:lnTo>
                    <a:lnTo>
                      <a:pt x="96519" y="59396"/>
                    </a:lnTo>
                    <a:lnTo>
                      <a:pt x="97731" y="61063"/>
                    </a:lnTo>
                    <a:lnTo>
                      <a:pt x="97125" y="61669"/>
                    </a:lnTo>
                    <a:lnTo>
                      <a:pt x="96216" y="62124"/>
                    </a:lnTo>
                    <a:lnTo>
                      <a:pt x="96064" y="63336"/>
                    </a:lnTo>
                    <a:lnTo>
                      <a:pt x="98186" y="63639"/>
                    </a:lnTo>
                    <a:lnTo>
                      <a:pt x="99549" y="6530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4" name="Freeform: Shape 3293">
                <a:extLst>
                  <a:ext uri="{FF2B5EF4-FFF2-40B4-BE49-F238E27FC236}">
                    <a16:creationId xmlns:a16="http://schemas.microsoft.com/office/drawing/2014/main" id="{D285DDCE-25C4-4D7D-B4B4-F6EFDCEF4541}"/>
                  </a:ext>
                </a:extLst>
              </p:cNvPr>
              <p:cNvSpPr/>
              <p:nvPr/>
            </p:nvSpPr>
            <p:spPr>
              <a:xfrm>
                <a:off x="5309303" y="3790450"/>
                <a:ext cx="230311" cy="197734"/>
              </a:xfrm>
              <a:custGeom>
                <a:avLst/>
                <a:gdLst>
                  <a:gd name="connsiteX0" fmla="*/ 1667 w 230311"/>
                  <a:gd name="connsiteY0" fmla="*/ 192128 h 197734"/>
                  <a:gd name="connsiteX1" fmla="*/ 1667 w 230311"/>
                  <a:gd name="connsiteY1" fmla="*/ 192128 h 197734"/>
                  <a:gd name="connsiteX2" fmla="*/ 1061 w 230311"/>
                  <a:gd name="connsiteY2" fmla="*/ 195159 h 197734"/>
                  <a:gd name="connsiteX3" fmla="*/ 1364 w 230311"/>
                  <a:gd name="connsiteY3" fmla="*/ 197735 h 197734"/>
                  <a:gd name="connsiteX4" fmla="*/ 0 w 230311"/>
                  <a:gd name="connsiteY4" fmla="*/ 196371 h 197734"/>
                  <a:gd name="connsiteX5" fmla="*/ 2424 w 230311"/>
                  <a:gd name="connsiteY5" fmla="*/ 181522 h 197734"/>
                  <a:gd name="connsiteX6" fmla="*/ 4698 w 230311"/>
                  <a:gd name="connsiteY6" fmla="*/ 166673 h 197734"/>
                  <a:gd name="connsiteX7" fmla="*/ 8334 w 230311"/>
                  <a:gd name="connsiteY7" fmla="*/ 159248 h 197734"/>
                  <a:gd name="connsiteX8" fmla="*/ 11364 w 230311"/>
                  <a:gd name="connsiteY8" fmla="*/ 155915 h 197734"/>
                  <a:gd name="connsiteX9" fmla="*/ 16062 w 230311"/>
                  <a:gd name="connsiteY9" fmla="*/ 154248 h 197734"/>
                  <a:gd name="connsiteX10" fmla="*/ 20304 w 230311"/>
                  <a:gd name="connsiteY10" fmla="*/ 146824 h 197734"/>
                  <a:gd name="connsiteX11" fmla="*/ 21819 w 230311"/>
                  <a:gd name="connsiteY11" fmla="*/ 140005 h 197734"/>
                  <a:gd name="connsiteX12" fmla="*/ 24547 w 230311"/>
                  <a:gd name="connsiteY12" fmla="*/ 136823 h 197734"/>
                  <a:gd name="connsiteX13" fmla="*/ 25456 w 230311"/>
                  <a:gd name="connsiteY13" fmla="*/ 134247 h 197734"/>
                  <a:gd name="connsiteX14" fmla="*/ 24395 w 230311"/>
                  <a:gd name="connsiteY14" fmla="*/ 132429 h 197734"/>
                  <a:gd name="connsiteX15" fmla="*/ 26971 w 230311"/>
                  <a:gd name="connsiteY15" fmla="*/ 128641 h 197734"/>
                  <a:gd name="connsiteX16" fmla="*/ 30153 w 230311"/>
                  <a:gd name="connsiteY16" fmla="*/ 123035 h 197734"/>
                  <a:gd name="connsiteX17" fmla="*/ 31668 w 230311"/>
                  <a:gd name="connsiteY17" fmla="*/ 119398 h 197734"/>
                  <a:gd name="connsiteX18" fmla="*/ 35456 w 230311"/>
                  <a:gd name="connsiteY18" fmla="*/ 113641 h 197734"/>
                  <a:gd name="connsiteX19" fmla="*/ 35911 w 230311"/>
                  <a:gd name="connsiteY19" fmla="*/ 112428 h 197734"/>
                  <a:gd name="connsiteX20" fmla="*/ 35607 w 230311"/>
                  <a:gd name="connsiteY20" fmla="*/ 111065 h 197734"/>
                  <a:gd name="connsiteX21" fmla="*/ 34092 w 230311"/>
                  <a:gd name="connsiteY21" fmla="*/ 112277 h 197734"/>
                  <a:gd name="connsiteX22" fmla="*/ 32577 w 230311"/>
                  <a:gd name="connsiteY22" fmla="*/ 114246 h 197734"/>
                  <a:gd name="connsiteX23" fmla="*/ 30607 w 230311"/>
                  <a:gd name="connsiteY23" fmla="*/ 115913 h 197734"/>
                  <a:gd name="connsiteX24" fmla="*/ 31365 w 230311"/>
                  <a:gd name="connsiteY24" fmla="*/ 113944 h 197734"/>
                  <a:gd name="connsiteX25" fmla="*/ 32880 w 230311"/>
                  <a:gd name="connsiteY25" fmla="*/ 110913 h 197734"/>
                  <a:gd name="connsiteX26" fmla="*/ 36214 w 230311"/>
                  <a:gd name="connsiteY26" fmla="*/ 107883 h 197734"/>
                  <a:gd name="connsiteX27" fmla="*/ 41365 w 230311"/>
                  <a:gd name="connsiteY27" fmla="*/ 104398 h 197734"/>
                  <a:gd name="connsiteX28" fmla="*/ 52275 w 230311"/>
                  <a:gd name="connsiteY28" fmla="*/ 92579 h 197734"/>
                  <a:gd name="connsiteX29" fmla="*/ 56366 w 230311"/>
                  <a:gd name="connsiteY29" fmla="*/ 90609 h 197734"/>
                  <a:gd name="connsiteX30" fmla="*/ 60154 w 230311"/>
                  <a:gd name="connsiteY30" fmla="*/ 85609 h 197734"/>
                  <a:gd name="connsiteX31" fmla="*/ 61366 w 230311"/>
                  <a:gd name="connsiteY31" fmla="*/ 81215 h 197734"/>
                  <a:gd name="connsiteX32" fmla="*/ 61821 w 230311"/>
                  <a:gd name="connsiteY32" fmla="*/ 71215 h 197734"/>
                  <a:gd name="connsiteX33" fmla="*/ 63033 w 230311"/>
                  <a:gd name="connsiteY33" fmla="*/ 65911 h 197734"/>
                  <a:gd name="connsiteX34" fmla="*/ 65457 w 230311"/>
                  <a:gd name="connsiteY34" fmla="*/ 61669 h 197734"/>
                  <a:gd name="connsiteX35" fmla="*/ 68336 w 230311"/>
                  <a:gd name="connsiteY35" fmla="*/ 54093 h 197734"/>
                  <a:gd name="connsiteX36" fmla="*/ 70458 w 230311"/>
                  <a:gd name="connsiteY36" fmla="*/ 50759 h 197734"/>
                  <a:gd name="connsiteX37" fmla="*/ 71972 w 230311"/>
                  <a:gd name="connsiteY37" fmla="*/ 43789 h 197734"/>
                  <a:gd name="connsiteX38" fmla="*/ 73488 w 230311"/>
                  <a:gd name="connsiteY38" fmla="*/ 41062 h 197734"/>
                  <a:gd name="connsiteX39" fmla="*/ 76215 w 230311"/>
                  <a:gd name="connsiteY39" fmla="*/ 39850 h 197734"/>
                  <a:gd name="connsiteX40" fmla="*/ 80155 w 230311"/>
                  <a:gd name="connsiteY40" fmla="*/ 36365 h 197734"/>
                  <a:gd name="connsiteX41" fmla="*/ 86215 w 230311"/>
                  <a:gd name="connsiteY41" fmla="*/ 34244 h 197734"/>
                  <a:gd name="connsiteX42" fmla="*/ 93186 w 230311"/>
                  <a:gd name="connsiteY42" fmla="*/ 29698 h 197734"/>
                  <a:gd name="connsiteX43" fmla="*/ 96367 w 230311"/>
                  <a:gd name="connsiteY43" fmla="*/ 27122 h 197734"/>
                  <a:gd name="connsiteX44" fmla="*/ 98640 w 230311"/>
                  <a:gd name="connsiteY44" fmla="*/ 23031 h 197734"/>
                  <a:gd name="connsiteX45" fmla="*/ 100913 w 230311"/>
                  <a:gd name="connsiteY45" fmla="*/ 15000 h 197734"/>
                  <a:gd name="connsiteX46" fmla="*/ 105155 w 230311"/>
                  <a:gd name="connsiteY46" fmla="*/ 6515 h 197734"/>
                  <a:gd name="connsiteX47" fmla="*/ 107429 w 230311"/>
                  <a:gd name="connsiteY47" fmla="*/ 0 h 197734"/>
                  <a:gd name="connsiteX48" fmla="*/ 115005 w 230311"/>
                  <a:gd name="connsiteY48" fmla="*/ 0 h 197734"/>
                  <a:gd name="connsiteX49" fmla="*/ 122732 w 230311"/>
                  <a:gd name="connsiteY49" fmla="*/ 0 h 197734"/>
                  <a:gd name="connsiteX50" fmla="*/ 130460 w 230311"/>
                  <a:gd name="connsiteY50" fmla="*/ 0 h 197734"/>
                  <a:gd name="connsiteX51" fmla="*/ 138036 w 230311"/>
                  <a:gd name="connsiteY51" fmla="*/ 0 h 197734"/>
                  <a:gd name="connsiteX52" fmla="*/ 145763 w 230311"/>
                  <a:gd name="connsiteY52" fmla="*/ 0 h 197734"/>
                  <a:gd name="connsiteX53" fmla="*/ 153491 w 230311"/>
                  <a:gd name="connsiteY53" fmla="*/ 0 h 197734"/>
                  <a:gd name="connsiteX54" fmla="*/ 161218 w 230311"/>
                  <a:gd name="connsiteY54" fmla="*/ 0 h 197734"/>
                  <a:gd name="connsiteX55" fmla="*/ 168794 w 230311"/>
                  <a:gd name="connsiteY55" fmla="*/ 0 h 197734"/>
                  <a:gd name="connsiteX56" fmla="*/ 176522 w 230311"/>
                  <a:gd name="connsiteY56" fmla="*/ 0 h 197734"/>
                  <a:gd name="connsiteX57" fmla="*/ 184249 w 230311"/>
                  <a:gd name="connsiteY57" fmla="*/ 0 h 197734"/>
                  <a:gd name="connsiteX58" fmla="*/ 191825 w 230311"/>
                  <a:gd name="connsiteY58" fmla="*/ 0 h 197734"/>
                  <a:gd name="connsiteX59" fmla="*/ 199553 w 230311"/>
                  <a:gd name="connsiteY59" fmla="*/ 0 h 197734"/>
                  <a:gd name="connsiteX60" fmla="*/ 207281 w 230311"/>
                  <a:gd name="connsiteY60" fmla="*/ 0 h 197734"/>
                  <a:gd name="connsiteX61" fmla="*/ 215008 w 230311"/>
                  <a:gd name="connsiteY61" fmla="*/ 0 h 197734"/>
                  <a:gd name="connsiteX62" fmla="*/ 222584 w 230311"/>
                  <a:gd name="connsiteY62" fmla="*/ 0 h 197734"/>
                  <a:gd name="connsiteX63" fmla="*/ 230312 w 230311"/>
                  <a:gd name="connsiteY63" fmla="*/ 0 h 197734"/>
                  <a:gd name="connsiteX64" fmla="*/ 230312 w 230311"/>
                  <a:gd name="connsiteY64" fmla="*/ 5000 h 197734"/>
                  <a:gd name="connsiteX65" fmla="*/ 230312 w 230311"/>
                  <a:gd name="connsiteY65" fmla="*/ 10910 h 197734"/>
                  <a:gd name="connsiteX66" fmla="*/ 230312 w 230311"/>
                  <a:gd name="connsiteY66" fmla="*/ 15758 h 197734"/>
                  <a:gd name="connsiteX67" fmla="*/ 230312 w 230311"/>
                  <a:gd name="connsiteY67" fmla="*/ 21667 h 197734"/>
                  <a:gd name="connsiteX68" fmla="*/ 230312 w 230311"/>
                  <a:gd name="connsiteY68" fmla="*/ 27425 h 197734"/>
                  <a:gd name="connsiteX69" fmla="*/ 230312 w 230311"/>
                  <a:gd name="connsiteY69" fmla="*/ 33940 h 197734"/>
                  <a:gd name="connsiteX70" fmla="*/ 230312 w 230311"/>
                  <a:gd name="connsiteY70" fmla="*/ 40607 h 197734"/>
                  <a:gd name="connsiteX71" fmla="*/ 230312 w 230311"/>
                  <a:gd name="connsiteY71" fmla="*/ 45305 h 197734"/>
                  <a:gd name="connsiteX72" fmla="*/ 230312 w 230311"/>
                  <a:gd name="connsiteY72" fmla="*/ 48638 h 197734"/>
                  <a:gd name="connsiteX73" fmla="*/ 224706 w 230311"/>
                  <a:gd name="connsiteY73" fmla="*/ 48638 h 197734"/>
                  <a:gd name="connsiteX74" fmla="*/ 219705 w 230311"/>
                  <a:gd name="connsiteY74" fmla="*/ 48638 h 197734"/>
                  <a:gd name="connsiteX75" fmla="*/ 214553 w 230311"/>
                  <a:gd name="connsiteY75" fmla="*/ 48638 h 197734"/>
                  <a:gd name="connsiteX76" fmla="*/ 209402 w 230311"/>
                  <a:gd name="connsiteY76" fmla="*/ 48638 h 197734"/>
                  <a:gd name="connsiteX77" fmla="*/ 204402 w 230311"/>
                  <a:gd name="connsiteY77" fmla="*/ 48638 h 197734"/>
                  <a:gd name="connsiteX78" fmla="*/ 199250 w 230311"/>
                  <a:gd name="connsiteY78" fmla="*/ 48638 h 197734"/>
                  <a:gd name="connsiteX79" fmla="*/ 194250 w 230311"/>
                  <a:gd name="connsiteY79" fmla="*/ 48638 h 197734"/>
                  <a:gd name="connsiteX80" fmla="*/ 189098 w 230311"/>
                  <a:gd name="connsiteY80" fmla="*/ 48638 h 197734"/>
                  <a:gd name="connsiteX81" fmla="*/ 183946 w 230311"/>
                  <a:gd name="connsiteY81" fmla="*/ 48638 h 197734"/>
                  <a:gd name="connsiteX82" fmla="*/ 178946 w 230311"/>
                  <a:gd name="connsiteY82" fmla="*/ 48638 h 197734"/>
                  <a:gd name="connsiteX83" fmla="*/ 173794 w 230311"/>
                  <a:gd name="connsiteY83" fmla="*/ 48638 h 197734"/>
                  <a:gd name="connsiteX84" fmla="*/ 168643 w 230311"/>
                  <a:gd name="connsiteY84" fmla="*/ 48638 h 197734"/>
                  <a:gd name="connsiteX85" fmla="*/ 163643 w 230311"/>
                  <a:gd name="connsiteY85" fmla="*/ 48638 h 197734"/>
                  <a:gd name="connsiteX86" fmla="*/ 158491 w 230311"/>
                  <a:gd name="connsiteY86" fmla="*/ 48638 h 197734"/>
                  <a:gd name="connsiteX87" fmla="*/ 153339 w 230311"/>
                  <a:gd name="connsiteY87" fmla="*/ 48638 h 197734"/>
                  <a:gd name="connsiteX88" fmla="*/ 148339 w 230311"/>
                  <a:gd name="connsiteY88" fmla="*/ 48638 h 197734"/>
                  <a:gd name="connsiteX89" fmla="*/ 143187 w 230311"/>
                  <a:gd name="connsiteY89" fmla="*/ 48638 h 197734"/>
                  <a:gd name="connsiteX90" fmla="*/ 139096 w 230311"/>
                  <a:gd name="connsiteY90" fmla="*/ 48638 h 197734"/>
                  <a:gd name="connsiteX91" fmla="*/ 139096 w 230311"/>
                  <a:gd name="connsiteY91" fmla="*/ 52123 h 197734"/>
                  <a:gd name="connsiteX92" fmla="*/ 139096 w 230311"/>
                  <a:gd name="connsiteY92" fmla="*/ 56063 h 197734"/>
                  <a:gd name="connsiteX93" fmla="*/ 139096 w 230311"/>
                  <a:gd name="connsiteY93" fmla="*/ 60002 h 197734"/>
                  <a:gd name="connsiteX94" fmla="*/ 139096 w 230311"/>
                  <a:gd name="connsiteY94" fmla="*/ 63942 h 197734"/>
                  <a:gd name="connsiteX95" fmla="*/ 139096 w 230311"/>
                  <a:gd name="connsiteY95" fmla="*/ 67881 h 197734"/>
                  <a:gd name="connsiteX96" fmla="*/ 139096 w 230311"/>
                  <a:gd name="connsiteY96" fmla="*/ 71821 h 197734"/>
                  <a:gd name="connsiteX97" fmla="*/ 139096 w 230311"/>
                  <a:gd name="connsiteY97" fmla="*/ 75760 h 197734"/>
                  <a:gd name="connsiteX98" fmla="*/ 139096 w 230311"/>
                  <a:gd name="connsiteY98" fmla="*/ 79851 h 197734"/>
                  <a:gd name="connsiteX99" fmla="*/ 139096 w 230311"/>
                  <a:gd name="connsiteY99" fmla="*/ 83791 h 197734"/>
                  <a:gd name="connsiteX100" fmla="*/ 139096 w 230311"/>
                  <a:gd name="connsiteY100" fmla="*/ 87730 h 197734"/>
                  <a:gd name="connsiteX101" fmla="*/ 139096 w 230311"/>
                  <a:gd name="connsiteY101" fmla="*/ 91670 h 197734"/>
                  <a:gd name="connsiteX102" fmla="*/ 139096 w 230311"/>
                  <a:gd name="connsiteY102" fmla="*/ 95458 h 197734"/>
                  <a:gd name="connsiteX103" fmla="*/ 139096 w 230311"/>
                  <a:gd name="connsiteY103" fmla="*/ 99398 h 197734"/>
                  <a:gd name="connsiteX104" fmla="*/ 139096 w 230311"/>
                  <a:gd name="connsiteY104" fmla="*/ 103337 h 197734"/>
                  <a:gd name="connsiteX105" fmla="*/ 139096 w 230311"/>
                  <a:gd name="connsiteY105" fmla="*/ 107277 h 197734"/>
                  <a:gd name="connsiteX106" fmla="*/ 139096 w 230311"/>
                  <a:gd name="connsiteY106" fmla="*/ 111216 h 197734"/>
                  <a:gd name="connsiteX107" fmla="*/ 139096 w 230311"/>
                  <a:gd name="connsiteY107" fmla="*/ 115156 h 197734"/>
                  <a:gd name="connsiteX108" fmla="*/ 139096 w 230311"/>
                  <a:gd name="connsiteY108" fmla="*/ 118641 h 197734"/>
                  <a:gd name="connsiteX109" fmla="*/ 138945 w 230311"/>
                  <a:gd name="connsiteY109" fmla="*/ 121823 h 197734"/>
                  <a:gd name="connsiteX110" fmla="*/ 137278 w 230311"/>
                  <a:gd name="connsiteY110" fmla="*/ 122732 h 197734"/>
                  <a:gd name="connsiteX111" fmla="*/ 133339 w 230311"/>
                  <a:gd name="connsiteY111" fmla="*/ 124398 h 197734"/>
                  <a:gd name="connsiteX112" fmla="*/ 129399 w 230311"/>
                  <a:gd name="connsiteY112" fmla="*/ 126065 h 197734"/>
                  <a:gd name="connsiteX113" fmla="*/ 124247 w 230311"/>
                  <a:gd name="connsiteY113" fmla="*/ 126823 h 197734"/>
                  <a:gd name="connsiteX114" fmla="*/ 122581 w 230311"/>
                  <a:gd name="connsiteY114" fmla="*/ 127429 h 197734"/>
                  <a:gd name="connsiteX115" fmla="*/ 119247 w 230311"/>
                  <a:gd name="connsiteY115" fmla="*/ 129702 h 197734"/>
                  <a:gd name="connsiteX116" fmla="*/ 115005 w 230311"/>
                  <a:gd name="connsiteY116" fmla="*/ 132581 h 197734"/>
                  <a:gd name="connsiteX117" fmla="*/ 111368 w 230311"/>
                  <a:gd name="connsiteY117" fmla="*/ 135156 h 197734"/>
                  <a:gd name="connsiteX118" fmla="*/ 108943 w 230311"/>
                  <a:gd name="connsiteY118" fmla="*/ 138490 h 197734"/>
                  <a:gd name="connsiteX119" fmla="*/ 108034 w 230311"/>
                  <a:gd name="connsiteY119" fmla="*/ 140308 h 197734"/>
                  <a:gd name="connsiteX120" fmla="*/ 107580 w 230311"/>
                  <a:gd name="connsiteY120" fmla="*/ 142278 h 197734"/>
                  <a:gd name="connsiteX121" fmla="*/ 107883 w 230311"/>
                  <a:gd name="connsiteY121" fmla="*/ 144096 h 197734"/>
                  <a:gd name="connsiteX122" fmla="*/ 109247 w 230311"/>
                  <a:gd name="connsiteY122" fmla="*/ 147733 h 197734"/>
                  <a:gd name="connsiteX123" fmla="*/ 109550 w 230311"/>
                  <a:gd name="connsiteY123" fmla="*/ 149703 h 197734"/>
                  <a:gd name="connsiteX124" fmla="*/ 109853 w 230311"/>
                  <a:gd name="connsiteY124" fmla="*/ 152884 h 197734"/>
                  <a:gd name="connsiteX125" fmla="*/ 110004 w 230311"/>
                  <a:gd name="connsiteY125" fmla="*/ 156369 h 197734"/>
                  <a:gd name="connsiteX126" fmla="*/ 110307 w 230311"/>
                  <a:gd name="connsiteY126" fmla="*/ 160157 h 197734"/>
                  <a:gd name="connsiteX127" fmla="*/ 110610 w 230311"/>
                  <a:gd name="connsiteY127" fmla="*/ 163945 h 197734"/>
                  <a:gd name="connsiteX128" fmla="*/ 110762 w 230311"/>
                  <a:gd name="connsiteY128" fmla="*/ 168036 h 197734"/>
                  <a:gd name="connsiteX129" fmla="*/ 111065 w 230311"/>
                  <a:gd name="connsiteY129" fmla="*/ 171976 h 197734"/>
                  <a:gd name="connsiteX130" fmla="*/ 111368 w 230311"/>
                  <a:gd name="connsiteY130" fmla="*/ 176067 h 197734"/>
                  <a:gd name="connsiteX131" fmla="*/ 111520 w 230311"/>
                  <a:gd name="connsiteY131" fmla="*/ 179097 h 197734"/>
                  <a:gd name="connsiteX132" fmla="*/ 111822 w 230311"/>
                  <a:gd name="connsiteY132" fmla="*/ 182734 h 197734"/>
                  <a:gd name="connsiteX133" fmla="*/ 107580 w 230311"/>
                  <a:gd name="connsiteY133" fmla="*/ 182734 h 197734"/>
                  <a:gd name="connsiteX134" fmla="*/ 101367 w 230311"/>
                  <a:gd name="connsiteY134" fmla="*/ 182885 h 197734"/>
                  <a:gd name="connsiteX135" fmla="*/ 95004 w 230311"/>
                  <a:gd name="connsiteY135" fmla="*/ 182885 h 197734"/>
                  <a:gd name="connsiteX136" fmla="*/ 88791 w 230311"/>
                  <a:gd name="connsiteY136" fmla="*/ 182885 h 197734"/>
                  <a:gd name="connsiteX137" fmla="*/ 82579 w 230311"/>
                  <a:gd name="connsiteY137" fmla="*/ 182885 h 197734"/>
                  <a:gd name="connsiteX138" fmla="*/ 76215 w 230311"/>
                  <a:gd name="connsiteY138" fmla="*/ 182885 h 197734"/>
                  <a:gd name="connsiteX139" fmla="*/ 70003 w 230311"/>
                  <a:gd name="connsiteY139" fmla="*/ 182885 h 197734"/>
                  <a:gd name="connsiteX140" fmla="*/ 63639 w 230311"/>
                  <a:gd name="connsiteY140" fmla="*/ 182885 h 197734"/>
                  <a:gd name="connsiteX141" fmla="*/ 57427 w 230311"/>
                  <a:gd name="connsiteY141" fmla="*/ 182885 h 197734"/>
                  <a:gd name="connsiteX142" fmla="*/ 51214 w 230311"/>
                  <a:gd name="connsiteY142" fmla="*/ 182885 h 197734"/>
                  <a:gd name="connsiteX143" fmla="*/ 44850 w 230311"/>
                  <a:gd name="connsiteY143" fmla="*/ 182885 h 197734"/>
                  <a:gd name="connsiteX144" fmla="*/ 38638 w 230311"/>
                  <a:gd name="connsiteY144" fmla="*/ 182885 h 197734"/>
                  <a:gd name="connsiteX145" fmla="*/ 32274 w 230311"/>
                  <a:gd name="connsiteY145" fmla="*/ 182885 h 197734"/>
                  <a:gd name="connsiteX146" fmla="*/ 26062 w 230311"/>
                  <a:gd name="connsiteY146" fmla="*/ 182885 h 197734"/>
                  <a:gd name="connsiteX147" fmla="*/ 19850 w 230311"/>
                  <a:gd name="connsiteY147" fmla="*/ 182885 h 197734"/>
                  <a:gd name="connsiteX148" fmla="*/ 13486 w 230311"/>
                  <a:gd name="connsiteY148" fmla="*/ 182885 h 197734"/>
                  <a:gd name="connsiteX149" fmla="*/ 7273 w 230311"/>
                  <a:gd name="connsiteY149" fmla="*/ 182885 h 197734"/>
                  <a:gd name="connsiteX150" fmla="*/ 3788 w 230311"/>
                  <a:gd name="connsiteY150" fmla="*/ 182885 h 197734"/>
                  <a:gd name="connsiteX151" fmla="*/ 2576 w 230311"/>
                  <a:gd name="connsiteY151" fmla="*/ 188189 h 197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230311" h="197734">
                    <a:moveTo>
                      <a:pt x="1667" y="192128"/>
                    </a:moveTo>
                    <a:lnTo>
                      <a:pt x="1667" y="192128"/>
                    </a:lnTo>
                    <a:lnTo>
                      <a:pt x="1061" y="195159"/>
                    </a:lnTo>
                    <a:lnTo>
                      <a:pt x="1364" y="197735"/>
                    </a:lnTo>
                    <a:lnTo>
                      <a:pt x="0" y="196371"/>
                    </a:lnTo>
                    <a:lnTo>
                      <a:pt x="2424" y="181522"/>
                    </a:lnTo>
                    <a:lnTo>
                      <a:pt x="4698" y="166673"/>
                    </a:lnTo>
                    <a:lnTo>
                      <a:pt x="8334" y="159248"/>
                    </a:lnTo>
                    <a:lnTo>
                      <a:pt x="11364" y="155915"/>
                    </a:lnTo>
                    <a:lnTo>
                      <a:pt x="16062" y="154248"/>
                    </a:lnTo>
                    <a:lnTo>
                      <a:pt x="20304" y="146824"/>
                    </a:lnTo>
                    <a:lnTo>
                      <a:pt x="21819" y="140005"/>
                    </a:lnTo>
                    <a:lnTo>
                      <a:pt x="24547" y="136823"/>
                    </a:lnTo>
                    <a:lnTo>
                      <a:pt x="25456" y="134247"/>
                    </a:lnTo>
                    <a:lnTo>
                      <a:pt x="24395" y="132429"/>
                    </a:lnTo>
                    <a:lnTo>
                      <a:pt x="26971" y="128641"/>
                    </a:lnTo>
                    <a:lnTo>
                      <a:pt x="30153" y="123035"/>
                    </a:lnTo>
                    <a:lnTo>
                      <a:pt x="31668" y="119398"/>
                    </a:lnTo>
                    <a:lnTo>
                      <a:pt x="35456" y="113641"/>
                    </a:lnTo>
                    <a:lnTo>
                      <a:pt x="35911" y="112428"/>
                    </a:lnTo>
                    <a:lnTo>
                      <a:pt x="35607" y="111065"/>
                    </a:lnTo>
                    <a:lnTo>
                      <a:pt x="34092" y="112277"/>
                    </a:lnTo>
                    <a:lnTo>
                      <a:pt x="32577" y="114246"/>
                    </a:lnTo>
                    <a:lnTo>
                      <a:pt x="30607" y="115913"/>
                    </a:lnTo>
                    <a:lnTo>
                      <a:pt x="31365" y="113944"/>
                    </a:lnTo>
                    <a:lnTo>
                      <a:pt x="32880" y="110913"/>
                    </a:lnTo>
                    <a:lnTo>
                      <a:pt x="36214" y="107883"/>
                    </a:lnTo>
                    <a:lnTo>
                      <a:pt x="41365" y="104398"/>
                    </a:lnTo>
                    <a:lnTo>
                      <a:pt x="52275" y="92579"/>
                    </a:lnTo>
                    <a:lnTo>
                      <a:pt x="56366" y="90609"/>
                    </a:lnTo>
                    <a:lnTo>
                      <a:pt x="60154" y="85609"/>
                    </a:lnTo>
                    <a:lnTo>
                      <a:pt x="61366" y="81215"/>
                    </a:lnTo>
                    <a:lnTo>
                      <a:pt x="61821" y="71215"/>
                    </a:lnTo>
                    <a:lnTo>
                      <a:pt x="63033" y="65911"/>
                    </a:lnTo>
                    <a:lnTo>
                      <a:pt x="65457" y="61669"/>
                    </a:lnTo>
                    <a:lnTo>
                      <a:pt x="68336" y="54093"/>
                    </a:lnTo>
                    <a:lnTo>
                      <a:pt x="70458" y="50759"/>
                    </a:lnTo>
                    <a:lnTo>
                      <a:pt x="71972" y="43789"/>
                    </a:lnTo>
                    <a:lnTo>
                      <a:pt x="73488" y="41062"/>
                    </a:lnTo>
                    <a:lnTo>
                      <a:pt x="76215" y="39850"/>
                    </a:lnTo>
                    <a:lnTo>
                      <a:pt x="80155" y="36365"/>
                    </a:lnTo>
                    <a:lnTo>
                      <a:pt x="86215" y="34244"/>
                    </a:lnTo>
                    <a:lnTo>
                      <a:pt x="93186" y="29698"/>
                    </a:lnTo>
                    <a:lnTo>
                      <a:pt x="96367" y="27122"/>
                    </a:lnTo>
                    <a:lnTo>
                      <a:pt x="98640" y="23031"/>
                    </a:lnTo>
                    <a:lnTo>
                      <a:pt x="100913" y="15000"/>
                    </a:lnTo>
                    <a:lnTo>
                      <a:pt x="105155" y="6515"/>
                    </a:lnTo>
                    <a:lnTo>
                      <a:pt x="107429" y="0"/>
                    </a:lnTo>
                    <a:lnTo>
                      <a:pt x="115005" y="0"/>
                    </a:lnTo>
                    <a:lnTo>
                      <a:pt x="122732" y="0"/>
                    </a:lnTo>
                    <a:lnTo>
                      <a:pt x="130460" y="0"/>
                    </a:lnTo>
                    <a:lnTo>
                      <a:pt x="138036" y="0"/>
                    </a:lnTo>
                    <a:lnTo>
                      <a:pt x="145763" y="0"/>
                    </a:lnTo>
                    <a:lnTo>
                      <a:pt x="153491" y="0"/>
                    </a:lnTo>
                    <a:lnTo>
                      <a:pt x="161218" y="0"/>
                    </a:lnTo>
                    <a:lnTo>
                      <a:pt x="168794" y="0"/>
                    </a:lnTo>
                    <a:lnTo>
                      <a:pt x="176522" y="0"/>
                    </a:lnTo>
                    <a:lnTo>
                      <a:pt x="184249" y="0"/>
                    </a:lnTo>
                    <a:lnTo>
                      <a:pt x="191825" y="0"/>
                    </a:lnTo>
                    <a:lnTo>
                      <a:pt x="199553" y="0"/>
                    </a:lnTo>
                    <a:lnTo>
                      <a:pt x="207281" y="0"/>
                    </a:lnTo>
                    <a:lnTo>
                      <a:pt x="215008" y="0"/>
                    </a:lnTo>
                    <a:lnTo>
                      <a:pt x="222584" y="0"/>
                    </a:lnTo>
                    <a:lnTo>
                      <a:pt x="230312" y="0"/>
                    </a:lnTo>
                    <a:lnTo>
                      <a:pt x="230312" y="5000"/>
                    </a:lnTo>
                    <a:lnTo>
                      <a:pt x="230312" y="10910"/>
                    </a:lnTo>
                    <a:lnTo>
                      <a:pt x="230312" y="15758"/>
                    </a:lnTo>
                    <a:lnTo>
                      <a:pt x="230312" y="21667"/>
                    </a:lnTo>
                    <a:lnTo>
                      <a:pt x="230312" y="27425"/>
                    </a:lnTo>
                    <a:lnTo>
                      <a:pt x="230312" y="33940"/>
                    </a:lnTo>
                    <a:lnTo>
                      <a:pt x="230312" y="40607"/>
                    </a:lnTo>
                    <a:lnTo>
                      <a:pt x="230312" y="45305"/>
                    </a:lnTo>
                    <a:lnTo>
                      <a:pt x="230312" y="48638"/>
                    </a:lnTo>
                    <a:lnTo>
                      <a:pt x="224706" y="48638"/>
                    </a:lnTo>
                    <a:lnTo>
                      <a:pt x="219705" y="48638"/>
                    </a:lnTo>
                    <a:lnTo>
                      <a:pt x="214553" y="48638"/>
                    </a:lnTo>
                    <a:lnTo>
                      <a:pt x="209402" y="48638"/>
                    </a:lnTo>
                    <a:lnTo>
                      <a:pt x="204402" y="48638"/>
                    </a:lnTo>
                    <a:lnTo>
                      <a:pt x="199250" y="48638"/>
                    </a:lnTo>
                    <a:lnTo>
                      <a:pt x="194250" y="48638"/>
                    </a:lnTo>
                    <a:lnTo>
                      <a:pt x="189098" y="48638"/>
                    </a:lnTo>
                    <a:lnTo>
                      <a:pt x="183946" y="48638"/>
                    </a:lnTo>
                    <a:lnTo>
                      <a:pt x="178946" y="48638"/>
                    </a:lnTo>
                    <a:lnTo>
                      <a:pt x="173794" y="48638"/>
                    </a:lnTo>
                    <a:lnTo>
                      <a:pt x="168643" y="48638"/>
                    </a:lnTo>
                    <a:lnTo>
                      <a:pt x="163643" y="48638"/>
                    </a:lnTo>
                    <a:lnTo>
                      <a:pt x="158491" y="48638"/>
                    </a:lnTo>
                    <a:lnTo>
                      <a:pt x="153339" y="48638"/>
                    </a:lnTo>
                    <a:lnTo>
                      <a:pt x="148339" y="48638"/>
                    </a:lnTo>
                    <a:lnTo>
                      <a:pt x="143187" y="48638"/>
                    </a:lnTo>
                    <a:lnTo>
                      <a:pt x="139096" y="48638"/>
                    </a:lnTo>
                    <a:lnTo>
                      <a:pt x="139096" y="52123"/>
                    </a:lnTo>
                    <a:lnTo>
                      <a:pt x="139096" y="56063"/>
                    </a:lnTo>
                    <a:lnTo>
                      <a:pt x="139096" y="60002"/>
                    </a:lnTo>
                    <a:lnTo>
                      <a:pt x="139096" y="63942"/>
                    </a:lnTo>
                    <a:lnTo>
                      <a:pt x="139096" y="67881"/>
                    </a:lnTo>
                    <a:lnTo>
                      <a:pt x="139096" y="71821"/>
                    </a:lnTo>
                    <a:lnTo>
                      <a:pt x="139096" y="75760"/>
                    </a:lnTo>
                    <a:lnTo>
                      <a:pt x="139096" y="79851"/>
                    </a:lnTo>
                    <a:lnTo>
                      <a:pt x="139096" y="83791"/>
                    </a:lnTo>
                    <a:lnTo>
                      <a:pt x="139096" y="87730"/>
                    </a:lnTo>
                    <a:lnTo>
                      <a:pt x="139096" y="91670"/>
                    </a:lnTo>
                    <a:lnTo>
                      <a:pt x="139096" y="95458"/>
                    </a:lnTo>
                    <a:lnTo>
                      <a:pt x="139096" y="99398"/>
                    </a:lnTo>
                    <a:lnTo>
                      <a:pt x="139096" y="103337"/>
                    </a:lnTo>
                    <a:lnTo>
                      <a:pt x="139096" y="107277"/>
                    </a:lnTo>
                    <a:lnTo>
                      <a:pt x="139096" y="111216"/>
                    </a:lnTo>
                    <a:lnTo>
                      <a:pt x="139096" y="115156"/>
                    </a:lnTo>
                    <a:lnTo>
                      <a:pt x="139096" y="118641"/>
                    </a:lnTo>
                    <a:lnTo>
                      <a:pt x="138945" y="121823"/>
                    </a:lnTo>
                    <a:lnTo>
                      <a:pt x="137278" y="122732"/>
                    </a:lnTo>
                    <a:lnTo>
                      <a:pt x="133339" y="124398"/>
                    </a:lnTo>
                    <a:lnTo>
                      <a:pt x="129399" y="126065"/>
                    </a:lnTo>
                    <a:lnTo>
                      <a:pt x="124247" y="126823"/>
                    </a:lnTo>
                    <a:lnTo>
                      <a:pt x="122581" y="127429"/>
                    </a:lnTo>
                    <a:lnTo>
                      <a:pt x="119247" y="129702"/>
                    </a:lnTo>
                    <a:lnTo>
                      <a:pt x="115005" y="132581"/>
                    </a:lnTo>
                    <a:lnTo>
                      <a:pt x="111368" y="135156"/>
                    </a:lnTo>
                    <a:lnTo>
                      <a:pt x="108943" y="138490"/>
                    </a:lnTo>
                    <a:lnTo>
                      <a:pt x="108034" y="140308"/>
                    </a:lnTo>
                    <a:lnTo>
                      <a:pt x="107580" y="142278"/>
                    </a:lnTo>
                    <a:lnTo>
                      <a:pt x="107883" y="144096"/>
                    </a:lnTo>
                    <a:lnTo>
                      <a:pt x="109247" y="147733"/>
                    </a:lnTo>
                    <a:lnTo>
                      <a:pt x="109550" y="149703"/>
                    </a:lnTo>
                    <a:lnTo>
                      <a:pt x="109853" y="152884"/>
                    </a:lnTo>
                    <a:lnTo>
                      <a:pt x="110004" y="156369"/>
                    </a:lnTo>
                    <a:lnTo>
                      <a:pt x="110307" y="160157"/>
                    </a:lnTo>
                    <a:lnTo>
                      <a:pt x="110610" y="163945"/>
                    </a:lnTo>
                    <a:lnTo>
                      <a:pt x="110762" y="168036"/>
                    </a:lnTo>
                    <a:lnTo>
                      <a:pt x="111065" y="171976"/>
                    </a:lnTo>
                    <a:lnTo>
                      <a:pt x="111368" y="176067"/>
                    </a:lnTo>
                    <a:lnTo>
                      <a:pt x="111520" y="179097"/>
                    </a:lnTo>
                    <a:lnTo>
                      <a:pt x="111822" y="182734"/>
                    </a:lnTo>
                    <a:lnTo>
                      <a:pt x="107580" y="182734"/>
                    </a:lnTo>
                    <a:lnTo>
                      <a:pt x="101367" y="182885"/>
                    </a:lnTo>
                    <a:lnTo>
                      <a:pt x="95004" y="182885"/>
                    </a:lnTo>
                    <a:lnTo>
                      <a:pt x="88791" y="182885"/>
                    </a:lnTo>
                    <a:lnTo>
                      <a:pt x="82579" y="182885"/>
                    </a:lnTo>
                    <a:lnTo>
                      <a:pt x="76215" y="182885"/>
                    </a:lnTo>
                    <a:lnTo>
                      <a:pt x="70003" y="182885"/>
                    </a:lnTo>
                    <a:lnTo>
                      <a:pt x="63639" y="182885"/>
                    </a:lnTo>
                    <a:lnTo>
                      <a:pt x="57427" y="182885"/>
                    </a:lnTo>
                    <a:lnTo>
                      <a:pt x="51214" y="182885"/>
                    </a:lnTo>
                    <a:lnTo>
                      <a:pt x="44850" y="182885"/>
                    </a:lnTo>
                    <a:lnTo>
                      <a:pt x="38638" y="182885"/>
                    </a:lnTo>
                    <a:lnTo>
                      <a:pt x="32274" y="182885"/>
                    </a:lnTo>
                    <a:lnTo>
                      <a:pt x="26062" y="182885"/>
                    </a:lnTo>
                    <a:lnTo>
                      <a:pt x="19850" y="182885"/>
                    </a:lnTo>
                    <a:lnTo>
                      <a:pt x="13486" y="182885"/>
                    </a:lnTo>
                    <a:lnTo>
                      <a:pt x="7273" y="182885"/>
                    </a:lnTo>
                    <a:lnTo>
                      <a:pt x="3788" y="182885"/>
                    </a:lnTo>
                    <a:lnTo>
                      <a:pt x="2576" y="1881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5" name="Freeform: Shape 3294">
                <a:extLst>
                  <a:ext uri="{FF2B5EF4-FFF2-40B4-BE49-F238E27FC236}">
                    <a16:creationId xmlns:a16="http://schemas.microsoft.com/office/drawing/2014/main" id="{D0925D1D-340E-4104-91AC-868A10571B22}"/>
                  </a:ext>
                </a:extLst>
              </p:cNvPr>
              <p:cNvSpPr/>
              <p:nvPr/>
            </p:nvSpPr>
            <p:spPr>
              <a:xfrm>
                <a:off x="6453134" y="3671506"/>
                <a:ext cx="332891" cy="282889"/>
              </a:xfrm>
              <a:custGeom>
                <a:avLst/>
                <a:gdLst>
                  <a:gd name="connsiteX0" fmla="*/ 332891 w 332891"/>
                  <a:gd name="connsiteY0" fmla="*/ 282283 h 282889"/>
                  <a:gd name="connsiteX1" fmla="*/ 331679 w 332891"/>
                  <a:gd name="connsiteY1" fmla="*/ 280010 h 282889"/>
                  <a:gd name="connsiteX2" fmla="*/ 320315 w 332891"/>
                  <a:gd name="connsiteY2" fmla="*/ 271525 h 282889"/>
                  <a:gd name="connsiteX3" fmla="*/ 315315 w 332891"/>
                  <a:gd name="connsiteY3" fmla="*/ 264858 h 282889"/>
                  <a:gd name="connsiteX4" fmla="*/ 306678 w 332891"/>
                  <a:gd name="connsiteY4" fmla="*/ 261676 h 282889"/>
                  <a:gd name="connsiteX5" fmla="*/ 304860 w 332891"/>
                  <a:gd name="connsiteY5" fmla="*/ 260313 h 282889"/>
                  <a:gd name="connsiteX6" fmla="*/ 303496 w 332891"/>
                  <a:gd name="connsiteY6" fmla="*/ 258494 h 282889"/>
                  <a:gd name="connsiteX7" fmla="*/ 300769 w 332891"/>
                  <a:gd name="connsiteY7" fmla="*/ 255616 h 282889"/>
                  <a:gd name="connsiteX8" fmla="*/ 297132 w 332891"/>
                  <a:gd name="connsiteY8" fmla="*/ 246373 h 282889"/>
                  <a:gd name="connsiteX9" fmla="*/ 295920 w 332891"/>
                  <a:gd name="connsiteY9" fmla="*/ 241373 h 282889"/>
                  <a:gd name="connsiteX10" fmla="*/ 295466 w 332891"/>
                  <a:gd name="connsiteY10" fmla="*/ 231827 h 282889"/>
                  <a:gd name="connsiteX11" fmla="*/ 295768 w 332891"/>
                  <a:gd name="connsiteY11" fmla="*/ 229857 h 282889"/>
                  <a:gd name="connsiteX12" fmla="*/ 296526 w 332891"/>
                  <a:gd name="connsiteY12" fmla="*/ 227736 h 282889"/>
                  <a:gd name="connsiteX13" fmla="*/ 297890 w 332891"/>
                  <a:gd name="connsiteY13" fmla="*/ 226978 h 282889"/>
                  <a:gd name="connsiteX14" fmla="*/ 298950 w 332891"/>
                  <a:gd name="connsiteY14" fmla="*/ 226826 h 282889"/>
                  <a:gd name="connsiteX15" fmla="*/ 303193 w 332891"/>
                  <a:gd name="connsiteY15" fmla="*/ 227130 h 282889"/>
                  <a:gd name="connsiteX16" fmla="*/ 298799 w 332891"/>
                  <a:gd name="connsiteY16" fmla="*/ 223493 h 282889"/>
                  <a:gd name="connsiteX17" fmla="*/ 294708 w 332891"/>
                  <a:gd name="connsiteY17" fmla="*/ 220917 h 282889"/>
                  <a:gd name="connsiteX18" fmla="*/ 292587 w 332891"/>
                  <a:gd name="connsiteY18" fmla="*/ 217584 h 282889"/>
                  <a:gd name="connsiteX19" fmla="*/ 286980 w 332891"/>
                  <a:gd name="connsiteY19" fmla="*/ 211674 h 282889"/>
                  <a:gd name="connsiteX20" fmla="*/ 277737 w 332891"/>
                  <a:gd name="connsiteY20" fmla="*/ 192431 h 282889"/>
                  <a:gd name="connsiteX21" fmla="*/ 272889 w 332891"/>
                  <a:gd name="connsiteY21" fmla="*/ 183643 h 282889"/>
                  <a:gd name="connsiteX22" fmla="*/ 269858 w 332891"/>
                  <a:gd name="connsiteY22" fmla="*/ 176370 h 282889"/>
                  <a:gd name="connsiteX23" fmla="*/ 263343 w 332891"/>
                  <a:gd name="connsiteY23" fmla="*/ 166673 h 282889"/>
                  <a:gd name="connsiteX24" fmla="*/ 255615 w 332891"/>
                  <a:gd name="connsiteY24" fmla="*/ 151369 h 282889"/>
                  <a:gd name="connsiteX25" fmla="*/ 253191 w 332891"/>
                  <a:gd name="connsiteY25" fmla="*/ 148490 h 282889"/>
                  <a:gd name="connsiteX26" fmla="*/ 251373 w 332891"/>
                  <a:gd name="connsiteY26" fmla="*/ 136823 h 282889"/>
                  <a:gd name="connsiteX27" fmla="*/ 250160 w 332891"/>
                  <a:gd name="connsiteY27" fmla="*/ 132884 h 282889"/>
                  <a:gd name="connsiteX28" fmla="*/ 248949 w 332891"/>
                  <a:gd name="connsiteY28" fmla="*/ 130459 h 282889"/>
                  <a:gd name="connsiteX29" fmla="*/ 246070 w 332891"/>
                  <a:gd name="connsiteY29" fmla="*/ 128187 h 282889"/>
                  <a:gd name="connsiteX30" fmla="*/ 245009 w 332891"/>
                  <a:gd name="connsiteY30" fmla="*/ 125611 h 282889"/>
                  <a:gd name="connsiteX31" fmla="*/ 241979 w 332891"/>
                  <a:gd name="connsiteY31" fmla="*/ 120459 h 282889"/>
                  <a:gd name="connsiteX32" fmla="*/ 242282 w 332891"/>
                  <a:gd name="connsiteY32" fmla="*/ 117732 h 282889"/>
                  <a:gd name="connsiteX33" fmla="*/ 241979 w 332891"/>
                  <a:gd name="connsiteY33" fmla="*/ 111822 h 282889"/>
                  <a:gd name="connsiteX34" fmla="*/ 240463 w 332891"/>
                  <a:gd name="connsiteY34" fmla="*/ 109701 h 282889"/>
                  <a:gd name="connsiteX35" fmla="*/ 237130 w 332891"/>
                  <a:gd name="connsiteY35" fmla="*/ 107428 h 282889"/>
                  <a:gd name="connsiteX36" fmla="*/ 232433 w 332891"/>
                  <a:gd name="connsiteY36" fmla="*/ 102731 h 282889"/>
                  <a:gd name="connsiteX37" fmla="*/ 227584 w 332891"/>
                  <a:gd name="connsiteY37" fmla="*/ 95761 h 282889"/>
                  <a:gd name="connsiteX38" fmla="*/ 224251 w 332891"/>
                  <a:gd name="connsiteY38" fmla="*/ 92276 h 282889"/>
                  <a:gd name="connsiteX39" fmla="*/ 223039 w 332891"/>
                  <a:gd name="connsiteY39" fmla="*/ 90306 h 282889"/>
                  <a:gd name="connsiteX40" fmla="*/ 222281 w 332891"/>
                  <a:gd name="connsiteY40" fmla="*/ 88185 h 282889"/>
                  <a:gd name="connsiteX41" fmla="*/ 221069 w 332891"/>
                  <a:gd name="connsiteY41" fmla="*/ 85609 h 282889"/>
                  <a:gd name="connsiteX42" fmla="*/ 217584 w 332891"/>
                  <a:gd name="connsiteY42" fmla="*/ 81518 h 282889"/>
                  <a:gd name="connsiteX43" fmla="*/ 216826 w 332891"/>
                  <a:gd name="connsiteY43" fmla="*/ 79548 h 282889"/>
                  <a:gd name="connsiteX44" fmla="*/ 217129 w 332891"/>
                  <a:gd name="connsiteY44" fmla="*/ 73942 h 282889"/>
                  <a:gd name="connsiteX45" fmla="*/ 215917 w 332891"/>
                  <a:gd name="connsiteY45" fmla="*/ 69851 h 282889"/>
                  <a:gd name="connsiteX46" fmla="*/ 215008 w 332891"/>
                  <a:gd name="connsiteY46" fmla="*/ 67881 h 282889"/>
                  <a:gd name="connsiteX47" fmla="*/ 210462 w 332891"/>
                  <a:gd name="connsiteY47" fmla="*/ 63487 h 282889"/>
                  <a:gd name="connsiteX48" fmla="*/ 209402 w 332891"/>
                  <a:gd name="connsiteY48" fmla="*/ 60608 h 282889"/>
                  <a:gd name="connsiteX49" fmla="*/ 210765 w 332891"/>
                  <a:gd name="connsiteY49" fmla="*/ 57123 h 282889"/>
                  <a:gd name="connsiteX50" fmla="*/ 213038 w 332891"/>
                  <a:gd name="connsiteY50" fmla="*/ 54093 h 282889"/>
                  <a:gd name="connsiteX51" fmla="*/ 212584 w 332891"/>
                  <a:gd name="connsiteY51" fmla="*/ 51820 h 282889"/>
                  <a:gd name="connsiteX52" fmla="*/ 215008 w 332891"/>
                  <a:gd name="connsiteY52" fmla="*/ 50456 h 282889"/>
                  <a:gd name="connsiteX53" fmla="*/ 217281 w 332891"/>
                  <a:gd name="connsiteY53" fmla="*/ 55608 h 282889"/>
                  <a:gd name="connsiteX54" fmla="*/ 219402 w 332891"/>
                  <a:gd name="connsiteY54" fmla="*/ 63790 h 282889"/>
                  <a:gd name="connsiteX55" fmla="*/ 220614 w 332891"/>
                  <a:gd name="connsiteY55" fmla="*/ 65912 h 282889"/>
                  <a:gd name="connsiteX56" fmla="*/ 221826 w 332891"/>
                  <a:gd name="connsiteY56" fmla="*/ 67427 h 282889"/>
                  <a:gd name="connsiteX57" fmla="*/ 223493 w 332891"/>
                  <a:gd name="connsiteY57" fmla="*/ 70912 h 282889"/>
                  <a:gd name="connsiteX58" fmla="*/ 229099 w 332891"/>
                  <a:gd name="connsiteY58" fmla="*/ 77124 h 282889"/>
                  <a:gd name="connsiteX59" fmla="*/ 230463 w 332891"/>
                  <a:gd name="connsiteY59" fmla="*/ 80003 h 282889"/>
                  <a:gd name="connsiteX60" fmla="*/ 232584 w 332891"/>
                  <a:gd name="connsiteY60" fmla="*/ 85912 h 282889"/>
                  <a:gd name="connsiteX61" fmla="*/ 232433 w 332891"/>
                  <a:gd name="connsiteY61" fmla="*/ 88337 h 282889"/>
                  <a:gd name="connsiteX62" fmla="*/ 233796 w 332891"/>
                  <a:gd name="connsiteY62" fmla="*/ 92125 h 282889"/>
                  <a:gd name="connsiteX63" fmla="*/ 238342 w 332891"/>
                  <a:gd name="connsiteY63" fmla="*/ 97428 h 282889"/>
                  <a:gd name="connsiteX64" fmla="*/ 243191 w 332891"/>
                  <a:gd name="connsiteY64" fmla="*/ 101367 h 282889"/>
                  <a:gd name="connsiteX65" fmla="*/ 247737 w 332891"/>
                  <a:gd name="connsiteY65" fmla="*/ 107428 h 282889"/>
                  <a:gd name="connsiteX66" fmla="*/ 255615 w 332891"/>
                  <a:gd name="connsiteY66" fmla="*/ 113944 h 282889"/>
                  <a:gd name="connsiteX67" fmla="*/ 260313 w 332891"/>
                  <a:gd name="connsiteY67" fmla="*/ 115762 h 282889"/>
                  <a:gd name="connsiteX68" fmla="*/ 263040 w 332891"/>
                  <a:gd name="connsiteY68" fmla="*/ 112125 h 282889"/>
                  <a:gd name="connsiteX69" fmla="*/ 265313 w 332891"/>
                  <a:gd name="connsiteY69" fmla="*/ 108337 h 282889"/>
                  <a:gd name="connsiteX70" fmla="*/ 266070 w 332891"/>
                  <a:gd name="connsiteY70" fmla="*/ 105762 h 282889"/>
                  <a:gd name="connsiteX71" fmla="*/ 266525 w 332891"/>
                  <a:gd name="connsiteY71" fmla="*/ 98337 h 282889"/>
                  <a:gd name="connsiteX72" fmla="*/ 271222 w 332891"/>
                  <a:gd name="connsiteY72" fmla="*/ 86518 h 282889"/>
                  <a:gd name="connsiteX73" fmla="*/ 274404 w 332891"/>
                  <a:gd name="connsiteY73" fmla="*/ 71366 h 282889"/>
                  <a:gd name="connsiteX74" fmla="*/ 277586 w 332891"/>
                  <a:gd name="connsiteY74" fmla="*/ 66518 h 282889"/>
                  <a:gd name="connsiteX75" fmla="*/ 279101 w 332891"/>
                  <a:gd name="connsiteY75" fmla="*/ 65154 h 282889"/>
                  <a:gd name="connsiteX76" fmla="*/ 278192 w 332891"/>
                  <a:gd name="connsiteY76" fmla="*/ 62578 h 282889"/>
                  <a:gd name="connsiteX77" fmla="*/ 275919 w 332891"/>
                  <a:gd name="connsiteY77" fmla="*/ 55154 h 282889"/>
                  <a:gd name="connsiteX78" fmla="*/ 274404 w 332891"/>
                  <a:gd name="connsiteY78" fmla="*/ 50153 h 282889"/>
                  <a:gd name="connsiteX79" fmla="*/ 272283 w 332891"/>
                  <a:gd name="connsiteY79" fmla="*/ 43941 h 282889"/>
                  <a:gd name="connsiteX80" fmla="*/ 268798 w 332891"/>
                  <a:gd name="connsiteY80" fmla="*/ 36365 h 282889"/>
                  <a:gd name="connsiteX81" fmla="*/ 268495 w 332891"/>
                  <a:gd name="connsiteY81" fmla="*/ 34395 h 282889"/>
                  <a:gd name="connsiteX82" fmla="*/ 267737 w 332891"/>
                  <a:gd name="connsiteY82" fmla="*/ 31819 h 282889"/>
                  <a:gd name="connsiteX83" fmla="*/ 265313 w 332891"/>
                  <a:gd name="connsiteY83" fmla="*/ 24849 h 282889"/>
                  <a:gd name="connsiteX84" fmla="*/ 263343 w 332891"/>
                  <a:gd name="connsiteY84" fmla="*/ 19849 h 282889"/>
                  <a:gd name="connsiteX85" fmla="*/ 261070 w 332891"/>
                  <a:gd name="connsiteY85" fmla="*/ 13485 h 282889"/>
                  <a:gd name="connsiteX86" fmla="*/ 260161 w 332891"/>
                  <a:gd name="connsiteY86" fmla="*/ 10910 h 282889"/>
                  <a:gd name="connsiteX87" fmla="*/ 259706 w 332891"/>
                  <a:gd name="connsiteY87" fmla="*/ 10000 h 282889"/>
                  <a:gd name="connsiteX88" fmla="*/ 259101 w 332891"/>
                  <a:gd name="connsiteY88" fmla="*/ 10606 h 282889"/>
                  <a:gd name="connsiteX89" fmla="*/ 251676 w 332891"/>
                  <a:gd name="connsiteY89" fmla="*/ 14243 h 282889"/>
                  <a:gd name="connsiteX90" fmla="*/ 245161 w 332891"/>
                  <a:gd name="connsiteY90" fmla="*/ 15758 h 282889"/>
                  <a:gd name="connsiteX91" fmla="*/ 237282 w 332891"/>
                  <a:gd name="connsiteY91" fmla="*/ 15758 h 282889"/>
                  <a:gd name="connsiteX92" fmla="*/ 232281 w 332891"/>
                  <a:gd name="connsiteY92" fmla="*/ 17122 h 282889"/>
                  <a:gd name="connsiteX93" fmla="*/ 231220 w 332891"/>
                  <a:gd name="connsiteY93" fmla="*/ 15910 h 282889"/>
                  <a:gd name="connsiteX94" fmla="*/ 230463 w 332891"/>
                  <a:gd name="connsiteY94" fmla="*/ 14698 h 282889"/>
                  <a:gd name="connsiteX95" fmla="*/ 224251 w 332891"/>
                  <a:gd name="connsiteY95" fmla="*/ 16364 h 282889"/>
                  <a:gd name="connsiteX96" fmla="*/ 223039 w 332891"/>
                  <a:gd name="connsiteY96" fmla="*/ 16213 h 282889"/>
                  <a:gd name="connsiteX97" fmla="*/ 218341 w 332891"/>
                  <a:gd name="connsiteY97" fmla="*/ 17425 h 282889"/>
                  <a:gd name="connsiteX98" fmla="*/ 216068 w 332891"/>
                  <a:gd name="connsiteY98" fmla="*/ 17576 h 282889"/>
                  <a:gd name="connsiteX99" fmla="*/ 214250 w 332891"/>
                  <a:gd name="connsiteY99" fmla="*/ 16667 h 282889"/>
                  <a:gd name="connsiteX100" fmla="*/ 208492 w 332891"/>
                  <a:gd name="connsiteY100" fmla="*/ 11970 h 282889"/>
                  <a:gd name="connsiteX101" fmla="*/ 206523 w 332891"/>
                  <a:gd name="connsiteY101" fmla="*/ 10910 h 282889"/>
                  <a:gd name="connsiteX102" fmla="*/ 205462 w 332891"/>
                  <a:gd name="connsiteY102" fmla="*/ 10910 h 282889"/>
                  <a:gd name="connsiteX103" fmla="*/ 206220 w 332891"/>
                  <a:gd name="connsiteY103" fmla="*/ 12273 h 282889"/>
                  <a:gd name="connsiteX104" fmla="*/ 207280 w 332891"/>
                  <a:gd name="connsiteY104" fmla="*/ 13637 h 282889"/>
                  <a:gd name="connsiteX105" fmla="*/ 205310 w 332891"/>
                  <a:gd name="connsiteY105" fmla="*/ 16061 h 282889"/>
                  <a:gd name="connsiteX106" fmla="*/ 202432 w 332891"/>
                  <a:gd name="connsiteY106" fmla="*/ 16970 h 282889"/>
                  <a:gd name="connsiteX107" fmla="*/ 201371 w 332891"/>
                  <a:gd name="connsiteY107" fmla="*/ 15152 h 282889"/>
                  <a:gd name="connsiteX108" fmla="*/ 199856 w 332891"/>
                  <a:gd name="connsiteY108" fmla="*/ 13031 h 282889"/>
                  <a:gd name="connsiteX109" fmla="*/ 196977 w 332891"/>
                  <a:gd name="connsiteY109" fmla="*/ 12425 h 282889"/>
                  <a:gd name="connsiteX110" fmla="*/ 193340 w 332891"/>
                  <a:gd name="connsiteY110" fmla="*/ 10910 h 282889"/>
                  <a:gd name="connsiteX111" fmla="*/ 196219 w 332891"/>
                  <a:gd name="connsiteY111" fmla="*/ 7273 h 282889"/>
                  <a:gd name="connsiteX112" fmla="*/ 196674 w 332891"/>
                  <a:gd name="connsiteY112" fmla="*/ 5152 h 282889"/>
                  <a:gd name="connsiteX113" fmla="*/ 201674 w 332891"/>
                  <a:gd name="connsiteY113" fmla="*/ 9394 h 282889"/>
                  <a:gd name="connsiteX114" fmla="*/ 203341 w 332891"/>
                  <a:gd name="connsiteY114" fmla="*/ 9394 h 282889"/>
                  <a:gd name="connsiteX115" fmla="*/ 198644 w 332891"/>
                  <a:gd name="connsiteY115" fmla="*/ 4546 h 282889"/>
                  <a:gd name="connsiteX116" fmla="*/ 196522 w 332891"/>
                  <a:gd name="connsiteY116" fmla="*/ 3485 h 282889"/>
                  <a:gd name="connsiteX117" fmla="*/ 195159 w 332891"/>
                  <a:gd name="connsiteY117" fmla="*/ 3940 h 282889"/>
                  <a:gd name="connsiteX118" fmla="*/ 188795 w 332891"/>
                  <a:gd name="connsiteY118" fmla="*/ 6061 h 282889"/>
                  <a:gd name="connsiteX119" fmla="*/ 186522 w 332891"/>
                  <a:gd name="connsiteY119" fmla="*/ 5909 h 282889"/>
                  <a:gd name="connsiteX120" fmla="*/ 177582 w 332891"/>
                  <a:gd name="connsiteY120" fmla="*/ 1970 h 282889"/>
                  <a:gd name="connsiteX121" fmla="*/ 174552 w 332891"/>
                  <a:gd name="connsiteY121" fmla="*/ 1515 h 282889"/>
                  <a:gd name="connsiteX122" fmla="*/ 173643 w 332891"/>
                  <a:gd name="connsiteY122" fmla="*/ 1970 h 282889"/>
                  <a:gd name="connsiteX123" fmla="*/ 173036 w 332891"/>
                  <a:gd name="connsiteY123" fmla="*/ 4394 h 282889"/>
                  <a:gd name="connsiteX124" fmla="*/ 172279 w 332891"/>
                  <a:gd name="connsiteY124" fmla="*/ 5758 h 282889"/>
                  <a:gd name="connsiteX125" fmla="*/ 167885 w 332891"/>
                  <a:gd name="connsiteY125" fmla="*/ 6516 h 282889"/>
                  <a:gd name="connsiteX126" fmla="*/ 164097 w 332891"/>
                  <a:gd name="connsiteY126" fmla="*/ 7576 h 282889"/>
                  <a:gd name="connsiteX127" fmla="*/ 160309 w 332891"/>
                  <a:gd name="connsiteY127" fmla="*/ 7121 h 282889"/>
                  <a:gd name="connsiteX128" fmla="*/ 169097 w 332891"/>
                  <a:gd name="connsiteY128" fmla="*/ 3940 h 282889"/>
                  <a:gd name="connsiteX129" fmla="*/ 170158 w 332891"/>
                  <a:gd name="connsiteY129" fmla="*/ 2727 h 282889"/>
                  <a:gd name="connsiteX130" fmla="*/ 160460 w 332891"/>
                  <a:gd name="connsiteY130" fmla="*/ 5455 h 282889"/>
                  <a:gd name="connsiteX131" fmla="*/ 155763 w 332891"/>
                  <a:gd name="connsiteY131" fmla="*/ 5909 h 282889"/>
                  <a:gd name="connsiteX132" fmla="*/ 154248 w 332891"/>
                  <a:gd name="connsiteY132" fmla="*/ 7576 h 282889"/>
                  <a:gd name="connsiteX133" fmla="*/ 153491 w 332891"/>
                  <a:gd name="connsiteY133" fmla="*/ 8940 h 282889"/>
                  <a:gd name="connsiteX134" fmla="*/ 152127 w 332891"/>
                  <a:gd name="connsiteY134" fmla="*/ 10152 h 282889"/>
                  <a:gd name="connsiteX135" fmla="*/ 150915 w 332891"/>
                  <a:gd name="connsiteY135" fmla="*/ 11970 h 282889"/>
                  <a:gd name="connsiteX136" fmla="*/ 148339 w 332891"/>
                  <a:gd name="connsiteY136" fmla="*/ 11970 h 282889"/>
                  <a:gd name="connsiteX137" fmla="*/ 146217 w 332891"/>
                  <a:gd name="connsiteY137" fmla="*/ 11667 h 282889"/>
                  <a:gd name="connsiteX138" fmla="*/ 142884 w 332891"/>
                  <a:gd name="connsiteY138" fmla="*/ 12879 h 282889"/>
                  <a:gd name="connsiteX139" fmla="*/ 133641 w 332891"/>
                  <a:gd name="connsiteY139" fmla="*/ 19395 h 282889"/>
                  <a:gd name="connsiteX140" fmla="*/ 129247 w 332891"/>
                  <a:gd name="connsiteY140" fmla="*/ 21819 h 282889"/>
                  <a:gd name="connsiteX141" fmla="*/ 125156 w 332891"/>
                  <a:gd name="connsiteY141" fmla="*/ 23637 h 282889"/>
                  <a:gd name="connsiteX142" fmla="*/ 121822 w 332891"/>
                  <a:gd name="connsiteY142" fmla="*/ 24698 h 282889"/>
                  <a:gd name="connsiteX143" fmla="*/ 119550 w 332891"/>
                  <a:gd name="connsiteY143" fmla="*/ 24849 h 282889"/>
                  <a:gd name="connsiteX144" fmla="*/ 116822 w 332891"/>
                  <a:gd name="connsiteY144" fmla="*/ 23940 h 282889"/>
                  <a:gd name="connsiteX145" fmla="*/ 112277 w 332891"/>
                  <a:gd name="connsiteY145" fmla="*/ 21364 h 282889"/>
                  <a:gd name="connsiteX146" fmla="*/ 104246 w 332891"/>
                  <a:gd name="connsiteY146" fmla="*/ 18182 h 282889"/>
                  <a:gd name="connsiteX147" fmla="*/ 89245 w 332891"/>
                  <a:gd name="connsiteY147" fmla="*/ 16819 h 282889"/>
                  <a:gd name="connsiteX148" fmla="*/ 85457 w 332891"/>
                  <a:gd name="connsiteY148" fmla="*/ 13788 h 282889"/>
                  <a:gd name="connsiteX149" fmla="*/ 79700 w 332891"/>
                  <a:gd name="connsiteY149" fmla="*/ 13940 h 282889"/>
                  <a:gd name="connsiteX150" fmla="*/ 77579 w 332891"/>
                  <a:gd name="connsiteY150" fmla="*/ 13334 h 282889"/>
                  <a:gd name="connsiteX151" fmla="*/ 69548 w 332891"/>
                  <a:gd name="connsiteY151" fmla="*/ 8334 h 282889"/>
                  <a:gd name="connsiteX152" fmla="*/ 56517 w 332891"/>
                  <a:gd name="connsiteY152" fmla="*/ 5606 h 282889"/>
                  <a:gd name="connsiteX153" fmla="*/ 47881 w 332891"/>
                  <a:gd name="connsiteY153" fmla="*/ 4243 h 282889"/>
                  <a:gd name="connsiteX154" fmla="*/ 32577 w 332891"/>
                  <a:gd name="connsiteY154" fmla="*/ 1061 h 282889"/>
                  <a:gd name="connsiteX155" fmla="*/ 18486 w 332891"/>
                  <a:gd name="connsiteY155" fmla="*/ 4243 h 282889"/>
                  <a:gd name="connsiteX156" fmla="*/ 14243 w 332891"/>
                  <a:gd name="connsiteY156" fmla="*/ 3637 h 282889"/>
                  <a:gd name="connsiteX157" fmla="*/ 12121 w 332891"/>
                  <a:gd name="connsiteY157" fmla="*/ 0 h 282889"/>
                  <a:gd name="connsiteX158" fmla="*/ 11212 w 332891"/>
                  <a:gd name="connsiteY158" fmla="*/ 909 h 282889"/>
                  <a:gd name="connsiteX159" fmla="*/ 9697 w 332891"/>
                  <a:gd name="connsiteY159" fmla="*/ 2576 h 282889"/>
                  <a:gd name="connsiteX160" fmla="*/ 8637 w 332891"/>
                  <a:gd name="connsiteY160" fmla="*/ 4243 h 282889"/>
                  <a:gd name="connsiteX161" fmla="*/ 6212 w 332891"/>
                  <a:gd name="connsiteY161" fmla="*/ 6818 h 282889"/>
                  <a:gd name="connsiteX162" fmla="*/ 4091 w 332891"/>
                  <a:gd name="connsiteY162" fmla="*/ 9697 h 282889"/>
                  <a:gd name="connsiteX163" fmla="*/ 4243 w 332891"/>
                  <a:gd name="connsiteY163" fmla="*/ 13788 h 282889"/>
                  <a:gd name="connsiteX164" fmla="*/ 4697 w 332891"/>
                  <a:gd name="connsiteY164" fmla="*/ 17880 h 282889"/>
                  <a:gd name="connsiteX165" fmla="*/ 6212 w 332891"/>
                  <a:gd name="connsiteY165" fmla="*/ 21970 h 282889"/>
                  <a:gd name="connsiteX166" fmla="*/ 7424 w 332891"/>
                  <a:gd name="connsiteY166" fmla="*/ 26365 h 282889"/>
                  <a:gd name="connsiteX167" fmla="*/ 6970 w 332891"/>
                  <a:gd name="connsiteY167" fmla="*/ 29395 h 282889"/>
                  <a:gd name="connsiteX168" fmla="*/ 5909 w 332891"/>
                  <a:gd name="connsiteY168" fmla="*/ 32880 h 282889"/>
                  <a:gd name="connsiteX169" fmla="*/ 4697 w 332891"/>
                  <a:gd name="connsiteY169" fmla="*/ 35911 h 282889"/>
                  <a:gd name="connsiteX170" fmla="*/ 606 w 332891"/>
                  <a:gd name="connsiteY170" fmla="*/ 42123 h 282889"/>
                  <a:gd name="connsiteX171" fmla="*/ 0 w 332891"/>
                  <a:gd name="connsiteY171" fmla="*/ 43638 h 282889"/>
                  <a:gd name="connsiteX172" fmla="*/ 151 w 332891"/>
                  <a:gd name="connsiteY172" fmla="*/ 45759 h 282889"/>
                  <a:gd name="connsiteX173" fmla="*/ 2727 w 332891"/>
                  <a:gd name="connsiteY173" fmla="*/ 53032 h 282889"/>
                  <a:gd name="connsiteX174" fmla="*/ 2879 w 332891"/>
                  <a:gd name="connsiteY174" fmla="*/ 55305 h 282889"/>
                  <a:gd name="connsiteX175" fmla="*/ 4394 w 332891"/>
                  <a:gd name="connsiteY175" fmla="*/ 62427 h 282889"/>
                  <a:gd name="connsiteX176" fmla="*/ 5758 w 332891"/>
                  <a:gd name="connsiteY176" fmla="*/ 68184 h 282889"/>
                  <a:gd name="connsiteX177" fmla="*/ 7273 w 332891"/>
                  <a:gd name="connsiteY177" fmla="*/ 72730 h 282889"/>
                  <a:gd name="connsiteX178" fmla="*/ 7576 w 332891"/>
                  <a:gd name="connsiteY178" fmla="*/ 73942 h 282889"/>
                  <a:gd name="connsiteX179" fmla="*/ 7576 w 332891"/>
                  <a:gd name="connsiteY179" fmla="*/ 80609 h 282889"/>
                  <a:gd name="connsiteX180" fmla="*/ 7576 w 332891"/>
                  <a:gd name="connsiteY180" fmla="*/ 87276 h 282889"/>
                  <a:gd name="connsiteX181" fmla="*/ 7576 w 332891"/>
                  <a:gd name="connsiteY181" fmla="*/ 93943 h 282889"/>
                  <a:gd name="connsiteX182" fmla="*/ 7576 w 332891"/>
                  <a:gd name="connsiteY182" fmla="*/ 100458 h 282889"/>
                  <a:gd name="connsiteX183" fmla="*/ 7576 w 332891"/>
                  <a:gd name="connsiteY183" fmla="*/ 107125 h 282889"/>
                  <a:gd name="connsiteX184" fmla="*/ 7576 w 332891"/>
                  <a:gd name="connsiteY184" fmla="*/ 113792 h 282889"/>
                  <a:gd name="connsiteX185" fmla="*/ 7576 w 332891"/>
                  <a:gd name="connsiteY185" fmla="*/ 120307 h 282889"/>
                  <a:gd name="connsiteX186" fmla="*/ 7576 w 332891"/>
                  <a:gd name="connsiteY186" fmla="*/ 126974 h 282889"/>
                  <a:gd name="connsiteX187" fmla="*/ 7576 w 332891"/>
                  <a:gd name="connsiteY187" fmla="*/ 133490 h 282889"/>
                  <a:gd name="connsiteX188" fmla="*/ 7576 w 332891"/>
                  <a:gd name="connsiteY188" fmla="*/ 140157 h 282889"/>
                  <a:gd name="connsiteX189" fmla="*/ 7576 w 332891"/>
                  <a:gd name="connsiteY189" fmla="*/ 146672 h 282889"/>
                  <a:gd name="connsiteX190" fmla="*/ 7576 w 332891"/>
                  <a:gd name="connsiteY190" fmla="*/ 153187 h 282889"/>
                  <a:gd name="connsiteX191" fmla="*/ 7576 w 332891"/>
                  <a:gd name="connsiteY191" fmla="*/ 159854 h 282889"/>
                  <a:gd name="connsiteX192" fmla="*/ 7576 w 332891"/>
                  <a:gd name="connsiteY192" fmla="*/ 166370 h 282889"/>
                  <a:gd name="connsiteX193" fmla="*/ 7576 w 332891"/>
                  <a:gd name="connsiteY193" fmla="*/ 172885 h 282889"/>
                  <a:gd name="connsiteX194" fmla="*/ 7576 w 332891"/>
                  <a:gd name="connsiteY194" fmla="*/ 179400 h 282889"/>
                  <a:gd name="connsiteX195" fmla="*/ 7576 w 332891"/>
                  <a:gd name="connsiteY195" fmla="*/ 185916 h 282889"/>
                  <a:gd name="connsiteX196" fmla="*/ 7576 w 332891"/>
                  <a:gd name="connsiteY196" fmla="*/ 192431 h 282889"/>
                  <a:gd name="connsiteX197" fmla="*/ 7576 w 332891"/>
                  <a:gd name="connsiteY197" fmla="*/ 198947 h 282889"/>
                  <a:gd name="connsiteX198" fmla="*/ 7576 w 332891"/>
                  <a:gd name="connsiteY198" fmla="*/ 205462 h 282889"/>
                  <a:gd name="connsiteX199" fmla="*/ 7576 w 332891"/>
                  <a:gd name="connsiteY199" fmla="*/ 211978 h 282889"/>
                  <a:gd name="connsiteX200" fmla="*/ 7576 w 332891"/>
                  <a:gd name="connsiteY200" fmla="*/ 218493 h 282889"/>
                  <a:gd name="connsiteX201" fmla="*/ 7576 w 332891"/>
                  <a:gd name="connsiteY201" fmla="*/ 224857 h 282889"/>
                  <a:gd name="connsiteX202" fmla="*/ 7576 w 332891"/>
                  <a:gd name="connsiteY202" fmla="*/ 231372 h 282889"/>
                  <a:gd name="connsiteX203" fmla="*/ 7576 w 332891"/>
                  <a:gd name="connsiteY203" fmla="*/ 237887 h 282889"/>
                  <a:gd name="connsiteX204" fmla="*/ 7576 w 332891"/>
                  <a:gd name="connsiteY204" fmla="*/ 244251 h 282889"/>
                  <a:gd name="connsiteX205" fmla="*/ 7576 w 332891"/>
                  <a:gd name="connsiteY205" fmla="*/ 250767 h 282889"/>
                  <a:gd name="connsiteX206" fmla="*/ 7576 w 332891"/>
                  <a:gd name="connsiteY206" fmla="*/ 257131 h 282889"/>
                  <a:gd name="connsiteX207" fmla="*/ 7576 w 332891"/>
                  <a:gd name="connsiteY207" fmla="*/ 263646 h 282889"/>
                  <a:gd name="connsiteX208" fmla="*/ 7576 w 332891"/>
                  <a:gd name="connsiteY208" fmla="*/ 270010 h 282889"/>
                  <a:gd name="connsiteX209" fmla="*/ 7576 w 332891"/>
                  <a:gd name="connsiteY209" fmla="*/ 276525 h 282889"/>
                  <a:gd name="connsiteX210" fmla="*/ 7576 w 332891"/>
                  <a:gd name="connsiteY210" fmla="*/ 282889 h 282889"/>
                  <a:gd name="connsiteX211" fmla="*/ 18031 w 332891"/>
                  <a:gd name="connsiteY211" fmla="*/ 282889 h 282889"/>
                  <a:gd name="connsiteX212" fmla="*/ 28486 w 332891"/>
                  <a:gd name="connsiteY212" fmla="*/ 282889 h 282889"/>
                  <a:gd name="connsiteX213" fmla="*/ 38941 w 332891"/>
                  <a:gd name="connsiteY213" fmla="*/ 282889 h 282889"/>
                  <a:gd name="connsiteX214" fmla="*/ 49395 w 332891"/>
                  <a:gd name="connsiteY214" fmla="*/ 282889 h 282889"/>
                  <a:gd name="connsiteX215" fmla="*/ 59850 w 332891"/>
                  <a:gd name="connsiteY215" fmla="*/ 282889 h 282889"/>
                  <a:gd name="connsiteX216" fmla="*/ 70305 w 332891"/>
                  <a:gd name="connsiteY216" fmla="*/ 282889 h 282889"/>
                  <a:gd name="connsiteX217" fmla="*/ 80760 w 332891"/>
                  <a:gd name="connsiteY217" fmla="*/ 282889 h 282889"/>
                  <a:gd name="connsiteX218" fmla="*/ 91215 w 332891"/>
                  <a:gd name="connsiteY218" fmla="*/ 282889 h 282889"/>
                  <a:gd name="connsiteX219" fmla="*/ 101670 w 332891"/>
                  <a:gd name="connsiteY219" fmla="*/ 282889 h 282889"/>
                  <a:gd name="connsiteX220" fmla="*/ 112125 w 332891"/>
                  <a:gd name="connsiteY220" fmla="*/ 282889 h 282889"/>
                  <a:gd name="connsiteX221" fmla="*/ 122580 w 332891"/>
                  <a:gd name="connsiteY221" fmla="*/ 282889 h 282889"/>
                  <a:gd name="connsiteX222" fmla="*/ 133035 w 332891"/>
                  <a:gd name="connsiteY222" fmla="*/ 282889 h 282889"/>
                  <a:gd name="connsiteX223" fmla="*/ 143490 w 332891"/>
                  <a:gd name="connsiteY223" fmla="*/ 282889 h 282889"/>
                  <a:gd name="connsiteX224" fmla="*/ 153793 w 332891"/>
                  <a:gd name="connsiteY224" fmla="*/ 282889 h 282889"/>
                  <a:gd name="connsiteX225" fmla="*/ 164248 w 332891"/>
                  <a:gd name="connsiteY225" fmla="*/ 282889 h 282889"/>
                  <a:gd name="connsiteX226" fmla="*/ 174703 w 332891"/>
                  <a:gd name="connsiteY226" fmla="*/ 282889 h 282889"/>
                  <a:gd name="connsiteX227" fmla="*/ 178037 w 332891"/>
                  <a:gd name="connsiteY227" fmla="*/ 282889 h 282889"/>
                  <a:gd name="connsiteX228" fmla="*/ 179401 w 332891"/>
                  <a:gd name="connsiteY228" fmla="*/ 282738 h 282889"/>
                  <a:gd name="connsiteX229" fmla="*/ 181976 w 332891"/>
                  <a:gd name="connsiteY229" fmla="*/ 277434 h 282889"/>
                  <a:gd name="connsiteX230" fmla="*/ 183189 w 332891"/>
                  <a:gd name="connsiteY230" fmla="*/ 276980 h 282889"/>
                  <a:gd name="connsiteX231" fmla="*/ 185007 w 332891"/>
                  <a:gd name="connsiteY231" fmla="*/ 277283 h 282889"/>
                  <a:gd name="connsiteX232" fmla="*/ 185613 w 332891"/>
                  <a:gd name="connsiteY232" fmla="*/ 278495 h 282889"/>
                  <a:gd name="connsiteX233" fmla="*/ 185007 w 332891"/>
                  <a:gd name="connsiteY233" fmla="*/ 280313 h 282889"/>
                  <a:gd name="connsiteX234" fmla="*/ 184098 w 332891"/>
                  <a:gd name="connsiteY234" fmla="*/ 282889 h 282889"/>
                  <a:gd name="connsiteX235" fmla="*/ 189249 w 332891"/>
                  <a:gd name="connsiteY235" fmla="*/ 282889 h 282889"/>
                  <a:gd name="connsiteX236" fmla="*/ 198189 w 332891"/>
                  <a:gd name="connsiteY236" fmla="*/ 282889 h 282889"/>
                  <a:gd name="connsiteX237" fmla="*/ 207129 w 332891"/>
                  <a:gd name="connsiteY237" fmla="*/ 282889 h 282889"/>
                  <a:gd name="connsiteX238" fmla="*/ 216220 w 332891"/>
                  <a:gd name="connsiteY238" fmla="*/ 282889 h 282889"/>
                  <a:gd name="connsiteX239" fmla="*/ 225160 w 332891"/>
                  <a:gd name="connsiteY239" fmla="*/ 282889 h 282889"/>
                  <a:gd name="connsiteX240" fmla="*/ 234099 w 332891"/>
                  <a:gd name="connsiteY240" fmla="*/ 282889 h 282889"/>
                  <a:gd name="connsiteX241" fmla="*/ 243039 w 332891"/>
                  <a:gd name="connsiteY241" fmla="*/ 282889 h 282889"/>
                  <a:gd name="connsiteX242" fmla="*/ 252130 w 332891"/>
                  <a:gd name="connsiteY242" fmla="*/ 282889 h 282889"/>
                  <a:gd name="connsiteX243" fmla="*/ 261070 w 332891"/>
                  <a:gd name="connsiteY243" fmla="*/ 282889 h 282889"/>
                  <a:gd name="connsiteX244" fmla="*/ 270010 w 332891"/>
                  <a:gd name="connsiteY244" fmla="*/ 282889 h 282889"/>
                  <a:gd name="connsiteX245" fmla="*/ 278950 w 332891"/>
                  <a:gd name="connsiteY245" fmla="*/ 282889 h 282889"/>
                  <a:gd name="connsiteX246" fmla="*/ 288041 w 332891"/>
                  <a:gd name="connsiteY246" fmla="*/ 282889 h 282889"/>
                  <a:gd name="connsiteX247" fmla="*/ 296981 w 332891"/>
                  <a:gd name="connsiteY247" fmla="*/ 282889 h 282889"/>
                  <a:gd name="connsiteX248" fmla="*/ 305920 w 332891"/>
                  <a:gd name="connsiteY248" fmla="*/ 282889 h 282889"/>
                  <a:gd name="connsiteX249" fmla="*/ 314860 w 332891"/>
                  <a:gd name="connsiteY249" fmla="*/ 282889 h 282889"/>
                  <a:gd name="connsiteX250" fmla="*/ 323951 w 332891"/>
                  <a:gd name="connsiteY250" fmla="*/ 282889 h 282889"/>
                  <a:gd name="connsiteX251" fmla="*/ 332891 w 332891"/>
                  <a:gd name="connsiteY251" fmla="*/ 282889 h 28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332891" h="282889">
                    <a:moveTo>
                      <a:pt x="332891" y="282283"/>
                    </a:moveTo>
                    <a:lnTo>
                      <a:pt x="331679" y="280010"/>
                    </a:lnTo>
                    <a:lnTo>
                      <a:pt x="320315" y="271525"/>
                    </a:lnTo>
                    <a:lnTo>
                      <a:pt x="315315" y="264858"/>
                    </a:lnTo>
                    <a:lnTo>
                      <a:pt x="306678" y="261676"/>
                    </a:lnTo>
                    <a:lnTo>
                      <a:pt x="304860" y="260313"/>
                    </a:lnTo>
                    <a:lnTo>
                      <a:pt x="303496" y="258494"/>
                    </a:lnTo>
                    <a:lnTo>
                      <a:pt x="300769" y="255616"/>
                    </a:lnTo>
                    <a:lnTo>
                      <a:pt x="297132" y="246373"/>
                    </a:lnTo>
                    <a:lnTo>
                      <a:pt x="295920" y="241373"/>
                    </a:lnTo>
                    <a:lnTo>
                      <a:pt x="295466" y="231827"/>
                    </a:lnTo>
                    <a:lnTo>
                      <a:pt x="295768" y="229857"/>
                    </a:lnTo>
                    <a:lnTo>
                      <a:pt x="296526" y="227736"/>
                    </a:lnTo>
                    <a:lnTo>
                      <a:pt x="297890" y="226978"/>
                    </a:lnTo>
                    <a:lnTo>
                      <a:pt x="298950" y="226826"/>
                    </a:lnTo>
                    <a:lnTo>
                      <a:pt x="303193" y="227130"/>
                    </a:lnTo>
                    <a:lnTo>
                      <a:pt x="298799" y="223493"/>
                    </a:lnTo>
                    <a:lnTo>
                      <a:pt x="294708" y="220917"/>
                    </a:lnTo>
                    <a:lnTo>
                      <a:pt x="292587" y="217584"/>
                    </a:lnTo>
                    <a:lnTo>
                      <a:pt x="286980" y="211674"/>
                    </a:lnTo>
                    <a:lnTo>
                      <a:pt x="277737" y="192431"/>
                    </a:lnTo>
                    <a:lnTo>
                      <a:pt x="272889" y="183643"/>
                    </a:lnTo>
                    <a:lnTo>
                      <a:pt x="269858" y="176370"/>
                    </a:lnTo>
                    <a:lnTo>
                      <a:pt x="263343" y="166673"/>
                    </a:lnTo>
                    <a:lnTo>
                      <a:pt x="255615" y="151369"/>
                    </a:lnTo>
                    <a:lnTo>
                      <a:pt x="253191" y="148490"/>
                    </a:lnTo>
                    <a:lnTo>
                      <a:pt x="251373" y="136823"/>
                    </a:lnTo>
                    <a:lnTo>
                      <a:pt x="250160" y="132884"/>
                    </a:lnTo>
                    <a:lnTo>
                      <a:pt x="248949" y="130459"/>
                    </a:lnTo>
                    <a:lnTo>
                      <a:pt x="246070" y="128187"/>
                    </a:lnTo>
                    <a:lnTo>
                      <a:pt x="245009" y="125611"/>
                    </a:lnTo>
                    <a:lnTo>
                      <a:pt x="241979" y="120459"/>
                    </a:lnTo>
                    <a:lnTo>
                      <a:pt x="242282" y="117732"/>
                    </a:lnTo>
                    <a:lnTo>
                      <a:pt x="241979" y="111822"/>
                    </a:lnTo>
                    <a:lnTo>
                      <a:pt x="240463" y="109701"/>
                    </a:lnTo>
                    <a:lnTo>
                      <a:pt x="237130" y="107428"/>
                    </a:lnTo>
                    <a:lnTo>
                      <a:pt x="232433" y="102731"/>
                    </a:lnTo>
                    <a:lnTo>
                      <a:pt x="227584" y="95761"/>
                    </a:lnTo>
                    <a:lnTo>
                      <a:pt x="224251" y="92276"/>
                    </a:lnTo>
                    <a:lnTo>
                      <a:pt x="223039" y="90306"/>
                    </a:lnTo>
                    <a:lnTo>
                      <a:pt x="222281" y="88185"/>
                    </a:lnTo>
                    <a:lnTo>
                      <a:pt x="221069" y="85609"/>
                    </a:lnTo>
                    <a:lnTo>
                      <a:pt x="217584" y="81518"/>
                    </a:lnTo>
                    <a:lnTo>
                      <a:pt x="216826" y="79548"/>
                    </a:lnTo>
                    <a:lnTo>
                      <a:pt x="217129" y="73942"/>
                    </a:lnTo>
                    <a:lnTo>
                      <a:pt x="215917" y="69851"/>
                    </a:lnTo>
                    <a:lnTo>
                      <a:pt x="215008" y="67881"/>
                    </a:lnTo>
                    <a:lnTo>
                      <a:pt x="210462" y="63487"/>
                    </a:lnTo>
                    <a:lnTo>
                      <a:pt x="209402" y="60608"/>
                    </a:lnTo>
                    <a:lnTo>
                      <a:pt x="210765" y="57123"/>
                    </a:lnTo>
                    <a:lnTo>
                      <a:pt x="213038" y="54093"/>
                    </a:lnTo>
                    <a:lnTo>
                      <a:pt x="212584" y="51820"/>
                    </a:lnTo>
                    <a:lnTo>
                      <a:pt x="215008" y="50456"/>
                    </a:lnTo>
                    <a:lnTo>
                      <a:pt x="217281" y="55608"/>
                    </a:lnTo>
                    <a:lnTo>
                      <a:pt x="219402" y="63790"/>
                    </a:lnTo>
                    <a:lnTo>
                      <a:pt x="220614" y="65912"/>
                    </a:lnTo>
                    <a:lnTo>
                      <a:pt x="221826" y="67427"/>
                    </a:lnTo>
                    <a:lnTo>
                      <a:pt x="223493" y="70912"/>
                    </a:lnTo>
                    <a:lnTo>
                      <a:pt x="229099" y="77124"/>
                    </a:lnTo>
                    <a:lnTo>
                      <a:pt x="230463" y="80003"/>
                    </a:lnTo>
                    <a:lnTo>
                      <a:pt x="232584" y="85912"/>
                    </a:lnTo>
                    <a:lnTo>
                      <a:pt x="232433" y="88337"/>
                    </a:lnTo>
                    <a:lnTo>
                      <a:pt x="233796" y="92125"/>
                    </a:lnTo>
                    <a:lnTo>
                      <a:pt x="238342" y="97428"/>
                    </a:lnTo>
                    <a:lnTo>
                      <a:pt x="243191" y="101367"/>
                    </a:lnTo>
                    <a:lnTo>
                      <a:pt x="247737" y="107428"/>
                    </a:lnTo>
                    <a:lnTo>
                      <a:pt x="255615" y="113944"/>
                    </a:lnTo>
                    <a:lnTo>
                      <a:pt x="260313" y="115762"/>
                    </a:lnTo>
                    <a:lnTo>
                      <a:pt x="263040" y="112125"/>
                    </a:lnTo>
                    <a:lnTo>
                      <a:pt x="265313" y="108337"/>
                    </a:lnTo>
                    <a:lnTo>
                      <a:pt x="266070" y="105762"/>
                    </a:lnTo>
                    <a:lnTo>
                      <a:pt x="266525" y="98337"/>
                    </a:lnTo>
                    <a:lnTo>
                      <a:pt x="271222" y="86518"/>
                    </a:lnTo>
                    <a:lnTo>
                      <a:pt x="274404" y="71366"/>
                    </a:lnTo>
                    <a:lnTo>
                      <a:pt x="277586" y="66518"/>
                    </a:lnTo>
                    <a:lnTo>
                      <a:pt x="279101" y="65154"/>
                    </a:lnTo>
                    <a:lnTo>
                      <a:pt x="278192" y="62578"/>
                    </a:lnTo>
                    <a:lnTo>
                      <a:pt x="275919" y="55154"/>
                    </a:lnTo>
                    <a:lnTo>
                      <a:pt x="274404" y="50153"/>
                    </a:lnTo>
                    <a:lnTo>
                      <a:pt x="272283" y="43941"/>
                    </a:lnTo>
                    <a:lnTo>
                      <a:pt x="268798" y="36365"/>
                    </a:lnTo>
                    <a:lnTo>
                      <a:pt x="268495" y="34395"/>
                    </a:lnTo>
                    <a:lnTo>
                      <a:pt x="267737" y="31819"/>
                    </a:lnTo>
                    <a:lnTo>
                      <a:pt x="265313" y="24849"/>
                    </a:lnTo>
                    <a:lnTo>
                      <a:pt x="263343" y="19849"/>
                    </a:lnTo>
                    <a:lnTo>
                      <a:pt x="261070" y="13485"/>
                    </a:lnTo>
                    <a:lnTo>
                      <a:pt x="260161" y="10910"/>
                    </a:lnTo>
                    <a:lnTo>
                      <a:pt x="259706" y="10000"/>
                    </a:lnTo>
                    <a:lnTo>
                      <a:pt x="259101" y="10606"/>
                    </a:lnTo>
                    <a:lnTo>
                      <a:pt x="251676" y="14243"/>
                    </a:lnTo>
                    <a:lnTo>
                      <a:pt x="245161" y="15758"/>
                    </a:lnTo>
                    <a:lnTo>
                      <a:pt x="237282" y="15758"/>
                    </a:lnTo>
                    <a:lnTo>
                      <a:pt x="232281" y="17122"/>
                    </a:lnTo>
                    <a:lnTo>
                      <a:pt x="231220" y="15910"/>
                    </a:lnTo>
                    <a:lnTo>
                      <a:pt x="230463" y="14698"/>
                    </a:lnTo>
                    <a:lnTo>
                      <a:pt x="224251" y="16364"/>
                    </a:lnTo>
                    <a:lnTo>
                      <a:pt x="223039" y="16213"/>
                    </a:lnTo>
                    <a:lnTo>
                      <a:pt x="218341" y="17425"/>
                    </a:lnTo>
                    <a:lnTo>
                      <a:pt x="216068" y="17576"/>
                    </a:lnTo>
                    <a:lnTo>
                      <a:pt x="214250" y="16667"/>
                    </a:lnTo>
                    <a:lnTo>
                      <a:pt x="208492" y="11970"/>
                    </a:lnTo>
                    <a:lnTo>
                      <a:pt x="206523" y="10910"/>
                    </a:lnTo>
                    <a:lnTo>
                      <a:pt x="205462" y="10910"/>
                    </a:lnTo>
                    <a:lnTo>
                      <a:pt x="206220" y="12273"/>
                    </a:lnTo>
                    <a:lnTo>
                      <a:pt x="207280" y="13637"/>
                    </a:lnTo>
                    <a:lnTo>
                      <a:pt x="205310" y="16061"/>
                    </a:lnTo>
                    <a:lnTo>
                      <a:pt x="202432" y="16970"/>
                    </a:lnTo>
                    <a:lnTo>
                      <a:pt x="201371" y="15152"/>
                    </a:lnTo>
                    <a:lnTo>
                      <a:pt x="199856" y="13031"/>
                    </a:lnTo>
                    <a:lnTo>
                      <a:pt x="196977" y="12425"/>
                    </a:lnTo>
                    <a:lnTo>
                      <a:pt x="193340" y="10910"/>
                    </a:lnTo>
                    <a:lnTo>
                      <a:pt x="196219" y="7273"/>
                    </a:lnTo>
                    <a:lnTo>
                      <a:pt x="196674" y="5152"/>
                    </a:lnTo>
                    <a:lnTo>
                      <a:pt x="201674" y="9394"/>
                    </a:lnTo>
                    <a:lnTo>
                      <a:pt x="203341" y="9394"/>
                    </a:lnTo>
                    <a:lnTo>
                      <a:pt x="198644" y="4546"/>
                    </a:lnTo>
                    <a:lnTo>
                      <a:pt x="196522" y="3485"/>
                    </a:lnTo>
                    <a:lnTo>
                      <a:pt x="195159" y="3940"/>
                    </a:lnTo>
                    <a:lnTo>
                      <a:pt x="188795" y="6061"/>
                    </a:lnTo>
                    <a:lnTo>
                      <a:pt x="186522" y="5909"/>
                    </a:lnTo>
                    <a:lnTo>
                      <a:pt x="177582" y="1970"/>
                    </a:lnTo>
                    <a:lnTo>
                      <a:pt x="174552" y="1515"/>
                    </a:lnTo>
                    <a:lnTo>
                      <a:pt x="173643" y="1970"/>
                    </a:lnTo>
                    <a:lnTo>
                      <a:pt x="173036" y="4394"/>
                    </a:lnTo>
                    <a:lnTo>
                      <a:pt x="172279" y="5758"/>
                    </a:lnTo>
                    <a:lnTo>
                      <a:pt x="167885" y="6516"/>
                    </a:lnTo>
                    <a:lnTo>
                      <a:pt x="164097" y="7576"/>
                    </a:lnTo>
                    <a:lnTo>
                      <a:pt x="160309" y="7121"/>
                    </a:lnTo>
                    <a:lnTo>
                      <a:pt x="169097" y="3940"/>
                    </a:lnTo>
                    <a:lnTo>
                      <a:pt x="170158" y="2727"/>
                    </a:lnTo>
                    <a:lnTo>
                      <a:pt x="160460" y="5455"/>
                    </a:lnTo>
                    <a:lnTo>
                      <a:pt x="155763" y="5909"/>
                    </a:lnTo>
                    <a:lnTo>
                      <a:pt x="154248" y="7576"/>
                    </a:lnTo>
                    <a:lnTo>
                      <a:pt x="153491" y="8940"/>
                    </a:lnTo>
                    <a:lnTo>
                      <a:pt x="152127" y="10152"/>
                    </a:lnTo>
                    <a:lnTo>
                      <a:pt x="150915" y="11970"/>
                    </a:lnTo>
                    <a:lnTo>
                      <a:pt x="148339" y="11970"/>
                    </a:lnTo>
                    <a:lnTo>
                      <a:pt x="146217" y="11667"/>
                    </a:lnTo>
                    <a:lnTo>
                      <a:pt x="142884" y="12879"/>
                    </a:lnTo>
                    <a:lnTo>
                      <a:pt x="133641" y="19395"/>
                    </a:lnTo>
                    <a:lnTo>
                      <a:pt x="129247" y="21819"/>
                    </a:lnTo>
                    <a:lnTo>
                      <a:pt x="125156" y="23637"/>
                    </a:lnTo>
                    <a:lnTo>
                      <a:pt x="121822" y="24698"/>
                    </a:lnTo>
                    <a:lnTo>
                      <a:pt x="119550" y="24849"/>
                    </a:lnTo>
                    <a:lnTo>
                      <a:pt x="116822" y="23940"/>
                    </a:lnTo>
                    <a:lnTo>
                      <a:pt x="112277" y="21364"/>
                    </a:lnTo>
                    <a:lnTo>
                      <a:pt x="104246" y="18182"/>
                    </a:lnTo>
                    <a:lnTo>
                      <a:pt x="89245" y="16819"/>
                    </a:lnTo>
                    <a:lnTo>
                      <a:pt x="85457" y="13788"/>
                    </a:lnTo>
                    <a:lnTo>
                      <a:pt x="79700" y="13940"/>
                    </a:lnTo>
                    <a:lnTo>
                      <a:pt x="77579" y="13334"/>
                    </a:lnTo>
                    <a:lnTo>
                      <a:pt x="69548" y="8334"/>
                    </a:lnTo>
                    <a:lnTo>
                      <a:pt x="56517" y="5606"/>
                    </a:lnTo>
                    <a:lnTo>
                      <a:pt x="47881" y="4243"/>
                    </a:lnTo>
                    <a:lnTo>
                      <a:pt x="32577" y="1061"/>
                    </a:lnTo>
                    <a:lnTo>
                      <a:pt x="18486" y="4243"/>
                    </a:lnTo>
                    <a:lnTo>
                      <a:pt x="14243" y="3637"/>
                    </a:lnTo>
                    <a:lnTo>
                      <a:pt x="12121" y="0"/>
                    </a:lnTo>
                    <a:lnTo>
                      <a:pt x="11212" y="909"/>
                    </a:lnTo>
                    <a:lnTo>
                      <a:pt x="9697" y="2576"/>
                    </a:lnTo>
                    <a:lnTo>
                      <a:pt x="8637" y="4243"/>
                    </a:lnTo>
                    <a:lnTo>
                      <a:pt x="6212" y="6818"/>
                    </a:lnTo>
                    <a:lnTo>
                      <a:pt x="4091" y="9697"/>
                    </a:lnTo>
                    <a:lnTo>
                      <a:pt x="4243" y="13788"/>
                    </a:lnTo>
                    <a:lnTo>
                      <a:pt x="4697" y="17880"/>
                    </a:lnTo>
                    <a:lnTo>
                      <a:pt x="6212" y="21970"/>
                    </a:lnTo>
                    <a:lnTo>
                      <a:pt x="7424" y="26365"/>
                    </a:lnTo>
                    <a:lnTo>
                      <a:pt x="6970" y="29395"/>
                    </a:lnTo>
                    <a:lnTo>
                      <a:pt x="5909" y="32880"/>
                    </a:lnTo>
                    <a:lnTo>
                      <a:pt x="4697" y="35911"/>
                    </a:lnTo>
                    <a:lnTo>
                      <a:pt x="606" y="42123"/>
                    </a:lnTo>
                    <a:lnTo>
                      <a:pt x="0" y="43638"/>
                    </a:lnTo>
                    <a:lnTo>
                      <a:pt x="151" y="45759"/>
                    </a:lnTo>
                    <a:lnTo>
                      <a:pt x="2727" y="53032"/>
                    </a:lnTo>
                    <a:lnTo>
                      <a:pt x="2879" y="55305"/>
                    </a:lnTo>
                    <a:lnTo>
                      <a:pt x="4394" y="62427"/>
                    </a:lnTo>
                    <a:lnTo>
                      <a:pt x="5758" y="68184"/>
                    </a:lnTo>
                    <a:lnTo>
                      <a:pt x="7273" y="72730"/>
                    </a:lnTo>
                    <a:lnTo>
                      <a:pt x="7576" y="73942"/>
                    </a:lnTo>
                    <a:lnTo>
                      <a:pt x="7576" y="80609"/>
                    </a:lnTo>
                    <a:lnTo>
                      <a:pt x="7576" y="87276"/>
                    </a:lnTo>
                    <a:lnTo>
                      <a:pt x="7576" y="93943"/>
                    </a:lnTo>
                    <a:lnTo>
                      <a:pt x="7576" y="100458"/>
                    </a:lnTo>
                    <a:lnTo>
                      <a:pt x="7576" y="107125"/>
                    </a:lnTo>
                    <a:lnTo>
                      <a:pt x="7576" y="113792"/>
                    </a:lnTo>
                    <a:lnTo>
                      <a:pt x="7576" y="120307"/>
                    </a:lnTo>
                    <a:lnTo>
                      <a:pt x="7576" y="126974"/>
                    </a:lnTo>
                    <a:lnTo>
                      <a:pt x="7576" y="133490"/>
                    </a:lnTo>
                    <a:lnTo>
                      <a:pt x="7576" y="140157"/>
                    </a:lnTo>
                    <a:lnTo>
                      <a:pt x="7576" y="146672"/>
                    </a:lnTo>
                    <a:lnTo>
                      <a:pt x="7576" y="153187"/>
                    </a:lnTo>
                    <a:lnTo>
                      <a:pt x="7576" y="159854"/>
                    </a:lnTo>
                    <a:lnTo>
                      <a:pt x="7576" y="166370"/>
                    </a:lnTo>
                    <a:lnTo>
                      <a:pt x="7576" y="172885"/>
                    </a:lnTo>
                    <a:lnTo>
                      <a:pt x="7576" y="179400"/>
                    </a:lnTo>
                    <a:lnTo>
                      <a:pt x="7576" y="185916"/>
                    </a:lnTo>
                    <a:lnTo>
                      <a:pt x="7576" y="192431"/>
                    </a:lnTo>
                    <a:lnTo>
                      <a:pt x="7576" y="198947"/>
                    </a:lnTo>
                    <a:lnTo>
                      <a:pt x="7576" y="205462"/>
                    </a:lnTo>
                    <a:lnTo>
                      <a:pt x="7576" y="211978"/>
                    </a:lnTo>
                    <a:lnTo>
                      <a:pt x="7576" y="218493"/>
                    </a:lnTo>
                    <a:lnTo>
                      <a:pt x="7576" y="224857"/>
                    </a:lnTo>
                    <a:lnTo>
                      <a:pt x="7576" y="231372"/>
                    </a:lnTo>
                    <a:lnTo>
                      <a:pt x="7576" y="237887"/>
                    </a:lnTo>
                    <a:lnTo>
                      <a:pt x="7576" y="244251"/>
                    </a:lnTo>
                    <a:lnTo>
                      <a:pt x="7576" y="250767"/>
                    </a:lnTo>
                    <a:lnTo>
                      <a:pt x="7576" y="257131"/>
                    </a:lnTo>
                    <a:lnTo>
                      <a:pt x="7576" y="263646"/>
                    </a:lnTo>
                    <a:lnTo>
                      <a:pt x="7576" y="270010"/>
                    </a:lnTo>
                    <a:lnTo>
                      <a:pt x="7576" y="276525"/>
                    </a:lnTo>
                    <a:lnTo>
                      <a:pt x="7576" y="282889"/>
                    </a:lnTo>
                    <a:lnTo>
                      <a:pt x="18031" y="282889"/>
                    </a:lnTo>
                    <a:lnTo>
                      <a:pt x="28486" y="282889"/>
                    </a:lnTo>
                    <a:lnTo>
                      <a:pt x="38941" y="282889"/>
                    </a:lnTo>
                    <a:lnTo>
                      <a:pt x="49395" y="282889"/>
                    </a:lnTo>
                    <a:lnTo>
                      <a:pt x="59850" y="282889"/>
                    </a:lnTo>
                    <a:lnTo>
                      <a:pt x="70305" y="282889"/>
                    </a:lnTo>
                    <a:lnTo>
                      <a:pt x="80760" y="282889"/>
                    </a:lnTo>
                    <a:lnTo>
                      <a:pt x="91215" y="282889"/>
                    </a:lnTo>
                    <a:lnTo>
                      <a:pt x="101670" y="282889"/>
                    </a:lnTo>
                    <a:lnTo>
                      <a:pt x="112125" y="282889"/>
                    </a:lnTo>
                    <a:lnTo>
                      <a:pt x="122580" y="282889"/>
                    </a:lnTo>
                    <a:lnTo>
                      <a:pt x="133035" y="282889"/>
                    </a:lnTo>
                    <a:lnTo>
                      <a:pt x="143490" y="282889"/>
                    </a:lnTo>
                    <a:lnTo>
                      <a:pt x="153793" y="282889"/>
                    </a:lnTo>
                    <a:lnTo>
                      <a:pt x="164248" y="282889"/>
                    </a:lnTo>
                    <a:lnTo>
                      <a:pt x="174703" y="282889"/>
                    </a:lnTo>
                    <a:lnTo>
                      <a:pt x="178037" y="282889"/>
                    </a:lnTo>
                    <a:lnTo>
                      <a:pt x="179401" y="282738"/>
                    </a:lnTo>
                    <a:lnTo>
                      <a:pt x="181976" y="277434"/>
                    </a:lnTo>
                    <a:lnTo>
                      <a:pt x="183189" y="276980"/>
                    </a:lnTo>
                    <a:lnTo>
                      <a:pt x="185007" y="277283"/>
                    </a:lnTo>
                    <a:lnTo>
                      <a:pt x="185613" y="278495"/>
                    </a:lnTo>
                    <a:lnTo>
                      <a:pt x="185007" y="280313"/>
                    </a:lnTo>
                    <a:lnTo>
                      <a:pt x="184098" y="282889"/>
                    </a:lnTo>
                    <a:lnTo>
                      <a:pt x="189249" y="282889"/>
                    </a:lnTo>
                    <a:lnTo>
                      <a:pt x="198189" y="282889"/>
                    </a:lnTo>
                    <a:lnTo>
                      <a:pt x="207129" y="282889"/>
                    </a:lnTo>
                    <a:lnTo>
                      <a:pt x="216220" y="282889"/>
                    </a:lnTo>
                    <a:lnTo>
                      <a:pt x="225160" y="282889"/>
                    </a:lnTo>
                    <a:lnTo>
                      <a:pt x="234099" y="282889"/>
                    </a:lnTo>
                    <a:lnTo>
                      <a:pt x="243039" y="282889"/>
                    </a:lnTo>
                    <a:lnTo>
                      <a:pt x="252130" y="282889"/>
                    </a:lnTo>
                    <a:lnTo>
                      <a:pt x="261070" y="282889"/>
                    </a:lnTo>
                    <a:lnTo>
                      <a:pt x="270010" y="282889"/>
                    </a:lnTo>
                    <a:lnTo>
                      <a:pt x="278950" y="282889"/>
                    </a:lnTo>
                    <a:lnTo>
                      <a:pt x="288041" y="282889"/>
                    </a:lnTo>
                    <a:lnTo>
                      <a:pt x="296981" y="282889"/>
                    </a:lnTo>
                    <a:lnTo>
                      <a:pt x="305920" y="282889"/>
                    </a:lnTo>
                    <a:lnTo>
                      <a:pt x="314860" y="282889"/>
                    </a:lnTo>
                    <a:lnTo>
                      <a:pt x="323951" y="282889"/>
                    </a:lnTo>
                    <a:lnTo>
                      <a:pt x="332891" y="2828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6" name="Freeform: Shape 3295">
                <a:extLst>
                  <a:ext uri="{FF2B5EF4-FFF2-40B4-BE49-F238E27FC236}">
                    <a16:creationId xmlns:a16="http://schemas.microsoft.com/office/drawing/2014/main" id="{258B25B5-0A2C-4686-BC69-BFBE43B73FC1}"/>
                  </a:ext>
                </a:extLst>
              </p:cNvPr>
              <p:cNvSpPr/>
              <p:nvPr/>
            </p:nvSpPr>
            <p:spPr>
              <a:xfrm>
                <a:off x="6375252" y="2707380"/>
                <a:ext cx="172127" cy="84851"/>
              </a:xfrm>
              <a:custGeom>
                <a:avLst/>
                <a:gdLst>
                  <a:gd name="connsiteX0" fmla="*/ 12273 w 172127"/>
                  <a:gd name="connsiteY0" fmla="*/ 30153 h 84851"/>
                  <a:gd name="connsiteX1" fmla="*/ 15152 w 172127"/>
                  <a:gd name="connsiteY1" fmla="*/ 31516 h 84851"/>
                  <a:gd name="connsiteX2" fmla="*/ 16970 w 172127"/>
                  <a:gd name="connsiteY2" fmla="*/ 35910 h 84851"/>
                  <a:gd name="connsiteX3" fmla="*/ 16819 w 172127"/>
                  <a:gd name="connsiteY3" fmla="*/ 37577 h 84851"/>
                  <a:gd name="connsiteX4" fmla="*/ 18789 w 172127"/>
                  <a:gd name="connsiteY4" fmla="*/ 38486 h 84851"/>
                  <a:gd name="connsiteX5" fmla="*/ 22122 w 172127"/>
                  <a:gd name="connsiteY5" fmla="*/ 37729 h 84851"/>
                  <a:gd name="connsiteX6" fmla="*/ 25001 w 172127"/>
                  <a:gd name="connsiteY6" fmla="*/ 33183 h 84851"/>
                  <a:gd name="connsiteX7" fmla="*/ 25759 w 172127"/>
                  <a:gd name="connsiteY7" fmla="*/ 34092 h 84851"/>
                  <a:gd name="connsiteX8" fmla="*/ 27122 w 172127"/>
                  <a:gd name="connsiteY8" fmla="*/ 34850 h 84851"/>
                  <a:gd name="connsiteX9" fmla="*/ 29395 w 172127"/>
                  <a:gd name="connsiteY9" fmla="*/ 32880 h 84851"/>
                  <a:gd name="connsiteX10" fmla="*/ 31668 w 172127"/>
                  <a:gd name="connsiteY10" fmla="*/ 32577 h 84851"/>
                  <a:gd name="connsiteX11" fmla="*/ 30910 w 172127"/>
                  <a:gd name="connsiteY11" fmla="*/ 29092 h 84851"/>
                  <a:gd name="connsiteX12" fmla="*/ 28941 w 172127"/>
                  <a:gd name="connsiteY12" fmla="*/ 26213 h 84851"/>
                  <a:gd name="connsiteX13" fmla="*/ 23789 w 172127"/>
                  <a:gd name="connsiteY13" fmla="*/ 25304 h 84851"/>
                  <a:gd name="connsiteX14" fmla="*/ 23486 w 172127"/>
                  <a:gd name="connsiteY14" fmla="*/ 24698 h 84851"/>
                  <a:gd name="connsiteX15" fmla="*/ 23183 w 172127"/>
                  <a:gd name="connsiteY15" fmla="*/ 23031 h 84851"/>
                  <a:gd name="connsiteX16" fmla="*/ 21667 w 172127"/>
                  <a:gd name="connsiteY16" fmla="*/ 22577 h 84851"/>
                  <a:gd name="connsiteX17" fmla="*/ 20001 w 172127"/>
                  <a:gd name="connsiteY17" fmla="*/ 22880 h 84851"/>
                  <a:gd name="connsiteX18" fmla="*/ 17728 w 172127"/>
                  <a:gd name="connsiteY18" fmla="*/ 25152 h 84851"/>
                  <a:gd name="connsiteX19" fmla="*/ 16516 w 172127"/>
                  <a:gd name="connsiteY19" fmla="*/ 27274 h 84851"/>
                  <a:gd name="connsiteX20" fmla="*/ 5455 w 172127"/>
                  <a:gd name="connsiteY20" fmla="*/ 28486 h 84851"/>
                  <a:gd name="connsiteX21" fmla="*/ 8334 w 172127"/>
                  <a:gd name="connsiteY21" fmla="*/ 30304 h 84851"/>
                  <a:gd name="connsiteX22" fmla="*/ 12273 w 172127"/>
                  <a:gd name="connsiteY22" fmla="*/ 30153 h 84851"/>
                  <a:gd name="connsiteX23" fmla="*/ 30304 w 172127"/>
                  <a:gd name="connsiteY23" fmla="*/ 41668 h 84851"/>
                  <a:gd name="connsiteX24" fmla="*/ 26365 w 172127"/>
                  <a:gd name="connsiteY24" fmla="*/ 41062 h 84851"/>
                  <a:gd name="connsiteX25" fmla="*/ 24546 w 172127"/>
                  <a:gd name="connsiteY25" fmla="*/ 41668 h 84851"/>
                  <a:gd name="connsiteX26" fmla="*/ 22728 w 172127"/>
                  <a:gd name="connsiteY26" fmla="*/ 41971 h 84851"/>
                  <a:gd name="connsiteX27" fmla="*/ 20758 w 172127"/>
                  <a:gd name="connsiteY27" fmla="*/ 41062 h 84851"/>
                  <a:gd name="connsiteX28" fmla="*/ 18789 w 172127"/>
                  <a:gd name="connsiteY28" fmla="*/ 40759 h 84851"/>
                  <a:gd name="connsiteX29" fmla="*/ 16819 w 172127"/>
                  <a:gd name="connsiteY29" fmla="*/ 41668 h 84851"/>
                  <a:gd name="connsiteX30" fmla="*/ 12879 w 172127"/>
                  <a:gd name="connsiteY30" fmla="*/ 42577 h 84851"/>
                  <a:gd name="connsiteX31" fmla="*/ 11213 w 172127"/>
                  <a:gd name="connsiteY31" fmla="*/ 45456 h 84851"/>
                  <a:gd name="connsiteX32" fmla="*/ 9546 w 172127"/>
                  <a:gd name="connsiteY32" fmla="*/ 44850 h 84851"/>
                  <a:gd name="connsiteX33" fmla="*/ 8485 w 172127"/>
                  <a:gd name="connsiteY33" fmla="*/ 45002 h 84851"/>
                  <a:gd name="connsiteX34" fmla="*/ 6061 w 172127"/>
                  <a:gd name="connsiteY34" fmla="*/ 46517 h 84851"/>
                  <a:gd name="connsiteX35" fmla="*/ 3940 w 172127"/>
                  <a:gd name="connsiteY35" fmla="*/ 45305 h 84851"/>
                  <a:gd name="connsiteX36" fmla="*/ 1818 w 172127"/>
                  <a:gd name="connsiteY36" fmla="*/ 45153 h 84851"/>
                  <a:gd name="connsiteX37" fmla="*/ 152 w 172127"/>
                  <a:gd name="connsiteY37" fmla="*/ 45911 h 84851"/>
                  <a:gd name="connsiteX38" fmla="*/ 3485 w 172127"/>
                  <a:gd name="connsiteY38" fmla="*/ 50305 h 84851"/>
                  <a:gd name="connsiteX39" fmla="*/ 3031 w 172127"/>
                  <a:gd name="connsiteY39" fmla="*/ 51820 h 84851"/>
                  <a:gd name="connsiteX40" fmla="*/ 1970 w 172127"/>
                  <a:gd name="connsiteY40" fmla="*/ 53184 h 84851"/>
                  <a:gd name="connsiteX41" fmla="*/ 1061 w 172127"/>
                  <a:gd name="connsiteY41" fmla="*/ 53638 h 84851"/>
                  <a:gd name="connsiteX42" fmla="*/ 0 w 172127"/>
                  <a:gd name="connsiteY42" fmla="*/ 53790 h 84851"/>
                  <a:gd name="connsiteX43" fmla="*/ 758 w 172127"/>
                  <a:gd name="connsiteY43" fmla="*/ 55305 h 84851"/>
                  <a:gd name="connsiteX44" fmla="*/ 5000 w 172127"/>
                  <a:gd name="connsiteY44" fmla="*/ 57275 h 84851"/>
                  <a:gd name="connsiteX45" fmla="*/ 6970 w 172127"/>
                  <a:gd name="connsiteY45" fmla="*/ 58942 h 84851"/>
                  <a:gd name="connsiteX46" fmla="*/ 9243 w 172127"/>
                  <a:gd name="connsiteY46" fmla="*/ 59699 h 84851"/>
                  <a:gd name="connsiteX47" fmla="*/ 8334 w 172127"/>
                  <a:gd name="connsiteY47" fmla="*/ 61214 h 84851"/>
                  <a:gd name="connsiteX48" fmla="*/ 3788 w 172127"/>
                  <a:gd name="connsiteY48" fmla="*/ 66063 h 84851"/>
                  <a:gd name="connsiteX49" fmla="*/ 3637 w 172127"/>
                  <a:gd name="connsiteY49" fmla="*/ 67275 h 84851"/>
                  <a:gd name="connsiteX50" fmla="*/ 4091 w 172127"/>
                  <a:gd name="connsiteY50" fmla="*/ 68487 h 84851"/>
                  <a:gd name="connsiteX51" fmla="*/ 6212 w 172127"/>
                  <a:gd name="connsiteY51" fmla="*/ 68336 h 84851"/>
                  <a:gd name="connsiteX52" fmla="*/ 8334 w 172127"/>
                  <a:gd name="connsiteY52" fmla="*/ 67124 h 84851"/>
                  <a:gd name="connsiteX53" fmla="*/ 10455 w 172127"/>
                  <a:gd name="connsiteY53" fmla="*/ 63790 h 84851"/>
                  <a:gd name="connsiteX54" fmla="*/ 11667 w 172127"/>
                  <a:gd name="connsiteY54" fmla="*/ 59396 h 84851"/>
                  <a:gd name="connsiteX55" fmla="*/ 14395 w 172127"/>
                  <a:gd name="connsiteY55" fmla="*/ 57123 h 84851"/>
                  <a:gd name="connsiteX56" fmla="*/ 17879 w 172127"/>
                  <a:gd name="connsiteY56" fmla="*/ 56366 h 84851"/>
                  <a:gd name="connsiteX57" fmla="*/ 24243 w 172127"/>
                  <a:gd name="connsiteY57" fmla="*/ 56517 h 84851"/>
                  <a:gd name="connsiteX58" fmla="*/ 25001 w 172127"/>
                  <a:gd name="connsiteY58" fmla="*/ 55305 h 84851"/>
                  <a:gd name="connsiteX59" fmla="*/ 28486 w 172127"/>
                  <a:gd name="connsiteY59" fmla="*/ 53335 h 84851"/>
                  <a:gd name="connsiteX60" fmla="*/ 31062 w 172127"/>
                  <a:gd name="connsiteY60" fmla="*/ 51214 h 84851"/>
                  <a:gd name="connsiteX61" fmla="*/ 32577 w 172127"/>
                  <a:gd name="connsiteY61" fmla="*/ 50911 h 84851"/>
                  <a:gd name="connsiteX62" fmla="*/ 33941 w 172127"/>
                  <a:gd name="connsiteY62" fmla="*/ 49850 h 84851"/>
                  <a:gd name="connsiteX63" fmla="*/ 35153 w 172127"/>
                  <a:gd name="connsiteY63" fmla="*/ 48335 h 84851"/>
                  <a:gd name="connsiteX64" fmla="*/ 40456 w 172127"/>
                  <a:gd name="connsiteY64" fmla="*/ 47729 h 84851"/>
                  <a:gd name="connsiteX65" fmla="*/ 39698 w 172127"/>
                  <a:gd name="connsiteY65" fmla="*/ 46365 h 84851"/>
                  <a:gd name="connsiteX66" fmla="*/ 30304 w 172127"/>
                  <a:gd name="connsiteY66" fmla="*/ 41668 h 84851"/>
                  <a:gd name="connsiteX67" fmla="*/ 171673 w 172127"/>
                  <a:gd name="connsiteY67" fmla="*/ 9546 h 84851"/>
                  <a:gd name="connsiteX68" fmla="*/ 169855 w 172127"/>
                  <a:gd name="connsiteY68" fmla="*/ 7576 h 84851"/>
                  <a:gd name="connsiteX69" fmla="*/ 168340 w 172127"/>
                  <a:gd name="connsiteY69" fmla="*/ 6364 h 84851"/>
                  <a:gd name="connsiteX70" fmla="*/ 168036 w 172127"/>
                  <a:gd name="connsiteY70" fmla="*/ 6970 h 84851"/>
                  <a:gd name="connsiteX71" fmla="*/ 165006 w 172127"/>
                  <a:gd name="connsiteY71" fmla="*/ 9243 h 84851"/>
                  <a:gd name="connsiteX72" fmla="*/ 149703 w 172127"/>
                  <a:gd name="connsiteY72" fmla="*/ 7728 h 84851"/>
                  <a:gd name="connsiteX73" fmla="*/ 139854 w 172127"/>
                  <a:gd name="connsiteY73" fmla="*/ 7728 h 84851"/>
                  <a:gd name="connsiteX74" fmla="*/ 136520 w 172127"/>
                  <a:gd name="connsiteY74" fmla="*/ 6819 h 84851"/>
                  <a:gd name="connsiteX75" fmla="*/ 130308 w 172127"/>
                  <a:gd name="connsiteY75" fmla="*/ 3485 h 84851"/>
                  <a:gd name="connsiteX76" fmla="*/ 125763 w 172127"/>
                  <a:gd name="connsiteY76" fmla="*/ 3485 h 84851"/>
                  <a:gd name="connsiteX77" fmla="*/ 107580 w 172127"/>
                  <a:gd name="connsiteY77" fmla="*/ 152 h 84851"/>
                  <a:gd name="connsiteX78" fmla="*/ 102731 w 172127"/>
                  <a:gd name="connsiteY78" fmla="*/ 455 h 84851"/>
                  <a:gd name="connsiteX79" fmla="*/ 99852 w 172127"/>
                  <a:gd name="connsiteY79" fmla="*/ 0 h 84851"/>
                  <a:gd name="connsiteX80" fmla="*/ 99852 w 172127"/>
                  <a:gd name="connsiteY80" fmla="*/ 1667 h 84851"/>
                  <a:gd name="connsiteX81" fmla="*/ 100155 w 172127"/>
                  <a:gd name="connsiteY81" fmla="*/ 3182 h 84851"/>
                  <a:gd name="connsiteX82" fmla="*/ 98034 w 172127"/>
                  <a:gd name="connsiteY82" fmla="*/ 4697 h 84851"/>
                  <a:gd name="connsiteX83" fmla="*/ 82579 w 172127"/>
                  <a:gd name="connsiteY83" fmla="*/ 4697 h 84851"/>
                  <a:gd name="connsiteX84" fmla="*/ 74548 w 172127"/>
                  <a:gd name="connsiteY84" fmla="*/ 7424 h 84851"/>
                  <a:gd name="connsiteX85" fmla="*/ 68942 w 172127"/>
                  <a:gd name="connsiteY85" fmla="*/ 6667 h 84851"/>
                  <a:gd name="connsiteX86" fmla="*/ 63336 w 172127"/>
                  <a:gd name="connsiteY86" fmla="*/ 10607 h 84851"/>
                  <a:gd name="connsiteX87" fmla="*/ 60003 w 172127"/>
                  <a:gd name="connsiteY87" fmla="*/ 10758 h 84851"/>
                  <a:gd name="connsiteX88" fmla="*/ 60760 w 172127"/>
                  <a:gd name="connsiteY88" fmla="*/ 13940 h 84851"/>
                  <a:gd name="connsiteX89" fmla="*/ 52578 w 172127"/>
                  <a:gd name="connsiteY89" fmla="*/ 14546 h 84851"/>
                  <a:gd name="connsiteX90" fmla="*/ 48639 w 172127"/>
                  <a:gd name="connsiteY90" fmla="*/ 15910 h 84851"/>
                  <a:gd name="connsiteX91" fmla="*/ 44699 w 172127"/>
                  <a:gd name="connsiteY91" fmla="*/ 17728 h 84851"/>
                  <a:gd name="connsiteX92" fmla="*/ 45305 w 172127"/>
                  <a:gd name="connsiteY92" fmla="*/ 21213 h 84851"/>
                  <a:gd name="connsiteX93" fmla="*/ 44244 w 172127"/>
                  <a:gd name="connsiteY93" fmla="*/ 22728 h 84851"/>
                  <a:gd name="connsiteX94" fmla="*/ 43941 w 172127"/>
                  <a:gd name="connsiteY94" fmla="*/ 24243 h 84851"/>
                  <a:gd name="connsiteX95" fmla="*/ 45305 w 172127"/>
                  <a:gd name="connsiteY95" fmla="*/ 25607 h 84851"/>
                  <a:gd name="connsiteX96" fmla="*/ 44547 w 172127"/>
                  <a:gd name="connsiteY96" fmla="*/ 27122 h 84851"/>
                  <a:gd name="connsiteX97" fmla="*/ 43032 w 172127"/>
                  <a:gd name="connsiteY97" fmla="*/ 28789 h 84851"/>
                  <a:gd name="connsiteX98" fmla="*/ 44850 w 172127"/>
                  <a:gd name="connsiteY98" fmla="*/ 32880 h 84851"/>
                  <a:gd name="connsiteX99" fmla="*/ 45002 w 172127"/>
                  <a:gd name="connsiteY99" fmla="*/ 34092 h 84851"/>
                  <a:gd name="connsiteX100" fmla="*/ 45760 w 172127"/>
                  <a:gd name="connsiteY100" fmla="*/ 34395 h 84851"/>
                  <a:gd name="connsiteX101" fmla="*/ 49850 w 172127"/>
                  <a:gd name="connsiteY101" fmla="*/ 34244 h 84851"/>
                  <a:gd name="connsiteX102" fmla="*/ 48941 w 172127"/>
                  <a:gd name="connsiteY102" fmla="*/ 35607 h 84851"/>
                  <a:gd name="connsiteX103" fmla="*/ 45760 w 172127"/>
                  <a:gd name="connsiteY103" fmla="*/ 37123 h 84851"/>
                  <a:gd name="connsiteX104" fmla="*/ 45153 w 172127"/>
                  <a:gd name="connsiteY104" fmla="*/ 39395 h 84851"/>
                  <a:gd name="connsiteX105" fmla="*/ 46669 w 172127"/>
                  <a:gd name="connsiteY105" fmla="*/ 42729 h 84851"/>
                  <a:gd name="connsiteX106" fmla="*/ 50153 w 172127"/>
                  <a:gd name="connsiteY106" fmla="*/ 45608 h 84851"/>
                  <a:gd name="connsiteX107" fmla="*/ 50608 w 172127"/>
                  <a:gd name="connsiteY107" fmla="*/ 48487 h 84851"/>
                  <a:gd name="connsiteX108" fmla="*/ 52275 w 172127"/>
                  <a:gd name="connsiteY108" fmla="*/ 51366 h 84851"/>
                  <a:gd name="connsiteX109" fmla="*/ 58942 w 172127"/>
                  <a:gd name="connsiteY109" fmla="*/ 53487 h 84851"/>
                  <a:gd name="connsiteX110" fmla="*/ 61821 w 172127"/>
                  <a:gd name="connsiteY110" fmla="*/ 55154 h 84851"/>
                  <a:gd name="connsiteX111" fmla="*/ 65154 w 172127"/>
                  <a:gd name="connsiteY111" fmla="*/ 54244 h 84851"/>
                  <a:gd name="connsiteX112" fmla="*/ 66518 w 172127"/>
                  <a:gd name="connsiteY112" fmla="*/ 52729 h 84851"/>
                  <a:gd name="connsiteX113" fmla="*/ 67881 w 172127"/>
                  <a:gd name="connsiteY113" fmla="*/ 50608 h 84851"/>
                  <a:gd name="connsiteX114" fmla="*/ 69397 w 172127"/>
                  <a:gd name="connsiteY114" fmla="*/ 50456 h 84851"/>
                  <a:gd name="connsiteX115" fmla="*/ 73185 w 172127"/>
                  <a:gd name="connsiteY115" fmla="*/ 51669 h 84851"/>
                  <a:gd name="connsiteX116" fmla="*/ 73791 w 172127"/>
                  <a:gd name="connsiteY116" fmla="*/ 53638 h 84851"/>
                  <a:gd name="connsiteX117" fmla="*/ 73336 w 172127"/>
                  <a:gd name="connsiteY117" fmla="*/ 54547 h 84851"/>
                  <a:gd name="connsiteX118" fmla="*/ 71972 w 172127"/>
                  <a:gd name="connsiteY118" fmla="*/ 55457 h 84851"/>
                  <a:gd name="connsiteX119" fmla="*/ 71367 w 172127"/>
                  <a:gd name="connsiteY119" fmla="*/ 61669 h 84851"/>
                  <a:gd name="connsiteX120" fmla="*/ 67730 w 172127"/>
                  <a:gd name="connsiteY120" fmla="*/ 69397 h 84851"/>
                  <a:gd name="connsiteX121" fmla="*/ 67427 w 172127"/>
                  <a:gd name="connsiteY121" fmla="*/ 70912 h 84851"/>
                  <a:gd name="connsiteX122" fmla="*/ 68488 w 172127"/>
                  <a:gd name="connsiteY122" fmla="*/ 71063 h 84851"/>
                  <a:gd name="connsiteX123" fmla="*/ 71063 w 172127"/>
                  <a:gd name="connsiteY123" fmla="*/ 69397 h 84851"/>
                  <a:gd name="connsiteX124" fmla="*/ 79700 w 172127"/>
                  <a:gd name="connsiteY124" fmla="*/ 66366 h 84851"/>
                  <a:gd name="connsiteX125" fmla="*/ 81367 w 172127"/>
                  <a:gd name="connsiteY125" fmla="*/ 66215 h 84851"/>
                  <a:gd name="connsiteX126" fmla="*/ 83336 w 172127"/>
                  <a:gd name="connsiteY126" fmla="*/ 65608 h 84851"/>
                  <a:gd name="connsiteX127" fmla="*/ 88791 w 172127"/>
                  <a:gd name="connsiteY127" fmla="*/ 63336 h 84851"/>
                  <a:gd name="connsiteX128" fmla="*/ 90610 w 172127"/>
                  <a:gd name="connsiteY128" fmla="*/ 64548 h 84851"/>
                  <a:gd name="connsiteX129" fmla="*/ 92125 w 172127"/>
                  <a:gd name="connsiteY129" fmla="*/ 65911 h 84851"/>
                  <a:gd name="connsiteX130" fmla="*/ 92882 w 172127"/>
                  <a:gd name="connsiteY130" fmla="*/ 65911 h 84851"/>
                  <a:gd name="connsiteX131" fmla="*/ 93337 w 172127"/>
                  <a:gd name="connsiteY131" fmla="*/ 65457 h 84851"/>
                  <a:gd name="connsiteX132" fmla="*/ 93185 w 172127"/>
                  <a:gd name="connsiteY132" fmla="*/ 64548 h 84851"/>
                  <a:gd name="connsiteX133" fmla="*/ 93640 w 172127"/>
                  <a:gd name="connsiteY133" fmla="*/ 63942 h 84851"/>
                  <a:gd name="connsiteX134" fmla="*/ 95155 w 172127"/>
                  <a:gd name="connsiteY134" fmla="*/ 64245 h 84851"/>
                  <a:gd name="connsiteX135" fmla="*/ 101519 w 172127"/>
                  <a:gd name="connsiteY135" fmla="*/ 68033 h 84851"/>
                  <a:gd name="connsiteX136" fmla="*/ 103943 w 172127"/>
                  <a:gd name="connsiteY136" fmla="*/ 68942 h 84851"/>
                  <a:gd name="connsiteX137" fmla="*/ 105610 w 172127"/>
                  <a:gd name="connsiteY137" fmla="*/ 69245 h 84851"/>
                  <a:gd name="connsiteX138" fmla="*/ 107580 w 172127"/>
                  <a:gd name="connsiteY138" fmla="*/ 71063 h 84851"/>
                  <a:gd name="connsiteX139" fmla="*/ 113035 w 172127"/>
                  <a:gd name="connsiteY139" fmla="*/ 72275 h 84851"/>
                  <a:gd name="connsiteX140" fmla="*/ 113641 w 172127"/>
                  <a:gd name="connsiteY140" fmla="*/ 73185 h 84851"/>
                  <a:gd name="connsiteX141" fmla="*/ 114095 w 172127"/>
                  <a:gd name="connsiteY141" fmla="*/ 74397 h 84851"/>
                  <a:gd name="connsiteX142" fmla="*/ 119096 w 172127"/>
                  <a:gd name="connsiteY142" fmla="*/ 79245 h 84851"/>
                  <a:gd name="connsiteX143" fmla="*/ 121368 w 172127"/>
                  <a:gd name="connsiteY143" fmla="*/ 81670 h 84851"/>
                  <a:gd name="connsiteX144" fmla="*/ 125914 w 172127"/>
                  <a:gd name="connsiteY144" fmla="*/ 83942 h 84851"/>
                  <a:gd name="connsiteX145" fmla="*/ 127884 w 172127"/>
                  <a:gd name="connsiteY145" fmla="*/ 84549 h 84851"/>
                  <a:gd name="connsiteX146" fmla="*/ 135763 w 172127"/>
                  <a:gd name="connsiteY146" fmla="*/ 82276 h 84851"/>
                  <a:gd name="connsiteX147" fmla="*/ 137884 w 172127"/>
                  <a:gd name="connsiteY147" fmla="*/ 81518 h 84851"/>
                  <a:gd name="connsiteX148" fmla="*/ 139702 w 172127"/>
                  <a:gd name="connsiteY148" fmla="*/ 81518 h 84851"/>
                  <a:gd name="connsiteX149" fmla="*/ 141520 w 172127"/>
                  <a:gd name="connsiteY149" fmla="*/ 82730 h 84851"/>
                  <a:gd name="connsiteX150" fmla="*/ 145763 w 172127"/>
                  <a:gd name="connsiteY150" fmla="*/ 84397 h 84851"/>
                  <a:gd name="connsiteX151" fmla="*/ 149551 w 172127"/>
                  <a:gd name="connsiteY151" fmla="*/ 84852 h 84851"/>
                  <a:gd name="connsiteX152" fmla="*/ 150309 w 172127"/>
                  <a:gd name="connsiteY152" fmla="*/ 84700 h 84851"/>
                  <a:gd name="connsiteX153" fmla="*/ 150309 w 172127"/>
                  <a:gd name="connsiteY153" fmla="*/ 83791 h 84851"/>
                  <a:gd name="connsiteX154" fmla="*/ 150763 w 172127"/>
                  <a:gd name="connsiteY154" fmla="*/ 81367 h 84851"/>
                  <a:gd name="connsiteX155" fmla="*/ 151521 w 172127"/>
                  <a:gd name="connsiteY155" fmla="*/ 79245 h 84851"/>
                  <a:gd name="connsiteX156" fmla="*/ 154097 w 172127"/>
                  <a:gd name="connsiteY156" fmla="*/ 76973 h 84851"/>
                  <a:gd name="connsiteX157" fmla="*/ 154703 w 172127"/>
                  <a:gd name="connsiteY157" fmla="*/ 75457 h 84851"/>
                  <a:gd name="connsiteX158" fmla="*/ 155460 w 172127"/>
                  <a:gd name="connsiteY158" fmla="*/ 74094 h 84851"/>
                  <a:gd name="connsiteX159" fmla="*/ 161218 w 172127"/>
                  <a:gd name="connsiteY159" fmla="*/ 72427 h 84851"/>
                  <a:gd name="connsiteX160" fmla="*/ 161824 w 172127"/>
                  <a:gd name="connsiteY160" fmla="*/ 71821 h 84851"/>
                  <a:gd name="connsiteX161" fmla="*/ 161824 w 172127"/>
                  <a:gd name="connsiteY161" fmla="*/ 71215 h 84851"/>
                  <a:gd name="connsiteX162" fmla="*/ 161521 w 172127"/>
                  <a:gd name="connsiteY162" fmla="*/ 70609 h 84851"/>
                  <a:gd name="connsiteX163" fmla="*/ 160309 w 172127"/>
                  <a:gd name="connsiteY163" fmla="*/ 69699 h 84851"/>
                  <a:gd name="connsiteX164" fmla="*/ 158946 w 172127"/>
                  <a:gd name="connsiteY164" fmla="*/ 68487 h 84851"/>
                  <a:gd name="connsiteX165" fmla="*/ 158188 w 172127"/>
                  <a:gd name="connsiteY165" fmla="*/ 65305 h 84851"/>
                  <a:gd name="connsiteX166" fmla="*/ 158188 w 172127"/>
                  <a:gd name="connsiteY166" fmla="*/ 65305 h 84851"/>
                  <a:gd name="connsiteX167" fmla="*/ 157733 w 172127"/>
                  <a:gd name="connsiteY167" fmla="*/ 65305 h 84851"/>
                  <a:gd name="connsiteX168" fmla="*/ 154248 w 172127"/>
                  <a:gd name="connsiteY168" fmla="*/ 58487 h 84851"/>
                  <a:gd name="connsiteX169" fmla="*/ 153642 w 172127"/>
                  <a:gd name="connsiteY169" fmla="*/ 57123 h 84851"/>
                  <a:gd name="connsiteX170" fmla="*/ 152279 w 172127"/>
                  <a:gd name="connsiteY170" fmla="*/ 53638 h 84851"/>
                  <a:gd name="connsiteX171" fmla="*/ 149551 w 172127"/>
                  <a:gd name="connsiteY171" fmla="*/ 49850 h 84851"/>
                  <a:gd name="connsiteX172" fmla="*/ 147127 w 172127"/>
                  <a:gd name="connsiteY172" fmla="*/ 47881 h 84851"/>
                  <a:gd name="connsiteX173" fmla="*/ 145005 w 172127"/>
                  <a:gd name="connsiteY173" fmla="*/ 40001 h 84851"/>
                  <a:gd name="connsiteX174" fmla="*/ 139854 w 172127"/>
                  <a:gd name="connsiteY174" fmla="*/ 33638 h 84851"/>
                  <a:gd name="connsiteX175" fmla="*/ 140006 w 172127"/>
                  <a:gd name="connsiteY175" fmla="*/ 30456 h 84851"/>
                  <a:gd name="connsiteX176" fmla="*/ 143642 w 172127"/>
                  <a:gd name="connsiteY176" fmla="*/ 27577 h 84851"/>
                  <a:gd name="connsiteX177" fmla="*/ 148794 w 172127"/>
                  <a:gd name="connsiteY177" fmla="*/ 25910 h 84851"/>
                  <a:gd name="connsiteX178" fmla="*/ 155006 w 172127"/>
                  <a:gd name="connsiteY178" fmla="*/ 25455 h 84851"/>
                  <a:gd name="connsiteX179" fmla="*/ 158946 w 172127"/>
                  <a:gd name="connsiteY179" fmla="*/ 26516 h 84851"/>
                  <a:gd name="connsiteX180" fmla="*/ 161370 w 172127"/>
                  <a:gd name="connsiteY180" fmla="*/ 23637 h 84851"/>
                  <a:gd name="connsiteX181" fmla="*/ 163946 w 172127"/>
                  <a:gd name="connsiteY181" fmla="*/ 18031 h 84851"/>
                  <a:gd name="connsiteX182" fmla="*/ 165309 w 172127"/>
                  <a:gd name="connsiteY182" fmla="*/ 14546 h 84851"/>
                  <a:gd name="connsiteX183" fmla="*/ 166370 w 172127"/>
                  <a:gd name="connsiteY183" fmla="*/ 13788 h 84851"/>
                  <a:gd name="connsiteX184" fmla="*/ 168491 w 172127"/>
                  <a:gd name="connsiteY184" fmla="*/ 13637 h 84851"/>
                  <a:gd name="connsiteX185" fmla="*/ 169249 w 172127"/>
                  <a:gd name="connsiteY185" fmla="*/ 12576 h 84851"/>
                  <a:gd name="connsiteX186" fmla="*/ 169703 w 172127"/>
                  <a:gd name="connsiteY186" fmla="*/ 11970 h 84851"/>
                  <a:gd name="connsiteX187" fmla="*/ 171522 w 172127"/>
                  <a:gd name="connsiteY187" fmla="*/ 11364 h 84851"/>
                  <a:gd name="connsiteX188" fmla="*/ 172128 w 172127"/>
                  <a:gd name="connsiteY188" fmla="*/ 10607 h 84851"/>
                  <a:gd name="connsiteX189" fmla="*/ 171673 w 172127"/>
                  <a:gd name="connsiteY189" fmla="*/ 9546 h 84851"/>
                  <a:gd name="connsiteX190" fmla="*/ 35759 w 172127"/>
                  <a:gd name="connsiteY190" fmla="*/ 38789 h 84851"/>
                  <a:gd name="connsiteX191" fmla="*/ 34244 w 172127"/>
                  <a:gd name="connsiteY191" fmla="*/ 39547 h 84851"/>
                  <a:gd name="connsiteX192" fmla="*/ 33031 w 172127"/>
                  <a:gd name="connsiteY192" fmla="*/ 41517 h 84851"/>
                  <a:gd name="connsiteX193" fmla="*/ 38486 w 172127"/>
                  <a:gd name="connsiteY193" fmla="*/ 44396 h 84851"/>
                  <a:gd name="connsiteX194" fmla="*/ 40759 w 172127"/>
                  <a:gd name="connsiteY194" fmla="*/ 43941 h 84851"/>
                  <a:gd name="connsiteX195" fmla="*/ 41062 w 172127"/>
                  <a:gd name="connsiteY195" fmla="*/ 42880 h 84851"/>
                  <a:gd name="connsiteX196" fmla="*/ 40456 w 172127"/>
                  <a:gd name="connsiteY196" fmla="*/ 40001 h 84851"/>
                  <a:gd name="connsiteX197" fmla="*/ 35759 w 172127"/>
                  <a:gd name="connsiteY197" fmla="*/ 38789 h 8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72127" h="84851">
                    <a:moveTo>
                      <a:pt x="12273" y="30153"/>
                    </a:moveTo>
                    <a:lnTo>
                      <a:pt x="15152" y="31516"/>
                    </a:lnTo>
                    <a:lnTo>
                      <a:pt x="16970" y="35910"/>
                    </a:lnTo>
                    <a:lnTo>
                      <a:pt x="16819" y="37577"/>
                    </a:lnTo>
                    <a:lnTo>
                      <a:pt x="18789" y="38486"/>
                    </a:lnTo>
                    <a:lnTo>
                      <a:pt x="22122" y="37729"/>
                    </a:lnTo>
                    <a:lnTo>
                      <a:pt x="25001" y="33183"/>
                    </a:lnTo>
                    <a:lnTo>
                      <a:pt x="25759" y="34092"/>
                    </a:lnTo>
                    <a:lnTo>
                      <a:pt x="27122" y="34850"/>
                    </a:lnTo>
                    <a:lnTo>
                      <a:pt x="29395" y="32880"/>
                    </a:lnTo>
                    <a:lnTo>
                      <a:pt x="31668" y="32577"/>
                    </a:lnTo>
                    <a:lnTo>
                      <a:pt x="30910" y="29092"/>
                    </a:lnTo>
                    <a:lnTo>
                      <a:pt x="28941" y="26213"/>
                    </a:lnTo>
                    <a:lnTo>
                      <a:pt x="23789" y="25304"/>
                    </a:lnTo>
                    <a:lnTo>
                      <a:pt x="23486" y="24698"/>
                    </a:lnTo>
                    <a:lnTo>
                      <a:pt x="23183" y="23031"/>
                    </a:lnTo>
                    <a:lnTo>
                      <a:pt x="21667" y="22577"/>
                    </a:lnTo>
                    <a:lnTo>
                      <a:pt x="20001" y="22880"/>
                    </a:lnTo>
                    <a:lnTo>
                      <a:pt x="17728" y="25152"/>
                    </a:lnTo>
                    <a:lnTo>
                      <a:pt x="16516" y="27274"/>
                    </a:lnTo>
                    <a:lnTo>
                      <a:pt x="5455" y="28486"/>
                    </a:lnTo>
                    <a:lnTo>
                      <a:pt x="8334" y="30304"/>
                    </a:lnTo>
                    <a:lnTo>
                      <a:pt x="12273" y="30153"/>
                    </a:lnTo>
                    <a:close/>
                    <a:moveTo>
                      <a:pt x="30304" y="41668"/>
                    </a:moveTo>
                    <a:lnTo>
                      <a:pt x="26365" y="41062"/>
                    </a:lnTo>
                    <a:lnTo>
                      <a:pt x="24546" y="41668"/>
                    </a:lnTo>
                    <a:lnTo>
                      <a:pt x="22728" y="41971"/>
                    </a:lnTo>
                    <a:lnTo>
                      <a:pt x="20758" y="41062"/>
                    </a:lnTo>
                    <a:lnTo>
                      <a:pt x="18789" y="40759"/>
                    </a:lnTo>
                    <a:lnTo>
                      <a:pt x="16819" y="41668"/>
                    </a:lnTo>
                    <a:lnTo>
                      <a:pt x="12879" y="42577"/>
                    </a:lnTo>
                    <a:lnTo>
                      <a:pt x="11213" y="45456"/>
                    </a:lnTo>
                    <a:lnTo>
                      <a:pt x="9546" y="44850"/>
                    </a:lnTo>
                    <a:lnTo>
                      <a:pt x="8485" y="45002"/>
                    </a:lnTo>
                    <a:lnTo>
                      <a:pt x="6061" y="46517"/>
                    </a:lnTo>
                    <a:lnTo>
                      <a:pt x="3940" y="45305"/>
                    </a:lnTo>
                    <a:lnTo>
                      <a:pt x="1818" y="45153"/>
                    </a:lnTo>
                    <a:lnTo>
                      <a:pt x="152" y="45911"/>
                    </a:lnTo>
                    <a:lnTo>
                      <a:pt x="3485" y="50305"/>
                    </a:lnTo>
                    <a:lnTo>
                      <a:pt x="3031" y="51820"/>
                    </a:lnTo>
                    <a:lnTo>
                      <a:pt x="1970" y="53184"/>
                    </a:lnTo>
                    <a:lnTo>
                      <a:pt x="1061" y="53638"/>
                    </a:lnTo>
                    <a:lnTo>
                      <a:pt x="0" y="53790"/>
                    </a:lnTo>
                    <a:lnTo>
                      <a:pt x="758" y="55305"/>
                    </a:lnTo>
                    <a:lnTo>
                      <a:pt x="5000" y="57275"/>
                    </a:lnTo>
                    <a:lnTo>
                      <a:pt x="6970" y="58942"/>
                    </a:lnTo>
                    <a:lnTo>
                      <a:pt x="9243" y="59699"/>
                    </a:lnTo>
                    <a:lnTo>
                      <a:pt x="8334" y="61214"/>
                    </a:lnTo>
                    <a:lnTo>
                      <a:pt x="3788" y="66063"/>
                    </a:lnTo>
                    <a:lnTo>
                      <a:pt x="3637" y="67275"/>
                    </a:lnTo>
                    <a:lnTo>
                      <a:pt x="4091" y="68487"/>
                    </a:lnTo>
                    <a:lnTo>
                      <a:pt x="6212" y="68336"/>
                    </a:lnTo>
                    <a:lnTo>
                      <a:pt x="8334" y="67124"/>
                    </a:lnTo>
                    <a:lnTo>
                      <a:pt x="10455" y="63790"/>
                    </a:lnTo>
                    <a:lnTo>
                      <a:pt x="11667" y="59396"/>
                    </a:lnTo>
                    <a:lnTo>
                      <a:pt x="14395" y="57123"/>
                    </a:lnTo>
                    <a:lnTo>
                      <a:pt x="17879" y="56366"/>
                    </a:lnTo>
                    <a:lnTo>
                      <a:pt x="24243" y="56517"/>
                    </a:lnTo>
                    <a:lnTo>
                      <a:pt x="25001" y="55305"/>
                    </a:lnTo>
                    <a:lnTo>
                      <a:pt x="28486" y="53335"/>
                    </a:lnTo>
                    <a:lnTo>
                      <a:pt x="31062" y="51214"/>
                    </a:lnTo>
                    <a:lnTo>
                      <a:pt x="32577" y="50911"/>
                    </a:lnTo>
                    <a:lnTo>
                      <a:pt x="33941" y="49850"/>
                    </a:lnTo>
                    <a:lnTo>
                      <a:pt x="35153" y="48335"/>
                    </a:lnTo>
                    <a:lnTo>
                      <a:pt x="40456" y="47729"/>
                    </a:lnTo>
                    <a:lnTo>
                      <a:pt x="39698" y="46365"/>
                    </a:lnTo>
                    <a:lnTo>
                      <a:pt x="30304" y="41668"/>
                    </a:lnTo>
                    <a:close/>
                    <a:moveTo>
                      <a:pt x="171673" y="9546"/>
                    </a:moveTo>
                    <a:lnTo>
                      <a:pt x="169855" y="7576"/>
                    </a:lnTo>
                    <a:lnTo>
                      <a:pt x="168340" y="6364"/>
                    </a:lnTo>
                    <a:lnTo>
                      <a:pt x="168036" y="6970"/>
                    </a:lnTo>
                    <a:lnTo>
                      <a:pt x="165006" y="9243"/>
                    </a:lnTo>
                    <a:lnTo>
                      <a:pt x="149703" y="7728"/>
                    </a:lnTo>
                    <a:lnTo>
                      <a:pt x="139854" y="7728"/>
                    </a:lnTo>
                    <a:lnTo>
                      <a:pt x="136520" y="6819"/>
                    </a:lnTo>
                    <a:lnTo>
                      <a:pt x="130308" y="3485"/>
                    </a:lnTo>
                    <a:lnTo>
                      <a:pt x="125763" y="3485"/>
                    </a:lnTo>
                    <a:lnTo>
                      <a:pt x="107580" y="152"/>
                    </a:lnTo>
                    <a:lnTo>
                      <a:pt x="102731" y="455"/>
                    </a:lnTo>
                    <a:lnTo>
                      <a:pt x="99852" y="0"/>
                    </a:lnTo>
                    <a:lnTo>
                      <a:pt x="99852" y="1667"/>
                    </a:lnTo>
                    <a:lnTo>
                      <a:pt x="100155" y="3182"/>
                    </a:lnTo>
                    <a:lnTo>
                      <a:pt x="98034" y="4697"/>
                    </a:lnTo>
                    <a:lnTo>
                      <a:pt x="82579" y="4697"/>
                    </a:lnTo>
                    <a:lnTo>
                      <a:pt x="74548" y="7424"/>
                    </a:lnTo>
                    <a:lnTo>
                      <a:pt x="68942" y="6667"/>
                    </a:lnTo>
                    <a:lnTo>
                      <a:pt x="63336" y="10607"/>
                    </a:lnTo>
                    <a:lnTo>
                      <a:pt x="60003" y="10758"/>
                    </a:lnTo>
                    <a:lnTo>
                      <a:pt x="60760" y="13940"/>
                    </a:lnTo>
                    <a:lnTo>
                      <a:pt x="52578" y="14546"/>
                    </a:lnTo>
                    <a:lnTo>
                      <a:pt x="48639" y="15910"/>
                    </a:lnTo>
                    <a:lnTo>
                      <a:pt x="44699" y="17728"/>
                    </a:lnTo>
                    <a:lnTo>
                      <a:pt x="45305" y="21213"/>
                    </a:lnTo>
                    <a:lnTo>
                      <a:pt x="44244" y="22728"/>
                    </a:lnTo>
                    <a:lnTo>
                      <a:pt x="43941" y="24243"/>
                    </a:lnTo>
                    <a:lnTo>
                      <a:pt x="45305" y="25607"/>
                    </a:lnTo>
                    <a:lnTo>
                      <a:pt x="44547" y="27122"/>
                    </a:lnTo>
                    <a:lnTo>
                      <a:pt x="43032" y="28789"/>
                    </a:lnTo>
                    <a:lnTo>
                      <a:pt x="44850" y="32880"/>
                    </a:lnTo>
                    <a:lnTo>
                      <a:pt x="45002" y="34092"/>
                    </a:lnTo>
                    <a:lnTo>
                      <a:pt x="45760" y="34395"/>
                    </a:lnTo>
                    <a:lnTo>
                      <a:pt x="49850" y="34244"/>
                    </a:lnTo>
                    <a:lnTo>
                      <a:pt x="48941" y="35607"/>
                    </a:lnTo>
                    <a:lnTo>
                      <a:pt x="45760" y="37123"/>
                    </a:lnTo>
                    <a:lnTo>
                      <a:pt x="45153" y="39395"/>
                    </a:lnTo>
                    <a:lnTo>
                      <a:pt x="46669" y="42729"/>
                    </a:lnTo>
                    <a:lnTo>
                      <a:pt x="50153" y="45608"/>
                    </a:lnTo>
                    <a:lnTo>
                      <a:pt x="50608" y="48487"/>
                    </a:lnTo>
                    <a:lnTo>
                      <a:pt x="52275" y="51366"/>
                    </a:lnTo>
                    <a:lnTo>
                      <a:pt x="58942" y="53487"/>
                    </a:lnTo>
                    <a:lnTo>
                      <a:pt x="61821" y="55154"/>
                    </a:lnTo>
                    <a:lnTo>
                      <a:pt x="65154" y="54244"/>
                    </a:lnTo>
                    <a:lnTo>
                      <a:pt x="66518" y="52729"/>
                    </a:lnTo>
                    <a:lnTo>
                      <a:pt x="67881" y="50608"/>
                    </a:lnTo>
                    <a:lnTo>
                      <a:pt x="69397" y="50456"/>
                    </a:lnTo>
                    <a:lnTo>
                      <a:pt x="73185" y="51669"/>
                    </a:lnTo>
                    <a:lnTo>
                      <a:pt x="73791" y="53638"/>
                    </a:lnTo>
                    <a:lnTo>
                      <a:pt x="73336" y="54547"/>
                    </a:lnTo>
                    <a:lnTo>
                      <a:pt x="71972" y="55457"/>
                    </a:lnTo>
                    <a:lnTo>
                      <a:pt x="71367" y="61669"/>
                    </a:lnTo>
                    <a:lnTo>
                      <a:pt x="67730" y="69397"/>
                    </a:lnTo>
                    <a:lnTo>
                      <a:pt x="67427" y="70912"/>
                    </a:lnTo>
                    <a:lnTo>
                      <a:pt x="68488" y="71063"/>
                    </a:lnTo>
                    <a:lnTo>
                      <a:pt x="71063" y="69397"/>
                    </a:lnTo>
                    <a:lnTo>
                      <a:pt x="79700" y="66366"/>
                    </a:lnTo>
                    <a:lnTo>
                      <a:pt x="81367" y="66215"/>
                    </a:lnTo>
                    <a:lnTo>
                      <a:pt x="83336" y="65608"/>
                    </a:lnTo>
                    <a:lnTo>
                      <a:pt x="88791" y="63336"/>
                    </a:lnTo>
                    <a:lnTo>
                      <a:pt x="90610" y="64548"/>
                    </a:lnTo>
                    <a:lnTo>
                      <a:pt x="92125" y="65911"/>
                    </a:lnTo>
                    <a:lnTo>
                      <a:pt x="92882" y="65911"/>
                    </a:lnTo>
                    <a:lnTo>
                      <a:pt x="93337" y="65457"/>
                    </a:lnTo>
                    <a:lnTo>
                      <a:pt x="93185" y="64548"/>
                    </a:lnTo>
                    <a:lnTo>
                      <a:pt x="93640" y="63942"/>
                    </a:lnTo>
                    <a:lnTo>
                      <a:pt x="95155" y="64245"/>
                    </a:lnTo>
                    <a:lnTo>
                      <a:pt x="101519" y="68033"/>
                    </a:lnTo>
                    <a:lnTo>
                      <a:pt x="103943" y="68942"/>
                    </a:lnTo>
                    <a:lnTo>
                      <a:pt x="105610" y="69245"/>
                    </a:lnTo>
                    <a:lnTo>
                      <a:pt x="107580" y="71063"/>
                    </a:lnTo>
                    <a:lnTo>
                      <a:pt x="113035" y="72275"/>
                    </a:lnTo>
                    <a:lnTo>
                      <a:pt x="113641" y="73185"/>
                    </a:lnTo>
                    <a:lnTo>
                      <a:pt x="114095" y="74397"/>
                    </a:lnTo>
                    <a:lnTo>
                      <a:pt x="119096" y="79245"/>
                    </a:lnTo>
                    <a:lnTo>
                      <a:pt x="121368" y="81670"/>
                    </a:lnTo>
                    <a:lnTo>
                      <a:pt x="125914" y="83942"/>
                    </a:lnTo>
                    <a:lnTo>
                      <a:pt x="127884" y="84549"/>
                    </a:lnTo>
                    <a:lnTo>
                      <a:pt x="135763" y="82276"/>
                    </a:lnTo>
                    <a:lnTo>
                      <a:pt x="137884" y="81518"/>
                    </a:lnTo>
                    <a:lnTo>
                      <a:pt x="139702" y="81518"/>
                    </a:lnTo>
                    <a:lnTo>
                      <a:pt x="141520" y="82730"/>
                    </a:lnTo>
                    <a:lnTo>
                      <a:pt x="145763" y="84397"/>
                    </a:lnTo>
                    <a:lnTo>
                      <a:pt x="149551" y="84852"/>
                    </a:lnTo>
                    <a:lnTo>
                      <a:pt x="150309" y="84700"/>
                    </a:lnTo>
                    <a:lnTo>
                      <a:pt x="150309" y="83791"/>
                    </a:lnTo>
                    <a:lnTo>
                      <a:pt x="150763" y="81367"/>
                    </a:lnTo>
                    <a:lnTo>
                      <a:pt x="151521" y="79245"/>
                    </a:lnTo>
                    <a:lnTo>
                      <a:pt x="154097" y="76973"/>
                    </a:lnTo>
                    <a:lnTo>
                      <a:pt x="154703" y="75457"/>
                    </a:lnTo>
                    <a:lnTo>
                      <a:pt x="155460" y="74094"/>
                    </a:lnTo>
                    <a:lnTo>
                      <a:pt x="161218" y="72427"/>
                    </a:lnTo>
                    <a:lnTo>
                      <a:pt x="161824" y="71821"/>
                    </a:lnTo>
                    <a:lnTo>
                      <a:pt x="161824" y="71215"/>
                    </a:lnTo>
                    <a:lnTo>
                      <a:pt x="161521" y="70609"/>
                    </a:lnTo>
                    <a:lnTo>
                      <a:pt x="160309" y="69699"/>
                    </a:lnTo>
                    <a:lnTo>
                      <a:pt x="158946" y="68487"/>
                    </a:lnTo>
                    <a:lnTo>
                      <a:pt x="158188" y="65305"/>
                    </a:lnTo>
                    <a:lnTo>
                      <a:pt x="158188" y="65305"/>
                    </a:lnTo>
                    <a:lnTo>
                      <a:pt x="157733" y="65305"/>
                    </a:lnTo>
                    <a:lnTo>
                      <a:pt x="154248" y="58487"/>
                    </a:lnTo>
                    <a:lnTo>
                      <a:pt x="153642" y="57123"/>
                    </a:lnTo>
                    <a:lnTo>
                      <a:pt x="152279" y="53638"/>
                    </a:lnTo>
                    <a:lnTo>
                      <a:pt x="149551" y="49850"/>
                    </a:lnTo>
                    <a:lnTo>
                      <a:pt x="147127" y="47881"/>
                    </a:lnTo>
                    <a:lnTo>
                      <a:pt x="145005" y="40001"/>
                    </a:lnTo>
                    <a:lnTo>
                      <a:pt x="139854" y="33638"/>
                    </a:lnTo>
                    <a:lnTo>
                      <a:pt x="140006" y="30456"/>
                    </a:lnTo>
                    <a:lnTo>
                      <a:pt x="143642" y="27577"/>
                    </a:lnTo>
                    <a:lnTo>
                      <a:pt x="148794" y="25910"/>
                    </a:lnTo>
                    <a:lnTo>
                      <a:pt x="155006" y="25455"/>
                    </a:lnTo>
                    <a:lnTo>
                      <a:pt x="158946" y="26516"/>
                    </a:lnTo>
                    <a:lnTo>
                      <a:pt x="161370" y="23637"/>
                    </a:lnTo>
                    <a:lnTo>
                      <a:pt x="163946" y="18031"/>
                    </a:lnTo>
                    <a:lnTo>
                      <a:pt x="165309" y="14546"/>
                    </a:lnTo>
                    <a:lnTo>
                      <a:pt x="166370" y="13788"/>
                    </a:lnTo>
                    <a:lnTo>
                      <a:pt x="168491" y="13637"/>
                    </a:lnTo>
                    <a:lnTo>
                      <a:pt x="169249" y="12576"/>
                    </a:lnTo>
                    <a:lnTo>
                      <a:pt x="169703" y="11970"/>
                    </a:lnTo>
                    <a:lnTo>
                      <a:pt x="171522" y="11364"/>
                    </a:lnTo>
                    <a:lnTo>
                      <a:pt x="172128" y="10607"/>
                    </a:lnTo>
                    <a:lnTo>
                      <a:pt x="171673" y="9546"/>
                    </a:lnTo>
                    <a:close/>
                    <a:moveTo>
                      <a:pt x="35759" y="38789"/>
                    </a:moveTo>
                    <a:lnTo>
                      <a:pt x="34244" y="39547"/>
                    </a:lnTo>
                    <a:lnTo>
                      <a:pt x="33031" y="41517"/>
                    </a:lnTo>
                    <a:lnTo>
                      <a:pt x="38486" y="44396"/>
                    </a:lnTo>
                    <a:lnTo>
                      <a:pt x="40759" y="43941"/>
                    </a:lnTo>
                    <a:lnTo>
                      <a:pt x="41062" y="42880"/>
                    </a:lnTo>
                    <a:lnTo>
                      <a:pt x="40456" y="40001"/>
                    </a:lnTo>
                    <a:lnTo>
                      <a:pt x="35759" y="387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7" name="Freeform: Shape 3296">
                <a:extLst>
                  <a:ext uri="{FF2B5EF4-FFF2-40B4-BE49-F238E27FC236}">
                    <a16:creationId xmlns:a16="http://schemas.microsoft.com/office/drawing/2014/main" id="{A9DF51B0-7B2D-482E-9FE3-20D3EB426475}"/>
                  </a:ext>
                </a:extLst>
              </p:cNvPr>
              <p:cNvSpPr/>
              <p:nvPr/>
            </p:nvSpPr>
            <p:spPr>
              <a:xfrm>
                <a:off x="3269380" y="4521840"/>
                <a:ext cx="448653" cy="175612"/>
              </a:xfrm>
              <a:custGeom>
                <a:avLst/>
                <a:gdLst>
                  <a:gd name="connsiteX0" fmla="*/ 23940 w 448653"/>
                  <a:gd name="connsiteY0" fmla="*/ 44547 h 175612"/>
                  <a:gd name="connsiteX1" fmla="*/ 22880 w 448653"/>
                  <a:gd name="connsiteY1" fmla="*/ 45456 h 175612"/>
                  <a:gd name="connsiteX2" fmla="*/ 21516 w 448653"/>
                  <a:gd name="connsiteY2" fmla="*/ 47577 h 175612"/>
                  <a:gd name="connsiteX3" fmla="*/ 23183 w 448653"/>
                  <a:gd name="connsiteY3" fmla="*/ 49093 h 175612"/>
                  <a:gd name="connsiteX4" fmla="*/ 28335 w 448653"/>
                  <a:gd name="connsiteY4" fmla="*/ 50002 h 175612"/>
                  <a:gd name="connsiteX5" fmla="*/ 29547 w 448653"/>
                  <a:gd name="connsiteY5" fmla="*/ 49244 h 175612"/>
                  <a:gd name="connsiteX6" fmla="*/ 30153 w 448653"/>
                  <a:gd name="connsiteY6" fmla="*/ 47729 h 175612"/>
                  <a:gd name="connsiteX7" fmla="*/ 26971 w 448653"/>
                  <a:gd name="connsiteY7" fmla="*/ 45305 h 175612"/>
                  <a:gd name="connsiteX8" fmla="*/ 23940 w 448653"/>
                  <a:gd name="connsiteY8" fmla="*/ 44547 h 175612"/>
                  <a:gd name="connsiteX9" fmla="*/ 6970 w 448653"/>
                  <a:gd name="connsiteY9" fmla="*/ 51668 h 175612"/>
                  <a:gd name="connsiteX10" fmla="*/ 6970 w 448653"/>
                  <a:gd name="connsiteY10" fmla="*/ 48941 h 175612"/>
                  <a:gd name="connsiteX11" fmla="*/ 5303 w 448653"/>
                  <a:gd name="connsiteY11" fmla="*/ 47123 h 175612"/>
                  <a:gd name="connsiteX12" fmla="*/ 152 w 448653"/>
                  <a:gd name="connsiteY12" fmla="*/ 47880 h 175612"/>
                  <a:gd name="connsiteX13" fmla="*/ 0 w 448653"/>
                  <a:gd name="connsiteY13" fmla="*/ 48638 h 175612"/>
                  <a:gd name="connsiteX14" fmla="*/ 152 w 448653"/>
                  <a:gd name="connsiteY14" fmla="*/ 50759 h 175612"/>
                  <a:gd name="connsiteX15" fmla="*/ 1061 w 448653"/>
                  <a:gd name="connsiteY15" fmla="*/ 52275 h 175612"/>
                  <a:gd name="connsiteX16" fmla="*/ 3333 w 448653"/>
                  <a:gd name="connsiteY16" fmla="*/ 53184 h 175612"/>
                  <a:gd name="connsiteX17" fmla="*/ 6061 w 448653"/>
                  <a:gd name="connsiteY17" fmla="*/ 52729 h 175612"/>
                  <a:gd name="connsiteX18" fmla="*/ 6970 w 448653"/>
                  <a:gd name="connsiteY18" fmla="*/ 51668 h 175612"/>
                  <a:gd name="connsiteX19" fmla="*/ 19092 w 448653"/>
                  <a:gd name="connsiteY19" fmla="*/ 56365 h 175612"/>
                  <a:gd name="connsiteX20" fmla="*/ 18789 w 448653"/>
                  <a:gd name="connsiteY20" fmla="*/ 55760 h 175612"/>
                  <a:gd name="connsiteX21" fmla="*/ 19243 w 448653"/>
                  <a:gd name="connsiteY21" fmla="*/ 54396 h 175612"/>
                  <a:gd name="connsiteX22" fmla="*/ 18637 w 448653"/>
                  <a:gd name="connsiteY22" fmla="*/ 51517 h 175612"/>
                  <a:gd name="connsiteX23" fmla="*/ 13182 w 448653"/>
                  <a:gd name="connsiteY23" fmla="*/ 46214 h 175612"/>
                  <a:gd name="connsiteX24" fmla="*/ 12273 w 448653"/>
                  <a:gd name="connsiteY24" fmla="*/ 41213 h 175612"/>
                  <a:gd name="connsiteX25" fmla="*/ 10606 w 448653"/>
                  <a:gd name="connsiteY25" fmla="*/ 39395 h 175612"/>
                  <a:gd name="connsiteX26" fmla="*/ 9697 w 448653"/>
                  <a:gd name="connsiteY26" fmla="*/ 37577 h 175612"/>
                  <a:gd name="connsiteX27" fmla="*/ 8182 w 448653"/>
                  <a:gd name="connsiteY27" fmla="*/ 36668 h 175612"/>
                  <a:gd name="connsiteX28" fmla="*/ 4697 w 448653"/>
                  <a:gd name="connsiteY28" fmla="*/ 37274 h 175612"/>
                  <a:gd name="connsiteX29" fmla="*/ 4243 w 448653"/>
                  <a:gd name="connsiteY29" fmla="*/ 38486 h 175612"/>
                  <a:gd name="connsiteX30" fmla="*/ 1818 w 448653"/>
                  <a:gd name="connsiteY30" fmla="*/ 40153 h 175612"/>
                  <a:gd name="connsiteX31" fmla="*/ 1970 w 448653"/>
                  <a:gd name="connsiteY31" fmla="*/ 40607 h 175612"/>
                  <a:gd name="connsiteX32" fmla="*/ 3030 w 448653"/>
                  <a:gd name="connsiteY32" fmla="*/ 41517 h 175612"/>
                  <a:gd name="connsiteX33" fmla="*/ 5303 w 448653"/>
                  <a:gd name="connsiteY33" fmla="*/ 40456 h 175612"/>
                  <a:gd name="connsiteX34" fmla="*/ 6364 w 448653"/>
                  <a:gd name="connsiteY34" fmla="*/ 40759 h 175612"/>
                  <a:gd name="connsiteX35" fmla="*/ 8031 w 448653"/>
                  <a:gd name="connsiteY35" fmla="*/ 47880 h 175612"/>
                  <a:gd name="connsiteX36" fmla="*/ 11364 w 448653"/>
                  <a:gd name="connsiteY36" fmla="*/ 50305 h 175612"/>
                  <a:gd name="connsiteX37" fmla="*/ 12728 w 448653"/>
                  <a:gd name="connsiteY37" fmla="*/ 53638 h 175612"/>
                  <a:gd name="connsiteX38" fmla="*/ 14849 w 448653"/>
                  <a:gd name="connsiteY38" fmla="*/ 55305 h 175612"/>
                  <a:gd name="connsiteX39" fmla="*/ 14243 w 448653"/>
                  <a:gd name="connsiteY39" fmla="*/ 56972 h 175612"/>
                  <a:gd name="connsiteX40" fmla="*/ 9091 w 448653"/>
                  <a:gd name="connsiteY40" fmla="*/ 59244 h 175612"/>
                  <a:gd name="connsiteX41" fmla="*/ 5758 w 448653"/>
                  <a:gd name="connsiteY41" fmla="*/ 61820 h 175612"/>
                  <a:gd name="connsiteX42" fmla="*/ 4697 w 448653"/>
                  <a:gd name="connsiteY42" fmla="*/ 63487 h 175612"/>
                  <a:gd name="connsiteX43" fmla="*/ 5000 w 448653"/>
                  <a:gd name="connsiteY43" fmla="*/ 65154 h 175612"/>
                  <a:gd name="connsiteX44" fmla="*/ 6818 w 448653"/>
                  <a:gd name="connsiteY44" fmla="*/ 67124 h 175612"/>
                  <a:gd name="connsiteX45" fmla="*/ 8182 w 448653"/>
                  <a:gd name="connsiteY45" fmla="*/ 67730 h 175612"/>
                  <a:gd name="connsiteX46" fmla="*/ 14698 w 448653"/>
                  <a:gd name="connsiteY46" fmla="*/ 67730 h 175612"/>
                  <a:gd name="connsiteX47" fmla="*/ 20910 w 448653"/>
                  <a:gd name="connsiteY47" fmla="*/ 65608 h 175612"/>
                  <a:gd name="connsiteX48" fmla="*/ 23789 w 448653"/>
                  <a:gd name="connsiteY48" fmla="*/ 60457 h 175612"/>
                  <a:gd name="connsiteX49" fmla="*/ 22122 w 448653"/>
                  <a:gd name="connsiteY49" fmla="*/ 58335 h 175612"/>
                  <a:gd name="connsiteX50" fmla="*/ 19092 w 448653"/>
                  <a:gd name="connsiteY50" fmla="*/ 56365 h 175612"/>
                  <a:gd name="connsiteX51" fmla="*/ 348801 w 448653"/>
                  <a:gd name="connsiteY51" fmla="*/ 6212 h 175612"/>
                  <a:gd name="connsiteX52" fmla="*/ 349104 w 448653"/>
                  <a:gd name="connsiteY52" fmla="*/ 3333 h 175612"/>
                  <a:gd name="connsiteX53" fmla="*/ 348498 w 448653"/>
                  <a:gd name="connsiteY53" fmla="*/ 3636 h 175612"/>
                  <a:gd name="connsiteX54" fmla="*/ 346680 w 448653"/>
                  <a:gd name="connsiteY54" fmla="*/ 5152 h 175612"/>
                  <a:gd name="connsiteX55" fmla="*/ 347437 w 448653"/>
                  <a:gd name="connsiteY55" fmla="*/ 6515 h 175612"/>
                  <a:gd name="connsiteX56" fmla="*/ 348801 w 448653"/>
                  <a:gd name="connsiteY56" fmla="*/ 6212 h 175612"/>
                  <a:gd name="connsiteX57" fmla="*/ 448047 w 448653"/>
                  <a:gd name="connsiteY57" fmla="*/ 59396 h 175612"/>
                  <a:gd name="connsiteX58" fmla="*/ 448198 w 448653"/>
                  <a:gd name="connsiteY58" fmla="*/ 57881 h 175612"/>
                  <a:gd name="connsiteX59" fmla="*/ 448653 w 448653"/>
                  <a:gd name="connsiteY59" fmla="*/ 56214 h 175612"/>
                  <a:gd name="connsiteX60" fmla="*/ 448502 w 448653"/>
                  <a:gd name="connsiteY60" fmla="*/ 55305 h 175612"/>
                  <a:gd name="connsiteX61" fmla="*/ 446835 w 448653"/>
                  <a:gd name="connsiteY61" fmla="*/ 53941 h 175612"/>
                  <a:gd name="connsiteX62" fmla="*/ 444107 w 448653"/>
                  <a:gd name="connsiteY62" fmla="*/ 51214 h 175612"/>
                  <a:gd name="connsiteX63" fmla="*/ 443047 w 448653"/>
                  <a:gd name="connsiteY63" fmla="*/ 48789 h 175612"/>
                  <a:gd name="connsiteX64" fmla="*/ 442289 w 448653"/>
                  <a:gd name="connsiteY64" fmla="*/ 46820 h 175612"/>
                  <a:gd name="connsiteX65" fmla="*/ 440319 w 448653"/>
                  <a:gd name="connsiteY65" fmla="*/ 45456 h 175612"/>
                  <a:gd name="connsiteX66" fmla="*/ 438350 w 448653"/>
                  <a:gd name="connsiteY66" fmla="*/ 44244 h 175612"/>
                  <a:gd name="connsiteX67" fmla="*/ 438501 w 448653"/>
                  <a:gd name="connsiteY67" fmla="*/ 43335 h 175612"/>
                  <a:gd name="connsiteX68" fmla="*/ 439713 w 448653"/>
                  <a:gd name="connsiteY68" fmla="*/ 43335 h 175612"/>
                  <a:gd name="connsiteX69" fmla="*/ 442592 w 448653"/>
                  <a:gd name="connsiteY69" fmla="*/ 44244 h 175612"/>
                  <a:gd name="connsiteX70" fmla="*/ 444714 w 448653"/>
                  <a:gd name="connsiteY70" fmla="*/ 43941 h 175612"/>
                  <a:gd name="connsiteX71" fmla="*/ 446229 w 448653"/>
                  <a:gd name="connsiteY71" fmla="*/ 43789 h 175612"/>
                  <a:gd name="connsiteX72" fmla="*/ 447744 w 448653"/>
                  <a:gd name="connsiteY72" fmla="*/ 42880 h 175612"/>
                  <a:gd name="connsiteX73" fmla="*/ 442895 w 448653"/>
                  <a:gd name="connsiteY73" fmla="*/ 41062 h 175612"/>
                  <a:gd name="connsiteX74" fmla="*/ 438653 w 448653"/>
                  <a:gd name="connsiteY74" fmla="*/ 38335 h 175612"/>
                  <a:gd name="connsiteX75" fmla="*/ 434259 w 448653"/>
                  <a:gd name="connsiteY75" fmla="*/ 37577 h 175612"/>
                  <a:gd name="connsiteX76" fmla="*/ 431380 w 448653"/>
                  <a:gd name="connsiteY76" fmla="*/ 35910 h 175612"/>
                  <a:gd name="connsiteX77" fmla="*/ 428804 w 448653"/>
                  <a:gd name="connsiteY77" fmla="*/ 33335 h 175612"/>
                  <a:gd name="connsiteX78" fmla="*/ 427440 w 448653"/>
                  <a:gd name="connsiteY78" fmla="*/ 31516 h 175612"/>
                  <a:gd name="connsiteX79" fmla="*/ 426228 w 448653"/>
                  <a:gd name="connsiteY79" fmla="*/ 30607 h 175612"/>
                  <a:gd name="connsiteX80" fmla="*/ 420622 w 448653"/>
                  <a:gd name="connsiteY80" fmla="*/ 28031 h 175612"/>
                  <a:gd name="connsiteX81" fmla="*/ 419561 w 448653"/>
                  <a:gd name="connsiteY81" fmla="*/ 27728 h 175612"/>
                  <a:gd name="connsiteX82" fmla="*/ 417440 w 448653"/>
                  <a:gd name="connsiteY82" fmla="*/ 28940 h 175612"/>
                  <a:gd name="connsiteX83" fmla="*/ 416682 w 448653"/>
                  <a:gd name="connsiteY83" fmla="*/ 29698 h 175612"/>
                  <a:gd name="connsiteX84" fmla="*/ 416531 w 448653"/>
                  <a:gd name="connsiteY84" fmla="*/ 31668 h 175612"/>
                  <a:gd name="connsiteX85" fmla="*/ 416228 w 448653"/>
                  <a:gd name="connsiteY85" fmla="*/ 32880 h 175612"/>
                  <a:gd name="connsiteX86" fmla="*/ 414409 w 448653"/>
                  <a:gd name="connsiteY86" fmla="*/ 33637 h 175612"/>
                  <a:gd name="connsiteX87" fmla="*/ 411379 w 448653"/>
                  <a:gd name="connsiteY87" fmla="*/ 33486 h 175612"/>
                  <a:gd name="connsiteX88" fmla="*/ 409258 w 448653"/>
                  <a:gd name="connsiteY88" fmla="*/ 32728 h 175612"/>
                  <a:gd name="connsiteX89" fmla="*/ 407894 w 448653"/>
                  <a:gd name="connsiteY89" fmla="*/ 32577 h 175612"/>
                  <a:gd name="connsiteX90" fmla="*/ 407591 w 448653"/>
                  <a:gd name="connsiteY90" fmla="*/ 33183 h 175612"/>
                  <a:gd name="connsiteX91" fmla="*/ 406833 w 448653"/>
                  <a:gd name="connsiteY91" fmla="*/ 33486 h 175612"/>
                  <a:gd name="connsiteX92" fmla="*/ 405167 w 448653"/>
                  <a:gd name="connsiteY92" fmla="*/ 33335 h 175612"/>
                  <a:gd name="connsiteX93" fmla="*/ 402742 w 448653"/>
                  <a:gd name="connsiteY93" fmla="*/ 32728 h 175612"/>
                  <a:gd name="connsiteX94" fmla="*/ 400470 w 448653"/>
                  <a:gd name="connsiteY94" fmla="*/ 31971 h 175612"/>
                  <a:gd name="connsiteX95" fmla="*/ 397439 w 448653"/>
                  <a:gd name="connsiteY95" fmla="*/ 30304 h 175612"/>
                  <a:gd name="connsiteX96" fmla="*/ 396075 w 448653"/>
                  <a:gd name="connsiteY96" fmla="*/ 30456 h 175612"/>
                  <a:gd name="connsiteX97" fmla="*/ 392590 w 448653"/>
                  <a:gd name="connsiteY97" fmla="*/ 30152 h 175612"/>
                  <a:gd name="connsiteX98" fmla="*/ 389711 w 448653"/>
                  <a:gd name="connsiteY98" fmla="*/ 29243 h 175612"/>
                  <a:gd name="connsiteX99" fmla="*/ 388954 w 448653"/>
                  <a:gd name="connsiteY99" fmla="*/ 28334 h 175612"/>
                  <a:gd name="connsiteX100" fmla="*/ 387742 w 448653"/>
                  <a:gd name="connsiteY100" fmla="*/ 22576 h 175612"/>
                  <a:gd name="connsiteX101" fmla="*/ 387439 w 448653"/>
                  <a:gd name="connsiteY101" fmla="*/ 22122 h 175612"/>
                  <a:gd name="connsiteX102" fmla="*/ 386227 w 448653"/>
                  <a:gd name="connsiteY102" fmla="*/ 21819 h 175612"/>
                  <a:gd name="connsiteX103" fmla="*/ 384105 w 448653"/>
                  <a:gd name="connsiteY103" fmla="*/ 21061 h 175612"/>
                  <a:gd name="connsiteX104" fmla="*/ 382742 w 448653"/>
                  <a:gd name="connsiteY104" fmla="*/ 20152 h 175612"/>
                  <a:gd name="connsiteX105" fmla="*/ 382135 w 448653"/>
                  <a:gd name="connsiteY105" fmla="*/ 18485 h 175612"/>
                  <a:gd name="connsiteX106" fmla="*/ 381378 w 448653"/>
                  <a:gd name="connsiteY106" fmla="*/ 16970 h 175612"/>
                  <a:gd name="connsiteX107" fmla="*/ 377893 w 448653"/>
                  <a:gd name="connsiteY107" fmla="*/ 17273 h 175612"/>
                  <a:gd name="connsiteX108" fmla="*/ 372287 w 448653"/>
                  <a:gd name="connsiteY108" fmla="*/ 15304 h 175612"/>
                  <a:gd name="connsiteX109" fmla="*/ 368347 w 448653"/>
                  <a:gd name="connsiteY109" fmla="*/ 13334 h 175612"/>
                  <a:gd name="connsiteX110" fmla="*/ 364711 w 448653"/>
                  <a:gd name="connsiteY110" fmla="*/ 11212 h 175612"/>
                  <a:gd name="connsiteX111" fmla="*/ 359256 w 448653"/>
                  <a:gd name="connsiteY111" fmla="*/ 7121 h 175612"/>
                  <a:gd name="connsiteX112" fmla="*/ 357135 w 448653"/>
                  <a:gd name="connsiteY112" fmla="*/ 6061 h 175612"/>
                  <a:gd name="connsiteX113" fmla="*/ 354559 w 448653"/>
                  <a:gd name="connsiteY113" fmla="*/ 4849 h 175612"/>
                  <a:gd name="connsiteX114" fmla="*/ 353043 w 448653"/>
                  <a:gd name="connsiteY114" fmla="*/ 2727 h 175612"/>
                  <a:gd name="connsiteX115" fmla="*/ 350468 w 448653"/>
                  <a:gd name="connsiteY115" fmla="*/ 606 h 175612"/>
                  <a:gd name="connsiteX116" fmla="*/ 349559 w 448653"/>
                  <a:gd name="connsiteY116" fmla="*/ 0 h 175612"/>
                  <a:gd name="connsiteX117" fmla="*/ 350468 w 448653"/>
                  <a:gd name="connsiteY117" fmla="*/ 4394 h 175612"/>
                  <a:gd name="connsiteX118" fmla="*/ 348498 w 448653"/>
                  <a:gd name="connsiteY118" fmla="*/ 6818 h 175612"/>
                  <a:gd name="connsiteX119" fmla="*/ 339558 w 448653"/>
                  <a:gd name="connsiteY119" fmla="*/ 9546 h 175612"/>
                  <a:gd name="connsiteX120" fmla="*/ 333043 w 448653"/>
                  <a:gd name="connsiteY120" fmla="*/ 10758 h 175612"/>
                  <a:gd name="connsiteX121" fmla="*/ 328952 w 448653"/>
                  <a:gd name="connsiteY121" fmla="*/ 13182 h 175612"/>
                  <a:gd name="connsiteX122" fmla="*/ 325467 w 448653"/>
                  <a:gd name="connsiteY122" fmla="*/ 12879 h 175612"/>
                  <a:gd name="connsiteX123" fmla="*/ 323951 w 448653"/>
                  <a:gd name="connsiteY123" fmla="*/ 14394 h 175612"/>
                  <a:gd name="connsiteX124" fmla="*/ 321073 w 448653"/>
                  <a:gd name="connsiteY124" fmla="*/ 16061 h 175612"/>
                  <a:gd name="connsiteX125" fmla="*/ 317436 w 448653"/>
                  <a:gd name="connsiteY125" fmla="*/ 16819 h 175612"/>
                  <a:gd name="connsiteX126" fmla="*/ 316072 w 448653"/>
                  <a:gd name="connsiteY126" fmla="*/ 18182 h 175612"/>
                  <a:gd name="connsiteX127" fmla="*/ 316830 w 448653"/>
                  <a:gd name="connsiteY127" fmla="*/ 23486 h 175612"/>
                  <a:gd name="connsiteX128" fmla="*/ 317891 w 448653"/>
                  <a:gd name="connsiteY128" fmla="*/ 28486 h 175612"/>
                  <a:gd name="connsiteX129" fmla="*/ 317285 w 448653"/>
                  <a:gd name="connsiteY129" fmla="*/ 35456 h 175612"/>
                  <a:gd name="connsiteX130" fmla="*/ 314860 w 448653"/>
                  <a:gd name="connsiteY130" fmla="*/ 39850 h 175612"/>
                  <a:gd name="connsiteX131" fmla="*/ 311981 w 448653"/>
                  <a:gd name="connsiteY131" fmla="*/ 42729 h 175612"/>
                  <a:gd name="connsiteX132" fmla="*/ 309709 w 448653"/>
                  <a:gd name="connsiteY132" fmla="*/ 44092 h 175612"/>
                  <a:gd name="connsiteX133" fmla="*/ 305315 w 448653"/>
                  <a:gd name="connsiteY133" fmla="*/ 49547 h 175612"/>
                  <a:gd name="connsiteX134" fmla="*/ 305769 w 448653"/>
                  <a:gd name="connsiteY134" fmla="*/ 51366 h 175612"/>
                  <a:gd name="connsiteX135" fmla="*/ 308042 w 448653"/>
                  <a:gd name="connsiteY135" fmla="*/ 55456 h 175612"/>
                  <a:gd name="connsiteX136" fmla="*/ 310769 w 448653"/>
                  <a:gd name="connsiteY136" fmla="*/ 56517 h 175612"/>
                  <a:gd name="connsiteX137" fmla="*/ 308648 w 448653"/>
                  <a:gd name="connsiteY137" fmla="*/ 56669 h 175612"/>
                  <a:gd name="connsiteX138" fmla="*/ 305920 w 448653"/>
                  <a:gd name="connsiteY138" fmla="*/ 55608 h 175612"/>
                  <a:gd name="connsiteX139" fmla="*/ 304557 w 448653"/>
                  <a:gd name="connsiteY139" fmla="*/ 58335 h 175612"/>
                  <a:gd name="connsiteX140" fmla="*/ 303193 w 448653"/>
                  <a:gd name="connsiteY140" fmla="*/ 62730 h 175612"/>
                  <a:gd name="connsiteX141" fmla="*/ 301223 w 448653"/>
                  <a:gd name="connsiteY141" fmla="*/ 64093 h 175612"/>
                  <a:gd name="connsiteX142" fmla="*/ 295314 w 448653"/>
                  <a:gd name="connsiteY142" fmla="*/ 66214 h 175612"/>
                  <a:gd name="connsiteX143" fmla="*/ 293647 w 448653"/>
                  <a:gd name="connsiteY143" fmla="*/ 69093 h 175612"/>
                  <a:gd name="connsiteX144" fmla="*/ 295920 w 448653"/>
                  <a:gd name="connsiteY144" fmla="*/ 74700 h 175612"/>
                  <a:gd name="connsiteX145" fmla="*/ 296375 w 448653"/>
                  <a:gd name="connsiteY145" fmla="*/ 77427 h 175612"/>
                  <a:gd name="connsiteX146" fmla="*/ 295466 w 448653"/>
                  <a:gd name="connsiteY146" fmla="*/ 84245 h 175612"/>
                  <a:gd name="connsiteX147" fmla="*/ 297435 w 448653"/>
                  <a:gd name="connsiteY147" fmla="*/ 89397 h 175612"/>
                  <a:gd name="connsiteX148" fmla="*/ 297435 w 448653"/>
                  <a:gd name="connsiteY148" fmla="*/ 92427 h 175612"/>
                  <a:gd name="connsiteX149" fmla="*/ 297132 w 448653"/>
                  <a:gd name="connsiteY149" fmla="*/ 96215 h 175612"/>
                  <a:gd name="connsiteX150" fmla="*/ 294405 w 448653"/>
                  <a:gd name="connsiteY150" fmla="*/ 98034 h 175612"/>
                  <a:gd name="connsiteX151" fmla="*/ 291829 w 448653"/>
                  <a:gd name="connsiteY151" fmla="*/ 99398 h 175612"/>
                  <a:gd name="connsiteX152" fmla="*/ 292132 w 448653"/>
                  <a:gd name="connsiteY152" fmla="*/ 100610 h 175612"/>
                  <a:gd name="connsiteX153" fmla="*/ 292738 w 448653"/>
                  <a:gd name="connsiteY153" fmla="*/ 101519 h 175612"/>
                  <a:gd name="connsiteX154" fmla="*/ 295314 w 448653"/>
                  <a:gd name="connsiteY154" fmla="*/ 103640 h 175612"/>
                  <a:gd name="connsiteX155" fmla="*/ 299557 w 448653"/>
                  <a:gd name="connsiteY155" fmla="*/ 105004 h 175612"/>
                  <a:gd name="connsiteX156" fmla="*/ 305920 w 448653"/>
                  <a:gd name="connsiteY156" fmla="*/ 111216 h 175612"/>
                  <a:gd name="connsiteX157" fmla="*/ 307890 w 448653"/>
                  <a:gd name="connsiteY157" fmla="*/ 112428 h 175612"/>
                  <a:gd name="connsiteX158" fmla="*/ 310466 w 448653"/>
                  <a:gd name="connsiteY158" fmla="*/ 113489 h 175612"/>
                  <a:gd name="connsiteX159" fmla="*/ 311224 w 448653"/>
                  <a:gd name="connsiteY159" fmla="*/ 112277 h 175612"/>
                  <a:gd name="connsiteX160" fmla="*/ 311375 w 448653"/>
                  <a:gd name="connsiteY160" fmla="*/ 111368 h 175612"/>
                  <a:gd name="connsiteX161" fmla="*/ 314709 w 448653"/>
                  <a:gd name="connsiteY161" fmla="*/ 108640 h 175612"/>
                  <a:gd name="connsiteX162" fmla="*/ 316679 w 448653"/>
                  <a:gd name="connsiteY162" fmla="*/ 104852 h 175612"/>
                  <a:gd name="connsiteX163" fmla="*/ 317891 w 448653"/>
                  <a:gd name="connsiteY163" fmla="*/ 103792 h 175612"/>
                  <a:gd name="connsiteX164" fmla="*/ 317285 w 448653"/>
                  <a:gd name="connsiteY164" fmla="*/ 109246 h 175612"/>
                  <a:gd name="connsiteX165" fmla="*/ 318345 w 448653"/>
                  <a:gd name="connsiteY165" fmla="*/ 109852 h 175612"/>
                  <a:gd name="connsiteX166" fmla="*/ 320012 w 448653"/>
                  <a:gd name="connsiteY166" fmla="*/ 109095 h 175612"/>
                  <a:gd name="connsiteX167" fmla="*/ 321224 w 448653"/>
                  <a:gd name="connsiteY167" fmla="*/ 105761 h 175612"/>
                  <a:gd name="connsiteX168" fmla="*/ 320921 w 448653"/>
                  <a:gd name="connsiteY168" fmla="*/ 98185 h 175612"/>
                  <a:gd name="connsiteX169" fmla="*/ 322285 w 448653"/>
                  <a:gd name="connsiteY169" fmla="*/ 96064 h 175612"/>
                  <a:gd name="connsiteX170" fmla="*/ 322588 w 448653"/>
                  <a:gd name="connsiteY170" fmla="*/ 97276 h 175612"/>
                  <a:gd name="connsiteX171" fmla="*/ 322436 w 448653"/>
                  <a:gd name="connsiteY171" fmla="*/ 98791 h 175612"/>
                  <a:gd name="connsiteX172" fmla="*/ 322891 w 448653"/>
                  <a:gd name="connsiteY172" fmla="*/ 103943 h 175612"/>
                  <a:gd name="connsiteX173" fmla="*/ 325012 w 448653"/>
                  <a:gd name="connsiteY173" fmla="*/ 107428 h 175612"/>
                  <a:gd name="connsiteX174" fmla="*/ 325467 w 448653"/>
                  <a:gd name="connsiteY174" fmla="*/ 110004 h 175612"/>
                  <a:gd name="connsiteX175" fmla="*/ 322891 w 448653"/>
                  <a:gd name="connsiteY175" fmla="*/ 115459 h 175612"/>
                  <a:gd name="connsiteX176" fmla="*/ 320163 w 448653"/>
                  <a:gd name="connsiteY176" fmla="*/ 123944 h 175612"/>
                  <a:gd name="connsiteX177" fmla="*/ 318951 w 448653"/>
                  <a:gd name="connsiteY177" fmla="*/ 125762 h 175612"/>
                  <a:gd name="connsiteX178" fmla="*/ 317285 w 448653"/>
                  <a:gd name="connsiteY178" fmla="*/ 127732 h 175612"/>
                  <a:gd name="connsiteX179" fmla="*/ 315315 w 448653"/>
                  <a:gd name="connsiteY179" fmla="*/ 128944 h 175612"/>
                  <a:gd name="connsiteX180" fmla="*/ 313648 w 448653"/>
                  <a:gd name="connsiteY180" fmla="*/ 130308 h 175612"/>
                  <a:gd name="connsiteX181" fmla="*/ 309709 w 448653"/>
                  <a:gd name="connsiteY181" fmla="*/ 131671 h 175612"/>
                  <a:gd name="connsiteX182" fmla="*/ 309103 w 448653"/>
                  <a:gd name="connsiteY182" fmla="*/ 131974 h 175612"/>
                  <a:gd name="connsiteX183" fmla="*/ 309860 w 448653"/>
                  <a:gd name="connsiteY183" fmla="*/ 132429 h 175612"/>
                  <a:gd name="connsiteX184" fmla="*/ 310466 w 448653"/>
                  <a:gd name="connsiteY184" fmla="*/ 132883 h 175612"/>
                  <a:gd name="connsiteX185" fmla="*/ 310466 w 448653"/>
                  <a:gd name="connsiteY185" fmla="*/ 133944 h 175612"/>
                  <a:gd name="connsiteX186" fmla="*/ 310618 w 448653"/>
                  <a:gd name="connsiteY186" fmla="*/ 134853 h 175612"/>
                  <a:gd name="connsiteX187" fmla="*/ 311224 w 448653"/>
                  <a:gd name="connsiteY187" fmla="*/ 135611 h 175612"/>
                  <a:gd name="connsiteX188" fmla="*/ 311224 w 448653"/>
                  <a:gd name="connsiteY188" fmla="*/ 137126 h 175612"/>
                  <a:gd name="connsiteX189" fmla="*/ 311830 w 448653"/>
                  <a:gd name="connsiteY189" fmla="*/ 138187 h 175612"/>
                  <a:gd name="connsiteX190" fmla="*/ 311830 w 448653"/>
                  <a:gd name="connsiteY190" fmla="*/ 139247 h 175612"/>
                  <a:gd name="connsiteX191" fmla="*/ 311830 w 448653"/>
                  <a:gd name="connsiteY191" fmla="*/ 140763 h 175612"/>
                  <a:gd name="connsiteX192" fmla="*/ 311527 w 448653"/>
                  <a:gd name="connsiteY192" fmla="*/ 141520 h 175612"/>
                  <a:gd name="connsiteX193" fmla="*/ 311830 w 448653"/>
                  <a:gd name="connsiteY193" fmla="*/ 142884 h 175612"/>
                  <a:gd name="connsiteX194" fmla="*/ 312891 w 448653"/>
                  <a:gd name="connsiteY194" fmla="*/ 145308 h 175612"/>
                  <a:gd name="connsiteX195" fmla="*/ 312436 w 448653"/>
                  <a:gd name="connsiteY195" fmla="*/ 146066 h 175612"/>
                  <a:gd name="connsiteX196" fmla="*/ 311375 w 448653"/>
                  <a:gd name="connsiteY196" fmla="*/ 146520 h 175612"/>
                  <a:gd name="connsiteX197" fmla="*/ 310314 w 448653"/>
                  <a:gd name="connsiteY197" fmla="*/ 147126 h 175612"/>
                  <a:gd name="connsiteX198" fmla="*/ 309254 w 448653"/>
                  <a:gd name="connsiteY198" fmla="*/ 148642 h 175612"/>
                  <a:gd name="connsiteX199" fmla="*/ 307739 w 448653"/>
                  <a:gd name="connsiteY199" fmla="*/ 148642 h 175612"/>
                  <a:gd name="connsiteX200" fmla="*/ 305617 w 448653"/>
                  <a:gd name="connsiteY200" fmla="*/ 148036 h 175612"/>
                  <a:gd name="connsiteX201" fmla="*/ 304102 w 448653"/>
                  <a:gd name="connsiteY201" fmla="*/ 148945 h 175612"/>
                  <a:gd name="connsiteX202" fmla="*/ 303496 w 448653"/>
                  <a:gd name="connsiteY202" fmla="*/ 150611 h 175612"/>
                  <a:gd name="connsiteX203" fmla="*/ 303951 w 448653"/>
                  <a:gd name="connsiteY203" fmla="*/ 151975 h 175612"/>
                  <a:gd name="connsiteX204" fmla="*/ 304102 w 448653"/>
                  <a:gd name="connsiteY204" fmla="*/ 153187 h 175612"/>
                  <a:gd name="connsiteX205" fmla="*/ 305011 w 448653"/>
                  <a:gd name="connsiteY205" fmla="*/ 154248 h 175612"/>
                  <a:gd name="connsiteX206" fmla="*/ 307739 w 448653"/>
                  <a:gd name="connsiteY206" fmla="*/ 154399 h 175612"/>
                  <a:gd name="connsiteX207" fmla="*/ 305315 w 448653"/>
                  <a:gd name="connsiteY207" fmla="*/ 157885 h 175612"/>
                  <a:gd name="connsiteX208" fmla="*/ 304102 w 448653"/>
                  <a:gd name="connsiteY208" fmla="*/ 159400 h 175612"/>
                  <a:gd name="connsiteX209" fmla="*/ 304405 w 448653"/>
                  <a:gd name="connsiteY209" fmla="*/ 160460 h 175612"/>
                  <a:gd name="connsiteX210" fmla="*/ 305920 w 448653"/>
                  <a:gd name="connsiteY210" fmla="*/ 161369 h 175612"/>
                  <a:gd name="connsiteX211" fmla="*/ 306981 w 448653"/>
                  <a:gd name="connsiteY211" fmla="*/ 161369 h 175612"/>
                  <a:gd name="connsiteX212" fmla="*/ 309405 w 448653"/>
                  <a:gd name="connsiteY212" fmla="*/ 160157 h 175612"/>
                  <a:gd name="connsiteX213" fmla="*/ 311072 w 448653"/>
                  <a:gd name="connsiteY213" fmla="*/ 158339 h 175612"/>
                  <a:gd name="connsiteX214" fmla="*/ 311981 w 448653"/>
                  <a:gd name="connsiteY214" fmla="*/ 157278 h 175612"/>
                  <a:gd name="connsiteX215" fmla="*/ 313497 w 448653"/>
                  <a:gd name="connsiteY215" fmla="*/ 156824 h 175612"/>
                  <a:gd name="connsiteX216" fmla="*/ 315618 w 448653"/>
                  <a:gd name="connsiteY216" fmla="*/ 157733 h 175612"/>
                  <a:gd name="connsiteX217" fmla="*/ 318345 w 448653"/>
                  <a:gd name="connsiteY217" fmla="*/ 159400 h 175612"/>
                  <a:gd name="connsiteX218" fmla="*/ 321527 w 448653"/>
                  <a:gd name="connsiteY218" fmla="*/ 160915 h 175612"/>
                  <a:gd name="connsiteX219" fmla="*/ 322891 w 448653"/>
                  <a:gd name="connsiteY219" fmla="*/ 161673 h 175612"/>
                  <a:gd name="connsiteX220" fmla="*/ 325315 w 448653"/>
                  <a:gd name="connsiteY220" fmla="*/ 161369 h 175612"/>
                  <a:gd name="connsiteX221" fmla="*/ 327285 w 448653"/>
                  <a:gd name="connsiteY221" fmla="*/ 161066 h 175612"/>
                  <a:gd name="connsiteX222" fmla="*/ 328952 w 448653"/>
                  <a:gd name="connsiteY222" fmla="*/ 162279 h 175612"/>
                  <a:gd name="connsiteX223" fmla="*/ 330618 w 448653"/>
                  <a:gd name="connsiteY223" fmla="*/ 163339 h 175612"/>
                  <a:gd name="connsiteX224" fmla="*/ 331073 w 448653"/>
                  <a:gd name="connsiteY224" fmla="*/ 166976 h 175612"/>
                  <a:gd name="connsiteX225" fmla="*/ 332285 w 448653"/>
                  <a:gd name="connsiteY225" fmla="*/ 169551 h 175612"/>
                  <a:gd name="connsiteX226" fmla="*/ 333800 w 448653"/>
                  <a:gd name="connsiteY226" fmla="*/ 171521 h 175612"/>
                  <a:gd name="connsiteX227" fmla="*/ 335619 w 448653"/>
                  <a:gd name="connsiteY227" fmla="*/ 173946 h 175612"/>
                  <a:gd name="connsiteX228" fmla="*/ 337285 w 448653"/>
                  <a:gd name="connsiteY228" fmla="*/ 174703 h 175612"/>
                  <a:gd name="connsiteX229" fmla="*/ 339558 w 448653"/>
                  <a:gd name="connsiteY229" fmla="*/ 174703 h 175612"/>
                  <a:gd name="connsiteX230" fmla="*/ 342588 w 448653"/>
                  <a:gd name="connsiteY230" fmla="*/ 175612 h 175612"/>
                  <a:gd name="connsiteX231" fmla="*/ 343801 w 448653"/>
                  <a:gd name="connsiteY231" fmla="*/ 175006 h 175612"/>
                  <a:gd name="connsiteX232" fmla="*/ 344861 w 448653"/>
                  <a:gd name="connsiteY232" fmla="*/ 173339 h 175612"/>
                  <a:gd name="connsiteX233" fmla="*/ 345467 w 448653"/>
                  <a:gd name="connsiteY233" fmla="*/ 172430 h 175612"/>
                  <a:gd name="connsiteX234" fmla="*/ 346983 w 448653"/>
                  <a:gd name="connsiteY234" fmla="*/ 171976 h 175612"/>
                  <a:gd name="connsiteX235" fmla="*/ 347134 w 448653"/>
                  <a:gd name="connsiteY235" fmla="*/ 170915 h 175612"/>
                  <a:gd name="connsiteX236" fmla="*/ 346831 w 448653"/>
                  <a:gd name="connsiteY236" fmla="*/ 169551 h 175612"/>
                  <a:gd name="connsiteX237" fmla="*/ 347286 w 448653"/>
                  <a:gd name="connsiteY237" fmla="*/ 168036 h 175612"/>
                  <a:gd name="connsiteX238" fmla="*/ 348498 w 448653"/>
                  <a:gd name="connsiteY238" fmla="*/ 166673 h 175612"/>
                  <a:gd name="connsiteX239" fmla="*/ 351680 w 448653"/>
                  <a:gd name="connsiteY239" fmla="*/ 164703 h 175612"/>
                  <a:gd name="connsiteX240" fmla="*/ 353195 w 448653"/>
                  <a:gd name="connsiteY240" fmla="*/ 163945 h 175612"/>
                  <a:gd name="connsiteX241" fmla="*/ 353498 w 448653"/>
                  <a:gd name="connsiteY241" fmla="*/ 162733 h 175612"/>
                  <a:gd name="connsiteX242" fmla="*/ 354104 w 448653"/>
                  <a:gd name="connsiteY242" fmla="*/ 161066 h 175612"/>
                  <a:gd name="connsiteX243" fmla="*/ 353953 w 448653"/>
                  <a:gd name="connsiteY243" fmla="*/ 160157 h 175612"/>
                  <a:gd name="connsiteX244" fmla="*/ 353347 w 448653"/>
                  <a:gd name="connsiteY244" fmla="*/ 159097 h 175612"/>
                  <a:gd name="connsiteX245" fmla="*/ 353498 w 448653"/>
                  <a:gd name="connsiteY245" fmla="*/ 157581 h 175612"/>
                  <a:gd name="connsiteX246" fmla="*/ 354407 w 448653"/>
                  <a:gd name="connsiteY246" fmla="*/ 155460 h 175612"/>
                  <a:gd name="connsiteX247" fmla="*/ 355619 w 448653"/>
                  <a:gd name="connsiteY247" fmla="*/ 153036 h 175612"/>
                  <a:gd name="connsiteX248" fmla="*/ 356680 w 448653"/>
                  <a:gd name="connsiteY248" fmla="*/ 149854 h 175612"/>
                  <a:gd name="connsiteX249" fmla="*/ 357135 w 448653"/>
                  <a:gd name="connsiteY249" fmla="*/ 148339 h 175612"/>
                  <a:gd name="connsiteX250" fmla="*/ 358195 w 448653"/>
                  <a:gd name="connsiteY250" fmla="*/ 147430 h 175612"/>
                  <a:gd name="connsiteX251" fmla="*/ 358650 w 448653"/>
                  <a:gd name="connsiteY251" fmla="*/ 146066 h 175612"/>
                  <a:gd name="connsiteX252" fmla="*/ 359256 w 448653"/>
                  <a:gd name="connsiteY252" fmla="*/ 144399 h 175612"/>
                  <a:gd name="connsiteX253" fmla="*/ 360619 w 448653"/>
                  <a:gd name="connsiteY253" fmla="*/ 142581 h 175612"/>
                  <a:gd name="connsiteX254" fmla="*/ 360619 w 448653"/>
                  <a:gd name="connsiteY254" fmla="*/ 140611 h 175612"/>
                  <a:gd name="connsiteX255" fmla="*/ 361225 w 448653"/>
                  <a:gd name="connsiteY255" fmla="*/ 139702 h 175612"/>
                  <a:gd name="connsiteX256" fmla="*/ 361225 w 448653"/>
                  <a:gd name="connsiteY256" fmla="*/ 137581 h 175612"/>
                  <a:gd name="connsiteX257" fmla="*/ 362589 w 448653"/>
                  <a:gd name="connsiteY257" fmla="*/ 133187 h 175612"/>
                  <a:gd name="connsiteX258" fmla="*/ 362589 w 448653"/>
                  <a:gd name="connsiteY258" fmla="*/ 132277 h 175612"/>
                  <a:gd name="connsiteX259" fmla="*/ 363195 w 448653"/>
                  <a:gd name="connsiteY259" fmla="*/ 131974 h 175612"/>
                  <a:gd name="connsiteX260" fmla="*/ 364256 w 448653"/>
                  <a:gd name="connsiteY260" fmla="*/ 132277 h 175612"/>
                  <a:gd name="connsiteX261" fmla="*/ 365165 w 448653"/>
                  <a:gd name="connsiteY261" fmla="*/ 133338 h 175612"/>
                  <a:gd name="connsiteX262" fmla="*/ 365468 w 448653"/>
                  <a:gd name="connsiteY262" fmla="*/ 134399 h 175612"/>
                  <a:gd name="connsiteX263" fmla="*/ 365923 w 448653"/>
                  <a:gd name="connsiteY263" fmla="*/ 134853 h 175612"/>
                  <a:gd name="connsiteX264" fmla="*/ 366832 w 448653"/>
                  <a:gd name="connsiteY264" fmla="*/ 134702 h 175612"/>
                  <a:gd name="connsiteX265" fmla="*/ 367892 w 448653"/>
                  <a:gd name="connsiteY265" fmla="*/ 134096 h 175612"/>
                  <a:gd name="connsiteX266" fmla="*/ 367892 w 448653"/>
                  <a:gd name="connsiteY266" fmla="*/ 133187 h 175612"/>
                  <a:gd name="connsiteX267" fmla="*/ 367135 w 448653"/>
                  <a:gd name="connsiteY267" fmla="*/ 132277 h 175612"/>
                  <a:gd name="connsiteX268" fmla="*/ 366983 w 448653"/>
                  <a:gd name="connsiteY268" fmla="*/ 131823 h 175612"/>
                  <a:gd name="connsiteX269" fmla="*/ 367286 w 448653"/>
                  <a:gd name="connsiteY269" fmla="*/ 131065 h 175612"/>
                  <a:gd name="connsiteX270" fmla="*/ 368802 w 448653"/>
                  <a:gd name="connsiteY270" fmla="*/ 129247 h 175612"/>
                  <a:gd name="connsiteX271" fmla="*/ 370468 w 448653"/>
                  <a:gd name="connsiteY271" fmla="*/ 127126 h 175612"/>
                  <a:gd name="connsiteX272" fmla="*/ 373953 w 448653"/>
                  <a:gd name="connsiteY272" fmla="*/ 122732 h 175612"/>
                  <a:gd name="connsiteX273" fmla="*/ 376075 w 448653"/>
                  <a:gd name="connsiteY273" fmla="*/ 120913 h 175612"/>
                  <a:gd name="connsiteX274" fmla="*/ 381529 w 448653"/>
                  <a:gd name="connsiteY274" fmla="*/ 119095 h 175612"/>
                  <a:gd name="connsiteX275" fmla="*/ 385772 w 448653"/>
                  <a:gd name="connsiteY275" fmla="*/ 117731 h 175612"/>
                  <a:gd name="connsiteX276" fmla="*/ 389711 w 448653"/>
                  <a:gd name="connsiteY276" fmla="*/ 116368 h 175612"/>
                  <a:gd name="connsiteX277" fmla="*/ 395166 w 448653"/>
                  <a:gd name="connsiteY277" fmla="*/ 114398 h 175612"/>
                  <a:gd name="connsiteX278" fmla="*/ 402894 w 448653"/>
                  <a:gd name="connsiteY278" fmla="*/ 111671 h 175612"/>
                  <a:gd name="connsiteX279" fmla="*/ 408348 w 448653"/>
                  <a:gd name="connsiteY279" fmla="*/ 109701 h 175612"/>
                  <a:gd name="connsiteX280" fmla="*/ 413197 w 448653"/>
                  <a:gd name="connsiteY280" fmla="*/ 106216 h 175612"/>
                  <a:gd name="connsiteX281" fmla="*/ 416985 w 448653"/>
                  <a:gd name="connsiteY281" fmla="*/ 103488 h 175612"/>
                  <a:gd name="connsiteX282" fmla="*/ 420319 w 448653"/>
                  <a:gd name="connsiteY282" fmla="*/ 101064 h 175612"/>
                  <a:gd name="connsiteX283" fmla="*/ 424410 w 448653"/>
                  <a:gd name="connsiteY283" fmla="*/ 98034 h 175612"/>
                  <a:gd name="connsiteX284" fmla="*/ 430016 w 448653"/>
                  <a:gd name="connsiteY284" fmla="*/ 91518 h 175612"/>
                  <a:gd name="connsiteX285" fmla="*/ 433804 w 448653"/>
                  <a:gd name="connsiteY285" fmla="*/ 86973 h 175612"/>
                  <a:gd name="connsiteX286" fmla="*/ 436683 w 448653"/>
                  <a:gd name="connsiteY286" fmla="*/ 83639 h 175612"/>
                  <a:gd name="connsiteX287" fmla="*/ 438653 w 448653"/>
                  <a:gd name="connsiteY287" fmla="*/ 81518 h 175612"/>
                  <a:gd name="connsiteX288" fmla="*/ 440168 w 448653"/>
                  <a:gd name="connsiteY288" fmla="*/ 75609 h 175612"/>
                  <a:gd name="connsiteX289" fmla="*/ 441986 w 448653"/>
                  <a:gd name="connsiteY289" fmla="*/ 68942 h 175612"/>
                  <a:gd name="connsiteX290" fmla="*/ 442744 w 448653"/>
                  <a:gd name="connsiteY290" fmla="*/ 65911 h 175612"/>
                  <a:gd name="connsiteX291" fmla="*/ 443047 w 448653"/>
                  <a:gd name="connsiteY291" fmla="*/ 64851 h 175612"/>
                  <a:gd name="connsiteX292" fmla="*/ 443804 w 448653"/>
                  <a:gd name="connsiteY292" fmla="*/ 65305 h 175612"/>
                  <a:gd name="connsiteX293" fmla="*/ 444714 w 448653"/>
                  <a:gd name="connsiteY293" fmla="*/ 66063 h 175612"/>
                  <a:gd name="connsiteX294" fmla="*/ 445774 w 448653"/>
                  <a:gd name="connsiteY294" fmla="*/ 66063 h 175612"/>
                  <a:gd name="connsiteX295" fmla="*/ 446835 w 448653"/>
                  <a:gd name="connsiteY295" fmla="*/ 66063 h 175612"/>
                  <a:gd name="connsiteX296" fmla="*/ 447441 w 448653"/>
                  <a:gd name="connsiteY296" fmla="*/ 65608 h 175612"/>
                  <a:gd name="connsiteX297" fmla="*/ 448047 w 448653"/>
                  <a:gd name="connsiteY297" fmla="*/ 59396 h 175612"/>
                  <a:gd name="connsiteX298" fmla="*/ 64851 w 448653"/>
                  <a:gd name="connsiteY298" fmla="*/ 58942 h 175612"/>
                  <a:gd name="connsiteX299" fmla="*/ 63942 w 448653"/>
                  <a:gd name="connsiteY299" fmla="*/ 58638 h 175612"/>
                  <a:gd name="connsiteX300" fmla="*/ 61063 w 448653"/>
                  <a:gd name="connsiteY300" fmla="*/ 59851 h 175612"/>
                  <a:gd name="connsiteX301" fmla="*/ 59548 w 448653"/>
                  <a:gd name="connsiteY301" fmla="*/ 61820 h 175612"/>
                  <a:gd name="connsiteX302" fmla="*/ 57881 w 448653"/>
                  <a:gd name="connsiteY302" fmla="*/ 62730 h 175612"/>
                  <a:gd name="connsiteX303" fmla="*/ 56063 w 448653"/>
                  <a:gd name="connsiteY303" fmla="*/ 64396 h 175612"/>
                  <a:gd name="connsiteX304" fmla="*/ 56214 w 448653"/>
                  <a:gd name="connsiteY304" fmla="*/ 65002 h 175612"/>
                  <a:gd name="connsiteX305" fmla="*/ 56972 w 448653"/>
                  <a:gd name="connsiteY305" fmla="*/ 65608 h 175612"/>
                  <a:gd name="connsiteX306" fmla="*/ 58032 w 448653"/>
                  <a:gd name="connsiteY306" fmla="*/ 66063 h 175612"/>
                  <a:gd name="connsiteX307" fmla="*/ 61215 w 448653"/>
                  <a:gd name="connsiteY307" fmla="*/ 65002 h 175612"/>
                  <a:gd name="connsiteX308" fmla="*/ 62881 w 448653"/>
                  <a:gd name="connsiteY308" fmla="*/ 62730 h 175612"/>
                  <a:gd name="connsiteX309" fmla="*/ 64548 w 448653"/>
                  <a:gd name="connsiteY309" fmla="*/ 61669 h 175612"/>
                  <a:gd name="connsiteX310" fmla="*/ 65457 w 448653"/>
                  <a:gd name="connsiteY310" fmla="*/ 60153 h 175612"/>
                  <a:gd name="connsiteX311" fmla="*/ 65305 w 448653"/>
                  <a:gd name="connsiteY311" fmla="*/ 59548 h 175612"/>
                  <a:gd name="connsiteX312" fmla="*/ 64851 w 448653"/>
                  <a:gd name="connsiteY312" fmla="*/ 58942 h 175612"/>
                  <a:gd name="connsiteX313" fmla="*/ 315315 w 448653"/>
                  <a:gd name="connsiteY313" fmla="*/ 121065 h 175612"/>
                  <a:gd name="connsiteX314" fmla="*/ 316375 w 448653"/>
                  <a:gd name="connsiteY314" fmla="*/ 117580 h 175612"/>
                  <a:gd name="connsiteX315" fmla="*/ 316981 w 448653"/>
                  <a:gd name="connsiteY315" fmla="*/ 117277 h 175612"/>
                  <a:gd name="connsiteX316" fmla="*/ 318497 w 448653"/>
                  <a:gd name="connsiteY316" fmla="*/ 116822 h 175612"/>
                  <a:gd name="connsiteX317" fmla="*/ 321376 w 448653"/>
                  <a:gd name="connsiteY317" fmla="*/ 114246 h 175612"/>
                  <a:gd name="connsiteX318" fmla="*/ 318951 w 448653"/>
                  <a:gd name="connsiteY318" fmla="*/ 112883 h 175612"/>
                  <a:gd name="connsiteX319" fmla="*/ 316679 w 448653"/>
                  <a:gd name="connsiteY319" fmla="*/ 112731 h 175612"/>
                  <a:gd name="connsiteX320" fmla="*/ 314860 w 448653"/>
                  <a:gd name="connsiteY320" fmla="*/ 113489 h 175612"/>
                  <a:gd name="connsiteX321" fmla="*/ 312739 w 448653"/>
                  <a:gd name="connsiteY321" fmla="*/ 115004 h 175612"/>
                  <a:gd name="connsiteX322" fmla="*/ 311981 w 448653"/>
                  <a:gd name="connsiteY322" fmla="*/ 116671 h 175612"/>
                  <a:gd name="connsiteX323" fmla="*/ 311375 w 448653"/>
                  <a:gd name="connsiteY323" fmla="*/ 120459 h 175612"/>
                  <a:gd name="connsiteX324" fmla="*/ 311375 w 448653"/>
                  <a:gd name="connsiteY324" fmla="*/ 121671 h 175612"/>
                  <a:gd name="connsiteX325" fmla="*/ 312133 w 448653"/>
                  <a:gd name="connsiteY325" fmla="*/ 121974 h 175612"/>
                  <a:gd name="connsiteX326" fmla="*/ 314709 w 448653"/>
                  <a:gd name="connsiteY326" fmla="*/ 122126 h 175612"/>
                  <a:gd name="connsiteX327" fmla="*/ 315315 w 448653"/>
                  <a:gd name="connsiteY327" fmla="*/ 121065 h 175612"/>
                  <a:gd name="connsiteX328" fmla="*/ 33486 w 448653"/>
                  <a:gd name="connsiteY328" fmla="*/ 73942 h 175612"/>
                  <a:gd name="connsiteX329" fmla="*/ 32274 w 448653"/>
                  <a:gd name="connsiteY329" fmla="*/ 73487 h 175612"/>
                  <a:gd name="connsiteX330" fmla="*/ 31062 w 448653"/>
                  <a:gd name="connsiteY330" fmla="*/ 75609 h 175612"/>
                  <a:gd name="connsiteX331" fmla="*/ 32577 w 448653"/>
                  <a:gd name="connsiteY331" fmla="*/ 76821 h 175612"/>
                  <a:gd name="connsiteX332" fmla="*/ 33638 w 448653"/>
                  <a:gd name="connsiteY332" fmla="*/ 76821 h 175612"/>
                  <a:gd name="connsiteX333" fmla="*/ 34850 w 448653"/>
                  <a:gd name="connsiteY333" fmla="*/ 75457 h 175612"/>
                  <a:gd name="connsiteX334" fmla="*/ 34244 w 448653"/>
                  <a:gd name="connsiteY334" fmla="*/ 74700 h 175612"/>
                  <a:gd name="connsiteX335" fmla="*/ 33486 w 448653"/>
                  <a:gd name="connsiteY335" fmla="*/ 73942 h 175612"/>
                  <a:gd name="connsiteX336" fmla="*/ 32425 w 448653"/>
                  <a:gd name="connsiteY336" fmla="*/ 54244 h 175612"/>
                  <a:gd name="connsiteX337" fmla="*/ 30759 w 448653"/>
                  <a:gd name="connsiteY337" fmla="*/ 55911 h 175612"/>
                  <a:gd name="connsiteX338" fmla="*/ 30456 w 448653"/>
                  <a:gd name="connsiteY338" fmla="*/ 58487 h 175612"/>
                  <a:gd name="connsiteX339" fmla="*/ 34698 w 448653"/>
                  <a:gd name="connsiteY339" fmla="*/ 61063 h 175612"/>
                  <a:gd name="connsiteX340" fmla="*/ 36062 w 448653"/>
                  <a:gd name="connsiteY340" fmla="*/ 61063 h 175612"/>
                  <a:gd name="connsiteX341" fmla="*/ 36668 w 448653"/>
                  <a:gd name="connsiteY341" fmla="*/ 60608 h 175612"/>
                  <a:gd name="connsiteX342" fmla="*/ 38183 w 448653"/>
                  <a:gd name="connsiteY342" fmla="*/ 60153 h 175612"/>
                  <a:gd name="connsiteX343" fmla="*/ 40001 w 448653"/>
                  <a:gd name="connsiteY343" fmla="*/ 57881 h 175612"/>
                  <a:gd name="connsiteX344" fmla="*/ 40153 w 448653"/>
                  <a:gd name="connsiteY344" fmla="*/ 54850 h 175612"/>
                  <a:gd name="connsiteX345" fmla="*/ 37880 w 448653"/>
                  <a:gd name="connsiteY345" fmla="*/ 53184 h 175612"/>
                  <a:gd name="connsiteX346" fmla="*/ 32425 w 448653"/>
                  <a:gd name="connsiteY346" fmla="*/ 54244 h 17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448653" h="175612">
                    <a:moveTo>
                      <a:pt x="23940" y="44547"/>
                    </a:moveTo>
                    <a:lnTo>
                      <a:pt x="22880" y="45456"/>
                    </a:lnTo>
                    <a:lnTo>
                      <a:pt x="21516" y="47577"/>
                    </a:lnTo>
                    <a:lnTo>
                      <a:pt x="23183" y="49093"/>
                    </a:lnTo>
                    <a:lnTo>
                      <a:pt x="28335" y="50002"/>
                    </a:lnTo>
                    <a:lnTo>
                      <a:pt x="29547" y="49244"/>
                    </a:lnTo>
                    <a:lnTo>
                      <a:pt x="30153" y="47729"/>
                    </a:lnTo>
                    <a:lnTo>
                      <a:pt x="26971" y="45305"/>
                    </a:lnTo>
                    <a:lnTo>
                      <a:pt x="23940" y="44547"/>
                    </a:lnTo>
                    <a:close/>
                    <a:moveTo>
                      <a:pt x="6970" y="51668"/>
                    </a:moveTo>
                    <a:lnTo>
                      <a:pt x="6970" y="48941"/>
                    </a:lnTo>
                    <a:lnTo>
                      <a:pt x="5303" y="47123"/>
                    </a:lnTo>
                    <a:lnTo>
                      <a:pt x="152" y="47880"/>
                    </a:lnTo>
                    <a:lnTo>
                      <a:pt x="0" y="48638"/>
                    </a:lnTo>
                    <a:lnTo>
                      <a:pt x="152" y="50759"/>
                    </a:lnTo>
                    <a:lnTo>
                      <a:pt x="1061" y="52275"/>
                    </a:lnTo>
                    <a:lnTo>
                      <a:pt x="3333" y="53184"/>
                    </a:lnTo>
                    <a:lnTo>
                      <a:pt x="6061" y="52729"/>
                    </a:lnTo>
                    <a:lnTo>
                      <a:pt x="6970" y="51668"/>
                    </a:lnTo>
                    <a:close/>
                    <a:moveTo>
                      <a:pt x="19092" y="56365"/>
                    </a:moveTo>
                    <a:lnTo>
                      <a:pt x="18789" y="55760"/>
                    </a:lnTo>
                    <a:lnTo>
                      <a:pt x="19243" y="54396"/>
                    </a:lnTo>
                    <a:lnTo>
                      <a:pt x="18637" y="51517"/>
                    </a:lnTo>
                    <a:lnTo>
                      <a:pt x="13182" y="46214"/>
                    </a:lnTo>
                    <a:lnTo>
                      <a:pt x="12273" y="41213"/>
                    </a:lnTo>
                    <a:lnTo>
                      <a:pt x="10606" y="39395"/>
                    </a:lnTo>
                    <a:lnTo>
                      <a:pt x="9697" y="37577"/>
                    </a:lnTo>
                    <a:lnTo>
                      <a:pt x="8182" y="36668"/>
                    </a:lnTo>
                    <a:lnTo>
                      <a:pt x="4697" y="37274"/>
                    </a:lnTo>
                    <a:lnTo>
                      <a:pt x="4243" y="38486"/>
                    </a:lnTo>
                    <a:lnTo>
                      <a:pt x="1818" y="40153"/>
                    </a:lnTo>
                    <a:lnTo>
                      <a:pt x="1970" y="40607"/>
                    </a:lnTo>
                    <a:lnTo>
                      <a:pt x="3030" y="41517"/>
                    </a:lnTo>
                    <a:lnTo>
                      <a:pt x="5303" y="40456"/>
                    </a:lnTo>
                    <a:lnTo>
                      <a:pt x="6364" y="40759"/>
                    </a:lnTo>
                    <a:lnTo>
                      <a:pt x="8031" y="47880"/>
                    </a:lnTo>
                    <a:lnTo>
                      <a:pt x="11364" y="50305"/>
                    </a:lnTo>
                    <a:lnTo>
                      <a:pt x="12728" y="53638"/>
                    </a:lnTo>
                    <a:lnTo>
                      <a:pt x="14849" y="55305"/>
                    </a:lnTo>
                    <a:lnTo>
                      <a:pt x="14243" y="56972"/>
                    </a:lnTo>
                    <a:lnTo>
                      <a:pt x="9091" y="59244"/>
                    </a:lnTo>
                    <a:lnTo>
                      <a:pt x="5758" y="61820"/>
                    </a:lnTo>
                    <a:lnTo>
                      <a:pt x="4697" y="63487"/>
                    </a:lnTo>
                    <a:lnTo>
                      <a:pt x="5000" y="65154"/>
                    </a:lnTo>
                    <a:lnTo>
                      <a:pt x="6818" y="67124"/>
                    </a:lnTo>
                    <a:lnTo>
                      <a:pt x="8182" y="67730"/>
                    </a:lnTo>
                    <a:lnTo>
                      <a:pt x="14698" y="67730"/>
                    </a:lnTo>
                    <a:lnTo>
                      <a:pt x="20910" y="65608"/>
                    </a:lnTo>
                    <a:lnTo>
                      <a:pt x="23789" y="60457"/>
                    </a:lnTo>
                    <a:lnTo>
                      <a:pt x="22122" y="58335"/>
                    </a:lnTo>
                    <a:lnTo>
                      <a:pt x="19092" y="56365"/>
                    </a:lnTo>
                    <a:close/>
                    <a:moveTo>
                      <a:pt x="348801" y="6212"/>
                    </a:moveTo>
                    <a:lnTo>
                      <a:pt x="349104" y="3333"/>
                    </a:lnTo>
                    <a:lnTo>
                      <a:pt x="348498" y="3636"/>
                    </a:lnTo>
                    <a:lnTo>
                      <a:pt x="346680" y="5152"/>
                    </a:lnTo>
                    <a:lnTo>
                      <a:pt x="347437" y="6515"/>
                    </a:lnTo>
                    <a:lnTo>
                      <a:pt x="348801" y="6212"/>
                    </a:lnTo>
                    <a:close/>
                    <a:moveTo>
                      <a:pt x="448047" y="59396"/>
                    </a:moveTo>
                    <a:lnTo>
                      <a:pt x="448198" y="57881"/>
                    </a:lnTo>
                    <a:lnTo>
                      <a:pt x="448653" y="56214"/>
                    </a:lnTo>
                    <a:lnTo>
                      <a:pt x="448502" y="55305"/>
                    </a:lnTo>
                    <a:lnTo>
                      <a:pt x="446835" y="53941"/>
                    </a:lnTo>
                    <a:lnTo>
                      <a:pt x="444107" y="51214"/>
                    </a:lnTo>
                    <a:lnTo>
                      <a:pt x="443047" y="48789"/>
                    </a:lnTo>
                    <a:lnTo>
                      <a:pt x="442289" y="46820"/>
                    </a:lnTo>
                    <a:lnTo>
                      <a:pt x="440319" y="45456"/>
                    </a:lnTo>
                    <a:lnTo>
                      <a:pt x="438350" y="44244"/>
                    </a:lnTo>
                    <a:lnTo>
                      <a:pt x="438501" y="43335"/>
                    </a:lnTo>
                    <a:lnTo>
                      <a:pt x="439713" y="43335"/>
                    </a:lnTo>
                    <a:lnTo>
                      <a:pt x="442592" y="44244"/>
                    </a:lnTo>
                    <a:lnTo>
                      <a:pt x="444714" y="43941"/>
                    </a:lnTo>
                    <a:lnTo>
                      <a:pt x="446229" y="43789"/>
                    </a:lnTo>
                    <a:lnTo>
                      <a:pt x="447744" y="42880"/>
                    </a:lnTo>
                    <a:lnTo>
                      <a:pt x="442895" y="41062"/>
                    </a:lnTo>
                    <a:lnTo>
                      <a:pt x="438653" y="38335"/>
                    </a:lnTo>
                    <a:lnTo>
                      <a:pt x="434259" y="37577"/>
                    </a:lnTo>
                    <a:lnTo>
                      <a:pt x="431380" y="35910"/>
                    </a:lnTo>
                    <a:lnTo>
                      <a:pt x="428804" y="33335"/>
                    </a:lnTo>
                    <a:lnTo>
                      <a:pt x="427440" y="31516"/>
                    </a:lnTo>
                    <a:lnTo>
                      <a:pt x="426228" y="30607"/>
                    </a:lnTo>
                    <a:lnTo>
                      <a:pt x="420622" y="28031"/>
                    </a:lnTo>
                    <a:lnTo>
                      <a:pt x="419561" y="27728"/>
                    </a:lnTo>
                    <a:lnTo>
                      <a:pt x="417440" y="28940"/>
                    </a:lnTo>
                    <a:lnTo>
                      <a:pt x="416682" y="29698"/>
                    </a:lnTo>
                    <a:lnTo>
                      <a:pt x="416531" y="31668"/>
                    </a:lnTo>
                    <a:lnTo>
                      <a:pt x="416228" y="32880"/>
                    </a:lnTo>
                    <a:lnTo>
                      <a:pt x="414409" y="33637"/>
                    </a:lnTo>
                    <a:lnTo>
                      <a:pt x="411379" y="33486"/>
                    </a:lnTo>
                    <a:lnTo>
                      <a:pt x="409258" y="32728"/>
                    </a:lnTo>
                    <a:lnTo>
                      <a:pt x="407894" y="32577"/>
                    </a:lnTo>
                    <a:lnTo>
                      <a:pt x="407591" y="33183"/>
                    </a:lnTo>
                    <a:lnTo>
                      <a:pt x="406833" y="33486"/>
                    </a:lnTo>
                    <a:lnTo>
                      <a:pt x="405167" y="33335"/>
                    </a:lnTo>
                    <a:lnTo>
                      <a:pt x="402742" y="32728"/>
                    </a:lnTo>
                    <a:lnTo>
                      <a:pt x="400470" y="31971"/>
                    </a:lnTo>
                    <a:lnTo>
                      <a:pt x="397439" y="30304"/>
                    </a:lnTo>
                    <a:lnTo>
                      <a:pt x="396075" y="30456"/>
                    </a:lnTo>
                    <a:lnTo>
                      <a:pt x="392590" y="30152"/>
                    </a:lnTo>
                    <a:lnTo>
                      <a:pt x="389711" y="29243"/>
                    </a:lnTo>
                    <a:lnTo>
                      <a:pt x="388954" y="28334"/>
                    </a:lnTo>
                    <a:lnTo>
                      <a:pt x="387742" y="22576"/>
                    </a:lnTo>
                    <a:lnTo>
                      <a:pt x="387439" y="22122"/>
                    </a:lnTo>
                    <a:lnTo>
                      <a:pt x="386227" y="21819"/>
                    </a:lnTo>
                    <a:lnTo>
                      <a:pt x="384105" y="21061"/>
                    </a:lnTo>
                    <a:lnTo>
                      <a:pt x="382742" y="20152"/>
                    </a:lnTo>
                    <a:lnTo>
                      <a:pt x="382135" y="18485"/>
                    </a:lnTo>
                    <a:lnTo>
                      <a:pt x="381378" y="16970"/>
                    </a:lnTo>
                    <a:lnTo>
                      <a:pt x="377893" y="17273"/>
                    </a:lnTo>
                    <a:lnTo>
                      <a:pt x="372287" y="15304"/>
                    </a:lnTo>
                    <a:lnTo>
                      <a:pt x="368347" y="13334"/>
                    </a:lnTo>
                    <a:lnTo>
                      <a:pt x="364711" y="11212"/>
                    </a:lnTo>
                    <a:lnTo>
                      <a:pt x="359256" y="7121"/>
                    </a:lnTo>
                    <a:lnTo>
                      <a:pt x="357135" y="6061"/>
                    </a:lnTo>
                    <a:lnTo>
                      <a:pt x="354559" y="4849"/>
                    </a:lnTo>
                    <a:lnTo>
                      <a:pt x="353043" y="2727"/>
                    </a:lnTo>
                    <a:lnTo>
                      <a:pt x="350468" y="606"/>
                    </a:lnTo>
                    <a:lnTo>
                      <a:pt x="349559" y="0"/>
                    </a:lnTo>
                    <a:lnTo>
                      <a:pt x="350468" y="4394"/>
                    </a:lnTo>
                    <a:lnTo>
                      <a:pt x="348498" y="6818"/>
                    </a:lnTo>
                    <a:lnTo>
                      <a:pt x="339558" y="9546"/>
                    </a:lnTo>
                    <a:lnTo>
                      <a:pt x="333043" y="10758"/>
                    </a:lnTo>
                    <a:lnTo>
                      <a:pt x="328952" y="13182"/>
                    </a:lnTo>
                    <a:lnTo>
                      <a:pt x="325467" y="12879"/>
                    </a:lnTo>
                    <a:lnTo>
                      <a:pt x="323951" y="14394"/>
                    </a:lnTo>
                    <a:lnTo>
                      <a:pt x="321073" y="16061"/>
                    </a:lnTo>
                    <a:lnTo>
                      <a:pt x="317436" y="16819"/>
                    </a:lnTo>
                    <a:lnTo>
                      <a:pt x="316072" y="18182"/>
                    </a:lnTo>
                    <a:lnTo>
                      <a:pt x="316830" y="23486"/>
                    </a:lnTo>
                    <a:lnTo>
                      <a:pt x="317891" y="28486"/>
                    </a:lnTo>
                    <a:lnTo>
                      <a:pt x="317285" y="35456"/>
                    </a:lnTo>
                    <a:lnTo>
                      <a:pt x="314860" y="39850"/>
                    </a:lnTo>
                    <a:lnTo>
                      <a:pt x="311981" y="42729"/>
                    </a:lnTo>
                    <a:lnTo>
                      <a:pt x="309709" y="44092"/>
                    </a:lnTo>
                    <a:lnTo>
                      <a:pt x="305315" y="49547"/>
                    </a:lnTo>
                    <a:lnTo>
                      <a:pt x="305769" y="51366"/>
                    </a:lnTo>
                    <a:lnTo>
                      <a:pt x="308042" y="55456"/>
                    </a:lnTo>
                    <a:lnTo>
                      <a:pt x="310769" y="56517"/>
                    </a:lnTo>
                    <a:lnTo>
                      <a:pt x="308648" y="56669"/>
                    </a:lnTo>
                    <a:lnTo>
                      <a:pt x="305920" y="55608"/>
                    </a:lnTo>
                    <a:lnTo>
                      <a:pt x="304557" y="58335"/>
                    </a:lnTo>
                    <a:lnTo>
                      <a:pt x="303193" y="62730"/>
                    </a:lnTo>
                    <a:lnTo>
                      <a:pt x="301223" y="64093"/>
                    </a:lnTo>
                    <a:lnTo>
                      <a:pt x="295314" y="66214"/>
                    </a:lnTo>
                    <a:lnTo>
                      <a:pt x="293647" y="69093"/>
                    </a:lnTo>
                    <a:lnTo>
                      <a:pt x="295920" y="74700"/>
                    </a:lnTo>
                    <a:lnTo>
                      <a:pt x="296375" y="77427"/>
                    </a:lnTo>
                    <a:lnTo>
                      <a:pt x="295466" y="84245"/>
                    </a:lnTo>
                    <a:lnTo>
                      <a:pt x="297435" y="89397"/>
                    </a:lnTo>
                    <a:lnTo>
                      <a:pt x="297435" y="92427"/>
                    </a:lnTo>
                    <a:lnTo>
                      <a:pt x="297132" y="96215"/>
                    </a:lnTo>
                    <a:lnTo>
                      <a:pt x="294405" y="98034"/>
                    </a:lnTo>
                    <a:lnTo>
                      <a:pt x="291829" y="99398"/>
                    </a:lnTo>
                    <a:lnTo>
                      <a:pt x="292132" y="100610"/>
                    </a:lnTo>
                    <a:lnTo>
                      <a:pt x="292738" y="101519"/>
                    </a:lnTo>
                    <a:lnTo>
                      <a:pt x="295314" y="103640"/>
                    </a:lnTo>
                    <a:lnTo>
                      <a:pt x="299557" y="105004"/>
                    </a:lnTo>
                    <a:lnTo>
                      <a:pt x="305920" y="111216"/>
                    </a:lnTo>
                    <a:lnTo>
                      <a:pt x="307890" y="112428"/>
                    </a:lnTo>
                    <a:lnTo>
                      <a:pt x="310466" y="113489"/>
                    </a:lnTo>
                    <a:lnTo>
                      <a:pt x="311224" y="112277"/>
                    </a:lnTo>
                    <a:lnTo>
                      <a:pt x="311375" y="111368"/>
                    </a:lnTo>
                    <a:lnTo>
                      <a:pt x="314709" y="108640"/>
                    </a:lnTo>
                    <a:lnTo>
                      <a:pt x="316679" y="104852"/>
                    </a:lnTo>
                    <a:lnTo>
                      <a:pt x="317891" y="103792"/>
                    </a:lnTo>
                    <a:lnTo>
                      <a:pt x="317285" y="109246"/>
                    </a:lnTo>
                    <a:lnTo>
                      <a:pt x="318345" y="109852"/>
                    </a:lnTo>
                    <a:lnTo>
                      <a:pt x="320012" y="109095"/>
                    </a:lnTo>
                    <a:lnTo>
                      <a:pt x="321224" y="105761"/>
                    </a:lnTo>
                    <a:lnTo>
                      <a:pt x="320921" y="98185"/>
                    </a:lnTo>
                    <a:lnTo>
                      <a:pt x="322285" y="96064"/>
                    </a:lnTo>
                    <a:lnTo>
                      <a:pt x="322588" y="97276"/>
                    </a:lnTo>
                    <a:lnTo>
                      <a:pt x="322436" y="98791"/>
                    </a:lnTo>
                    <a:lnTo>
                      <a:pt x="322891" y="103943"/>
                    </a:lnTo>
                    <a:lnTo>
                      <a:pt x="325012" y="107428"/>
                    </a:lnTo>
                    <a:lnTo>
                      <a:pt x="325467" y="110004"/>
                    </a:lnTo>
                    <a:lnTo>
                      <a:pt x="322891" y="115459"/>
                    </a:lnTo>
                    <a:lnTo>
                      <a:pt x="320163" y="123944"/>
                    </a:lnTo>
                    <a:lnTo>
                      <a:pt x="318951" y="125762"/>
                    </a:lnTo>
                    <a:lnTo>
                      <a:pt x="317285" y="127732"/>
                    </a:lnTo>
                    <a:lnTo>
                      <a:pt x="315315" y="128944"/>
                    </a:lnTo>
                    <a:lnTo>
                      <a:pt x="313648" y="130308"/>
                    </a:lnTo>
                    <a:lnTo>
                      <a:pt x="309709" y="131671"/>
                    </a:lnTo>
                    <a:lnTo>
                      <a:pt x="309103" y="131974"/>
                    </a:lnTo>
                    <a:lnTo>
                      <a:pt x="309860" y="132429"/>
                    </a:lnTo>
                    <a:lnTo>
                      <a:pt x="310466" y="132883"/>
                    </a:lnTo>
                    <a:lnTo>
                      <a:pt x="310466" y="133944"/>
                    </a:lnTo>
                    <a:lnTo>
                      <a:pt x="310618" y="134853"/>
                    </a:lnTo>
                    <a:lnTo>
                      <a:pt x="311224" y="135611"/>
                    </a:lnTo>
                    <a:lnTo>
                      <a:pt x="311224" y="137126"/>
                    </a:lnTo>
                    <a:lnTo>
                      <a:pt x="311830" y="138187"/>
                    </a:lnTo>
                    <a:lnTo>
                      <a:pt x="311830" y="139247"/>
                    </a:lnTo>
                    <a:lnTo>
                      <a:pt x="311830" y="140763"/>
                    </a:lnTo>
                    <a:lnTo>
                      <a:pt x="311527" y="141520"/>
                    </a:lnTo>
                    <a:lnTo>
                      <a:pt x="311830" y="142884"/>
                    </a:lnTo>
                    <a:lnTo>
                      <a:pt x="312891" y="145308"/>
                    </a:lnTo>
                    <a:lnTo>
                      <a:pt x="312436" y="146066"/>
                    </a:lnTo>
                    <a:lnTo>
                      <a:pt x="311375" y="146520"/>
                    </a:lnTo>
                    <a:lnTo>
                      <a:pt x="310314" y="147126"/>
                    </a:lnTo>
                    <a:lnTo>
                      <a:pt x="309254" y="148642"/>
                    </a:lnTo>
                    <a:lnTo>
                      <a:pt x="307739" y="148642"/>
                    </a:lnTo>
                    <a:lnTo>
                      <a:pt x="305617" y="148036"/>
                    </a:lnTo>
                    <a:lnTo>
                      <a:pt x="304102" y="148945"/>
                    </a:lnTo>
                    <a:lnTo>
                      <a:pt x="303496" y="150611"/>
                    </a:lnTo>
                    <a:lnTo>
                      <a:pt x="303951" y="151975"/>
                    </a:lnTo>
                    <a:lnTo>
                      <a:pt x="304102" y="153187"/>
                    </a:lnTo>
                    <a:lnTo>
                      <a:pt x="305011" y="154248"/>
                    </a:lnTo>
                    <a:lnTo>
                      <a:pt x="307739" y="154399"/>
                    </a:lnTo>
                    <a:lnTo>
                      <a:pt x="305315" y="157885"/>
                    </a:lnTo>
                    <a:lnTo>
                      <a:pt x="304102" y="159400"/>
                    </a:lnTo>
                    <a:lnTo>
                      <a:pt x="304405" y="160460"/>
                    </a:lnTo>
                    <a:lnTo>
                      <a:pt x="305920" y="161369"/>
                    </a:lnTo>
                    <a:lnTo>
                      <a:pt x="306981" y="161369"/>
                    </a:lnTo>
                    <a:lnTo>
                      <a:pt x="309405" y="160157"/>
                    </a:lnTo>
                    <a:lnTo>
                      <a:pt x="311072" y="158339"/>
                    </a:lnTo>
                    <a:lnTo>
                      <a:pt x="311981" y="157278"/>
                    </a:lnTo>
                    <a:lnTo>
                      <a:pt x="313497" y="156824"/>
                    </a:lnTo>
                    <a:lnTo>
                      <a:pt x="315618" y="157733"/>
                    </a:lnTo>
                    <a:lnTo>
                      <a:pt x="318345" y="159400"/>
                    </a:lnTo>
                    <a:lnTo>
                      <a:pt x="321527" y="160915"/>
                    </a:lnTo>
                    <a:lnTo>
                      <a:pt x="322891" y="161673"/>
                    </a:lnTo>
                    <a:lnTo>
                      <a:pt x="325315" y="161369"/>
                    </a:lnTo>
                    <a:lnTo>
                      <a:pt x="327285" y="161066"/>
                    </a:lnTo>
                    <a:lnTo>
                      <a:pt x="328952" y="162279"/>
                    </a:lnTo>
                    <a:lnTo>
                      <a:pt x="330618" y="163339"/>
                    </a:lnTo>
                    <a:lnTo>
                      <a:pt x="331073" y="166976"/>
                    </a:lnTo>
                    <a:lnTo>
                      <a:pt x="332285" y="169551"/>
                    </a:lnTo>
                    <a:lnTo>
                      <a:pt x="333800" y="171521"/>
                    </a:lnTo>
                    <a:lnTo>
                      <a:pt x="335619" y="173946"/>
                    </a:lnTo>
                    <a:lnTo>
                      <a:pt x="337285" y="174703"/>
                    </a:lnTo>
                    <a:lnTo>
                      <a:pt x="339558" y="174703"/>
                    </a:lnTo>
                    <a:lnTo>
                      <a:pt x="342588" y="175612"/>
                    </a:lnTo>
                    <a:lnTo>
                      <a:pt x="343801" y="175006"/>
                    </a:lnTo>
                    <a:lnTo>
                      <a:pt x="344861" y="173339"/>
                    </a:lnTo>
                    <a:lnTo>
                      <a:pt x="345467" y="172430"/>
                    </a:lnTo>
                    <a:lnTo>
                      <a:pt x="346983" y="171976"/>
                    </a:lnTo>
                    <a:lnTo>
                      <a:pt x="347134" y="170915"/>
                    </a:lnTo>
                    <a:lnTo>
                      <a:pt x="346831" y="169551"/>
                    </a:lnTo>
                    <a:lnTo>
                      <a:pt x="347286" y="168036"/>
                    </a:lnTo>
                    <a:lnTo>
                      <a:pt x="348498" y="166673"/>
                    </a:lnTo>
                    <a:lnTo>
                      <a:pt x="351680" y="164703"/>
                    </a:lnTo>
                    <a:lnTo>
                      <a:pt x="353195" y="163945"/>
                    </a:lnTo>
                    <a:lnTo>
                      <a:pt x="353498" y="162733"/>
                    </a:lnTo>
                    <a:lnTo>
                      <a:pt x="354104" y="161066"/>
                    </a:lnTo>
                    <a:lnTo>
                      <a:pt x="353953" y="160157"/>
                    </a:lnTo>
                    <a:lnTo>
                      <a:pt x="353347" y="159097"/>
                    </a:lnTo>
                    <a:lnTo>
                      <a:pt x="353498" y="157581"/>
                    </a:lnTo>
                    <a:lnTo>
                      <a:pt x="354407" y="155460"/>
                    </a:lnTo>
                    <a:lnTo>
                      <a:pt x="355619" y="153036"/>
                    </a:lnTo>
                    <a:lnTo>
                      <a:pt x="356680" y="149854"/>
                    </a:lnTo>
                    <a:lnTo>
                      <a:pt x="357135" y="148339"/>
                    </a:lnTo>
                    <a:lnTo>
                      <a:pt x="358195" y="147430"/>
                    </a:lnTo>
                    <a:lnTo>
                      <a:pt x="358650" y="146066"/>
                    </a:lnTo>
                    <a:lnTo>
                      <a:pt x="359256" y="144399"/>
                    </a:lnTo>
                    <a:lnTo>
                      <a:pt x="360619" y="142581"/>
                    </a:lnTo>
                    <a:lnTo>
                      <a:pt x="360619" y="140611"/>
                    </a:lnTo>
                    <a:lnTo>
                      <a:pt x="361225" y="139702"/>
                    </a:lnTo>
                    <a:lnTo>
                      <a:pt x="361225" y="137581"/>
                    </a:lnTo>
                    <a:lnTo>
                      <a:pt x="362589" y="133187"/>
                    </a:lnTo>
                    <a:lnTo>
                      <a:pt x="362589" y="132277"/>
                    </a:lnTo>
                    <a:lnTo>
                      <a:pt x="363195" y="131974"/>
                    </a:lnTo>
                    <a:lnTo>
                      <a:pt x="364256" y="132277"/>
                    </a:lnTo>
                    <a:lnTo>
                      <a:pt x="365165" y="133338"/>
                    </a:lnTo>
                    <a:lnTo>
                      <a:pt x="365468" y="134399"/>
                    </a:lnTo>
                    <a:lnTo>
                      <a:pt x="365923" y="134853"/>
                    </a:lnTo>
                    <a:lnTo>
                      <a:pt x="366832" y="134702"/>
                    </a:lnTo>
                    <a:lnTo>
                      <a:pt x="367892" y="134096"/>
                    </a:lnTo>
                    <a:lnTo>
                      <a:pt x="367892" y="133187"/>
                    </a:lnTo>
                    <a:lnTo>
                      <a:pt x="367135" y="132277"/>
                    </a:lnTo>
                    <a:lnTo>
                      <a:pt x="366983" y="131823"/>
                    </a:lnTo>
                    <a:lnTo>
                      <a:pt x="367286" y="131065"/>
                    </a:lnTo>
                    <a:lnTo>
                      <a:pt x="368802" y="129247"/>
                    </a:lnTo>
                    <a:lnTo>
                      <a:pt x="370468" y="127126"/>
                    </a:lnTo>
                    <a:lnTo>
                      <a:pt x="373953" y="122732"/>
                    </a:lnTo>
                    <a:lnTo>
                      <a:pt x="376075" y="120913"/>
                    </a:lnTo>
                    <a:lnTo>
                      <a:pt x="381529" y="119095"/>
                    </a:lnTo>
                    <a:lnTo>
                      <a:pt x="385772" y="117731"/>
                    </a:lnTo>
                    <a:lnTo>
                      <a:pt x="389711" y="116368"/>
                    </a:lnTo>
                    <a:lnTo>
                      <a:pt x="395166" y="114398"/>
                    </a:lnTo>
                    <a:lnTo>
                      <a:pt x="402894" y="111671"/>
                    </a:lnTo>
                    <a:lnTo>
                      <a:pt x="408348" y="109701"/>
                    </a:lnTo>
                    <a:lnTo>
                      <a:pt x="413197" y="106216"/>
                    </a:lnTo>
                    <a:lnTo>
                      <a:pt x="416985" y="103488"/>
                    </a:lnTo>
                    <a:lnTo>
                      <a:pt x="420319" y="101064"/>
                    </a:lnTo>
                    <a:lnTo>
                      <a:pt x="424410" y="98034"/>
                    </a:lnTo>
                    <a:lnTo>
                      <a:pt x="430016" y="91518"/>
                    </a:lnTo>
                    <a:lnTo>
                      <a:pt x="433804" y="86973"/>
                    </a:lnTo>
                    <a:lnTo>
                      <a:pt x="436683" y="83639"/>
                    </a:lnTo>
                    <a:lnTo>
                      <a:pt x="438653" y="81518"/>
                    </a:lnTo>
                    <a:lnTo>
                      <a:pt x="440168" y="75609"/>
                    </a:lnTo>
                    <a:lnTo>
                      <a:pt x="441986" y="68942"/>
                    </a:lnTo>
                    <a:lnTo>
                      <a:pt x="442744" y="65911"/>
                    </a:lnTo>
                    <a:lnTo>
                      <a:pt x="443047" y="64851"/>
                    </a:lnTo>
                    <a:lnTo>
                      <a:pt x="443804" y="65305"/>
                    </a:lnTo>
                    <a:lnTo>
                      <a:pt x="444714" y="66063"/>
                    </a:lnTo>
                    <a:lnTo>
                      <a:pt x="445774" y="66063"/>
                    </a:lnTo>
                    <a:lnTo>
                      <a:pt x="446835" y="66063"/>
                    </a:lnTo>
                    <a:lnTo>
                      <a:pt x="447441" y="65608"/>
                    </a:lnTo>
                    <a:lnTo>
                      <a:pt x="448047" y="59396"/>
                    </a:lnTo>
                    <a:close/>
                    <a:moveTo>
                      <a:pt x="64851" y="58942"/>
                    </a:moveTo>
                    <a:lnTo>
                      <a:pt x="63942" y="58638"/>
                    </a:lnTo>
                    <a:lnTo>
                      <a:pt x="61063" y="59851"/>
                    </a:lnTo>
                    <a:lnTo>
                      <a:pt x="59548" y="61820"/>
                    </a:lnTo>
                    <a:lnTo>
                      <a:pt x="57881" y="62730"/>
                    </a:lnTo>
                    <a:lnTo>
                      <a:pt x="56063" y="64396"/>
                    </a:lnTo>
                    <a:lnTo>
                      <a:pt x="56214" y="65002"/>
                    </a:lnTo>
                    <a:lnTo>
                      <a:pt x="56972" y="65608"/>
                    </a:lnTo>
                    <a:lnTo>
                      <a:pt x="58032" y="66063"/>
                    </a:lnTo>
                    <a:lnTo>
                      <a:pt x="61215" y="65002"/>
                    </a:lnTo>
                    <a:lnTo>
                      <a:pt x="62881" y="62730"/>
                    </a:lnTo>
                    <a:lnTo>
                      <a:pt x="64548" y="61669"/>
                    </a:lnTo>
                    <a:lnTo>
                      <a:pt x="65457" y="60153"/>
                    </a:lnTo>
                    <a:lnTo>
                      <a:pt x="65305" y="59548"/>
                    </a:lnTo>
                    <a:lnTo>
                      <a:pt x="64851" y="58942"/>
                    </a:lnTo>
                    <a:close/>
                    <a:moveTo>
                      <a:pt x="315315" y="121065"/>
                    </a:moveTo>
                    <a:lnTo>
                      <a:pt x="316375" y="117580"/>
                    </a:lnTo>
                    <a:lnTo>
                      <a:pt x="316981" y="117277"/>
                    </a:lnTo>
                    <a:lnTo>
                      <a:pt x="318497" y="116822"/>
                    </a:lnTo>
                    <a:lnTo>
                      <a:pt x="321376" y="114246"/>
                    </a:lnTo>
                    <a:lnTo>
                      <a:pt x="318951" y="112883"/>
                    </a:lnTo>
                    <a:lnTo>
                      <a:pt x="316679" y="112731"/>
                    </a:lnTo>
                    <a:lnTo>
                      <a:pt x="314860" y="113489"/>
                    </a:lnTo>
                    <a:lnTo>
                      <a:pt x="312739" y="115004"/>
                    </a:lnTo>
                    <a:lnTo>
                      <a:pt x="311981" y="116671"/>
                    </a:lnTo>
                    <a:lnTo>
                      <a:pt x="311375" y="120459"/>
                    </a:lnTo>
                    <a:lnTo>
                      <a:pt x="311375" y="121671"/>
                    </a:lnTo>
                    <a:lnTo>
                      <a:pt x="312133" y="121974"/>
                    </a:lnTo>
                    <a:lnTo>
                      <a:pt x="314709" y="122126"/>
                    </a:lnTo>
                    <a:lnTo>
                      <a:pt x="315315" y="121065"/>
                    </a:lnTo>
                    <a:close/>
                    <a:moveTo>
                      <a:pt x="33486" y="73942"/>
                    </a:moveTo>
                    <a:lnTo>
                      <a:pt x="32274" y="73487"/>
                    </a:lnTo>
                    <a:lnTo>
                      <a:pt x="31062" y="75609"/>
                    </a:lnTo>
                    <a:lnTo>
                      <a:pt x="32577" y="76821"/>
                    </a:lnTo>
                    <a:lnTo>
                      <a:pt x="33638" y="76821"/>
                    </a:lnTo>
                    <a:lnTo>
                      <a:pt x="34850" y="75457"/>
                    </a:lnTo>
                    <a:lnTo>
                      <a:pt x="34244" y="74700"/>
                    </a:lnTo>
                    <a:lnTo>
                      <a:pt x="33486" y="73942"/>
                    </a:lnTo>
                    <a:close/>
                    <a:moveTo>
                      <a:pt x="32425" y="54244"/>
                    </a:moveTo>
                    <a:lnTo>
                      <a:pt x="30759" y="55911"/>
                    </a:lnTo>
                    <a:lnTo>
                      <a:pt x="30456" y="58487"/>
                    </a:lnTo>
                    <a:lnTo>
                      <a:pt x="34698" y="61063"/>
                    </a:lnTo>
                    <a:lnTo>
                      <a:pt x="36062" y="61063"/>
                    </a:lnTo>
                    <a:lnTo>
                      <a:pt x="36668" y="60608"/>
                    </a:lnTo>
                    <a:lnTo>
                      <a:pt x="38183" y="60153"/>
                    </a:lnTo>
                    <a:lnTo>
                      <a:pt x="40001" y="57881"/>
                    </a:lnTo>
                    <a:lnTo>
                      <a:pt x="40153" y="54850"/>
                    </a:lnTo>
                    <a:lnTo>
                      <a:pt x="37880" y="53184"/>
                    </a:lnTo>
                    <a:lnTo>
                      <a:pt x="32425" y="542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8" name="Freeform: Shape 3297">
                <a:extLst>
                  <a:ext uri="{FF2B5EF4-FFF2-40B4-BE49-F238E27FC236}">
                    <a16:creationId xmlns:a16="http://schemas.microsoft.com/office/drawing/2014/main" id="{6C8CA2CE-7387-4D16-B716-0E26A1C484B3}"/>
                  </a:ext>
                </a:extLst>
              </p:cNvPr>
              <p:cNvSpPr/>
              <p:nvPr/>
            </p:nvSpPr>
            <p:spPr>
              <a:xfrm>
                <a:off x="5539615" y="3504379"/>
                <a:ext cx="565021" cy="535322"/>
              </a:xfrm>
              <a:custGeom>
                <a:avLst/>
                <a:gdLst>
                  <a:gd name="connsiteX0" fmla="*/ 562445 w 565021"/>
                  <a:gd name="connsiteY0" fmla="*/ 401378 h 535322"/>
                  <a:gd name="connsiteX1" fmla="*/ 559566 w 565021"/>
                  <a:gd name="connsiteY1" fmla="*/ 395621 h 535322"/>
                  <a:gd name="connsiteX2" fmla="*/ 555627 w 565021"/>
                  <a:gd name="connsiteY2" fmla="*/ 388499 h 535322"/>
                  <a:gd name="connsiteX3" fmla="*/ 553203 w 565021"/>
                  <a:gd name="connsiteY3" fmla="*/ 384105 h 535322"/>
                  <a:gd name="connsiteX4" fmla="*/ 552445 w 565021"/>
                  <a:gd name="connsiteY4" fmla="*/ 383499 h 535322"/>
                  <a:gd name="connsiteX5" fmla="*/ 541535 w 565021"/>
                  <a:gd name="connsiteY5" fmla="*/ 380014 h 535322"/>
                  <a:gd name="connsiteX6" fmla="*/ 530020 w 565021"/>
                  <a:gd name="connsiteY6" fmla="*/ 376680 h 535322"/>
                  <a:gd name="connsiteX7" fmla="*/ 523201 w 565021"/>
                  <a:gd name="connsiteY7" fmla="*/ 378650 h 535322"/>
                  <a:gd name="connsiteX8" fmla="*/ 521989 w 565021"/>
                  <a:gd name="connsiteY8" fmla="*/ 378499 h 535322"/>
                  <a:gd name="connsiteX9" fmla="*/ 520171 w 565021"/>
                  <a:gd name="connsiteY9" fmla="*/ 377287 h 535322"/>
                  <a:gd name="connsiteX10" fmla="*/ 518201 w 565021"/>
                  <a:gd name="connsiteY10" fmla="*/ 375468 h 535322"/>
                  <a:gd name="connsiteX11" fmla="*/ 517140 w 565021"/>
                  <a:gd name="connsiteY11" fmla="*/ 373044 h 535322"/>
                  <a:gd name="connsiteX12" fmla="*/ 514413 w 565021"/>
                  <a:gd name="connsiteY12" fmla="*/ 369711 h 535322"/>
                  <a:gd name="connsiteX13" fmla="*/ 511989 w 565021"/>
                  <a:gd name="connsiteY13" fmla="*/ 362135 h 535322"/>
                  <a:gd name="connsiteX14" fmla="*/ 511685 w 565021"/>
                  <a:gd name="connsiteY14" fmla="*/ 356074 h 535322"/>
                  <a:gd name="connsiteX15" fmla="*/ 511231 w 565021"/>
                  <a:gd name="connsiteY15" fmla="*/ 353952 h 535322"/>
                  <a:gd name="connsiteX16" fmla="*/ 505170 w 565021"/>
                  <a:gd name="connsiteY16" fmla="*/ 345467 h 535322"/>
                  <a:gd name="connsiteX17" fmla="*/ 499716 w 565021"/>
                  <a:gd name="connsiteY17" fmla="*/ 337740 h 535322"/>
                  <a:gd name="connsiteX18" fmla="*/ 496079 w 565021"/>
                  <a:gd name="connsiteY18" fmla="*/ 332588 h 535322"/>
                  <a:gd name="connsiteX19" fmla="*/ 495321 w 565021"/>
                  <a:gd name="connsiteY19" fmla="*/ 330315 h 535322"/>
                  <a:gd name="connsiteX20" fmla="*/ 495776 w 565021"/>
                  <a:gd name="connsiteY20" fmla="*/ 327436 h 535322"/>
                  <a:gd name="connsiteX21" fmla="*/ 497291 w 565021"/>
                  <a:gd name="connsiteY21" fmla="*/ 324860 h 535322"/>
                  <a:gd name="connsiteX22" fmla="*/ 502595 w 565021"/>
                  <a:gd name="connsiteY22" fmla="*/ 321830 h 535322"/>
                  <a:gd name="connsiteX23" fmla="*/ 507292 w 565021"/>
                  <a:gd name="connsiteY23" fmla="*/ 318497 h 535322"/>
                  <a:gd name="connsiteX24" fmla="*/ 508049 w 565021"/>
                  <a:gd name="connsiteY24" fmla="*/ 316224 h 535322"/>
                  <a:gd name="connsiteX25" fmla="*/ 508352 w 565021"/>
                  <a:gd name="connsiteY25" fmla="*/ 309860 h 535322"/>
                  <a:gd name="connsiteX26" fmla="*/ 506686 w 565021"/>
                  <a:gd name="connsiteY26" fmla="*/ 307890 h 535322"/>
                  <a:gd name="connsiteX27" fmla="*/ 505625 w 565021"/>
                  <a:gd name="connsiteY27" fmla="*/ 304102 h 535322"/>
                  <a:gd name="connsiteX28" fmla="*/ 504413 w 565021"/>
                  <a:gd name="connsiteY28" fmla="*/ 298950 h 535322"/>
                  <a:gd name="connsiteX29" fmla="*/ 504261 w 565021"/>
                  <a:gd name="connsiteY29" fmla="*/ 295617 h 535322"/>
                  <a:gd name="connsiteX30" fmla="*/ 506383 w 565021"/>
                  <a:gd name="connsiteY30" fmla="*/ 289101 h 535322"/>
                  <a:gd name="connsiteX31" fmla="*/ 508958 w 565021"/>
                  <a:gd name="connsiteY31" fmla="*/ 282283 h 535322"/>
                  <a:gd name="connsiteX32" fmla="*/ 507292 w 565021"/>
                  <a:gd name="connsiteY32" fmla="*/ 274707 h 535322"/>
                  <a:gd name="connsiteX33" fmla="*/ 506079 w 565021"/>
                  <a:gd name="connsiteY33" fmla="*/ 259403 h 535322"/>
                  <a:gd name="connsiteX34" fmla="*/ 506837 w 565021"/>
                  <a:gd name="connsiteY34" fmla="*/ 247433 h 535322"/>
                  <a:gd name="connsiteX35" fmla="*/ 506231 w 565021"/>
                  <a:gd name="connsiteY35" fmla="*/ 243039 h 535322"/>
                  <a:gd name="connsiteX36" fmla="*/ 505928 w 565021"/>
                  <a:gd name="connsiteY36" fmla="*/ 241221 h 535322"/>
                  <a:gd name="connsiteX37" fmla="*/ 504261 w 565021"/>
                  <a:gd name="connsiteY37" fmla="*/ 235463 h 535322"/>
                  <a:gd name="connsiteX38" fmla="*/ 502291 w 565021"/>
                  <a:gd name="connsiteY38" fmla="*/ 229705 h 535322"/>
                  <a:gd name="connsiteX39" fmla="*/ 501382 w 565021"/>
                  <a:gd name="connsiteY39" fmla="*/ 227584 h 535322"/>
                  <a:gd name="connsiteX40" fmla="*/ 498807 w 565021"/>
                  <a:gd name="connsiteY40" fmla="*/ 222887 h 535322"/>
                  <a:gd name="connsiteX41" fmla="*/ 494564 w 565021"/>
                  <a:gd name="connsiteY41" fmla="*/ 216978 h 535322"/>
                  <a:gd name="connsiteX42" fmla="*/ 492291 w 565021"/>
                  <a:gd name="connsiteY42" fmla="*/ 213341 h 535322"/>
                  <a:gd name="connsiteX43" fmla="*/ 495321 w 565021"/>
                  <a:gd name="connsiteY43" fmla="*/ 211371 h 535322"/>
                  <a:gd name="connsiteX44" fmla="*/ 498049 w 565021"/>
                  <a:gd name="connsiteY44" fmla="*/ 209856 h 535322"/>
                  <a:gd name="connsiteX45" fmla="*/ 496382 w 565021"/>
                  <a:gd name="connsiteY45" fmla="*/ 202886 h 535322"/>
                  <a:gd name="connsiteX46" fmla="*/ 494867 w 565021"/>
                  <a:gd name="connsiteY46" fmla="*/ 196825 h 535322"/>
                  <a:gd name="connsiteX47" fmla="*/ 493806 w 565021"/>
                  <a:gd name="connsiteY47" fmla="*/ 191825 h 535322"/>
                  <a:gd name="connsiteX48" fmla="*/ 491685 w 565021"/>
                  <a:gd name="connsiteY48" fmla="*/ 183037 h 535322"/>
                  <a:gd name="connsiteX49" fmla="*/ 490018 w 565021"/>
                  <a:gd name="connsiteY49" fmla="*/ 175612 h 535322"/>
                  <a:gd name="connsiteX50" fmla="*/ 488200 w 565021"/>
                  <a:gd name="connsiteY50" fmla="*/ 168188 h 535322"/>
                  <a:gd name="connsiteX51" fmla="*/ 486685 w 565021"/>
                  <a:gd name="connsiteY51" fmla="*/ 161370 h 535322"/>
                  <a:gd name="connsiteX52" fmla="*/ 485018 w 565021"/>
                  <a:gd name="connsiteY52" fmla="*/ 154551 h 535322"/>
                  <a:gd name="connsiteX53" fmla="*/ 484412 w 565021"/>
                  <a:gd name="connsiteY53" fmla="*/ 153491 h 535322"/>
                  <a:gd name="connsiteX54" fmla="*/ 479563 w 565021"/>
                  <a:gd name="connsiteY54" fmla="*/ 150308 h 535322"/>
                  <a:gd name="connsiteX55" fmla="*/ 475169 w 565021"/>
                  <a:gd name="connsiteY55" fmla="*/ 147278 h 535322"/>
                  <a:gd name="connsiteX56" fmla="*/ 470623 w 565021"/>
                  <a:gd name="connsiteY56" fmla="*/ 143945 h 535322"/>
                  <a:gd name="connsiteX57" fmla="*/ 465624 w 565021"/>
                  <a:gd name="connsiteY57" fmla="*/ 140308 h 535322"/>
                  <a:gd name="connsiteX58" fmla="*/ 464714 w 565021"/>
                  <a:gd name="connsiteY58" fmla="*/ 135611 h 535322"/>
                  <a:gd name="connsiteX59" fmla="*/ 462290 w 565021"/>
                  <a:gd name="connsiteY59" fmla="*/ 128641 h 535322"/>
                  <a:gd name="connsiteX60" fmla="*/ 459562 w 565021"/>
                  <a:gd name="connsiteY60" fmla="*/ 124701 h 535322"/>
                  <a:gd name="connsiteX61" fmla="*/ 458502 w 565021"/>
                  <a:gd name="connsiteY61" fmla="*/ 123641 h 535322"/>
                  <a:gd name="connsiteX62" fmla="*/ 453047 w 565021"/>
                  <a:gd name="connsiteY62" fmla="*/ 121217 h 535322"/>
                  <a:gd name="connsiteX63" fmla="*/ 450017 w 565021"/>
                  <a:gd name="connsiteY63" fmla="*/ 119247 h 535322"/>
                  <a:gd name="connsiteX64" fmla="*/ 449108 w 565021"/>
                  <a:gd name="connsiteY64" fmla="*/ 118186 h 535322"/>
                  <a:gd name="connsiteX65" fmla="*/ 448502 w 565021"/>
                  <a:gd name="connsiteY65" fmla="*/ 115307 h 535322"/>
                  <a:gd name="connsiteX66" fmla="*/ 446229 w 565021"/>
                  <a:gd name="connsiteY66" fmla="*/ 109701 h 535322"/>
                  <a:gd name="connsiteX67" fmla="*/ 443653 w 565021"/>
                  <a:gd name="connsiteY67" fmla="*/ 104549 h 535322"/>
                  <a:gd name="connsiteX68" fmla="*/ 442744 w 565021"/>
                  <a:gd name="connsiteY68" fmla="*/ 100913 h 535322"/>
                  <a:gd name="connsiteX69" fmla="*/ 442592 w 565021"/>
                  <a:gd name="connsiteY69" fmla="*/ 96519 h 535322"/>
                  <a:gd name="connsiteX70" fmla="*/ 443198 w 565021"/>
                  <a:gd name="connsiteY70" fmla="*/ 93337 h 535322"/>
                  <a:gd name="connsiteX71" fmla="*/ 444259 w 565021"/>
                  <a:gd name="connsiteY71" fmla="*/ 91973 h 535322"/>
                  <a:gd name="connsiteX72" fmla="*/ 449562 w 565021"/>
                  <a:gd name="connsiteY72" fmla="*/ 88033 h 535322"/>
                  <a:gd name="connsiteX73" fmla="*/ 451986 w 565021"/>
                  <a:gd name="connsiteY73" fmla="*/ 83336 h 535322"/>
                  <a:gd name="connsiteX74" fmla="*/ 455017 w 565021"/>
                  <a:gd name="connsiteY74" fmla="*/ 81518 h 535322"/>
                  <a:gd name="connsiteX75" fmla="*/ 457744 w 565021"/>
                  <a:gd name="connsiteY75" fmla="*/ 80155 h 535322"/>
                  <a:gd name="connsiteX76" fmla="*/ 459866 w 565021"/>
                  <a:gd name="connsiteY76" fmla="*/ 78488 h 535322"/>
                  <a:gd name="connsiteX77" fmla="*/ 461684 w 565021"/>
                  <a:gd name="connsiteY77" fmla="*/ 76063 h 535322"/>
                  <a:gd name="connsiteX78" fmla="*/ 463199 w 565021"/>
                  <a:gd name="connsiteY78" fmla="*/ 73336 h 535322"/>
                  <a:gd name="connsiteX79" fmla="*/ 463502 w 565021"/>
                  <a:gd name="connsiteY79" fmla="*/ 70306 h 535322"/>
                  <a:gd name="connsiteX80" fmla="*/ 464108 w 565021"/>
                  <a:gd name="connsiteY80" fmla="*/ 65760 h 535322"/>
                  <a:gd name="connsiteX81" fmla="*/ 465017 w 565021"/>
                  <a:gd name="connsiteY81" fmla="*/ 62426 h 535322"/>
                  <a:gd name="connsiteX82" fmla="*/ 467290 w 565021"/>
                  <a:gd name="connsiteY82" fmla="*/ 58790 h 535322"/>
                  <a:gd name="connsiteX83" fmla="*/ 466381 w 565021"/>
                  <a:gd name="connsiteY83" fmla="*/ 55911 h 535322"/>
                  <a:gd name="connsiteX84" fmla="*/ 465169 w 565021"/>
                  <a:gd name="connsiteY84" fmla="*/ 52578 h 535322"/>
                  <a:gd name="connsiteX85" fmla="*/ 465472 w 565021"/>
                  <a:gd name="connsiteY85" fmla="*/ 47123 h 535322"/>
                  <a:gd name="connsiteX86" fmla="*/ 465169 w 565021"/>
                  <a:gd name="connsiteY86" fmla="*/ 44850 h 535322"/>
                  <a:gd name="connsiteX87" fmla="*/ 464260 w 565021"/>
                  <a:gd name="connsiteY87" fmla="*/ 42880 h 535322"/>
                  <a:gd name="connsiteX88" fmla="*/ 463199 w 565021"/>
                  <a:gd name="connsiteY88" fmla="*/ 40305 h 535322"/>
                  <a:gd name="connsiteX89" fmla="*/ 463199 w 565021"/>
                  <a:gd name="connsiteY89" fmla="*/ 38183 h 535322"/>
                  <a:gd name="connsiteX90" fmla="*/ 464108 w 565021"/>
                  <a:gd name="connsiteY90" fmla="*/ 32577 h 535322"/>
                  <a:gd name="connsiteX91" fmla="*/ 464866 w 565021"/>
                  <a:gd name="connsiteY91" fmla="*/ 28183 h 535322"/>
                  <a:gd name="connsiteX92" fmla="*/ 465926 w 565021"/>
                  <a:gd name="connsiteY92" fmla="*/ 22577 h 535322"/>
                  <a:gd name="connsiteX93" fmla="*/ 465624 w 565021"/>
                  <a:gd name="connsiteY93" fmla="*/ 21061 h 535322"/>
                  <a:gd name="connsiteX94" fmla="*/ 464714 w 565021"/>
                  <a:gd name="connsiteY94" fmla="*/ 19849 h 535322"/>
                  <a:gd name="connsiteX95" fmla="*/ 462138 w 565021"/>
                  <a:gd name="connsiteY95" fmla="*/ 18637 h 535322"/>
                  <a:gd name="connsiteX96" fmla="*/ 462138 w 565021"/>
                  <a:gd name="connsiteY96" fmla="*/ 17880 h 535322"/>
                  <a:gd name="connsiteX97" fmla="*/ 462745 w 565021"/>
                  <a:gd name="connsiteY97" fmla="*/ 17122 h 535322"/>
                  <a:gd name="connsiteX98" fmla="*/ 466533 w 565021"/>
                  <a:gd name="connsiteY98" fmla="*/ 14394 h 535322"/>
                  <a:gd name="connsiteX99" fmla="*/ 468654 w 565021"/>
                  <a:gd name="connsiteY99" fmla="*/ 10304 h 535322"/>
                  <a:gd name="connsiteX100" fmla="*/ 470321 w 565021"/>
                  <a:gd name="connsiteY100" fmla="*/ 9546 h 535322"/>
                  <a:gd name="connsiteX101" fmla="*/ 472896 w 565021"/>
                  <a:gd name="connsiteY101" fmla="*/ 8031 h 535322"/>
                  <a:gd name="connsiteX102" fmla="*/ 472745 w 565021"/>
                  <a:gd name="connsiteY102" fmla="*/ 6516 h 535322"/>
                  <a:gd name="connsiteX103" fmla="*/ 472290 w 565021"/>
                  <a:gd name="connsiteY103" fmla="*/ 4849 h 535322"/>
                  <a:gd name="connsiteX104" fmla="*/ 459866 w 565021"/>
                  <a:gd name="connsiteY104" fmla="*/ 5606 h 535322"/>
                  <a:gd name="connsiteX105" fmla="*/ 453956 w 565021"/>
                  <a:gd name="connsiteY105" fmla="*/ 7425 h 535322"/>
                  <a:gd name="connsiteX106" fmla="*/ 450774 w 565021"/>
                  <a:gd name="connsiteY106" fmla="*/ 6667 h 535322"/>
                  <a:gd name="connsiteX107" fmla="*/ 445774 w 565021"/>
                  <a:gd name="connsiteY107" fmla="*/ 2879 h 535322"/>
                  <a:gd name="connsiteX108" fmla="*/ 440926 w 565021"/>
                  <a:gd name="connsiteY108" fmla="*/ 1061 h 535322"/>
                  <a:gd name="connsiteX109" fmla="*/ 434713 w 565021"/>
                  <a:gd name="connsiteY109" fmla="*/ 0 h 535322"/>
                  <a:gd name="connsiteX110" fmla="*/ 435622 w 565021"/>
                  <a:gd name="connsiteY110" fmla="*/ 3788 h 535322"/>
                  <a:gd name="connsiteX111" fmla="*/ 433046 w 565021"/>
                  <a:gd name="connsiteY111" fmla="*/ 4697 h 535322"/>
                  <a:gd name="connsiteX112" fmla="*/ 427137 w 565021"/>
                  <a:gd name="connsiteY112" fmla="*/ 5455 h 535322"/>
                  <a:gd name="connsiteX113" fmla="*/ 417440 w 565021"/>
                  <a:gd name="connsiteY113" fmla="*/ 2727 h 535322"/>
                  <a:gd name="connsiteX114" fmla="*/ 415016 w 565021"/>
                  <a:gd name="connsiteY114" fmla="*/ 152 h 535322"/>
                  <a:gd name="connsiteX115" fmla="*/ 410773 w 565021"/>
                  <a:gd name="connsiteY115" fmla="*/ 1364 h 535322"/>
                  <a:gd name="connsiteX116" fmla="*/ 408500 w 565021"/>
                  <a:gd name="connsiteY116" fmla="*/ 4849 h 535322"/>
                  <a:gd name="connsiteX117" fmla="*/ 403500 w 565021"/>
                  <a:gd name="connsiteY117" fmla="*/ 7121 h 535322"/>
                  <a:gd name="connsiteX118" fmla="*/ 394257 w 565021"/>
                  <a:gd name="connsiteY118" fmla="*/ 9091 h 535322"/>
                  <a:gd name="connsiteX119" fmla="*/ 385923 w 565021"/>
                  <a:gd name="connsiteY119" fmla="*/ 13031 h 535322"/>
                  <a:gd name="connsiteX120" fmla="*/ 382438 w 565021"/>
                  <a:gd name="connsiteY120" fmla="*/ 13940 h 535322"/>
                  <a:gd name="connsiteX121" fmla="*/ 379711 w 565021"/>
                  <a:gd name="connsiteY121" fmla="*/ 13031 h 535322"/>
                  <a:gd name="connsiteX122" fmla="*/ 374257 w 565021"/>
                  <a:gd name="connsiteY122" fmla="*/ 8940 h 535322"/>
                  <a:gd name="connsiteX123" fmla="*/ 371074 w 565021"/>
                  <a:gd name="connsiteY123" fmla="*/ 7121 h 535322"/>
                  <a:gd name="connsiteX124" fmla="*/ 367741 w 565021"/>
                  <a:gd name="connsiteY124" fmla="*/ 6061 h 535322"/>
                  <a:gd name="connsiteX125" fmla="*/ 340922 w 565021"/>
                  <a:gd name="connsiteY125" fmla="*/ 6061 h 535322"/>
                  <a:gd name="connsiteX126" fmla="*/ 333952 w 565021"/>
                  <a:gd name="connsiteY126" fmla="*/ 9243 h 535322"/>
                  <a:gd name="connsiteX127" fmla="*/ 318951 w 565021"/>
                  <a:gd name="connsiteY127" fmla="*/ 9546 h 535322"/>
                  <a:gd name="connsiteX128" fmla="*/ 315466 w 565021"/>
                  <a:gd name="connsiteY128" fmla="*/ 11061 h 535322"/>
                  <a:gd name="connsiteX129" fmla="*/ 308497 w 565021"/>
                  <a:gd name="connsiteY129" fmla="*/ 15304 h 535322"/>
                  <a:gd name="connsiteX130" fmla="*/ 301678 w 565021"/>
                  <a:gd name="connsiteY130" fmla="*/ 15001 h 535322"/>
                  <a:gd name="connsiteX131" fmla="*/ 291526 w 565021"/>
                  <a:gd name="connsiteY131" fmla="*/ 16364 h 535322"/>
                  <a:gd name="connsiteX132" fmla="*/ 271980 w 565021"/>
                  <a:gd name="connsiteY132" fmla="*/ 17880 h 535322"/>
                  <a:gd name="connsiteX133" fmla="*/ 264101 w 565021"/>
                  <a:gd name="connsiteY133" fmla="*/ 20304 h 535322"/>
                  <a:gd name="connsiteX134" fmla="*/ 259252 w 565021"/>
                  <a:gd name="connsiteY134" fmla="*/ 23031 h 535322"/>
                  <a:gd name="connsiteX135" fmla="*/ 251676 w 565021"/>
                  <a:gd name="connsiteY135" fmla="*/ 25910 h 535322"/>
                  <a:gd name="connsiteX136" fmla="*/ 246070 w 565021"/>
                  <a:gd name="connsiteY136" fmla="*/ 29092 h 535322"/>
                  <a:gd name="connsiteX137" fmla="*/ 241676 w 565021"/>
                  <a:gd name="connsiteY137" fmla="*/ 32122 h 535322"/>
                  <a:gd name="connsiteX138" fmla="*/ 238948 w 565021"/>
                  <a:gd name="connsiteY138" fmla="*/ 37123 h 535322"/>
                  <a:gd name="connsiteX139" fmla="*/ 236221 w 565021"/>
                  <a:gd name="connsiteY139" fmla="*/ 39244 h 535322"/>
                  <a:gd name="connsiteX140" fmla="*/ 232433 w 565021"/>
                  <a:gd name="connsiteY140" fmla="*/ 39698 h 535322"/>
                  <a:gd name="connsiteX141" fmla="*/ 228039 w 565021"/>
                  <a:gd name="connsiteY141" fmla="*/ 38335 h 535322"/>
                  <a:gd name="connsiteX142" fmla="*/ 225918 w 565021"/>
                  <a:gd name="connsiteY142" fmla="*/ 38486 h 535322"/>
                  <a:gd name="connsiteX143" fmla="*/ 212432 w 565021"/>
                  <a:gd name="connsiteY143" fmla="*/ 44396 h 535322"/>
                  <a:gd name="connsiteX144" fmla="*/ 207887 w 565021"/>
                  <a:gd name="connsiteY144" fmla="*/ 47123 h 535322"/>
                  <a:gd name="connsiteX145" fmla="*/ 204553 w 565021"/>
                  <a:gd name="connsiteY145" fmla="*/ 49699 h 535322"/>
                  <a:gd name="connsiteX146" fmla="*/ 201068 w 565021"/>
                  <a:gd name="connsiteY146" fmla="*/ 53790 h 535322"/>
                  <a:gd name="connsiteX147" fmla="*/ 196977 w 565021"/>
                  <a:gd name="connsiteY147" fmla="*/ 55760 h 535322"/>
                  <a:gd name="connsiteX148" fmla="*/ 191825 w 565021"/>
                  <a:gd name="connsiteY148" fmla="*/ 59396 h 535322"/>
                  <a:gd name="connsiteX149" fmla="*/ 185158 w 565021"/>
                  <a:gd name="connsiteY149" fmla="*/ 62124 h 535322"/>
                  <a:gd name="connsiteX150" fmla="*/ 182431 w 565021"/>
                  <a:gd name="connsiteY150" fmla="*/ 62426 h 535322"/>
                  <a:gd name="connsiteX151" fmla="*/ 176825 w 565021"/>
                  <a:gd name="connsiteY151" fmla="*/ 61820 h 535322"/>
                  <a:gd name="connsiteX152" fmla="*/ 177582 w 565021"/>
                  <a:gd name="connsiteY152" fmla="*/ 64245 h 535322"/>
                  <a:gd name="connsiteX153" fmla="*/ 179249 w 565021"/>
                  <a:gd name="connsiteY153" fmla="*/ 66063 h 535322"/>
                  <a:gd name="connsiteX154" fmla="*/ 185007 w 565021"/>
                  <a:gd name="connsiteY154" fmla="*/ 70154 h 535322"/>
                  <a:gd name="connsiteX155" fmla="*/ 188492 w 565021"/>
                  <a:gd name="connsiteY155" fmla="*/ 72730 h 535322"/>
                  <a:gd name="connsiteX156" fmla="*/ 188492 w 565021"/>
                  <a:gd name="connsiteY156" fmla="*/ 73639 h 535322"/>
                  <a:gd name="connsiteX157" fmla="*/ 187431 w 565021"/>
                  <a:gd name="connsiteY157" fmla="*/ 75760 h 535322"/>
                  <a:gd name="connsiteX158" fmla="*/ 186977 w 565021"/>
                  <a:gd name="connsiteY158" fmla="*/ 77276 h 535322"/>
                  <a:gd name="connsiteX159" fmla="*/ 187886 w 565021"/>
                  <a:gd name="connsiteY159" fmla="*/ 78791 h 535322"/>
                  <a:gd name="connsiteX160" fmla="*/ 190007 w 565021"/>
                  <a:gd name="connsiteY160" fmla="*/ 80609 h 535322"/>
                  <a:gd name="connsiteX161" fmla="*/ 190158 w 565021"/>
                  <a:gd name="connsiteY161" fmla="*/ 81518 h 535322"/>
                  <a:gd name="connsiteX162" fmla="*/ 189704 w 565021"/>
                  <a:gd name="connsiteY162" fmla="*/ 82579 h 535322"/>
                  <a:gd name="connsiteX163" fmla="*/ 188492 w 565021"/>
                  <a:gd name="connsiteY163" fmla="*/ 84549 h 535322"/>
                  <a:gd name="connsiteX164" fmla="*/ 190916 w 565021"/>
                  <a:gd name="connsiteY164" fmla="*/ 90458 h 535322"/>
                  <a:gd name="connsiteX165" fmla="*/ 191219 w 565021"/>
                  <a:gd name="connsiteY165" fmla="*/ 96216 h 535322"/>
                  <a:gd name="connsiteX166" fmla="*/ 190613 w 565021"/>
                  <a:gd name="connsiteY166" fmla="*/ 100155 h 535322"/>
                  <a:gd name="connsiteX167" fmla="*/ 190613 w 565021"/>
                  <a:gd name="connsiteY167" fmla="*/ 102580 h 535322"/>
                  <a:gd name="connsiteX168" fmla="*/ 190916 w 565021"/>
                  <a:gd name="connsiteY168" fmla="*/ 104549 h 535322"/>
                  <a:gd name="connsiteX169" fmla="*/ 192886 w 565021"/>
                  <a:gd name="connsiteY169" fmla="*/ 109095 h 535322"/>
                  <a:gd name="connsiteX170" fmla="*/ 191674 w 565021"/>
                  <a:gd name="connsiteY170" fmla="*/ 116671 h 535322"/>
                  <a:gd name="connsiteX171" fmla="*/ 193037 w 565021"/>
                  <a:gd name="connsiteY171" fmla="*/ 120762 h 535322"/>
                  <a:gd name="connsiteX172" fmla="*/ 195159 w 565021"/>
                  <a:gd name="connsiteY172" fmla="*/ 124095 h 535322"/>
                  <a:gd name="connsiteX173" fmla="*/ 196220 w 565021"/>
                  <a:gd name="connsiteY173" fmla="*/ 130156 h 535322"/>
                  <a:gd name="connsiteX174" fmla="*/ 197886 w 565021"/>
                  <a:gd name="connsiteY174" fmla="*/ 132884 h 535322"/>
                  <a:gd name="connsiteX175" fmla="*/ 200613 w 565021"/>
                  <a:gd name="connsiteY175" fmla="*/ 135460 h 535322"/>
                  <a:gd name="connsiteX176" fmla="*/ 202129 w 565021"/>
                  <a:gd name="connsiteY176" fmla="*/ 136217 h 535322"/>
                  <a:gd name="connsiteX177" fmla="*/ 205008 w 565021"/>
                  <a:gd name="connsiteY177" fmla="*/ 138338 h 535322"/>
                  <a:gd name="connsiteX178" fmla="*/ 207129 w 565021"/>
                  <a:gd name="connsiteY178" fmla="*/ 140005 h 535322"/>
                  <a:gd name="connsiteX179" fmla="*/ 208493 w 565021"/>
                  <a:gd name="connsiteY179" fmla="*/ 142581 h 535322"/>
                  <a:gd name="connsiteX180" fmla="*/ 205765 w 565021"/>
                  <a:gd name="connsiteY180" fmla="*/ 144702 h 535322"/>
                  <a:gd name="connsiteX181" fmla="*/ 203644 w 565021"/>
                  <a:gd name="connsiteY181" fmla="*/ 146520 h 535322"/>
                  <a:gd name="connsiteX182" fmla="*/ 203038 w 565021"/>
                  <a:gd name="connsiteY182" fmla="*/ 148490 h 535322"/>
                  <a:gd name="connsiteX183" fmla="*/ 204099 w 565021"/>
                  <a:gd name="connsiteY183" fmla="*/ 151672 h 535322"/>
                  <a:gd name="connsiteX184" fmla="*/ 204099 w 565021"/>
                  <a:gd name="connsiteY184" fmla="*/ 153491 h 535322"/>
                  <a:gd name="connsiteX185" fmla="*/ 202735 w 565021"/>
                  <a:gd name="connsiteY185" fmla="*/ 154097 h 535322"/>
                  <a:gd name="connsiteX186" fmla="*/ 197129 w 565021"/>
                  <a:gd name="connsiteY186" fmla="*/ 153794 h 535322"/>
                  <a:gd name="connsiteX187" fmla="*/ 192886 w 565021"/>
                  <a:gd name="connsiteY187" fmla="*/ 153642 h 535322"/>
                  <a:gd name="connsiteX188" fmla="*/ 187886 w 565021"/>
                  <a:gd name="connsiteY188" fmla="*/ 153491 h 535322"/>
                  <a:gd name="connsiteX189" fmla="*/ 180916 w 565021"/>
                  <a:gd name="connsiteY189" fmla="*/ 153187 h 535322"/>
                  <a:gd name="connsiteX190" fmla="*/ 176522 w 565021"/>
                  <a:gd name="connsiteY190" fmla="*/ 153036 h 535322"/>
                  <a:gd name="connsiteX191" fmla="*/ 170613 w 565021"/>
                  <a:gd name="connsiteY191" fmla="*/ 152733 h 535322"/>
                  <a:gd name="connsiteX192" fmla="*/ 168491 w 565021"/>
                  <a:gd name="connsiteY192" fmla="*/ 152884 h 535322"/>
                  <a:gd name="connsiteX193" fmla="*/ 163037 w 565021"/>
                  <a:gd name="connsiteY193" fmla="*/ 153794 h 535322"/>
                  <a:gd name="connsiteX194" fmla="*/ 159248 w 565021"/>
                  <a:gd name="connsiteY194" fmla="*/ 154400 h 535322"/>
                  <a:gd name="connsiteX195" fmla="*/ 158642 w 565021"/>
                  <a:gd name="connsiteY195" fmla="*/ 154703 h 535322"/>
                  <a:gd name="connsiteX196" fmla="*/ 157430 w 565021"/>
                  <a:gd name="connsiteY196" fmla="*/ 155460 h 535322"/>
                  <a:gd name="connsiteX197" fmla="*/ 156521 w 565021"/>
                  <a:gd name="connsiteY197" fmla="*/ 157733 h 535322"/>
                  <a:gd name="connsiteX198" fmla="*/ 155763 w 565021"/>
                  <a:gd name="connsiteY198" fmla="*/ 160460 h 535322"/>
                  <a:gd name="connsiteX199" fmla="*/ 155006 w 565021"/>
                  <a:gd name="connsiteY199" fmla="*/ 161673 h 535322"/>
                  <a:gd name="connsiteX200" fmla="*/ 143490 w 565021"/>
                  <a:gd name="connsiteY200" fmla="*/ 165612 h 535322"/>
                  <a:gd name="connsiteX201" fmla="*/ 138945 w 565021"/>
                  <a:gd name="connsiteY201" fmla="*/ 166218 h 535322"/>
                  <a:gd name="connsiteX202" fmla="*/ 136369 w 565021"/>
                  <a:gd name="connsiteY202" fmla="*/ 165764 h 535322"/>
                  <a:gd name="connsiteX203" fmla="*/ 134399 w 565021"/>
                  <a:gd name="connsiteY203" fmla="*/ 166067 h 535322"/>
                  <a:gd name="connsiteX204" fmla="*/ 132884 w 565021"/>
                  <a:gd name="connsiteY204" fmla="*/ 166976 h 535322"/>
                  <a:gd name="connsiteX205" fmla="*/ 132278 w 565021"/>
                  <a:gd name="connsiteY205" fmla="*/ 168188 h 535322"/>
                  <a:gd name="connsiteX206" fmla="*/ 132278 w 565021"/>
                  <a:gd name="connsiteY206" fmla="*/ 169855 h 535322"/>
                  <a:gd name="connsiteX207" fmla="*/ 132581 w 565021"/>
                  <a:gd name="connsiteY207" fmla="*/ 171370 h 535322"/>
                  <a:gd name="connsiteX208" fmla="*/ 133641 w 565021"/>
                  <a:gd name="connsiteY208" fmla="*/ 173643 h 535322"/>
                  <a:gd name="connsiteX209" fmla="*/ 133944 w 565021"/>
                  <a:gd name="connsiteY209" fmla="*/ 175916 h 535322"/>
                  <a:gd name="connsiteX210" fmla="*/ 133187 w 565021"/>
                  <a:gd name="connsiteY210" fmla="*/ 177582 h 535322"/>
                  <a:gd name="connsiteX211" fmla="*/ 133035 w 565021"/>
                  <a:gd name="connsiteY211" fmla="*/ 179098 h 535322"/>
                  <a:gd name="connsiteX212" fmla="*/ 132732 w 565021"/>
                  <a:gd name="connsiteY212" fmla="*/ 180916 h 535322"/>
                  <a:gd name="connsiteX213" fmla="*/ 133338 w 565021"/>
                  <a:gd name="connsiteY213" fmla="*/ 181825 h 535322"/>
                  <a:gd name="connsiteX214" fmla="*/ 134399 w 565021"/>
                  <a:gd name="connsiteY214" fmla="*/ 181976 h 535322"/>
                  <a:gd name="connsiteX215" fmla="*/ 135460 w 565021"/>
                  <a:gd name="connsiteY215" fmla="*/ 182734 h 535322"/>
                  <a:gd name="connsiteX216" fmla="*/ 137126 w 565021"/>
                  <a:gd name="connsiteY216" fmla="*/ 183492 h 535322"/>
                  <a:gd name="connsiteX217" fmla="*/ 138339 w 565021"/>
                  <a:gd name="connsiteY217" fmla="*/ 184855 h 535322"/>
                  <a:gd name="connsiteX218" fmla="*/ 138339 w 565021"/>
                  <a:gd name="connsiteY218" fmla="*/ 186825 h 535322"/>
                  <a:gd name="connsiteX219" fmla="*/ 137278 w 565021"/>
                  <a:gd name="connsiteY219" fmla="*/ 187886 h 535322"/>
                  <a:gd name="connsiteX220" fmla="*/ 136217 w 565021"/>
                  <a:gd name="connsiteY220" fmla="*/ 188492 h 535322"/>
                  <a:gd name="connsiteX221" fmla="*/ 131974 w 565021"/>
                  <a:gd name="connsiteY221" fmla="*/ 188946 h 535322"/>
                  <a:gd name="connsiteX222" fmla="*/ 128490 w 565021"/>
                  <a:gd name="connsiteY222" fmla="*/ 189401 h 535322"/>
                  <a:gd name="connsiteX223" fmla="*/ 124096 w 565021"/>
                  <a:gd name="connsiteY223" fmla="*/ 192583 h 535322"/>
                  <a:gd name="connsiteX224" fmla="*/ 119247 w 565021"/>
                  <a:gd name="connsiteY224" fmla="*/ 195916 h 535322"/>
                  <a:gd name="connsiteX225" fmla="*/ 113641 w 565021"/>
                  <a:gd name="connsiteY225" fmla="*/ 198038 h 535322"/>
                  <a:gd name="connsiteX226" fmla="*/ 111216 w 565021"/>
                  <a:gd name="connsiteY226" fmla="*/ 198644 h 535322"/>
                  <a:gd name="connsiteX227" fmla="*/ 106822 w 565021"/>
                  <a:gd name="connsiteY227" fmla="*/ 200310 h 535322"/>
                  <a:gd name="connsiteX228" fmla="*/ 101670 w 565021"/>
                  <a:gd name="connsiteY228" fmla="*/ 202886 h 535322"/>
                  <a:gd name="connsiteX229" fmla="*/ 99095 w 565021"/>
                  <a:gd name="connsiteY229" fmla="*/ 206977 h 535322"/>
                  <a:gd name="connsiteX230" fmla="*/ 95912 w 565021"/>
                  <a:gd name="connsiteY230" fmla="*/ 211826 h 535322"/>
                  <a:gd name="connsiteX231" fmla="*/ 92731 w 565021"/>
                  <a:gd name="connsiteY231" fmla="*/ 215008 h 535322"/>
                  <a:gd name="connsiteX232" fmla="*/ 88488 w 565021"/>
                  <a:gd name="connsiteY232" fmla="*/ 218038 h 535322"/>
                  <a:gd name="connsiteX233" fmla="*/ 84548 w 565021"/>
                  <a:gd name="connsiteY233" fmla="*/ 219250 h 535322"/>
                  <a:gd name="connsiteX234" fmla="*/ 79548 w 565021"/>
                  <a:gd name="connsiteY234" fmla="*/ 220614 h 535322"/>
                  <a:gd name="connsiteX235" fmla="*/ 73336 w 565021"/>
                  <a:gd name="connsiteY235" fmla="*/ 221826 h 535322"/>
                  <a:gd name="connsiteX236" fmla="*/ 68791 w 565021"/>
                  <a:gd name="connsiteY236" fmla="*/ 222129 h 535322"/>
                  <a:gd name="connsiteX237" fmla="*/ 67578 w 565021"/>
                  <a:gd name="connsiteY237" fmla="*/ 222432 h 535322"/>
                  <a:gd name="connsiteX238" fmla="*/ 63639 w 565021"/>
                  <a:gd name="connsiteY238" fmla="*/ 222432 h 535322"/>
                  <a:gd name="connsiteX239" fmla="*/ 61669 w 565021"/>
                  <a:gd name="connsiteY239" fmla="*/ 222281 h 535322"/>
                  <a:gd name="connsiteX240" fmla="*/ 60305 w 565021"/>
                  <a:gd name="connsiteY240" fmla="*/ 222129 h 535322"/>
                  <a:gd name="connsiteX241" fmla="*/ 59699 w 565021"/>
                  <a:gd name="connsiteY241" fmla="*/ 222432 h 535322"/>
                  <a:gd name="connsiteX242" fmla="*/ 59548 w 565021"/>
                  <a:gd name="connsiteY242" fmla="*/ 223190 h 535322"/>
                  <a:gd name="connsiteX243" fmla="*/ 59396 w 565021"/>
                  <a:gd name="connsiteY243" fmla="*/ 224857 h 535322"/>
                  <a:gd name="connsiteX244" fmla="*/ 59093 w 565021"/>
                  <a:gd name="connsiteY244" fmla="*/ 226826 h 535322"/>
                  <a:gd name="connsiteX245" fmla="*/ 57881 w 565021"/>
                  <a:gd name="connsiteY245" fmla="*/ 228493 h 535322"/>
                  <a:gd name="connsiteX246" fmla="*/ 57123 w 565021"/>
                  <a:gd name="connsiteY246" fmla="*/ 229251 h 535322"/>
                  <a:gd name="connsiteX247" fmla="*/ 56063 w 565021"/>
                  <a:gd name="connsiteY247" fmla="*/ 229554 h 535322"/>
                  <a:gd name="connsiteX248" fmla="*/ 52729 w 565021"/>
                  <a:gd name="connsiteY248" fmla="*/ 229099 h 535322"/>
                  <a:gd name="connsiteX249" fmla="*/ 50002 w 565021"/>
                  <a:gd name="connsiteY249" fmla="*/ 228645 h 535322"/>
                  <a:gd name="connsiteX250" fmla="*/ 43486 w 565021"/>
                  <a:gd name="connsiteY250" fmla="*/ 227887 h 535322"/>
                  <a:gd name="connsiteX251" fmla="*/ 42123 w 565021"/>
                  <a:gd name="connsiteY251" fmla="*/ 228039 h 535322"/>
                  <a:gd name="connsiteX252" fmla="*/ 41668 w 565021"/>
                  <a:gd name="connsiteY252" fmla="*/ 228342 h 535322"/>
                  <a:gd name="connsiteX253" fmla="*/ 39547 w 565021"/>
                  <a:gd name="connsiteY253" fmla="*/ 229402 h 535322"/>
                  <a:gd name="connsiteX254" fmla="*/ 36517 w 565021"/>
                  <a:gd name="connsiteY254" fmla="*/ 231827 h 535322"/>
                  <a:gd name="connsiteX255" fmla="*/ 34395 w 565021"/>
                  <a:gd name="connsiteY255" fmla="*/ 233797 h 535322"/>
                  <a:gd name="connsiteX256" fmla="*/ 32729 w 565021"/>
                  <a:gd name="connsiteY256" fmla="*/ 234857 h 535322"/>
                  <a:gd name="connsiteX257" fmla="*/ 28941 w 565021"/>
                  <a:gd name="connsiteY257" fmla="*/ 235312 h 535322"/>
                  <a:gd name="connsiteX258" fmla="*/ 27274 w 565021"/>
                  <a:gd name="connsiteY258" fmla="*/ 236069 h 535322"/>
                  <a:gd name="connsiteX259" fmla="*/ 20152 w 565021"/>
                  <a:gd name="connsiteY259" fmla="*/ 241221 h 535322"/>
                  <a:gd name="connsiteX260" fmla="*/ 18788 w 565021"/>
                  <a:gd name="connsiteY260" fmla="*/ 242585 h 535322"/>
                  <a:gd name="connsiteX261" fmla="*/ 11364 w 565021"/>
                  <a:gd name="connsiteY261" fmla="*/ 246979 h 535322"/>
                  <a:gd name="connsiteX262" fmla="*/ 9394 w 565021"/>
                  <a:gd name="connsiteY262" fmla="*/ 248494 h 535322"/>
                  <a:gd name="connsiteX263" fmla="*/ 7728 w 565021"/>
                  <a:gd name="connsiteY263" fmla="*/ 250009 h 535322"/>
                  <a:gd name="connsiteX264" fmla="*/ 3485 w 565021"/>
                  <a:gd name="connsiteY264" fmla="*/ 253343 h 535322"/>
                  <a:gd name="connsiteX265" fmla="*/ 606 w 565021"/>
                  <a:gd name="connsiteY265" fmla="*/ 254858 h 535322"/>
                  <a:gd name="connsiteX266" fmla="*/ 152 w 565021"/>
                  <a:gd name="connsiteY266" fmla="*/ 255615 h 535322"/>
                  <a:gd name="connsiteX267" fmla="*/ 0 w 565021"/>
                  <a:gd name="connsiteY267" fmla="*/ 257737 h 535322"/>
                  <a:gd name="connsiteX268" fmla="*/ 0 w 565021"/>
                  <a:gd name="connsiteY268" fmla="*/ 262131 h 535322"/>
                  <a:gd name="connsiteX269" fmla="*/ 0 w 565021"/>
                  <a:gd name="connsiteY269" fmla="*/ 266525 h 535322"/>
                  <a:gd name="connsiteX270" fmla="*/ 0 w 565021"/>
                  <a:gd name="connsiteY270" fmla="*/ 272737 h 535322"/>
                  <a:gd name="connsiteX271" fmla="*/ 0 w 565021"/>
                  <a:gd name="connsiteY271" fmla="*/ 278950 h 535322"/>
                  <a:gd name="connsiteX272" fmla="*/ 0 w 565021"/>
                  <a:gd name="connsiteY272" fmla="*/ 286071 h 535322"/>
                  <a:gd name="connsiteX273" fmla="*/ 0 w 565021"/>
                  <a:gd name="connsiteY273" fmla="*/ 291071 h 535322"/>
                  <a:gd name="connsiteX274" fmla="*/ 0 w 565021"/>
                  <a:gd name="connsiteY274" fmla="*/ 296981 h 535322"/>
                  <a:gd name="connsiteX275" fmla="*/ 5152 w 565021"/>
                  <a:gd name="connsiteY275" fmla="*/ 300314 h 535322"/>
                  <a:gd name="connsiteX276" fmla="*/ 10303 w 565021"/>
                  <a:gd name="connsiteY276" fmla="*/ 303496 h 535322"/>
                  <a:gd name="connsiteX277" fmla="*/ 15455 w 565021"/>
                  <a:gd name="connsiteY277" fmla="*/ 306678 h 535322"/>
                  <a:gd name="connsiteX278" fmla="*/ 20607 w 565021"/>
                  <a:gd name="connsiteY278" fmla="*/ 310011 h 535322"/>
                  <a:gd name="connsiteX279" fmla="*/ 25759 w 565021"/>
                  <a:gd name="connsiteY279" fmla="*/ 313193 h 535322"/>
                  <a:gd name="connsiteX280" fmla="*/ 30910 w 565021"/>
                  <a:gd name="connsiteY280" fmla="*/ 316375 h 535322"/>
                  <a:gd name="connsiteX281" fmla="*/ 36062 w 565021"/>
                  <a:gd name="connsiteY281" fmla="*/ 319709 h 535322"/>
                  <a:gd name="connsiteX282" fmla="*/ 41214 w 565021"/>
                  <a:gd name="connsiteY282" fmla="*/ 322891 h 535322"/>
                  <a:gd name="connsiteX283" fmla="*/ 46365 w 565021"/>
                  <a:gd name="connsiteY283" fmla="*/ 326073 h 535322"/>
                  <a:gd name="connsiteX284" fmla="*/ 51517 w 565021"/>
                  <a:gd name="connsiteY284" fmla="*/ 329406 h 535322"/>
                  <a:gd name="connsiteX285" fmla="*/ 56517 w 565021"/>
                  <a:gd name="connsiteY285" fmla="*/ 332588 h 535322"/>
                  <a:gd name="connsiteX286" fmla="*/ 61669 w 565021"/>
                  <a:gd name="connsiteY286" fmla="*/ 335770 h 535322"/>
                  <a:gd name="connsiteX287" fmla="*/ 66821 w 565021"/>
                  <a:gd name="connsiteY287" fmla="*/ 338952 h 535322"/>
                  <a:gd name="connsiteX288" fmla="*/ 71972 w 565021"/>
                  <a:gd name="connsiteY288" fmla="*/ 342285 h 535322"/>
                  <a:gd name="connsiteX289" fmla="*/ 77124 w 565021"/>
                  <a:gd name="connsiteY289" fmla="*/ 345467 h 535322"/>
                  <a:gd name="connsiteX290" fmla="*/ 82276 w 565021"/>
                  <a:gd name="connsiteY290" fmla="*/ 348649 h 535322"/>
                  <a:gd name="connsiteX291" fmla="*/ 86670 w 565021"/>
                  <a:gd name="connsiteY291" fmla="*/ 351377 h 535322"/>
                  <a:gd name="connsiteX292" fmla="*/ 93185 w 565021"/>
                  <a:gd name="connsiteY292" fmla="*/ 355619 h 535322"/>
                  <a:gd name="connsiteX293" fmla="*/ 99398 w 565021"/>
                  <a:gd name="connsiteY293" fmla="*/ 359710 h 535322"/>
                  <a:gd name="connsiteX294" fmla="*/ 105610 w 565021"/>
                  <a:gd name="connsiteY294" fmla="*/ 363801 h 535322"/>
                  <a:gd name="connsiteX295" fmla="*/ 113943 w 565021"/>
                  <a:gd name="connsiteY295" fmla="*/ 369256 h 535322"/>
                  <a:gd name="connsiteX296" fmla="*/ 121519 w 565021"/>
                  <a:gd name="connsiteY296" fmla="*/ 374559 h 535322"/>
                  <a:gd name="connsiteX297" fmla="*/ 130460 w 565021"/>
                  <a:gd name="connsiteY297" fmla="*/ 380772 h 535322"/>
                  <a:gd name="connsiteX298" fmla="*/ 139551 w 565021"/>
                  <a:gd name="connsiteY298" fmla="*/ 386832 h 535322"/>
                  <a:gd name="connsiteX299" fmla="*/ 148490 w 565021"/>
                  <a:gd name="connsiteY299" fmla="*/ 393045 h 535322"/>
                  <a:gd name="connsiteX300" fmla="*/ 157430 w 565021"/>
                  <a:gd name="connsiteY300" fmla="*/ 399257 h 535322"/>
                  <a:gd name="connsiteX301" fmla="*/ 166370 w 565021"/>
                  <a:gd name="connsiteY301" fmla="*/ 405318 h 535322"/>
                  <a:gd name="connsiteX302" fmla="*/ 175310 w 565021"/>
                  <a:gd name="connsiteY302" fmla="*/ 411530 h 535322"/>
                  <a:gd name="connsiteX303" fmla="*/ 184249 w 565021"/>
                  <a:gd name="connsiteY303" fmla="*/ 417743 h 535322"/>
                  <a:gd name="connsiteX304" fmla="*/ 193189 w 565021"/>
                  <a:gd name="connsiteY304" fmla="*/ 423803 h 535322"/>
                  <a:gd name="connsiteX305" fmla="*/ 202129 w 565021"/>
                  <a:gd name="connsiteY305" fmla="*/ 430016 h 535322"/>
                  <a:gd name="connsiteX306" fmla="*/ 211220 w 565021"/>
                  <a:gd name="connsiteY306" fmla="*/ 436077 h 535322"/>
                  <a:gd name="connsiteX307" fmla="*/ 220160 w 565021"/>
                  <a:gd name="connsiteY307" fmla="*/ 442289 h 535322"/>
                  <a:gd name="connsiteX308" fmla="*/ 229099 w 565021"/>
                  <a:gd name="connsiteY308" fmla="*/ 448350 h 535322"/>
                  <a:gd name="connsiteX309" fmla="*/ 238039 w 565021"/>
                  <a:gd name="connsiteY309" fmla="*/ 454411 h 535322"/>
                  <a:gd name="connsiteX310" fmla="*/ 246979 w 565021"/>
                  <a:gd name="connsiteY310" fmla="*/ 460623 h 535322"/>
                  <a:gd name="connsiteX311" fmla="*/ 255919 w 565021"/>
                  <a:gd name="connsiteY311" fmla="*/ 466684 h 535322"/>
                  <a:gd name="connsiteX312" fmla="*/ 264858 w 565021"/>
                  <a:gd name="connsiteY312" fmla="*/ 472744 h 535322"/>
                  <a:gd name="connsiteX313" fmla="*/ 268949 w 565021"/>
                  <a:gd name="connsiteY313" fmla="*/ 475472 h 535322"/>
                  <a:gd name="connsiteX314" fmla="*/ 269252 w 565021"/>
                  <a:gd name="connsiteY314" fmla="*/ 476532 h 535322"/>
                  <a:gd name="connsiteX315" fmla="*/ 269707 w 565021"/>
                  <a:gd name="connsiteY315" fmla="*/ 478957 h 535322"/>
                  <a:gd name="connsiteX316" fmla="*/ 269404 w 565021"/>
                  <a:gd name="connsiteY316" fmla="*/ 481533 h 535322"/>
                  <a:gd name="connsiteX317" fmla="*/ 269404 w 565021"/>
                  <a:gd name="connsiteY317" fmla="*/ 483503 h 535322"/>
                  <a:gd name="connsiteX318" fmla="*/ 270616 w 565021"/>
                  <a:gd name="connsiteY318" fmla="*/ 485018 h 535322"/>
                  <a:gd name="connsiteX319" fmla="*/ 272889 w 565021"/>
                  <a:gd name="connsiteY319" fmla="*/ 486533 h 535322"/>
                  <a:gd name="connsiteX320" fmla="*/ 281677 w 565021"/>
                  <a:gd name="connsiteY320" fmla="*/ 490927 h 535322"/>
                  <a:gd name="connsiteX321" fmla="*/ 282283 w 565021"/>
                  <a:gd name="connsiteY321" fmla="*/ 491836 h 535322"/>
                  <a:gd name="connsiteX322" fmla="*/ 282586 w 565021"/>
                  <a:gd name="connsiteY322" fmla="*/ 493806 h 535322"/>
                  <a:gd name="connsiteX323" fmla="*/ 283647 w 565021"/>
                  <a:gd name="connsiteY323" fmla="*/ 496079 h 535322"/>
                  <a:gd name="connsiteX324" fmla="*/ 285617 w 565021"/>
                  <a:gd name="connsiteY324" fmla="*/ 497291 h 535322"/>
                  <a:gd name="connsiteX325" fmla="*/ 287738 w 565021"/>
                  <a:gd name="connsiteY325" fmla="*/ 498352 h 535322"/>
                  <a:gd name="connsiteX326" fmla="*/ 290314 w 565021"/>
                  <a:gd name="connsiteY326" fmla="*/ 498958 h 535322"/>
                  <a:gd name="connsiteX327" fmla="*/ 298344 w 565021"/>
                  <a:gd name="connsiteY327" fmla="*/ 499715 h 535322"/>
                  <a:gd name="connsiteX328" fmla="*/ 300011 w 565021"/>
                  <a:gd name="connsiteY328" fmla="*/ 500776 h 535322"/>
                  <a:gd name="connsiteX329" fmla="*/ 303344 w 565021"/>
                  <a:gd name="connsiteY329" fmla="*/ 504867 h 535322"/>
                  <a:gd name="connsiteX330" fmla="*/ 305314 w 565021"/>
                  <a:gd name="connsiteY330" fmla="*/ 505776 h 535322"/>
                  <a:gd name="connsiteX331" fmla="*/ 310618 w 565021"/>
                  <a:gd name="connsiteY331" fmla="*/ 506988 h 535322"/>
                  <a:gd name="connsiteX332" fmla="*/ 314406 w 565021"/>
                  <a:gd name="connsiteY332" fmla="*/ 507594 h 535322"/>
                  <a:gd name="connsiteX333" fmla="*/ 315921 w 565021"/>
                  <a:gd name="connsiteY333" fmla="*/ 508049 h 535322"/>
                  <a:gd name="connsiteX334" fmla="*/ 319406 w 565021"/>
                  <a:gd name="connsiteY334" fmla="*/ 509110 h 535322"/>
                  <a:gd name="connsiteX335" fmla="*/ 323194 w 565021"/>
                  <a:gd name="connsiteY335" fmla="*/ 510928 h 535322"/>
                  <a:gd name="connsiteX336" fmla="*/ 325163 w 565021"/>
                  <a:gd name="connsiteY336" fmla="*/ 512746 h 535322"/>
                  <a:gd name="connsiteX337" fmla="*/ 325163 w 565021"/>
                  <a:gd name="connsiteY337" fmla="*/ 513200 h 535322"/>
                  <a:gd name="connsiteX338" fmla="*/ 325163 w 565021"/>
                  <a:gd name="connsiteY338" fmla="*/ 514716 h 535322"/>
                  <a:gd name="connsiteX339" fmla="*/ 325163 w 565021"/>
                  <a:gd name="connsiteY339" fmla="*/ 519110 h 535322"/>
                  <a:gd name="connsiteX340" fmla="*/ 325921 w 565021"/>
                  <a:gd name="connsiteY340" fmla="*/ 521686 h 535322"/>
                  <a:gd name="connsiteX341" fmla="*/ 326679 w 565021"/>
                  <a:gd name="connsiteY341" fmla="*/ 523353 h 535322"/>
                  <a:gd name="connsiteX342" fmla="*/ 326679 w 565021"/>
                  <a:gd name="connsiteY342" fmla="*/ 524413 h 535322"/>
                  <a:gd name="connsiteX343" fmla="*/ 325618 w 565021"/>
                  <a:gd name="connsiteY343" fmla="*/ 525171 h 535322"/>
                  <a:gd name="connsiteX344" fmla="*/ 324861 w 565021"/>
                  <a:gd name="connsiteY344" fmla="*/ 526231 h 535322"/>
                  <a:gd name="connsiteX345" fmla="*/ 324558 w 565021"/>
                  <a:gd name="connsiteY345" fmla="*/ 527443 h 535322"/>
                  <a:gd name="connsiteX346" fmla="*/ 323497 w 565021"/>
                  <a:gd name="connsiteY346" fmla="*/ 528959 h 535322"/>
                  <a:gd name="connsiteX347" fmla="*/ 322588 w 565021"/>
                  <a:gd name="connsiteY347" fmla="*/ 530777 h 535322"/>
                  <a:gd name="connsiteX348" fmla="*/ 322891 w 565021"/>
                  <a:gd name="connsiteY348" fmla="*/ 532141 h 535322"/>
                  <a:gd name="connsiteX349" fmla="*/ 324406 w 565021"/>
                  <a:gd name="connsiteY349" fmla="*/ 532898 h 535322"/>
                  <a:gd name="connsiteX350" fmla="*/ 326679 w 565021"/>
                  <a:gd name="connsiteY350" fmla="*/ 534565 h 535322"/>
                  <a:gd name="connsiteX351" fmla="*/ 328497 w 565021"/>
                  <a:gd name="connsiteY351" fmla="*/ 535323 h 535322"/>
                  <a:gd name="connsiteX352" fmla="*/ 329406 w 565021"/>
                  <a:gd name="connsiteY352" fmla="*/ 535323 h 535322"/>
                  <a:gd name="connsiteX353" fmla="*/ 330618 w 565021"/>
                  <a:gd name="connsiteY353" fmla="*/ 535323 h 535322"/>
                  <a:gd name="connsiteX354" fmla="*/ 331679 w 565021"/>
                  <a:gd name="connsiteY354" fmla="*/ 535020 h 535322"/>
                  <a:gd name="connsiteX355" fmla="*/ 338346 w 565021"/>
                  <a:gd name="connsiteY355" fmla="*/ 533807 h 535322"/>
                  <a:gd name="connsiteX356" fmla="*/ 344558 w 565021"/>
                  <a:gd name="connsiteY356" fmla="*/ 532595 h 535322"/>
                  <a:gd name="connsiteX357" fmla="*/ 353195 w 565021"/>
                  <a:gd name="connsiteY357" fmla="*/ 530929 h 535322"/>
                  <a:gd name="connsiteX358" fmla="*/ 359256 w 565021"/>
                  <a:gd name="connsiteY358" fmla="*/ 529716 h 535322"/>
                  <a:gd name="connsiteX359" fmla="*/ 365317 w 565021"/>
                  <a:gd name="connsiteY359" fmla="*/ 528504 h 535322"/>
                  <a:gd name="connsiteX360" fmla="*/ 374408 w 565021"/>
                  <a:gd name="connsiteY360" fmla="*/ 526837 h 535322"/>
                  <a:gd name="connsiteX361" fmla="*/ 384257 w 565021"/>
                  <a:gd name="connsiteY361" fmla="*/ 524868 h 535322"/>
                  <a:gd name="connsiteX362" fmla="*/ 394863 w 565021"/>
                  <a:gd name="connsiteY362" fmla="*/ 522746 h 535322"/>
                  <a:gd name="connsiteX363" fmla="*/ 397287 w 565021"/>
                  <a:gd name="connsiteY363" fmla="*/ 521534 h 535322"/>
                  <a:gd name="connsiteX364" fmla="*/ 405318 w 565021"/>
                  <a:gd name="connsiteY364" fmla="*/ 514261 h 535322"/>
                  <a:gd name="connsiteX365" fmla="*/ 408954 w 565021"/>
                  <a:gd name="connsiteY365" fmla="*/ 511079 h 535322"/>
                  <a:gd name="connsiteX366" fmla="*/ 416228 w 565021"/>
                  <a:gd name="connsiteY366" fmla="*/ 504715 h 535322"/>
                  <a:gd name="connsiteX367" fmla="*/ 421682 w 565021"/>
                  <a:gd name="connsiteY367" fmla="*/ 499715 h 535322"/>
                  <a:gd name="connsiteX368" fmla="*/ 428804 w 565021"/>
                  <a:gd name="connsiteY368" fmla="*/ 493351 h 535322"/>
                  <a:gd name="connsiteX369" fmla="*/ 436380 w 565021"/>
                  <a:gd name="connsiteY369" fmla="*/ 486987 h 535322"/>
                  <a:gd name="connsiteX370" fmla="*/ 442289 w 565021"/>
                  <a:gd name="connsiteY370" fmla="*/ 481987 h 535322"/>
                  <a:gd name="connsiteX371" fmla="*/ 451683 w 565021"/>
                  <a:gd name="connsiteY371" fmla="*/ 476230 h 535322"/>
                  <a:gd name="connsiteX372" fmla="*/ 465775 w 565021"/>
                  <a:gd name="connsiteY372" fmla="*/ 467593 h 535322"/>
                  <a:gd name="connsiteX373" fmla="*/ 480018 w 565021"/>
                  <a:gd name="connsiteY373" fmla="*/ 458805 h 535322"/>
                  <a:gd name="connsiteX374" fmla="*/ 494109 w 565021"/>
                  <a:gd name="connsiteY374" fmla="*/ 450168 h 535322"/>
                  <a:gd name="connsiteX375" fmla="*/ 508352 w 565021"/>
                  <a:gd name="connsiteY375" fmla="*/ 441380 h 535322"/>
                  <a:gd name="connsiteX376" fmla="*/ 522444 w 565021"/>
                  <a:gd name="connsiteY376" fmla="*/ 432743 h 535322"/>
                  <a:gd name="connsiteX377" fmla="*/ 536687 w 565021"/>
                  <a:gd name="connsiteY377" fmla="*/ 423955 h 535322"/>
                  <a:gd name="connsiteX378" fmla="*/ 550930 w 565021"/>
                  <a:gd name="connsiteY378" fmla="*/ 415167 h 535322"/>
                  <a:gd name="connsiteX379" fmla="*/ 565021 w 565021"/>
                  <a:gd name="connsiteY379" fmla="*/ 406379 h 53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565021" h="535322">
                    <a:moveTo>
                      <a:pt x="562445" y="401378"/>
                    </a:moveTo>
                    <a:lnTo>
                      <a:pt x="559566" y="395621"/>
                    </a:lnTo>
                    <a:lnTo>
                      <a:pt x="555627" y="388499"/>
                    </a:lnTo>
                    <a:lnTo>
                      <a:pt x="553203" y="384105"/>
                    </a:lnTo>
                    <a:lnTo>
                      <a:pt x="552445" y="383499"/>
                    </a:lnTo>
                    <a:lnTo>
                      <a:pt x="541535" y="380014"/>
                    </a:lnTo>
                    <a:lnTo>
                      <a:pt x="530020" y="376680"/>
                    </a:lnTo>
                    <a:lnTo>
                      <a:pt x="523201" y="378650"/>
                    </a:lnTo>
                    <a:lnTo>
                      <a:pt x="521989" y="378499"/>
                    </a:lnTo>
                    <a:lnTo>
                      <a:pt x="520171" y="377287"/>
                    </a:lnTo>
                    <a:lnTo>
                      <a:pt x="518201" y="375468"/>
                    </a:lnTo>
                    <a:lnTo>
                      <a:pt x="517140" y="373044"/>
                    </a:lnTo>
                    <a:lnTo>
                      <a:pt x="514413" y="369711"/>
                    </a:lnTo>
                    <a:lnTo>
                      <a:pt x="511989" y="362135"/>
                    </a:lnTo>
                    <a:lnTo>
                      <a:pt x="511685" y="356074"/>
                    </a:lnTo>
                    <a:lnTo>
                      <a:pt x="511231" y="353952"/>
                    </a:lnTo>
                    <a:lnTo>
                      <a:pt x="505170" y="345467"/>
                    </a:lnTo>
                    <a:lnTo>
                      <a:pt x="499716" y="337740"/>
                    </a:lnTo>
                    <a:lnTo>
                      <a:pt x="496079" y="332588"/>
                    </a:lnTo>
                    <a:lnTo>
                      <a:pt x="495321" y="330315"/>
                    </a:lnTo>
                    <a:lnTo>
                      <a:pt x="495776" y="327436"/>
                    </a:lnTo>
                    <a:lnTo>
                      <a:pt x="497291" y="324860"/>
                    </a:lnTo>
                    <a:lnTo>
                      <a:pt x="502595" y="321830"/>
                    </a:lnTo>
                    <a:lnTo>
                      <a:pt x="507292" y="318497"/>
                    </a:lnTo>
                    <a:lnTo>
                      <a:pt x="508049" y="316224"/>
                    </a:lnTo>
                    <a:lnTo>
                      <a:pt x="508352" y="309860"/>
                    </a:lnTo>
                    <a:lnTo>
                      <a:pt x="506686" y="307890"/>
                    </a:lnTo>
                    <a:lnTo>
                      <a:pt x="505625" y="304102"/>
                    </a:lnTo>
                    <a:lnTo>
                      <a:pt x="504413" y="298950"/>
                    </a:lnTo>
                    <a:lnTo>
                      <a:pt x="504261" y="295617"/>
                    </a:lnTo>
                    <a:lnTo>
                      <a:pt x="506383" y="289101"/>
                    </a:lnTo>
                    <a:lnTo>
                      <a:pt x="508958" y="282283"/>
                    </a:lnTo>
                    <a:lnTo>
                      <a:pt x="507292" y="274707"/>
                    </a:lnTo>
                    <a:lnTo>
                      <a:pt x="506079" y="259403"/>
                    </a:lnTo>
                    <a:lnTo>
                      <a:pt x="506837" y="247433"/>
                    </a:lnTo>
                    <a:lnTo>
                      <a:pt x="506231" y="243039"/>
                    </a:lnTo>
                    <a:lnTo>
                      <a:pt x="505928" y="241221"/>
                    </a:lnTo>
                    <a:lnTo>
                      <a:pt x="504261" y="235463"/>
                    </a:lnTo>
                    <a:lnTo>
                      <a:pt x="502291" y="229705"/>
                    </a:lnTo>
                    <a:lnTo>
                      <a:pt x="501382" y="227584"/>
                    </a:lnTo>
                    <a:lnTo>
                      <a:pt x="498807" y="222887"/>
                    </a:lnTo>
                    <a:lnTo>
                      <a:pt x="494564" y="216978"/>
                    </a:lnTo>
                    <a:lnTo>
                      <a:pt x="492291" y="213341"/>
                    </a:lnTo>
                    <a:lnTo>
                      <a:pt x="495321" y="211371"/>
                    </a:lnTo>
                    <a:lnTo>
                      <a:pt x="498049" y="209856"/>
                    </a:lnTo>
                    <a:lnTo>
                      <a:pt x="496382" y="202886"/>
                    </a:lnTo>
                    <a:lnTo>
                      <a:pt x="494867" y="196825"/>
                    </a:lnTo>
                    <a:lnTo>
                      <a:pt x="493806" y="191825"/>
                    </a:lnTo>
                    <a:lnTo>
                      <a:pt x="491685" y="183037"/>
                    </a:lnTo>
                    <a:lnTo>
                      <a:pt x="490018" y="175612"/>
                    </a:lnTo>
                    <a:lnTo>
                      <a:pt x="488200" y="168188"/>
                    </a:lnTo>
                    <a:lnTo>
                      <a:pt x="486685" y="161370"/>
                    </a:lnTo>
                    <a:lnTo>
                      <a:pt x="485018" y="154551"/>
                    </a:lnTo>
                    <a:lnTo>
                      <a:pt x="484412" y="153491"/>
                    </a:lnTo>
                    <a:lnTo>
                      <a:pt x="479563" y="150308"/>
                    </a:lnTo>
                    <a:lnTo>
                      <a:pt x="475169" y="147278"/>
                    </a:lnTo>
                    <a:lnTo>
                      <a:pt x="470623" y="143945"/>
                    </a:lnTo>
                    <a:lnTo>
                      <a:pt x="465624" y="140308"/>
                    </a:lnTo>
                    <a:lnTo>
                      <a:pt x="464714" y="135611"/>
                    </a:lnTo>
                    <a:lnTo>
                      <a:pt x="462290" y="128641"/>
                    </a:lnTo>
                    <a:lnTo>
                      <a:pt x="459562" y="124701"/>
                    </a:lnTo>
                    <a:lnTo>
                      <a:pt x="458502" y="123641"/>
                    </a:lnTo>
                    <a:lnTo>
                      <a:pt x="453047" y="121217"/>
                    </a:lnTo>
                    <a:lnTo>
                      <a:pt x="450017" y="119247"/>
                    </a:lnTo>
                    <a:lnTo>
                      <a:pt x="449108" y="118186"/>
                    </a:lnTo>
                    <a:lnTo>
                      <a:pt x="448502" y="115307"/>
                    </a:lnTo>
                    <a:lnTo>
                      <a:pt x="446229" y="109701"/>
                    </a:lnTo>
                    <a:lnTo>
                      <a:pt x="443653" y="104549"/>
                    </a:lnTo>
                    <a:lnTo>
                      <a:pt x="442744" y="100913"/>
                    </a:lnTo>
                    <a:lnTo>
                      <a:pt x="442592" y="96519"/>
                    </a:lnTo>
                    <a:lnTo>
                      <a:pt x="443198" y="93337"/>
                    </a:lnTo>
                    <a:lnTo>
                      <a:pt x="444259" y="91973"/>
                    </a:lnTo>
                    <a:lnTo>
                      <a:pt x="449562" y="88033"/>
                    </a:lnTo>
                    <a:lnTo>
                      <a:pt x="451986" y="83336"/>
                    </a:lnTo>
                    <a:lnTo>
                      <a:pt x="455017" y="81518"/>
                    </a:lnTo>
                    <a:lnTo>
                      <a:pt x="457744" y="80155"/>
                    </a:lnTo>
                    <a:lnTo>
                      <a:pt x="459866" y="78488"/>
                    </a:lnTo>
                    <a:lnTo>
                      <a:pt x="461684" y="76063"/>
                    </a:lnTo>
                    <a:lnTo>
                      <a:pt x="463199" y="73336"/>
                    </a:lnTo>
                    <a:lnTo>
                      <a:pt x="463502" y="70306"/>
                    </a:lnTo>
                    <a:lnTo>
                      <a:pt x="464108" y="65760"/>
                    </a:lnTo>
                    <a:lnTo>
                      <a:pt x="465017" y="62426"/>
                    </a:lnTo>
                    <a:lnTo>
                      <a:pt x="467290" y="58790"/>
                    </a:lnTo>
                    <a:lnTo>
                      <a:pt x="466381" y="55911"/>
                    </a:lnTo>
                    <a:lnTo>
                      <a:pt x="465169" y="52578"/>
                    </a:lnTo>
                    <a:lnTo>
                      <a:pt x="465472" y="47123"/>
                    </a:lnTo>
                    <a:lnTo>
                      <a:pt x="465169" y="44850"/>
                    </a:lnTo>
                    <a:lnTo>
                      <a:pt x="464260" y="42880"/>
                    </a:lnTo>
                    <a:lnTo>
                      <a:pt x="463199" y="40305"/>
                    </a:lnTo>
                    <a:lnTo>
                      <a:pt x="463199" y="38183"/>
                    </a:lnTo>
                    <a:lnTo>
                      <a:pt x="464108" y="32577"/>
                    </a:lnTo>
                    <a:lnTo>
                      <a:pt x="464866" y="28183"/>
                    </a:lnTo>
                    <a:lnTo>
                      <a:pt x="465926" y="22577"/>
                    </a:lnTo>
                    <a:lnTo>
                      <a:pt x="465624" y="21061"/>
                    </a:lnTo>
                    <a:lnTo>
                      <a:pt x="464714" y="19849"/>
                    </a:lnTo>
                    <a:lnTo>
                      <a:pt x="462138" y="18637"/>
                    </a:lnTo>
                    <a:lnTo>
                      <a:pt x="462138" y="17880"/>
                    </a:lnTo>
                    <a:lnTo>
                      <a:pt x="462745" y="17122"/>
                    </a:lnTo>
                    <a:lnTo>
                      <a:pt x="466533" y="14394"/>
                    </a:lnTo>
                    <a:lnTo>
                      <a:pt x="468654" y="10304"/>
                    </a:lnTo>
                    <a:lnTo>
                      <a:pt x="470321" y="9546"/>
                    </a:lnTo>
                    <a:lnTo>
                      <a:pt x="472896" y="8031"/>
                    </a:lnTo>
                    <a:lnTo>
                      <a:pt x="472745" y="6516"/>
                    </a:lnTo>
                    <a:lnTo>
                      <a:pt x="472290" y="4849"/>
                    </a:lnTo>
                    <a:lnTo>
                      <a:pt x="459866" y="5606"/>
                    </a:lnTo>
                    <a:lnTo>
                      <a:pt x="453956" y="7425"/>
                    </a:lnTo>
                    <a:lnTo>
                      <a:pt x="450774" y="6667"/>
                    </a:lnTo>
                    <a:lnTo>
                      <a:pt x="445774" y="2879"/>
                    </a:lnTo>
                    <a:lnTo>
                      <a:pt x="440926" y="1061"/>
                    </a:lnTo>
                    <a:lnTo>
                      <a:pt x="434713" y="0"/>
                    </a:lnTo>
                    <a:lnTo>
                      <a:pt x="435622" y="3788"/>
                    </a:lnTo>
                    <a:lnTo>
                      <a:pt x="433046" y="4697"/>
                    </a:lnTo>
                    <a:lnTo>
                      <a:pt x="427137" y="5455"/>
                    </a:lnTo>
                    <a:lnTo>
                      <a:pt x="417440" y="2727"/>
                    </a:lnTo>
                    <a:lnTo>
                      <a:pt x="415016" y="152"/>
                    </a:lnTo>
                    <a:lnTo>
                      <a:pt x="410773" y="1364"/>
                    </a:lnTo>
                    <a:lnTo>
                      <a:pt x="408500" y="4849"/>
                    </a:lnTo>
                    <a:lnTo>
                      <a:pt x="403500" y="7121"/>
                    </a:lnTo>
                    <a:lnTo>
                      <a:pt x="394257" y="9091"/>
                    </a:lnTo>
                    <a:lnTo>
                      <a:pt x="385923" y="13031"/>
                    </a:lnTo>
                    <a:lnTo>
                      <a:pt x="382438" y="13940"/>
                    </a:lnTo>
                    <a:lnTo>
                      <a:pt x="379711" y="13031"/>
                    </a:lnTo>
                    <a:lnTo>
                      <a:pt x="374257" y="8940"/>
                    </a:lnTo>
                    <a:lnTo>
                      <a:pt x="371074" y="7121"/>
                    </a:lnTo>
                    <a:lnTo>
                      <a:pt x="367741" y="6061"/>
                    </a:lnTo>
                    <a:lnTo>
                      <a:pt x="340922" y="6061"/>
                    </a:lnTo>
                    <a:lnTo>
                      <a:pt x="333952" y="9243"/>
                    </a:lnTo>
                    <a:lnTo>
                      <a:pt x="318951" y="9546"/>
                    </a:lnTo>
                    <a:lnTo>
                      <a:pt x="315466" y="11061"/>
                    </a:lnTo>
                    <a:lnTo>
                      <a:pt x="308497" y="15304"/>
                    </a:lnTo>
                    <a:lnTo>
                      <a:pt x="301678" y="15001"/>
                    </a:lnTo>
                    <a:lnTo>
                      <a:pt x="291526" y="16364"/>
                    </a:lnTo>
                    <a:lnTo>
                      <a:pt x="271980" y="17880"/>
                    </a:lnTo>
                    <a:lnTo>
                      <a:pt x="264101" y="20304"/>
                    </a:lnTo>
                    <a:lnTo>
                      <a:pt x="259252" y="23031"/>
                    </a:lnTo>
                    <a:lnTo>
                      <a:pt x="251676" y="25910"/>
                    </a:lnTo>
                    <a:lnTo>
                      <a:pt x="246070" y="29092"/>
                    </a:lnTo>
                    <a:lnTo>
                      <a:pt x="241676" y="32122"/>
                    </a:lnTo>
                    <a:lnTo>
                      <a:pt x="238948" y="37123"/>
                    </a:lnTo>
                    <a:lnTo>
                      <a:pt x="236221" y="39244"/>
                    </a:lnTo>
                    <a:lnTo>
                      <a:pt x="232433" y="39698"/>
                    </a:lnTo>
                    <a:lnTo>
                      <a:pt x="228039" y="38335"/>
                    </a:lnTo>
                    <a:lnTo>
                      <a:pt x="225918" y="38486"/>
                    </a:lnTo>
                    <a:lnTo>
                      <a:pt x="212432" y="44396"/>
                    </a:lnTo>
                    <a:lnTo>
                      <a:pt x="207887" y="47123"/>
                    </a:lnTo>
                    <a:lnTo>
                      <a:pt x="204553" y="49699"/>
                    </a:lnTo>
                    <a:lnTo>
                      <a:pt x="201068" y="53790"/>
                    </a:lnTo>
                    <a:lnTo>
                      <a:pt x="196977" y="55760"/>
                    </a:lnTo>
                    <a:lnTo>
                      <a:pt x="191825" y="59396"/>
                    </a:lnTo>
                    <a:lnTo>
                      <a:pt x="185158" y="62124"/>
                    </a:lnTo>
                    <a:lnTo>
                      <a:pt x="182431" y="62426"/>
                    </a:lnTo>
                    <a:lnTo>
                      <a:pt x="176825" y="61820"/>
                    </a:lnTo>
                    <a:lnTo>
                      <a:pt x="177582" y="64245"/>
                    </a:lnTo>
                    <a:lnTo>
                      <a:pt x="179249" y="66063"/>
                    </a:lnTo>
                    <a:lnTo>
                      <a:pt x="185007" y="70154"/>
                    </a:lnTo>
                    <a:lnTo>
                      <a:pt x="188492" y="72730"/>
                    </a:lnTo>
                    <a:lnTo>
                      <a:pt x="188492" y="73639"/>
                    </a:lnTo>
                    <a:lnTo>
                      <a:pt x="187431" y="75760"/>
                    </a:lnTo>
                    <a:lnTo>
                      <a:pt x="186977" y="77276"/>
                    </a:lnTo>
                    <a:lnTo>
                      <a:pt x="187886" y="78791"/>
                    </a:lnTo>
                    <a:lnTo>
                      <a:pt x="190007" y="80609"/>
                    </a:lnTo>
                    <a:lnTo>
                      <a:pt x="190158" y="81518"/>
                    </a:lnTo>
                    <a:lnTo>
                      <a:pt x="189704" y="82579"/>
                    </a:lnTo>
                    <a:lnTo>
                      <a:pt x="188492" y="84549"/>
                    </a:lnTo>
                    <a:lnTo>
                      <a:pt x="190916" y="90458"/>
                    </a:lnTo>
                    <a:lnTo>
                      <a:pt x="191219" y="96216"/>
                    </a:lnTo>
                    <a:lnTo>
                      <a:pt x="190613" y="100155"/>
                    </a:lnTo>
                    <a:lnTo>
                      <a:pt x="190613" y="102580"/>
                    </a:lnTo>
                    <a:lnTo>
                      <a:pt x="190916" y="104549"/>
                    </a:lnTo>
                    <a:lnTo>
                      <a:pt x="192886" y="109095"/>
                    </a:lnTo>
                    <a:lnTo>
                      <a:pt x="191674" y="116671"/>
                    </a:lnTo>
                    <a:lnTo>
                      <a:pt x="193037" y="120762"/>
                    </a:lnTo>
                    <a:lnTo>
                      <a:pt x="195159" y="124095"/>
                    </a:lnTo>
                    <a:lnTo>
                      <a:pt x="196220" y="130156"/>
                    </a:lnTo>
                    <a:lnTo>
                      <a:pt x="197886" y="132884"/>
                    </a:lnTo>
                    <a:lnTo>
                      <a:pt x="200613" y="135460"/>
                    </a:lnTo>
                    <a:lnTo>
                      <a:pt x="202129" y="136217"/>
                    </a:lnTo>
                    <a:lnTo>
                      <a:pt x="205008" y="138338"/>
                    </a:lnTo>
                    <a:lnTo>
                      <a:pt x="207129" y="140005"/>
                    </a:lnTo>
                    <a:lnTo>
                      <a:pt x="208493" y="142581"/>
                    </a:lnTo>
                    <a:lnTo>
                      <a:pt x="205765" y="144702"/>
                    </a:lnTo>
                    <a:lnTo>
                      <a:pt x="203644" y="146520"/>
                    </a:lnTo>
                    <a:lnTo>
                      <a:pt x="203038" y="148490"/>
                    </a:lnTo>
                    <a:lnTo>
                      <a:pt x="204099" y="151672"/>
                    </a:lnTo>
                    <a:lnTo>
                      <a:pt x="204099" y="153491"/>
                    </a:lnTo>
                    <a:lnTo>
                      <a:pt x="202735" y="154097"/>
                    </a:lnTo>
                    <a:lnTo>
                      <a:pt x="197129" y="153794"/>
                    </a:lnTo>
                    <a:lnTo>
                      <a:pt x="192886" y="153642"/>
                    </a:lnTo>
                    <a:lnTo>
                      <a:pt x="187886" y="153491"/>
                    </a:lnTo>
                    <a:lnTo>
                      <a:pt x="180916" y="153187"/>
                    </a:lnTo>
                    <a:lnTo>
                      <a:pt x="176522" y="153036"/>
                    </a:lnTo>
                    <a:lnTo>
                      <a:pt x="170613" y="152733"/>
                    </a:lnTo>
                    <a:lnTo>
                      <a:pt x="168491" y="152884"/>
                    </a:lnTo>
                    <a:lnTo>
                      <a:pt x="163037" y="153794"/>
                    </a:lnTo>
                    <a:lnTo>
                      <a:pt x="159248" y="154400"/>
                    </a:lnTo>
                    <a:lnTo>
                      <a:pt x="158642" y="154703"/>
                    </a:lnTo>
                    <a:lnTo>
                      <a:pt x="157430" y="155460"/>
                    </a:lnTo>
                    <a:lnTo>
                      <a:pt x="156521" y="157733"/>
                    </a:lnTo>
                    <a:lnTo>
                      <a:pt x="155763" y="160460"/>
                    </a:lnTo>
                    <a:lnTo>
                      <a:pt x="155006" y="161673"/>
                    </a:lnTo>
                    <a:lnTo>
                      <a:pt x="143490" y="165612"/>
                    </a:lnTo>
                    <a:lnTo>
                      <a:pt x="138945" y="166218"/>
                    </a:lnTo>
                    <a:lnTo>
                      <a:pt x="136369" y="165764"/>
                    </a:lnTo>
                    <a:lnTo>
                      <a:pt x="134399" y="166067"/>
                    </a:lnTo>
                    <a:lnTo>
                      <a:pt x="132884" y="166976"/>
                    </a:lnTo>
                    <a:lnTo>
                      <a:pt x="132278" y="168188"/>
                    </a:lnTo>
                    <a:lnTo>
                      <a:pt x="132278" y="169855"/>
                    </a:lnTo>
                    <a:lnTo>
                      <a:pt x="132581" y="171370"/>
                    </a:lnTo>
                    <a:lnTo>
                      <a:pt x="133641" y="173643"/>
                    </a:lnTo>
                    <a:lnTo>
                      <a:pt x="133944" y="175916"/>
                    </a:lnTo>
                    <a:lnTo>
                      <a:pt x="133187" y="177582"/>
                    </a:lnTo>
                    <a:lnTo>
                      <a:pt x="133035" y="179098"/>
                    </a:lnTo>
                    <a:lnTo>
                      <a:pt x="132732" y="180916"/>
                    </a:lnTo>
                    <a:lnTo>
                      <a:pt x="133338" y="181825"/>
                    </a:lnTo>
                    <a:lnTo>
                      <a:pt x="134399" y="181976"/>
                    </a:lnTo>
                    <a:lnTo>
                      <a:pt x="135460" y="182734"/>
                    </a:lnTo>
                    <a:lnTo>
                      <a:pt x="137126" y="183492"/>
                    </a:lnTo>
                    <a:lnTo>
                      <a:pt x="138339" y="184855"/>
                    </a:lnTo>
                    <a:lnTo>
                      <a:pt x="138339" y="186825"/>
                    </a:lnTo>
                    <a:lnTo>
                      <a:pt x="137278" y="187886"/>
                    </a:lnTo>
                    <a:lnTo>
                      <a:pt x="136217" y="188492"/>
                    </a:lnTo>
                    <a:lnTo>
                      <a:pt x="131974" y="188946"/>
                    </a:lnTo>
                    <a:lnTo>
                      <a:pt x="128490" y="189401"/>
                    </a:lnTo>
                    <a:lnTo>
                      <a:pt x="124096" y="192583"/>
                    </a:lnTo>
                    <a:lnTo>
                      <a:pt x="119247" y="195916"/>
                    </a:lnTo>
                    <a:lnTo>
                      <a:pt x="113641" y="198038"/>
                    </a:lnTo>
                    <a:lnTo>
                      <a:pt x="111216" y="198644"/>
                    </a:lnTo>
                    <a:lnTo>
                      <a:pt x="106822" y="200310"/>
                    </a:lnTo>
                    <a:lnTo>
                      <a:pt x="101670" y="202886"/>
                    </a:lnTo>
                    <a:lnTo>
                      <a:pt x="99095" y="206977"/>
                    </a:lnTo>
                    <a:lnTo>
                      <a:pt x="95912" y="211826"/>
                    </a:lnTo>
                    <a:lnTo>
                      <a:pt x="92731" y="215008"/>
                    </a:lnTo>
                    <a:lnTo>
                      <a:pt x="88488" y="218038"/>
                    </a:lnTo>
                    <a:lnTo>
                      <a:pt x="84548" y="219250"/>
                    </a:lnTo>
                    <a:lnTo>
                      <a:pt x="79548" y="220614"/>
                    </a:lnTo>
                    <a:lnTo>
                      <a:pt x="73336" y="221826"/>
                    </a:lnTo>
                    <a:lnTo>
                      <a:pt x="68791" y="222129"/>
                    </a:lnTo>
                    <a:lnTo>
                      <a:pt x="67578" y="222432"/>
                    </a:lnTo>
                    <a:lnTo>
                      <a:pt x="63639" y="222432"/>
                    </a:lnTo>
                    <a:lnTo>
                      <a:pt x="61669" y="222281"/>
                    </a:lnTo>
                    <a:lnTo>
                      <a:pt x="60305" y="222129"/>
                    </a:lnTo>
                    <a:lnTo>
                      <a:pt x="59699" y="222432"/>
                    </a:lnTo>
                    <a:lnTo>
                      <a:pt x="59548" y="223190"/>
                    </a:lnTo>
                    <a:lnTo>
                      <a:pt x="59396" y="224857"/>
                    </a:lnTo>
                    <a:lnTo>
                      <a:pt x="59093" y="226826"/>
                    </a:lnTo>
                    <a:lnTo>
                      <a:pt x="57881" y="228493"/>
                    </a:lnTo>
                    <a:lnTo>
                      <a:pt x="57123" y="229251"/>
                    </a:lnTo>
                    <a:lnTo>
                      <a:pt x="56063" y="229554"/>
                    </a:lnTo>
                    <a:lnTo>
                      <a:pt x="52729" y="229099"/>
                    </a:lnTo>
                    <a:lnTo>
                      <a:pt x="50002" y="228645"/>
                    </a:lnTo>
                    <a:lnTo>
                      <a:pt x="43486" y="227887"/>
                    </a:lnTo>
                    <a:lnTo>
                      <a:pt x="42123" y="228039"/>
                    </a:lnTo>
                    <a:lnTo>
                      <a:pt x="41668" y="228342"/>
                    </a:lnTo>
                    <a:lnTo>
                      <a:pt x="39547" y="229402"/>
                    </a:lnTo>
                    <a:lnTo>
                      <a:pt x="36517" y="231827"/>
                    </a:lnTo>
                    <a:lnTo>
                      <a:pt x="34395" y="233797"/>
                    </a:lnTo>
                    <a:lnTo>
                      <a:pt x="32729" y="234857"/>
                    </a:lnTo>
                    <a:lnTo>
                      <a:pt x="28941" y="235312"/>
                    </a:lnTo>
                    <a:lnTo>
                      <a:pt x="27274" y="236069"/>
                    </a:lnTo>
                    <a:lnTo>
                      <a:pt x="20152" y="241221"/>
                    </a:lnTo>
                    <a:lnTo>
                      <a:pt x="18788" y="242585"/>
                    </a:lnTo>
                    <a:lnTo>
                      <a:pt x="11364" y="246979"/>
                    </a:lnTo>
                    <a:lnTo>
                      <a:pt x="9394" y="248494"/>
                    </a:lnTo>
                    <a:lnTo>
                      <a:pt x="7728" y="250009"/>
                    </a:lnTo>
                    <a:lnTo>
                      <a:pt x="3485" y="253343"/>
                    </a:lnTo>
                    <a:lnTo>
                      <a:pt x="606" y="254858"/>
                    </a:lnTo>
                    <a:lnTo>
                      <a:pt x="152" y="255615"/>
                    </a:lnTo>
                    <a:lnTo>
                      <a:pt x="0" y="257737"/>
                    </a:lnTo>
                    <a:lnTo>
                      <a:pt x="0" y="262131"/>
                    </a:lnTo>
                    <a:lnTo>
                      <a:pt x="0" y="266525"/>
                    </a:lnTo>
                    <a:lnTo>
                      <a:pt x="0" y="272737"/>
                    </a:lnTo>
                    <a:lnTo>
                      <a:pt x="0" y="278950"/>
                    </a:lnTo>
                    <a:lnTo>
                      <a:pt x="0" y="286071"/>
                    </a:lnTo>
                    <a:lnTo>
                      <a:pt x="0" y="291071"/>
                    </a:lnTo>
                    <a:lnTo>
                      <a:pt x="0" y="296981"/>
                    </a:lnTo>
                    <a:lnTo>
                      <a:pt x="5152" y="300314"/>
                    </a:lnTo>
                    <a:lnTo>
                      <a:pt x="10303" y="303496"/>
                    </a:lnTo>
                    <a:lnTo>
                      <a:pt x="15455" y="306678"/>
                    </a:lnTo>
                    <a:lnTo>
                      <a:pt x="20607" y="310011"/>
                    </a:lnTo>
                    <a:lnTo>
                      <a:pt x="25759" y="313193"/>
                    </a:lnTo>
                    <a:lnTo>
                      <a:pt x="30910" y="316375"/>
                    </a:lnTo>
                    <a:lnTo>
                      <a:pt x="36062" y="319709"/>
                    </a:lnTo>
                    <a:lnTo>
                      <a:pt x="41214" y="322891"/>
                    </a:lnTo>
                    <a:lnTo>
                      <a:pt x="46365" y="326073"/>
                    </a:lnTo>
                    <a:lnTo>
                      <a:pt x="51517" y="329406"/>
                    </a:lnTo>
                    <a:lnTo>
                      <a:pt x="56517" y="332588"/>
                    </a:lnTo>
                    <a:lnTo>
                      <a:pt x="61669" y="335770"/>
                    </a:lnTo>
                    <a:lnTo>
                      <a:pt x="66821" y="338952"/>
                    </a:lnTo>
                    <a:lnTo>
                      <a:pt x="71972" y="342285"/>
                    </a:lnTo>
                    <a:lnTo>
                      <a:pt x="77124" y="345467"/>
                    </a:lnTo>
                    <a:lnTo>
                      <a:pt x="82276" y="348649"/>
                    </a:lnTo>
                    <a:lnTo>
                      <a:pt x="86670" y="351377"/>
                    </a:lnTo>
                    <a:lnTo>
                      <a:pt x="93185" y="355619"/>
                    </a:lnTo>
                    <a:lnTo>
                      <a:pt x="99398" y="359710"/>
                    </a:lnTo>
                    <a:lnTo>
                      <a:pt x="105610" y="363801"/>
                    </a:lnTo>
                    <a:lnTo>
                      <a:pt x="113943" y="369256"/>
                    </a:lnTo>
                    <a:lnTo>
                      <a:pt x="121519" y="374559"/>
                    </a:lnTo>
                    <a:lnTo>
                      <a:pt x="130460" y="380772"/>
                    </a:lnTo>
                    <a:lnTo>
                      <a:pt x="139551" y="386832"/>
                    </a:lnTo>
                    <a:lnTo>
                      <a:pt x="148490" y="393045"/>
                    </a:lnTo>
                    <a:lnTo>
                      <a:pt x="157430" y="399257"/>
                    </a:lnTo>
                    <a:lnTo>
                      <a:pt x="166370" y="405318"/>
                    </a:lnTo>
                    <a:lnTo>
                      <a:pt x="175310" y="411530"/>
                    </a:lnTo>
                    <a:lnTo>
                      <a:pt x="184249" y="417743"/>
                    </a:lnTo>
                    <a:lnTo>
                      <a:pt x="193189" y="423803"/>
                    </a:lnTo>
                    <a:lnTo>
                      <a:pt x="202129" y="430016"/>
                    </a:lnTo>
                    <a:lnTo>
                      <a:pt x="211220" y="436077"/>
                    </a:lnTo>
                    <a:lnTo>
                      <a:pt x="220160" y="442289"/>
                    </a:lnTo>
                    <a:lnTo>
                      <a:pt x="229099" y="448350"/>
                    </a:lnTo>
                    <a:lnTo>
                      <a:pt x="238039" y="454411"/>
                    </a:lnTo>
                    <a:lnTo>
                      <a:pt x="246979" y="460623"/>
                    </a:lnTo>
                    <a:lnTo>
                      <a:pt x="255919" y="466684"/>
                    </a:lnTo>
                    <a:lnTo>
                      <a:pt x="264858" y="472744"/>
                    </a:lnTo>
                    <a:lnTo>
                      <a:pt x="268949" y="475472"/>
                    </a:lnTo>
                    <a:lnTo>
                      <a:pt x="269252" y="476532"/>
                    </a:lnTo>
                    <a:lnTo>
                      <a:pt x="269707" y="478957"/>
                    </a:lnTo>
                    <a:lnTo>
                      <a:pt x="269404" y="481533"/>
                    </a:lnTo>
                    <a:lnTo>
                      <a:pt x="269404" y="483503"/>
                    </a:lnTo>
                    <a:lnTo>
                      <a:pt x="270616" y="485018"/>
                    </a:lnTo>
                    <a:lnTo>
                      <a:pt x="272889" y="486533"/>
                    </a:lnTo>
                    <a:lnTo>
                      <a:pt x="281677" y="490927"/>
                    </a:lnTo>
                    <a:lnTo>
                      <a:pt x="282283" y="491836"/>
                    </a:lnTo>
                    <a:lnTo>
                      <a:pt x="282586" y="493806"/>
                    </a:lnTo>
                    <a:lnTo>
                      <a:pt x="283647" y="496079"/>
                    </a:lnTo>
                    <a:lnTo>
                      <a:pt x="285617" y="497291"/>
                    </a:lnTo>
                    <a:lnTo>
                      <a:pt x="287738" y="498352"/>
                    </a:lnTo>
                    <a:lnTo>
                      <a:pt x="290314" y="498958"/>
                    </a:lnTo>
                    <a:lnTo>
                      <a:pt x="298344" y="499715"/>
                    </a:lnTo>
                    <a:lnTo>
                      <a:pt x="300011" y="500776"/>
                    </a:lnTo>
                    <a:lnTo>
                      <a:pt x="303344" y="504867"/>
                    </a:lnTo>
                    <a:lnTo>
                      <a:pt x="305314" y="505776"/>
                    </a:lnTo>
                    <a:lnTo>
                      <a:pt x="310618" y="506988"/>
                    </a:lnTo>
                    <a:lnTo>
                      <a:pt x="314406" y="507594"/>
                    </a:lnTo>
                    <a:lnTo>
                      <a:pt x="315921" y="508049"/>
                    </a:lnTo>
                    <a:lnTo>
                      <a:pt x="319406" y="509110"/>
                    </a:lnTo>
                    <a:lnTo>
                      <a:pt x="323194" y="510928"/>
                    </a:lnTo>
                    <a:lnTo>
                      <a:pt x="325163" y="512746"/>
                    </a:lnTo>
                    <a:lnTo>
                      <a:pt x="325163" y="513200"/>
                    </a:lnTo>
                    <a:lnTo>
                      <a:pt x="325163" y="514716"/>
                    </a:lnTo>
                    <a:lnTo>
                      <a:pt x="325163" y="519110"/>
                    </a:lnTo>
                    <a:lnTo>
                      <a:pt x="325921" y="521686"/>
                    </a:lnTo>
                    <a:lnTo>
                      <a:pt x="326679" y="523353"/>
                    </a:lnTo>
                    <a:lnTo>
                      <a:pt x="326679" y="524413"/>
                    </a:lnTo>
                    <a:lnTo>
                      <a:pt x="325618" y="525171"/>
                    </a:lnTo>
                    <a:lnTo>
                      <a:pt x="324861" y="526231"/>
                    </a:lnTo>
                    <a:lnTo>
                      <a:pt x="324558" y="527443"/>
                    </a:lnTo>
                    <a:lnTo>
                      <a:pt x="323497" y="528959"/>
                    </a:lnTo>
                    <a:lnTo>
                      <a:pt x="322588" y="530777"/>
                    </a:lnTo>
                    <a:lnTo>
                      <a:pt x="322891" y="532141"/>
                    </a:lnTo>
                    <a:lnTo>
                      <a:pt x="324406" y="532898"/>
                    </a:lnTo>
                    <a:lnTo>
                      <a:pt x="326679" y="534565"/>
                    </a:lnTo>
                    <a:lnTo>
                      <a:pt x="328497" y="535323"/>
                    </a:lnTo>
                    <a:lnTo>
                      <a:pt x="329406" y="535323"/>
                    </a:lnTo>
                    <a:lnTo>
                      <a:pt x="330618" y="535323"/>
                    </a:lnTo>
                    <a:lnTo>
                      <a:pt x="331679" y="535020"/>
                    </a:lnTo>
                    <a:lnTo>
                      <a:pt x="338346" y="533807"/>
                    </a:lnTo>
                    <a:lnTo>
                      <a:pt x="344558" y="532595"/>
                    </a:lnTo>
                    <a:lnTo>
                      <a:pt x="353195" y="530929"/>
                    </a:lnTo>
                    <a:lnTo>
                      <a:pt x="359256" y="529716"/>
                    </a:lnTo>
                    <a:lnTo>
                      <a:pt x="365317" y="528504"/>
                    </a:lnTo>
                    <a:lnTo>
                      <a:pt x="374408" y="526837"/>
                    </a:lnTo>
                    <a:lnTo>
                      <a:pt x="384257" y="524868"/>
                    </a:lnTo>
                    <a:lnTo>
                      <a:pt x="394863" y="522746"/>
                    </a:lnTo>
                    <a:lnTo>
                      <a:pt x="397287" y="521534"/>
                    </a:lnTo>
                    <a:lnTo>
                      <a:pt x="405318" y="514261"/>
                    </a:lnTo>
                    <a:lnTo>
                      <a:pt x="408954" y="511079"/>
                    </a:lnTo>
                    <a:lnTo>
                      <a:pt x="416228" y="504715"/>
                    </a:lnTo>
                    <a:lnTo>
                      <a:pt x="421682" y="499715"/>
                    </a:lnTo>
                    <a:lnTo>
                      <a:pt x="428804" y="493351"/>
                    </a:lnTo>
                    <a:lnTo>
                      <a:pt x="436380" y="486987"/>
                    </a:lnTo>
                    <a:lnTo>
                      <a:pt x="442289" y="481987"/>
                    </a:lnTo>
                    <a:lnTo>
                      <a:pt x="451683" y="476230"/>
                    </a:lnTo>
                    <a:lnTo>
                      <a:pt x="465775" y="467593"/>
                    </a:lnTo>
                    <a:lnTo>
                      <a:pt x="480018" y="458805"/>
                    </a:lnTo>
                    <a:lnTo>
                      <a:pt x="494109" y="450168"/>
                    </a:lnTo>
                    <a:lnTo>
                      <a:pt x="508352" y="441380"/>
                    </a:lnTo>
                    <a:lnTo>
                      <a:pt x="522444" y="432743"/>
                    </a:lnTo>
                    <a:lnTo>
                      <a:pt x="536687" y="423955"/>
                    </a:lnTo>
                    <a:lnTo>
                      <a:pt x="550930" y="415167"/>
                    </a:lnTo>
                    <a:lnTo>
                      <a:pt x="565021" y="4063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9" name="Freeform: Shape 3298">
                <a:extLst>
                  <a:ext uri="{FF2B5EF4-FFF2-40B4-BE49-F238E27FC236}">
                    <a16:creationId xmlns:a16="http://schemas.microsoft.com/office/drawing/2014/main" id="{95255B49-8637-4E23-854D-91503A1FFAF9}"/>
                  </a:ext>
                </a:extLst>
              </p:cNvPr>
              <p:cNvSpPr/>
              <p:nvPr/>
            </p:nvSpPr>
            <p:spPr>
              <a:xfrm>
                <a:off x="3807278" y="4013488"/>
                <a:ext cx="100155" cy="64244"/>
              </a:xfrm>
              <a:custGeom>
                <a:avLst/>
                <a:gdLst>
                  <a:gd name="connsiteX0" fmla="*/ 98943 w 100155"/>
                  <a:gd name="connsiteY0" fmla="*/ 35153 h 64244"/>
                  <a:gd name="connsiteX1" fmla="*/ 97125 w 100155"/>
                  <a:gd name="connsiteY1" fmla="*/ 33940 h 64244"/>
                  <a:gd name="connsiteX2" fmla="*/ 90609 w 100155"/>
                  <a:gd name="connsiteY2" fmla="*/ 28486 h 64244"/>
                  <a:gd name="connsiteX3" fmla="*/ 84700 w 100155"/>
                  <a:gd name="connsiteY3" fmla="*/ 26213 h 64244"/>
                  <a:gd name="connsiteX4" fmla="*/ 81215 w 100155"/>
                  <a:gd name="connsiteY4" fmla="*/ 25455 h 64244"/>
                  <a:gd name="connsiteX5" fmla="*/ 77579 w 100155"/>
                  <a:gd name="connsiteY5" fmla="*/ 25001 h 64244"/>
                  <a:gd name="connsiteX6" fmla="*/ 74397 w 100155"/>
                  <a:gd name="connsiteY6" fmla="*/ 24395 h 64244"/>
                  <a:gd name="connsiteX7" fmla="*/ 71215 w 100155"/>
                  <a:gd name="connsiteY7" fmla="*/ 23486 h 64244"/>
                  <a:gd name="connsiteX8" fmla="*/ 68184 w 100155"/>
                  <a:gd name="connsiteY8" fmla="*/ 22880 h 64244"/>
                  <a:gd name="connsiteX9" fmla="*/ 65003 w 100155"/>
                  <a:gd name="connsiteY9" fmla="*/ 22576 h 64244"/>
                  <a:gd name="connsiteX10" fmla="*/ 65003 w 100155"/>
                  <a:gd name="connsiteY10" fmla="*/ 21364 h 64244"/>
                  <a:gd name="connsiteX11" fmla="*/ 65457 w 100155"/>
                  <a:gd name="connsiteY11" fmla="*/ 20001 h 64244"/>
                  <a:gd name="connsiteX12" fmla="*/ 67730 w 100155"/>
                  <a:gd name="connsiteY12" fmla="*/ 19849 h 64244"/>
                  <a:gd name="connsiteX13" fmla="*/ 73185 w 100155"/>
                  <a:gd name="connsiteY13" fmla="*/ 20152 h 64244"/>
                  <a:gd name="connsiteX14" fmla="*/ 74851 w 100155"/>
                  <a:gd name="connsiteY14" fmla="*/ 19546 h 64244"/>
                  <a:gd name="connsiteX15" fmla="*/ 75609 w 100155"/>
                  <a:gd name="connsiteY15" fmla="*/ 18182 h 64244"/>
                  <a:gd name="connsiteX16" fmla="*/ 73185 w 100155"/>
                  <a:gd name="connsiteY16" fmla="*/ 16667 h 64244"/>
                  <a:gd name="connsiteX17" fmla="*/ 61821 w 100155"/>
                  <a:gd name="connsiteY17" fmla="*/ 17425 h 64244"/>
                  <a:gd name="connsiteX18" fmla="*/ 59548 w 100155"/>
                  <a:gd name="connsiteY18" fmla="*/ 15455 h 64244"/>
                  <a:gd name="connsiteX19" fmla="*/ 58032 w 100155"/>
                  <a:gd name="connsiteY19" fmla="*/ 12576 h 64244"/>
                  <a:gd name="connsiteX20" fmla="*/ 57578 w 100155"/>
                  <a:gd name="connsiteY20" fmla="*/ 9243 h 64244"/>
                  <a:gd name="connsiteX21" fmla="*/ 55911 w 100155"/>
                  <a:gd name="connsiteY21" fmla="*/ 6970 h 64244"/>
                  <a:gd name="connsiteX22" fmla="*/ 54244 w 100155"/>
                  <a:gd name="connsiteY22" fmla="*/ 6818 h 64244"/>
                  <a:gd name="connsiteX23" fmla="*/ 51063 w 100155"/>
                  <a:gd name="connsiteY23" fmla="*/ 7879 h 64244"/>
                  <a:gd name="connsiteX24" fmla="*/ 49396 w 100155"/>
                  <a:gd name="connsiteY24" fmla="*/ 7879 h 64244"/>
                  <a:gd name="connsiteX25" fmla="*/ 46365 w 100155"/>
                  <a:gd name="connsiteY25" fmla="*/ 6818 h 64244"/>
                  <a:gd name="connsiteX26" fmla="*/ 42729 w 100155"/>
                  <a:gd name="connsiteY26" fmla="*/ 4091 h 64244"/>
                  <a:gd name="connsiteX27" fmla="*/ 41517 w 100155"/>
                  <a:gd name="connsiteY27" fmla="*/ 3939 h 64244"/>
                  <a:gd name="connsiteX28" fmla="*/ 37274 w 100155"/>
                  <a:gd name="connsiteY28" fmla="*/ 3939 h 64244"/>
                  <a:gd name="connsiteX29" fmla="*/ 35911 w 100155"/>
                  <a:gd name="connsiteY29" fmla="*/ 3485 h 64244"/>
                  <a:gd name="connsiteX30" fmla="*/ 33183 w 100155"/>
                  <a:gd name="connsiteY30" fmla="*/ 1818 h 64244"/>
                  <a:gd name="connsiteX31" fmla="*/ 31819 w 100155"/>
                  <a:gd name="connsiteY31" fmla="*/ 758 h 64244"/>
                  <a:gd name="connsiteX32" fmla="*/ 28486 w 100155"/>
                  <a:gd name="connsiteY32" fmla="*/ 0 h 64244"/>
                  <a:gd name="connsiteX33" fmla="*/ 25001 w 100155"/>
                  <a:gd name="connsiteY33" fmla="*/ 758 h 64244"/>
                  <a:gd name="connsiteX34" fmla="*/ 20910 w 100155"/>
                  <a:gd name="connsiteY34" fmla="*/ 1970 h 64244"/>
                  <a:gd name="connsiteX35" fmla="*/ 19546 w 100155"/>
                  <a:gd name="connsiteY35" fmla="*/ 1970 h 64244"/>
                  <a:gd name="connsiteX36" fmla="*/ 15152 w 100155"/>
                  <a:gd name="connsiteY36" fmla="*/ 606 h 64244"/>
                  <a:gd name="connsiteX37" fmla="*/ 11970 w 100155"/>
                  <a:gd name="connsiteY37" fmla="*/ 606 h 64244"/>
                  <a:gd name="connsiteX38" fmla="*/ 10455 w 100155"/>
                  <a:gd name="connsiteY38" fmla="*/ 1061 h 64244"/>
                  <a:gd name="connsiteX39" fmla="*/ 9091 w 100155"/>
                  <a:gd name="connsiteY39" fmla="*/ 1970 h 64244"/>
                  <a:gd name="connsiteX40" fmla="*/ 8031 w 100155"/>
                  <a:gd name="connsiteY40" fmla="*/ 3485 h 64244"/>
                  <a:gd name="connsiteX41" fmla="*/ 7121 w 100155"/>
                  <a:gd name="connsiteY41" fmla="*/ 5152 h 64244"/>
                  <a:gd name="connsiteX42" fmla="*/ 5909 w 100155"/>
                  <a:gd name="connsiteY42" fmla="*/ 5606 h 64244"/>
                  <a:gd name="connsiteX43" fmla="*/ 6516 w 100155"/>
                  <a:gd name="connsiteY43" fmla="*/ 6515 h 64244"/>
                  <a:gd name="connsiteX44" fmla="*/ 7879 w 100155"/>
                  <a:gd name="connsiteY44" fmla="*/ 12122 h 64244"/>
                  <a:gd name="connsiteX45" fmla="*/ 7879 w 100155"/>
                  <a:gd name="connsiteY45" fmla="*/ 13940 h 64244"/>
                  <a:gd name="connsiteX46" fmla="*/ 6667 w 100155"/>
                  <a:gd name="connsiteY46" fmla="*/ 16667 h 64244"/>
                  <a:gd name="connsiteX47" fmla="*/ 6818 w 100155"/>
                  <a:gd name="connsiteY47" fmla="*/ 17879 h 64244"/>
                  <a:gd name="connsiteX48" fmla="*/ 9546 w 100155"/>
                  <a:gd name="connsiteY48" fmla="*/ 20304 h 64244"/>
                  <a:gd name="connsiteX49" fmla="*/ 9697 w 100155"/>
                  <a:gd name="connsiteY49" fmla="*/ 21213 h 64244"/>
                  <a:gd name="connsiteX50" fmla="*/ 9394 w 100155"/>
                  <a:gd name="connsiteY50" fmla="*/ 22122 h 64244"/>
                  <a:gd name="connsiteX51" fmla="*/ 6970 w 100155"/>
                  <a:gd name="connsiteY51" fmla="*/ 24546 h 64244"/>
                  <a:gd name="connsiteX52" fmla="*/ 5152 w 100155"/>
                  <a:gd name="connsiteY52" fmla="*/ 26213 h 64244"/>
                  <a:gd name="connsiteX53" fmla="*/ 5758 w 100155"/>
                  <a:gd name="connsiteY53" fmla="*/ 28183 h 64244"/>
                  <a:gd name="connsiteX54" fmla="*/ 7273 w 100155"/>
                  <a:gd name="connsiteY54" fmla="*/ 29850 h 64244"/>
                  <a:gd name="connsiteX55" fmla="*/ 7425 w 100155"/>
                  <a:gd name="connsiteY55" fmla="*/ 31365 h 64244"/>
                  <a:gd name="connsiteX56" fmla="*/ 6970 w 100155"/>
                  <a:gd name="connsiteY56" fmla="*/ 33335 h 64244"/>
                  <a:gd name="connsiteX57" fmla="*/ 4697 w 100155"/>
                  <a:gd name="connsiteY57" fmla="*/ 35910 h 64244"/>
                  <a:gd name="connsiteX58" fmla="*/ 3637 w 100155"/>
                  <a:gd name="connsiteY58" fmla="*/ 36668 h 64244"/>
                  <a:gd name="connsiteX59" fmla="*/ 303 w 100155"/>
                  <a:gd name="connsiteY59" fmla="*/ 36819 h 64244"/>
                  <a:gd name="connsiteX60" fmla="*/ 0 w 100155"/>
                  <a:gd name="connsiteY60" fmla="*/ 37274 h 64244"/>
                  <a:gd name="connsiteX61" fmla="*/ 1515 w 100155"/>
                  <a:gd name="connsiteY61" fmla="*/ 39547 h 64244"/>
                  <a:gd name="connsiteX62" fmla="*/ 3485 w 100155"/>
                  <a:gd name="connsiteY62" fmla="*/ 42274 h 64244"/>
                  <a:gd name="connsiteX63" fmla="*/ 6516 w 100155"/>
                  <a:gd name="connsiteY63" fmla="*/ 44395 h 64244"/>
                  <a:gd name="connsiteX64" fmla="*/ 7121 w 100155"/>
                  <a:gd name="connsiteY64" fmla="*/ 46365 h 64244"/>
                  <a:gd name="connsiteX65" fmla="*/ 6364 w 100155"/>
                  <a:gd name="connsiteY65" fmla="*/ 48335 h 64244"/>
                  <a:gd name="connsiteX66" fmla="*/ 6212 w 100155"/>
                  <a:gd name="connsiteY66" fmla="*/ 52881 h 64244"/>
                  <a:gd name="connsiteX67" fmla="*/ 7879 w 100155"/>
                  <a:gd name="connsiteY67" fmla="*/ 53790 h 64244"/>
                  <a:gd name="connsiteX68" fmla="*/ 8788 w 100155"/>
                  <a:gd name="connsiteY68" fmla="*/ 55305 h 64244"/>
                  <a:gd name="connsiteX69" fmla="*/ 9243 w 100155"/>
                  <a:gd name="connsiteY69" fmla="*/ 57123 h 64244"/>
                  <a:gd name="connsiteX70" fmla="*/ 9243 w 100155"/>
                  <a:gd name="connsiteY70" fmla="*/ 59093 h 64244"/>
                  <a:gd name="connsiteX71" fmla="*/ 10000 w 100155"/>
                  <a:gd name="connsiteY71" fmla="*/ 60305 h 64244"/>
                  <a:gd name="connsiteX72" fmla="*/ 11667 w 100155"/>
                  <a:gd name="connsiteY72" fmla="*/ 60760 h 64244"/>
                  <a:gd name="connsiteX73" fmla="*/ 13182 w 100155"/>
                  <a:gd name="connsiteY73" fmla="*/ 61669 h 64244"/>
                  <a:gd name="connsiteX74" fmla="*/ 15304 w 100155"/>
                  <a:gd name="connsiteY74" fmla="*/ 64245 h 64244"/>
                  <a:gd name="connsiteX75" fmla="*/ 16516 w 100155"/>
                  <a:gd name="connsiteY75" fmla="*/ 63942 h 64244"/>
                  <a:gd name="connsiteX76" fmla="*/ 17425 w 100155"/>
                  <a:gd name="connsiteY76" fmla="*/ 62578 h 64244"/>
                  <a:gd name="connsiteX77" fmla="*/ 20001 w 100155"/>
                  <a:gd name="connsiteY77" fmla="*/ 58184 h 64244"/>
                  <a:gd name="connsiteX78" fmla="*/ 24395 w 100155"/>
                  <a:gd name="connsiteY78" fmla="*/ 51971 h 64244"/>
                  <a:gd name="connsiteX79" fmla="*/ 25001 w 100155"/>
                  <a:gd name="connsiteY79" fmla="*/ 50456 h 64244"/>
                  <a:gd name="connsiteX80" fmla="*/ 25001 w 100155"/>
                  <a:gd name="connsiteY80" fmla="*/ 47729 h 64244"/>
                  <a:gd name="connsiteX81" fmla="*/ 25456 w 100155"/>
                  <a:gd name="connsiteY81" fmla="*/ 46971 h 64244"/>
                  <a:gd name="connsiteX82" fmla="*/ 26516 w 100155"/>
                  <a:gd name="connsiteY82" fmla="*/ 46365 h 64244"/>
                  <a:gd name="connsiteX83" fmla="*/ 29395 w 100155"/>
                  <a:gd name="connsiteY83" fmla="*/ 45759 h 64244"/>
                  <a:gd name="connsiteX84" fmla="*/ 33941 w 100155"/>
                  <a:gd name="connsiteY84" fmla="*/ 44244 h 64244"/>
                  <a:gd name="connsiteX85" fmla="*/ 36971 w 100155"/>
                  <a:gd name="connsiteY85" fmla="*/ 44547 h 64244"/>
                  <a:gd name="connsiteX86" fmla="*/ 39244 w 100155"/>
                  <a:gd name="connsiteY86" fmla="*/ 46517 h 64244"/>
                  <a:gd name="connsiteX87" fmla="*/ 41517 w 100155"/>
                  <a:gd name="connsiteY87" fmla="*/ 47881 h 64244"/>
                  <a:gd name="connsiteX88" fmla="*/ 49699 w 100155"/>
                  <a:gd name="connsiteY88" fmla="*/ 46971 h 64244"/>
                  <a:gd name="connsiteX89" fmla="*/ 50760 w 100155"/>
                  <a:gd name="connsiteY89" fmla="*/ 46214 h 64244"/>
                  <a:gd name="connsiteX90" fmla="*/ 52881 w 100155"/>
                  <a:gd name="connsiteY90" fmla="*/ 44244 h 64244"/>
                  <a:gd name="connsiteX91" fmla="*/ 54093 w 100155"/>
                  <a:gd name="connsiteY91" fmla="*/ 43486 h 64244"/>
                  <a:gd name="connsiteX92" fmla="*/ 57427 w 100155"/>
                  <a:gd name="connsiteY92" fmla="*/ 42274 h 64244"/>
                  <a:gd name="connsiteX93" fmla="*/ 60911 w 100155"/>
                  <a:gd name="connsiteY93" fmla="*/ 41517 h 64244"/>
                  <a:gd name="connsiteX94" fmla="*/ 64396 w 100155"/>
                  <a:gd name="connsiteY94" fmla="*/ 41668 h 64244"/>
                  <a:gd name="connsiteX95" fmla="*/ 67881 w 100155"/>
                  <a:gd name="connsiteY95" fmla="*/ 42274 h 64244"/>
                  <a:gd name="connsiteX96" fmla="*/ 71215 w 100155"/>
                  <a:gd name="connsiteY96" fmla="*/ 42274 h 64244"/>
                  <a:gd name="connsiteX97" fmla="*/ 74548 w 100155"/>
                  <a:gd name="connsiteY97" fmla="*/ 41668 h 64244"/>
                  <a:gd name="connsiteX98" fmla="*/ 80003 w 100155"/>
                  <a:gd name="connsiteY98" fmla="*/ 42729 h 64244"/>
                  <a:gd name="connsiteX99" fmla="*/ 83791 w 100155"/>
                  <a:gd name="connsiteY99" fmla="*/ 42577 h 64244"/>
                  <a:gd name="connsiteX100" fmla="*/ 86973 w 100155"/>
                  <a:gd name="connsiteY100" fmla="*/ 44547 h 64244"/>
                  <a:gd name="connsiteX101" fmla="*/ 88034 w 100155"/>
                  <a:gd name="connsiteY101" fmla="*/ 46517 h 64244"/>
                  <a:gd name="connsiteX102" fmla="*/ 89700 w 100155"/>
                  <a:gd name="connsiteY102" fmla="*/ 47881 h 64244"/>
                  <a:gd name="connsiteX103" fmla="*/ 90609 w 100155"/>
                  <a:gd name="connsiteY103" fmla="*/ 48032 h 64244"/>
                  <a:gd name="connsiteX104" fmla="*/ 91367 w 100155"/>
                  <a:gd name="connsiteY104" fmla="*/ 47729 h 64244"/>
                  <a:gd name="connsiteX105" fmla="*/ 92579 w 100155"/>
                  <a:gd name="connsiteY105" fmla="*/ 45456 h 64244"/>
                  <a:gd name="connsiteX106" fmla="*/ 93943 w 100155"/>
                  <a:gd name="connsiteY106" fmla="*/ 44093 h 64244"/>
                  <a:gd name="connsiteX107" fmla="*/ 95913 w 100155"/>
                  <a:gd name="connsiteY107" fmla="*/ 43335 h 64244"/>
                  <a:gd name="connsiteX108" fmla="*/ 97276 w 100155"/>
                  <a:gd name="connsiteY108" fmla="*/ 42274 h 64244"/>
                  <a:gd name="connsiteX109" fmla="*/ 99549 w 100155"/>
                  <a:gd name="connsiteY109" fmla="*/ 38941 h 64244"/>
                  <a:gd name="connsiteX110" fmla="*/ 100155 w 100155"/>
                  <a:gd name="connsiteY110" fmla="*/ 36819 h 6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00155" h="64244">
                    <a:moveTo>
                      <a:pt x="98943" y="35153"/>
                    </a:moveTo>
                    <a:lnTo>
                      <a:pt x="97125" y="33940"/>
                    </a:lnTo>
                    <a:lnTo>
                      <a:pt x="90609" y="28486"/>
                    </a:lnTo>
                    <a:lnTo>
                      <a:pt x="84700" y="26213"/>
                    </a:lnTo>
                    <a:lnTo>
                      <a:pt x="81215" y="25455"/>
                    </a:lnTo>
                    <a:lnTo>
                      <a:pt x="77579" y="25001"/>
                    </a:lnTo>
                    <a:lnTo>
                      <a:pt x="74397" y="24395"/>
                    </a:lnTo>
                    <a:lnTo>
                      <a:pt x="71215" y="23486"/>
                    </a:lnTo>
                    <a:lnTo>
                      <a:pt x="68184" y="22880"/>
                    </a:lnTo>
                    <a:lnTo>
                      <a:pt x="65003" y="22576"/>
                    </a:lnTo>
                    <a:lnTo>
                      <a:pt x="65003" y="21364"/>
                    </a:lnTo>
                    <a:lnTo>
                      <a:pt x="65457" y="20001"/>
                    </a:lnTo>
                    <a:lnTo>
                      <a:pt x="67730" y="19849"/>
                    </a:lnTo>
                    <a:lnTo>
                      <a:pt x="73185" y="20152"/>
                    </a:lnTo>
                    <a:lnTo>
                      <a:pt x="74851" y="19546"/>
                    </a:lnTo>
                    <a:lnTo>
                      <a:pt x="75609" y="18182"/>
                    </a:lnTo>
                    <a:lnTo>
                      <a:pt x="73185" y="16667"/>
                    </a:lnTo>
                    <a:lnTo>
                      <a:pt x="61821" y="17425"/>
                    </a:lnTo>
                    <a:lnTo>
                      <a:pt x="59548" y="15455"/>
                    </a:lnTo>
                    <a:lnTo>
                      <a:pt x="58032" y="12576"/>
                    </a:lnTo>
                    <a:lnTo>
                      <a:pt x="57578" y="9243"/>
                    </a:lnTo>
                    <a:lnTo>
                      <a:pt x="55911" y="6970"/>
                    </a:lnTo>
                    <a:lnTo>
                      <a:pt x="54244" y="6818"/>
                    </a:lnTo>
                    <a:lnTo>
                      <a:pt x="51063" y="7879"/>
                    </a:lnTo>
                    <a:lnTo>
                      <a:pt x="49396" y="7879"/>
                    </a:lnTo>
                    <a:lnTo>
                      <a:pt x="46365" y="6818"/>
                    </a:lnTo>
                    <a:lnTo>
                      <a:pt x="42729" y="4091"/>
                    </a:lnTo>
                    <a:lnTo>
                      <a:pt x="41517" y="3939"/>
                    </a:lnTo>
                    <a:lnTo>
                      <a:pt x="37274" y="3939"/>
                    </a:lnTo>
                    <a:lnTo>
                      <a:pt x="35911" y="3485"/>
                    </a:lnTo>
                    <a:lnTo>
                      <a:pt x="33183" y="1818"/>
                    </a:lnTo>
                    <a:lnTo>
                      <a:pt x="31819" y="758"/>
                    </a:lnTo>
                    <a:lnTo>
                      <a:pt x="28486" y="0"/>
                    </a:lnTo>
                    <a:lnTo>
                      <a:pt x="25001" y="758"/>
                    </a:lnTo>
                    <a:lnTo>
                      <a:pt x="20910" y="1970"/>
                    </a:lnTo>
                    <a:lnTo>
                      <a:pt x="19546" y="1970"/>
                    </a:lnTo>
                    <a:lnTo>
                      <a:pt x="15152" y="606"/>
                    </a:lnTo>
                    <a:lnTo>
                      <a:pt x="11970" y="606"/>
                    </a:lnTo>
                    <a:lnTo>
                      <a:pt x="10455" y="1061"/>
                    </a:lnTo>
                    <a:lnTo>
                      <a:pt x="9091" y="1970"/>
                    </a:lnTo>
                    <a:lnTo>
                      <a:pt x="8031" y="3485"/>
                    </a:lnTo>
                    <a:lnTo>
                      <a:pt x="7121" y="5152"/>
                    </a:lnTo>
                    <a:lnTo>
                      <a:pt x="5909" y="5606"/>
                    </a:lnTo>
                    <a:lnTo>
                      <a:pt x="6516" y="6515"/>
                    </a:lnTo>
                    <a:lnTo>
                      <a:pt x="7879" y="12122"/>
                    </a:lnTo>
                    <a:lnTo>
                      <a:pt x="7879" y="13940"/>
                    </a:lnTo>
                    <a:lnTo>
                      <a:pt x="6667" y="16667"/>
                    </a:lnTo>
                    <a:lnTo>
                      <a:pt x="6818" y="17879"/>
                    </a:lnTo>
                    <a:lnTo>
                      <a:pt x="9546" y="20304"/>
                    </a:lnTo>
                    <a:lnTo>
                      <a:pt x="9697" y="21213"/>
                    </a:lnTo>
                    <a:lnTo>
                      <a:pt x="9394" y="22122"/>
                    </a:lnTo>
                    <a:lnTo>
                      <a:pt x="6970" y="24546"/>
                    </a:lnTo>
                    <a:lnTo>
                      <a:pt x="5152" y="26213"/>
                    </a:lnTo>
                    <a:lnTo>
                      <a:pt x="5758" y="28183"/>
                    </a:lnTo>
                    <a:lnTo>
                      <a:pt x="7273" y="29850"/>
                    </a:lnTo>
                    <a:lnTo>
                      <a:pt x="7425" y="31365"/>
                    </a:lnTo>
                    <a:lnTo>
                      <a:pt x="6970" y="33335"/>
                    </a:lnTo>
                    <a:lnTo>
                      <a:pt x="4697" y="35910"/>
                    </a:lnTo>
                    <a:lnTo>
                      <a:pt x="3637" y="36668"/>
                    </a:lnTo>
                    <a:lnTo>
                      <a:pt x="303" y="36819"/>
                    </a:lnTo>
                    <a:lnTo>
                      <a:pt x="0" y="37274"/>
                    </a:lnTo>
                    <a:lnTo>
                      <a:pt x="1515" y="39547"/>
                    </a:lnTo>
                    <a:lnTo>
                      <a:pt x="3485" y="42274"/>
                    </a:lnTo>
                    <a:lnTo>
                      <a:pt x="6516" y="44395"/>
                    </a:lnTo>
                    <a:lnTo>
                      <a:pt x="7121" y="46365"/>
                    </a:lnTo>
                    <a:lnTo>
                      <a:pt x="6364" y="48335"/>
                    </a:lnTo>
                    <a:lnTo>
                      <a:pt x="6212" y="52881"/>
                    </a:lnTo>
                    <a:lnTo>
                      <a:pt x="7879" y="53790"/>
                    </a:lnTo>
                    <a:lnTo>
                      <a:pt x="8788" y="55305"/>
                    </a:lnTo>
                    <a:lnTo>
                      <a:pt x="9243" y="57123"/>
                    </a:lnTo>
                    <a:lnTo>
                      <a:pt x="9243" y="59093"/>
                    </a:lnTo>
                    <a:lnTo>
                      <a:pt x="10000" y="60305"/>
                    </a:lnTo>
                    <a:lnTo>
                      <a:pt x="11667" y="60760"/>
                    </a:lnTo>
                    <a:lnTo>
                      <a:pt x="13182" y="61669"/>
                    </a:lnTo>
                    <a:lnTo>
                      <a:pt x="15304" y="64245"/>
                    </a:lnTo>
                    <a:lnTo>
                      <a:pt x="16516" y="63942"/>
                    </a:lnTo>
                    <a:lnTo>
                      <a:pt x="17425" y="62578"/>
                    </a:lnTo>
                    <a:lnTo>
                      <a:pt x="20001" y="58184"/>
                    </a:lnTo>
                    <a:lnTo>
                      <a:pt x="24395" y="51971"/>
                    </a:lnTo>
                    <a:lnTo>
                      <a:pt x="25001" y="50456"/>
                    </a:lnTo>
                    <a:lnTo>
                      <a:pt x="25001" y="47729"/>
                    </a:lnTo>
                    <a:lnTo>
                      <a:pt x="25456" y="46971"/>
                    </a:lnTo>
                    <a:lnTo>
                      <a:pt x="26516" y="46365"/>
                    </a:lnTo>
                    <a:lnTo>
                      <a:pt x="29395" y="45759"/>
                    </a:lnTo>
                    <a:lnTo>
                      <a:pt x="33941" y="44244"/>
                    </a:lnTo>
                    <a:lnTo>
                      <a:pt x="36971" y="44547"/>
                    </a:lnTo>
                    <a:lnTo>
                      <a:pt x="39244" y="46517"/>
                    </a:lnTo>
                    <a:lnTo>
                      <a:pt x="41517" y="47881"/>
                    </a:lnTo>
                    <a:lnTo>
                      <a:pt x="49699" y="46971"/>
                    </a:lnTo>
                    <a:lnTo>
                      <a:pt x="50760" y="46214"/>
                    </a:lnTo>
                    <a:lnTo>
                      <a:pt x="52881" y="44244"/>
                    </a:lnTo>
                    <a:lnTo>
                      <a:pt x="54093" y="43486"/>
                    </a:lnTo>
                    <a:lnTo>
                      <a:pt x="57427" y="42274"/>
                    </a:lnTo>
                    <a:lnTo>
                      <a:pt x="60911" y="41517"/>
                    </a:lnTo>
                    <a:lnTo>
                      <a:pt x="64396" y="41668"/>
                    </a:lnTo>
                    <a:lnTo>
                      <a:pt x="67881" y="42274"/>
                    </a:lnTo>
                    <a:lnTo>
                      <a:pt x="71215" y="42274"/>
                    </a:lnTo>
                    <a:lnTo>
                      <a:pt x="74548" y="41668"/>
                    </a:lnTo>
                    <a:lnTo>
                      <a:pt x="80003" y="42729"/>
                    </a:lnTo>
                    <a:lnTo>
                      <a:pt x="83791" y="42577"/>
                    </a:lnTo>
                    <a:lnTo>
                      <a:pt x="86973" y="44547"/>
                    </a:lnTo>
                    <a:lnTo>
                      <a:pt x="88034" y="46517"/>
                    </a:lnTo>
                    <a:lnTo>
                      <a:pt x="89700" y="47881"/>
                    </a:lnTo>
                    <a:lnTo>
                      <a:pt x="90609" y="48032"/>
                    </a:lnTo>
                    <a:lnTo>
                      <a:pt x="91367" y="47729"/>
                    </a:lnTo>
                    <a:lnTo>
                      <a:pt x="92579" y="45456"/>
                    </a:lnTo>
                    <a:lnTo>
                      <a:pt x="93943" y="44093"/>
                    </a:lnTo>
                    <a:lnTo>
                      <a:pt x="95913" y="43335"/>
                    </a:lnTo>
                    <a:lnTo>
                      <a:pt x="97276" y="42274"/>
                    </a:lnTo>
                    <a:lnTo>
                      <a:pt x="99549" y="38941"/>
                    </a:lnTo>
                    <a:lnTo>
                      <a:pt x="100155" y="368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0" name="Freeform: Shape 3299">
                <a:extLst>
                  <a:ext uri="{FF2B5EF4-FFF2-40B4-BE49-F238E27FC236}">
                    <a16:creationId xmlns:a16="http://schemas.microsoft.com/office/drawing/2014/main" id="{40EF253B-009B-4108-A85F-E5DE32598BB1}"/>
                  </a:ext>
                </a:extLst>
              </p:cNvPr>
              <p:cNvSpPr/>
              <p:nvPr/>
            </p:nvSpPr>
            <p:spPr>
              <a:xfrm>
                <a:off x="4095016" y="4133644"/>
                <a:ext cx="6363" cy="11364"/>
              </a:xfrm>
              <a:custGeom>
                <a:avLst/>
                <a:gdLst>
                  <a:gd name="connsiteX0" fmla="*/ 5606 w 6363"/>
                  <a:gd name="connsiteY0" fmla="*/ 3030 h 11364"/>
                  <a:gd name="connsiteX1" fmla="*/ 4394 w 6363"/>
                  <a:gd name="connsiteY1" fmla="*/ 1364 h 11364"/>
                  <a:gd name="connsiteX2" fmla="*/ 606 w 6363"/>
                  <a:gd name="connsiteY2" fmla="*/ 0 h 11364"/>
                  <a:gd name="connsiteX3" fmla="*/ 303 w 6363"/>
                  <a:gd name="connsiteY3" fmla="*/ 909 h 11364"/>
                  <a:gd name="connsiteX4" fmla="*/ 0 w 6363"/>
                  <a:gd name="connsiteY4" fmla="*/ 3030 h 11364"/>
                  <a:gd name="connsiteX5" fmla="*/ 1818 w 6363"/>
                  <a:gd name="connsiteY5" fmla="*/ 6516 h 11364"/>
                  <a:gd name="connsiteX6" fmla="*/ 2879 w 6363"/>
                  <a:gd name="connsiteY6" fmla="*/ 11364 h 11364"/>
                  <a:gd name="connsiteX7" fmla="*/ 5455 w 6363"/>
                  <a:gd name="connsiteY7" fmla="*/ 10758 h 11364"/>
                  <a:gd name="connsiteX8" fmla="*/ 6364 w 6363"/>
                  <a:gd name="connsiteY8" fmla="*/ 7273 h 1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63" h="11364">
                    <a:moveTo>
                      <a:pt x="5606" y="3030"/>
                    </a:moveTo>
                    <a:lnTo>
                      <a:pt x="4394" y="1364"/>
                    </a:lnTo>
                    <a:lnTo>
                      <a:pt x="606" y="0"/>
                    </a:lnTo>
                    <a:lnTo>
                      <a:pt x="303" y="909"/>
                    </a:lnTo>
                    <a:lnTo>
                      <a:pt x="0" y="3030"/>
                    </a:lnTo>
                    <a:lnTo>
                      <a:pt x="1818" y="6516"/>
                    </a:lnTo>
                    <a:lnTo>
                      <a:pt x="2879" y="11364"/>
                    </a:lnTo>
                    <a:lnTo>
                      <a:pt x="5455" y="10758"/>
                    </a:lnTo>
                    <a:lnTo>
                      <a:pt x="6364" y="7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1" name="Freeform: Shape 3300">
                <a:extLst>
                  <a:ext uri="{FF2B5EF4-FFF2-40B4-BE49-F238E27FC236}">
                    <a16:creationId xmlns:a16="http://schemas.microsoft.com/office/drawing/2014/main" id="{3844FDBE-A1AB-43C1-A004-18A753FD8124}"/>
                  </a:ext>
                </a:extLst>
              </p:cNvPr>
              <p:cNvSpPr/>
              <p:nvPr/>
            </p:nvSpPr>
            <p:spPr>
              <a:xfrm>
                <a:off x="5999633" y="2783443"/>
                <a:ext cx="191824" cy="120458"/>
              </a:xfrm>
              <a:custGeom>
                <a:avLst/>
                <a:gdLst>
                  <a:gd name="connsiteX0" fmla="*/ 51062 w 191824"/>
                  <a:gd name="connsiteY0" fmla="*/ 106822 h 120458"/>
                  <a:gd name="connsiteX1" fmla="*/ 46517 w 191824"/>
                  <a:gd name="connsiteY1" fmla="*/ 104095 h 120458"/>
                  <a:gd name="connsiteX2" fmla="*/ 45153 w 191824"/>
                  <a:gd name="connsiteY2" fmla="*/ 103640 h 120458"/>
                  <a:gd name="connsiteX3" fmla="*/ 44850 w 191824"/>
                  <a:gd name="connsiteY3" fmla="*/ 103943 h 120458"/>
                  <a:gd name="connsiteX4" fmla="*/ 45759 w 191824"/>
                  <a:gd name="connsiteY4" fmla="*/ 109852 h 120458"/>
                  <a:gd name="connsiteX5" fmla="*/ 48486 w 191824"/>
                  <a:gd name="connsiteY5" fmla="*/ 110155 h 120458"/>
                  <a:gd name="connsiteX6" fmla="*/ 50002 w 191824"/>
                  <a:gd name="connsiteY6" fmla="*/ 111065 h 120458"/>
                  <a:gd name="connsiteX7" fmla="*/ 52881 w 191824"/>
                  <a:gd name="connsiteY7" fmla="*/ 110610 h 120458"/>
                  <a:gd name="connsiteX8" fmla="*/ 52729 w 191824"/>
                  <a:gd name="connsiteY8" fmla="*/ 109852 h 120458"/>
                  <a:gd name="connsiteX9" fmla="*/ 51062 w 191824"/>
                  <a:gd name="connsiteY9" fmla="*/ 106822 h 120458"/>
                  <a:gd name="connsiteX10" fmla="*/ 65608 w 191824"/>
                  <a:gd name="connsiteY10" fmla="*/ 76366 h 120458"/>
                  <a:gd name="connsiteX11" fmla="*/ 67275 w 191824"/>
                  <a:gd name="connsiteY11" fmla="*/ 77124 h 120458"/>
                  <a:gd name="connsiteX12" fmla="*/ 67729 w 191824"/>
                  <a:gd name="connsiteY12" fmla="*/ 76366 h 120458"/>
                  <a:gd name="connsiteX13" fmla="*/ 68336 w 191824"/>
                  <a:gd name="connsiteY13" fmla="*/ 74397 h 120458"/>
                  <a:gd name="connsiteX14" fmla="*/ 69245 w 191824"/>
                  <a:gd name="connsiteY14" fmla="*/ 72730 h 120458"/>
                  <a:gd name="connsiteX15" fmla="*/ 68487 w 191824"/>
                  <a:gd name="connsiteY15" fmla="*/ 71366 h 120458"/>
                  <a:gd name="connsiteX16" fmla="*/ 66063 w 191824"/>
                  <a:gd name="connsiteY16" fmla="*/ 68336 h 120458"/>
                  <a:gd name="connsiteX17" fmla="*/ 65154 w 191824"/>
                  <a:gd name="connsiteY17" fmla="*/ 69548 h 120458"/>
                  <a:gd name="connsiteX18" fmla="*/ 65911 w 191824"/>
                  <a:gd name="connsiteY18" fmla="*/ 71518 h 120458"/>
                  <a:gd name="connsiteX19" fmla="*/ 65305 w 191824"/>
                  <a:gd name="connsiteY19" fmla="*/ 73790 h 120458"/>
                  <a:gd name="connsiteX20" fmla="*/ 65608 w 191824"/>
                  <a:gd name="connsiteY20" fmla="*/ 76366 h 120458"/>
                  <a:gd name="connsiteX21" fmla="*/ 80003 w 191824"/>
                  <a:gd name="connsiteY21" fmla="*/ 19395 h 120458"/>
                  <a:gd name="connsiteX22" fmla="*/ 80609 w 191824"/>
                  <a:gd name="connsiteY22" fmla="*/ 18485 h 120458"/>
                  <a:gd name="connsiteX23" fmla="*/ 83336 w 191824"/>
                  <a:gd name="connsiteY23" fmla="*/ 16667 h 120458"/>
                  <a:gd name="connsiteX24" fmla="*/ 80912 w 191824"/>
                  <a:gd name="connsiteY24" fmla="*/ 16364 h 120458"/>
                  <a:gd name="connsiteX25" fmla="*/ 76821 w 191824"/>
                  <a:gd name="connsiteY25" fmla="*/ 17273 h 120458"/>
                  <a:gd name="connsiteX26" fmla="*/ 75154 w 191824"/>
                  <a:gd name="connsiteY26" fmla="*/ 19092 h 120458"/>
                  <a:gd name="connsiteX27" fmla="*/ 78942 w 191824"/>
                  <a:gd name="connsiteY27" fmla="*/ 20455 h 120458"/>
                  <a:gd name="connsiteX28" fmla="*/ 80003 w 191824"/>
                  <a:gd name="connsiteY28" fmla="*/ 19395 h 120458"/>
                  <a:gd name="connsiteX29" fmla="*/ 60608 w 191824"/>
                  <a:gd name="connsiteY29" fmla="*/ 109852 h 120458"/>
                  <a:gd name="connsiteX30" fmla="*/ 58335 w 191824"/>
                  <a:gd name="connsiteY30" fmla="*/ 108186 h 120458"/>
                  <a:gd name="connsiteX31" fmla="*/ 56517 w 191824"/>
                  <a:gd name="connsiteY31" fmla="*/ 107731 h 120458"/>
                  <a:gd name="connsiteX32" fmla="*/ 56971 w 191824"/>
                  <a:gd name="connsiteY32" fmla="*/ 108489 h 120458"/>
                  <a:gd name="connsiteX33" fmla="*/ 60457 w 191824"/>
                  <a:gd name="connsiteY33" fmla="*/ 111671 h 120458"/>
                  <a:gd name="connsiteX34" fmla="*/ 62578 w 191824"/>
                  <a:gd name="connsiteY34" fmla="*/ 112428 h 120458"/>
                  <a:gd name="connsiteX35" fmla="*/ 64396 w 191824"/>
                  <a:gd name="connsiteY35" fmla="*/ 111974 h 120458"/>
                  <a:gd name="connsiteX36" fmla="*/ 65002 w 191824"/>
                  <a:gd name="connsiteY36" fmla="*/ 111519 h 120458"/>
                  <a:gd name="connsiteX37" fmla="*/ 62578 w 191824"/>
                  <a:gd name="connsiteY37" fmla="*/ 110155 h 120458"/>
                  <a:gd name="connsiteX38" fmla="*/ 60608 w 191824"/>
                  <a:gd name="connsiteY38" fmla="*/ 109852 h 120458"/>
                  <a:gd name="connsiteX39" fmla="*/ 43789 w 191824"/>
                  <a:gd name="connsiteY39" fmla="*/ 107580 h 120458"/>
                  <a:gd name="connsiteX40" fmla="*/ 42577 w 191824"/>
                  <a:gd name="connsiteY40" fmla="*/ 106367 h 120458"/>
                  <a:gd name="connsiteX41" fmla="*/ 41365 w 191824"/>
                  <a:gd name="connsiteY41" fmla="*/ 105458 h 120458"/>
                  <a:gd name="connsiteX42" fmla="*/ 39395 w 191824"/>
                  <a:gd name="connsiteY42" fmla="*/ 104852 h 120458"/>
                  <a:gd name="connsiteX43" fmla="*/ 36213 w 191824"/>
                  <a:gd name="connsiteY43" fmla="*/ 104852 h 120458"/>
                  <a:gd name="connsiteX44" fmla="*/ 37577 w 191824"/>
                  <a:gd name="connsiteY44" fmla="*/ 101973 h 120458"/>
                  <a:gd name="connsiteX45" fmla="*/ 41365 w 191824"/>
                  <a:gd name="connsiteY45" fmla="*/ 98640 h 120458"/>
                  <a:gd name="connsiteX46" fmla="*/ 42123 w 191824"/>
                  <a:gd name="connsiteY46" fmla="*/ 96216 h 120458"/>
                  <a:gd name="connsiteX47" fmla="*/ 41213 w 191824"/>
                  <a:gd name="connsiteY47" fmla="*/ 93337 h 120458"/>
                  <a:gd name="connsiteX48" fmla="*/ 40759 w 191824"/>
                  <a:gd name="connsiteY48" fmla="*/ 90609 h 120458"/>
                  <a:gd name="connsiteX49" fmla="*/ 39850 w 191824"/>
                  <a:gd name="connsiteY49" fmla="*/ 87579 h 120458"/>
                  <a:gd name="connsiteX50" fmla="*/ 41819 w 191824"/>
                  <a:gd name="connsiteY50" fmla="*/ 85155 h 120458"/>
                  <a:gd name="connsiteX51" fmla="*/ 44850 w 191824"/>
                  <a:gd name="connsiteY51" fmla="*/ 83185 h 120458"/>
                  <a:gd name="connsiteX52" fmla="*/ 45911 w 191824"/>
                  <a:gd name="connsiteY52" fmla="*/ 81518 h 120458"/>
                  <a:gd name="connsiteX53" fmla="*/ 48335 w 191824"/>
                  <a:gd name="connsiteY53" fmla="*/ 79397 h 120458"/>
                  <a:gd name="connsiteX54" fmla="*/ 51062 w 191824"/>
                  <a:gd name="connsiteY54" fmla="*/ 78336 h 120458"/>
                  <a:gd name="connsiteX55" fmla="*/ 51668 w 191824"/>
                  <a:gd name="connsiteY55" fmla="*/ 77276 h 120458"/>
                  <a:gd name="connsiteX56" fmla="*/ 50002 w 191824"/>
                  <a:gd name="connsiteY56" fmla="*/ 75306 h 120458"/>
                  <a:gd name="connsiteX57" fmla="*/ 48335 w 191824"/>
                  <a:gd name="connsiteY57" fmla="*/ 74094 h 120458"/>
                  <a:gd name="connsiteX58" fmla="*/ 51517 w 191824"/>
                  <a:gd name="connsiteY58" fmla="*/ 72881 h 120458"/>
                  <a:gd name="connsiteX59" fmla="*/ 53941 w 191824"/>
                  <a:gd name="connsiteY59" fmla="*/ 72881 h 120458"/>
                  <a:gd name="connsiteX60" fmla="*/ 55305 w 191824"/>
                  <a:gd name="connsiteY60" fmla="*/ 73639 h 120458"/>
                  <a:gd name="connsiteX61" fmla="*/ 55911 w 191824"/>
                  <a:gd name="connsiteY61" fmla="*/ 73184 h 120458"/>
                  <a:gd name="connsiteX62" fmla="*/ 57123 w 191824"/>
                  <a:gd name="connsiteY62" fmla="*/ 67730 h 120458"/>
                  <a:gd name="connsiteX63" fmla="*/ 59699 w 191824"/>
                  <a:gd name="connsiteY63" fmla="*/ 59699 h 120458"/>
                  <a:gd name="connsiteX64" fmla="*/ 61214 w 191824"/>
                  <a:gd name="connsiteY64" fmla="*/ 58184 h 120458"/>
                  <a:gd name="connsiteX65" fmla="*/ 62729 w 191824"/>
                  <a:gd name="connsiteY65" fmla="*/ 57275 h 120458"/>
                  <a:gd name="connsiteX66" fmla="*/ 65760 w 191824"/>
                  <a:gd name="connsiteY66" fmla="*/ 60154 h 120458"/>
                  <a:gd name="connsiteX67" fmla="*/ 68033 w 191824"/>
                  <a:gd name="connsiteY67" fmla="*/ 60154 h 120458"/>
                  <a:gd name="connsiteX68" fmla="*/ 71669 w 191824"/>
                  <a:gd name="connsiteY68" fmla="*/ 58638 h 120458"/>
                  <a:gd name="connsiteX69" fmla="*/ 74548 w 191824"/>
                  <a:gd name="connsiteY69" fmla="*/ 56517 h 120458"/>
                  <a:gd name="connsiteX70" fmla="*/ 75609 w 191824"/>
                  <a:gd name="connsiteY70" fmla="*/ 54093 h 120458"/>
                  <a:gd name="connsiteX71" fmla="*/ 76518 w 191824"/>
                  <a:gd name="connsiteY71" fmla="*/ 50759 h 120458"/>
                  <a:gd name="connsiteX72" fmla="*/ 75305 w 191824"/>
                  <a:gd name="connsiteY72" fmla="*/ 48790 h 120458"/>
                  <a:gd name="connsiteX73" fmla="*/ 74245 w 191824"/>
                  <a:gd name="connsiteY73" fmla="*/ 47729 h 120458"/>
                  <a:gd name="connsiteX74" fmla="*/ 64548 w 191824"/>
                  <a:gd name="connsiteY74" fmla="*/ 47729 h 120458"/>
                  <a:gd name="connsiteX75" fmla="*/ 61669 w 191824"/>
                  <a:gd name="connsiteY75" fmla="*/ 46365 h 120458"/>
                  <a:gd name="connsiteX76" fmla="*/ 58941 w 191824"/>
                  <a:gd name="connsiteY76" fmla="*/ 43789 h 120458"/>
                  <a:gd name="connsiteX77" fmla="*/ 59396 w 191824"/>
                  <a:gd name="connsiteY77" fmla="*/ 37577 h 120458"/>
                  <a:gd name="connsiteX78" fmla="*/ 59093 w 191824"/>
                  <a:gd name="connsiteY78" fmla="*/ 35910 h 120458"/>
                  <a:gd name="connsiteX79" fmla="*/ 59396 w 191824"/>
                  <a:gd name="connsiteY79" fmla="*/ 29092 h 120458"/>
                  <a:gd name="connsiteX80" fmla="*/ 60608 w 191824"/>
                  <a:gd name="connsiteY80" fmla="*/ 28183 h 120458"/>
                  <a:gd name="connsiteX81" fmla="*/ 63336 w 191824"/>
                  <a:gd name="connsiteY81" fmla="*/ 22273 h 120458"/>
                  <a:gd name="connsiteX82" fmla="*/ 65760 w 191824"/>
                  <a:gd name="connsiteY82" fmla="*/ 19546 h 120458"/>
                  <a:gd name="connsiteX83" fmla="*/ 65608 w 191824"/>
                  <a:gd name="connsiteY83" fmla="*/ 14243 h 120458"/>
                  <a:gd name="connsiteX84" fmla="*/ 66215 w 191824"/>
                  <a:gd name="connsiteY84" fmla="*/ 11515 h 120458"/>
                  <a:gd name="connsiteX85" fmla="*/ 63638 w 191824"/>
                  <a:gd name="connsiteY85" fmla="*/ 6970 h 120458"/>
                  <a:gd name="connsiteX86" fmla="*/ 64093 w 191824"/>
                  <a:gd name="connsiteY86" fmla="*/ 4849 h 120458"/>
                  <a:gd name="connsiteX87" fmla="*/ 64699 w 191824"/>
                  <a:gd name="connsiteY87" fmla="*/ 3485 h 120458"/>
                  <a:gd name="connsiteX88" fmla="*/ 68184 w 191824"/>
                  <a:gd name="connsiteY88" fmla="*/ 0 h 120458"/>
                  <a:gd name="connsiteX89" fmla="*/ 66063 w 191824"/>
                  <a:gd name="connsiteY89" fmla="*/ 0 h 120458"/>
                  <a:gd name="connsiteX90" fmla="*/ 58487 w 191824"/>
                  <a:gd name="connsiteY90" fmla="*/ 4697 h 120458"/>
                  <a:gd name="connsiteX91" fmla="*/ 50305 w 191824"/>
                  <a:gd name="connsiteY91" fmla="*/ 6061 h 120458"/>
                  <a:gd name="connsiteX92" fmla="*/ 46214 w 191824"/>
                  <a:gd name="connsiteY92" fmla="*/ 10152 h 120458"/>
                  <a:gd name="connsiteX93" fmla="*/ 39092 w 191824"/>
                  <a:gd name="connsiteY93" fmla="*/ 19849 h 120458"/>
                  <a:gd name="connsiteX94" fmla="*/ 35759 w 191824"/>
                  <a:gd name="connsiteY94" fmla="*/ 22122 h 120458"/>
                  <a:gd name="connsiteX95" fmla="*/ 32122 w 191824"/>
                  <a:gd name="connsiteY95" fmla="*/ 23183 h 120458"/>
                  <a:gd name="connsiteX96" fmla="*/ 25001 w 191824"/>
                  <a:gd name="connsiteY96" fmla="*/ 22880 h 120458"/>
                  <a:gd name="connsiteX97" fmla="*/ 22728 w 191824"/>
                  <a:gd name="connsiteY97" fmla="*/ 23031 h 120458"/>
                  <a:gd name="connsiteX98" fmla="*/ 18940 w 191824"/>
                  <a:gd name="connsiteY98" fmla="*/ 24546 h 120458"/>
                  <a:gd name="connsiteX99" fmla="*/ 13637 w 191824"/>
                  <a:gd name="connsiteY99" fmla="*/ 24546 h 120458"/>
                  <a:gd name="connsiteX100" fmla="*/ 8333 w 191824"/>
                  <a:gd name="connsiteY100" fmla="*/ 29546 h 120458"/>
                  <a:gd name="connsiteX101" fmla="*/ 4394 w 191824"/>
                  <a:gd name="connsiteY101" fmla="*/ 34698 h 120458"/>
                  <a:gd name="connsiteX102" fmla="*/ 3939 w 191824"/>
                  <a:gd name="connsiteY102" fmla="*/ 36213 h 120458"/>
                  <a:gd name="connsiteX103" fmla="*/ 3939 w 191824"/>
                  <a:gd name="connsiteY103" fmla="*/ 38638 h 120458"/>
                  <a:gd name="connsiteX104" fmla="*/ 6061 w 191824"/>
                  <a:gd name="connsiteY104" fmla="*/ 40304 h 120458"/>
                  <a:gd name="connsiteX105" fmla="*/ 9394 w 191824"/>
                  <a:gd name="connsiteY105" fmla="*/ 42123 h 120458"/>
                  <a:gd name="connsiteX106" fmla="*/ 13031 w 191824"/>
                  <a:gd name="connsiteY106" fmla="*/ 40304 h 120458"/>
                  <a:gd name="connsiteX107" fmla="*/ 17576 w 191824"/>
                  <a:gd name="connsiteY107" fmla="*/ 39698 h 120458"/>
                  <a:gd name="connsiteX108" fmla="*/ 20455 w 191824"/>
                  <a:gd name="connsiteY108" fmla="*/ 33335 h 120458"/>
                  <a:gd name="connsiteX109" fmla="*/ 23637 w 191824"/>
                  <a:gd name="connsiteY109" fmla="*/ 28334 h 120458"/>
                  <a:gd name="connsiteX110" fmla="*/ 26819 w 191824"/>
                  <a:gd name="connsiteY110" fmla="*/ 27274 h 120458"/>
                  <a:gd name="connsiteX111" fmla="*/ 30759 w 191824"/>
                  <a:gd name="connsiteY111" fmla="*/ 28486 h 120458"/>
                  <a:gd name="connsiteX112" fmla="*/ 29546 w 191824"/>
                  <a:gd name="connsiteY112" fmla="*/ 36365 h 120458"/>
                  <a:gd name="connsiteX113" fmla="*/ 29243 w 191824"/>
                  <a:gd name="connsiteY113" fmla="*/ 40456 h 120458"/>
                  <a:gd name="connsiteX114" fmla="*/ 27728 w 191824"/>
                  <a:gd name="connsiteY114" fmla="*/ 38486 h 120458"/>
                  <a:gd name="connsiteX115" fmla="*/ 25758 w 191824"/>
                  <a:gd name="connsiteY115" fmla="*/ 36820 h 120458"/>
                  <a:gd name="connsiteX116" fmla="*/ 23788 w 191824"/>
                  <a:gd name="connsiteY116" fmla="*/ 37577 h 120458"/>
                  <a:gd name="connsiteX117" fmla="*/ 20909 w 191824"/>
                  <a:gd name="connsiteY117" fmla="*/ 39092 h 120458"/>
                  <a:gd name="connsiteX118" fmla="*/ 16819 w 191824"/>
                  <a:gd name="connsiteY118" fmla="*/ 43335 h 120458"/>
                  <a:gd name="connsiteX119" fmla="*/ 16364 w 191824"/>
                  <a:gd name="connsiteY119" fmla="*/ 46517 h 120458"/>
                  <a:gd name="connsiteX120" fmla="*/ 15152 w 191824"/>
                  <a:gd name="connsiteY120" fmla="*/ 48335 h 120458"/>
                  <a:gd name="connsiteX121" fmla="*/ 13333 w 191824"/>
                  <a:gd name="connsiteY121" fmla="*/ 47577 h 120458"/>
                  <a:gd name="connsiteX122" fmla="*/ 11819 w 191824"/>
                  <a:gd name="connsiteY122" fmla="*/ 45759 h 120458"/>
                  <a:gd name="connsiteX123" fmla="*/ 9697 w 191824"/>
                  <a:gd name="connsiteY123" fmla="*/ 45608 h 120458"/>
                  <a:gd name="connsiteX124" fmla="*/ 4394 w 191824"/>
                  <a:gd name="connsiteY124" fmla="*/ 43638 h 120458"/>
                  <a:gd name="connsiteX125" fmla="*/ 3030 w 191824"/>
                  <a:gd name="connsiteY125" fmla="*/ 43638 h 120458"/>
                  <a:gd name="connsiteX126" fmla="*/ 1212 w 191824"/>
                  <a:gd name="connsiteY126" fmla="*/ 44092 h 120458"/>
                  <a:gd name="connsiteX127" fmla="*/ 303 w 191824"/>
                  <a:gd name="connsiteY127" fmla="*/ 55154 h 120458"/>
                  <a:gd name="connsiteX128" fmla="*/ 0 w 191824"/>
                  <a:gd name="connsiteY128" fmla="*/ 62123 h 120458"/>
                  <a:gd name="connsiteX129" fmla="*/ 2273 w 191824"/>
                  <a:gd name="connsiteY129" fmla="*/ 68184 h 120458"/>
                  <a:gd name="connsiteX130" fmla="*/ 1667 w 191824"/>
                  <a:gd name="connsiteY130" fmla="*/ 71366 h 120458"/>
                  <a:gd name="connsiteX131" fmla="*/ 303 w 191824"/>
                  <a:gd name="connsiteY131" fmla="*/ 82882 h 120458"/>
                  <a:gd name="connsiteX132" fmla="*/ 6061 w 191824"/>
                  <a:gd name="connsiteY132" fmla="*/ 86367 h 120458"/>
                  <a:gd name="connsiteX133" fmla="*/ 13485 w 191824"/>
                  <a:gd name="connsiteY133" fmla="*/ 89852 h 120458"/>
                  <a:gd name="connsiteX134" fmla="*/ 14394 w 191824"/>
                  <a:gd name="connsiteY134" fmla="*/ 93337 h 120458"/>
                  <a:gd name="connsiteX135" fmla="*/ 14849 w 191824"/>
                  <a:gd name="connsiteY135" fmla="*/ 100004 h 120458"/>
                  <a:gd name="connsiteX136" fmla="*/ 12273 w 191824"/>
                  <a:gd name="connsiteY136" fmla="*/ 100761 h 120458"/>
                  <a:gd name="connsiteX137" fmla="*/ 14091 w 191824"/>
                  <a:gd name="connsiteY137" fmla="*/ 104095 h 120458"/>
                  <a:gd name="connsiteX138" fmla="*/ 14697 w 191824"/>
                  <a:gd name="connsiteY138" fmla="*/ 106367 h 120458"/>
                  <a:gd name="connsiteX139" fmla="*/ 15000 w 191824"/>
                  <a:gd name="connsiteY139" fmla="*/ 109549 h 120458"/>
                  <a:gd name="connsiteX140" fmla="*/ 15000 w 191824"/>
                  <a:gd name="connsiteY140" fmla="*/ 109549 h 120458"/>
                  <a:gd name="connsiteX141" fmla="*/ 20152 w 191824"/>
                  <a:gd name="connsiteY141" fmla="*/ 109701 h 120458"/>
                  <a:gd name="connsiteX142" fmla="*/ 21364 w 191824"/>
                  <a:gd name="connsiteY142" fmla="*/ 109852 h 120458"/>
                  <a:gd name="connsiteX143" fmla="*/ 29092 w 191824"/>
                  <a:gd name="connsiteY143" fmla="*/ 111822 h 120458"/>
                  <a:gd name="connsiteX144" fmla="*/ 30910 w 191824"/>
                  <a:gd name="connsiteY144" fmla="*/ 113186 h 120458"/>
                  <a:gd name="connsiteX145" fmla="*/ 33334 w 191824"/>
                  <a:gd name="connsiteY145" fmla="*/ 113186 h 120458"/>
                  <a:gd name="connsiteX146" fmla="*/ 37577 w 191824"/>
                  <a:gd name="connsiteY146" fmla="*/ 111822 h 120458"/>
                  <a:gd name="connsiteX147" fmla="*/ 40759 w 191824"/>
                  <a:gd name="connsiteY147" fmla="*/ 111216 h 120458"/>
                  <a:gd name="connsiteX148" fmla="*/ 41971 w 191824"/>
                  <a:gd name="connsiteY148" fmla="*/ 111974 h 120458"/>
                  <a:gd name="connsiteX149" fmla="*/ 43789 w 191824"/>
                  <a:gd name="connsiteY149" fmla="*/ 112277 h 120458"/>
                  <a:gd name="connsiteX150" fmla="*/ 44244 w 191824"/>
                  <a:gd name="connsiteY150" fmla="*/ 112277 h 120458"/>
                  <a:gd name="connsiteX151" fmla="*/ 43335 w 191824"/>
                  <a:gd name="connsiteY151" fmla="*/ 108337 h 120458"/>
                  <a:gd name="connsiteX152" fmla="*/ 43789 w 191824"/>
                  <a:gd name="connsiteY152" fmla="*/ 107580 h 120458"/>
                  <a:gd name="connsiteX153" fmla="*/ 71366 w 191824"/>
                  <a:gd name="connsiteY153" fmla="*/ 89397 h 120458"/>
                  <a:gd name="connsiteX154" fmla="*/ 70003 w 191824"/>
                  <a:gd name="connsiteY154" fmla="*/ 85155 h 120458"/>
                  <a:gd name="connsiteX155" fmla="*/ 68790 w 191824"/>
                  <a:gd name="connsiteY155" fmla="*/ 83185 h 120458"/>
                  <a:gd name="connsiteX156" fmla="*/ 68184 w 191824"/>
                  <a:gd name="connsiteY156" fmla="*/ 83033 h 120458"/>
                  <a:gd name="connsiteX157" fmla="*/ 65002 w 191824"/>
                  <a:gd name="connsiteY157" fmla="*/ 85155 h 120458"/>
                  <a:gd name="connsiteX158" fmla="*/ 62729 w 191824"/>
                  <a:gd name="connsiteY158" fmla="*/ 85003 h 120458"/>
                  <a:gd name="connsiteX159" fmla="*/ 60760 w 191824"/>
                  <a:gd name="connsiteY159" fmla="*/ 83488 h 120458"/>
                  <a:gd name="connsiteX160" fmla="*/ 58941 w 191824"/>
                  <a:gd name="connsiteY160" fmla="*/ 83033 h 120458"/>
                  <a:gd name="connsiteX161" fmla="*/ 50911 w 191824"/>
                  <a:gd name="connsiteY161" fmla="*/ 85912 h 120458"/>
                  <a:gd name="connsiteX162" fmla="*/ 47274 w 191824"/>
                  <a:gd name="connsiteY162" fmla="*/ 86670 h 120458"/>
                  <a:gd name="connsiteX163" fmla="*/ 47274 w 191824"/>
                  <a:gd name="connsiteY163" fmla="*/ 92731 h 120458"/>
                  <a:gd name="connsiteX164" fmla="*/ 49244 w 191824"/>
                  <a:gd name="connsiteY164" fmla="*/ 97579 h 120458"/>
                  <a:gd name="connsiteX165" fmla="*/ 50305 w 191824"/>
                  <a:gd name="connsiteY165" fmla="*/ 98488 h 120458"/>
                  <a:gd name="connsiteX166" fmla="*/ 50911 w 191824"/>
                  <a:gd name="connsiteY166" fmla="*/ 100155 h 120458"/>
                  <a:gd name="connsiteX167" fmla="*/ 58184 w 191824"/>
                  <a:gd name="connsiteY167" fmla="*/ 103034 h 120458"/>
                  <a:gd name="connsiteX168" fmla="*/ 63336 w 191824"/>
                  <a:gd name="connsiteY168" fmla="*/ 104549 h 120458"/>
                  <a:gd name="connsiteX169" fmla="*/ 68336 w 191824"/>
                  <a:gd name="connsiteY169" fmla="*/ 104398 h 120458"/>
                  <a:gd name="connsiteX170" fmla="*/ 72730 w 191824"/>
                  <a:gd name="connsiteY170" fmla="*/ 101367 h 120458"/>
                  <a:gd name="connsiteX171" fmla="*/ 73336 w 191824"/>
                  <a:gd name="connsiteY171" fmla="*/ 98640 h 120458"/>
                  <a:gd name="connsiteX172" fmla="*/ 72730 w 191824"/>
                  <a:gd name="connsiteY172" fmla="*/ 96064 h 120458"/>
                  <a:gd name="connsiteX173" fmla="*/ 73639 w 191824"/>
                  <a:gd name="connsiteY173" fmla="*/ 94094 h 120458"/>
                  <a:gd name="connsiteX174" fmla="*/ 71366 w 191824"/>
                  <a:gd name="connsiteY174" fmla="*/ 89397 h 120458"/>
                  <a:gd name="connsiteX175" fmla="*/ 74548 w 191824"/>
                  <a:gd name="connsiteY175" fmla="*/ 104398 h 120458"/>
                  <a:gd name="connsiteX176" fmla="*/ 71366 w 191824"/>
                  <a:gd name="connsiteY176" fmla="*/ 107883 h 120458"/>
                  <a:gd name="connsiteX177" fmla="*/ 70154 w 191824"/>
                  <a:gd name="connsiteY177" fmla="*/ 110155 h 120458"/>
                  <a:gd name="connsiteX178" fmla="*/ 68184 w 191824"/>
                  <a:gd name="connsiteY178" fmla="*/ 112125 h 120458"/>
                  <a:gd name="connsiteX179" fmla="*/ 68336 w 191824"/>
                  <a:gd name="connsiteY179" fmla="*/ 113034 h 120458"/>
                  <a:gd name="connsiteX180" fmla="*/ 70003 w 191824"/>
                  <a:gd name="connsiteY180" fmla="*/ 116065 h 120458"/>
                  <a:gd name="connsiteX181" fmla="*/ 71214 w 191824"/>
                  <a:gd name="connsiteY181" fmla="*/ 115913 h 120458"/>
                  <a:gd name="connsiteX182" fmla="*/ 72124 w 191824"/>
                  <a:gd name="connsiteY182" fmla="*/ 114095 h 120458"/>
                  <a:gd name="connsiteX183" fmla="*/ 76366 w 191824"/>
                  <a:gd name="connsiteY183" fmla="*/ 104095 h 120458"/>
                  <a:gd name="connsiteX184" fmla="*/ 77124 w 191824"/>
                  <a:gd name="connsiteY184" fmla="*/ 100458 h 120458"/>
                  <a:gd name="connsiteX185" fmla="*/ 76366 w 191824"/>
                  <a:gd name="connsiteY185" fmla="*/ 100458 h 120458"/>
                  <a:gd name="connsiteX186" fmla="*/ 74548 w 191824"/>
                  <a:gd name="connsiteY186" fmla="*/ 104398 h 120458"/>
                  <a:gd name="connsiteX187" fmla="*/ 98791 w 191824"/>
                  <a:gd name="connsiteY187" fmla="*/ 113641 h 120458"/>
                  <a:gd name="connsiteX188" fmla="*/ 96519 w 191824"/>
                  <a:gd name="connsiteY188" fmla="*/ 112731 h 120458"/>
                  <a:gd name="connsiteX189" fmla="*/ 93185 w 191824"/>
                  <a:gd name="connsiteY189" fmla="*/ 112883 h 120458"/>
                  <a:gd name="connsiteX190" fmla="*/ 88336 w 191824"/>
                  <a:gd name="connsiteY190" fmla="*/ 110458 h 120458"/>
                  <a:gd name="connsiteX191" fmla="*/ 85457 w 191824"/>
                  <a:gd name="connsiteY191" fmla="*/ 108186 h 120458"/>
                  <a:gd name="connsiteX192" fmla="*/ 80003 w 191824"/>
                  <a:gd name="connsiteY192" fmla="*/ 108640 h 120458"/>
                  <a:gd name="connsiteX193" fmla="*/ 79548 w 191824"/>
                  <a:gd name="connsiteY193" fmla="*/ 110458 h 120458"/>
                  <a:gd name="connsiteX194" fmla="*/ 79397 w 191824"/>
                  <a:gd name="connsiteY194" fmla="*/ 115004 h 120458"/>
                  <a:gd name="connsiteX195" fmla="*/ 90912 w 191824"/>
                  <a:gd name="connsiteY195" fmla="*/ 120459 h 120458"/>
                  <a:gd name="connsiteX196" fmla="*/ 94397 w 191824"/>
                  <a:gd name="connsiteY196" fmla="*/ 119247 h 120458"/>
                  <a:gd name="connsiteX197" fmla="*/ 96973 w 191824"/>
                  <a:gd name="connsiteY197" fmla="*/ 119550 h 120458"/>
                  <a:gd name="connsiteX198" fmla="*/ 99246 w 191824"/>
                  <a:gd name="connsiteY198" fmla="*/ 118641 h 120458"/>
                  <a:gd name="connsiteX199" fmla="*/ 99094 w 191824"/>
                  <a:gd name="connsiteY199" fmla="*/ 115307 h 120458"/>
                  <a:gd name="connsiteX200" fmla="*/ 98791 w 191824"/>
                  <a:gd name="connsiteY200" fmla="*/ 113641 h 120458"/>
                  <a:gd name="connsiteX201" fmla="*/ 122883 w 191824"/>
                  <a:gd name="connsiteY201" fmla="*/ 80457 h 120458"/>
                  <a:gd name="connsiteX202" fmla="*/ 122277 w 191824"/>
                  <a:gd name="connsiteY202" fmla="*/ 80457 h 120458"/>
                  <a:gd name="connsiteX203" fmla="*/ 121519 w 191824"/>
                  <a:gd name="connsiteY203" fmla="*/ 81670 h 120458"/>
                  <a:gd name="connsiteX204" fmla="*/ 120156 w 191824"/>
                  <a:gd name="connsiteY204" fmla="*/ 83033 h 120458"/>
                  <a:gd name="connsiteX205" fmla="*/ 121065 w 191824"/>
                  <a:gd name="connsiteY205" fmla="*/ 85306 h 120458"/>
                  <a:gd name="connsiteX206" fmla="*/ 121671 w 191824"/>
                  <a:gd name="connsiteY206" fmla="*/ 85458 h 120458"/>
                  <a:gd name="connsiteX207" fmla="*/ 124247 w 191824"/>
                  <a:gd name="connsiteY207" fmla="*/ 83791 h 120458"/>
                  <a:gd name="connsiteX208" fmla="*/ 123792 w 191824"/>
                  <a:gd name="connsiteY208" fmla="*/ 81821 h 120458"/>
                  <a:gd name="connsiteX209" fmla="*/ 122883 w 191824"/>
                  <a:gd name="connsiteY209" fmla="*/ 80457 h 120458"/>
                  <a:gd name="connsiteX210" fmla="*/ 191522 w 191824"/>
                  <a:gd name="connsiteY210" fmla="*/ 100913 h 120458"/>
                  <a:gd name="connsiteX211" fmla="*/ 181522 w 191824"/>
                  <a:gd name="connsiteY211" fmla="*/ 95003 h 120458"/>
                  <a:gd name="connsiteX212" fmla="*/ 180158 w 191824"/>
                  <a:gd name="connsiteY212" fmla="*/ 97276 h 120458"/>
                  <a:gd name="connsiteX213" fmla="*/ 179401 w 191824"/>
                  <a:gd name="connsiteY213" fmla="*/ 102428 h 120458"/>
                  <a:gd name="connsiteX214" fmla="*/ 184855 w 191824"/>
                  <a:gd name="connsiteY214" fmla="*/ 105004 h 120458"/>
                  <a:gd name="connsiteX215" fmla="*/ 189401 w 191824"/>
                  <a:gd name="connsiteY215" fmla="*/ 106064 h 120458"/>
                  <a:gd name="connsiteX216" fmla="*/ 190461 w 191824"/>
                  <a:gd name="connsiteY216" fmla="*/ 105458 h 120458"/>
                  <a:gd name="connsiteX217" fmla="*/ 191825 w 191824"/>
                  <a:gd name="connsiteY217" fmla="*/ 103034 h 120458"/>
                  <a:gd name="connsiteX218" fmla="*/ 191522 w 191824"/>
                  <a:gd name="connsiteY218" fmla="*/ 100913 h 120458"/>
                  <a:gd name="connsiteX219" fmla="*/ 118792 w 191824"/>
                  <a:gd name="connsiteY219" fmla="*/ 105610 h 120458"/>
                  <a:gd name="connsiteX220" fmla="*/ 117429 w 191824"/>
                  <a:gd name="connsiteY220" fmla="*/ 105155 h 120458"/>
                  <a:gd name="connsiteX221" fmla="*/ 114550 w 191824"/>
                  <a:gd name="connsiteY221" fmla="*/ 104852 h 120458"/>
                  <a:gd name="connsiteX222" fmla="*/ 113489 w 191824"/>
                  <a:gd name="connsiteY222" fmla="*/ 103943 h 120458"/>
                  <a:gd name="connsiteX223" fmla="*/ 113034 w 191824"/>
                  <a:gd name="connsiteY223" fmla="*/ 105610 h 120458"/>
                  <a:gd name="connsiteX224" fmla="*/ 111974 w 191824"/>
                  <a:gd name="connsiteY224" fmla="*/ 106670 h 120458"/>
                  <a:gd name="connsiteX225" fmla="*/ 110307 w 191824"/>
                  <a:gd name="connsiteY225" fmla="*/ 107428 h 120458"/>
                  <a:gd name="connsiteX226" fmla="*/ 109853 w 191824"/>
                  <a:gd name="connsiteY226" fmla="*/ 108034 h 120458"/>
                  <a:gd name="connsiteX227" fmla="*/ 109246 w 191824"/>
                  <a:gd name="connsiteY227" fmla="*/ 109701 h 120458"/>
                  <a:gd name="connsiteX228" fmla="*/ 111065 w 191824"/>
                  <a:gd name="connsiteY228" fmla="*/ 110458 h 120458"/>
                  <a:gd name="connsiteX229" fmla="*/ 115762 w 191824"/>
                  <a:gd name="connsiteY229" fmla="*/ 107883 h 120458"/>
                  <a:gd name="connsiteX230" fmla="*/ 120004 w 191824"/>
                  <a:gd name="connsiteY230" fmla="*/ 108337 h 120458"/>
                  <a:gd name="connsiteX231" fmla="*/ 121065 w 191824"/>
                  <a:gd name="connsiteY231" fmla="*/ 107731 h 120458"/>
                  <a:gd name="connsiteX232" fmla="*/ 120156 w 191824"/>
                  <a:gd name="connsiteY232" fmla="*/ 106519 h 120458"/>
                  <a:gd name="connsiteX233" fmla="*/ 118792 w 191824"/>
                  <a:gd name="connsiteY233" fmla="*/ 105610 h 120458"/>
                  <a:gd name="connsiteX234" fmla="*/ 114701 w 191824"/>
                  <a:gd name="connsiteY234" fmla="*/ 97276 h 120458"/>
                  <a:gd name="connsiteX235" fmla="*/ 117125 w 191824"/>
                  <a:gd name="connsiteY235" fmla="*/ 95458 h 120458"/>
                  <a:gd name="connsiteX236" fmla="*/ 116368 w 191824"/>
                  <a:gd name="connsiteY236" fmla="*/ 91670 h 120458"/>
                  <a:gd name="connsiteX237" fmla="*/ 113337 w 191824"/>
                  <a:gd name="connsiteY237" fmla="*/ 90609 h 120458"/>
                  <a:gd name="connsiteX238" fmla="*/ 111671 w 191824"/>
                  <a:gd name="connsiteY238" fmla="*/ 88640 h 120458"/>
                  <a:gd name="connsiteX239" fmla="*/ 112428 w 191824"/>
                  <a:gd name="connsiteY239" fmla="*/ 85912 h 120458"/>
                  <a:gd name="connsiteX240" fmla="*/ 114550 w 191824"/>
                  <a:gd name="connsiteY240" fmla="*/ 83942 h 120458"/>
                  <a:gd name="connsiteX241" fmla="*/ 116974 w 191824"/>
                  <a:gd name="connsiteY241" fmla="*/ 82882 h 120458"/>
                  <a:gd name="connsiteX242" fmla="*/ 119701 w 191824"/>
                  <a:gd name="connsiteY242" fmla="*/ 82124 h 120458"/>
                  <a:gd name="connsiteX243" fmla="*/ 120762 w 191824"/>
                  <a:gd name="connsiteY243" fmla="*/ 81367 h 120458"/>
                  <a:gd name="connsiteX244" fmla="*/ 121519 w 191824"/>
                  <a:gd name="connsiteY244" fmla="*/ 80306 h 120458"/>
                  <a:gd name="connsiteX245" fmla="*/ 121519 w 191824"/>
                  <a:gd name="connsiteY245" fmla="*/ 76518 h 120458"/>
                  <a:gd name="connsiteX246" fmla="*/ 120307 w 191824"/>
                  <a:gd name="connsiteY246" fmla="*/ 71366 h 120458"/>
                  <a:gd name="connsiteX247" fmla="*/ 120762 w 191824"/>
                  <a:gd name="connsiteY247" fmla="*/ 69851 h 120458"/>
                  <a:gd name="connsiteX248" fmla="*/ 122580 w 191824"/>
                  <a:gd name="connsiteY248" fmla="*/ 66972 h 120458"/>
                  <a:gd name="connsiteX249" fmla="*/ 121822 w 191824"/>
                  <a:gd name="connsiteY249" fmla="*/ 65760 h 120458"/>
                  <a:gd name="connsiteX250" fmla="*/ 120307 w 191824"/>
                  <a:gd name="connsiteY250" fmla="*/ 65002 h 120458"/>
                  <a:gd name="connsiteX251" fmla="*/ 117580 w 191824"/>
                  <a:gd name="connsiteY251" fmla="*/ 64093 h 120458"/>
                  <a:gd name="connsiteX252" fmla="*/ 114701 w 191824"/>
                  <a:gd name="connsiteY252" fmla="*/ 63487 h 120458"/>
                  <a:gd name="connsiteX253" fmla="*/ 111822 w 191824"/>
                  <a:gd name="connsiteY253" fmla="*/ 63639 h 120458"/>
                  <a:gd name="connsiteX254" fmla="*/ 106974 w 191824"/>
                  <a:gd name="connsiteY254" fmla="*/ 66214 h 120458"/>
                  <a:gd name="connsiteX255" fmla="*/ 102277 w 191824"/>
                  <a:gd name="connsiteY255" fmla="*/ 69396 h 120458"/>
                  <a:gd name="connsiteX256" fmla="*/ 103488 w 191824"/>
                  <a:gd name="connsiteY256" fmla="*/ 70609 h 120458"/>
                  <a:gd name="connsiteX257" fmla="*/ 104095 w 191824"/>
                  <a:gd name="connsiteY257" fmla="*/ 72275 h 120458"/>
                  <a:gd name="connsiteX258" fmla="*/ 103791 w 191824"/>
                  <a:gd name="connsiteY258" fmla="*/ 74851 h 120458"/>
                  <a:gd name="connsiteX259" fmla="*/ 102731 w 191824"/>
                  <a:gd name="connsiteY259" fmla="*/ 75609 h 120458"/>
                  <a:gd name="connsiteX260" fmla="*/ 101973 w 191824"/>
                  <a:gd name="connsiteY260" fmla="*/ 76972 h 120458"/>
                  <a:gd name="connsiteX261" fmla="*/ 100912 w 191824"/>
                  <a:gd name="connsiteY261" fmla="*/ 79851 h 120458"/>
                  <a:gd name="connsiteX262" fmla="*/ 99852 w 191824"/>
                  <a:gd name="connsiteY262" fmla="*/ 79700 h 120458"/>
                  <a:gd name="connsiteX263" fmla="*/ 97276 w 191824"/>
                  <a:gd name="connsiteY263" fmla="*/ 78639 h 120458"/>
                  <a:gd name="connsiteX264" fmla="*/ 96973 w 191824"/>
                  <a:gd name="connsiteY264" fmla="*/ 74851 h 120458"/>
                  <a:gd name="connsiteX265" fmla="*/ 97276 w 191824"/>
                  <a:gd name="connsiteY265" fmla="*/ 71821 h 120458"/>
                  <a:gd name="connsiteX266" fmla="*/ 95458 w 191824"/>
                  <a:gd name="connsiteY266" fmla="*/ 70002 h 120458"/>
                  <a:gd name="connsiteX267" fmla="*/ 91215 w 191824"/>
                  <a:gd name="connsiteY267" fmla="*/ 70457 h 120458"/>
                  <a:gd name="connsiteX268" fmla="*/ 90761 w 191824"/>
                  <a:gd name="connsiteY268" fmla="*/ 71821 h 120458"/>
                  <a:gd name="connsiteX269" fmla="*/ 90912 w 191824"/>
                  <a:gd name="connsiteY269" fmla="*/ 72881 h 120458"/>
                  <a:gd name="connsiteX270" fmla="*/ 86973 w 191824"/>
                  <a:gd name="connsiteY270" fmla="*/ 77730 h 120458"/>
                  <a:gd name="connsiteX271" fmla="*/ 85760 w 191824"/>
                  <a:gd name="connsiteY271" fmla="*/ 78336 h 120458"/>
                  <a:gd name="connsiteX272" fmla="*/ 84397 w 191824"/>
                  <a:gd name="connsiteY272" fmla="*/ 78488 h 120458"/>
                  <a:gd name="connsiteX273" fmla="*/ 79548 w 191824"/>
                  <a:gd name="connsiteY273" fmla="*/ 78185 h 120458"/>
                  <a:gd name="connsiteX274" fmla="*/ 77579 w 191824"/>
                  <a:gd name="connsiteY274" fmla="*/ 78942 h 120458"/>
                  <a:gd name="connsiteX275" fmla="*/ 78336 w 191824"/>
                  <a:gd name="connsiteY275" fmla="*/ 81973 h 120458"/>
                  <a:gd name="connsiteX276" fmla="*/ 80003 w 191824"/>
                  <a:gd name="connsiteY276" fmla="*/ 82579 h 120458"/>
                  <a:gd name="connsiteX277" fmla="*/ 81367 w 191824"/>
                  <a:gd name="connsiteY277" fmla="*/ 83639 h 120458"/>
                  <a:gd name="connsiteX278" fmla="*/ 81367 w 191824"/>
                  <a:gd name="connsiteY278" fmla="*/ 85003 h 120458"/>
                  <a:gd name="connsiteX279" fmla="*/ 81669 w 191824"/>
                  <a:gd name="connsiteY279" fmla="*/ 86215 h 120458"/>
                  <a:gd name="connsiteX280" fmla="*/ 83336 w 191824"/>
                  <a:gd name="connsiteY280" fmla="*/ 88791 h 120458"/>
                  <a:gd name="connsiteX281" fmla="*/ 82881 w 191824"/>
                  <a:gd name="connsiteY281" fmla="*/ 94094 h 120458"/>
                  <a:gd name="connsiteX282" fmla="*/ 86064 w 191824"/>
                  <a:gd name="connsiteY282" fmla="*/ 98791 h 120458"/>
                  <a:gd name="connsiteX283" fmla="*/ 86669 w 191824"/>
                  <a:gd name="connsiteY283" fmla="*/ 99094 h 120458"/>
                  <a:gd name="connsiteX284" fmla="*/ 89245 w 191824"/>
                  <a:gd name="connsiteY284" fmla="*/ 98488 h 120458"/>
                  <a:gd name="connsiteX285" fmla="*/ 91064 w 191824"/>
                  <a:gd name="connsiteY285" fmla="*/ 98640 h 120458"/>
                  <a:gd name="connsiteX286" fmla="*/ 95912 w 191824"/>
                  <a:gd name="connsiteY286" fmla="*/ 99549 h 120458"/>
                  <a:gd name="connsiteX287" fmla="*/ 97124 w 191824"/>
                  <a:gd name="connsiteY287" fmla="*/ 103034 h 120458"/>
                  <a:gd name="connsiteX288" fmla="*/ 97276 w 191824"/>
                  <a:gd name="connsiteY288" fmla="*/ 105155 h 120458"/>
                  <a:gd name="connsiteX289" fmla="*/ 98337 w 191824"/>
                  <a:gd name="connsiteY289" fmla="*/ 107731 h 120458"/>
                  <a:gd name="connsiteX290" fmla="*/ 98337 w 191824"/>
                  <a:gd name="connsiteY290" fmla="*/ 109852 h 120458"/>
                  <a:gd name="connsiteX291" fmla="*/ 101670 w 191824"/>
                  <a:gd name="connsiteY291" fmla="*/ 115307 h 120458"/>
                  <a:gd name="connsiteX292" fmla="*/ 106822 w 191824"/>
                  <a:gd name="connsiteY292" fmla="*/ 113641 h 120458"/>
                  <a:gd name="connsiteX293" fmla="*/ 107277 w 191824"/>
                  <a:gd name="connsiteY293" fmla="*/ 110155 h 120458"/>
                  <a:gd name="connsiteX294" fmla="*/ 107428 w 191824"/>
                  <a:gd name="connsiteY294" fmla="*/ 107580 h 120458"/>
                  <a:gd name="connsiteX295" fmla="*/ 107277 w 191824"/>
                  <a:gd name="connsiteY295" fmla="*/ 104095 h 120458"/>
                  <a:gd name="connsiteX296" fmla="*/ 107883 w 191824"/>
                  <a:gd name="connsiteY296" fmla="*/ 99549 h 120458"/>
                  <a:gd name="connsiteX297" fmla="*/ 114701 w 191824"/>
                  <a:gd name="connsiteY297" fmla="*/ 97276 h 12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91824" h="120458">
                    <a:moveTo>
                      <a:pt x="51062" y="106822"/>
                    </a:moveTo>
                    <a:lnTo>
                      <a:pt x="46517" y="104095"/>
                    </a:lnTo>
                    <a:lnTo>
                      <a:pt x="45153" y="103640"/>
                    </a:lnTo>
                    <a:lnTo>
                      <a:pt x="44850" y="103943"/>
                    </a:lnTo>
                    <a:lnTo>
                      <a:pt x="45759" y="109852"/>
                    </a:lnTo>
                    <a:lnTo>
                      <a:pt x="48486" y="110155"/>
                    </a:lnTo>
                    <a:lnTo>
                      <a:pt x="50002" y="111065"/>
                    </a:lnTo>
                    <a:lnTo>
                      <a:pt x="52881" y="110610"/>
                    </a:lnTo>
                    <a:lnTo>
                      <a:pt x="52729" y="109852"/>
                    </a:lnTo>
                    <a:lnTo>
                      <a:pt x="51062" y="106822"/>
                    </a:lnTo>
                    <a:close/>
                    <a:moveTo>
                      <a:pt x="65608" y="76366"/>
                    </a:moveTo>
                    <a:lnTo>
                      <a:pt x="67275" y="77124"/>
                    </a:lnTo>
                    <a:lnTo>
                      <a:pt x="67729" y="76366"/>
                    </a:lnTo>
                    <a:lnTo>
                      <a:pt x="68336" y="74397"/>
                    </a:lnTo>
                    <a:lnTo>
                      <a:pt x="69245" y="72730"/>
                    </a:lnTo>
                    <a:lnTo>
                      <a:pt x="68487" y="71366"/>
                    </a:lnTo>
                    <a:lnTo>
                      <a:pt x="66063" y="68336"/>
                    </a:lnTo>
                    <a:lnTo>
                      <a:pt x="65154" y="69548"/>
                    </a:lnTo>
                    <a:lnTo>
                      <a:pt x="65911" y="71518"/>
                    </a:lnTo>
                    <a:lnTo>
                      <a:pt x="65305" y="73790"/>
                    </a:lnTo>
                    <a:lnTo>
                      <a:pt x="65608" y="76366"/>
                    </a:lnTo>
                    <a:close/>
                    <a:moveTo>
                      <a:pt x="80003" y="19395"/>
                    </a:moveTo>
                    <a:lnTo>
                      <a:pt x="80609" y="18485"/>
                    </a:lnTo>
                    <a:lnTo>
                      <a:pt x="83336" y="16667"/>
                    </a:lnTo>
                    <a:lnTo>
                      <a:pt x="80912" y="16364"/>
                    </a:lnTo>
                    <a:lnTo>
                      <a:pt x="76821" y="17273"/>
                    </a:lnTo>
                    <a:lnTo>
                      <a:pt x="75154" y="19092"/>
                    </a:lnTo>
                    <a:lnTo>
                      <a:pt x="78942" y="20455"/>
                    </a:lnTo>
                    <a:lnTo>
                      <a:pt x="80003" y="19395"/>
                    </a:lnTo>
                    <a:close/>
                    <a:moveTo>
                      <a:pt x="60608" y="109852"/>
                    </a:moveTo>
                    <a:lnTo>
                      <a:pt x="58335" y="108186"/>
                    </a:lnTo>
                    <a:lnTo>
                      <a:pt x="56517" y="107731"/>
                    </a:lnTo>
                    <a:lnTo>
                      <a:pt x="56971" y="108489"/>
                    </a:lnTo>
                    <a:lnTo>
                      <a:pt x="60457" y="111671"/>
                    </a:lnTo>
                    <a:lnTo>
                      <a:pt x="62578" y="112428"/>
                    </a:lnTo>
                    <a:lnTo>
                      <a:pt x="64396" y="111974"/>
                    </a:lnTo>
                    <a:lnTo>
                      <a:pt x="65002" y="111519"/>
                    </a:lnTo>
                    <a:lnTo>
                      <a:pt x="62578" y="110155"/>
                    </a:lnTo>
                    <a:lnTo>
                      <a:pt x="60608" y="109852"/>
                    </a:lnTo>
                    <a:close/>
                    <a:moveTo>
                      <a:pt x="43789" y="107580"/>
                    </a:moveTo>
                    <a:lnTo>
                      <a:pt x="42577" y="106367"/>
                    </a:lnTo>
                    <a:lnTo>
                      <a:pt x="41365" y="105458"/>
                    </a:lnTo>
                    <a:lnTo>
                      <a:pt x="39395" y="104852"/>
                    </a:lnTo>
                    <a:lnTo>
                      <a:pt x="36213" y="104852"/>
                    </a:lnTo>
                    <a:lnTo>
                      <a:pt x="37577" y="101973"/>
                    </a:lnTo>
                    <a:lnTo>
                      <a:pt x="41365" y="98640"/>
                    </a:lnTo>
                    <a:lnTo>
                      <a:pt x="42123" y="96216"/>
                    </a:lnTo>
                    <a:lnTo>
                      <a:pt x="41213" y="93337"/>
                    </a:lnTo>
                    <a:lnTo>
                      <a:pt x="40759" y="90609"/>
                    </a:lnTo>
                    <a:lnTo>
                      <a:pt x="39850" y="87579"/>
                    </a:lnTo>
                    <a:lnTo>
                      <a:pt x="41819" y="85155"/>
                    </a:lnTo>
                    <a:lnTo>
                      <a:pt x="44850" y="83185"/>
                    </a:lnTo>
                    <a:lnTo>
                      <a:pt x="45911" y="81518"/>
                    </a:lnTo>
                    <a:lnTo>
                      <a:pt x="48335" y="79397"/>
                    </a:lnTo>
                    <a:lnTo>
                      <a:pt x="51062" y="78336"/>
                    </a:lnTo>
                    <a:lnTo>
                      <a:pt x="51668" y="77276"/>
                    </a:lnTo>
                    <a:lnTo>
                      <a:pt x="50002" y="75306"/>
                    </a:lnTo>
                    <a:lnTo>
                      <a:pt x="48335" y="74094"/>
                    </a:lnTo>
                    <a:lnTo>
                      <a:pt x="51517" y="72881"/>
                    </a:lnTo>
                    <a:lnTo>
                      <a:pt x="53941" y="72881"/>
                    </a:lnTo>
                    <a:lnTo>
                      <a:pt x="55305" y="73639"/>
                    </a:lnTo>
                    <a:lnTo>
                      <a:pt x="55911" y="73184"/>
                    </a:lnTo>
                    <a:lnTo>
                      <a:pt x="57123" y="67730"/>
                    </a:lnTo>
                    <a:lnTo>
                      <a:pt x="59699" y="59699"/>
                    </a:lnTo>
                    <a:lnTo>
                      <a:pt x="61214" y="58184"/>
                    </a:lnTo>
                    <a:lnTo>
                      <a:pt x="62729" y="57275"/>
                    </a:lnTo>
                    <a:lnTo>
                      <a:pt x="65760" y="60154"/>
                    </a:lnTo>
                    <a:lnTo>
                      <a:pt x="68033" y="60154"/>
                    </a:lnTo>
                    <a:lnTo>
                      <a:pt x="71669" y="58638"/>
                    </a:lnTo>
                    <a:lnTo>
                      <a:pt x="74548" y="56517"/>
                    </a:lnTo>
                    <a:lnTo>
                      <a:pt x="75609" y="54093"/>
                    </a:lnTo>
                    <a:lnTo>
                      <a:pt x="76518" y="50759"/>
                    </a:lnTo>
                    <a:lnTo>
                      <a:pt x="75305" y="48790"/>
                    </a:lnTo>
                    <a:lnTo>
                      <a:pt x="74245" y="47729"/>
                    </a:lnTo>
                    <a:lnTo>
                      <a:pt x="64548" y="47729"/>
                    </a:lnTo>
                    <a:lnTo>
                      <a:pt x="61669" y="46365"/>
                    </a:lnTo>
                    <a:lnTo>
                      <a:pt x="58941" y="43789"/>
                    </a:lnTo>
                    <a:lnTo>
                      <a:pt x="59396" y="37577"/>
                    </a:lnTo>
                    <a:lnTo>
                      <a:pt x="59093" y="35910"/>
                    </a:lnTo>
                    <a:lnTo>
                      <a:pt x="59396" y="29092"/>
                    </a:lnTo>
                    <a:lnTo>
                      <a:pt x="60608" y="28183"/>
                    </a:lnTo>
                    <a:lnTo>
                      <a:pt x="63336" y="22273"/>
                    </a:lnTo>
                    <a:lnTo>
                      <a:pt x="65760" y="19546"/>
                    </a:lnTo>
                    <a:lnTo>
                      <a:pt x="65608" y="14243"/>
                    </a:lnTo>
                    <a:lnTo>
                      <a:pt x="66215" y="11515"/>
                    </a:lnTo>
                    <a:lnTo>
                      <a:pt x="63638" y="6970"/>
                    </a:lnTo>
                    <a:lnTo>
                      <a:pt x="64093" y="4849"/>
                    </a:lnTo>
                    <a:lnTo>
                      <a:pt x="64699" y="3485"/>
                    </a:lnTo>
                    <a:lnTo>
                      <a:pt x="68184" y="0"/>
                    </a:lnTo>
                    <a:lnTo>
                      <a:pt x="66063" y="0"/>
                    </a:lnTo>
                    <a:lnTo>
                      <a:pt x="58487" y="4697"/>
                    </a:lnTo>
                    <a:lnTo>
                      <a:pt x="50305" y="6061"/>
                    </a:lnTo>
                    <a:lnTo>
                      <a:pt x="46214" y="10152"/>
                    </a:lnTo>
                    <a:lnTo>
                      <a:pt x="39092" y="19849"/>
                    </a:lnTo>
                    <a:lnTo>
                      <a:pt x="35759" y="22122"/>
                    </a:lnTo>
                    <a:lnTo>
                      <a:pt x="32122" y="23183"/>
                    </a:lnTo>
                    <a:lnTo>
                      <a:pt x="25001" y="22880"/>
                    </a:lnTo>
                    <a:lnTo>
                      <a:pt x="22728" y="23031"/>
                    </a:lnTo>
                    <a:lnTo>
                      <a:pt x="18940" y="24546"/>
                    </a:lnTo>
                    <a:lnTo>
                      <a:pt x="13637" y="24546"/>
                    </a:lnTo>
                    <a:lnTo>
                      <a:pt x="8333" y="29546"/>
                    </a:lnTo>
                    <a:lnTo>
                      <a:pt x="4394" y="34698"/>
                    </a:lnTo>
                    <a:lnTo>
                      <a:pt x="3939" y="36213"/>
                    </a:lnTo>
                    <a:lnTo>
                      <a:pt x="3939" y="38638"/>
                    </a:lnTo>
                    <a:lnTo>
                      <a:pt x="6061" y="40304"/>
                    </a:lnTo>
                    <a:lnTo>
                      <a:pt x="9394" y="42123"/>
                    </a:lnTo>
                    <a:lnTo>
                      <a:pt x="13031" y="40304"/>
                    </a:lnTo>
                    <a:lnTo>
                      <a:pt x="17576" y="39698"/>
                    </a:lnTo>
                    <a:lnTo>
                      <a:pt x="20455" y="33335"/>
                    </a:lnTo>
                    <a:lnTo>
                      <a:pt x="23637" y="28334"/>
                    </a:lnTo>
                    <a:lnTo>
                      <a:pt x="26819" y="27274"/>
                    </a:lnTo>
                    <a:lnTo>
                      <a:pt x="30759" y="28486"/>
                    </a:lnTo>
                    <a:lnTo>
                      <a:pt x="29546" y="36365"/>
                    </a:lnTo>
                    <a:lnTo>
                      <a:pt x="29243" y="40456"/>
                    </a:lnTo>
                    <a:lnTo>
                      <a:pt x="27728" y="38486"/>
                    </a:lnTo>
                    <a:lnTo>
                      <a:pt x="25758" y="36820"/>
                    </a:lnTo>
                    <a:lnTo>
                      <a:pt x="23788" y="37577"/>
                    </a:lnTo>
                    <a:lnTo>
                      <a:pt x="20909" y="39092"/>
                    </a:lnTo>
                    <a:lnTo>
                      <a:pt x="16819" y="43335"/>
                    </a:lnTo>
                    <a:lnTo>
                      <a:pt x="16364" y="46517"/>
                    </a:lnTo>
                    <a:lnTo>
                      <a:pt x="15152" y="48335"/>
                    </a:lnTo>
                    <a:lnTo>
                      <a:pt x="13333" y="47577"/>
                    </a:lnTo>
                    <a:lnTo>
                      <a:pt x="11819" y="45759"/>
                    </a:lnTo>
                    <a:lnTo>
                      <a:pt x="9697" y="45608"/>
                    </a:lnTo>
                    <a:lnTo>
                      <a:pt x="4394" y="43638"/>
                    </a:lnTo>
                    <a:lnTo>
                      <a:pt x="3030" y="43638"/>
                    </a:lnTo>
                    <a:lnTo>
                      <a:pt x="1212" y="44092"/>
                    </a:lnTo>
                    <a:lnTo>
                      <a:pt x="303" y="55154"/>
                    </a:lnTo>
                    <a:lnTo>
                      <a:pt x="0" y="62123"/>
                    </a:lnTo>
                    <a:lnTo>
                      <a:pt x="2273" y="68184"/>
                    </a:lnTo>
                    <a:lnTo>
                      <a:pt x="1667" y="71366"/>
                    </a:lnTo>
                    <a:lnTo>
                      <a:pt x="303" y="82882"/>
                    </a:lnTo>
                    <a:lnTo>
                      <a:pt x="6061" y="86367"/>
                    </a:lnTo>
                    <a:lnTo>
                      <a:pt x="13485" y="89852"/>
                    </a:lnTo>
                    <a:lnTo>
                      <a:pt x="14394" y="93337"/>
                    </a:lnTo>
                    <a:lnTo>
                      <a:pt x="14849" y="100004"/>
                    </a:lnTo>
                    <a:lnTo>
                      <a:pt x="12273" y="100761"/>
                    </a:lnTo>
                    <a:lnTo>
                      <a:pt x="14091" y="104095"/>
                    </a:lnTo>
                    <a:lnTo>
                      <a:pt x="14697" y="106367"/>
                    </a:lnTo>
                    <a:lnTo>
                      <a:pt x="15000" y="109549"/>
                    </a:lnTo>
                    <a:lnTo>
                      <a:pt x="15000" y="109549"/>
                    </a:lnTo>
                    <a:lnTo>
                      <a:pt x="20152" y="109701"/>
                    </a:lnTo>
                    <a:lnTo>
                      <a:pt x="21364" y="109852"/>
                    </a:lnTo>
                    <a:lnTo>
                      <a:pt x="29092" y="111822"/>
                    </a:lnTo>
                    <a:lnTo>
                      <a:pt x="30910" y="113186"/>
                    </a:lnTo>
                    <a:lnTo>
                      <a:pt x="33334" y="113186"/>
                    </a:lnTo>
                    <a:lnTo>
                      <a:pt x="37577" y="111822"/>
                    </a:lnTo>
                    <a:lnTo>
                      <a:pt x="40759" y="111216"/>
                    </a:lnTo>
                    <a:lnTo>
                      <a:pt x="41971" y="111974"/>
                    </a:lnTo>
                    <a:lnTo>
                      <a:pt x="43789" y="112277"/>
                    </a:lnTo>
                    <a:lnTo>
                      <a:pt x="44244" y="112277"/>
                    </a:lnTo>
                    <a:lnTo>
                      <a:pt x="43335" y="108337"/>
                    </a:lnTo>
                    <a:lnTo>
                      <a:pt x="43789" y="107580"/>
                    </a:lnTo>
                    <a:close/>
                    <a:moveTo>
                      <a:pt x="71366" y="89397"/>
                    </a:moveTo>
                    <a:lnTo>
                      <a:pt x="70003" y="85155"/>
                    </a:lnTo>
                    <a:lnTo>
                      <a:pt x="68790" y="83185"/>
                    </a:lnTo>
                    <a:lnTo>
                      <a:pt x="68184" y="83033"/>
                    </a:lnTo>
                    <a:lnTo>
                      <a:pt x="65002" y="85155"/>
                    </a:lnTo>
                    <a:lnTo>
                      <a:pt x="62729" y="85003"/>
                    </a:lnTo>
                    <a:lnTo>
                      <a:pt x="60760" y="83488"/>
                    </a:lnTo>
                    <a:lnTo>
                      <a:pt x="58941" y="83033"/>
                    </a:lnTo>
                    <a:lnTo>
                      <a:pt x="50911" y="85912"/>
                    </a:lnTo>
                    <a:lnTo>
                      <a:pt x="47274" y="86670"/>
                    </a:lnTo>
                    <a:lnTo>
                      <a:pt x="47274" y="92731"/>
                    </a:lnTo>
                    <a:lnTo>
                      <a:pt x="49244" y="97579"/>
                    </a:lnTo>
                    <a:lnTo>
                      <a:pt x="50305" y="98488"/>
                    </a:lnTo>
                    <a:lnTo>
                      <a:pt x="50911" y="100155"/>
                    </a:lnTo>
                    <a:lnTo>
                      <a:pt x="58184" y="103034"/>
                    </a:lnTo>
                    <a:lnTo>
                      <a:pt x="63336" y="104549"/>
                    </a:lnTo>
                    <a:lnTo>
                      <a:pt x="68336" y="104398"/>
                    </a:lnTo>
                    <a:lnTo>
                      <a:pt x="72730" y="101367"/>
                    </a:lnTo>
                    <a:lnTo>
                      <a:pt x="73336" y="98640"/>
                    </a:lnTo>
                    <a:lnTo>
                      <a:pt x="72730" y="96064"/>
                    </a:lnTo>
                    <a:lnTo>
                      <a:pt x="73639" y="94094"/>
                    </a:lnTo>
                    <a:lnTo>
                      <a:pt x="71366" y="89397"/>
                    </a:lnTo>
                    <a:close/>
                    <a:moveTo>
                      <a:pt x="74548" y="104398"/>
                    </a:moveTo>
                    <a:lnTo>
                      <a:pt x="71366" y="107883"/>
                    </a:lnTo>
                    <a:lnTo>
                      <a:pt x="70154" y="110155"/>
                    </a:lnTo>
                    <a:lnTo>
                      <a:pt x="68184" y="112125"/>
                    </a:lnTo>
                    <a:lnTo>
                      <a:pt x="68336" y="113034"/>
                    </a:lnTo>
                    <a:lnTo>
                      <a:pt x="70003" y="116065"/>
                    </a:lnTo>
                    <a:lnTo>
                      <a:pt x="71214" y="115913"/>
                    </a:lnTo>
                    <a:lnTo>
                      <a:pt x="72124" y="114095"/>
                    </a:lnTo>
                    <a:lnTo>
                      <a:pt x="76366" y="104095"/>
                    </a:lnTo>
                    <a:lnTo>
                      <a:pt x="77124" y="100458"/>
                    </a:lnTo>
                    <a:lnTo>
                      <a:pt x="76366" y="100458"/>
                    </a:lnTo>
                    <a:lnTo>
                      <a:pt x="74548" y="104398"/>
                    </a:lnTo>
                    <a:close/>
                    <a:moveTo>
                      <a:pt x="98791" y="113641"/>
                    </a:moveTo>
                    <a:lnTo>
                      <a:pt x="96519" y="112731"/>
                    </a:lnTo>
                    <a:lnTo>
                      <a:pt x="93185" y="112883"/>
                    </a:lnTo>
                    <a:lnTo>
                      <a:pt x="88336" y="110458"/>
                    </a:lnTo>
                    <a:lnTo>
                      <a:pt x="85457" y="108186"/>
                    </a:lnTo>
                    <a:lnTo>
                      <a:pt x="80003" y="108640"/>
                    </a:lnTo>
                    <a:lnTo>
                      <a:pt x="79548" y="110458"/>
                    </a:lnTo>
                    <a:lnTo>
                      <a:pt x="79397" y="115004"/>
                    </a:lnTo>
                    <a:lnTo>
                      <a:pt x="90912" y="120459"/>
                    </a:lnTo>
                    <a:lnTo>
                      <a:pt x="94397" y="119247"/>
                    </a:lnTo>
                    <a:lnTo>
                      <a:pt x="96973" y="119550"/>
                    </a:lnTo>
                    <a:lnTo>
                      <a:pt x="99246" y="118641"/>
                    </a:lnTo>
                    <a:lnTo>
                      <a:pt x="99094" y="115307"/>
                    </a:lnTo>
                    <a:lnTo>
                      <a:pt x="98791" y="113641"/>
                    </a:lnTo>
                    <a:close/>
                    <a:moveTo>
                      <a:pt x="122883" y="80457"/>
                    </a:moveTo>
                    <a:lnTo>
                      <a:pt x="122277" y="80457"/>
                    </a:lnTo>
                    <a:lnTo>
                      <a:pt x="121519" y="81670"/>
                    </a:lnTo>
                    <a:lnTo>
                      <a:pt x="120156" y="83033"/>
                    </a:lnTo>
                    <a:lnTo>
                      <a:pt x="121065" y="85306"/>
                    </a:lnTo>
                    <a:lnTo>
                      <a:pt x="121671" y="85458"/>
                    </a:lnTo>
                    <a:lnTo>
                      <a:pt x="124247" y="83791"/>
                    </a:lnTo>
                    <a:lnTo>
                      <a:pt x="123792" y="81821"/>
                    </a:lnTo>
                    <a:lnTo>
                      <a:pt x="122883" y="80457"/>
                    </a:lnTo>
                    <a:close/>
                    <a:moveTo>
                      <a:pt x="191522" y="100913"/>
                    </a:moveTo>
                    <a:lnTo>
                      <a:pt x="181522" y="95003"/>
                    </a:lnTo>
                    <a:lnTo>
                      <a:pt x="180158" y="97276"/>
                    </a:lnTo>
                    <a:lnTo>
                      <a:pt x="179401" y="102428"/>
                    </a:lnTo>
                    <a:lnTo>
                      <a:pt x="184855" y="105004"/>
                    </a:lnTo>
                    <a:lnTo>
                      <a:pt x="189401" y="106064"/>
                    </a:lnTo>
                    <a:lnTo>
                      <a:pt x="190461" y="105458"/>
                    </a:lnTo>
                    <a:lnTo>
                      <a:pt x="191825" y="103034"/>
                    </a:lnTo>
                    <a:lnTo>
                      <a:pt x="191522" y="100913"/>
                    </a:lnTo>
                    <a:close/>
                    <a:moveTo>
                      <a:pt x="118792" y="105610"/>
                    </a:moveTo>
                    <a:lnTo>
                      <a:pt x="117429" y="105155"/>
                    </a:lnTo>
                    <a:lnTo>
                      <a:pt x="114550" y="104852"/>
                    </a:lnTo>
                    <a:lnTo>
                      <a:pt x="113489" y="103943"/>
                    </a:lnTo>
                    <a:lnTo>
                      <a:pt x="113034" y="105610"/>
                    </a:lnTo>
                    <a:lnTo>
                      <a:pt x="111974" y="106670"/>
                    </a:lnTo>
                    <a:lnTo>
                      <a:pt x="110307" y="107428"/>
                    </a:lnTo>
                    <a:lnTo>
                      <a:pt x="109853" y="108034"/>
                    </a:lnTo>
                    <a:lnTo>
                      <a:pt x="109246" y="109701"/>
                    </a:lnTo>
                    <a:lnTo>
                      <a:pt x="111065" y="110458"/>
                    </a:lnTo>
                    <a:lnTo>
                      <a:pt x="115762" y="107883"/>
                    </a:lnTo>
                    <a:lnTo>
                      <a:pt x="120004" y="108337"/>
                    </a:lnTo>
                    <a:lnTo>
                      <a:pt x="121065" y="107731"/>
                    </a:lnTo>
                    <a:lnTo>
                      <a:pt x="120156" y="106519"/>
                    </a:lnTo>
                    <a:lnTo>
                      <a:pt x="118792" y="105610"/>
                    </a:lnTo>
                    <a:close/>
                    <a:moveTo>
                      <a:pt x="114701" y="97276"/>
                    </a:moveTo>
                    <a:lnTo>
                      <a:pt x="117125" y="95458"/>
                    </a:lnTo>
                    <a:lnTo>
                      <a:pt x="116368" y="91670"/>
                    </a:lnTo>
                    <a:lnTo>
                      <a:pt x="113337" y="90609"/>
                    </a:lnTo>
                    <a:lnTo>
                      <a:pt x="111671" y="88640"/>
                    </a:lnTo>
                    <a:lnTo>
                      <a:pt x="112428" y="85912"/>
                    </a:lnTo>
                    <a:lnTo>
                      <a:pt x="114550" y="83942"/>
                    </a:lnTo>
                    <a:lnTo>
                      <a:pt x="116974" y="82882"/>
                    </a:lnTo>
                    <a:lnTo>
                      <a:pt x="119701" y="82124"/>
                    </a:lnTo>
                    <a:lnTo>
                      <a:pt x="120762" y="81367"/>
                    </a:lnTo>
                    <a:lnTo>
                      <a:pt x="121519" y="80306"/>
                    </a:lnTo>
                    <a:lnTo>
                      <a:pt x="121519" y="76518"/>
                    </a:lnTo>
                    <a:lnTo>
                      <a:pt x="120307" y="71366"/>
                    </a:lnTo>
                    <a:lnTo>
                      <a:pt x="120762" y="69851"/>
                    </a:lnTo>
                    <a:lnTo>
                      <a:pt x="122580" y="66972"/>
                    </a:lnTo>
                    <a:lnTo>
                      <a:pt x="121822" y="65760"/>
                    </a:lnTo>
                    <a:lnTo>
                      <a:pt x="120307" y="65002"/>
                    </a:lnTo>
                    <a:lnTo>
                      <a:pt x="117580" y="64093"/>
                    </a:lnTo>
                    <a:lnTo>
                      <a:pt x="114701" y="63487"/>
                    </a:lnTo>
                    <a:lnTo>
                      <a:pt x="111822" y="63639"/>
                    </a:lnTo>
                    <a:lnTo>
                      <a:pt x="106974" y="66214"/>
                    </a:lnTo>
                    <a:lnTo>
                      <a:pt x="102277" y="69396"/>
                    </a:lnTo>
                    <a:lnTo>
                      <a:pt x="103488" y="70609"/>
                    </a:lnTo>
                    <a:lnTo>
                      <a:pt x="104095" y="72275"/>
                    </a:lnTo>
                    <a:lnTo>
                      <a:pt x="103791" y="74851"/>
                    </a:lnTo>
                    <a:lnTo>
                      <a:pt x="102731" y="75609"/>
                    </a:lnTo>
                    <a:lnTo>
                      <a:pt x="101973" y="76972"/>
                    </a:lnTo>
                    <a:lnTo>
                      <a:pt x="100912" y="79851"/>
                    </a:lnTo>
                    <a:lnTo>
                      <a:pt x="99852" y="79700"/>
                    </a:lnTo>
                    <a:lnTo>
                      <a:pt x="97276" y="78639"/>
                    </a:lnTo>
                    <a:lnTo>
                      <a:pt x="96973" y="74851"/>
                    </a:lnTo>
                    <a:lnTo>
                      <a:pt x="97276" y="71821"/>
                    </a:lnTo>
                    <a:lnTo>
                      <a:pt x="95458" y="70002"/>
                    </a:lnTo>
                    <a:lnTo>
                      <a:pt x="91215" y="70457"/>
                    </a:lnTo>
                    <a:lnTo>
                      <a:pt x="90761" y="71821"/>
                    </a:lnTo>
                    <a:lnTo>
                      <a:pt x="90912" y="72881"/>
                    </a:lnTo>
                    <a:lnTo>
                      <a:pt x="86973" y="77730"/>
                    </a:lnTo>
                    <a:lnTo>
                      <a:pt x="85760" y="78336"/>
                    </a:lnTo>
                    <a:lnTo>
                      <a:pt x="84397" y="78488"/>
                    </a:lnTo>
                    <a:lnTo>
                      <a:pt x="79548" y="78185"/>
                    </a:lnTo>
                    <a:lnTo>
                      <a:pt x="77579" y="78942"/>
                    </a:lnTo>
                    <a:lnTo>
                      <a:pt x="78336" y="81973"/>
                    </a:lnTo>
                    <a:lnTo>
                      <a:pt x="80003" y="82579"/>
                    </a:lnTo>
                    <a:lnTo>
                      <a:pt x="81367" y="83639"/>
                    </a:lnTo>
                    <a:lnTo>
                      <a:pt x="81367" y="85003"/>
                    </a:lnTo>
                    <a:lnTo>
                      <a:pt x="81669" y="86215"/>
                    </a:lnTo>
                    <a:lnTo>
                      <a:pt x="83336" y="88791"/>
                    </a:lnTo>
                    <a:lnTo>
                      <a:pt x="82881" y="94094"/>
                    </a:lnTo>
                    <a:lnTo>
                      <a:pt x="86064" y="98791"/>
                    </a:lnTo>
                    <a:lnTo>
                      <a:pt x="86669" y="99094"/>
                    </a:lnTo>
                    <a:lnTo>
                      <a:pt x="89245" y="98488"/>
                    </a:lnTo>
                    <a:lnTo>
                      <a:pt x="91064" y="98640"/>
                    </a:lnTo>
                    <a:lnTo>
                      <a:pt x="95912" y="99549"/>
                    </a:lnTo>
                    <a:lnTo>
                      <a:pt x="97124" y="103034"/>
                    </a:lnTo>
                    <a:lnTo>
                      <a:pt x="97276" y="105155"/>
                    </a:lnTo>
                    <a:lnTo>
                      <a:pt x="98337" y="107731"/>
                    </a:lnTo>
                    <a:lnTo>
                      <a:pt x="98337" y="109852"/>
                    </a:lnTo>
                    <a:lnTo>
                      <a:pt x="101670" y="115307"/>
                    </a:lnTo>
                    <a:lnTo>
                      <a:pt x="106822" y="113641"/>
                    </a:lnTo>
                    <a:lnTo>
                      <a:pt x="107277" y="110155"/>
                    </a:lnTo>
                    <a:lnTo>
                      <a:pt x="107428" y="107580"/>
                    </a:lnTo>
                    <a:lnTo>
                      <a:pt x="107277" y="104095"/>
                    </a:lnTo>
                    <a:lnTo>
                      <a:pt x="107883" y="99549"/>
                    </a:lnTo>
                    <a:lnTo>
                      <a:pt x="114701" y="972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2" name="Freeform: Shape 3301">
                <a:extLst>
                  <a:ext uri="{FF2B5EF4-FFF2-40B4-BE49-F238E27FC236}">
                    <a16:creationId xmlns:a16="http://schemas.microsoft.com/office/drawing/2014/main" id="{126FD057-8395-4B91-9FF9-171715FDD5E1}"/>
                  </a:ext>
                </a:extLst>
              </p:cNvPr>
              <p:cNvSpPr/>
              <p:nvPr/>
            </p:nvSpPr>
            <p:spPr>
              <a:xfrm>
                <a:off x="6919970" y="4214859"/>
                <a:ext cx="45001" cy="48638"/>
              </a:xfrm>
              <a:custGeom>
                <a:avLst/>
                <a:gdLst>
                  <a:gd name="connsiteX0" fmla="*/ 43335 w 45001"/>
                  <a:gd name="connsiteY0" fmla="*/ 9394 h 48638"/>
                  <a:gd name="connsiteX1" fmla="*/ 41971 w 45001"/>
                  <a:gd name="connsiteY1" fmla="*/ 6667 h 48638"/>
                  <a:gd name="connsiteX2" fmla="*/ 37274 w 45001"/>
                  <a:gd name="connsiteY2" fmla="*/ 1212 h 48638"/>
                  <a:gd name="connsiteX3" fmla="*/ 36971 w 45001"/>
                  <a:gd name="connsiteY3" fmla="*/ 0 h 48638"/>
                  <a:gd name="connsiteX4" fmla="*/ 33941 w 45001"/>
                  <a:gd name="connsiteY4" fmla="*/ 1212 h 48638"/>
                  <a:gd name="connsiteX5" fmla="*/ 30607 w 45001"/>
                  <a:gd name="connsiteY5" fmla="*/ 2424 h 48638"/>
                  <a:gd name="connsiteX6" fmla="*/ 30001 w 45001"/>
                  <a:gd name="connsiteY6" fmla="*/ 2273 h 48638"/>
                  <a:gd name="connsiteX7" fmla="*/ 28941 w 45001"/>
                  <a:gd name="connsiteY7" fmla="*/ 3788 h 48638"/>
                  <a:gd name="connsiteX8" fmla="*/ 27425 w 45001"/>
                  <a:gd name="connsiteY8" fmla="*/ 7879 h 48638"/>
                  <a:gd name="connsiteX9" fmla="*/ 25607 w 45001"/>
                  <a:gd name="connsiteY9" fmla="*/ 8940 h 48638"/>
                  <a:gd name="connsiteX10" fmla="*/ 24698 w 45001"/>
                  <a:gd name="connsiteY10" fmla="*/ 9091 h 48638"/>
                  <a:gd name="connsiteX11" fmla="*/ 19546 w 45001"/>
                  <a:gd name="connsiteY11" fmla="*/ 5303 h 48638"/>
                  <a:gd name="connsiteX12" fmla="*/ 18637 w 45001"/>
                  <a:gd name="connsiteY12" fmla="*/ 5152 h 48638"/>
                  <a:gd name="connsiteX13" fmla="*/ 17576 w 45001"/>
                  <a:gd name="connsiteY13" fmla="*/ 5909 h 48638"/>
                  <a:gd name="connsiteX14" fmla="*/ 16667 w 45001"/>
                  <a:gd name="connsiteY14" fmla="*/ 6667 h 48638"/>
                  <a:gd name="connsiteX15" fmla="*/ 14091 w 45001"/>
                  <a:gd name="connsiteY15" fmla="*/ 10606 h 48638"/>
                  <a:gd name="connsiteX16" fmla="*/ 10455 w 45001"/>
                  <a:gd name="connsiteY16" fmla="*/ 15758 h 48638"/>
                  <a:gd name="connsiteX17" fmla="*/ 6212 w 45001"/>
                  <a:gd name="connsiteY17" fmla="*/ 21970 h 48638"/>
                  <a:gd name="connsiteX18" fmla="*/ 5000 w 45001"/>
                  <a:gd name="connsiteY18" fmla="*/ 23486 h 48638"/>
                  <a:gd name="connsiteX19" fmla="*/ 1364 w 45001"/>
                  <a:gd name="connsiteY19" fmla="*/ 27122 h 48638"/>
                  <a:gd name="connsiteX20" fmla="*/ 757 w 45001"/>
                  <a:gd name="connsiteY20" fmla="*/ 28183 h 48638"/>
                  <a:gd name="connsiteX21" fmla="*/ 0 w 45001"/>
                  <a:gd name="connsiteY21" fmla="*/ 30759 h 48638"/>
                  <a:gd name="connsiteX22" fmla="*/ 0 w 45001"/>
                  <a:gd name="connsiteY22" fmla="*/ 35607 h 48638"/>
                  <a:gd name="connsiteX23" fmla="*/ 455 w 45001"/>
                  <a:gd name="connsiteY23" fmla="*/ 41820 h 48638"/>
                  <a:gd name="connsiteX24" fmla="*/ 909 w 45001"/>
                  <a:gd name="connsiteY24" fmla="*/ 47577 h 48638"/>
                  <a:gd name="connsiteX25" fmla="*/ 2879 w 45001"/>
                  <a:gd name="connsiteY25" fmla="*/ 48335 h 48638"/>
                  <a:gd name="connsiteX26" fmla="*/ 5152 w 45001"/>
                  <a:gd name="connsiteY26" fmla="*/ 48638 h 48638"/>
                  <a:gd name="connsiteX27" fmla="*/ 7728 w 45001"/>
                  <a:gd name="connsiteY27" fmla="*/ 47881 h 48638"/>
                  <a:gd name="connsiteX28" fmla="*/ 10910 w 45001"/>
                  <a:gd name="connsiteY28" fmla="*/ 47275 h 48638"/>
                  <a:gd name="connsiteX29" fmla="*/ 14849 w 45001"/>
                  <a:gd name="connsiteY29" fmla="*/ 46972 h 48638"/>
                  <a:gd name="connsiteX30" fmla="*/ 19092 w 45001"/>
                  <a:gd name="connsiteY30" fmla="*/ 45759 h 48638"/>
                  <a:gd name="connsiteX31" fmla="*/ 21667 w 45001"/>
                  <a:gd name="connsiteY31" fmla="*/ 44850 h 48638"/>
                  <a:gd name="connsiteX32" fmla="*/ 24243 w 45001"/>
                  <a:gd name="connsiteY32" fmla="*/ 44850 h 48638"/>
                  <a:gd name="connsiteX33" fmla="*/ 26668 w 45001"/>
                  <a:gd name="connsiteY33" fmla="*/ 45911 h 48638"/>
                  <a:gd name="connsiteX34" fmla="*/ 27728 w 45001"/>
                  <a:gd name="connsiteY34" fmla="*/ 46820 h 48638"/>
                  <a:gd name="connsiteX35" fmla="*/ 29395 w 45001"/>
                  <a:gd name="connsiteY35" fmla="*/ 47123 h 48638"/>
                  <a:gd name="connsiteX36" fmla="*/ 31668 w 45001"/>
                  <a:gd name="connsiteY36" fmla="*/ 47123 h 48638"/>
                  <a:gd name="connsiteX37" fmla="*/ 35001 w 45001"/>
                  <a:gd name="connsiteY37" fmla="*/ 41668 h 48638"/>
                  <a:gd name="connsiteX38" fmla="*/ 38032 w 45001"/>
                  <a:gd name="connsiteY38" fmla="*/ 36971 h 48638"/>
                  <a:gd name="connsiteX39" fmla="*/ 40456 w 45001"/>
                  <a:gd name="connsiteY39" fmla="*/ 33335 h 48638"/>
                  <a:gd name="connsiteX40" fmla="*/ 38183 w 45001"/>
                  <a:gd name="connsiteY40" fmla="*/ 31516 h 48638"/>
                  <a:gd name="connsiteX41" fmla="*/ 34850 w 45001"/>
                  <a:gd name="connsiteY41" fmla="*/ 30910 h 48638"/>
                  <a:gd name="connsiteX42" fmla="*/ 31365 w 45001"/>
                  <a:gd name="connsiteY42" fmla="*/ 30910 h 48638"/>
                  <a:gd name="connsiteX43" fmla="*/ 28031 w 45001"/>
                  <a:gd name="connsiteY43" fmla="*/ 31516 h 48638"/>
                  <a:gd name="connsiteX44" fmla="*/ 24243 w 45001"/>
                  <a:gd name="connsiteY44" fmla="*/ 33032 h 48638"/>
                  <a:gd name="connsiteX45" fmla="*/ 22274 w 45001"/>
                  <a:gd name="connsiteY45" fmla="*/ 33335 h 48638"/>
                  <a:gd name="connsiteX46" fmla="*/ 21213 w 45001"/>
                  <a:gd name="connsiteY46" fmla="*/ 33183 h 48638"/>
                  <a:gd name="connsiteX47" fmla="*/ 20607 w 45001"/>
                  <a:gd name="connsiteY47" fmla="*/ 31365 h 48638"/>
                  <a:gd name="connsiteX48" fmla="*/ 23940 w 45001"/>
                  <a:gd name="connsiteY48" fmla="*/ 31668 h 48638"/>
                  <a:gd name="connsiteX49" fmla="*/ 28183 w 45001"/>
                  <a:gd name="connsiteY49" fmla="*/ 26668 h 48638"/>
                  <a:gd name="connsiteX50" fmla="*/ 35001 w 45001"/>
                  <a:gd name="connsiteY50" fmla="*/ 24243 h 48638"/>
                  <a:gd name="connsiteX51" fmla="*/ 41214 w 45001"/>
                  <a:gd name="connsiteY51" fmla="*/ 20304 h 48638"/>
                  <a:gd name="connsiteX52" fmla="*/ 42880 w 45001"/>
                  <a:gd name="connsiteY52" fmla="*/ 18789 h 48638"/>
                  <a:gd name="connsiteX53" fmla="*/ 44093 w 45001"/>
                  <a:gd name="connsiteY53" fmla="*/ 16970 h 48638"/>
                  <a:gd name="connsiteX54" fmla="*/ 45002 w 45001"/>
                  <a:gd name="connsiteY54" fmla="*/ 14243 h 4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5001" h="48638">
                    <a:moveTo>
                      <a:pt x="43335" y="9394"/>
                    </a:moveTo>
                    <a:lnTo>
                      <a:pt x="41971" y="6667"/>
                    </a:lnTo>
                    <a:lnTo>
                      <a:pt x="37274" y="1212"/>
                    </a:lnTo>
                    <a:lnTo>
                      <a:pt x="36971" y="0"/>
                    </a:lnTo>
                    <a:lnTo>
                      <a:pt x="33941" y="1212"/>
                    </a:lnTo>
                    <a:lnTo>
                      <a:pt x="30607" y="2424"/>
                    </a:lnTo>
                    <a:lnTo>
                      <a:pt x="30001" y="2273"/>
                    </a:lnTo>
                    <a:lnTo>
                      <a:pt x="28941" y="3788"/>
                    </a:lnTo>
                    <a:lnTo>
                      <a:pt x="27425" y="7879"/>
                    </a:lnTo>
                    <a:lnTo>
                      <a:pt x="25607" y="8940"/>
                    </a:lnTo>
                    <a:lnTo>
                      <a:pt x="24698" y="9091"/>
                    </a:lnTo>
                    <a:lnTo>
                      <a:pt x="19546" y="5303"/>
                    </a:lnTo>
                    <a:lnTo>
                      <a:pt x="18637" y="5152"/>
                    </a:lnTo>
                    <a:lnTo>
                      <a:pt x="17576" y="5909"/>
                    </a:lnTo>
                    <a:lnTo>
                      <a:pt x="16667" y="6667"/>
                    </a:lnTo>
                    <a:lnTo>
                      <a:pt x="14091" y="10606"/>
                    </a:lnTo>
                    <a:lnTo>
                      <a:pt x="10455" y="15758"/>
                    </a:lnTo>
                    <a:lnTo>
                      <a:pt x="6212" y="21970"/>
                    </a:lnTo>
                    <a:lnTo>
                      <a:pt x="5000" y="23486"/>
                    </a:lnTo>
                    <a:lnTo>
                      <a:pt x="1364" y="27122"/>
                    </a:lnTo>
                    <a:lnTo>
                      <a:pt x="757" y="28183"/>
                    </a:lnTo>
                    <a:lnTo>
                      <a:pt x="0" y="30759"/>
                    </a:lnTo>
                    <a:lnTo>
                      <a:pt x="0" y="35607"/>
                    </a:lnTo>
                    <a:lnTo>
                      <a:pt x="455" y="41820"/>
                    </a:lnTo>
                    <a:lnTo>
                      <a:pt x="909" y="47577"/>
                    </a:lnTo>
                    <a:lnTo>
                      <a:pt x="2879" y="48335"/>
                    </a:lnTo>
                    <a:lnTo>
                      <a:pt x="5152" y="48638"/>
                    </a:lnTo>
                    <a:lnTo>
                      <a:pt x="7728" y="47881"/>
                    </a:lnTo>
                    <a:lnTo>
                      <a:pt x="10910" y="47275"/>
                    </a:lnTo>
                    <a:lnTo>
                      <a:pt x="14849" y="46972"/>
                    </a:lnTo>
                    <a:lnTo>
                      <a:pt x="19092" y="45759"/>
                    </a:lnTo>
                    <a:lnTo>
                      <a:pt x="21667" y="44850"/>
                    </a:lnTo>
                    <a:lnTo>
                      <a:pt x="24243" y="44850"/>
                    </a:lnTo>
                    <a:lnTo>
                      <a:pt x="26668" y="45911"/>
                    </a:lnTo>
                    <a:lnTo>
                      <a:pt x="27728" y="46820"/>
                    </a:lnTo>
                    <a:lnTo>
                      <a:pt x="29395" y="47123"/>
                    </a:lnTo>
                    <a:lnTo>
                      <a:pt x="31668" y="47123"/>
                    </a:lnTo>
                    <a:lnTo>
                      <a:pt x="35001" y="41668"/>
                    </a:lnTo>
                    <a:lnTo>
                      <a:pt x="38032" y="36971"/>
                    </a:lnTo>
                    <a:lnTo>
                      <a:pt x="40456" y="33335"/>
                    </a:lnTo>
                    <a:lnTo>
                      <a:pt x="38183" y="31516"/>
                    </a:lnTo>
                    <a:lnTo>
                      <a:pt x="34850" y="30910"/>
                    </a:lnTo>
                    <a:lnTo>
                      <a:pt x="31365" y="30910"/>
                    </a:lnTo>
                    <a:lnTo>
                      <a:pt x="28031" y="31516"/>
                    </a:lnTo>
                    <a:lnTo>
                      <a:pt x="24243" y="33032"/>
                    </a:lnTo>
                    <a:lnTo>
                      <a:pt x="22274" y="33335"/>
                    </a:lnTo>
                    <a:lnTo>
                      <a:pt x="21213" y="33183"/>
                    </a:lnTo>
                    <a:lnTo>
                      <a:pt x="20607" y="31365"/>
                    </a:lnTo>
                    <a:lnTo>
                      <a:pt x="23940" y="31668"/>
                    </a:lnTo>
                    <a:lnTo>
                      <a:pt x="28183" y="26668"/>
                    </a:lnTo>
                    <a:lnTo>
                      <a:pt x="35001" y="24243"/>
                    </a:lnTo>
                    <a:lnTo>
                      <a:pt x="41214" y="20304"/>
                    </a:lnTo>
                    <a:lnTo>
                      <a:pt x="42880" y="18789"/>
                    </a:lnTo>
                    <a:lnTo>
                      <a:pt x="44093" y="16970"/>
                    </a:lnTo>
                    <a:lnTo>
                      <a:pt x="45002" y="1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3" name="Freeform: Shape 3302">
                <a:extLst>
                  <a:ext uri="{FF2B5EF4-FFF2-40B4-BE49-F238E27FC236}">
                    <a16:creationId xmlns:a16="http://schemas.microsoft.com/office/drawing/2014/main" id="{B9A8F62B-B5AD-4020-8A54-542A57BEEE92}"/>
                  </a:ext>
                </a:extLst>
              </p:cNvPr>
              <p:cNvSpPr/>
              <p:nvPr/>
            </p:nvSpPr>
            <p:spPr>
              <a:xfrm>
                <a:off x="5936751" y="2887690"/>
                <a:ext cx="251372" cy="280919"/>
              </a:xfrm>
              <a:custGeom>
                <a:avLst/>
                <a:gdLst>
                  <a:gd name="connsiteX0" fmla="*/ 200614 w 251372"/>
                  <a:gd name="connsiteY0" fmla="*/ 26213 h 280919"/>
                  <a:gd name="connsiteX1" fmla="*/ 201371 w 251372"/>
                  <a:gd name="connsiteY1" fmla="*/ 27728 h 280919"/>
                  <a:gd name="connsiteX2" fmla="*/ 206068 w 251372"/>
                  <a:gd name="connsiteY2" fmla="*/ 30759 h 280919"/>
                  <a:gd name="connsiteX3" fmla="*/ 207432 w 251372"/>
                  <a:gd name="connsiteY3" fmla="*/ 30607 h 280919"/>
                  <a:gd name="connsiteX4" fmla="*/ 209250 w 251372"/>
                  <a:gd name="connsiteY4" fmla="*/ 27274 h 280919"/>
                  <a:gd name="connsiteX5" fmla="*/ 212281 w 251372"/>
                  <a:gd name="connsiteY5" fmla="*/ 27274 h 280919"/>
                  <a:gd name="connsiteX6" fmla="*/ 215311 w 251372"/>
                  <a:gd name="connsiteY6" fmla="*/ 29395 h 280919"/>
                  <a:gd name="connsiteX7" fmla="*/ 216069 w 251372"/>
                  <a:gd name="connsiteY7" fmla="*/ 28031 h 280919"/>
                  <a:gd name="connsiteX8" fmla="*/ 215311 w 251372"/>
                  <a:gd name="connsiteY8" fmla="*/ 25455 h 280919"/>
                  <a:gd name="connsiteX9" fmla="*/ 212432 w 251372"/>
                  <a:gd name="connsiteY9" fmla="*/ 23789 h 280919"/>
                  <a:gd name="connsiteX10" fmla="*/ 211826 w 251372"/>
                  <a:gd name="connsiteY10" fmla="*/ 22274 h 280919"/>
                  <a:gd name="connsiteX11" fmla="*/ 212432 w 251372"/>
                  <a:gd name="connsiteY11" fmla="*/ 21364 h 280919"/>
                  <a:gd name="connsiteX12" fmla="*/ 214251 w 251372"/>
                  <a:gd name="connsiteY12" fmla="*/ 19546 h 280919"/>
                  <a:gd name="connsiteX13" fmla="*/ 213947 w 251372"/>
                  <a:gd name="connsiteY13" fmla="*/ 18637 h 280919"/>
                  <a:gd name="connsiteX14" fmla="*/ 213342 w 251372"/>
                  <a:gd name="connsiteY14" fmla="*/ 18031 h 280919"/>
                  <a:gd name="connsiteX15" fmla="*/ 209402 w 251372"/>
                  <a:gd name="connsiteY15" fmla="*/ 16516 h 280919"/>
                  <a:gd name="connsiteX16" fmla="*/ 208341 w 251372"/>
                  <a:gd name="connsiteY16" fmla="*/ 15152 h 280919"/>
                  <a:gd name="connsiteX17" fmla="*/ 207584 w 251372"/>
                  <a:gd name="connsiteY17" fmla="*/ 13334 h 280919"/>
                  <a:gd name="connsiteX18" fmla="*/ 205159 w 251372"/>
                  <a:gd name="connsiteY18" fmla="*/ 13485 h 280919"/>
                  <a:gd name="connsiteX19" fmla="*/ 202583 w 251372"/>
                  <a:gd name="connsiteY19" fmla="*/ 15758 h 280919"/>
                  <a:gd name="connsiteX20" fmla="*/ 202280 w 251372"/>
                  <a:gd name="connsiteY20" fmla="*/ 17879 h 280919"/>
                  <a:gd name="connsiteX21" fmla="*/ 200765 w 251372"/>
                  <a:gd name="connsiteY21" fmla="*/ 19395 h 280919"/>
                  <a:gd name="connsiteX22" fmla="*/ 200917 w 251372"/>
                  <a:gd name="connsiteY22" fmla="*/ 20758 h 280919"/>
                  <a:gd name="connsiteX23" fmla="*/ 200310 w 251372"/>
                  <a:gd name="connsiteY23" fmla="*/ 25001 h 280919"/>
                  <a:gd name="connsiteX24" fmla="*/ 200614 w 251372"/>
                  <a:gd name="connsiteY24" fmla="*/ 26213 h 280919"/>
                  <a:gd name="connsiteX25" fmla="*/ 220008 w 251372"/>
                  <a:gd name="connsiteY25" fmla="*/ 38486 h 280919"/>
                  <a:gd name="connsiteX26" fmla="*/ 221372 w 251372"/>
                  <a:gd name="connsiteY26" fmla="*/ 40001 h 280919"/>
                  <a:gd name="connsiteX27" fmla="*/ 220766 w 251372"/>
                  <a:gd name="connsiteY27" fmla="*/ 42123 h 280919"/>
                  <a:gd name="connsiteX28" fmla="*/ 221372 w 251372"/>
                  <a:gd name="connsiteY28" fmla="*/ 44396 h 280919"/>
                  <a:gd name="connsiteX29" fmla="*/ 224706 w 251372"/>
                  <a:gd name="connsiteY29" fmla="*/ 45002 h 280919"/>
                  <a:gd name="connsiteX30" fmla="*/ 228039 w 251372"/>
                  <a:gd name="connsiteY30" fmla="*/ 44547 h 280919"/>
                  <a:gd name="connsiteX31" fmla="*/ 229099 w 251372"/>
                  <a:gd name="connsiteY31" fmla="*/ 44699 h 280919"/>
                  <a:gd name="connsiteX32" fmla="*/ 228645 w 251372"/>
                  <a:gd name="connsiteY32" fmla="*/ 42880 h 280919"/>
                  <a:gd name="connsiteX33" fmla="*/ 228948 w 251372"/>
                  <a:gd name="connsiteY33" fmla="*/ 41668 h 280919"/>
                  <a:gd name="connsiteX34" fmla="*/ 224251 w 251372"/>
                  <a:gd name="connsiteY34" fmla="*/ 38486 h 280919"/>
                  <a:gd name="connsiteX35" fmla="*/ 218493 w 251372"/>
                  <a:gd name="connsiteY35" fmla="*/ 35001 h 280919"/>
                  <a:gd name="connsiteX36" fmla="*/ 218341 w 251372"/>
                  <a:gd name="connsiteY36" fmla="*/ 36365 h 280919"/>
                  <a:gd name="connsiteX37" fmla="*/ 218493 w 251372"/>
                  <a:gd name="connsiteY37" fmla="*/ 37577 h 280919"/>
                  <a:gd name="connsiteX38" fmla="*/ 220008 w 251372"/>
                  <a:gd name="connsiteY38" fmla="*/ 38486 h 280919"/>
                  <a:gd name="connsiteX39" fmla="*/ 145005 w 251372"/>
                  <a:gd name="connsiteY39" fmla="*/ 24243 h 280919"/>
                  <a:gd name="connsiteX40" fmla="*/ 149248 w 251372"/>
                  <a:gd name="connsiteY40" fmla="*/ 24243 h 280919"/>
                  <a:gd name="connsiteX41" fmla="*/ 149248 w 251372"/>
                  <a:gd name="connsiteY41" fmla="*/ 23486 h 280919"/>
                  <a:gd name="connsiteX42" fmla="*/ 147733 w 251372"/>
                  <a:gd name="connsiteY42" fmla="*/ 21061 h 280919"/>
                  <a:gd name="connsiteX43" fmla="*/ 143642 w 251372"/>
                  <a:gd name="connsiteY43" fmla="*/ 19849 h 280919"/>
                  <a:gd name="connsiteX44" fmla="*/ 142581 w 251372"/>
                  <a:gd name="connsiteY44" fmla="*/ 20455 h 280919"/>
                  <a:gd name="connsiteX45" fmla="*/ 141672 w 251372"/>
                  <a:gd name="connsiteY45" fmla="*/ 22274 h 280919"/>
                  <a:gd name="connsiteX46" fmla="*/ 143339 w 251372"/>
                  <a:gd name="connsiteY46" fmla="*/ 22728 h 280919"/>
                  <a:gd name="connsiteX47" fmla="*/ 145005 w 251372"/>
                  <a:gd name="connsiteY47" fmla="*/ 24243 h 280919"/>
                  <a:gd name="connsiteX48" fmla="*/ 72124 w 251372"/>
                  <a:gd name="connsiteY48" fmla="*/ 11364 h 280919"/>
                  <a:gd name="connsiteX49" fmla="*/ 70760 w 251372"/>
                  <a:gd name="connsiteY49" fmla="*/ 12122 h 280919"/>
                  <a:gd name="connsiteX50" fmla="*/ 70306 w 251372"/>
                  <a:gd name="connsiteY50" fmla="*/ 13031 h 280919"/>
                  <a:gd name="connsiteX51" fmla="*/ 71821 w 251372"/>
                  <a:gd name="connsiteY51" fmla="*/ 13940 h 280919"/>
                  <a:gd name="connsiteX52" fmla="*/ 74397 w 251372"/>
                  <a:gd name="connsiteY52" fmla="*/ 14091 h 280919"/>
                  <a:gd name="connsiteX53" fmla="*/ 75458 w 251372"/>
                  <a:gd name="connsiteY53" fmla="*/ 13182 h 280919"/>
                  <a:gd name="connsiteX54" fmla="*/ 75003 w 251372"/>
                  <a:gd name="connsiteY54" fmla="*/ 11819 h 280919"/>
                  <a:gd name="connsiteX55" fmla="*/ 73336 w 251372"/>
                  <a:gd name="connsiteY55" fmla="*/ 11364 h 280919"/>
                  <a:gd name="connsiteX56" fmla="*/ 72124 w 251372"/>
                  <a:gd name="connsiteY56" fmla="*/ 11364 h 280919"/>
                  <a:gd name="connsiteX57" fmla="*/ 249555 w 251372"/>
                  <a:gd name="connsiteY57" fmla="*/ 136672 h 280919"/>
                  <a:gd name="connsiteX58" fmla="*/ 249100 w 251372"/>
                  <a:gd name="connsiteY58" fmla="*/ 134550 h 280919"/>
                  <a:gd name="connsiteX59" fmla="*/ 248343 w 251372"/>
                  <a:gd name="connsiteY59" fmla="*/ 133490 h 280919"/>
                  <a:gd name="connsiteX60" fmla="*/ 243342 w 251372"/>
                  <a:gd name="connsiteY60" fmla="*/ 131217 h 280919"/>
                  <a:gd name="connsiteX61" fmla="*/ 243039 w 251372"/>
                  <a:gd name="connsiteY61" fmla="*/ 130459 h 280919"/>
                  <a:gd name="connsiteX62" fmla="*/ 243797 w 251372"/>
                  <a:gd name="connsiteY62" fmla="*/ 127429 h 280919"/>
                  <a:gd name="connsiteX63" fmla="*/ 243494 w 251372"/>
                  <a:gd name="connsiteY63" fmla="*/ 126217 h 280919"/>
                  <a:gd name="connsiteX64" fmla="*/ 242282 w 251372"/>
                  <a:gd name="connsiteY64" fmla="*/ 124853 h 280919"/>
                  <a:gd name="connsiteX65" fmla="*/ 240767 w 251372"/>
                  <a:gd name="connsiteY65" fmla="*/ 122277 h 280919"/>
                  <a:gd name="connsiteX66" fmla="*/ 240161 w 251372"/>
                  <a:gd name="connsiteY66" fmla="*/ 120004 h 280919"/>
                  <a:gd name="connsiteX67" fmla="*/ 242130 w 251372"/>
                  <a:gd name="connsiteY67" fmla="*/ 117429 h 280919"/>
                  <a:gd name="connsiteX68" fmla="*/ 242585 w 251372"/>
                  <a:gd name="connsiteY68" fmla="*/ 115459 h 280919"/>
                  <a:gd name="connsiteX69" fmla="*/ 243494 w 251372"/>
                  <a:gd name="connsiteY69" fmla="*/ 112731 h 280919"/>
                  <a:gd name="connsiteX70" fmla="*/ 244100 w 251372"/>
                  <a:gd name="connsiteY70" fmla="*/ 111216 h 280919"/>
                  <a:gd name="connsiteX71" fmla="*/ 244251 w 251372"/>
                  <a:gd name="connsiteY71" fmla="*/ 110762 h 280919"/>
                  <a:gd name="connsiteX72" fmla="*/ 242888 w 251372"/>
                  <a:gd name="connsiteY72" fmla="*/ 109701 h 280919"/>
                  <a:gd name="connsiteX73" fmla="*/ 242585 w 251372"/>
                  <a:gd name="connsiteY73" fmla="*/ 108186 h 280919"/>
                  <a:gd name="connsiteX74" fmla="*/ 242888 w 251372"/>
                  <a:gd name="connsiteY74" fmla="*/ 106064 h 280919"/>
                  <a:gd name="connsiteX75" fmla="*/ 242130 w 251372"/>
                  <a:gd name="connsiteY75" fmla="*/ 104549 h 280919"/>
                  <a:gd name="connsiteX76" fmla="*/ 240312 w 251372"/>
                  <a:gd name="connsiteY76" fmla="*/ 103489 h 280919"/>
                  <a:gd name="connsiteX77" fmla="*/ 239100 w 251372"/>
                  <a:gd name="connsiteY77" fmla="*/ 102125 h 280919"/>
                  <a:gd name="connsiteX78" fmla="*/ 238645 w 251372"/>
                  <a:gd name="connsiteY78" fmla="*/ 100458 h 280919"/>
                  <a:gd name="connsiteX79" fmla="*/ 239100 w 251372"/>
                  <a:gd name="connsiteY79" fmla="*/ 97882 h 280919"/>
                  <a:gd name="connsiteX80" fmla="*/ 240463 w 251372"/>
                  <a:gd name="connsiteY80" fmla="*/ 94246 h 280919"/>
                  <a:gd name="connsiteX81" fmla="*/ 237585 w 251372"/>
                  <a:gd name="connsiteY81" fmla="*/ 90003 h 280919"/>
                  <a:gd name="connsiteX82" fmla="*/ 230463 w 251372"/>
                  <a:gd name="connsiteY82" fmla="*/ 85003 h 280919"/>
                  <a:gd name="connsiteX83" fmla="*/ 226978 w 251372"/>
                  <a:gd name="connsiteY83" fmla="*/ 81518 h 280919"/>
                  <a:gd name="connsiteX84" fmla="*/ 227281 w 251372"/>
                  <a:gd name="connsiteY84" fmla="*/ 79548 h 280919"/>
                  <a:gd name="connsiteX85" fmla="*/ 228796 w 251372"/>
                  <a:gd name="connsiteY85" fmla="*/ 77730 h 280919"/>
                  <a:gd name="connsiteX86" fmla="*/ 231524 w 251372"/>
                  <a:gd name="connsiteY86" fmla="*/ 76063 h 280919"/>
                  <a:gd name="connsiteX87" fmla="*/ 233645 w 251372"/>
                  <a:gd name="connsiteY87" fmla="*/ 73185 h 280919"/>
                  <a:gd name="connsiteX88" fmla="*/ 234857 w 251372"/>
                  <a:gd name="connsiteY88" fmla="*/ 69699 h 280919"/>
                  <a:gd name="connsiteX89" fmla="*/ 234857 w 251372"/>
                  <a:gd name="connsiteY89" fmla="*/ 69093 h 280919"/>
                  <a:gd name="connsiteX90" fmla="*/ 234857 w 251372"/>
                  <a:gd name="connsiteY90" fmla="*/ 66669 h 280919"/>
                  <a:gd name="connsiteX91" fmla="*/ 231675 w 251372"/>
                  <a:gd name="connsiteY91" fmla="*/ 56517 h 280919"/>
                  <a:gd name="connsiteX92" fmla="*/ 231221 w 251372"/>
                  <a:gd name="connsiteY92" fmla="*/ 53941 h 280919"/>
                  <a:gd name="connsiteX93" fmla="*/ 230918 w 251372"/>
                  <a:gd name="connsiteY93" fmla="*/ 50911 h 280919"/>
                  <a:gd name="connsiteX94" fmla="*/ 230766 w 251372"/>
                  <a:gd name="connsiteY94" fmla="*/ 50002 h 280919"/>
                  <a:gd name="connsiteX95" fmla="*/ 230463 w 251372"/>
                  <a:gd name="connsiteY95" fmla="*/ 49850 h 280919"/>
                  <a:gd name="connsiteX96" fmla="*/ 224251 w 251372"/>
                  <a:gd name="connsiteY96" fmla="*/ 48487 h 280919"/>
                  <a:gd name="connsiteX97" fmla="*/ 222281 w 251372"/>
                  <a:gd name="connsiteY97" fmla="*/ 47274 h 280919"/>
                  <a:gd name="connsiteX98" fmla="*/ 219857 w 251372"/>
                  <a:gd name="connsiteY98" fmla="*/ 45305 h 280919"/>
                  <a:gd name="connsiteX99" fmla="*/ 218645 w 251372"/>
                  <a:gd name="connsiteY99" fmla="*/ 39092 h 280919"/>
                  <a:gd name="connsiteX100" fmla="*/ 215917 w 251372"/>
                  <a:gd name="connsiteY100" fmla="*/ 34092 h 280919"/>
                  <a:gd name="connsiteX101" fmla="*/ 208341 w 251372"/>
                  <a:gd name="connsiteY101" fmla="*/ 34547 h 280919"/>
                  <a:gd name="connsiteX102" fmla="*/ 200159 w 251372"/>
                  <a:gd name="connsiteY102" fmla="*/ 29243 h 280919"/>
                  <a:gd name="connsiteX103" fmla="*/ 196977 w 251372"/>
                  <a:gd name="connsiteY103" fmla="*/ 24395 h 280919"/>
                  <a:gd name="connsiteX104" fmla="*/ 193341 w 251372"/>
                  <a:gd name="connsiteY104" fmla="*/ 23940 h 280919"/>
                  <a:gd name="connsiteX105" fmla="*/ 190159 w 251372"/>
                  <a:gd name="connsiteY105" fmla="*/ 23031 h 280919"/>
                  <a:gd name="connsiteX106" fmla="*/ 184553 w 251372"/>
                  <a:gd name="connsiteY106" fmla="*/ 22274 h 280919"/>
                  <a:gd name="connsiteX107" fmla="*/ 179098 w 251372"/>
                  <a:gd name="connsiteY107" fmla="*/ 26819 h 280919"/>
                  <a:gd name="connsiteX108" fmla="*/ 176825 w 251372"/>
                  <a:gd name="connsiteY108" fmla="*/ 29243 h 280919"/>
                  <a:gd name="connsiteX109" fmla="*/ 173340 w 251372"/>
                  <a:gd name="connsiteY109" fmla="*/ 31365 h 280919"/>
                  <a:gd name="connsiteX110" fmla="*/ 171825 w 251372"/>
                  <a:gd name="connsiteY110" fmla="*/ 33486 h 280919"/>
                  <a:gd name="connsiteX111" fmla="*/ 163188 w 251372"/>
                  <a:gd name="connsiteY111" fmla="*/ 34395 h 280919"/>
                  <a:gd name="connsiteX112" fmla="*/ 160612 w 251372"/>
                  <a:gd name="connsiteY112" fmla="*/ 35607 h 280919"/>
                  <a:gd name="connsiteX113" fmla="*/ 154097 w 251372"/>
                  <a:gd name="connsiteY113" fmla="*/ 41214 h 280919"/>
                  <a:gd name="connsiteX114" fmla="*/ 152430 w 251372"/>
                  <a:gd name="connsiteY114" fmla="*/ 41971 h 280919"/>
                  <a:gd name="connsiteX115" fmla="*/ 144399 w 251372"/>
                  <a:gd name="connsiteY115" fmla="*/ 39547 h 280919"/>
                  <a:gd name="connsiteX116" fmla="*/ 139248 w 251372"/>
                  <a:gd name="connsiteY116" fmla="*/ 40001 h 280919"/>
                  <a:gd name="connsiteX117" fmla="*/ 137581 w 251372"/>
                  <a:gd name="connsiteY117" fmla="*/ 39395 h 280919"/>
                  <a:gd name="connsiteX118" fmla="*/ 136369 w 251372"/>
                  <a:gd name="connsiteY118" fmla="*/ 36971 h 280919"/>
                  <a:gd name="connsiteX119" fmla="*/ 141824 w 251372"/>
                  <a:gd name="connsiteY119" fmla="*/ 33032 h 280919"/>
                  <a:gd name="connsiteX120" fmla="*/ 143339 w 251372"/>
                  <a:gd name="connsiteY120" fmla="*/ 29243 h 280919"/>
                  <a:gd name="connsiteX121" fmla="*/ 141975 w 251372"/>
                  <a:gd name="connsiteY121" fmla="*/ 25455 h 280919"/>
                  <a:gd name="connsiteX122" fmla="*/ 140460 w 251372"/>
                  <a:gd name="connsiteY122" fmla="*/ 25607 h 280919"/>
                  <a:gd name="connsiteX123" fmla="*/ 134248 w 251372"/>
                  <a:gd name="connsiteY123" fmla="*/ 27880 h 280919"/>
                  <a:gd name="connsiteX124" fmla="*/ 124096 w 251372"/>
                  <a:gd name="connsiteY124" fmla="*/ 23334 h 280919"/>
                  <a:gd name="connsiteX125" fmla="*/ 120005 w 251372"/>
                  <a:gd name="connsiteY125" fmla="*/ 24395 h 280919"/>
                  <a:gd name="connsiteX126" fmla="*/ 118792 w 251372"/>
                  <a:gd name="connsiteY126" fmla="*/ 22880 h 280919"/>
                  <a:gd name="connsiteX127" fmla="*/ 118035 w 251372"/>
                  <a:gd name="connsiteY127" fmla="*/ 21364 h 280919"/>
                  <a:gd name="connsiteX128" fmla="*/ 110459 w 251372"/>
                  <a:gd name="connsiteY128" fmla="*/ 21970 h 280919"/>
                  <a:gd name="connsiteX129" fmla="*/ 112429 w 251372"/>
                  <a:gd name="connsiteY129" fmla="*/ 20304 h 280919"/>
                  <a:gd name="connsiteX130" fmla="*/ 114853 w 251372"/>
                  <a:gd name="connsiteY130" fmla="*/ 17728 h 280919"/>
                  <a:gd name="connsiteX131" fmla="*/ 114701 w 251372"/>
                  <a:gd name="connsiteY131" fmla="*/ 14243 h 280919"/>
                  <a:gd name="connsiteX132" fmla="*/ 112883 w 251372"/>
                  <a:gd name="connsiteY132" fmla="*/ 11819 h 280919"/>
                  <a:gd name="connsiteX133" fmla="*/ 111216 w 251372"/>
                  <a:gd name="connsiteY133" fmla="*/ 10152 h 280919"/>
                  <a:gd name="connsiteX134" fmla="*/ 107277 w 251372"/>
                  <a:gd name="connsiteY134" fmla="*/ 9091 h 280919"/>
                  <a:gd name="connsiteX135" fmla="*/ 107125 w 251372"/>
                  <a:gd name="connsiteY135" fmla="*/ 8334 h 280919"/>
                  <a:gd name="connsiteX136" fmla="*/ 106671 w 251372"/>
                  <a:gd name="connsiteY136" fmla="*/ 8334 h 280919"/>
                  <a:gd name="connsiteX137" fmla="*/ 104853 w 251372"/>
                  <a:gd name="connsiteY137" fmla="*/ 8031 h 280919"/>
                  <a:gd name="connsiteX138" fmla="*/ 103640 w 251372"/>
                  <a:gd name="connsiteY138" fmla="*/ 7273 h 280919"/>
                  <a:gd name="connsiteX139" fmla="*/ 100458 w 251372"/>
                  <a:gd name="connsiteY139" fmla="*/ 7879 h 280919"/>
                  <a:gd name="connsiteX140" fmla="*/ 96216 w 251372"/>
                  <a:gd name="connsiteY140" fmla="*/ 9243 h 280919"/>
                  <a:gd name="connsiteX141" fmla="*/ 93791 w 251372"/>
                  <a:gd name="connsiteY141" fmla="*/ 9243 h 280919"/>
                  <a:gd name="connsiteX142" fmla="*/ 91973 w 251372"/>
                  <a:gd name="connsiteY142" fmla="*/ 7879 h 280919"/>
                  <a:gd name="connsiteX143" fmla="*/ 84246 w 251372"/>
                  <a:gd name="connsiteY143" fmla="*/ 5909 h 280919"/>
                  <a:gd name="connsiteX144" fmla="*/ 82731 w 251372"/>
                  <a:gd name="connsiteY144" fmla="*/ 5909 h 280919"/>
                  <a:gd name="connsiteX145" fmla="*/ 77579 w 251372"/>
                  <a:gd name="connsiteY145" fmla="*/ 5758 h 280919"/>
                  <a:gd name="connsiteX146" fmla="*/ 77579 w 251372"/>
                  <a:gd name="connsiteY146" fmla="*/ 5758 h 280919"/>
                  <a:gd name="connsiteX147" fmla="*/ 77882 w 251372"/>
                  <a:gd name="connsiteY147" fmla="*/ 10000 h 280919"/>
                  <a:gd name="connsiteX148" fmla="*/ 80761 w 251372"/>
                  <a:gd name="connsiteY148" fmla="*/ 13637 h 280919"/>
                  <a:gd name="connsiteX149" fmla="*/ 83185 w 251372"/>
                  <a:gd name="connsiteY149" fmla="*/ 17425 h 280919"/>
                  <a:gd name="connsiteX150" fmla="*/ 85306 w 251372"/>
                  <a:gd name="connsiteY150" fmla="*/ 19546 h 280919"/>
                  <a:gd name="connsiteX151" fmla="*/ 85155 w 251372"/>
                  <a:gd name="connsiteY151" fmla="*/ 22274 h 280919"/>
                  <a:gd name="connsiteX152" fmla="*/ 81822 w 251372"/>
                  <a:gd name="connsiteY152" fmla="*/ 23789 h 280919"/>
                  <a:gd name="connsiteX153" fmla="*/ 76821 w 251372"/>
                  <a:gd name="connsiteY153" fmla="*/ 24849 h 280919"/>
                  <a:gd name="connsiteX154" fmla="*/ 76215 w 251372"/>
                  <a:gd name="connsiteY154" fmla="*/ 26516 h 280919"/>
                  <a:gd name="connsiteX155" fmla="*/ 76669 w 251372"/>
                  <a:gd name="connsiteY155" fmla="*/ 28789 h 280919"/>
                  <a:gd name="connsiteX156" fmla="*/ 79094 w 251372"/>
                  <a:gd name="connsiteY156" fmla="*/ 28789 h 280919"/>
                  <a:gd name="connsiteX157" fmla="*/ 80306 w 251372"/>
                  <a:gd name="connsiteY157" fmla="*/ 28183 h 280919"/>
                  <a:gd name="connsiteX158" fmla="*/ 82276 w 251372"/>
                  <a:gd name="connsiteY158" fmla="*/ 28637 h 280919"/>
                  <a:gd name="connsiteX159" fmla="*/ 83791 w 251372"/>
                  <a:gd name="connsiteY159" fmla="*/ 30153 h 280919"/>
                  <a:gd name="connsiteX160" fmla="*/ 83640 w 251372"/>
                  <a:gd name="connsiteY160" fmla="*/ 40001 h 280919"/>
                  <a:gd name="connsiteX161" fmla="*/ 84094 w 251372"/>
                  <a:gd name="connsiteY161" fmla="*/ 41365 h 280919"/>
                  <a:gd name="connsiteX162" fmla="*/ 85610 w 251372"/>
                  <a:gd name="connsiteY162" fmla="*/ 42880 h 280919"/>
                  <a:gd name="connsiteX163" fmla="*/ 88185 w 251372"/>
                  <a:gd name="connsiteY163" fmla="*/ 43789 h 280919"/>
                  <a:gd name="connsiteX164" fmla="*/ 92276 w 251372"/>
                  <a:gd name="connsiteY164" fmla="*/ 44092 h 280919"/>
                  <a:gd name="connsiteX165" fmla="*/ 94852 w 251372"/>
                  <a:gd name="connsiteY165" fmla="*/ 45305 h 280919"/>
                  <a:gd name="connsiteX166" fmla="*/ 103640 w 251372"/>
                  <a:gd name="connsiteY166" fmla="*/ 55002 h 280919"/>
                  <a:gd name="connsiteX167" fmla="*/ 107883 w 251372"/>
                  <a:gd name="connsiteY167" fmla="*/ 56669 h 280919"/>
                  <a:gd name="connsiteX168" fmla="*/ 104853 w 251372"/>
                  <a:gd name="connsiteY168" fmla="*/ 56214 h 280919"/>
                  <a:gd name="connsiteX169" fmla="*/ 102428 w 251372"/>
                  <a:gd name="connsiteY169" fmla="*/ 54851 h 280919"/>
                  <a:gd name="connsiteX170" fmla="*/ 95155 w 251372"/>
                  <a:gd name="connsiteY170" fmla="*/ 46820 h 280919"/>
                  <a:gd name="connsiteX171" fmla="*/ 91973 w 251372"/>
                  <a:gd name="connsiteY171" fmla="*/ 45305 h 280919"/>
                  <a:gd name="connsiteX172" fmla="*/ 83488 w 251372"/>
                  <a:gd name="connsiteY172" fmla="*/ 46062 h 280919"/>
                  <a:gd name="connsiteX173" fmla="*/ 75912 w 251372"/>
                  <a:gd name="connsiteY173" fmla="*/ 44547 h 280919"/>
                  <a:gd name="connsiteX174" fmla="*/ 74700 w 251372"/>
                  <a:gd name="connsiteY174" fmla="*/ 45911 h 280919"/>
                  <a:gd name="connsiteX175" fmla="*/ 73336 w 251372"/>
                  <a:gd name="connsiteY175" fmla="*/ 48032 h 280919"/>
                  <a:gd name="connsiteX176" fmla="*/ 72730 w 251372"/>
                  <a:gd name="connsiteY176" fmla="*/ 52123 h 280919"/>
                  <a:gd name="connsiteX177" fmla="*/ 73639 w 251372"/>
                  <a:gd name="connsiteY177" fmla="*/ 56366 h 280919"/>
                  <a:gd name="connsiteX178" fmla="*/ 72427 w 251372"/>
                  <a:gd name="connsiteY178" fmla="*/ 62427 h 280919"/>
                  <a:gd name="connsiteX179" fmla="*/ 72427 w 251372"/>
                  <a:gd name="connsiteY179" fmla="*/ 57881 h 280919"/>
                  <a:gd name="connsiteX180" fmla="*/ 71367 w 251372"/>
                  <a:gd name="connsiteY180" fmla="*/ 56517 h 280919"/>
                  <a:gd name="connsiteX181" fmla="*/ 68184 w 251372"/>
                  <a:gd name="connsiteY181" fmla="*/ 54547 h 280919"/>
                  <a:gd name="connsiteX182" fmla="*/ 67275 w 251372"/>
                  <a:gd name="connsiteY182" fmla="*/ 55305 h 280919"/>
                  <a:gd name="connsiteX183" fmla="*/ 66670 w 251372"/>
                  <a:gd name="connsiteY183" fmla="*/ 58032 h 280919"/>
                  <a:gd name="connsiteX184" fmla="*/ 65760 w 251372"/>
                  <a:gd name="connsiteY184" fmla="*/ 60457 h 280919"/>
                  <a:gd name="connsiteX185" fmla="*/ 64548 w 251372"/>
                  <a:gd name="connsiteY185" fmla="*/ 60911 h 280919"/>
                  <a:gd name="connsiteX186" fmla="*/ 61972 w 251372"/>
                  <a:gd name="connsiteY186" fmla="*/ 59548 h 280919"/>
                  <a:gd name="connsiteX187" fmla="*/ 63639 w 251372"/>
                  <a:gd name="connsiteY187" fmla="*/ 56669 h 280919"/>
                  <a:gd name="connsiteX188" fmla="*/ 59396 w 251372"/>
                  <a:gd name="connsiteY188" fmla="*/ 51214 h 280919"/>
                  <a:gd name="connsiteX189" fmla="*/ 48941 w 251372"/>
                  <a:gd name="connsiteY189" fmla="*/ 50911 h 280919"/>
                  <a:gd name="connsiteX190" fmla="*/ 39547 w 251372"/>
                  <a:gd name="connsiteY190" fmla="*/ 51517 h 280919"/>
                  <a:gd name="connsiteX191" fmla="*/ 37426 w 251372"/>
                  <a:gd name="connsiteY191" fmla="*/ 52578 h 280919"/>
                  <a:gd name="connsiteX192" fmla="*/ 34698 w 251372"/>
                  <a:gd name="connsiteY192" fmla="*/ 56214 h 280919"/>
                  <a:gd name="connsiteX193" fmla="*/ 33789 w 251372"/>
                  <a:gd name="connsiteY193" fmla="*/ 59245 h 280919"/>
                  <a:gd name="connsiteX194" fmla="*/ 33183 w 251372"/>
                  <a:gd name="connsiteY194" fmla="*/ 63033 h 280919"/>
                  <a:gd name="connsiteX195" fmla="*/ 35910 w 251372"/>
                  <a:gd name="connsiteY195" fmla="*/ 64851 h 280919"/>
                  <a:gd name="connsiteX196" fmla="*/ 37123 w 251372"/>
                  <a:gd name="connsiteY196" fmla="*/ 66518 h 280919"/>
                  <a:gd name="connsiteX197" fmla="*/ 36971 w 251372"/>
                  <a:gd name="connsiteY197" fmla="*/ 70003 h 280919"/>
                  <a:gd name="connsiteX198" fmla="*/ 36971 w 251372"/>
                  <a:gd name="connsiteY198" fmla="*/ 76973 h 280919"/>
                  <a:gd name="connsiteX199" fmla="*/ 36668 w 251372"/>
                  <a:gd name="connsiteY199" fmla="*/ 78185 h 280919"/>
                  <a:gd name="connsiteX200" fmla="*/ 35001 w 251372"/>
                  <a:gd name="connsiteY200" fmla="*/ 81064 h 280919"/>
                  <a:gd name="connsiteX201" fmla="*/ 33183 w 251372"/>
                  <a:gd name="connsiteY201" fmla="*/ 86367 h 280919"/>
                  <a:gd name="connsiteX202" fmla="*/ 32729 w 251372"/>
                  <a:gd name="connsiteY202" fmla="*/ 89852 h 280919"/>
                  <a:gd name="connsiteX203" fmla="*/ 32122 w 251372"/>
                  <a:gd name="connsiteY203" fmla="*/ 90458 h 280919"/>
                  <a:gd name="connsiteX204" fmla="*/ 24850 w 251372"/>
                  <a:gd name="connsiteY204" fmla="*/ 90458 h 280919"/>
                  <a:gd name="connsiteX205" fmla="*/ 23789 w 251372"/>
                  <a:gd name="connsiteY205" fmla="*/ 91064 h 280919"/>
                  <a:gd name="connsiteX206" fmla="*/ 23637 w 251372"/>
                  <a:gd name="connsiteY206" fmla="*/ 91821 h 280919"/>
                  <a:gd name="connsiteX207" fmla="*/ 23941 w 251372"/>
                  <a:gd name="connsiteY207" fmla="*/ 92731 h 280919"/>
                  <a:gd name="connsiteX208" fmla="*/ 23789 w 251372"/>
                  <a:gd name="connsiteY208" fmla="*/ 93640 h 280919"/>
                  <a:gd name="connsiteX209" fmla="*/ 23183 w 251372"/>
                  <a:gd name="connsiteY209" fmla="*/ 94397 h 280919"/>
                  <a:gd name="connsiteX210" fmla="*/ 23486 w 251372"/>
                  <a:gd name="connsiteY210" fmla="*/ 95610 h 280919"/>
                  <a:gd name="connsiteX211" fmla="*/ 24698 w 251372"/>
                  <a:gd name="connsiteY211" fmla="*/ 96973 h 280919"/>
                  <a:gd name="connsiteX212" fmla="*/ 26971 w 251372"/>
                  <a:gd name="connsiteY212" fmla="*/ 97731 h 280919"/>
                  <a:gd name="connsiteX213" fmla="*/ 29395 w 251372"/>
                  <a:gd name="connsiteY213" fmla="*/ 97731 h 280919"/>
                  <a:gd name="connsiteX214" fmla="*/ 30607 w 251372"/>
                  <a:gd name="connsiteY214" fmla="*/ 97579 h 280919"/>
                  <a:gd name="connsiteX215" fmla="*/ 31517 w 251372"/>
                  <a:gd name="connsiteY215" fmla="*/ 98488 h 280919"/>
                  <a:gd name="connsiteX216" fmla="*/ 32426 w 251372"/>
                  <a:gd name="connsiteY216" fmla="*/ 99852 h 280919"/>
                  <a:gd name="connsiteX217" fmla="*/ 32426 w 251372"/>
                  <a:gd name="connsiteY217" fmla="*/ 101670 h 280919"/>
                  <a:gd name="connsiteX218" fmla="*/ 32122 w 251372"/>
                  <a:gd name="connsiteY218" fmla="*/ 104095 h 280919"/>
                  <a:gd name="connsiteX219" fmla="*/ 30910 w 251372"/>
                  <a:gd name="connsiteY219" fmla="*/ 106367 h 280919"/>
                  <a:gd name="connsiteX220" fmla="*/ 27577 w 251372"/>
                  <a:gd name="connsiteY220" fmla="*/ 108943 h 280919"/>
                  <a:gd name="connsiteX221" fmla="*/ 26062 w 251372"/>
                  <a:gd name="connsiteY221" fmla="*/ 109852 h 280919"/>
                  <a:gd name="connsiteX222" fmla="*/ 24698 w 251372"/>
                  <a:gd name="connsiteY222" fmla="*/ 110307 h 280919"/>
                  <a:gd name="connsiteX223" fmla="*/ 24092 w 251372"/>
                  <a:gd name="connsiteY223" fmla="*/ 110913 h 280919"/>
                  <a:gd name="connsiteX224" fmla="*/ 23789 w 251372"/>
                  <a:gd name="connsiteY224" fmla="*/ 111822 h 280919"/>
                  <a:gd name="connsiteX225" fmla="*/ 23789 w 251372"/>
                  <a:gd name="connsiteY225" fmla="*/ 112580 h 280919"/>
                  <a:gd name="connsiteX226" fmla="*/ 26213 w 251372"/>
                  <a:gd name="connsiteY226" fmla="*/ 114701 h 280919"/>
                  <a:gd name="connsiteX227" fmla="*/ 26213 w 251372"/>
                  <a:gd name="connsiteY227" fmla="*/ 115156 h 280919"/>
                  <a:gd name="connsiteX228" fmla="*/ 25456 w 251372"/>
                  <a:gd name="connsiteY228" fmla="*/ 116216 h 280919"/>
                  <a:gd name="connsiteX229" fmla="*/ 24546 w 251372"/>
                  <a:gd name="connsiteY229" fmla="*/ 117277 h 280919"/>
                  <a:gd name="connsiteX230" fmla="*/ 18486 w 251372"/>
                  <a:gd name="connsiteY230" fmla="*/ 119398 h 280919"/>
                  <a:gd name="connsiteX231" fmla="*/ 15910 w 251372"/>
                  <a:gd name="connsiteY231" fmla="*/ 119247 h 280919"/>
                  <a:gd name="connsiteX232" fmla="*/ 14395 w 251372"/>
                  <a:gd name="connsiteY232" fmla="*/ 120307 h 280919"/>
                  <a:gd name="connsiteX233" fmla="*/ 13940 w 251372"/>
                  <a:gd name="connsiteY233" fmla="*/ 120459 h 280919"/>
                  <a:gd name="connsiteX234" fmla="*/ 12273 w 251372"/>
                  <a:gd name="connsiteY234" fmla="*/ 119550 h 280919"/>
                  <a:gd name="connsiteX235" fmla="*/ 8637 w 251372"/>
                  <a:gd name="connsiteY235" fmla="*/ 118489 h 280919"/>
                  <a:gd name="connsiteX236" fmla="*/ 7273 w 251372"/>
                  <a:gd name="connsiteY236" fmla="*/ 118792 h 280919"/>
                  <a:gd name="connsiteX237" fmla="*/ 6516 w 251372"/>
                  <a:gd name="connsiteY237" fmla="*/ 119398 h 280919"/>
                  <a:gd name="connsiteX238" fmla="*/ 4243 w 251372"/>
                  <a:gd name="connsiteY238" fmla="*/ 120156 h 280919"/>
                  <a:gd name="connsiteX239" fmla="*/ 2576 w 251372"/>
                  <a:gd name="connsiteY239" fmla="*/ 121368 h 280919"/>
                  <a:gd name="connsiteX240" fmla="*/ 2576 w 251372"/>
                  <a:gd name="connsiteY240" fmla="*/ 122883 h 280919"/>
                  <a:gd name="connsiteX241" fmla="*/ 5455 w 251372"/>
                  <a:gd name="connsiteY241" fmla="*/ 126671 h 280919"/>
                  <a:gd name="connsiteX242" fmla="*/ 6516 w 251372"/>
                  <a:gd name="connsiteY242" fmla="*/ 127429 h 280919"/>
                  <a:gd name="connsiteX243" fmla="*/ 6516 w 251372"/>
                  <a:gd name="connsiteY243" fmla="*/ 128793 h 280919"/>
                  <a:gd name="connsiteX244" fmla="*/ 7879 w 251372"/>
                  <a:gd name="connsiteY244" fmla="*/ 130611 h 280919"/>
                  <a:gd name="connsiteX245" fmla="*/ 9243 w 251372"/>
                  <a:gd name="connsiteY245" fmla="*/ 132884 h 280919"/>
                  <a:gd name="connsiteX246" fmla="*/ 9394 w 251372"/>
                  <a:gd name="connsiteY246" fmla="*/ 134247 h 280919"/>
                  <a:gd name="connsiteX247" fmla="*/ 9243 w 251372"/>
                  <a:gd name="connsiteY247" fmla="*/ 135611 h 280919"/>
                  <a:gd name="connsiteX248" fmla="*/ 8485 w 251372"/>
                  <a:gd name="connsiteY248" fmla="*/ 137581 h 280919"/>
                  <a:gd name="connsiteX249" fmla="*/ 6061 w 251372"/>
                  <a:gd name="connsiteY249" fmla="*/ 142278 h 280919"/>
                  <a:gd name="connsiteX250" fmla="*/ 6061 w 251372"/>
                  <a:gd name="connsiteY250" fmla="*/ 143187 h 280919"/>
                  <a:gd name="connsiteX251" fmla="*/ 6212 w 251372"/>
                  <a:gd name="connsiteY251" fmla="*/ 143945 h 280919"/>
                  <a:gd name="connsiteX252" fmla="*/ 7121 w 251372"/>
                  <a:gd name="connsiteY252" fmla="*/ 144096 h 280919"/>
                  <a:gd name="connsiteX253" fmla="*/ 7728 w 251372"/>
                  <a:gd name="connsiteY253" fmla="*/ 144399 h 280919"/>
                  <a:gd name="connsiteX254" fmla="*/ 7576 w 251372"/>
                  <a:gd name="connsiteY254" fmla="*/ 145005 h 280919"/>
                  <a:gd name="connsiteX255" fmla="*/ 2879 w 251372"/>
                  <a:gd name="connsiteY255" fmla="*/ 148339 h 280919"/>
                  <a:gd name="connsiteX256" fmla="*/ 2273 w 251372"/>
                  <a:gd name="connsiteY256" fmla="*/ 148945 h 280919"/>
                  <a:gd name="connsiteX257" fmla="*/ 303 w 251372"/>
                  <a:gd name="connsiteY257" fmla="*/ 148793 h 280919"/>
                  <a:gd name="connsiteX258" fmla="*/ 0 w 251372"/>
                  <a:gd name="connsiteY258" fmla="*/ 149399 h 280919"/>
                  <a:gd name="connsiteX259" fmla="*/ 303 w 251372"/>
                  <a:gd name="connsiteY259" fmla="*/ 150308 h 280919"/>
                  <a:gd name="connsiteX260" fmla="*/ 1061 w 251372"/>
                  <a:gd name="connsiteY260" fmla="*/ 151066 h 280919"/>
                  <a:gd name="connsiteX261" fmla="*/ 2728 w 251372"/>
                  <a:gd name="connsiteY261" fmla="*/ 151521 h 280919"/>
                  <a:gd name="connsiteX262" fmla="*/ 4091 w 251372"/>
                  <a:gd name="connsiteY262" fmla="*/ 152278 h 280919"/>
                  <a:gd name="connsiteX263" fmla="*/ 5303 w 251372"/>
                  <a:gd name="connsiteY263" fmla="*/ 153945 h 280919"/>
                  <a:gd name="connsiteX264" fmla="*/ 3788 w 251372"/>
                  <a:gd name="connsiteY264" fmla="*/ 159551 h 280919"/>
                  <a:gd name="connsiteX265" fmla="*/ 4091 w 251372"/>
                  <a:gd name="connsiteY265" fmla="*/ 160157 h 280919"/>
                  <a:gd name="connsiteX266" fmla="*/ 7121 w 251372"/>
                  <a:gd name="connsiteY266" fmla="*/ 162127 h 280919"/>
                  <a:gd name="connsiteX267" fmla="*/ 8031 w 251372"/>
                  <a:gd name="connsiteY267" fmla="*/ 163642 h 280919"/>
                  <a:gd name="connsiteX268" fmla="*/ 10304 w 251372"/>
                  <a:gd name="connsiteY268" fmla="*/ 165158 h 280919"/>
                  <a:gd name="connsiteX269" fmla="*/ 8485 w 251372"/>
                  <a:gd name="connsiteY269" fmla="*/ 166976 h 280919"/>
                  <a:gd name="connsiteX270" fmla="*/ 8788 w 251372"/>
                  <a:gd name="connsiteY270" fmla="*/ 167733 h 280919"/>
                  <a:gd name="connsiteX271" fmla="*/ 9394 w 251372"/>
                  <a:gd name="connsiteY271" fmla="*/ 168642 h 280919"/>
                  <a:gd name="connsiteX272" fmla="*/ 11970 w 251372"/>
                  <a:gd name="connsiteY272" fmla="*/ 169097 h 280919"/>
                  <a:gd name="connsiteX273" fmla="*/ 13182 w 251372"/>
                  <a:gd name="connsiteY273" fmla="*/ 170309 h 280919"/>
                  <a:gd name="connsiteX274" fmla="*/ 13182 w 251372"/>
                  <a:gd name="connsiteY274" fmla="*/ 172128 h 280919"/>
                  <a:gd name="connsiteX275" fmla="*/ 13788 w 251372"/>
                  <a:gd name="connsiteY275" fmla="*/ 175158 h 280919"/>
                  <a:gd name="connsiteX276" fmla="*/ 8637 w 251372"/>
                  <a:gd name="connsiteY276" fmla="*/ 178188 h 280919"/>
                  <a:gd name="connsiteX277" fmla="*/ 7121 w 251372"/>
                  <a:gd name="connsiteY277" fmla="*/ 181522 h 280919"/>
                  <a:gd name="connsiteX278" fmla="*/ 6970 w 251372"/>
                  <a:gd name="connsiteY278" fmla="*/ 182128 h 280919"/>
                  <a:gd name="connsiteX279" fmla="*/ 6819 w 251372"/>
                  <a:gd name="connsiteY279" fmla="*/ 183037 h 280919"/>
                  <a:gd name="connsiteX280" fmla="*/ 6819 w 251372"/>
                  <a:gd name="connsiteY280" fmla="*/ 185158 h 280919"/>
                  <a:gd name="connsiteX281" fmla="*/ 7576 w 251372"/>
                  <a:gd name="connsiteY281" fmla="*/ 187280 h 280919"/>
                  <a:gd name="connsiteX282" fmla="*/ 9394 w 251372"/>
                  <a:gd name="connsiteY282" fmla="*/ 189401 h 280919"/>
                  <a:gd name="connsiteX283" fmla="*/ 10758 w 251372"/>
                  <a:gd name="connsiteY283" fmla="*/ 190916 h 280919"/>
                  <a:gd name="connsiteX284" fmla="*/ 12576 w 251372"/>
                  <a:gd name="connsiteY284" fmla="*/ 192128 h 280919"/>
                  <a:gd name="connsiteX285" fmla="*/ 15758 w 251372"/>
                  <a:gd name="connsiteY285" fmla="*/ 193340 h 280919"/>
                  <a:gd name="connsiteX286" fmla="*/ 16970 w 251372"/>
                  <a:gd name="connsiteY286" fmla="*/ 193643 h 280919"/>
                  <a:gd name="connsiteX287" fmla="*/ 17122 w 251372"/>
                  <a:gd name="connsiteY287" fmla="*/ 195159 h 280919"/>
                  <a:gd name="connsiteX288" fmla="*/ 16819 w 251372"/>
                  <a:gd name="connsiteY288" fmla="*/ 196825 h 280919"/>
                  <a:gd name="connsiteX289" fmla="*/ 15758 w 251372"/>
                  <a:gd name="connsiteY289" fmla="*/ 197735 h 280919"/>
                  <a:gd name="connsiteX290" fmla="*/ 14698 w 251372"/>
                  <a:gd name="connsiteY290" fmla="*/ 199098 h 280919"/>
                  <a:gd name="connsiteX291" fmla="*/ 13940 w 251372"/>
                  <a:gd name="connsiteY291" fmla="*/ 200765 h 280919"/>
                  <a:gd name="connsiteX292" fmla="*/ 13182 w 251372"/>
                  <a:gd name="connsiteY292" fmla="*/ 203795 h 280919"/>
                  <a:gd name="connsiteX293" fmla="*/ 13031 w 251372"/>
                  <a:gd name="connsiteY293" fmla="*/ 205917 h 280919"/>
                  <a:gd name="connsiteX294" fmla="*/ 14092 w 251372"/>
                  <a:gd name="connsiteY294" fmla="*/ 205765 h 280919"/>
                  <a:gd name="connsiteX295" fmla="*/ 16213 w 251372"/>
                  <a:gd name="connsiteY295" fmla="*/ 206371 h 280919"/>
                  <a:gd name="connsiteX296" fmla="*/ 18334 w 251372"/>
                  <a:gd name="connsiteY296" fmla="*/ 208038 h 280919"/>
                  <a:gd name="connsiteX297" fmla="*/ 19243 w 251372"/>
                  <a:gd name="connsiteY297" fmla="*/ 209705 h 280919"/>
                  <a:gd name="connsiteX298" fmla="*/ 19546 w 251372"/>
                  <a:gd name="connsiteY298" fmla="*/ 210614 h 280919"/>
                  <a:gd name="connsiteX299" fmla="*/ 20455 w 251372"/>
                  <a:gd name="connsiteY299" fmla="*/ 211674 h 280919"/>
                  <a:gd name="connsiteX300" fmla="*/ 23941 w 251372"/>
                  <a:gd name="connsiteY300" fmla="*/ 216220 h 280919"/>
                  <a:gd name="connsiteX301" fmla="*/ 25001 w 251372"/>
                  <a:gd name="connsiteY301" fmla="*/ 216372 h 280919"/>
                  <a:gd name="connsiteX302" fmla="*/ 26213 w 251372"/>
                  <a:gd name="connsiteY302" fmla="*/ 215614 h 280919"/>
                  <a:gd name="connsiteX303" fmla="*/ 26971 w 251372"/>
                  <a:gd name="connsiteY303" fmla="*/ 214553 h 280919"/>
                  <a:gd name="connsiteX304" fmla="*/ 28183 w 251372"/>
                  <a:gd name="connsiteY304" fmla="*/ 214402 h 280919"/>
                  <a:gd name="connsiteX305" fmla="*/ 30001 w 251372"/>
                  <a:gd name="connsiteY305" fmla="*/ 214856 h 280919"/>
                  <a:gd name="connsiteX306" fmla="*/ 31213 w 251372"/>
                  <a:gd name="connsiteY306" fmla="*/ 215311 h 280919"/>
                  <a:gd name="connsiteX307" fmla="*/ 31819 w 251372"/>
                  <a:gd name="connsiteY307" fmla="*/ 217281 h 280919"/>
                  <a:gd name="connsiteX308" fmla="*/ 32274 w 251372"/>
                  <a:gd name="connsiteY308" fmla="*/ 217735 h 280919"/>
                  <a:gd name="connsiteX309" fmla="*/ 33032 w 251372"/>
                  <a:gd name="connsiteY309" fmla="*/ 217281 h 280919"/>
                  <a:gd name="connsiteX310" fmla="*/ 34396 w 251372"/>
                  <a:gd name="connsiteY310" fmla="*/ 217129 h 280919"/>
                  <a:gd name="connsiteX311" fmla="*/ 36668 w 251372"/>
                  <a:gd name="connsiteY311" fmla="*/ 217584 h 280919"/>
                  <a:gd name="connsiteX312" fmla="*/ 39698 w 251372"/>
                  <a:gd name="connsiteY312" fmla="*/ 216978 h 280919"/>
                  <a:gd name="connsiteX313" fmla="*/ 42123 w 251372"/>
                  <a:gd name="connsiteY313" fmla="*/ 216220 h 280919"/>
                  <a:gd name="connsiteX314" fmla="*/ 43335 w 251372"/>
                  <a:gd name="connsiteY314" fmla="*/ 216220 h 280919"/>
                  <a:gd name="connsiteX315" fmla="*/ 45456 w 251372"/>
                  <a:gd name="connsiteY315" fmla="*/ 218493 h 280919"/>
                  <a:gd name="connsiteX316" fmla="*/ 47729 w 251372"/>
                  <a:gd name="connsiteY316" fmla="*/ 219402 h 280919"/>
                  <a:gd name="connsiteX317" fmla="*/ 52881 w 251372"/>
                  <a:gd name="connsiteY317" fmla="*/ 220160 h 280919"/>
                  <a:gd name="connsiteX318" fmla="*/ 58336 w 251372"/>
                  <a:gd name="connsiteY318" fmla="*/ 221220 h 280919"/>
                  <a:gd name="connsiteX319" fmla="*/ 60457 w 251372"/>
                  <a:gd name="connsiteY319" fmla="*/ 222129 h 280919"/>
                  <a:gd name="connsiteX320" fmla="*/ 61972 w 251372"/>
                  <a:gd name="connsiteY320" fmla="*/ 222584 h 280919"/>
                  <a:gd name="connsiteX321" fmla="*/ 62124 w 251372"/>
                  <a:gd name="connsiteY321" fmla="*/ 225614 h 280919"/>
                  <a:gd name="connsiteX322" fmla="*/ 61669 w 251372"/>
                  <a:gd name="connsiteY322" fmla="*/ 226069 h 280919"/>
                  <a:gd name="connsiteX323" fmla="*/ 56215 w 251372"/>
                  <a:gd name="connsiteY323" fmla="*/ 232281 h 280919"/>
                  <a:gd name="connsiteX324" fmla="*/ 53941 w 251372"/>
                  <a:gd name="connsiteY324" fmla="*/ 234403 h 280919"/>
                  <a:gd name="connsiteX325" fmla="*/ 52729 w 251372"/>
                  <a:gd name="connsiteY325" fmla="*/ 237584 h 280919"/>
                  <a:gd name="connsiteX326" fmla="*/ 51972 w 251372"/>
                  <a:gd name="connsiteY326" fmla="*/ 242433 h 280919"/>
                  <a:gd name="connsiteX327" fmla="*/ 50305 w 251372"/>
                  <a:gd name="connsiteY327" fmla="*/ 246979 h 280919"/>
                  <a:gd name="connsiteX328" fmla="*/ 47881 w 251372"/>
                  <a:gd name="connsiteY328" fmla="*/ 251221 h 280919"/>
                  <a:gd name="connsiteX329" fmla="*/ 46972 w 251372"/>
                  <a:gd name="connsiteY329" fmla="*/ 254403 h 280919"/>
                  <a:gd name="connsiteX330" fmla="*/ 47578 w 251372"/>
                  <a:gd name="connsiteY330" fmla="*/ 256525 h 280919"/>
                  <a:gd name="connsiteX331" fmla="*/ 47123 w 251372"/>
                  <a:gd name="connsiteY331" fmla="*/ 259858 h 280919"/>
                  <a:gd name="connsiteX332" fmla="*/ 45608 w 251372"/>
                  <a:gd name="connsiteY332" fmla="*/ 264404 h 280919"/>
                  <a:gd name="connsiteX333" fmla="*/ 45305 w 251372"/>
                  <a:gd name="connsiteY333" fmla="*/ 267889 h 280919"/>
                  <a:gd name="connsiteX334" fmla="*/ 46365 w 251372"/>
                  <a:gd name="connsiteY334" fmla="*/ 270161 h 280919"/>
                  <a:gd name="connsiteX335" fmla="*/ 47729 w 251372"/>
                  <a:gd name="connsiteY335" fmla="*/ 270616 h 280919"/>
                  <a:gd name="connsiteX336" fmla="*/ 50002 w 251372"/>
                  <a:gd name="connsiteY336" fmla="*/ 271373 h 280919"/>
                  <a:gd name="connsiteX337" fmla="*/ 56215 w 251372"/>
                  <a:gd name="connsiteY337" fmla="*/ 271525 h 280919"/>
                  <a:gd name="connsiteX338" fmla="*/ 60760 w 251372"/>
                  <a:gd name="connsiteY338" fmla="*/ 271070 h 280919"/>
                  <a:gd name="connsiteX339" fmla="*/ 63639 w 251372"/>
                  <a:gd name="connsiteY339" fmla="*/ 270010 h 280919"/>
                  <a:gd name="connsiteX340" fmla="*/ 68336 w 251372"/>
                  <a:gd name="connsiteY340" fmla="*/ 270010 h 280919"/>
                  <a:gd name="connsiteX341" fmla="*/ 70760 w 251372"/>
                  <a:gd name="connsiteY341" fmla="*/ 270616 h 280919"/>
                  <a:gd name="connsiteX342" fmla="*/ 71215 w 251372"/>
                  <a:gd name="connsiteY342" fmla="*/ 270464 h 280919"/>
                  <a:gd name="connsiteX343" fmla="*/ 71821 w 251372"/>
                  <a:gd name="connsiteY343" fmla="*/ 270313 h 280919"/>
                  <a:gd name="connsiteX344" fmla="*/ 72427 w 251372"/>
                  <a:gd name="connsiteY344" fmla="*/ 269707 h 280919"/>
                  <a:gd name="connsiteX345" fmla="*/ 74700 w 251372"/>
                  <a:gd name="connsiteY345" fmla="*/ 269252 h 280919"/>
                  <a:gd name="connsiteX346" fmla="*/ 75003 w 251372"/>
                  <a:gd name="connsiteY346" fmla="*/ 268798 h 280919"/>
                  <a:gd name="connsiteX347" fmla="*/ 74851 w 251372"/>
                  <a:gd name="connsiteY347" fmla="*/ 268343 h 280919"/>
                  <a:gd name="connsiteX348" fmla="*/ 74397 w 251372"/>
                  <a:gd name="connsiteY348" fmla="*/ 268040 h 280919"/>
                  <a:gd name="connsiteX349" fmla="*/ 71669 w 251372"/>
                  <a:gd name="connsiteY349" fmla="*/ 268343 h 280919"/>
                  <a:gd name="connsiteX350" fmla="*/ 70609 w 251372"/>
                  <a:gd name="connsiteY350" fmla="*/ 268040 h 280919"/>
                  <a:gd name="connsiteX351" fmla="*/ 70306 w 251372"/>
                  <a:gd name="connsiteY351" fmla="*/ 267131 h 280919"/>
                  <a:gd name="connsiteX352" fmla="*/ 71215 w 251372"/>
                  <a:gd name="connsiteY352" fmla="*/ 265616 h 280919"/>
                  <a:gd name="connsiteX353" fmla="*/ 73185 w 251372"/>
                  <a:gd name="connsiteY353" fmla="*/ 264404 h 280919"/>
                  <a:gd name="connsiteX354" fmla="*/ 74851 w 251372"/>
                  <a:gd name="connsiteY354" fmla="*/ 264101 h 280919"/>
                  <a:gd name="connsiteX355" fmla="*/ 76064 w 251372"/>
                  <a:gd name="connsiteY355" fmla="*/ 264404 h 280919"/>
                  <a:gd name="connsiteX356" fmla="*/ 79094 w 251372"/>
                  <a:gd name="connsiteY356" fmla="*/ 266676 h 280919"/>
                  <a:gd name="connsiteX357" fmla="*/ 79852 w 251372"/>
                  <a:gd name="connsiteY357" fmla="*/ 266676 h 280919"/>
                  <a:gd name="connsiteX358" fmla="*/ 80306 w 251372"/>
                  <a:gd name="connsiteY358" fmla="*/ 266222 h 280919"/>
                  <a:gd name="connsiteX359" fmla="*/ 80912 w 251372"/>
                  <a:gd name="connsiteY359" fmla="*/ 265919 h 280919"/>
                  <a:gd name="connsiteX360" fmla="*/ 81973 w 251372"/>
                  <a:gd name="connsiteY360" fmla="*/ 266373 h 280919"/>
                  <a:gd name="connsiteX361" fmla="*/ 83185 w 251372"/>
                  <a:gd name="connsiteY361" fmla="*/ 267737 h 280919"/>
                  <a:gd name="connsiteX362" fmla="*/ 83336 w 251372"/>
                  <a:gd name="connsiteY362" fmla="*/ 267889 h 280919"/>
                  <a:gd name="connsiteX363" fmla="*/ 90003 w 251372"/>
                  <a:gd name="connsiteY363" fmla="*/ 267434 h 280919"/>
                  <a:gd name="connsiteX364" fmla="*/ 91519 w 251372"/>
                  <a:gd name="connsiteY364" fmla="*/ 267434 h 280919"/>
                  <a:gd name="connsiteX365" fmla="*/ 89549 w 251372"/>
                  <a:gd name="connsiteY365" fmla="*/ 263949 h 280919"/>
                  <a:gd name="connsiteX366" fmla="*/ 90003 w 251372"/>
                  <a:gd name="connsiteY366" fmla="*/ 263646 h 280919"/>
                  <a:gd name="connsiteX367" fmla="*/ 92731 w 251372"/>
                  <a:gd name="connsiteY367" fmla="*/ 265313 h 280919"/>
                  <a:gd name="connsiteX368" fmla="*/ 96670 w 251372"/>
                  <a:gd name="connsiteY368" fmla="*/ 267282 h 280919"/>
                  <a:gd name="connsiteX369" fmla="*/ 100458 w 251372"/>
                  <a:gd name="connsiteY369" fmla="*/ 269101 h 280919"/>
                  <a:gd name="connsiteX370" fmla="*/ 104095 w 251372"/>
                  <a:gd name="connsiteY370" fmla="*/ 271070 h 280919"/>
                  <a:gd name="connsiteX371" fmla="*/ 105459 w 251372"/>
                  <a:gd name="connsiteY371" fmla="*/ 271828 h 280919"/>
                  <a:gd name="connsiteX372" fmla="*/ 106065 w 251372"/>
                  <a:gd name="connsiteY372" fmla="*/ 271525 h 280919"/>
                  <a:gd name="connsiteX373" fmla="*/ 106974 w 251372"/>
                  <a:gd name="connsiteY373" fmla="*/ 270616 h 280919"/>
                  <a:gd name="connsiteX374" fmla="*/ 109398 w 251372"/>
                  <a:gd name="connsiteY374" fmla="*/ 271373 h 280919"/>
                  <a:gd name="connsiteX375" fmla="*/ 113035 w 251372"/>
                  <a:gd name="connsiteY375" fmla="*/ 273040 h 280919"/>
                  <a:gd name="connsiteX376" fmla="*/ 114701 w 251372"/>
                  <a:gd name="connsiteY376" fmla="*/ 274101 h 280919"/>
                  <a:gd name="connsiteX377" fmla="*/ 115459 w 251372"/>
                  <a:gd name="connsiteY377" fmla="*/ 275010 h 280919"/>
                  <a:gd name="connsiteX378" fmla="*/ 115914 w 251372"/>
                  <a:gd name="connsiteY378" fmla="*/ 275768 h 280919"/>
                  <a:gd name="connsiteX379" fmla="*/ 115762 w 251372"/>
                  <a:gd name="connsiteY379" fmla="*/ 276980 h 280919"/>
                  <a:gd name="connsiteX380" fmla="*/ 116520 w 251372"/>
                  <a:gd name="connsiteY380" fmla="*/ 277434 h 280919"/>
                  <a:gd name="connsiteX381" fmla="*/ 118186 w 251372"/>
                  <a:gd name="connsiteY381" fmla="*/ 277586 h 280919"/>
                  <a:gd name="connsiteX382" fmla="*/ 119247 w 251372"/>
                  <a:gd name="connsiteY382" fmla="*/ 277889 h 280919"/>
                  <a:gd name="connsiteX383" fmla="*/ 118792 w 251372"/>
                  <a:gd name="connsiteY383" fmla="*/ 279556 h 280919"/>
                  <a:gd name="connsiteX384" fmla="*/ 118641 w 251372"/>
                  <a:gd name="connsiteY384" fmla="*/ 280919 h 280919"/>
                  <a:gd name="connsiteX385" fmla="*/ 120156 w 251372"/>
                  <a:gd name="connsiteY385" fmla="*/ 280768 h 280919"/>
                  <a:gd name="connsiteX386" fmla="*/ 122126 w 251372"/>
                  <a:gd name="connsiteY386" fmla="*/ 279707 h 280919"/>
                  <a:gd name="connsiteX387" fmla="*/ 123641 w 251372"/>
                  <a:gd name="connsiteY387" fmla="*/ 277889 h 280919"/>
                  <a:gd name="connsiteX388" fmla="*/ 124550 w 251372"/>
                  <a:gd name="connsiteY388" fmla="*/ 276071 h 280919"/>
                  <a:gd name="connsiteX389" fmla="*/ 125308 w 251372"/>
                  <a:gd name="connsiteY389" fmla="*/ 271828 h 280919"/>
                  <a:gd name="connsiteX390" fmla="*/ 125611 w 251372"/>
                  <a:gd name="connsiteY390" fmla="*/ 271525 h 280919"/>
                  <a:gd name="connsiteX391" fmla="*/ 126823 w 251372"/>
                  <a:gd name="connsiteY391" fmla="*/ 271828 h 280919"/>
                  <a:gd name="connsiteX392" fmla="*/ 131672 w 251372"/>
                  <a:gd name="connsiteY392" fmla="*/ 271677 h 280919"/>
                  <a:gd name="connsiteX393" fmla="*/ 133944 w 251372"/>
                  <a:gd name="connsiteY393" fmla="*/ 272434 h 280919"/>
                  <a:gd name="connsiteX394" fmla="*/ 137581 w 251372"/>
                  <a:gd name="connsiteY394" fmla="*/ 272586 h 280919"/>
                  <a:gd name="connsiteX395" fmla="*/ 137581 w 251372"/>
                  <a:gd name="connsiteY395" fmla="*/ 273192 h 280919"/>
                  <a:gd name="connsiteX396" fmla="*/ 138187 w 251372"/>
                  <a:gd name="connsiteY396" fmla="*/ 274252 h 280919"/>
                  <a:gd name="connsiteX397" fmla="*/ 139854 w 251372"/>
                  <a:gd name="connsiteY397" fmla="*/ 275768 h 280919"/>
                  <a:gd name="connsiteX398" fmla="*/ 140611 w 251372"/>
                  <a:gd name="connsiteY398" fmla="*/ 276828 h 280919"/>
                  <a:gd name="connsiteX399" fmla="*/ 142278 w 251372"/>
                  <a:gd name="connsiteY399" fmla="*/ 276980 h 280919"/>
                  <a:gd name="connsiteX400" fmla="*/ 144854 w 251372"/>
                  <a:gd name="connsiteY400" fmla="*/ 276374 h 280919"/>
                  <a:gd name="connsiteX401" fmla="*/ 146369 w 251372"/>
                  <a:gd name="connsiteY401" fmla="*/ 275768 h 280919"/>
                  <a:gd name="connsiteX402" fmla="*/ 146975 w 251372"/>
                  <a:gd name="connsiteY402" fmla="*/ 276222 h 280919"/>
                  <a:gd name="connsiteX403" fmla="*/ 149400 w 251372"/>
                  <a:gd name="connsiteY403" fmla="*/ 275768 h 280919"/>
                  <a:gd name="connsiteX404" fmla="*/ 151521 w 251372"/>
                  <a:gd name="connsiteY404" fmla="*/ 274556 h 280919"/>
                  <a:gd name="connsiteX405" fmla="*/ 151975 w 251372"/>
                  <a:gd name="connsiteY405" fmla="*/ 273646 h 280919"/>
                  <a:gd name="connsiteX406" fmla="*/ 154097 w 251372"/>
                  <a:gd name="connsiteY406" fmla="*/ 273040 h 280919"/>
                  <a:gd name="connsiteX407" fmla="*/ 156976 w 251372"/>
                  <a:gd name="connsiteY407" fmla="*/ 271525 h 280919"/>
                  <a:gd name="connsiteX408" fmla="*/ 160915 w 251372"/>
                  <a:gd name="connsiteY408" fmla="*/ 270313 h 280919"/>
                  <a:gd name="connsiteX409" fmla="*/ 173794 w 251372"/>
                  <a:gd name="connsiteY409" fmla="*/ 269101 h 280919"/>
                  <a:gd name="connsiteX410" fmla="*/ 174249 w 251372"/>
                  <a:gd name="connsiteY410" fmla="*/ 268192 h 280919"/>
                  <a:gd name="connsiteX411" fmla="*/ 174098 w 251372"/>
                  <a:gd name="connsiteY411" fmla="*/ 266070 h 280919"/>
                  <a:gd name="connsiteX412" fmla="*/ 174401 w 251372"/>
                  <a:gd name="connsiteY412" fmla="*/ 265767 h 280919"/>
                  <a:gd name="connsiteX413" fmla="*/ 176067 w 251372"/>
                  <a:gd name="connsiteY413" fmla="*/ 266373 h 280919"/>
                  <a:gd name="connsiteX414" fmla="*/ 178643 w 251372"/>
                  <a:gd name="connsiteY414" fmla="*/ 266828 h 280919"/>
                  <a:gd name="connsiteX415" fmla="*/ 180613 w 251372"/>
                  <a:gd name="connsiteY415" fmla="*/ 267585 h 280919"/>
                  <a:gd name="connsiteX416" fmla="*/ 181977 w 251372"/>
                  <a:gd name="connsiteY416" fmla="*/ 268646 h 280919"/>
                  <a:gd name="connsiteX417" fmla="*/ 183189 w 251372"/>
                  <a:gd name="connsiteY417" fmla="*/ 268646 h 280919"/>
                  <a:gd name="connsiteX418" fmla="*/ 185007 w 251372"/>
                  <a:gd name="connsiteY418" fmla="*/ 267889 h 280919"/>
                  <a:gd name="connsiteX419" fmla="*/ 187583 w 251372"/>
                  <a:gd name="connsiteY419" fmla="*/ 267434 h 280919"/>
                  <a:gd name="connsiteX420" fmla="*/ 189856 w 251372"/>
                  <a:gd name="connsiteY420" fmla="*/ 268495 h 280919"/>
                  <a:gd name="connsiteX421" fmla="*/ 190462 w 251372"/>
                  <a:gd name="connsiteY421" fmla="*/ 269555 h 280919"/>
                  <a:gd name="connsiteX422" fmla="*/ 190007 w 251372"/>
                  <a:gd name="connsiteY422" fmla="*/ 270161 h 280919"/>
                  <a:gd name="connsiteX423" fmla="*/ 190007 w 251372"/>
                  <a:gd name="connsiteY423" fmla="*/ 271070 h 280919"/>
                  <a:gd name="connsiteX424" fmla="*/ 190765 w 251372"/>
                  <a:gd name="connsiteY424" fmla="*/ 271828 h 280919"/>
                  <a:gd name="connsiteX425" fmla="*/ 192734 w 251372"/>
                  <a:gd name="connsiteY425" fmla="*/ 273040 h 280919"/>
                  <a:gd name="connsiteX426" fmla="*/ 195159 w 251372"/>
                  <a:gd name="connsiteY426" fmla="*/ 274101 h 280919"/>
                  <a:gd name="connsiteX427" fmla="*/ 196371 w 251372"/>
                  <a:gd name="connsiteY427" fmla="*/ 273949 h 280919"/>
                  <a:gd name="connsiteX428" fmla="*/ 196826 w 251372"/>
                  <a:gd name="connsiteY428" fmla="*/ 272889 h 280919"/>
                  <a:gd name="connsiteX429" fmla="*/ 197280 w 251372"/>
                  <a:gd name="connsiteY429" fmla="*/ 270464 h 280919"/>
                  <a:gd name="connsiteX430" fmla="*/ 197432 w 251372"/>
                  <a:gd name="connsiteY430" fmla="*/ 267889 h 280919"/>
                  <a:gd name="connsiteX431" fmla="*/ 196826 w 251372"/>
                  <a:gd name="connsiteY431" fmla="*/ 266373 h 280919"/>
                  <a:gd name="connsiteX432" fmla="*/ 195462 w 251372"/>
                  <a:gd name="connsiteY432" fmla="*/ 266070 h 280919"/>
                  <a:gd name="connsiteX433" fmla="*/ 193947 w 251372"/>
                  <a:gd name="connsiteY433" fmla="*/ 265919 h 280919"/>
                  <a:gd name="connsiteX434" fmla="*/ 193189 w 251372"/>
                  <a:gd name="connsiteY434" fmla="*/ 265616 h 280919"/>
                  <a:gd name="connsiteX435" fmla="*/ 193492 w 251372"/>
                  <a:gd name="connsiteY435" fmla="*/ 264858 h 280919"/>
                  <a:gd name="connsiteX436" fmla="*/ 194704 w 251372"/>
                  <a:gd name="connsiteY436" fmla="*/ 262737 h 280919"/>
                  <a:gd name="connsiteX437" fmla="*/ 194704 w 251372"/>
                  <a:gd name="connsiteY437" fmla="*/ 259858 h 280919"/>
                  <a:gd name="connsiteX438" fmla="*/ 191825 w 251372"/>
                  <a:gd name="connsiteY438" fmla="*/ 256525 h 280919"/>
                  <a:gd name="connsiteX439" fmla="*/ 189401 w 251372"/>
                  <a:gd name="connsiteY439" fmla="*/ 253343 h 280919"/>
                  <a:gd name="connsiteX440" fmla="*/ 189401 w 251372"/>
                  <a:gd name="connsiteY440" fmla="*/ 252282 h 280919"/>
                  <a:gd name="connsiteX441" fmla="*/ 190916 w 251372"/>
                  <a:gd name="connsiteY441" fmla="*/ 250464 h 280919"/>
                  <a:gd name="connsiteX442" fmla="*/ 193189 w 251372"/>
                  <a:gd name="connsiteY442" fmla="*/ 248948 h 280919"/>
                  <a:gd name="connsiteX443" fmla="*/ 198189 w 251372"/>
                  <a:gd name="connsiteY443" fmla="*/ 246524 h 280919"/>
                  <a:gd name="connsiteX444" fmla="*/ 199856 w 251372"/>
                  <a:gd name="connsiteY444" fmla="*/ 246070 h 280919"/>
                  <a:gd name="connsiteX445" fmla="*/ 201977 w 251372"/>
                  <a:gd name="connsiteY445" fmla="*/ 245615 h 280919"/>
                  <a:gd name="connsiteX446" fmla="*/ 204856 w 251372"/>
                  <a:gd name="connsiteY446" fmla="*/ 244554 h 280919"/>
                  <a:gd name="connsiteX447" fmla="*/ 206220 w 251372"/>
                  <a:gd name="connsiteY447" fmla="*/ 243494 h 280919"/>
                  <a:gd name="connsiteX448" fmla="*/ 207129 w 251372"/>
                  <a:gd name="connsiteY448" fmla="*/ 242282 h 280919"/>
                  <a:gd name="connsiteX449" fmla="*/ 208493 w 251372"/>
                  <a:gd name="connsiteY449" fmla="*/ 236372 h 280919"/>
                  <a:gd name="connsiteX450" fmla="*/ 208796 w 251372"/>
                  <a:gd name="connsiteY450" fmla="*/ 236069 h 280919"/>
                  <a:gd name="connsiteX451" fmla="*/ 209250 w 251372"/>
                  <a:gd name="connsiteY451" fmla="*/ 235766 h 280919"/>
                  <a:gd name="connsiteX452" fmla="*/ 214402 w 251372"/>
                  <a:gd name="connsiteY452" fmla="*/ 237887 h 280919"/>
                  <a:gd name="connsiteX453" fmla="*/ 214857 w 251372"/>
                  <a:gd name="connsiteY453" fmla="*/ 237584 h 280919"/>
                  <a:gd name="connsiteX454" fmla="*/ 215766 w 251372"/>
                  <a:gd name="connsiteY454" fmla="*/ 237281 h 280919"/>
                  <a:gd name="connsiteX455" fmla="*/ 217432 w 251372"/>
                  <a:gd name="connsiteY455" fmla="*/ 235766 h 280919"/>
                  <a:gd name="connsiteX456" fmla="*/ 217735 w 251372"/>
                  <a:gd name="connsiteY456" fmla="*/ 234554 h 280919"/>
                  <a:gd name="connsiteX457" fmla="*/ 217735 w 251372"/>
                  <a:gd name="connsiteY457" fmla="*/ 232281 h 280919"/>
                  <a:gd name="connsiteX458" fmla="*/ 217887 w 251372"/>
                  <a:gd name="connsiteY458" fmla="*/ 230160 h 280919"/>
                  <a:gd name="connsiteX459" fmla="*/ 218190 w 251372"/>
                  <a:gd name="connsiteY459" fmla="*/ 229402 h 280919"/>
                  <a:gd name="connsiteX460" fmla="*/ 216978 w 251372"/>
                  <a:gd name="connsiteY460" fmla="*/ 227736 h 280919"/>
                  <a:gd name="connsiteX461" fmla="*/ 214705 w 251372"/>
                  <a:gd name="connsiteY461" fmla="*/ 225614 h 280919"/>
                  <a:gd name="connsiteX462" fmla="*/ 210917 w 251372"/>
                  <a:gd name="connsiteY462" fmla="*/ 222735 h 280919"/>
                  <a:gd name="connsiteX463" fmla="*/ 208038 w 251372"/>
                  <a:gd name="connsiteY463" fmla="*/ 222887 h 280919"/>
                  <a:gd name="connsiteX464" fmla="*/ 206977 w 251372"/>
                  <a:gd name="connsiteY464" fmla="*/ 222129 h 280919"/>
                  <a:gd name="connsiteX465" fmla="*/ 206523 w 251372"/>
                  <a:gd name="connsiteY465" fmla="*/ 221069 h 280919"/>
                  <a:gd name="connsiteX466" fmla="*/ 205311 w 251372"/>
                  <a:gd name="connsiteY466" fmla="*/ 219250 h 280919"/>
                  <a:gd name="connsiteX467" fmla="*/ 203947 w 251372"/>
                  <a:gd name="connsiteY467" fmla="*/ 217887 h 280919"/>
                  <a:gd name="connsiteX468" fmla="*/ 202280 w 251372"/>
                  <a:gd name="connsiteY468" fmla="*/ 217432 h 280919"/>
                  <a:gd name="connsiteX469" fmla="*/ 199856 w 251372"/>
                  <a:gd name="connsiteY469" fmla="*/ 215765 h 280919"/>
                  <a:gd name="connsiteX470" fmla="*/ 196674 w 251372"/>
                  <a:gd name="connsiteY470" fmla="*/ 212129 h 280919"/>
                  <a:gd name="connsiteX471" fmla="*/ 193795 w 251372"/>
                  <a:gd name="connsiteY471" fmla="*/ 209705 h 280919"/>
                  <a:gd name="connsiteX472" fmla="*/ 190916 w 251372"/>
                  <a:gd name="connsiteY472" fmla="*/ 209705 h 280919"/>
                  <a:gd name="connsiteX473" fmla="*/ 189098 w 251372"/>
                  <a:gd name="connsiteY473" fmla="*/ 208341 h 280919"/>
                  <a:gd name="connsiteX474" fmla="*/ 187280 w 251372"/>
                  <a:gd name="connsiteY474" fmla="*/ 206674 h 280919"/>
                  <a:gd name="connsiteX475" fmla="*/ 185916 w 251372"/>
                  <a:gd name="connsiteY475" fmla="*/ 205007 h 280919"/>
                  <a:gd name="connsiteX476" fmla="*/ 183795 w 251372"/>
                  <a:gd name="connsiteY476" fmla="*/ 200916 h 280919"/>
                  <a:gd name="connsiteX477" fmla="*/ 182279 w 251372"/>
                  <a:gd name="connsiteY477" fmla="*/ 198644 h 280919"/>
                  <a:gd name="connsiteX478" fmla="*/ 181068 w 251372"/>
                  <a:gd name="connsiteY478" fmla="*/ 197280 h 280919"/>
                  <a:gd name="connsiteX479" fmla="*/ 179704 w 251372"/>
                  <a:gd name="connsiteY479" fmla="*/ 196068 h 280919"/>
                  <a:gd name="connsiteX480" fmla="*/ 179249 w 251372"/>
                  <a:gd name="connsiteY480" fmla="*/ 195159 h 280919"/>
                  <a:gd name="connsiteX481" fmla="*/ 180916 w 251372"/>
                  <a:gd name="connsiteY481" fmla="*/ 193037 h 280919"/>
                  <a:gd name="connsiteX482" fmla="*/ 181522 w 251372"/>
                  <a:gd name="connsiteY482" fmla="*/ 191977 h 280919"/>
                  <a:gd name="connsiteX483" fmla="*/ 182279 w 251372"/>
                  <a:gd name="connsiteY483" fmla="*/ 191219 h 280919"/>
                  <a:gd name="connsiteX484" fmla="*/ 182734 w 251372"/>
                  <a:gd name="connsiteY484" fmla="*/ 190310 h 280919"/>
                  <a:gd name="connsiteX485" fmla="*/ 182734 w 251372"/>
                  <a:gd name="connsiteY485" fmla="*/ 189704 h 280919"/>
                  <a:gd name="connsiteX486" fmla="*/ 181219 w 251372"/>
                  <a:gd name="connsiteY486" fmla="*/ 187583 h 280919"/>
                  <a:gd name="connsiteX487" fmla="*/ 179249 w 251372"/>
                  <a:gd name="connsiteY487" fmla="*/ 186067 h 280919"/>
                  <a:gd name="connsiteX488" fmla="*/ 176370 w 251372"/>
                  <a:gd name="connsiteY488" fmla="*/ 184552 h 280919"/>
                  <a:gd name="connsiteX489" fmla="*/ 174552 w 251372"/>
                  <a:gd name="connsiteY489" fmla="*/ 182582 h 280919"/>
                  <a:gd name="connsiteX490" fmla="*/ 173794 w 251372"/>
                  <a:gd name="connsiteY490" fmla="*/ 180764 h 280919"/>
                  <a:gd name="connsiteX491" fmla="*/ 173643 w 251372"/>
                  <a:gd name="connsiteY491" fmla="*/ 179704 h 280919"/>
                  <a:gd name="connsiteX492" fmla="*/ 172279 w 251372"/>
                  <a:gd name="connsiteY492" fmla="*/ 178340 h 280919"/>
                  <a:gd name="connsiteX493" fmla="*/ 171219 w 251372"/>
                  <a:gd name="connsiteY493" fmla="*/ 176370 h 280919"/>
                  <a:gd name="connsiteX494" fmla="*/ 171219 w 251372"/>
                  <a:gd name="connsiteY494" fmla="*/ 175158 h 280919"/>
                  <a:gd name="connsiteX495" fmla="*/ 171522 w 251372"/>
                  <a:gd name="connsiteY495" fmla="*/ 174855 h 280919"/>
                  <a:gd name="connsiteX496" fmla="*/ 172431 w 251372"/>
                  <a:gd name="connsiteY496" fmla="*/ 174855 h 280919"/>
                  <a:gd name="connsiteX497" fmla="*/ 173491 w 251372"/>
                  <a:gd name="connsiteY497" fmla="*/ 175612 h 280919"/>
                  <a:gd name="connsiteX498" fmla="*/ 175007 w 251372"/>
                  <a:gd name="connsiteY498" fmla="*/ 177128 h 280919"/>
                  <a:gd name="connsiteX499" fmla="*/ 176219 w 251372"/>
                  <a:gd name="connsiteY499" fmla="*/ 179400 h 280919"/>
                  <a:gd name="connsiteX500" fmla="*/ 176977 w 251372"/>
                  <a:gd name="connsiteY500" fmla="*/ 178491 h 280919"/>
                  <a:gd name="connsiteX501" fmla="*/ 178491 w 251372"/>
                  <a:gd name="connsiteY501" fmla="*/ 176067 h 280919"/>
                  <a:gd name="connsiteX502" fmla="*/ 181068 w 251372"/>
                  <a:gd name="connsiteY502" fmla="*/ 173340 h 280919"/>
                  <a:gd name="connsiteX503" fmla="*/ 183643 w 251372"/>
                  <a:gd name="connsiteY503" fmla="*/ 171824 h 280919"/>
                  <a:gd name="connsiteX504" fmla="*/ 186067 w 251372"/>
                  <a:gd name="connsiteY504" fmla="*/ 171673 h 280919"/>
                  <a:gd name="connsiteX505" fmla="*/ 188037 w 251372"/>
                  <a:gd name="connsiteY505" fmla="*/ 171218 h 280919"/>
                  <a:gd name="connsiteX506" fmla="*/ 189704 w 251372"/>
                  <a:gd name="connsiteY506" fmla="*/ 170461 h 280919"/>
                  <a:gd name="connsiteX507" fmla="*/ 192583 w 251372"/>
                  <a:gd name="connsiteY507" fmla="*/ 170764 h 280919"/>
                  <a:gd name="connsiteX508" fmla="*/ 194553 w 251372"/>
                  <a:gd name="connsiteY508" fmla="*/ 171370 h 280919"/>
                  <a:gd name="connsiteX509" fmla="*/ 195159 w 251372"/>
                  <a:gd name="connsiteY509" fmla="*/ 171067 h 280919"/>
                  <a:gd name="connsiteX510" fmla="*/ 195917 w 251372"/>
                  <a:gd name="connsiteY510" fmla="*/ 169703 h 280919"/>
                  <a:gd name="connsiteX511" fmla="*/ 196371 w 251372"/>
                  <a:gd name="connsiteY511" fmla="*/ 168491 h 280919"/>
                  <a:gd name="connsiteX512" fmla="*/ 200917 w 251372"/>
                  <a:gd name="connsiteY512" fmla="*/ 167733 h 280919"/>
                  <a:gd name="connsiteX513" fmla="*/ 202432 w 251372"/>
                  <a:gd name="connsiteY513" fmla="*/ 165309 h 280919"/>
                  <a:gd name="connsiteX514" fmla="*/ 203341 w 251372"/>
                  <a:gd name="connsiteY514" fmla="*/ 165309 h 280919"/>
                  <a:gd name="connsiteX515" fmla="*/ 204402 w 251372"/>
                  <a:gd name="connsiteY515" fmla="*/ 165006 h 280919"/>
                  <a:gd name="connsiteX516" fmla="*/ 205311 w 251372"/>
                  <a:gd name="connsiteY516" fmla="*/ 164097 h 280919"/>
                  <a:gd name="connsiteX517" fmla="*/ 206220 w 251372"/>
                  <a:gd name="connsiteY517" fmla="*/ 163794 h 280919"/>
                  <a:gd name="connsiteX518" fmla="*/ 206977 w 251372"/>
                  <a:gd name="connsiteY518" fmla="*/ 164248 h 280919"/>
                  <a:gd name="connsiteX519" fmla="*/ 207887 w 251372"/>
                  <a:gd name="connsiteY519" fmla="*/ 164551 h 280919"/>
                  <a:gd name="connsiteX520" fmla="*/ 208947 w 251372"/>
                  <a:gd name="connsiteY520" fmla="*/ 163945 h 280919"/>
                  <a:gd name="connsiteX521" fmla="*/ 210463 w 251372"/>
                  <a:gd name="connsiteY521" fmla="*/ 161218 h 280919"/>
                  <a:gd name="connsiteX522" fmla="*/ 211220 w 251372"/>
                  <a:gd name="connsiteY522" fmla="*/ 160763 h 280919"/>
                  <a:gd name="connsiteX523" fmla="*/ 215160 w 251372"/>
                  <a:gd name="connsiteY523" fmla="*/ 160309 h 280919"/>
                  <a:gd name="connsiteX524" fmla="*/ 220614 w 251372"/>
                  <a:gd name="connsiteY524" fmla="*/ 158642 h 280919"/>
                  <a:gd name="connsiteX525" fmla="*/ 223342 w 251372"/>
                  <a:gd name="connsiteY525" fmla="*/ 157278 h 280919"/>
                  <a:gd name="connsiteX526" fmla="*/ 226069 w 251372"/>
                  <a:gd name="connsiteY526" fmla="*/ 156521 h 280919"/>
                  <a:gd name="connsiteX527" fmla="*/ 228948 w 251372"/>
                  <a:gd name="connsiteY527" fmla="*/ 155157 h 280919"/>
                  <a:gd name="connsiteX528" fmla="*/ 233494 w 251372"/>
                  <a:gd name="connsiteY528" fmla="*/ 153794 h 280919"/>
                  <a:gd name="connsiteX529" fmla="*/ 233645 w 251372"/>
                  <a:gd name="connsiteY529" fmla="*/ 153187 h 280919"/>
                  <a:gd name="connsiteX530" fmla="*/ 231524 w 251372"/>
                  <a:gd name="connsiteY530" fmla="*/ 151824 h 280919"/>
                  <a:gd name="connsiteX531" fmla="*/ 230766 w 251372"/>
                  <a:gd name="connsiteY531" fmla="*/ 150915 h 280919"/>
                  <a:gd name="connsiteX532" fmla="*/ 230312 w 251372"/>
                  <a:gd name="connsiteY532" fmla="*/ 150006 h 280919"/>
                  <a:gd name="connsiteX533" fmla="*/ 231069 w 251372"/>
                  <a:gd name="connsiteY533" fmla="*/ 148945 h 280919"/>
                  <a:gd name="connsiteX534" fmla="*/ 232130 w 251372"/>
                  <a:gd name="connsiteY534" fmla="*/ 148642 h 280919"/>
                  <a:gd name="connsiteX535" fmla="*/ 233494 w 251372"/>
                  <a:gd name="connsiteY535" fmla="*/ 149096 h 280919"/>
                  <a:gd name="connsiteX536" fmla="*/ 237282 w 251372"/>
                  <a:gd name="connsiteY536" fmla="*/ 149702 h 280919"/>
                  <a:gd name="connsiteX537" fmla="*/ 238342 w 251372"/>
                  <a:gd name="connsiteY537" fmla="*/ 150308 h 280919"/>
                  <a:gd name="connsiteX538" fmla="*/ 238797 w 251372"/>
                  <a:gd name="connsiteY538" fmla="*/ 151672 h 280919"/>
                  <a:gd name="connsiteX539" fmla="*/ 239706 w 251372"/>
                  <a:gd name="connsiteY539" fmla="*/ 153036 h 280919"/>
                  <a:gd name="connsiteX540" fmla="*/ 240463 w 251372"/>
                  <a:gd name="connsiteY540" fmla="*/ 153187 h 280919"/>
                  <a:gd name="connsiteX541" fmla="*/ 240161 w 251372"/>
                  <a:gd name="connsiteY541" fmla="*/ 155309 h 280919"/>
                  <a:gd name="connsiteX542" fmla="*/ 241373 w 251372"/>
                  <a:gd name="connsiteY542" fmla="*/ 156066 h 280919"/>
                  <a:gd name="connsiteX543" fmla="*/ 243191 w 251372"/>
                  <a:gd name="connsiteY543" fmla="*/ 156672 h 280919"/>
                  <a:gd name="connsiteX544" fmla="*/ 244403 w 251372"/>
                  <a:gd name="connsiteY544" fmla="*/ 156521 h 280919"/>
                  <a:gd name="connsiteX545" fmla="*/ 245312 w 251372"/>
                  <a:gd name="connsiteY545" fmla="*/ 155612 h 280919"/>
                  <a:gd name="connsiteX546" fmla="*/ 245616 w 251372"/>
                  <a:gd name="connsiteY546" fmla="*/ 155006 h 280919"/>
                  <a:gd name="connsiteX547" fmla="*/ 245767 w 251372"/>
                  <a:gd name="connsiteY547" fmla="*/ 154551 h 280919"/>
                  <a:gd name="connsiteX548" fmla="*/ 248646 w 251372"/>
                  <a:gd name="connsiteY548" fmla="*/ 149551 h 280919"/>
                  <a:gd name="connsiteX549" fmla="*/ 249858 w 251372"/>
                  <a:gd name="connsiteY549" fmla="*/ 146369 h 280919"/>
                  <a:gd name="connsiteX550" fmla="*/ 251373 w 251372"/>
                  <a:gd name="connsiteY550" fmla="*/ 140611 h 280919"/>
                  <a:gd name="connsiteX551" fmla="*/ 249555 w 251372"/>
                  <a:gd name="connsiteY551" fmla="*/ 136672 h 280919"/>
                  <a:gd name="connsiteX552" fmla="*/ 68791 w 251372"/>
                  <a:gd name="connsiteY552" fmla="*/ 7879 h 280919"/>
                  <a:gd name="connsiteX553" fmla="*/ 75760 w 251372"/>
                  <a:gd name="connsiteY553" fmla="*/ 7273 h 280919"/>
                  <a:gd name="connsiteX554" fmla="*/ 76518 w 251372"/>
                  <a:gd name="connsiteY554" fmla="*/ 6212 h 280919"/>
                  <a:gd name="connsiteX555" fmla="*/ 69700 w 251372"/>
                  <a:gd name="connsiteY555" fmla="*/ 5909 h 280919"/>
                  <a:gd name="connsiteX556" fmla="*/ 69397 w 251372"/>
                  <a:gd name="connsiteY556" fmla="*/ 4849 h 280919"/>
                  <a:gd name="connsiteX557" fmla="*/ 69851 w 251372"/>
                  <a:gd name="connsiteY557" fmla="*/ 2727 h 280919"/>
                  <a:gd name="connsiteX558" fmla="*/ 70154 w 251372"/>
                  <a:gd name="connsiteY558" fmla="*/ 1667 h 280919"/>
                  <a:gd name="connsiteX559" fmla="*/ 71518 w 251372"/>
                  <a:gd name="connsiteY559" fmla="*/ 152 h 280919"/>
                  <a:gd name="connsiteX560" fmla="*/ 70306 w 251372"/>
                  <a:gd name="connsiteY560" fmla="*/ 0 h 280919"/>
                  <a:gd name="connsiteX561" fmla="*/ 67275 w 251372"/>
                  <a:gd name="connsiteY561" fmla="*/ 5758 h 280919"/>
                  <a:gd name="connsiteX562" fmla="*/ 66972 w 251372"/>
                  <a:gd name="connsiteY562" fmla="*/ 11061 h 280919"/>
                  <a:gd name="connsiteX563" fmla="*/ 67579 w 251372"/>
                  <a:gd name="connsiteY563" fmla="*/ 10303 h 280919"/>
                  <a:gd name="connsiteX564" fmla="*/ 68791 w 251372"/>
                  <a:gd name="connsiteY564" fmla="*/ 7879 h 280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Lst>
                <a:rect l="l" t="t" r="r" b="b"/>
                <a:pathLst>
                  <a:path w="251372" h="280919">
                    <a:moveTo>
                      <a:pt x="200614" y="26213"/>
                    </a:moveTo>
                    <a:lnTo>
                      <a:pt x="201371" y="27728"/>
                    </a:lnTo>
                    <a:lnTo>
                      <a:pt x="206068" y="30759"/>
                    </a:lnTo>
                    <a:lnTo>
                      <a:pt x="207432" y="30607"/>
                    </a:lnTo>
                    <a:lnTo>
                      <a:pt x="209250" y="27274"/>
                    </a:lnTo>
                    <a:lnTo>
                      <a:pt x="212281" y="27274"/>
                    </a:lnTo>
                    <a:lnTo>
                      <a:pt x="215311" y="29395"/>
                    </a:lnTo>
                    <a:lnTo>
                      <a:pt x="216069" y="28031"/>
                    </a:lnTo>
                    <a:lnTo>
                      <a:pt x="215311" y="25455"/>
                    </a:lnTo>
                    <a:lnTo>
                      <a:pt x="212432" y="23789"/>
                    </a:lnTo>
                    <a:lnTo>
                      <a:pt x="211826" y="22274"/>
                    </a:lnTo>
                    <a:lnTo>
                      <a:pt x="212432" y="21364"/>
                    </a:lnTo>
                    <a:lnTo>
                      <a:pt x="214251" y="19546"/>
                    </a:lnTo>
                    <a:lnTo>
                      <a:pt x="213947" y="18637"/>
                    </a:lnTo>
                    <a:lnTo>
                      <a:pt x="213342" y="18031"/>
                    </a:lnTo>
                    <a:lnTo>
                      <a:pt x="209402" y="16516"/>
                    </a:lnTo>
                    <a:lnTo>
                      <a:pt x="208341" y="15152"/>
                    </a:lnTo>
                    <a:lnTo>
                      <a:pt x="207584" y="13334"/>
                    </a:lnTo>
                    <a:lnTo>
                      <a:pt x="205159" y="13485"/>
                    </a:lnTo>
                    <a:lnTo>
                      <a:pt x="202583" y="15758"/>
                    </a:lnTo>
                    <a:lnTo>
                      <a:pt x="202280" y="17879"/>
                    </a:lnTo>
                    <a:lnTo>
                      <a:pt x="200765" y="19395"/>
                    </a:lnTo>
                    <a:lnTo>
                      <a:pt x="200917" y="20758"/>
                    </a:lnTo>
                    <a:lnTo>
                      <a:pt x="200310" y="25001"/>
                    </a:lnTo>
                    <a:lnTo>
                      <a:pt x="200614" y="26213"/>
                    </a:lnTo>
                    <a:close/>
                    <a:moveTo>
                      <a:pt x="220008" y="38486"/>
                    </a:moveTo>
                    <a:lnTo>
                      <a:pt x="221372" y="40001"/>
                    </a:lnTo>
                    <a:lnTo>
                      <a:pt x="220766" y="42123"/>
                    </a:lnTo>
                    <a:lnTo>
                      <a:pt x="221372" y="44396"/>
                    </a:lnTo>
                    <a:lnTo>
                      <a:pt x="224706" y="45002"/>
                    </a:lnTo>
                    <a:lnTo>
                      <a:pt x="228039" y="44547"/>
                    </a:lnTo>
                    <a:lnTo>
                      <a:pt x="229099" y="44699"/>
                    </a:lnTo>
                    <a:lnTo>
                      <a:pt x="228645" y="42880"/>
                    </a:lnTo>
                    <a:lnTo>
                      <a:pt x="228948" y="41668"/>
                    </a:lnTo>
                    <a:lnTo>
                      <a:pt x="224251" y="38486"/>
                    </a:lnTo>
                    <a:lnTo>
                      <a:pt x="218493" y="35001"/>
                    </a:lnTo>
                    <a:lnTo>
                      <a:pt x="218341" y="36365"/>
                    </a:lnTo>
                    <a:lnTo>
                      <a:pt x="218493" y="37577"/>
                    </a:lnTo>
                    <a:lnTo>
                      <a:pt x="220008" y="38486"/>
                    </a:lnTo>
                    <a:close/>
                    <a:moveTo>
                      <a:pt x="145005" y="24243"/>
                    </a:moveTo>
                    <a:lnTo>
                      <a:pt x="149248" y="24243"/>
                    </a:lnTo>
                    <a:lnTo>
                      <a:pt x="149248" y="23486"/>
                    </a:lnTo>
                    <a:lnTo>
                      <a:pt x="147733" y="21061"/>
                    </a:lnTo>
                    <a:lnTo>
                      <a:pt x="143642" y="19849"/>
                    </a:lnTo>
                    <a:lnTo>
                      <a:pt x="142581" y="20455"/>
                    </a:lnTo>
                    <a:lnTo>
                      <a:pt x="141672" y="22274"/>
                    </a:lnTo>
                    <a:lnTo>
                      <a:pt x="143339" y="22728"/>
                    </a:lnTo>
                    <a:lnTo>
                      <a:pt x="145005" y="24243"/>
                    </a:lnTo>
                    <a:close/>
                    <a:moveTo>
                      <a:pt x="72124" y="11364"/>
                    </a:moveTo>
                    <a:lnTo>
                      <a:pt x="70760" y="12122"/>
                    </a:lnTo>
                    <a:lnTo>
                      <a:pt x="70306" y="13031"/>
                    </a:lnTo>
                    <a:lnTo>
                      <a:pt x="71821" y="13940"/>
                    </a:lnTo>
                    <a:lnTo>
                      <a:pt x="74397" y="14091"/>
                    </a:lnTo>
                    <a:lnTo>
                      <a:pt x="75458" y="13182"/>
                    </a:lnTo>
                    <a:lnTo>
                      <a:pt x="75003" y="11819"/>
                    </a:lnTo>
                    <a:lnTo>
                      <a:pt x="73336" y="11364"/>
                    </a:lnTo>
                    <a:lnTo>
                      <a:pt x="72124" y="11364"/>
                    </a:lnTo>
                    <a:close/>
                    <a:moveTo>
                      <a:pt x="249555" y="136672"/>
                    </a:moveTo>
                    <a:lnTo>
                      <a:pt x="249100" y="134550"/>
                    </a:lnTo>
                    <a:lnTo>
                      <a:pt x="248343" y="133490"/>
                    </a:lnTo>
                    <a:lnTo>
                      <a:pt x="243342" y="131217"/>
                    </a:lnTo>
                    <a:lnTo>
                      <a:pt x="243039" y="130459"/>
                    </a:lnTo>
                    <a:lnTo>
                      <a:pt x="243797" y="127429"/>
                    </a:lnTo>
                    <a:lnTo>
                      <a:pt x="243494" y="126217"/>
                    </a:lnTo>
                    <a:lnTo>
                      <a:pt x="242282" y="124853"/>
                    </a:lnTo>
                    <a:lnTo>
                      <a:pt x="240767" y="122277"/>
                    </a:lnTo>
                    <a:lnTo>
                      <a:pt x="240161" y="120004"/>
                    </a:lnTo>
                    <a:lnTo>
                      <a:pt x="242130" y="117429"/>
                    </a:lnTo>
                    <a:lnTo>
                      <a:pt x="242585" y="115459"/>
                    </a:lnTo>
                    <a:lnTo>
                      <a:pt x="243494" y="112731"/>
                    </a:lnTo>
                    <a:lnTo>
                      <a:pt x="244100" y="111216"/>
                    </a:lnTo>
                    <a:lnTo>
                      <a:pt x="244251" y="110762"/>
                    </a:lnTo>
                    <a:lnTo>
                      <a:pt x="242888" y="109701"/>
                    </a:lnTo>
                    <a:lnTo>
                      <a:pt x="242585" y="108186"/>
                    </a:lnTo>
                    <a:lnTo>
                      <a:pt x="242888" y="106064"/>
                    </a:lnTo>
                    <a:lnTo>
                      <a:pt x="242130" y="104549"/>
                    </a:lnTo>
                    <a:lnTo>
                      <a:pt x="240312" y="103489"/>
                    </a:lnTo>
                    <a:lnTo>
                      <a:pt x="239100" y="102125"/>
                    </a:lnTo>
                    <a:lnTo>
                      <a:pt x="238645" y="100458"/>
                    </a:lnTo>
                    <a:lnTo>
                      <a:pt x="239100" y="97882"/>
                    </a:lnTo>
                    <a:lnTo>
                      <a:pt x="240463" y="94246"/>
                    </a:lnTo>
                    <a:lnTo>
                      <a:pt x="237585" y="90003"/>
                    </a:lnTo>
                    <a:lnTo>
                      <a:pt x="230463" y="85003"/>
                    </a:lnTo>
                    <a:lnTo>
                      <a:pt x="226978" y="81518"/>
                    </a:lnTo>
                    <a:lnTo>
                      <a:pt x="227281" y="79548"/>
                    </a:lnTo>
                    <a:lnTo>
                      <a:pt x="228796" y="77730"/>
                    </a:lnTo>
                    <a:lnTo>
                      <a:pt x="231524" y="76063"/>
                    </a:lnTo>
                    <a:lnTo>
                      <a:pt x="233645" y="73185"/>
                    </a:lnTo>
                    <a:lnTo>
                      <a:pt x="234857" y="69699"/>
                    </a:lnTo>
                    <a:lnTo>
                      <a:pt x="234857" y="69093"/>
                    </a:lnTo>
                    <a:lnTo>
                      <a:pt x="234857" y="66669"/>
                    </a:lnTo>
                    <a:lnTo>
                      <a:pt x="231675" y="56517"/>
                    </a:lnTo>
                    <a:lnTo>
                      <a:pt x="231221" y="53941"/>
                    </a:lnTo>
                    <a:lnTo>
                      <a:pt x="230918" y="50911"/>
                    </a:lnTo>
                    <a:lnTo>
                      <a:pt x="230766" y="50002"/>
                    </a:lnTo>
                    <a:lnTo>
                      <a:pt x="230463" y="49850"/>
                    </a:lnTo>
                    <a:lnTo>
                      <a:pt x="224251" y="48487"/>
                    </a:lnTo>
                    <a:lnTo>
                      <a:pt x="222281" y="47274"/>
                    </a:lnTo>
                    <a:lnTo>
                      <a:pt x="219857" y="45305"/>
                    </a:lnTo>
                    <a:lnTo>
                      <a:pt x="218645" y="39092"/>
                    </a:lnTo>
                    <a:lnTo>
                      <a:pt x="215917" y="34092"/>
                    </a:lnTo>
                    <a:lnTo>
                      <a:pt x="208341" y="34547"/>
                    </a:lnTo>
                    <a:lnTo>
                      <a:pt x="200159" y="29243"/>
                    </a:lnTo>
                    <a:lnTo>
                      <a:pt x="196977" y="24395"/>
                    </a:lnTo>
                    <a:lnTo>
                      <a:pt x="193341" y="23940"/>
                    </a:lnTo>
                    <a:lnTo>
                      <a:pt x="190159" y="23031"/>
                    </a:lnTo>
                    <a:lnTo>
                      <a:pt x="184553" y="22274"/>
                    </a:lnTo>
                    <a:lnTo>
                      <a:pt x="179098" y="26819"/>
                    </a:lnTo>
                    <a:lnTo>
                      <a:pt x="176825" y="29243"/>
                    </a:lnTo>
                    <a:lnTo>
                      <a:pt x="173340" y="31365"/>
                    </a:lnTo>
                    <a:lnTo>
                      <a:pt x="171825" y="33486"/>
                    </a:lnTo>
                    <a:lnTo>
                      <a:pt x="163188" y="34395"/>
                    </a:lnTo>
                    <a:lnTo>
                      <a:pt x="160612" y="35607"/>
                    </a:lnTo>
                    <a:lnTo>
                      <a:pt x="154097" y="41214"/>
                    </a:lnTo>
                    <a:lnTo>
                      <a:pt x="152430" y="41971"/>
                    </a:lnTo>
                    <a:lnTo>
                      <a:pt x="144399" y="39547"/>
                    </a:lnTo>
                    <a:lnTo>
                      <a:pt x="139248" y="40001"/>
                    </a:lnTo>
                    <a:lnTo>
                      <a:pt x="137581" y="39395"/>
                    </a:lnTo>
                    <a:lnTo>
                      <a:pt x="136369" y="36971"/>
                    </a:lnTo>
                    <a:lnTo>
                      <a:pt x="141824" y="33032"/>
                    </a:lnTo>
                    <a:lnTo>
                      <a:pt x="143339" y="29243"/>
                    </a:lnTo>
                    <a:lnTo>
                      <a:pt x="141975" y="25455"/>
                    </a:lnTo>
                    <a:lnTo>
                      <a:pt x="140460" y="25607"/>
                    </a:lnTo>
                    <a:lnTo>
                      <a:pt x="134248" y="27880"/>
                    </a:lnTo>
                    <a:lnTo>
                      <a:pt x="124096" y="23334"/>
                    </a:lnTo>
                    <a:lnTo>
                      <a:pt x="120005" y="24395"/>
                    </a:lnTo>
                    <a:lnTo>
                      <a:pt x="118792" y="22880"/>
                    </a:lnTo>
                    <a:lnTo>
                      <a:pt x="118035" y="21364"/>
                    </a:lnTo>
                    <a:lnTo>
                      <a:pt x="110459" y="21970"/>
                    </a:lnTo>
                    <a:lnTo>
                      <a:pt x="112429" y="20304"/>
                    </a:lnTo>
                    <a:lnTo>
                      <a:pt x="114853" y="17728"/>
                    </a:lnTo>
                    <a:lnTo>
                      <a:pt x="114701" y="14243"/>
                    </a:lnTo>
                    <a:lnTo>
                      <a:pt x="112883" y="11819"/>
                    </a:lnTo>
                    <a:lnTo>
                      <a:pt x="111216" y="10152"/>
                    </a:lnTo>
                    <a:lnTo>
                      <a:pt x="107277" y="9091"/>
                    </a:lnTo>
                    <a:lnTo>
                      <a:pt x="107125" y="8334"/>
                    </a:lnTo>
                    <a:lnTo>
                      <a:pt x="106671" y="8334"/>
                    </a:lnTo>
                    <a:lnTo>
                      <a:pt x="104853" y="8031"/>
                    </a:lnTo>
                    <a:lnTo>
                      <a:pt x="103640" y="7273"/>
                    </a:lnTo>
                    <a:lnTo>
                      <a:pt x="100458" y="7879"/>
                    </a:lnTo>
                    <a:lnTo>
                      <a:pt x="96216" y="9243"/>
                    </a:lnTo>
                    <a:lnTo>
                      <a:pt x="93791" y="9243"/>
                    </a:lnTo>
                    <a:lnTo>
                      <a:pt x="91973" y="7879"/>
                    </a:lnTo>
                    <a:lnTo>
                      <a:pt x="84246" y="5909"/>
                    </a:lnTo>
                    <a:lnTo>
                      <a:pt x="82731" y="5909"/>
                    </a:lnTo>
                    <a:lnTo>
                      <a:pt x="77579" y="5758"/>
                    </a:lnTo>
                    <a:lnTo>
                      <a:pt x="77579" y="5758"/>
                    </a:lnTo>
                    <a:lnTo>
                      <a:pt x="77882" y="10000"/>
                    </a:lnTo>
                    <a:lnTo>
                      <a:pt x="80761" y="13637"/>
                    </a:lnTo>
                    <a:lnTo>
                      <a:pt x="83185" y="17425"/>
                    </a:lnTo>
                    <a:lnTo>
                      <a:pt x="85306" y="19546"/>
                    </a:lnTo>
                    <a:lnTo>
                      <a:pt x="85155" y="22274"/>
                    </a:lnTo>
                    <a:lnTo>
                      <a:pt x="81822" y="23789"/>
                    </a:lnTo>
                    <a:lnTo>
                      <a:pt x="76821" y="24849"/>
                    </a:lnTo>
                    <a:lnTo>
                      <a:pt x="76215" y="26516"/>
                    </a:lnTo>
                    <a:lnTo>
                      <a:pt x="76669" y="28789"/>
                    </a:lnTo>
                    <a:lnTo>
                      <a:pt x="79094" y="28789"/>
                    </a:lnTo>
                    <a:lnTo>
                      <a:pt x="80306" y="28183"/>
                    </a:lnTo>
                    <a:lnTo>
                      <a:pt x="82276" y="28637"/>
                    </a:lnTo>
                    <a:lnTo>
                      <a:pt x="83791" y="30153"/>
                    </a:lnTo>
                    <a:lnTo>
                      <a:pt x="83640" y="40001"/>
                    </a:lnTo>
                    <a:lnTo>
                      <a:pt x="84094" y="41365"/>
                    </a:lnTo>
                    <a:lnTo>
                      <a:pt x="85610" y="42880"/>
                    </a:lnTo>
                    <a:lnTo>
                      <a:pt x="88185" y="43789"/>
                    </a:lnTo>
                    <a:lnTo>
                      <a:pt x="92276" y="44092"/>
                    </a:lnTo>
                    <a:lnTo>
                      <a:pt x="94852" y="45305"/>
                    </a:lnTo>
                    <a:lnTo>
                      <a:pt x="103640" y="55002"/>
                    </a:lnTo>
                    <a:lnTo>
                      <a:pt x="107883" y="56669"/>
                    </a:lnTo>
                    <a:lnTo>
                      <a:pt x="104853" y="56214"/>
                    </a:lnTo>
                    <a:lnTo>
                      <a:pt x="102428" y="54851"/>
                    </a:lnTo>
                    <a:lnTo>
                      <a:pt x="95155" y="46820"/>
                    </a:lnTo>
                    <a:lnTo>
                      <a:pt x="91973" y="45305"/>
                    </a:lnTo>
                    <a:lnTo>
                      <a:pt x="83488" y="46062"/>
                    </a:lnTo>
                    <a:lnTo>
                      <a:pt x="75912" y="44547"/>
                    </a:lnTo>
                    <a:lnTo>
                      <a:pt x="74700" y="45911"/>
                    </a:lnTo>
                    <a:lnTo>
                      <a:pt x="73336" y="48032"/>
                    </a:lnTo>
                    <a:lnTo>
                      <a:pt x="72730" y="52123"/>
                    </a:lnTo>
                    <a:lnTo>
                      <a:pt x="73639" y="56366"/>
                    </a:lnTo>
                    <a:lnTo>
                      <a:pt x="72427" y="62427"/>
                    </a:lnTo>
                    <a:lnTo>
                      <a:pt x="72427" y="57881"/>
                    </a:lnTo>
                    <a:lnTo>
                      <a:pt x="71367" y="56517"/>
                    </a:lnTo>
                    <a:lnTo>
                      <a:pt x="68184" y="54547"/>
                    </a:lnTo>
                    <a:lnTo>
                      <a:pt x="67275" y="55305"/>
                    </a:lnTo>
                    <a:lnTo>
                      <a:pt x="66670" y="58032"/>
                    </a:lnTo>
                    <a:lnTo>
                      <a:pt x="65760" y="60457"/>
                    </a:lnTo>
                    <a:lnTo>
                      <a:pt x="64548" y="60911"/>
                    </a:lnTo>
                    <a:lnTo>
                      <a:pt x="61972" y="59548"/>
                    </a:lnTo>
                    <a:lnTo>
                      <a:pt x="63639" y="56669"/>
                    </a:lnTo>
                    <a:lnTo>
                      <a:pt x="59396" y="51214"/>
                    </a:lnTo>
                    <a:lnTo>
                      <a:pt x="48941" y="50911"/>
                    </a:lnTo>
                    <a:lnTo>
                      <a:pt x="39547" y="51517"/>
                    </a:lnTo>
                    <a:lnTo>
                      <a:pt x="37426" y="52578"/>
                    </a:lnTo>
                    <a:lnTo>
                      <a:pt x="34698" y="56214"/>
                    </a:lnTo>
                    <a:lnTo>
                      <a:pt x="33789" y="59245"/>
                    </a:lnTo>
                    <a:lnTo>
                      <a:pt x="33183" y="63033"/>
                    </a:lnTo>
                    <a:lnTo>
                      <a:pt x="35910" y="64851"/>
                    </a:lnTo>
                    <a:lnTo>
                      <a:pt x="37123" y="66518"/>
                    </a:lnTo>
                    <a:lnTo>
                      <a:pt x="36971" y="70003"/>
                    </a:lnTo>
                    <a:lnTo>
                      <a:pt x="36971" y="76973"/>
                    </a:lnTo>
                    <a:lnTo>
                      <a:pt x="36668" y="78185"/>
                    </a:lnTo>
                    <a:lnTo>
                      <a:pt x="35001" y="81064"/>
                    </a:lnTo>
                    <a:lnTo>
                      <a:pt x="33183" y="86367"/>
                    </a:lnTo>
                    <a:lnTo>
                      <a:pt x="32729" y="89852"/>
                    </a:lnTo>
                    <a:lnTo>
                      <a:pt x="32122" y="90458"/>
                    </a:lnTo>
                    <a:lnTo>
                      <a:pt x="24850" y="90458"/>
                    </a:lnTo>
                    <a:lnTo>
                      <a:pt x="23789" y="91064"/>
                    </a:lnTo>
                    <a:lnTo>
                      <a:pt x="23637" y="91821"/>
                    </a:lnTo>
                    <a:lnTo>
                      <a:pt x="23941" y="92731"/>
                    </a:lnTo>
                    <a:lnTo>
                      <a:pt x="23789" y="93640"/>
                    </a:lnTo>
                    <a:lnTo>
                      <a:pt x="23183" y="94397"/>
                    </a:lnTo>
                    <a:lnTo>
                      <a:pt x="23486" y="95610"/>
                    </a:lnTo>
                    <a:lnTo>
                      <a:pt x="24698" y="96973"/>
                    </a:lnTo>
                    <a:lnTo>
                      <a:pt x="26971" y="97731"/>
                    </a:lnTo>
                    <a:lnTo>
                      <a:pt x="29395" y="97731"/>
                    </a:lnTo>
                    <a:lnTo>
                      <a:pt x="30607" y="97579"/>
                    </a:lnTo>
                    <a:lnTo>
                      <a:pt x="31517" y="98488"/>
                    </a:lnTo>
                    <a:lnTo>
                      <a:pt x="32426" y="99852"/>
                    </a:lnTo>
                    <a:lnTo>
                      <a:pt x="32426" y="101670"/>
                    </a:lnTo>
                    <a:lnTo>
                      <a:pt x="32122" y="104095"/>
                    </a:lnTo>
                    <a:lnTo>
                      <a:pt x="30910" y="106367"/>
                    </a:lnTo>
                    <a:lnTo>
                      <a:pt x="27577" y="108943"/>
                    </a:lnTo>
                    <a:lnTo>
                      <a:pt x="26062" y="109852"/>
                    </a:lnTo>
                    <a:lnTo>
                      <a:pt x="24698" y="110307"/>
                    </a:lnTo>
                    <a:lnTo>
                      <a:pt x="24092" y="110913"/>
                    </a:lnTo>
                    <a:lnTo>
                      <a:pt x="23789" y="111822"/>
                    </a:lnTo>
                    <a:lnTo>
                      <a:pt x="23789" y="112580"/>
                    </a:lnTo>
                    <a:lnTo>
                      <a:pt x="26213" y="114701"/>
                    </a:lnTo>
                    <a:lnTo>
                      <a:pt x="26213" y="115156"/>
                    </a:lnTo>
                    <a:lnTo>
                      <a:pt x="25456" y="116216"/>
                    </a:lnTo>
                    <a:lnTo>
                      <a:pt x="24546" y="117277"/>
                    </a:lnTo>
                    <a:lnTo>
                      <a:pt x="18486" y="119398"/>
                    </a:lnTo>
                    <a:lnTo>
                      <a:pt x="15910" y="119247"/>
                    </a:lnTo>
                    <a:lnTo>
                      <a:pt x="14395" y="120307"/>
                    </a:lnTo>
                    <a:lnTo>
                      <a:pt x="13940" y="120459"/>
                    </a:lnTo>
                    <a:lnTo>
                      <a:pt x="12273" y="119550"/>
                    </a:lnTo>
                    <a:lnTo>
                      <a:pt x="8637" y="118489"/>
                    </a:lnTo>
                    <a:lnTo>
                      <a:pt x="7273" y="118792"/>
                    </a:lnTo>
                    <a:lnTo>
                      <a:pt x="6516" y="119398"/>
                    </a:lnTo>
                    <a:lnTo>
                      <a:pt x="4243" y="120156"/>
                    </a:lnTo>
                    <a:lnTo>
                      <a:pt x="2576" y="121368"/>
                    </a:lnTo>
                    <a:lnTo>
                      <a:pt x="2576" y="122883"/>
                    </a:lnTo>
                    <a:lnTo>
                      <a:pt x="5455" y="126671"/>
                    </a:lnTo>
                    <a:lnTo>
                      <a:pt x="6516" y="127429"/>
                    </a:lnTo>
                    <a:lnTo>
                      <a:pt x="6516" y="128793"/>
                    </a:lnTo>
                    <a:lnTo>
                      <a:pt x="7879" y="130611"/>
                    </a:lnTo>
                    <a:lnTo>
                      <a:pt x="9243" y="132884"/>
                    </a:lnTo>
                    <a:lnTo>
                      <a:pt x="9394" y="134247"/>
                    </a:lnTo>
                    <a:lnTo>
                      <a:pt x="9243" y="135611"/>
                    </a:lnTo>
                    <a:lnTo>
                      <a:pt x="8485" y="137581"/>
                    </a:lnTo>
                    <a:lnTo>
                      <a:pt x="6061" y="142278"/>
                    </a:lnTo>
                    <a:lnTo>
                      <a:pt x="6061" y="143187"/>
                    </a:lnTo>
                    <a:lnTo>
                      <a:pt x="6212" y="143945"/>
                    </a:lnTo>
                    <a:lnTo>
                      <a:pt x="7121" y="144096"/>
                    </a:lnTo>
                    <a:lnTo>
                      <a:pt x="7728" y="144399"/>
                    </a:lnTo>
                    <a:lnTo>
                      <a:pt x="7576" y="145005"/>
                    </a:lnTo>
                    <a:lnTo>
                      <a:pt x="2879" y="148339"/>
                    </a:lnTo>
                    <a:lnTo>
                      <a:pt x="2273" y="148945"/>
                    </a:lnTo>
                    <a:lnTo>
                      <a:pt x="303" y="148793"/>
                    </a:lnTo>
                    <a:lnTo>
                      <a:pt x="0" y="149399"/>
                    </a:lnTo>
                    <a:lnTo>
                      <a:pt x="303" y="150308"/>
                    </a:lnTo>
                    <a:lnTo>
                      <a:pt x="1061" y="151066"/>
                    </a:lnTo>
                    <a:lnTo>
                      <a:pt x="2728" y="151521"/>
                    </a:lnTo>
                    <a:lnTo>
                      <a:pt x="4091" y="152278"/>
                    </a:lnTo>
                    <a:lnTo>
                      <a:pt x="5303" y="153945"/>
                    </a:lnTo>
                    <a:lnTo>
                      <a:pt x="3788" y="159551"/>
                    </a:lnTo>
                    <a:lnTo>
                      <a:pt x="4091" y="160157"/>
                    </a:lnTo>
                    <a:lnTo>
                      <a:pt x="7121" y="162127"/>
                    </a:lnTo>
                    <a:lnTo>
                      <a:pt x="8031" y="163642"/>
                    </a:lnTo>
                    <a:lnTo>
                      <a:pt x="10304" y="165158"/>
                    </a:lnTo>
                    <a:lnTo>
                      <a:pt x="8485" y="166976"/>
                    </a:lnTo>
                    <a:lnTo>
                      <a:pt x="8788" y="167733"/>
                    </a:lnTo>
                    <a:lnTo>
                      <a:pt x="9394" y="168642"/>
                    </a:lnTo>
                    <a:lnTo>
                      <a:pt x="11970" y="169097"/>
                    </a:lnTo>
                    <a:lnTo>
                      <a:pt x="13182" y="170309"/>
                    </a:lnTo>
                    <a:lnTo>
                      <a:pt x="13182" y="172128"/>
                    </a:lnTo>
                    <a:lnTo>
                      <a:pt x="13788" y="175158"/>
                    </a:lnTo>
                    <a:lnTo>
                      <a:pt x="8637" y="178188"/>
                    </a:lnTo>
                    <a:lnTo>
                      <a:pt x="7121" y="181522"/>
                    </a:lnTo>
                    <a:lnTo>
                      <a:pt x="6970" y="182128"/>
                    </a:lnTo>
                    <a:lnTo>
                      <a:pt x="6819" y="183037"/>
                    </a:lnTo>
                    <a:lnTo>
                      <a:pt x="6819" y="185158"/>
                    </a:lnTo>
                    <a:lnTo>
                      <a:pt x="7576" y="187280"/>
                    </a:lnTo>
                    <a:lnTo>
                      <a:pt x="9394" y="189401"/>
                    </a:lnTo>
                    <a:lnTo>
                      <a:pt x="10758" y="190916"/>
                    </a:lnTo>
                    <a:lnTo>
                      <a:pt x="12576" y="192128"/>
                    </a:lnTo>
                    <a:lnTo>
                      <a:pt x="15758" y="193340"/>
                    </a:lnTo>
                    <a:lnTo>
                      <a:pt x="16970" y="193643"/>
                    </a:lnTo>
                    <a:lnTo>
                      <a:pt x="17122" y="195159"/>
                    </a:lnTo>
                    <a:lnTo>
                      <a:pt x="16819" y="196825"/>
                    </a:lnTo>
                    <a:lnTo>
                      <a:pt x="15758" y="197735"/>
                    </a:lnTo>
                    <a:lnTo>
                      <a:pt x="14698" y="199098"/>
                    </a:lnTo>
                    <a:lnTo>
                      <a:pt x="13940" y="200765"/>
                    </a:lnTo>
                    <a:lnTo>
                      <a:pt x="13182" y="203795"/>
                    </a:lnTo>
                    <a:lnTo>
                      <a:pt x="13031" y="205917"/>
                    </a:lnTo>
                    <a:lnTo>
                      <a:pt x="14092" y="205765"/>
                    </a:lnTo>
                    <a:lnTo>
                      <a:pt x="16213" y="206371"/>
                    </a:lnTo>
                    <a:lnTo>
                      <a:pt x="18334" y="208038"/>
                    </a:lnTo>
                    <a:lnTo>
                      <a:pt x="19243" y="209705"/>
                    </a:lnTo>
                    <a:lnTo>
                      <a:pt x="19546" y="210614"/>
                    </a:lnTo>
                    <a:lnTo>
                      <a:pt x="20455" y="211674"/>
                    </a:lnTo>
                    <a:lnTo>
                      <a:pt x="23941" y="216220"/>
                    </a:lnTo>
                    <a:lnTo>
                      <a:pt x="25001" y="216372"/>
                    </a:lnTo>
                    <a:lnTo>
                      <a:pt x="26213" y="215614"/>
                    </a:lnTo>
                    <a:lnTo>
                      <a:pt x="26971" y="214553"/>
                    </a:lnTo>
                    <a:lnTo>
                      <a:pt x="28183" y="214402"/>
                    </a:lnTo>
                    <a:lnTo>
                      <a:pt x="30001" y="214856"/>
                    </a:lnTo>
                    <a:lnTo>
                      <a:pt x="31213" y="215311"/>
                    </a:lnTo>
                    <a:lnTo>
                      <a:pt x="31819" y="217281"/>
                    </a:lnTo>
                    <a:lnTo>
                      <a:pt x="32274" y="217735"/>
                    </a:lnTo>
                    <a:lnTo>
                      <a:pt x="33032" y="217281"/>
                    </a:lnTo>
                    <a:lnTo>
                      <a:pt x="34396" y="217129"/>
                    </a:lnTo>
                    <a:lnTo>
                      <a:pt x="36668" y="217584"/>
                    </a:lnTo>
                    <a:lnTo>
                      <a:pt x="39698" y="216978"/>
                    </a:lnTo>
                    <a:lnTo>
                      <a:pt x="42123" y="216220"/>
                    </a:lnTo>
                    <a:lnTo>
                      <a:pt x="43335" y="216220"/>
                    </a:lnTo>
                    <a:lnTo>
                      <a:pt x="45456" y="218493"/>
                    </a:lnTo>
                    <a:lnTo>
                      <a:pt x="47729" y="219402"/>
                    </a:lnTo>
                    <a:lnTo>
                      <a:pt x="52881" y="220160"/>
                    </a:lnTo>
                    <a:lnTo>
                      <a:pt x="58336" y="221220"/>
                    </a:lnTo>
                    <a:lnTo>
                      <a:pt x="60457" y="222129"/>
                    </a:lnTo>
                    <a:lnTo>
                      <a:pt x="61972" y="222584"/>
                    </a:lnTo>
                    <a:lnTo>
                      <a:pt x="62124" y="225614"/>
                    </a:lnTo>
                    <a:lnTo>
                      <a:pt x="61669" y="226069"/>
                    </a:lnTo>
                    <a:lnTo>
                      <a:pt x="56215" y="232281"/>
                    </a:lnTo>
                    <a:lnTo>
                      <a:pt x="53941" y="234403"/>
                    </a:lnTo>
                    <a:lnTo>
                      <a:pt x="52729" y="237584"/>
                    </a:lnTo>
                    <a:lnTo>
                      <a:pt x="51972" y="242433"/>
                    </a:lnTo>
                    <a:lnTo>
                      <a:pt x="50305" y="246979"/>
                    </a:lnTo>
                    <a:lnTo>
                      <a:pt x="47881" y="251221"/>
                    </a:lnTo>
                    <a:lnTo>
                      <a:pt x="46972" y="254403"/>
                    </a:lnTo>
                    <a:lnTo>
                      <a:pt x="47578" y="256525"/>
                    </a:lnTo>
                    <a:lnTo>
                      <a:pt x="47123" y="259858"/>
                    </a:lnTo>
                    <a:lnTo>
                      <a:pt x="45608" y="264404"/>
                    </a:lnTo>
                    <a:lnTo>
                      <a:pt x="45305" y="267889"/>
                    </a:lnTo>
                    <a:lnTo>
                      <a:pt x="46365" y="270161"/>
                    </a:lnTo>
                    <a:lnTo>
                      <a:pt x="47729" y="270616"/>
                    </a:lnTo>
                    <a:lnTo>
                      <a:pt x="50002" y="271373"/>
                    </a:lnTo>
                    <a:lnTo>
                      <a:pt x="56215" y="271525"/>
                    </a:lnTo>
                    <a:lnTo>
                      <a:pt x="60760" y="271070"/>
                    </a:lnTo>
                    <a:lnTo>
                      <a:pt x="63639" y="270010"/>
                    </a:lnTo>
                    <a:lnTo>
                      <a:pt x="68336" y="270010"/>
                    </a:lnTo>
                    <a:lnTo>
                      <a:pt x="70760" y="270616"/>
                    </a:lnTo>
                    <a:lnTo>
                      <a:pt x="71215" y="270464"/>
                    </a:lnTo>
                    <a:lnTo>
                      <a:pt x="71821" y="270313"/>
                    </a:lnTo>
                    <a:lnTo>
                      <a:pt x="72427" y="269707"/>
                    </a:lnTo>
                    <a:lnTo>
                      <a:pt x="74700" y="269252"/>
                    </a:lnTo>
                    <a:lnTo>
                      <a:pt x="75003" y="268798"/>
                    </a:lnTo>
                    <a:lnTo>
                      <a:pt x="74851" y="268343"/>
                    </a:lnTo>
                    <a:lnTo>
                      <a:pt x="74397" y="268040"/>
                    </a:lnTo>
                    <a:lnTo>
                      <a:pt x="71669" y="268343"/>
                    </a:lnTo>
                    <a:lnTo>
                      <a:pt x="70609" y="268040"/>
                    </a:lnTo>
                    <a:lnTo>
                      <a:pt x="70306" y="267131"/>
                    </a:lnTo>
                    <a:lnTo>
                      <a:pt x="71215" y="265616"/>
                    </a:lnTo>
                    <a:lnTo>
                      <a:pt x="73185" y="264404"/>
                    </a:lnTo>
                    <a:lnTo>
                      <a:pt x="74851" y="264101"/>
                    </a:lnTo>
                    <a:lnTo>
                      <a:pt x="76064" y="264404"/>
                    </a:lnTo>
                    <a:lnTo>
                      <a:pt x="79094" y="266676"/>
                    </a:lnTo>
                    <a:lnTo>
                      <a:pt x="79852" y="266676"/>
                    </a:lnTo>
                    <a:lnTo>
                      <a:pt x="80306" y="266222"/>
                    </a:lnTo>
                    <a:lnTo>
                      <a:pt x="80912" y="265919"/>
                    </a:lnTo>
                    <a:lnTo>
                      <a:pt x="81973" y="266373"/>
                    </a:lnTo>
                    <a:lnTo>
                      <a:pt x="83185" y="267737"/>
                    </a:lnTo>
                    <a:lnTo>
                      <a:pt x="83336" y="267889"/>
                    </a:lnTo>
                    <a:lnTo>
                      <a:pt x="90003" y="267434"/>
                    </a:lnTo>
                    <a:lnTo>
                      <a:pt x="91519" y="267434"/>
                    </a:lnTo>
                    <a:lnTo>
                      <a:pt x="89549" y="263949"/>
                    </a:lnTo>
                    <a:lnTo>
                      <a:pt x="90003" y="263646"/>
                    </a:lnTo>
                    <a:lnTo>
                      <a:pt x="92731" y="265313"/>
                    </a:lnTo>
                    <a:lnTo>
                      <a:pt x="96670" y="267282"/>
                    </a:lnTo>
                    <a:lnTo>
                      <a:pt x="100458" y="269101"/>
                    </a:lnTo>
                    <a:lnTo>
                      <a:pt x="104095" y="271070"/>
                    </a:lnTo>
                    <a:lnTo>
                      <a:pt x="105459" y="271828"/>
                    </a:lnTo>
                    <a:lnTo>
                      <a:pt x="106065" y="271525"/>
                    </a:lnTo>
                    <a:lnTo>
                      <a:pt x="106974" y="270616"/>
                    </a:lnTo>
                    <a:lnTo>
                      <a:pt x="109398" y="271373"/>
                    </a:lnTo>
                    <a:lnTo>
                      <a:pt x="113035" y="273040"/>
                    </a:lnTo>
                    <a:lnTo>
                      <a:pt x="114701" y="274101"/>
                    </a:lnTo>
                    <a:lnTo>
                      <a:pt x="115459" y="275010"/>
                    </a:lnTo>
                    <a:lnTo>
                      <a:pt x="115914" y="275768"/>
                    </a:lnTo>
                    <a:lnTo>
                      <a:pt x="115762" y="276980"/>
                    </a:lnTo>
                    <a:lnTo>
                      <a:pt x="116520" y="277434"/>
                    </a:lnTo>
                    <a:lnTo>
                      <a:pt x="118186" y="277586"/>
                    </a:lnTo>
                    <a:lnTo>
                      <a:pt x="119247" y="277889"/>
                    </a:lnTo>
                    <a:lnTo>
                      <a:pt x="118792" y="279556"/>
                    </a:lnTo>
                    <a:lnTo>
                      <a:pt x="118641" y="280919"/>
                    </a:lnTo>
                    <a:lnTo>
                      <a:pt x="120156" y="280768"/>
                    </a:lnTo>
                    <a:lnTo>
                      <a:pt x="122126" y="279707"/>
                    </a:lnTo>
                    <a:lnTo>
                      <a:pt x="123641" y="277889"/>
                    </a:lnTo>
                    <a:lnTo>
                      <a:pt x="124550" y="276071"/>
                    </a:lnTo>
                    <a:lnTo>
                      <a:pt x="125308" y="271828"/>
                    </a:lnTo>
                    <a:lnTo>
                      <a:pt x="125611" y="271525"/>
                    </a:lnTo>
                    <a:lnTo>
                      <a:pt x="126823" y="271828"/>
                    </a:lnTo>
                    <a:lnTo>
                      <a:pt x="131672" y="271677"/>
                    </a:lnTo>
                    <a:lnTo>
                      <a:pt x="133944" y="272434"/>
                    </a:lnTo>
                    <a:lnTo>
                      <a:pt x="137581" y="272586"/>
                    </a:lnTo>
                    <a:lnTo>
                      <a:pt x="137581" y="273192"/>
                    </a:lnTo>
                    <a:lnTo>
                      <a:pt x="138187" y="274252"/>
                    </a:lnTo>
                    <a:lnTo>
                      <a:pt x="139854" y="275768"/>
                    </a:lnTo>
                    <a:lnTo>
                      <a:pt x="140611" y="276828"/>
                    </a:lnTo>
                    <a:lnTo>
                      <a:pt x="142278" y="276980"/>
                    </a:lnTo>
                    <a:lnTo>
                      <a:pt x="144854" y="276374"/>
                    </a:lnTo>
                    <a:lnTo>
                      <a:pt x="146369" y="275768"/>
                    </a:lnTo>
                    <a:lnTo>
                      <a:pt x="146975" y="276222"/>
                    </a:lnTo>
                    <a:lnTo>
                      <a:pt x="149400" y="275768"/>
                    </a:lnTo>
                    <a:lnTo>
                      <a:pt x="151521" y="274556"/>
                    </a:lnTo>
                    <a:lnTo>
                      <a:pt x="151975" y="273646"/>
                    </a:lnTo>
                    <a:lnTo>
                      <a:pt x="154097" y="273040"/>
                    </a:lnTo>
                    <a:lnTo>
                      <a:pt x="156976" y="271525"/>
                    </a:lnTo>
                    <a:lnTo>
                      <a:pt x="160915" y="270313"/>
                    </a:lnTo>
                    <a:lnTo>
                      <a:pt x="173794" y="269101"/>
                    </a:lnTo>
                    <a:lnTo>
                      <a:pt x="174249" y="268192"/>
                    </a:lnTo>
                    <a:lnTo>
                      <a:pt x="174098" y="266070"/>
                    </a:lnTo>
                    <a:lnTo>
                      <a:pt x="174401" y="265767"/>
                    </a:lnTo>
                    <a:lnTo>
                      <a:pt x="176067" y="266373"/>
                    </a:lnTo>
                    <a:lnTo>
                      <a:pt x="178643" y="266828"/>
                    </a:lnTo>
                    <a:lnTo>
                      <a:pt x="180613" y="267585"/>
                    </a:lnTo>
                    <a:lnTo>
                      <a:pt x="181977" y="268646"/>
                    </a:lnTo>
                    <a:lnTo>
                      <a:pt x="183189" y="268646"/>
                    </a:lnTo>
                    <a:lnTo>
                      <a:pt x="185007" y="267889"/>
                    </a:lnTo>
                    <a:lnTo>
                      <a:pt x="187583" y="267434"/>
                    </a:lnTo>
                    <a:lnTo>
                      <a:pt x="189856" y="268495"/>
                    </a:lnTo>
                    <a:lnTo>
                      <a:pt x="190462" y="269555"/>
                    </a:lnTo>
                    <a:lnTo>
                      <a:pt x="190007" y="270161"/>
                    </a:lnTo>
                    <a:lnTo>
                      <a:pt x="190007" y="271070"/>
                    </a:lnTo>
                    <a:lnTo>
                      <a:pt x="190765" y="271828"/>
                    </a:lnTo>
                    <a:lnTo>
                      <a:pt x="192734" y="273040"/>
                    </a:lnTo>
                    <a:lnTo>
                      <a:pt x="195159" y="274101"/>
                    </a:lnTo>
                    <a:lnTo>
                      <a:pt x="196371" y="273949"/>
                    </a:lnTo>
                    <a:lnTo>
                      <a:pt x="196826" y="272889"/>
                    </a:lnTo>
                    <a:lnTo>
                      <a:pt x="197280" y="270464"/>
                    </a:lnTo>
                    <a:lnTo>
                      <a:pt x="197432" y="267889"/>
                    </a:lnTo>
                    <a:lnTo>
                      <a:pt x="196826" y="266373"/>
                    </a:lnTo>
                    <a:lnTo>
                      <a:pt x="195462" y="266070"/>
                    </a:lnTo>
                    <a:lnTo>
                      <a:pt x="193947" y="265919"/>
                    </a:lnTo>
                    <a:lnTo>
                      <a:pt x="193189" y="265616"/>
                    </a:lnTo>
                    <a:lnTo>
                      <a:pt x="193492" y="264858"/>
                    </a:lnTo>
                    <a:lnTo>
                      <a:pt x="194704" y="262737"/>
                    </a:lnTo>
                    <a:lnTo>
                      <a:pt x="194704" y="259858"/>
                    </a:lnTo>
                    <a:lnTo>
                      <a:pt x="191825" y="256525"/>
                    </a:lnTo>
                    <a:lnTo>
                      <a:pt x="189401" y="253343"/>
                    </a:lnTo>
                    <a:lnTo>
                      <a:pt x="189401" y="252282"/>
                    </a:lnTo>
                    <a:lnTo>
                      <a:pt x="190916" y="250464"/>
                    </a:lnTo>
                    <a:lnTo>
                      <a:pt x="193189" y="248948"/>
                    </a:lnTo>
                    <a:lnTo>
                      <a:pt x="198189" y="246524"/>
                    </a:lnTo>
                    <a:lnTo>
                      <a:pt x="199856" y="246070"/>
                    </a:lnTo>
                    <a:lnTo>
                      <a:pt x="201977" y="245615"/>
                    </a:lnTo>
                    <a:lnTo>
                      <a:pt x="204856" y="244554"/>
                    </a:lnTo>
                    <a:lnTo>
                      <a:pt x="206220" y="243494"/>
                    </a:lnTo>
                    <a:lnTo>
                      <a:pt x="207129" y="242282"/>
                    </a:lnTo>
                    <a:lnTo>
                      <a:pt x="208493" y="236372"/>
                    </a:lnTo>
                    <a:lnTo>
                      <a:pt x="208796" y="236069"/>
                    </a:lnTo>
                    <a:lnTo>
                      <a:pt x="209250" y="235766"/>
                    </a:lnTo>
                    <a:lnTo>
                      <a:pt x="214402" y="237887"/>
                    </a:lnTo>
                    <a:lnTo>
                      <a:pt x="214857" y="237584"/>
                    </a:lnTo>
                    <a:lnTo>
                      <a:pt x="215766" y="237281"/>
                    </a:lnTo>
                    <a:lnTo>
                      <a:pt x="217432" y="235766"/>
                    </a:lnTo>
                    <a:lnTo>
                      <a:pt x="217735" y="234554"/>
                    </a:lnTo>
                    <a:lnTo>
                      <a:pt x="217735" y="232281"/>
                    </a:lnTo>
                    <a:lnTo>
                      <a:pt x="217887" y="230160"/>
                    </a:lnTo>
                    <a:lnTo>
                      <a:pt x="218190" y="229402"/>
                    </a:lnTo>
                    <a:lnTo>
                      <a:pt x="216978" y="227736"/>
                    </a:lnTo>
                    <a:lnTo>
                      <a:pt x="214705" y="225614"/>
                    </a:lnTo>
                    <a:lnTo>
                      <a:pt x="210917" y="222735"/>
                    </a:lnTo>
                    <a:lnTo>
                      <a:pt x="208038" y="222887"/>
                    </a:lnTo>
                    <a:lnTo>
                      <a:pt x="206977" y="222129"/>
                    </a:lnTo>
                    <a:lnTo>
                      <a:pt x="206523" y="221069"/>
                    </a:lnTo>
                    <a:lnTo>
                      <a:pt x="205311" y="219250"/>
                    </a:lnTo>
                    <a:lnTo>
                      <a:pt x="203947" y="217887"/>
                    </a:lnTo>
                    <a:lnTo>
                      <a:pt x="202280" y="217432"/>
                    </a:lnTo>
                    <a:lnTo>
                      <a:pt x="199856" y="215765"/>
                    </a:lnTo>
                    <a:lnTo>
                      <a:pt x="196674" y="212129"/>
                    </a:lnTo>
                    <a:lnTo>
                      <a:pt x="193795" y="209705"/>
                    </a:lnTo>
                    <a:lnTo>
                      <a:pt x="190916" y="209705"/>
                    </a:lnTo>
                    <a:lnTo>
                      <a:pt x="189098" y="208341"/>
                    </a:lnTo>
                    <a:lnTo>
                      <a:pt x="187280" y="206674"/>
                    </a:lnTo>
                    <a:lnTo>
                      <a:pt x="185916" y="205007"/>
                    </a:lnTo>
                    <a:lnTo>
                      <a:pt x="183795" y="200916"/>
                    </a:lnTo>
                    <a:lnTo>
                      <a:pt x="182279" y="198644"/>
                    </a:lnTo>
                    <a:lnTo>
                      <a:pt x="181068" y="197280"/>
                    </a:lnTo>
                    <a:lnTo>
                      <a:pt x="179704" y="196068"/>
                    </a:lnTo>
                    <a:lnTo>
                      <a:pt x="179249" y="195159"/>
                    </a:lnTo>
                    <a:lnTo>
                      <a:pt x="180916" y="193037"/>
                    </a:lnTo>
                    <a:lnTo>
                      <a:pt x="181522" y="191977"/>
                    </a:lnTo>
                    <a:lnTo>
                      <a:pt x="182279" y="191219"/>
                    </a:lnTo>
                    <a:lnTo>
                      <a:pt x="182734" y="190310"/>
                    </a:lnTo>
                    <a:lnTo>
                      <a:pt x="182734" y="189704"/>
                    </a:lnTo>
                    <a:lnTo>
                      <a:pt x="181219" y="187583"/>
                    </a:lnTo>
                    <a:lnTo>
                      <a:pt x="179249" y="186067"/>
                    </a:lnTo>
                    <a:lnTo>
                      <a:pt x="176370" y="184552"/>
                    </a:lnTo>
                    <a:lnTo>
                      <a:pt x="174552" y="182582"/>
                    </a:lnTo>
                    <a:lnTo>
                      <a:pt x="173794" y="180764"/>
                    </a:lnTo>
                    <a:lnTo>
                      <a:pt x="173643" y="179704"/>
                    </a:lnTo>
                    <a:lnTo>
                      <a:pt x="172279" y="178340"/>
                    </a:lnTo>
                    <a:lnTo>
                      <a:pt x="171219" y="176370"/>
                    </a:lnTo>
                    <a:lnTo>
                      <a:pt x="171219" y="175158"/>
                    </a:lnTo>
                    <a:lnTo>
                      <a:pt x="171522" y="174855"/>
                    </a:lnTo>
                    <a:lnTo>
                      <a:pt x="172431" y="174855"/>
                    </a:lnTo>
                    <a:lnTo>
                      <a:pt x="173491" y="175612"/>
                    </a:lnTo>
                    <a:lnTo>
                      <a:pt x="175007" y="177128"/>
                    </a:lnTo>
                    <a:lnTo>
                      <a:pt x="176219" y="179400"/>
                    </a:lnTo>
                    <a:lnTo>
                      <a:pt x="176977" y="178491"/>
                    </a:lnTo>
                    <a:lnTo>
                      <a:pt x="178491" y="176067"/>
                    </a:lnTo>
                    <a:lnTo>
                      <a:pt x="181068" y="173340"/>
                    </a:lnTo>
                    <a:lnTo>
                      <a:pt x="183643" y="171824"/>
                    </a:lnTo>
                    <a:lnTo>
                      <a:pt x="186067" y="171673"/>
                    </a:lnTo>
                    <a:lnTo>
                      <a:pt x="188037" y="171218"/>
                    </a:lnTo>
                    <a:lnTo>
                      <a:pt x="189704" y="170461"/>
                    </a:lnTo>
                    <a:lnTo>
                      <a:pt x="192583" y="170764"/>
                    </a:lnTo>
                    <a:lnTo>
                      <a:pt x="194553" y="171370"/>
                    </a:lnTo>
                    <a:lnTo>
                      <a:pt x="195159" y="171067"/>
                    </a:lnTo>
                    <a:lnTo>
                      <a:pt x="195917" y="169703"/>
                    </a:lnTo>
                    <a:lnTo>
                      <a:pt x="196371" y="168491"/>
                    </a:lnTo>
                    <a:lnTo>
                      <a:pt x="200917" y="167733"/>
                    </a:lnTo>
                    <a:lnTo>
                      <a:pt x="202432" y="165309"/>
                    </a:lnTo>
                    <a:lnTo>
                      <a:pt x="203341" y="165309"/>
                    </a:lnTo>
                    <a:lnTo>
                      <a:pt x="204402" y="165006"/>
                    </a:lnTo>
                    <a:lnTo>
                      <a:pt x="205311" y="164097"/>
                    </a:lnTo>
                    <a:lnTo>
                      <a:pt x="206220" y="163794"/>
                    </a:lnTo>
                    <a:lnTo>
                      <a:pt x="206977" y="164248"/>
                    </a:lnTo>
                    <a:lnTo>
                      <a:pt x="207887" y="164551"/>
                    </a:lnTo>
                    <a:lnTo>
                      <a:pt x="208947" y="163945"/>
                    </a:lnTo>
                    <a:lnTo>
                      <a:pt x="210463" y="161218"/>
                    </a:lnTo>
                    <a:lnTo>
                      <a:pt x="211220" y="160763"/>
                    </a:lnTo>
                    <a:lnTo>
                      <a:pt x="215160" y="160309"/>
                    </a:lnTo>
                    <a:lnTo>
                      <a:pt x="220614" y="158642"/>
                    </a:lnTo>
                    <a:lnTo>
                      <a:pt x="223342" y="157278"/>
                    </a:lnTo>
                    <a:lnTo>
                      <a:pt x="226069" y="156521"/>
                    </a:lnTo>
                    <a:lnTo>
                      <a:pt x="228948" y="155157"/>
                    </a:lnTo>
                    <a:lnTo>
                      <a:pt x="233494" y="153794"/>
                    </a:lnTo>
                    <a:lnTo>
                      <a:pt x="233645" y="153187"/>
                    </a:lnTo>
                    <a:lnTo>
                      <a:pt x="231524" y="151824"/>
                    </a:lnTo>
                    <a:lnTo>
                      <a:pt x="230766" y="150915"/>
                    </a:lnTo>
                    <a:lnTo>
                      <a:pt x="230312" y="150006"/>
                    </a:lnTo>
                    <a:lnTo>
                      <a:pt x="231069" y="148945"/>
                    </a:lnTo>
                    <a:lnTo>
                      <a:pt x="232130" y="148642"/>
                    </a:lnTo>
                    <a:lnTo>
                      <a:pt x="233494" y="149096"/>
                    </a:lnTo>
                    <a:lnTo>
                      <a:pt x="237282" y="149702"/>
                    </a:lnTo>
                    <a:lnTo>
                      <a:pt x="238342" y="150308"/>
                    </a:lnTo>
                    <a:lnTo>
                      <a:pt x="238797" y="151672"/>
                    </a:lnTo>
                    <a:lnTo>
                      <a:pt x="239706" y="153036"/>
                    </a:lnTo>
                    <a:lnTo>
                      <a:pt x="240463" y="153187"/>
                    </a:lnTo>
                    <a:lnTo>
                      <a:pt x="240161" y="155309"/>
                    </a:lnTo>
                    <a:lnTo>
                      <a:pt x="241373" y="156066"/>
                    </a:lnTo>
                    <a:lnTo>
                      <a:pt x="243191" y="156672"/>
                    </a:lnTo>
                    <a:lnTo>
                      <a:pt x="244403" y="156521"/>
                    </a:lnTo>
                    <a:lnTo>
                      <a:pt x="245312" y="155612"/>
                    </a:lnTo>
                    <a:lnTo>
                      <a:pt x="245616" y="155006"/>
                    </a:lnTo>
                    <a:lnTo>
                      <a:pt x="245767" y="154551"/>
                    </a:lnTo>
                    <a:lnTo>
                      <a:pt x="248646" y="149551"/>
                    </a:lnTo>
                    <a:lnTo>
                      <a:pt x="249858" y="146369"/>
                    </a:lnTo>
                    <a:lnTo>
                      <a:pt x="251373" y="140611"/>
                    </a:lnTo>
                    <a:lnTo>
                      <a:pt x="249555" y="136672"/>
                    </a:lnTo>
                    <a:close/>
                    <a:moveTo>
                      <a:pt x="68791" y="7879"/>
                    </a:moveTo>
                    <a:lnTo>
                      <a:pt x="75760" y="7273"/>
                    </a:lnTo>
                    <a:lnTo>
                      <a:pt x="76518" y="6212"/>
                    </a:lnTo>
                    <a:lnTo>
                      <a:pt x="69700" y="5909"/>
                    </a:lnTo>
                    <a:lnTo>
                      <a:pt x="69397" y="4849"/>
                    </a:lnTo>
                    <a:lnTo>
                      <a:pt x="69851" y="2727"/>
                    </a:lnTo>
                    <a:lnTo>
                      <a:pt x="70154" y="1667"/>
                    </a:lnTo>
                    <a:lnTo>
                      <a:pt x="71518" y="152"/>
                    </a:lnTo>
                    <a:lnTo>
                      <a:pt x="70306" y="0"/>
                    </a:lnTo>
                    <a:lnTo>
                      <a:pt x="67275" y="5758"/>
                    </a:lnTo>
                    <a:lnTo>
                      <a:pt x="66972" y="11061"/>
                    </a:lnTo>
                    <a:lnTo>
                      <a:pt x="67579" y="10303"/>
                    </a:lnTo>
                    <a:lnTo>
                      <a:pt x="68791" y="7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4" name="Freeform: Shape 3303">
                <a:extLst>
                  <a:ext uri="{FF2B5EF4-FFF2-40B4-BE49-F238E27FC236}">
                    <a16:creationId xmlns:a16="http://schemas.microsoft.com/office/drawing/2014/main" id="{B49952E8-6C42-49F7-B322-9D648A6882B9}"/>
                  </a:ext>
                </a:extLst>
              </p:cNvPr>
              <p:cNvSpPr/>
              <p:nvPr/>
            </p:nvSpPr>
            <p:spPr>
              <a:xfrm>
                <a:off x="6107970" y="3036634"/>
                <a:ext cx="184552" cy="87578"/>
              </a:xfrm>
              <a:custGeom>
                <a:avLst/>
                <a:gdLst>
                  <a:gd name="connsiteX0" fmla="*/ 184401 w 184552"/>
                  <a:gd name="connsiteY0" fmla="*/ 53638 h 87578"/>
                  <a:gd name="connsiteX1" fmla="*/ 183795 w 184552"/>
                  <a:gd name="connsiteY1" fmla="*/ 50911 h 87578"/>
                  <a:gd name="connsiteX2" fmla="*/ 178037 w 184552"/>
                  <a:gd name="connsiteY2" fmla="*/ 45911 h 87578"/>
                  <a:gd name="connsiteX3" fmla="*/ 177279 w 184552"/>
                  <a:gd name="connsiteY3" fmla="*/ 43789 h 87578"/>
                  <a:gd name="connsiteX4" fmla="*/ 177431 w 184552"/>
                  <a:gd name="connsiteY4" fmla="*/ 42880 h 87578"/>
                  <a:gd name="connsiteX5" fmla="*/ 177128 w 184552"/>
                  <a:gd name="connsiteY5" fmla="*/ 41517 h 87578"/>
                  <a:gd name="connsiteX6" fmla="*/ 175764 w 184552"/>
                  <a:gd name="connsiteY6" fmla="*/ 40759 h 87578"/>
                  <a:gd name="connsiteX7" fmla="*/ 171218 w 184552"/>
                  <a:gd name="connsiteY7" fmla="*/ 39698 h 87578"/>
                  <a:gd name="connsiteX8" fmla="*/ 170006 w 184552"/>
                  <a:gd name="connsiteY8" fmla="*/ 40304 h 87578"/>
                  <a:gd name="connsiteX9" fmla="*/ 168946 w 184552"/>
                  <a:gd name="connsiteY9" fmla="*/ 39698 h 87578"/>
                  <a:gd name="connsiteX10" fmla="*/ 167279 w 184552"/>
                  <a:gd name="connsiteY10" fmla="*/ 38486 h 87578"/>
                  <a:gd name="connsiteX11" fmla="*/ 164400 w 184552"/>
                  <a:gd name="connsiteY11" fmla="*/ 37426 h 87578"/>
                  <a:gd name="connsiteX12" fmla="*/ 164097 w 184552"/>
                  <a:gd name="connsiteY12" fmla="*/ 36971 h 87578"/>
                  <a:gd name="connsiteX13" fmla="*/ 163036 w 184552"/>
                  <a:gd name="connsiteY13" fmla="*/ 36062 h 87578"/>
                  <a:gd name="connsiteX14" fmla="*/ 162430 w 184552"/>
                  <a:gd name="connsiteY14" fmla="*/ 35910 h 87578"/>
                  <a:gd name="connsiteX15" fmla="*/ 162127 w 184552"/>
                  <a:gd name="connsiteY15" fmla="*/ 36516 h 87578"/>
                  <a:gd name="connsiteX16" fmla="*/ 161218 w 184552"/>
                  <a:gd name="connsiteY16" fmla="*/ 37274 h 87578"/>
                  <a:gd name="connsiteX17" fmla="*/ 158339 w 184552"/>
                  <a:gd name="connsiteY17" fmla="*/ 38183 h 87578"/>
                  <a:gd name="connsiteX18" fmla="*/ 157127 w 184552"/>
                  <a:gd name="connsiteY18" fmla="*/ 37880 h 87578"/>
                  <a:gd name="connsiteX19" fmla="*/ 156066 w 184552"/>
                  <a:gd name="connsiteY19" fmla="*/ 36971 h 87578"/>
                  <a:gd name="connsiteX20" fmla="*/ 154854 w 184552"/>
                  <a:gd name="connsiteY20" fmla="*/ 35153 h 87578"/>
                  <a:gd name="connsiteX21" fmla="*/ 153036 w 184552"/>
                  <a:gd name="connsiteY21" fmla="*/ 33638 h 87578"/>
                  <a:gd name="connsiteX22" fmla="*/ 151521 w 184552"/>
                  <a:gd name="connsiteY22" fmla="*/ 33032 h 87578"/>
                  <a:gd name="connsiteX23" fmla="*/ 150612 w 184552"/>
                  <a:gd name="connsiteY23" fmla="*/ 32274 h 87578"/>
                  <a:gd name="connsiteX24" fmla="*/ 150460 w 184552"/>
                  <a:gd name="connsiteY24" fmla="*/ 31668 h 87578"/>
                  <a:gd name="connsiteX25" fmla="*/ 153793 w 184552"/>
                  <a:gd name="connsiteY25" fmla="*/ 30304 h 87578"/>
                  <a:gd name="connsiteX26" fmla="*/ 154400 w 184552"/>
                  <a:gd name="connsiteY26" fmla="*/ 28940 h 87578"/>
                  <a:gd name="connsiteX27" fmla="*/ 154096 w 184552"/>
                  <a:gd name="connsiteY27" fmla="*/ 26516 h 87578"/>
                  <a:gd name="connsiteX28" fmla="*/ 153642 w 184552"/>
                  <a:gd name="connsiteY28" fmla="*/ 26213 h 87578"/>
                  <a:gd name="connsiteX29" fmla="*/ 152278 w 184552"/>
                  <a:gd name="connsiteY29" fmla="*/ 27122 h 87578"/>
                  <a:gd name="connsiteX30" fmla="*/ 149551 w 184552"/>
                  <a:gd name="connsiteY30" fmla="*/ 27728 h 87578"/>
                  <a:gd name="connsiteX31" fmla="*/ 146975 w 184552"/>
                  <a:gd name="connsiteY31" fmla="*/ 28183 h 87578"/>
                  <a:gd name="connsiteX32" fmla="*/ 145763 w 184552"/>
                  <a:gd name="connsiteY32" fmla="*/ 28183 h 87578"/>
                  <a:gd name="connsiteX33" fmla="*/ 138490 w 184552"/>
                  <a:gd name="connsiteY33" fmla="*/ 23637 h 87578"/>
                  <a:gd name="connsiteX34" fmla="*/ 133793 w 184552"/>
                  <a:gd name="connsiteY34" fmla="*/ 22274 h 87578"/>
                  <a:gd name="connsiteX35" fmla="*/ 131065 w 184552"/>
                  <a:gd name="connsiteY35" fmla="*/ 21970 h 87578"/>
                  <a:gd name="connsiteX36" fmla="*/ 130763 w 184552"/>
                  <a:gd name="connsiteY36" fmla="*/ 22425 h 87578"/>
                  <a:gd name="connsiteX37" fmla="*/ 131974 w 184552"/>
                  <a:gd name="connsiteY37" fmla="*/ 24849 h 87578"/>
                  <a:gd name="connsiteX38" fmla="*/ 134096 w 184552"/>
                  <a:gd name="connsiteY38" fmla="*/ 27880 h 87578"/>
                  <a:gd name="connsiteX39" fmla="*/ 134096 w 184552"/>
                  <a:gd name="connsiteY39" fmla="*/ 28789 h 87578"/>
                  <a:gd name="connsiteX40" fmla="*/ 131520 w 184552"/>
                  <a:gd name="connsiteY40" fmla="*/ 30001 h 87578"/>
                  <a:gd name="connsiteX41" fmla="*/ 130005 w 184552"/>
                  <a:gd name="connsiteY41" fmla="*/ 30607 h 87578"/>
                  <a:gd name="connsiteX42" fmla="*/ 128338 w 184552"/>
                  <a:gd name="connsiteY42" fmla="*/ 31668 h 87578"/>
                  <a:gd name="connsiteX43" fmla="*/ 126823 w 184552"/>
                  <a:gd name="connsiteY43" fmla="*/ 33032 h 87578"/>
                  <a:gd name="connsiteX44" fmla="*/ 125610 w 184552"/>
                  <a:gd name="connsiteY44" fmla="*/ 33789 h 87578"/>
                  <a:gd name="connsiteX45" fmla="*/ 124550 w 184552"/>
                  <a:gd name="connsiteY45" fmla="*/ 33638 h 87578"/>
                  <a:gd name="connsiteX46" fmla="*/ 123338 w 184552"/>
                  <a:gd name="connsiteY46" fmla="*/ 32880 h 87578"/>
                  <a:gd name="connsiteX47" fmla="*/ 120308 w 184552"/>
                  <a:gd name="connsiteY47" fmla="*/ 28334 h 87578"/>
                  <a:gd name="connsiteX48" fmla="*/ 116520 w 184552"/>
                  <a:gd name="connsiteY48" fmla="*/ 24849 h 87578"/>
                  <a:gd name="connsiteX49" fmla="*/ 116065 w 184552"/>
                  <a:gd name="connsiteY49" fmla="*/ 24092 h 87578"/>
                  <a:gd name="connsiteX50" fmla="*/ 115004 w 184552"/>
                  <a:gd name="connsiteY50" fmla="*/ 23940 h 87578"/>
                  <a:gd name="connsiteX51" fmla="*/ 113337 w 184552"/>
                  <a:gd name="connsiteY51" fmla="*/ 23183 h 87578"/>
                  <a:gd name="connsiteX52" fmla="*/ 112731 w 184552"/>
                  <a:gd name="connsiteY52" fmla="*/ 22122 h 87578"/>
                  <a:gd name="connsiteX53" fmla="*/ 113641 w 184552"/>
                  <a:gd name="connsiteY53" fmla="*/ 20910 h 87578"/>
                  <a:gd name="connsiteX54" fmla="*/ 114701 w 184552"/>
                  <a:gd name="connsiteY54" fmla="*/ 20001 h 87578"/>
                  <a:gd name="connsiteX55" fmla="*/ 116822 w 184552"/>
                  <a:gd name="connsiteY55" fmla="*/ 19243 h 87578"/>
                  <a:gd name="connsiteX56" fmla="*/ 117429 w 184552"/>
                  <a:gd name="connsiteY56" fmla="*/ 18789 h 87578"/>
                  <a:gd name="connsiteX57" fmla="*/ 117731 w 184552"/>
                  <a:gd name="connsiteY57" fmla="*/ 17879 h 87578"/>
                  <a:gd name="connsiteX58" fmla="*/ 118489 w 184552"/>
                  <a:gd name="connsiteY58" fmla="*/ 16667 h 87578"/>
                  <a:gd name="connsiteX59" fmla="*/ 118338 w 184552"/>
                  <a:gd name="connsiteY59" fmla="*/ 16213 h 87578"/>
                  <a:gd name="connsiteX60" fmla="*/ 116822 w 184552"/>
                  <a:gd name="connsiteY60" fmla="*/ 15001 h 87578"/>
                  <a:gd name="connsiteX61" fmla="*/ 114701 w 184552"/>
                  <a:gd name="connsiteY61" fmla="*/ 13788 h 87578"/>
                  <a:gd name="connsiteX62" fmla="*/ 108792 w 184552"/>
                  <a:gd name="connsiteY62" fmla="*/ 14698 h 87578"/>
                  <a:gd name="connsiteX63" fmla="*/ 107125 w 184552"/>
                  <a:gd name="connsiteY63" fmla="*/ 15304 h 87578"/>
                  <a:gd name="connsiteX64" fmla="*/ 106216 w 184552"/>
                  <a:gd name="connsiteY64" fmla="*/ 14546 h 87578"/>
                  <a:gd name="connsiteX65" fmla="*/ 105610 w 184552"/>
                  <a:gd name="connsiteY65" fmla="*/ 13182 h 87578"/>
                  <a:gd name="connsiteX66" fmla="*/ 104095 w 184552"/>
                  <a:gd name="connsiteY66" fmla="*/ 13031 h 87578"/>
                  <a:gd name="connsiteX67" fmla="*/ 101973 w 184552"/>
                  <a:gd name="connsiteY67" fmla="*/ 11819 h 87578"/>
                  <a:gd name="connsiteX68" fmla="*/ 99549 w 184552"/>
                  <a:gd name="connsiteY68" fmla="*/ 10758 h 87578"/>
                  <a:gd name="connsiteX69" fmla="*/ 97276 w 184552"/>
                  <a:gd name="connsiteY69" fmla="*/ 10455 h 87578"/>
                  <a:gd name="connsiteX70" fmla="*/ 92276 w 184552"/>
                  <a:gd name="connsiteY70" fmla="*/ 8788 h 87578"/>
                  <a:gd name="connsiteX71" fmla="*/ 90458 w 184552"/>
                  <a:gd name="connsiteY71" fmla="*/ 8637 h 87578"/>
                  <a:gd name="connsiteX72" fmla="*/ 89397 w 184552"/>
                  <a:gd name="connsiteY72" fmla="*/ 8182 h 87578"/>
                  <a:gd name="connsiteX73" fmla="*/ 88185 w 184552"/>
                  <a:gd name="connsiteY73" fmla="*/ 6970 h 87578"/>
                  <a:gd name="connsiteX74" fmla="*/ 87276 w 184552"/>
                  <a:gd name="connsiteY74" fmla="*/ 5606 h 87578"/>
                  <a:gd name="connsiteX75" fmla="*/ 86670 w 184552"/>
                  <a:gd name="connsiteY75" fmla="*/ 2879 h 87578"/>
                  <a:gd name="connsiteX76" fmla="*/ 83033 w 184552"/>
                  <a:gd name="connsiteY76" fmla="*/ 1667 h 87578"/>
                  <a:gd name="connsiteX77" fmla="*/ 79397 w 184552"/>
                  <a:gd name="connsiteY77" fmla="*/ 758 h 87578"/>
                  <a:gd name="connsiteX78" fmla="*/ 79245 w 184552"/>
                  <a:gd name="connsiteY78" fmla="*/ 1212 h 87578"/>
                  <a:gd name="connsiteX79" fmla="*/ 79397 w 184552"/>
                  <a:gd name="connsiteY79" fmla="*/ 3939 h 87578"/>
                  <a:gd name="connsiteX80" fmla="*/ 79094 w 184552"/>
                  <a:gd name="connsiteY80" fmla="*/ 5455 h 87578"/>
                  <a:gd name="connsiteX81" fmla="*/ 76821 w 184552"/>
                  <a:gd name="connsiteY81" fmla="*/ 6364 h 87578"/>
                  <a:gd name="connsiteX82" fmla="*/ 74397 w 184552"/>
                  <a:gd name="connsiteY82" fmla="*/ 6364 h 87578"/>
                  <a:gd name="connsiteX83" fmla="*/ 74093 w 184552"/>
                  <a:gd name="connsiteY83" fmla="*/ 6970 h 87578"/>
                  <a:gd name="connsiteX84" fmla="*/ 73184 w 184552"/>
                  <a:gd name="connsiteY84" fmla="*/ 7879 h 87578"/>
                  <a:gd name="connsiteX85" fmla="*/ 72124 w 184552"/>
                  <a:gd name="connsiteY85" fmla="*/ 8031 h 87578"/>
                  <a:gd name="connsiteX86" fmla="*/ 70305 w 184552"/>
                  <a:gd name="connsiteY86" fmla="*/ 7424 h 87578"/>
                  <a:gd name="connsiteX87" fmla="*/ 69093 w 184552"/>
                  <a:gd name="connsiteY87" fmla="*/ 6515 h 87578"/>
                  <a:gd name="connsiteX88" fmla="*/ 69396 w 184552"/>
                  <a:gd name="connsiteY88" fmla="*/ 4394 h 87578"/>
                  <a:gd name="connsiteX89" fmla="*/ 68487 w 184552"/>
                  <a:gd name="connsiteY89" fmla="*/ 4243 h 87578"/>
                  <a:gd name="connsiteX90" fmla="*/ 67578 w 184552"/>
                  <a:gd name="connsiteY90" fmla="*/ 3030 h 87578"/>
                  <a:gd name="connsiteX91" fmla="*/ 67275 w 184552"/>
                  <a:gd name="connsiteY91" fmla="*/ 1515 h 87578"/>
                  <a:gd name="connsiteX92" fmla="*/ 66215 w 184552"/>
                  <a:gd name="connsiteY92" fmla="*/ 909 h 87578"/>
                  <a:gd name="connsiteX93" fmla="*/ 62275 w 184552"/>
                  <a:gd name="connsiteY93" fmla="*/ 455 h 87578"/>
                  <a:gd name="connsiteX94" fmla="*/ 61063 w 184552"/>
                  <a:gd name="connsiteY94" fmla="*/ 0 h 87578"/>
                  <a:gd name="connsiteX95" fmla="*/ 60002 w 184552"/>
                  <a:gd name="connsiteY95" fmla="*/ 303 h 87578"/>
                  <a:gd name="connsiteX96" fmla="*/ 59245 w 184552"/>
                  <a:gd name="connsiteY96" fmla="*/ 1212 h 87578"/>
                  <a:gd name="connsiteX97" fmla="*/ 59699 w 184552"/>
                  <a:gd name="connsiteY97" fmla="*/ 2121 h 87578"/>
                  <a:gd name="connsiteX98" fmla="*/ 60457 w 184552"/>
                  <a:gd name="connsiteY98" fmla="*/ 3030 h 87578"/>
                  <a:gd name="connsiteX99" fmla="*/ 62578 w 184552"/>
                  <a:gd name="connsiteY99" fmla="*/ 4394 h 87578"/>
                  <a:gd name="connsiteX100" fmla="*/ 62426 w 184552"/>
                  <a:gd name="connsiteY100" fmla="*/ 5000 h 87578"/>
                  <a:gd name="connsiteX101" fmla="*/ 57729 w 184552"/>
                  <a:gd name="connsiteY101" fmla="*/ 6364 h 87578"/>
                  <a:gd name="connsiteX102" fmla="*/ 54850 w 184552"/>
                  <a:gd name="connsiteY102" fmla="*/ 7727 h 87578"/>
                  <a:gd name="connsiteX103" fmla="*/ 52274 w 184552"/>
                  <a:gd name="connsiteY103" fmla="*/ 8485 h 87578"/>
                  <a:gd name="connsiteX104" fmla="*/ 49547 w 184552"/>
                  <a:gd name="connsiteY104" fmla="*/ 10000 h 87578"/>
                  <a:gd name="connsiteX105" fmla="*/ 44093 w 184552"/>
                  <a:gd name="connsiteY105" fmla="*/ 11515 h 87578"/>
                  <a:gd name="connsiteX106" fmla="*/ 40153 w 184552"/>
                  <a:gd name="connsiteY106" fmla="*/ 11970 h 87578"/>
                  <a:gd name="connsiteX107" fmla="*/ 39244 w 184552"/>
                  <a:gd name="connsiteY107" fmla="*/ 12425 h 87578"/>
                  <a:gd name="connsiteX108" fmla="*/ 37880 w 184552"/>
                  <a:gd name="connsiteY108" fmla="*/ 15152 h 87578"/>
                  <a:gd name="connsiteX109" fmla="*/ 36819 w 184552"/>
                  <a:gd name="connsiteY109" fmla="*/ 15758 h 87578"/>
                  <a:gd name="connsiteX110" fmla="*/ 35910 w 184552"/>
                  <a:gd name="connsiteY110" fmla="*/ 15455 h 87578"/>
                  <a:gd name="connsiteX111" fmla="*/ 35152 w 184552"/>
                  <a:gd name="connsiteY111" fmla="*/ 15001 h 87578"/>
                  <a:gd name="connsiteX112" fmla="*/ 34243 w 184552"/>
                  <a:gd name="connsiteY112" fmla="*/ 15304 h 87578"/>
                  <a:gd name="connsiteX113" fmla="*/ 33334 w 184552"/>
                  <a:gd name="connsiteY113" fmla="*/ 16213 h 87578"/>
                  <a:gd name="connsiteX114" fmla="*/ 32274 w 184552"/>
                  <a:gd name="connsiteY114" fmla="*/ 16667 h 87578"/>
                  <a:gd name="connsiteX115" fmla="*/ 31364 w 184552"/>
                  <a:gd name="connsiteY115" fmla="*/ 16516 h 87578"/>
                  <a:gd name="connsiteX116" fmla="*/ 29850 w 184552"/>
                  <a:gd name="connsiteY116" fmla="*/ 18940 h 87578"/>
                  <a:gd name="connsiteX117" fmla="*/ 25304 w 184552"/>
                  <a:gd name="connsiteY117" fmla="*/ 19698 h 87578"/>
                  <a:gd name="connsiteX118" fmla="*/ 24849 w 184552"/>
                  <a:gd name="connsiteY118" fmla="*/ 20910 h 87578"/>
                  <a:gd name="connsiteX119" fmla="*/ 23940 w 184552"/>
                  <a:gd name="connsiteY119" fmla="*/ 22274 h 87578"/>
                  <a:gd name="connsiteX120" fmla="*/ 23334 w 184552"/>
                  <a:gd name="connsiteY120" fmla="*/ 22728 h 87578"/>
                  <a:gd name="connsiteX121" fmla="*/ 21364 w 184552"/>
                  <a:gd name="connsiteY121" fmla="*/ 22122 h 87578"/>
                  <a:gd name="connsiteX122" fmla="*/ 18486 w 184552"/>
                  <a:gd name="connsiteY122" fmla="*/ 21819 h 87578"/>
                  <a:gd name="connsiteX123" fmla="*/ 16819 w 184552"/>
                  <a:gd name="connsiteY123" fmla="*/ 22577 h 87578"/>
                  <a:gd name="connsiteX124" fmla="*/ 15000 w 184552"/>
                  <a:gd name="connsiteY124" fmla="*/ 23031 h 87578"/>
                  <a:gd name="connsiteX125" fmla="*/ 12576 w 184552"/>
                  <a:gd name="connsiteY125" fmla="*/ 23183 h 87578"/>
                  <a:gd name="connsiteX126" fmla="*/ 10000 w 184552"/>
                  <a:gd name="connsiteY126" fmla="*/ 24698 h 87578"/>
                  <a:gd name="connsiteX127" fmla="*/ 7424 w 184552"/>
                  <a:gd name="connsiteY127" fmla="*/ 27425 h 87578"/>
                  <a:gd name="connsiteX128" fmla="*/ 5909 w 184552"/>
                  <a:gd name="connsiteY128" fmla="*/ 29850 h 87578"/>
                  <a:gd name="connsiteX129" fmla="*/ 5152 w 184552"/>
                  <a:gd name="connsiteY129" fmla="*/ 30759 h 87578"/>
                  <a:gd name="connsiteX130" fmla="*/ 3939 w 184552"/>
                  <a:gd name="connsiteY130" fmla="*/ 28486 h 87578"/>
                  <a:gd name="connsiteX131" fmla="*/ 2273 w 184552"/>
                  <a:gd name="connsiteY131" fmla="*/ 26971 h 87578"/>
                  <a:gd name="connsiteX132" fmla="*/ 1212 w 184552"/>
                  <a:gd name="connsiteY132" fmla="*/ 26062 h 87578"/>
                  <a:gd name="connsiteX133" fmla="*/ 303 w 184552"/>
                  <a:gd name="connsiteY133" fmla="*/ 26062 h 87578"/>
                  <a:gd name="connsiteX134" fmla="*/ 0 w 184552"/>
                  <a:gd name="connsiteY134" fmla="*/ 26516 h 87578"/>
                  <a:gd name="connsiteX135" fmla="*/ 0 w 184552"/>
                  <a:gd name="connsiteY135" fmla="*/ 27577 h 87578"/>
                  <a:gd name="connsiteX136" fmla="*/ 1060 w 184552"/>
                  <a:gd name="connsiteY136" fmla="*/ 29546 h 87578"/>
                  <a:gd name="connsiteX137" fmla="*/ 2273 w 184552"/>
                  <a:gd name="connsiteY137" fmla="*/ 30910 h 87578"/>
                  <a:gd name="connsiteX138" fmla="*/ 2576 w 184552"/>
                  <a:gd name="connsiteY138" fmla="*/ 31971 h 87578"/>
                  <a:gd name="connsiteX139" fmla="*/ 3182 w 184552"/>
                  <a:gd name="connsiteY139" fmla="*/ 33789 h 87578"/>
                  <a:gd name="connsiteX140" fmla="*/ 5152 w 184552"/>
                  <a:gd name="connsiteY140" fmla="*/ 35759 h 87578"/>
                  <a:gd name="connsiteX141" fmla="*/ 8031 w 184552"/>
                  <a:gd name="connsiteY141" fmla="*/ 37274 h 87578"/>
                  <a:gd name="connsiteX142" fmla="*/ 10000 w 184552"/>
                  <a:gd name="connsiteY142" fmla="*/ 38789 h 87578"/>
                  <a:gd name="connsiteX143" fmla="*/ 11515 w 184552"/>
                  <a:gd name="connsiteY143" fmla="*/ 40911 h 87578"/>
                  <a:gd name="connsiteX144" fmla="*/ 11515 w 184552"/>
                  <a:gd name="connsiteY144" fmla="*/ 41668 h 87578"/>
                  <a:gd name="connsiteX145" fmla="*/ 11212 w 184552"/>
                  <a:gd name="connsiteY145" fmla="*/ 42426 h 87578"/>
                  <a:gd name="connsiteX146" fmla="*/ 10455 w 184552"/>
                  <a:gd name="connsiteY146" fmla="*/ 43335 h 87578"/>
                  <a:gd name="connsiteX147" fmla="*/ 9849 w 184552"/>
                  <a:gd name="connsiteY147" fmla="*/ 44396 h 87578"/>
                  <a:gd name="connsiteX148" fmla="*/ 8182 w 184552"/>
                  <a:gd name="connsiteY148" fmla="*/ 46517 h 87578"/>
                  <a:gd name="connsiteX149" fmla="*/ 8788 w 184552"/>
                  <a:gd name="connsiteY149" fmla="*/ 47426 h 87578"/>
                  <a:gd name="connsiteX150" fmla="*/ 10000 w 184552"/>
                  <a:gd name="connsiteY150" fmla="*/ 48638 h 87578"/>
                  <a:gd name="connsiteX151" fmla="*/ 11212 w 184552"/>
                  <a:gd name="connsiteY151" fmla="*/ 50002 h 87578"/>
                  <a:gd name="connsiteX152" fmla="*/ 12728 w 184552"/>
                  <a:gd name="connsiteY152" fmla="*/ 52426 h 87578"/>
                  <a:gd name="connsiteX153" fmla="*/ 14849 w 184552"/>
                  <a:gd name="connsiteY153" fmla="*/ 56366 h 87578"/>
                  <a:gd name="connsiteX154" fmla="*/ 16212 w 184552"/>
                  <a:gd name="connsiteY154" fmla="*/ 58032 h 87578"/>
                  <a:gd name="connsiteX155" fmla="*/ 18031 w 184552"/>
                  <a:gd name="connsiteY155" fmla="*/ 59699 h 87578"/>
                  <a:gd name="connsiteX156" fmla="*/ 19849 w 184552"/>
                  <a:gd name="connsiteY156" fmla="*/ 61063 h 87578"/>
                  <a:gd name="connsiteX157" fmla="*/ 22576 w 184552"/>
                  <a:gd name="connsiteY157" fmla="*/ 61063 h 87578"/>
                  <a:gd name="connsiteX158" fmla="*/ 25607 w 184552"/>
                  <a:gd name="connsiteY158" fmla="*/ 63487 h 87578"/>
                  <a:gd name="connsiteX159" fmla="*/ 28789 w 184552"/>
                  <a:gd name="connsiteY159" fmla="*/ 67124 h 87578"/>
                  <a:gd name="connsiteX160" fmla="*/ 31213 w 184552"/>
                  <a:gd name="connsiteY160" fmla="*/ 68790 h 87578"/>
                  <a:gd name="connsiteX161" fmla="*/ 32880 w 184552"/>
                  <a:gd name="connsiteY161" fmla="*/ 69245 h 87578"/>
                  <a:gd name="connsiteX162" fmla="*/ 34243 w 184552"/>
                  <a:gd name="connsiteY162" fmla="*/ 70609 h 87578"/>
                  <a:gd name="connsiteX163" fmla="*/ 35456 w 184552"/>
                  <a:gd name="connsiteY163" fmla="*/ 72427 h 87578"/>
                  <a:gd name="connsiteX164" fmla="*/ 35910 w 184552"/>
                  <a:gd name="connsiteY164" fmla="*/ 73488 h 87578"/>
                  <a:gd name="connsiteX165" fmla="*/ 36971 w 184552"/>
                  <a:gd name="connsiteY165" fmla="*/ 74245 h 87578"/>
                  <a:gd name="connsiteX166" fmla="*/ 39850 w 184552"/>
                  <a:gd name="connsiteY166" fmla="*/ 74094 h 87578"/>
                  <a:gd name="connsiteX167" fmla="*/ 43638 w 184552"/>
                  <a:gd name="connsiteY167" fmla="*/ 76972 h 87578"/>
                  <a:gd name="connsiteX168" fmla="*/ 45911 w 184552"/>
                  <a:gd name="connsiteY168" fmla="*/ 79245 h 87578"/>
                  <a:gd name="connsiteX169" fmla="*/ 47274 w 184552"/>
                  <a:gd name="connsiteY169" fmla="*/ 80912 h 87578"/>
                  <a:gd name="connsiteX170" fmla="*/ 48032 w 184552"/>
                  <a:gd name="connsiteY170" fmla="*/ 81215 h 87578"/>
                  <a:gd name="connsiteX171" fmla="*/ 50153 w 184552"/>
                  <a:gd name="connsiteY171" fmla="*/ 82276 h 87578"/>
                  <a:gd name="connsiteX172" fmla="*/ 51972 w 184552"/>
                  <a:gd name="connsiteY172" fmla="*/ 83488 h 87578"/>
                  <a:gd name="connsiteX173" fmla="*/ 53638 w 184552"/>
                  <a:gd name="connsiteY173" fmla="*/ 86670 h 87578"/>
                  <a:gd name="connsiteX174" fmla="*/ 57426 w 184552"/>
                  <a:gd name="connsiteY174" fmla="*/ 87579 h 87578"/>
                  <a:gd name="connsiteX175" fmla="*/ 62275 w 184552"/>
                  <a:gd name="connsiteY175" fmla="*/ 87579 h 87578"/>
                  <a:gd name="connsiteX176" fmla="*/ 64093 w 184552"/>
                  <a:gd name="connsiteY176" fmla="*/ 86215 h 87578"/>
                  <a:gd name="connsiteX177" fmla="*/ 65608 w 184552"/>
                  <a:gd name="connsiteY177" fmla="*/ 85912 h 87578"/>
                  <a:gd name="connsiteX178" fmla="*/ 67426 w 184552"/>
                  <a:gd name="connsiteY178" fmla="*/ 86367 h 87578"/>
                  <a:gd name="connsiteX179" fmla="*/ 71214 w 184552"/>
                  <a:gd name="connsiteY179" fmla="*/ 86821 h 87578"/>
                  <a:gd name="connsiteX180" fmla="*/ 71669 w 184552"/>
                  <a:gd name="connsiteY180" fmla="*/ 84245 h 87578"/>
                  <a:gd name="connsiteX181" fmla="*/ 73791 w 184552"/>
                  <a:gd name="connsiteY181" fmla="*/ 81518 h 87578"/>
                  <a:gd name="connsiteX182" fmla="*/ 74700 w 184552"/>
                  <a:gd name="connsiteY182" fmla="*/ 80609 h 87578"/>
                  <a:gd name="connsiteX183" fmla="*/ 77579 w 184552"/>
                  <a:gd name="connsiteY183" fmla="*/ 80760 h 87578"/>
                  <a:gd name="connsiteX184" fmla="*/ 78185 w 184552"/>
                  <a:gd name="connsiteY184" fmla="*/ 78791 h 87578"/>
                  <a:gd name="connsiteX185" fmla="*/ 78942 w 184552"/>
                  <a:gd name="connsiteY185" fmla="*/ 73336 h 87578"/>
                  <a:gd name="connsiteX186" fmla="*/ 79397 w 184552"/>
                  <a:gd name="connsiteY186" fmla="*/ 72730 h 87578"/>
                  <a:gd name="connsiteX187" fmla="*/ 81518 w 184552"/>
                  <a:gd name="connsiteY187" fmla="*/ 72730 h 87578"/>
                  <a:gd name="connsiteX188" fmla="*/ 83488 w 184552"/>
                  <a:gd name="connsiteY188" fmla="*/ 73790 h 87578"/>
                  <a:gd name="connsiteX189" fmla="*/ 84094 w 184552"/>
                  <a:gd name="connsiteY189" fmla="*/ 74548 h 87578"/>
                  <a:gd name="connsiteX190" fmla="*/ 85155 w 184552"/>
                  <a:gd name="connsiteY190" fmla="*/ 74548 h 87578"/>
                  <a:gd name="connsiteX191" fmla="*/ 86518 w 184552"/>
                  <a:gd name="connsiteY191" fmla="*/ 73942 h 87578"/>
                  <a:gd name="connsiteX192" fmla="*/ 88185 w 184552"/>
                  <a:gd name="connsiteY192" fmla="*/ 73639 h 87578"/>
                  <a:gd name="connsiteX193" fmla="*/ 90609 w 184552"/>
                  <a:gd name="connsiteY193" fmla="*/ 74245 h 87578"/>
                  <a:gd name="connsiteX194" fmla="*/ 96064 w 184552"/>
                  <a:gd name="connsiteY194" fmla="*/ 76669 h 87578"/>
                  <a:gd name="connsiteX195" fmla="*/ 98791 w 184552"/>
                  <a:gd name="connsiteY195" fmla="*/ 77579 h 87578"/>
                  <a:gd name="connsiteX196" fmla="*/ 100610 w 184552"/>
                  <a:gd name="connsiteY196" fmla="*/ 77427 h 87578"/>
                  <a:gd name="connsiteX197" fmla="*/ 102277 w 184552"/>
                  <a:gd name="connsiteY197" fmla="*/ 77427 h 87578"/>
                  <a:gd name="connsiteX198" fmla="*/ 108489 w 184552"/>
                  <a:gd name="connsiteY198" fmla="*/ 81367 h 87578"/>
                  <a:gd name="connsiteX199" fmla="*/ 113034 w 184552"/>
                  <a:gd name="connsiteY199" fmla="*/ 81821 h 87578"/>
                  <a:gd name="connsiteX200" fmla="*/ 116974 w 184552"/>
                  <a:gd name="connsiteY200" fmla="*/ 81821 h 87578"/>
                  <a:gd name="connsiteX201" fmla="*/ 118338 w 184552"/>
                  <a:gd name="connsiteY201" fmla="*/ 80760 h 87578"/>
                  <a:gd name="connsiteX202" fmla="*/ 120004 w 184552"/>
                  <a:gd name="connsiteY202" fmla="*/ 79700 h 87578"/>
                  <a:gd name="connsiteX203" fmla="*/ 121822 w 184552"/>
                  <a:gd name="connsiteY203" fmla="*/ 79851 h 87578"/>
                  <a:gd name="connsiteX204" fmla="*/ 123489 w 184552"/>
                  <a:gd name="connsiteY204" fmla="*/ 80306 h 87578"/>
                  <a:gd name="connsiteX205" fmla="*/ 126520 w 184552"/>
                  <a:gd name="connsiteY205" fmla="*/ 82124 h 87578"/>
                  <a:gd name="connsiteX206" fmla="*/ 127884 w 184552"/>
                  <a:gd name="connsiteY206" fmla="*/ 82427 h 87578"/>
                  <a:gd name="connsiteX207" fmla="*/ 129853 w 184552"/>
                  <a:gd name="connsiteY207" fmla="*/ 82730 h 87578"/>
                  <a:gd name="connsiteX208" fmla="*/ 131217 w 184552"/>
                  <a:gd name="connsiteY208" fmla="*/ 83185 h 87578"/>
                  <a:gd name="connsiteX209" fmla="*/ 132429 w 184552"/>
                  <a:gd name="connsiteY209" fmla="*/ 86064 h 87578"/>
                  <a:gd name="connsiteX210" fmla="*/ 133035 w 184552"/>
                  <a:gd name="connsiteY210" fmla="*/ 86821 h 87578"/>
                  <a:gd name="connsiteX211" fmla="*/ 133944 w 184552"/>
                  <a:gd name="connsiteY211" fmla="*/ 84094 h 87578"/>
                  <a:gd name="connsiteX212" fmla="*/ 136065 w 184552"/>
                  <a:gd name="connsiteY212" fmla="*/ 80457 h 87578"/>
                  <a:gd name="connsiteX213" fmla="*/ 138035 w 184552"/>
                  <a:gd name="connsiteY213" fmla="*/ 78336 h 87578"/>
                  <a:gd name="connsiteX214" fmla="*/ 139551 w 184552"/>
                  <a:gd name="connsiteY214" fmla="*/ 77579 h 87578"/>
                  <a:gd name="connsiteX215" fmla="*/ 142429 w 184552"/>
                  <a:gd name="connsiteY215" fmla="*/ 78185 h 87578"/>
                  <a:gd name="connsiteX216" fmla="*/ 147581 w 184552"/>
                  <a:gd name="connsiteY216" fmla="*/ 78791 h 87578"/>
                  <a:gd name="connsiteX217" fmla="*/ 151521 w 184552"/>
                  <a:gd name="connsiteY217" fmla="*/ 78336 h 87578"/>
                  <a:gd name="connsiteX218" fmla="*/ 155157 w 184552"/>
                  <a:gd name="connsiteY218" fmla="*/ 76669 h 87578"/>
                  <a:gd name="connsiteX219" fmla="*/ 157127 w 184552"/>
                  <a:gd name="connsiteY219" fmla="*/ 75154 h 87578"/>
                  <a:gd name="connsiteX220" fmla="*/ 158793 w 184552"/>
                  <a:gd name="connsiteY220" fmla="*/ 73790 h 87578"/>
                  <a:gd name="connsiteX221" fmla="*/ 159400 w 184552"/>
                  <a:gd name="connsiteY221" fmla="*/ 72730 h 87578"/>
                  <a:gd name="connsiteX222" fmla="*/ 160157 w 184552"/>
                  <a:gd name="connsiteY222" fmla="*/ 72275 h 87578"/>
                  <a:gd name="connsiteX223" fmla="*/ 163036 w 184552"/>
                  <a:gd name="connsiteY223" fmla="*/ 71366 h 87578"/>
                  <a:gd name="connsiteX224" fmla="*/ 164097 w 184552"/>
                  <a:gd name="connsiteY224" fmla="*/ 70457 h 87578"/>
                  <a:gd name="connsiteX225" fmla="*/ 164400 w 184552"/>
                  <a:gd name="connsiteY225" fmla="*/ 68487 h 87578"/>
                  <a:gd name="connsiteX226" fmla="*/ 164703 w 184552"/>
                  <a:gd name="connsiteY226" fmla="*/ 66366 h 87578"/>
                  <a:gd name="connsiteX227" fmla="*/ 165309 w 184552"/>
                  <a:gd name="connsiteY227" fmla="*/ 64699 h 87578"/>
                  <a:gd name="connsiteX228" fmla="*/ 166067 w 184552"/>
                  <a:gd name="connsiteY228" fmla="*/ 63639 h 87578"/>
                  <a:gd name="connsiteX229" fmla="*/ 171673 w 184552"/>
                  <a:gd name="connsiteY229" fmla="*/ 60760 h 87578"/>
                  <a:gd name="connsiteX230" fmla="*/ 172127 w 184552"/>
                  <a:gd name="connsiteY230" fmla="*/ 59851 h 87578"/>
                  <a:gd name="connsiteX231" fmla="*/ 173036 w 184552"/>
                  <a:gd name="connsiteY231" fmla="*/ 58942 h 87578"/>
                  <a:gd name="connsiteX232" fmla="*/ 174703 w 184552"/>
                  <a:gd name="connsiteY232" fmla="*/ 57881 h 87578"/>
                  <a:gd name="connsiteX233" fmla="*/ 176370 w 184552"/>
                  <a:gd name="connsiteY233" fmla="*/ 56214 h 87578"/>
                  <a:gd name="connsiteX234" fmla="*/ 178037 w 184552"/>
                  <a:gd name="connsiteY234" fmla="*/ 55305 h 87578"/>
                  <a:gd name="connsiteX235" fmla="*/ 180158 w 184552"/>
                  <a:gd name="connsiteY235" fmla="*/ 55457 h 87578"/>
                  <a:gd name="connsiteX236" fmla="*/ 182279 w 184552"/>
                  <a:gd name="connsiteY236" fmla="*/ 55305 h 87578"/>
                  <a:gd name="connsiteX237" fmla="*/ 183795 w 184552"/>
                  <a:gd name="connsiteY237" fmla="*/ 54699 h 87578"/>
                  <a:gd name="connsiteX238" fmla="*/ 184552 w 184552"/>
                  <a:gd name="connsiteY238" fmla="*/ 54699 h 8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184552" h="87578">
                    <a:moveTo>
                      <a:pt x="184401" y="53638"/>
                    </a:moveTo>
                    <a:lnTo>
                      <a:pt x="183795" y="50911"/>
                    </a:lnTo>
                    <a:lnTo>
                      <a:pt x="178037" y="45911"/>
                    </a:lnTo>
                    <a:lnTo>
                      <a:pt x="177279" y="43789"/>
                    </a:lnTo>
                    <a:lnTo>
                      <a:pt x="177431" y="42880"/>
                    </a:lnTo>
                    <a:lnTo>
                      <a:pt x="177128" y="41517"/>
                    </a:lnTo>
                    <a:lnTo>
                      <a:pt x="175764" y="40759"/>
                    </a:lnTo>
                    <a:lnTo>
                      <a:pt x="171218" y="39698"/>
                    </a:lnTo>
                    <a:lnTo>
                      <a:pt x="170006" y="40304"/>
                    </a:lnTo>
                    <a:lnTo>
                      <a:pt x="168946" y="39698"/>
                    </a:lnTo>
                    <a:lnTo>
                      <a:pt x="167279" y="38486"/>
                    </a:lnTo>
                    <a:lnTo>
                      <a:pt x="164400" y="37426"/>
                    </a:lnTo>
                    <a:lnTo>
                      <a:pt x="164097" y="36971"/>
                    </a:lnTo>
                    <a:lnTo>
                      <a:pt x="163036" y="36062"/>
                    </a:lnTo>
                    <a:lnTo>
                      <a:pt x="162430" y="35910"/>
                    </a:lnTo>
                    <a:lnTo>
                      <a:pt x="162127" y="36516"/>
                    </a:lnTo>
                    <a:lnTo>
                      <a:pt x="161218" y="37274"/>
                    </a:lnTo>
                    <a:lnTo>
                      <a:pt x="158339" y="38183"/>
                    </a:lnTo>
                    <a:lnTo>
                      <a:pt x="157127" y="37880"/>
                    </a:lnTo>
                    <a:lnTo>
                      <a:pt x="156066" y="36971"/>
                    </a:lnTo>
                    <a:lnTo>
                      <a:pt x="154854" y="35153"/>
                    </a:lnTo>
                    <a:lnTo>
                      <a:pt x="153036" y="33638"/>
                    </a:lnTo>
                    <a:lnTo>
                      <a:pt x="151521" y="33032"/>
                    </a:lnTo>
                    <a:lnTo>
                      <a:pt x="150612" y="32274"/>
                    </a:lnTo>
                    <a:lnTo>
                      <a:pt x="150460" y="31668"/>
                    </a:lnTo>
                    <a:lnTo>
                      <a:pt x="153793" y="30304"/>
                    </a:lnTo>
                    <a:lnTo>
                      <a:pt x="154400" y="28940"/>
                    </a:lnTo>
                    <a:lnTo>
                      <a:pt x="154096" y="26516"/>
                    </a:lnTo>
                    <a:lnTo>
                      <a:pt x="153642" y="26213"/>
                    </a:lnTo>
                    <a:lnTo>
                      <a:pt x="152278" y="27122"/>
                    </a:lnTo>
                    <a:lnTo>
                      <a:pt x="149551" y="27728"/>
                    </a:lnTo>
                    <a:lnTo>
                      <a:pt x="146975" y="28183"/>
                    </a:lnTo>
                    <a:lnTo>
                      <a:pt x="145763" y="28183"/>
                    </a:lnTo>
                    <a:lnTo>
                      <a:pt x="138490" y="23637"/>
                    </a:lnTo>
                    <a:lnTo>
                      <a:pt x="133793" y="22274"/>
                    </a:lnTo>
                    <a:lnTo>
                      <a:pt x="131065" y="21970"/>
                    </a:lnTo>
                    <a:lnTo>
                      <a:pt x="130763" y="22425"/>
                    </a:lnTo>
                    <a:lnTo>
                      <a:pt x="131974" y="24849"/>
                    </a:lnTo>
                    <a:lnTo>
                      <a:pt x="134096" y="27880"/>
                    </a:lnTo>
                    <a:lnTo>
                      <a:pt x="134096" y="28789"/>
                    </a:lnTo>
                    <a:lnTo>
                      <a:pt x="131520" y="30001"/>
                    </a:lnTo>
                    <a:lnTo>
                      <a:pt x="130005" y="30607"/>
                    </a:lnTo>
                    <a:lnTo>
                      <a:pt x="128338" y="31668"/>
                    </a:lnTo>
                    <a:lnTo>
                      <a:pt x="126823" y="33032"/>
                    </a:lnTo>
                    <a:lnTo>
                      <a:pt x="125610" y="33789"/>
                    </a:lnTo>
                    <a:lnTo>
                      <a:pt x="124550" y="33638"/>
                    </a:lnTo>
                    <a:lnTo>
                      <a:pt x="123338" y="32880"/>
                    </a:lnTo>
                    <a:lnTo>
                      <a:pt x="120308" y="28334"/>
                    </a:lnTo>
                    <a:lnTo>
                      <a:pt x="116520" y="24849"/>
                    </a:lnTo>
                    <a:lnTo>
                      <a:pt x="116065" y="24092"/>
                    </a:lnTo>
                    <a:lnTo>
                      <a:pt x="115004" y="23940"/>
                    </a:lnTo>
                    <a:lnTo>
                      <a:pt x="113337" y="23183"/>
                    </a:lnTo>
                    <a:lnTo>
                      <a:pt x="112731" y="22122"/>
                    </a:lnTo>
                    <a:lnTo>
                      <a:pt x="113641" y="20910"/>
                    </a:lnTo>
                    <a:lnTo>
                      <a:pt x="114701" y="20001"/>
                    </a:lnTo>
                    <a:lnTo>
                      <a:pt x="116822" y="19243"/>
                    </a:lnTo>
                    <a:lnTo>
                      <a:pt x="117429" y="18789"/>
                    </a:lnTo>
                    <a:lnTo>
                      <a:pt x="117731" y="17879"/>
                    </a:lnTo>
                    <a:lnTo>
                      <a:pt x="118489" y="16667"/>
                    </a:lnTo>
                    <a:lnTo>
                      <a:pt x="118338" y="16213"/>
                    </a:lnTo>
                    <a:lnTo>
                      <a:pt x="116822" y="15001"/>
                    </a:lnTo>
                    <a:lnTo>
                      <a:pt x="114701" y="13788"/>
                    </a:lnTo>
                    <a:lnTo>
                      <a:pt x="108792" y="14698"/>
                    </a:lnTo>
                    <a:lnTo>
                      <a:pt x="107125" y="15304"/>
                    </a:lnTo>
                    <a:lnTo>
                      <a:pt x="106216" y="14546"/>
                    </a:lnTo>
                    <a:lnTo>
                      <a:pt x="105610" y="13182"/>
                    </a:lnTo>
                    <a:lnTo>
                      <a:pt x="104095" y="13031"/>
                    </a:lnTo>
                    <a:lnTo>
                      <a:pt x="101973" y="11819"/>
                    </a:lnTo>
                    <a:lnTo>
                      <a:pt x="99549" y="10758"/>
                    </a:lnTo>
                    <a:lnTo>
                      <a:pt x="97276" y="10455"/>
                    </a:lnTo>
                    <a:lnTo>
                      <a:pt x="92276" y="8788"/>
                    </a:lnTo>
                    <a:lnTo>
                      <a:pt x="90458" y="8637"/>
                    </a:lnTo>
                    <a:lnTo>
                      <a:pt x="89397" y="8182"/>
                    </a:lnTo>
                    <a:lnTo>
                      <a:pt x="88185" y="6970"/>
                    </a:lnTo>
                    <a:lnTo>
                      <a:pt x="87276" y="5606"/>
                    </a:lnTo>
                    <a:lnTo>
                      <a:pt x="86670" y="2879"/>
                    </a:lnTo>
                    <a:lnTo>
                      <a:pt x="83033" y="1667"/>
                    </a:lnTo>
                    <a:lnTo>
                      <a:pt x="79397" y="758"/>
                    </a:lnTo>
                    <a:lnTo>
                      <a:pt x="79245" y="1212"/>
                    </a:lnTo>
                    <a:lnTo>
                      <a:pt x="79397" y="3939"/>
                    </a:lnTo>
                    <a:lnTo>
                      <a:pt x="79094" y="5455"/>
                    </a:lnTo>
                    <a:lnTo>
                      <a:pt x="76821" y="6364"/>
                    </a:lnTo>
                    <a:lnTo>
                      <a:pt x="74397" y="6364"/>
                    </a:lnTo>
                    <a:lnTo>
                      <a:pt x="74093" y="6970"/>
                    </a:lnTo>
                    <a:lnTo>
                      <a:pt x="73184" y="7879"/>
                    </a:lnTo>
                    <a:lnTo>
                      <a:pt x="72124" y="8031"/>
                    </a:lnTo>
                    <a:lnTo>
                      <a:pt x="70305" y="7424"/>
                    </a:lnTo>
                    <a:lnTo>
                      <a:pt x="69093" y="6515"/>
                    </a:lnTo>
                    <a:lnTo>
                      <a:pt x="69396" y="4394"/>
                    </a:lnTo>
                    <a:lnTo>
                      <a:pt x="68487" y="4243"/>
                    </a:lnTo>
                    <a:lnTo>
                      <a:pt x="67578" y="3030"/>
                    </a:lnTo>
                    <a:lnTo>
                      <a:pt x="67275" y="1515"/>
                    </a:lnTo>
                    <a:lnTo>
                      <a:pt x="66215" y="909"/>
                    </a:lnTo>
                    <a:lnTo>
                      <a:pt x="62275" y="455"/>
                    </a:lnTo>
                    <a:lnTo>
                      <a:pt x="61063" y="0"/>
                    </a:lnTo>
                    <a:lnTo>
                      <a:pt x="60002" y="303"/>
                    </a:lnTo>
                    <a:lnTo>
                      <a:pt x="59245" y="1212"/>
                    </a:lnTo>
                    <a:lnTo>
                      <a:pt x="59699" y="2121"/>
                    </a:lnTo>
                    <a:lnTo>
                      <a:pt x="60457" y="3030"/>
                    </a:lnTo>
                    <a:lnTo>
                      <a:pt x="62578" y="4394"/>
                    </a:lnTo>
                    <a:lnTo>
                      <a:pt x="62426" y="5000"/>
                    </a:lnTo>
                    <a:lnTo>
                      <a:pt x="57729" y="6364"/>
                    </a:lnTo>
                    <a:lnTo>
                      <a:pt x="54850" y="7727"/>
                    </a:lnTo>
                    <a:lnTo>
                      <a:pt x="52274" y="8485"/>
                    </a:lnTo>
                    <a:lnTo>
                      <a:pt x="49547" y="10000"/>
                    </a:lnTo>
                    <a:lnTo>
                      <a:pt x="44093" y="11515"/>
                    </a:lnTo>
                    <a:lnTo>
                      <a:pt x="40153" y="11970"/>
                    </a:lnTo>
                    <a:lnTo>
                      <a:pt x="39244" y="12425"/>
                    </a:lnTo>
                    <a:lnTo>
                      <a:pt x="37880" y="15152"/>
                    </a:lnTo>
                    <a:lnTo>
                      <a:pt x="36819" y="15758"/>
                    </a:lnTo>
                    <a:lnTo>
                      <a:pt x="35910" y="15455"/>
                    </a:lnTo>
                    <a:lnTo>
                      <a:pt x="35152" y="15001"/>
                    </a:lnTo>
                    <a:lnTo>
                      <a:pt x="34243" y="15304"/>
                    </a:lnTo>
                    <a:lnTo>
                      <a:pt x="33334" y="16213"/>
                    </a:lnTo>
                    <a:lnTo>
                      <a:pt x="32274" y="16667"/>
                    </a:lnTo>
                    <a:lnTo>
                      <a:pt x="31364" y="16516"/>
                    </a:lnTo>
                    <a:lnTo>
                      <a:pt x="29850" y="18940"/>
                    </a:lnTo>
                    <a:lnTo>
                      <a:pt x="25304" y="19698"/>
                    </a:lnTo>
                    <a:lnTo>
                      <a:pt x="24849" y="20910"/>
                    </a:lnTo>
                    <a:lnTo>
                      <a:pt x="23940" y="22274"/>
                    </a:lnTo>
                    <a:lnTo>
                      <a:pt x="23334" y="22728"/>
                    </a:lnTo>
                    <a:lnTo>
                      <a:pt x="21364" y="22122"/>
                    </a:lnTo>
                    <a:lnTo>
                      <a:pt x="18486" y="21819"/>
                    </a:lnTo>
                    <a:lnTo>
                      <a:pt x="16819" y="22577"/>
                    </a:lnTo>
                    <a:lnTo>
                      <a:pt x="15000" y="23031"/>
                    </a:lnTo>
                    <a:lnTo>
                      <a:pt x="12576" y="23183"/>
                    </a:lnTo>
                    <a:lnTo>
                      <a:pt x="10000" y="24698"/>
                    </a:lnTo>
                    <a:lnTo>
                      <a:pt x="7424" y="27425"/>
                    </a:lnTo>
                    <a:lnTo>
                      <a:pt x="5909" y="29850"/>
                    </a:lnTo>
                    <a:lnTo>
                      <a:pt x="5152" y="30759"/>
                    </a:lnTo>
                    <a:lnTo>
                      <a:pt x="3939" y="28486"/>
                    </a:lnTo>
                    <a:lnTo>
                      <a:pt x="2273" y="26971"/>
                    </a:lnTo>
                    <a:lnTo>
                      <a:pt x="1212" y="26062"/>
                    </a:lnTo>
                    <a:lnTo>
                      <a:pt x="303" y="26062"/>
                    </a:lnTo>
                    <a:lnTo>
                      <a:pt x="0" y="26516"/>
                    </a:lnTo>
                    <a:lnTo>
                      <a:pt x="0" y="27577"/>
                    </a:lnTo>
                    <a:lnTo>
                      <a:pt x="1060" y="29546"/>
                    </a:lnTo>
                    <a:lnTo>
                      <a:pt x="2273" y="30910"/>
                    </a:lnTo>
                    <a:lnTo>
                      <a:pt x="2576" y="31971"/>
                    </a:lnTo>
                    <a:lnTo>
                      <a:pt x="3182" y="33789"/>
                    </a:lnTo>
                    <a:lnTo>
                      <a:pt x="5152" y="35759"/>
                    </a:lnTo>
                    <a:lnTo>
                      <a:pt x="8031" y="37274"/>
                    </a:lnTo>
                    <a:lnTo>
                      <a:pt x="10000" y="38789"/>
                    </a:lnTo>
                    <a:lnTo>
                      <a:pt x="11515" y="40911"/>
                    </a:lnTo>
                    <a:lnTo>
                      <a:pt x="11515" y="41668"/>
                    </a:lnTo>
                    <a:lnTo>
                      <a:pt x="11212" y="42426"/>
                    </a:lnTo>
                    <a:lnTo>
                      <a:pt x="10455" y="43335"/>
                    </a:lnTo>
                    <a:lnTo>
                      <a:pt x="9849" y="44396"/>
                    </a:lnTo>
                    <a:lnTo>
                      <a:pt x="8182" y="46517"/>
                    </a:lnTo>
                    <a:lnTo>
                      <a:pt x="8788" y="47426"/>
                    </a:lnTo>
                    <a:lnTo>
                      <a:pt x="10000" y="48638"/>
                    </a:lnTo>
                    <a:lnTo>
                      <a:pt x="11212" y="50002"/>
                    </a:lnTo>
                    <a:lnTo>
                      <a:pt x="12728" y="52426"/>
                    </a:lnTo>
                    <a:lnTo>
                      <a:pt x="14849" y="56366"/>
                    </a:lnTo>
                    <a:lnTo>
                      <a:pt x="16212" y="58032"/>
                    </a:lnTo>
                    <a:lnTo>
                      <a:pt x="18031" y="59699"/>
                    </a:lnTo>
                    <a:lnTo>
                      <a:pt x="19849" y="61063"/>
                    </a:lnTo>
                    <a:lnTo>
                      <a:pt x="22576" y="61063"/>
                    </a:lnTo>
                    <a:lnTo>
                      <a:pt x="25607" y="63487"/>
                    </a:lnTo>
                    <a:lnTo>
                      <a:pt x="28789" y="67124"/>
                    </a:lnTo>
                    <a:lnTo>
                      <a:pt x="31213" y="68790"/>
                    </a:lnTo>
                    <a:lnTo>
                      <a:pt x="32880" y="69245"/>
                    </a:lnTo>
                    <a:lnTo>
                      <a:pt x="34243" y="70609"/>
                    </a:lnTo>
                    <a:lnTo>
                      <a:pt x="35456" y="72427"/>
                    </a:lnTo>
                    <a:lnTo>
                      <a:pt x="35910" y="73488"/>
                    </a:lnTo>
                    <a:lnTo>
                      <a:pt x="36971" y="74245"/>
                    </a:lnTo>
                    <a:lnTo>
                      <a:pt x="39850" y="74094"/>
                    </a:lnTo>
                    <a:lnTo>
                      <a:pt x="43638" y="76972"/>
                    </a:lnTo>
                    <a:lnTo>
                      <a:pt x="45911" y="79245"/>
                    </a:lnTo>
                    <a:lnTo>
                      <a:pt x="47274" y="80912"/>
                    </a:lnTo>
                    <a:lnTo>
                      <a:pt x="48032" y="81215"/>
                    </a:lnTo>
                    <a:lnTo>
                      <a:pt x="50153" y="82276"/>
                    </a:lnTo>
                    <a:lnTo>
                      <a:pt x="51972" y="83488"/>
                    </a:lnTo>
                    <a:lnTo>
                      <a:pt x="53638" y="86670"/>
                    </a:lnTo>
                    <a:lnTo>
                      <a:pt x="57426" y="87579"/>
                    </a:lnTo>
                    <a:lnTo>
                      <a:pt x="62275" y="87579"/>
                    </a:lnTo>
                    <a:lnTo>
                      <a:pt x="64093" y="86215"/>
                    </a:lnTo>
                    <a:lnTo>
                      <a:pt x="65608" y="85912"/>
                    </a:lnTo>
                    <a:lnTo>
                      <a:pt x="67426" y="86367"/>
                    </a:lnTo>
                    <a:lnTo>
                      <a:pt x="71214" y="86821"/>
                    </a:lnTo>
                    <a:lnTo>
                      <a:pt x="71669" y="84245"/>
                    </a:lnTo>
                    <a:lnTo>
                      <a:pt x="73791" y="81518"/>
                    </a:lnTo>
                    <a:lnTo>
                      <a:pt x="74700" y="80609"/>
                    </a:lnTo>
                    <a:lnTo>
                      <a:pt x="77579" y="80760"/>
                    </a:lnTo>
                    <a:lnTo>
                      <a:pt x="78185" y="78791"/>
                    </a:lnTo>
                    <a:lnTo>
                      <a:pt x="78942" y="73336"/>
                    </a:lnTo>
                    <a:lnTo>
                      <a:pt x="79397" y="72730"/>
                    </a:lnTo>
                    <a:lnTo>
                      <a:pt x="81518" y="72730"/>
                    </a:lnTo>
                    <a:lnTo>
                      <a:pt x="83488" y="73790"/>
                    </a:lnTo>
                    <a:lnTo>
                      <a:pt x="84094" y="74548"/>
                    </a:lnTo>
                    <a:lnTo>
                      <a:pt x="85155" y="74548"/>
                    </a:lnTo>
                    <a:lnTo>
                      <a:pt x="86518" y="73942"/>
                    </a:lnTo>
                    <a:lnTo>
                      <a:pt x="88185" y="73639"/>
                    </a:lnTo>
                    <a:lnTo>
                      <a:pt x="90609" y="74245"/>
                    </a:lnTo>
                    <a:lnTo>
                      <a:pt x="96064" y="76669"/>
                    </a:lnTo>
                    <a:lnTo>
                      <a:pt x="98791" y="77579"/>
                    </a:lnTo>
                    <a:lnTo>
                      <a:pt x="100610" y="77427"/>
                    </a:lnTo>
                    <a:lnTo>
                      <a:pt x="102277" y="77427"/>
                    </a:lnTo>
                    <a:lnTo>
                      <a:pt x="108489" y="81367"/>
                    </a:lnTo>
                    <a:lnTo>
                      <a:pt x="113034" y="81821"/>
                    </a:lnTo>
                    <a:lnTo>
                      <a:pt x="116974" y="81821"/>
                    </a:lnTo>
                    <a:lnTo>
                      <a:pt x="118338" y="80760"/>
                    </a:lnTo>
                    <a:lnTo>
                      <a:pt x="120004" y="79700"/>
                    </a:lnTo>
                    <a:lnTo>
                      <a:pt x="121822" y="79851"/>
                    </a:lnTo>
                    <a:lnTo>
                      <a:pt x="123489" y="80306"/>
                    </a:lnTo>
                    <a:lnTo>
                      <a:pt x="126520" y="82124"/>
                    </a:lnTo>
                    <a:lnTo>
                      <a:pt x="127884" y="82427"/>
                    </a:lnTo>
                    <a:lnTo>
                      <a:pt x="129853" y="82730"/>
                    </a:lnTo>
                    <a:lnTo>
                      <a:pt x="131217" y="83185"/>
                    </a:lnTo>
                    <a:lnTo>
                      <a:pt x="132429" y="86064"/>
                    </a:lnTo>
                    <a:lnTo>
                      <a:pt x="133035" y="86821"/>
                    </a:lnTo>
                    <a:lnTo>
                      <a:pt x="133944" y="84094"/>
                    </a:lnTo>
                    <a:lnTo>
                      <a:pt x="136065" y="80457"/>
                    </a:lnTo>
                    <a:lnTo>
                      <a:pt x="138035" y="78336"/>
                    </a:lnTo>
                    <a:lnTo>
                      <a:pt x="139551" y="77579"/>
                    </a:lnTo>
                    <a:lnTo>
                      <a:pt x="142429" y="78185"/>
                    </a:lnTo>
                    <a:lnTo>
                      <a:pt x="147581" y="78791"/>
                    </a:lnTo>
                    <a:lnTo>
                      <a:pt x="151521" y="78336"/>
                    </a:lnTo>
                    <a:lnTo>
                      <a:pt x="155157" y="76669"/>
                    </a:lnTo>
                    <a:lnTo>
                      <a:pt x="157127" y="75154"/>
                    </a:lnTo>
                    <a:lnTo>
                      <a:pt x="158793" y="73790"/>
                    </a:lnTo>
                    <a:lnTo>
                      <a:pt x="159400" y="72730"/>
                    </a:lnTo>
                    <a:lnTo>
                      <a:pt x="160157" y="72275"/>
                    </a:lnTo>
                    <a:lnTo>
                      <a:pt x="163036" y="71366"/>
                    </a:lnTo>
                    <a:lnTo>
                      <a:pt x="164097" y="70457"/>
                    </a:lnTo>
                    <a:lnTo>
                      <a:pt x="164400" y="68487"/>
                    </a:lnTo>
                    <a:lnTo>
                      <a:pt x="164703" y="66366"/>
                    </a:lnTo>
                    <a:lnTo>
                      <a:pt x="165309" y="64699"/>
                    </a:lnTo>
                    <a:lnTo>
                      <a:pt x="166067" y="63639"/>
                    </a:lnTo>
                    <a:lnTo>
                      <a:pt x="171673" y="60760"/>
                    </a:lnTo>
                    <a:lnTo>
                      <a:pt x="172127" y="59851"/>
                    </a:lnTo>
                    <a:lnTo>
                      <a:pt x="173036" y="58942"/>
                    </a:lnTo>
                    <a:lnTo>
                      <a:pt x="174703" y="57881"/>
                    </a:lnTo>
                    <a:lnTo>
                      <a:pt x="176370" y="56214"/>
                    </a:lnTo>
                    <a:lnTo>
                      <a:pt x="178037" y="55305"/>
                    </a:lnTo>
                    <a:lnTo>
                      <a:pt x="180158" y="55457"/>
                    </a:lnTo>
                    <a:lnTo>
                      <a:pt x="182279" y="55305"/>
                    </a:lnTo>
                    <a:lnTo>
                      <a:pt x="183795" y="54699"/>
                    </a:lnTo>
                    <a:lnTo>
                      <a:pt x="184552" y="5469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5" name="Freeform: Shape 3304">
                <a:extLst>
                  <a:ext uri="{FF2B5EF4-FFF2-40B4-BE49-F238E27FC236}">
                    <a16:creationId xmlns:a16="http://schemas.microsoft.com/office/drawing/2014/main" id="{49103DF0-C174-4BCD-8F03-10D21289F709}"/>
                  </a:ext>
                </a:extLst>
              </p:cNvPr>
              <p:cNvSpPr/>
              <p:nvPr/>
            </p:nvSpPr>
            <p:spPr>
              <a:xfrm>
                <a:off x="6661021" y="3548926"/>
                <a:ext cx="61668" cy="33789"/>
              </a:xfrm>
              <a:custGeom>
                <a:avLst/>
                <a:gdLst>
                  <a:gd name="connsiteX0" fmla="*/ 59093 w 61668"/>
                  <a:gd name="connsiteY0" fmla="*/ 2121 h 33789"/>
                  <a:gd name="connsiteX1" fmla="*/ 61669 w 61668"/>
                  <a:gd name="connsiteY1" fmla="*/ 0 h 33789"/>
                  <a:gd name="connsiteX2" fmla="*/ 57729 w 61668"/>
                  <a:gd name="connsiteY2" fmla="*/ 1061 h 33789"/>
                  <a:gd name="connsiteX3" fmla="*/ 53941 w 61668"/>
                  <a:gd name="connsiteY3" fmla="*/ 2879 h 33789"/>
                  <a:gd name="connsiteX4" fmla="*/ 51669 w 61668"/>
                  <a:gd name="connsiteY4" fmla="*/ 3637 h 33789"/>
                  <a:gd name="connsiteX5" fmla="*/ 48183 w 61668"/>
                  <a:gd name="connsiteY5" fmla="*/ 5909 h 33789"/>
                  <a:gd name="connsiteX6" fmla="*/ 35759 w 61668"/>
                  <a:gd name="connsiteY6" fmla="*/ 9546 h 33789"/>
                  <a:gd name="connsiteX7" fmla="*/ 31668 w 61668"/>
                  <a:gd name="connsiteY7" fmla="*/ 10152 h 33789"/>
                  <a:gd name="connsiteX8" fmla="*/ 27425 w 61668"/>
                  <a:gd name="connsiteY8" fmla="*/ 10000 h 33789"/>
                  <a:gd name="connsiteX9" fmla="*/ 22425 w 61668"/>
                  <a:gd name="connsiteY9" fmla="*/ 9546 h 33789"/>
                  <a:gd name="connsiteX10" fmla="*/ 17425 w 61668"/>
                  <a:gd name="connsiteY10" fmla="*/ 8485 h 33789"/>
                  <a:gd name="connsiteX11" fmla="*/ 17122 w 61668"/>
                  <a:gd name="connsiteY11" fmla="*/ 11970 h 33789"/>
                  <a:gd name="connsiteX12" fmla="*/ 15758 w 61668"/>
                  <a:gd name="connsiteY12" fmla="*/ 15001 h 33789"/>
                  <a:gd name="connsiteX13" fmla="*/ 12879 w 61668"/>
                  <a:gd name="connsiteY13" fmla="*/ 15607 h 33789"/>
                  <a:gd name="connsiteX14" fmla="*/ 11212 w 61668"/>
                  <a:gd name="connsiteY14" fmla="*/ 15304 h 33789"/>
                  <a:gd name="connsiteX15" fmla="*/ 9546 w 61668"/>
                  <a:gd name="connsiteY15" fmla="*/ 14849 h 33789"/>
                  <a:gd name="connsiteX16" fmla="*/ 6970 w 61668"/>
                  <a:gd name="connsiteY16" fmla="*/ 15758 h 33789"/>
                  <a:gd name="connsiteX17" fmla="*/ 4697 w 61668"/>
                  <a:gd name="connsiteY17" fmla="*/ 17728 h 33789"/>
                  <a:gd name="connsiteX18" fmla="*/ 2424 w 61668"/>
                  <a:gd name="connsiteY18" fmla="*/ 18940 h 33789"/>
                  <a:gd name="connsiteX19" fmla="*/ 0 w 61668"/>
                  <a:gd name="connsiteY19" fmla="*/ 18031 h 33789"/>
                  <a:gd name="connsiteX20" fmla="*/ 455 w 61668"/>
                  <a:gd name="connsiteY20" fmla="*/ 21970 h 33789"/>
                  <a:gd name="connsiteX21" fmla="*/ 3030 w 61668"/>
                  <a:gd name="connsiteY21" fmla="*/ 27425 h 33789"/>
                  <a:gd name="connsiteX22" fmla="*/ 3939 w 61668"/>
                  <a:gd name="connsiteY22" fmla="*/ 28941 h 33789"/>
                  <a:gd name="connsiteX23" fmla="*/ 5606 w 61668"/>
                  <a:gd name="connsiteY23" fmla="*/ 29546 h 33789"/>
                  <a:gd name="connsiteX24" fmla="*/ 10606 w 61668"/>
                  <a:gd name="connsiteY24" fmla="*/ 31365 h 33789"/>
                  <a:gd name="connsiteX25" fmla="*/ 12273 w 61668"/>
                  <a:gd name="connsiteY25" fmla="*/ 31365 h 33789"/>
                  <a:gd name="connsiteX26" fmla="*/ 15455 w 61668"/>
                  <a:gd name="connsiteY26" fmla="*/ 31062 h 33789"/>
                  <a:gd name="connsiteX27" fmla="*/ 16667 w 61668"/>
                  <a:gd name="connsiteY27" fmla="*/ 31819 h 33789"/>
                  <a:gd name="connsiteX28" fmla="*/ 17425 w 61668"/>
                  <a:gd name="connsiteY28" fmla="*/ 33638 h 33789"/>
                  <a:gd name="connsiteX29" fmla="*/ 19243 w 61668"/>
                  <a:gd name="connsiteY29" fmla="*/ 33789 h 33789"/>
                  <a:gd name="connsiteX30" fmla="*/ 19698 w 61668"/>
                  <a:gd name="connsiteY30" fmla="*/ 32880 h 33789"/>
                  <a:gd name="connsiteX31" fmla="*/ 19698 w 61668"/>
                  <a:gd name="connsiteY31" fmla="*/ 31819 h 33789"/>
                  <a:gd name="connsiteX32" fmla="*/ 20758 w 61668"/>
                  <a:gd name="connsiteY32" fmla="*/ 30607 h 33789"/>
                  <a:gd name="connsiteX33" fmla="*/ 22274 w 61668"/>
                  <a:gd name="connsiteY33" fmla="*/ 30001 h 33789"/>
                  <a:gd name="connsiteX34" fmla="*/ 23940 w 61668"/>
                  <a:gd name="connsiteY34" fmla="*/ 29850 h 33789"/>
                  <a:gd name="connsiteX35" fmla="*/ 27122 w 61668"/>
                  <a:gd name="connsiteY35" fmla="*/ 29243 h 33789"/>
                  <a:gd name="connsiteX36" fmla="*/ 30455 w 61668"/>
                  <a:gd name="connsiteY36" fmla="*/ 28183 h 33789"/>
                  <a:gd name="connsiteX37" fmla="*/ 33183 w 61668"/>
                  <a:gd name="connsiteY37" fmla="*/ 26516 h 33789"/>
                  <a:gd name="connsiteX38" fmla="*/ 38183 w 61668"/>
                  <a:gd name="connsiteY38" fmla="*/ 21516 h 33789"/>
                  <a:gd name="connsiteX39" fmla="*/ 39850 w 61668"/>
                  <a:gd name="connsiteY39" fmla="*/ 21364 h 33789"/>
                  <a:gd name="connsiteX40" fmla="*/ 41517 w 61668"/>
                  <a:gd name="connsiteY40" fmla="*/ 21667 h 33789"/>
                  <a:gd name="connsiteX41" fmla="*/ 44698 w 61668"/>
                  <a:gd name="connsiteY41" fmla="*/ 21364 h 33789"/>
                  <a:gd name="connsiteX42" fmla="*/ 47881 w 61668"/>
                  <a:gd name="connsiteY42" fmla="*/ 20910 h 33789"/>
                  <a:gd name="connsiteX43" fmla="*/ 47123 w 61668"/>
                  <a:gd name="connsiteY43" fmla="*/ 19092 h 33789"/>
                  <a:gd name="connsiteX44" fmla="*/ 46517 w 61668"/>
                  <a:gd name="connsiteY44" fmla="*/ 18486 h 33789"/>
                  <a:gd name="connsiteX45" fmla="*/ 44547 w 61668"/>
                  <a:gd name="connsiteY45" fmla="*/ 16213 h 33789"/>
                  <a:gd name="connsiteX46" fmla="*/ 43941 w 61668"/>
                  <a:gd name="connsiteY46" fmla="*/ 14243 h 33789"/>
                  <a:gd name="connsiteX47" fmla="*/ 44850 w 61668"/>
                  <a:gd name="connsiteY47" fmla="*/ 11515 h 3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1668" h="33789">
                    <a:moveTo>
                      <a:pt x="59093" y="2121"/>
                    </a:moveTo>
                    <a:lnTo>
                      <a:pt x="61669" y="0"/>
                    </a:lnTo>
                    <a:lnTo>
                      <a:pt x="57729" y="1061"/>
                    </a:lnTo>
                    <a:lnTo>
                      <a:pt x="53941" y="2879"/>
                    </a:lnTo>
                    <a:lnTo>
                      <a:pt x="51669" y="3637"/>
                    </a:lnTo>
                    <a:lnTo>
                      <a:pt x="48183" y="5909"/>
                    </a:lnTo>
                    <a:lnTo>
                      <a:pt x="35759" y="9546"/>
                    </a:lnTo>
                    <a:lnTo>
                      <a:pt x="31668" y="10152"/>
                    </a:lnTo>
                    <a:lnTo>
                      <a:pt x="27425" y="10000"/>
                    </a:lnTo>
                    <a:lnTo>
                      <a:pt x="22425" y="9546"/>
                    </a:lnTo>
                    <a:lnTo>
                      <a:pt x="17425" y="8485"/>
                    </a:lnTo>
                    <a:lnTo>
                      <a:pt x="17122" y="11970"/>
                    </a:lnTo>
                    <a:lnTo>
                      <a:pt x="15758" y="15001"/>
                    </a:lnTo>
                    <a:lnTo>
                      <a:pt x="12879" y="15607"/>
                    </a:lnTo>
                    <a:lnTo>
                      <a:pt x="11212" y="15304"/>
                    </a:lnTo>
                    <a:lnTo>
                      <a:pt x="9546" y="14849"/>
                    </a:lnTo>
                    <a:lnTo>
                      <a:pt x="6970" y="15758"/>
                    </a:lnTo>
                    <a:lnTo>
                      <a:pt x="4697" y="17728"/>
                    </a:lnTo>
                    <a:lnTo>
                      <a:pt x="2424" y="18940"/>
                    </a:lnTo>
                    <a:lnTo>
                      <a:pt x="0" y="18031"/>
                    </a:lnTo>
                    <a:lnTo>
                      <a:pt x="455" y="21970"/>
                    </a:lnTo>
                    <a:lnTo>
                      <a:pt x="3030" y="27425"/>
                    </a:lnTo>
                    <a:lnTo>
                      <a:pt x="3939" y="28941"/>
                    </a:lnTo>
                    <a:lnTo>
                      <a:pt x="5606" y="29546"/>
                    </a:lnTo>
                    <a:lnTo>
                      <a:pt x="10606" y="31365"/>
                    </a:lnTo>
                    <a:lnTo>
                      <a:pt x="12273" y="31365"/>
                    </a:lnTo>
                    <a:lnTo>
                      <a:pt x="15455" y="31062"/>
                    </a:lnTo>
                    <a:lnTo>
                      <a:pt x="16667" y="31819"/>
                    </a:lnTo>
                    <a:lnTo>
                      <a:pt x="17425" y="33638"/>
                    </a:lnTo>
                    <a:lnTo>
                      <a:pt x="19243" y="33789"/>
                    </a:lnTo>
                    <a:lnTo>
                      <a:pt x="19698" y="32880"/>
                    </a:lnTo>
                    <a:lnTo>
                      <a:pt x="19698" y="31819"/>
                    </a:lnTo>
                    <a:lnTo>
                      <a:pt x="20758" y="30607"/>
                    </a:lnTo>
                    <a:lnTo>
                      <a:pt x="22274" y="30001"/>
                    </a:lnTo>
                    <a:lnTo>
                      <a:pt x="23940" y="29850"/>
                    </a:lnTo>
                    <a:lnTo>
                      <a:pt x="27122" y="29243"/>
                    </a:lnTo>
                    <a:lnTo>
                      <a:pt x="30455" y="28183"/>
                    </a:lnTo>
                    <a:lnTo>
                      <a:pt x="33183" y="26516"/>
                    </a:lnTo>
                    <a:lnTo>
                      <a:pt x="38183" y="21516"/>
                    </a:lnTo>
                    <a:lnTo>
                      <a:pt x="39850" y="21364"/>
                    </a:lnTo>
                    <a:lnTo>
                      <a:pt x="41517" y="21667"/>
                    </a:lnTo>
                    <a:lnTo>
                      <a:pt x="44698" y="21364"/>
                    </a:lnTo>
                    <a:lnTo>
                      <a:pt x="47881" y="20910"/>
                    </a:lnTo>
                    <a:lnTo>
                      <a:pt x="47123" y="19092"/>
                    </a:lnTo>
                    <a:lnTo>
                      <a:pt x="46517" y="18486"/>
                    </a:lnTo>
                    <a:lnTo>
                      <a:pt x="44547" y="16213"/>
                    </a:lnTo>
                    <a:lnTo>
                      <a:pt x="43941" y="14243"/>
                    </a:lnTo>
                    <a:lnTo>
                      <a:pt x="44850" y="1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6" name="Freeform: Shape 3305">
                <a:extLst>
                  <a:ext uri="{FF2B5EF4-FFF2-40B4-BE49-F238E27FC236}">
                    <a16:creationId xmlns:a16="http://schemas.microsoft.com/office/drawing/2014/main" id="{60AF6B46-69E8-443B-A3A8-4E734903D4E6}"/>
                  </a:ext>
                </a:extLst>
              </p:cNvPr>
              <p:cNvSpPr/>
              <p:nvPr/>
            </p:nvSpPr>
            <p:spPr>
              <a:xfrm>
                <a:off x="8426540" y="4846549"/>
                <a:ext cx="243493" cy="48941"/>
              </a:xfrm>
              <a:custGeom>
                <a:avLst/>
                <a:gdLst>
                  <a:gd name="connsiteX0" fmla="*/ 606 w 243493"/>
                  <a:gd name="connsiteY0" fmla="*/ 48335 h 48941"/>
                  <a:gd name="connsiteX1" fmla="*/ 303 w 243493"/>
                  <a:gd name="connsiteY1" fmla="*/ 48184 h 48941"/>
                  <a:gd name="connsiteX2" fmla="*/ 152 w 243493"/>
                  <a:gd name="connsiteY2" fmla="*/ 47881 h 48941"/>
                  <a:gd name="connsiteX3" fmla="*/ 303 w 243493"/>
                  <a:gd name="connsiteY3" fmla="*/ 47577 h 48941"/>
                  <a:gd name="connsiteX4" fmla="*/ 152 w 243493"/>
                  <a:gd name="connsiteY4" fmla="*/ 47123 h 48941"/>
                  <a:gd name="connsiteX5" fmla="*/ 152 w 243493"/>
                  <a:gd name="connsiteY5" fmla="*/ 46972 h 48941"/>
                  <a:gd name="connsiteX6" fmla="*/ 152 w 243493"/>
                  <a:gd name="connsiteY6" fmla="*/ 46668 h 48941"/>
                  <a:gd name="connsiteX7" fmla="*/ 0 w 243493"/>
                  <a:gd name="connsiteY7" fmla="*/ 46668 h 48941"/>
                  <a:gd name="connsiteX8" fmla="*/ 0 w 243493"/>
                  <a:gd name="connsiteY8" fmla="*/ 47274 h 48941"/>
                  <a:gd name="connsiteX9" fmla="*/ 152 w 243493"/>
                  <a:gd name="connsiteY9" fmla="*/ 48032 h 48941"/>
                  <a:gd name="connsiteX10" fmla="*/ 606 w 243493"/>
                  <a:gd name="connsiteY10" fmla="*/ 48487 h 48941"/>
                  <a:gd name="connsiteX11" fmla="*/ 1212 w 243493"/>
                  <a:gd name="connsiteY11" fmla="*/ 48184 h 48941"/>
                  <a:gd name="connsiteX12" fmla="*/ 1061 w 243493"/>
                  <a:gd name="connsiteY12" fmla="*/ 48032 h 48941"/>
                  <a:gd name="connsiteX13" fmla="*/ 606 w 243493"/>
                  <a:gd name="connsiteY13" fmla="*/ 48335 h 48941"/>
                  <a:gd name="connsiteX14" fmla="*/ 2424 w 243493"/>
                  <a:gd name="connsiteY14" fmla="*/ 48032 h 48941"/>
                  <a:gd name="connsiteX15" fmla="*/ 2273 w 243493"/>
                  <a:gd name="connsiteY15" fmla="*/ 48335 h 48941"/>
                  <a:gd name="connsiteX16" fmla="*/ 1970 w 243493"/>
                  <a:gd name="connsiteY16" fmla="*/ 48487 h 48941"/>
                  <a:gd name="connsiteX17" fmla="*/ 1667 w 243493"/>
                  <a:gd name="connsiteY17" fmla="*/ 48487 h 48941"/>
                  <a:gd name="connsiteX18" fmla="*/ 1667 w 243493"/>
                  <a:gd name="connsiteY18" fmla="*/ 48638 h 48941"/>
                  <a:gd name="connsiteX19" fmla="*/ 1818 w 243493"/>
                  <a:gd name="connsiteY19" fmla="*/ 48790 h 48941"/>
                  <a:gd name="connsiteX20" fmla="*/ 2122 w 243493"/>
                  <a:gd name="connsiteY20" fmla="*/ 48941 h 48941"/>
                  <a:gd name="connsiteX21" fmla="*/ 2424 w 243493"/>
                  <a:gd name="connsiteY21" fmla="*/ 48790 h 48941"/>
                  <a:gd name="connsiteX22" fmla="*/ 2576 w 243493"/>
                  <a:gd name="connsiteY22" fmla="*/ 48487 h 48941"/>
                  <a:gd name="connsiteX23" fmla="*/ 2576 w 243493"/>
                  <a:gd name="connsiteY23" fmla="*/ 48184 h 48941"/>
                  <a:gd name="connsiteX24" fmla="*/ 2424 w 243493"/>
                  <a:gd name="connsiteY24" fmla="*/ 47881 h 48941"/>
                  <a:gd name="connsiteX25" fmla="*/ 2424 w 243493"/>
                  <a:gd name="connsiteY25" fmla="*/ 48032 h 48941"/>
                  <a:gd name="connsiteX26" fmla="*/ 242888 w 243493"/>
                  <a:gd name="connsiteY26" fmla="*/ 0 h 48941"/>
                  <a:gd name="connsiteX27" fmla="*/ 241979 w 243493"/>
                  <a:gd name="connsiteY27" fmla="*/ 455 h 48941"/>
                  <a:gd name="connsiteX28" fmla="*/ 241372 w 243493"/>
                  <a:gd name="connsiteY28" fmla="*/ 606 h 48941"/>
                  <a:gd name="connsiteX29" fmla="*/ 240009 w 243493"/>
                  <a:gd name="connsiteY29" fmla="*/ 758 h 48941"/>
                  <a:gd name="connsiteX30" fmla="*/ 239706 w 243493"/>
                  <a:gd name="connsiteY30" fmla="*/ 2273 h 48941"/>
                  <a:gd name="connsiteX31" fmla="*/ 241372 w 243493"/>
                  <a:gd name="connsiteY31" fmla="*/ 2576 h 48941"/>
                  <a:gd name="connsiteX32" fmla="*/ 242736 w 243493"/>
                  <a:gd name="connsiteY32" fmla="*/ 3637 h 48941"/>
                  <a:gd name="connsiteX33" fmla="*/ 243494 w 243493"/>
                  <a:gd name="connsiteY33" fmla="*/ 1667 h 48941"/>
                  <a:gd name="connsiteX34" fmla="*/ 242888 w 243493"/>
                  <a:gd name="connsiteY34" fmla="*/ 0 h 4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3493" h="48941">
                    <a:moveTo>
                      <a:pt x="606" y="48335"/>
                    </a:moveTo>
                    <a:lnTo>
                      <a:pt x="303" y="48184"/>
                    </a:lnTo>
                    <a:lnTo>
                      <a:pt x="152" y="47881"/>
                    </a:lnTo>
                    <a:lnTo>
                      <a:pt x="303" y="47577"/>
                    </a:lnTo>
                    <a:lnTo>
                      <a:pt x="152" y="47123"/>
                    </a:lnTo>
                    <a:lnTo>
                      <a:pt x="152" y="46972"/>
                    </a:lnTo>
                    <a:lnTo>
                      <a:pt x="152" y="46668"/>
                    </a:lnTo>
                    <a:lnTo>
                      <a:pt x="0" y="46668"/>
                    </a:lnTo>
                    <a:lnTo>
                      <a:pt x="0" y="47274"/>
                    </a:lnTo>
                    <a:lnTo>
                      <a:pt x="152" y="48032"/>
                    </a:lnTo>
                    <a:lnTo>
                      <a:pt x="606" y="48487"/>
                    </a:lnTo>
                    <a:lnTo>
                      <a:pt x="1212" y="48184"/>
                    </a:lnTo>
                    <a:lnTo>
                      <a:pt x="1061" y="48032"/>
                    </a:lnTo>
                    <a:lnTo>
                      <a:pt x="606" y="48335"/>
                    </a:lnTo>
                    <a:close/>
                    <a:moveTo>
                      <a:pt x="2424" y="48032"/>
                    </a:moveTo>
                    <a:lnTo>
                      <a:pt x="2273" y="48335"/>
                    </a:lnTo>
                    <a:lnTo>
                      <a:pt x="1970" y="48487"/>
                    </a:lnTo>
                    <a:lnTo>
                      <a:pt x="1667" y="48487"/>
                    </a:lnTo>
                    <a:lnTo>
                      <a:pt x="1667" y="48638"/>
                    </a:lnTo>
                    <a:lnTo>
                      <a:pt x="1818" y="48790"/>
                    </a:lnTo>
                    <a:lnTo>
                      <a:pt x="2122" y="48941"/>
                    </a:lnTo>
                    <a:lnTo>
                      <a:pt x="2424" y="48790"/>
                    </a:lnTo>
                    <a:lnTo>
                      <a:pt x="2576" y="48487"/>
                    </a:lnTo>
                    <a:lnTo>
                      <a:pt x="2576" y="48184"/>
                    </a:lnTo>
                    <a:lnTo>
                      <a:pt x="2424" y="47881"/>
                    </a:lnTo>
                    <a:lnTo>
                      <a:pt x="2424" y="48032"/>
                    </a:lnTo>
                    <a:close/>
                    <a:moveTo>
                      <a:pt x="242888" y="0"/>
                    </a:moveTo>
                    <a:lnTo>
                      <a:pt x="241979" y="455"/>
                    </a:lnTo>
                    <a:lnTo>
                      <a:pt x="241372" y="606"/>
                    </a:lnTo>
                    <a:lnTo>
                      <a:pt x="240009" y="758"/>
                    </a:lnTo>
                    <a:lnTo>
                      <a:pt x="239706" y="2273"/>
                    </a:lnTo>
                    <a:lnTo>
                      <a:pt x="241372" y="2576"/>
                    </a:lnTo>
                    <a:lnTo>
                      <a:pt x="242736" y="3637"/>
                    </a:lnTo>
                    <a:lnTo>
                      <a:pt x="243494" y="1667"/>
                    </a:lnTo>
                    <a:lnTo>
                      <a:pt x="24288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7" name="Freeform: Shape 3306">
                <a:extLst>
                  <a:ext uri="{FF2B5EF4-FFF2-40B4-BE49-F238E27FC236}">
                    <a16:creationId xmlns:a16="http://schemas.microsoft.com/office/drawing/2014/main" id="{56873C12-F75B-4456-8B27-C4E2AAA802C6}"/>
                  </a:ext>
                </a:extLst>
              </p:cNvPr>
              <p:cNvSpPr/>
              <p:nvPr/>
            </p:nvSpPr>
            <p:spPr>
              <a:xfrm>
                <a:off x="3885008" y="4223799"/>
                <a:ext cx="11060" cy="9242"/>
              </a:xfrm>
              <a:custGeom>
                <a:avLst/>
                <a:gdLst>
                  <a:gd name="connsiteX0" fmla="*/ 8940 w 11060"/>
                  <a:gd name="connsiteY0" fmla="*/ 6212 h 9242"/>
                  <a:gd name="connsiteX1" fmla="*/ 3939 w 11060"/>
                  <a:gd name="connsiteY1" fmla="*/ 4243 h 9242"/>
                  <a:gd name="connsiteX2" fmla="*/ 2121 w 11060"/>
                  <a:gd name="connsiteY2" fmla="*/ 1061 h 9242"/>
                  <a:gd name="connsiteX3" fmla="*/ 1061 w 11060"/>
                  <a:gd name="connsiteY3" fmla="*/ 303 h 9242"/>
                  <a:gd name="connsiteX4" fmla="*/ 0 w 11060"/>
                  <a:gd name="connsiteY4" fmla="*/ 0 h 9242"/>
                  <a:gd name="connsiteX5" fmla="*/ 151 w 11060"/>
                  <a:gd name="connsiteY5" fmla="*/ 2273 h 9242"/>
                  <a:gd name="connsiteX6" fmla="*/ 4394 w 11060"/>
                  <a:gd name="connsiteY6" fmla="*/ 6667 h 9242"/>
                  <a:gd name="connsiteX7" fmla="*/ 9697 w 11060"/>
                  <a:gd name="connsiteY7" fmla="*/ 9243 h 9242"/>
                  <a:gd name="connsiteX8" fmla="*/ 11061 w 11060"/>
                  <a:gd name="connsiteY8" fmla="*/ 8940 h 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60" h="9242">
                    <a:moveTo>
                      <a:pt x="8940" y="6212"/>
                    </a:moveTo>
                    <a:lnTo>
                      <a:pt x="3939" y="4243"/>
                    </a:lnTo>
                    <a:lnTo>
                      <a:pt x="2121" y="1061"/>
                    </a:lnTo>
                    <a:lnTo>
                      <a:pt x="1061" y="303"/>
                    </a:lnTo>
                    <a:lnTo>
                      <a:pt x="0" y="0"/>
                    </a:lnTo>
                    <a:lnTo>
                      <a:pt x="151" y="2273"/>
                    </a:lnTo>
                    <a:lnTo>
                      <a:pt x="4394" y="6667"/>
                    </a:lnTo>
                    <a:lnTo>
                      <a:pt x="9697" y="9243"/>
                    </a:lnTo>
                    <a:lnTo>
                      <a:pt x="11061" y="8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8" name="Freeform: Shape 3307">
                <a:extLst>
                  <a:ext uri="{FF2B5EF4-FFF2-40B4-BE49-F238E27FC236}">
                    <a16:creationId xmlns:a16="http://schemas.microsoft.com/office/drawing/2014/main" id="{117DB387-D2F7-43E6-9E22-4E2CA0526E65}"/>
                  </a:ext>
                </a:extLst>
              </p:cNvPr>
              <p:cNvSpPr/>
              <p:nvPr/>
            </p:nvSpPr>
            <p:spPr>
              <a:xfrm>
                <a:off x="5083841" y="4090158"/>
                <a:ext cx="72578" cy="66214"/>
              </a:xfrm>
              <a:custGeom>
                <a:avLst/>
                <a:gdLst>
                  <a:gd name="connsiteX0" fmla="*/ 11061 w 72578"/>
                  <a:gd name="connsiteY0" fmla="*/ 7576 h 66214"/>
                  <a:gd name="connsiteX1" fmla="*/ 9545 w 72578"/>
                  <a:gd name="connsiteY1" fmla="*/ 7879 h 66214"/>
                  <a:gd name="connsiteX2" fmla="*/ 7424 w 72578"/>
                  <a:gd name="connsiteY2" fmla="*/ 9091 h 66214"/>
                  <a:gd name="connsiteX3" fmla="*/ 6818 w 72578"/>
                  <a:gd name="connsiteY3" fmla="*/ 10152 h 66214"/>
                  <a:gd name="connsiteX4" fmla="*/ 8788 w 72578"/>
                  <a:gd name="connsiteY4" fmla="*/ 11213 h 66214"/>
                  <a:gd name="connsiteX5" fmla="*/ 10152 w 72578"/>
                  <a:gd name="connsiteY5" fmla="*/ 11364 h 66214"/>
                  <a:gd name="connsiteX6" fmla="*/ 12424 w 72578"/>
                  <a:gd name="connsiteY6" fmla="*/ 10758 h 66214"/>
                  <a:gd name="connsiteX7" fmla="*/ 12273 w 72578"/>
                  <a:gd name="connsiteY7" fmla="*/ 10000 h 66214"/>
                  <a:gd name="connsiteX8" fmla="*/ 11061 w 72578"/>
                  <a:gd name="connsiteY8" fmla="*/ 7576 h 66214"/>
                  <a:gd name="connsiteX9" fmla="*/ 25910 w 72578"/>
                  <a:gd name="connsiteY9" fmla="*/ 60154 h 66214"/>
                  <a:gd name="connsiteX10" fmla="*/ 23031 w 72578"/>
                  <a:gd name="connsiteY10" fmla="*/ 61820 h 66214"/>
                  <a:gd name="connsiteX11" fmla="*/ 22425 w 72578"/>
                  <a:gd name="connsiteY11" fmla="*/ 63184 h 66214"/>
                  <a:gd name="connsiteX12" fmla="*/ 23031 w 72578"/>
                  <a:gd name="connsiteY12" fmla="*/ 64699 h 66214"/>
                  <a:gd name="connsiteX13" fmla="*/ 24395 w 72578"/>
                  <a:gd name="connsiteY13" fmla="*/ 65760 h 66214"/>
                  <a:gd name="connsiteX14" fmla="*/ 25910 w 72578"/>
                  <a:gd name="connsiteY14" fmla="*/ 66214 h 66214"/>
                  <a:gd name="connsiteX15" fmla="*/ 28031 w 72578"/>
                  <a:gd name="connsiteY15" fmla="*/ 65154 h 66214"/>
                  <a:gd name="connsiteX16" fmla="*/ 28334 w 72578"/>
                  <a:gd name="connsiteY16" fmla="*/ 63184 h 66214"/>
                  <a:gd name="connsiteX17" fmla="*/ 27425 w 72578"/>
                  <a:gd name="connsiteY17" fmla="*/ 60608 h 66214"/>
                  <a:gd name="connsiteX18" fmla="*/ 25910 w 72578"/>
                  <a:gd name="connsiteY18" fmla="*/ 60154 h 66214"/>
                  <a:gd name="connsiteX19" fmla="*/ 9849 w 72578"/>
                  <a:gd name="connsiteY19" fmla="*/ 2727 h 66214"/>
                  <a:gd name="connsiteX20" fmla="*/ 8333 w 72578"/>
                  <a:gd name="connsiteY20" fmla="*/ 455 h 66214"/>
                  <a:gd name="connsiteX21" fmla="*/ 6212 w 72578"/>
                  <a:gd name="connsiteY21" fmla="*/ 0 h 66214"/>
                  <a:gd name="connsiteX22" fmla="*/ 151 w 72578"/>
                  <a:gd name="connsiteY22" fmla="*/ 2879 h 66214"/>
                  <a:gd name="connsiteX23" fmla="*/ 0 w 72578"/>
                  <a:gd name="connsiteY23" fmla="*/ 3485 h 66214"/>
                  <a:gd name="connsiteX24" fmla="*/ 606 w 72578"/>
                  <a:gd name="connsiteY24" fmla="*/ 5000 h 66214"/>
                  <a:gd name="connsiteX25" fmla="*/ 909 w 72578"/>
                  <a:gd name="connsiteY25" fmla="*/ 7273 h 66214"/>
                  <a:gd name="connsiteX26" fmla="*/ 1969 w 72578"/>
                  <a:gd name="connsiteY26" fmla="*/ 7576 h 66214"/>
                  <a:gd name="connsiteX27" fmla="*/ 4697 w 72578"/>
                  <a:gd name="connsiteY27" fmla="*/ 6970 h 66214"/>
                  <a:gd name="connsiteX28" fmla="*/ 8940 w 72578"/>
                  <a:gd name="connsiteY28" fmla="*/ 4091 h 66214"/>
                  <a:gd name="connsiteX29" fmla="*/ 9849 w 72578"/>
                  <a:gd name="connsiteY29" fmla="*/ 2727 h 66214"/>
                  <a:gd name="connsiteX30" fmla="*/ 34243 w 72578"/>
                  <a:gd name="connsiteY30" fmla="*/ 15910 h 66214"/>
                  <a:gd name="connsiteX31" fmla="*/ 29243 w 72578"/>
                  <a:gd name="connsiteY31" fmla="*/ 15304 h 66214"/>
                  <a:gd name="connsiteX32" fmla="*/ 26364 w 72578"/>
                  <a:gd name="connsiteY32" fmla="*/ 14394 h 66214"/>
                  <a:gd name="connsiteX33" fmla="*/ 25910 w 72578"/>
                  <a:gd name="connsiteY33" fmla="*/ 14698 h 66214"/>
                  <a:gd name="connsiteX34" fmla="*/ 25758 w 72578"/>
                  <a:gd name="connsiteY34" fmla="*/ 15910 h 66214"/>
                  <a:gd name="connsiteX35" fmla="*/ 27880 w 72578"/>
                  <a:gd name="connsiteY35" fmla="*/ 19395 h 66214"/>
                  <a:gd name="connsiteX36" fmla="*/ 28940 w 72578"/>
                  <a:gd name="connsiteY36" fmla="*/ 17122 h 66214"/>
                  <a:gd name="connsiteX37" fmla="*/ 30001 w 72578"/>
                  <a:gd name="connsiteY37" fmla="*/ 16516 h 66214"/>
                  <a:gd name="connsiteX38" fmla="*/ 34092 w 72578"/>
                  <a:gd name="connsiteY38" fmla="*/ 17576 h 66214"/>
                  <a:gd name="connsiteX39" fmla="*/ 35759 w 72578"/>
                  <a:gd name="connsiteY39" fmla="*/ 17273 h 66214"/>
                  <a:gd name="connsiteX40" fmla="*/ 35456 w 72578"/>
                  <a:gd name="connsiteY40" fmla="*/ 16667 h 66214"/>
                  <a:gd name="connsiteX41" fmla="*/ 34243 w 72578"/>
                  <a:gd name="connsiteY41" fmla="*/ 15910 h 66214"/>
                  <a:gd name="connsiteX42" fmla="*/ 48183 w 72578"/>
                  <a:gd name="connsiteY42" fmla="*/ 56669 h 66214"/>
                  <a:gd name="connsiteX43" fmla="*/ 44850 w 72578"/>
                  <a:gd name="connsiteY43" fmla="*/ 53638 h 66214"/>
                  <a:gd name="connsiteX44" fmla="*/ 44698 w 72578"/>
                  <a:gd name="connsiteY44" fmla="*/ 52426 h 66214"/>
                  <a:gd name="connsiteX45" fmla="*/ 43638 w 72578"/>
                  <a:gd name="connsiteY45" fmla="*/ 52123 h 66214"/>
                  <a:gd name="connsiteX46" fmla="*/ 43335 w 72578"/>
                  <a:gd name="connsiteY46" fmla="*/ 52578 h 66214"/>
                  <a:gd name="connsiteX47" fmla="*/ 43486 w 72578"/>
                  <a:gd name="connsiteY47" fmla="*/ 54396 h 66214"/>
                  <a:gd name="connsiteX48" fmla="*/ 42729 w 72578"/>
                  <a:gd name="connsiteY48" fmla="*/ 56517 h 66214"/>
                  <a:gd name="connsiteX49" fmla="*/ 42729 w 72578"/>
                  <a:gd name="connsiteY49" fmla="*/ 58942 h 66214"/>
                  <a:gd name="connsiteX50" fmla="*/ 44850 w 72578"/>
                  <a:gd name="connsiteY50" fmla="*/ 62124 h 66214"/>
                  <a:gd name="connsiteX51" fmla="*/ 46668 w 72578"/>
                  <a:gd name="connsiteY51" fmla="*/ 63184 h 66214"/>
                  <a:gd name="connsiteX52" fmla="*/ 50305 w 72578"/>
                  <a:gd name="connsiteY52" fmla="*/ 63336 h 66214"/>
                  <a:gd name="connsiteX53" fmla="*/ 51972 w 72578"/>
                  <a:gd name="connsiteY53" fmla="*/ 60760 h 66214"/>
                  <a:gd name="connsiteX54" fmla="*/ 49547 w 72578"/>
                  <a:gd name="connsiteY54" fmla="*/ 57123 h 66214"/>
                  <a:gd name="connsiteX55" fmla="*/ 48183 w 72578"/>
                  <a:gd name="connsiteY55" fmla="*/ 56669 h 66214"/>
                  <a:gd name="connsiteX56" fmla="*/ 67124 w 72578"/>
                  <a:gd name="connsiteY56" fmla="*/ 14849 h 66214"/>
                  <a:gd name="connsiteX57" fmla="*/ 66669 w 72578"/>
                  <a:gd name="connsiteY57" fmla="*/ 12879 h 66214"/>
                  <a:gd name="connsiteX58" fmla="*/ 66669 w 72578"/>
                  <a:gd name="connsiteY58" fmla="*/ 9697 h 66214"/>
                  <a:gd name="connsiteX59" fmla="*/ 65911 w 72578"/>
                  <a:gd name="connsiteY59" fmla="*/ 9849 h 66214"/>
                  <a:gd name="connsiteX60" fmla="*/ 64396 w 72578"/>
                  <a:gd name="connsiteY60" fmla="*/ 10758 h 66214"/>
                  <a:gd name="connsiteX61" fmla="*/ 64699 w 72578"/>
                  <a:gd name="connsiteY61" fmla="*/ 13788 h 66214"/>
                  <a:gd name="connsiteX62" fmla="*/ 65305 w 72578"/>
                  <a:gd name="connsiteY62" fmla="*/ 14243 h 66214"/>
                  <a:gd name="connsiteX63" fmla="*/ 66366 w 72578"/>
                  <a:gd name="connsiteY63" fmla="*/ 16364 h 66214"/>
                  <a:gd name="connsiteX64" fmla="*/ 67124 w 72578"/>
                  <a:gd name="connsiteY64" fmla="*/ 14849 h 66214"/>
                  <a:gd name="connsiteX65" fmla="*/ 72427 w 72578"/>
                  <a:gd name="connsiteY65" fmla="*/ 28637 h 66214"/>
                  <a:gd name="connsiteX66" fmla="*/ 70912 w 72578"/>
                  <a:gd name="connsiteY66" fmla="*/ 27122 h 66214"/>
                  <a:gd name="connsiteX67" fmla="*/ 69396 w 72578"/>
                  <a:gd name="connsiteY67" fmla="*/ 26971 h 66214"/>
                  <a:gd name="connsiteX68" fmla="*/ 68487 w 72578"/>
                  <a:gd name="connsiteY68" fmla="*/ 27122 h 66214"/>
                  <a:gd name="connsiteX69" fmla="*/ 66215 w 72578"/>
                  <a:gd name="connsiteY69" fmla="*/ 26668 h 66214"/>
                  <a:gd name="connsiteX70" fmla="*/ 66215 w 72578"/>
                  <a:gd name="connsiteY70" fmla="*/ 29092 h 66214"/>
                  <a:gd name="connsiteX71" fmla="*/ 65002 w 72578"/>
                  <a:gd name="connsiteY71" fmla="*/ 31971 h 66214"/>
                  <a:gd name="connsiteX72" fmla="*/ 67124 w 72578"/>
                  <a:gd name="connsiteY72" fmla="*/ 33486 h 66214"/>
                  <a:gd name="connsiteX73" fmla="*/ 68790 w 72578"/>
                  <a:gd name="connsiteY73" fmla="*/ 33638 h 66214"/>
                  <a:gd name="connsiteX74" fmla="*/ 71821 w 72578"/>
                  <a:gd name="connsiteY74" fmla="*/ 31971 h 66214"/>
                  <a:gd name="connsiteX75" fmla="*/ 72578 w 72578"/>
                  <a:gd name="connsiteY75" fmla="*/ 30001 h 66214"/>
                  <a:gd name="connsiteX76" fmla="*/ 72427 w 72578"/>
                  <a:gd name="connsiteY76" fmla="*/ 28637 h 66214"/>
                  <a:gd name="connsiteX77" fmla="*/ 60305 w 72578"/>
                  <a:gd name="connsiteY77" fmla="*/ 52275 h 66214"/>
                  <a:gd name="connsiteX78" fmla="*/ 58335 w 72578"/>
                  <a:gd name="connsiteY78" fmla="*/ 52123 h 66214"/>
                  <a:gd name="connsiteX79" fmla="*/ 57275 w 72578"/>
                  <a:gd name="connsiteY79" fmla="*/ 53941 h 66214"/>
                  <a:gd name="connsiteX80" fmla="*/ 57426 w 72578"/>
                  <a:gd name="connsiteY80" fmla="*/ 54396 h 66214"/>
                  <a:gd name="connsiteX81" fmla="*/ 57123 w 72578"/>
                  <a:gd name="connsiteY81" fmla="*/ 56063 h 66214"/>
                  <a:gd name="connsiteX82" fmla="*/ 58335 w 72578"/>
                  <a:gd name="connsiteY82" fmla="*/ 57275 h 66214"/>
                  <a:gd name="connsiteX83" fmla="*/ 59093 w 72578"/>
                  <a:gd name="connsiteY83" fmla="*/ 57123 h 66214"/>
                  <a:gd name="connsiteX84" fmla="*/ 60911 w 72578"/>
                  <a:gd name="connsiteY84" fmla="*/ 56366 h 66214"/>
                  <a:gd name="connsiteX85" fmla="*/ 60760 w 72578"/>
                  <a:gd name="connsiteY85" fmla="*/ 53487 h 66214"/>
                  <a:gd name="connsiteX86" fmla="*/ 60305 w 72578"/>
                  <a:gd name="connsiteY86" fmla="*/ 52275 h 6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2578" h="66214">
                    <a:moveTo>
                      <a:pt x="11061" y="7576"/>
                    </a:moveTo>
                    <a:lnTo>
                      <a:pt x="9545" y="7879"/>
                    </a:lnTo>
                    <a:lnTo>
                      <a:pt x="7424" y="9091"/>
                    </a:lnTo>
                    <a:lnTo>
                      <a:pt x="6818" y="10152"/>
                    </a:lnTo>
                    <a:lnTo>
                      <a:pt x="8788" y="11213"/>
                    </a:lnTo>
                    <a:lnTo>
                      <a:pt x="10152" y="11364"/>
                    </a:lnTo>
                    <a:lnTo>
                      <a:pt x="12424" y="10758"/>
                    </a:lnTo>
                    <a:lnTo>
                      <a:pt x="12273" y="10000"/>
                    </a:lnTo>
                    <a:lnTo>
                      <a:pt x="11061" y="7576"/>
                    </a:lnTo>
                    <a:close/>
                    <a:moveTo>
                      <a:pt x="25910" y="60154"/>
                    </a:moveTo>
                    <a:lnTo>
                      <a:pt x="23031" y="61820"/>
                    </a:lnTo>
                    <a:lnTo>
                      <a:pt x="22425" y="63184"/>
                    </a:lnTo>
                    <a:lnTo>
                      <a:pt x="23031" y="64699"/>
                    </a:lnTo>
                    <a:lnTo>
                      <a:pt x="24395" y="65760"/>
                    </a:lnTo>
                    <a:lnTo>
                      <a:pt x="25910" y="66214"/>
                    </a:lnTo>
                    <a:lnTo>
                      <a:pt x="28031" y="65154"/>
                    </a:lnTo>
                    <a:lnTo>
                      <a:pt x="28334" y="63184"/>
                    </a:lnTo>
                    <a:lnTo>
                      <a:pt x="27425" y="60608"/>
                    </a:lnTo>
                    <a:lnTo>
                      <a:pt x="25910" y="60154"/>
                    </a:lnTo>
                    <a:close/>
                    <a:moveTo>
                      <a:pt x="9849" y="2727"/>
                    </a:moveTo>
                    <a:lnTo>
                      <a:pt x="8333" y="455"/>
                    </a:lnTo>
                    <a:lnTo>
                      <a:pt x="6212" y="0"/>
                    </a:lnTo>
                    <a:lnTo>
                      <a:pt x="151" y="2879"/>
                    </a:lnTo>
                    <a:lnTo>
                      <a:pt x="0" y="3485"/>
                    </a:lnTo>
                    <a:lnTo>
                      <a:pt x="606" y="5000"/>
                    </a:lnTo>
                    <a:lnTo>
                      <a:pt x="909" y="7273"/>
                    </a:lnTo>
                    <a:lnTo>
                      <a:pt x="1969" y="7576"/>
                    </a:lnTo>
                    <a:lnTo>
                      <a:pt x="4697" y="6970"/>
                    </a:lnTo>
                    <a:lnTo>
                      <a:pt x="8940" y="4091"/>
                    </a:lnTo>
                    <a:lnTo>
                      <a:pt x="9849" y="2727"/>
                    </a:lnTo>
                    <a:close/>
                    <a:moveTo>
                      <a:pt x="34243" y="15910"/>
                    </a:moveTo>
                    <a:lnTo>
                      <a:pt x="29243" y="15304"/>
                    </a:lnTo>
                    <a:lnTo>
                      <a:pt x="26364" y="14394"/>
                    </a:lnTo>
                    <a:lnTo>
                      <a:pt x="25910" y="14698"/>
                    </a:lnTo>
                    <a:lnTo>
                      <a:pt x="25758" y="15910"/>
                    </a:lnTo>
                    <a:lnTo>
                      <a:pt x="27880" y="19395"/>
                    </a:lnTo>
                    <a:lnTo>
                      <a:pt x="28940" y="17122"/>
                    </a:lnTo>
                    <a:lnTo>
                      <a:pt x="30001" y="16516"/>
                    </a:lnTo>
                    <a:lnTo>
                      <a:pt x="34092" y="17576"/>
                    </a:lnTo>
                    <a:lnTo>
                      <a:pt x="35759" y="17273"/>
                    </a:lnTo>
                    <a:lnTo>
                      <a:pt x="35456" y="16667"/>
                    </a:lnTo>
                    <a:lnTo>
                      <a:pt x="34243" y="15910"/>
                    </a:lnTo>
                    <a:close/>
                    <a:moveTo>
                      <a:pt x="48183" y="56669"/>
                    </a:moveTo>
                    <a:lnTo>
                      <a:pt x="44850" y="53638"/>
                    </a:lnTo>
                    <a:lnTo>
                      <a:pt x="44698" y="52426"/>
                    </a:lnTo>
                    <a:lnTo>
                      <a:pt x="43638" y="52123"/>
                    </a:lnTo>
                    <a:lnTo>
                      <a:pt x="43335" y="52578"/>
                    </a:lnTo>
                    <a:lnTo>
                      <a:pt x="43486" y="54396"/>
                    </a:lnTo>
                    <a:lnTo>
                      <a:pt x="42729" y="56517"/>
                    </a:lnTo>
                    <a:lnTo>
                      <a:pt x="42729" y="58942"/>
                    </a:lnTo>
                    <a:lnTo>
                      <a:pt x="44850" y="62124"/>
                    </a:lnTo>
                    <a:lnTo>
                      <a:pt x="46668" y="63184"/>
                    </a:lnTo>
                    <a:lnTo>
                      <a:pt x="50305" y="63336"/>
                    </a:lnTo>
                    <a:lnTo>
                      <a:pt x="51972" y="60760"/>
                    </a:lnTo>
                    <a:lnTo>
                      <a:pt x="49547" y="57123"/>
                    </a:lnTo>
                    <a:lnTo>
                      <a:pt x="48183" y="56669"/>
                    </a:lnTo>
                    <a:close/>
                    <a:moveTo>
                      <a:pt x="67124" y="14849"/>
                    </a:moveTo>
                    <a:lnTo>
                      <a:pt x="66669" y="12879"/>
                    </a:lnTo>
                    <a:lnTo>
                      <a:pt x="66669" y="9697"/>
                    </a:lnTo>
                    <a:lnTo>
                      <a:pt x="65911" y="9849"/>
                    </a:lnTo>
                    <a:lnTo>
                      <a:pt x="64396" y="10758"/>
                    </a:lnTo>
                    <a:lnTo>
                      <a:pt x="64699" y="13788"/>
                    </a:lnTo>
                    <a:lnTo>
                      <a:pt x="65305" y="14243"/>
                    </a:lnTo>
                    <a:lnTo>
                      <a:pt x="66366" y="16364"/>
                    </a:lnTo>
                    <a:lnTo>
                      <a:pt x="67124" y="14849"/>
                    </a:lnTo>
                    <a:close/>
                    <a:moveTo>
                      <a:pt x="72427" y="28637"/>
                    </a:moveTo>
                    <a:lnTo>
                      <a:pt x="70912" y="27122"/>
                    </a:lnTo>
                    <a:lnTo>
                      <a:pt x="69396" y="26971"/>
                    </a:lnTo>
                    <a:lnTo>
                      <a:pt x="68487" y="27122"/>
                    </a:lnTo>
                    <a:lnTo>
                      <a:pt x="66215" y="26668"/>
                    </a:lnTo>
                    <a:lnTo>
                      <a:pt x="66215" y="29092"/>
                    </a:lnTo>
                    <a:lnTo>
                      <a:pt x="65002" y="31971"/>
                    </a:lnTo>
                    <a:lnTo>
                      <a:pt x="67124" y="33486"/>
                    </a:lnTo>
                    <a:lnTo>
                      <a:pt x="68790" y="33638"/>
                    </a:lnTo>
                    <a:lnTo>
                      <a:pt x="71821" y="31971"/>
                    </a:lnTo>
                    <a:lnTo>
                      <a:pt x="72578" y="30001"/>
                    </a:lnTo>
                    <a:lnTo>
                      <a:pt x="72427" y="28637"/>
                    </a:lnTo>
                    <a:close/>
                    <a:moveTo>
                      <a:pt x="60305" y="52275"/>
                    </a:moveTo>
                    <a:lnTo>
                      <a:pt x="58335" y="52123"/>
                    </a:lnTo>
                    <a:lnTo>
                      <a:pt x="57275" y="53941"/>
                    </a:lnTo>
                    <a:lnTo>
                      <a:pt x="57426" y="54396"/>
                    </a:lnTo>
                    <a:lnTo>
                      <a:pt x="57123" y="56063"/>
                    </a:lnTo>
                    <a:lnTo>
                      <a:pt x="58335" y="57275"/>
                    </a:lnTo>
                    <a:lnTo>
                      <a:pt x="59093" y="57123"/>
                    </a:lnTo>
                    <a:lnTo>
                      <a:pt x="60911" y="56366"/>
                    </a:lnTo>
                    <a:lnTo>
                      <a:pt x="60760" y="53487"/>
                    </a:lnTo>
                    <a:lnTo>
                      <a:pt x="60305" y="522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9" name="Freeform: Shape 3308">
                <a:extLst>
                  <a:ext uri="{FF2B5EF4-FFF2-40B4-BE49-F238E27FC236}">
                    <a16:creationId xmlns:a16="http://schemas.microsoft.com/office/drawing/2014/main" id="{62445A7F-61CA-40F6-9F82-1DF2712D988C}"/>
                  </a:ext>
                </a:extLst>
              </p:cNvPr>
              <p:cNvSpPr/>
              <p:nvPr/>
            </p:nvSpPr>
            <p:spPr>
              <a:xfrm>
                <a:off x="3454235" y="3920455"/>
                <a:ext cx="295010" cy="95154"/>
              </a:xfrm>
              <a:custGeom>
                <a:avLst/>
                <a:gdLst>
                  <a:gd name="connsiteX0" fmla="*/ 171673 w 295010"/>
                  <a:gd name="connsiteY0" fmla="*/ 19849 h 95154"/>
                  <a:gd name="connsiteX1" fmla="*/ 173946 w 295010"/>
                  <a:gd name="connsiteY1" fmla="*/ 20607 h 95154"/>
                  <a:gd name="connsiteX2" fmla="*/ 177279 w 295010"/>
                  <a:gd name="connsiteY2" fmla="*/ 20758 h 95154"/>
                  <a:gd name="connsiteX3" fmla="*/ 178189 w 295010"/>
                  <a:gd name="connsiteY3" fmla="*/ 21213 h 95154"/>
                  <a:gd name="connsiteX4" fmla="*/ 179401 w 295010"/>
                  <a:gd name="connsiteY4" fmla="*/ 21213 h 95154"/>
                  <a:gd name="connsiteX5" fmla="*/ 181068 w 295010"/>
                  <a:gd name="connsiteY5" fmla="*/ 20910 h 95154"/>
                  <a:gd name="connsiteX6" fmla="*/ 179249 w 295010"/>
                  <a:gd name="connsiteY6" fmla="*/ 18486 h 95154"/>
                  <a:gd name="connsiteX7" fmla="*/ 177885 w 295010"/>
                  <a:gd name="connsiteY7" fmla="*/ 18182 h 95154"/>
                  <a:gd name="connsiteX8" fmla="*/ 176673 w 295010"/>
                  <a:gd name="connsiteY8" fmla="*/ 18334 h 95154"/>
                  <a:gd name="connsiteX9" fmla="*/ 175310 w 295010"/>
                  <a:gd name="connsiteY9" fmla="*/ 18637 h 95154"/>
                  <a:gd name="connsiteX10" fmla="*/ 171522 w 295010"/>
                  <a:gd name="connsiteY10" fmla="*/ 18031 h 95154"/>
                  <a:gd name="connsiteX11" fmla="*/ 169703 w 295010"/>
                  <a:gd name="connsiteY11" fmla="*/ 18486 h 95154"/>
                  <a:gd name="connsiteX12" fmla="*/ 170309 w 295010"/>
                  <a:gd name="connsiteY12" fmla="*/ 19243 h 95154"/>
                  <a:gd name="connsiteX13" fmla="*/ 171673 w 295010"/>
                  <a:gd name="connsiteY13" fmla="*/ 19849 h 95154"/>
                  <a:gd name="connsiteX14" fmla="*/ 191068 w 295010"/>
                  <a:gd name="connsiteY14" fmla="*/ 31365 h 95154"/>
                  <a:gd name="connsiteX15" fmla="*/ 191522 w 295010"/>
                  <a:gd name="connsiteY15" fmla="*/ 32880 h 95154"/>
                  <a:gd name="connsiteX16" fmla="*/ 193644 w 295010"/>
                  <a:gd name="connsiteY16" fmla="*/ 34244 h 95154"/>
                  <a:gd name="connsiteX17" fmla="*/ 194704 w 295010"/>
                  <a:gd name="connsiteY17" fmla="*/ 34698 h 95154"/>
                  <a:gd name="connsiteX18" fmla="*/ 195462 w 295010"/>
                  <a:gd name="connsiteY18" fmla="*/ 34850 h 95154"/>
                  <a:gd name="connsiteX19" fmla="*/ 196674 w 295010"/>
                  <a:gd name="connsiteY19" fmla="*/ 36062 h 95154"/>
                  <a:gd name="connsiteX20" fmla="*/ 197735 w 295010"/>
                  <a:gd name="connsiteY20" fmla="*/ 35153 h 95154"/>
                  <a:gd name="connsiteX21" fmla="*/ 198341 w 295010"/>
                  <a:gd name="connsiteY21" fmla="*/ 33940 h 95154"/>
                  <a:gd name="connsiteX22" fmla="*/ 198644 w 295010"/>
                  <a:gd name="connsiteY22" fmla="*/ 32274 h 95154"/>
                  <a:gd name="connsiteX23" fmla="*/ 194856 w 295010"/>
                  <a:gd name="connsiteY23" fmla="*/ 31516 h 95154"/>
                  <a:gd name="connsiteX24" fmla="*/ 192583 w 295010"/>
                  <a:gd name="connsiteY24" fmla="*/ 31213 h 95154"/>
                  <a:gd name="connsiteX25" fmla="*/ 191068 w 295010"/>
                  <a:gd name="connsiteY25" fmla="*/ 31365 h 95154"/>
                  <a:gd name="connsiteX26" fmla="*/ 188492 w 295010"/>
                  <a:gd name="connsiteY26" fmla="*/ 29092 h 95154"/>
                  <a:gd name="connsiteX27" fmla="*/ 191219 w 295010"/>
                  <a:gd name="connsiteY27" fmla="*/ 30304 h 95154"/>
                  <a:gd name="connsiteX28" fmla="*/ 192128 w 295010"/>
                  <a:gd name="connsiteY28" fmla="*/ 30152 h 95154"/>
                  <a:gd name="connsiteX29" fmla="*/ 193189 w 295010"/>
                  <a:gd name="connsiteY29" fmla="*/ 29546 h 95154"/>
                  <a:gd name="connsiteX30" fmla="*/ 191977 w 295010"/>
                  <a:gd name="connsiteY30" fmla="*/ 28031 h 95154"/>
                  <a:gd name="connsiteX31" fmla="*/ 191825 w 295010"/>
                  <a:gd name="connsiteY31" fmla="*/ 27577 h 95154"/>
                  <a:gd name="connsiteX32" fmla="*/ 189704 w 295010"/>
                  <a:gd name="connsiteY32" fmla="*/ 26819 h 95154"/>
                  <a:gd name="connsiteX33" fmla="*/ 189250 w 295010"/>
                  <a:gd name="connsiteY33" fmla="*/ 25001 h 95154"/>
                  <a:gd name="connsiteX34" fmla="*/ 188946 w 295010"/>
                  <a:gd name="connsiteY34" fmla="*/ 25152 h 95154"/>
                  <a:gd name="connsiteX35" fmla="*/ 188795 w 295010"/>
                  <a:gd name="connsiteY35" fmla="*/ 26668 h 95154"/>
                  <a:gd name="connsiteX36" fmla="*/ 187886 w 295010"/>
                  <a:gd name="connsiteY36" fmla="*/ 28031 h 95154"/>
                  <a:gd name="connsiteX37" fmla="*/ 188492 w 295010"/>
                  <a:gd name="connsiteY37" fmla="*/ 29092 h 95154"/>
                  <a:gd name="connsiteX38" fmla="*/ 182583 w 295010"/>
                  <a:gd name="connsiteY38" fmla="*/ 22880 h 95154"/>
                  <a:gd name="connsiteX39" fmla="*/ 183795 w 295010"/>
                  <a:gd name="connsiteY39" fmla="*/ 24546 h 95154"/>
                  <a:gd name="connsiteX40" fmla="*/ 185916 w 295010"/>
                  <a:gd name="connsiteY40" fmla="*/ 25001 h 95154"/>
                  <a:gd name="connsiteX41" fmla="*/ 187431 w 295010"/>
                  <a:gd name="connsiteY41" fmla="*/ 26062 h 95154"/>
                  <a:gd name="connsiteX42" fmla="*/ 188037 w 295010"/>
                  <a:gd name="connsiteY42" fmla="*/ 25607 h 95154"/>
                  <a:gd name="connsiteX43" fmla="*/ 187128 w 295010"/>
                  <a:gd name="connsiteY43" fmla="*/ 25001 h 95154"/>
                  <a:gd name="connsiteX44" fmla="*/ 186219 w 295010"/>
                  <a:gd name="connsiteY44" fmla="*/ 22728 h 95154"/>
                  <a:gd name="connsiteX45" fmla="*/ 184704 w 295010"/>
                  <a:gd name="connsiteY45" fmla="*/ 21516 h 95154"/>
                  <a:gd name="connsiteX46" fmla="*/ 183340 w 295010"/>
                  <a:gd name="connsiteY46" fmla="*/ 21364 h 95154"/>
                  <a:gd name="connsiteX47" fmla="*/ 181370 w 295010"/>
                  <a:gd name="connsiteY47" fmla="*/ 21819 h 95154"/>
                  <a:gd name="connsiteX48" fmla="*/ 181522 w 295010"/>
                  <a:gd name="connsiteY48" fmla="*/ 22425 h 95154"/>
                  <a:gd name="connsiteX49" fmla="*/ 182583 w 295010"/>
                  <a:gd name="connsiteY49" fmla="*/ 22880 h 95154"/>
                  <a:gd name="connsiteX50" fmla="*/ 293647 w 295010"/>
                  <a:gd name="connsiteY50" fmla="*/ 82427 h 95154"/>
                  <a:gd name="connsiteX51" fmla="*/ 292738 w 295010"/>
                  <a:gd name="connsiteY51" fmla="*/ 81821 h 95154"/>
                  <a:gd name="connsiteX52" fmla="*/ 291829 w 295010"/>
                  <a:gd name="connsiteY52" fmla="*/ 81367 h 95154"/>
                  <a:gd name="connsiteX53" fmla="*/ 290768 w 295010"/>
                  <a:gd name="connsiteY53" fmla="*/ 81670 h 95154"/>
                  <a:gd name="connsiteX54" fmla="*/ 287738 w 295010"/>
                  <a:gd name="connsiteY54" fmla="*/ 81367 h 95154"/>
                  <a:gd name="connsiteX55" fmla="*/ 284253 w 295010"/>
                  <a:gd name="connsiteY55" fmla="*/ 79851 h 95154"/>
                  <a:gd name="connsiteX56" fmla="*/ 280162 w 295010"/>
                  <a:gd name="connsiteY56" fmla="*/ 75912 h 95154"/>
                  <a:gd name="connsiteX57" fmla="*/ 278192 w 295010"/>
                  <a:gd name="connsiteY57" fmla="*/ 74396 h 95154"/>
                  <a:gd name="connsiteX58" fmla="*/ 274101 w 295010"/>
                  <a:gd name="connsiteY58" fmla="*/ 72124 h 95154"/>
                  <a:gd name="connsiteX59" fmla="*/ 271980 w 295010"/>
                  <a:gd name="connsiteY59" fmla="*/ 71518 h 95154"/>
                  <a:gd name="connsiteX60" fmla="*/ 265010 w 295010"/>
                  <a:gd name="connsiteY60" fmla="*/ 70306 h 95154"/>
                  <a:gd name="connsiteX61" fmla="*/ 261525 w 295010"/>
                  <a:gd name="connsiteY61" fmla="*/ 70608 h 95154"/>
                  <a:gd name="connsiteX62" fmla="*/ 256373 w 295010"/>
                  <a:gd name="connsiteY62" fmla="*/ 70154 h 95154"/>
                  <a:gd name="connsiteX63" fmla="*/ 253191 w 295010"/>
                  <a:gd name="connsiteY63" fmla="*/ 69699 h 95154"/>
                  <a:gd name="connsiteX64" fmla="*/ 250919 w 295010"/>
                  <a:gd name="connsiteY64" fmla="*/ 70306 h 95154"/>
                  <a:gd name="connsiteX65" fmla="*/ 250161 w 295010"/>
                  <a:gd name="connsiteY65" fmla="*/ 69699 h 95154"/>
                  <a:gd name="connsiteX66" fmla="*/ 250009 w 295010"/>
                  <a:gd name="connsiteY66" fmla="*/ 68639 h 95154"/>
                  <a:gd name="connsiteX67" fmla="*/ 250615 w 295010"/>
                  <a:gd name="connsiteY67" fmla="*/ 67578 h 95154"/>
                  <a:gd name="connsiteX68" fmla="*/ 254555 w 295010"/>
                  <a:gd name="connsiteY68" fmla="*/ 66820 h 95154"/>
                  <a:gd name="connsiteX69" fmla="*/ 252737 w 295010"/>
                  <a:gd name="connsiteY69" fmla="*/ 65154 h 95154"/>
                  <a:gd name="connsiteX70" fmla="*/ 253343 w 295010"/>
                  <a:gd name="connsiteY70" fmla="*/ 63790 h 95154"/>
                  <a:gd name="connsiteX71" fmla="*/ 254555 w 295010"/>
                  <a:gd name="connsiteY71" fmla="*/ 62426 h 95154"/>
                  <a:gd name="connsiteX72" fmla="*/ 253494 w 295010"/>
                  <a:gd name="connsiteY72" fmla="*/ 60457 h 95154"/>
                  <a:gd name="connsiteX73" fmla="*/ 251070 w 295010"/>
                  <a:gd name="connsiteY73" fmla="*/ 59093 h 95154"/>
                  <a:gd name="connsiteX74" fmla="*/ 246221 w 295010"/>
                  <a:gd name="connsiteY74" fmla="*/ 58942 h 95154"/>
                  <a:gd name="connsiteX75" fmla="*/ 241373 w 295010"/>
                  <a:gd name="connsiteY75" fmla="*/ 58335 h 95154"/>
                  <a:gd name="connsiteX76" fmla="*/ 236221 w 295010"/>
                  <a:gd name="connsiteY76" fmla="*/ 55608 h 95154"/>
                  <a:gd name="connsiteX77" fmla="*/ 230918 w 295010"/>
                  <a:gd name="connsiteY77" fmla="*/ 54244 h 95154"/>
                  <a:gd name="connsiteX78" fmla="*/ 228342 w 295010"/>
                  <a:gd name="connsiteY78" fmla="*/ 54244 h 95154"/>
                  <a:gd name="connsiteX79" fmla="*/ 225766 w 295010"/>
                  <a:gd name="connsiteY79" fmla="*/ 53941 h 95154"/>
                  <a:gd name="connsiteX80" fmla="*/ 224705 w 295010"/>
                  <a:gd name="connsiteY80" fmla="*/ 52426 h 95154"/>
                  <a:gd name="connsiteX81" fmla="*/ 223645 w 295010"/>
                  <a:gd name="connsiteY81" fmla="*/ 51971 h 95154"/>
                  <a:gd name="connsiteX82" fmla="*/ 222584 w 295010"/>
                  <a:gd name="connsiteY82" fmla="*/ 51820 h 95154"/>
                  <a:gd name="connsiteX83" fmla="*/ 219857 w 295010"/>
                  <a:gd name="connsiteY83" fmla="*/ 52729 h 95154"/>
                  <a:gd name="connsiteX84" fmla="*/ 220008 w 295010"/>
                  <a:gd name="connsiteY84" fmla="*/ 51820 h 95154"/>
                  <a:gd name="connsiteX85" fmla="*/ 220614 w 295010"/>
                  <a:gd name="connsiteY85" fmla="*/ 50759 h 95154"/>
                  <a:gd name="connsiteX86" fmla="*/ 218038 w 295010"/>
                  <a:gd name="connsiteY86" fmla="*/ 49093 h 95154"/>
                  <a:gd name="connsiteX87" fmla="*/ 213341 w 295010"/>
                  <a:gd name="connsiteY87" fmla="*/ 45456 h 95154"/>
                  <a:gd name="connsiteX88" fmla="*/ 212129 w 295010"/>
                  <a:gd name="connsiteY88" fmla="*/ 46820 h 95154"/>
                  <a:gd name="connsiteX89" fmla="*/ 210311 w 295010"/>
                  <a:gd name="connsiteY89" fmla="*/ 48487 h 95154"/>
                  <a:gd name="connsiteX90" fmla="*/ 209099 w 295010"/>
                  <a:gd name="connsiteY90" fmla="*/ 48335 h 95154"/>
                  <a:gd name="connsiteX91" fmla="*/ 208644 w 295010"/>
                  <a:gd name="connsiteY91" fmla="*/ 46820 h 95154"/>
                  <a:gd name="connsiteX92" fmla="*/ 206068 w 295010"/>
                  <a:gd name="connsiteY92" fmla="*/ 44699 h 95154"/>
                  <a:gd name="connsiteX93" fmla="*/ 209402 w 295010"/>
                  <a:gd name="connsiteY93" fmla="*/ 45305 h 95154"/>
                  <a:gd name="connsiteX94" fmla="*/ 211069 w 295010"/>
                  <a:gd name="connsiteY94" fmla="*/ 45153 h 95154"/>
                  <a:gd name="connsiteX95" fmla="*/ 212129 w 295010"/>
                  <a:gd name="connsiteY95" fmla="*/ 43789 h 95154"/>
                  <a:gd name="connsiteX96" fmla="*/ 210008 w 295010"/>
                  <a:gd name="connsiteY96" fmla="*/ 43032 h 95154"/>
                  <a:gd name="connsiteX97" fmla="*/ 207887 w 295010"/>
                  <a:gd name="connsiteY97" fmla="*/ 41971 h 95154"/>
                  <a:gd name="connsiteX98" fmla="*/ 206674 w 295010"/>
                  <a:gd name="connsiteY98" fmla="*/ 40759 h 95154"/>
                  <a:gd name="connsiteX99" fmla="*/ 202432 w 295010"/>
                  <a:gd name="connsiteY99" fmla="*/ 37426 h 95154"/>
                  <a:gd name="connsiteX100" fmla="*/ 200008 w 295010"/>
                  <a:gd name="connsiteY100" fmla="*/ 36971 h 95154"/>
                  <a:gd name="connsiteX101" fmla="*/ 200310 w 295010"/>
                  <a:gd name="connsiteY101" fmla="*/ 37577 h 95154"/>
                  <a:gd name="connsiteX102" fmla="*/ 202129 w 295010"/>
                  <a:gd name="connsiteY102" fmla="*/ 39244 h 95154"/>
                  <a:gd name="connsiteX103" fmla="*/ 202432 w 295010"/>
                  <a:gd name="connsiteY103" fmla="*/ 39850 h 95154"/>
                  <a:gd name="connsiteX104" fmla="*/ 201068 w 295010"/>
                  <a:gd name="connsiteY104" fmla="*/ 40304 h 95154"/>
                  <a:gd name="connsiteX105" fmla="*/ 198492 w 295010"/>
                  <a:gd name="connsiteY105" fmla="*/ 39698 h 95154"/>
                  <a:gd name="connsiteX106" fmla="*/ 192280 w 295010"/>
                  <a:gd name="connsiteY106" fmla="*/ 36819 h 95154"/>
                  <a:gd name="connsiteX107" fmla="*/ 189401 w 295010"/>
                  <a:gd name="connsiteY107" fmla="*/ 34850 h 95154"/>
                  <a:gd name="connsiteX108" fmla="*/ 184704 w 295010"/>
                  <a:gd name="connsiteY108" fmla="*/ 30910 h 95154"/>
                  <a:gd name="connsiteX109" fmla="*/ 169855 w 295010"/>
                  <a:gd name="connsiteY109" fmla="*/ 23486 h 95154"/>
                  <a:gd name="connsiteX110" fmla="*/ 168946 w 295010"/>
                  <a:gd name="connsiteY110" fmla="*/ 23789 h 95154"/>
                  <a:gd name="connsiteX111" fmla="*/ 167431 w 295010"/>
                  <a:gd name="connsiteY111" fmla="*/ 23486 h 95154"/>
                  <a:gd name="connsiteX112" fmla="*/ 165764 w 295010"/>
                  <a:gd name="connsiteY112" fmla="*/ 22880 h 95154"/>
                  <a:gd name="connsiteX113" fmla="*/ 163946 w 295010"/>
                  <a:gd name="connsiteY113" fmla="*/ 22728 h 95154"/>
                  <a:gd name="connsiteX114" fmla="*/ 156218 w 295010"/>
                  <a:gd name="connsiteY114" fmla="*/ 23031 h 95154"/>
                  <a:gd name="connsiteX115" fmla="*/ 153642 w 295010"/>
                  <a:gd name="connsiteY115" fmla="*/ 22425 h 95154"/>
                  <a:gd name="connsiteX116" fmla="*/ 151369 w 295010"/>
                  <a:gd name="connsiteY116" fmla="*/ 21213 h 95154"/>
                  <a:gd name="connsiteX117" fmla="*/ 148642 w 295010"/>
                  <a:gd name="connsiteY117" fmla="*/ 19395 h 95154"/>
                  <a:gd name="connsiteX118" fmla="*/ 146066 w 295010"/>
                  <a:gd name="connsiteY118" fmla="*/ 17425 h 95154"/>
                  <a:gd name="connsiteX119" fmla="*/ 142581 w 295010"/>
                  <a:gd name="connsiteY119" fmla="*/ 12728 h 95154"/>
                  <a:gd name="connsiteX120" fmla="*/ 137884 w 295010"/>
                  <a:gd name="connsiteY120" fmla="*/ 10303 h 95154"/>
                  <a:gd name="connsiteX121" fmla="*/ 138793 w 295010"/>
                  <a:gd name="connsiteY121" fmla="*/ 8637 h 95154"/>
                  <a:gd name="connsiteX122" fmla="*/ 135914 w 295010"/>
                  <a:gd name="connsiteY122" fmla="*/ 9091 h 95154"/>
                  <a:gd name="connsiteX123" fmla="*/ 134854 w 295010"/>
                  <a:gd name="connsiteY123" fmla="*/ 8940 h 95154"/>
                  <a:gd name="connsiteX124" fmla="*/ 131672 w 295010"/>
                  <a:gd name="connsiteY124" fmla="*/ 7121 h 95154"/>
                  <a:gd name="connsiteX125" fmla="*/ 129096 w 295010"/>
                  <a:gd name="connsiteY125" fmla="*/ 6970 h 95154"/>
                  <a:gd name="connsiteX126" fmla="*/ 126369 w 295010"/>
                  <a:gd name="connsiteY126" fmla="*/ 7424 h 95154"/>
                  <a:gd name="connsiteX127" fmla="*/ 123641 w 295010"/>
                  <a:gd name="connsiteY127" fmla="*/ 7121 h 95154"/>
                  <a:gd name="connsiteX128" fmla="*/ 121065 w 295010"/>
                  <a:gd name="connsiteY128" fmla="*/ 6212 h 95154"/>
                  <a:gd name="connsiteX129" fmla="*/ 118641 w 295010"/>
                  <a:gd name="connsiteY129" fmla="*/ 5000 h 95154"/>
                  <a:gd name="connsiteX130" fmla="*/ 116974 w 295010"/>
                  <a:gd name="connsiteY130" fmla="*/ 3030 h 95154"/>
                  <a:gd name="connsiteX131" fmla="*/ 115914 w 295010"/>
                  <a:gd name="connsiteY131" fmla="*/ 2424 h 95154"/>
                  <a:gd name="connsiteX132" fmla="*/ 106065 w 295010"/>
                  <a:gd name="connsiteY132" fmla="*/ 2879 h 95154"/>
                  <a:gd name="connsiteX133" fmla="*/ 102277 w 295010"/>
                  <a:gd name="connsiteY133" fmla="*/ 3939 h 95154"/>
                  <a:gd name="connsiteX134" fmla="*/ 101367 w 295010"/>
                  <a:gd name="connsiteY134" fmla="*/ 3788 h 95154"/>
                  <a:gd name="connsiteX135" fmla="*/ 98792 w 295010"/>
                  <a:gd name="connsiteY135" fmla="*/ 1818 h 95154"/>
                  <a:gd name="connsiteX136" fmla="*/ 99095 w 295010"/>
                  <a:gd name="connsiteY136" fmla="*/ 1061 h 95154"/>
                  <a:gd name="connsiteX137" fmla="*/ 96367 w 295010"/>
                  <a:gd name="connsiteY137" fmla="*/ 1818 h 95154"/>
                  <a:gd name="connsiteX138" fmla="*/ 90610 w 295010"/>
                  <a:gd name="connsiteY138" fmla="*/ 2121 h 95154"/>
                  <a:gd name="connsiteX139" fmla="*/ 83488 w 295010"/>
                  <a:gd name="connsiteY139" fmla="*/ 758 h 95154"/>
                  <a:gd name="connsiteX140" fmla="*/ 76215 w 295010"/>
                  <a:gd name="connsiteY140" fmla="*/ 0 h 95154"/>
                  <a:gd name="connsiteX141" fmla="*/ 69397 w 295010"/>
                  <a:gd name="connsiteY141" fmla="*/ 1061 h 95154"/>
                  <a:gd name="connsiteX142" fmla="*/ 62881 w 295010"/>
                  <a:gd name="connsiteY142" fmla="*/ 3636 h 95154"/>
                  <a:gd name="connsiteX143" fmla="*/ 60760 w 295010"/>
                  <a:gd name="connsiteY143" fmla="*/ 4243 h 95154"/>
                  <a:gd name="connsiteX144" fmla="*/ 46820 w 295010"/>
                  <a:gd name="connsiteY144" fmla="*/ 5909 h 95154"/>
                  <a:gd name="connsiteX145" fmla="*/ 44547 w 295010"/>
                  <a:gd name="connsiteY145" fmla="*/ 6364 h 95154"/>
                  <a:gd name="connsiteX146" fmla="*/ 23031 w 295010"/>
                  <a:gd name="connsiteY146" fmla="*/ 15000 h 95154"/>
                  <a:gd name="connsiteX147" fmla="*/ 20910 w 295010"/>
                  <a:gd name="connsiteY147" fmla="*/ 16364 h 95154"/>
                  <a:gd name="connsiteX148" fmla="*/ 16516 w 295010"/>
                  <a:gd name="connsiteY148" fmla="*/ 20455 h 95154"/>
                  <a:gd name="connsiteX149" fmla="*/ 14395 w 295010"/>
                  <a:gd name="connsiteY149" fmla="*/ 23183 h 95154"/>
                  <a:gd name="connsiteX150" fmla="*/ 13788 w 295010"/>
                  <a:gd name="connsiteY150" fmla="*/ 26668 h 95154"/>
                  <a:gd name="connsiteX151" fmla="*/ 15304 w 295010"/>
                  <a:gd name="connsiteY151" fmla="*/ 31819 h 95154"/>
                  <a:gd name="connsiteX152" fmla="*/ 14092 w 295010"/>
                  <a:gd name="connsiteY152" fmla="*/ 32880 h 95154"/>
                  <a:gd name="connsiteX153" fmla="*/ 12425 w 295010"/>
                  <a:gd name="connsiteY153" fmla="*/ 33031 h 95154"/>
                  <a:gd name="connsiteX154" fmla="*/ 10758 w 295010"/>
                  <a:gd name="connsiteY154" fmla="*/ 32728 h 95154"/>
                  <a:gd name="connsiteX155" fmla="*/ 9697 w 295010"/>
                  <a:gd name="connsiteY155" fmla="*/ 33031 h 95154"/>
                  <a:gd name="connsiteX156" fmla="*/ 303 w 295010"/>
                  <a:gd name="connsiteY156" fmla="*/ 36971 h 95154"/>
                  <a:gd name="connsiteX157" fmla="*/ 0 w 295010"/>
                  <a:gd name="connsiteY157" fmla="*/ 38032 h 95154"/>
                  <a:gd name="connsiteX158" fmla="*/ 1364 w 295010"/>
                  <a:gd name="connsiteY158" fmla="*/ 38789 h 95154"/>
                  <a:gd name="connsiteX159" fmla="*/ 2727 w 295010"/>
                  <a:gd name="connsiteY159" fmla="*/ 38335 h 95154"/>
                  <a:gd name="connsiteX160" fmla="*/ 5606 w 295010"/>
                  <a:gd name="connsiteY160" fmla="*/ 36668 h 95154"/>
                  <a:gd name="connsiteX161" fmla="*/ 7121 w 295010"/>
                  <a:gd name="connsiteY161" fmla="*/ 36062 h 95154"/>
                  <a:gd name="connsiteX162" fmla="*/ 8940 w 295010"/>
                  <a:gd name="connsiteY162" fmla="*/ 35759 h 95154"/>
                  <a:gd name="connsiteX163" fmla="*/ 10607 w 295010"/>
                  <a:gd name="connsiteY163" fmla="*/ 35910 h 95154"/>
                  <a:gd name="connsiteX164" fmla="*/ 10910 w 295010"/>
                  <a:gd name="connsiteY164" fmla="*/ 38032 h 95154"/>
                  <a:gd name="connsiteX165" fmla="*/ 10607 w 295010"/>
                  <a:gd name="connsiteY165" fmla="*/ 40304 h 95154"/>
                  <a:gd name="connsiteX166" fmla="*/ 12122 w 295010"/>
                  <a:gd name="connsiteY166" fmla="*/ 39850 h 95154"/>
                  <a:gd name="connsiteX167" fmla="*/ 17880 w 295010"/>
                  <a:gd name="connsiteY167" fmla="*/ 36819 h 95154"/>
                  <a:gd name="connsiteX168" fmla="*/ 20607 w 295010"/>
                  <a:gd name="connsiteY168" fmla="*/ 35910 h 95154"/>
                  <a:gd name="connsiteX169" fmla="*/ 23486 w 295010"/>
                  <a:gd name="connsiteY169" fmla="*/ 35456 h 95154"/>
                  <a:gd name="connsiteX170" fmla="*/ 24395 w 295010"/>
                  <a:gd name="connsiteY170" fmla="*/ 34395 h 95154"/>
                  <a:gd name="connsiteX171" fmla="*/ 25304 w 295010"/>
                  <a:gd name="connsiteY171" fmla="*/ 31213 h 95154"/>
                  <a:gd name="connsiteX172" fmla="*/ 26213 w 295010"/>
                  <a:gd name="connsiteY172" fmla="*/ 29546 h 95154"/>
                  <a:gd name="connsiteX173" fmla="*/ 27122 w 295010"/>
                  <a:gd name="connsiteY173" fmla="*/ 28940 h 95154"/>
                  <a:gd name="connsiteX174" fmla="*/ 33032 w 295010"/>
                  <a:gd name="connsiteY174" fmla="*/ 28637 h 95154"/>
                  <a:gd name="connsiteX175" fmla="*/ 34244 w 295010"/>
                  <a:gd name="connsiteY175" fmla="*/ 28334 h 95154"/>
                  <a:gd name="connsiteX176" fmla="*/ 35456 w 295010"/>
                  <a:gd name="connsiteY176" fmla="*/ 27728 h 95154"/>
                  <a:gd name="connsiteX177" fmla="*/ 36971 w 295010"/>
                  <a:gd name="connsiteY177" fmla="*/ 27728 h 95154"/>
                  <a:gd name="connsiteX178" fmla="*/ 38486 w 295010"/>
                  <a:gd name="connsiteY178" fmla="*/ 28334 h 95154"/>
                  <a:gd name="connsiteX179" fmla="*/ 41365 w 295010"/>
                  <a:gd name="connsiteY179" fmla="*/ 27274 h 95154"/>
                  <a:gd name="connsiteX180" fmla="*/ 43789 w 295010"/>
                  <a:gd name="connsiteY180" fmla="*/ 25001 h 95154"/>
                  <a:gd name="connsiteX181" fmla="*/ 46668 w 295010"/>
                  <a:gd name="connsiteY181" fmla="*/ 23486 h 95154"/>
                  <a:gd name="connsiteX182" fmla="*/ 47881 w 295010"/>
                  <a:gd name="connsiteY182" fmla="*/ 22576 h 95154"/>
                  <a:gd name="connsiteX183" fmla="*/ 48941 w 295010"/>
                  <a:gd name="connsiteY183" fmla="*/ 21364 h 95154"/>
                  <a:gd name="connsiteX184" fmla="*/ 51669 w 295010"/>
                  <a:gd name="connsiteY184" fmla="*/ 18940 h 95154"/>
                  <a:gd name="connsiteX185" fmla="*/ 55760 w 295010"/>
                  <a:gd name="connsiteY185" fmla="*/ 16667 h 95154"/>
                  <a:gd name="connsiteX186" fmla="*/ 57881 w 295010"/>
                  <a:gd name="connsiteY186" fmla="*/ 14849 h 95154"/>
                  <a:gd name="connsiteX187" fmla="*/ 59245 w 295010"/>
                  <a:gd name="connsiteY187" fmla="*/ 13940 h 95154"/>
                  <a:gd name="connsiteX188" fmla="*/ 82124 w 295010"/>
                  <a:gd name="connsiteY188" fmla="*/ 14243 h 95154"/>
                  <a:gd name="connsiteX189" fmla="*/ 83943 w 295010"/>
                  <a:gd name="connsiteY189" fmla="*/ 14394 h 95154"/>
                  <a:gd name="connsiteX190" fmla="*/ 85306 w 295010"/>
                  <a:gd name="connsiteY190" fmla="*/ 14849 h 95154"/>
                  <a:gd name="connsiteX191" fmla="*/ 86518 w 295010"/>
                  <a:gd name="connsiteY191" fmla="*/ 15607 h 95154"/>
                  <a:gd name="connsiteX192" fmla="*/ 87731 w 295010"/>
                  <a:gd name="connsiteY192" fmla="*/ 16819 h 95154"/>
                  <a:gd name="connsiteX193" fmla="*/ 88337 w 295010"/>
                  <a:gd name="connsiteY193" fmla="*/ 18486 h 95154"/>
                  <a:gd name="connsiteX194" fmla="*/ 87579 w 295010"/>
                  <a:gd name="connsiteY194" fmla="*/ 19546 h 95154"/>
                  <a:gd name="connsiteX195" fmla="*/ 86367 w 295010"/>
                  <a:gd name="connsiteY195" fmla="*/ 20455 h 95154"/>
                  <a:gd name="connsiteX196" fmla="*/ 80458 w 295010"/>
                  <a:gd name="connsiteY196" fmla="*/ 21667 h 95154"/>
                  <a:gd name="connsiteX197" fmla="*/ 77579 w 295010"/>
                  <a:gd name="connsiteY197" fmla="*/ 22576 h 95154"/>
                  <a:gd name="connsiteX198" fmla="*/ 80458 w 295010"/>
                  <a:gd name="connsiteY198" fmla="*/ 25304 h 95154"/>
                  <a:gd name="connsiteX199" fmla="*/ 83791 w 295010"/>
                  <a:gd name="connsiteY199" fmla="*/ 27577 h 95154"/>
                  <a:gd name="connsiteX200" fmla="*/ 84700 w 295010"/>
                  <a:gd name="connsiteY200" fmla="*/ 28031 h 95154"/>
                  <a:gd name="connsiteX201" fmla="*/ 95004 w 295010"/>
                  <a:gd name="connsiteY201" fmla="*/ 28486 h 95154"/>
                  <a:gd name="connsiteX202" fmla="*/ 97428 w 295010"/>
                  <a:gd name="connsiteY202" fmla="*/ 30759 h 95154"/>
                  <a:gd name="connsiteX203" fmla="*/ 99398 w 295010"/>
                  <a:gd name="connsiteY203" fmla="*/ 30607 h 95154"/>
                  <a:gd name="connsiteX204" fmla="*/ 101065 w 295010"/>
                  <a:gd name="connsiteY204" fmla="*/ 29698 h 95154"/>
                  <a:gd name="connsiteX205" fmla="*/ 101671 w 295010"/>
                  <a:gd name="connsiteY205" fmla="*/ 28031 h 95154"/>
                  <a:gd name="connsiteX206" fmla="*/ 102125 w 295010"/>
                  <a:gd name="connsiteY206" fmla="*/ 26213 h 95154"/>
                  <a:gd name="connsiteX207" fmla="*/ 103337 w 295010"/>
                  <a:gd name="connsiteY207" fmla="*/ 28031 h 95154"/>
                  <a:gd name="connsiteX208" fmla="*/ 103943 w 295010"/>
                  <a:gd name="connsiteY208" fmla="*/ 30152 h 95154"/>
                  <a:gd name="connsiteX209" fmla="*/ 104853 w 295010"/>
                  <a:gd name="connsiteY209" fmla="*/ 31213 h 95154"/>
                  <a:gd name="connsiteX210" fmla="*/ 106216 w 295010"/>
                  <a:gd name="connsiteY210" fmla="*/ 31971 h 95154"/>
                  <a:gd name="connsiteX211" fmla="*/ 108186 w 295010"/>
                  <a:gd name="connsiteY211" fmla="*/ 32577 h 95154"/>
                  <a:gd name="connsiteX212" fmla="*/ 120914 w 295010"/>
                  <a:gd name="connsiteY212" fmla="*/ 32274 h 95154"/>
                  <a:gd name="connsiteX213" fmla="*/ 121368 w 295010"/>
                  <a:gd name="connsiteY213" fmla="*/ 31668 h 95154"/>
                  <a:gd name="connsiteX214" fmla="*/ 121368 w 295010"/>
                  <a:gd name="connsiteY214" fmla="*/ 30607 h 95154"/>
                  <a:gd name="connsiteX215" fmla="*/ 123944 w 295010"/>
                  <a:gd name="connsiteY215" fmla="*/ 33183 h 95154"/>
                  <a:gd name="connsiteX216" fmla="*/ 126217 w 295010"/>
                  <a:gd name="connsiteY216" fmla="*/ 36062 h 95154"/>
                  <a:gd name="connsiteX217" fmla="*/ 128338 w 295010"/>
                  <a:gd name="connsiteY217" fmla="*/ 37880 h 95154"/>
                  <a:gd name="connsiteX218" fmla="*/ 130914 w 295010"/>
                  <a:gd name="connsiteY218" fmla="*/ 39092 h 95154"/>
                  <a:gd name="connsiteX219" fmla="*/ 137126 w 295010"/>
                  <a:gd name="connsiteY219" fmla="*/ 41517 h 95154"/>
                  <a:gd name="connsiteX220" fmla="*/ 152278 w 295010"/>
                  <a:gd name="connsiteY220" fmla="*/ 46062 h 95154"/>
                  <a:gd name="connsiteX221" fmla="*/ 154551 w 295010"/>
                  <a:gd name="connsiteY221" fmla="*/ 46668 h 95154"/>
                  <a:gd name="connsiteX222" fmla="*/ 156824 w 295010"/>
                  <a:gd name="connsiteY222" fmla="*/ 46971 h 95154"/>
                  <a:gd name="connsiteX223" fmla="*/ 166825 w 295010"/>
                  <a:gd name="connsiteY223" fmla="*/ 45153 h 95154"/>
                  <a:gd name="connsiteX224" fmla="*/ 169400 w 295010"/>
                  <a:gd name="connsiteY224" fmla="*/ 45911 h 95154"/>
                  <a:gd name="connsiteX225" fmla="*/ 171825 w 295010"/>
                  <a:gd name="connsiteY225" fmla="*/ 48183 h 95154"/>
                  <a:gd name="connsiteX226" fmla="*/ 173491 w 295010"/>
                  <a:gd name="connsiteY226" fmla="*/ 51062 h 95154"/>
                  <a:gd name="connsiteX227" fmla="*/ 174552 w 295010"/>
                  <a:gd name="connsiteY227" fmla="*/ 54396 h 95154"/>
                  <a:gd name="connsiteX228" fmla="*/ 175764 w 295010"/>
                  <a:gd name="connsiteY228" fmla="*/ 61366 h 95154"/>
                  <a:gd name="connsiteX229" fmla="*/ 176825 w 295010"/>
                  <a:gd name="connsiteY229" fmla="*/ 62578 h 95154"/>
                  <a:gd name="connsiteX230" fmla="*/ 178189 w 295010"/>
                  <a:gd name="connsiteY230" fmla="*/ 63639 h 95154"/>
                  <a:gd name="connsiteX231" fmla="*/ 180764 w 295010"/>
                  <a:gd name="connsiteY231" fmla="*/ 65002 h 95154"/>
                  <a:gd name="connsiteX232" fmla="*/ 186219 w 295010"/>
                  <a:gd name="connsiteY232" fmla="*/ 69699 h 95154"/>
                  <a:gd name="connsiteX233" fmla="*/ 189401 w 295010"/>
                  <a:gd name="connsiteY233" fmla="*/ 71063 h 95154"/>
                  <a:gd name="connsiteX234" fmla="*/ 193189 w 295010"/>
                  <a:gd name="connsiteY234" fmla="*/ 71063 h 95154"/>
                  <a:gd name="connsiteX235" fmla="*/ 200462 w 295010"/>
                  <a:gd name="connsiteY235" fmla="*/ 71669 h 95154"/>
                  <a:gd name="connsiteX236" fmla="*/ 203947 w 295010"/>
                  <a:gd name="connsiteY236" fmla="*/ 71669 h 95154"/>
                  <a:gd name="connsiteX237" fmla="*/ 207281 w 295010"/>
                  <a:gd name="connsiteY237" fmla="*/ 72124 h 95154"/>
                  <a:gd name="connsiteX238" fmla="*/ 210462 w 295010"/>
                  <a:gd name="connsiteY238" fmla="*/ 72881 h 95154"/>
                  <a:gd name="connsiteX239" fmla="*/ 211069 w 295010"/>
                  <a:gd name="connsiteY239" fmla="*/ 73790 h 95154"/>
                  <a:gd name="connsiteX240" fmla="*/ 211523 w 295010"/>
                  <a:gd name="connsiteY240" fmla="*/ 75306 h 95154"/>
                  <a:gd name="connsiteX241" fmla="*/ 213796 w 295010"/>
                  <a:gd name="connsiteY241" fmla="*/ 77275 h 95154"/>
                  <a:gd name="connsiteX242" fmla="*/ 214250 w 295010"/>
                  <a:gd name="connsiteY242" fmla="*/ 78336 h 95154"/>
                  <a:gd name="connsiteX243" fmla="*/ 213947 w 295010"/>
                  <a:gd name="connsiteY243" fmla="*/ 79548 h 95154"/>
                  <a:gd name="connsiteX244" fmla="*/ 212735 w 295010"/>
                  <a:gd name="connsiteY244" fmla="*/ 81215 h 95154"/>
                  <a:gd name="connsiteX245" fmla="*/ 210917 w 295010"/>
                  <a:gd name="connsiteY245" fmla="*/ 82579 h 95154"/>
                  <a:gd name="connsiteX246" fmla="*/ 201674 w 295010"/>
                  <a:gd name="connsiteY246" fmla="*/ 88791 h 95154"/>
                  <a:gd name="connsiteX247" fmla="*/ 197280 w 295010"/>
                  <a:gd name="connsiteY247" fmla="*/ 95155 h 95154"/>
                  <a:gd name="connsiteX248" fmla="*/ 204099 w 295010"/>
                  <a:gd name="connsiteY248" fmla="*/ 95003 h 95154"/>
                  <a:gd name="connsiteX249" fmla="*/ 210917 w 295010"/>
                  <a:gd name="connsiteY249" fmla="*/ 94094 h 95154"/>
                  <a:gd name="connsiteX250" fmla="*/ 216675 w 295010"/>
                  <a:gd name="connsiteY250" fmla="*/ 94094 h 95154"/>
                  <a:gd name="connsiteX251" fmla="*/ 219705 w 295010"/>
                  <a:gd name="connsiteY251" fmla="*/ 93337 h 95154"/>
                  <a:gd name="connsiteX252" fmla="*/ 222736 w 295010"/>
                  <a:gd name="connsiteY252" fmla="*/ 92731 h 95154"/>
                  <a:gd name="connsiteX253" fmla="*/ 230009 w 295010"/>
                  <a:gd name="connsiteY253" fmla="*/ 92276 h 95154"/>
                  <a:gd name="connsiteX254" fmla="*/ 237130 w 295010"/>
                  <a:gd name="connsiteY254" fmla="*/ 91367 h 95154"/>
                  <a:gd name="connsiteX255" fmla="*/ 239706 w 295010"/>
                  <a:gd name="connsiteY255" fmla="*/ 91367 h 95154"/>
                  <a:gd name="connsiteX256" fmla="*/ 250464 w 295010"/>
                  <a:gd name="connsiteY256" fmla="*/ 92125 h 95154"/>
                  <a:gd name="connsiteX257" fmla="*/ 253343 w 295010"/>
                  <a:gd name="connsiteY257" fmla="*/ 92882 h 95154"/>
                  <a:gd name="connsiteX258" fmla="*/ 256222 w 295010"/>
                  <a:gd name="connsiteY258" fmla="*/ 94094 h 95154"/>
                  <a:gd name="connsiteX259" fmla="*/ 263343 w 295010"/>
                  <a:gd name="connsiteY259" fmla="*/ 94094 h 95154"/>
                  <a:gd name="connsiteX260" fmla="*/ 265313 w 295010"/>
                  <a:gd name="connsiteY260" fmla="*/ 93185 h 95154"/>
                  <a:gd name="connsiteX261" fmla="*/ 266525 w 295010"/>
                  <a:gd name="connsiteY261" fmla="*/ 92125 h 95154"/>
                  <a:gd name="connsiteX262" fmla="*/ 267283 w 295010"/>
                  <a:gd name="connsiteY262" fmla="*/ 90761 h 95154"/>
                  <a:gd name="connsiteX263" fmla="*/ 268040 w 295010"/>
                  <a:gd name="connsiteY263" fmla="*/ 92276 h 95154"/>
                  <a:gd name="connsiteX264" fmla="*/ 268040 w 295010"/>
                  <a:gd name="connsiteY264" fmla="*/ 93034 h 95154"/>
                  <a:gd name="connsiteX265" fmla="*/ 268192 w 295010"/>
                  <a:gd name="connsiteY265" fmla="*/ 93640 h 95154"/>
                  <a:gd name="connsiteX266" fmla="*/ 271222 w 295010"/>
                  <a:gd name="connsiteY266" fmla="*/ 92882 h 95154"/>
                  <a:gd name="connsiteX267" fmla="*/ 272586 w 295010"/>
                  <a:gd name="connsiteY267" fmla="*/ 92125 h 95154"/>
                  <a:gd name="connsiteX268" fmla="*/ 275465 w 295010"/>
                  <a:gd name="connsiteY268" fmla="*/ 90912 h 95154"/>
                  <a:gd name="connsiteX269" fmla="*/ 281374 w 295010"/>
                  <a:gd name="connsiteY269" fmla="*/ 89397 h 95154"/>
                  <a:gd name="connsiteX270" fmla="*/ 287435 w 295010"/>
                  <a:gd name="connsiteY270" fmla="*/ 88943 h 95154"/>
                  <a:gd name="connsiteX271" fmla="*/ 291829 w 295010"/>
                  <a:gd name="connsiteY271" fmla="*/ 88791 h 95154"/>
                  <a:gd name="connsiteX272" fmla="*/ 292738 w 295010"/>
                  <a:gd name="connsiteY272" fmla="*/ 87730 h 95154"/>
                  <a:gd name="connsiteX273" fmla="*/ 294556 w 295010"/>
                  <a:gd name="connsiteY273" fmla="*/ 86215 h 95154"/>
                  <a:gd name="connsiteX274" fmla="*/ 295011 w 295010"/>
                  <a:gd name="connsiteY274" fmla="*/ 84397 h 95154"/>
                  <a:gd name="connsiteX275" fmla="*/ 293647 w 295010"/>
                  <a:gd name="connsiteY275" fmla="*/ 82427 h 95154"/>
                  <a:gd name="connsiteX276" fmla="*/ 147127 w 295010"/>
                  <a:gd name="connsiteY276" fmla="*/ 13485 h 95154"/>
                  <a:gd name="connsiteX277" fmla="*/ 151975 w 295010"/>
                  <a:gd name="connsiteY277" fmla="*/ 15607 h 95154"/>
                  <a:gd name="connsiteX278" fmla="*/ 151975 w 295010"/>
                  <a:gd name="connsiteY278" fmla="*/ 14849 h 95154"/>
                  <a:gd name="connsiteX279" fmla="*/ 151066 w 295010"/>
                  <a:gd name="connsiteY279" fmla="*/ 14394 h 95154"/>
                  <a:gd name="connsiteX280" fmla="*/ 145611 w 295010"/>
                  <a:gd name="connsiteY280" fmla="*/ 10758 h 95154"/>
                  <a:gd name="connsiteX281" fmla="*/ 144248 w 295010"/>
                  <a:gd name="connsiteY281" fmla="*/ 10758 h 95154"/>
                  <a:gd name="connsiteX282" fmla="*/ 145005 w 295010"/>
                  <a:gd name="connsiteY282" fmla="*/ 11212 h 95154"/>
                  <a:gd name="connsiteX283" fmla="*/ 147127 w 295010"/>
                  <a:gd name="connsiteY283" fmla="*/ 13485 h 95154"/>
                  <a:gd name="connsiteX284" fmla="*/ 62124 w 295010"/>
                  <a:gd name="connsiteY284" fmla="*/ 40456 h 95154"/>
                  <a:gd name="connsiteX285" fmla="*/ 60760 w 295010"/>
                  <a:gd name="connsiteY285" fmla="*/ 38941 h 95154"/>
                  <a:gd name="connsiteX286" fmla="*/ 59851 w 295010"/>
                  <a:gd name="connsiteY286" fmla="*/ 36971 h 95154"/>
                  <a:gd name="connsiteX287" fmla="*/ 58790 w 295010"/>
                  <a:gd name="connsiteY287" fmla="*/ 36365 h 95154"/>
                  <a:gd name="connsiteX288" fmla="*/ 52275 w 295010"/>
                  <a:gd name="connsiteY288" fmla="*/ 35456 h 95154"/>
                  <a:gd name="connsiteX289" fmla="*/ 49850 w 295010"/>
                  <a:gd name="connsiteY289" fmla="*/ 38638 h 95154"/>
                  <a:gd name="connsiteX290" fmla="*/ 49699 w 295010"/>
                  <a:gd name="connsiteY290" fmla="*/ 39850 h 95154"/>
                  <a:gd name="connsiteX291" fmla="*/ 52729 w 295010"/>
                  <a:gd name="connsiteY291" fmla="*/ 45456 h 95154"/>
                  <a:gd name="connsiteX292" fmla="*/ 51820 w 295010"/>
                  <a:gd name="connsiteY292" fmla="*/ 46214 h 95154"/>
                  <a:gd name="connsiteX293" fmla="*/ 50456 w 295010"/>
                  <a:gd name="connsiteY293" fmla="*/ 46668 h 95154"/>
                  <a:gd name="connsiteX294" fmla="*/ 48941 w 295010"/>
                  <a:gd name="connsiteY294" fmla="*/ 45911 h 95154"/>
                  <a:gd name="connsiteX295" fmla="*/ 47123 w 295010"/>
                  <a:gd name="connsiteY295" fmla="*/ 44547 h 95154"/>
                  <a:gd name="connsiteX296" fmla="*/ 46972 w 295010"/>
                  <a:gd name="connsiteY296" fmla="*/ 45456 h 95154"/>
                  <a:gd name="connsiteX297" fmla="*/ 48184 w 295010"/>
                  <a:gd name="connsiteY297" fmla="*/ 47274 h 95154"/>
                  <a:gd name="connsiteX298" fmla="*/ 50154 w 295010"/>
                  <a:gd name="connsiteY298" fmla="*/ 49093 h 95154"/>
                  <a:gd name="connsiteX299" fmla="*/ 53032 w 295010"/>
                  <a:gd name="connsiteY299" fmla="*/ 49850 h 95154"/>
                  <a:gd name="connsiteX300" fmla="*/ 55911 w 295010"/>
                  <a:gd name="connsiteY300" fmla="*/ 49850 h 95154"/>
                  <a:gd name="connsiteX301" fmla="*/ 61366 w 295010"/>
                  <a:gd name="connsiteY301" fmla="*/ 47729 h 95154"/>
                  <a:gd name="connsiteX302" fmla="*/ 63942 w 295010"/>
                  <a:gd name="connsiteY302" fmla="*/ 46214 h 95154"/>
                  <a:gd name="connsiteX303" fmla="*/ 63790 w 295010"/>
                  <a:gd name="connsiteY303" fmla="*/ 44850 h 95154"/>
                  <a:gd name="connsiteX304" fmla="*/ 62124 w 295010"/>
                  <a:gd name="connsiteY304" fmla="*/ 40456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295010" h="95154">
                    <a:moveTo>
                      <a:pt x="171673" y="19849"/>
                    </a:moveTo>
                    <a:lnTo>
                      <a:pt x="173946" y="20607"/>
                    </a:lnTo>
                    <a:lnTo>
                      <a:pt x="177279" y="20758"/>
                    </a:lnTo>
                    <a:lnTo>
                      <a:pt x="178189" y="21213"/>
                    </a:lnTo>
                    <a:lnTo>
                      <a:pt x="179401" y="21213"/>
                    </a:lnTo>
                    <a:lnTo>
                      <a:pt x="181068" y="20910"/>
                    </a:lnTo>
                    <a:lnTo>
                      <a:pt x="179249" y="18486"/>
                    </a:lnTo>
                    <a:lnTo>
                      <a:pt x="177885" y="18182"/>
                    </a:lnTo>
                    <a:lnTo>
                      <a:pt x="176673" y="18334"/>
                    </a:lnTo>
                    <a:lnTo>
                      <a:pt x="175310" y="18637"/>
                    </a:lnTo>
                    <a:lnTo>
                      <a:pt x="171522" y="18031"/>
                    </a:lnTo>
                    <a:lnTo>
                      <a:pt x="169703" y="18486"/>
                    </a:lnTo>
                    <a:lnTo>
                      <a:pt x="170309" y="19243"/>
                    </a:lnTo>
                    <a:lnTo>
                      <a:pt x="171673" y="19849"/>
                    </a:lnTo>
                    <a:close/>
                    <a:moveTo>
                      <a:pt x="191068" y="31365"/>
                    </a:moveTo>
                    <a:lnTo>
                      <a:pt x="191522" y="32880"/>
                    </a:lnTo>
                    <a:lnTo>
                      <a:pt x="193644" y="34244"/>
                    </a:lnTo>
                    <a:lnTo>
                      <a:pt x="194704" y="34698"/>
                    </a:lnTo>
                    <a:lnTo>
                      <a:pt x="195462" y="34850"/>
                    </a:lnTo>
                    <a:lnTo>
                      <a:pt x="196674" y="36062"/>
                    </a:lnTo>
                    <a:lnTo>
                      <a:pt x="197735" y="35153"/>
                    </a:lnTo>
                    <a:lnTo>
                      <a:pt x="198341" y="33940"/>
                    </a:lnTo>
                    <a:lnTo>
                      <a:pt x="198644" y="32274"/>
                    </a:lnTo>
                    <a:lnTo>
                      <a:pt x="194856" y="31516"/>
                    </a:lnTo>
                    <a:lnTo>
                      <a:pt x="192583" y="31213"/>
                    </a:lnTo>
                    <a:lnTo>
                      <a:pt x="191068" y="31365"/>
                    </a:lnTo>
                    <a:close/>
                    <a:moveTo>
                      <a:pt x="188492" y="29092"/>
                    </a:moveTo>
                    <a:lnTo>
                      <a:pt x="191219" y="30304"/>
                    </a:lnTo>
                    <a:lnTo>
                      <a:pt x="192128" y="30152"/>
                    </a:lnTo>
                    <a:lnTo>
                      <a:pt x="193189" y="29546"/>
                    </a:lnTo>
                    <a:lnTo>
                      <a:pt x="191977" y="28031"/>
                    </a:lnTo>
                    <a:lnTo>
                      <a:pt x="191825" y="27577"/>
                    </a:lnTo>
                    <a:lnTo>
                      <a:pt x="189704" y="26819"/>
                    </a:lnTo>
                    <a:lnTo>
                      <a:pt x="189250" y="25001"/>
                    </a:lnTo>
                    <a:lnTo>
                      <a:pt x="188946" y="25152"/>
                    </a:lnTo>
                    <a:lnTo>
                      <a:pt x="188795" y="26668"/>
                    </a:lnTo>
                    <a:lnTo>
                      <a:pt x="187886" y="28031"/>
                    </a:lnTo>
                    <a:lnTo>
                      <a:pt x="188492" y="29092"/>
                    </a:lnTo>
                    <a:close/>
                    <a:moveTo>
                      <a:pt x="182583" y="22880"/>
                    </a:moveTo>
                    <a:lnTo>
                      <a:pt x="183795" y="24546"/>
                    </a:lnTo>
                    <a:lnTo>
                      <a:pt x="185916" y="25001"/>
                    </a:lnTo>
                    <a:lnTo>
                      <a:pt x="187431" y="26062"/>
                    </a:lnTo>
                    <a:lnTo>
                      <a:pt x="188037" y="25607"/>
                    </a:lnTo>
                    <a:lnTo>
                      <a:pt x="187128" y="25001"/>
                    </a:lnTo>
                    <a:lnTo>
                      <a:pt x="186219" y="22728"/>
                    </a:lnTo>
                    <a:lnTo>
                      <a:pt x="184704" y="21516"/>
                    </a:lnTo>
                    <a:lnTo>
                      <a:pt x="183340" y="21364"/>
                    </a:lnTo>
                    <a:lnTo>
                      <a:pt x="181370" y="21819"/>
                    </a:lnTo>
                    <a:lnTo>
                      <a:pt x="181522" y="22425"/>
                    </a:lnTo>
                    <a:lnTo>
                      <a:pt x="182583" y="22880"/>
                    </a:lnTo>
                    <a:close/>
                    <a:moveTo>
                      <a:pt x="293647" y="82427"/>
                    </a:moveTo>
                    <a:lnTo>
                      <a:pt x="292738" y="81821"/>
                    </a:lnTo>
                    <a:lnTo>
                      <a:pt x="291829" y="81367"/>
                    </a:lnTo>
                    <a:lnTo>
                      <a:pt x="290768" y="81670"/>
                    </a:lnTo>
                    <a:lnTo>
                      <a:pt x="287738" y="81367"/>
                    </a:lnTo>
                    <a:lnTo>
                      <a:pt x="284253" y="79851"/>
                    </a:lnTo>
                    <a:lnTo>
                      <a:pt x="280162" y="75912"/>
                    </a:lnTo>
                    <a:lnTo>
                      <a:pt x="278192" y="74396"/>
                    </a:lnTo>
                    <a:lnTo>
                      <a:pt x="274101" y="72124"/>
                    </a:lnTo>
                    <a:lnTo>
                      <a:pt x="271980" y="71518"/>
                    </a:lnTo>
                    <a:lnTo>
                      <a:pt x="265010" y="70306"/>
                    </a:lnTo>
                    <a:lnTo>
                      <a:pt x="261525" y="70608"/>
                    </a:lnTo>
                    <a:lnTo>
                      <a:pt x="256373" y="70154"/>
                    </a:lnTo>
                    <a:lnTo>
                      <a:pt x="253191" y="69699"/>
                    </a:lnTo>
                    <a:lnTo>
                      <a:pt x="250919" y="70306"/>
                    </a:lnTo>
                    <a:lnTo>
                      <a:pt x="250161" y="69699"/>
                    </a:lnTo>
                    <a:lnTo>
                      <a:pt x="250009" y="68639"/>
                    </a:lnTo>
                    <a:lnTo>
                      <a:pt x="250615" y="67578"/>
                    </a:lnTo>
                    <a:lnTo>
                      <a:pt x="254555" y="66820"/>
                    </a:lnTo>
                    <a:lnTo>
                      <a:pt x="252737" y="65154"/>
                    </a:lnTo>
                    <a:lnTo>
                      <a:pt x="253343" y="63790"/>
                    </a:lnTo>
                    <a:lnTo>
                      <a:pt x="254555" y="62426"/>
                    </a:lnTo>
                    <a:lnTo>
                      <a:pt x="253494" y="60457"/>
                    </a:lnTo>
                    <a:lnTo>
                      <a:pt x="251070" y="59093"/>
                    </a:lnTo>
                    <a:lnTo>
                      <a:pt x="246221" y="58942"/>
                    </a:lnTo>
                    <a:lnTo>
                      <a:pt x="241373" y="58335"/>
                    </a:lnTo>
                    <a:lnTo>
                      <a:pt x="236221" y="55608"/>
                    </a:lnTo>
                    <a:lnTo>
                      <a:pt x="230918" y="54244"/>
                    </a:lnTo>
                    <a:lnTo>
                      <a:pt x="228342" y="54244"/>
                    </a:lnTo>
                    <a:lnTo>
                      <a:pt x="225766" y="53941"/>
                    </a:lnTo>
                    <a:lnTo>
                      <a:pt x="224705" y="52426"/>
                    </a:lnTo>
                    <a:lnTo>
                      <a:pt x="223645" y="51971"/>
                    </a:lnTo>
                    <a:lnTo>
                      <a:pt x="222584" y="51820"/>
                    </a:lnTo>
                    <a:lnTo>
                      <a:pt x="219857" y="52729"/>
                    </a:lnTo>
                    <a:lnTo>
                      <a:pt x="220008" y="51820"/>
                    </a:lnTo>
                    <a:lnTo>
                      <a:pt x="220614" y="50759"/>
                    </a:lnTo>
                    <a:lnTo>
                      <a:pt x="218038" y="49093"/>
                    </a:lnTo>
                    <a:lnTo>
                      <a:pt x="213341" y="45456"/>
                    </a:lnTo>
                    <a:lnTo>
                      <a:pt x="212129" y="46820"/>
                    </a:lnTo>
                    <a:lnTo>
                      <a:pt x="210311" y="48487"/>
                    </a:lnTo>
                    <a:lnTo>
                      <a:pt x="209099" y="48335"/>
                    </a:lnTo>
                    <a:lnTo>
                      <a:pt x="208644" y="46820"/>
                    </a:lnTo>
                    <a:lnTo>
                      <a:pt x="206068" y="44699"/>
                    </a:lnTo>
                    <a:lnTo>
                      <a:pt x="209402" y="45305"/>
                    </a:lnTo>
                    <a:lnTo>
                      <a:pt x="211069" y="45153"/>
                    </a:lnTo>
                    <a:lnTo>
                      <a:pt x="212129" y="43789"/>
                    </a:lnTo>
                    <a:lnTo>
                      <a:pt x="210008" y="43032"/>
                    </a:lnTo>
                    <a:lnTo>
                      <a:pt x="207887" y="41971"/>
                    </a:lnTo>
                    <a:lnTo>
                      <a:pt x="206674" y="40759"/>
                    </a:lnTo>
                    <a:lnTo>
                      <a:pt x="202432" y="37426"/>
                    </a:lnTo>
                    <a:lnTo>
                      <a:pt x="200008" y="36971"/>
                    </a:lnTo>
                    <a:lnTo>
                      <a:pt x="200310" y="37577"/>
                    </a:lnTo>
                    <a:lnTo>
                      <a:pt x="202129" y="39244"/>
                    </a:lnTo>
                    <a:lnTo>
                      <a:pt x="202432" y="39850"/>
                    </a:lnTo>
                    <a:lnTo>
                      <a:pt x="201068" y="40304"/>
                    </a:lnTo>
                    <a:lnTo>
                      <a:pt x="198492" y="39698"/>
                    </a:lnTo>
                    <a:lnTo>
                      <a:pt x="192280" y="36819"/>
                    </a:lnTo>
                    <a:lnTo>
                      <a:pt x="189401" y="34850"/>
                    </a:lnTo>
                    <a:lnTo>
                      <a:pt x="184704" y="30910"/>
                    </a:lnTo>
                    <a:lnTo>
                      <a:pt x="169855" y="23486"/>
                    </a:lnTo>
                    <a:lnTo>
                      <a:pt x="168946" y="23789"/>
                    </a:lnTo>
                    <a:lnTo>
                      <a:pt x="167431" y="23486"/>
                    </a:lnTo>
                    <a:lnTo>
                      <a:pt x="165764" y="22880"/>
                    </a:lnTo>
                    <a:lnTo>
                      <a:pt x="163946" y="22728"/>
                    </a:lnTo>
                    <a:lnTo>
                      <a:pt x="156218" y="23031"/>
                    </a:lnTo>
                    <a:lnTo>
                      <a:pt x="153642" y="22425"/>
                    </a:lnTo>
                    <a:lnTo>
                      <a:pt x="151369" y="21213"/>
                    </a:lnTo>
                    <a:lnTo>
                      <a:pt x="148642" y="19395"/>
                    </a:lnTo>
                    <a:lnTo>
                      <a:pt x="146066" y="17425"/>
                    </a:lnTo>
                    <a:lnTo>
                      <a:pt x="142581" y="12728"/>
                    </a:lnTo>
                    <a:lnTo>
                      <a:pt x="137884" y="10303"/>
                    </a:lnTo>
                    <a:lnTo>
                      <a:pt x="138793" y="8637"/>
                    </a:lnTo>
                    <a:lnTo>
                      <a:pt x="135914" y="9091"/>
                    </a:lnTo>
                    <a:lnTo>
                      <a:pt x="134854" y="8940"/>
                    </a:lnTo>
                    <a:lnTo>
                      <a:pt x="131672" y="7121"/>
                    </a:lnTo>
                    <a:lnTo>
                      <a:pt x="129096" y="6970"/>
                    </a:lnTo>
                    <a:lnTo>
                      <a:pt x="126369" y="7424"/>
                    </a:lnTo>
                    <a:lnTo>
                      <a:pt x="123641" y="7121"/>
                    </a:lnTo>
                    <a:lnTo>
                      <a:pt x="121065" y="6212"/>
                    </a:lnTo>
                    <a:lnTo>
                      <a:pt x="118641" y="5000"/>
                    </a:lnTo>
                    <a:lnTo>
                      <a:pt x="116974" y="3030"/>
                    </a:lnTo>
                    <a:lnTo>
                      <a:pt x="115914" y="2424"/>
                    </a:lnTo>
                    <a:lnTo>
                      <a:pt x="106065" y="2879"/>
                    </a:lnTo>
                    <a:lnTo>
                      <a:pt x="102277" y="3939"/>
                    </a:lnTo>
                    <a:lnTo>
                      <a:pt x="101367" y="3788"/>
                    </a:lnTo>
                    <a:lnTo>
                      <a:pt x="98792" y="1818"/>
                    </a:lnTo>
                    <a:lnTo>
                      <a:pt x="99095" y="1061"/>
                    </a:lnTo>
                    <a:lnTo>
                      <a:pt x="96367" y="1818"/>
                    </a:lnTo>
                    <a:lnTo>
                      <a:pt x="90610" y="2121"/>
                    </a:lnTo>
                    <a:lnTo>
                      <a:pt x="83488" y="758"/>
                    </a:lnTo>
                    <a:lnTo>
                      <a:pt x="76215" y="0"/>
                    </a:lnTo>
                    <a:lnTo>
                      <a:pt x="69397" y="1061"/>
                    </a:lnTo>
                    <a:lnTo>
                      <a:pt x="62881" y="3636"/>
                    </a:lnTo>
                    <a:lnTo>
                      <a:pt x="60760" y="4243"/>
                    </a:lnTo>
                    <a:lnTo>
                      <a:pt x="46820" y="5909"/>
                    </a:lnTo>
                    <a:lnTo>
                      <a:pt x="44547" y="6364"/>
                    </a:lnTo>
                    <a:lnTo>
                      <a:pt x="23031" y="15000"/>
                    </a:lnTo>
                    <a:lnTo>
                      <a:pt x="20910" y="16364"/>
                    </a:lnTo>
                    <a:lnTo>
                      <a:pt x="16516" y="20455"/>
                    </a:lnTo>
                    <a:lnTo>
                      <a:pt x="14395" y="23183"/>
                    </a:lnTo>
                    <a:lnTo>
                      <a:pt x="13788" y="26668"/>
                    </a:lnTo>
                    <a:lnTo>
                      <a:pt x="15304" y="31819"/>
                    </a:lnTo>
                    <a:lnTo>
                      <a:pt x="14092" y="32880"/>
                    </a:lnTo>
                    <a:lnTo>
                      <a:pt x="12425" y="33031"/>
                    </a:lnTo>
                    <a:lnTo>
                      <a:pt x="10758" y="32728"/>
                    </a:lnTo>
                    <a:lnTo>
                      <a:pt x="9697" y="33031"/>
                    </a:lnTo>
                    <a:lnTo>
                      <a:pt x="303" y="36971"/>
                    </a:lnTo>
                    <a:lnTo>
                      <a:pt x="0" y="38032"/>
                    </a:lnTo>
                    <a:lnTo>
                      <a:pt x="1364" y="38789"/>
                    </a:lnTo>
                    <a:lnTo>
                      <a:pt x="2727" y="38335"/>
                    </a:lnTo>
                    <a:lnTo>
                      <a:pt x="5606" y="36668"/>
                    </a:lnTo>
                    <a:lnTo>
                      <a:pt x="7121" y="36062"/>
                    </a:lnTo>
                    <a:lnTo>
                      <a:pt x="8940" y="35759"/>
                    </a:lnTo>
                    <a:lnTo>
                      <a:pt x="10607" y="35910"/>
                    </a:lnTo>
                    <a:lnTo>
                      <a:pt x="10910" y="38032"/>
                    </a:lnTo>
                    <a:lnTo>
                      <a:pt x="10607" y="40304"/>
                    </a:lnTo>
                    <a:lnTo>
                      <a:pt x="12122" y="39850"/>
                    </a:lnTo>
                    <a:lnTo>
                      <a:pt x="17880" y="36819"/>
                    </a:lnTo>
                    <a:lnTo>
                      <a:pt x="20607" y="35910"/>
                    </a:lnTo>
                    <a:lnTo>
                      <a:pt x="23486" y="35456"/>
                    </a:lnTo>
                    <a:lnTo>
                      <a:pt x="24395" y="34395"/>
                    </a:lnTo>
                    <a:lnTo>
                      <a:pt x="25304" y="31213"/>
                    </a:lnTo>
                    <a:lnTo>
                      <a:pt x="26213" y="29546"/>
                    </a:lnTo>
                    <a:lnTo>
                      <a:pt x="27122" y="28940"/>
                    </a:lnTo>
                    <a:lnTo>
                      <a:pt x="33032" y="28637"/>
                    </a:lnTo>
                    <a:lnTo>
                      <a:pt x="34244" y="28334"/>
                    </a:lnTo>
                    <a:lnTo>
                      <a:pt x="35456" y="27728"/>
                    </a:lnTo>
                    <a:lnTo>
                      <a:pt x="36971" y="27728"/>
                    </a:lnTo>
                    <a:lnTo>
                      <a:pt x="38486" y="28334"/>
                    </a:lnTo>
                    <a:lnTo>
                      <a:pt x="41365" y="27274"/>
                    </a:lnTo>
                    <a:lnTo>
                      <a:pt x="43789" y="25001"/>
                    </a:lnTo>
                    <a:lnTo>
                      <a:pt x="46668" y="23486"/>
                    </a:lnTo>
                    <a:lnTo>
                      <a:pt x="47881" y="22576"/>
                    </a:lnTo>
                    <a:lnTo>
                      <a:pt x="48941" y="21364"/>
                    </a:lnTo>
                    <a:lnTo>
                      <a:pt x="51669" y="18940"/>
                    </a:lnTo>
                    <a:lnTo>
                      <a:pt x="55760" y="16667"/>
                    </a:lnTo>
                    <a:lnTo>
                      <a:pt x="57881" y="14849"/>
                    </a:lnTo>
                    <a:lnTo>
                      <a:pt x="59245" y="13940"/>
                    </a:lnTo>
                    <a:lnTo>
                      <a:pt x="82124" y="14243"/>
                    </a:lnTo>
                    <a:lnTo>
                      <a:pt x="83943" y="14394"/>
                    </a:lnTo>
                    <a:lnTo>
                      <a:pt x="85306" y="14849"/>
                    </a:lnTo>
                    <a:lnTo>
                      <a:pt x="86518" y="15607"/>
                    </a:lnTo>
                    <a:lnTo>
                      <a:pt x="87731" y="16819"/>
                    </a:lnTo>
                    <a:lnTo>
                      <a:pt x="88337" y="18486"/>
                    </a:lnTo>
                    <a:lnTo>
                      <a:pt x="87579" y="19546"/>
                    </a:lnTo>
                    <a:lnTo>
                      <a:pt x="86367" y="20455"/>
                    </a:lnTo>
                    <a:lnTo>
                      <a:pt x="80458" y="21667"/>
                    </a:lnTo>
                    <a:lnTo>
                      <a:pt x="77579" y="22576"/>
                    </a:lnTo>
                    <a:lnTo>
                      <a:pt x="80458" y="25304"/>
                    </a:lnTo>
                    <a:lnTo>
                      <a:pt x="83791" y="27577"/>
                    </a:lnTo>
                    <a:lnTo>
                      <a:pt x="84700" y="28031"/>
                    </a:lnTo>
                    <a:lnTo>
                      <a:pt x="95004" y="28486"/>
                    </a:lnTo>
                    <a:lnTo>
                      <a:pt x="97428" y="30759"/>
                    </a:lnTo>
                    <a:lnTo>
                      <a:pt x="99398" y="30607"/>
                    </a:lnTo>
                    <a:lnTo>
                      <a:pt x="101065" y="29698"/>
                    </a:lnTo>
                    <a:lnTo>
                      <a:pt x="101671" y="28031"/>
                    </a:lnTo>
                    <a:lnTo>
                      <a:pt x="102125" y="26213"/>
                    </a:lnTo>
                    <a:lnTo>
                      <a:pt x="103337" y="28031"/>
                    </a:lnTo>
                    <a:lnTo>
                      <a:pt x="103943" y="30152"/>
                    </a:lnTo>
                    <a:lnTo>
                      <a:pt x="104853" y="31213"/>
                    </a:lnTo>
                    <a:lnTo>
                      <a:pt x="106216" y="31971"/>
                    </a:lnTo>
                    <a:lnTo>
                      <a:pt x="108186" y="32577"/>
                    </a:lnTo>
                    <a:lnTo>
                      <a:pt x="120914" y="32274"/>
                    </a:lnTo>
                    <a:lnTo>
                      <a:pt x="121368" y="31668"/>
                    </a:lnTo>
                    <a:lnTo>
                      <a:pt x="121368" y="30607"/>
                    </a:lnTo>
                    <a:lnTo>
                      <a:pt x="123944" y="33183"/>
                    </a:lnTo>
                    <a:lnTo>
                      <a:pt x="126217" y="36062"/>
                    </a:lnTo>
                    <a:lnTo>
                      <a:pt x="128338" y="37880"/>
                    </a:lnTo>
                    <a:lnTo>
                      <a:pt x="130914" y="39092"/>
                    </a:lnTo>
                    <a:lnTo>
                      <a:pt x="137126" y="41517"/>
                    </a:lnTo>
                    <a:lnTo>
                      <a:pt x="152278" y="46062"/>
                    </a:lnTo>
                    <a:lnTo>
                      <a:pt x="154551" y="46668"/>
                    </a:lnTo>
                    <a:lnTo>
                      <a:pt x="156824" y="46971"/>
                    </a:lnTo>
                    <a:lnTo>
                      <a:pt x="166825" y="45153"/>
                    </a:lnTo>
                    <a:lnTo>
                      <a:pt x="169400" y="45911"/>
                    </a:lnTo>
                    <a:lnTo>
                      <a:pt x="171825" y="48183"/>
                    </a:lnTo>
                    <a:lnTo>
                      <a:pt x="173491" y="51062"/>
                    </a:lnTo>
                    <a:lnTo>
                      <a:pt x="174552" y="54396"/>
                    </a:lnTo>
                    <a:lnTo>
                      <a:pt x="175764" y="61366"/>
                    </a:lnTo>
                    <a:lnTo>
                      <a:pt x="176825" y="62578"/>
                    </a:lnTo>
                    <a:lnTo>
                      <a:pt x="178189" y="63639"/>
                    </a:lnTo>
                    <a:lnTo>
                      <a:pt x="180764" y="65002"/>
                    </a:lnTo>
                    <a:lnTo>
                      <a:pt x="186219" y="69699"/>
                    </a:lnTo>
                    <a:lnTo>
                      <a:pt x="189401" y="71063"/>
                    </a:lnTo>
                    <a:lnTo>
                      <a:pt x="193189" y="71063"/>
                    </a:lnTo>
                    <a:lnTo>
                      <a:pt x="200462" y="71669"/>
                    </a:lnTo>
                    <a:lnTo>
                      <a:pt x="203947" y="71669"/>
                    </a:lnTo>
                    <a:lnTo>
                      <a:pt x="207281" y="72124"/>
                    </a:lnTo>
                    <a:lnTo>
                      <a:pt x="210462" y="72881"/>
                    </a:lnTo>
                    <a:lnTo>
                      <a:pt x="211069" y="73790"/>
                    </a:lnTo>
                    <a:lnTo>
                      <a:pt x="211523" y="75306"/>
                    </a:lnTo>
                    <a:lnTo>
                      <a:pt x="213796" y="77275"/>
                    </a:lnTo>
                    <a:lnTo>
                      <a:pt x="214250" y="78336"/>
                    </a:lnTo>
                    <a:lnTo>
                      <a:pt x="213947" y="79548"/>
                    </a:lnTo>
                    <a:lnTo>
                      <a:pt x="212735" y="81215"/>
                    </a:lnTo>
                    <a:lnTo>
                      <a:pt x="210917" y="82579"/>
                    </a:lnTo>
                    <a:lnTo>
                      <a:pt x="201674" y="88791"/>
                    </a:lnTo>
                    <a:lnTo>
                      <a:pt x="197280" y="95155"/>
                    </a:lnTo>
                    <a:lnTo>
                      <a:pt x="204099" y="95003"/>
                    </a:lnTo>
                    <a:lnTo>
                      <a:pt x="210917" y="94094"/>
                    </a:lnTo>
                    <a:lnTo>
                      <a:pt x="216675" y="94094"/>
                    </a:lnTo>
                    <a:lnTo>
                      <a:pt x="219705" y="93337"/>
                    </a:lnTo>
                    <a:lnTo>
                      <a:pt x="222736" y="92731"/>
                    </a:lnTo>
                    <a:lnTo>
                      <a:pt x="230009" y="92276"/>
                    </a:lnTo>
                    <a:lnTo>
                      <a:pt x="237130" y="91367"/>
                    </a:lnTo>
                    <a:lnTo>
                      <a:pt x="239706" y="91367"/>
                    </a:lnTo>
                    <a:lnTo>
                      <a:pt x="250464" y="92125"/>
                    </a:lnTo>
                    <a:lnTo>
                      <a:pt x="253343" y="92882"/>
                    </a:lnTo>
                    <a:lnTo>
                      <a:pt x="256222" y="94094"/>
                    </a:lnTo>
                    <a:lnTo>
                      <a:pt x="263343" y="94094"/>
                    </a:lnTo>
                    <a:lnTo>
                      <a:pt x="265313" y="93185"/>
                    </a:lnTo>
                    <a:lnTo>
                      <a:pt x="266525" y="92125"/>
                    </a:lnTo>
                    <a:lnTo>
                      <a:pt x="267283" y="90761"/>
                    </a:lnTo>
                    <a:lnTo>
                      <a:pt x="268040" y="92276"/>
                    </a:lnTo>
                    <a:lnTo>
                      <a:pt x="268040" y="93034"/>
                    </a:lnTo>
                    <a:lnTo>
                      <a:pt x="268192" y="93640"/>
                    </a:lnTo>
                    <a:lnTo>
                      <a:pt x="271222" y="92882"/>
                    </a:lnTo>
                    <a:lnTo>
                      <a:pt x="272586" y="92125"/>
                    </a:lnTo>
                    <a:lnTo>
                      <a:pt x="275465" y="90912"/>
                    </a:lnTo>
                    <a:lnTo>
                      <a:pt x="281374" y="89397"/>
                    </a:lnTo>
                    <a:lnTo>
                      <a:pt x="287435" y="88943"/>
                    </a:lnTo>
                    <a:lnTo>
                      <a:pt x="291829" y="88791"/>
                    </a:lnTo>
                    <a:lnTo>
                      <a:pt x="292738" y="87730"/>
                    </a:lnTo>
                    <a:lnTo>
                      <a:pt x="294556" y="86215"/>
                    </a:lnTo>
                    <a:lnTo>
                      <a:pt x="295011" y="84397"/>
                    </a:lnTo>
                    <a:lnTo>
                      <a:pt x="293647" y="82427"/>
                    </a:lnTo>
                    <a:close/>
                    <a:moveTo>
                      <a:pt x="147127" y="13485"/>
                    </a:moveTo>
                    <a:lnTo>
                      <a:pt x="151975" y="15607"/>
                    </a:lnTo>
                    <a:lnTo>
                      <a:pt x="151975" y="14849"/>
                    </a:lnTo>
                    <a:lnTo>
                      <a:pt x="151066" y="14394"/>
                    </a:lnTo>
                    <a:lnTo>
                      <a:pt x="145611" y="10758"/>
                    </a:lnTo>
                    <a:lnTo>
                      <a:pt x="144248" y="10758"/>
                    </a:lnTo>
                    <a:lnTo>
                      <a:pt x="145005" y="11212"/>
                    </a:lnTo>
                    <a:lnTo>
                      <a:pt x="147127" y="13485"/>
                    </a:lnTo>
                    <a:close/>
                    <a:moveTo>
                      <a:pt x="62124" y="40456"/>
                    </a:moveTo>
                    <a:lnTo>
                      <a:pt x="60760" y="38941"/>
                    </a:lnTo>
                    <a:lnTo>
                      <a:pt x="59851" y="36971"/>
                    </a:lnTo>
                    <a:lnTo>
                      <a:pt x="58790" y="36365"/>
                    </a:lnTo>
                    <a:lnTo>
                      <a:pt x="52275" y="35456"/>
                    </a:lnTo>
                    <a:lnTo>
                      <a:pt x="49850" y="38638"/>
                    </a:lnTo>
                    <a:lnTo>
                      <a:pt x="49699" y="39850"/>
                    </a:lnTo>
                    <a:lnTo>
                      <a:pt x="52729" y="45456"/>
                    </a:lnTo>
                    <a:lnTo>
                      <a:pt x="51820" y="46214"/>
                    </a:lnTo>
                    <a:lnTo>
                      <a:pt x="50456" y="46668"/>
                    </a:lnTo>
                    <a:lnTo>
                      <a:pt x="48941" y="45911"/>
                    </a:lnTo>
                    <a:lnTo>
                      <a:pt x="47123" y="44547"/>
                    </a:lnTo>
                    <a:lnTo>
                      <a:pt x="46972" y="45456"/>
                    </a:lnTo>
                    <a:lnTo>
                      <a:pt x="48184" y="47274"/>
                    </a:lnTo>
                    <a:lnTo>
                      <a:pt x="50154" y="49093"/>
                    </a:lnTo>
                    <a:lnTo>
                      <a:pt x="53032" y="49850"/>
                    </a:lnTo>
                    <a:lnTo>
                      <a:pt x="55911" y="49850"/>
                    </a:lnTo>
                    <a:lnTo>
                      <a:pt x="61366" y="47729"/>
                    </a:lnTo>
                    <a:lnTo>
                      <a:pt x="63942" y="46214"/>
                    </a:lnTo>
                    <a:lnTo>
                      <a:pt x="63790" y="44850"/>
                    </a:lnTo>
                    <a:lnTo>
                      <a:pt x="62124" y="4045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0" name="Freeform: Shape 3309">
                <a:extLst>
                  <a:ext uri="{FF2B5EF4-FFF2-40B4-BE49-F238E27FC236}">
                    <a16:creationId xmlns:a16="http://schemas.microsoft.com/office/drawing/2014/main" id="{060462AC-D3DE-41D3-8520-C441F6D9DE0E}"/>
                  </a:ext>
                </a:extLst>
              </p:cNvPr>
              <p:cNvSpPr/>
              <p:nvPr/>
            </p:nvSpPr>
            <p:spPr>
              <a:xfrm>
                <a:off x="3426658" y="4256679"/>
                <a:ext cx="91518" cy="85609"/>
              </a:xfrm>
              <a:custGeom>
                <a:avLst/>
                <a:gdLst>
                  <a:gd name="connsiteX0" fmla="*/ 90306 w 91518"/>
                  <a:gd name="connsiteY0" fmla="*/ 43183 h 85609"/>
                  <a:gd name="connsiteX1" fmla="*/ 85609 w 91518"/>
                  <a:gd name="connsiteY1" fmla="*/ 41820 h 85609"/>
                  <a:gd name="connsiteX2" fmla="*/ 84851 w 91518"/>
                  <a:gd name="connsiteY2" fmla="*/ 40001 h 85609"/>
                  <a:gd name="connsiteX3" fmla="*/ 83185 w 91518"/>
                  <a:gd name="connsiteY3" fmla="*/ 38941 h 85609"/>
                  <a:gd name="connsiteX4" fmla="*/ 78791 w 91518"/>
                  <a:gd name="connsiteY4" fmla="*/ 32880 h 85609"/>
                  <a:gd name="connsiteX5" fmla="*/ 76215 w 91518"/>
                  <a:gd name="connsiteY5" fmla="*/ 31516 h 85609"/>
                  <a:gd name="connsiteX6" fmla="*/ 70154 w 91518"/>
                  <a:gd name="connsiteY6" fmla="*/ 24092 h 85609"/>
                  <a:gd name="connsiteX7" fmla="*/ 67275 w 91518"/>
                  <a:gd name="connsiteY7" fmla="*/ 19849 h 85609"/>
                  <a:gd name="connsiteX8" fmla="*/ 63790 w 91518"/>
                  <a:gd name="connsiteY8" fmla="*/ 12576 h 85609"/>
                  <a:gd name="connsiteX9" fmla="*/ 63487 w 91518"/>
                  <a:gd name="connsiteY9" fmla="*/ 10303 h 85609"/>
                  <a:gd name="connsiteX10" fmla="*/ 62730 w 91518"/>
                  <a:gd name="connsiteY10" fmla="*/ 8637 h 85609"/>
                  <a:gd name="connsiteX11" fmla="*/ 61972 w 91518"/>
                  <a:gd name="connsiteY11" fmla="*/ 7576 h 85609"/>
                  <a:gd name="connsiteX12" fmla="*/ 61517 w 91518"/>
                  <a:gd name="connsiteY12" fmla="*/ 9697 h 85609"/>
                  <a:gd name="connsiteX13" fmla="*/ 60154 w 91518"/>
                  <a:gd name="connsiteY13" fmla="*/ 11061 h 85609"/>
                  <a:gd name="connsiteX14" fmla="*/ 57426 w 91518"/>
                  <a:gd name="connsiteY14" fmla="*/ 12273 h 85609"/>
                  <a:gd name="connsiteX15" fmla="*/ 54396 w 91518"/>
                  <a:gd name="connsiteY15" fmla="*/ 12576 h 85609"/>
                  <a:gd name="connsiteX16" fmla="*/ 49547 w 91518"/>
                  <a:gd name="connsiteY16" fmla="*/ 11364 h 85609"/>
                  <a:gd name="connsiteX17" fmla="*/ 47578 w 91518"/>
                  <a:gd name="connsiteY17" fmla="*/ 11212 h 85609"/>
                  <a:gd name="connsiteX18" fmla="*/ 46820 w 91518"/>
                  <a:gd name="connsiteY18" fmla="*/ 10606 h 85609"/>
                  <a:gd name="connsiteX19" fmla="*/ 46668 w 91518"/>
                  <a:gd name="connsiteY19" fmla="*/ 9546 h 85609"/>
                  <a:gd name="connsiteX20" fmla="*/ 45305 w 91518"/>
                  <a:gd name="connsiteY20" fmla="*/ 8031 h 85609"/>
                  <a:gd name="connsiteX21" fmla="*/ 42729 w 91518"/>
                  <a:gd name="connsiteY21" fmla="*/ 5758 h 85609"/>
                  <a:gd name="connsiteX22" fmla="*/ 41214 w 91518"/>
                  <a:gd name="connsiteY22" fmla="*/ 5909 h 85609"/>
                  <a:gd name="connsiteX23" fmla="*/ 38789 w 91518"/>
                  <a:gd name="connsiteY23" fmla="*/ 5455 h 85609"/>
                  <a:gd name="connsiteX24" fmla="*/ 34850 w 91518"/>
                  <a:gd name="connsiteY24" fmla="*/ 3939 h 85609"/>
                  <a:gd name="connsiteX25" fmla="*/ 33031 w 91518"/>
                  <a:gd name="connsiteY25" fmla="*/ 3788 h 85609"/>
                  <a:gd name="connsiteX26" fmla="*/ 30456 w 91518"/>
                  <a:gd name="connsiteY26" fmla="*/ 5000 h 85609"/>
                  <a:gd name="connsiteX27" fmla="*/ 27425 w 91518"/>
                  <a:gd name="connsiteY27" fmla="*/ 6667 h 85609"/>
                  <a:gd name="connsiteX28" fmla="*/ 20001 w 91518"/>
                  <a:gd name="connsiteY28" fmla="*/ 4091 h 85609"/>
                  <a:gd name="connsiteX29" fmla="*/ 14849 w 91518"/>
                  <a:gd name="connsiteY29" fmla="*/ 2273 h 85609"/>
                  <a:gd name="connsiteX30" fmla="*/ 10152 w 91518"/>
                  <a:gd name="connsiteY30" fmla="*/ 606 h 85609"/>
                  <a:gd name="connsiteX31" fmla="*/ 8940 w 91518"/>
                  <a:gd name="connsiteY31" fmla="*/ 0 h 85609"/>
                  <a:gd name="connsiteX32" fmla="*/ 7879 w 91518"/>
                  <a:gd name="connsiteY32" fmla="*/ 151 h 85609"/>
                  <a:gd name="connsiteX33" fmla="*/ 6970 w 91518"/>
                  <a:gd name="connsiteY33" fmla="*/ 1061 h 85609"/>
                  <a:gd name="connsiteX34" fmla="*/ 5909 w 91518"/>
                  <a:gd name="connsiteY34" fmla="*/ 2576 h 85609"/>
                  <a:gd name="connsiteX35" fmla="*/ 5606 w 91518"/>
                  <a:gd name="connsiteY35" fmla="*/ 3030 h 85609"/>
                  <a:gd name="connsiteX36" fmla="*/ 5152 w 91518"/>
                  <a:gd name="connsiteY36" fmla="*/ 3333 h 85609"/>
                  <a:gd name="connsiteX37" fmla="*/ 4546 w 91518"/>
                  <a:gd name="connsiteY37" fmla="*/ 3485 h 85609"/>
                  <a:gd name="connsiteX38" fmla="*/ 4546 w 91518"/>
                  <a:gd name="connsiteY38" fmla="*/ 4091 h 85609"/>
                  <a:gd name="connsiteX39" fmla="*/ 4243 w 91518"/>
                  <a:gd name="connsiteY39" fmla="*/ 5606 h 85609"/>
                  <a:gd name="connsiteX40" fmla="*/ 606 w 91518"/>
                  <a:gd name="connsiteY40" fmla="*/ 7424 h 85609"/>
                  <a:gd name="connsiteX41" fmla="*/ 0 w 91518"/>
                  <a:gd name="connsiteY41" fmla="*/ 8031 h 85609"/>
                  <a:gd name="connsiteX42" fmla="*/ 2121 w 91518"/>
                  <a:gd name="connsiteY42" fmla="*/ 9394 h 85609"/>
                  <a:gd name="connsiteX43" fmla="*/ 5303 w 91518"/>
                  <a:gd name="connsiteY43" fmla="*/ 10909 h 85609"/>
                  <a:gd name="connsiteX44" fmla="*/ 6667 w 91518"/>
                  <a:gd name="connsiteY44" fmla="*/ 12273 h 85609"/>
                  <a:gd name="connsiteX45" fmla="*/ 6515 w 91518"/>
                  <a:gd name="connsiteY45" fmla="*/ 14091 h 85609"/>
                  <a:gd name="connsiteX46" fmla="*/ 6667 w 91518"/>
                  <a:gd name="connsiteY46" fmla="*/ 15304 h 85609"/>
                  <a:gd name="connsiteX47" fmla="*/ 5606 w 91518"/>
                  <a:gd name="connsiteY47" fmla="*/ 17273 h 85609"/>
                  <a:gd name="connsiteX48" fmla="*/ 2121 w 91518"/>
                  <a:gd name="connsiteY48" fmla="*/ 21819 h 85609"/>
                  <a:gd name="connsiteX49" fmla="*/ 1667 w 91518"/>
                  <a:gd name="connsiteY49" fmla="*/ 24698 h 85609"/>
                  <a:gd name="connsiteX50" fmla="*/ 3030 w 91518"/>
                  <a:gd name="connsiteY50" fmla="*/ 29092 h 85609"/>
                  <a:gd name="connsiteX51" fmla="*/ 6212 w 91518"/>
                  <a:gd name="connsiteY51" fmla="*/ 33789 h 85609"/>
                  <a:gd name="connsiteX52" fmla="*/ 7727 w 91518"/>
                  <a:gd name="connsiteY52" fmla="*/ 35456 h 85609"/>
                  <a:gd name="connsiteX53" fmla="*/ 16213 w 91518"/>
                  <a:gd name="connsiteY53" fmla="*/ 37880 h 85609"/>
                  <a:gd name="connsiteX54" fmla="*/ 20607 w 91518"/>
                  <a:gd name="connsiteY54" fmla="*/ 43183 h 85609"/>
                  <a:gd name="connsiteX55" fmla="*/ 21667 w 91518"/>
                  <a:gd name="connsiteY55" fmla="*/ 44244 h 85609"/>
                  <a:gd name="connsiteX56" fmla="*/ 22728 w 91518"/>
                  <a:gd name="connsiteY56" fmla="*/ 43638 h 85609"/>
                  <a:gd name="connsiteX57" fmla="*/ 23183 w 91518"/>
                  <a:gd name="connsiteY57" fmla="*/ 41820 h 85609"/>
                  <a:gd name="connsiteX58" fmla="*/ 24849 w 91518"/>
                  <a:gd name="connsiteY58" fmla="*/ 40911 h 85609"/>
                  <a:gd name="connsiteX59" fmla="*/ 28031 w 91518"/>
                  <a:gd name="connsiteY59" fmla="*/ 37577 h 85609"/>
                  <a:gd name="connsiteX60" fmla="*/ 27425 w 91518"/>
                  <a:gd name="connsiteY60" fmla="*/ 35910 h 85609"/>
                  <a:gd name="connsiteX61" fmla="*/ 25910 w 91518"/>
                  <a:gd name="connsiteY61" fmla="*/ 34547 h 85609"/>
                  <a:gd name="connsiteX62" fmla="*/ 20455 w 91518"/>
                  <a:gd name="connsiteY62" fmla="*/ 32274 h 85609"/>
                  <a:gd name="connsiteX63" fmla="*/ 18334 w 91518"/>
                  <a:gd name="connsiteY63" fmla="*/ 29698 h 85609"/>
                  <a:gd name="connsiteX64" fmla="*/ 17728 w 91518"/>
                  <a:gd name="connsiteY64" fmla="*/ 25607 h 85609"/>
                  <a:gd name="connsiteX65" fmla="*/ 18486 w 91518"/>
                  <a:gd name="connsiteY65" fmla="*/ 26061 h 85609"/>
                  <a:gd name="connsiteX66" fmla="*/ 19395 w 91518"/>
                  <a:gd name="connsiteY66" fmla="*/ 27274 h 85609"/>
                  <a:gd name="connsiteX67" fmla="*/ 24243 w 91518"/>
                  <a:gd name="connsiteY67" fmla="*/ 29546 h 85609"/>
                  <a:gd name="connsiteX68" fmla="*/ 32729 w 91518"/>
                  <a:gd name="connsiteY68" fmla="*/ 35456 h 85609"/>
                  <a:gd name="connsiteX69" fmla="*/ 34698 w 91518"/>
                  <a:gd name="connsiteY69" fmla="*/ 38486 h 85609"/>
                  <a:gd name="connsiteX70" fmla="*/ 33941 w 91518"/>
                  <a:gd name="connsiteY70" fmla="*/ 40911 h 85609"/>
                  <a:gd name="connsiteX71" fmla="*/ 34244 w 91518"/>
                  <a:gd name="connsiteY71" fmla="*/ 42426 h 85609"/>
                  <a:gd name="connsiteX72" fmla="*/ 36365 w 91518"/>
                  <a:gd name="connsiteY72" fmla="*/ 44547 h 85609"/>
                  <a:gd name="connsiteX73" fmla="*/ 39092 w 91518"/>
                  <a:gd name="connsiteY73" fmla="*/ 45759 h 85609"/>
                  <a:gd name="connsiteX74" fmla="*/ 46214 w 91518"/>
                  <a:gd name="connsiteY74" fmla="*/ 47426 h 85609"/>
                  <a:gd name="connsiteX75" fmla="*/ 48941 w 91518"/>
                  <a:gd name="connsiteY75" fmla="*/ 49699 h 85609"/>
                  <a:gd name="connsiteX76" fmla="*/ 55154 w 91518"/>
                  <a:gd name="connsiteY76" fmla="*/ 52577 h 85609"/>
                  <a:gd name="connsiteX77" fmla="*/ 59396 w 91518"/>
                  <a:gd name="connsiteY77" fmla="*/ 56063 h 85609"/>
                  <a:gd name="connsiteX78" fmla="*/ 62123 w 91518"/>
                  <a:gd name="connsiteY78" fmla="*/ 59093 h 85609"/>
                  <a:gd name="connsiteX79" fmla="*/ 62730 w 91518"/>
                  <a:gd name="connsiteY79" fmla="*/ 61214 h 85609"/>
                  <a:gd name="connsiteX80" fmla="*/ 62730 w 91518"/>
                  <a:gd name="connsiteY80" fmla="*/ 65457 h 85609"/>
                  <a:gd name="connsiteX81" fmla="*/ 61972 w 91518"/>
                  <a:gd name="connsiteY81" fmla="*/ 67578 h 85609"/>
                  <a:gd name="connsiteX82" fmla="*/ 59548 w 91518"/>
                  <a:gd name="connsiteY82" fmla="*/ 70760 h 85609"/>
                  <a:gd name="connsiteX83" fmla="*/ 63033 w 91518"/>
                  <a:gd name="connsiteY83" fmla="*/ 74396 h 85609"/>
                  <a:gd name="connsiteX84" fmla="*/ 64699 w 91518"/>
                  <a:gd name="connsiteY84" fmla="*/ 75306 h 85609"/>
                  <a:gd name="connsiteX85" fmla="*/ 67275 w 91518"/>
                  <a:gd name="connsiteY85" fmla="*/ 75457 h 85609"/>
                  <a:gd name="connsiteX86" fmla="*/ 69245 w 91518"/>
                  <a:gd name="connsiteY86" fmla="*/ 76215 h 85609"/>
                  <a:gd name="connsiteX87" fmla="*/ 71669 w 91518"/>
                  <a:gd name="connsiteY87" fmla="*/ 76366 h 85609"/>
                  <a:gd name="connsiteX88" fmla="*/ 71669 w 91518"/>
                  <a:gd name="connsiteY88" fmla="*/ 74851 h 85609"/>
                  <a:gd name="connsiteX89" fmla="*/ 71366 w 91518"/>
                  <a:gd name="connsiteY89" fmla="*/ 73639 h 85609"/>
                  <a:gd name="connsiteX90" fmla="*/ 68033 w 91518"/>
                  <a:gd name="connsiteY90" fmla="*/ 70608 h 85609"/>
                  <a:gd name="connsiteX91" fmla="*/ 66669 w 91518"/>
                  <a:gd name="connsiteY91" fmla="*/ 68184 h 85609"/>
                  <a:gd name="connsiteX92" fmla="*/ 68942 w 91518"/>
                  <a:gd name="connsiteY92" fmla="*/ 67881 h 85609"/>
                  <a:gd name="connsiteX93" fmla="*/ 71821 w 91518"/>
                  <a:gd name="connsiteY93" fmla="*/ 69396 h 85609"/>
                  <a:gd name="connsiteX94" fmla="*/ 75154 w 91518"/>
                  <a:gd name="connsiteY94" fmla="*/ 71366 h 85609"/>
                  <a:gd name="connsiteX95" fmla="*/ 76063 w 91518"/>
                  <a:gd name="connsiteY95" fmla="*/ 73639 h 85609"/>
                  <a:gd name="connsiteX96" fmla="*/ 76215 w 91518"/>
                  <a:gd name="connsiteY96" fmla="*/ 77882 h 85609"/>
                  <a:gd name="connsiteX97" fmla="*/ 78488 w 91518"/>
                  <a:gd name="connsiteY97" fmla="*/ 79700 h 85609"/>
                  <a:gd name="connsiteX98" fmla="*/ 81063 w 91518"/>
                  <a:gd name="connsiteY98" fmla="*/ 82579 h 85609"/>
                  <a:gd name="connsiteX99" fmla="*/ 82882 w 91518"/>
                  <a:gd name="connsiteY99" fmla="*/ 85609 h 85609"/>
                  <a:gd name="connsiteX100" fmla="*/ 82730 w 91518"/>
                  <a:gd name="connsiteY100" fmla="*/ 83942 h 85609"/>
                  <a:gd name="connsiteX101" fmla="*/ 81973 w 91518"/>
                  <a:gd name="connsiteY101" fmla="*/ 81973 h 85609"/>
                  <a:gd name="connsiteX102" fmla="*/ 81063 w 91518"/>
                  <a:gd name="connsiteY102" fmla="*/ 80457 h 85609"/>
                  <a:gd name="connsiteX103" fmla="*/ 78942 w 91518"/>
                  <a:gd name="connsiteY103" fmla="*/ 78791 h 85609"/>
                  <a:gd name="connsiteX104" fmla="*/ 78791 w 91518"/>
                  <a:gd name="connsiteY104" fmla="*/ 78336 h 85609"/>
                  <a:gd name="connsiteX105" fmla="*/ 79700 w 91518"/>
                  <a:gd name="connsiteY105" fmla="*/ 77427 h 85609"/>
                  <a:gd name="connsiteX106" fmla="*/ 83336 w 91518"/>
                  <a:gd name="connsiteY106" fmla="*/ 75154 h 85609"/>
                  <a:gd name="connsiteX107" fmla="*/ 83791 w 91518"/>
                  <a:gd name="connsiteY107" fmla="*/ 74094 h 85609"/>
                  <a:gd name="connsiteX108" fmla="*/ 83942 w 91518"/>
                  <a:gd name="connsiteY108" fmla="*/ 72124 h 85609"/>
                  <a:gd name="connsiteX109" fmla="*/ 83488 w 91518"/>
                  <a:gd name="connsiteY109" fmla="*/ 70154 h 85609"/>
                  <a:gd name="connsiteX110" fmla="*/ 81821 w 91518"/>
                  <a:gd name="connsiteY110" fmla="*/ 67275 h 85609"/>
                  <a:gd name="connsiteX111" fmla="*/ 82882 w 91518"/>
                  <a:gd name="connsiteY111" fmla="*/ 65457 h 85609"/>
                  <a:gd name="connsiteX112" fmla="*/ 84700 w 91518"/>
                  <a:gd name="connsiteY112" fmla="*/ 64093 h 85609"/>
                  <a:gd name="connsiteX113" fmla="*/ 86670 w 91518"/>
                  <a:gd name="connsiteY113" fmla="*/ 62881 h 85609"/>
                  <a:gd name="connsiteX114" fmla="*/ 86973 w 91518"/>
                  <a:gd name="connsiteY114" fmla="*/ 62426 h 85609"/>
                  <a:gd name="connsiteX115" fmla="*/ 86670 w 91518"/>
                  <a:gd name="connsiteY115" fmla="*/ 61517 h 85609"/>
                  <a:gd name="connsiteX116" fmla="*/ 85458 w 91518"/>
                  <a:gd name="connsiteY116" fmla="*/ 60457 h 85609"/>
                  <a:gd name="connsiteX117" fmla="*/ 82882 w 91518"/>
                  <a:gd name="connsiteY117" fmla="*/ 58638 h 85609"/>
                  <a:gd name="connsiteX118" fmla="*/ 81215 w 91518"/>
                  <a:gd name="connsiteY118" fmla="*/ 58487 h 85609"/>
                  <a:gd name="connsiteX119" fmla="*/ 81215 w 91518"/>
                  <a:gd name="connsiteY119" fmla="*/ 53335 h 85609"/>
                  <a:gd name="connsiteX120" fmla="*/ 81215 w 91518"/>
                  <a:gd name="connsiteY120" fmla="*/ 47880 h 85609"/>
                  <a:gd name="connsiteX121" fmla="*/ 81670 w 91518"/>
                  <a:gd name="connsiteY121" fmla="*/ 47274 h 85609"/>
                  <a:gd name="connsiteX122" fmla="*/ 82579 w 91518"/>
                  <a:gd name="connsiteY122" fmla="*/ 46971 h 85609"/>
                  <a:gd name="connsiteX123" fmla="*/ 83488 w 91518"/>
                  <a:gd name="connsiteY123" fmla="*/ 46062 h 85609"/>
                  <a:gd name="connsiteX124" fmla="*/ 83791 w 91518"/>
                  <a:gd name="connsiteY124" fmla="*/ 44547 h 85609"/>
                  <a:gd name="connsiteX125" fmla="*/ 85003 w 91518"/>
                  <a:gd name="connsiteY125" fmla="*/ 43941 h 85609"/>
                  <a:gd name="connsiteX126" fmla="*/ 87124 w 91518"/>
                  <a:gd name="connsiteY126" fmla="*/ 45153 h 85609"/>
                  <a:gd name="connsiteX127" fmla="*/ 89397 w 91518"/>
                  <a:gd name="connsiteY127" fmla="*/ 46214 h 85609"/>
                  <a:gd name="connsiteX128" fmla="*/ 90155 w 91518"/>
                  <a:gd name="connsiteY128" fmla="*/ 45911 h 85609"/>
                  <a:gd name="connsiteX129" fmla="*/ 90912 w 91518"/>
                  <a:gd name="connsiteY129" fmla="*/ 45305 h 85609"/>
                  <a:gd name="connsiteX130" fmla="*/ 91367 w 91518"/>
                  <a:gd name="connsiteY130" fmla="*/ 44850 h 85609"/>
                  <a:gd name="connsiteX131" fmla="*/ 91518 w 91518"/>
                  <a:gd name="connsiteY131" fmla="*/ 44395 h 8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91518" h="85609">
                    <a:moveTo>
                      <a:pt x="90306" y="43183"/>
                    </a:moveTo>
                    <a:lnTo>
                      <a:pt x="85609" y="41820"/>
                    </a:lnTo>
                    <a:lnTo>
                      <a:pt x="84851" y="40001"/>
                    </a:lnTo>
                    <a:lnTo>
                      <a:pt x="83185" y="38941"/>
                    </a:lnTo>
                    <a:lnTo>
                      <a:pt x="78791" y="32880"/>
                    </a:lnTo>
                    <a:lnTo>
                      <a:pt x="76215" y="31516"/>
                    </a:lnTo>
                    <a:lnTo>
                      <a:pt x="70154" y="24092"/>
                    </a:lnTo>
                    <a:lnTo>
                      <a:pt x="67275" y="19849"/>
                    </a:lnTo>
                    <a:lnTo>
                      <a:pt x="63790" y="12576"/>
                    </a:lnTo>
                    <a:lnTo>
                      <a:pt x="63487" y="10303"/>
                    </a:lnTo>
                    <a:lnTo>
                      <a:pt x="62730" y="8637"/>
                    </a:lnTo>
                    <a:lnTo>
                      <a:pt x="61972" y="7576"/>
                    </a:lnTo>
                    <a:lnTo>
                      <a:pt x="61517" y="9697"/>
                    </a:lnTo>
                    <a:lnTo>
                      <a:pt x="60154" y="11061"/>
                    </a:lnTo>
                    <a:lnTo>
                      <a:pt x="57426" y="12273"/>
                    </a:lnTo>
                    <a:lnTo>
                      <a:pt x="54396" y="12576"/>
                    </a:lnTo>
                    <a:lnTo>
                      <a:pt x="49547" y="11364"/>
                    </a:lnTo>
                    <a:lnTo>
                      <a:pt x="47578" y="11212"/>
                    </a:lnTo>
                    <a:lnTo>
                      <a:pt x="46820" y="10606"/>
                    </a:lnTo>
                    <a:lnTo>
                      <a:pt x="46668" y="9546"/>
                    </a:lnTo>
                    <a:lnTo>
                      <a:pt x="45305" y="8031"/>
                    </a:lnTo>
                    <a:lnTo>
                      <a:pt x="42729" y="5758"/>
                    </a:lnTo>
                    <a:lnTo>
                      <a:pt x="41214" y="5909"/>
                    </a:lnTo>
                    <a:lnTo>
                      <a:pt x="38789" y="5455"/>
                    </a:lnTo>
                    <a:lnTo>
                      <a:pt x="34850" y="3939"/>
                    </a:lnTo>
                    <a:lnTo>
                      <a:pt x="33031" y="3788"/>
                    </a:lnTo>
                    <a:lnTo>
                      <a:pt x="30456" y="5000"/>
                    </a:lnTo>
                    <a:lnTo>
                      <a:pt x="27425" y="6667"/>
                    </a:lnTo>
                    <a:lnTo>
                      <a:pt x="20001" y="4091"/>
                    </a:lnTo>
                    <a:lnTo>
                      <a:pt x="14849" y="2273"/>
                    </a:lnTo>
                    <a:lnTo>
                      <a:pt x="10152" y="606"/>
                    </a:lnTo>
                    <a:lnTo>
                      <a:pt x="8940" y="0"/>
                    </a:lnTo>
                    <a:lnTo>
                      <a:pt x="7879" y="151"/>
                    </a:lnTo>
                    <a:lnTo>
                      <a:pt x="6970" y="1061"/>
                    </a:lnTo>
                    <a:lnTo>
                      <a:pt x="5909" y="2576"/>
                    </a:lnTo>
                    <a:lnTo>
                      <a:pt x="5606" y="3030"/>
                    </a:lnTo>
                    <a:lnTo>
                      <a:pt x="5152" y="3333"/>
                    </a:lnTo>
                    <a:lnTo>
                      <a:pt x="4546" y="3485"/>
                    </a:lnTo>
                    <a:lnTo>
                      <a:pt x="4546" y="4091"/>
                    </a:lnTo>
                    <a:lnTo>
                      <a:pt x="4243" y="5606"/>
                    </a:lnTo>
                    <a:lnTo>
                      <a:pt x="606" y="7424"/>
                    </a:lnTo>
                    <a:lnTo>
                      <a:pt x="0" y="8031"/>
                    </a:lnTo>
                    <a:lnTo>
                      <a:pt x="2121" y="9394"/>
                    </a:lnTo>
                    <a:lnTo>
                      <a:pt x="5303" y="10909"/>
                    </a:lnTo>
                    <a:lnTo>
                      <a:pt x="6667" y="12273"/>
                    </a:lnTo>
                    <a:lnTo>
                      <a:pt x="6515" y="14091"/>
                    </a:lnTo>
                    <a:lnTo>
                      <a:pt x="6667" y="15304"/>
                    </a:lnTo>
                    <a:lnTo>
                      <a:pt x="5606" y="17273"/>
                    </a:lnTo>
                    <a:lnTo>
                      <a:pt x="2121" y="21819"/>
                    </a:lnTo>
                    <a:lnTo>
                      <a:pt x="1667" y="24698"/>
                    </a:lnTo>
                    <a:lnTo>
                      <a:pt x="3030" y="29092"/>
                    </a:lnTo>
                    <a:lnTo>
                      <a:pt x="6212" y="33789"/>
                    </a:lnTo>
                    <a:lnTo>
                      <a:pt x="7727" y="35456"/>
                    </a:lnTo>
                    <a:lnTo>
                      <a:pt x="16213" y="37880"/>
                    </a:lnTo>
                    <a:lnTo>
                      <a:pt x="20607" y="43183"/>
                    </a:lnTo>
                    <a:lnTo>
                      <a:pt x="21667" y="44244"/>
                    </a:lnTo>
                    <a:lnTo>
                      <a:pt x="22728" y="43638"/>
                    </a:lnTo>
                    <a:lnTo>
                      <a:pt x="23183" y="41820"/>
                    </a:lnTo>
                    <a:lnTo>
                      <a:pt x="24849" y="40911"/>
                    </a:lnTo>
                    <a:lnTo>
                      <a:pt x="28031" y="37577"/>
                    </a:lnTo>
                    <a:lnTo>
                      <a:pt x="27425" y="35910"/>
                    </a:lnTo>
                    <a:lnTo>
                      <a:pt x="25910" y="34547"/>
                    </a:lnTo>
                    <a:lnTo>
                      <a:pt x="20455" y="32274"/>
                    </a:lnTo>
                    <a:lnTo>
                      <a:pt x="18334" y="29698"/>
                    </a:lnTo>
                    <a:lnTo>
                      <a:pt x="17728" y="25607"/>
                    </a:lnTo>
                    <a:lnTo>
                      <a:pt x="18486" y="26061"/>
                    </a:lnTo>
                    <a:lnTo>
                      <a:pt x="19395" y="27274"/>
                    </a:lnTo>
                    <a:lnTo>
                      <a:pt x="24243" y="29546"/>
                    </a:lnTo>
                    <a:lnTo>
                      <a:pt x="32729" y="35456"/>
                    </a:lnTo>
                    <a:lnTo>
                      <a:pt x="34698" y="38486"/>
                    </a:lnTo>
                    <a:lnTo>
                      <a:pt x="33941" y="40911"/>
                    </a:lnTo>
                    <a:lnTo>
                      <a:pt x="34244" y="42426"/>
                    </a:lnTo>
                    <a:lnTo>
                      <a:pt x="36365" y="44547"/>
                    </a:lnTo>
                    <a:lnTo>
                      <a:pt x="39092" y="45759"/>
                    </a:lnTo>
                    <a:lnTo>
                      <a:pt x="46214" y="47426"/>
                    </a:lnTo>
                    <a:lnTo>
                      <a:pt x="48941" y="49699"/>
                    </a:lnTo>
                    <a:lnTo>
                      <a:pt x="55154" y="52577"/>
                    </a:lnTo>
                    <a:lnTo>
                      <a:pt x="59396" y="56063"/>
                    </a:lnTo>
                    <a:lnTo>
                      <a:pt x="62123" y="59093"/>
                    </a:lnTo>
                    <a:lnTo>
                      <a:pt x="62730" y="61214"/>
                    </a:lnTo>
                    <a:lnTo>
                      <a:pt x="62730" y="65457"/>
                    </a:lnTo>
                    <a:lnTo>
                      <a:pt x="61972" y="67578"/>
                    </a:lnTo>
                    <a:lnTo>
                      <a:pt x="59548" y="70760"/>
                    </a:lnTo>
                    <a:lnTo>
                      <a:pt x="63033" y="74396"/>
                    </a:lnTo>
                    <a:lnTo>
                      <a:pt x="64699" y="75306"/>
                    </a:lnTo>
                    <a:lnTo>
                      <a:pt x="67275" y="75457"/>
                    </a:lnTo>
                    <a:lnTo>
                      <a:pt x="69245" y="76215"/>
                    </a:lnTo>
                    <a:lnTo>
                      <a:pt x="71669" y="76366"/>
                    </a:lnTo>
                    <a:lnTo>
                      <a:pt x="71669" y="74851"/>
                    </a:lnTo>
                    <a:lnTo>
                      <a:pt x="71366" y="73639"/>
                    </a:lnTo>
                    <a:lnTo>
                      <a:pt x="68033" y="70608"/>
                    </a:lnTo>
                    <a:lnTo>
                      <a:pt x="66669" y="68184"/>
                    </a:lnTo>
                    <a:lnTo>
                      <a:pt x="68942" y="67881"/>
                    </a:lnTo>
                    <a:lnTo>
                      <a:pt x="71821" y="69396"/>
                    </a:lnTo>
                    <a:lnTo>
                      <a:pt x="75154" y="71366"/>
                    </a:lnTo>
                    <a:lnTo>
                      <a:pt x="76063" y="73639"/>
                    </a:lnTo>
                    <a:lnTo>
                      <a:pt x="76215" y="77882"/>
                    </a:lnTo>
                    <a:lnTo>
                      <a:pt x="78488" y="79700"/>
                    </a:lnTo>
                    <a:lnTo>
                      <a:pt x="81063" y="82579"/>
                    </a:lnTo>
                    <a:lnTo>
                      <a:pt x="82882" y="85609"/>
                    </a:lnTo>
                    <a:lnTo>
                      <a:pt x="82730" y="83942"/>
                    </a:lnTo>
                    <a:lnTo>
                      <a:pt x="81973" y="81973"/>
                    </a:lnTo>
                    <a:lnTo>
                      <a:pt x="81063" y="80457"/>
                    </a:lnTo>
                    <a:lnTo>
                      <a:pt x="78942" y="78791"/>
                    </a:lnTo>
                    <a:lnTo>
                      <a:pt x="78791" y="78336"/>
                    </a:lnTo>
                    <a:lnTo>
                      <a:pt x="79700" y="77427"/>
                    </a:lnTo>
                    <a:lnTo>
                      <a:pt x="83336" y="75154"/>
                    </a:lnTo>
                    <a:lnTo>
                      <a:pt x="83791" y="74094"/>
                    </a:lnTo>
                    <a:lnTo>
                      <a:pt x="83942" y="72124"/>
                    </a:lnTo>
                    <a:lnTo>
                      <a:pt x="83488" y="70154"/>
                    </a:lnTo>
                    <a:lnTo>
                      <a:pt x="81821" y="67275"/>
                    </a:lnTo>
                    <a:lnTo>
                      <a:pt x="82882" y="65457"/>
                    </a:lnTo>
                    <a:lnTo>
                      <a:pt x="84700" y="64093"/>
                    </a:lnTo>
                    <a:lnTo>
                      <a:pt x="86670" y="62881"/>
                    </a:lnTo>
                    <a:lnTo>
                      <a:pt x="86973" y="62426"/>
                    </a:lnTo>
                    <a:lnTo>
                      <a:pt x="86670" y="61517"/>
                    </a:lnTo>
                    <a:lnTo>
                      <a:pt x="85458" y="60457"/>
                    </a:lnTo>
                    <a:lnTo>
                      <a:pt x="82882" y="58638"/>
                    </a:lnTo>
                    <a:lnTo>
                      <a:pt x="81215" y="58487"/>
                    </a:lnTo>
                    <a:lnTo>
                      <a:pt x="81215" y="53335"/>
                    </a:lnTo>
                    <a:lnTo>
                      <a:pt x="81215" y="47880"/>
                    </a:lnTo>
                    <a:lnTo>
                      <a:pt x="81670" y="47274"/>
                    </a:lnTo>
                    <a:lnTo>
                      <a:pt x="82579" y="46971"/>
                    </a:lnTo>
                    <a:lnTo>
                      <a:pt x="83488" y="46062"/>
                    </a:lnTo>
                    <a:lnTo>
                      <a:pt x="83791" y="44547"/>
                    </a:lnTo>
                    <a:lnTo>
                      <a:pt x="85003" y="43941"/>
                    </a:lnTo>
                    <a:lnTo>
                      <a:pt x="87124" y="45153"/>
                    </a:lnTo>
                    <a:lnTo>
                      <a:pt x="89397" y="46214"/>
                    </a:lnTo>
                    <a:lnTo>
                      <a:pt x="90155" y="45911"/>
                    </a:lnTo>
                    <a:lnTo>
                      <a:pt x="90912" y="45305"/>
                    </a:lnTo>
                    <a:lnTo>
                      <a:pt x="91367" y="44850"/>
                    </a:lnTo>
                    <a:lnTo>
                      <a:pt x="91518" y="44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1" name="Freeform: Shape 3310">
                <a:extLst>
                  <a:ext uri="{FF2B5EF4-FFF2-40B4-BE49-F238E27FC236}">
                    <a16:creationId xmlns:a16="http://schemas.microsoft.com/office/drawing/2014/main" id="{C4D14AC5-3619-4180-9116-53C9E61344A4}"/>
                  </a:ext>
                </a:extLst>
              </p:cNvPr>
              <p:cNvSpPr/>
              <p:nvPr/>
            </p:nvSpPr>
            <p:spPr>
              <a:xfrm>
                <a:off x="3614695" y="4221829"/>
                <a:ext cx="332891" cy="455471"/>
              </a:xfrm>
              <a:custGeom>
                <a:avLst/>
                <a:gdLst>
                  <a:gd name="connsiteX0" fmla="*/ 24546 w 332891"/>
                  <a:gd name="connsiteY0" fmla="*/ 271676 h 455471"/>
                  <a:gd name="connsiteX1" fmla="*/ 25304 w 332891"/>
                  <a:gd name="connsiteY1" fmla="*/ 271070 h 455471"/>
                  <a:gd name="connsiteX2" fmla="*/ 25152 w 332891"/>
                  <a:gd name="connsiteY2" fmla="*/ 269404 h 455471"/>
                  <a:gd name="connsiteX3" fmla="*/ 24698 w 332891"/>
                  <a:gd name="connsiteY3" fmla="*/ 268646 h 455471"/>
                  <a:gd name="connsiteX4" fmla="*/ 23637 w 332891"/>
                  <a:gd name="connsiteY4" fmla="*/ 268343 h 455471"/>
                  <a:gd name="connsiteX5" fmla="*/ 22728 w 332891"/>
                  <a:gd name="connsiteY5" fmla="*/ 269404 h 455471"/>
                  <a:gd name="connsiteX6" fmla="*/ 23183 w 332891"/>
                  <a:gd name="connsiteY6" fmla="*/ 270767 h 455471"/>
                  <a:gd name="connsiteX7" fmla="*/ 24546 w 332891"/>
                  <a:gd name="connsiteY7" fmla="*/ 271676 h 455471"/>
                  <a:gd name="connsiteX8" fmla="*/ 332134 w 332891"/>
                  <a:gd name="connsiteY8" fmla="*/ 305163 h 455471"/>
                  <a:gd name="connsiteX9" fmla="*/ 332436 w 332891"/>
                  <a:gd name="connsiteY9" fmla="*/ 303344 h 455471"/>
                  <a:gd name="connsiteX10" fmla="*/ 331224 w 332891"/>
                  <a:gd name="connsiteY10" fmla="*/ 300617 h 455471"/>
                  <a:gd name="connsiteX11" fmla="*/ 330467 w 332891"/>
                  <a:gd name="connsiteY11" fmla="*/ 297738 h 455471"/>
                  <a:gd name="connsiteX12" fmla="*/ 329861 w 332891"/>
                  <a:gd name="connsiteY12" fmla="*/ 296678 h 455471"/>
                  <a:gd name="connsiteX13" fmla="*/ 329709 w 332891"/>
                  <a:gd name="connsiteY13" fmla="*/ 294556 h 455471"/>
                  <a:gd name="connsiteX14" fmla="*/ 328194 w 332891"/>
                  <a:gd name="connsiteY14" fmla="*/ 290617 h 455471"/>
                  <a:gd name="connsiteX15" fmla="*/ 326982 w 332891"/>
                  <a:gd name="connsiteY15" fmla="*/ 287435 h 455471"/>
                  <a:gd name="connsiteX16" fmla="*/ 325770 w 332891"/>
                  <a:gd name="connsiteY16" fmla="*/ 285768 h 455471"/>
                  <a:gd name="connsiteX17" fmla="*/ 326224 w 332891"/>
                  <a:gd name="connsiteY17" fmla="*/ 284404 h 455471"/>
                  <a:gd name="connsiteX18" fmla="*/ 325770 w 332891"/>
                  <a:gd name="connsiteY18" fmla="*/ 283041 h 455471"/>
                  <a:gd name="connsiteX19" fmla="*/ 324860 w 332891"/>
                  <a:gd name="connsiteY19" fmla="*/ 281980 h 455471"/>
                  <a:gd name="connsiteX20" fmla="*/ 323497 w 332891"/>
                  <a:gd name="connsiteY20" fmla="*/ 278343 h 455471"/>
                  <a:gd name="connsiteX21" fmla="*/ 323951 w 332891"/>
                  <a:gd name="connsiteY21" fmla="*/ 276828 h 455471"/>
                  <a:gd name="connsiteX22" fmla="*/ 323648 w 332891"/>
                  <a:gd name="connsiteY22" fmla="*/ 275313 h 455471"/>
                  <a:gd name="connsiteX23" fmla="*/ 322436 w 332891"/>
                  <a:gd name="connsiteY23" fmla="*/ 274252 h 455471"/>
                  <a:gd name="connsiteX24" fmla="*/ 320769 w 332891"/>
                  <a:gd name="connsiteY24" fmla="*/ 273040 h 455471"/>
                  <a:gd name="connsiteX25" fmla="*/ 318648 w 332891"/>
                  <a:gd name="connsiteY25" fmla="*/ 270616 h 455471"/>
                  <a:gd name="connsiteX26" fmla="*/ 316072 w 332891"/>
                  <a:gd name="connsiteY26" fmla="*/ 268343 h 455471"/>
                  <a:gd name="connsiteX27" fmla="*/ 314708 w 332891"/>
                  <a:gd name="connsiteY27" fmla="*/ 267434 h 455471"/>
                  <a:gd name="connsiteX28" fmla="*/ 313799 w 332891"/>
                  <a:gd name="connsiteY28" fmla="*/ 267131 h 455471"/>
                  <a:gd name="connsiteX29" fmla="*/ 313042 w 332891"/>
                  <a:gd name="connsiteY29" fmla="*/ 265010 h 455471"/>
                  <a:gd name="connsiteX30" fmla="*/ 312436 w 332891"/>
                  <a:gd name="connsiteY30" fmla="*/ 264404 h 455471"/>
                  <a:gd name="connsiteX31" fmla="*/ 311072 w 332891"/>
                  <a:gd name="connsiteY31" fmla="*/ 264252 h 455471"/>
                  <a:gd name="connsiteX32" fmla="*/ 308345 w 332891"/>
                  <a:gd name="connsiteY32" fmla="*/ 263343 h 455471"/>
                  <a:gd name="connsiteX33" fmla="*/ 305769 w 332891"/>
                  <a:gd name="connsiteY33" fmla="*/ 264404 h 455471"/>
                  <a:gd name="connsiteX34" fmla="*/ 305769 w 332891"/>
                  <a:gd name="connsiteY34" fmla="*/ 262737 h 455471"/>
                  <a:gd name="connsiteX35" fmla="*/ 306526 w 332891"/>
                  <a:gd name="connsiteY35" fmla="*/ 261676 h 455471"/>
                  <a:gd name="connsiteX36" fmla="*/ 315315 w 332891"/>
                  <a:gd name="connsiteY36" fmla="*/ 253645 h 455471"/>
                  <a:gd name="connsiteX37" fmla="*/ 319709 w 332891"/>
                  <a:gd name="connsiteY37" fmla="*/ 250009 h 455471"/>
                  <a:gd name="connsiteX38" fmla="*/ 320163 w 332891"/>
                  <a:gd name="connsiteY38" fmla="*/ 249403 h 455471"/>
                  <a:gd name="connsiteX39" fmla="*/ 320618 w 332891"/>
                  <a:gd name="connsiteY39" fmla="*/ 248494 h 455471"/>
                  <a:gd name="connsiteX40" fmla="*/ 320921 w 332891"/>
                  <a:gd name="connsiteY40" fmla="*/ 247282 h 455471"/>
                  <a:gd name="connsiteX41" fmla="*/ 319860 w 332891"/>
                  <a:gd name="connsiteY41" fmla="*/ 245918 h 455471"/>
                  <a:gd name="connsiteX42" fmla="*/ 315769 w 332891"/>
                  <a:gd name="connsiteY42" fmla="*/ 239706 h 455471"/>
                  <a:gd name="connsiteX43" fmla="*/ 314406 w 332891"/>
                  <a:gd name="connsiteY43" fmla="*/ 238493 h 455471"/>
                  <a:gd name="connsiteX44" fmla="*/ 313042 w 332891"/>
                  <a:gd name="connsiteY44" fmla="*/ 237584 h 455471"/>
                  <a:gd name="connsiteX45" fmla="*/ 311375 w 332891"/>
                  <a:gd name="connsiteY45" fmla="*/ 235008 h 455471"/>
                  <a:gd name="connsiteX46" fmla="*/ 309405 w 332891"/>
                  <a:gd name="connsiteY46" fmla="*/ 228948 h 455471"/>
                  <a:gd name="connsiteX47" fmla="*/ 308042 w 332891"/>
                  <a:gd name="connsiteY47" fmla="*/ 225917 h 455471"/>
                  <a:gd name="connsiteX48" fmla="*/ 307587 w 332891"/>
                  <a:gd name="connsiteY48" fmla="*/ 223644 h 455471"/>
                  <a:gd name="connsiteX49" fmla="*/ 307739 w 332891"/>
                  <a:gd name="connsiteY49" fmla="*/ 221069 h 455471"/>
                  <a:gd name="connsiteX50" fmla="*/ 307284 w 332891"/>
                  <a:gd name="connsiteY50" fmla="*/ 219099 h 455471"/>
                  <a:gd name="connsiteX51" fmla="*/ 306223 w 332891"/>
                  <a:gd name="connsiteY51" fmla="*/ 217735 h 455471"/>
                  <a:gd name="connsiteX52" fmla="*/ 306223 w 332891"/>
                  <a:gd name="connsiteY52" fmla="*/ 213341 h 455471"/>
                  <a:gd name="connsiteX53" fmla="*/ 307284 w 332891"/>
                  <a:gd name="connsiteY53" fmla="*/ 206068 h 455471"/>
                  <a:gd name="connsiteX54" fmla="*/ 307587 w 332891"/>
                  <a:gd name="connsiteY54" fmla="*/ 200613 h 455471"/>
                  <a:gd name="connsiteX55" fmla="*/ 306981 w 332891"/>
                  <a:gd name="connsiteY55" fmla="*/ 196825 h 455471"/>
                  <a:gd name="connsiteX56" fmla="*/ 308042 w 332891"/>
                  <a:gd name="connsiteY56" fmla="*/ 193947 h 455471"/>
                  <a:gd name="connsiteX57" fmla="*/ 310618 w 332891"/>
                  <a:gd name="connsiteY57" fmla="*/ 191977 h 455471"/>
                  <a:gd name="connsiteX58" fmla="*/ 311981 w 332891"/>
                  <a:gd name="connsiteY58" fmla="*/ 188946 h 455471"/>
                  <a:gd name="connsiteX59" fmla="*/ 312284 w 332891"/>
                  <a:gd name="connsiteY59" fmla="*/ 184855 h 455471"/>
                  <a:gd name="connsiteX60" fmla="*/ 313799 w 332891"/>
                  <a:gd name="connsiteY60" fmla="*/ 181522 h 455471"/>
                  <a:gd name="connsiteX61" fmla="*/ 316527 w 332891"/>
                  <a:gd name="connsiteY61" fmla="*/ 178946 h 455471"/>
                  <a:gd name="connsiteX62" fmla="*/ 317436 w 332891"/>
                  <a:gd name="connsiteY62" fmla="*/ 176370 h 455471"/>
                  <a:gd name="connsiteX63" fmla="*/ 316527 w 332891"/>
                  <a:gd name="connsiteY63" fmla="*/ 173794 h 455471"/>
                  <a:gd name="connsiteX64" fmla="*/ 316224 w 332891"/>
                  <a:gd name="connsiteY64" fmla="*/ 172128 h 455471"/>
                  <a:gd name="connsiteX65" fmla="*/ 313799 w 332891"/>
                  <a:gd name="connsiteY65" fmla="*/ 170461 h 455471"/>
                  <a:gd name="connsiteX66" fmla="*/ 309405 w 332891"/>
                  <a:gd name="connsiteY66" fmla="*/ 169249 h 455471"/>
                  <a:gd name="connsiteX67" fmla="*/ 305769 w 332891"/>
                  <a:gd name="connsiteY67" fmla="*/ 169097 h 455471"/>
                  <a:gd name="connsiteX68" fmla="*/ 303648 w 332891"/>
                  <a:gd name="connsiteY68" fmla="*/ 170461 h 455471"/>
                  <a:gd name="connsiteX69" fmla="*/ 298041 w 332891"/>
                  <a:gd name="connsiteY69" fmla="*/ 171673 h 455471"/>
                  <a:gd name="connsiteX70" fmla="*/ 289102 w 332891"/>
                  <a:gd name="connsiteY70" fmla="*/ 172733 h 455471"/>
                  <a:gd name="connsiteX71" fmla="*/ 281829 w 332891"/>
                  <a:gd name="connsiteY71" fmla="*/ 172733 h 455471"/>
                  <a:gd name="connsiteX72" fmla="*/ 276374 w 332891"/>
                  <a:gd name="connsiteY72" fmla="*/ 171673 h 455471"/>
                  <a:gd name="connsiteX73" fmla="*/ 272131 w 332891"/>
                  <a:gd name="connsiteY73" fmla="*/ 171976 h 455471"/>
                  <a:gd name="connsiteX74" fmla="*/ 269252 w 332891"/>
                  <a:gd name="connsiteY74" fmla="*/ 173794 h 455471"/>
                  <a:gd name="connsiteX75" fmla="*/ 267283 w 332891"/>
                  <a:gd name="connsiteY75" fmla="*/ 174249 h 455471"/>
                  <a:gd name="connsiteX76" fmla="*/ 266070 w 332891"/>
                  <a:gd name="connsiteY76" fmla="*/ 173188 h 455471"/>
                  <a:gd name="connsiteX77" fmla="*/ 264858 w 332891"/>
                  <a:gd name="connsiteY77" fmla="*/ 172885 h 455471"/>
                  <a:gd name="connsiteX78" fmla="*/ 262888 w 332891"/>
                  <a:gd name="connsiteY78" fmla="*/ 173491 h 455471"/>
                  <a:gd name="connsiteX79" fmla="*/ 262586 w 332891"/>
                  <a:gd name="connsiteY79" fmla="*/ 173188 h 455471"/>
                  <a:gd name="connsiteX80" fmla="*/ 258343 w 332891"/>
                  <a:gd name="connsiteY80" fmla="*/ 168036 h 455471"/>
                  <a:gd name="connsiteX81" fmla="*/ 254403 w 332891"/>
                  <a:gd name="connsiteY81" fmla="*/ 163339 h 455471"/>
                  <a:gd name="connsiteX82" fmla="*/ 249858 w 332891"/>
                  <a:gd name="connsiteY82" fmla="*/ 157733 h 455471"/>
                  <a:gd name="connsiteX83" fmla="*/ 244706 w 332891"/>
                  <a:gd name="connsiteY83" fmla="*/ 151218 h 455471"/>
                  <a:gd name="connsiteX84" fmla="*/ 243797 w 332891"/>
                  <a:gd name="connsiteY84" fmla="*/ 150763 h 455471"/>
                  <a:gd name="connsiteX85" fmla="*/ 242130 w 332891"/>
                  <a:gd name="connsiteY85" fmla="*/ 150763 h 455471"/>
                  <a:gd name="connsiteX86" fmla="*/ 240009 w 332891"/>
                  <a:gd name="connsiteY86" fmla="*/ 150914 h 455471"/>
                  <a:gd name="connsiteX87" fmla="*/ 236675 w 332891"/>
                  <a:gd name="connsiteY87" fmla="*/ 150308 h 455471"/>
                  <a:gd name="connsiteX88" fmla="*/ 234403 w 332891"/>
                  <a:gd name="connsiteY88" fmla="*/ 149399 h 455471"/>
                  <a:gd name="connsiteX89" fmla="*/ 232584 w 332891"/>
                  <a:gd name="connsiteY89" fmla="*/ 148490 h 455471"/>
                  <a:gd name="connsiteX90" fmla="*/ 229251 w 332891"/>
                  <a:gd name="connsiteY90" fmla="*/ 147278 h 455471"/>
                  <a:gd name="connsiteX91" fmla="*/ 226978 w 332891"/>
                  <a:gd name="connsiteY91" fmla="*/ 147126 h 455471"/>
                  <a:gd name="connsiteX92" fmla="*/ 225008 w 332891"/>
                  <a:gd name="connsiteY92" fmla="*/ 147430 h 455471"/>
                  <a:gd name="connsiteX93" fmla="*/ 219402 w 332891"/>
                  <a:gd name="connsiteY93" fmla="*/ 149702 h 455471"/>
                  <a:gd name="connsiteX94" fmla="*/ 216220 w 332891"/>
                  <a:gd name="connsiteY94" fmla="*/ 149854 h 455471"/>
                  <a:gd name="connsiteX95" fmla="*/ 213796 w 332891"/>
                  <a:gd name="connsiteY95" fmla="*/ 149854 h 455471"/>
                  <a:gd name="connsiteX96" fmla="*/ 207280 w 332891"/>
                  <a:gd name="connsiteY96" fmla="*/ 148793 h 455471"/>
                  <a:gd name="connsiteX97" fmla="*/ 202735 w 332891"/>
                  <a:gd name="connsiteY97" fmla="*/ 148642 h 455471"/>
                  <a:gd name="connsiteX98" fmla="*/ 197583 w 332891"/>
                  <a:gd name="connsiteY98" fmla="*/ 149399 h 455471"/>
                  <a:gd name="connsiteX99" fmla="*/ 195310 w 332891"/>
                  <a:gd name="connsiteY99" fmla="*/ 149854 h 455471"/>
                  <a:gd name="connsiteX100" fmla="*/ 192128 w 332891"/>
                  <a:gd name="connsiteY100" fmla="*/ 148642 h 455471"/>
                  <a:gd name="connsiteX101" fmla="*/ 190007 w 332891"/>
                  <a:gd name="connsiteY101" fmla="*/ 146824 h 455471"/>
                  <a:gd name="connsiteX102" fmla="*/ 188037 w 332891"/>
                  <a:gd name="connsiteY102" fmla="*/ 142581 h 455471"/>
                  <a:gd name="connsiteX103" fmla="*/ 186673 w 332891"/>
                  <a:gd name="connsiteY103" fmla="*/ 139248 h 455471"/>
                  <a:gd name="connsiteX104" fmla="*/ 184249 w 332891"/>
                  <a:gd name="connsiteY104" fmla="*/ 138641 h 455471"/>
                  <a:gd name="connsiteX105" fmla="*/ 181522 w 332891"/>
                  <a:gd name="connsiteY105" fmla="*/ 138035 h 455471"/>
                  <a:gd name="connsiteX106" fmla="*/ 180158 w 332891"/>
                  <a:gd name="connsiteY106" fmla="*/ 136975 h 455471"/>
                  <a:gd name="connsiteX107" fmla="*/ 179401 w 332891"/>
                  <a:gd name="connsiteY107" fmla="*/ 135005 h 455471"/>
                  <a:gd name="connsiteX108" fmla="*/ 179249 w 332891"/>
                  <a:gd name="connsiteY108" fmla="*/ 132581 h 455471"/>
                  <a:gd name="connsiteX109" fmla="*/ 179552 w 332891"/>
                  <a:gd name="connsiteY109" fmla="*/ 128641 h 455471"/>
                  <a:gd name="connsiteX110" fmla="*/ 179855 w 332891"/>
                  <a:gd name="connsiteY110" fmla="*/ 127277 h 455471"/>
                  <a:gd name="connsiteX111" fmla="*/ 180158 w 332891"/>
                  <a:gd name="connsiteY111" fmla="*/ 123035 h 455471"/>
                  <a:gd name="connsiteX112" fmla="*/ 181673 w 332891"/>
                  <a:gd name="connsiteY112" fmla="*/ 120762 h 455471"/>
                  <a:gd name="connsiteX113" fmla="*/ 182582 w 332891"/>
                  <a:gd name="connsiteY113" fmla="*/ 119701 h 455471"/>
                  <a:gd name="connsiteX114" fmla="*/ 182431 w 332891"/>
                  <a:gd name="connsiteY114" fmla="*/ 117883 h 455471"/>
                  <a:gd name="connsiteX115" fmla="*/ 181673 w 332891"/>
                  <a:gd name="connsiteY115" fmla="*/ 114246 h 455471"/>
                  <a:gd name="connsiteX116" fmla="*/ 180916 w 332891"/>
                  <a:gd name="connsiteY116" fmla="*/ 111671 h 455471"/>
                  <a:gd name="connsiteX117" fmla="*/ 177885 w 332891"/>
                  <a:gd name="connsiteY117" fmla="*/ 108792 h 455471"/>
                  <a:gd name="connsiteX118" fmla="*/ 174097 w 332891"/>
                  <a:gd name="connsiteY118" fmla="*/ 105004 h 455471"/>
                  <a:gd name="connsiteX119" fmla="*/ 172430 w 332891"/>
                  <a:gd name="connsiteY119" fmla="*/ 98943 h 455471"/>
                  <a:gd name="connsiteX120" fmla="*/ 170461 w 332891"/>
                  <a:gd name="connsiteY120" fmla="*/ 91821 h 455471"/>
                  <a:gd name="connsiteX121" fmla="*/ 168946 w 332891"/>
                  <a:gd name="connsiteY121" fmla="*/ 91064 h 455471"/>
                  <a:gd name="connsiteX122" fmla="*/ 167582 w 332891"/>
                  <a:gd name="connsiteY122" fmla="*/ 91367 h 455471"/>
                  <a:gd name="connsiteX123" fmla="*/ 166067 w 332891"/>
                  <a:gd name="connsiteY123" fmla="*/ 91064 h 455471"/>
                  <a:gd name="connsiteX124" fmla="*/ 164703 w 332891"/>
                  <a:gd name="connsiteY124" fmla="*/ 88185 h 455471"/>
                  <a:gd name="connsiteX125" fmla="*/ 163339 w 332891"/>
                  <a:gd name="connsiteY125" fmla="*/ 87579 h 455471"/>
                  <a:gd name="connsiteX126" fmla="*/ 161218 w 332891"/>
                  <a:gd name="connsiteY126" fmla="*/ 88639 h 455471"/>
                  <a:gd name="connsiteX127" fmla="*/ 159703 w 332891"/>
                  <a:gd name="connsiteY127" fmla="*/ 89397 h 455471"/>
                  <a:gd name="connsiteX128" fmla="*/ 155763 w 332891"/>
                  <a:gd name="connsiteY128" fmla="*/ 90155 h 455471"/>
                  <a:gd name="connsiteX129" fmla="*/ 155006 w 332891"/>
                  <a:gd name="connsiteY129" fmla="*/ 89397 h 455471"/>
                  <a:gd name="connsiteX130" fmla="*/ 155309 w 332891"/>
                  <a:gd name="connsiteY130" fmla="*/ 88488 h 455471"/>
                  <a:gd name="connsiteX131" fmla="*/ 156976 w 332891"/>
                  <a:gd name="connsiteY131" fmla="*/ 85912 h 455471"/>
                  <a:gd name="connsiteX132" fmla="*/ 158945 w 332891"/>
                  <a:gd name="connsiteY132" fmla="*/ 82579 h 455471"/>
                  <a:gd name="connsiteX133" fmla="*/ 161218 w 332891"/>
                  <a:gd name="connsiteY133" fmla="*/ 79548 h 455471"/>
                  <a:gd name="connsiteX134" fmla="*/ 163339 w 332891"/>
                  <a:gd name="connsiteY134" fmla="*/ 76366 h 455471"/>
                  <a:gd name="connsiteX135" fmla="*/ 164854 w 332891"/>
                  <a:gd name="connsiteY135" fmla="*/ 73033 h 455471"/>
                  <a:gd name="connsiteX136" fmla="*/ 165915 w 332891"/>
                  <a:gd name="connsiteY136" fmla="*/ 66366 h 455471"/>
                  <a:gd name="connsiteX137" fmla="*/ 166673 w 332891"/>
                  <a:gd name="connsiteY137" fmla="*/ 61820 h 455471"/>
                  <a:gd name="connsiteX138" fmla="*/ 168642 w 332891"/>
                  <a:gd name="connsiteY138" fmla="*/ 53638 h 455471"/>
                  <a:gd name="connsiteX139" fmla="*/ 172279 w 332891"/>
                  <a:gd name="connsiteY139" fmla="*/ 47123 h 455471"/>
                  <a:gd name="connsiteX140" fmla="*/ 173643 w 332891"/>
                  <a:gd name="connsiteY140" fmla="*/ 44093 h 455471"/>
                  <a:gd name="connsiteX141" fmla="*/ 176825 w 332891"/>
                  <a:gd name="connsiteY141" fmla="*/ 40153 h 455471"/>
                  <a:gd name="connsiteX142" fmla="*/ 178340 w 332891"/>
                  <a:gd name="connsiteY142" fmla="*/ 38032 h 455471"/>
                  <a:gd name="connsiteX143" fmla="*/ 180310 w 332891"/>
                  <a:gd name="connsiteY143" fmla="*/ 36365 h 455471"/>
                  <a:gd name="connsiteX144" fmla="*/ 185764 w 332891"/>
                  <a:gd name="connsiteY144" fmla="*/ 34092 h 455471"/>
                  <a:gd name="connsiteX145" fmla="*/ 192280 w 332891"/>
                  <a:gd name="connsiteY145" fmla="*/ 22880 h 455471"/>
                  <a:gd name="connsiteX146" fmla="*/ 193795 w 332891"/>
                  <a:gd name="connsiteY146" fmla="*/ 21061 h 455471"/>
                  <a:gd name="connsiteX147" fmla="*/ 200310 w 332891"/>
                  <a:gd name="connsiteY147" fmla="*/ 19395 h 455471"/>
                  <a:gd name="connsiteX148" fmla="*/ 205310 w 332891"/>
                  <a:gd name="connsiteY148" fmla="*/ 18031 h 455471"/>
                  <a:gd name="connsiteX149" fmla="*/ 209098 w 332891"/>
                  <a:gd name="connsiteY149" fmla="*/ 16667 h 455471"/>
                  <a:gd name="connsiteX150" fmla="*/ 210311 w 332891"/>
                  <a:gd name="connsiteY150" fmla="*/ 15910 h 455471"/>
                  <a:gd name="connsiteX151" fmla="*/ 211220 w 332891"/>
                  <a:gd name="connsiteY151" fmla="*/ 15607 h 455471"/>
                  <a:gd name="connsiteX152" fmla="*/ 212129 w 332891"/>
                  <a:gd name="connsiteY152" fmla="*/ 14091 h 455471"/>
                  <a:gd name="connsiteX153" fmla="*/ 216220 w 332891"/>
                  <a:gd name="connsiteY153" fmla="*/ 10606 h 455471"/>
                  <a:gd name="connsiteX154" fmla="*/ 215765 w 332891"/>
                  <a:gd name="connsiteY154" fmla="*/ 7424 h 455471"/>
                  <a:gd name="connsiteX155" fmla="*/ 212887 w 332891"/>
                  <a:gd name="connsiteY155" fmla="*/ 2727 h 455471"/>
                  <a:gd name="connsiteX156" fmla="*/ 206523 w 332891"/>
                  <a:gd name="connsiteY156" fmla="*/ 0 h 455471"/>
                  <a:gd name="connsiteX157" fmla="*/ 203644 w 332891"/>
                  <a:gd name="connsiteY157" fmla="*/ 0 h 455471"/>
                  <a:gd name="connsiteX158" fmla="*/ 200462 w 332891"/>
                  <a:gd name="connsiteY158" fmla="*/ 455 h 455471"/>
                  <a:gd name="connsiteX159" fmla="*/ 194856 w 332891"/>
                  <a:gd name="connsiteY159" fmla="*/ 3485 h 455471"/>
                  <a:gd name="connsiteX160" fmla="*/ 194553 w 332891"/>
                  <a:gd name="connsiteY160" fmla="*/ 4546 h 455471"/>
                  <a:gd name="connsiteX161" fmla="*/ 193492 w 332891"/>
                  <a:gd name="connsiteY161" fmla="*/ 5455 h 455471"/>
                  <a:gd name="connsiteX162" fmla="*/ 191219 w 332891"/>
                  <a:gd name="connsiteY162" fmla="*/ 5455 h 455471"/>
                  <a:gd name="connsiteX163" fmla="*/ 188946 w 332891"/>
                  <a:gd name="connsiteY163" fmla="*/ 6818 h 455471"/>
                  <a:gd name="connsiteX164" fmla="*/ 188189 w 332891"/>
                  <a:gd name="connsiteY164" fmla="*/ 10303 h 455471"/>
                  <a:gd name="connsiteX165" fmla="*/ 185158 w 332891"/>
                  <a:gd name="connsiteY165" fmla="*/ 15000 h 455471"/>
                  <a:gd name="connsiteX166" fmla="*/ 180461 w 332891"/>
                  <a:gd name="connsiteY166" fmla="*/ 17425 h 455471"/>
                  <a:gd name="connsiteX167" fmla="*/ 172885 w 332891"/>
                  <a:gd name="connsiteY167" fmla="*/ 19849 h 455471"/>
                  <a:gd name="connsiteX168" fmla="*/ 156672 w 332891"/>
                  <a:gd name="connsiteY168" fmla="*/ 31365 h 455471"/>
                  <a:gd name="connsiteX169" fmla="*/ 146672 w 332891"/>
                  <a:gd name="connsiteY169" fmla="*/ 31971 h 455471"/>
                  <a:gd name="connsiteX170" fmla="*/ 143490 w 332891"/>
                  <a:gd name="connsiteY170" fmla="*/ 31819 h 455471"/>
                  <a:gd name="connsiteX171" fmla="*/ 140308 w 332891"/>
                  <a:gd name="connsiteY171" fmla="*/ 30910 h 455471"/>
                  <a:gd name="connsiteX172" fmla="*/ 136217 w 332891"/>
                  <a:gd name="connsiteY172" fmla="*/ 30001 h 455471"/>
                  <a:gd name="connsiteX173" fmla="*/ 133944 w 332891"/>
                  <a:gd name="connsiteY173" fmla="*/ 30607 h 455471"/>
                  <a:gd name="connsiteX174" fmla="*/ 132429 w 332891"/>
                  <a:gd name="connsiteY174" fmla="*/ 32122 h 455471"/>
                  <a:gd name="connsiteX175" fmla="*/ 131974 w 332891"/>
                  <a:gd name="connsiteY175" fmla="*/ 36517 h 455471"/>
                  <a:gd name="connsiteX176" fmla="*/ 129702 w 332891"/>
                  <a:gd name="connsiteY176" fmla="*/ 40759 h 455471"/>
                  <a:gd name="connsiteX177" fmla="*/ 128338 w 332891"/>
                  <a:gd name="connsiteY177" fmla="*/ 44547 h 455471"/>
                  <a:gd name="connsiteX178" fmla="*/ 126974 w 332891"/>
                  <a:gd name="connsiteY178" fmla="*/ 45911 h 455471"/>
                  <a:gd name="connsiteX179" fmla="*/ 125308 w 332891"/>
                  <a:gd name="connsiteY179" fmla="*/ 45305 h 455471"/>
                  <a:gd name="connsiteX180" fmla="*/ 123792 w 332891"/>
                  <a:gd name="connsiteY180" fmla="*/ 43183 h 455471"/>
                  <a:gd name="connsiteX181" fmla="*/ 124398 w 332891"/>
                  <a:gd name="connsiteY181" fmla="*/ 41214 h 455471"/>
                  <a:gd name="connsiteX182" fmla="*/ 126671 w 332891"/>
                  <a:gd name="connsiteY182" fmla="*/ 40305 h 455471"/>
                  <a:gd name="connsiteX183" fmla="*/ 128186 w 332891"/>
                  <a:gd name="connsiteY183" fmla="*/ 40153 h 455471"/>
                  <a:gd name="connsiteX184" fmla="*/ 128793 w 332891"/>
                  <a:gd name="connsiteY184" fmla="*/ 39547 h 455471"/>
                  <a:gd name="connsiteX185" fmla="*/ 125459 w 332891"/>
                  <a:gd name="connsiteY185" fmla="*/ 39698 h 455471"/>
                  <a:gd name="connsiteX186" fmla="*/ 114853 w 332891"/>
                  <a:gd name="connsiteY186" fmla="*/ 36365 h 455471"/>
                  <a:gd name="connsiteX187" fmla="*/ 112731 w 332891"/>
                  <a:gd name="connsiteY187" fmla="*/ 37729 h 455471"/>
                  <a:gd name="connsiteX188" fmla="*/ 107277 w 332891"/>
                  <a:gd name="connsiteY188" fmla="*/ 42880 h 455471"/>
                  <a:gd name="connsiteX189" fmla="*/ 103792 w 332891"/>
                  <a:gd name="connsiteY189" fmla="*/ 45305 h 455471"/>
                  <a:gd name="connsiteX190" fmla="*/ 102883 w 332891"/>
                  <a:gd name="connsiteY190" fmla="*/ 46820 h 455471"/>
                  <a:gd name="connsiteX191" fmla="*/ 98337 w 332891"/>
                  <a:gd name="connsiteY191" fmla="*/ 50002 h 455471"/>
                  <a:gd name="connsiteX192" fmla="*/ 97125 w 332891"/>
                  <a:gd name="connsiteY192" fmla="*/ 52275 h 455471"/>
                  <a:gd name="connsiteX193" fmla="*/ 95458 w 332891"/>
                  <a:gd name="connsiteY193" fmla="*/ 57729 h 455471"/>
                  <a:gd name="connsiteX194" fmla="*/ 92276 w 332891"/>
                  <a:gd name="connsiteY194" fmla="*/ 61366 h 455471"/>
                  <a:gd name="connsiteX195" fmla="*/ 91215 w 332891"/>
                  <a:gd name="connsiteY195" fmla="*/ 62881 h 455471"/>
                  <a:gd name="connsiteX196" fmla="*/ 93034 w 332891"/>
                  <a:gd name="connsiteY196" fmla="*/ 62123 h 455471"/>
                  <a:gd name="connsiteX197" fmla="*/ 95306 w 332891"/>
                  <a:gd name="connsiteY197" fmla="*/ 60305 h 455471"/>
                  <a:gd name="connsiteX198" fmla="*/ 95913 w 332891"/>
                  <a:gd name="connsiteY198" fmla="*/ 61214 h 455471"/>
                  <a:gd name="connsiteX199" fmla="*/ 94397 w 332891"/>
                  <a:gd name="connsiteY199" fmla="*/ 63336 h 455471"/>
                  <a:gd name="connsiteX200" fmla="*/ 94549 w 332891"/>
                  <a:gd name="connsiteY200" fmla="*/ 66972 h 455471"/>
                  <a:gd name="connsiteX201" fmla="*/ 93337 w 332891"/>
                  <a:gd name="connsiteY201" fmla="*/ 71366 h 455471"/>
                  <a:gd name="connsiteX202" fmla="*/ 92125 w 332891"/>
                  <a:gd name="connsiteY202" fmla="*/ 74245 h 455471"/>
                  <a:gd name="connsiteX203" fmla="*/ 93337 w 332891"/>
                  <a:gd name="connsiteY203" fmla="*/ 76215 h 455471"/>
                  <a:gd name="connsiteX204" fmla="*/ 94246 w 332891"/>
                  <a:gd name="connsiteY204" fmla="*/ 79548 h 455471"/>
                  <a:gd name="connsiteX205" fmla="*/ 93337 w 332891"/>
                  <a:gd name="connsiteY205" fmla="*/ 81973 h 455471"/>
                  <a:gd name="connsiteX206" fmla="*/ 90155 w 332891"/>
                  <a:gd name="connsiteY206" fmla="*/ 82882 h 455471"/>
                  <a:gd name="connsiteX207" fmla="*/ 86064 w 332891"/>
                  <a:gd name="connsiteY207" fmla="*/ 82427 h 455471"/>
                  <a:gd name="connsiteX208" fmla="*/ 82730 w 332891"/>
                  <a:gd name="connsiteY208" fmla="*/ 84245 h 455471"/>
                  <a:gd name="connsiteX209" fmla="*/ 79700 w 332891"/>
                  <a:gd name="connsiteY209" fmla="*/ 86973 h 455471"/>
                  <a:gd name="connsiteX210" fmla="*/ 75760 w 332891"/>
                  <a:gd name="connsiteY210" fmla="*/ 94549 h 455471"/>
                  <a:gd name="connsiteX211" fmla="*/ 64548 w 332891"/>
                  <a:gd name="connsiteY211" fmla="*/ 102579 h 455471"/>
                  <a:gd name="connsiteX212" fmla="*/ 61517 w 332891"/>
                  <a:gd name="connsiteY212" fmla="*/ 104095 h 455471"/>
                  <a:gd name="connsiteX213" fmla="*/ 59244 w 332891"/>
                  <a:gd name="connsiteY213" fmla="*/ 104701 h 455471"/>
                  <a:gd name="connsiteX214" fmla="*/ 58335 w 332891"/>
                  <a:gd name="connsiteY214" fmla="*/ 105913 h 455471"/>
                  <a:gd name="connsiteX215" fmla="*/ 59699 w 332891"/>
                  <a:gd name="connsiteY215" fmla="*/ 107580 h 455471"/>
                  <a:gd name="connsiteX216" fmla="*/ 61214 w 332891"/>
                  <a:gd name="connsiteY216" fmla="*/ 108943 h 455471"/>
                  <a:gd name="connsiteX217" fmla="*/ 62426 w 332891"/>
                  <a:gd name="connsiteY217" fmla="*/ 113186 h 455471"/>
                  <a:gd name="connsiteX218" fmla="*/ 63184 w 332891"/>
                  <a:gd name="connsiteY218" fmla="*/ 121671 h 455471"/>
                  <a:gd name="connsiteX219" fmla="*/ 61972 w 332891"/>
                  <a:gd name="connsiteY219" fmla="*/ 123641 h 455471"/>
                  <a:gd name="connsiteX220" fmla="*/ 59699 w 332891"/>
                  <a:gd name="connsiteY220" fmla="*/ 123944 h 455471"/>
                  <a:gd name="connsiteX221" fmla="*/ 58942 w 332891"/>
                  <a:gd name="connsiteY221" fmla="*/ 123338 h 455471"/>
                  <a:gd name="connsiteX222" fmla="*/ 58184 w 332891"/>
                  <a:gd name="connsiteY222" fmla="*/ 122429 h 455471"/>
                  <a:gd name="connsiteX223" fmla="*/ 58487 w 332891"/>
                  <a:gd name="connsiteY223" fmla="*/ 120762 h 455471"/>
                  <a:gd name="connsiteX224" fmla="*/ 59699 w 332891"/>
                  <a:gd name="connsiteY224" fmla="*/ 120004 h 455471"/>
                  <a:gd name="connsiteX225" fmla="*/ 60154 w 332891"/>
                  <a:gd name="connsiteY225" fmla="*/ 119247 h 455471"/>
                  <a:gd name="connsiteX226" fmla="*/ 59093 w 332891"/>
                  <a:gd name="connsiteY226" fmla="*/ 118186 h 455471"/>
                  <a:gd name="connsiteX227" fmla="*/ 57881 w 332891"/>
                  <a:gd name="connsiteY227" fmla="*/ 117731 h 455471"/>
                  <a:gd name="connsiteX228" fmla="*/ 56366 w 332891"/>
                  <a:gd name="connsiteY228" fmla="*/ 114853 h 455471"/>
                  <a:gd name="connsiteX229" fmla="*/ 52578 w 332891"/>
                  <a:gd name="connsiteY229" fmla="*/ 110762 h 455471"/>
                  <a:gd name="connsiteX230" fmla="*/ 48941 w 332891"/>
                  <a:gd name="connsiteY230" fmla="*/ 108186 h 455471"/>
                  <a:gd name="connsiteX231" fmla="*/ 46668 w 332891"/>
                  <a:gd name="connsiteY231" fmla="*/ 104246 h 455471"/>
                  <a:gd name="connsiteX232" fmla="*/ 45911 w 332891"/>
                  <a:gd name="connsiteY232" fmla="*/ 103640 h 455471"/>
                  <a:gd name="connsiteX233" fmla="*/ 45456 w 332891"/>
                  <a:gd name="connsiteY233" fmla="*/ 103943 h 455471"/>
                  <a:gd name="connsiteX234" fmla="*/ 43941 w 332891"/>
                  <a:gd name="connsiteY234" fmla="*/ 106064 h 455471"/>
                  <a:gd name="connsiteX235" fmla="*/ 43183 w 332891"/>
                  <a:gd name="connsiteY235" fmla="*/ 107883 h 455471"/>
                  <a:gd name="connsiteX236" fmla="*/ 45153 w 332891"/>
                  <a:gd name="connsiteY236" fmla="*/ 109852 h 455471"/>
                  <a:gd name="connsiteX237" fmla="*/ 45759 w 332891"/>
                  <a:gd name="connsiteY237" fmla="*/ 111974 h 455471"/>
                  <a:gd name="connsiteX238" fmla="*/ 46820 w 332891"/>
                  <a:gd name="connsiteY238" fmla="*/ 114246 h 455471"/>
                  <a:gd name="connsiteX239" fmla="*/ 48487 w 332891"/>
                  <a:gd name="connsiteY239" fmla="*/ 116519 h 455471"/>
                  <a:gd name="connsiteX240" fmla="*/ 50456 w 332891"/>
                  <a:gd name="connsiteY240" fmla="*/ 120762 h 455471"/>
                  <a:gd name="connsiteX241" fmla="*/ 50911 w 332891"/>
                  <a:gd name="connsiteY241" fmla="*/ 122429 h 455471"/>
                  <a:gd name="connsiteX242" fmla="*/ 50305 w 332891"/>
                  <a:gd name="connsiteY242" fmla="*/ 123489 h 455471"/>
                  <a:gd name="connsiteX243" fmla="*/ 48487 w 332891"/>
                  <a:gd name="connsiteY243" fmla="*/ 124095 h 455471"/>
                  <a:gd name="connsiteX244" fmla="*/ 46820 w 332891"/>
                  <a:gd name="connsiteY244" fmla="*/ 126065 h 455471"/>
                  <a:gd name="connsiteX245" fmla="*/ 46365 w 332891"/>
                  <a:gd name="connsiteY245" fmla="*/ 128489 h 455471"/>
                  <a:gd name="connsiteX246" fmla="*/ 46668 w 332891"/>
                  <a:gd name="connsiteY246" fmla="*/ 129702 h 455471"/>
                  <a:gd name="connsiteX247" fmla="*/ 41517 w 332891"/>
                  <a:gd name="connsiteY247" fmla="*/ 133490 h 455471"/>
                  <a:gd name="connsiteX248" fmla="*/ 40153 w 332891"/>
                  <a:gd name="connsiteY248" fmla="*/ 134096 h 455471"/>
                  <a:gd name="connsiteX249" fmla="*/ 39244 w 332891"/>
                  <a:gd name="connsiteY249" fmla="*/ 133490 h 455471"/>
                  <a:gd name="connsiteX250" fmla="*/ 38183 w 332891"/>
                  <a:gd name="connsiteY250" fmla="*/ 131520 h 455471"/>
                  <a:gd name="connsiteX251" fmla="*/ 36819 w 332891"/>
                  <a:gd name="connsiteY251" fmla="*/ 130005 h 455471"/>
                  <a:gd name="connsiteX252" fmla="*/ 36062 w 332891"/>
                  <a:gd name="connsiteY252" fmla="*/ 129399 h 455471"/>
                  <a:gd name="connsiteX253" fmla="*/ 35607 w 332891"/>
                  <a:gd name="connsiteY253" fmla="*/ 129399 h 455471"/>
                  <a:gd name="connsiteX254" fmla="*/ 35153 w 332891"/>
                  <a:gd name="connsiteY254" fmla="*/ 129702 h 455471"/>
                  <a:gd name="connsiteX255" fmla="*/ 35001 w 332891"/>
                  <a:gd name="connsiteY255" fmla="*/ 130611 h 455471"/>
                  <a:gd name="connsiteX256" fmla="*/ 35607 w 332891"/>
                  <a:gd name="connsiteY256" fmla="*/ 134247 h 455471"/>
                  <a:gd name="connsiteX257" fmla="*/ 35001 w 332891"/>
                  <a:gd name="connsiteY257" fmla="*/ 135762 h 455471"/>
                  <a:gd name="connsiteX258" fmla="*/ 33335 w 332891"/>
                  <a:gd name="connsiteY258" fmla="*/ 136823 h 455471"/>
                  <a:gd name="connsiteX259" fmla="*/ 31365 w 332891"/>
                  <a:gd name="connsiteY259" fmla="*/ 142732 h 455471"/>
                  <a:gd name="connsiteX260" fmla="*/ 34092 w 332891"/>
                  <a:gd name="connsiteY260" fmla="*/ 145308 h 455471"/>
                  <a:gd name="connsiteX261" fmla="*/ 37426 w 332891"/>
                  <a:gd name="connsiteY261" fmla="*/ 150157 h 455471"/>
                  <a:gd name="connsiteX262" fmla="*/ 38335 w 332891"/>
                  <a:gd name="connsiteY262" fmla="*/ 152581 h 455471"/>
                  <a:gd name="connsiteX263" fmla="*/ 39547 w 332891"/>
                  <a:gd name="connsiteY263" fmla="*/ 153490 h 455471"/>
                  <a:gd name="connsiteX264" fmla="*/ 41668 w 332891"/>
                  <a:gd name="connsiteY264" fmla="*/ 157430 h 455471"/>
                  <a:gd name="connsiteX265" fmla="*/ 44092 w 332891"/>
                  <a:gd name="connsiteY265" fmla="*/ 157581 h 455471"/>
                  <a:gd name="connsiteX266" fmla="*/ 46062 w 332891"/>
                  <a:gd name="connsiteY266" fmla="*/ 160763 h 455471"/>
                  <a:gd name="connsiteX267" fmla="*/ 46365 w 332891"/>
                  <a:gd name="connsiteY267" fmla="*/ 162733 h 455471"/>
                  <a:gd name="connsiteX268" fmla="*/ 45305 w 332891"/>
                  <a:gd name="connsiteY268" fmla="*/ 168945 h 455471"/>
                  <a:gd name="connsiteX269" fmla="*/ 44092 w 332891"/>
                  <a:gd name="connsiteY269" fmla="*/ 169097 h 455471"/>
                  <a:gd name="connsiteX270" fmla="*/ 43183 w 332891"/>
                  <a:gd name="connsiteY270" fmla="*/ 168642 h 455471"/>
                  <a:gd name="connsiteX271" fmla="*/ 43335 w 332891"/>
                  <a:gd name="connsiteY271" fmla="*/ 171673 h 455471"/>
                  <a:gd name="connsiteX272" fmla="*/ 46820 w 332891"/>
                  <a:gd name="connsiteY272" fmla="*/ 176673 h 455471"/>
                  <a:gd name="connsiteX273" fmla="*/ 49396 w 332891"/>
                  <a:gd name="connsiteY273" fmla="*/ 182582 h 455471"/>
                  <a:gd name="connsiteX274" fmla="*/ 47274 w 332891"/>
                  <a:gd name="connsiteY274" fmla="*/ 185461 h 455471"/>
                  <a:gd name="connsiteX275" fmla="*/ 41517 w 332891"/>
                  <a:gd name="connsiteY275" fmla="*/ 189249 h 455471"/>
                  <a:gd name="connsiteX276" fmla="*/ 45153 w 332891"/>
                  <a:gd name="connsiteY276" fmla="*/ 192583 h 455471"/>
                  <a:gd name="connsiteX277" fmla="*/ 45911 w 332891"/>
                  <a:gd name="connsiteY277" fmla="*/ 195158 h 455471"/>
                  <a:gd name="connsiteX278" fmla="*/ 46365 w 332891"/>
                  <a:gd name="connsiteY278" fmla="*/ 198189 h 455471"/>
                  <a:gd name="connsiteX279" fmla="*/ 46214 w 332891"/>
                  <a:gd name="connsiteY279" fmla="*/ 201977 h 455471"/>
                  <a:gd name="connsiteX280" fmla="*/ 46971 w 332891"/>
                  <a:gd name="connsiteY280" fmla="*/ 208492 h 455471"/>
                  <a:gd name="connsiteX281" fmla="*/ 47880 w 332891"/>
                  <a:gd name="connsiteY281" fmla="*/ 210008 h 455471"/>
                  <a:gd name="connsiteX282" fmla="*/ 48487 w 332891"/>
                  <a:gd name="connsiteY282" fmla="*/ 211674 h 455471"/>
                  <a:gd name="connsiteX283" fmla="*/ 47729 w 332891"/>
                  <a:gd name="connsiteY283" fmla="*/ 215159 h 455471"/>
                  <a:gd name="connsiteX284" fmla="*/ 47274 w 332891"/>
                  <a:gd name="connsiteY284" fmla="*/ 218341 h 455471"/>
                  <a:gd name="connsiteX285" fmla="*/ 46517 w 332891"/>
                  <a:gd name="connsiteY285" fmla="*/ 220463 h 455471"/>
                  <a:gd name="connsiteX286" fmla="*/ 44850 w 332891"/>
                  <a:gd name="connsiteY286" fmla="*/ 221826 h 455471"/>
                  <a:gd name="connsiteX287" fmla="*/ 43941 w 332891"/>
                  <a:gd name="connsiteY287" fmla="*/ 223038 h 455471"/>
                  <a:gd name="connsiteX288" fmla="*/ 41971 w 332891"/>
                  <a:gd name="connsiteY288" fmla="*/ 224251 h 455471"/>
                  <a:gd name="connsiteX289" fmla="*/ 41820 w 332891"/>
                  <a:gd name="connsiteY289" fmla="*/ 225463 h 455471"/>
                  <a:gd name="connsiteX290" fmla="*/ 44850 w 332891"/>
                  <a:gd name="connsiteY290" fmla="*/ 224554 h 455471"/>
                  <a:gd name="connsiteX291" fmla="*/ 45002 w 332891"/>
                  <a:gd name="connsiteY291" fmla="*/ 225766 h 455471"/>
                  <a:gd name="connsiteX292" fmla="*/ 44244 w 332891"/>
                  <a:gd name="connsiteY292" fmla="*/ 227736 h 455471"/>
                  <a:gd name="connsiteX293" fmla="*/ 44395 w 332891"/>
                  <a:gd name="connsiteY293" fmla="*/ 229705 h 455471"/>
                  <a:gd name="connsiteX294" fmla="*/ 46214 w 332891"/>
                  <a:gd name="connsiteY294" fmla="*/ 232887 h 455471"/>
                  <a:gd name="connsiteX295" fmla="*/ 48335 w 332891"/>
                  <a:gd name="connsiteY295" fmla="*/ 229857 h 455471"/>
                  <a:gd name="connsiteX296" fmla="*/ 49093 w 332891"/>
                  <a:gd name="connsiteY296" fmla="*/ 230311 h 455471"/>
                  <a:gd name="connsiteX297" fmla="*/ 48638 w 332891"/>
                  <a:gd name="connsiteY297" fmla="*/ 234403 h 455471"/>
                  <a:gd name="connsiteX298" fmla="*/ 50002 w 332891"/>
                  <a:gd name="connsiteY298" fmla="*/ 235160 h 455471"/>
                  <a:gd name="connsiteX299" fmla="*/ 51214 w 332891"/>
                  <a:gd name="connsiteY299" fmla="*/ 235312 h 455471"/>
                  <a:gd name="connsiteX300" fmla="*/ 52275 w 332891"/>
                  <a:gd name="connsiteY300" fmla="*/ 234099 h 455471"/>
                  <a:gd name="connsiteX301" fmla="*/ 53638 w 332891"/>
                  <a:gd name="connsiteY301" fmla="*/ 233948 h 455471"/>
                  <a:gd name="connsiteX302" fmla="*/ 49093 w 332891"/>
                  <a:gd name="connsiteY302" fmla="*/ 242888 h 455471"/>
                  <a:gd name="connsiteX303" fmla="*/ 46820 w 332891"/>
                  <a:gd name="connsiteY303" fmla="*/ 245918 h 455471"/>
                  <a:gd name="connsiteX304" fmla="*/ 45911 w 332891"/>
                  <a:gd name="connsiteY304" fmla="*/ 249403 h 455471"/>
                  <a:gd name="connsiteX305" fmla="*/ 44244 w 332891"/>
                  <a:gd name="connsiteY305" fmla="*/ 249555 h 455471"/>
                  <a:gd name="connsiteX306" fmla="*/ 42729 w 332891"/>
                  <a:gd name="connsiteY306" fmla="*/ 252434 h 455471"/>
                  <a:gd name="connsiteX307" fmla="*/ 41365 w 332891"/>
                  <a:gd name="connsiteY307" fmla="*/ 254403 h 455471"/>
                  <a:gd name="connsiteX308" fmla="*/ 40304 w 332891"/>
                  <a:gd name="connsiteY308" fmla="*/ 256676 h 455471"/>
                  <a:gd name="connsiteX309" fmla="*/ 38335 w 332891"/>
                  <a:gd name="connsiteY309" fmla="*/ 257282 h 455471"/>
                  <a:gd name="connsiteX310" fmla="*/ 36668 w 332891"/>
                  <a:gd name="connsiteY310" fmla="*/ 257585 h 455471"/>
                  <a:gd name="connsiteX311" fmla="*/ 36516 w 332891"/>
                  <a:gd name="connsiteY311" fmla="*/ 258494 h 455471"/>
                  <a:gd name="connsiteX312" fmla="*/ 37274 w 332891"/>
                  <a:gd name="connsiteY312" fmla="*/ 260919 h 455471"/>
                  <a:gd name="connsiteX313" fmla="*/ 37274 w 332891"/>
                  <a:gd name="connsiteY313" fmla="*/ 261979 h 455471"/>
                  <a:gd name="connsiteX314" fmla="*/ 34395 w 332891"/>
                  <a:gd name="connsiteY314" fmla="*/ 264404 h 455471"/>
                  <a:gd name="connsiteX315" fmla="*/ 33486 w 332891"/>
                  <a:gd name="connsiteY315" fmla="*/ 265464 h 455471"/>
                  <a:gd name="connsiteX316" fmla="*/ 33335 w 332891"/>
                  <a:gd name="connsiteY316" fmla="*/ 266222 h 455471"/>
                  <a:gd name="connsiteX317" fmla="*/ 31668 w 332891"/>
                  <a:gd name="connsiteY317" fmla="*/ 265919 h 455471"/>
                  <a:gd name="connsiteX318" fmla="*/ 30910 w 332891"/>
                  <a:gd name="connsiteY318" fmla="*/ 266676 h 455471"/>
                  <a:gd name="connsiteX319" fmla="*/ 30001 w 332891"/>
                  <a:gd name="connsiteY319" fmla="*/ 268495 h 455471"/>
                  <a:gd name="connsiteX320" fmla="*/ 28486 w 332891"/>
                  <a:gd name="connsiteY320" fmla="*/ 270161 h 455471"/>
                  <a:gd name="connsiteX321" fmla="*/ 27274 w 332891"/>
                  <a:gd name="connsiteY321" fmla="*/ 270919 h 455471"/>
                  <a:gd name="connsiteX322" fmla="*/ 26213 w 332891"/>
                  <a:gd name="connsiteY322" fmla="*/ 271828 h 455471"/>
                  <a:gd name="connsiteX323" fmla="*/ 24698 w 332891"/>
                  <a:gd name="connsiteY323" fmla="*/ 272434 h 455471"/>
                  <a:gd name="connsiteX324" fmla="*/ 19849 w 332891"/>
                  <a:gd name="connsiteY324" fmla="*/ 271828 h 455471"/>
                  <a:gd name="connsiteX325" fmla="*/ 18637 w 332891"/>
                  <a:gd name="connsiteY325" fmla="*/ 273192 h 455471"/>
                  <a:gd name="connsiteX326" fmla="*/ 16667 w 332891"/>
                  <a:gd name="connsiteY326" fmla="*/ 272586 h 455471"/>
                  <a:gd name="connsiteX327" fmla="*/ 15455 w 332891"/>
                  <a:gd name="connsiteY327" fmla="*/ 272889 h 455471"/>
                  <a:gd name="connsiteX328" fmla="*/ 13485 w 332891"/>
                  <a:gd name="connsiteY328" fmla="*/ 274101 h 455471"/>
                  <a:gd name="connsiteX329" fmla="*/ 11970 w 332891"/>
                  <a:gd name="connsiteY329" fmla="*/ 275919 h 455471"/>
                  <a:gd name="connsiteX330" fmla="*/ 11212 w 332891"/>
                  <a:gd name="connsiteY330" fmla="*/ 277283 h 455471"/>
                  <a:gd name="connsiteX331" fmla="*/ 10910 w 332891"/>
                  <a:gd name="connsiteY331" fmla="*/ 284101 h 455471"/>
                  <a:gd name="connsiteX332" fmla="*/ 13031 w 332891"/>
                  <a:gd name="connsiteY332" fmla="*/ 287738 h 455471"/>
                  <a:gd name="connsiteX333" fmla="*/ 12273 w 332891"/>
                  <a:gd name="connsiteY333" fmla="*/ 291829 h 455471"/>
                  <a:gd name="connsiteX334" fmla="*/ 6364 w 332891"/>
                  <a:gd name="connsiteY334" fmla="*/ 289859 h 455471"/>
                  <a:gd name="connsiteX335" fmla="*/ 1818 w 332891"/>
                  <a:gd name="connsiteY335" fmla="*/ 292435 h 455471"/>
                  <a:gd name="connsiteX336" fmla="*/ 0 w 332891"/>
                  <a:gd name="connsiteY336" fmla="*/ 295920 h 455471"/>
                  <a:gd name="connsiteX337" fmla="*/ 3788 w 332891"/>
                  <a:gd name="connsiteY337" fmla="*/ 298647 h 455471"/>
                  <a:gd name="connsiteX338" fmla="*/ 4545 w 332891"/>
                  <a:gd name="connsiteY338" fmla="*/ 300466 h 455471"/>
                  <a:gd name="connsiteX339" fmla="*/ 5455 w 332891"/>
                  <a:gd name="connsiteY339" fmla="*/ 301072 h 455471"/>
                  <a:gd name="connsiteX340" fmla="*/ 8031 w 332891"/>
                  <a:gd name="connsiteY340" fmla="*/ 303193 h 455471"/>
                  <a:gd name="connsiteX341" fmla="*/ 9546 w 332891"/>
                  <a:gd name="connsiteY341" fmla="*/ 305314 h 455471"/>
                  <a:gd name="connsiteX342" fmla="*/ 12121 w 332891"/>
                  <a:gd name="connsiteY342" fmla="*/ 306526 h 455471"/>
                  <a:gd name="connsiteX343" fmla="*/ 14243 w 332891"/>
                  <a:gd name="connsiteY343" fmla="*/ 307587 h 455471"/>
                  <a:gd name="connsiteX344" fmla="*/ 19698 w 332891"/>
                  <a:gd name="connsiteY344" fmla="*/ 311678 h 455471"/>
                  <a:gd name="connsiteX345" fmla="*/ 23334 w 332891"/>
                  <a:gd name="connsiteY345" fmla="*/ 313799 h 455471"/>
                  <a:gd name="connsiteX346" fmla="*/ 27274 w 332891"/>
                  <a:gd name="connsiteY346" fmla="*/ 315769 h 455471"/>
                  <a:gd name="connsiteX347" fmla="*/ 32880 w 332891"/>
                  <a:gd name="connsiteY347" fmla="*/ 317739 h 455471"/>
                  <a:gd name="connsiteX348" fmla="*/ 36365 w 332891"/>
                  <a:gd name="connsiteY348" fmla="*/ 317436 h 455471"/>
                  <a:gd name="connsiteX349" fmla="*/ 37123 w 332891"/>
                  <a:gd name="connsiteY349" fmla="*/ 318951 h 455471"/>
                  <a:gd name="connsiteX350" fmla="*/ 37729 w 332891"/>
                  <a:gd name="connsiteY350" fmla="*/ 320618 h 455471"/>
                  <a:gd name="connsiteX351" fmla="*/ 39092 w 332891"/>
                  <a:gd name="connsiteY351" fmla="*/ 321527 h 455471"/>
                  <a:gd name="connsiteX352" fmla="*/ 41214 w 332891"/>
                  <a:gd name="connsiteY352" fmla="*/ 322284 h 455471"/>
                  <a:gd name="connsiteX353" fmla="*/ 42426 w 332891"/>
                  <a:gd name="connsiteY353" fmla="*/ 322587 h 455471"/>
                  <a:gd name="connsiteX354" fmla="*/ 42729 w 332891"/>
                  <a:gd name="connsiteY354" fmla="*/ 323042 h 455471"/>
                  <a:gd name="connsiteX355" fmla="*/ 43941 w 332891"/>
                  <a:gd name="connsiteY355" fmla="*/ 328800 h 455471"/>
                  <a:gd name="connsiteX356" fmla="*/ 44699 w 332891"/>
                  <a:gd name="connsiteY356" fmla="*/ 329709 h 455471"/>
                  <a:gd name="connsiteX357" fmla="*/ 47578 w 332891"/>
                  <a:gd name="connsiteY357" fmla="*/ 330618 h 455471"/>
                  <a:gd name="connsiteX358" fmla="*/ 51062 w 332891"/>
                  <a:gd name="connsiteY358" fmla="*/ 330921 h 455471"/>
                  <a:gd name="connsiteX359" fmla="*/ 52426 w 332891"/>
                  <a:gd name="connsiteY359" fmla="*/ 330770 h 455471"/>
                  <a:gd name="connsiteX360" fmla="*/ 55456 w 332891"/>
                  <a:gd name="connsiteY360" fmla="*/ 332436 h 455471"/>
                  <a:gd name="connsiteX361" fmla="*/ 57729 w 332891"/>
                  <a:gd name="connsiteY361" fmla="*/ 333194 h 455471"/>
                  <a:gd name="connsiteX362" fmla="*/ 60154 w 332891"/>
                  <a:gd name="connsiteY362" fmla="*/ 333800 h 455471"/>
                  <a:gd name="connsiteX363" fmla="*/ 61821 w 332891"/>
                  <a:gd name="connsiteY363" fmla="*/ 333951 h 455471"/>
                  <a:gd name="connsiteX364" fmla="*/ 62578 w 332891"/>
                  <a:gd name="connsiteY364" fmla="*/ 333648 h 455471"/>
                  <a:gd name="connsiteX365" fmla="*/ 62881 w 332891"/>
                  <a:gd name="connsiteY365" fmla="*/ 333042 h 455471"/>
                  <a:gd name="connsiteX366" fmla="*/ 64245 w 332891"/>
                  <a:gd name="connsiteY366" fmla="*/ 333194 h 455471"/>
                  <a:gd name="connsiteX367" fmla="*/ 66366 w 332891"/>
                  <a:gd name="connsiteY367" fmla="*/ 333951 h 455471"/>
                  <a:gd name="connsiteX368" fmla="*/ 69397 w 332891"/>
                  <a:gd name="connsiteY368" fmla="*/ 334103 h 455471"/>
                  <a:gd name="connsiteX369" fmla="*/ 71215 w 332891"/>
                  <a:gd name="connsiteY369" fmla="*/ 333346 h 455471"/>
                  <a:gd name="connsiteX370" fmla="*/ 71518 w 332891"/>
                  <a:gd name="connsiteY370" fmla="*/ 332133 h 455471"/>
                  <a:gd name="connsiteX371" fmla="*/ 71669 w 332891"/>
                  <a:gd name="connsiteY371" fmla="*/ 330163 h 455471"/>
                  <a:gd name="connsiteX372" fmla="*/ 72427 w 332891"/>
                  <a:gd name="connsiteY372" fmla="*/ 329406 h 455471"/>
                  <a:gd name="connsiteX373" fmla="*/ 74548 w 332891"/>
                  <a:gd name="connsiteY373" fmla="*/ 328194 h 455471"/>
                  <a:gd name="connsiteX374" fmla="*/ 75609 w 332891"/>
                  <a:gd name="connsiteY374" fmla="*/ 328497 h 455471"/>
                  <a:gd name="connsiteX375" fmla="*/ 81215 w 332891"/>
                  <a:gd name="connsiteY375" fmla="*/ 331073 h 455471"/>
                  <a:gd name="connsiteX376" fmla="*/ 82427 w 332891"/>
                  <a:gd name="connsiteY376" fmla="*/ 331982 h 455471"/>
                  <a:gd name="connsiteX377" fmla="*/ 83791 w 332891"/>
                  <a:gd name="connsiteY377" fmla="*/ 333800 h 455471"/>
                  <a:gd name="connsiteX378" fmla="*/ 86367 w 332891"/>
                  <a:gd name="connsiteY378" fmla="*/ 336376 h 455471"/>
                  <a:gd name="connsiteX379" fmla="*/ 89246 w 332891"/>
                  <a:gd name="connsiteY379" fmla="*/ 338043 h 455471"/>
                  <a:gd name="connsiteX380" fmla="*/ 93640 w 332891"/>
                  <a:gd name="connsiteY380" fmla="*/ 338800 h 455471"/>
                  <a:gd name="connsiteX381" fmla="*/ 97882 w 332891"/>
                  <a:gd name="connsiteY381" fmla="*/ 341528 h 455471"/>
                  <a:gd name="connsiteX382" fmla="*/ 102731 w 332891"/>
                  <a:gd name="connsiteY382" fmla="*/ 343346 h 455471"/>
                  <a:gd name="connsiteX383" fmla="*/ 104398 w 332891"/>
                  <a:gd name="connsiteY383" fmla="*/ 341528 h 455471"/>
                  <a:gd name="connsiteX384" fmla="*/ 105458 w 332891"/>
                  <a:gd name="connsiteY384" fmla="*/ 341528 h 455471"/>
                  <a:gd name="connsiteX385" fmla="*/ 106671 w 332891"/>
                  <a:gd name="connsiteY385" fmla="*/ 341831 h 455471"/>
                  <a:gd name="connsiteX386" fmla="*/ 108943 w 332891"/>
                  <a:gd name="connsiteY386" fmla="*/ 343649 h 455471"/>
                  <a:gd name="connsiteX387" fmla="*/ 110307 w 332891"/>
                  <a:gd name="connsiteY387" fmla="*/ 344710 h 455471"/>
                  <a:gd name="connsiteX388" fmla="*/ 111974 w 332891"/>
                  <a:gd name="connsiteY388" fmla="*/ 345619 h 455471"/>
                  <a:gd name="connsiteX389" fmla="*/ 113489 w 332891"/>
                  <a:gd name="connsiteY389" fmla="*/ 345922 h 455471"/>
                  <a:gd name="connsiteX390" fmla="*/ 114853 w 332891"/>
                  <a:gd name="connsiteY390" fmla="*/ 346073 h 455471"/>
                  <a:gd name="connsiteX391" fmla="*/ 115762 w 332891"/>
                  <a:gd name="connsiteY391" fmla="*/ 345922 h 455471"/>
                  <a:gd name="connsiteX392" fmla="*/ 116368 w 332891"/>
                  <a:gd name="connsiteY392" fmla="*/ 347134 h 455471"/>
                  <a:gd name="connsiteX393" fmla="*/ 117125 w 332891"/>
                  <a:gd name="connsiteY393" fmla="*/ 348649 h 455471"/>
                  <a:gd name="connsiteX394" fmla="*/ 118944 w 332891"/>
                  <a:gd name="connsiteY394" fmla="*/ 349710 h 455471"/>
                  <a:gd name="connsiteX395" fmla="*/ 121065 w 332891"/>
                  <a:gd name="connsiteY395" fmla="*/ 350619 h 455471"/>
                  <a:gd name="connsiteX396" fmla="*/ 122732 w 332891"/>
                  <a:gd name="connsiteY396" fmla="*/ 352286 h 455471"/>
                  <a:gd name="connsiteX397" fmla="*/ 123792 w 332891"/>
                  <a:gd name="connsiteY397" fmla="*/ 353346 h 455471"/>
                  <a:gd name="connsiteX398" fmla="*/ 125156 w 332891"/>
                  <a:gd name="connsiteY398" fmla="*/ 354710 h 455471"/>
                  <a:gd name="connsiteX399" fmla="*/ 126520 w 332891"/>
                  <a:gd name="connsiteY399" fmla="*/ 356376 h 455471"/>
                  <a:gd name="connsiteX400" fmla="*/ 127732 w 332891"/>
                  <a:gd name="connsiteY400" fmla="*/ 359407 h 455471"/>
                  <a:gd name="connsiteX401" fmla="*/ 128338 w 332891"/>
                  <a:gd name="connsiteY401" fmla="*/ 361377 h 455471"/>
                  <a:gd name="connsiteX402" fmla="*/ 128944 w 332891"/>
                  <a:gd name="connsiteY402" fmla="*/ 362589 h 455471"/>
                  <a:gd name="connsiteX403" fmla="*/ 128793 w 332891"/>
                  <a:gd name="connsiteY403" fmla="*/ 363801 h 455471"/>
                  <a:gd name="connsiteX404" fmla="*/ 130156 w 332891"/>
                  <a:gd name="connsiteY404" fmla="*/ 365922 h 455471"/>
                  <a:gd name="connsiteX405" fmla="*/ 131217 w 332891"/>
                  <a:gd name="connsiteY405" fmla="*/ 367135 h 455471"/>
                  <a:gd name="connsiteX406" fmla="*/ 133035 w 332891"/>
                  <a:gd name="connsiteY406" fmla="*/ 367892 h 455471"/>
                  <a:gd name="connsiteX407" fmla="*/ 136520 w 332891"/>
                  <a:gd name="connsiteY407" fmla="*/ 368801 h 455471"/>
                  <a:gd name="connsiteX408" fmla="*/ 138338 w 332891"/>
                  <a:gd name="connsiteY408" fmla="*/ 370619 h 455471"/>
                  <a:gd name="connsiteX409" fmla="*/ 140005 w 332891"/>
                  <a:gd name="connsiteY409" fmla="*/ 371377 h 455471"/>
                  <a:gd name="connsiteX410" fmla="*/ 141823 w 332891"/>
                  <a:gd name="connsiteY410" fmla="*/ 373347 h 455471"/>
                  <a:gd name="connsiteX411" fmla="*/ 143339 w 332891"/>
                  <a:gd name="connsiteY411" fmla="*/ 373953 h 455471"/>
                  <a:gd name="connsiteX412" fmla="*/ 145308 w 332891"/>
                  <a:gd name="connsiteY412" fmla="*/ 373801 h 455471"/>
                  <a:gd name="connsiteX413" fmla="*/ 147278 w 332891"/>
                  <a:gd name="connsiteY413" fmla="*/ 374711 h 455471"/>
                  <a:gd name="connsiteX414" fmla="*/ 148793 w 332891"/>
                  <a:gd name="connsiteY414" fmla="*/ 376529 h 455471"/>
                  <a:gd name="connsiteX415" fmla="*/ 149702 w 332891"/>
                  <a:gd name="connsiteY415" fmla="*/ 378802 h 455471"/>
                  <a:gd name="connsiteX416" fmla="*/ 151218 w 332891"/>
                  <a:gd name="connsiteY416" fmla="*/ 380165 h 455471"/>
                  <a:gd name="connsiteX417" fmla="*/ 151975 w 332891"/>
                  <a:gd name="connsiteY417" fmla="*/ 382590 h 455471"/>
                  <a:gd name="connsiteX418" fmla="*/ 151066 w 332891"/>
                  <a:gd name="connsiteY418" fmla="*/ 385317 h 455471"/>
                  <a:gd name="connsiteX419" fmla="*/ 151824 w 332891"/>
                  <a:gd name="connsiteY419" fmla="*/ 386832 h 455471"/>
                  <a:gd name="connsiteX420" fmla="*/ 153339 w 332891"/>
                  <a:gd name="connsiteY420" fmla="*/ 388044 h 455471"/>
                  <a:gd name="connsiteX421" fmla="*/ 155763 w 332891"/>
                  <a:gd name="connsiteY421" fmla="*/ 389257 h 455471"/>
                  <a:gd name="connsiteX422" fmla="*/ 158036 w 332891"/>
                  <a:gd name="connsiteY422" fmla="*/ 388954 h 455471"/>
                  <a:gd name="connsiteX423" fmla="*/ 159248 w 332891"/>
                  <a:gd name="connsiteY423" fmla="*/ 389408 h 455471"/>
                  <a:gd name="connsiteX424" fmla="*/ 160006 w 332891"/>
                  <a:gd name="connsiteY424" fmla="*/ 390620 h 455471"/>
                  <a:gd name="connsiteX425" fmla="*/ 160460 w 332891"/>
                  <a:gd name="connsiteY425" fmla="*/ 391984 h 455471"/>
                  <a:gd name="connsiteX426" fmla="*/ 161521 w 332891"/>
                  <a:gd name="connsiteY426" fmla="*/ 395317 h 455471"/>
                  <a:gd name="connsiteX427" fmla="*/ 161976 w 332891"/>
                  <a:gd name="connsiteY427" fmla="*/ 397439 h 455471"/>
                  <a:gd name="connsiteX428" fmla="*/ 161066 w 332891"/>
                  <a:gd name="connsiteY428" fmla="*/ 399560 h 455471"/>
                  <a:gd name="connsiteX429" fmla="*/ 160764 w 332891"/>
                  <a:gd name="connsiteY429" fmla="*/ 400924 h 455471"/>
                  <a:gd name="connsiteX430" fmla="*/ 161218 w 332891"/>
                  <a:gd name="connsiteY430" fmla="*/ 402893 h 455471"/>
                  <a:gd name="connsiteX431" fmla="*/ 163642 w 332891"/>
                  <a:gd name="connsiteY431" fmla="*/ 403803 h 455471"/>
                  <a:gd name="connsiteX432" fmla="*/ 165764 w 332891"/>
                  <a:gd name="connsiteY432" fmla="*/ 404560 h 455471"/>
                  <a:gd name="connsiteX433" fmla="*/ 167127 w 332891"/>
                  <a:gd name="connsiteY433" fmla="*/ 406075 h 455471"/>
                  <a:gd name="connsiteX434" fmla="*/ 168642 w 332891"/>
                  <a:gd name="connsiteY434" fmla="*/ 406530 h 455471"/>
                  <a:gd name="connsiteX435" fmla="*/ 170764 w 332891"/>
                  <a:gd name="connsiteY435" fmla="*/ 406378 h 455471"/>
                  <a:gd name="connsiteX436" fmla="*/ 173491 w 332891"/>
                  <a:gd name="connsiteY436" fmla="*/ 406075 h 455471"/>
                  <a:gd name="connsiteX437" fmla="*/ 175006 w 332891"/>
                  <a:gd name="connsiteY437" fmla="*/ 405166 h 455471"/>
                  <a:gd name="connsiteX438" fmla="*/ 175916 w 332891"/>
                  <a:gd name="connsiteY438" fmla="*/ 404863 h 455471"/>
                  <a:gd name="connsiteX439" fmla="*/ 176976 w 332891"/>
                  <a:gd name="connsiteY439" fmla="*/ 405166 h 455471"/>
                  <a:gd name="connsiteX440" fmla="*/ 179401 w 332891"/>
                  <a:gd name="connsiteY440" fmla="*/ 405924 h 455471"/>
                  <a:gd name="connsiteX441" fmla="*/ 182279 w 332891"/>
                  <a:gd name="connsiteY441" fmla="*/ 406833 h 455471"/>
                  <a:gd name="connsiteX442" fmla="*/ 184855 w 332891"/>
                  <a:gd name="connsiteY442" fmla="*/ 406227 h 455471"/>
                  <a:gd name="connsiteX443" fmla="*/ 187128 w 332891"/>
                  <a:gd name="connsiteY443" fmla="*/ 405924 h 455471"/>
                  <a:gd name="connsiteX444" fmla="*/ 189401 w 332891"/>
                  <a:gd name="connsiteY444" fmla="*/ 405318 h 455471"/>
                  <a:gd name="connsiteX445" fmla="*/ 191674 w 332891"/>
                  <a:gd name="connsiteY445" fmla="*/ 403803 h 455471"/>
                  <a:gd name="connsiteX446" fmla="*/ 193644 w 332891"/>
                  <a:gd name="connsiteY446" fmla="*/ 403803 h 455471"/>
                  <a:gd name="connsiteX447" fmla="*/ 195007 w 332891"/>
                  <a:gd name="connsiteY447" fmla="*/ 402742 h 455471"/>
                  <a:gd name="connsiteX448" fmla="*/ 196825 w 332891"/>
                  <a:gd name="connsiteY448" fmla="*/ 401075 h 455471"/>
                  <a:gd name="connsiteX449" fmla="*/ 198644 w 332891"/>
                  <a:gd name="connsiteY449" fmla="*/ 399409 h 455471"/>
                  <a:gd name="connsiteX450" fmla="*/ 200007 w 332891"/>
                  <a:gd name="connsiteY450" fmla="*/ 399105 h 455471"/>
                  <a:gd name="connsiteX451" fmla="*/ 202280 w 332891"/>
                  <a:gd name="connsiteY451" fmla="*/ 399863 h 455471"/>
                  <a:gd name="connsiteX452" fmla="*/ 205310 w 332891"/>
                  <a:gd name="connsiteY452" fmla="*/ 401075 h 455471"/>
                  <a:gd name="connsiteX453" fmla="*/ 206977 w 332891"/>
                  <a:gd name="connsiteY453" fmla="*/ 402590 h 455471"/>
                  <a:gd name="connsiteX454" fmla="*/ 208341 w 332891"/>
                  <a:gd name="connsiteY454" fmla="*/ 403045 h 455471"/>
                  <a:gd name="connsiteX455" fmla="*/ 209705 w 332891"/>
                  <a:gd name="connsiteY455" fmla="*/ 404106 h 455471"/>
                  <a:gd name="connsiteX456" fmla="*/ 212281 w 332891"/>
                  <a:gd name="connsiteY456" fmla="*/ 404106 h 455471"/>
                  <a:gd name="connsiteX457" fmla="*/ 215159 w 332891"/>
                  <a:gd name="connsiteY457" fmla="*/ 403499 h 455471"/>
                  <a:gd name="connsiteX458" fmla="*/ 217432 w 332891"/>
                  <a:gd name="connsiteY458" fmla="*/ 401681 h 455471"/>
                  <a:gd name="connsiteX459" fmla="*/ 219857 w 332891"/>
                  <a:gd name="connsiteY459" fmla="*/ 401075 h 455471"/>
                  <a:gd name="connsiteX460" fmla="*/ 221523 w 332891"/>
                  <a:gd name="connsiteY460" fmla="*/ 400621 h 455471"/>
                  <a:gd name="connsiteX461" fmla="*/ 223039 w 332891"/>
                  <a:gd name="connsiteY461" fmla="*/ 400924 h 455471"/>
                  <a:gd name="connsiteX462" fmla="*/ 228796 w 332891"/>
                  <a:gd name="connsiteY462" fmla="*/ 404257 h 455471"/>
                  <a:gd name="connsiteX463" fmla="*/ 230312 w 332891"/>
                  <a:gd name="connsiteY463" fmla="*/ 405924 h 455471"/>
                  <a:gd name="connsiteX464" fmla="*/ 232281 w 332891"/>
                  <a:gd name="connsiteY464" fmla="*/ 406227 h 455471"/>
                  <a:gd name="connsiteX465" fmla="*/ 233948 w 332891"/>
                  <a:gd name="connsiteY465" fmla="*/ 407136 h 455471"/>
                  <a:gd name="connsiteX466" fmla="*/ 236675 w 332891"/>
                  <a:gd name="connsiteY466" fmla="*/ 408197 h 455471"/>
                  <a:gd name="connsiteX467" fmla="*/ 238191 w 332891"/>
                  <a:gd name="connsiteY467" fmla="*/ 409257 h 455471"/>
                  <a:gd name="connsiteX468" fmla="*/ 240160 w 332891"/>
                  <a:gd name="connsiteY468" fmla="*/ 409863 h 455471"/>
                  <a:gd name="connsiteX469" fmla="*/ 241524 w 332891"/>
                  <a:gd name="connsiteY469" fmla="*/ 411379 h 455471"/>
                  <a:gd name="connsiteX470" fmla="*/ 243645 w 332891"/>
                  <a:gd name="connsiteY470" fmla="*/ 412288 h 455471"/>
                  <a:gd name="connsiteX471" fmla="*/ 245464 w 332891"/>
                  <a:gd name="connsiteY471" fmla="*/ 412742 h 455471"/>
                  <a:gd name="connsiteX472" fmla="*/ 246373 w 332891"/>
                  <a:gd name="connsiteY472" fmla="*/ 413954 h 455471"/>
                  <a:gd name="connsiteX473" fmla="*/ 246373 w 332891"/>
                  <a:gd name="connsiteY473" fmla="*/ 414712 h 455471"/>
                  <a:gd name="connsiteX474" fmla="*/ 246070 w 332891"/>
                  <a:gd name="connsiteY474" fmla="*/ 415167 h 455471"/>
                  <a:gd name="connsiteX475" fmla="*/ 244100 w 332891"/>
                  <a:gd name="connsiteY475" fmla="*/ 418197 h 455471"/>
                  <a:gd name="connsiteX476" fmla="*/ 240160 w 332891"/>
                  <a:gd name="connsiteY476" fmla="*/ 424258 h 455471"/>
                  <a:gd name="connsiteX477" fmla="*/ 236675 w 332891"/>
                  <a:gd name="connsiteY477" fmla="*/ 429713 h 455471"/>
                  <a:gd name="connsiteX478" fmla="*/ 231069 w 332891"/>
                  <a:gd name="connsiteY478" fmla="*/ 438349 h 455471"/>
                  <a:gd name="connsiteX479" fmla="*/ 228039 w 332891"/>
                  <a:gd name="connsiteY479" fmla="*/ 443198 h 455471"/>
                  <a:gd name="connsiteX480" fmla="*/ 228796 w 332891"/>
                  <a:gd name="connsiteY480" fmla="*/ 443349 h 455471"/>
                  <a:gd name="connsiteX481" fmla="*/ 233645 w 332891"/>
                  <a:gd name="connsiteY481" fmla="*/ 445471 h 455471"/>
                  <a:gd name="connsiteX482" fmla="*/ 234857 w 332891"/>
                  <a:gd name="connsiteY482" fmla="*/ 445622 h 455471"/>
                  <a:gd name="connsiteX483" fmla="*/ 236675 w 332891"/>
                  <a:gd name="connsiteY483" fmla="*/ 445016 h 455471"/>
                  <a:gd name="connsiteX484" fmla="*/ 237888 w 332891"/>
                  <a:gd name="connsiteY484" fmla="*/ 444107 h 455471"/>
                  <a:gd name="connsiteX485" fmla="*/ 238948 w 332891"/>
                  <a:gd name="connsiteY485" fmla="*/ 443956 h 455471"/>
                  <a:gd name="connsiteX486" fmla="*/ 240009 w 332891"/>
                  <a:gd name="connsiteY486" fmla="*/ 444713 h 455471"/>
                  <a:gd name="connsiteX487" fmla="*/ 241524 w 332891"/>
                  <a:gd name="connsiteY487" fmla="*/ 445774 h 455471"/>
                  <a:gd name="connsiteX488" fmla="*/ 242736 w 332891"/>
                  <a:gd name="connsiteY488" fmla="*/ 448804 h 455471"/>
                  <a:gd name="connsiteX489" fmla="*/ 243645 w 332891"/>
                  <a:gd name="connsiteY489" fmla="*/ 450319 h 455471"/>
                  <a:gd name="connsiteX490" fmla="*/ 245615 w 332891"/>
                  <a:gd name="connsiteY490" fmla="*/ 451532 h 455471"/>
                  <a:gd name="connsiteX491" fmla="*/ 247736 w 332891"/>
                  <a:gd name="connsiteY491" fmla="*/ 453501 h 455471"/>
                  <a:gd name="connsiteX492" fmla="*/ 249100 w 332891"/>
                  <a:gd name="connsiteY492" fmla="*/ 455471 h 455471"/>
                  <a:gd name="connsiteX493" fmla="*/ 249555 w 332891"/>
                  <a:gd name="connsiteY493" fmla="*/ 454562 h 455471"/>
                  <a:gd name="connsiteX494" fmla="*/ 250615 w 332891"/>
                  <a:gd name="connsiteY494" fmla="*/ 448956 h 455471"/>
                  <a:gd name="connsiteX495" fmla="*/ 252282 w 332891"/>
                  <a:gd name="connsiteY495" fmla="*/ 439865 h 455471"/>
                  <a:gd name="connsiteX496" fmla="*/ 253797 w 332891"/>
                  <a:gd name="connsiteY496" fmla="*/ 431531 h 455471"/>
                  <a:gd name="connsiteX497" fmla="*/ 255464 w 332891"/>
                  <a:gd name="connsiteY497" fmla="*/ 422288 h 455471"/>
                  <a:gd name="connsiteX498" fmla="*/ 257131 w 332891"/>
                  <a:gd name="connsiteY498" fmla="*/ 412742 h 455471"/>
                  <a:gd name="connsiteX499" fmla="*/ 258949 w 332891"/>
                  <a:gd name="connsiteY499" fmla="*/ 403197 h 455471"/>
                  <a:gd name="connsiteX500" fmla="*/ 260464 w 332891"/>
                  <a:gd name="connsiteY500" fmla="*/ 395317 h 455471"/>
                  <a:gd name="connsiteX501" fmla="*/ 261676 w 332891"/>
                  <a:gd name="connsiteY501" fmla="*/ 388499 h 455471"/>
                  <a:gd name="connsiteX502" fmla="*/ 262434 w 332891"/>
                  <a:gd name="connsiteY502" fmla="*/ 384408 h 455471"/>
                  <a:gd name="connsiteX503" fmla="*/ 263646 w 332891"/>
                  <a:gd name="connsiteY503" fmla="*/ 378953 h 455471"/>
                  <a:gd name="connsiteX504" fmla="*/ 264101 w 332891"/>
                  <a:gd name="connsiteY504" fmla="*/ 374105 h 455471"/>
                  <a:gd name="connsiteX505" fmla="*/ 264555 w 332891"/>
                  <a:gd name="connsiteY505" fmla="*/ 372741 h 455471"/>
                  <a:gd name="connsiteX506" fmla="*/ 264252 w 332891"/>
                  <a:gd name="connsiteY506" fmla="*/ 371529 h 455471"/>
                  <a:gd name="connsiteX507" fmla="*/ 263192 w 332891"/>
                  <a:gd name="connsiteY507" fmla="*/ 369862 h 455471"/>
                  <a:gd name="connsiteX508" fmla="*/ 263192 w 332891"/>
                  <a:gd name="connsiteY508" fmla="*/ 369104 h 455471"/>
                  <a:gd name="connsiteX509" fmla="*/ 263343 w 332891"/>
                  <a:gd name="connsiteY509" fmla="*/ 368195 h 455471"/>
                  <a:gd name="connsiteX510" fmla="*/ 263192 w 332891"/>
                  <a:gd name="connsiteY510" fmla="*/ 367286 h 455471"/>
                  <a:gd name="connsiteX511" fmla="*/ 262131 w 332891"/>
                  <a:gd name="connsiteY511" fmla="*/ 366377 h 455471"/>
                  <a:gd name="connsiteX512" fmla="*/ 261222 w 332891"/>
                  <a:gd name="connsiteY512" fmla="*/ 365771 h 455471"/>
                  <a:gd name="connsiteX513" fmla="*/ 260616 w 332891"/>
                  <a:gd name="connsiteY513" fmla="*/ 365013 h 455471"/>
                  <a:gd name="connsiteX514" fmla="*/ 260313 w 332891"/>
                  <a:gd name="connsiteY514" fmla="*/ 363953 h 455471"/>
                  <a:gd name="connsiteX515" fmla="*/ 259707 w 332891"/>
                  <a:gd name="connsiteY515" fmla="*/ 362892 h 455471"/>
                  <a:gd name="connsiteX516" fmla="*/ 259403 w 332891"/>
                  <a:gd name="connsiteY516" fmla="*/ 361680 h 455471"/>
                  <a:gd name="connsiteX517" fmla="*/ 258646 w 332891"/>
                  <a:gd name="connsiteY517" fmla="*/ 360771 h 455471"/>
                  <a:gd name="connsiteX518" fmla="*/ 258343 w 332891"/>
                  <a:gd name="connsiteY518" fmla="*/ 359559 h 455471"/>
                  <a:gd name="connsiteX519" fmla="*/ 258949 w 332891"/>
                  <a:gd name="connsiteY519" fmla="*/ 358498 h 455471"/>
                  <a:gd name="connsiteX520" fmla="*/ 259252 w 332891"/>
                  <a:gd name="connsiteY520" fmla="*/ 357286 h 455471"/>
                  <a:gd name="connsiteX521" fmla="*/ 258949 w 332891"/>
                  <a:gd name="connsiteY521" fmla="*/ 356225 h 455471"/>
                  <a:gd name="connsiteX522" fmla="*/ 258646 w 332891"/>
                  <a:gd name="connsiteY522" fmla="*/ 355013 h 455471"/>
                  <a:gd name="connsiteX523" fmla="*/ 258040 w 332891"/>
                  <a:gd name="connsiteY523" fmla="*/ 353801 h 455471"/>
                  <a:gd name="connsiteX524" fmla="*/ 257131 w 332891"/>
                  <a:gd name="connsiteY524" fmla="*/ 353043 h 455471"/>
                  <a:gd name="connsiteX525" fmla="*/ 255009 w 332891"/>
                  <a:gd name="connsiteY525" fmla="*/ 352286 h 455471"/>
                  <a:gd name="connsiteX526" fmla="*/ 252737 w 332891"/>
                  <a:gd name="connsiteY526" fmla="*/ 350316 h 455471"/>
                  <a:gd name="connsiteX527" fmla="*/ 250161 w 332891"/>
                  <a:gd name="connsiteY527" fmla="*/ 348649 h 455471"/>
                  <a:gd name="connsiteX528" fmla="*/ 246827 w 332891"/>
                  <a:gd name="connsiteY528" fmla="*/ 345316 h 455471"/>
                  <a:gd name="connsiteX529" fmla="*/ 246070 w 332891"/>
                  <a:gd name="connsiteY529" fmla="*/ 343800 h 455471"/>
                  <a:gd name="connsiteX530" fmla="*/ 246070 w 332891"/>
                  <a:gd name="connsiteY530" fmla="*/ 339558 h 455471"/>
                  <a:gd name="connsiteX531" fmla="*/ 246221 w 332891"/>
                  <a:gd name="connsiteY531" fmla="*/ 334861 h 455471"/>
                  <a:gd name="connsiteX532" fmla="*/ 246373 w 332891"/>
                  <a:gd name="connsiteY532" fmla="*/ 327891 h 455471"/>
                  <a:gd name="connsiteX533" fmla="*/ 246524 w 332891"/>
                  <a:gd name="connsiteY533" fmla="*/ 324254 h 455471"/>
                  <a:gd name="connsiteX534" fmla="*/ 248343 w 332891"/>
                  <a:gd name="connsiteY534" fmla="*/ 324103 h 455471"/>
                  <a:gd name="connsiteX535" fmla="*/ 250009 w 332891"/>
                  <a:gd name="connsiteY535" fmla="*/ 323951 h 455471"/>
                  <a:gd name="connsiteX536" fmla="*/ 251676 w 332891"/>
                  <a:gd name="connsiteY536" fmla="*/ 323648 h 455471"/>
                  <a:gd name="connsiteX537" fmla="*/ 253191 w 332891"/>
                  <a:gd name="connsiteY537" fmla="*/ 323345 h 455471"/>
                  <a:gd name="connsiteX538" fmla="*/ 254555 w 332891"/>
                  <a:gd name="connsiteY538" fmla="*/ 322891 h 455471"/>
                  <a:gd name="connsiteX539" fmla="*/ 255615 w 332891"/>
                  <a:gd name="connsiteY539" fmla="*/ 322284 h 455471"/>
                  <a:gd name="connsiteX540" fmla="*/ 256828 w 332891"/>
                  <a:gd name="connsiteY540" fmla="*/ 321830 h 455471"/>
                  <a:gd name="connsiteX541" fmla="*/ 257737 w 332891"/>
                  <a:gd name="connsiteY541" fmla="*/ 321981 h 455471"/>
                  <a:gd name="connsiteX542" fmla="*/ 258646 w 332891"/>
                  <a:gd name="connsiteY542" fmla="*/ 321375 h 455471"/>
                  <a:gd name="connsiteX543" fmla="*/ 259707 w 332891"/>
                  <a:gd name="connsiteY543" fmla="*/ 320769 h 455471"/>
                  <a:gd name="connsiteX544" fmla="*/ 260767 w 332891"/>
                  <a:gd name="connsiteY544" fmla="*/ 320315 h 455471"/>
                  <a:gd name="connsiteX545" fmla="*/ 262282 w 332891"/>
                  <a:gd name="connsiteY545" fmla="*/ 320012 h 455471"/>
                  <a:gd name="connsiteX546" fmla="*/ 263646 w 332891"/>
                  <a:gd name="connsiteY546" fmla="*/ 320921 h 455471"/>
                  <a:gd name="connsiteX547" fmla="*/ 264404 w 332891"/>
                  <a:gd name="connsiteY547" fmla="*/ 321830 h 455471"/>
                  <a:gd name="connsiteX548" fmla="*/ 265313 w 332891"/>
                  <a:gd name="connsiteY548" fmla="*/ 322284 h 455471"/>
                  <a:gd name="connsiteX549" fmla="*/ 266222 w 332891"/>
                  <a:gd name="connsiteY549" fmla="*/ 322133 h 455471"/>
                  <a:gd name="connsiteX550" fmla="*/ 266828 w 332891"/>
                  <a:gd name="connsiteY550" fmla="*/ 322133 h 455471"/>
                  <a:gd name="connsiteX551" fmla="*/ 267434 w 332891"/>
                  <a:gd name="connsiteY551" fmla="*/ 322891 h 455471"/>
                  <a:gd name="connsiteX552" fmla="*/ 268192 w 332891"/>
                  <a:gd name="connsiteY552" fmla="*/ 322891 h 455471"/>
                  <a:gd name="connsiteX553" fmla="*/ 269252 w 332891"/>
                  <a:gd name="connsiteY553" fmla="*/ 322739 h 455471"/>
                  <a:gd name="connsiteX554" fmla="*/ 270313 w 332891"/>
                  <a:gd name="connsiteY554" fmla="*/ 322587 h 455471"/>
                  <a:gd name="connsiteX555" fmla="*/ 270768 w 332891"/>
                  <a:gd name="connsiteY555" fmla="*/ 322436 h 455471"/>
                  <a:gd name="connsiteX556" fmla="*/ 270768 w 332891"/>
                  <a:gd name="connsiteY556" fmla="*/ 321981 h 455471"/>
                  <a:gd name="connsiteX557" fmla="*/ 270464 w 332891"/>
                  <a:gd name="connsiteY557" fmla="*/ 321224 h 455471"/>
                  <a:gd name="connsiteX558" fmla="*/ 270162 w 332891"/>
                  <a:gd name="connsiteY558" fmla="*/ 320466 h 455471"/>
                  <a:gd name="connsiteX559" fmla="*/ 270464 w 332891"/>
                  <a:gd name="connsiteY559" fmla="*/ 319406 h 455471"/>
                  <a:gd name="connsiteX560" fmla="*/ 270464 w 332891"/>
                  <a:gd name="connsiteY560" fmla="*/ 318042 h 455471"/>
                  <a:gd name="connsiteX561" fmla="*/ 270464 w 332891"/>
                  <a:gd name="connsiteY561" fmla="*/ 316375 h 455471"/>
                  <a:gd name="connsiteX562" fmla="*/ 269555 w 332891"/>
                  <a:gd name="connsiteY562" fmla="*/ 315466 h 455471"/>
                  <a:gd name="connsiteX563" fmla="*/ 268646 w 332891"/>
                  <a:gd name="connsiteY563" fmla="*/ 313648 h 455471"/>
                  <a:gd name="connsiteX564" fmla="*/ 267737 w 332891"/>
                  <a:gd name="connsiteY564" fmla="*/ 312284 h 455471"/>
                  <a:gd name="connsiteX565" fmla="*/ 266222 w 332891"/>
                  <a:gd name="connsiteY565" fmla="*/ 311375 h 455471"/>
                  <a:gd name="connsiteX566" fmla="*/ 264858 w 332891"/>
                  <a:gd name="connsiteY566" fmla="*/ 311072 h 455471"/>
                  <a:gd name="connsiteX567" fmla="*/ 263797 w 332891"/>
                  <a:gd name="connsiteY567" fmla="*/ 311678 h 455471"/>
                  <a:gd name="connsiteX568" fmla="*/ 262737 w 332891"/>
                  <a:gd name="connsiteY568" fmla="*/ 311830 h 455471"/>
                  <a:gd name="connsiteX569" fmla="*/ 261979 w 332891"/>
                  <a:gd name="connsiteY569" fmla="*/ 311223 h 455471"/>
                  <a:gd name="connsiteX570" fmla="*/ 260767 w 332891"/>
                  <a:gd name="connsiteY570" fmla="*/ 311223 h 455471"/>
                  <a:gd name="connsiteX571" fmla="*/ 259403 w 332891"/>
                  <a:gd name="connsiteY571" fmla="*/ 311072 h 455471"/>
                  <a:gd name="connsiteX572" fmla="*/ 257888 w 332891"/>
                  <a:gd name="connsiteY572" fmla="*/ 310920 h 455471"/>
                  <a:gd name="connsiteX573" fmla="*/ 255312 w 332891"/>
                  <a:gd name="connsiteY573" fmla="*/ 311375 h 455471"/>
                  <a:gd name="connsiteX574" fmla="*/ 254403 w 332891"/>
                  <a:gd name="connsiteY574" fmla="*/ 310920 h 455471"/>
                  <a:gd name="connsiteX575" fmla="*/ 253191 w 332891"/>
                  <a:gd name="connsiteY575" fmla="*/ 310920 h 455471"/>
                  <a:gd name="connsiteX576" fmla="*/ 251676 w 332891"/>
                  <a:gd name="connsiteY576" fmla="*/ 311375 h 455471"/>
                  <a:gd name="connsiteX577" fmla="*/ 251676 w 332891"/>
                  <a:gd name="connsiteY577" fmla="*/ 304556 h 455471"/>
                  <a:gd name="connsiteX578" fmla="*/ 251676 w 332891"/>
                  <a:gd name="connsiteY578" fmla="*/ 298193 h 455471"/>
                  <a:gd name="connsiteX579" fmla="*/ 251676 w 332891"/>
                  <a:gd name="connsiteY579" fmla="*/ 293647 h 455471"/>
                  <a:gd name="connsiteX580" fmla="*/ 253040 w 332891"/>
                  <a:gd name="connsiteY580" fmla="*/ 293799 h 455471"/>
                  <a:gd name="connsiteX581" fmla="*/ 254706 w 332891"/>
                  <a:gd name="connsiteY581" fmla="*/ 293041 h 455471"/>
                  <a:gd name="connsiteX582" fmla="*/ 257131 w 332891"/>
                  <a:gd name="connsiteY582" fmla="*/ 292890 h 455471"/>
                  <a:gd name="connsiteX583" fmla="*/ 258949 w 332891"/>
                  <a:gd name="connsiteY583" fmla="*/ 291980 h 455471"/>
                  <a:gd name="connsiteX584" fmla="*/ 260009 w 332891"/>
                  <a:gd name="connsiteY584" fmla="*/ 291980 h 455471"/>
                  <a:gd name="connsiteX585" fmla="*/ 261979 w 332891"/>
                  <a:gd name="connsiteY585" fmla="*/ 292435 h 455471"/>
                  <a:gd name="connsiteX586" fmla="*/ 264101 w 332891"/>
                  <a:gd name="connsiteY586" fmla="*/ 293344 h 455471"/>
                  <a:gd name="connsiteX587" fmla="*/ 266070 w 332891"/>
                  <a:gd name="connsiteY587" fmla="*/ 293495 h 455471"/>
                  <a:gd name="connsiteX588" fmla="*/ 271374 w 332891"/>
                  <a:gd name="connsiteY588" fmla="*/ 293495 h 455471"/>
                  <a:gd name="connsiteX589" fmla="*/ 277131 w 332891"/>
                  <a:gd name="connsiteY589" fmla="*/ 293495 h 455471"/>
                  <a:gd name="connsiteX590" fmla="*/ 283495 w 332891"/>
                  <a:gd name="connsiteY590" fmla="*/ 293495 h 455471"/>
                  <a:gd name="connsiteX591" fmla="*/ 289859 w 332891"/>
                  <a:gd name="connsiteY591" fmla="*/ 293495 h 455471"/>
                  <a:gd name="connsiteX592" fmla="*/ 295466 w 332891"/>
                  <a:gd name="connsiteY592" fmla="*/ 293495 h 455471"/>
                  <a:gd name="connsiteX593" fmla="*/ 297132 w 332891"/>
                  <a:gd name="connsiteY593" fmla="*/ 293495 h 455471"/>
                  <a:gd name="connsiteX594" fmla="*/ 296071 w 332891"/>
                  <a:gd name="connsiteY594" fmla="*/ 291980 h 455471"/>
                  <a:gd name="connsiteX595" fmla="*/ 294859 w 332891"/>
                  <a:gd name="connsiteY595" fmla="*/ 290011 h 455471"/>
                  <a:gd name="connsiteX596" fmla="*/ 295314 w 332891"/>
                  <a:gd name="connsiteY596" fmla="*/ 288495 h 455471"/>
                  <a:gd name="connsiteX597" fmla="*/ 295920 w 332891"/>
                  <a:gd name="connsiteY597" fmla="*/ 286980 h 455471"/>
                  <a:gd name="connsiteX598" fmla="*/ 296526 w 332891"/>
                  <a:gd name="connsiteY598" fmla="*/ 286223 h 455471"/>
                  <a:gd name="connsiteX599" fmla="*/ 298193 w 332891"/>
                  <a:gd name="connsiteY599" fmla="*/ 287132 h 455471"/>
                  <a:gd name="connsiteX600" fmla="*/ 299708 w 332891"/>
                  <a:gd name="connsiteY600" fmla="*/ 289707 h 455471"/>
                  <a:gd name="connsiteX601" fmla="*/ 300920 w 332891"/>
                  <a:gd name="connsiteY601" fmla="*/ 291677 h 455471"/>
                  <a:gd name="connsiteX602" fmla="*/ 302132 w 332891"/>
                  <a:gd name="connsiteY602" fmla="*/ 292586 h 455471"/>
                  <a:gd name="connsiteX603" fmla="*/ 303648 w 332891"/>
                  <a:gd name="connsiteY603" fmla="*/ 292738 h 455471"/>
                  <a:gd name="connsiteX604" fmla="*/ 305314 w 332891"/>
                  <a:gd name="connsiteY604" fmla="*/ 292435 h 455471"/>
                  <a:gd name="connsiteX605" fmla="*/ 306981 w 332891"/>
                  <a:gd name="connsiteY605" fmla="*/ 291677 h 455471"/>
                  <a:gd name="connsiteX606" fmla="*/ 309860 w 332891"/>
                  <a:gd name="connsiteY606" fmla="*/ 288041 h 455471"/>
                  <a:gd name="connsiteX607" fmla="*/ 312739 w 332891"/>
                  <a:gd name="connsiteY607" fmla="*/ 285010 h 455471"/>
                  <a:gd name="connsiteX608" fmla="*/ 314254 w 332891"/>
                  <a:gd name="connsiteY608" fmla="*/ 283950 h 455471"/>
                  <a:gd name="connsiteX609" fmla="*/ 315769 w 332891"/>
                  <a:gd name="connsiteY609" fmla="*/ 283041 h 455471"/>
                  <a:gd name="connsiteX610" fmla="*/ 316981 w 332891"/>
                  <a:gd name="connsiteY610" fmla="*/ 282738 h 455471"/>
                  <a:gd name="connsiteX611" fmla="*/ 318497 w 332891"/>
                  <a:gd name="connsiteY611" fmla="*/ 282889 h 455471"/>
                  <a:gd name="connsiteX612" fmla="*/ 319860 w 332891"/>
                  <a:gd name="connsiteY612" fmla="*/ 283798 h 455471"/>
                  <a:gd name="connsiteX613" fmla="*/ 320769 w 332891"/>
                  <a:gd name="connsiteY613" fmla="*/ 285313 h 455471"/>
                  <a:gd name="connsiteX614" fmla="*/ 323951 w 332891"/>
                  <a:gd name="connsiteY614" fmla="*/ 290465 h 455471"/>
                  <a:gd name="connsiteX615" fmla="*/ 326376 w 332891"/>
                  <a:gd name="connsiteY615" fmla="*/ 294253 h 455471"/>
                  <a:gd name="connsiteX616" fmla="*/ 327133 w 332891"/>
                  <a:gd name="connsiteY616" fmla="*/ 296678 h 455471"/>
                  <a:gd name="connsiteX617" fmla="*/ 327133 w 332891"/>
                  <a:gd name="connsiteY617" fmla="*/ 302587 h 455471"/>
                  <a:gd name="connsiteX618" fmla="*/ 326982 w 332891"/>
                  <a:gd name="connsiteY618" fmla="*/ 307738 h 455471"/>
                  <a:gd name="connsiteX619" fmla="*/ 327285 w 332891"/>
                  <a:gd name="connsiteY619" fmla="*/ 308344 h 455471"/>
                  <a:gd name="connsiteX620" fmla="*/ 327739 w 332891"/>
                  <a:gd name="connsiteY620" fmla="*/ 308496 h 455471"/>
                  <a:gd name="connsiteX621" fmla="*/ 332891 w 332891"/>
                  <a:gd name="connsiteY621" fmla="*/ 307284 h 455471"/>
                  <a:gd name="connsiteX622" fmla="*/ 332134 w 332891"/>
                  <a:gd name="connsiteY622" fmla="*/ 305163 h 45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Lst>
                <a:rect l="l" t="t" r="r" b="b"/>
                <a:pathLst>
                  <a:path w="332891" h="455471">
                    <a:moveTo>
                      <a:pt x="24546" y="271676"/>
                    </a:moveTo>
                    <a:lnTo>
                      <a:pt x="25304" y="271070"/>
                    </a:lnTo>
                    <a:lnTo>
                      <a:pt x="25152" y="269404"/>
                    </a:lnTo>
                    <a:lnTo>
                      <a:pt x="24698" y="268646"/>
                    </a:lnTo>
                    <a:lnTo>
                      <a:pt x="23637" y="268343"/>
                    </a:lnTo>
                    <a:lnTo>
                      <a:pt x="22728" y="269404"/>
                    </a:lnTo>
                    <a:lnTo>
                      <a:pt x="23183" y="270767"/>
                    </a:lnTo>
                    <a:lnTo>
                      <a:pt x="24546" y="271676"/>
                    </a:lnTo>
                    <a:close/>
                    <a:moveTo>
                      <a:pt x="332134" y="305163"/>
                    </a:moveTo>
                    <a:lnTo>
                      <a:pt x="332436" y="303344"/>
                    </a:lnTo>
                    <a:lnTo>
                      <a:pt x="331224" y="300617"/>
                    </a:lnTo>
                    <a:lnTo>
                      <a:pt x="330467" y="297738"/>
                    </a:lnTo>
                    <a:lnTo>
                      <a:pt x="329861" y="296678"/>
                    </a:lnTo>
                    <a:lnTo>
                      <a:pt x="329709" y="294556"/>
                    </a:lnTo>
                    <a:lnTo>
                      <a:pt x="328194" y="290617"/>
                    </a:lnTo>
                    <a:lnTo>
                      <a:pt x="326982" y="287435"/>
                    </a:lnTo>
                    <a:lnTo>
                      <a:pt x="325770" y="285768"/>
                    </a:lnTo>
                    <a:lnTo>
                      <a:pt x="326224" y="284404"/>
                    </a:lnTo>
                    <a:lnTo>
                      <a:pt x="325770" y="283041"/>
                    </a:lnTo>
                    <a:lnTo>
                      <a:pt x="324860" y="281980"/>
                    </a:lnTo>
                    <a:lnTo>
                      <a:pt x="323497" y="278343"/>
                    </a:lnTo>
                    <a:lnTo>
                      <a:pt x="323951" y="276828"/>
                    </a:lnTo>
                    <a:lnTo>
                      <a:pt x="323648" y="275313"/>
                    </a:lnTo>
                    <a:lnTo>
                      <a:pt x="322436" y="274252"/>
                    </a:lnTo>
                    <a:lnTo>
                      <a:pt x="320769" y="273040"/>
                    </a:lnTo>
                    <a:lnTo>
                      <a:pt x="318648" y="270616"/>
                    </a:lnTo>
                    <a:lnTo>
                      <a:pt x="316072" y="268343"/>
                    </a:lnTo>
                    <a:lnTo>
                      <a:pt x="314708" y="267434"/>
                    </a:lnTo>
                    <a:lnTo>
                      <a:pt x="313799" y="267131"/>
                    </a:lnTo>
                    <a:lnTo>
                      <a:pt x="313042" y="265010"/>
                    </a:lnTo>
                    <a:lnTo>
                      <a:pt x="312436" y="264404"/>
                    </a:lnTo>
                    <a:lnTo>
                      <a:pt x="311072" y="264252"/>
                    </a:lnTo>
                    <a:lnTo>
                      <a:pt x="308345" y="263343"/>
                    </a:lnTo>
                    <a:lnTo>
                      <a:pt x="305769" y="264404"/>
                    </a:lnTo>
                    <a:lnTo>
                      <a:pt x="305769" y="262737"/>
                    </a:lnTo>
                    <a:lnTo>
                      <a:pt x="306526" y="261676"/>
                    </a:lnTo>
                    <a:lnTo>
                      <a:pt x="315315" y="253645"/>
                    </a:lnTo>
                    <a:lnTo>
                      <a:pt x="319709" y="250009"/>
                    </a:lnTo>
                    <a:lnTo>
                      <a:pt x="320163" y="249403"/>
                    </a:lnTo>
                    <a:lnTo>
                      <a:pt x="320618" y="248494"/>
                    </a:lnTo>
                    <a:lnTo>
                      <a:pt x="320921" y="247282"/>
                    </a:lnTo>
                    <a:lnTo>
                      <a:pt x="319860" y="245918"/>
                    </a:lnTo>
                    <a:lnTo>
                      <a:pt x="315769" y="239706"/>
                    </a:lnTo>
                    <a:lnTo>
                      <a:pt x="314406" y="238493"/>
                    </a:lnTo>
                    <a:lnTo>
                      <a:pt x="313042" y="237584"/>
                    </a:lnTo>
                    <a:lnTo>
                      <a:pt x="311375" y="235008"/>
                    </a:lnTo>
                    <a:lnTo>
                      <a:pt x="309405" y="228948"/>
                    </a:lnTo>
                    <a:lnTo>
                      <a:pt x="308042" y="225917"/>
                    </a:lnTo>
                    <a:lnTo>
                      <a:pt x="307587" y="223644"/>
                    </a:lnTo>
                    <a:lnTo>
                      <a:pt x="307739" y="221069"/>
                    </a:lnTo>
                    <a:lnTo>
                      <a:pt x="307284" y="219099"/>
                    </a:lnTo>
                    <a:lnTo>
                      <a:pt x="306223" y="217735"/>
                    </a:lnTo>
                    <a:lnTo>
                      <a:pt x="306223" y="213341"/>
                    </a:lnTo>
                    <a:lnTo>
                      <a:pt x="307284" y="206068"/>
                    </a:lnTo>
                    <a:lnTo>
                      <a:pt x="307587" y="200613"/>
                    </a:lnTo>
                    <a:lnTo>
                      <a:pt x="306981" y="196825"/>
                    </a:lnTo>
                    <a:lnTo>
                      <a:pt x="308042" y="193947"/>
                    </a:lnTo>
                    <a:lnTo>
                      <a:pt x="310618" y="191977"/>
                    </a:lnTo>
                    <a:lnTo>
                      <a:pt x="311981" y="188946"/>
                    </a:lnTo>
                    <a:lnTo>
                      <a:pt x="312284" y="184855"/>
                    </a:lnTo>
                    <a:lnTo>
                      <a:pt x="313799" y="181522"/>
                    </a:lnTo>
                    <a:lnTo>
                      <a:pt x="316527" y="178946"/>
                    </a:lnTo>
                    <a:lnTo>
                      <a:pt x="317436" y="176370"/>
                    </a:lnTo>
                    <a:lnTo>
                      <a:pt x="316527" y="173794"/>
                    </a:lnTo>
                    <a:lnTo>
                      <a:pt x="316224" y="172128"/>
                    </a:lnTo>
                    <a:lnTo>
                      <a:pt x="313799" y="170461"/>
                    </a:lnTo>
                    <a:lnTo>
                      <a:pt x="309405" y="169249"/>
                    </a:lnTo>
                    <a:lnTo>
                      <a:pt x="305769" y="169097"/>
                    </a:lnTo>
                    <a:lnTo>
                      <a:pt x="303648" y="170461"/>
                    </a:lnTo>
                    <a:lnTo>
                      <a:pt x="298041" y="171673"/>
                    </a:lnTo>
                    <a:lnTo>
                      <a:pt x="289102" y="172733"/>
                    </a:lnTo>
                    <a:lnTo>
                      <a:pt x="281829" y="172733"/>
                    </a:lnTo>
                    <a:lnTo>
                      <a:pt x="276374" y="171673"/>
                    </a:lnTo>
                    <a:lnTo>
                      <a:pt x="272131" y="171976"/>
                    </a:lnTo>
                    <a:lnTo>
                      <a:pt x="269252" y="173794"/>
                    </a:lnTo>
                    <a:lnTo>
                      <a:pt x="267283" y="174249"/>
                    </a:lnTo>
                    <a:lnTo>
                      <a:pt x="266070" y="173188"/>
                    </a:lnTo>
                    <a:lnTo>
                      <a:pt x="264858" y="172885"/>
                    </a:lnTo>
                    <a:lnTo>
                      <a:pt x="262888" y="173491"/>
                    </a:lnTo>
                    <a:lnTo>
                      <a:pt x="262586" y="173188"/>
                    </a:lnTo>
                    <a:lnTo>
                      <a:pt x="258343" y="168036"/>
                    </a:lnTo>
                    <a:lnTo>
                      <a:pt x="254403" y="163339"/>
                    </a:lnTo>
                    <a:lnTo>
                      <a:pt x="249858" y="157733"/>
                    </a:lnTo>
                    <a:lnTo>
                      <a:pt x="244706" y="151218"/>
                    </a:lnTo>
                    <a:lnTo>
                      <a:pt x="243797" y="150763"/>
                    </a:lnTo>
                    <a:lnTo>
                      <a:pt x="242130" y="150763"/>
                    </a:lnTo>
                    <a:lnTo>
                      <a:pt x="240009" y="150914"/>
                    </a:lnTo>
                    <a:lnTo>
                      <a:pt x="236675" y="150308"/>
                    </a:lnTo>
                    <a:lnTo>
                      <a:pt x="234403" y="149399"/>
                    </a:lnTo>
                    <a:lnTo>
                      <a:pt x="232584" y="148490"/>
                    </a:lnTo>
                    <a:lnTo>
                      <a:pt x="229251" y="147278"/>
                    </a:lnTo>
                    <a:lnTo>
                      <a:pt x="226978" y="147126"/>
                    </a:lnTo>
                    <a:lnTo>
                      <a:pt x="225008" y="147430"/>
                    </a:lnTo>
                    <a:lnTo>
                      <a:pt x="219402" y="149702"/>
                    </a:lnTo>
                    <a:lnTo>
                      <a:pt x="216220" y="149854"/>
                    </a:lnTo>
                    <a:lnTo>
                      <a:pt x="213796" y="149854"/>
                    </a:lnTo>
                    <a:lnTo>
                      <a:pt x="207280" y="148793"/>
                    </a:lnTo>
                    <a:lnTo>
                      <a:pt x="202735" y="148642"/>
                    </a:lnTo>
                    <a:lnTo>
                      <a:pt x="197583" y="149399"/>
                    </a:lnTo>
                    <a:lnTo>
                      <a:pt x="195310" y="149854"/>
                    </a:lnTo>
                    <a:lnTo>
                      <a:pt x="192128" y="148642"/>
                    </a:lnTo>
                    <a:lnTo>
                      <a:pt x="190007" y="146824"/>
                    </a:lnTo>
                    <a:lnTo>
                      <a:pt x="188037" y="142581"/>
                    </a:lnTo>
                    <a:lnTo>
                      <a:pt x="186673" y="139248"/>
                    </a:lnTo>
                    <a:lnTo>
                      <a:pt x="184249" y="138641"/>
                    </a:lnTo>
                    <a:lnTo>
                      <a:pt x="181522" y="138035"/>
                    </a:lnTo>
                    <a:lnTo>
                      <a:pt x="180158" y="136975"/>
                    </a:lnTo>
                    <a:lnTo>
                      <a:pt x="179401" y="135005"/>
                    </a:lnTo>
                    <a:lnTo>
                      <a:pt x="179249" y="132581"/>
                    </a:lnTo>
                    <a:lnTo>
                      <a:pt x="179552" y="128641"/>
                    </a:lnTo>
                    <a:lnTo>
                      <a:pt x="179855" y="127277"/>
                    </a:lnTo>
                    <a:lnTo>
                      <a:pt x="180158" y="123035"/>
                    </a:lnTo>
                    <a:lnTo>
                      <a:pt x="181673" y="120762"/>
                    </a:lnTo>
                    <a:lnTo>
                      <a:pt x="182582" y="119701"/>
                    </a:lnTo>
                    <a:lnTo>
                      <a:pt x="182431" y="117883"/>
                    </a:lnTo>
                    <a:lnTo>
                      <a:pt x="181673" y="114246"/>
                    </a:lnTo>
                    <a:lnTo>
                      <a:pt x="180916" y="111671"/>
                    </a:lnTo>
                    <a:lnTo>
                      <a:pt x="177885" y="108792"/>
                    </a:lnTo>
                    <a:lnTo>
                      <a:pt x="174097" y="105004"/>
                    </a:lnTo>
                    <a:lnTo>
                      <a:pt x="172430" y="98943"/>
                    </a:lnTo>
                    <a:lnTo>
                      <a:pt x="170461" y="91821"/>
                    </a:lnTo>
                    <a:lnTo>
                      <a:pt x="168946" y="91064"/>
                    </a:lnTo>
                    <a:lnTo>
                      <a:pt x="167582" y="91367"/>
                    </a:lnTo>
                    <a:lnTo>
                      <a:pt x="166067" y="91064"/>
                    </a:lnTo>
                    <a:lnTo>
                      <a:pt x="164703" y="88185"/>
                    </a:lnTo>
                    <a:lnTo>
                      <a:pt x="163339" y="87579"/>
                    </a:lnTo>
                    <a:lnTo>
                      <a:pt x="161218" y="88639"/>
                    </a:lnTo>
                    <a:lnTo>
                      <a:pt x="159703" y="89397"/>
                    </a:lnTo>
                    <a:lnTo>
                      <a:pt x="155763" y="90155"/>
                    </a:lnTo>
                    <a:lnTo>
                      <a:pt x="155006" y="89397"/>
                    </a:lnTo>
                    <a:lnTo>
                      <a:pt x="155309" y="88488"/>
                    </a:lnTo>
                    <a:lnTo>
                      <a:pt x="156976" y="85912"/>
                    </a:lnTo>
                    <a:lnTo>
                      <a:pt x="158945" y="82579"/>
                    </a:lnTo>
                    <a:lnTo>
                      <a:pt x="161218" y="79548"/>
                    </a:lnTo>
                    <a:lnTo>
                      <a:pt x="163339" y="76366"/>
                    </a:lnTo>
                    <a:lnTo>
                      <a:pt x="164854" y="73033"/>
                    </a:lnTo>
                    <a:lnTo>
                      <a:pt x="165915" y="66366"/>
                    </a:lnTo>
                    <a:lnTo>
                      <a:pt x="166673" y="61820"/>
                    </a:lnTo>
                    <a:lnTo>
                      <a:pt x="168642" y="53638"/>
                    </a:lnTo>
                    <a:lnTo>
                      <a:pt x="172279" y="47123"/>
                    </a:lnTo>
                    <a:lnTo>
                      <a:pt x="173643" y="44093"/>
                    </a:lnTo>
                    <a:lnTo>
                      <a:pt x="176825" y="40153"/>
                    </a:lnTo>
                    <a:lnTo>
                      <a:pt x="178340" y="38032"/>
                    </a:lnTo>
                    <a:lnTo>
                      <a:pt x="180310" y="36365"/>
                    </a:lnTo>
                    <a:lnTo>
                      <a:pt x="185764" y="34092"/>
                    </a:lnTo>
                    <a:lnTo>
                      <a:pt x="192280" y="22880"/>
                    </a:lnTo>
                    <a:lnTo>
                      <a:pt x="193795" y="21061"/>
                    </a:lnTo>
                    <a:lnTo>
                      <a:pt x="200310" y="19395"/>
                    </a:lnTo>
                    <a:lnTo>
                      <a:pt x="205310" y="18031"/>
                    </a:lnTo>
                    <a:lnTo>
                      <a:pt x="209098" y="16667"/>
                    </a:lnTo>
                    <a:lnTo>
                      <a:pt x="210311" y="15910"/>
                    </a:lnTo>
                    <a:lnTo>
                      <a:pt x="211220" y="15607"/>
                    </a:lnTo>
                    <a:lnTo>
                      <a:pt x="212129" y="14091"/>
                    </a:lnTo>
                    <a:lnTo>
                      <a:pt x="216220" y="10606"/>
                    </a:lnTo>
                    <a:lnTo>
                      <a:pt x="215765" y="7424"/>
                    </a:lnTo>
                    <a:lnTo>
                      <a:pt x="212887" y="2727"/>
                    </a:lnTo>
                    <a:lnTo>
                      <a:pt x="206523" y="0"/>
                    </a:lnTo>
                    <a:lnTo>
                      <a:pt x="203644" y="0"/>
                    </a:lnTo>
                    <a:lnTo>
                      <a:pt x="200462" y="455"/>
                    </a:lnTo>
                    <a:lnTo>
                      <a:pt x="194856" y="3485"/>
                    </a:lnTo>
                    <a:lnTo>
                      <a:pt x="194553" y="4546"/>
                    </a:lnTo>
                    <a:lnTo>
                      <a:pt x="193492" y="5455"/>
                    </a:lnTo>
                    <a:lnTo>
                      <a:pt x="191219" y="5455"/>
                    </a:lnTo>
                    <a:lnTo>
                      <a:pt x="188946" y="6818"/>
                    </a:lnTo>
                    <a:lnTo>
                      <a:pt x="188189" y="10303"/>
                    </a:lnTo>
                    <a:lnTo>
                      <a:pt x="185158" y="15000"/>
                    </a:lnTo>
                    <a:lnTo>
                      <a:pt x="180461" y="17425"/>
                    </a:lnTo>
                    <a:lnTo>
                      <a:pt x="172885" y="19849"/>
                    </a:lnTo>
                    <a:lnTo>
                      <a:pt x="156672" y="31365"/>
                    </a:lnTo>
                    <a:lnTo>
                      <a:pt x="146672" y="31971"/>
                    </a:lnTo>
                    <a:lnTo>
                      <a:pt x="143490" y="31819"/>
                    </a:lnTo>
                    <a:lnTo>
                      <a:pt x="140308" y="30910"/>
                    </a:lnTo>
                    <a:lnTo>
                      <a:pt x="136217" y="30001"/>
                    </a:lnTo>
                    <a:lnTo>
                      <a:pt x="133944" y="30607"/>
                    </a:lnTo>
                    <a:lnTo>
                      <a:pt x="132429" y="32122"/>
                    </a:lnTo>
                    <a:lnTo>
                      <a:pt x="131974" y="36517"/>
                    </a:lnTo>
                    <a:lnTo>
                      <a:pt x="129702" y="40759"/>
                    </a:lnTo>
                    <a:lnTo>
                      <a:pt x="128338" y="44547"/>
                    </a:lnTo>
                    <a:lnTo>
                      <a:pt x="126974" y="45911"/>
                    </a:lnTo>
                    <a:lnTo>
                      <a:pt x="125308" y="45305"/>
                    </a:lnTo>
                    <a:lnTo>
                      <a:pt x="123792" y="43183"/>
                    </a:lnTo>
                    <a:lnTo>
                      <a:pt x="124398" y="41214"/>
                    </a:lnTo>
                    <a:lnTo>
                      <a:pt x="126671" y="40305"/>
                    </a:lnTo>
                    <a:lnTo>
                      <a:pt x="128186" y="40153"/>
                    </a:lnTo>
                    <a:lnTo>
                      <a:pt x="128793" y="39547"/>
                    </a:lnTo>
                    <a:lnTo>
                      <a:pt x="125459" y="39698"/>
                    </a:lnTo>
                    <a:lnTo>
                      <a:pt x="114853" y="36365"/>
                    </a:lnTo>
                    <a:lnTo>
                      <a:pt x="112731" y="37729"/>
                    </a:lnTo>
                    <a:lnTo>
                      <a:pt x="107277" y="42880"/>
                    </a:lnTo>
                    <a:lnTo>
                      <a:pt x="103792" y="45305"/>
                    </a:lnTo>
                    <a:lnTo>
                      <a:pt x="102883" y="46820"/>
                    </a:lnTo>
                    <a:lnTo>
                      <a:pt x="98337" y="50002"/>
                    </a:lnTo>
                    <a:lnTo>
                      <a:pt x="97125" y="52275"/>
                    </a:lnTo>
                    <a:lnTo>
                      <a:pt x="95458" y="57729"/>
                    </a:lnTo>
                    <a:lnTo>
                      <a:pt x="92276" y="61366"/>
                    </a:lnTo>
                    <a:lnTo>
                      <a:pt x="91215" y="62881"/>
                    </a:lnTo>
                    <a:lnTo>
                      <a:pt x="93034" y="62123"/>
                    </a:lnTo>
                    <a:lnTo>
                      <a:pt x="95306" y="60305"/>
                    </a:lnTo>
                    <a:lnTo>
                      <a:pt x="95913" y="61214"/>
                    </a:lnTo>
                    <a:lnTo>
                      <a:pt x="94397" y="63336"/>
                    </a:lnTo>
                    <a:lnTo>
                      <a:pt x="94549" y="66972"/>
                    </a:lnTo>
                    <a:lnTo>
                      <a:pt x="93337" y="71366"/>
                    </a:lnTo>
                    <a:lnTo>
                      <a:pt x="92125" y="74245"/>
                    </a:lnTo>
                    <a:lnTo>
                      <a:pt x="93337" y="76215"/>
                    </a:lnTo>
                    <a:lnTo>
                      <a:pt x="94246" y="79548"/>
                    </a:lnTo>
                    <a:lnTo>
                      <a:pt x="93337" y="81973"/>
                    </a:lnTo>
                    <a:lnTo>
                      <a:pt x="90155" y="82882"/>
                    </a:lnTo>
                    <a:lnTo>
                      <a:pt x="86064" y="82427"/>
                    </a:lnTo>
                    <a:lnTo>
                      <a:pt x="82730" y="84245"/>
                    </a:lnTo>
                    <a:lnTo>
                      <a:pt x="79700" y="86973"/>
                    </a:lnTo>
                    <a:lnTo>
                      <a:pt x="75760" y="94549"/>
                    </a:lnTo>
                    <a:lnTo>
                      <a:pt x="64548" y="102579"/>
                    </a:lnTo>
                    <a:lnTo>
                      <a:pt x="61517" y="104095"/>
                    </a:lnTo>
                    <a:lnTo>
                      <a:pt x="59244" y="104701"/>
                    </a:lnTo>
                    <a:lnTo>
                      <a:pt x="58335" y="105913"/>
                    </a:lnTo>
                    <a:lnTo>
                      <a:pt x="59699" y="107580"/>
                    </a:lnTo>
                    <a:lnTo>
                      <a:pt x="61214" y="108943"/>
                    </a:lnTo>
                    <a:lnTo>
                      <a:pt x="62426" y="113186"/>
                    </a:lnTo>
                    <a:lnTo>
                      <a:pt x="63184" y="121671"/>
                    </a:lnTo>
                    <a:lnTo>
                      <a:pt x="61972" y="123641"/>
                    </a:lnTo>
                    <a:lnTo>
                      <a:pt x="59699" y="123944"/>
                    </a:lnTo>
                    <a:lnTo>
                      <a:pt x="58942" y="123338"/>
                    </a:lnTo>
                    <a:lnTo>
                      <a:pt x="58184" y="122429"/>
                    </a:lnTo>
                    <a:lnTo>
                      <a:pt x="58487" y="120762"/>
                    </a:lnTo>
                    <a:lnTo>
                      <a:pt x="59699" y="120004"/>
                    </a:lnTo>
                    <a:lnTo>
                      <a:pt x="60154" y="119247"/>
                    </a:lnTo>
                    <a:lnTo>
                      <a:pt x="59093" y="118186"/>
                    </a:lnTo>
                    <a:lnTo>
                      <a:pt x="57881" y="117731"/>
                    </a:lnTo>
                    <a:lnTo>
                      <a:pt x="56366" y="114853"/>
                    </a:lnTo>
                    <a:lnTo>
                      <a:pt x="52578" y="110762"/>
                    </a:lnTo>
                    <a:lnTo>
                      <a:pt x="48941" y="108186"/>
                    </a:lnTo>
                    <a:lnTo>
                      <a:pt x="46668" y="104246"/>
                    </a:lnTo>
                    <a:lnTo>
                      <a:pt x="45911" y="103640"/>
                    </a:lnTo>
                    <a:lnTo>
                      <a:pt x="45456" y="103943"/>
                    </a:lnTo>
                    <a:lnTo>
                      <a:pt x="43941" y="106064"/>
                    </a:lnTo>
                    <a:lnTo>
                      <a:pt x="43183" y="107883"/>
                    </a:lnTo>
                    <a:lnTo>
                      <a:pt x="45153" y="109852"/>
                    </a:lnTo>
                    <a:lnTo>
                      <a:pt x="45759" y="111974"/>
                    </a:lnTo>
                    <a:lnTo>
                      <a:pt x="46820" y="114246"/>
                    </a:lnTo>
                    <a:lnTo>
                      <a:pt x="48487" y="116519"/>
                    </a:lnTo>
                    <a:lnTo>
                      <a:pt x="50456" y="120762"/>
                    </a:lnTo>
                    <a:lnTo>
                      <a:pt x="50911" y="122429"/>
                    </a:lnTo>
                    <a:lnTo>
                      <a:pt x="50305" y="123489"/>
                    </a:lnTo>
                    <a:lnTo>
                      <a:pt x="48487" y="124095"/>
                    </a:lnTo>
                    <a:lnTo>
                      <a:pt x="46820" y="126065"/>
                    </a:lnTo>
                    <a:lnTo>
                      <a:pt x="46365" y="128489"/>
                    </a:lnTo>
                    <a:lnTo>
                      <a:pt x="46668" y="129702"/>
                    </a:lnTo>
                    <a:lnTo>
                      <a:pt x="41517" y="133490"/>
                    </a:lnTo>
                    <a:lnTo>
                      <a:pt x="40153" y="134096"/>
                    </a:lnTo>
                    <a:lnTo>
                      <a:pt x="39244" y="133490"/>
                    </a:lnTo>
                    <a:lnTo>
                      <a:pt x="38183" y="131520"/>
                    </a:lnTo>
                    <a:lnTo>
                      <a:pt x="36819" y="130005"/>
                    </a:lnTo>
                    <a:lnTo>
                      <a:pt x="36062" y="129399"/>
                    </a:lnTo>
                    <a:lnTo>
                      <a:pt x="35607" y="129399"/>
                    </a:lnTo>
                    <a:lnTo>
                      <a:pt x="35153" y="129702"/>
                    </a:lnTo>
                    <a:lnTo>
                      <a:pt x="35001" y="130611"/>
                    </a:lnTo>
                    <a:lnTo>
                      <a:pt x="35607" y="134247"/>
                    </a:lnTo>
                    <a:lnTo>
                      <a:pt x="35001" y="135762"/>
                    </a:lnTo>
                    <a:lnTo>
                      <a:pt x="33335" y="136823"/>
                    </a:lnTo>
                    <a:lnTo>
                      <a:pt x="31365" y="142732"/>
                    </a:lnTo>
                    <a:lnTo>
                      <a:pt x="34092" y="145308"/>
                    </a:lnTo>
                    <a:lnTo>
                      <a:pt x="37426" y="150157"/>
                    </a:lnTo>
                    <a:lnTo>
                      <a:pt x="38335" y="152581"/>
                    </a:lnTo>
                    <a:lnTo>
                      <a:pt x="39547" y="153490"/>
                    </a:lnTo>
                    <a:lnTo>
                      <a:pt x="41668" y="157430"/>
                    </a:lnTo>
                    <a:lnTo>
                      <a:pt x="44092" y="157581"/>
                    </a:lnTo>
                    <a:lnTo>
                      <a:pt x="46062" y="160763"/>
                    </a:lnTo>
                    <a:lnTo>
                      <a:pt x="46365" y="162733"/>
                    </a:lnTo>
                    <a:lnTo>
                      <a:pt x="45305" y="168945"/>
                    </a:lnTo>
                    <a:lnTo>
                      <a:pt x="44092" y="169097"/>
                    </a:lnTo>
                    <a:lnTo>
                      <a:pt x="43183" y="168642"/>
                    </a:lnTo>
                    <a:lnTo>
                      <a:pt x="43335" y="171673"/>
                    </a:lnTo>
                    <a:lnTo>
                      <a:pt x="46820" y="176673"/>
                    </a:lnTo>
                    <a:lnTo>
                      <a:pt x="49396" y="182582"/>
                    </a:lnTo>
                    <a:lnTo>
                      <a:pt x="47274" y="185461"/>
                    </a:lnTo>
                    <a:lnTo>
                      <a:pt x="41517" y="189249"/>
                    </a:lnTo>
                    <a:lnTo>
                      <a:pt x="45153" y="192583"/>
                    </a:lnTo>
                    <a:lnTo>
                      <a:pt x="45911" y="195158"/>
                    </a:lnTo>
                    <a:lnTo>
                      <a:pt x="46365" y="198189"/>
                    </a:lnTo>
                    <a:lnTo>
                      <a:pt x="46214" y="201977"/>
                    </a:lnTo>
                    <a:lnTo>
                      <a:pt x="46971" y="208492"/>
                    </a:lnTo>
                    <a:lnTo>
                      <a:pt x="47880" y="210008"/>
                    </a:lnTo>
                    <a:lnTo>
                      <a:pt x="48487" y="211674"/>
                    </a:lnTo>
                    <a:lnTo>
                      <a:pt x="47729" y="215159"/>
                    </a:lnTo>
                    <a:lnTo>
                      <a:pt x="47274" y="218341"/>
                    </a:lnTo>
                    <a:lnTo>
                      <a:pt x="46517" y="220463"/>
                    </a:lnTo>
                    <a:lnTo>
                      <a:pt x="44850" y="221826"/>
                    </a:lnTo>
                    <a:lnTo>
                      <a:pt x="43941" y="223038"/>
                    </a:lnTo>
                    <a:lnTo>
                      <a:pt x="41971" y="224251"/>
                    </a:lnTo>
                    <a:lnTo>
                      <a:pt x="41820" y="225463"/>
                    </a:lnTo>
                    <a:lnTo>
                      <a:pt x="44850" y="224554"/>
                    </a:lnTo>
                    <a:lnTo>
                      <a:pt x="45002" y="225766"/>
                    </a:lnTo>
                    <a:lnTo>
                      <a:pt x="44244" y="227736"/>
                    </a:lnTo>
                    <a:lnTo>
                      <a:pt x="44395" y="229705"/>
                    </a:lnTo>
                    <a:lnTo>
                      <a:pt x="46214" y="232887"/>
                    </a:lnTo>
                    <a:lnTo>
                      <a:pt x="48335" y="229857"/>
                    </a:lnTo>
                    <a:lnTo>
                      <a:pt x="49093" y="230311"/>
                    </a:lnTo>
                    <a:lnTo>
                      <a:pt x="48638" y="234403"/>
                    </a:lnTo>
                    <a:lnTo>
                      <a:pt x="50002" y="235160"/>
                    </a:lnTo>
                    <a:lnTo>
                      <a:pt x="51214" y="235312"/>
                    </a:lnTo>
                    <a:lnTo>
                      <a:pt x="52275" y="234099"/>
                    </a:lnTo>
                    <a:lnTo>
                      <a:pt x="53638" y="233948"/>
                    </a:lnTo>
                    <a:lnTo>
                      <a:pt x="49093" y="242888"/>
                    </a:lnTo>
                    <a:lnTo>
                      <a:pt x="46820" y="245918"/>
                    </a:lnTo>
                    <a:lnTo>
                      <a:pt x="45911" y="249403"/>
                    </a:lnTo>
                    <a:lnTo>
                      <a:pt x="44244" y="249555"/>
                    </a:lnTo>
                    <a:lnTo>
                      <a:pt x="42729" y="252434"/>
                    </a:lnTo>
                    <a:lnTo>
                      <a:pt x="41365" y="254403"/>
                    </a:lnTo>
                    <a:lnTo>
                      <a:pt x="40304" y="256676"/>
                    </a:lnTo>
                    <a:lnTo>
                      <a:pt x="38335" y="257282"/>
                    </a:lnTo>
                    <a:lnTo>
                      <a:pt x="36668" y="257585"/>
                    </a:lnTo>
                    <a:lnTo>
                      <a:pt x="36516" y="258494"/>
                    </a:lnTo>
                    <a:lnTo>
                      <a:pt x="37274" y="260919"/>
                    </a:lnTo>
                    <a:lnTo>
                      <a:pt x="37274" y="261979"/>
                    </a:lnTo>
                    <a:lnTo>
                      <a:pt x="34395" y="264404"/>
                    </a:lnTo>
                    <a:lnTo>
                      <a:pt x="33486" y="265464"/>
                    </a:lnTo>
                    <a:lnTo>
                      <a:pt x="33335" y="266222"/>
                    </a:lnTo>
                    <a:lnTo>
                      <a:pt x="31668" y="265919"/>
                    </a:lnTo>
                    <a:lnTo>
                      <a:pt x="30910" y="266676"/>
                    </a:lnTo>
                    <a:lnTo>
                      <a:pt x="30001" y="268495"/>
                    </a:lnTo>
                    <a:lnTo>
                      <a:pt x="28486" y="270161"/>
                    </a:lnTo>
                    <a:lnTo>
                      <a:pt x="27274" y="270919"/>
                    </a:lnTo>
                    <a:lnTo>
                      <a:pt x="26213" y="271828"/>
                    </a:lnTo>
                    <a:lnTo>
                      <a:pt x="24698" y="272434"/>
                    </a:lnTo>
                    <a:lnTo>
                      <a:pt x="19849" y="271828"/>
                    </a:lnTo>
                    <a:lnTo>
                      <a:pt x="18637" y="273192"/>
                    </a:lnTo>
                    <a:lnTo>
                      <a:pt x="16667" y="272586"/>
                    </a:lnTo>
                    <a:lnTo>
                      <a:pt x="15455" y="272889"/>
                    </a:lnTo>
                    <a:lnTo>
                      <a:pt x="13485" y="274101"/>
                    </a:lnTo>
                    <a:lnTo>
                      <a:pt x="11970" y="275919"/>
                    </a:lnTo>
                    <a:lnTo>
                      <a:pt x="11212" y="277283"/>
                    </a:lnTo>
                    <a:lnTo>
                      <a:pt x="10910" y="284101"/>
                    </a:lnTo>
                    <a:lnTo>
                      <a:pt x="13031" y="287738"/>
                    </a:lnTo>
                    <a:lnTo>
                      <a:pt x="12273" y="291829"/>
                    </a:lnTo>
                    <a:lnTo>
                      <a:pt x="6364" y="289859"/>
                    </a:lnTo>
                    <a:lnTo>
                      <a:pt x="1818" y="292435"/>
                    </a:lnTo>
                    <a:lnTo>
                      <a:pt x="0" y="295920"/>
                    </a:lnTo>
                    <a:lnTo>
                      <a:pt x="3788" y="298647"/>
                    </a:lnTo>
                    <a:lnTo>
                      <a:pt x="4545" y="300466"/>
                    </a:lnTo>
                    <a:lnTo>
                      <a:pt x="5455" y="301072"/>
                    </a:lnTo>
                    <a:lnTo>
                      <a:pt x="8031" y="303193"/>
                    </a:lnTo>
                    <a:lnTo>
                      <a:pt x="9546" y="305314"/>
                    </a:lnTo>
                    <a:lnTo>
                      <a:pt x="12121" y="306526"/>
                    </a:lnTo>
                    <a:lnTo>
                      <a:pt x="14243" y="307587"/>
                    </a:lnTo>
                    <a:lnTo>
                      <a:pt x="19698" y="311678"/>
                    </a:lnTo>
                    <a:lnTo>
                      <a:pt x="23334" y="313799"/>
                    </a:lnTo>
                    <a:lnTo>
                      <a:pt x="27274" y="315769"/>
                    </a:lnTo>
                    <a:lnTo>
                      <a:pt x="32880" y="317739"/>
                    </a:lnTo>
                    <a:lnTo>
                      <a:pt x="36365" y="317436"/>
                    </a:lnTo>
                    <a:lnTo>
                      <a:pt x="37123" y="318951"/>
                    </a:lnTo>
                    <a:lnTo>
                      <a:pt x="37729" y="320618"/>
                    </a:lnTo>
                    <a:lnTo>
                      <a:pt x="39092" y="321527"/>
                    </a:lnTo>
                    <a:lnTo>
                      <a:pt x="41214" y="322284"/>
                    </a:lnTo>
                    <a:lnTo>
                      <a:pt x="42426" y="322587"/>
                    </a:lnTo>
                    <a:lnTo>
                      <a:pt x="42729" y="323042"/>
                    </a:lnTo>
                    <a:lnTo>
                      <a:pt x="43941" y="328800"/>
                    </a:lnTo>
                    <a:lnTo>
                      <a:pt x="44699" y="329709"/>
                    </a:lnTo>
                    <a:lnTo>
                      <a:pt x="47578" y="330618"/>
                    </a:lnTo>
                    <a:lnTo>
                      <a:pt x="51062" y="330921"/>
                    </a:lnTo>
                    <a:lnTo>
                      <a:pt x="52426" y="330770"/>
                    </a:lnTo>
                    <a:lnTo>
                      <a:pt x="55456" y="332436"/>
                    </a:lnTo>
                    <a:lnTo>
                      <a:pt x="57729" y="333194"/>
                    </a:lnTo>
                    <a:lnTo>
                      <a:pt x="60154" y="333800"/>
                    </a:lnTo>
                    <a:lnTo>
                      <a:pt x="61821" y="333951"/>
                    </a:lnTo>
                    <a:lnTo>
                      <a:pt x="62578" y="333648"/>
                    </a:lnTo>
                    <a:lnTo>
                      <a:pt x="62881" y="333042"/>
                    </a:lnTo>
                    <a:lnTo>
                      <a:pt x="64245" y="333194"/>
                    </a:lnTo>
                    <a:lnTo>
                      <a:pt x="66366" y="333951"/>
                    </a:lnTo>
                    <a:lnTo>
                      <a:pt x="69397" y="334103"/>
                    </a:lnTo>
                    <a:lnTo>
                      <a:pt x="71215" y="333346"/>
                    </a:lnTo>
                    <a:lnTo>
                      <a:pt x="71518" y="332133"/>
                    </a:lnTo>
                    <a:lnTo>
                      <a:pt x="71669" y="330163"/>
                    </a:lnTo>
                    <a:lnTo>
                      <a:pt x="72427" y="329406"/>
                    </a:lnTo>
                    <a:lnTo>
                      <a:pt x="74548" y="328194"/>
                    </a:lnTo>
                    <a:lnTo>
                      <a:pt x="75609" y="328497"/>
                    </a:lnTo>
                    <a:lnTo>
                      <a:pt x="81215" y="331073"/>
                    </a:lnTo>
                    <a:lnTo>
                      <a:pt x="82427" y="331982"/>
                    </a:lnTo>
                    <a:lnTo>
                      <a:pt x="83791" y="333800"/>
                    </a:lnTo>
                    <a:lnTo>
                      <a:pt x="86367" y="336376"/>
                    </a:lnTo>
                    <a:lnTo>
                      <a:pt x="89246" y="338043"/>
                    </a:lnTo>
                    <a:lnTo>
                      <a:pt x="93640" y="338800"/>
                    </a:lnTo>
                    <a:lnTo>
                      <a:pt x="97882" y="341528"/>
                    </a:lnTo>
                    <a:lnTo>
                      <a:pt x="102731" y="343346"/>
                    </a:lnTo>
                    <a:lnTo>
                      <a:pt x="104398" y="341528"/>
                    </a:lnTo>
                    <a:lnTo>
                      <a:pt x="105458" y="341528"/>
                    </a:lnTo>
                    <a:lnTo>
                      <a:pt x="106671" y="341831"/>
                    </a:lnTo>
                    <a:lnTo>
                      <a:pt x="108943" y="343649"/>
                    </a:lnTo>
                    <a:lnTo>
                      <a:pt x="110307" y="344710"/>
                    </a:lnTo>
                    <a:lnTo>
                      <a:pt x="111974" y="345619"/>
                    </a:lnTo>
                    <a:lnTo>
                      <a:pt x="113489" y="345922"/>
                    </a:lnTo>
                    <a:lnTo>
                      <a:pt x="114853" y="346073"/>
                    </a:lnTo>
                    <a:lnTo>
                      <a:pt x="115762" y="345922"/>
                    </a:lnTo>
                    <a:lnTo>
                      <a:pt x="116368" y="347134"/>
                    </a:lnTo>
                    <a:lnTo>
                      <a:pt x="117125" y="348649"/>
                    </a:lnTo>
                    <a:lnTo>
                      <a:pt x="118944" y="349710"/>
                    </a:lnTo>
                    <a:lnTo>
                      <a:pt x="121065" y="350619"/>
                    </a:lnTo>
                    <a:lnTo>
                      <a:pt x="122732" y="352286"/>
                    </a:lnTo>
                    <a:lnTo>
                      <a:pt x="123792" y="353346"/>
                    </a:lnTo>
                    <a:lnTo>
                      <a:pt x="125156" y="354710"/>
                    </a:lnTo>
                    <a:lnTo>
                      <a:pt x="126520" y="356376"/>
                    </a:lnTo>
                    <a:lnTo>
                      <a:pt x="127732" y="359407"/>
                    </a:lnTo>
                    <a:lnTo>
                      <a:pt x="128338" y="361377"/>
                    </a:lnTo>
                    <a:lnTo>
                      <a:pt x="128944" y="362589"/>
                    </a:lnTo>
                    <a:lnTo>
                      <a:pt x="128793" y="363801"/>
                    </a:lnTo>
                    <a:lnTo>
                      <a:pt x="130156" y="365922"/>
                    </a:lnTo>
                    <a:lnTo>
                      <a:pt x="131217" y="367135"/>
                    </a:lnTo>
                    <a:lnTo>
                      <a:pt x="133035" y="367892"/>
                    </a:lnTo>
                    <a:lnTo>
                      <a:pt x="136520" y="368801"/>
                    </a:lnTo>
                    <a:lnTo>
                      <a:pt x="138338" y="370619"/>
                    </a:lnTo>
                    <a:lnTo>
                      <a:pt x="140005" y="371377"/>
                    </a:lnTo>
                    <a:lnTo>
                      <a:pt x="141823" y="373347"/>
                    </a:lnTo>
                    <a:lnTo>
                      <a:pt x="143339" y="373953"/>
                    </a:lnTo>
                    <a:lnTo>
                      <a:pt x="145308" y="373801"/>
                    </a:lnTo>
                    <a:lnTo>
                      <a:pt x="147278" y="374711"/>
                    </a:lnTo>
                    <a:lnTo>
                      <a:pt x="148793" y="376529"/>
                    </a:lnTo>
                    <a:lnTo>
                      <a:pt x="149702" y="378802"/>
                    </a:lnTo>
                    <a:lnTo>
                      <a:pt x="151218" y="380165"/>
                    </a:lnTo>
                    <a:lnTo>
                      <a:pt x="151975" y="382590"/>
                    </a:lnTo>
                    <a:lnTo>
                      <a:pt x="151066" y="385317"/>
                    </a:lnTo>
                    <a:lnTo>
                      <a:pt x="151824" y="386832"/>
                    </a:lnTo>
                    <a:lnTo>
                      <a:pt x="153339" y="388044"/>
                    </a:lnTo>
                    <a:lnTo>
                      <a:pt x="155763" y="389257"/>
                    </a:lnTo>
                    <a:lnTo>
                      <a:pt x="158036" y="388954"/>
                    </a:lnTo>
                    <a:lnTo>
                      <a:pt x="159248" y="389408"/>
                    </a:lnTo>
                    <a:lnTo>
                      <a:pt x="160006" y="390620"/>
                    </a:lnTo>
                    <a:lnTo>
                      <a:pt x="160460" y="391984"/>
                    </a:lnTo>
                    <a:lnTo>
                      <a:pt x="161521" y="395317"/>
                    </a:lnTo>
                    <a:lnTo>
                      <a:pt x="161976" y="397439"/>
                    </a:lnTo>
                    <a:lnTo>
                      <a:pt x="161066" y="399560"/>
                    </a:lnTo>
                    <a:lnTo>
                      <a:pt x="160764" y="400924"/>
                    </a:lnTo>
                    <a:lnTo>
                      <a:pt x="161218" y="402893"/>
                    </a:lnTo>
                    <a:lnTo>
                      <a:pt x="163642" y="403803"/>
                    </a:lnTo>
                    <a:lnTo>
                      <a:pt x="165764" y="404560"/>
                    </a:lnTo>
                    <a:lnTo>
                      <a:pt x="167127" y="406075"/>
                    </a:lnTo>
                    <a:lnTo>
                      <a:pt x="168642" y="406530"/>
                    </a:lnTo>
                    <a:lnTo>
                      <a:pt x="170764" y="406378"/>
                    </a:lnTo>
                    <a:lnTo>
                      <a:pt x="173491" y="406075"/>
                    </a:lnTo>
                    <a:lnTo>
                      <a:pt x="175006" y="405166"/>
                    </a:lnTo>
                    <a:lnTo>
                      <a:pt x="175916" y="404863"/>
                    </a:lnTo>
                    <a:lnTo>
                      <a:pt x="176976" y="405166"/>
                    </a:lnTo>
                    <a:lnTo>
                      <a:pt x="179401" y="405924"/>
                    </a:lnTo>
                    <a:lnTo>
                      <a:pt x="182279" y="406833"/>
                    </a:lnTo>
                    <a:lnTo>
                      <a:pt x="184855" y="406227"/>
                    </a:lnTo>
                    <a:lnTo>
                      <a:pt x="187128" y="405924"/>
                    </a:lnTo>
                    <a:lnTo>
                      <a:pt x="189401" y="405318"/>
                    </a:lnTo>
                    <a:lnTo>
                      <a:pt x="191674" y="403803"/>
                    </a:lnTo>
                    <a:lnTo>
                      <a:pt x="193644" y="403803"/>
                    </a:lnTo>
                    <a:lnTo>
                      <a:pt x="195007" y="402742"/>
                    </a:lnTo>
                    <a:lnTo>
                      <a:pt x="196825" y="401075"/>
                    </a:lnTo>
                    <a:lnTo>
                      <a:pt x="198644" y="399409"/>
                    </a:lnTo>
                    <a:lnTo>
                      <a:pt x="200007" y="399105"/>
                    </a:lnTo>
                    <a:lnTo>
                      <a:pt x="202280" y="399863"/>
                    </a:lnTo>
                    <a:lnTo>
                      <a:pt x="205310" y="401075"/>
                    </a:lnTo>
                    <a:lnTo>
                      <a:pt x="206977" y="402590"/>
                    </a:lnTo>
                    <a:lnTo>
                      <a:pt x="208341" y="403045"/>
                    </a:lnTo>
                    <a:lnTo>
                      <a:pt x="209705" y="404106"/>
                    </a:lnTo>
                    <a:lnTo>
                      <a:pt x="212281" y="404106"/>
                    </a:lnTo>
                    <a:lnTo>
                      <a:pt x="215159" y="403499"/>
                    </a:lnTo>
                    <a:lnTo>
                      <a:pt x="217432" y="401681"/>
                    </a:lnTo>
                    <a:lnTo>
                      <a:pt x="219857" y="401075"/>
                    </a:lnTo>
                    <a:lnTo>
                      <a:pt x="221523" y="400621"/>
                    </a:lnTo>
                    <a:lnTo>
                      <a:pt x="223039" y="400924"/>
                    </a:lnTo>
                    <a:lnTo>
                      <a:pt x="228796" y="404257"/>
                    </a:lnTo>
                    <a:lnTo>
                      <a:pt x="230312" y="405924"/>
                    </a:lnTo>
                    <a:lnTo>
                      <a:pt x="232281" y="406227"/>
                    </a:lnTo>
                    <a:lnTo>
                      <a:pt x="233948" y="407136"/>
                    </a:lnTo>
                    <a:lnTo>
                      <a:pt x="236675" y="408197"/>
                    </a:lnTo>
                    <a:lnTo>
                      <a:pt x="238191" y="409257"/>
                    </a:lnTo>
                    <a:lnTo>
                      <a:pt x="240160" y="409863"/>
                    </a:lnTo>
                    <a:lnTo>
                      <a:pt x="241524" y="411379"/>
                    </a:lnTo>
                    <a:lnTo>
                      <a:pt x="243645" y="412288"/>
                    </a:lnTo>
                    <a:lnTo>
                      <a:pt x="245464" y="412742"/>
                    </a:lnTo>
                    <a:lnTo>
                      <a:pt x="246373" y="413954"/>
                    </a:lnTo>
                    <a:lnTo>
                      <a:pt x="246373" y="414712"/>
                    </a:lnTo>
                    <a:lnTo>
                      <a:pt x="246070" y="415167"/>
                    </a:lnTo>
                    <a:lnTo>
                      <a:pt x="244100" y="418197"/>
                    </a:lnTo>
                    <a:lnTo>
                      <a:pt x="240160" y="424258"/>
                    </a:lnTo>
                    <a:lnTo>
                      <a:pt x="236675" y="429713"/>
                    </a:lnTo>
                    <a:lnTo>
                      <a:pt x="231069" y="438349"/>
                    </a:lnTo>
                    <a:lnTo>
                      <a:pt x="228039" y="443198"/>
                    </a:lnTo>
                    <a:lnTo>
                      <a:pt x="228796" y="443349"/>
                    </a:lnTo>
                    <a:lnTo>
                      <a:pt x="233645" y="445471"/>
                    </a:lnTo>
                    <a:lnTo>
                      <a:pt x="234857" y="445622"/>
                    </a:lnTo>
                    <a:lnTo>
                      <a:pt x="236675" y="445016"/>
                    </a:lnTo>
                    <a:lnTo>
                      <a:pt x="237888" y="444107"/>
                    </a:lnTo>
                    <a:lnTo>
                      <a:pt x="238948" y="443956"/>
                    </a:lnTo>
                    <a:lnTo>
                      <a:pt x="240009" y="444713"/>
                    </a:lnTo>
                    <a:lnTo>
                      <a:pt x="241524" y="445774"/>
                    </a:lnTo>
                    <a:lnTo>
                      <a:pt x="242736" y="448804"/>
                    </a:lnTo>
                    <a:lnTo>
                      <a:pt x="243645" y="450319"/>
                    </a:lnTo>
                    <a:lnTo>
                      <a:pt x="245615" y="451532"/>
                    </a:lnTo>
                    <a:lnTo>
                      <a:pt x="247736" y="453501"/>
                    </a:lnTo>
                    <a:lnTo>
                      <a:pt x="249100" y="455471"/>
                    </a:lnTo>
                    <a:lnTo>
                      <a:pt x="249555" y="454562"/>
                    </a:lnTo>
                    <a:lnTo>
                      <a:pt x="250615" y="448956"/>
                    </a:lnTo>
                    <a:lnTo>
                      <a:pt x="252282" y="439865"/>
                    </a:lnTo>
                    <a:lnTo>
                      <a:pt x="253797" y="431531"/>
                    </a:lnTo>
                    <a:lnTo>
                      <a:pt x="255464" y="422288"/>
                    </a:lnTo>
                    <a:lnTo>
                      <a:pt x="257131" y="412742"/>
                    </a:lnTo>
                    <a:lnTo>
                      <a:pt x="258949" y="403197"/>
                    </a:lnTo>
                    <a:lnTo>
                      <a:pt x="260464" y="395317"/>
                    </a:lnTo>
                    <a:lnTo>
                      <a:pt x="261676" y="388499"/>
                    </a:lnTo>
                    <a:lnTo>
                      <a:pt x="262434" y="384408"/>
                    </a:lnTo>
                    <a:lnTo>
                      <a:pt x="263646" y="378953"/>
                    </a:lnTo>
                    <a:lnTo>
                      <a:pt x="264101" y="374105"/>
                    </a:lnTo>
                    <a:lnTo>
                      <a:pt x="264555" y="372741"/>
                    </a:lnTo>
                    <a:lnTo>
                      <a:pt x="264252" y="371529"/>
                    </a:lnTo>
                    <a:lnTo>
                      <a:pt x="263192" y="369862"/>
                    </a:lnTo>
                    <a:lnTo>
                      <a:pt x="263192" y="369104"/>
                    </a:lnTo>
                    <a:lnTo>
                      <a:pt x="263343" y="368195"/>
                    </a:lnTo>
                    <a:lnTo>
                      <a:pt x="263192" y="367286"/>
                    </a:lnTo>
                    <a:lnTo>
                      <a:pt x="262131" y="366377"/>
                    </a:lnTo>
                    <a:lnTo>
                      <a:pt x="261222" y="365771"/>
                    </a:lnTo>
                    <a:lnTo>
                      <a:pt x="260616" y="365013"/>
                    </a:lnTo>
                    <a:lnTo>
                      <a:pt x="260313" y="363953"/>
                    </a:lnTo>
                    <a:lnTo>
                      <a:pt x="259707" y="362892"/>
                    </a:lnTo>
                    <a:lnTo>
                      <a:pt x="259403" y="361680"/>
                    </a:lnTo>
                    <a:lnTo>
                      <a:pt x="258646" y="360771"/>
                    </a:lnTo>
                    <a:lnTo>
                      <a:pt x="258343" y="359559"/>
                    </a:lnTo>
                    <a:lnTo>
                      <a:pt x="258949" y="358498"/>
                    </a:lnTo>
                    <a:lnTo>
                      <a:pt x="259252" y="357286"/>
                    </a:lnTo>
                    <a:lnTo>
                      <a:pt x="258949" y="356225"/>
                    </a:lnTo>
                    <a:lnTo>
                      <a:pt x="258646" y="355013"/>
                    </a:lnTo>
                    <a:lnTo>
                      <a:pt x="258040" y="353801"/>
                    </a:lnTo>
                    <a:lnTo>
                      <a:pt x="257131" y="353043"/>
                    </a:lnTo>
                    <a:lnTo>
                      <a:pt x="255009" y="352286"/>
                    </a:lnTo>
                    <a:lnTo>
                      <a:pt x="252737" y="350316"/>
                    </a:lnTo>
                    <a:lnTo>
                      <a:pt x="250161" y="348649"/>
                    </a:lnTo>
                    <a:lnTo>
                      <a:pt x="246827" y="345316"/>
                    </a:lnTo>
                    <a:lnTo>
                      <a:pt x="246070" y="343800"/>
                    </a:lnTo>
                    <a:lnTo>
                      <a:pt x="246070" y="339558"/>
                    </a:lnTo>
                    <a:lnTo>
                      <a:pt x="246221" y="334861"/>
                    </a:lnTo>
                    <a:lnTo>
                      <a:pt x="246373" y="327891"/>
                    </a:lnTo>
                    <a:lnTo>
                      <a:pt x="246524" y="324254"/>
                    </a:lnTo>
                    <a:lnTo>
                      <a:pt x="248343" y="324103"/>
                    </a:lnTo>
                    <a:lnTo>
                      <a:pt x="250009" y="323951"/>
                    </a:lnTo>
                    <a:lnTo>
                      <a:pt x="251676" y="323648"/>
                    </a:lnTo>
                    <a:lnTo>
                      <a:pt x="253191" y="323345"/>
                    </a:lnTo>
                    <a:lnTo>
                      <a:pt x="254555" y="322891"/>
                    </a:lnTo>
                    <a:lnTo>
                      <a:pt x="255615" y="322284"/>
                    </a:lnTo>
                    <a:lnTo>
                      <a:pt x="256828" y="321830"/>
                    </a:lnTo>
                    <a:lnTo>
                      <a:pt x="257737" y="321981"/>
                    </a:lnTo>
                    <a:lnTo>
                      <a:pt x="258646" y="321375"/>
                    </a:lnTo>
                    <a:lnTo>
                      <a:pt x="259707" y="320769"/>
                    </a:lnTo>
                    <a:lnTo>
                      <a:pt x="260767" y="320315"/>
                    </a:lnTo>
                    <a:lnTo>
                      <a:pt x="262282" y="320012"/>
                    </a:lnTo>
                    <a:lnTo>
                      <a:pt x="263646" y="320921"/>
                    </a:lnTo>
                    <a:lnTo>
                      <a:pt x="264404" y="321830"/>
                    </a:lnTo>
                    <a:lnTo>
                      <a:pt x="265313" y="322284"/>
                    </a:lnTo>
                    <a:lnTo>
                      <a:pt x="266222" y="322133"/>
                    </a:lnTo>
                    <a:lnTo>
                      <a:pt x="266828" y="322133"/>
                    </a:lnTo>
                    <a:lnTo>
                      <a:pt x="267434" y="322891"/>
                    </a:lnTo>
                    <a:lnTo>
                      <a:pt x="268192" y="322891"/>
                    </a:lnTo>
                    <a:lnTo>
                      <a:pt x="269252" y="322739"/>
                    </a:lnTo>
                    <a:lnTo>
                      <a:pt x="270313" y="322587"/>
                    </a:lnTo>
                    <a:lnTo>
                      <a:pt x="270768" y="322436"/>
                    </a:lnTo>
                    <a:lnTo>
                      <a:pt x="270768" y="321981"/>
                    </a:lnTo>
                    <a:lnTo>
                      <a:pt x="270464" y="321224"/>
                    </a:lnTo>
                    <a:lnTo>
                      <a:pt x="270162" y="320466"/>
                    </a:lnTo>
                    <a:lnTo>
                      <a:pt x="270464" y="319406"/>
                    </a:lnTo>
                    <a:lnTo>
                      <a:pt x="270464" y="318042"/>
                    </a:lnTo>
                    <a:lnTo>
                      <a:pt x="270464" y="316375"/>
                    </a:lnTo>
                    <a:lnTo>
                      <a:pt x="269555" y="315466"/>
                    </a:lnTo>
                    <a:lnTo>
                      <a:pt x="268646" y="313648"/>
                    </a:lnTo>
                    <a:lnTo>
                      <a:pt x="267737" y="312284"/>
                    </a:lnTo>
                    <a:lnTo>
                      <a:pt x="266222" y="311375"/>
                    </a:lnTo>
                    <a:lnTo>
                      <a:pt x="264858" y="311072"/>
                    </a:lnTo>
                    <a:lnTo>
                      <a:pt x="263797" y="311678"/>
                    </a:lnTo>
                    <a:lnTo>
                      <a:pt x="262737" y="311830"/>
                    </a:lnTo>
                    <a:lnTo>
                      <a:pt x="261979" y="311223"/>
                    </a:lnTo>
                    <a:lnTo>
                      <a:pt x="260767" y="311223"/>
                    </a:lnTo>
                    <a:lnTo>
                      <a:pt x="259403" y="311072"/>
                    </a:lnTo>
                    <a:lnTo>
                      <a:pt x="257888" y="310920"/>
                    </a:lnTo>
                    <a:lnTo>
                      <a:pt x="255312" y="311375"/>
                    </a:lnTo>
                    <a:lnTo>
                      <a:pt x="254403" y="310920"/>
                    </a:lnTo>
                    <a:lnTo>
                      <a:pt x="253191" y="310920"/>
                    </a:lnTo>
                    <a:lnTo>
                      <a:pt x="251676" y="311375"/>
                    </a:lnTo>
                    <a:lnTo>
                      <a:pt x="251676" y="304556"/>
                    </a:lnTo>
                    <a:lnTo>
                      <a:pt x="251676" y="298193"/>
                    </a:lnTo>
                    <a:lnTo>
                      <a:pt x="251676" y="293647"/>
                    </a:lnTo>
                    <a:lnTo>
                      <a:pt x="253040" y="293799"/>
                    </a:lnTo>
                    <a:lnTo>
                      <a:pt x="254706" y="293041"/>
                    </a:lnTo>
                    <a:lnTo>
                      <a:pt x="257131" y="292890"/>
                    </a:lnTo>
                    <a:lnTo>
                      <a:pt x="258949" y="291980"/>
                    </a:lnTo>
                    <a:lnTo>
                      <a:pt x="260009" y="291980"/>
                    </a:lnTo>
                    <a:lnTo>
                      <a:pt x="261979" y="292435"/>
                    </a:lnTo>
                    <a:lnTo>
                      <a:pt x="264101" y="293344"/>
                    </a:lnTo>
                    <a:lnTo>
                      <a:pt x="266070" y="293495"/>
                    </a:lnTo>
                    <a:lnTo>
                      <a:pt x="271374" y="293495"/>
                    </a:lnTo>
                    <a:lnTo>
                      <a:pt x="277131" y="293495"/>
                    </a:lnTo>
                    <a:lnTo>
                      <a:pt x="283495" y="293495"/>
                    </a:lnTo>
                    <a:lnTo>
                      <a:pt x="289859" y="293495"/>
                    </a:lnTo>
                    <a:lnTo>
                      <a:pt x="295466" y="293495"/>
                    </a:lnTo>
                    <a:lnTo>
                      <a:pt x="297132" y="293495"/>
                    </a:lnTo>
                    <a:lnTo>
                      <a:pt x="296071" y="291980"/>
                    </a:lnTo>
                    <a:lnTo>
                      <a:pt x="294859" y="290011"/>
                    </a:lnTo>
                    <a:lnTo>
                      <a:pt x="295314" y="288495"/>
                    </a:lnTo>
                    <a:lnTo>
                      <a:pt x="295920" y="286980"/>
                    </a:lnTo>
                    <a:lnTo>
                      <a:pt x="296526" y="286223"/>
                    </a:lnTo>
                    <a:lnTo>
                      <a:pt x="298193" y="287132"/>
                    </a:lnTo>
                    <a:lnTo>
                      <a:pt x="299708" y="289707"/>
                    </a:lnTo>
                    <a:lnTo>
                      <a:pt x="300920" y="291677"/>
                    </a:lnTo>
                    <a:lnTo>
                      <a:pt x="302132" y="292586"/>
                    </a:lnTo>
                    <a:lnTo>
                      <a:pt x="303648" y="292738"/>
                    </a:lnTo>
                    <a:lnTo>
                      <a:pt x="305314" y="292435"/>
                    </a:lnTo>
                    <a:lnTo>
                      <a:pt x="306981" y="291677"/>
                    </a:lnTo>
                    <a:lnTo>
                      <a:pt x="309860" y="288041"/>
                    </a:lnTo>
                    <a:lnTo>
                      <a:pt x="312739" y="285010"/>
                    </a:lnTo>
                    <a:lnTo>
                      <a:pt x="314254" y="283950"/>
                    </a:lnTo>
                    <a:lnTo>
                      <a:pt x="315769" y="283041"/>
                    </a:lnTo>
                    <a:lnTo>
                      <a:pt x="316981" y="282738"/>
                    </a:lnTo>
                    <a:lnTo>
                      <a:pt x="318497" y="282889"/>
                    </a:lnTo>
                    <a:lnTo>
                      <a:pt x="319860" y="283798"/>
                    </a:lnTo>
                    <a:lnTo>
                      <a:pt x="320769" y="285313"/>
                    </a:lnTo>
                    <a:lnTo>
                      <a:pt x="323951" y="290465"/>
                    </a:lnTo>
                    <a:lnTo>
                      <a:pt x="326376" y="294253"/>
                    </a:lnTo>
                    <a:lnTo>
                      <a:pt x="327133" y="296678"/>
                    </a:lnTo>
                    <a:lnTo>
                      <a:pt x="327133" y="302587"/>
                    </a:lnTo>
                    <a:lnTo>
                      <a:pt x="326982" y="307738"/>
                    </a:lnTo>
                    <a:lnTo>
                      <a:pt x="327285" y="308344"/>
                    </a:lnTo>
                    <a:lnTo>
                      <a:pt x="327739" y="308496"/>
                    </a:lnTo>
                    <a:lnTo>
                      <a:pt x="332891" y="307284"/>
                    </a:lnTo>
                    <a:lnTo>
                      <a:pt x="332134" y="30516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2" name="Freeform: Shape 3311">
                <a:extLst>
                  <a:ext uri="{FF2B5EF4-FFF2-40B4-BE49-F238E27FC236}">
                    <a16:creationId xmlns:a16="http://schemas.microsoft.com/office/drawing/2014/main" id="{F9E86B25-2FEC-40EC-A0B6-32CCC8A033BD}"/>
                  </a:ext>
                </a:extLst>
              </p:cNvPr>
              <p:cNvSpPr/>
              <p:nvPr/>
            </p:nvSpPr>
            <p:spPr>
              <a:xfrm>
                <a:off x="7792275" y="2944207"/>
                <a:ext cx="1672940" cy="1117010"/>
              </a:xfrm>
              <a:custGeom>
                <a:avLst/>
                <a:gdLst>
                  <a:gd name="connsiteX0" fmla="*/ 1302018 w 1672940"/>
                  <a:gd name="connsiteY0" fmla="*/ 830788 h 1117010"/>
                  <a:gd name="connsiteX1" fmla="*/ 1301261 w 1672940"/>
                  <a:gd name="connsiteY1" fmla="*/ 830182 h 1117010"/>
                  <a:gd name="connsiteX2" fmla="*/ 1299291 w 1672940"/>
                  <a:gd name="connsiteY2" fmla="*/ 832152 h 1117010"/>
                  <a:gd name="connsiteX3" fmla="*/ 1299291 w 1672940"/>
                  <a:gd name="connsiteY3" fmla="*/ 834273 h 1117010"/>
                  <a:gd name="connsiteX4" fmla="*/ 1300200 w 1672940"/>
                  <a:gd name="connsiteY4" fmla="*/ 834273 h 1117010"/>
                  <a:gd name="connsiteX5" fmla="*/ 1302624 w 1672940"/>
                  <a:gd name="connsiteY5" fmla="*/ 833515 h 1117010"/>
                  <a:gd name="connsiteX6" fmla="*/ 1302624 w 1672940"/>
                  <a:gd name="connsiteY6" fmla="*/ 831849 h 1117010"/>
                  <a:gd name="connsiteX7" fmla="*/ 1302018 w 1672940"/>
                  <a:gd name="connsiteY7" fmla="*/ 830788 h 1117010"/>
                  <a:gd name="connsiteX8" fmla="*/ 1070645 w 1672940"/>
                  <a:gd name="connsiteY8" fmla="*/ 1016552 h 1117010"/>
                  <a:gd name="connsiteX9" fmla="*/ 1070040 w 1672940"/>
                  <a:gd name="connsiteY9" fmla="*/ 1017613 h 1117010"/>
                  <a:gd name="connsiteX10" fmla="*/ 1068676 w 1672940"/>
                  <a:gd name="connsiteY10" fmla="*/ 1018674 h 1117010"/>
                  <a:gd name="connsiteX11" fmla="*/ 1069282 w 1672940"/>
                  <a:gd name="connsiteY11" fmla="*/ 1019431 h 1117010"/>
                  <a:gd name="connsiteX12" fmla="*/ 1069585 w 1672940"/>
                  <a:gd name="connsiteY12" fmla="*/ 1020946 h 1117010"/>
                  <a:gd name="connsiteX13" fmla="*/ 1070343 w 1672940"/>
                  <a:gd name="connsiteY13" fmla="*/ 1022007 h 1117010"/>
                  <a:gd name="connsiteX14" fmla="*/ 1070797 w 1672940"/>
                  <a:gd name="connsiteY14" fmla="*/ 1021401 h 1117010"/>
                  <a:gd name="connsiteX15" fmla="*/ 1071100 w 1672940"/>
                  <a:gd name="connsiteY15" fmla="*/ 1018674 h 1117010"/>
                  <a:gd name="connsiteX16" fmla="*/ 1071403 w 1672940"/>
                  <a:gd name="connsiteY16" fmla="*/ 1018219 h 1117010"/>
                  <a:gd name="connsiteX17" fmla="*/ 1072767 w 1672940"/>
                  <a:gd name="connsiteY17" fmla="*/ 1017007 h 1117010"/>
                  <a:gd name="connsiteX18" fmla="*/ 1072161 w 1672940"/>
                  <a:gd name="connsiteY18" fmla="*/ 1016704 h 1117010"/>
                  <a:gd name="connsiteX19" fmla="*/ 1070645 w 1672940"/>
                  <a:gd name="connsiteY19" fmla="*/ 1016552 h 1117010"/>
                  <a:gd name="connsiteX20" fmla="*/ 1263834 w 1672940"/>
                  <a:gd name="connsiteY20" fmla="*/ 906700 h 1117010"/>
                  <a:gd name="connsiteX21" fmla="*/ 1263532 w 1672940"/>
                  <a:gd name="connsiteY21" fmla="*/ 906245 h 1117010"/>
                  <a:gd name="connsiteX22" fmla="*/ 1262623 w 1672940"/>
                  <a:gd name="connsiteY22" fmla="*/ 905791 h 1117010"/>
                  <a:gd name="connsiteX23" fmla="*/ 1262016 w 1672940"/>
                  <a:gd name="connsiteY23" fmla="*/ 904882 h 1117010"/>
                  <a:gd name="connsiteX24" fmla="*/ 1260501 w 1672940"/>
                  <a:gd name="connsiteY24" fmla="*/ 905336 h 1117010"/>
                  <a:gd name="connsiteX25" fmla="*/ 1259744 w 1672940"/>
                  <a:gd name="connsiteY25" fmla="*/ 906700 h 1117010"/>
                  <a:gd name="connsiteX26" fmla="*/ 1260501 w 1672940"/>
                  <a:gd name="connsiteY26" fmla="*/ 907912 h 1117010"/>
                  <a:gd name="connsiteX27" fmla="*/ 1259895 w 1672940"/>
                  <a:gd name="connsiteY27" fmla="*/ 909579 h 1117010"/>
                  <a:gd name="connsiteX28" fmla="*/ 1259895 w 1672940"/>
                  <a:gd name="connsiteY28" fmla="*/ 911397 h 1117010"/>
                  <a:gd name="connsiteX29" fmla="*/ 1261107 w 1672940"/>
                  <a:gd name="connsiteY29" fmla="*/ 912003 h 1117010"/>
                  <a:gd name="connsiteX30" fmla="*/ 1263077 w 1672940"/>
                  <a:gd name="connsiteY30" fmla="*/ 910639 h 1117010"/>
                  <a:gd name="connsiteX31" fmla="*/ 1263380 w 1672940"/>
                  <a:gd name="connsiteY31" fmla="*/ 910033 h 1117010"/>
                  <a:gd name="connsiteX32" fmla="*/ 1262774 w 1672940"/>
                  <a:gd name="connsiteY32" fmla="*/ 909276 h 1117010"/>
                  <a:gd name="connsiteX33" fmla="*/ 1263532 w 1672940"/>
                  <a:gd name="connsiteY33" fmla="*/ 907760 h 1117010"/>
                  <a:gd name="connsiteX34" fmla="*/ 1263834 w 1672940"/>
                  <a:gd name="connsiteY34" fmla="*/ 906700 h 1117010"/>
                  <a:gd name="connsiteX35" fmla="*/ 1216257 w 1672940"/>
                  <a:gd name="connsiteY35" fmla="*/ 936701 h 1117010"/>
                  <a:gd name="connsiteX36" fmla="*/ 1215954 w 1672940"/>
                  <a:gd name="connsiteY36" fmla="*/ 937004 h 1117010"/>
                  <a:gd name="connsiteX37" fmla="*/ 1215499 w 1672940"/>
                  <a:gd name="connsiteY37" fmla="*/ 938216 h 1117010"/>
                  <a:gd name="connsiteX38" fmla="*/ 1215803 w 1672940"/>
                  <a:gd name="connsiteY38" fmla="*/ 938519 h 1117010"/>
                  <a:gd name="connsiteX39" fmla="*/ 1215803 w 1672940"/>
                  <a:gd name="connsiteY39" fmla="*/ 939731 h 1117010"/>
                  <a:gd name="connsiteX40" fmla="*/ 1217469 w 1672940"/>
                  <a:gd name="connsiteY40" fmla="*/ 940034 h 1117010"/>
                  <a:gd name="connsiteX41" fmla="*/ 1218378 w 1672940"/>
                  <a:gd name="connsiteY41" fmla="*/ 938368 h 1117010"/>
                  <a:gd name="connsiteX42" fmla="*/ 1218076 w 1672940"/>
                  <a:gd name="connsiteY42" fmla="*/ 937761 h 1117010"/>
                  <a:gd name="connsiteX43" fmla="*/ 1216257 w 1672940"/>
                  <a:gd name="connsiteY43" fmla="*/ 936701 h 1117010"/>
                  <a:gd name="connsiteX44" fmla="*/ 1006098 w 1672940"/>
                  <a:gd name="connsiteY44" fmla="*/ 1036856 h 1117010"/>
                  <a:gd name="connsiteX45" fmla="*/ 1005037 w 1672940"/>
                  <a:gd name="connsiteY45" fmla="*/ 1035947 h 1117010"/>
                  <a:gd name="connsiteX46" fmla="*/ 1002916 w 1672940"/>
                  <a:gd name="connsiteY46" fmla="*/ 1036402 h 1117010"/>
                  <a:gd name="connsiteX47" fmla="*/ 1001704 w 1672940"/>
                  <a:gd name="connsiteY47" fmla="*/ 1037765 h 1117010"/>
                  <a:gd name="connsiteX48" fmla="*/ 1002158 w 1672940"/>
                  <a:gd name="connsiteY48" fmla="*/ 1038523 h 1117010"/>
                  <a:gd name="connsiteX49" fmla="*/ 1003825 w 1672940"/>
                  <a:gd name="connsiteY49" fmla="*/ 1038674 h 1117010"/>
                  <a:gd name="connsiteX50" fmla="*/ 1006098 w 1672940"/>
                  <a:gd name="connsiteY50" fmla="*/ 1038371 h 1117010"/>
                  <a:gd name="connsiteX51" fmla="*/ 1008371 w 1672940"/>
                  <a:gd name="connsiteY51" fmla="*/ 1039432 h 1117010"/>
                  <a:gd name="connsiteX52" fmla="*/ 1009280 w 1672940"/>
                  <a:gd name="connsiteY52" fmla="*/ 1037917 h 1117010"/>
                  <a:gd name="connsiteX53" fmla="*/ 1009280 w 1672940"/>
                  <a:gd name="connsiteY53" fmla="*/ 1037311 h 1117010"/>
                  <a:gd name="connsiteX54" fmla="*/ 1008825 w 1672940"/>
                  <a:gd name="connsiteY54" fmla="*/ 1036098 h 1117010"/>
                  <a:gd name="connsiteX55" fmla="*/ 1006098 w 1672940"/>
                  <a:gd name="connsiteY55" fmla="*/ 1036856 h 1117010"/>
                  <a:gd name="connsiteX56" fmla="*/ 1063676 w 1672940"/>
                  <a:gd name="connsiteY56" fmla="*/ 1020795 h 1117010"/>
                  <a:gd name="connsiteX57" fmla="*/ 1064282 w 1672940"/>
                  <a:gd name="connsiteY57" fmla="*/ 1020946 h 1117010"/>
                  <a:gd name="connsiteX58" fmla="*/ 1067009 w 1672940"/>
                  <a:gd name="connsiteY58" fmla="*/ 1020340 h 1117010"/>
                  <a:gd name="connsiteX59" fmla="*/ 1067161 w 1672940"/>
                  <a:gd name="connsiteY59" fmla="*/ 1018371 h 1117010"/>
                  <a:gd name="connsiteX60" fmla="*/ 1064736 w 1672940"/>
                  <a:gd name="connsiteY60" fmla="*/ 1019431 h 1117010"/>
                  <a:gd name="connsiteX61" fmla="*/ 1063676 w 1672940"/>
                  <a:gd name="connsiteY61" fmla="*/ 1020795 h 1117010"/>
                  <a:gd name="connsiteX62" fmla="*/ 1021098 w 1672940"/>
                  <a:gd name="connsiteY62" fmla="*/ 1070191 h 1117010"/>
                  <a:gd name="connsiteX63" fmla="*/ 1020189 w 1672940"/>
                  <a:gd name="connsiteY63" fmla="*/ 1068373 h 1117010"/>
                  <a:gd name="connsiteX64" fmla="*/ 1018826 w 1672940"/>
                  <a:gd name="connsiteY64" fmla="*/ 1067160 h 1117010"/>
                  <a:gd name="connsiteX65" fmla="*/ 1016704 w 1672940"/>
                  <a:gd name="connsiteY65" fmla="*/ 1066554 h 1117010"/>
                  <a:gd name="connsiteX66" fmla="*/ 1014886 w 1672940"/>
                  <a:gd name="connsiteY66" fmla="*/ 1065342 h 1117010"/>
                  <a:gd name="connsiteX67" fmla="*/ 1013068 w 1672940"/>
                  <a:gd name="connsiteY67" fmla="*/ 1063069 h 1117010"/>
                  <a:gd name="connsiteX68" fmla="*/ 1012310 w 1672940"/>
                  <a:gd name="connsiteY68" fmla="*/ 1063069 h 1117010"/>
                  <a:gd name="connsiteX69" fmla="*/ 1010795 w 1672940"/>
                  <a:gd name="connsiteY69" fmla="*/ 1064130 h 1117010"/>
                  <a:gd name="connsiteX70" fmla="*/ 1010492 w 1672940"/>
                  <a:gd name="connsiteY70" fmla="*/ 1064887 h 1117010"/>
                  <a:gd name="connsiteX71" fmla="*/ 1010492 w 1672940"/>
                  <a:gd name="connsiteY71" fmla="*/ 1067615 h 1117010"/>
                  <a:gd name="connsiteX72" fmla="*/ 1005795 w 1672940"/>
                  <a:gd name="connsiteY72" fmla="*/ 1065342 h 1117010"/>
                  <a:gd name="connsiteX73" fmla="*/ 1005189 w 1672940"/>
                  <a:gd name="connsiteY73" fmla="*/ 1065190 h 1117010"/>
                  <a:gd name="connsiteX74" fmla="*/ 1005037 w 1672940"/>
                  <a:gd name="connsiteY74" fmla="*/ 1066403 h 1117010"/>
                  <a:gd name="connsiteX75" fmla="*/ 1005189 w 1672940"/>
                  <a:gd name="connsiteY75" fmla="*/ 1067615 h 1117010"/>
                  <a:gd name="connsiteX76" fmla="*/ 1003825 w 1672940"/>
                  <a:gd name="connsiteY76" fmla="*/ 1065796 h 1117010"/>
                  <a:gd name="connsiteX77" fmla="*/ 1000188 w 1672940"/>
                  <a:gd name="connsiteY77" fmla="*/ 1065342 h 1117010"/>
                  <a:gd name="connsiteX78" fmla="*/ 998976 w 1672940"/>
                  <a:gd name="connsiteY78" fmla="*/ 1065342 h 1117010"/>
                  <a:gd name="connsiteX79" fmla="*/ 996552 w 1672940"/>
                  <a:gd name="connsiteY79" fmla="*/ 1067009 h 1117010"/>
                  <a:gd name="connsiteX80" fmla="*/ 991703 w 1672940"/>
                  <a:gd name="connsiteY80" fmla="*/ 1067918 h 1117010"/>
                  <a:gd name="connsiteX81" fmla="*/ 984733 w 1672940"/>
                  <a:gd name="connsiteY81" fmla="*/ 1067312 h 1117010"/>
                  <a:gd name="connsiteX82" fmla="*/ 982915 w 1672940"/>
                  <a:gd name="connsiteY82" fmla="*/ 1067766 h 1117010"/>
                  <a:gd name="connsiteX83" fmla="*/ 980945 w 1672940"/>
                  <a:gd name="connsiteY83" fmla="*/ 1069584 h 1117010"/>
                  <a:gd name="connsiteX84" fmla="*/ 978369 w 1672940"/>
                  <a:gd name="connsiteY84" fmla="*/ 1070039 h 1117010"/>
                  <a:gd name="connsiteX85" fmla="*/ 975490 w 1672940"/>
                  <a:gd name="connsiteY85" fmla="*/ 1069584 h 1117010"/>
                  <a:gd name="connsiteX86" fmla="*/ 974127 w 1672940"/>
                  <a:gd name="connsiteY86" fmla="*/ 1070191 h 1117010"/>
                  <a:gd name="connsiteX87" fmla="*/ 972915 w 1672940"/>
                  <a:gd name="connsiteY87" fmla="*/ 1071251 h 1117010"/>
                  <a:gd name="connsiteX88" fmla="*/ 971854 w 1672940"/>
                  <a:gd name="connsiteY88" fmla="*/ 1073372 h 1117010"/>
                  <a:gd name="connsiteX89" fmla="*/ 973066 w 1672940"/>
                  <a:gd name="connsiteY89" fmla="*/ 1073676 h 1117010"/>
                  <a:gd name="connsiteX90" fmla="*/ 974581 w 1672940"/>
                  <a:gd name="connsiteY90" fmla="*/ 1073524 h 1117010"/>
                  <a:gd name="connsiteX91" fmla="*/ 971854 w 1672940"/>
                  <a:gd name="connsiteY91" fmla="*/ 1075949 h 1117010"/>
                  <a:gd name="connsiteX92" fmla="*/ 968672 w 1672940"/>
                  <a:gd name="connsiteY92" fmla="*/ 1077615 h 1117010"/>
                  <a:gd name="connsiteX93" fmla="*/ 964278 w 1672940"/>
                  <a:gd name="connsiteY93" fmla="*/ 1081403 h 1117010"/>
                  <a:gd name="connsiteX94" fmla="*/ 961248 w 1672940"/>
                  <a:gd name="connsiteY94" fmla="*/ 1083221 h 1117010"/>
                  <a:gd name="connsiteX95" fmla="*/ 958520 w 1672940"/>
                  <a:gd name="connsiteY95" fmla="*/ 1085494 h 1117010"/>
                  <a:gd name="connsiteX96" fmla="*/ 957763 w 1672940"/>
                  <a:gd name="connsiteY96" fmla="*/ 1086403 h 1117010"/>
                  <a:gd name="connsiteX97" fmla="*/ 957308 w 1672940"/>
                  <a:gd name="connsiteY97" fmla="*/ 1087464 h 1117010"/>
                  <a:gd name="connsiteX98" fmla="*/ 956854 w 1672940"/>
                  <a:gd name="connsiteY98" fmla="*/ 1097464 h 1117010"/>
                  <a:gd name="connsiteX99" fmla="*/ 956854 w 1672940"/>
                  <a:gd name="connsiteY99" fmla="*/ 1098677 h 1117010"/>
                  <a:gd name="connsiteX100" fmla="*/ 957914 w 1672940"/>
                  <a:gd name="connsiteY100" fmla="*/ 1102010 h 1117010"/>
                  <a:gd name="connsiteX101" fmla="*/ 958672 w 1672940"/>
                  <a:gd name="connsiteY101" fmla="*/ 1108071 h 1117010"/>
                  <a:gd name="connsiteX102" fmla="*/ 964733 w 1672940"/>
                  <a:gd name="connsiteY102" fmla="*/ 1111404 h 1117010"/>
                  <a:gd name="connsiteX103" fmla="*/ 967611 w 1672940"/>
                  <a:gd name="connsiteY103" fmla="*/ 1112768 h 1117010"/>
                  <a:gd name="connsiteX104" fmla="*/ 971854 w 1672940"/>
                  <a:gd name="connsiteY104" fmla="*/ 1113980 h 1117010"/>
                  <a:gd name="connsiteX105" fmla="*/ 976097 w 1672940"/>
                  <a:gd name="connsiteY105" fmla="*/ 1114738 h 1117010"/>
                  <a:gd name="connsiteX106" fmla="*/ 977764 w 1672940"/>
                  <a:gd name="connsiteY106" fmla="*/ 1115192 h 1117010"/>
                  <a:gd name="connsiteX107" fmla="*/ 981097 w 1672940"/>
                  <a:gd name="connsiteY107" fmla="*/ 1117011 h 1117010"/>
                  <a:gd name="connsiteX108" fmla="*/ 983066 w 1672940"/>
                  <a:gd name="connsiteY108" fmla="*/ 1116859 h 1117010"/>
                  <a:gd name="connsiteX109" fmla="*/ 985642 w 1672940"/>
                  <a:gd name="connsiteY109" fmla="*/ 1116253 h 1117010"/>
                  <a:gd name="connsiteX110" fmla="*/ 986249 w 1672940"/>
                  <a:gd name="connsiteY110" fmla="*/ 1115950 h 1117010"/>
                  <a:gd name="connsiteX111" fmla="*/ 987764 w 1672940"/>
                  <a:gd name="connsiteY111" fmla="*/ 1113374 h 1117010"/>
                  <a:gd name="connsiteX112" fmla="*/ 989279 w 1672940"/>
                  <a:gd name="connsiteY112" fmla="*/ 1112010 h 1117010"/>
                  <a:gd name="connsiteX113" fmla="*/ 993370 w 1672940"/>
                  <a:gd name="connsiteY113" fmla="*/ 1111253 h 1117010"/>
                  <a:gd name="connsiteX114" fmla="*/ 994734 w 1672940"/>
                  <a:gd name="connsiteY114" fmla="*/ 1111404 h 1117010"/>
                  <a:gd name="connsiteX115" fmla="*/ 996097 w 1672940"/>
                  <a:gd name="connsiteY115" fmla="*/ 1110495 h 1117010"/>
                  <a:gd name="connsiteX116" fmla="*/ 996097 w 1672940"/>
                  <a:gd name="connsiteY116" fmla="*/ 1109738 h 1117010"/>
                  <a:gd name="connsiteX117" fmla="*/ 995643 w 1672940"/>
                  <a:gd name="connsiteY117" fmla="*/ 1108980 h 1117010"/>
                  <a:gd name="connsiteX118" fmla="*/ 998522 w 1672940"/>
                  <a:gd name="connsiteY118" fmla="*/ 1107162 h 1117010"/>
                  <a:gd name="connsiteX119" fmla="*/ 1001097 w 1672940"/>
                  <a:gd name="connsiteY119" fmla="*/ 1104737 h 1117010"/>
                  <a:gd name="connsiteX120" fmla="*/ 1002158 w 1672940"/>
                  <a:gd name="connsiteY120" fmla="*/ 1104283 h 1117010"/>
                  <a:gd name="connsiteX121" fmla="*/ 1003371 w 1672940"/>
                  <a:gd name="connsiteY121" fmla="*/ 1104131 h 1117010"/>
                  <a:gd name="connsiteX122" fmla="*/ 1005189 w 1672940"/>
                  <a:gd name="connsiteY122" fmla="*/ 1103374 h 1117010"/>
                  <a:gd name="connsiteX123" fmla="*/ 1006552 w 1672940"/>
                  <a:gd name="connsiteY123" fmla="*/ 1102010 h 1117010"/>
                  <a:gd name="connsiteX124" fmla="*/ 1007310 w 1672940"/>
                  <a:gd name="connsiteY124" fmla="*/ 1100192 h 1117010"/>
                  <a:gd name="connsiteX125" fmla="*/ 1008522 w 1672940"/>
                  <a:gd name="connsiteY125" fmla="*/ 1095798 h 1117010"/>
                  <a:gd name="connsiteX126" fmla="*/ 1009734 w 1672940"/>
                  <a:gd name="connsiteY126" fmla="*/ 1092161 h 1117010"/>
                  <a:gd name="connsiteX127" fmla="*/ 1009583 w 1672940"/>
                  <a:gd name="connsiteY127" fmla="*/ 1091101 h 1117010"/>
                  <a:gd name="connsiteX128" fmla="*/ 1009886 w 1672940"/>
                  <a:gd name="connsiteY128" fmla="*/ 1090040 h 1117010"/>
                  <a:gd name="connsiteX129" fmla="*/ 1010795 w 1672940"/>
                  <a:gd name="connsiteY129" fmla="*/ 1088979 h 1117010"/>
                  <a:gd name="connsiteX130" fmla="*/ 1011856 w 1672940"/>
                  <a:gd name="connsiteY130" fmla="*/ 1086555 h 1117010"/>
                  <a:gd name="connsiteX131" fmla="*/ 1016856 w 1672940"/>
                  <a:gd name="connsiteY131" fmla="*/ 1078979 h 1117010"/>
                  <a:gd name="connsiteX132" fmla="*/ 1019280 w 1672940"/>
                  <a:gd name="connsiteY132" fmla="*/ 1078221 h 1117010"/>
                  <a:gd name="connsiteX133" fmla="*/ 1022007 w 1672940"/>
                  <a:gd name="connsiteY133" fmla="*/ 1076251 h 1117010"/>
                  <a:gd name="connsiteX134" fmla="*/ 1021553 w 1672940"/>
                  <a:gd name="connsiteY134" fmla="*/ 1073221 h 1117010"/>
                  <a:gd name="connsiteX135" fmla="*/ 1021098 w 1672940"/>
                  <a:gd name="connsiteY135" fmla="*/ 1070191 h 1117010"/>
                  <a:gd name="connsiteX136" fmla="*/ 1311412 w 1672940"/>
                  <a:gd name="connsiteY136" fmla="*/ 727754 h 1117010"/>
                  <a:gd name="connsiteX137" fmla="*/ 1310503 w 1672940"/>
                  <a:gd name="connsiteY137" fmla="*/ 726693 h 1117010"/>
                  <a:gd name="connsiteX138" fmla="*/ 1309139 w 1672940"/>
                  <a:gd name="connsiteY138" fmla="*/ 726087 h 1117010"/>
                  <a:gd name="connsiteX139" fmla="*/ 1308382 w 1672940"/>
                  <a:gd name="connsiteY139" fmla="*/ 724269 h 1117010"/>
                  <a:gd name="connsiteX140" fmla="*/ 1304897 w 1672940"/>
                  <a:gd name="connsiteY140" fmla="*/ 723057 h 1117010"/>
                  <a:gd name="connsiteX141" fmla="*/ 1301412 w 1672940"/>
                  <a:gd name="connsiteY141" fmla="*/ 722754 h 1117010"/>
                  <a:gd name="connsiteX142" fmla="*/ 1301866 w 1672940"/>
                  <a:gd name="connsiteY142" fmla="*/ 724117 h 1117010"/>
                  <a:gd name="connsiteX143" fmla="*/ 1304897 w 1672940"/>
                  <a:gd name="connsiteY143" fmla="*/ 727602 h 1117010"/>
                  <a:gd name="connsiteX144" fmla="*/ 1309897 w 1672940"/>
                  <a:gd name="connsiteY144" fmla="*/ 730481 h 1117010"/>
                  <a:gd name="connsiteX145" fmla="*/ 1317018 w 1672940"/>
                  <a:gd name="connsiteY145" fmla="*/ 733057 h 1117010"/>
                  <a:gd name="connsiteX146" fmla="*/ 1319292 w 1672940"/>
                  <a:gd name="connsiteY146" fmla="*/ 732148 h 1117010"/>
                  <a:gd name="connsiteX147" fmla="*/ 1318837 w 1672940"/>
                  <a:gd name="connsiteY147" fmla="*/ 731087 h 1117010"/>
                  <a:gd name="connsiteX148" fmla="*/ 1317927 w 1672940"/>
                  <a:gd name="connsiteY148" fmla="*/ 730330 h 1117010"/>
                  <a:gd name="connsiteX149" fmla="*/ 1311412 w 1672940"/>
                  <a:gd name="connsiteY149" fmla="*/ 727754 h 1117010"/>
                  <a:gd name="connsiteX150" fmla="*/ 1089434 w 1672940"/>
                  <a:gd name="connsiteY150" fmla="*/ 984127 h 1117010"/>
                  <a:gd name="connsiteX151" fmla="*/ 1087767 w 1672940"/>
                  <a:gd name="connsiteY151" fmla="*/ 984127 h 1117010"/>
                  <a:gd name="connsiteX152" fmla="*/ 1088374 w 1672940"/>
                  <a:gd name="connsiteY152" fmla="*/ 985339 h 1117010"/>
                  <a:gd name="connsiteX153" fmla="*/ 1089434 w 1672940"/>
                  <a:gd name="connsiteY153" fmla="*/ 986097 h 1117010"/>
                  <a:gd name="connsiteX154" fmla="*/ 1090041 w 1672940"/>
                  <a:gd name="connsiteY154" fmla="*/ 986248 h 1117010"/>
                  <a:gd name="connsiteX155" fmla="*/ 1092162 w 1672940"/>
                  <a:gd name="connsiteY155" fmla="*/ 988218 h 1117010"/>
                  <a:gd name="connsiteX156" fmla="*/ 1091859 w 1672940"/>
                  <a:gd name="connsiteY156" fmla="*/ 986854 h 1117010"/>
                  <a:gd name="connsiteX157" fmla="*/ 1090950 w 1672940"/>
                  <a:gd name="connsiteY157" fmla="*/ 985491 h 1117010"/>
                  <a:gd name="connsiteX158" fmla="*/ 1089434 w 1672940"/>
                  <a:gd name="connsiteY158" fmla="*/ 984127 h 1117010"/>
                  <a:gd name="connsiteX159" fmla="*/ 1670365 w 1672940"/>
                  <a:gd name="connsiteY159" fmla="*/ 207129 h 1117010"/>
                  <a:gd name="connsiteX160" fmla="*/ 1669001 w 1672940"/>
                  <a:gd name="connsiteY160" fmla="*/ 204553 h 1117010"/>
                  <a:gd name="connsiteX161" fmla="*/ 1667334 w 1672940"/>
                  <a:gd name="connsiteY161" fmla="*/ 201068 h 1117010"/>
                  <a:gd name="connsiteX162" fmla="*/ 1666577 w 1672940"/>
                  <a:gd name="connsiteY162" fmla="*/ 199401 h 1117010"/>
                  <a:gd name="connsiteX163" fmla="*/ 1667638 w 1672940"/>
                  <a:gd name="connsiteY163" fmla="*/ 197280 h 1117010"/>
                  <a:gd name="connsiteX164" fmla="*/ 1668850 w 1672940"/>
                  <a:gd name="connsiteY164" fmla="*/ 195916 h 1117010"/>
                  <a:gd name="connsiteX165" fmla="*/ 1669456 w 1672940"/>
                  <a:gd name="connsiteY165" fmla="*/ 194704 h 1117010"/>
                  <a:gd name="connsiteX166" fmla="*/ 1669759 w 1672940"/>
                  <a:gd name="connsiteY166" fmla="*/ 192734 h 1117010"/>
                  <a:gd name="connsiteX167" fmla="*/ 1669304 w 1672940"/>
                  <a:gd name="connsiteY167" fmla="*/ 191219 h 1117010"/>
                  <a:gd name="connsiteX168" fmla="*/ 1666577 w 1672940"/>
                  <a:gd name="connsiteY168" fmla="*/ 188795 h 1117010"/>
                  <a:gd name="connsiteX169" fmla="*/ 1663698 w 1672940"/>
                  <a:gd name="connsiteY169" fmla="*/ 187583 h 1117010"/>
                  <a:gd name="connsiteX170" fmla="*/ 1660365 w 1672940"/>
                  <a:gd name="connsiteY170" fmla="*/ 187128 h 1117010"/>
                  <a:gd name="connsiteX171" fmla="*/ 1659152 w 1672940"/>
                  <a:gd name="connsiteY171" fmla="*/ 186977 h 1117010"/>
                  <a:gd name="connsiteX172" fmla="*/ 1656728 w 1672940"/>
                  <a:gd name="connsiteY172" fmla="*/ 187431 h 1117010"/>
                  <a:gd name="connsiteX173" fmla="*/ 1646728 w 1672940"/>
                  <a:gd name="connsiteY173" fmla="*/ 190462 h 1117010"/>
                  <a:gd name="connsiteX174" fmla="*/ 1642031 w 1672940"/>
                  <a:gd name="connsiteY174" fmla="*/ 192734 h 1117010"/>
                  <a:gd name="connsiteX175" fmla="*/ 1639303 w 1672940"/>
                  <a:gd name="connsiteY175" fmla="*/ 195310 h 1117010"/>
                  <a:gd name="connsiteX176" fmla="*/ 1636424 w 1672940"/>
                  <a:gd name="connsiteY176" fmla="*/ 196522 h 1117010"/>
                  <a:gd name="connsiteX177" fmla="*/ 1631879 w 1672940"/>
                  <a:gd name="connsiteY177" fmla="*/ 196371 h 1117010"/>
                  <a:gd name="connsiteX178" fmla="*/ 1627636 w 1672940"/>
                  <a:gd name="connsiteY178" fmla="*/ 196219 h 1117010"/>
                  <a:gd name="connsiteX179" fmla="*/ 1624303 w 1672940"/>
                  <a:gd name="connsiteY179" fmla="*/ 197583 h 1117010"/>
                  <a:gd name="connsiteX180" fmla="*/ 1620363 w 1672940"/>
                  <a:gd name="connsiteY180" fmla="*/ 200613 h 1117010"/>
                  <a:gd name="connsiteX181" fmla="*/ 1617484 w 1672940"/>
                  <a:gd name="connsiteY181" fmla="*/ 201977 h 1117010"/>
                  <a:gd name="connsiteX182" fmla="*/ 1615666 w 1672940"/>
                  <a:gd name="connsiteY182" fmla="*/ 201674 h 1117010"/>
                  <a:gd name="connsiteX183" fmla="*/ 1613696 w 1672940"/>
                  <a:gd name="connsiteY183" fmla="*/ 203644 h 1117010"/>
                  <a:gd name="connsiteX184" fmla="*/ 1611575 w 1672940"/>
                  <a:gd name="connsiteY184" fmla="*/ 207886 h 1117010"/>
                  <a:gd name="connsiteX185" fmla="*/ 1609302 w 1672940"/>
                  <a:gd name="connsiteY185" fmla="*/ 209705 h 1117010"/>
                  <a:gd name="connsiteX186" fmla="*/ 1606726 w 1672940"/>
                  <a:gd name="connsiteY186" fmla="*/ 209250 h 1117010"/>
                  <a:gd name="connsiteX187" fmla="*/ 1600362 w 1672940"/>
                  <a:gd name="connsiteY187" fmla="*/ 209705 h 1117010"/>
                  <a:gd name="connsiteX188" fmla="*/ 1590361 w 1672940"/>
                  <a:gd name="connsiteY188" fmla="*/ 211068 h 1117010"/>
                  <a:gd name="connsiteX189" fmla="*/ 1584150 w 1672940"/>
                  <a:gd name="connsiteY189" fmla="*/ 211068 h 1117010"/>
                  <a:gd name="connsiteX190" fmla="*/ 1581574 w 1672940"/>
                  <a:gd name="connsiteY190" fmla="*/ 209705 h 1117010"/>
                  <a:gd name="connsiteX191" fmla="*/ 1577634 w 1672940"/>
                  <a:gd name="connsiteY191" fmla="*/ 209553 h 1117010"/>
                  <a:gd name="connsiteX192" fmla="*/ 1572180 w 1672940"/>
                  <a:gd name="connsiteY192" fmla="*/ 210614 h 1117010"/>
                  <a:gd name="connsiteX193" fmla="*/ 1568846 w 1672940"/>
                  <a:gd name="connsiteY193" fmla="*/ 210765 h 1117010"/>
                  <a:gd name="connsiteX194" fmla="*/ 1567785 w 1672940"/>
                  <a:gd name="connsiteY194" fmla="*/ 210159 h 1117010"/>
                  <a:gd name="connsiteX195" fmla="*/ 1567028 w 1672940"/>
                  <a:gd name="connsiteY195" fmla="*/ 208341 h 1117010"/>
                  <a:gd name="connsiteX196" fmla="*/ 1566574 w 1672940"/>
                  <a:gd name="connsiteY196" fmla="*/ 205462 h 1117010"/>
                  <a:gd name="connsiteX197" fmla="*/ 1564754 w 1672940"/>
                  <a:gd name="connsiteY197" fmla="*/ 202432 h 1117010"/>
                  <a:gd name="connsiteX198" fmla="*/ 1561573 w 1672940"/>
                  <a:gd name="connsiteY198" fmla="*/ 199250 h 1117010"/>
                  <a:gd name="connsiteX199" fmla="*/ 1560966 w 1672940"/>
                  <a:gd name="connsiteY199" fmla="*/ 195462 h 1117010"/>
                  <a:gd name="connsiteX200" fmla="*/ 1563088 w 1672940"/>
                  <a:gd name="connsiteY200" fmla="*/ 191068 h 1117010"/>
                  <a:gd name="connsiteX201" fmla="*/ 1563543 w 1672940"/>
                  <a:gd name="connsiteY201" fmla="*/ 188037 h 1117010"/>
                  <a:gd name="connsiteX202" fmla="*/ 1562482 w 1672940"/>
                  <a:gd name="connsiteY202" fmla="*/ 186370 h 1117010"/>
                  <a:gd name="connsiteX203" fmla="*/ 1562027 w 1672940"/>
                  <a:gd name="connsiteY203" fmla="*/ 184855 h 1117010"/>
                  <a:gd name="connsiteX204" fmla="*/ 1559603 w 1672940"/>
                  <a:gd name="connsiteY204" fmla="*/ 183037 h 1117010"/>
                  <a:gd name="connsiteX205" fmla="*/ 1557937 w 1672940"/>
                  <a:gd name="connsiteY205" fmla="*/ 179855 h 1117010"/>
                  <a:gd name="connsiteX206" fmla="*/ 1556724 w 1672940"/>
                  <a:gd name="connsiteY206" fmla="*/ 178946 h 1117010"/>
                  <a:gd name="connsiteX207" fmla="*/ 1557028 w 1672940"/>
                  <a:gd name="connsiteY207" fmla="*/ 176219 h 1117010"/>
                  <a:gd name="connsiteX208" fmla="*/ 1558391 w 1672940"/>
                  <a:gd name="connsiteY208" fmla="*/ 172885 h 1117010"/>
                  <a:gd name="connsiteX209" fmla="*/ 1556573 w 1672940"/>
                  <a:gd name="connsiteY209" fmla="*/ 169855 h 1117010"/>
                  <a:gd name="connsiteX210" fmla="*/ 1551118 w 1672940"/>
                  <a:gd name="connsiteY210" fmla="*/ 169703 h 1117010"/>
                  <a:gd name="connsiteX211" fmla="*/ 1546724 w 1672940"/>
                  <a:gd name="connsiteY211" fmla="*/ 168794 h 1117010"/>
                  <a:gd name="connsiteX212" fmla="*/ 1542330 w 1672940"/>
                  <a:gd name="connsiteY212" fmla="*/ 165915 h 1117010"/>
                  <a:gd name="connsiteX213" fmla="*/ 1535663 w 1672940"/>
                  <a:gd name="connsiteY213" fmla="*/ 157885 h 1117010"/>
                  <a:gd name="connsiteX214" fmla="*/ 1532330 w 1672940"/>
                  <a:gd name="connsiteY214" fmla="*/ 155006 h 1117010"/>
                  <a:gd name="connsiteX215" fmla="*/ 1530208 w 1672940"/>
                  <a:gd name="connsiteY215" fmla="*/ 154703 h 1117010"/>
                  <a:gd name="connsiteX216" fmla="*/ 1528693 w 1672940"/>
                  <a:gd name="connsiteY216" fmla="*/ 153339 h 1117010"/>
                  <a:gd name="connsiteX217" fmla="*/ 1527784 w 1672940"/>
                  <a:gd name="connsiteY217" fmla="*/ 151066 h 1117010"/>
                  <a:gd name="connsiteX218" fmla="*/ 1526268 w 1672940"/>
                  <a:gd name="connsiteY218" fmla="*/ 151066 h 1117010"/>
                  <a:gd name="connsiteX219" fmla="*/ 1524754 w 1672940"/>
                  <a:gd name="connsiteY219" fmla="*/ 151066 h 1117010"/>
                  <a:gd name="connsiteX220" fmla="*/ 1523845 w 1672940"/>
                  <a:gd name="connsiteY220" fmla="*/ 151975 h 1117010"/>
                  <a:gd name="connsiteX221" fmla="*/ 1522784 w 1672940"/>
                  <a:gd name="connsiteY221" fmla="*/ 152278 h 1117010"/>
                  <a:gd name="connsiteX222" fmla="*/ 1521117 w 1672940"/>
                  <a:gd name="connsiteY222" fmla="*/ 151369 h 1117010"/>
                  <a:gd name="connsiteX223" fmla="*/ 1519450 w 1672940"/>
                  <a:gd name="connsiteY223" fmla="*/ 151218 h 1117010"/>
                  <a:gd name="connsiteX224" fmla="*/ 1517632 w 1672940"/>
                  <a:gd name="connsiteY224" fmla="*/ 151975 h 1117010"/>
                  <a:gd name="connsiteX225" fmla="*/ 1516117 w 1672940"/>
                  <a:gd name="connsiteY225" fmla="*/ 151521 h 1117010"/>
                  <a:gd name="connsiteX226" fmla="*/ 1514904 w 1672940"/>
                  <a:gd name="connsiteY226" fmla="*/ 150006 h 1117010"/>
                  <a:gd name="connsiteX227" fmla="*/ 1512632 w 1672940"/>
                  <a:gd name="connsiteY227" fmla="*/ 148945 h 1117010"/>
                  <a:gd name="connsiteX228" fmla="*/ 1509450 w 1672940"/>
                  <a:gd name="connsiteY228" fmla="*/ 148490 h 1117010"/>
                  <a:gd name="connsiteX229" fmla="*/ 1508086 w 1672940"/>
                  <a:gd name="connsiteY229" fmla="*/ 147430 h 1117010"/>
                  <a:gd name="connsiteX230" fmla="*/ 1508692 w 1672940"/>
                  <a:gd name="connsiteY230" fmla="*/ 145763 h 1117010"/>
                  <a:gd name="connsiteX231" fmla="*/ 1508086 w 1672940"/>
                  <a:gd name="connsiteY231" fmla="*/ 144551 h 1117010"/>
                  <a:gd name="connsiteX232" fmla="*/ 1506268 w 1672940"/>
                  <a:gd name="connsiteY232" fmla="*/ 143793 h 1117010"/>
                  <a:gd name="connsiteX233" fmla="*/ 1501419 w 1672940"/>
                  <a:gd name="connsiteY233" fmla="*/ 143945 h 1117010"/>
                  <a:gd name="connsiteX234" fmla="*/ 1493540 w 1672940"/>
                  <a:gd name="connsiteY234" fmla="*/ 145157 h 1117010"/>
                  <a:gd name="connsiteX235" fmla="*/ 1487025 w 1672940"/>
                  <a:gd name="connsiteY235" fmla="*/ 144854 h 1117010"/>
                  <a:gd name="connsiteX236" fmla="*/ 1482025 w 1672940"/>
                  <a:gd name="connsiteY236" fmla="*/ 142884 h 1117010"/>
                  <a:gd name="connsiteX237" fmla="*/ 1479146 w 1672940"/>
                  <a:gd name="connsiteY237" fmla="*/ 141066 h 1117010"/>
                  <a:gd name="connsiteX238" fmla="*/ 1478540 w 1672940"/>
                  <a:gd name="connsiteY238" fmla="*/ 139399 h 1117010"/>
                  <a:gd name="connsiteX239" fmla="*/ 1477024 w 1672940"/>
                  <a:gd name="connsiteY239" fmla="*/ 137884 h 1117010"/>
                  <a:gd name="connsiteX240" fmla="*/ 1474600 w 1672940"/>
                  <a:gd name="connsiteY240" fmla="*/ 136369 h 1117010"/>
                  <a:gd name="connsiteX241" fmla="*/ 1473236 w 1672940"/>
                  <a:gd name="connsiteY241" fmla="*/ 133793 h 1117010"/>
                  <a:gd name="connsiteX242" fmla="*/ 1472933 w 1672940"/>
                  <a:gd name="connsiteY242" fmla="*/ 130156 h 1117010"/>
                  <a:gd name="connsiteX243" fmla="*/ 1473540 w 1672940"/>
                  <a:gd name="connsiteY243" fmla="*/ 126671 h 1117010"/>
                  <a:gd name="connsiteX244" fmla="*/ 1475661 w 1672940"/>
                  <a:gd name="connsiteY244" fmla="*/ 121823 h 1117010"/>
                  <a:gd name="connsiteX245" fmla="*/ 1470357 w 1672940"/>
                  <a:gd name="connsiteY245" fmla="*/ 118641 h 1117010"/>
                  <a:gd name="connsiteX246" fmla="*/ 1468842 w 1672940"/>
                  <a:gd name="connsiteY246" fmla="*/ 116823 h 1117010"/>
                  <a:gd name="connsiteX247" fmla="*/ 1469297 w 1672940"/>
                  <a:gd name="connsiteY247" fmla="*/ 115307 h 1117010"/>
                  <a:gd name="connsiteX248" fmla="*/ 1468994 w 1672940"/>
                  <a:gd name="connsiteY248" fmla="*/ 114095 h 1117010"/>
                  <a:gd name="connsiteX249" fmla="*/ 1468085 w 1672940"/>
                  <a:gd name="connsiteY249" fmla="*/ 113186 h 1117010"/>
                  <a:gd name="connsiteX250" fmla="*/ 1468085 w 1672940"/>
                  <a:gd name="connsiteY250" fmla="*/ 111671 h 1117010"/>
                  <a:gd name="connsiteX251" fmla="*/ 1469145 w 1672940"/>
                  <a:gd name="connsiteY251" fmla="*/ 109701 h 1117010"/>
                  <a:gd name="connsiteX252" fmla="*/ 1469145 w 1672940"/>
                  <a:gd name="connsiteY252" fmla="*/ 107125 h 1117010"/>
                  <a:gd name="connsiteX253" fmla="*/ 1468085 w 1672940"/>
                  <a:gd name="connsiteY253" fmla="*/ 103943 h 1117010"/>
                  <a:gd name="connsiteX254" fmla="*/ 1465054 w 1672940"/>
                  <a:gd name="connsiteY254" fmla="*/ 99549 h 1117010"/>
                  <a:gd name="connsiteX255" fmla="*/ 1460206 w 1672940"/>
                  <a:gd name="connsiteY255" fmla="*/ 93943 h 1117010"/>
                  <a:gd name="connsiteX256" fmla="*/ 1457630 w 1672940"/>
                  <a:gd name="connsiteY256" fmla="*/ 89852 h 1117010"/>
                  <a:gd name="connsiteX257" fmla="*/ 1457327 w 1672940"/>
                  <a:gd name="connsiteY257" fmla="*/ 87276 h 1117010"/>
                  <a:gd name="connsiteX258" fmla="*/ 1456721 w 1672940"/>
                  <a:gd name="connsiteY258" fmla="*/ 85155 h 1117010"/>
                  <a:gd name="connsiteX259" fmla="*/ 1455812 w 1672940"/>
                  <a:gd name="connsiteY259" fmla="*/ 84094 h 1117010"/>
                  <a:gd name="connsiteX260" fmla="*/ 1455205 w 1672940"/>
                  <a:gd name="connsiteY260" fmla="*/ 82124 h 1117010"/>
                  <a:gd name="connsiteX261" fmla="*/ 1455660 w 1672940"/>
                  <a:gd name="connsiteY261" fmla="*/ 80003 h 1117010"/>
                  <a:gd name="connsiteX262" fmla="*/ 1455054 w 1672940"/>
                  <a:gd name="connsiteY262" fmla="*/ 78639 h 1117010"/>
                  <a:gd name="connsiteX263" fmla="*/ 1454296 w 1672940"/>
                  <a:gd name="connsiteY263" fmla="*/ 77276 h 1117010"/>
                  <a:gd name="connsiteX264" fmla="*/ 1454448 w 1672940"/>
                  <a:gd name="connsiteY264" fmla="*/ 75154 h 1117010"/>
                  <a:gd name="connsiteX265" fmla="*/ 1453539 w 1672940"/>
                  <a:gd name="connsiteY265" fmla="*/ 73791 h 1117010"/>
                  <a:gd name="connsiteX266" fmla="*/ 1451721 w 1672940"/>
                  <a:gd name="connsiteY266" fmla="*/ 73033 h 1117010"/>
                  <a:gd name="connsiteX267" fmla="*/ 1451114 w 1672940"/>
                  <a:gd name="connsiteY267" fmla="*/ 71518 h 1117010"/>
                  <a:gd name="connsiteX268" fmla="*/ 1451417 w 1672940"/>
                  <a:gd name="connsiteY268" fmla="*/ 68184 h 1117010"/>
                  <a:gd name="connsiteX269" fmla="*/ 1450205 w 1672940"/>
                  <a:gd name="connsiteY269" fmla="*/ 65305 h 1117010"/>
                  <a:gd name="connsiteX270" fmla="*/ 1446266 w 1672940"/>
                  <a:gd name="connsiteY270" fmla="*/ 60002 h 1117010"/>
                  <a:gd name="connsiteX271" fmla="*/ 1445054 w 1672940"/>
                  <a:gd name="connsiteY271" fmla="*/ 56214 h 1117010"/>
                  <a:gd name="connsiteX272" fmla="*/ 1444750 w 1672940"/>
                  <a:gd name="connsiteY272" fmla="*/ 52729 h 1117010"/>
                  <a:gd name="connsiteX273" fmla="*/ 1443084 w 1672940"/>
                  <a:gd name="connsiteY273" fmla="*/ 51063 h 1117010"/>
                  <a:gd name="connsiteX274" fmla="*/ 1442932 w 1672940"/>
                  <a:gd name="connsiteY274" fmla="*/ 49547 h 1117010"/>
                  <a:gd name="connsiteX275" fmla="*/ 1442780 w 1672940"/>
                  <a:gd name="connsiteY275" fmla="*/ 46972 h 1117010"/>
                  <a:gd name="connsiteX276" fmla="*/ 1441720 w 1672940"/>
                  <a:gd name="connsiteY276" fmla="*/ 46214 h 1117010"/>
                  <a:gd name="connsiteX277" fmla="*/ 1441114 w 1672940"/>
                  <a:gd name="connsiteY277" fmla="*/ 45305 h 1117010"/>
                  <a:gd name="connsiteX278" fmla="*/ 1441569 w 1672940"/>
                  <a:gd name="connsiteY278" fmla="*/ 44244 h 1117010"/>
                  <a:gd name="connsiteX279" fmla="*/ 1440811 w 1672940"/>
                  <a:gd name="connsiteY279" fmla="*/ 42880 h 1117010"/>
                  <a:gd name="connsiteX280" fmla="*/ 1438690 w 1672940"/>
                  <a:gd name="connsiteY280" fmla="*/ 41214 h 1117010"/>
                  <a:gd name="connsiteX281" fmla="*/ 1437781 w 1672940"/>
                  <a:gd name="connsiteY281" fmla="*/ 39850 h 1117010"/>
                  <a:gd name="connsiteX282" fmla="*/ 1437478 w 1672940"/>
                  <a:gd name="connsiteY282" fmla="*/ 38486 h 1117010"/>
                  <a:gd name="connsiteX283" fmla="*/ 1436417 w 1672940"/>
                  <a:gd name="connsiteY283" fmla="*/ 37426 h 1117010"/>
                  <a:gd name="connsiteX284" fmla="*/ 1433386 w 1672940"/>
                  <a:gd name="connsiteY284" fmla="*/ 36517 h 1117010"/>
                  <a:gd name="connsiteX285" fmla="*/ 1432629 w 1672940"/>
                  <a:gd name="connsiteY285" fmla="*/ 35153 h 1117010"/>
                  <a:gd name="connsiteX286" fmla="*/ 1432780 w 1672940"/>
                  <a:gd name="connsiteY286" fmla="*/ 33941 h 1117010"/>
                  <a:gd name="connsiteX287" fmla="*/ 1433386 w 1672940"/>
                  <a:gd name="connsiteY287" fmla="*/ 32880 h 1117010"/>
                  <a:gd name="connsiteX288" fmla="*/ 1433690 w 1672940"/>
                  <a:gd name="connsiteY288" fmla="*/ 32122 h 1117010"/>
                  <a:gd name="connsiteX289" fmla="*/ 1433538 w 1672940"/>
                  <a:gd name="connsiteY289" fmla="*/ 31213 h 1117010"/>
                  <a:gd name="connsiteX290" fmla="*/ 1433386 w 1672940"/>
                  <a:gd name="connsiteY290" fmla="*/ 30304 h 1117010"/>
                  <a:gd name="connsiteX291" fmla="*/ 1432174 w 1672940"/>
                  <a:gd name="connsiteY291" fmla="*/ 29243 h 1117010"/>
                  <a:gd name="connsiteX292" fmla="*/ 1430507 w 1672940"/>
                  <a:gd name="connsiteY292" fmla="*/ 28031 h 1117010"/>
                  <a:gd name="connsiteX293" fmla="*/ 1428537 w 1672940"/>
                  <a:gd name="connsiteY293" fmla="*/ 25455 h 1117010"/>
                  <a:gd name="connsiteX294" fmla="*/ 1426113 w 1672940"/>
                  <a:gd name="connsiteY294" fmla="*/ 24698 h 1117010"/>
                  <a:gd name="connsiteX295" fmla="*/ 1424598 w 1672940"/>
                  <a:gd name="connsiteY295" fmla="*/ 24698 h 1117010"/>
                  <a:gd name="connsiteX296" fmla="*/ 1423235 w 1672940"/>
                  <a:gd name="connsiteY296" fmla="*/ 23183 h 1117010"/>
                  <a:gd name="connsiteX297" fmla="*/ 1423689 w 1672940"/>
                  <a:gd name="connsiteY297" fmla="*/ 22274 h 1117010"/>
                  <a:gd name="connsiteX298" fmla="*/ 1423538 w 1672940"/>
                  <a:gd name="connsiteY298" fmla="*/ 20455 h 1117010"/>
                  <a:gd name="connsiteX299" fmla="*/ 1422325 w 1672940"/>
                  <a:gd name="connsiteY299" fmla="*/ 19092 h 1117010"/>
                  <a:gd name="connsiteX300" fmla="*/ 1420810 w 1672940"/>
                  <a:gd name="connsiteY300" fmla="*/ 18486 h 1117010"/>
                  <a:gd name="connsiteX301" fmla="*/ 1419447 w 1672940"/>
                  <a:gd name="connsiteY301" fmla="*/ 18789 h 1117010"/>
                  <a:gd name="connsiteX302" fmla="*/ 1416113 w 1672940"/>
                  <a:gd name="connsiteY302" fmla="*/ 17425 h 1117010"/>
                  <a:gd name="connsiteX303" fmla="*/ 1410658 w 1672940"/>
                  <a:gd name="connsiteY303" fmla="*/ 14395 h 1117010"/>
                  <a:gd name="connsiteX304" fmla="*/ 1406568 w 1672940"/>
                  <a:gd name="connsiteY304" fmla="*/ 13031 h 1117010"/>
                  <a:gd name="connsiteX305" fmla="*/ 1403689 w 1672940"/>
                  <a:gd name="connsiteY305" fmla="*/ 13334 h 1117010"/>
                  <a:gd name="connsiteX306" fmla="*/ 1401870 w 1672940"/>
                  <a:gd name="connsiteY306" fmla="*/ 14243 h 1117010"/>
                  <a:gd name="connsiteX307" fmla="*/ 1401264 w 1672940"/>
                  <a:gd name="connsiteY307" fmla="*/ 15910 h 1117010"/>
                  <a:gd name="connsiteX308" fmla="*/ 1399294 w 1672940"/>
                  <a:gd name="connsiteY308" fmla="*/ 15758 h 1117010"/>
                  <a:gd name="connsiteX309" fmla="*/ 1394597 w 1672940"/>
                  <a:gd name="connsiteY309" fmla="*/ 12879 h 1117010"/>
                  <a:gd name="connsiteX310" fmla="*/ 1389900 w 1672940"/>
                  <a:gd name="connsiteY310" fmla="*/ 12122 h 1117010"/>
                  <a:gd name="connsiteX311" fmla="*/ 1387324 w 1672940"/>
                  <a:gd name="connsiteY311" fmla="*/ 10607 h 1117010"/>
                  <a:gd name="connsiteX312" fmla="*/ 1385203 w 1672940"/>
                  <a:gd name="connsiteY312" fmla="*/ 8031 h 1117010"/>
                  <a:gd name="connsiteX313" fmla="*/ 1383233 w 1672940"/>
                  <a:gd name="connsiteY313" fmla="*/ 6970 h 1117010"/>
                  <a:gd name="connsiteX314" fmla="*/ 1381415 w 1672940"/>
                  <a:gd name="connsiteY314" fmla="*/ 7425 h 1117010"/>
                  <a:gd name="connsiteX315" fmla="*/ 1377021 w 1672940"/>
                  <a:gd name="connsiteY315" fmla="*/ 5606 h 1117010"/>
                  <a:gd name="connsiteX316" fmla="*/ 1370051 w 1672940"/>
                  <a:gd name="connsiteY316" fmla="*/ 1667 h 1117010"/>
                  <a:gd name="connsiteX317" fmla="*/ 1366414 w 1672940"/>
                  <a:gd name="connsiteY317" fmla="*/ 303 h 1117010"/>
                  <a:gd name="connsiteX318" fmla="*/ 1365050 w 1672940"/>
                  <a:gd name="connsiteY318" fmla="*/ 1061 h 1117010"/>
                  <a:gd name="connsiteX319" fmla="*/ 1364293 w 1672940"/>
                  <a:gd name="connsiteY319" fmla="*/ 1061 h 1117010"/>
                  <a:gd name="connsiteX320" fmla="*/ 1363080 w 1672940"/>
                  <a:gd name="connsiteY320" fmla="*/ 909 h 1117010"/>
                  <a:gd name="connsiteX321" fmla="*/ 1361262 w 1672940"/>
                  <a:gd name="connsiteY321" fmla="*/ 909 h 1117010"/>
                  <a:gd name="connsiteX322" fmla="*/ 1358081 w 1672940"/>
                  <a:gd name="connsiteY322" fmla="*/ 0 h 1117010"/>
                  <a:gd name="connsiteX323" fmla="*/ 1353838 w 1672940"/>
                  <a:gd name="connsiteY323" fmla="*/ 455 h 1117010"/>
                  <a:gd name="connsiteX324" fmla="*/ 1348535 w 1672940"/>
                  <a:gd name="connsiteY324" fmla="*/ 2273 h 1117010"/>
                  <a:gd name="connsiteX325" fmla="*/ 1342777 w 1672940"/>
                  <a:gd name="connsiteY325" fmla="*/ 3333 h 1117010"/>
                  <a:gd name="connsiteX326" fmla="*/ 1336564 w 1672940"/>
                  <a:gd name="connsiteY326" fmla="*/ 3788 h 1117010"/>
                  <a:gd name="connsiteX327" fmla="*/ 1332928 w 1672940"/>
                  <a:gd name="connsiteY327" fmla="*/ 3637 h 1117010"/>
                  <a:gd name="connsiteX328" fmla="*/ 1331716 w 1672940"/>
                  <a:gd name="connsiteY328" fmla="*/ 2727 h 1117010"/>
                  <a:gd name="connsiteX329" fmla="*/ 1324898 w 1672940"/>
                  <a:gd name="connsiteY329" fmla="*/ 3940 h 1117010"/>
                  <a:gd name="connsiteX330" fmla="*/ 1315503 w 1672940"/>
                  <a:gd name="connsiteY330" fmla="*/ 6515 h 1117010"/>
                  <a:gd name="connsiteX331" fmla="*/ 1306260 w 1672940"/>
                  <a:gd name="connsiteY331" fmla="*/ 8940 h 1117010"/>
                  <a:gd name="connsiteX332" fmla="*/ 1295199 w 1672940"/>
                  <a:gd name="connsiteY332" fmla="*/ 10000 h 1117010"/>
                  <a:gd name="connsiteX333" fmla="*/ 1287472 w 1672940"/>
                  <a:gd name="connsiteY333" fmla="*/ 14243 h 1117010"/>
                  <a:gd name="connsiteX334" fmla="*/ 1279744 w 1672940"/>
                  <a:gd name="connsiteY334" fmla="*/ 21819 h 1117010"/>
                  <a:gd name="connsiteX335" fmla="*/ 1274138 w 1672940"/>
                  <a:gd name="connsiteY335" fmla="*/ 26516 h 1117010"/>
                  <a:gd name="connsiteX336" fmla="*/ 1270805 w 1672940"/>
                  <a:gd name="connsiteY336" fmla="*/ 28486 h 1117010"/>
                  <a:gd name="connsiteX337" fmla="*/ 1269441 w 1672940"/>
                  <a:gd name="connsiteY337" fmla="*/ 31062 h 1117010"/>
                  <a:gd name="connsiteX338" fmla="*/ 1270047 w 1672940"/>
                  <a:gd name="connsiteY338" fmla="*/ 34244 h 1117010"/>
                  <a:gd name="connsiteX339" fmla="*/ 1272926 w 1672940"/>
                  <a:gd name="connsiteY339" fmla="*/ 35304 h 1117010"/>
                  <a:gd name="connsiteX340" fmla="*/ 1278077 w 1672940"/>
                  <a:gd name="connsiteY340" fmla="*/ 34395 h 1117010"/>
                  <a:gd name="connsiteX341" fmla="*/ 1282472 w 1672940"/>
                  <a:gd name="connsiteY341" fmla="*/ 34850 h 1117010"/>
                  <a:gd name="connsiteX342" fmla="*/ 1286108 w 1672940"/>
                  <a:gd name="connsiteY342" fmla="*/ 36668 h 1117010"/>
                  <a:gd name="connsiteX343" fmla="*/ 1287320 w 1672940"/>
                  <a:gd name="connsiteY343" fmla="*/ 39395 h 1117010"/>
                  <a:gd name="connsiteX344" fmla="*/ 1285957 w 1672940"/>
                  <a:gd name="connsiteY344" fmla="*/ 43032 h 1117010"/>
                  <a:gd name="connsiteX345" fmla="*/ 1286411 w 1672940"/>
                  <a:gd name="connsiteY345" fmla="*/ 46517 h 1117010"/>
                  <a:gd name="connsiteX346" fmla="*/ 1288532 w 1672940"/>
                  <a:gd name="connsiteY346" fmla="*/ 50002 h 1117010"/>
                  <a:gd name="connsiteX347" fmla="*/ 1288684 w 1672940"/>
                  <a:gd name="connsiteY347" fmla="*/ 53941 h 1117010"/>
                  <a:gd name="connsiteX348" fmla="*/ 1286866 w 1672940"/>
                  <a:gd name="connsiteY348" fmla="*/ 58487 h 1117010"/>
                  <a:gd name="connsiteX349" fmla="*/ 1282169 w 1672940"/>
                  <a:gd name="connsiteY349" fmla="*/ 63033 h 1117010"/>
                  <a:gd name="connsiteX350" fmla="*/ 1274744 w 1672940"/>
                  <a:gd name="connsiteY350" fmla="*/ 67578 h 1117010"/>
                  <a:gd name="connsiteX351" fmla="*/ 1270047 w 1672940"/>
                  <a:gd name="connsiteY351" fmla="*/ 71972 h 1117010"/>
                  <a:gd name="connsiteX352" fmla="*/ 1267320 w 1672940"/>
                  <a:gd name="connsiteY352" fmla="*/ 78488 h 1117010"/>
                  <a:gd name="connsiteX353" fmla="*/ 1263077 w 1672940"/>
                  <a:gd name="connsiteY353" fmla="*/ 84094 h 1117010"/>
                  <a:gd name="connsiteX354" fmla="*/ 1261562 w 1672940"/>
                  <a:gd name="connsiteY354" fmla="*/ 87276 h 1117010"/>
                  <a:gd name="connsiteX355" fmla="*/ 1261259 w 1672940"/>
                  <a:gd name="connsiteY355" fmla="*/ 89852 h 1117010"/>
                  <a:gd name="connsiteX356" fmla="*/ 1259592 w 1672940"/>
                  <a:gd name="connsiteY356" fmla="*/ 92731 h 1117010"/>
                  <a:gd name="connsiteX357" fmla="*/ 1256562 w 1672940"/>
                  <a:gd name="connsiteY357" fmla="*/ 95761 h 1117010"/>
                  <a:gd name="connsiteX358" fmla="*/ 1254895 w 1672940"/>
                  <a:gd name="connsiteY358" fmla="*/ 98792 h 1117010"/>
                  <a:gd name="connsiteX359" fmla="*/ 1254592 w 1672940"/>
                  <a:gd name="connsiteY359" fmla="*/ 101822 h 1117010"/>
                  <a:gd name="connsiteX360" fmla="*/ 1253077 w 1672940"/>
                  <a:gd name="connsiteY360" fmla="*/ 104549 h 1117010"/>
                  <a:gd name="connsiteX361" fmla="*/ 1250349 w 1672940"/>
                  <a:gd name="connsiteY361" fmla="*/ 106974 h 1117010"/>
                  <a:gd name="connsiteX362" fmla="*/ 1248682 w 1672940"/>
                  <a:gd name="connsiteY362" fmla="*/ 109550 h 1117010"/>
                  <a:gd name="connsiteX363" fmla="*/ 1248077 w 1672940"/>
                  <a:gd name="connsiteY363" fmla="*/ 112277 h 1117010"/>
                  <a:gd name="connsiteX364" fmla="*/ 1247016 w 1672940"/>
                  <a:gd name="connsiteY364" fmla="*/ 114095 h 1117010"/>
                  <a:gd name="connsiteX365" fmla="*/ 1245501 w 1672940"/>
                  <a:gd name="connsiteY365" fmla="*/ 115004 h 1117010"/>
                  <a:gd name="connsiteX366" fmla="*/ 1246258 w 1672940"/>
                  <a:gd name="connsiteY366" fmla="*/ 115913 h 1117010"/>
                  <a:gd name="connsiteX367" fmla="*/ 1249289 w 1672940"/>
                  <a:gd name="connsiteY367" fmla="*/ 116823 h 1117010"/>
                  <a:gd name="connsiteX368" fmla="*/ 1250500 w 1672940"/>
                  <a:gd name="connsiteY368" fmla="*/ 119550 h 1117010"/>
                  <a:gd name="connsiteX369" fmla="*/ 1249895 w 1672940"/>
                  <a:gd name="connsiteY369" fmla="*/ 123944 h 1117010"/>
                  <a:gd name="connsiteX370" fmla="*/ 1248077 w 1672940"/>
                  <a:gd name="connsiteY370" fmla="*/ 127126 h 1117010"/>
                  <a:gd name="connsiteX371" fmla="*/ 1245046 w 1672940"/>
                  <a:gd name="connsiteY371" fmla="*/ 128944 h 1117010"/>
                  <a:gd name="connsiteX372" fmla="*/ 1240501 w 1672940"/>
                  <a:gd name="connsiteY372" fmla="*/ 130156 h 1117010"/>
                  <a:gd name="connsiteX373" fmla="*/ 1234439 w 1672940"/>
                  <a:gd name="connsiteY373" fmla="*/ 130762 h 1117010"/>
                  <a:gd name="connsiteX374" fmla="*/ 1226106 w 1672940"/>
                  <a:gd name="connsiteY374" fmla="*/ 135005 h 1117010"/>
                  <a:gd name="connsiteX375" fmla="*/ 1218833 w 1672940"/>
                  <a:gd name="connsiteY375" fmla="*/ 140460 h 1117010"/>
                  <a:gd name="connsiteX376" fmla="*/ 1210196 w 1672940"/>
                  <a:gd name="connsiteY376" fmla="*/ 146824 h 1117010"/>
                  <a:gd name="connsiteX377" fmla="*/ 1208530 w 1672940"/>
                  <a:gd name="connsiteY377" fmla="*/ 146824 h 1117010"/>
                  <a:gd name="connsiteX378" fmla="*/ 1205348 w 1672940"/>
                  <a:gd name="connsiteY378" fmla="*/ 146066 h 1117010"/>
                  <a:gd name="connsiteX379" fmla="*/ 1199286 w 1672940"/>
                  <a:gd name="connsiteY379" fmla="*/ 143490 h 1117010"/>
                  <a:gd name="connsiteX380" fmla="*/ 1192923 w 1672940"/>
                  <a:gd name="connsiteY380" fmla="*/ 142884 h 1117010"/>
                  <a:gd name="connsiteX381" fmla="*/ 1186863 w 1672940"/>
                  <a:gd name="connsiteY381" fmla="*/ 140460 h 1117010"/>
                  <a:gd name="connsiteX382" fmla="*/ 1183225 w 1672940"/>
                  <a:gd name="connsiteY382" fmla="*/ 138793 h 1117010"/>
                  <a:gd name="connsiteX383" fmla="*/ 1177619 w 1672940"/>
                  <a:gd name="connsiteY383" fmla="*/ 135763 h 1117010"/>
                  <a:gd name="connsiteX384" fmla="*/ 1175043 w 1672940"/>
                  <a:gd name="connsiteY384" fmla="*/ 140763 h 1117010"/>
                  <a:gd name="connsiteX385" fmla="*/ 1169891 w 1672940"/>
                  <a:gd name="connsiteY385" fmla="*/ 150612 h 1117010"/>
                  <a:gd name="connsiteX386" fmla="*/ 1165498 w 1672940"/>
                  <a:gd name="connsiteY386" fmla="*/ 158945 h 1117010"/>
                  <a:gd name="connsiteX387" fmla="*/ 1163224 w 1672940"/>
                  <a:gd name="connsiteY387" fmla="*/ 163642 h 1117010"/>
                  <a:gd name="connsiteX388" fmla="*/ 1161558 w 1672940"/>
                  <a:gd name="connsiteY388" fmla="*/ 167279 h 1117010"/>
                  <a:gd name="connsiteX389" fmla="*/ 1159740 w 1672940"/>
                  <a:gd name="connsiteY389" fmla="*/ 170612 h 1117010"/>
                  <a:gd name="connsiteX390" fmla="*/ 1159436 w 1672940"/>
                  <a:gd name="connsiteY390" fmla="*/ 172582 h 1117010"/>
                  <a:gd name="connsiteX391" fmla="*/ 1157467 w 1672940"/>
                  <a:gd name="connsiteY391" fmla="*/ 175916 h 1117010"/>
                  <a:gd name="connsiteX392" fmla="*/ 1153830 w 1672940"/>
                  <a:gd name="connsiteY392" fmla="*/ 179855 h 1117010"/>
                  <a:gd name="connsiteX393" fmla="*/ 1153073 w 1672940"/>
                  <a:gd name="connsiteY393" fmla="*/ 184098 h 1117010"/>
                  <a:gd name="connsiteX394" fmla="*/ 1153224 w 1672940"/>
                  <a:gd name="connsiteY394" fmla="*/ 187886 h 1117010"/>
                  <a:gd name="connsiteX395" fmla="*/ 1152921 w 1672940"/>
                  <a:gd name="connsiteY395" fmla="*/ 191371 h 1117010"/>
                  <a:gd name="connsiteX396" fmla="*/ 1148982 w 1672940"/>
                  <a:gd name="connsiteY396" fmla="*/ 193492 h 1117010"/>
                  <a:gd name="connsiteX397" fmla="*/ 1145800 w 1672940"/>
                  <a:gd name="connsiteY397" fmla="*/ 195462 h 1117010"/>
                  <a:gd name="connsiteX398" fmla="*/ 1146709 w 1672940"/>
                  <a:gd name="connsiteY398" fmla="*/ 201977 h 1117010"/>
                  <a:gd name="connsiteX399" fmla="*/ 1148376 w 1672940"/>
                  <a:gd name="connsiteY399" fmla="*/ 204401 h 1117010"/>
                  <a:gd name="connsiteX400" fmla="*/ 1150951 w 1672940"/>
                  <a:gd name="connsiteY400" fmla="*/ 206977 h 1117010"/>
                  <a:gd name="connsiteX401" fmla="*/ 1153679 w 1672940"/>
                  <a:gd name="connsiteY401" fmla="*/ 209099 h 1117010"/>
                  <a:gd name="connsiteX402" fmla="*/ 1156103 w 1672940"/>
                  <a:gd name="connsiteY402" fmla="*/ 210917 h 1117010"/>
                  <a:gd name="connsiteX403" fmla="*/ 1158679 w 1672940"/>
                  <a:gd name="connsiteY403" fmla="*/ 210008 h 1117010"/>
                  <a:gd name="connsiteX404" fmla="*/ 1160952 w 1672940"/>
                  <a:gd name="connsiteY404" fmla="*/ 207280 h 1117010"/>
                  <a:gd name="connsiteX405" fmla="*/ 1165194 w 1672940"/>
                  <a:gd name="connsiteY405" fmla="*/ 204856 h 1117010"/>
                  <a:gd name="connsiteX406" fmla="*/ 1167619 w 1672940"/>
                  <a:gd name="connsiteY406" fmla="*/ 204856 h 1117010"/>
                  <a:gd name="connsiteX407" fmla="*/ 1169286 w 1672940"/>
                  <a:gd name="connsiteY407" fmla="*/ 205462 h 1117010"/>
                  <a:gd name="connsiteX408" fmla="*/ 1172922 w 1672940"/>
                  <a:gd name="connsiteY408" fmla="*/ 205614 h 1117010"/>
                  <a:gd name="connsiteX409" fmla="*/ 1176710 w 1672940"/>
                  <a:gd name="connsiteY409" fmla="*/ 204704 h 1117010"/>
                  <a:gd name="connsiteX410" fmla="*/ 1179741 w 1672940"/>
                  <a:gd name="connsiteY410" fmla="*/ 204553 h 1117010"/>
                  <a:gd name="connsiteX411" fmla="*/ 1183529 w 1672940"/>
                  <a:gd name="connsiteY411" fmla="*/ 205159 h 1117010"/>
                  <a:gd name="connsiteX412" fmla="*/ 1184893 w 1672940"/>
                  <a:gd name="connsiteY412" fmla="*/ 205765 h 1117010"/>
                  <a:gd name="connsiteX413" fmla="*/ 1188074 w 1672940"/>
                  <a:gd name="connsiteY413" fmla="*/ 206826 h 1117010"/>
                  <a:gd name="connsiteX414" fmla="*/ 1191560 w 1672940"/>
                  <a:gd name="connsiteY414" fmla="*/ 209099 h 1117010"/>
                  <a:gd name="connsiteX415" fmla="*/ 1193984 w 1672940"/>
                  <a:gd name="connsiteY415" fmla="*/ 211674 h 1117010"/>
                  <a:gd name="connsiteX416" fmla="*/ 1195802 w 1672940"/>
                  <a:gd name="connsiteY416" fmla="*/ 212129 h 1117010"/>
                  <a:gd name="connsiteX417" fmla="*/ 1196711 w 1672940"/>
                  <a:gd name="connsiteY417" fmla="*/ 211371 h 1117010"/>
                  <a:gd name="connsiteX418" fmla="*/ 1198681 w 1672940"/>
                  <a:gd name="connsiteY418" fmla="*/ 209099 h 1117010"/>
                  <a:gd name="connsiteX419" fmla="*/ 1201408 w 1672940"/>
                  <a:gd name="connsiteY419" fmla="*/ 206826 h 1117010"/>
                  <a:gd name="connsiteX420" fmla="*/ 1204742 w 1672940"/>
                  <a:gd name="connsiteY420" fmla="*/ 203189 h 1117010"/>
                  <a:gd name="connsiteX421" fmla="*/ 1207317 w 1672940"/>
                  <a:gd name="connsiteY421" fmla="*/ 200462 h 1117010"/>
                  <a:gd name="connsiteX422" fmla="*/ 1209287 w 1672940"/>
                  <a:gd name="connsiteY422" fmla="*/ 200007 h 1117010"/>
                  <a:gd name="connsiteX423" fmla="*/ 1213075 w 1672940"/>
                  <a:gd name="connsiteY423" fmla="*/ 200007 h 1117010"/>
                  <a:gd name="connsiteX424" fmla="*/ 1214742 w 1672940"/>
                  <a:gd name="connsiteY424" fmla="*/ 199401 h 1117010"/>
                  <a:gd name="connsiteX425" fmla="*/ 1217621 w 1672940"/>
                  <a:gd name="connsiteY425" fmla="*/ 199098 h 1117010"/>
                  <a:gd name="connsiteX426" fmla="*/ 1220196 w 1672940"/>
                  <a:gd name="connsiteY426" fmla="*/ 200159 h 1117010"/>
                  <a:gd name="connsiteX427" fmla="*/ 1227318 w 1672940"/>
                  <a:gd name="connsiteY427" fmla="*/ 200765 h 1117010"/>
                  <a:gd name="connsiteX428" fmla="*/ 1229288 w 1672940"/>
                  <a:gd name="connsiteY428" fmla="*/ 202129 h 1117010"/>
                  <a:gd name="connsiteX429" fmla="*/ 1232621 w 1672940"/>
                  <a:gd name="connsiteY429" fmla="*/ 206371 h 1117010"/>
                  <a:gd name="connsiteX430" fmla="*/ 1234591 w 1672940"/>
                  <a:gd name="connsiteY430" fmla="*/ 208644 h 1117010"/>
                  <a:gd name="connsiteX431" fmla="*/ 1237925 w 1672940"/>
                  <a:gd name="connsiteY431" fmla="*/ 209705 h 1117010"/>
                  <a:gd name="connsiteX432" fmla="*/ 1239895 w 1672940"/>
                  <a:gd name="connsiteY432" fmla="*/ 210462 h 1117010"/>
                  <a:gd name="connsiteX433" fmla="*/ 1241713 w 1672940"/>
                  <a:gd name="connsiteY433" fmla="*/ 211068 h 1117010"/>
                  <a:gd name="connsiteX434" fmla="*/ 1243531 w 1672940"/>
                  <a:gd name="connsiteY434" fmla="*/ 212129 h 1117010"/>
                  <a:gd name="connsiteX435" fmla="*/ 1243985 w 1672940"/>
                  <a:gd name="connsiteY435" fmla="*/ 213493 h 1117010"/>
                  <a:gd name="connsiteX436" fmla="*/ 1244743 w 1672940"/>
                  <a:gd name="connsiteY436" fmla="*/ 215462 h 1117010"/>
                  <a:gd name="connsiteX437" fmla="*/ 1245803 w 1672940"/>
                  <a:gd name="connsiteY437" fmla="*/ 216675 h 1117010"/>
                  <a:gd name="connsiteX438" fmla="*/ 1247773 w 1672940"/>
                  <a:gd name="connsiteY438" fmla="*/ 217735 h 1117010"/>
                  <a:gd name="connsiteX439" fmla="*/ 1249289 w 1672940"/>
                  <a:gd name="connsiteY439" fmla="*/ 218493 h 1117010"/>
                  <a:gd name="connsiteX440" fmla="*/ 1249743 w 1672940"/>
                  <a:gd name="connsiteY440" fmla="*/ 220008 h 1117010"/>
                  <a:gd name="connsiteX441" fmla="*/ 1250198 w 1672940"/>
                  <a:gd name="connsiteY441" fmla="*/ 220766 h 1117010"/>
                  <a:gd name="connsiteX442" fmla="*/ 1251561 w 1672940"/>
                  <a:gd name="connsiteY442" fmla="*/ 221826 h 1117010"/>
                  <a:gd name="connsiteX443" fmla="*/ 1255653 w 1672940"/>
                  <a:gd name="connsiteY443" fmla="*/ 226220 h 1117010"/>
                  <a:gd name="connsiteX444" fmla="*/ 1257622 w 1672940"/>
                  <a:gd name="connsiteY444" fmla="*/ 227433 h 1117010"/>
                  <a:gd name="connsiteX445" fmla="*/ 1260653 w 1672940"/>
                  <a:gd name="connsiteY445" fmla="*/ 230008 h 1117010"/>
                  <a:gd name="connsiteX446" fmla="*/ 1261865 w 1672940"/>
                  <a:gd name="connsiteY446" fmla="*/ 232130 h 1117010"/>
                  <a:gd name="connsiteX447" fmla="*/ 1261865 w 1672940"/>
                  <a:gd name="connsiteY447" fmla="*/ 234251 h 1117010"/>
                  <a:gd name="connsiteX448" fmla="*/ 1262623 w 1672940"/>
                  <a:gd name="connsiteY448" fmla="*/ 235918 h 1117010"/>
                  <a:gd name="connsiteX449" fmla="*/ 1264592 w 1672940"/>
                  <a:gd name="connsiteY449" fmla="*/ 238342 h 1117010"/>
                  <a:gd name="connsiteX450" fmla="*/ 1265501 w 1672940"/>
                  <a:gd name="connsiteY450" fmla="*/ 240009 h 1117010"/>
                  <a:gd name="connsiteX451" fmla="*/ 1265198 w 1672940"/>
                  <a:gd name="connsiteY451" fmla="*/ 242282 h 1117010"/>
                  <a:gd name="connsiteX452" fmla="*/ 1265501 w 1672940"/>
                  <a:gd name="connsiteY452" fmla="*/ 244251 h 1117010"/>
                  <a:gd name="connsiteX453" fmla="*/ 1264743 w 1672940"/>
                  <a:gd name="connsiteY453" fmla="*/ 246373 h 1117010"/>
                  <a:gd name="connsiteX454" fmla="*/ 1261410 w 1672940"/>
                  <a:gd name="connsiteY454" fmla="*/ 247888 h 1117010"/>
                  <a:gd name="connsiteX455" fmla="*/ 1260350 w 1672940"/>
                  <a:gd name="connsiteY455" fmla="*/ 248645 h 1117010"/>
                  <a:gd name="connsiteX456" fmla="*/ 1257925 w 1672940"/>
                  <a:gd name="connsiteY456" fmla="*/ 248645 h 1117010"/>
                  <a:gd name="connsiteX457" fmla="*/ 1253986 w 1672940"/>
                  <a:gd name="connsiteY457" fmla="*/ 247888 h 1117010"/>
                  <a:gd name="connsiteX458" fmla="*/ 1250046 w 1672940"/>
                  <a:gd name="connsiteY458" fmla="*/ 248343 h 1117010"/>
                  <a:gd name="connsiteX459" fmla="*/ 1245349 w 1672940"/>
                  <a:gd name="connsiteY459" fmla="*/ 247433 h 1117010"/>
                  <a:gd name="connsiteX460" fmla="*/ 1241713 w 1672940"/>
                  <a:gd name="connsiteY460" fmla="*/ 245615 h 1117010"/>
                  <a:gd name="connsiteX461" fmla="*/ 1239743 w 1672940"/>
                  <a:gd name="connsiteY461" fmla="*/ 244100 h 1117010"/>
                  <a:gd name="connsiteX462" fmla="*/ 1236713 w 1672940"/>
                  <a:gd name="connsiteY462" fmla="*/ 243191 h 1117010"/>
                  <a:gd name="connsiteX463" fmla="*/ 1235197 w 1672940"/>
                  <a:gd name="connsiteY463" fmla="*/ 243645 h 1117010"/>
                  <a:gd name="connsiteX464" fmla="*/ 1233379 w 1672940"/>
                  <a:gd name="connsiteY464" fmla="*/ 245615 h 1117010"/>
                  <a:gd name="connsiteX465" fmla="*/ 1231409 w 1672940"/>
                  <a:gd name="connsiteY465" fmla="*/ 245312 h 1117010"/>
                  <a:gd name="connsiteX466" fmla="*/ 1229591 w 1672940"/>
                  <a:gd name="connsiteY466" fmla="*/ 245615 h 1117010"/>
                  <a:gd name="connsiteX467" fmla="*/ 1224743 w 1672940"/>
                  <a:gd name="connsiteY467" fmla="*/ 245160 h 1117010"/>
                  <a:gd name="connsiteX468" fmla="*/ 1222166 w 1672940"/>
                  <a:gd name="connsiteY468" fmla="*/ 244706 h 1117010"/>
                  <a:gd name="connsiteX469" fmla="*/ 1218076 w 1672940"/>
                  <a:gd name="connsiteY469" fmla="*/ 246070 h 1117010"/>
                  <a:gd name="connsiteX470" fmla="*/ 1215803 w 1672940"/>
                  <a:gd name="connsiteY470" fmla="*/ 246524 h 1117010"/>
                  <a:gd name="connsiteX471" fmla="*/ 1211409 w 1672940"/>
                  <a:gd name="connsiteY471" fmla="*/ 248191 h 1117010"/>
                  <a:gd name="connsiteX472" fmla="*/ 1208681 w 1672940"/>
                  <a:gd name="connsiteY472" fmla="*/ 250918 h 1117010"/>
                  <a:gd name="connsiteX473" fmla="*/ 1206712 w 1672940"/>
                  <a:gd name="connsiteY473" fmla="*/ 251524 h 1117010"/>
                  <a:gd name="connsiteX474" fmla="*/ 1204742 w 1672940"/>
                  <a:gd name="connsiteY474" fmla="*/ 251373 h 1117010"/>
                  <a:gd name="connsiteX475" fmla="*/ 1203378 w 1672940"/>
                  <a:gd name="connsiteY475" fmla="*/ 250312 h 1117010"/>
                  <a:gd name="connsiteX476" fmla="*/ 1201408 w 1672940"/>
                  <a:gd name="connsiteY476" fmla="*/ 249100 h 1117010"/>
                  <a:gd name="connsiteX477" fmla="*/ 1198377 w 1672940"/>
                  <a:gd name="connsiteY477" fmla="*/ 249100 h 1117010"/>
                  <a:gd name="connsiteX478" fmla="*/ 1197468 w 1672940"/>
                  <a:gd name="connsiteY478" fmla="*/ 249555 h 1117010"/>
                  <a:gd name="connsiteX479" fmla="*/ 1197166 w 1672940"/>
                  <a:gd name="connsiteY479" fmla="*/ 250767 h 1117010"/>
                  <a:gd name="connsiteX480" fmla="*/ 1196257 w 1672940"/>
                  <a:gd name="connsiteY480" fmla="*/ 254252 h 1117010"/>
                  <a:gd name="connsiteX481" fmla="*/ 1196257 w 1672940"/>
                  <a:gd name="connsiteY481" fmla="*/ 255767 h 1117010"/>
                  <a:gd name="connsiteX482" fmla="*/ 1195650 w 1672940"/>
                  <a:gd name="connsiteY482" fmla="*/ 256828 h 1117010"/>
                  <a:gd name="connsiteX483" fmla="*/ 1193832 w 1672940"/>
                  <a:gd name="connsiteY483" fmla="*/ 257131 h 1117010"/>
                  <a:gd name="connsiteX484" fmla="*/ 1190801 w 1672940"/>
                  <a:gd name="connsiteY484" fmla="*/ 256979 h 1117010"/>
                  <a:gd name="connsiteX485" fmla="*/ 1185952 w 1672940"/>
                  <a:gd name="connsiteY485" fmla="*/ 256676 h 1117010"/>
                  <a:gd name="connsiteX486" fmla="*/ 1182619 w 1672940"/>
                  <a:gd name="connsiteY486" fmla="*/ 255767 h 1117010"/>
                  <a:gd name="connsiteX487" fmla="*/ 1180650 w 1672940"/>
                  <a:gd name="connsiteY487" fmla="*/ 256222 h 1117010"/>
                  <a:gd name="connsiteX488" fmla="*/ 1177922 w 1672940"/>
                  <a:gd name="connsiteY488" fmla="*/ 258040 h 1117010"/>
                  <a:gd name="connsiteX489" fmla="*/ 1175953 w 1672940"/>
                  <a:gd name="connsiteY489" fmla="*/ 258343 h 1117010"/>
                  <a:gd name="connsiteX490" fmla="*/ 1174438 w 1672940"/>
                  <a:gd name="connsiteY490" fmla="*/ 259100 h 1117010"/>
                  <a:gd name="connsiteX491" fmla="*/ 1173225 w 1672940"/>
                  <a:gd name="connsiteY491" fmla="*/ 261828 h 1117010"/>
                  <a:gd name="connsiteX492" fmla="*/ 1171255 w 1672940"/>
                  <a:gd name="connsiteY492" fmla="*/ 263495 h 1117010"/>
                  <a:gd name="connsiteX493" fmla="*/ 1168831 w 1672940"/>
                  <a:gd name="connsiteY493" fmla="*/ 265616 h 1117010"/>
                  <a:gd name="connsiteX494" fmla="*/ 1166255 w 1672940"/>
                  <a:gd name="connsiteY494" fmla="*/ 270161 h 1117010"/>
                  <a:gd name="connsiteX495" fmla="*/ 1164892 w 1672940"/>
                  <a:gd name="connsiteY495" fmla="*/ 272737 h 1117010"/>
                  <a:gd name="connsiteX496" fmla="*/ 1165346 w 1672940"/>
                  <a:gd name="connsiteY496" fmla="*/ 274101 h 1117010"/>
                  <a:gd name="connsiteX497" fmla="*/ 1165649 w 1672940"/>
                  <a:gd name="connsiteY497" fmla="*/ 275768 h 1117010"/>
                  <a:gd name="connsiteX498" fmla="*/ 1164437 w 1672940"/>
                  <a:gd name="connsiteY498" fmla="*/ 277737 h 1117010"/>
                  <a:gd name="connsiteX499" fmla="*/ 1162013 w 1672940"/>
                  <a:gd name="connsiteY499" fmla="*/ 279556 h 1117010"/>
                  <a:gd name="connsiteX500" fmla="*/ 1160043 w 1672940"/>
                  <a:gd name="connsiteY500" fmla="*/ 279859 h 1117010"/>
                  <a:gd name="connsiteX501" fmla="*/ 1157164 w 1672940"/>
                  <a:gd name="connsiteY501" fmla="*/ 281525 h 1117010"/>
                  <a:gd name="connsiteX502" fmla="*/ 1153224 w 1672940"/>
                  <a:gd name="connsiteY502" fmla="*/ 284556 h 1117010"/>
                  <a:gd name="connsiteX503" fmla="*/ 1150194 w 1672940"/>
                  <a:gd name="connsiteY503" fmla="*/ 287132 h 1117010"/>
                  <a:gd name="connsiteX504" fmla="*/ 1146254 w 1672940"/>
                  <a:gd name="connsiteY504" fmla="*/ 287738 h 1117010"/>
                  <a:gd name="connsiteX505" fmla="*/ 1143527 w 1672940"/>
                  <a:gd name="connsiteY505" fmla="*/ 288344 h 1117010"/>
                  <a:gd name="connsiteX506" fmla="*/ 1137467 w 1672940"/>
                  <a:gd name="connsiteY506" fmla="*/ 289101 h 1117010"/>
                  <a:gd name="connsiteX507" fmla="*/ 1135951 w 1672940"/>
                  <a:gd name="connsiteY507" fmla="*/ 289253 h 1117010"/>
                  <a:gd name="connsiteX508" fmla="*/ 1129284 w 1672940"/>
                  <a:gd name="connsiteY508" fmla="*/ 289708 h 1117010"/>
                  <a:gd name="connsiteX509" fmla="*/ 1124284 w 1672940"/>
                  <a:gd name="connsiteY509" fmla="*/ 288344 h 1117010"/>
                  <a:gd name="connsiteX510" fmla="*/ 1121708 w 1672940"/>
                  <a:gd name="connsiteY510" fmla="*/ 288495 h 1117010"/>
                  <a:gd name="connsiteX511" fmla="*/ 1119435 w 1672940"/>
                  <a:gd name="connsiteY511" fmla="*/ 289253 h 1117010"/>
                  <a:gd name="connsiteX512" fmla="*/ 1118223 w 1672940"/>
                  <a:gd name="connsiteY512" fmla="*/ 290162 h 1117010"/>
                  <a:gd name="connsiteX513" fmla="*/ 1117769 w 1672940"/>
                  <a:gd name="connsiteY513" fmla="*/ 291829 h 1117010"/>
                  <a:gd name="connsiteX514" fmla="*/ 1117314 w 1672940"/>
                  <a:gd name="connsiteY514" fmla="*/ 293344 h 1117010"/>
                  <a:gd name="connsiteX515" fmla="*/ 1115496 w 1672940"/>
                  <a:gd name="connsiteY515" fmla="*/ 295617 h 1117010"/>
                  <a:gd name="connsiteX516" fmla="*/ 1111708 w 1672940"/>
                  <a:gd name="connsiteY516" fmla="*/ 298647 h 1117010"/>
                  <a:gd name="connsiteX517" fmla="*/ 1108526 w 1672940"/>
                  <a:gd name="connsiteY517" fmla="*/ 300769 h 1117010"/>
                  <a:gd name="connsiteX518" fmla="*/ 1106102 w 1672940"/>
                  <a:gd name="connsiteY518" fmla="*/ 303496 h 1117010"/>
                  <a:gd name="connsiteX519" fmla="*/ 1104738 w 1672940"/>
                  <a:gd name="connsiteY519" fmla="*/ 304405 h 1117010"/>
                  <a:gd name="connsiteX520" fmla="*/ 1102010 w 1672940"/>
                  <a:gd name="connsiteY520" fmla="*/ 305466 h 1117010"/>
                  <a:gd name="connsiteX521" fmla="*/ 1100495 w 1672940"/>
                  <a:gd name="connsiteY521" fmla="*/ 306072 h 1117010"/>
                  <a:gd name="connsiteX522" fmla="*/ 1097010 w 1672940"/>
                  <a:gd name="connsiteY522" fmla="*/ 308496 h 1117010"/>
                  <a:gd name="connsiteX523" fmla="*/ 1094283 w 1672940"/>
                  <a:gd name="connsiteY523" fmla="*/ 310617 h 1117010"/>
                  <a:gd name="connsiteX524" fmla="*/ 1092464 w 1672940"/>
                  <a:gd name="connsiteY524" fmla="*/ 311223 h 1117010"/>
                  <a:gd name="connsiteX525" fmla="*/ 1090343 w 1672940"/>
                  <a:gd name="connsiteY525" fmla="*/ 310617 h 1117010"/>
                  <a:gd name="connsiteX526" fmla="*/ 1088980 w 1672940"/>
                  <a:gd name="connsiteY526" fmla="*/ 310466 h 1117010"/>
                  <a:gd name="connsiteX527" fmla="*/ 1084737 w 1672940"/>
                  <a:gd name="connsiteY527" fmla="*/ 309708 h 1117010"/>
                  <a:gd name="connsiteX528" fmla="*/ 1081858 w 1672940"/>
                  <a:gd name="connsiteY528" fmla="*/ 309557 h 1117010"/>
                  <a:gd name="connsiteX529" fmla="*/ 1077919 w 1672940"/>
                  <a:gd name="connsiteY529" fmla="*/ 309102 h 1117010"/>
                  <a:gd name="connsiteX530" fmla="*/ 1068524 w 1672940"/>
                  <a:gd name="connsiteY530" fmla="*/ 306678 h 1117010"/>
                  <a:gd name="connsiteX531" fmla="*/ 1065494 w 1672940"/>
                  <a:gd name="connsiteY531" fmla="*/ 305466 h 1117010"/>
                  <a:gd name="connsiteX532" fmla="*/ 1062766 w 1672940"/>
                  <a:gd name="connsiteY532" fmla="*/ 302284 h 1117010"/>
                  <a:gd name="connsiteX533" fmla="*/ 1060342 w 1672940"/>
                  <a:gd name="connsiteY533" fmla="*/ 300617 h 1117010"/>
                  <a:gd name="connsiteX534" fmla="*/ 1057009 w 1672940"/>
                  <a:gd name="connsiteY534" fmla="*/ 300466 h 1117010"/>
                  <a:gd name="connsiteX535" fmla="*/ 1052160 w 1672940"/>
                  <a:gd name="connsiteY535" fmla="*/ 300466 h 1117010"/>
                  <a:gd name="connsiteX536" fmla="*/ 1050039 w 1672940"/>
                  <a:gd name="connsiteY536" fmla="*/ 299859 h 1117010"/>
                  <a:gd name="connsiteX537" fmla="*/ 1046402 w 1672940"/>
                  <a:gd name="connsiteY537" fmla="*/ 300466 h 1117010"/>
                  <a:gd name="connsiteX538" fmla="*/ 1042311 w 1672940"/>
                  <a:gd name="connsiteY538" fmla="*/ 303647 h 1117010"/>
                  <a:gd name="connsiteX539" fmla="*/ 1040341 w 1672940"/>
                  <a:gd name="connsiteY539" fmla="*/ 306072 h 1117010"/>
                  <a:gd name="connsiteX540" fmla="*/ 1038675 w 1672940"/>
                  <a:gd name="connsiteY540" fmla="*/ 308496 h 1117010"/>
                  <a:gd name="connsiteX541" fmla="*/ 1036705 w 1672940"/>
                  <a:gd name="connsiteY541" fmla="*/ 313648 h 1117010"/>
                  <a:gd name="connsiteX542" fmla="*/ 1035796 w 1672940"/>
                  <a:gd name="connsiteY542" fmla="*/ 317133 h 1117010"/>
                  <a:gd name="connsiteX543" fmla="*/ 1035038 w 1672940"/>
                  <a:gd name="connsiteY543" fmla="*/ 319103 h 1117010"/>
                  <a:gd name="connsiteX544" fmla="*/ 1032917 w 1672940"/>
                  <a:gd name="connsiteY544" fmla="*/ 322133 h 1117010"/>
                  <a:gd name="connsiteX545" fmla="*/ 1032614 w 1672940"/>
                  <a:gd name="connsiteY545" fmla="*/ 323800 h 1117010"/>
                  <a:gd name="connsiteX546" fmla="*/ 1033371 w 1672940"/>
                  <a:gd name="connsiteY546" fmla="*/ 325315 h 1117010"/>
                  <a:gd name="connsiteX547" fmla="*/ 1034887 w 1672940"/>
                  <a:gd name="connsiteY547" fmla="*/ 326982 h 1117010"/>
                  <a:gd name="connsiteX548" fmla="*/ 1035796 w 1672940"/>
                  <a:gd name="connsiteY548" fmla="*/ 329709 h 1117010"/>
                  <a:gd name="connsiteX549" fmla="*/ 1038069 w 1672940"/>
                  <a:gd name="connsiteY549" fmla="*/ 332588 h 1117010"/>
                  <a:gd name="connsiteX550" fmla="*/ 1040341 w 1672940"/>
                  <a:gd name="connsiteY550" fmla="*/ 334861 h 1117010"/>
                  <a:gd name="connsiteX551" fmla="*/ 1044584 w 1672940"/>
                  <a:gd name="connsiteY551" fmla="*/ 338346 h 1117010"/>
                  <a:gd name="connsiteX552" fmla="*/ 1045796 w 1672940"/>
                  <a:gd name="connsiteY552" fmla="*/ 340164 h 1117010"/>
                  <a:gd name="connsiteX553" fmla="*/ 1047160 w 1672940"/>
                  <a:gd name="connsiteY553" fmla="*/ 342285 h 1117010"/>
                  <a:gd name="connsiteX554" fmla="*/ 1047463 w 1672940"/>
                  <a:gd name="connsiteY554" fmla="*/ 344407 h 1117010"/>
                  <a:gd name="connsiteX555" fmla="*/ 1047160 w 1672940"/>
                  <a:gd name="connsiteY555" fmla="*/ 345770 h 1117010"/>
                  <a:gd name="connsiteX556" fmla="*/ 1045645 w 1672940"/>
                  <a:gd name="connsiteY556" fmla="*/ 346831 h 1117010"/>
                  <a:gd name="connsiteX557" fmla="*/ 1042766 w 1672940"/>
                  <a:gd name="connsiteY557" fmla="*/ 347285 h 1117010"/>
                  <a:gd name="connsiteX558" fmla="*/ 1041402 w 1672940"/>
                  <a:gd name="connsiteY558" fmla="*/ 348801 h 1117010"/>
                  <a:gd name="connsiteX559" fmla="*/ 1039281 w 1672940"/>
                  <a:gd name="connsiteY559" fmla="*/ 350770 h 1117010"/>
                  <a:gd name="connsiteX560" fmla="*/ 1036705 w 1672940"/>
                  <a:gd name="connsiteY560" fmla="*/ 353043 h 1117010"/>
                  <a:gd name="connsiteX561" fmla="*/ 1035493 w 1672940"/>
                  <a:gd name="connsiteY561" fmla="*/ 353195 h 1117010"/>
                  <a:gd name="connsiteX562" fmla="*/ 1034129 w 1672940"/>
                  <a:gd name="connsiteY562" fmla="*/ 353801 h 1117010"/>
                  <a:gd name="connsiteX563" fmla="*/ 1026856 w 1672940"/>
                  <a:gd name="connsiteY563" fmla="*/ 356528 h 1117010"/>
                  <a:gd name="connsiteX564" fmla="*/ 1024129 w 1672940"/>
                  <a:gd name="connsiteY564" fmla="*/ 357286 h 1117010"/>
                  <a:gd name="connsiteX565" fmla="*/ 1022007 w 1672940"/>
                  <a:gd name="connsiteY565" fmla="*/ 358195 h 1117010"/>
                  <a:gd name="connsiteX566" fmla="*/ 1019432 w 1672940"/>
                  <a:gd name="connsiteY566" fmla="*/ 361074 h 1117010"/>
                  <a:gd name="connsiteX567" fmla="*/ 1017462 w 1672940"/>
                  <a:gd name="connsiteY567" fmla="*/ 363195 h 1117010"/>
                  <a:gd name="connsiteX568" fmla="*/ 1015038 w 1672940"/>
                  <a:gd name="connsiteY568" fmla="*/ 365922 h 1117010"/>
                  <a:gd name="connsiteX569" fmla="*/ 1013977 w 1672940"/>
                  <a:gd name="connsiteY569" fmla="*/ 367135 h 1117010"/>
                  <a:gd name="connsiteX570" fmla="*/ 1011704 w 1672940"/>
                  <a:gd name="connsiteY570" fmla="*/ 369862 h 1117010"/>
                  <a:gd name="connsiteX571" fmla="*/ 1008825 w 1672940"/>
                  <a:gd name="connsiteY571" fmla="*/ 373044 h 1117010"/>
                  <a:gd name="connsiteX572" fmla="*/ 1007159 w 1672940"/>
                  <a:gd name="connsiteY572" fmla="*/ 374711 h 1117010"/>
                  <a:gd name="connsiteX573" fmla="*/ 1006249 w 1672940"/>
                  <a:gd name="connsiteY573" fmla="*/ 375771 h 1117010"/>
                  <a:gd name="connsiteX574" fmla="*/ 1005492 w 1672940"/>
                  <a:gd name="connsiteY574" fmla="*/ 377135 h 1117010"/>
                  <a:gd name="connsiteX575" fmla="*/ 1002461 w 1672940"/>
                  <a:gd name="connsiteY575" fmla="*/ 378196 h 1117010"/>
                  <a:gd name="connsiteX576" fmla="*/ 999885 w 1672940"/>
                  <a:gd name="connsiteY576" fmla="*/ 379256 h 1117010"/>
                  <a:gd name="connsiteX577" fmla="*/ 996097 w 1672940"/>
                  <a:gd name="connsiteY577" fmla="*/ 380923 h 1117010"/>
                  <a:gd name="connsiteX578" fmla="*/ 990642 w 1672940"/>
                  <a:gd name="connsiteY578" fmla="*/ 382741 h 1117010"/>
                  <a:gd name="connsiteX579" fmla="*/ 986249 w 1672940"/>
                  <a:gd name="connsiteY579" fmla="*/ 384408 h 1117010"/>
                  <a:gd name="connsiteX580" fmla="*/ 983370 w 1672940"/>
                  <a:gd name="connsiteY580" fmla="*/ 385772 h 1117010"/>
                  <a:gd name="connsiteX581" fmla="*/ 979127 w 1672940"/>
                  <a:gd name="connsiteY581" fmla="*/ 387590 h 1117010"/>
                  <a:gd name="connsiteX582" fmla="*/ 976248 w 1672940"/>
                  <a:gd name="connsiteY582" fmla="*/ 388196 h 1117010"/>
                  <a:gd name="connsiteX583" fmla="*/ 970490 w 1672940"/>
                  <a:gd name="connsiteY583" fmla="*/ 388196 h 1117010"/>
                  <a:gd name="connsiteX584" fmla="*/ 963521 w 1672940"/>
                  <a:gd name="connsiteY584" fmla="*/ 388651 h 1117010"/>
                  <a:gd name="connsiteX585" fmla="*/ 958369 w 1672940"/>
                  <a:gd name="connsiteY585" fmla="*/ 388954 h 1117010"/>
                  <a:gd name="connsiteX586" fmla="*/ 954581 w 1672940"/>
                  <a:gd name="connsiteY586" fmla="*/ 388499 h 1117010"/>
                  <a:gd name="connsiteX587" fmla="*/ 948823 w 1672940"/>
                  <a:gd name="connsiteY587" fmla="*/ 388196 h 1117010"/>
                  <a:gd name="connsiteX588" fmla="*/ 944429 w 1672940"/>
                  <a:gd name="connsiteY588" fmla="*/ 387893 h 1117010"/>
                  <a:gd name="connsiteX589" fmla="*/ 941398 w 1672940"/>
                  <a:gd name="connsiteY589" fmla="*/ 388499 h 1117010"/>
                  <a:gd name="connsiteX590" fmla="*/ 934428 w 1672940"/>
                  <a:gd name="connsiteY590" fmla="*/ 389257 h 1117010"/>
                  <a:gd name="connsiteX591" fmla="*/ 932913 w 1672940"/>
                  <a:gd name="connsiteY591" fmla="*/ 389408 h 1117010"/>
                  <a:gd name="connsiteX592" fmla="*/ 920489 w 1672940"/>
                  <a:gd name="connsiteY592" fmla="*/ 391075 h 1117010"/>
                  <a:gd name="connsiteX593" fmla="*/ 915034 w 1672940"/>
                  <a:gd name="connsiteY593" fmla="*/ 391984 h 1117010"/>
                  <a:gd name="connsiteX594" fmla="*/ 910034 w 1672940"/>
                  <a:gd name="connsiteY594" fmla="*/ 392439 h 1117010"/>
                  <a:gd name="connsiteX595" fmla="*/ 906246 w 1672940"/>
                  <a:gd name="connsiteY595" fmla="*/ 393045 h 1117010"/>
                  <a:gd name="connsiteX596" fmla="*/ 904124 w 1672940"/>
                  <a:gd name="connsiteY596" fmla="*/ 393802 h 1117010"/>
                  <a:gd name="connsiteX597" fmla="*/ 900942 w 1672940"/>
                  <a:gd name="connsiteY597" fmla="*/ 395015 h 1117010"/>
                  <a:gd name="connsiteX598" fmla="*/ 899275 w 1672940"/>
                  <a:gd name="connsiteY598" fmla="*/ 395469 h 1117010"/>
                  <a:gd name="connsiteX599" fmla="*/ 893821 w 1672940"/>
                  <a:gd name="connsiteY599" fmla="*/ 397742 h 1117010"/>
                  <a:gd name="connsiteX600" fmla="*/ 881548 w 1672940"/>
                  <a:gd name="connsiteY600" fmla="*/ 402591 h 1117010"/>
                  <a:gd name="connsiteX601" fmla="*/ 873366 w 1672940"/>
                  <a:gd name="connsiteY601" fmla="*/ 406530 h 1117010"/>
                  <a:gd name="connsiteX602" fmla="*/ 872002 w 1672940"/>
                  <a:gd name="connsiteY602" fmla="*/ 407136 h 1117010"/>
                  <a:gd name="connsiteX603" fmla="*/ 866396 w 1672940"/>
                  <a:gd name="connsiteY603" fmla="*/ 409863 h 1117010"/>
                  <a:gd name="connsiteX604" fmla="*/ 863214 w 1672940"/>
                  <a:gd name="connsiteY604" fmla="*/ 410924 h 1117010"/>
                  <a:gd name="connsiteX605" fmla="*/ 860941 w 1672940"/>
                  <a:gd name="connsiteY605" fmla="*/ 413349 h 1117010"/>
                  <a:gd name="connsiteX606" fmla="*/ 859123 w 1672940"/>
                  <a:gd name="connsiteY606" fmla="*/ 414864 h 1117010"/>
                  <a:gd name="connsiteX607" fmla="*/ 857304 w 1672940"/>
                  <a:gd name="connsiteY607" fmla="*/ 415470 h 1117010"/>
                  <a:gd name="connsiteX608" fmla="*/ 853971 w 1672940"/>
                  <a:gd name="connsiteY608" fmla="*/ 413955 h 1117010"/>
                  <a:gd name="connsiteX609" fmla="*/ 851546 w 1672940"/>
                  <a:gd name="connsiteY609" fmla="*/ 414106 h 1117010"/>
                  <a:gd name="connsiteX610" fmla="*/ 843970 w 1672940"/>
                  <a:gd name="connsiteY610" fmla="*/ 413500 h 1117010"/>
                  <a:gd name="connsiteX611" fmla="*/ 843970 w 1672940"/>
                  <a:gd name="connsiteY611" fmla="*/ 406379 h 1117010"/>
                  <a:gd name="connsiteX612" fmla="*/ 838667 w 1672940"/>
                  <a:gd name="connsiteY612" fmla="*/ 407439 h 1117010"/>
                  <a:gd name="connsiteX613" fmla="*/ 830182 w 1672940"/>
                  <a:gd name="connsiteY613" fmla="*/ 409106 h 1117010"/>
                  <a:gd name="connsiteX614" fmla="*/ 822303 w 1672940"/>
                  <a:gd name="connsiteY614" fmla="*/ 410621 h 1117010"/>
                  <a:gd name="connsiteX615" fmla="*/ 815182 w 1672940"/>
                  <a:gd name="connsiteY615" fmla="*/ 407136 h 1117010"/>
                  <a:gd name="connsiteX616" fmla="*/ 809727 w 1672940"/>
                  <a:gd name="connsiteY616" fmla="*/ 404560 h 1117010"/>
                  <a:gd name="connsiteX617" fmla="*/ 804878 w 1672940"/>
                  <a:gd name="connsiteY617" fmla="*/ 402287 h 1117010"/>
                  <a:gd name="connsiteX618" fmla="*/ 797605 w 1672940"/>
                  <a:gd name="connsiteY618" fmla="*/ 400772 h 1117010"/>
                  <a:gd name="connsiteX619" fmla="*/ 791242 w 1672940"/>
                  <a:gd name="connsiteY619" fmla="*/ 399409 h 1117010"/>
                  <a:gd name="connsiteX620" fmla="*/ 779726 w 1672940"/>
                  <a:gd name="connsiteY620" fmla="*/ 397287 h 1117010"/>
                  <a:gd name="connsiteX621" fmla="*/ 774725 w 1672940"/>
                  <a:gd name="connsiteY621" fmla="*/ 395318 h 1117010"/>
                  <a:gd name="connsiteX622" fmla="*/ 772150 w 1672940"/>
                  <a:gd name="connsiteY622" fmla="*/ 392742 h 1117010"/>
                  <a:gd name="connsiteX623" fmla="*/ 767604 w 1672940"/>
                  <a:gd name="connsiteY623" fmla="*/ 386984 h 1117010"/>
                  <a:gd name="connsiteX624" fmla="*/ 766089 w 1672940"/>
                  <a:gd name="connsiteY624" fmla="*/ 385923 h 1117010"/>
                  <a:gd name="connsiteX625" fmla="*/ 763816 w 1672940"/>
                  <a:gd name="connsiteY625" fmla="*/ 385166 h 1117010"/>
                  <a:gd name="connsiteX626" fmla="*/ 761543 w 1672940"/>
                  <a:gd name="connsiteY626" fmla="*/ 384711 h 1117010"/>
                  <a:gd name="connsiteX627" fmla="*/ 756543 w 1672940"/>
                  <a:gd name="connsiteY627" fmla="*/ 384711 h 1117010"/>
                  <a:gd name="connsiteX628" fmla="*/ 750482 w 1672940"/>
                  <a:gd name="connsiteY628" fmla="*/ 384256 h 1117010"/>
                  <a:gd name="connsiteX629" fmla="*/ 741694 w 1672940"/>
                  <a:gd name="connsiteY629" fmla="*/ 383044 h 1117010"/>
                  <a:gd name="connsiteX630" fmla="*/ 734724 w 1672940"/>
                  <a:gd name="connsiteY630" fmla="*/ 382135 h 1117010"/>
                  <a:gd name="connsiteX631" fmla="*/ 722905 w 1672940"/>
                  <a:gd name="connsiteY631" fmla="*/ 380317 h 1117010"/>
                  <a:gd name="connsiteX632" fmla="*/ 720027 w 1672940"/>
                  <a:gd name="connsiteY632" fmla="*/ 380165 h 1117010"/>
                  <a:gd name="connsiteX633" fmla="*/ 713814 w 1672940"/>
                  <a:gd name="connsiteY633" fmla="*/ 381681 h 1117010"/>
                  <a:gd name="connsiteX634" fmla="*/ 705935 w 1672940"/>
                  <a:gd name="connsiteY634" fmla="*/ 383650 h 1117010"/>
                  <a:gd name="connsiteX635" fmla="*/ 691692 w 1672940"/>
                  <a:gd name="connsiteY635" fmla="*/ 382135 h 1117010"/>
                  <a:gd name="connsiteX636" fmla="*/ 685328 w 1672940"/>
                  <a:gd name="connsiteY636" fmla="*/ 381378 h 1117010"/>
                  <a:gd name="connsiteX637" fmla="*/ 672449 w 1672940"/>
                  <a:gd name="connsiteY637" fmla="*/ 379862 h 1117010"/>
                  <a:gd name="connsiteX638" fmla="*/ 657903 w 1672940"/>
                  <a:gd name="connsiteY638" fmla="*/ 378196 h 1117010"/>
                  <a:gd name="connsiteX639" fmla="*/ 643812 w 1672940"/>
                  <a:gd name="connsiteY639" fmla="*/ 376377 h 1117010"/>
                  <a:gd name="connsiteX640" fmla="*/ 633660 w 1672940"/>
                  <a:gd name="connsiteY640" fmla="*/ 377287 h 1117010"/>
                  <a:gd name="connsiteX641" fmla="*/ 627902 w 1672940"/>
                  <a:gd name="connsiteY641" fmla="*/ 377893 h 1117010"/>
                  <a:gd name="connsiteX642" fmla="*/ 621386 w 1672940"/>
                  <a:gd name="connsiteY642" fmla="*/ 378650 h 1117010"/>
                  <a:gd name="connsiteX643" fmla="*/ 620477 w 1672940"/>
                  <a:gd name="connsiteY643" fmla="*/ 377741 h 1117010"/>
                  <a:gd name="connsiteX644" fmla="*/ 620174 w 1672940"/>
                  <a:gd name="connsiteY644" fmla="*/ 374408 h 1117010"/>
                  <a:gd name="connsiteX645" fmla="*/ 618962 w 1672940"/>
                  <a:gd name="connsiteY645" fmla="*/ 371832 h 1117010"/>
                  <a:gd name="connsiteX646" fmla="*/ 615326 w 1672940"/>
                  <a:gd name="connsiteY646" fmla="*/ 368953 h 1117010"/>
                  <a:gd name="connsiteX647" fmla="*/ 612901 w 1672940"/>
                  <a:gd name="connsiteY647" fmla="*/ 366226 h 1117010"/>
                  <a:gd name="connsiteX648" fmla="*/ 608356 w 1672940"/>
                  <a:gd name="connsiteY648" fmla="*/ 362589 h 1117010"/>
                  <a:gd name="connsiteX649" fmla="*/ 606841 w 1672940"/>
                  <a:gd name="connsiteY649" fmla="*/ 360316 h 1117010"/>
                  <a:gd name="connsiteX650" fmla="*/ 606386 w 1672940"/>
                  <a:gd name="connsiteY650" fmla="*/ 356680 h 1117010"/>
                  <a:gd name="connsiteX651" fmla="*/ 602143 w 1672940"/>
                  <a:gd name="connsiteY651" fmla="*/ 347285 h 1117010"/>
                  <a:gd name="connsiteX652" fmla="*/ 599567 w 1672940"/>
                  <a:gd name="connsiteY652" fmla="*/ 340922 h 1117010"/>
                  <a:gd name="connsiteX653" fmla="*/ 598962 w 1672940"/>
                  <a:gd name="connsiteY653" fmla="*/ 339558 h 1117010"/>
                  <a:gd name="connsiteX654" fmla="*/ 597749 w 1672940"/>
                  <a:gd name="connsiteY654" fmla="*/ 337437 h 1117010"/>
                  <a:gd name="connsiteX655" fmla="*/ 596234 w 1672940"/>
                  <a:gd name="connsiteY655" fmla="*/ 336376 h 1117010"/>
                  <a:gd name="connsiteX656" fmla="*/ 593052 w 1672940"/>
                  <a:gd name="connsiteY656" fmla="*/ 335770 h 1117010"/>
                  <a:gd name="connsiteX657" fmla="*/ 592143 w 1672940"/>
                  <a:gd name="connsiteY657" fmla="*/ 334709 h 1117010"/>
                  <a:gd name="connsiteX658" fmla="*/ 592143 w 1672940"/>
                  <a:gd name="connsiteY658" fmla="*/ 332588 h 1117010"/>
                  <a:gd name="connsiteX659" fmla="*/ 592598 w 1672940"/>
                  <a:gd name="connsiteY659" fmla="*/ 329557 h 1117010"/>
                  <a:gd name="connsiteX660" fmla="*/ 593204 w 1672940"/>
                  <a:gd name="connsiteY660" fmla="*/ 327285 h 1117010"/>
                  <a:gd name="connsiteX661" fmla="*/ 592749 w 1672940"/>
                  <a:gd name="connsiteY661" fmla="*/ 326679 h 1117010"/>
                  <a:gd name="connsiteX662" fmla="*/ 584567 w 1672940"/>
                  <a:gd name="connsiteY662" fmla="*/ 327285 h 1117010"/>
                  <a:gd name="connsiteX663" fmla="*/ 579567 w 1672940"/>
                  <a:gd name="connsiteY663" fmla="*/ 325769 h 1117010"/>
                  <a:gd name="connsiteX664" fmla="*/ 575324 w 1672940"/>
                  <a:gd name="connsiteY664" fmla="*/ 324103 h 1117010"/>
                  <a:gd name="connsiteX665" fmla="*/ 569415 w 1672940"/>
                  <a:gd name="connsiteY665" fmla="*/ 320012 h 1117010"/>
                  <a:gd name="connsiteX666" fmla="*/ 565930 w 1672940"/>
                  <a:gd name="connsiteY666" fmla="*/ 318497 h 1117010"/>
                  <a:gd name="connsiteX667" fmla="*/ 561384 w 1672940"/>
                  <a:gd name="connsiteY667" fmla="*/ 314254 h 1117010"/>
                  <a:gd name="connsiteX668" fmla="*/ 554717 w 1672940"/>
                  <a:gd name="connsiteY668" fmla="*/ 313193 h 1117010"/>
                  <a:gd name="connsiteX669" fmla="*/ 552293 w 1672940"/>
                  <a:gd name="connsiteY669" fmla="*/ 311527 h 1117010"/>
                  <a:gd name="connsiteX670" fmla="*/ 549263 w 1672940"/>
                  <a:gd name="connsiteY670" fmla="*/ 307890 h 1117010"/>
                  <a:gd name="connsiteX671" fmla="*/ 546535 w 1672940"/>
                  <a:gd name="connsiteY671" fmla="*/ 305617 h 1117010"/>
                  <a:gd name="connsiteX672" fmla="*/ 542747 w 1672940"/>
                  <a:gd name="connsiteY672" fmla="*/ 304102 h 1117010"/>
                  <a:gd name="connsiteX673" fmla="*/ 536686 w 1672940"/>
                  <a:gd name="connsiteY673" fmla="*/ 302738 h 1117010"/>
                  <a:gd name="connsiteX674" fmla="*/ 526383 w 1672940"/>
                  <a:gd name="connsiteY674" fmla="*/ 301526 h 1117010"/>
                  <a:gd name="connsiteX675" fmla="*/ 522898 w 1672940"/>
                  <a:gd name="connsiteY675" fmla="*/ 301072 h 1117010"/>
                  <a:gd name="connsiteX676" fmla="*/ 517140 w 1672940"/>
                  <a:gd name="connsiteY676" fmla="*/ 301981 h 1117010"/>
                  <a:gd name="connsiteX677" fmla="*/ 512897 w 1672940"/>
                  <a:gd name="connsiteY677" fmla="*/ 301981 h 1117010"/>
                  <a:gd name="connsiteX678" fmla="*/ 506079 w 1672940"/>
                  <a:gd name="connsiteY678" fmla="*/ 301072 h 1117010"/>
                  <a:gd name="connsiteX679" fmla="*/ 502140 w 1672940"/>
                  <a:gd name="connsiteY679" fmla="*/ 300011 h 1117010"/>
                  <a:gd name="connsiteX680" fmla="*/ 497291 w 1672940"/>
                  <a:gd name="connsiteY680" fmla="*/ 300011 h 1117010"/>
                  <a:gd name="connsiteX681" fmla="*/ 494109 w 1672940"/>
                  <a:gd name="connsiteY681" fmla="*/ 300011 h 1117010"/>
                  <a:gd name="connsiteX682" fmla="*/ 489866 w 1672940"/>
                  <a:gd name="connsiteY682" fmla="*/ 299708 h 1117010"/>
                  <a:gd name="connsiteX683" fmla="*/ 487897 w 1672940"/>
                  <a:gd name="connsiteY683" fmla="*/ 298950 h 1117010"/>
                  <a:gd name="connsiteX684" fmla="*/ 486078 w 1672940"/>
                  <a:gd name="connsiteY684" fmla="*/ 298041 h 1117010"/>
                  <a:gd name="connsiteX685" fmla="*/ 482593 w 1672940"/>
                  <a:gd name="connsiteY685" fmla="*/ 298193 h 1117010"/>
                  <a:gd name="connsiteX686" fmla="*/ 480169 w 1672940"/>
                  <a:gd name="connsiteY686" fmla="*/ 297284 h 1117010"/>
                  <a:gd name="connsiteX687" fmla="*/ 477896 w 1672940"/>
                  <a:gd name="connsiteY687" fmla="*/ 295617 h 1117010"/>
                  <a:gd name="connsiteX688" fmla="*/ 475472 w 1672940"/>
                  <a:gd name="connsiteY688" fmla="*/ 294859 h 1117010"/>
                  <a:gd name="connsiteX689" fmla="*/ 472896 w 1672940"/>
                  <a:gd name="connsiteY689" fmla="*/ 294859 h 1117010"/>
                  <a:gd name="connsiteX690" fmla="*/ 471835 w 1672940"/>
                  <a:gd name="connsiteY690" fmla="*/ 295617 h 1117010"/>
                  <a:gd name="connsiteX691" fmla="*/ 470775 w 1672940"/>
                  <a:gd name="connsiteY691" fmla="*/ 295617 h 1117010"/>
                  <a:gd name="connsiteX692" fmla="*/ 470169 w 1672940"/>
                  <a:gd name="connsiteY692" fmla="*/ 293344 h 1117010"/>
                  <a:gd name="connsiteX693" fmla="*/ 467745 w 1672940"/>
                  <a:gd name="connsiteY693" fmla="*/ 289708 h 1117010"/>
                  <a:gd name="connsiteX694" fmla="*/ 467441 w 1672940"/>
                  <a:gd name="connsiteY694" fmla="*/ 288041 h 1117010"/>
                  <a:gd name="connsiteX695" fmla="*/ 465926 w 1672940"/>
                  <a:gd name="connsiteY695" fmla="*/ 286223 h 1117010"/>
                  <a:gd name="connsiteX696" fmla="*/ 465017 w 1672940"/>
                  <a:gd name="connsiteY696" fmla="*/ 284556 h 1117010"/>
                  <a:gd name="connsiteX697" fmla="*/ 465320 w 1672940"/>
                  <a:gd name="connsiteY697" fmla="*/ 282132 h 1117010"/>
                  <a:gd name="connsiteX698" fmla="*/ 466381 w 1672940"/>
                  <a:gd name="connsiteY698" fmla="*/ 277586 h 1117010"/>
                  <a:gd name="connsiteX699" fmla="*/ 468805 w 1672940"/>
                  <a:gd name="connsiteY699" fmla="*/ 273343 h 1117010"/>
                  <a:gd name="connsiteX700" fmla="*/ 470320 w 1672940"/>
                  <a:gd name="connsiteY700" fmla="*/ 272283 h 1117010"/>
                  <a:gd name="connsiteX701" fmla="*/ 471229 w 1672940"/>
                  <a:gd name="connsiteY701" fmla="*/ 271071 h 1117010"/>
                  <a:gd name="connsiteX702" fmla="*/ 473199 w 1672940"/>
                  <a:gd name="connsiteY702" fmla="*/ 268949 h 1117010"/>
                  <a:gd name="connsiteX703" fmla="*/ 474412 w 1672940"/>
                  <a:gd name="connsiteY703" fmla="*/ 267283 h 1117010"/>
                  <a:gd name="connsiteX704" fmla="*/ 474260 w 1672940"/>
                  <a:gd name="connsiteY704" fmla="*/ 264858 h 1117010"/>
                  <a:gd name="connsiteX705" fmla="*/ 472896 w 1672940"/>
                  <a:gd name="connsiteY705" fmla="*/ 262434 h 1117010"/>
                  <a:gd name="connsiteX706" fmla="*/ 471835 w 1672940"/>
                  <a:gd name="connsiteY706" fmla="*/ 259252 h 1117010"/>
                  <a:gd name="connsiteX707" fmla="*/ 471987 w 1672940"/>
                  <a:gd name="connsiteY707" fmla="*/ 257434 h 1117010"/>
                  <a:gd name="connsiteX708" fmla="*/ 473502 w 1672940"/>
                  <a:gd name="connsiteY708" fmla="*/ 255312 h 1117010"/>
                  <a:gd name="connsiteX709" fmla="*/ 475169 w 1672940"/>
                  <a:gd name="connsiteY709" fmla="*/ 250464 h 1117010"/>
                  <a:gd name="connsiteX710" fmla="*/ 475017 w 1672940"/>
                  <a:gd name="connsiteY710" fmla="*/ 249252 h 1117010"/>
                  <a:gd name="connsiteX711" fmla="*/ 474412 w 1672940"/>
                  <a:gd name="connsiteY711" fmla="*/ 248191 h 1117010"/>
                  <a:gd name="connsiteX712" fmla="*/ 474260 w 1672940"/>
                  <a:gd name="connsiteY712" fmla="*/ 245918 h 1117010"/>
                  <a:gd name="connsiteX713" fmla="*/ 473957 w 1672940"/>
                  <a:gd name="connsiteY713" fmla="*/ 242888 h 1117010"/>
                  <a:gd name="connsiteX714" fmla="*/ 471835 w 1672940"/>
                  <a:gd name="connsiteY714" fmla="*/ 238342 h 1117010"/>
                  <a:gd name="connsiteX715" fmla="*/ 470775 w 1672940"/>
                  <a:gd name="connsiteY715" fmla="*/ 235918 h 1117010"/>
                  <a:gd name="connsiteX716" fmla="*/ 468805 w 1672940"/>
                  <a:gd name="connsiteY716" fmla="*/ 234857 h 1117010"/>
                  <a:gd name="connsiteX717" fmla="*/ 466532 w 1672940"/>
                  <a:gd name="connsiteY717" fmla="*/ 234251 h 1117010"/>
                  <a:gd name="connsiteX718" fmla="*/ 464562 w 1672940"/>
                  <a:gd name="connsiteY718" fmla="*/ 230918 h 1117010"/>
                  <a:gd name="connsiteX719" fmla="*/ 462138 w 1672940"/>
                  <a:gd name="connsiteY719" fmla="*/ 226978 h 1117010"/>
                  <a:gd name="connsiteX720" fmla="*/ 460623 w 1672940"/>
                  <a:gd name="connsiteY720" fmla="*/ 224554 h 1117010"/>
                  <a:gd name="connsiteX721" fmla="*/ 460017 w 1672940"/>
                  <a:gd name="connsiteY721" fmla="*/ 223038 h 1117010"/>
                  <a:gd name="connsiteX722" fmla="*/ 459714 w 1672940"/>
                  <a:gd name="connsiteY722" fmla="*/ 220311 h 1117010"/>
                  <a:gd name="connsiteX723" fmla="*/ 458502 w 1672940"/>
                  <a:gd name="connsiteY723" fmla="*/ 216978 h 1117010"/>
                  <a:gd name="connsiteX724" fmla="*/ 457290 w 1672940"/>
                  <a:gd name="connsiteY724" fmla="*/ 215159 h 1117010"/>
                  <a:gd name="connsiteX725" fmla="*/ 456380 w 1672940"/>
                  <a:gd name="connsiteY725" fmla="*/ 213796 h 1117010"/>
                  <a:gd name="connsiteX726" fmla="*/ 455926 w 1672940"/>
                  <a:gd name="connsiteY726" fmla="*/ 211826 h 1117010"/>
                  <a:gd name="connsiteX727" fmla="*/ 455471 w 1672940"/>
                  <a:gd name="connsiteY727" fmla="*/ 211068 h 1117010"/>
                  <a:gd name="connsiteX728" fmla="*/ 452138 w 1672940"/>
                  <a:gd name="connsiteY728" fmla="*/ 210159 h 1117010"/>
                  <a:gd name="connsiteX729" fmla="*/ 449714 w 1672940"/>
                  <a:gd name="connsiteY729" fmla="*/ 208644 h 1117010"/>
                  <a:gd name="connsiteX730" fmla="*/ 449259 w 1672940"/>
                  <a:gd name="connsiteY730" fmla="*/ 206977 h 1117010"/>
                  <a:gd name="connsiteX731" fmla="*/ 448956 w 1672940"/>
                  <a:gd name="connsiteY731" fmla="*/ 205311 h 1117010"/>
                  <a:gd name="connsiteX732" fmla="*/ 448198 w 1672940"/>
                  <a:gd name="connsiteY732" fmla="*/ 204401 h 1117010"/>
                  <a:gd name="connsiteX733" fmla="*/ 446380 w 1672940"/>
                  <a:gd name="connsiteY733" fmla="*/ 204098 h 1117010"/>
                  <a:gd name="connsiteX734" fmla="*/ 445016 w 1672940"/>
                  <a:gd name="connsiteY734" fmla="*/ 205614 h 1117010"/>
                  <a:gd name="connsiteX735" fmla="*/ 442895 w 1672940"/>
                  <a:gd name="connsiteY735" fmla="*/ 206371 h 1117010"/>
                  <a:gd name="connsiteX736" fmla="*/ 441380 w 1672940"/>
                  <a:gd name="connsiteY736" fmla="*/ 206220 h 1117010"/>
                  <a:gd name="connsiteX737" fmla="*/ 440016 w 1672940"/>
                  <a:gd name="connsiteY737" fmla="*/ 205311 h 1117010"/>
                  <a:gd name="connsiteX738" fmla="*/ 439107 w 1672940"/>
                  <a:gd name="connsiteY738" fmla="*/ 204401 h 1117010"/>
                  <a:gd name="connsiteX739" fmla="*/ 437592 w 1672940"/>
                  <a:gd name="connsiteY739" fmla="*/ 203341 h 1117010"/>
                  <a:gd name="connsiteX740" fmla="*/ 435471 w 1672940"/>
                  <a:gd name="connsiteY740" fmla="*/ 200007 h 1117010"/>
                  <a:gd name="connsiteX741" fmla="*/ 433198 w 1672940"/>
                  <a:gd name="connsiteY741" fmla="*/ 199098 h 1117010"/>
                  <a:gd name="connsiteX742" fmla="*/ 429106 w 1672940"/>
                  <a:gd name="connsiteY742" fmla="*/ 199250 h 1117010"/>
                  <a:gd name="connsiteX743" fmla="*/ 425470 w 1672940"/>
                  <a:gd name="connsiteY743" fmla="*/ 200765 h 1117010"/>
                  <a:gd name="connsiteX744" fmla="*/ 423197 w 1672940"/>
                  <a:gd name="connsiteY744" fmla="*/ 200462 h 1117010"/>
                  <a:gd name="connsiteX745" fmla="*/ 421379 w 1672940"/>
                  <a:gd name="connsiteY745" fmla="*/ 200007 h 1117010"/>
                  <a:gd name="connsiteX746" fmla="*/ 419258 w 1672940"/>
                  <a:gd name="connsiteY746" fmla="*/ 198341 h 1117010"/>
                  <a:gd name="connsiteX747" fmla="*/ 417742 w 1672940"/>
                  <a:gd name="connsiteY747" fmla="*/ 196977 h 1117010"/>
                  <a:gd name="connsiteX748" fmla="*/ 415621 w 1672940"/>
                  <a:gd name="connsiteY748" fmla="*/ 196522 h 1117010"/>
                  <a:gd name="connsiteX749" fmla="*/ 411379 w 1672940"/>
                  <a:gd name="connsiteY749" fmla="*/ 194098 h 1117010"/>
                  <a:gd name="connsiteX750" fmla="*/ 408500 w 1672940"/>
                  <a:gd name="connsiteY750" fmla="*/ 192431 h 1117010"/>
                  <a:gd name="connsiteX751" fmla="*/ 408197 w 1672940"/>
                  <a:gd name="connsiteY751" fmla="*/ 189098 h 1117010"/>
                  <a:gd name="connsiteX752" fmla="*/ 406833 w 1672940"/>
                  <a:gd name="connsiteY752" fmla="*/ 186825 h 1117010"/>
                  <a:gd name="connsiteX753" fmla="*/ 403954 w 1672940"/>
                  <a:gd name="connsiteY753" fmla="*/ 186219 h 1117010"/>
                  <a:gd name="connsiteX754" fmla="*/ 401076 w 1672940"/>
                  <a:gd name="connsiteY754" fmla="*/ 183795 h 1117010"/>
                  <a:gd name="connsiteX755" fmla="*/ 396984 w 1672940"/>
                  <a:gd name="connsiteY755" fmla="*/ 182431 h 1117010"/>
                  <a:gd name="connsiteX756" fmla="*/ 394409 w 1672940"/>
                  <a:gd name="connsiteY756" fmla="*/ 181370 h 1117010"/>
                  <a:gd name="connsiteX757" fmla="*/ 392135 w 1672940"/>
                  <a:gd name="connsiteY757" fmla="*/ 180764 h 1117010"/>
                  <a:gd name="connsiteX758" fmla="*/ 391833 w 1672940"/>
                  <a:gd name="connsiteY758" fmla="*/ 179855 h 1117010"/>
                  <a:gd name="connsiteX759" fmla="*/ 391984 w 1672940"/>
                  <a:gd name="connsiteY759" fmla="*/ 179098 h 1117010"/>
                  <a:gd name="connsiteX760" fmla="*/ 393045 w 1672940"/>
                  <a:gd name="connsiteY760" fmla="*/ 177734 h 1117010"/>
                  <a:gd name="connsiteX761" fmla="*/ 394105 w 1672940"/>
                  <a:gd name="connsiteY761" fmla="*/ 176522 h 1117010"/>
                  <a:gd name="connsiteX762" fmla="*/ 394409 w 1672940"/>
                  <a:gd name="connsiteY762" fmla="*/ 175461 h 1117010"/>
                  <a:gd name="connsiteX763" fmla="*/ 393499 w 1672940"/>
                  <a:gd name="connsiteY763" fmla="*/ 174400 h 1117010"/>
                  <a:gd name="connsiteX764" fmla="*/ 391226 w 1672940"/>
                  <a:gd name="connsiteY764" fmla="*/ 173340 h 1117010"/>
                  <a:gd name="connsiteX765" fmla="*/ 388196 w 1672940"/>
                  <a:gd name="connsiteY765" fmla="*/ 172431 h 1117010"/>
                  <a:gd name="connsiteX766" fmla="*/ 387590 w 1672940"/>
                  <a:gd name="connsiteY766" fmla="*/ 170915 h 1117010"/>
                  <a:gd name="connsiteX767" fmla="*/ 385772 w 1672940"/>
                  <a:gd name="connsiteY767" fmla="*/ 169249 h 1117010"/>
                  <a:gd name="connsiteX768" fmla="*/ 386075 w 1672940"/>
                  <a:gd name="connsiteY768" fmla="*/ 167885 h 1117010"/>
                  <a:gd name="connsiteX769" fmla="*/ 387438 w 1672940"/>
                  <a:gd name="connsiteY769" fmla="*/ 166976 h 1117010"/>
                  <a:gd name="connsiteX770" fmla="*/ 388954 w 1672940"/>
                  <a:gd name="connsiteY770" fmla="*/ 166218 h 1117010"/>
                  <a:gd name="connsiteX771" fmla="*/ 389257 w 1672940"/>
                  <a:gd name="connsiteY771" fmla="*/ 165006 h 1117010"/>
                  <a:gd name="connsiteX772" fmla="*/ 388196 w 1672940"/>
                  <a:gd name="connsiteY772" fmla="*/ 163945 h 1117010"/>
                  <a:gd name="connsiteX773" fmla="*/ 387742 w 1672940"/>
                  <a:gd name="connsiteY773" fmla="*/ 162279 h 1117010"/>
                  <a:gd name="connsiteX774" fmla="*/ 388044 w 1672940"/>
                  <a:gd name="connsiteY774" fmla="*/ 161067 h 1117010"/>
                  <a:gd name="connsiteX775" fmla="*/ 387742 w 1672940"/>
                  <a:gd name="connsiteY775" fmla="*/ 159400 h 1117010"/>
                  <a:gd name="connsiteX776" fmla="*/ 386378 w 1672940"/>
                  <a:gd name="connsiteY776" fmla="*/ 159248 h 1117010"/>
                  <a:gd name="connsiteX777" fmla="*/ 383802 w 1672940"/>
                  <a:gd name="connsiteY777" fmla="*/ 159854 h 1117010"/>
                  <a:gd name="connsiteX778" fmla="*/ 381226 w 1672940"/>
                  <a:gd name="connsiteY778" fmla="*/ 160309 h 1117010"/>
                  <a:gd name="connsiteX779" fmla="*/ 379559 w 1672940"/>
                  <a:gd name="connsiteY779" fmla="*/ 160612 h 1117010"/>
                  <a:gd name="connsiteX780" fmla="*/ 378499 w 1672940"/>
                  <a:gd name="connsiteY780" fmla="*/ 161673 h 1117010"/>
                  <a:gd name="connsiteX781" fmla="*/ 376832 w 1672940"/>
                  <a:gd name="connsiteY781" fmla="*/ 162127 h 1117010"/>
                  <a:gd name="connsiteX782" fmla="*/ 374256 w 1672940"/>
                  <a:gd name="connsiteY782" fmla="*/ 161824 h 1117010"/>
                  <a:gd name="connsiteX783" fmla="*/ 371680 w 1672940"/>
                  <a:gd name="connsiteY783" fmla="*/ 161067 h 1117010"/>
                  <a:gd name="connsiteX784" fmla="*/ 366680 w 1672940"/>
                  <a:gd name="connsiteY784" fmla="*/ 160915 h 1117010"/>
                  <a:gd name="connsiteX785" fmla="*/ 363650 w 1672940"/>
                  <a:gd name="connsiteY785" fmla="*/ 161370 h 1117010"/>
                  <a:gd name="connsiteX786" fmla="*/ 362286 w 1672940"/>
                  <a:gd name="connsiteY786" fmla="*/ 161673 h 1117010"/>
                  <a:gd name="connsiteX787" fmla="*/ 360165 w 1672940"/>
                  <a:gd name="connsiteY787" fmla="*/ 163188 h 1117010"/>
                  <a:gd name="connsiteX788" fmla="*/ 358649 w 1672940"/>
                  <a:gd name="connsiteY788" fmla="*/ 164703 h 1117010"/>
                  <a:gd name="connsiteX789" fmla="*/ 358043 w 1672940"/>
                  <a:gd name="connsiteY789" fmla="*/ 167127 h 1117010"/>
                  <a:gd name="connsiteX790" fmla="*/ 358801 w 1672940"/>
                  <a:gd name="connsiteY790" fmla="*/ 169855 h 1117010"/>
                  <a:gd name="connsiteX791" fmla="*/ 357740 w 1672940"/>
                  <a:gd name="connsiteY791" fmla="*/ 175613 h 1117010"/>
                  <a:gd name="connsiteX792" fmla="*/ 356225 w 1672940"/>
                  <a:gd name="connsiteY792" fmla="*/ 177734 h 1117010"/>
                  <a:gd name="connsiteX793" fmla="*/ 353043 w 1672940"/>
                  <a:gd name="connsiteY793" fmla="*/ 181522 h 1117010"/>
                  <a:gd name="connsiteX794" fmla="*/ 351225 w 1672940"/>
                  <a:gd name="connsiteY794" fmla="*/ 182279 h 1117010"/>
                  <a:gd name="connsiteX795" fmla="*/ 348194 w 1672940"/>
                  <a:gd name="connsiteY795" fmla="*/ 182886 h 1117010"/>
                  <a:gd name="connsiteX796" fmla="*/ 345316 w 1672940"/>
                  <a:gd name="connsiteY796" fmla="*/ 183946 h 1117010"/>
                  <a:gd name="connsiteX797" fmla="*/ 339558 w 1672940"/>
                  <a:gd name="connsiteY797" fmla="*/ 185007 h 1117010"/>
                  <a:gd name="connsiteX798" fmla="*/ 333346 w 1672940"/>
                  <a:gd name="connsiteY798" fmla="*/ 185613 h 1117010"/>
                  <a:gd name="connsiteX799" fmla="*/ 331073 w 1672940"/>
                  <a:gd name="connsiteY799" fmla="*/ 186370 h 1117010"/>
                  <a:gd name="connsiteX800" fmla="*/ 329558 w 1672940"/>
                  <a:gd name="connsiteY800" fmla="*/ 188946 h 1117010"/>
                  <a:gd name="connsiteX801" fmla="*/ 328497 w 1672940"/>
                  <a:gd name="connsiteY801" fmla="*/ 191068 h 1117010"/>
                  <a:gd name="connsiteX802" fmla="*/ 327739 w 1672940"/>
                  <a:gd name="connsiteY802" fmla="*/ 192734 h 1117010"/>
                  <a:gd name="connsiteX803" fmla="*/ 325921 w 1672940"/>
                  <a:gd name="connsiteY803" fmla="*/ 198038 h 1117010"/>
                  <a:gd name="connsiteX804" fmla="*/ 324861 w 1672940"/>
                  <a:gd name="connsiteY804" fmla="*/ 202735 h 1117010"/>
                  <a:gd name="connsiteX805" fmla="*/ 325770 w 1672940"/>
                  <a:gd name="connsiteY805" fmla="*/ 208644 h 1117010"/>
                  <a:gd name="connsiteX806" fmla="*/ 326527 w 1672940"/>
                  <a:gd name="connsiteY806" fmla="*/ 215159 h 1117010"/>
                  <a:gd name="connsiteX807" fmla="*/ 326527 w 1672940"/>
                  <a:gd name="connsiteY807" fmla="*/ 217432 h 1117010"/>
                  <a:gd name="connsiteX808" fmla="*/ 328042 w 1672940"/>
                  <a:gd name="connsiteY808" fmla="*/ 220766 h 1117010"/>
                  <a:gd name="connsiteX809" fmla="*/ 328800 w 1672940"/>
                  <a:gd name="connsiteY809" fmla="*/ 222735 h 1117010"/>
                  <a:gd name="connsiteX810" fmla="*/ 328497 w 1672940"/>
                  <a:gd name="connsiteY810" fmla="*/ 225614 h 1117010"/>
                  <a:gd name="connsiteX811" fmla="*/ 326375 w 1672940"/>
                  <a:gd name="connsiteY811" fmla="*/ 227887 h 1117010"/>
                  <a:gd name="connsiteX812" fmla="*/ 325012 w 1672940"/>
                  <a:gd name="connsiteY812" fmla="*/ 230918 h 1117010"/>
                  <a:gd name="connsiteX813" fmla="*/ 323800 w 1672940"/>
                  <a:gd name="connsiteY813" fmla="*/ 232130 h 1117010"/>
                  <a:gd name="connsiteX814" fmla="*/ 320315 w 1672940"/>
                  <a:gd name="connsiteY814" fmla="*/ 232736 h 1117010"/>
                  <a:gd name="connsiteX815" fmla="*/ 316981 w 1672940"/>
                  <a:gd name="connsiteY815" fmla="*/ 233039 h 1117010"/>
                  <a:gd name="connsiteX816" fmla="*/ 313648 w 1672940"/>
                  <a:gd name="connsiteY816" fmla="*/ 235615 h 1117010"/>
                  <a:gd name="connsiteX817" fmla="*/ 310920 w 1672940"/>
                  <a:gd name="connsiteY817" fmla="*/ 237433 h 1117010"/>
                  <a:gd name="connsiteX818" fmla="*/ 306678 w 1672940"/>
                  <a:gd name="connsiteY818" fmla="*/ 239706 h 1117010"/>
                  <a:gd name="connsiteX819" fmla="*/ 304708 w 1672940"/>
                  <a:gd name="connsiteY819" fmla="*/ 240160 h 1117010"/>
                  <a:gd name="connsiteX820" fmla="*/ 303647 w 1672940"/>
                  <a:gd name="connsiteY820" fmla="*/ 238948 h 1117010"/>
                  <a:gd name="connsiteX821" fmla="*/ 302890 w 1672940"/>
                  <a:gd name="connsiteY821" fmla="*/ 236372 h 1117010"/>
                  <a:gd name="connsiteX822" fmla="*/ 301375 w 1672940"/>
                  <a:gd name="connsiteY822" fmla="*/ 235160 h 1117010"/>
                  <a:gd name="connsiteX823" fmla="*/ 299405 w 1672940"/>
                  <a:gd name="connsiteY823" fmla="*/ 235009 h 1117010"/>
                  <a:gd name="connsiteX824" fmla="*/ 297738 w 1672940"/>
                  <a:gd name="connsiteY824" fmla="*/ 235009 h 1117010"/>
                  <a:gd name="connsiteX825" fmla="*/ 292435 w 1672940"/>
                  <a:gd name="connsiteY825" fmla="*/ 234251 h 1117010"/>
                  <a:gd name="connsiteX826" fmla="*/ 289101 w 1672940"/>
                  <a:gd name="connsiteY826" fmla="*/ 234251 h 1117010"/>
                  <a:gd name="connsiteX827" fmla="*/ 286525 w 1672940"/>
                  <a:gd name="connsiteY827" fmla="*/ 234857 h 1117010"/>
                  <a:gd name="connsiteX828" fmla="*/ 283647 w 1672940"/>
                  <a:gd name="connsiteY828" fmla="*/ 235160 h 1117010"/>
                  <a:gd name="connsiteX829" fmla="*/ 278646 w 1672940"/>
                  <a:gd name="connsiteY829" fmla="*/ 234251 h 1117010"/>
                  <a:gd name="connsiteX830" fmla="*/ 275465 w 1672940"/>
                  <a:gd name="connsiteY830" fmla="*/ 233493 h 1117010"/>
                  <a:gd name="connsiteX831" fmla="*/ 273343 w 1672940"/>
                  <a:gd name="connsiteY831" fmla="*/ 232736 h 1117010"/>
                  <a:gd name="connsiteX832" fmla="*/ 268191 w 1672940"/>
                  <a:gd name="connsiteY832" fmla="*/ 230463 h 1117010"/>
                  <a:gd name="connsiteX833" fmla="*/ 261373 w 1672940"/>
                  <a:gd name="connsiteY833" fmla="*/ 227736 h 1117010"/>
                  <a:gd name="connsiteX834" fmla="*/ 258494 w 1672940"/>
                  <a:gd name="connsiteY834" fmla="*/ 226978 h 1117010"/>
                  <a:gd name="connsiteX835" fmla="*/ 256827 w 1672940"/>
                  <a:gd name="connsiteY835" fmla="*/ 227736 h 1117010"/>
                  <a:gd name="connsiteX836" fmla="*/ 256525 w 1672940"/>
                  <a:gd name="connsiteY836" fmla="*/ 229251 h 1117010"/>
                  <a:gd name="connsiteX837" fmla="*/ 256070 w 1672940"/>
                  <a:gd name="connsiteY837" fmla="*/ 233039 h 1117010"/>
                  <a:gd name="connsiteX838" fmla="*/ 255312 w 1672940"/>
                  <a:gd name="connsiteY838" fmla="*/ 235312 h 1117010"/>
                  <a:gd name="connsiteX839" fmla="*/ 250464 w 1672940"/>
                  <a:gd name="connsiteY839" fmla="*/ 247130 h 1117010"/>
                  <a:gd name="connsiteX840" fmla="*/ 247585 w 1672940"/>
                  <a:gd name="connsiteY840" fmla="*/ 255312 h 1117010"/>
                  <a:gd name="connsiteX841" fmla="*/ 243797 w 1672940"/>
                  <a:gd name="connsiteY841" fmla="*/ 263040 h 1117010"/>
                  <a:gd name="connsiteX842" fmla="*/ 242584 w 1672940"/>
                  <a:gd name="connsiteY842" fmla="*/ 268192 h 1117010"/>
                  <a:gd name="connsiteX843" fmla="*/ 240312 w 1672940"/>
                  <a:gd name="connsiteY843" fmla="*/ 274859 h 1117010"/>
                  <a:gd name="connsiteX844" fmla="*/ 238039 w 1672940"/>
                  <a:gd name="connsiteY844" fmla="*/ 279707 h 1117010"/>
                  <a:gd name="connsiteX845" fmla="*/ 237130 w 1672940"/>
                  <a:gd name="connsiteY845" fmla="*/ 282283 h 1117010"/>
                  <a:gd name="connsiteX846" fmla="*/ 236978 w 1672940"/>
                  <a:gd name="connsiteY846" fmla="*/ 283344 h 1117010"/>
                  <a:gd name="connsiteX847" fmla="*/ 237433 w 1672940"/>
                  <a:gd name="connsiteY847" fmla="*/ 284859 h 1117010"/>
                  <a:gd name="connsiteX848" fmla="*/ 240918 w 1672940"/>
                  <a:gd name="connsiteY848" fmla="*/ 286526 h 1117010"/>
                  <a:gd name="connsiteX849" fmla="*/ 244554 w 1672940"/>
                  <a:gd name="connsiteY849" fmla="*/ 287586 h 1117010"/>
                  <a:gd name="connsiteX850" fmla="*/ 245312 w 1672940"/>
                  <a:gd name="connsiteY850" fmla="*/ 288192 h 1117010"/>
                  <a:gd name="connsiteX851" fmla="*/ 245767 w 1672940"/>
                  <a:gd name="connsiteY851" fmla="*/ 289859 h 1117010"/>
                  <a:gd name="connsiteX852" fmla="*/ 245615 w 1672940"/>
                  <a:gd name="connsiteY852" fmla="*/ 292587 h 1117010"/>
                  <a:gd name="connsiteX853" fmla="*/ 245009 w 1672940"/>
                  <a:gd name="connsiteY853" fmla="*/ 295162 h 1117010"/>
                  <a:gd name="connsiteX854" fmla="*/ 243948 w 1672940"/>
                  <a:gd name="connsiteY854" fmla="*/ 297284 h 1117010"/>
                  <a:gd name="connsiteX855" fmla="*/ 242888 w 1672940"/>
                  <a:gd name="connsiteY855" fmla="*/ 298344 h 1117010"/>
                  <a:gd name="connsiteX856" fmla="*/ 241675 w 1672940"/>
                  <a:gd name="connsiteY856" fmla="*/ 298344 h 1117010"/>
                  <a:gd name="connsiteX857" fmla="*/ 239403 w 1672940"/>
                  <a:gd name="connsiteY857" fmla="*/ 296981 h 1117010"/>
                  <a:gd name="connsiteX858" fmla="*/ 237433 w 1672940"/>
                  <a:gd name="connsiteY858" fmla="*/ 295465 h 1117010"/>
                  <a:gd name="connsiteX859" fmla="*/ 235917 w 1672940"/>
                  <a:gd name="connsiteY859" fmla="*/ 295011 h 1117010"/>
                  <a:gd name="connsiteX860" fmla="*/ 231978 w 1672940"/>
                  <a:gd name="connsiteY860" fmla="*/ 295768 h 1117010"/>
                  <a:gd name="connsiteX861" fmla="*/ 228341 w 1672940"/>
                  <a:gd name="connsiteY861" fmla="*/ 296829 h 1117010"/>
                  <a:gd name="connsiteX862" fmla="*/ 227129 w 1672940"/>
                  <a:gd name="connsiteY862" fmla="*/ 296829 h 1117010"/>
                  <a:gd name="connsiteX863" fmla="*/ 225008 w 1672940"/>
                  <a:gd name="connsiteY863" fmla="*/ 296071 h 1117010"/>
                  <a:gd name="connsiteX864" fmla="*/ 222887 w 1672940"/>
                  <a:gd name="connsiteY864" fmla="*/ 294556 h 1117010"/>
                  <a:gd name="connsiteX865" fmla="*/ 221978 w 1672940"/>
                  <a:gd name="connsiteY865" fmla="*/ 291677 h 1117010"/>
                  <a:gd name="connsiteX866" fmla="*/ 220160 w 1672940"/>
                  <a:gd name="connsiteY866" fmla="*/ 290314 h 1117010"/>
                  <a:gd name="connsiteX867" fmla="*/ 217735 w 1672940"/>
                  <a:gd name="connsiteY867" fmla="*/ 291677 h 1117010"/>
                  <a:gd name="connsiteX868" fmla="*/ 210462 w 1672940"/>
                  <a:gd name="connsiteY868" fmla="*/ 293799 h 1117010"/>
                  <a:gd name="connsiteX869" fmla="*/ 202432 w 1672940"/>
                  <a:gd name="connsiteY869" fmla="*/ 296375 h 1117010"/>
                  <a:gd name="connsiteX870" fmla="*/ 197280 w 1672940"/>
                  <a:gd name="connsiteY870" fmla="*/ 297738 h 1117010"/>
                  <a:gd name="connsiteX871" fmla="*/ 195310 w 1672940"/>
                  <a:gd name="connsiteY871" fmla="*/ 297587 h 1117010"/>
                  <a:gd name="connsiteX872" fmla="*/ 191370 w 1672940"/>
                  <a:gd name="connsiteY872" fmla="*/ 297890 h 1117010"/>
                  <a:gd name="connsiteX873" fmla="*/ 187886 w 1672940"/>
                  <a:gd name="connsiteY873" fmla="*/ 298647 h 1117010"/>
                  <a:gd name="connsiteX874" fmla="*/ 185310 w 1672940"/>
                  <a:gd name="connsiteY874" fmla="*/ 299708 h 1117010"/>
                  <a:gd name="connsiteX875" fmla="*/ 180158 w 1672940"/>
                  <a:gd name="connsiteY875" fmla="*/ 301072 h 1117010"/>
                  <a:gd name="connsiteX876" fmla="*/ 175461 w 1672940"/>
                  <a:gd name="connsiteY876" fmla="*/ 301981 h 1117010"/>
                  <a:gd name="connsiteX877" fmla="*/ 172430 w 1672940"/>
                  <a:gd name="connsiteY877" fmla="*/ 304102 h 1117010"/>
                  <a:gd name="connsiteX878" fmla="*/ 170309 w 1672940"/>
                  <a:gd name="connsiteY878" fmla="*/ 306072 h 1117010"/>
                  <a:gd name="connsiteX879" fmla="*/ 170461 w 1672940"/>
                  <a:gd name="connsiteY879" fmla="*/ 306829 h 1117010"/>
                  <a:gd name="connsiteX880" fmla="*/ 171976 w 1672940"/>
                  <a:gd name="connsiteY880" fmla="*/ 308042 h 1117010"/>
                  <a:gd name="connsiteX881" fmla="*/ 173794 w 1672940"/>
                  <a:gd name="connsiteY881" fmla="*/ 308951 h 1117010"/>
                  <a:gd name="connsiteX882" fmla="*/ 177431 w 1672940"/>
                  <a:gd name="connsiteY882" fmla="*/ 308799 h 1117010"/>
                  <a:gd name="connsiteX883" fmla="*/ 180916 w 1672940"/>
                  <a:gd name="connsiteY883" fmla="*/ 308648 h 1117010"/>
                  <a:gd name="connsiteX884" fmla="*/ 183794 w 1672940"/>
                  <a:gd name="connsiteY884" fmla="*/ 309860 h 1117010"/>
                  <a:gd name="connsiteX885" fmla="*/ 186370 w 1672940"/>
                  <a:gd name="connsiteY885" fmla="*/ 310617 h 1117010"/>
                  <a:gd name="connsiteX886" fmla="*/ 187128 w 1672940"/>
                  <a:gd name="connsiteY886" fmla="*/ 311678 h 1117010"/>
                  <a:gd name="connsiteX887" fmla="*/ 186370 w 1672940"/>
                  <a:gd name="connsiteY887" fmla="*/ 312739 h 1117010"/>
                  <a:gd name="connsiteX888" fmla="*/ 184855 w 1672940"/>
                  <a:gd name="connsiteY888" fmla="*/ 313042 h 1117010"/>
                  <a:gd name="connsiteX889" fmla="*/ 184401 w 1672940"/>
                  <a:gd name="connsiteY889" fmla="*/ 313799 h 1117010"/>
                  <a:gd name="connsiteX890" fmla="*/ 184704 w 1672940"/>
                  <a:gd name="connsiteY890" fmla="*/ 314709 h 1117010"/>
                  <a:gd name="connsiteX891" fmla="*/ 183794 w 1672940"/>
                  <a:gd name="connsiteY891" fmla="*/ 317284 h 1117010"/>
                  <a:gd name="connsiteX892" fmla="*/ 183340 w 1672940"/>
                  <a:gd name="connsiteY892" fmla="*/ 321072 h 1117010"/>
                  <a:gd name="connsiteX893" fmla="*/ 183794 w 1672940"/>
                  <a:gd name="connsiteY893" fmla="*/ 324860 h 1117010"/>
                  <a:gd name="connsiteX894" fmla="*/ 184098 w 1672940"/>
                  <a:gd name="connsiteY894" fmla="*/ 328345 h 1117010"/>
                  <a:gd name="connsiteX895" fmla="*/ 183946 w 1672940"/>
                  <a:gd name="connsiteY895" fmla="*/ 330012 h 1117010"/>
                  <a:gd name="connsiteX896" fmla="*/ 183794 w 1672940"/>
                  <a:gd name="connsiteY896" fmla="*/ 332436 h 1117010"/>
                  <a:gd name="connsiteX897" fmla="*/ 184855 w 1672940"/>
                  <a:gd name="connsiteY897" fmla="*/ 334103 h 1117010"/>
                  <a:gd name="connsiteX898" fmla="*/ 185764 w 1672940"/>
                  <a:gd name="connsiteY898" fmla="*/ 337285 h 1117010"/>
                  <a:gd name="connsiteX899" fmla="*/ 187582 w 1672940"/>
                  <a:gd name="connsiteY899" fmla="*/ 339255 h 1117010"/>
                  <a:gd name="connsiteX900" fmla="*/ 190310 w 1672940"/>
                  <a:gd name="connsiteY900" fmla="*/ 346225 h 1117010"/>
                  <a:gd name="connsiteX901" fmla="*/ 191825 w 1672940"/>
                  <a:gd name="connsiteY901" fmla="*/ 350316 h 1117010"/>
                  <a:gd name="connsiteX902" fmla="*/ 193340 w 1672940"/>
                  <a:gd name="connsiteY902" fmla="*/ 354862 h 1117010"/>
                  <a:gd name="connsiteX903" fmla="*/ 192280 w 1672940"/>
                  <a:gd name="connsiteY903" fmla="*/ 357286 h 1117010"/>
                  <a:gd name="connsiteX904" fmla="*/ 192280 w 1672940"/>
                  <a:gd name="connsiteY904" fmla="*/ 358650 h 1117010"/>
                  <a:gd name="connsiteX905" fmla="*/ 193946 w 1672940"/>
                  <a:gd name="connsiteY905" fmla="*/ 359862 h 1117010"/>
                  <a:gd name="connsiteX906" fmla="*/ 194704 w 1672940"/>
                  <a:gd name="connsiteY906" fmla="*/ 362134 h 1117010"/>
                  <a:gd name="connsiteX907" fmla="*/ 195462 w 1672940"/>
                  <a:gd name="connsiteY907" fmla="*/ 363498 h 1117010"/>
                  <a:gd name="connsiteX908" fmla="*/ 195310 w 1672940"/>
                  <a:gd name="connsiteY908" fmla="*/ 364862 h 1117010"/>
                  <a:gd name="connsiteX909" fmla="*/ 194553 w 1672940"/>
                  <a:gd name="connsiteY909" fmla="*/ 365468 h 1117010"/>
                  <a:gd name="connsiteX910" fmla="*/ 190916 w 1672940"/>
                  <a:gd name="connsiteY910" fmla="*/ 364559 h 1117010"/>
                  <a:gd name="connsiteX911" fmla="*/ 187886 w 1672940"/>
                  <a:gd name="connsiteY911" fmla="*/ 365922 h 1117010"/>
                  <a:gd name="connsiteX912" fmla="*/ 184704 w 1672940"/>
                  <a:gd name="connsiteY912" fmla="*/ 367286 h 1117010"/>
                  <a:gd name="connsiteX913" fmla="*/ 184249 w 1672940"/>
                  <a:gd name="connsiteY913" fmla="*/ 368044 h 1117010"/>
                  <a:gd name="connsiteX914" fmla="*/ 184098 w 1672940"/>
                  <a:gd name="connsiteY914" fmla="*/ 368801 h 1117010"/>
                  <a:gd name="connsiteX915" fmla="*/ 184401 w 1672940"/>
                  <a:gd name="connsiteY915" fmla="*/ 369559 h 1117010"/>
                  <a:gd name="connsiteX916" fmla="*/ 186219 w 1672940"/>
                  <a:gd name="connsiteY916" fmla="*/ 370771 h 1117010"/>
                  <a:gd name="connsiteX917" fmla="*/ 188795 w 1672940"/>
                  <a:gd name="connsiteY917" fmla="*/ 371529 h 1117010"/>
                  <a:gd name="connsiteX918" fmla="*/ 188643 w 1672940"/>
                  <a:gd name="connsiteY918" fmla="*/ 372741 h 1117010"/>
                  <a:gd name="connsiteX919" fmla="*/ 185461 w 1672940"/>
                  <a:gd name="connsiteY919" fmla="*/ 373347 h 1117010"/>
                  <a:gd name="connsiteX920" fmla="*/ 180764 w 1672940"/>
                  <a:gd name="connsiteY920" fmla="*/ 375317 h 1117010"/>
                  <a:gd name="connsiteX921" fmla="*/ 179401 w 1672940"/>
                  <a:gd name="connsiteY921" fmla="*/ 377438 h 1117010"/>
                  <a:gd name="connsiteX922" fmla="*/ 178340 w 1672940"/>
                  <a:gd name="connsiteY922" fmla="*/ 379711 h 1117010"/>
                  <a:gd name="connsiteX923" fmla="*/ 178188 w 1672940"/>
                  <a:gd name="connsiteY923" fmla="*/ 381075 h 1117010"/>
                  <a:gd name="connsiteX924" fmla="*/ 178643 w 1672940"/>
                  <a:gd name="connsiteY924" fmla="*/ 384560 h 1117010"/>
                  <a:gd name="connsiteX925" fmla="*/ 179401 w 1672940"/>
                  <a:gd name="connsiteY925" fmla="*/ 388499 h 1117010"/>
                  <a:gd name="connsiteX926" fmla="*/ 180764 w 1672940"/>
                  <a:gd name="connsiteY926" fmla="*/ 392590 h 1117010"/>
                  <a:gd name="connsiteX927" fmla="*/ 180916 w 1672940"/>
                  <a:gd name="connsiteY927" fmla="*/ 393802 h 1117010"/>
                  <a:gd name="connsiteX928" fmla="*/ 180158 w 1672940"/>
                  <a:gd name="connsiteY928" fmla="*/ 394711 h 1117010"/>
                  <a:gd name="connsiteX929" fmla="*/ 179552 w 1672940"/>
                  <a:gd name="connsiteY929" fmla="*/ 395318 h 1117010"/>
                  <a:gd name="connsiteX930" fmla="*/ 180158 w 1672940"/>
                  <a:gd name="connsiteY930" fmla="*/ 397287 h 1117010"/>
                  <a:gd name="connsiteX931" fmla="*/ 180613 w 1672940"/>
                  <a:gd name="connsiteY931" fmla="*/ 399560 h 1117010"/>
                  <a:gd name="connsiteX932" fmla="*/ 180310 w 1672940"/>
                  <a:gd name="connsiteY932" fmla="*/ 400166 h 1117010"/>
                  <a:gd name="connsiteX933" fmla="*/ 179855 w 1672940"/>
                  <a:gd name="connsiteY933" fmla="*/ 400469 h 1117010"/>
                  <a:gd name="connsiteX934" fmla="*/ 171521 w 1672940"/>
                  <a:gd name="connsiteY934" fmla="*/ 401075 h 1117010"/>
                  <a:gd name="connsiteX935" fmla="*/ 169703 w 1672940"/>
                  <a:gd name="connsiteY935" fmla="*/ 401681 h 1117010"/>
                  <a:gd name="connsiteX936" fmla="*/ 167733 w 1672940"/>
                  <a:gd name="connsiteY936" fmla="*/ 404863 h 1117010"/>
                  <a:gd name="connsiteX937" fmla="*/ 160612 w 1672940"/>
                  <a:gd name="connsiteY937" fmla="*/ 407439 h 1117010"/>
                  <a:gd name="connsiteX938" fmla="*/ 156521 w 1672940"/>
                  <a:gd name="connsiteY938" fmla="*/ 408803 h 1117010"/>
                  <a:gd name="connsiteX939" fmla="*/ 154854 w 1672940"/>
                  <a:gd name="connsiteY939" fmla="*/ 408803 h 1117010"/>
                  <a:gd name="connsiteX940" fmla="*/ 150915 w 1672940"/>
                  <a:gd name="connsiteY940" fmla="*/ 410924 h 1117010"/>
                  <a:gd name="connsiteX941" fmla="*/ 139853 w 1672940"/>
                  <a:gd name="connsiteY941" fmla="*/ 416076 h 1117010"/>
                  <a:gd name="connsiteX942" fmla="*/ 134399 w 1672940"/>
                  <a:gd name="connsiteY942" fmla="*/ 419409 h 1117010"/>
                  <a:gd name="connsiteX943" fmla="*/ 131672 w 1672940"/>
                  <a:gd name="connsiteY943" fmla="*/ 420773 h 1117010"/>
                  <a:gd name="connsiteX944" fmla="*/ 129398 w 1672940"/>
                  <a:gd name="connsiteY944" fmla="*/ 422288 h 1117010"/>
                  <a:gd name="connsiteX945" fmla="*/ 129096 w 1672940"/>
                  <a:gd name="connsiteY945" fmla="*/ 423803 h 1117010"/>
                  <a:gd name="connsiteX946" fmla="*/ 129096 w 1672940"/>
                  <a:gd name="connsiteY946" fmla="*/ 425167 h 1117010"/>
                  <a:gd name="connsiteX947" fmla="*/ 123035 w 1672940"/>
                  <a:gd name="connsiteY947" fmla="*/ 431834 h 1117010"/>
                  <a:gd name="connsiteX948" fmla="*/ 118489 w 1672940"/>
                  <a:gd name="connsiteY948" fmla="*/ 432592 h 1117010"/>
                  <a:gd name="connsiteX949" fmla="*/ 114550 w 1672940"/>
                  <a:gd name="connsiteY949" fmla="*/ 432440 h 1117010"/>
                  <a:gd name="connsiteX950" fmla="*/ 111974 w 1672940"/>
                  <a:gd name="connsiteY950" fmla="*/ 433501 h 1117010"/>
                  <a:gd name="connsiteX951" fmla="*/ 108186 w 1672940"/>
                  <a:gd name="connsiteY951" fmla="*/ 434561 h 1117010"/>
                  <a:gd name="connsiteX952" fmla="*/ 100003 w 1672940"/>
                  <a:gd name="connsiteY952" fmla="*/ 433804 h 1117010"/>
                  <a:gd name="connsiteX953" fmla="*/ 97276 w 1672940"/>
                  <a:gd name="connsiteY953" fmla="*/ 433955 h 1117010"/>
                  <a:gd name="connsiteX954" fmla="*/ 91973 w 1672940"/>
                  <a:gd name="connsiteY954" fmla="*/ 433046 h 1117010"/>
                  <a:gd name="connsiteX955" fmla="*/ 89852 w 1672940"/>
                  <a:gd name="connsiteY955" fmla="*/ 433501 h 1117010"/>
                  <a:gd name="connsiteX956" fmla="*/ 87579 w 1672940"/>
                  <a:gd name="connsiteY956" fmla="*/ 434864 h 1117010"/>
                  <a:gd name="connsiteX957" fmla="*/ 84397 w 1672940"/>
                  <a:gd name="connsiteY957" fmla="*/ 440168 h 1117010"/>
                  <a:gd name="connsiteX958" fmla="*/ 83033 w 1672940"/>
                  <a:gd name="connsiteY958" fmla="*/ 441380 h 1117010"/>
                  <a:gd name="connsiteX959" fmla="*/ 82427 w 1672940"/>
                  <a:gd name="connsiteY959" fmla="*/ 442592 h 1117010"/>
                  <a:gd name="connsiteX960" fmla="*/ 81972 w 1672940"/>
                  <a:gd name="connsiteY960" fmla="*/ 445168 h 1117010"/>
                  <a:gd name="connsiteX961" fmla="*/ 80760 w 1672940"/>
                  <a:gd name="connsiteY961" fmla="*/ 447895 h 1117010"/>
                  <a:gd name="connsiteX962" fmla="*/ 79245 w 1672940"/>
                  <a:gd name="connsiteY962" fmla="*/ 450016 h 1117010"/>
                  <a:gd name="connsiteX963" fmla="*/ 78184 w 1672940"/>
                  <a:gd name="connsiteY963" fmla="*/ 451986 h 1117010"/>
                  <a:gd name="connsiteX964" fmla="*/ 75912 w 1672940"/>
                  <a:gd name="connsiteY964" fmla="*/ 453956 h 1117010"/>
                  <a:gd name="connsiteX965" fmla="*/ 73791 w 1672940"/>
                  <a:gd name="connsiteY965" fmla="*/ 455168 h 1117010"/>
                  <a:gd name="connsiteX966" fmla="*/ 72124 w 1672940"/>
                  <a:gd name="connsiteY966" fmla="*/ 452592 h 1117010"/>
                  <a:gd name="connsiteX967" fmla="*/ 70760 w 1672940"/>
                  <a:gd name="connsiteY967" fmla="*/ 453350 h 1117010"/>
                  <a:gd name="connsiteX968" fmla="*/ 69396 w 1672940"/>
                  <a:gd name="connsiteY968" fmla="*/ 454411 h 1117010"/>
                  <a:gd name="connsiteX969" fmla="*/ 66820 w 1672940"/>
                  <a:gd name="connsiteY969" fmla="*/ 454108 h 1117010"/>
                  <a:gd name="connsiteX970" fmla="*/ 65305 w 1672940"/>
                  <a:gd name="connsiteY970" fmla="*/ 454562 h 1117010"/>
                  <a:gd name="connsiteX971" fmla="*/ 61669 w 1672940"/>
                  <a:gd name="connsiteY971" fmla="*/ 456835 h 1117010"/>
                  <a:gd name="connsiteX972" fmla="*/ 56366 w 1672940"/>
                  <a:gd name="connsiteY972" fmla="*/ 456683 h 1117010"/>
                  <a:gd name="connsiteX973" fmla="*/ 55760 w 1672940"/>
                  <a:gd name="connsiteY973" fmla="*/ 455926 h 1117010"/>
                  <a:gd name="connsiteX974" fmla="*/ 54699 w 1672940"/>
                  <a:gd name="connsiteY974" fmla="*/ 449865 h 1117010"/>
                  <a:gd name="connsiteX975" fmla="*/ 53790 w 1672940"/>
                  <a:gd name="connsiteY975" fmla="*/ 446986 h 1117010"/>
                  <a:gd name="connsiteX976" fmla="*/ 53032 w 1672940"/>
                  <a:gd name="connsiteY976" fmla="*/ 446380 h 1117010"/>
                  <a:gd name="connsiteX977" fmla="*/ 52123 w 1672940"/>
                  <a:gd name="connsiteY977" fmla="*/ 446228 h 1117010"/>
                  <a:gd name="connsiteX978" fmla="*/ 44395 w 1672940"/>
                  <a:gd name="connsiteY978" fmla="*/ 450926 h 1117010"/>
                  <a:gd name="connsiteX979" fmla="*/ 40910 w 1672940"/>
                  <a:gd name="connsiteY979" fmla="*/ 451835 h 1117010"/>
                  <a:gd name="connsiteX980" fmla="*/ 38031 w 1672940"/>
                  <a:gd name="connsiteY980" fmla="*/ 451986 h 1117010"/>
                  <a:gd name="connsiteX981" fmla="*/ 34243 w 1672940"/>
                  <a:gd name="connsiteY981" fmla="*/ 450623 h 1117010"/>
                  <a:gd name="connsiteX982" fmla="*/ 33334 w 1672940"/>
                  <a:gd name="connsiteY982" fmla="*/ 450926 h 1117010"/>
                  <a:gd name="connsiteX983" fmla="*/ 32728 w 1672940"/>
                  <a:gd name="connsiteY983" fmla="*/ 451683 h 1117010"/>
                  <a:gd name="connsiteX984" fmla="*/ 32425 w 1672940"/>
                  <a:gd name="connsiteY984" fmla="*/ 452592 h 1117010"/>
                  <a:gd name="connsiteX985" fmla="*/ 33486 w 1672940"/>
                  <a:gd name="connsiteY985" fmla="*/ 455320 h 1117010"/>
                  <a:gd name="connsiteX986" fmla="*/ 33183 w 1672940"/>
                  <a:gd name="connsiteY986" fmla="*/ 455926 h 1117010"/>
                  <a:gd name="connsiteX987" fmla="*/ 31516 w 1672940"/>
                  <a:gd name="connsiteY987" fmla="*/ 455926 h 1117010"/>
                  <a:gd name="connsiteX988" fmla="*/ 29092 w 1672940"/>
                  <a:gd name="connsiteY988" fmla="*/ 456532 h 1117010"/>
                  <a:gd name="connsiteX989" fmla="*/ 27274 w 1672940"/>
                  <a:gd name="connsiteY989" fmla="*/ 457744 h 1117010"/>
                  <a:gd name="connsiteX990" fmla="*/ 21819 w 1672940"/>
                  <a:gd name="connsiteY990" fmla="*/ 462138 h 1117010"/>
                  <a:gd name="connsiteX991" fmla="*/ 17121 w 1672940"/>
                  <a:gd name="connsiteY991" fmla="*/ 463653 h 1117010"/>
                  <a:gd name="connsiteX992" fmla="*/ 12879 w 1672940"/>
                  <a:gd name="connsiteY992" fmla="*/ 464259 h 1117010"/>
                  <a:gd name="connsiteX993" fmla="*/ 11061 w 1672940"/>
                  <a:gd name="connsiteY993" fmla="*/ 464714 h 1117010"/>
                  <a:gd name="connsiteX994" fmla="*/ 10303 w 1672940"/>
                  <a:gd name="connsiteY994" fmla="*/ 465168 h 1117010"/>
                  <a:gd name="connsiteX995" fmla="*/ 8788 w 1672940"/>
                  <a:gd name="connsiteY995" fmla="*/ 467290 h 1117010"/>
                  <a:gd name="connsiteX996" fmla="*/ 7273 w 1672940"/>
                  <a:gd name="connsiteY996" fmla="*/ 470472 h 1117010"/>
                  <a:gd name="connsiteX997" fmla="*/ 6515 w 1672940"/>
                  <a:gd name="connsiteY997" fmla="*/ 471987 h 1117010"/>
                  <a:gd name="connsiteX998" fmla="*/ 5909 w 1672940"/>
                  <a:gd name="connsiteY998" fmla="*/ 472896 h 1117010"/>
                  <a:gd name="connsiteX999" fmla="*/ 6061 w 1672940"/>
                  <a:gd name="connsiteY999" fmla="*/ 474108 h 1117010"/>
                  <a:gd name="connsiteX1000" fmla="*/ 7273 w 1672940"/>
                  <a:gd name="connsiteY1000" fmla="*/ 475623 h 1117010"/>
                  <a:gd name="connsiteX1001" fmla="*/ 8182 w 1672940"/>
                  <a:gd name="connsiteY1001" fmla="*/ 479109 h 1117010"/>
                  <a:gd name="connsiteX1002" fmla="*/ 8031 w 1672940"/>
                  <a:gd name="connsiteY1002" fmla="*/ 480018 h 1117010"/>
                  <a:gd name="connsiteX1003" fmla="*/ 7121 w 1672940"/>
                  <a:gd name="connsiteY1003" fmla="*/ 481533 h 1117010"/>
                  <a:gd name="connsiteX1004" fmla="*/ 5757 w 1672940"/>
                  <a:gd name="connsiteY1004" fmla="*/ 482897 h 1117010"/>
                  <a:gd name="connsiteX1005" fmla="*/ 2879 w 1672940"/>
                  <a:gd name="connsiteY1005" fmla="*/ 483806 h 1117010"/>
                  <a:gd name="connsiteX1006" fmla="*/ 606 w 1672940"/>
                  <a:gd name="connsiteY1006" fmla="*/ 484260 h 1117010"/>
                  <a:gd name="connsiteX1007" fmla="*/ 757 w 1672940"/>
                  <a:gd name="connsiteY1007" fmla="*/ 485927 h 1117010"/>
                  <a:gd name="connsiteX1008" fmla="*/ 455 w 1672940"/>
                  <a:gd name="connsiteY1008" fmla="*/ 489109 h 1117010"/>
                  <a:gd name="connsiteX1009" fmla="*/ 0 w 1672940"/>
                  <a:gd name="connsiteY1009" fmla="*/ 491230 h 1117010"/>
                  <a:gd name="connsiteX1010" fmla="*/ 2273 w 1672940"/>
                  <a:gd name="connsiteY1010" fmla="*/ 495170 h 1117010"/>
                  <a:gd name="connsiteX1011" fmla="*/ 3788 w 1672940"/>
                  <a:gd name="connsiteY1011" fmla="*/ 497139 h 1117010"/>
                  <a:gd name="connsiteX1012" fmla="*/ 5152 w 1672940"/>
                  <a:gd name="connsiteY1012" fmla="*/ 498503 h 1117010"/>
                  <a:gd name="connsiteX1013" fmla="*/ 5455 w 1672940"/>
                  <a:gd name="connsiteY1013" fmla="*/ 499564 h 1117010"/>
                  <a:gd name="connsiteX1014" fmla="*/ 5152 w 1672940"/>
                  <a:gd name="connsiteY1014" fmla="*/ 500473 h 1117010"/>
                  <a:gd name="connsiteX1015" fmla="*/ 3333 w 1672940"/>
                  <a:gd name="connsiteY1015" fmla="*/ 501382 h 1117010"/>
                  <a:gd name="connsiteX1016" fmla="*/ 2727 w 1672940"/>
                  <a:gd name="connsiteY1016" fmla="*/ 502291 h 1117010"/>
                  <a:gd name="connsiteX1017" fmla="*/ 2424 w 1672940"/>
                  <a:gd name="connsiteY1017" fmla="*/ 503352 h 1117010"/>
                  <a:gd name="connsiteX1018" fmla="*/ 3030 w 1672940"/>
                  <a:gd name="connsiteY1018" fmla="*/ 504564 h 1117010"/>
                  <a:gd name="connsiteX1019" fmla="*/ 4091 w 1672940"/>
                  <a:gd name="connsiteY1019" fmla="*/ 508352 h 1117010"/>
                  <a:gd name="connsiteX1020" fmla="*/ 5455 w 1672940"/>
                  <a:gd name="connsiteY1020" fmla="*/ 511231 h 1117010"/>
                  <a:gd name="connsiteX1021" fmla="*/ 7273 w 1672940"/>
                  <a:gd name="connsiteY1021" fmla="*/ 512594 h 1117010"/>
                  <a:gd name="connsiteX1022" fmla="*/ 10000 w 1672940"/>
                  <a:gd name="connsiteY1022" fmla="*/ 513504 h 1117010"/>
                  <a:gd name="connsiteX1023" fmla="*/ 11515 w 1672940"/>
                  <a:gd name="connsiteY1023" fmla="*/ 513352 h 1117010"/>
                  <a:gd name="connsiteX1024" fmla="*/ 12576 w 1672940"/>
                  <a:gd name="connsiteY1024" fmla="*/ 511231 h 1117010"/>
                  <a:gd name="connsiteX1025" fmla="*/ 14394 w 1672940"/>
                  <a:gd name="connsiteY1025" fmla="*/ 509564 h 1117010"/>
                  <a:gd name="connsiteX1026" fmla="*/ 15909 w 1672940"/>
                  <a:gd name="connsiteY1026" fmla="*/ 509716 h 1117010"/>
                  <a:gd name="connsiteX1027" fmla="*/ 18334 w 1672940"/>
                  <a:gd name="connsiteY1027" fmla="*/ 509716 h 1117010"/>
                  <a:gd name="connsiteX1028" fmla="*/ 24849 w 1672940"/>
                  <a:gd name="connsiteY1028" fmla="*/ 511685 h 1117010"/>
                  <a:gd name="connsiteX1029" fmla="*/ 31213 w 1672940"/>
                  <a:gd name="connsiteY1029" fmla="*/ 514564 h 1117010"/>
                  <a:gd name="connsiteX1030" fmla="*/ 33031 w 1672940"/>
                  <a:gd name="connsiteY1030" fmla="*/ 516079 h 1117010"/>
                  <a:gd name="connsiteX1031" fmla="*/ 33638 w 1672940"/>
                  <a:gd name="connsiteY1031" fmla="*/ 517898 h 1117010"/>
                  <a:gd name="connsiteX1032" fmla="*/ 31819 w 1672940"/>
                  <a:gd name="connsiteY1032" fmla="*/ 521989 h 1117010"/>
                  <a:gd name="connsiteX1033" fmla="*/ 31971 w 1672940"/>
                  <a:gd name="connsiteY1033" fmla="*/ 524565 h 1117010"/>
                  <a:gd name="connsiteX1034" fmla="*/ 32425 w 1672940"/>
                  <a:gd name="connsiteY1034" fmla="*/ 527292 h 1117010"/>
                  <a:gd name="connsiteX1035" fmla="*/ 33941 w 1672940"/>
                  <a:gd name="connsiteY1035" fmla="*/ 529413 h 1117010"/>
                  <a:gd name="connsiteX1036" fmla="*/ 35304 w 1672940"/>
                  <a:gd name="connsiteY1036" fmla="*/ 532898 h 1117010"/>
                  <a:gd name="connsiteX1037" fmla="*/ 35607 w 1672940"/>
                  <a:gd name="connsiteY1037" fmla="*/ 535777 h 1117010"/>
                  <a:gd name="connsiteX1038" fmla="*/ 36213 w 1672940"/>
                  <a:gd name="connsiteY1038" fmla="*/ 536686 h 1117010"/>
                  <a:gd name="connsiteX1039" fmla="*/ 36668 w 1672940"/>
                  <a:gd name="connsiteY1039" fmla="*/ 537747 h 1117010"/>
                  <a:gd name="connsiteX1040" fmla="*/ 35910 w 1672940"/>
                  <a:gd name="connsiteY1040" fmla="*/ 540474 h 1117010"/>
                  <a:gd name="connsiteX1041" fmla="*/ 35456 w 1672940"/>
                  <a:gd name="connsiteY1041" fmla="*/ 543202 h 1117010"/>
                  <a:gd name="connsiteX1042" fmla="*/ 36062 w 1672940"/>
                  <a:gd name="connsiteY1042" fmla="*/ 544111 h 1117010"/>
                  <a:gd name="connsiteX1043" fmla="*/ 38031 w 1672940"/>
                  <a:gd name="connsiteY1043" fmla="*/ 545474 h 1117010"/>
                  <a:gd name="connsiteX1044" fmla="*/ 41062 w 1672940"/>
                  <a:gd name="connsiteY1044" fmla="*/ 547899 h 1117010"/>
                  <a:gd name="connsiteX1045" fmla="*/ 41668 w 1672940"/>
                  <a:gd name="connsiteY1045" fmla="*/ 550020 h 1117010"/>
                  <a:gd name="connsiteX1046" fmla="*/ 40607 w 1672940"/>
                  <a:gd name="connsiteY1046" fmla="*/ 551384 h 1117010"/>
                  <a:gd name="connsiteX1047" fmla="*/ 38638 w 1672940"/>
                  <a:gd name="connsiteY1047" fmla="*/ 552899 h 1117010"/>
                  <a:gd name="connsiteX1048" fmla="*/ 36213 w 1672940"/>
                  <a:gd name="connsiteY1048" fmla="*/ 554263 h 1117010"/>
                  <a:gd name="connsiteX1049" fmla="*/ 35456 w 1672940"/>
                  <a:gd name="connsiteY1049" fmla="*/ 554869 h 1117010"/>
                  <a:gd name="connsiteX1050" fmla="*/ 34092 w 1672940"/>
                  <a:gd name="connsiteY1050" fmla="*/ 555020 h 1117010"/>
                  <a:gd name="connsiteX1051" fmla="*/ 32122 w 1672940"/>
                  <a:gd name="connsiteY1051" fmla="*/ 554263 h 1117010"/>
                  <a:gd name="connsiteX1052" fmla="*/ 31364 w 1672940"/>
                  <a:gd name="connsiteY1052" fmla="*/ 553051 h 1117010"/>
                  <a:gd name="connsiteX1053" fmla="*/ 31062 w 1672940"/>
                  <a:gd name="connsiteY1053" fmla="*/ 552899 h 1117010"/>
                  <a:gd name="connsiteX1054" fmla="*/ 29546 w 1672940"/>
                  <a:gd name="connsiteY1054" fmla="*/ 553657 h 1117010"/>
                  <a:gd name="connsiteX1055" fmla="*/ 26516 w 1672940"/>
                  <a:gd name="connsiteY1055" fmla="*/ 554566 h 1117010"/>
                  <a:gd name="connsiteX1056" fmla="*/ 21364 w 1672940"/>
                  <a:gd name="connsiteY1056" fmla="*/ 556990 h 1117010"/>
                  <a:gd name="connsiteX1057" fmla="*/ 21516 w 1672940"/>
                  <a:gd name="connsiteY1057" fmla="*/ 557596 h 1117010"/>
                  <a:gd name="connsiteX1058" fmla="*/ 24849 w 1672940"/>
                  <a:gd name="connsiteY1058" fmla="*/ 560172 h 1117010"/>
                  <a:gd name="connsiteX1059" fmla="*/ 25607 w 1672940"/>
                  <a:gd name="connsiteY1059" fmla="*/ 561081 h 1117010"/>
                  <a:gd name="connsiteX1060" fmla="*/ 26062 w 1672940"/>
                  <a:gd name="connsiteY1060" fmla="*/ 561384 h 1117010"/>
                  <a:gd name="connsiteX1061" fmla="*/ 27728 w 1672940"/>
                  <a:gd name="connsiteY1061" fmla="*/ 560930 h 1117010"/>
                  <a:gd name="connsiteX1062" fmla="*/ 30304 w 1672940"/>
                  <a:gd name="connsiteY1062" fmla="*/ 560930 h 1117010"/>
                  <a:gd name="connsiteX1063" fmla="*/ 32274 w 1672940"/>
                  <a:gd name="connsiteY1063" fmla="*/ 561687 h 1117010"/>
                  <a:gd name="connsiteX1064" fmla="*/ 34395 w 1672940"/>
                  <a:gd name="connsiteY1064" fmla="*/ 562748 h 1117010"/>
                  <a:gd name="connsiteX1065" fmla="*/ 35759 w 1672940"/>
                  <a:gd name="connsiteY1065" fmla="*/ 563657 h 1117010"/>
                  <a:gd name="connsiteX1066" fmla="*/ 37426 w 1672940"/>
                  <a:gd name="connsiteY1066" fmla="*/ 563202 h 1117010"/>
                  <a:gd name="connsiteX1067" fmla="*/ 40304 w 1672940"/>
                  <a:gd name="connsiteY1067" fmla="*/ 562596 h 1117010"/>
                  <a:gd name="connsiteX1068" fmla="*/ 42729 w 1672940"/>
                  <a:gd name="connsiteY1068" fmla="*/ 563051 h 1117010"/>
                  <a:gd name="connsiteX1069" fmla="*/ 48183 w 1672940"/>
                  <a:gd name="connsiteY1069" fmla="*/ 564869 h 1117010"/>
                  <a:gd name="connsiteX1070" fmla="*/ 48941 w 1672940"/>
                  <a:gd name="connsiteY1070" fmla="*/ 565778 h 1117010"/>
                  <a:gd name="connsiteX1071" fmla="*/ 50305 w 1672940"/>
                  <a:gd name="connsiteY1071" fmla="*/ 570324 h 1117010"/>
                  <a:gd name="connsiteX1072" fmla="*/ 51365 w 1672940"/>
                  <a:gd name="connsiteY1072" fmla="*/ 570778 h 1117010"/>
                  <a:gd name="connsiteX1073" fmla="*/ 54396 w 1672940"/>
                  <a:gd name="connsiteY1073" fmla="*/ 569718 h 1117010"/>
                  <a:gd name="connsiteX1074" fmla="*/ 56971 w 1672940"/>
                  <a:gd name="connsiteY1074" fmla="*/ 570324 h 1117010"/>
                  <a:gd name="connsiteX1075" fmla="*/ 59850 w 1672940"/>
                  <a:gd name="connsiteY1075" fmla="*/ 571839 h 1117010"/>
                  <a:gd name="connsiteX1076" fmla="*/ 61669 w 1672940"/>
                  <a:gd name="connsiteY1076" fmla="*/ 573203 h 1117010"/>
                  <a:gd name="connsiteX1077" fmla="*/ 62881 w 1672940"/>
                  <a:gd name="connsiteY1077" fmla="*/ 574718 h 1117010"/>
                  <a:gd name="connsiteX1078" fmla="*/ 64245 w 1672940"/>
                  <a:gd name="connsiteY1078" fmla="*/ 577142 h 1117010"/>
                  <a:gd name="connsiteX1079" fmla="*/ 64699 w 1672940"/>
                  <a:gd name="connsiteY1079" fmla="*/ 579112 h 1117010"/>
                  <a:gd name="connsiteX1080" fmla="*/ 65305 w 1672940"/>
                  <a:gd name="connsiteY1080" fmla="*/ 581536 h 1117010"/>
                  <a:gd name="connsiteX1081" fmla="*/ 65154 w 1672940"/>
                  <a:gd name="connsiteY1081" fmla="*/ 588203 h 1117010"/>
                  <a:gd name="connsiteX1082" fmla="*/ 64245 w 1672940"/>
                  <a:gd name="connsiteY1082" fmla="*/ 589264 h 1117010"/>
                  <a:gd name="connsiteX1083" fmla="*/ 63487 w 1672940"/>
                  <a:gd name="connsiteY1083" fmla="*/ 590628 h 1117010"/>
                  <a:gd name="connsiteX1084" fmla="*/ 63638 w 1672940"/>
                  <a:gd name="connsiteY1084" fmla="*/ 591840 h 1117010"/>
                  <a:gd name="connsiteX1085" fmla="*/ 64548 w 1672940"/>
                  <a:gd name="connsiteY1085" fmla="*/ 592749 h 1117010"/>
                  <a:gd name="connsiteX1086" fmla="*/ 66366 w 1672940"/>
                  <a:gd name="connsiteY1086" fmla="*/ 593355 h 1117010"/>
                  <a:gd name="connsiteX1087" fmla="*/ 68033 w 1672940"/>
                  <a:gd name="connsiteY1087" fmla="*/ 593810 h 1117010"/>
                  <a:gd name="connsiteX1088" fmla="*/ 68942 w 1672940"/>
                  <a:gd name="connsiteY1088" fmla="*/ 594870 h 1117010"/>
                  <a:gd name="connsiteX1089" fmla="*/ 70154 w 1672940"/>
                  <a:gd name="connsiteY1089" fmla="*/ 598658 h 1117010"/>
                  <a:gd name="connsiteX1090" fmla="*/ 70912 w 1672940"/>
                  <a:gd name="connsiteY1090" fmla="*/ 599264 h 1117010"/>
                  <a:gd name="connsiteX1091" fmla="*/ 72881 w 1672940"/>
                  <a:gd name="connsiteY1091" fmla="*/ 599264 h 1117010"/>
                  <a:gd name="connsiteX1092" fmla="*/ 76518 w 1672940"/>
                  <a:gd name="connsiteY1092" fmla="*/ 598507 h 1117010"/>
                  <a:gd name="connsiteX1093" fmla="*/ 79700 w 1672940"/>
                  <a:gd name="connsiteY1093" fmla="*/ 597295 h 1117010"/>
                  <a:gd name="connsiteX1094" fmla="*/ 81063 w 1672940"/>
                  <a:gd name="connsiteY1094" fmla="*/ 596992 h 1117010"/>
                  <a:gd name="connsiteX1095" fmla="*/ 81367 w 1672940"/>
                  <a:gd name="connsiteY1095" fmla="*/ 600477 h 1117010"/>
                  <a:gd name="connsiteX1096" fmla="*/ 83185 w 1672940"/>
                  <a:gd name="connsiteY1096" fmla="*/ 601840 h 1117010"/>
                  <a:gd name="connsiteX1097" fmla="*/ 85760 w 1672940"/>
                  <a:gd name="connsiteY1097" fmla="*/ 603355 h 1117010"/>
                  <a:gd name="connsiteX1098" fmla="*/ 86821 w 1672940"/>
                  <a:gd name="connsiteY1098" fmla="*/ 603810 h 1117010"/>
                  <a:gd name="connsiteX1099" fmla="*/ 89852 w 1672940"/>
                  <a:gd name="connsiteY1099" fmla="*/ 605325 h 1117010"/>
                  <a:gd name="connsiteX1100" fmla="*/ 95610 w 1672940"/>
                  <a:gd name="connsiteY1100" fmla="*/ 607295 h 1117010"/>
                  <a:gd name="connsiteX1101" fmla="*/ 101216 w 1672940"/>
                  <a:gd name="connsiteY1101" fmla="*/ 608659 h 1117010"/>
                  <a:gd name="connsiteX1102" fmla="*/ 105307 w 1672940"/>
                  <a:gd name="connsiteY1102" fmla="*/ 609719 h 1117010"/>
                  <a:gd name="connsiteX1103" fmla="*/ 107277 w 1672940"/>
                  <a:gd name="connsiteY1103" fmla="*/ 609719 h 1117010"/>
                  <a:gd name="connsiteX1104" fmla="*/ 108640 w 1672940"/>
                  <a:gd name="connsiteY1104" fmla="*/ 609719 h 1117010"/>
                  <a:gd name="connsiteX1105" fmla="*/ 112731 w 1672940"/>
                  <a:gd name="connsiteY1105" fmla="*/ 609416 h 1117010"/>
                  <a:gd name="connsiteX1106" fmla="*/ 114853 w 1672940"/>
                  <a:gd name="connsiteY1106" fmla="*/ 608962 h 1117010"/>
                  <a:gd name="connsiteX1107" fmla="*/ 115004 w 1672940"/>
                  <a:gd name="connsiteY1107" fmla="*/ 609113 h 1117010"/>
                  <a:gd name="connsiteX1108" fmla="*/ 115307 w 1672940"/>
                  <a:gd name="connsiteY1108" fmla="*/ 609416 h 1117010"/>
                  <a:gd name="connsiteX1109" fmla="*/ 116368 w 1672940"/>
                  <a:gd name="connsiteY1109" fmla="*/ 610174 h 1117010"/>
                  <a:gd name="connsiteX1110" fmla="*/ 117580 w 1672940"/>
                  <a:gd name="connsiteY1110" fmla="*/ 610477 h 1117010"/>
                  <a:gd name="connsiteX1111" fmla="*/ 118943 w 1672940"/>
                  <a:gd name="connsiteY1111" fmla="*/ 609719 h 1117010"/>
                  <a:gd name="connsiteX1112" fmla="*/ 120610 w 1672940"/>
                  <a:gd name="connsiteY1112" fmla="*/ 609113 h 1117010"/>
                  <a:gd name="connsiteX1113" fmla="*/ 121519 w 1672940"/>
                  <a:gd name="connsiteY1113" fmla="*/ 609416 h 1117010"/>
                  <a:gd name="connsiteX1114" fmla="*/ 121671 w 1672940"/>
                  <a:gd name="connsiteY1114" fmla="*/ 610325 h 1117010"/>
                  <a:gd name="connsiteX1115" fmla="*/ 120610 w 1672940"/>
                  <a:gd name="connsiteY1115" fmla="*/ 614720 h 1117010"/>
                  <a:gd name="connsiteX1116" fmla="*/ 120762 w 1672940"/>
                  <a:gd name="connsiteY1116" fmla="*/ 616386 h 1117010"/>
                  <a:gd name="connsiteX1117" fmla="*/ 122429 w 1672940"/>
                  <a:gd name="connsiteY1117" fmla="*/ 620023 h 1117010"/>
                  <a:gd name="connsiteX1118" fmla="*/ 124701 w 1672940"/>
                  <a:gd name="connsiteY1118" fmla="*/ 625780 h 1117010"/>
                  <a:gd name="connsiteX1119" fmla="*/ 126823 w 1672940"/>
                  <a:gd name="connsiteY1119" fmla="*/ 631235 h 1117010"/>
                  <a:gd name="connsiteX1120" fmla="*/ 128035 w 1672940"/>
                  <a:gd name="connsiteY1120" fmla="*/ 634872 h 1117010"/>
                  <a:gd name="connsiteX1121" fmla="*/ 129247 w 1672940"/>
                  <a:gd name="connsiteY1121" fmla="*/ 636387 h 1117010"/>
                  <a:gd name="connsiteX1122" fmla="*/ 134399 w 1672940"/>
                  <a:gd name="connsiteY1122" fmla="*/ 637902 h 1117010"/>
                  <a:gd name="connsiteX1123" fmla="*/ 138641 w 1672940"/>
                  <a:gd name="connsiteY1123" fmla="*/ 639114 h 1117010"/>
                  <a:gd name="connsiteX1124" fmla="*/ 141217 w 1672940"/>
                  <a:gd name="connsiteY1124" fmla="*/ 641084 h 1117010"/>
                  <a:gd name="connsiteX1125" fmla="*/ 143945 w 1672940"/>
                  <a:gd name="connsiteY1125" fmla="*/ 643054 h 1117010"/>
                  <a:gd name="connsiteX1126" fmla="*/ 145914 w 1672940"/>
                  <a:gd name="connsiteY1126" fmla="*/ 644266 h 1117010"/>
                  <a:gd name="connsiteX1127" fmla="*/ 146824 w 1672940"/>
                  <a:gd name="connsiteY1127" fmla="*/ 645781 h 1117010"/>
                  <a:gd name="connsiteX1128" fmla="*/ 146975 w 1672940"/>
                  <a:gd name="connsiteY1128" fmla="*/ 647145 h 1117010"/>
                  <a:gd name="connsiteX1129" fmla="*/ 146824 w 1672940"/>
                  <a:gd name="connsiteY1129" fmla="*/ 648054 h 1117010"/>
                  <a:gd name="connsiteX1130" fmla="*/ 145763 w 1672940"/>
                  <a:gd name="connsiteY1130" fmla="*/ 649266 h 1117010"/>
                  <a:gd name="connsiteX1131" fmla="*/ 140914 w 1672940"/>
                  <a:gd name="connsiteY1131" fmla="*/ 652448 h 1117010"/>
                  <a:gd name="connsiteX1132" fmla="*/ 140308 w 1672940"/>
                  <a:gd name="connsiteY1132" fmla="*/ 653509 h 1117010"/>
                  <a:gd name="connsiteX1133" fmla="*/ 140157 w 1672940"/>
                  <a:gd name="connsiteY1133" fmla="*/ 654872 h 1117010"/>
                  <a:gd name="connsiteX1134" fmla="*/ 141066 w 1672940"/>
                  <a:gd name="connsiteY1134" fmla="*/ 658660 h 1117010"/>
                  <a:gd name="connsiteX1135" fmla="*/ 141672 w 1672940"/>
                  <a:gd name="connsiteY1135" fmla="*/ 661085 h 1117010"/>
                  <a:gd name="connsiteX1136" fmla="*/ 141823 w 1672940"/>
                  <a:gd name="connsiteY1136" fmla="*/ 665933 h 1117010"/>
                  <a:gd name="connsiteX1137" fmla="*/ 142126 w 1672940"/>
                  <a:gd name="connsiteY1137" fmla="*/ 670479 h 1117010"/>
                  <a:gd name="connsiteX1138" fmla="*/ 143793 w 1672940"/>
                  <a:gd name="connsiteY1138" fmla="*/ 672600 h 1117010"/>
                  <a:gd name="connsiteX1139" fmla="*/ 145157 w 1672940"/>
                  <a:gd name="connsiteY1139" fmla="*/ 673964 h 1117010"/>
                  <a:gd name="connsiteX1140" fmla="*/ 146066 w 1672940"/>
                  <a:gd name="connsiteY1140" fmla="*/ 675176 h 1117010"/>
                  <a:gd name="connsiteX1141" fmla="*/ 147884 w 1672940"/>
                  <a:gd name="connsiteY1141" fmla="*/ 676843 h 1117010"/>
                  <a:gd name="connsiteX1142" fmla="*/ 149399 w 1672940"/>
                  <a:gd name="connsiteY1142" fmla="*/ 678055 h 1117010"/>
                  <a:gd name="connsiteX1143" fmla="*/ 150612 w 1672940"/>
                  <a:gd name="connsiteY1143" fmla="*/ 678813 h 1117010"/>
                  <a:gd name="connsiteX1144" fmla="*/ 150763 w 1672940"/>
                  <a:gd name="connsiteY1144" fmla="*/ 678964 h 1117010"/>
                  <a:gd name="connsiteX1145" fmla="*/ 151369 w 1672940"/>
                  <a:gd name="connsiteY1145" fmla="*/ 680328 h 1117010"/>
                  <a:gd name="connsiteX1146" fmla="*/ 151066 w 1672940"/>
                  <a:gd name="connsiteY1146" fmla="*/ 682298 h 1117010"/>
                  <a:gd name="connsiteX1147" fmla="*/ 150612 w 1672940"/>
                  <a:gd name="connsiteY1147" fmla="*/ 683964 h 1117010"/>
                  <a:gd name="connsiteX1148" fmla="*/ 150763 w 1672940"/>
                  <a:gd name="connsiteY1148" fmla="*/ 684873 h 1117010"/>
                  <a:gd name="connsiteX1149" fmla="*/ 151824 w 1672940"/>
                  <a:gd name="connsiteY1149" fmla="*/ 685480 h 1117010"/>
                  <a:gd name="connsiteX1150" fmla="*/ 153339 w 1672940"/>
                  <a:gd name="connsiteY1150" fmla="*/ 687146 h 1117010"/>
                  <a:gd name="connsiteX1151" fmla="*/ 153490 w 1672940"/>
                  <a:gd name="connsiteY1151" fmla="*/ 689571 h 1117010"/>
                  <a:gd name="connsiteX1152" fmla="*/ 153339 w 1672940"/>
                  <a:gd name="connsiteY1152" fmla="*/ 691238 h 1117010"/>
                  <a:gd name="connsiteX1153" fmla="*/ 153945 w 1672940"/>
                  <a:gd name="connsiteY1153" fmla="*/ 692753 h 1117010"/>
                  <a:gd name="connsiteX1154" fmla="*/ 154096 w 1672940"/>
                  <a:gd name="connsiteY1154" fmla="*/ 694419 h 1117010"/>
                  <a:gd name="connsiteX1155" fmla="*/ 153642 w 1672940"/>
                  <a:gd name="connsiteY1155" fmla="*/ 698662 h 1117010"/>
                  <a:gd name="connsiteX1156" fmla="*/ 153642 w 1672940"/>
                  <a:gd name="connsiteY1156" fmla="*/ 700329 h 1117010"/>
                  <a:gd name="connsiteX1157" fmla="*/ 153642 w 1672940"/>
                  <a:gd name="connsiteY1157" fmla="*/ 700480 h 1117010"/>
                  <a:gd name="connsiteX1158" fmla="*/ 152278 w 1672940"/>
                  <a:gd name="connsiteY1158" fmla="*/ 700632 h 1117010"/>
                  <a:gd name="connsiteX1159" fmla="*/ 151066 w 1672940"/>
                  <a:gd name="connsiteY1159" fmla="*/ 701238 h 1117010"/>
                  <a:gd name="connsiteX1160" fmla="*/ 149399 w 1672940"/>
                  <a:gd name="connsiteY1160" fmla="*/ 703965 h 1117010"/>
                  <a:gd name="connsiteX1161" fmla="*/ 147429 w 1672940"/>
                  <a:gd name="connsiteY1161" fmla="*/ 704723 h 1117010"/>
                  <a:gd name="connsiteX1162" fmla="*/ 145308 w 1672940"/>
                  <a:gd name="connsiteY1162" fmla="*/ 704874 h 1117010"/>
                  <a:gd name="connsiteX1163" fmla="*/ 143036 w 1672940"/>
                  <a:gd name="connsiteY1163" fmla="*/ 703208 h 1117010"/>
                  <a:gd name="connsiteX1164" fmla="*/ 141217 w 1672940"/>
                  <a:gd name="connsiteY1164" fmla="*/ 701541 h 1117010"/>
                  <a:gd name="connsiteX1165" fmla="*/ 140762 w 1672940"/>
                  <a:gd name="connsiteY1165" fmla="*/ 700632 h 1117010"/>
                  <a:gd name="connsiteX1166" fmla="*/ 140308 w 1672940"/>
                  <a:gd name="connsiteY1166" fmla="*/ 698814 h 1117010"/>
                  <a:gd name="connsiteX1167" fmla="*/ 139399 w 1672940"/>
                  <a:gd name="connsiteY1167" fmla="*/ 697601 h 1117010"/>
                  <a:gd name="connsiteX1168" fmla="*/ 137429 w 1672940"/>
                  <a:gd name="connsiteY1168" fmla="*/ 698207 h 1117010"/>
                  <a:gd name="connsiteX1169" fmla="*/ 134550 w 1672940"/>
                  <a:gd name="connsiteY1169" fmla="*/ 698510 h 1117010"/>
                  <a:gd name="connsiteX1170" fmla="*/ 131368 w 1672940"/>
                  <a:gd name="connsiteY1170" fmla="*/ 698965 h 1117010"/>
                  <a:gd name="connsiteX1171" fmla="*/ 130762 w 1672940"/>
                  <a:gd name="connsiteY1171" fmla="*/ 699420 h 1117010"/>
                  <a:gd name="connsiteX1172" fmla="*/ 130762 w 1672940"/>
                  <a:gd name="connsiteY1172" fmla="*/ 700177 h 1117010"/>
                  <a:gd name="connsiteX1173" fmla="*/ 131520 w 1672940"/>
                  <a:gd name="connsiteY1173" fmla="*/ 701844 h 1117010"/>
                  <a:gd name="connsiteX1174" fmla="*/ 132126 w 1672940"/>
                  <a:gd name="connsiteY1174" fmla="*/ 703965 h 1117010"/>
                  <a:gd name="connsiteX1175" fmla="*/ 132581 w 1672940"/>
                  <a:gd name="connsiteY1175" fmla="*/ 706844 h 1117010"/>
                  <a:gd name="connsiteX1176" fmla="*/ 133490 w 1672940"/>
                  <a:gd name="connsiteY1176" fmla="*/ 708814 h 1117010"/>
                  <a:gd name="connsiteX1177" fmla="*/ 133793 w 1672940"/>
                  <a:gd name="connsiteY1177" fmla="*/ 709420 h 1117010"/>
                  <a:gd name="connsiteX1178" fmla="*/ 138793 w 1672940"/>
                  <a:gd name="connsiteY1178" fmla="*/ 715178 h 1117010"/>
                  <a:gd name="connsiteX1179" fmla="*/ 140157 w 1672940"/>
                  <a:gd name="connsiteY1179" fmla="*/ 716390 h 1117010"/>
                  <a:gd name="connsiteX1180" fmla="*/ 140460 w 1672940"/>
                  <a:gd name="connsiteY1180" fmla="*/ 717147 h 1117010"/>
                  <a:gd name="connsiteX1181" fmla="*/ 140005 w 1672940"/>
                  <a:gd name="connsiteY1181" fmla="*/ 719269 h 1117010"/>
                  <a:gd name="connsiteX1182" fmla="*/ 139096 w 1672940"/>
                  <a:gd name="connsiteY1182" fmla="*/ 721693 h 1117010"/>
                  <a:gd name="connsiteX1183" fmla="*/ 139248 w 1672940"/>
                  <a:gd name="connsiteY1183" fmla="*/ 723663 h 1117010"/>
                  <a:gd name="connsiteX1184" fmla="*/ 140914 w 1672940"/>
                  <a:gd name="connsiteY1184" fmla="*/ 725784 h 1117010"/>
                  <a:gd name="connsiteX1185" fmla="*/ 142278 w 1672940"/>
                  <a:gd name="connsiteY1185" fmla="*/ 727299 h 1117010"/>
                  <a:gd name="connsiteX1186" fmla="*/ 140914 w 1672940"/>
                  <a:gd name="connsiteY1186" fmla="*/ 729269 h 1117010"/>
                  <a:gd name="connsiteX1187" fmla="*/ 140157 w 1672940"/>
                  <a:gd name="connsiteY1187" fmla="*/ 731694 h 1117010"/>
                  <a:gd name="connsiteX1188" fmla="*/ 141066 w 1672940"/>
                  <a:gd name="connsiteY1188" fmla="*/ 732754 h 1117010"/>
                  <a:gd name="connsiteX1189" fmla="*/ 140611 w 1672940"/>
                  <a:gd name="connsiteY1189" fmla="*/ 736088 h 1117010"/>
                  <a:gd name="connsiteX1190" fmla="*/ 141066 w 1672940"/>
                  <a:gd name="connsiteY1190" fmla="*/ 736694 h 1117010"/>
                  <a:gd name="connsiteX1191" fmla="*/ 141975 w 1672940"/>
                  <a:gd name="connsiteY1191" fmla="*/ 736997 h 1117010"/>
                  <a:gd name="connsiteX1192" fmla="*/ 143490 w 1672940"/>
                  <a:gd name="connsiteY1192" fmla="*/ 736694 h 1117010"/>
                  <a:gd name="connsiteX1193" fmla="*/ 145005 w 1672940"/>
                  <a:gd name="connsiteY1193" fmla="*/ 735784 h 1117010"/>
                  <a:gd name="connsiteX1194" fmla="*/ 146217 w 1672940"/>
                  <a:gd name="connsiteY1194" fmla="*/ 735633 h 1117010"/>
                  <a:gd name="connsiteX1195" fmla="*/ 146975 w 1672940"/>
                  <a:gd name="connsiteY1195" fmla="*/ 735936 h 1117010"/>
                  <a:gd name="connsiteX1196" fmla="*/ 148036 w 1672940"/>
                  <a:gd name="connsiteY1196" fmla="*/ 733360 h 1117010"/>
                  <a:gd name="connsiteX1197" fmla="*/ 148945 w 1672940"/>
                  <a:gd name="connsiteY1197" fmla="*/ 733057 h 1117010"/>
                  <a:gd name="connsiteX1198" fmla="*/ 150612 w 1672940"/>
                  <a:gd name="connsiteY1198" fmla="*/ 733815 h 1117010"/>
                  <a:gd name="connsiteX1199" fmla="*/ 154096 w 1672940"/>
                  <a:gd name="connsiteY1199" fmla="*/ 738663 h 1117010"/>
                  <a:gd name="connsiteX1200" fmla="*/ 156975 w 1672940"/>
                  <a:gd name="connsiteY1200" fmla="*/ 742754 h 1117010"/>
                  <a:gd name="connsiteX1201" fmla="*/ 157884 w 1672940"/>
                  <a:gd name="connsiteY1201" fmla="*/ 743512 h 1117010"/>
                  <a:gd name="connsiteX1202" fmla="*/ 158339 w 1672940"/>
                  <a:gd name="connsiteY1202" fmla="*/ 743967 h 1117010"/>
                  <a:gd name="connsiteX1203" fmla="*/ 161218 w 1672940"/>
                  <a:gd name="connsiteY1203" fmla="*/ 746088 h 1117010"/>
                  <a:gd name="connsiteX1204" fmla="*/ 163188 w 1672940"/>
                  <a:gd name="connsiteY1204" fmla="*/ 747452 h 1117010"/>
                  <a:gd name="connsiteX1205" fmla="*/ 165915 w 1672940"/>
                  <a:gd name="connsiteY1205" fmla="*/ 746997 h 1117010"/>
                  <a:gd name="connsiteX1206" fmla="*/ 169552 w 1672940"/>
                  <a:gd name="connsiteY1206" fmla="*/ 746846 h 1117010"/>
                  <a:gd name="connsiteX1207" fmla="*/ 171673 w 1672940"/>
                  <a:gd name="connsiteY1207" fmla="*/ 748209 h 1117010"/>
                  <a:gd name="connsiteX1208" fmla="*/ 172885 w 1672940"/>
                  <a:gd name="connsiteY1208" fmla="*/ 749118 h 1117010"/>
                  <a:gd name="connsiteX1209" fmla="*/ 173036 w 1672940"/>
                  <a:gd name="connsiteY1209" fmla="*/ 749270 h 1117010"/>
                  <a:gd name="connsiteX1210" fmla="*/ 177279 w 1672940"/>
                  <a:gd name="connsiteY1210" fmla="*/ 752452 h 1117010"/>
                  <a:gd name="connsiteX1211" fmla="*/ 179097 w 1672940"/>
                  <a:gd name="connsiteY1211" fmla="*/ 752149 h 1117010"/>
                  <a:gd name="connsiteX1212" fmla="*/ 180310 w 1672940"/>
                  <a:gd name="connsiteY1212" fmla="*/ 753058 h 1117010"/>
                  <a:gd name="connsiteX1213" fmla="*/ 180613 w 1672940"/>
                  <a:gd name="connsiteY1213" fmla="*/ 755331 h 1117010"/>
                  <a:gd name="connsiteX1214" fmla="*/ 180006 w 1672940"/>
                  <a:gd name="connsiteY1214" fmla="*/ 757603 h 1117010"/>
                  <a:gd name="connsiteX1215" fmla="*/ 180158 w 1672940"/>
                  <a:gd name="connsiteY1215" fmla="*/ 758664 h 1117010"/>
                  <a:gd name="connsiteX1216" fmla="*/ 182128 w 1672940"/>
                  <a:gd name="connsiteY1216" fmla="*/ 758816 h 1117010"/>
                  <a:gd name="connsiteX1217" fmla="*/ 186219 w 1672940"/>
                  <a:gd name="connsiteY1217" fmla="*/ 760331 h 1117010"/>
                  <a:gd name="connsiteX1218" fmla="*/ 189856 w 1672940"/>
                  <a:gd name="connsiteY1218" fmla="*/ 761695 h 1117010"/>
                  <a:gd name="connsiteX1219" fmla="*/ 191674 w 1672940"/>
                  <a:gd name="connsiteY1219" fmla="*/ 762149 h 1117010"/>
                  <a:gd name="connsiteX1220" fmla="*/ 193644 w 1672940"/>
                  <a:gd name="connsiteY1220" fmla="*/ 763210 h 1117010"/>
                  <a:gd name="connsiteX1221" fmla="*/ 195462 w 1672940"/>
                  <a:gd name="connsiteY1221" fmla="*/ 764877 h 1117010"/>
                  <a:gd name="connsiteX1222" fmla="*/ 198946 w 1672940"/>
                  <a:gd name="connsiteY1222" fmla="*/ 766998 h 1117010"/>
                  <a:gd name="connsiteX1223" fmla="*/ 201977 w 1672940"/>
                  <a:gd name="connsiteY1223" fmla="*/ 768665 h 1117010"/>
                  <a:gd name="connsiteX1224" fmla="*/ 202583 w 1672940"/>
                  <a:gd name="connsiteY1224" fmla="*/ 770786 h 1117010"/>
                  <a:gd name="connsiteX1225" fmla="*/ 203795 w 1672940"/>
                  <a:gd name="connsiteY1225" fmla="*/ 772755 h 1117010"/>
                  <a:gd name="connsiteX1226" fmla="*/ 205310 w 1672940"/>
                  <a:gd name="connsiteY1226" fmla="*/ 774574 h 1117010"/>
                  <a:gd name="connsiteX1227" fmla="*/ 207129 w 1672940"/>
                  <a:gd name="connsiteY1227" fmla="*/ 774422 h 1117010"/>
                  <a:gd name="connsiteX1228" fmla="*/ 209250 w 1672940"/>
                  <a:gd name="connsiteY1228" fmla="*/ 772755 h 1117010"/>
                  <a:gd name="connsiteX1229" fmla="*/ 213644 w 1672940"/>
                  <a:gd name="connsiteY1229" fmla="*/ 765483 h 1117010"/>
                  <a:gd name="connsiteX1230" fmla="*/ 219856 w 1672940"/>
                  <a:gd name="connsiteY1230" fmla="*/ 763967 h 1117010"/>
                  <a:gd name="connsiteX1231" fmla="*/ 225614 w 1672940"/>
                  <a:gd name="connsiteY1231" fmla="*/ 764725 h 1117010"/>
                  <a:gd name="connsiteX1232" fmla="*/ 230766 w 1672940"/>
                  <a:gd name="connsiteY1232" fmla="*/ 765786 h 1117010"/>
                  <a:gd name="connsiteX1233" fmla="*/ 232281 w 1672940"/>
                  <a:gd name="connsiteY1233" fmla="*/ 768210 h 1117010"/>
                  <a:gd name="connsiteX1234" fmla="*/ 233342 w 1672940"/>
                  <a:gd name="connsiteY1234" fmla="*/ 770786 h 1117010"/>
                  <a:gd name="connsiteX1235" fmla="*/ 233948 w 1672940"/>
                  <a:gd name="connsiteY1235" fmla="*/ 772150 h 1117010"/>
                  <a:gd name="connsiteX1236" fmla="*/ 235615 w 1672940"/>
                  <a:gd name="connsiteY1236" fmla="*/ 773665 h 1117010"/>
                  <a:gd name="connsiteX1237" fmla="*/ 242888 w 1672940"/>
                  <a:gd name="connsiteY1237" fmla="*/ 777301 h 1117010"/>
                  <a:gd name="connsiteX1238" fmla="*/ 247130 w 1672940"/>
                  <a:gd name="connsiteY1238" fmla="*/ 780635 h 1117010"/>
                  <a:gd name="connsiteX1239" fmla="*/ 253039 w 1672940"/>
                  <a:gd name="connsiteY1239" fmla="*/ 785029 h 1117010"/>
                  <a:gd name="connsiteX1240" fmla="*/ 257434 w 1672940"/>
                  <a:gd name="connsiteY1240" fmla="*/ 786998 h 1117010"/>
                  <a:gd name="connsiteX1241" fmla="*/ 261373 w 1672940"/>
                  <a:gd name="connsiteY1241" fmla="*/ 787150 h 1117010"/>
                  <a:gd name="connsiteX1242" fmla="*/ 263494 w 1672940"/>
                  <a:gd name="connsiteY1242" fmla="*/ 788817 h 1117010"/>
                  <a:gd name="connsiteX1243" fmla="*/ 266828 w 1672940"/>
                  <a:gd name="connsiteY1243" fmla="*/ 792302 h 1117010"/>
                  <a:gd name="connsiteX1244" fmla="*/ 269555 w 1672940"/>
                  <a:gd name="connsiteY1244" fmla="*/ 796241 h 1117010"/>
                  <a:gd name="connsiteX1245" fmla="*/ 273040 w 1672940"/>
                  <a:gd name="connsiteY1245" fmla="*/ 799878 h 1117010"/>
                  <a:gd name="connsiteX1246" fmla="*/ 275465 w 1672940"/>
                  <a:gd name="connsiteY1246" fmla="*/ 799726 h 1117010"/>
                  <a:gd name="connsiteX1247" fmla="*/ 278798 w 1672940"/>
                  <a:gd name="connsiteY1247" fmla="*/ 798514 h 1117010"/>
                  <a:gd name="connsiteX1248" fmla="*/ 282737 w 1672940"/>
                  <a:gd name="connsiteY1248" fmla="*/ 796999 h 1117010"/>
                  <a:gd name="connsiteX1249" fmla="*/ 285162 w 1672940"/>
                  <a:gd name="connsiteY1249" fmla="*/ 797757 h 1117010"/>
                  <a:gd name="connsiteX1250" fmla="*/ 287283 w 1672940"/>
                  <a:gd name="connsiteY1250" fmla="*/ 798817 h 1117010"/>
                  <a:gd name="connsiteX1251" fmla="*/ 288041 w 1672940"/>
                  <a:gd name="connsiteY1251" fmla="*/ 800635 h 1117010"/>
                  <a:gd name="connsiteX1252" fmla="*/ 289404 w 1672940"/>
                  <a:gd name="connsiteY1252" fmla="*/ 804120 h 1117010"/>
                  <a:gd name="connsiteX1253" fmla="*/ 290920 w 1672940"/>
                  <a:gd name="connsiteY1253" fmla="*/ 807757 h 1117010"/>
                  <a:gd name="connsiteX1254" fmla="*/ 293192 w 1672940"/>
                  <a:gd name="connsiteY1254" fmla="*/ 809121 h 1117010"/>
                  <a:gd name="connsiteX1255" fmla="*/ 295920 w 1672940"/>
                  <a:gd name="connsiteY1255" fmla="*/ 811090 h 1117010"/>
                  <a:gd name="connsiteX1256" fmla="*/ 297435 w 1672940"/>
                  <a:gd name="connsiteY1256" fmla="*/ 812605 h 1117010"/>
                  <a:gd name="connsiteX1257" fmla="*/ 302435 w 1672940"/>
                  <a:gd name="connsiteY1257" fmla="*/ 815333 h 1117010"/>
                  <a:gd name="connsiteX1258" fmla="*/ 303193 w 1672940"/>
                  <a:gd name="connsiteY1258" fmla="*/ 816394 h 1117010"/>
                  <a:gd name="connsiteX1259" fmla="*/ 304254 w 1672940"/>
                  <a:gd name="connsiteY1259" fmla="*/ 817151 h 1117010"/>
                  <a:gd name="connsiteX1260" fmla="*/ 305465 w 1672940"/>
                  <a:gd name="connsiteY1260" fmla="*/ 817606 h 1117010"/>
                  <a:gd name="connsiteX1261" fmla="*/ 306526 w 1672940"/>
                  <a:gd name="connsiteY1261" fmla="*/ 818212 h 1117010"/>
                  <a:gd name="connsiteX1262" fmla="*/ 308193 w 1672940"/>
                  <a:gd name="connsiteY1262" fmla="*/ 818363 h 1117010"/>
                  <a:gd name="connsiteX1263" fmla="*/ 314102 w 1672940"/>
                  <a:gd name="connsiteY1263" fmla="*/ 816697 h 1117010"/>
                  <a:gd name="connsiteX1264" fmla="*/ 315618 w 1672940"/>
                  <a:gd name="connsiteY1264" fmla="*/ 816848 h 1117010"/>
                  <a:gd name="connsiteX1265" fmla="*/ 316527 w 1672940"/>
                  <a:gd name="connsiteY1265" fmla="*/ 817151 h 1117010"/>
                  <a:gd name="connsiteX1266" fmla="*/ 316527 w 1672940"/>
                  <a:gd name="connsiteY1266" fmla="*/ 817757 h 1117010"/>
                  <a:gd name="connsiteX1267" fmla="*/ 315466 w 1672940"/>
                  <a:gd name="connsiteY1267" fmla="*/ 820333 h 1117010"/>
                  <a:gd name="connsiteX1268" fmla="*/ 314557 w 1672940"/>
                  <a:gd name="connsiteY1268" fmla="*/ 823666 h 1117010"/>
                  <a:gd name="connsiteX1269" fmla="*/ 315466 w 1672940"/>
                  <a:gd name="connsiteY1269" fmla="*/ 825333 h 1117010"/>
                  <a:gd name="connsiteX1270" fmla="*/ 317890 w 1672940"/>
                  <a:gd name="connsiteY1270" fmla="*/ 826091 h 1117010"/>
                  <a:gd name="connsiteX1271" fmla="*/ 323345 w 1672940"/>
                  <a:gd name="connsiteY1271" fmla="*/ 826545 h 1117010"/>
                  <a:gd name="connsiteX1272" fmla="*/ 330618 w 1672940"/>
                  <a:gd name="connsiteY1272" fmla="*/ 826545 h 1117010"/>
                  <a:gd name="connsiteX1273" fmla="*/ 332891 w 1672940"/>
                  <a:gd name="connsiteY1273" fmla="*/ 828212 h 1117010"/>
                  <a:gd name="connsiteX1274" fmla="*/ 335164 w 1672940"/>
                  <a:gd name="connsiteY1274" fmla="*/ 830788 h 1117010"/>
                  <a:gd name="connsiteX1275" fmla="*/ 337437 w 1672940"/>
                  <a:gd name="connsiteY1275" fmla="*/ 835030 h 1117010"/>
                  <a:gd name="connsiteX1276" fmla="*/ 338346 w 1672940"/>
                  <a:gd name="connsiteY1276" fmla="*/ 836849 h 1117010"/>
                  <a:gd name="connsiteX1277" fmla="*/ 339406 w 1672940"/>
                  <a:gd name="connsiteY1277" fmla="*/ 837303 h 1117010"/>
                  <a:gd name="connsiteX1278" fmla="*/ 341376 w 1672940"/>
                  <a:gd name="connsiteY1278" fmla="*/ 836546 h 1117010"/>
                  <a:gd name="connsiteX1279" fmla="*/ 341679 w 1672940"/>
                  <a:gd name="connsiteY1279" fmla="*/ 834727 h 1117010"/>
                  <a:gd name="connsiteX1280" fmla="*/ 341831 w 1672940"/>
                  <a:gd name="connsiteY1280" fmla="*/ 832152 h 1117010"/>
                  <a:gd name="connsiteX1281" fmla="*/ 343497 w 1672940"/>
                  <a:gd name="connsiteY1281" fmla="*/ 831242 h 1117010"/>
                  <a:gd name="connsiteX1282" fmla="*/ 344558 w 1672940"/>
                  <a:gd name="connsiteY1282" fmla="*/ 831849 h 1117010"/>
                  <a:gd name="connsiteX1283" fmla="*/ 345770 w 1672940"/>
                  <a:gd name="connsiteY1283" fmla="*/ 833970 h 1117010"/>
                  <a:gd name="connsiteX1284" fmla="*/ 348801 w 1672940"/>
                  <a:gd name="connsiteY1284" fmla="*/ 835788 h 1117010"/>
                  <a:gd name="connsiteX1285" fmla="*/ 350922 w 1672940"/>
                  <a:gd name="connsiteY1285" fmla="*/ 836697 h 1117010"/>
                  <a:gd name="connsiteX1286" fmla="*/ 353043 w 1672940"/>
                  <a:gd name="connsiteY1286" fmla="*/ 836394 h 1117010"/>
                  <a:gd name="connsiteX1287" fmla="*/ 353952 w 1672940"/>
                  <a:gd name="connsiteY1287" fmla="*/ 835637 h 1117010"/>
                  <a:gd name="connsiteX1288" fmla="*/ 355013 w 1672940"/>
                  <a:gd name="connsiteY1288" fmla="*/ 832000 h 1117010"/>
                  <a:gd name="connsiteX1289" fmla="*/ 356680 w 1672940"/>
                  <a:gd name="connsiteY1289" fmla="*/ 831546 h 1117010"/>
                  <a:gd name="connsiteX1290" fmla="*/ 358801 w 1672940"/>
                  <a:gd name="connsiteY1290" fmla="*/ 831849 h 1117010"/>
                  <a:gd name="connsiteX1291" fmla="*/ 359559 w 1672940"/>
                  <a:gd name="connsiteY1291" fmla="*/ 832606 h 1117010"/>
                  <a:gd name="connsiteX1292" fmla="*/ 360468 w 1672940"/>
                  <a:gd name="connsiteY1292" fmla="*/ 833970 h 1117010"/>
                  <a:gd name="connsiteX1293" fmla="*/ 363044 w 1672940"/>
                  <a:gd name="connsiteY1293" fmla="*/ 834576 h 1117010"/>
                  <a:gd name="connsiteX1294" fmla="*/ 365619 w 1672940"/>
                  <a:gd name="connsiteY1294" fmla="*/ 835485 h 1117010"/>
                  <a:gd name="connsiteX1295" fmla="*/ 368044 w 1672940"/>
                  <a:gd name="connsiteY1295" fmla="*/ 836697 h 1117010"/>
                  <a:gd name="connsiteX1296" fmla="*/ 371377 w 1672940"/>
                  <a:gd name="connsiteY1296" fmla="*/ 839425 h 1117010"/>
                  <a:gd name="connsiteX1297" fmla="*/ 375468 w 1672940"/>
                  <a:gd name="connsiteY1297" fmla="*/ 839879 h 1117010"/>
                  <a:gd name="connsiteX1298" fmla="*/ 380166 w 1672940"/>
                  <a:gd name="connsiteY1298" fmla="*/ 839879 h 1117010"/>
                  <a:gd name="connsiteX1299" fmla="*/ 382590 w 1672940"/>
                  <a:gd name="connsiteY1299" fmla="*/ 839879 h 1117010"/>
                  <a:gd name="connsiteX1300" fmla="*/ 384408 w 1672940"/>
                  <a:gd name="connsiteY1300" fmla="*/ 840031 h 1117010"/>
                  <a:gd name="connsiteX1301" fmla="*/ 386075 w 1672940"/>
                  <a:gd name="connsiteY1301" fmla="*/ 839879 h 1117010"/>
                  <a:gd name="connsiteX1302" fmla="*/ 390923 w 1672940"/>
                  <a:gd name="connsiteY1302" fmla="*/ 837909 h 1117010"/>
                  <a:gd name="connsiteX1303" fmla="*/ 392893 w 1672940"/>
                  <a:gd name="connsiteY1303" fmla="*/ 837758 h 1117010"/>
                  <a:gd name="connsiteX1304" fmla="*/ 395318 w 1672940"/>
                  <a:gd name="connsiteY1304" fmla="*/ 837909 h 1117010"/>
                  <a:gd name="connsiteX1305" fmla="*/ 397742 w 1672940"/>
                  <a:gd name="connsiteY1305" fmla="*/ 838213 h 1117010"/>
                  <a:gd name="connsiteX1306" fmla="*/ 397439 w 1672940"/>
                  <a:gd name="connsiteY1306" fmla="*/ 837152 h 1117010"/>
                  <a:gd name="connsiteX1307" fmla="*/ 397742 w 1672940"/>
                  <a:gd name="connsiteY1307" fmla="*/ 836243 h 1117010"/>
                  <a:gd name="connsiteX1308" fmla="*/ 398651 w 1672940"/>
                  <a:gd name="connsiteY1308" fmla="*/ 835788 h 1117010"/>
                  <a:gd name="connsiteX1309" fmla="*/ 402287 w 1672940"/>
                  <a:gd name="connsiteY1309" fmla="*/ 835182 h 1117010"/>
                  <a:gd name="connsiteX1310" fmla="*/ 406378 w 1672940"/>
                  <a:gd name="connsiteY1310" fmla="*/ 833970 h 1117010"/>
                  <a:gd name="connsiteX1311" fmla="*/ 408045 w 1672940"/>
                  <a:gd name="connsiteY1311" fmla="*/ 833364 h 1117010"/>
                  <a:gd name="connsiteX1312" fmla="*/ 409257 w 1672940"/>
                  <a:gd name="connsiteY1312" fmla="*/ 832758 h 1117010"/>
                  <a:gd name="connsiteX1313" fmla="*/ 410470 w 1672940"/>
                  <a:gd name="connsiteY1313" fmla="*/ 831697 h 1117010"/>
                  <a:gd name="connsiteX1314" fmla="*/ 411682 w 1672940"/>
                  <a:gd name="connsiteY1314" fmla="*/ 831697 h 1117010"/>
                  <a:gd name="connsiteX1315" fmla="*/ 415318 w 1672940"/>
                  <a:gd name="connsiteY1315" fmla="*/ 833212 h 1117010"/>
                  <a:gd name="connsiteX1316" fmla="*/ 416682 w 1672940"/>
                  <a:gd name="connsiteY1316" fmla="*/ 834121 h 1117010"/>
                  <a:gd name="connsiteX1317" fmla="*/ 417288 w 1672940"/>
                  <a:gd name="connsiteY1317" fmla="*/ 837000 h 1117010"/>
                  <a:gd name="connsiteX1318" fmla="*/ 417894 w 1672940"/>
                  <a:gd name="connsiteY1318" fmla="*/ 838213 h 1117010"/>
                  <a:gd name="connsiteX1319" fmla="*/ 417440 w 1672940"/>
                  <a:gd name="connsiteY1319" fmla="*/ 841243 h 1117010"/>
                  <a:gd name="connsiteX1320" fmla="*/ 415167 w 1672940"/>
                  <a:gd name="connsiteY1320" fmla="*/ 848516 h 1117010"/>
                  <a:gd name="connsiteX1321" fmla="*/ 415621 w 1672940"/>
                  <a:gd name="connsiteY1321" fmla="*/ 851243 h 1117010"/>
                  <a:gd name="connsiteX1322" fmla="*/ 417440 w 1672940"/>
                  <a:gd name="connsiteY1322" fmla="*/ 853213 h 1117010"/>
                  <a:gd name="connsiteX1323" fmla="*/ 419106 w 1672940"/>
                  <a:gd name="connsiteY1323" fmla="*/ 854577 h 1117010"/>
                  <a:gd name="connsiteX1324" fmla="*/ 420621 w 1672940"/>
                  <a:gd name="connsiteY1324" fmla="*/ 850183 h 1117010"/>
                  <a:gd name="connsiteX1325" fmla="*/ 422743 w 1672940"/>
                  <a:gd name="connsiteY1325" fmla="*/ 848667 h 1117010"/>
                  <a:gd name="connsiteX1326" fmla="*/ 424864 w 1672940"/>
                  <a:gd name="connsiteY1326" fmla="*/ 846546 h 1117010"/>
                  <a:gd name="connsiteX1327" fmla="*/ 426379 w 1672940"/>
                  <a:gd name="connsiteY1327" fmla="*/ 843061 h 1117010"/>
                  <a:gd name="connsiteX1328" fmla="*/ 429410 w 1672940"/>
                  <a:gd name="connsiteY1328" fmla="*/ 839425 h 1117010"/>
                  <a:gd name="connsiteX1329" fmla="*/ 432743 w 1672940"/>
                  <a:gd name="connsiteY1329" fmla="*/ 835788 h 1117010"/>
                  <a:gd name="connsiteX1330" fmla="*/ 435016 w 1672940"/>
                  <a:gd name="connsiteY1330" fmla="*/ 832758 h 1117010"/>
                  <a:gd name="connsiteX1331" fmla="*/ 436531 w 1672940"/>
                  <a:gd name="connsiteY1331" fmla="*/ 831394 h 1117010"/>
                  <a:gd name="connsiteX1332" fmla="*/ 439713 w 1672940"/>
                  <a:gd name="connsiteY1332" fmla="*/ 829879 h 1117010"/>
                  <a:gd name="connsiteX1333" fmla="*/ 442440 w 1672940"/>
                  <a:gd name="connsiteY1333" fmla="*/ 828970 h 1117010"/>
                  <a:gd name="connsiteX1334" fmla="*/ 444259 w 1672940"/>
                  <a:gd name="connsiteY1334" fmla="*/ 827000 h 1117010"/>
                  <a:gd name="connsiteX1335" fmla="*/ 446532 w 1672940"/>
                  <a:gd name="connsiteY1335" fmla="*/ 825939 h 1117010"/>
                  <a:gd name="connsiteX1336" fmla="*/ 448804 w 1672940"/>
                  <a:gd name="connsiteY1336" fmla="*/ 825485 h 1117010"/>
                  <a:gd name="connsiteX1337" fmla="*/ 452138 w 1672940"/>
                  <a:gd name="connsiteY1337" fmla="*/ 825788 h 1117010"/>
                  <a:gd name="connsiteX1338" fmla="*/ 455320 w 1672940"/>
                  <a:gd name="connsiteY1338" fmla="*/ 826545 h 1117010"/>
                  <a:gd name="connsiteX1339" fmla="*/ 458805 w 1672940"/>
                  <a:gd name="connsiteY1339" fmla="*/ 827606 h 1117010"/>
                  <a:gd name="connsiteX1340" fmla="*/ 459259 w 1672940"/>
                  <a:gd name="connsiteY1340" fmla="*/ 828364 h 1117010"/>
                  <a:gd name="connsiteX1341" fmla="*/ 458956 w 1672940"/>
                  <a:gd name="connsiteY1341" fmla="*/ 829727 h 1117010"/>
                  <a:gd name="connsiteX1342" fmla="*/ 458502 w 1672940"/>
                  <a:gd name="connsiteY1342" fmla="*/ 831242 h 1117010"/>
                  <a:gd name="connsiteX1343" fmla="*/ 458502 w 1672940"/>
                  <a:gd name="connsiteY1343" fmla="*/ 832000 h 1117010"/>
                  <a:gd name="connsiteX1344" fmla="*/ 459108 w 1672940"/>
                  <a:gd name="connsiteY1344" fmla="*/ 832455 h 1117010"/>
                  <a:gd name="connsiteX1345" fmla="*/ 462593 w 1672940"/>
                  <a:gd name="connsiteY1345" fmla="*/ 832758 h 1117010"/>
                  <a:gd name="connsiteX1346" fmla="*/ 466835 w 1672940"/>
                  <a:gd name="connsiteY1346" fmla="*/ 832455 h 1117010"/>
                  <a:gd name="connsiteX1347" fmla="*/ 469108 w 1672940"/>
                  <a:gd name="connsiteY1347" fmla="*/ 832606 h 1117010"/>
                  <a:gd name="connsiteX1348" fmla="*/ 474260 w 1672940"/>
                  <a:gd name="connsiteY1348" fmla="*/ 833970 h 1117010"/>
                  <a:gd name="connsiteX1349" fmla="*/ 475775 w 1672940"/>
                  <a:gd name="connsiteY1349" fmla="*/ 834879 h 1117010"/>
                  <a:gd name="connsiteX1350" fmla="*/ 477442 w 1672940"/>
                  <a:gd name="connsiteY1350" fmla="*/ 835637 h 1117010"/>
                  <a:gd name="connsiteX1351" fmla="*/ 478957 w 1672940"/>
                  <a:gd name="connsiteY1351" fmla="*/ 835485 h 1117010"/>
                  <a:gd name="connsiteX1352" fmla="*/ 480927 w 1672940"/>
                  <a:gd name="connsiteY1352" fmla="*/ 833970 h 1117010"/>
                  <a:gd name="connsiteX1353" fmla="*/ 483048 w 1672940"/>
                  <a:gd name="connsiteY1353" fmla="*/ 832606 h 1117010"/>
                  <a:gd name="connsiteX1354" fmla="*/ 484412 w 1672940"/>
                  <a:gd name="connsiteY1354" fmla="*/ 832455 h 1117010"/>
                  <a:gd name="connsiteX1355" fmla="*/ 485321 w 1672940"/>
                  <a:gd name="connsiteY1355" fmla="*/ 832909 h 1117010"/>
                  <a:gd name="connsiteX1356" fmla="*/ 486988 w 1672940"/>
                  <a:gd name="connsiteY1356" fmla="*/ 834121 h 1117010"/>
                  <a:gd name="connsiteX1357" fmla="*/ 490473 w 1672940"/>
                  <a:gd name="connsiteY1357" fmla="*/ 835334 h 1117010"/>
                  <a:gd name="connsiteX1358" fmla="*/ 493503 w 1672940"/>
                  <a:gd name="connsiteY1358" fmla="*/ 836243 h 1117010"/>
                  <a:gd name="connsiteX1359" fmla="*/ 494564 w 1672940"/>
                  <a:gd name="connsiteY1359" fmla="*/ 837152 h 1117010"/>
                  <a:gd name="connsiteX1360" fmla="*/ 494261 w 1672940"/>
                  <a:gd name="connsiteY1360" fmla="*/ 840788 h 1117010"/>
                  <a:gd name="connsiteX1361" fmla="*/ 494261 w 1672940"/>
                  <a:gd name="connsiteY1361" fmla="*/ 842001 h 1117010"/>
                  <a:gd name="connsiteX1362" fmla="*/ 496533 w 1672940"/>
                  <a:gd name="connsiteY1362" fmla="*/ 842001 h 1117010"/>
                  <a:gd name="connsiteX1363" fmla="*/ 499564 w 1672940"/>
                  <a:gd name="connsiteY1363" fmla="*/ 842455 h 1117010"/>
                  <a:gd name="connsiteX1364" fmla="*/ 501837 w 1672940"/>
                  <a:gd name="connsiteY1364" fmla="*/ 842910 h 1117010"/>
                  <a:gd name="connsiteX1365" fmla="*/ 503655 w 1672940"/>
                  <a:gd name="connsiteY1365" fmla="*/ 842910 h 1117010"/>
                  <a:gd name="connsiteX1366" fmla="*/ 506988 w 1672940"/>
                  <a:gd name="connsiteY1366" fmla="*/ 840637 h 1117010"/>
                  <a:gd name="connsiteX1367" fmla="*/ 508504 w 1672940"/>
                  <a:gd name="connsiteY1367" fmla="*/ 840485 h 1117010"/>
                  <a:gd name="connsiteX1368" fmla="*/ 510322 w 1672940"/>
                  <a:gd name="connsiteY1368" fmla="*/ 840031 h 1117010"/>
                  <a:gd name="connsiteX1369" fmla="*/ 511079 w 1672940"/>
                  <a:gd name="connsiteY1369" fmla="*/ 839576 h 1117010"/>
                  <a:gd name="connsiteX1370" fmla="*/ 511685 w 1672940"/>
                  <a:gd name="connsiteY1370" fmla="*/ 839879 h 1117010"/>
                  <a:gd name="connsiteX1371" fmla="*/ 513655 w 1672940"/>
                  <a:gd name="connsiteY1371" fmla="*/ 840182 h 1117010"/>
                  <a:gd name="connsiteX1372" fmla="*/ 515625 w 1672940"/>
                  <a:gd name="connsiteY1372" fmla="*/ 840031 h 1117010"/>
                  <a:gd name="connsiteX1373" fmla="*/ 517443 w 1672940"/>
                  <a:gd name="connsiteY1373" fmla="*/ 839425 h 1117010"/>
                  <a:gd name="connsiteX1374" fmla="*/ 519262 w 1672940"/>
                  <a:gd name="connsiteY1374" fmla="*/ 838515 h 1117010"/>
                  <a:gd name="connsiteX1375" fmla="*/ 522443 w 1672940"/>
                  <a:gd name="connsiteY1375" fmla="*/ 836394 h 1117010"/>
                  <a:gd name="connsiteX1376" fmla="*/ 523050 w 1672940"/>
                  <a:gd name="connsiteY1376" fmla="*/ 835182 h 1117010"/>
                  <a:gd name="connsiteX1377" fmla="*/ 523050 w 1672940"/>
                  <a:gd name="connsiteY1377" fmla="*/ 834121 h 1117010"/>
                  <a:gd name="connsiteX1378" fmla="*/ 522443 w 1672940"/>
                  <a:gd name="connsiteY1378" fmla="*/ 833364 h 1117010"/>
                  <a:gd name="connsiteX1379" fmla="*/ 521838 w 1672940"/>
                  <a:gd name="connsiteY1379" fmla="*/ 833061 h 1117010"/>
                  <a:gd name="connsiteX1380" fmla="*/ 522140 w 1672940"/>
                  <a:gd name="connsiteY1380" fmla="*/ 832152 h 1117010"/>
                  <a:gd name="connsiteX1381" fmla="*/ 523504 w 1672940"/>
                  <a:gd name="connsiteY1381" fmla="*/ 830636 h 1117010"/>
                  <a:gd name="connsiteX1382" fmla="*/ 528504 w 1672940"/>
                  <a:gd name="connsiteY1382" fmla="*/ 828212 h 1117010"/>
                  <a:gd name="connsiteX1383" fmla="*/ 532747 w 1672940"/>
                  <a:gd name="connsiteY1383" fmla="*/ 825333 h 1117010"/>
                  <a:gd name="connsiteX1384" fmla="*/ 535020 w 1672940"/>
                  <a:gd name="connsiteY1384" fmla="*/ 823060 h 1117010"/>
                  <a:gd name="connsiteX1385" fmla="*/ 536080 w 1672940"/>
                  <a:gd name="connsiteY1385" fmla="*/ 820333 h 1117010"/>
                  <a:gd name="connsiteX1386" fmla="*/ 537444 w 1672940"/>
                  <a:gd name="connsiteY1386" fmla="*/ 817454 h 1117010"/>
                  <a:gd name="connsiteX1387" fmla="*/ 538656 w 1672940"/>
                  <a:gd name="connsiteY1387" fmla="*/ 816242 h 1117010"/>
                  <a:gd name="connsiteX1388" fmla="*/ 541687 w 1672940"/>
                  <a:gd name="connsiteY1388" fmla="*/ 815484 h 1117010"/>
                  <a:gd name="connsiteX1389" fmla="*/ 550020 w 1672940"/>
                  <a:gd name="connsiteY1389" fmla="*/ 814424 h 1117010"/>
                  <a:gd name="connsiteX1390" fmla="*/ 552596 w 1672940"/>
                  <a:gd name="connsiteY1390" fmla="*/ 813211 h 1117010"/>
                  <a:gd name="connsiteX1391" fmla="*/ 556536 w 1672940"/>
                  <a:gd name="connsiteY1391" fmla="*/ 811090 h 1117010"/>
                  <a:gd name="connsiteX1392" fmla="*/ 558505 w 1672940"/>
                  <a:gd name="connsiteY1392" fmla="*/ 809423 h 1117010"/>
                  <a:gd name="connsiteX1393" fmla="*/ 559566 w 1672940"/>
                  <a:gd name="connsiteY1393" fmla="*/ 808060 h 1117010"/>
                  <a:gd name="connsiteX1394" fmla="*/ 559718 w 1672940"/>
                  <a:gd name="connsiteY1394" fmla="*/ 806545 h 1117010"/>
                  <a:gd name="connsiteX1395" fmla="*/ 562293 w 1672940"/>
                  <a:gd name="connsiteY1395" fmla="*/ 806090 h 1117010"/>
                  <a:gd name="connsiteX1396" fmla="*/ 564566 w 1672940"/>
                  <a:gd name="connsiteY1396" fmla="*/ 803666 h 1117010"/>
                  <a:gd name="connsiteX1397" fmla="*/ 567294 w 1672940"/>
                  <a:gd name="connsiteY1397" fmla="*/ 801090 h 1117010"/>
                  <a:gd name="connsiteX1398" fmla="*/ 572142 w 1672940"/>
                  <a:gd name="connsiteY1398" fmla="*/ 798969 h 1117010"/>
                  <a:gd name="connsiteX1399" fmla="*/ 576385 w 1672940"/>
                  <a:gd name="connsiteY1399" fmla="*/ 796090 h 1117010"/>
                  <a:gd name="connsiteX1400" fmla="*/ 577900 w 1672940"/>
                  <a:gd name="connsiteY1400" fmla="*/ 796544 h 1117010"/>
                  <a:gd name="connsiteX1401" fmla="*/ 579415 w 1672940"/>
                  <a:gd name="connsiteY1401" fmla="*/ 797908 h 1117010"/>
                  <a:gd name="connsiteX1402" fmla="*/ 580173 w 1672940"/>
                  <a:gd name="connsiteY1402" fmla="*/ 799423 h 1117010"/>
                  <a:gd name="connsiteX1403" fmla="*/ 580324 w 1672940"/>
                  <a:gd name="connsiteY1403" fmla="*/ 800181 h 1117010"/>
                  <a:gd name="connsiteX1404" fmla="*/ 585779 w 1672940"/>
                  <a:gd name="connsiteY1404" fmla="*/ 801090 h 1117010"/>
                  <a:gd name="connsiteX1405" fmla="*/ 586688 w 1672940"/>
                  <a:gd name="connsiteY1405" fmla="*/ 800938 h 1117010"/>
                  <a:gd name="connsiteX1406" fmla="*/ 590628 w 1672940"/>
                  <a:gd name="connsiteY1406" fmla="*/ 802302 h 1117010"/>
                  <a:gd name="connsiteX1407" fmla="*/ 594265 w 1672940"/>
                  <a:gd name="connsiteY1407" fmla="*/ 803969 h 1117010"/>
                  <a:gd name="connsiteX1408" fmla="*/ 596234 w 1672940"/>
                  <a:gd name="connsiteY1408" fmla="*/ 804423 h 1117010"/>
                  <a:gd name="connsiteX1409" fmla="*/ 597295 w 1672940"/>
                  <a:gd name="connsiteY1409" fmla="*/ 804423 h 1117010"/>
                  <a:gd name="connsiteX1410" fmla="*/ 598204 w 1672940"/>
                  <a:gd name="connsiteY1410" fmla="*/ 803969 h 1117010"/>
                  <a:gd name="connsiteX1411" fmla="*/ 599264 w 1672940"/>
                  <a:gd name="connsiteY1411" fmla="*/ 802605 h 1117010"/>
                  <a:gd name="connsiteX1412" fmla="*/ 600325 w 1672940"/>
                  <a:gd name="connsiteY1412" fmla="*/ 801545 h 1117010"/>
                  <a:gd name="connsiteX1413" fmla="*/ 600931 w 1672940"/>
                  <a:gd name="connsiteY1413" fmla="*/ 801090 h 1117010"/>
                  <a:gd name="connsiteX1414" fmla="*/ 600931 w 1672940"/>
                  <a:gd name="connsiteY1414" fmla="*/ 799423 h 1117010"/>
                  <a:gd name="connsiteX1415" fmla="*/ 606234 w 1672940"/>
                  <a:gd name="connsiteY1415" fmla="*/ 796241 h 1117010"/>
                  <a:gd name="connsiteX1416" fmla="*/ 611083 w 1672940"/>
                  <a:gd name="connsiteY1416" fmla="*/ 793969 h 1117010"/>
                  <a:gd name="connsiteX1417" fmla="*/ 615174 w 1672940"/>
                  <a:gd name="connsiteY1417" fmla="*/ 792302 h 1117010"/>
                  <a:gd name="connsiteX1418" fmla="*/ 616386 w 1672940"/>
                  <a:gd name="connsiteY1418" fmla="*/ 793059 h 1117010"/>
                  <a:gd name="connsiteX1419" fmla="*/ 617750 w 1672940"/>
                  <a:gd name="connsiteY1419" fmla="*/ 794271 h 1117010"/>
                  <a:gd name="connsiteX1420" fmla="*/ 619568 w 1672940"/>
                  <a:gd name="connsiteY1420" fmla="*/ 797453 h 1117010"/>
                  <a:gd name="connsiteX1421" fmla="*/ 620629 w 1672940"/>
                  <a:gd name="connsiteY1421" fmla="*/ 798211 h 1117010"/>
                  <a:gd name="connsiteX1422" fmla="*/ 623356 w 1672940"/>
                  <a:gd name="connsiteY1422" fmla="*/ 797757 h 1117010"/>
                  <a:gd name="connsiteX1423" fmla="*/ 623811 w 1672940"/>
                  <a:gd name="connsiteY1423" fmla="*/ 798059 h 1117010"/>
                  <a:gd name="connsiteX1424" fmla="*/ 623356 w 1672940"/>
                  <a:gd name="connsiteY1424" fmla="*/ 799272 h 1117010"/>
                  <a:gd name="connsiteX1425" fmla="*/ 621538 w 1672940"/>
                  <a:gd name="connsiteY1425" fmla="*/ 800787 h 1117010"/>
                  <a:gd name="connsiteX1426" fmla="*/ 619114 w 1672940"/>
                  <a:gd name="connsiteY1426" fmla="*/ 802151 h 1117010"/>
                  <a:gd name="connsiteX1427" fmla="*/ 617447 w 1672940"/>
                  <a:gd name="connsiteY1427" fmla="*/ 803211 h 1117010"/>
                  <a:gd name="connsiteX1428" fmla="*/ 617902 w 1672940"/>
                  <a:gd name="connsiteY1428" fmla="*/ 806696 h 1117010"/>
                  <a:gd name="connsiteX1429" fmla="*/ 617750 w 1672940"/>
                  <a:gd name="connsiteY1429" fmla="*/ 807908 h 1117010"/>
                  <a:gd name="connsiteX1430" fmla="*/ 618507 w 1672940"/>
                  <a:gd name="connsiteY1430" fmla="*/ 808363 h 1117010"/>
                  <a:gd name="connsiteX1431" fmla="*/ 623508 w 1672940"/>
                  <a:gd name="connsiteY1431" fmla="*/ 804878 h 1117010"/>
                  <a:gd name="connsiteX1432" fmla="*/ 625932 w 1672940"/>
                  <a:gd name="connsiteY1432" fmla="*/ 804120 h 1117010"/>
                  <a:gd name="connsiteX1433" fmla="*/ 626841 w 1672940"/>
                  <a:gd name="connsiteY1433" fmla="*/ 805029 h 1117010"/>
                  <a:gd name="connsiteX1434" fmla="*/ 627144 w 1672940"/>
                  <a:gd name="connsiteY1434" fmla="*/ 806848 h 1117010"/>
                  <a:gd name="connsiteX1435" fmla="*/ 629114 w 1672940"/>
                  <a:gd name="connsiteY1435" fmla="*/ 810636 h 1117010"/>
                  <a:gd name="connsiteX1436" fmla="*/ 630023 w 1672940"/>
                  <a:gd name="connsiteY1436" fmla="*/ 812605 h 1117010"/>
                  <a:gd name="connsiteX1437" fmla="*/ 625023 w 1672940"/>
                  <a:gd name="connsiteY1437" fmla="*/ 817303 h 1117010"/>
                  <a:gd name="connsiteX1438" fmla="*/ 623205 w 1672940"/>
                  <a:gd name="connsiteY1438" fmla="*/ 819727 h 1117010"/>
                  <a:gd name="connsiteX1439" fmla="*/ 623205 w 1672940"/>
                  <a:gd name="connsiteY1439" fmla="*/ 820636 h 1117010"/>
                  <a:gd name="connsiteX1440" fmla="*/ 623053 w 1672940"/>
                  <a:gd name="connsiteY1440" fmla="*/ 821545 h 1117010"/>
                  <a:gd name="connsiteX1441" fmla="*/ 621690 w 1672940"/>
                  <a:gd name="connsiteY1441" fmla="*/ 822757 h 1117010"/>
                  <a:gd name="connsiteX1442" fmla="*/ 621690 w 1672940"/>
                  <a:gd name="connsiteY1442" fmla="*/ 823212 h 1117010"/>
                  <a:gd name="connsiteX1443" fmla="*/ 622750 w 1672940"/>
                  <a:gd name="connsiteY1443" fmla="*/ 823970 h 1117010"/>
                  <a:gd name="connsiteX1444" fmla="*/ 623962 w 1672940"/>
                  <a:gd name="connsiteY1444" fmla="*/ 824576 h 1117010"/>
                  <a:gd name="connsiteX1445" fmla="*/ 624569 w 1672940"/>
                  <a:gd name="connsiteY1445" fmla="*/ 824576 h 1117010"/>
                  <a:gd name="connsiteX1446" fmla="*/ 625629 w 1672940"/>
                  <a:gd name="connsiteY1446" fmla="*/ 823515 h 1117010"/>
                  <a:gd name="connsiteX1447" fmla="*/ 630478 w 1672940"/>
                  <a:gd name="connsiteY1447" fmla="*/ 821848 h 1117010"/>
                  <a:gd name="connsiteX1448" fmla="*/ 631841 w 1672940"/>
                  <a:gd name="connsiteY1448" fmla="*/ 822151 h 1117010"/>
                  <a:gd name="connsiteX1449" fmla="*/ 635175 w 1672940"/>
                  <a:gd name="connsiteY1449" fmla="*/ 824576 h 1117010"/>
                  <a:gd name="connsiteX1450" fmla="*/ 636690 w 1672940"/>
                  <a:gd name="connsiteY1450" fmla="*/ 824727 h 1117010"/>
                  <a:gd name="connsiteX1451" fmla="*/ 640781 w 1672940"/>
                  <a:gd name="connsiteY1451" fmla="*/ 825485 h 1117010"/>
                  <a:gd name="connsiteX1452" fmla="*/ 643357 w 1672940"/>
                  <a:gd name="connsiteY1452" fmla="*/ 824576 h 1117010"/>
                  <a:gd name="connsiteX1453" fmla="*/ 645327 w 1672940"/>
                  <a:gd name="connsiteY1453" fmla="*/ 825485 h 1117010"/>
                  <a:gd name="connsiteX1454" fmla="*/ 649266 w 1672940"/>
                  <a:gd name="connsiteY1454" fmla="*/ 828515 h 1117010"/>
                  <a:gd name="connsiteX1455" fmla="*/ 650175 w 1672940"/>
                  <a:gd name="connsiteY1455" fmla="*/ 829121 h 1117010"/>
                  <a:gd name="connsiteX1456" fmla="*/ 651085 w 1672940"/>
                  <a:gd name="connsiteY1456" fmla="*/ 828061 h 1117010"/>
                  <a:gd name="connsiteX1457" fmla="*/ 653206 w 1672940"/>
                  <a:gd name="connsiteY1457" fmla="*/ 825182 h 1117010"/>
                  <a:gd name="connsiteX1458" fmla="*/ 654418 w 1672940"/>
                  <a:gd name="connsiteY1458" fmla="*/ 823060 h 1117010"/>
                  <a:gd name="connsiteX1459" fmla="*/ 655024 w 1672940"/>
                  <a:gd name="connsiteY1459" fmla="*/ 822151 h 1117010"/>
                  <a:gd name="connsiteX1460" fmla="*/ 655933 w 1672940"/>
                  <a:gd name="connsiteY1460" fmla="*/ 820636 h 1117010"/>
                  <a:gd name="connsiteX1461" fmla="*/ 657600 w 1672940"/>
                  <a:gd name="connsiteY1461" fmla="*/ 820485 h 1117010"/>
                  <a:gd name="connsiteX1462" fmla="*/ 659267 w 1672940"/>
                  <a:gd name="connsiteY1462" fmla="*/ 820939 h 1117010"/>
                  <a:gd name="connsiteX1463" fmla="*/ 660176 w 1672940"/>
                  <a:gd name="connsiteY1463" fmla="*/ 821848 h 1117010"/>
                  <a:gd name="connsiteX1464" fmla="*/ 661085 w 1672940"/>
                  <a:gd name="connsiteY1464" fmla="*/ 823666 h 1117010"/>
                  <a:gd name="connsiteX1465" fmla="*/ 662146 w 1672940"/>
                  <a:gd name="connsiteY1465" fmla="*/ 825182 h 1117010"/>
                  <a:gd name="connsiteX1466" fmla="*/ 663509 w 1672940"/>
                  <a:gd name="connsiteY1466" fmla="*/ 825182 h 1117010"/>
                  <a:gd name="connsiteX1467" fmla="*/ 664873 w 1672940"/>
                  <a:gd name="connsiteY1467" fmla="*/ 825030 h 1117010"/>
                  <a:gd name="connsiteX1468" fmla="*/ 665479 w 1672940"/>
                  <a:gd name="connsiteY1468" fmla="*/ 825182 h 1117010"/>
                  <a:gd name="connsiteX1469" fmla="*/ 666691 w 1672940"/>
                  <a:gd name="connsiteY1469" fmla="*/ 826394 h 1117010"/>
                  <a:gd name="connsiteX1470" fmla="*/ 669115 w 1672940"/>
                  <a:gd name="connsiteY1470" fmla="*/ 829424 h 1117010"/>
                  <a:gd name="connsiteX1471" fmla="*/ 670176 w 1672940"/>
                  <a:gd name="connsiteY1471" fmla="*/ 830182 h 1117010"/>
                  <a:gd name="connsiteX1472" fmla="*/ 671237 w 1672940"/>
                  <a:gd name="connsiteY1472" fmla="*/ 831394 h 1117010"/>
                  <a:gd name="connsiteX1473" fmla="*/ 671843 w 1672940"/>
                  <a:gd name="connsiteY1473" fmla="*/ 833970 h 1117010"/>
                  <a:gd name="connsiteX1474" fmla="*/ 672146 w 1672940"/>
                  <a:gd name="connsiteY1474" fmla="*/ 836546 h 1117010"/>
                  <a:gd name="connsiteX1475" fmla="*/ 675177 w 1672940"/>
                  <a:gd name="connsiteY1475" fmla="*/ 845485 h 1117010"/>
                  <a:gd name="connsiteX1476" fmla="*/ 676086 w 1672940"/>
                  <a:gd name="connsiteY1476" fmla="*/ 847304 h 1117010"/>
                  <a:gd name="connsiteX1477" fmla="*/ 676691 w 1672940"/>
                  <a:gd name="connsiteY1477" fmla="*/ 848667 h 1117010"/>
                  <a:gd name="connsiteX1478" fmla="*/ 678055 w 1672940"/>
                  <a:gd name="connsiteY1478" fmla="*/ 848970 h 1117010"/>
                  <a:gd name="connsiteX1479" fmla="*/ 679267 w 1672940"/>
                  <a:gd name="connsiteY1479" fmla="*/ 847607 h 1117010"/>
                  <a:gd name="connsiteX1480" fmla="*/ 679722 w 1672940"/>
                  <a:gd name="connsiteY1480" fmla="*/ 846091 h 1117010"/>
                  <a:gd name="connsiteX1481" fmla="*/ 680934 w 1672940"/>
                  <a:gd name="connsiteY1481" fmla="*/ 845637 h 1117010"/>
                  <a:gd name="connsiteX1482" fmla="*/ 682298 w 1672940"/>
                  <a:gd name="connsiteY1482" fmla="*/ 845940 h 1117010"/>
                  <a:gd name="connsiteX1483" fmla="*/ 684874 w 1672940"/>
                  <a:gd name="connsiteY1483" fmla="*/ 847304 h 1117010"/>
                  <a:gd name="connsiteX1484" fmla="*/ 686237 w 1672940"/>
                  <a:gd name="connsiteY1484" fmla="*/ 848061 h 1117010"/>
                  <a:gd name="connsiteX1485" fmla="*/ 686995 w 1672940"/>
                  <a:gd name="connsiteY1485" fmla="*/ 852456 h 1117010"/>
                  <a:gd name="connsiteX1486" fmla="*/ 687146 w 1672940"/>
                  <a:gd name="connsiteY1486" fmla="*/ 857607 h 1117010"/>
                  <a:gd name="connsiteX1487" fmla="*/ 686995 w 1672940"/>
                  <a:gd name="connsiteY1487" fmla="*/ 859274 h 1117010"/>
                  <a:gd name="connsiteX1488" fmla="*/ 688207 w 1672940"/>
                  <a:gd name="connsiteY1488" fmla="*/ 863516 h 1117010"/>
                  <a:gd name="connsiteX1489" fmla="*/ 688510 w 1672940"/>
                  <a:gd name="connsiteY1489" fmla="*/ 868365 h 1117010"/>
                  <a:gd name="connsiteX1490" fmla="*/ 688813 w 1672940"/>
                  <a:gd name="connsiteY1490" fmla="*/ 871092 h 1117010"/>
                  <a:gd name="connsiteX1491" fmla="*/ 688813 w 1672940"/>
                  <a:gd name="connsiteY1491" fmla="*/ 873668 h 1117010"/>
                  <a:gd name="connsiteX1492" fmla="*/ 688662 w 1672940"/>
                  <a:gd name="connsiteY1492" fmla="*/ 877002 h 1117010"/>
                  <a:gd name="connsiteX1493" fmla="*/ 688055 w 1672940"/>
                  <a:gd name="connsiteY1493" fmla="*/ 881547 h 1117010"/>
                  <a:gd name="connsiteX1494" fmla="*/ 686995 w 1672940"/>
                  <a:gd name="connsiteY1494" fmla="*/ 885335 h 1117010"/>
                  <a:gd name="connsiteX1495" fmla="*/ 687298 w 1672940"/>
                  <a:gd name="connsiteY1495" fmla="*/ 888517 h 1117010"/>
                  <a:gd name="connsiteX1496" fmla="*/ 686692 w 1672940"/>
                  <a:gd name="connsiteY1496" fmla="*/ 890033 h 1117010"/>
                  <a:gd name="connsiteX1497" fmla="*/ 684267 w 1672940"/>
                  <a:gd name="connsiteY1497" fmla="*/ 890790 h 1117010"/>
                  <a:gd name="connsiteX1498" fmla="*/ 684116 w 1672940"/>
                  <a:gd name="connsiteY1498" fmla="*/ 892002 h 1117010"/>
                  <a:gd name="connsiteX1499" fmla="*/ 684874 w 1672940"/>
                  <a:gd name="connsiteY1499" fmla="*/ 893972 h 1117010"/>
                  <a:gd name="connsiteX1500" fmla="*/ 686541 w 1672940"/>
                  <a:gd name="connsiteY1500" fmla="*/ 896548 h 1117010"/>
                  <a:gd name="connsiteX1501" fmla="*/ 686541 w 1672940"/>
                  <a:gd name="connsiteY1501" fmla="*/ 898063 h 1117010"/>
                  <a:gd name="connsiteX1502" fmla="*/ 685632 w 1672940"/>
                  <a:gd name="connsiteY1502" fmla="*/ 899124 h 1117010"/>
                  <a:gd name="connsiteX1503" fmla="*/ 683813 w 1672940"/>
                  <a:gd name="connsiteY1503" fmla="*/ 899275 h 1117010"/>
                  <a:gd name="connsiteX1504" fmla="*/ 681237 w 1672940"/>
                  <a:gd name="connsiteY1504" fmla="*/ 900336 h 1117010"/>
                  <a:gd name="connsiteX1505" fmla="*/ 679419 w 1672940"/>
                  <a:gd name="connsiteY1505" fmla="*/ 903518 h 1117010"/>
                  <a:gd name="connsiteX1506" fmla="*/ 677601 w 1672940"/>
                  <a:gd name="connsiteY1506" fmla="*/ 906094 h 1117010"/>
                  <a:gd name="connsiteX1507" fmla="*/ 676540 w 1672940"/>
                  <a:gd name="connsiteY1507" fmla="*/ 906548 h 1117010"/>
                  <a:gd name="connsiteX1508" fmla="*/ 673207 w 1672940"/>
                  <a:gd name="connsiteY1508" fmla="*/ 905791 h 1117010"/>
                  <a:gd name="connsiteX1509" fmla="*/ 672449 w 1672940"/>
                  <a:gd name="connsiteY1509" fmla="*/ 906397 h 1117010"/>
                  <a:gd name="connsiteX1510" fmla="*/ 671237 w 1672940"/>
                  <a:gd name="connsiteY1510" fmla="*/ 910942 h 1117010"/>
                  <a:gd name="connsiteX1511" fmla="*/ 670328 w 1672940"/>
                  <a:gd name="connsiteY1511" fmla="*/ 912912 h 1117010"/>
                  <a:gd name="connsiteX1512" fmla="*/ 668812 w 1672940"/>
                  <a:gd name="connsiteY1512" fmla="*/ 914579 h 1117010"/>
                  <a:gd name="connsiteX1513" fmla="*/ 667449 w 1672940"/>
                  <a:gd name="connsiteY1513" fmla="*/ 915488 h 1117010"/>
                  <a:gd name="connsiteX1514" fmla="*/ 666237 w 1672940"/>
                  <a:gd name="connsiteY1514" fmla="*/ 916094 h 1117010"/>
                  <a:gd name="connsiteX1515" fmla="*/ 663509 w 1672940"/>
                  <a:gd name="connsiteY1515" fmla="*/ 915640 h 1117010"/>
                  <a:gd name="connsiteX1516" fmla="*/ 662146 w 1672940"/>
                  <a:gd name="connsiteY1516" fmla="*/ 918367 h 1117010"/>
                  <a:gd name="connsiteX1517" fmla="*/ 660782 w 1672940"/>
                  <a:gd name="connsiteY1517" fmla="*/ 922003 h 1117010"/>
                  <a:gd name="connsiteX1518" fmla="*/ 660630 w 1672940"/>
                  <a:gd name="connsiteY1518" fmla="*/ 923822 h 1117010"/>
                  <a:gd name="connsiteX1519" fmla="*/ 661388 w 1672940"/>
                  <a:gd name="connsiteY1519" fmla="*/ 926701 h 1117010"/>
                  <a:gd name="connsiteX1520" fmla="*/ 660934 w 1672940"/>
                  <a:gd name="connsiteY1520" fmla="*/ 927458 h 1117010"/>
                  <a:gd name="connsiteX1521" fmla="*/ 659418 w 1672940"/>
                  <a:gd name="connsiteY1521" fmla="*/ 928064 h 1117010"/>
                  <a:gd name="connsiteX1522" fmla="*/ 656994 w 1672940"/>
                  <a:gd name="connsiteY1522" fmla="*/ 929428 h 1117010"/>
                  <a:gd name="connsiteX1523" fmla="*/ 655479 w 1672940"/>
                  <a:gd name="connsiteY1523" fmla="*/ 933519 h 1117010"/>
                  <a:gd name="connsiteX1524" fmla="*/ 655479 w 1672940"/>
                  <a:gd name="connsiteY1524" fmla="*/ 937610 h 1117010"/>
                  <a:gd name="connsiteX1525" fmla="*/ 656388 w 1672940"/>
                  <a:gd name="connsiteY1525" fmla="*/ 938974 h 1117010"/>
                  <a:gd name="connsiteX1526" fmla="*/ 658055 w 1672940"/>
                  <a:gd name="connsiteY1526" fmla="*/ 939580 h 1117010"/>
                  <a:gd name="connsiteX1527" fmla="*/ 659267 w 1672940"/>
                  <a:gd name="connsiteY1527" fmla="*/ 940792 h 1117010"/>
                  <a:gd name="connsiteX1528" fmla="*/ 659418 w 1672940"/>
                  <a:gd name="connsiteY1528" fmla="*/ 942762 h 1117010"/>
                  <a:gd name="connsiteX1529" fmla="*/ 660479 w 1672940"/>
                  <a:gd name="connsiteY1529" fmla="*/ 945186 h 1117010"/>
                  <a:gd name="connsiteX1530" fmla="*/ 660024 w 1672940"/>
                  <a:gd name="connsiteY1530" fmla="*/ 948065 h 1117010"/>
                  <a:gd name="connsiteX1531" fmla="*/ 656691 w 1672940"/>
                  <a:gd name="connsiteY1531" fmla="*/ 952156 h 1117010"/>
                  <a:gd name="connsiteX1532" fmla="*/ 656539 w 1672940"/>
                  <a:gd name="connsiteY1532" fmla="*/ 954429 h 1117010"/>
                  <a:gd name="connsiteX1533" fmla="*/ 658357 w 1672940"/>
                  <a:gd name="connsiteY1533" fmla="*/ 955187 h 1117010"/>
                  <a:gd name="connsiteX1534" fmla="*/ 659873 w 1672940"/>
                  <a:gd name="connsiteY1534" fmla="*/ 954883 h 1117010"/>
                  <a:gd name="connsiteX1535" fmla="*/ 661843 w 1672940"/>
                  <a:gd name="connsiteY1535" fmla="*/ 953974 h 1117010"/>
                  <a:gd name="connsiteX1536" fmla="*/ 664115 w 1672940"/>
                  <a:gd name="connsiteY1536" fmla="*/ 952459 h 1117010"/>
                  <a:gd name="connsiteX1537" fmla="*/ 668964 w 1672940"/>
                  <a:gd name="connsiteY1537" fmla="*/ 950186 h 1117010"/>
                  <a:gd name="connsiteX1538" fmla="*/ 674267 w 1672940"/>
                  <a:gd name="connsiteY1538" fmla="*/ 948823 h 1117010"/>
                  <a:gd name="connsiteX1539" fmla="*/ 678510 w 1672940"/>
                  <a:gd name="connsiteY1539" fmla="*/ 948520 h 1117010"/>
                  <a:gd name="connsiteX1540" fmla="*/ 682146 w 1672940"/>
                  <a:gd name="connsiteY1540" fmla="*/ 948671 h 1117010"/>
                  <a:gd name="connsiteX1541" fmla="*/ 683965 w 1672940"/>
                  <a:gd name="connsiteY1541" fmla="*/ 949126 h 1117010"/>
                  <a:gd name="connsiteX1542" fmla="*/ 684419 w 1672940"/>
                  <a:gd name="connsiteY1542" fmla="*/ 950035 h 1117010"/>
                  <a:gd name="connsiteX1543" fmla="*/ 689420 w 1672940"/>
                  <a:gd name="connsiteY1543" fmla="*/ 948671 h 1117010"/>
                  <a:gd name="connsiteX1544" fmla="*/ 690480 w 1672940"/>
                  <a:gd name="connsiteY1544" fmla="*/ 948520 h 1117010"/>
                  <a:gd name="connsiteX1545" fmla="*/ 691389 w 1672940"/>
                  <a:gd name="connsiteY1545" fmla="*/ 948520 h 1117010"/>
                  <a:gd name="connsiteX1546" fmla="*/ 691389 w 1672940"/>
                  <a:gd name="connsiteY1546" fmla="*/ 949429 h 1117010"/>
                  <a:gd name="connsiteX1547" fmla="*/ 687753 w 1672940"/>
                  <a:gd name="connsiteY1547" fmla="*/ 953065 h 1117010"/>
                  <a:gd name="connsiteX1548" fmla="*/ 687146 w 1672940"/>
                  <a:gd name="connsiteY1548" fmla="*/ 954732 h 1117010"/>
                  <a:gd name="connsiteX1549" fmla="*/ 687298 w 1672940"/>
                  <a:gd name="connsiteY1549" fmla="*/ 956550 h 1117010"/>
                  <a:gd name="connsiteX1550" fmla="*/ 688813 w 1672940"/>
                  <a:gd name="connsiteY1550" fmla="*/ 958217 h 1117010"/>
                  <a:gd name="connsiteX1551" fmla="*/ 690177 w 1672940"/>
                  <a:gd name="connsiteY1551" fmla="*/ 959581 h 1117010"/>
                  <a:gd name="connsiteX1552" fmla="*/ 691389 w 1672940"/>
                  <a:gd name="connsiteY1552" fmla="*/ 962914 h 1117010"/>
                  <a:gd name="connsiteX1553" fmla="*/ 690480 w 1672940"/>
                  <a:gd name="connsiteY1553" fmla="*/ 965944 h 1117010"/>
                  <a:gd name="connsiteX1554" fmla="*/ 691086 w 1672940"/>
                  <a:gd name="connsiteY1554" fmla="*/ 967005 h 1117010"/>
                  <a:gd name="connsiteX1555" fmla="*/ 692147 w 1672940"/>
                  <a:gd name="connsiteY1555" fmla="*/ 968217 h 1117010"/>
                  <a:gd name="connsiteX1556" fmla="*/ 692753 w 1672940"/>
                  <a:gd name="connsiteY1556" fmla="*/ 969884 h 1117010"/>
                  <a:gd name="connsiteX1557" fmla="*/ 692904 w 1672940"/>
                  <a:gd name="connsiteY1557" fmla="*/ 972005 h 1117010"/>
                  <a:gd name="connsiteX1558" fmla="*/ 692298 w 1672940"/>
                  <a:gd name="connsiteY1558" fmla="*/ 975339 h 1117010"/>
                  <a:gd name="connsiteX1559" fmla="*/ 697601 w 1672940"/>
                  <a:gd name="connsiteY1559" fmla="*/ 977006 h 1117010"/>
                  <a:gd name="connsiteX1560" fmla="*/ 702147 w 1672940"/>
                  <a:gd name="connsiteY1560" fmla="*/ 977763 h 1117010"/>
                  <a:gd name="connsiteX1561" fmla="*/ 705481 w 1672940"/>
                  <a:gd name="connsiteY1561" fmla="*/ 977915 h 1117010"/>
                  <a:gd name="connsiteX1562" fmla="*/ 707602 w 1672940"/>
                  <a:gd name="connsiteY1562" fmla="*/ 978672 h 1117010"/>
                  <a:gd name="connsiteX1563" fmla="*/ 708814 w 1672940"/>
                  <a:gd name="connsiteY1563" fmla="*/ 979278 h 1117010"/>
                  <a:gd name="connsiteX1564" fmla="*/ 709723 w 1672940"/>
                  <a:gd name="connsiteY1564" fmla="*/ 980490 h 1117010"/>
                  <a:gd name="connsiteX1565" fmla="*/ 710026 w 1672940"/>
                  <a:gd name="connsiteY1565" fmla="*/ 981854 h 1117010"/>
                  <a:gd name="connsiteX1566" fmla="*/ 708965 w 1672940"/>
                  <a:gd name="connsiteY1566" fmla="*/ 982763 h 1117010"/>
                  <a:gd name="connsiteX1567" fmla="*/ 706693 w 1672940"/>
                  <a:gd name="connsiteY1567" fmla="*/ 985642 h 1117010"/>
                  <a:gd name="connsiteX1568" fmla="*/ 705481 w 1672940"/>
                  <a:gd name="connsiteY1568" fmla="*/ 989582 h 1117010"/>
                  <a:gd name="connsiteX1569" fmla="*/ 705632 w 1672940"/>
                  <a:gd name="connsiteY1569" fmla="*/ 992460 h 1117010"/>
                  <a:gd name="connsiteX1570" fmla="*/ 705481 w 1672940"/>
                  <a:gd name="connsiteY1570" fmla="*/ 995036 h 1117010"/>
                  <a:gd name="connsiteX1571" fmla="*/ 702905 w 1672940"/>
                  <a:gd name="connsiteY1571" fmla="*/ 998673 h 1117010"/>
                  <a:gd name="connsiteX1572" fmla="*/ 701844 w 1672940"/>
                  <a:gd name="connsiteY1572" fmla="*/ 1001249 h 1117010"/>
                  <a:gd name="connsiteX1573" fmla="*/ 700935 w 1672940"/>
                  <a:gd name="connsiteY1573" fmla="*/ 1003825 h 1117010"/>
                  <a:gd name="connsiteX1574" fmla="*/ 700935 w 1672940"/>
                  <a:gd name="connsiteY1574" fmla="*/ 1004885 h 1117010"/>
                  <a:gd name="connsiteX1575" fmla="*/ 701541 w 1672940"/>
                  <a:gd name="connsiteY1575" fmla="*/ 1005643 h 1117010"/>
                  <a:gd name="connsiteX1576" fmla="*/ 702602 w 1672940"/>
                  <a:gd name="connsiteY1576" fmla="*/ 1006097 h 1117010"/>
                  <a:gd name="connsiteX1577" fmla="*/ 704572 w 1672940"/>
                  <a:gd name="connsiteY1577" fmla="*/ 1006400 h 1117010"/>
                  <a:gd name="connsiteX1578" fmla="*/ 706844 w 1672940"/>
                  <a:gd name="connsiteY1578" fmla="*/ 1006097 h 1117010"/>
                  <a:gd name="connsiteX1579" fmla="*/ 712451 w 1672940"/>
                  <a:gd name="connsiteY1579" fmla="*/ 1006703 h 1117010"/>
                  <a:gd name="connsiteX1580" fmla="*/ 718815 w 1672940"/>
                  <a:gd name="connsiteY1580" fmla="*/ 1007764 h 1117010"/>
                  <a:gd name="connsiteX1581" fmla="*/ 721390 w 1672940"/>
                  <a:gd name="connsiteY1581" fmla="*/ 1008370 h 1117010"/>
                  <a:gd name="connsiteX1582" fmla="*/ 722148 w 1672940"/>
                  <a:gd name="connsiteY1582" fmla="*/ 1009431 h 1117010"/>
                  <a:gd name="connsiteX1583" fmla="*/ 721996 w 1672940"/>
                  <a:gd name="connsiteY1583" fmla="*/ 1011855 h 1117010"/>
                  <a:gd name="connsiteX1584" fmla="*/ 721542 w 1672940"/>
                  <a:gd name="connsiteY1584" fmla="*/ 1014128 h 1117010"/>
                  <a:gd name="connsiteX1585" fmla="*/ 721996 w 1672940"/>
                  <a:gd name="connsiteY1585" fmla="*/ 1015946 h 1117010"/>
                  <a:gd name="connsiteX1586" fmla="*/ 723057 w 1672940"/>
                  <a:gd name="connsiteY1586" fmla="*/ 1017613 h 1117010"/>
                  <a:gd name="connsiteX1587" fmla="*/ 724724 w 1672940"/>
                  <a:gd name="connsiteY1587" fmla="*/ 1018219 h 1117010"/>
                  <a:gd name="connsiteX1588" fmla="*/ 726239 w 1672940"/>
                  <a:gd name="connsiteY1588" fmla="*/ 1018825 h 1117010"/>
                  <a:gd name="connsiteX1589" fmla="*/ 726542 w 1672940"/>
                  <a:gd name="connsiteY1589" fmla="*/ 1020037 h 1117010"/>
                  <a:gd name="connsiteX1590" fmla="*/ 726087 w 1672940"/>
                  <a:gd name="connsiteY1590" fmla="*/ 1021704 h 1117010"/>
                  <a:gd name="connsiteX1591" fmla="*/ 726845 w 1672940"/>
                  <a:gd name="connsiteY1591" fmla="*/ 1023068 h 1117010"/>
                  <a:gd name="connsiteX1592" fmla="*/ 727754 w 1672940"/>
                  <a:gd name="connsiteY1592" fmla="*/ 1023977 h 1117010"/>
                  <a:gd name="connsiteX1593" fmla="*/ 729572 w 1672940"/>
                  <a:gd name="connsiteY1593" fmla="*/ 1024431 h 1117010"/>
                  <a:gd name="connsiteX1594" fmla="*/ 733360 w 1672940"/>
                  <a:gd name="connsiteY1594" fmla="*/ 1023371 h 1117010"/>
                  <a:gd name="connsiteX1595" fmla="*/ 735936 w 1672940"/>
                  <a:gd name="connsiteY1595" fmla="*/ 1023825 h 1117010"/>
                  <a:gd name="connsiteX1596" fmla="*/ 738209 w 1672940"/>
                  <a:gd name="connsiteY1596" fmla="*/ 1024583 h 1117010"/>
                  <a:gd name="connsiteX1597" fmla="*/ 740179 w 1672940"/>
                  <a:gd name="connsiteY1597" fmla="*/ 1024128 h 1117010"/>
                  <a:gd name="connsiteX1598" fmla="*/ 742148 w 1672940"/>
                  <a:gd name="connsiteY1598" fmla="*/ 1023219 h 1117010"/>
                  <a:gd name="connsiteX1599" fmla="*/ 746543 w 1672940"/>
                  <a:gd name="connsiteY1599" fmla="*/ 1018977 h 1117010"/>
                  <a:gd name="connsiteX1600" fmla="*/ 751543 w 1672940"/>
                  <a:gd name="connsiteY1600" fmla="*/ 1016704 h 1117010"/>
                  <a:gd name="connsiteX1601" fmla="*/ 753210 w 1672940"/>
                  <a:gd name="connsiteY1601" fmla="*/ 1016098 h 1117010"/>
                  <a:gd name="connsiteX1602" fmla="*/ 754270 w 1672940"/>
                  <a:gd name="connsiteY1602" fmla="*/ 1016401 h 1117010"/>
                  <a:gd name="connsiteX1603" fmla="*/ 754573 w 1672940"/>
                  <a:gd name="connsiteY1603" fmla="*/ 1016704 h 1117010"/>
                  <a:gd name="connsiteX1604" fmla="*/ 754573 w 1672940"/>
                  <a:gd name="connsiteY1604" fmla="*/ 1017613 h 1117010"/>
                  <a:gd name="connsiteX1605" fmla="*/ 755028 w 1672940"/>
                  <a:gd name="connsiteY1605" fmla="*/ 1021098 h 1117010"/>
                  <a:gd name="connsiteX1606" fmla="*/ 754725 w 1672940"/>
                  <a:gd name="connsiteY1606" fmla="*/ 1021552 h 1117010"/>
                  <a:gd name="connsiteX1607" fmla="*/ 756240 w 1672940"/>
                  <a:gd name="connsiteY1607" fmla="*/ 1022916 h 1117010"/>
                  <a:gd name="connsiteX1608" fmla="*/ 755634 w 1672940"/>
                  <a:gd name="connsiteY1608" fmla="*/ 1026250 h 1117010"/>
                  <a:gd name="connsiteX1609" fmla="*/ 756391 w 1672940"/>
                  <a:gd name="connsiteY1609" fmla="*/ 1027007 h 1117010"/>
                  <a:gd name="connsiteX1610" fmla="*/ 756846 w 1672940"/>
                  <a:gd name="connsiteY1610" fmla="*/ 1028219 h 1117010"/>
                  <a:gd name="connsiteX1611" fmla="*/ 756695 w 1672940"/>
                  <a:gd name="connsiteY1611" fmla="*/ 1030038 h 1117010"/>
                  <a:gd name="connsiteX1612" fmla="*/ 756998 w 1672940"/>
                  <a:gd name="connsiteY1612" fmla="*/ 1031553 h 1117010"/>
                  <a:gd name="connsiteX1613" fmla="*/ 757604 w 1672940"/>
                  <a:gd name="connsiteY1613" fmla="*/ 1032310 h 1117010"/>
                  <a:gd name="connsiteX1614" fmla="*/ 758513 w 1672940"/>
                  <a:gd name="connsiteY1614" fmla="*/ 1032614 h 1117010"/>
                  <a:gd name="connsiteX1615" fmla="*/ 762907 w 1672940"/>
                  <a:gd name="connsiteY1615" fmla="*/ 1031250 h 1117010"/>
                  <a:gd name="connsiteX1616" fmla="*/ 765634 w 1672940"/>
                  <a:gd name="connsiteY1616" fmla="*/ 1031098 h 1117010"/>
                  <a:gd name="connsiteX1617" fmla="*/ 766695 w 1672940"/>
                  <a:gd name="connsiteY1617" fmla="*/ 1032007 h 1117010"/>
                  <a:gd name="connsiteX1618" fmla="*/ 767756 w 1672940"/>
                  <a:gd name="connsiteY1618" fmla="*/ 1032614 h 1117010"/>
                  <a:gd name="connsiteX1619" fmla="*/ 768968 w 1672940"/>
                  <a:gd name="connsiteY1619" fmla="*/ 1033068 h 1117010"/>
                  <a:gd name="connsiteX1620" fmla="*/ 770028 w 1672940"/>
                  <a:gd name="connsiteY1620" fmla="*/ 1033674 h 1117010"/>
                  <a:gd name="connsiteX1621" fmla="*/ 770634 w 1672940"/>
                  <a:gd name="connsiteY1621" fmla="*/ 1033523 h 1117010"/>
                  <a:gd name="connsiteX1622" fmla="*/ 772150 w 1672940"/>
                  <a:gd name="connsiteY1622" fmla="*/ 1032159 h 1117010"/>
                  <a:gd name="connsiteX1623" fmla="*/ 772604 w 1672940"/>
                  <a:gd name="connsiteY1623" fmla="*/ 1031856 h 1117010"/>
                  <a:gd name="connsiteX1624" fmla="*/ 772604 w 1672940"/>
                  <a:gd name="connsiteY1624" fmla="*/ 1031250 h 1117010"/>
                  <a:gd name="connsiteX1625" fmla="*/ 771544 w 1672940"/>
                  <a:gd name="connsiteY1625" fmla="*/ 1030038 h 1117010"/>
                  <a:gd name="connsiteX1626" fmla="*/ 770483 w 1672940"/>
                  <a:gd name="connsiteY1626" fmla="*/ 1028977 h 1117010"/>
                  <a:gd name="connsiteX1627" fmla="*/ 770483 w 1672940"/>
                  <a:gd name="connsiteY1627" fmla="*/ 1026704 h 1117010"/>
                  <a:gd name="connsiteX1628" fmla="*/ 770937 w 1672940"/>
                  <a:gd name="connsiteY1628" fmla="*/ 1022765 h 1117010"/>
                  <a:gd name="connsiteX1629" fmla="*/ 771089 w 1672940"/>
                  <a:gd name="connsiteY1629" fmla="*/ 1020643 h 1117010"/>
                  <a:gd name="connsiteX1630" fmla="*/ 770937 w 1672940"/>
                  <a:gd name="connsiteY1630" fmla="*/ 1015795 h 1117010"/>
                  <a:gd name="connsiteX1631" fmla="*/ 770786 w 1672940"/>
                  <a:gd name="connsiteY1631" fmla="*/ 1014431 h 1117010"/>
                  <a:gd name="connsiteX1632" fmla="*/ 769725 w 1672940"/>
                  <a:gd name="connsiteY1632" fmla="*/ 1012764 h 1117010"/>
                  <a:gd name="connsiteX1633" fmla="*/ 767149 w 1672940"/>
                  <a:gd name="connsiteY1633" fmla="*/ 1009734 h 1117010"/>
                  <a:gd name="connsiteX1634" fmla="*/ 766392 w 1672940"/>
                  <a:gd name="connsiteY1634" fmla="*/ 1007916 h 1117010"/>
                  <a:gd name="connsiteX1635" fmla="*/ 765937 w 1672940"/>
                  <a:gd name="connsiteY1635" fmla="*/ 1006097 h 1117010"/>
                  <a:gd name="connsiteX1636" fmla="*/ 765937 w 1672940"/>
                  <a:gd name="connsiteY1636" fmla="*/ 1004885 h 1117010"/>
                  <a:gd name="connsiteX1637" fmla="*/ 765331 w 1672940"/>
                  <a:gd name="connsiteY1637" fmla="*/ 1003522 h 1117010"/>
                  <a:gd name="connsiteX1638" fmla="*/ 765028 w 1672940"/>
                  <a:gd name="connsiteY1638" fmla="*/ 1002309 h 1117010"/>
                  <a:gd name="connsiteX1639" fmla="*/ 766240 w 1672940"/>
                  <a:gd name="connsiteY1639" fmla="*/ 1001703 h 1117010"/>
                  <a:gd name="connsiteX1640" fmla="*/ 767604 w 1672940"/>
                  <a:gd name="connsiteY1640" fmla="*/ 1000188 h 1117010"/>
                  <a:gd name="connsiteX1641" fmla="*/ 768362 w 1672940"/>
                  <a:gd name="connsiteY1641" fmla="*/ 997915 h 1117010"/>
                  <a:gd name="connsiteX1642" fmla="*/ 769119 w 1672940"/>
                  <a:gd name="connsiteY1642" fmla="*/ 996248 h 1117010"/>
                  <a:gd name="connsiteX1643" fmla="*/ 770180 w 1672940"/>
                  <a:gd name="connsiteY1643" fmla="*/ 995491 h 1117010"/>
                  <a:gd name="connsiteX1644" fmla="*/ 771089 w 1672940"/>
                  <a:gd name="connsiteY1644" fmla="*/ 995188 h 1117010"/>
                  <a:gd name="connsiteX1645" fmla="*/ 771695 w 1672940"/>
                  <a:gd name="connsiteY1645" fmla="*/ 995339 h 1117010"/>
                  <a:gd name="connsiteX1646" fmla="*/ 773968 w 1672940"/>
                  <a:gd name="connsiteY1646" fmla="*/ 998218 h 1117010"/>
                  <a:gd name="connsiteX1647" fmla="*/ 776847 w 1672940"/>
                  <a:gd name="connsiteY1647" fmla="*/ 996703 h 1117010"/>
                  <a:gd name="connsiteX1648" fmla="*/ 778968 w 1672940"/>
                  <a:gd name="connsiteY1648" fmla="*/ 996703 h 1117010"/>
                  <a:gd name="connsiteX1649" fmla="*/ 780787 w 1672940"/>
                  <a:gd name="connsiteY1649" fmla="*/ 997461 h 1117010"/>
                  <a:gd name="connsiteX1650" fmla="*/ 781696 w 1672940"/>
                  <a:gd name="connsiteY1650" fmla="*/ 998370 h 1117010"/>
                  <a:gd name="connsiteX1651" fmla="*/ 783059 w 1672940"/>
                  <a:gd name="connsiteY1651" fmla="*/ 997309 h 1117010"/>
                  <a:gd name="connsiteX1652" fmla="*/ 784726 w 1672940"/>
                  <a:gd name="connsiteY1652" fmla="*/ 995794 h 1117010"/>
                  <a:gd name="connsiteX1653" fmla="*/ 786544 w 1672940"/>
                  <a:gd name="connsiteY1653" fmla="*/ 993521 h 1117010"/>
                  <a:gd name="connsiteX1654" fmla="*/ 788514 w 1672940"/>
                  <a:gd name="connsiteY1654" fmla="*/ 990642 h 1117010"/>
                  <a:gd name="connsiteX1655" fmla="*/ 789423 w 1672940"/>
                  <a:gd name="connsiteY1655" fmla="*/ 988824 h 1117010"/>
                  <a:gd name="connsiteX1656" fmla="*/ 790029 w 1672940"/>
                  <a:gd name="connsiteY1656" fmla="*/ 988066 h 1117010"/>
                  <a:gd name="connsiteX1657" fmla="*/ 791242 w 1672940"/>
                  <a:gd name="connsiteY1657" fmla="*/ 987612 h 1117010"/>
                  <a:gd name="connsiteX1658" fmla="*/ 792453 w 1672940"/>
                  <a:gd name="connsiteY1658" fmla="*/ 987915 h 1117010"/>
                  <a:gd name="connsiteX1659" fmla="*/ 794726 w 1672940"/>
                  <a:gd name="connsiteY1659" fmla="*/ 989127 h 1117010"/>
                  <a:gd name="connsiteX1660" fmla="*/ 798060 w 1672940"/>
                  <a:gd name="connsiteY1660" fmla="*/ 990642 h 1117010"/>
                  <a:gd name="connsiteX1661" fmla="*/ 801090 w 1672940"/>
                  <a:gd name="connsiteY1661" fmla="*/ 992460 h 1117010"/>
                  <a:gd name="connsiteX1662" fmla="*/ 802302 w 1672940"/>
                  <a:gd name="connsiteY1662" fmla="*/ 994279 h 1117010"/>
                  <a:gd name="connsiteX1663" fmla="*/ 803969 w 1672940"/>
                  <a:gd name="connsiteY1663" fmla="*/ 995946 h 1117010"/>
                  <a:gd name="connsiteX1664" fmla="*/ 805181 w 1672940"/>
                  <a:gd name="connsiteY1664" fmla="*/ 996400 h 1117010"/>
                  <a:gd name="connsiteX1665" fmla="*/ 805787 w 1672940"/>
                  <a:gd name="connsiteY1665" fmla="*/ 996248 h 1117010"/>
                  <a:gd name="connsiteX1666" fmla="*/ 807757 w 1672940"/>
                  <a:gd name="connsiteY1666" fmla="*/ 995036 h 1117010"/>
                  <a:gd name="connsiteX1667" fmla="*/ 809424 w 1672940"/>
                  <a:gd name="connsiteY1667" fmla="*/ 993824 h 1117010"/>
                  <a:gd name="connsiteX1668" fmla="*/ 809424 w 1672940"/>
                  <a:gd name="connsiteY1668" fmla="*/ 992309 h 1117010"/>
                  <a:gd name="connsiteX1669" fmla="*/ 810939 w 1672940"/>
                  <a:gd name="connsiteY1669" fmla="*/ 990945 h 1117010"/>
                  <a:gd name="connsiteX1670" fmla="*/ 812909 w 1672940"/>
                  <a:gd name="connsiteY1670" fmla="*/ 988824 h 1117010"/>
                  <a:gd name="connsiteX1671" fmla="*/ 813818 w 1672940"/>
                  <a:gd name="connsiteY1671" fmla="*/ 987309 h 1117010"/>
                  <a:gd name="connsiteX1672" fmla="*/ 814575 w 1672940"/>
                  <a:gd name="connsiteY1672" fmla="*/ 987157 h 1117010"/>
                  <a:gd name="connsiteX1673" fmla="*/ 815333 w 1672940"/>
                  <a:gd name="connsiteY1673" fmla="*/ 987612 h 1117010"/>
                  <a:gd name="connsiteX1674" fmla="*/ 818515 w 1672940"/>
                  <a:gd name="connsiteY1674" fmla="*/ 992158 h 1117010"/>
                  <a:gd name="connsiteX1675" fmla="*/ 819121 w 1672940"/>
                  <a:gd name="connsiteY1675" fmla="*/ 992460 h 1117010"/>
                  <a:gd name="connsiteX1676" fmla="*/ 820030 w 1672940"/>
                  <a:gd name="connsiteY1676" fmla="*/ 991854 h 1117010"/>
                  <a:gd name="connsiteX1677" fmla="*/ 821242 w 1672940"/>
                  <a:gd name="connsiteY1677" fmla="*/ 988370 h 1117010"/>
                  <a:gd name="connsiteX1678" fmla="*/ 822606 w 1672940"/>
                  <a:gd name="connsiteY1678" fmla="*/ 987006 h 1117010"/>
                  <a:gd name="connsiteX1679" fmla="*/ 823060 w 1672940"/>
                  <a:gd name="connsiteY1679" fmla="*/ 987309 h 1117010"/>
                  <a:gd name="connsiteX1680" fmla="*/ 830637 w 1672940"/>
                  <a:gd name="connsiteY1680" fmla="*/ 993976 h 1117010"/>
                  <a:gd name="connsiteX1681" fmla="*/ 831394 w 1672940"/>
                  <a:gd name="connsiteY1681" fmla="*/ 993976 h 1117010"/>
                  <a:gd name="connsiteX1682" fmla="*/ 832152 w 1672940"/>
                  <a:gd name="connsiteY1682" fmla="*/ 993673 h 1117010"/>
                  <a:gd name="connsiteX1683" fmla="*/ 832758 w 1672940"/>
                  <a:gd name="connsiteY1683" fmla="*/ 992612 h 1117010"/>
                  <a:gd name="connsiteX1684" fmla="*/ 833364 w 1672940"/>
                  <a:gd name="connsiteY1684" fmla="*/ 990339 h 1117010"/>
                  <a:gd name="connsiteX1685" fmla="*/ 834425 w 1672940"/>
                  <a:gd name="connsiteY1685" fmla="*/ 987915 h 1117010"/>
                  <a:gd name="connsiteX1686" fmla="*/ 836849 w 1672940"/>
                  <a:gd name="connsiteY1686" fmla="*/ 986551 h 1117010"/>
                  <a:gd name="connsiteX1687" fmla="*/ 838819 w 1672940"/>
                  <a:gd name="connsiteY1687" fmla="*/ 986248 h 1117010"/>
                  <a:gd name="connsiteX1688" fmla="*/ 839576 w 1672940"/>
                  <a:gd name="connsiteY1688" fmla="*/ 987460 h 1117010"/>
                  <a:gd name="connsiteX1689" fmla="*/ 841243 w 1672940"/>
                  <a:gd name="connsiteY1689" fmla="*/ 989127 h 1117010"/>
                  <a:gd name="connsiteX1690" fmla="*/ 843213 w 1672940"/>
                  <a:gd name="connsiteY1690" fmla="*/ 989430 h 1117010"/>
                  <a:gd name="connsiteX1691" fmla="*/ 847456 w 1672940"/>
                  <a:gd name="connsiteY1691" fmla="*/ 986551 h 1117010"/>
                  <a:gd name="connsiteX1692" fmla="*/ 848819 w 1672940"/>
                  <a:gd name="connsiteY1692" fmla="*/ 986097 h 1117010"/>
                  <a:gd name="connsiteX1693" fmla="*/ 850335 w 1672940"/>
                  <a:gd name="connsiteY1693" fmla="*/ 986097 h 1117010"/>
                  <a:gd name="connsiteX1694" fmla="*/ 851850 w 1672940"/>
                  <a:gd name="connsiteY1694" fmla="*/ 985945 h 1117010"/>
                  <a:gd name="connsiteX1695" fmla="*/ 853365 w 1672940"/>
                  <a:gd name="connsiteY1695" fmla="*/ 984884 h 1117010"/>
                  <a:gd name="connsiteX1696" fmla="*/ 854880 w 1672940"/>
                  <a:gd name="connsiteY1696" fmla="*/ 983369 h 1117010"/>
                  <a:gd name="connsiteX1697" fmla="*/ 855334 w 1672940"/>
                  <a:gd name="connsiteY1697" fmla="*/ 980490 h 1117010"/>
                  <a:gd name="connsiteX1698" fmla="*/ 855638 w 1672940"/>
                  <a:gd name="connsiteY1698" fmla="*/ 977915 h 1117010"/>
                  <a:gd name="connsiteX1699" fmla="*/ 856698 w 1672940"/>
                  <a:gd name="connsiteY1699" fmla="*/ 976854 h 1117010"/>
                  <a:gd name="connsiteX1700" fmla="*/ 857911 w 1672940"/>
                  <a:gd name="connsiteY1700" fmla="*/ 976096 h 1117010"/>
                  <a:gd name="connsiteX1701" fmla="*/ 860183 w 1672940"/>
                  <a:gd name="connsiteY1701" fmla="*/ 975187 h 1117010"/>
                  <a:gd name="connsiteX1702" fmla="*/ 865487 w 1672940"/>
                  <a:gd name="connsiteY1702" fmla="*/ 972763 h 1117010"/>
                  <a:gd name="connsiteX1703" fmla="*/ 866850 w 1672940"/>
                  <a:gd name="connsiteY1703" fmla="*/ 971551 h 1117010"/>
                  <a:gd name="connsiteX1704" fmla="*/ 867911 w 1672940"/>
                  <a:gd name="connsiteY1704" fmla="*/ 970945 h 1117010"/>
                  <a:gd name="connsiteX1705" fmla="*/ 870032 w 1672940"/>
                  <a:gd name="connsiteY1705" fmla="*/ 972005 h 1117010"/>
                  <a:gd name="connsiteX1706" fmla="*/ 872456 w 1672940"/>
                  <a:gd name="connsiteY1706" fmla="*/ 974127 h 1117010"/>
                  <a:gd name="connsiteX1707" fmla="*/ 873972 w 1672940"/>
                  <a:gd name="connsiteY1707" fmla="*/ 975642 h 1117010"/>
                  <a:gd name="connsiteX1708" fmla="*/ 875032 w 1672940"/>
                  <a:gd name="connsiteY1708" fmla="*/ 977308 h 1117010"/>
                  <a:gd name="connsiteX1709" fmla="*/ 875487 w 1672940"/>
                  <a:gd name="connsiteY1709" fmla="*/ 978672 h 1117010"/>
                  <a:gd name="connsiteX1710" fmla="*/ 879426 w 1672940"/>
                  <a:gd name="connsiteY1710" fmla="*/ 979884 h 1117010"/>
                  <a:gd name="connsiteX1711" fmla="*/ 881851 w 1672940"/>
                  <a:gd name="connsiteY1711" fmla="*/ 981551 h 1117010"/>
                  <a:gd name="connsiteX1712" fmla="*/ 883518 w 1672940"/>
                  <a:gd name="connsiteY1712" fmla="*/ 982915 h 1117010"/>
                  <a:gd name="connsiteX1713" fmla="*/ 885184 w 1672940"/>
                  <a:gd name="connsiteY1713" fmla="*/ 982915 h 1117010"/>
                  <a:gd name="connsiteX1714" fmla="*/ 886851 w 1672940"/>
                  <a:gd name="connsiteY1714" fmla="*/ 982612 h 1117010"/>
                  <a:gd name="connsiteX1715" fmla="*/ 887911 w 1672940"/>
                  <a:gd name="connsiteY1715" fmla="*/ 981551 h 1117010"/>
                  <a:gd name="connsiteX1716" fmla="*/ 889730 w 1672940"/>
                  <a:gd name="connsiteY1716" fmla="*/ 981551 h 1117010"/>
                  <a:gd name="connsiteX1717" fmla="*/ 891851 w 1672940"/>
                  <a:gd name="connsiteY1717" fmla="*/ 981703 h 1117010"/>
                  <a:gd name="connsiteX1718" fmla="*/ 892760 w 1672940"/>
                  <a:gd name="connsiteY1718" fmla="*/ 982157 h 1117010"/>
                  <a:gd name="connsiteX1719" fmla="*/ 894578 w 1672940"/>
                  <a:gd name="connsiteY1719" fmla="*/ 984582 h 1117010"/>
                  <a:gd name="connsiteX1720" fmla="*/ 895336 w 1672940"/>
                  <a:gd name="connsiteY1720" fmla="*/ 984884 h 1117010"/>
                  <a:gd name="connsiteX1721" fmla="*/ 897003 w 1672940"/>
                  <a:gd name="connsiteY1721" fmla="*/ 984733 h 1117010"/>
                  <a:gd name="connsiteX1722" fmla="*/ 900033 w 1672940"/>
                  <a:gd name="connsiteY1722" fmla="*/ 983824 h 1117010"/>
                  <a:gd name="connsiteX1723" fmla="*/ 902458 w 1672940"/>
                  <a:gd name="connsiteY1723" fmla="*/ 983369 h 1117010"/>
                  <a:gd name="connsiteX1724" fmla="*/ 904730 w 1672940"/>
                  <a:gd name="connsiteY1724" fmla="*/ 984278 h 1117010"/>
                  <a:gd name="connsiteX1725" fmla="*/ 908973 w 1672940"/>
                  <a:gd name="connsiteY1725" fmla="*/ 987006 h 1117010"/>
                  <a:gd name="connsiteX1726" fmla="*/ 907761 w 1672940"/>
                  <a:gd name="connsiteY1726" fmla="*/ 988976 h 1117010"/>
                  <a:gd name="connsiteX1727" fmla="*/ 906851 w 1672940"/>
                  <a:gd name="connsiteY1727" fmla="*/ 991097 h 1117010"/>
                  <a:gd name="connsiteX1728" fmla="*/ 905033 w 1672940"/>
                  <a:gd name="connsiteY1728" fmla="*/ 992612 h 1117010"/>
                  <a:gd name="connsiteX1729" fmla="*/ 903670 w 1672940"/>
                  <a:gd name="connsiteY1729" fmla="*/ 992915 h 1117010"/>
                  <a:gd name="connsiteX1730" fmla="*/ 902761 w 1672940"/>
                  <a:gd name="connsiteY1730" fmla="*/ 995036 h 1117010"/>
                  <a:gd name="connsiteX1731" fmla="*/ 902306 w 1672940"/>
                  <a:gd name="connsiteY1731" fmla="*/ 998067 h 1117010"/>
                  <a:gd name="connsiteX1732" fmla="*/ 902761 w 1672940"/>
                  <a:gd name="connsiteY1732" fmla="*/ 999582 h 1117010"/>
                  <a:gd name="connsiteX1733" fmla="*/ 903821 w 1672940"/>
                  <a:gd name="connsiteY1733" fmla="*/ 1000036 h 1117010"/>
                  <a:gd name="connsiteX1734" fmla="*/ 905033 w 1672940"/>
                  <a:gd name="connsiteY1734" fmla="*/ 1001097 h 1117010"/>
                  <a:gd name="connsiteX1735" fmla="*/ 905488 w 1672940"/>
                  <a:gd name="connsiteY1735" fmla="*/ 1002461 h 1117010"/>
                  <a:gd name="connsiteX1736" fmla="*/ 905640 w 1672940"/>
                  <a:gd name="connsiteY1736" fmla="*/ 1005491 h 1117010"/>
                  <a:gd name="connsiteX1737" fmla="*/ 905640 w 1672940"/>
                  <a:gd name="connsiteY1737" fmla="*/ 1008825 h 1117010"/>
                  <a:gd name="connsiteX1738" fmla="*/ 905791 w 1672940"/>
                  <a:gd name="connsiteY1738" fmla="*/ 1009885 h 1117010"/>
                  <a:gd name="connsiteX1739" fmla="*/ 906700 w 1672940"/>
                  <a:gd name="connsiteY1739" fmla="*/ 1009734 h 1117010"/>
                  <a:gd name="connsiteX1740" fmla="*/ 907609 w 1672940"/>
                  <a:gd name="connsiteY1740" fmla="*/ 1009279 h 1117010"/>
                  <a:gd name="connsiteX1741" fmla="*/ 909428 w 1672940"/>
                  <a:gd name="connsiteY1741" fmla="*/ 1009734 h 1117010"/>
                  <a:gd name="connsiteX1742" fmla="*/ 911700 w 1672940"/>
                  <a:gd name="connsiteY1742" fmla="*/ 1010643 h 1117010"/>
                  <a:gd name="connsiteX1743" fmla="*/ 913064 w 1672940"/>
                  <a:gd name="connsiteY1743" fmla="*/ 1011552 h 1117010"/>
                  <a:gd name="connsiteX1744" fmla="*/ 914276 w 1672940"/>
                  <a:gd name="connsiteY1744" fmla="*/ 1011401 h 1117010"/>
                  <a:gd name="connsiteX1745" fmla="*/ 915185 w 1672940"/>
                  <a:gd name="connsiteY1745" fmla="*/ 1012310 h 1117010"/>
                  <a:gd name="connsiteX1746" fmla="*/ 915488 w 1672940"/>
                  <a:gd name="connsiteY1746" fmla="*/ 1013976 h 1117010"/>
                  <a:gd name="connsiteX1747" fmla="*/ 916701 w 1672940"/>
                  <a:gd name="connsiteY1747" fmla="*/ 1015189 h 1117010"/>
                  <a:gd name="connsiteX1748" fmla="*/ 919882 w 1672940"/>
                  <a:gd name="connsiteY1748" fmla="*/ 1017462 h 1117010"/>
                  <a:gd name="connsiteX1749" fmla="*/ 922458 w 1672940"/>
                  <a:gd name="connsiteY1749" fmla="*/ 1017613 h 1117010"/>
                  <a:gd name="connsiteX1750" fmla="*/ 924580 w 1672940"/>
                  <a:gd name="connsiteY1750" fmla="*/ 1020492 h 1117010"/>
                  <a:gd name="connsiteX1751" fmla="*/ 926852 w 1672940"/>
                  <a:gd name="connsiteY1751" fmla="*/ 1019583 h 1117010"/>
                  <a:gd name="connsiteX1752" fmla="*/ 927913 w 1672940"/>
                  <a:gd name="connsiteY1752" fmla="*/ 1020795 h 1117010"/>
                  <a:gd name="connsiteX1753" fmla="*/ 932610 w 1672940"/>
                  <a:gd name="connsiteY1753" fmla="*/ 1020340 h 1117010"/>
                  <a:gd name="connsiteX1754" fmla="*/ 935792 w 1672940"/>
                  <a:gd name="connsiteY1754" fmla="*/ 1019128 h 1117010"/>
                  <a:gd name="connsiteX1755" fmla="*/ 937004 w 1672940"/>
                  <a:gd name="connsiteY1755" fmla="*/ 1019431 h 1117010"/>
                  <a:gd name="connsiteX1756" fmla="*/ 939883 w 1672940"/>
                  <a:gd name="connsiteY1756" fmla="*/ 1021856 h 1117010"/>
                  <a:gd name="connsiteX1757" fmla="*/ 941702 w 1672940"/>
                  <a:gd name="connsiteY1757" fmla="*/ 1023371 h 1117010"/>
                  <a:gd name="connsiteX1758" fmla="*/ 944277 w 1672940"/>
                  <a:gd name="connsiteY1758" fmla="*/ 1022916 h 1117010"/>
                  <a:gd name="connsiteX1759" fmla="*/ 946399 w 1672940"/>
                  <a:gd name="connsiteY1759" fmla="*/ 1021856 h 1117010"/>
                  <a:gd name="connsiteX1760" fmla="*/ 949126 w 1672940"/>
                  <a:gd name="connsiteY1760" fmla="*/ 1022007 h 1117010"/>
                  <a:gd name="connsiteX1761" fmla="*/ 950641 w 1672940"/>
                  <a:gd name="connsiteY1761" fmla="*/ 1020189 h 1117010"/>
                  <a:gd name="connsiteX1762" fmla="*/ 951247 w 1672940"/>
                  <a:gd name="connsiteY1762" fmla="*/ 1018219 h 1117010"/>
                  <a:gd name="connsiteX1763" fmla="*/ 952005 w 1672940"/>
                  <a:gd name="connsiteY1763" fmla="*/ 1018067 h 1117010"/>
                  <a:gd name="connsiteX1764" fmla="*/ 952762 w 1672940"/>
                  <a:gd name="connsiteY1764" fmla="*/ 1018522 h 1117010"/>
                  <a:gd name="connsiteX1765" fmla="*/ 954429 w 1672940"/>
                  <a:gd name="connsiteY1765" fmla="*/ 1020643 h 1117010"/>
                  <a:gd name="connsiteX1766" fmla="*/ 955945 w 1672940"/>
                  <a:gd name="connsiteY1766" fmla="*/ 1019886 h 1117010"/>
                  <a:gd name="connsiteX1767" fmla="*/ 956550 w 1672940"/>
                  <a:gd name="connsiteY1767" fmla="*/ 1018825 h 1117010"/>
                  <a:gd name="connsiteX1768" fmla="*/ 955641 w 1672940"/>
                  <a:gd name="connsiteY1768" fmla="*/ 1016855 h 1117010"/>
                  <a:gd name="connsiteX1769" fmla="*/ 955338 w 1672940"/>
                  <a:gd name="connsiteY1769" fmla="*/ 1014279 h 1117010"/>
                  <a:gd name="connsiteX1770" fmla="*/ 955338 w 1672940"/>
                  <a:gd name="connsiteY1770" fmla="*/ 1012158 h 1117010"/>
                  <a:gd name="connsiteX1771" fmla="*/ 958520 w 1672940"/>
                  <a:gd name="connsiteY1771" fmla="*/ 1012310 h 1117010"/>
                  <a:gd name="connsiteX1772" fmla="*/ 959126 w 1672940"/>
                  <a:gd name="connsiteY1772" fmla="*/ 1013219 h 1117010"/>
                  <a:gd name="connsiteX1773" fmla="*/ 958369 w 1672940"/>
                  <a:gd name="connsiteY1773" fmla="*/ 1014734 h 1117010"/>
                  <a:gd name="connsiteX1774" fmla="*/ 959126 w 1672940"/>
                  <a:gd name="connsiteY1774" fmla="*/ 1016098 h 1117010"/>
                  <a:gd name="connsiteX1775" fmla="*/ 960793 w 1672940"/>
                  <a:gd name="connsiteY1775" fmla="*/ 1017462 h 1117010"/>
                  <a:gd name="connsiteX1776" fmla="*/ 962763 w 1672940"/>
                  <a:gd name="connsiteY1776" fmla="*/ 1019583 h 1117010"/>
                  <a:gd name="connsiteX1777" fmla="*/ 963521 w 1672940"/>
                  <a:gd name="connsiteY1777" fmla="*/ 1020189 h 1117010"/>
                  <a:gd name="connsiteX1778" fmla="*/ 965490 w 1672940"/>
                  <a:gd name="connsiteY1778" fmla="*/ 1020037 h 1117010"/>
                  <a:gd name="connsiteX1779" fmla="*/ 967611 w 1672940"/>
                  <a:gd name="connsiteY1779" fmla="*/ 1020340 h 1117010"/>
                  <a:gd name="connsiteX1780" fmla="*/ 970642 w 1672940"/>
                  <a:gd name="connsiteY1780" fmla="*/ 1020340 h 1117010"/>
                  <a:gd name="connsiteX1781" fmla="*/ 972612 w 1672940"/>
                  <a:gd name="connsiteY1781" fmla="*/ 1021401 h 1117010"/>
                  <a:gd name="connsiteX1782" fmla="*/ 973521 w 1672940"/>
                  <a:gd name="connsiteY1782" fmla="*/ 1022765 h 1117010"/>
                  <a:gd name="connsiteX1783" fmla="*/ 972612 w 1672940"/>
                  <a:gd name="connsiteY1783" fmla="*/ 1024431 h 1117010"/>
                  <a:gd name="connsiteX1784" fmla="*/ 972157 w 1672940"/>
                  <a:gd name="connsiteY1784" fmla="*/ 1025795 h 1117010"/>
                  <a:gd name="connsiteX1785" fmla="*/ 973976 w 1672940"/>
                  <a:gd name="connsiteY1785" fmla="*/ 1026250 h 1117010"/>
                  <a:gd name="connsiteX1786" fmla="*/ 975945 w 1672940"/>
                  <a:gd name="connsiteY1786" fmla="*/ 1025795 h 1117010"/>
                  <a:gd name="connsiteX1787" fmla="*/ 979430 w 1672940"/>
                  <a:gd name="connsiteY1787" fmla="*/ 1025492 h 1117010"/>
                  <a:gd name="connsiteX1788" fmla="*/ 981854 w 1672940"/>
                  <a:gd name="connsiteY1788" fmla="*/ 1024734 h 1117010"/>
                  <a:gd name="connsiteX1789" fmla="*/ 984885 w 1672940"/>
                  <a:gd name="connsiteY1789" fmla="*/ 1023068 h 1117010"/>
                  <a:gd name="connsiteX1790" fmla="*/ 984279 w 1672940"/>
                  <a:gd name="connsiteY1790" fmla="*/ 1018674 h 1117010"/>
                  <a:gd name="connsiteX1791" fmla="*/ 985491 w 1672940"/>
                  <a:gd name="connsiteY1791" fmla="*/ 1018825 h 1117010"/>
                  <a:gd name="connsiteX1792" fmla="*/ 986249 w 1672940"/>
                  <a:gd name="connsiteY1792" fmla="*/ 1019280 h 1117010"/>
                  <a:gd name="connsiteX1793" fmla="*/ 988824 w 1672940"/>
                  <a:gd name="connsiteY1793" fmla="*/ 1023522 h 1117010"/>
                  <a:gd name="connsiteX1794" fmla="*/ 990340 w 1672940"/>
                  <a:gd name="connsiteY1794" fmla="*/ 1023371 h 1117010"/>
                  <a:gd name="connsiteX1795" fmla="*/ 990794 w 1672940"/>
                  <a:gd name="connsiteY1795" fmla="*/ 1022462 h 1117010"/>
                  <a:gd name="connsiteX1796" fmla="*/ 992764 w 1672940"/>
                  <a:gd name="connsiteY1796" fmla="*/ 1024583 h 1117010"/>
                  <a:gd name="connsiteX1797" fmla="*/ 995491 w 1672940"/>
                  <a:gd name="connsiteY1797" fmla="*/ 1024734 h 1117010"/>
                  <a:gd name="connsiteX1798" fmla="*/ 995188 w 1672940"/>
                  <a:gd name="connsiteY1798" fmla="*/ 1027765 h 1117010"/>
                  <a:gd name="connsiteX1799" fmla="*/ 991249 w 1672940"/>
                  <a:gd name="connsiteY1799" fmla="*/ 1028826 h 1117010"/>
                  <a:gd name="connsiteX1800" fmla="*/ 990642 w 1672940"/>
                  <a:gd name="connsiteY1800" fmla="*/ 1031856 h 1117010"/>
                  <a:gd name="connsiteX1801" fmla="*/ 988521 w 1672940"/>
                  <a:gd name="connsiteY1801" fmla="*/ 1034583 h 1117010"/>
                  <a:gd name="connsiteX1802" fmla="*/ 989128 w 1672940"/>
                  <a:gd name="connsiteY1802" fmla="*/ 1036856 h 1117010"/>
                  <a:gd name="connsiteX1803" fmla="*/ 987915 w 1672940"/>
                  <a:gd name="connsiteY1803" fmla="*/ 1040644 h 1117010"/>
                  <a:gd name="connsiteX1804" fmla="*/ 988521 w 1672940"/>
                  <a:gd name="connsiteY1804" fmla="*/ 1041856 h 1117010"/>
                  <a:gd name="connsiteX1805" fmla="*/ 989582 w 1672940"/>
                  <a:gd name="connsiteY1805" fmla="*/ 1042917 h 1117010"/>
                  <a:gd name="connsiteX1806" fmla="*/ 990642 w 1672940"/>
                  <a:gd name="connsiteY1806" fmla="*/ 1044584 h 1117010"/>
                  <a:gd name="connsiteX1807" fmla="*/ 991703 w 1672940"/>
                  <a:gd name="connsiteY1807" fmla="*/ 1046553 h 1117010"/>
                  <a:gd name="connsiteX1808" fmla="*/ 991400 w 1672940"/>
                  <a:gd name="connsiteY1808" fmla="*/ 1049129 h 1117010"/>
                  <a:gd name="connsiteX1809" fmla="*/ 993218 w 1672940"/>
                  <a:gd name="connsiteY1809" fmla="*/ 1052160 h 1117010"/>
                  <a:gd name="connsiteX1810" fmla="*/ 995491 w 1672940"/>
                  <a:gd name="connsiteY1810" fmla="*/ 1053220 h 1117010"/>
                  <a:gd name="connsiteX1811" fmla="*/ 996097 w 1672940"/>
                  <a:gd name="connsiteY1811" fmla="*/ 1053978 h 1117010"/>
                  <a:gd name="connsiteX1812" fmla="*/ 996552 w 1672940"/>
                  <a:gd name="connsiteY1812" fmla="*/ 1055190 h 1117010"/>
                  <a:gd name="connsiteX1813" fmla="*/ 995188 w 1672940"/>
                  <a:gd name="connsiteY1813" fmla="*/ 1055342 h 1117010"/>
                  <a:gd name="connsiteX1814" fmla="*/ 993976 w 1672940"/>
                  <a:gd name="connsiteY1814" fmla="*/ 1054887 h 1117010"/>
                  <a:gd name="connsiteX1815" fmla="*/ 993825 w 1672940"/>
                  <a:gd name="connsiteY1815" fmla="*/ 1056251 h 1117010"/>
                  <a:gd name="connsiteX1816" fmla="*/ 995340 w 1672940"/>
                  <a:gd name="connsiteY1816" fmla="*/ 1058220 h 1117010"/>
                  <a:gd name="connsiteX1817" fmla="*/ 1000340 w 1672940"/>
                  <a:gd name="connsiteY1817" fmla="*/ 1059130 h 1117010"/>
                  <a:gd name="connsiteX1818" fmla="*/ 1006401 w 1672940"/>
                  <a:gd name="connsiteY1818" fmla="*/ 1058220 h 1117010"/>
                  <a:gd name="connsiteX1819" fmla="*/ 1009280 w 1672940"/>
                  <a:gd name="connsiteY1819" fmla="*/ 1056554 h 1117010"/>
                  <a:gd name="connsiteX1820" fmla="*/ 1010340 w 1672940"/>
                  <a:gd name="connsiteY1820" fmla="*/ 1054584 h 1117010"/>
                  <a:gd name="connsiteX1821" fmla="*/ 1011249 w 1672940"/>
                  <a:gd name="connsiteY1821" fmla="*/ 1053675 h 1117010"/>
                  <a:gd name="connsiteX1822" fmla="*/ 1011098 w 1672940"/>
                  <a:gd name="connsiteY1822" fmla="*/ 1052008 h 1117010"/>
                  <a:gd name="connsiteX1823" fmla="*/ 1005643 w 1672940"/>
                  <a:gd name="connsiteY1823" fmla="*/ 1047614 h 1117010"/>
                  <a:gd name="connsiteX1824" fmla="*/ 1005946 w 1672940"/>
                  <a:gd name="connsiteY1824" fmla="*/ 1046250 h 1117010"/>
                  <a:gd name="connsiteX1825" fmla="*/ 1007159 w 1672940"/>
                  <a:gd name="connsiteY1825" fmla="*/ 1045341 h 1117010"/>
                  <a:gd name="connsiteX1826" fmla="*/ 1007613 w 1672940"/>
                  <a:gd name="connsiteY1826" fmla="*/ 1044281 h 1117010"/>
                  <a:gd name="connsiteX1827" fmla="*/ 1007007 w 1672940"/>
                  <a:gd name="connsiteY1827" fmla="*/ 1042917 h 1117010"/>
                  <a:gd name="connsiteX1828" fmla="*/ 1002006 w 1672940"/>
                  <a:gd name="connsiteY1828" fmla="*/ 1042311 h 1117010"/>
                  <a:gd name="connsiteX1829" fmla="*/ 1001249 w 1672940"/>
                  <a:gd name="connsiteY1829" fmla="*/ 1039887 h 1117010"/>
                  <a:gd name="connsiteX1830" fmla="*/ 1002310 w 1672940"/>
                  <a:gd name="connsiteY1830" fmla="*/ 1037311 h 1117010"/>
                  <a:gd name="connsiteX1831" fmla="*/ 1006098 w 1672940"/>
                  <a:gd name="connsiteY1831" fmla="*/ 1034583 h 1117010"/>
                  <a:gd name="connsiteX1832" fmla="*/ 1007310 w 1672940"/>
                  <a:gd name="connsiteY1832" fmla="*/ 1033371 h 1117010"/>
                  <a:gd name="connsiteX1833" fmla="*/ 1007916 w 1672940"/>
                  <a:gd name="connsiteY1833" fmla="*/ 1031250 h 1117010"/>
                  <a:gd name="connsiteX1834" fmla="*/ 1008219 w 1672940"/>
                  <a:gd name="connsiteY1834" fmla="*/ 1028674 h 1117010"/>
                  <a:gd name="connsiteX1835" fmla="*/ 1008825 w 1672940"/>
                  <a:gd name="connsiteY1835" fmla="*/ 1028977 h 1117010"/>
                  <a:gd name="connsiteX1836" fmla="*/ 1009431 w 1672940"/>
                  <a:gd name="connsiteY1836" fmla="*/ 1031704 h 1117010"/>
                  <a:gd name="connsiteX1837" fmla="*/ 1010643 w 1672940"/>
                  <a:gd name="connsiteY1837" fmla="*/ 1032310 h 1117010"/>
                  <a:gd name="connsiteX1838" fmla="*/ 1012310 w 1672940"/>
                  <a:gd name="connsiteY1838" fmla="*/ 1032159 h 1117010"/>
                  <a:gd name="connsiteX1839" fmla="*/ 1014583 w 1672940"/>
                  <a:gd name="connsiteY1839" fmla="*/ 1030341 h 1117010"/>
                  <a:gd name="connsiteX1840" fmla="*/ 1017765 w 1672940"/>
                  <a:gd name="connsiteY1840" fmla="*/ 1027310 h 1117010"/>
                  <a:gd name="connsiteX1841" fmla="*/ 1020644 w 1672940"/>
                  <a:gd name="connsiteY1841" fmla="*/ 1027007 h 1117010"/>
                  <a:gd name="connsiteX1842" fmla="*/ 1023826 w 1672940"/>
                  <a:gd name="connsiteY1842" fmla="*/ 1026098 h 1117010"/>
                  <a:gd name="connsiteX1843" fmla="*/ 1024432 w 1672940"/>
                  <a:gd name="connsiteY1843" fmla="*/ 1023825 h 1117010"/>
                  <a:gd name="connsiteX1844" fmla="*/ 1025644 w 1672940"/>
                  <a:gd name="connsiteY1844" fmla="*/ 1023825 h 1117010"/>
                  <a:gd name="connsiteX1845" fmla="*/ 1026704 w 1672940"/>
                  <a:gd name="connsiteY1845" fmla="*/ 1024583 h 1117010"/>
                  <a:gd name="connsiteX1846" fmla="*/ 1027917 w 1672940"/>
                  <a:gd name="connsiteY1846" fmla="*/ 1024583 h 1117010"/>
                  <a:gd name="connsiteX1847" fmla="*/ 1030038 w 1672940"/>
                  <a:gd name="connsiteY1847" fmla="*/ 1024280 h 1117010"/>
                  <a:gd name="connsiteX1848" fmla="*/ 1032765 w 1672940"/>
                  <a:gd name="connsiteY1848" fmla="*/ 1024431 h 1117010"/>
                  <a:gd name="connsiteX1849" fmla="*/ 1034735 w 1672940"/>
                  <a:gd name="connsiteY1849" fmla="*/ 1023068 h 1117010"/>
                  <a:gd name="connsiteX1850" fmla="*/ 1040493 w 1672940"/>
                  <a:gd name="connsiteY1850" fmla="*/ 1022310 h 1117010"/>
                  <a:gd name="connsiteX1851" fmla="*/ 1042614 w 1672940"/>
                  <a:gd name="connsiteY1851" fmla="*/ 1020946 h 1117010"/>
                  <a:gd name="connsiteX1852" fmla="*/ 1043372 w 1672940"/>
                  <a:gd name="connsiteY1852" fmla="*/ 1019583 h 1117010"/>
                  <a:gd name="connsiteX1853" fmla="*/ 1045190 w 1672940"/>
                  <a:gd name="connsiteY1853" fmla="*/ 1017764 h 1117010"/>
                  <a:gd name="connsiteX1854" fmla="*/ 1046554 w 1672940"/>
                  <a:gd name="connsiteY1854" fmla="*/ 1018067 h 1117010"/>
                  <a:gd name="connsiteX1855" fmla="*/ 1047917 w 1672940"/>
                  <a:gd name="connsiteY1855" fmla="*/ 1017916 h 1117010"/>
                  <a:gd name="connsiteX1856" fmla="*/ 1049433 w 1672940"/>
                  <a:gd name="connsiteY1856" fmla="*/ 1016249 h 1117010"/>
                  <a:gd name="connsiteX1857" fmla="*/ 1049887 w 1672940"/>
                  <a:gd name="connsiteY1857" fmla="*/ 1014128 h 1117010"/>
                  <a:gd name="connsiteX1858" fmla="*/ 1052160 w 1672940"/>
                  <a:gd name="connsiteY1858" fmla="*/ 1014279 h 1117010"/>
                  <a:gd name="connsiteX1859" fmla="*/ 1054736 w 1672940"/>
                  <a:gd name="connsiteY1859" fmla="*/ 1015340 h 1117010"/>
                  <a:gd name="connsiteX1860" fmla="*/ 1056857 w 1672940"/>
                  <a:gd name="connsiteY1860" fmla="*/ 1016552 h 1117010"/>
                  <a:gd name="connsiteX1861" fmla="*/ 1059888 w 1672940"/>
                  <a:gd name="connsiteY1861" fmla="*/ 1017158 h 1117010"/>
                  <a:gd name="connsiteX1862" fmla="*/ 1061251 w 1672940"/>
                  <a:gd name="connsiteY1862" fmla="*/ 1016401 h 1117010"/>
                  <a:gd name="connsiteX1863" fmla="*/ 1062160 w 1672940"/>
                  <a:gd name="connsiteY1863" fmla="*/ 1015492 h 1117010"/>
                  <a:gd name="connsiteX1864" fmla="*/ 1061857 w 1672940"/>
                  <a:gd name="connsiteY1864" fmla="*/ 1012158 h 1117010"/>
                  <a:gd name="connsiteX1865" fmla="*/ 1061403 w 1672940"/>
                  <a:gd name="connsiteY1865" fmla="*/ 1010491 h 1117010"/>
                  <a:gd name="connsiteX1866" fmla="*/ 1062464 w 1672940"/>
                  <a:gd name="connsiteY1866" fmla="*/ 1010340 h 1117010"/>
                  <a:gd name="connsiteX1867" fmla="*/ 1063373 w 1672940"/>
                  <a:gd name="connsiteY1867" fmla="*/ 1010946 h 1117010"/>
                  <a:gd name="connsiteX1868" fmla="*/ 1063676 w 1672940"/>
                  <a:gd name="connsiteY1868" fmla="*/ 1011855 h 1117010"/>
                  <a:gd name="connsiteX1869" fmla="*/ 1063221 w 1672940"/>
                  <a:gd name="connsiteY1869" fmla="*/ 1013219 h 1117010"/>
                  <a:gd name="connsiteX1870" fmla="*/ 1065191 w 1672940"/>
                  <a:gd name="connsiteY1870" fmla="*/ 1015037 h 1117010"/>
                  <a:gd name="connsiteX1871" fmla="*/ 1067767 w 1672940"/>
                  <a:gd name="connsiteY1871" fmla="*/ 1016249 h 1117010"/>
                  <a:gd name="connsiteX1872" fmla="*/ 1069131 w 1672940"/>
                  <a:gd name="connsiteY1872" fmla="*/ 1015037 h 1117010"/>
                  <a:gd name="connsiteX1873" fmla="*/ 1069888 w 1672940"/>
                  <a:gd name="connsiteY1873" fmla="*/ 1013976 h 1117010"/>
                  <a:gd name="connsiteX1874" fmla="*/ 1071706 w 1672940"/>
                  <a:gd name="connsiteY1874" fmla="*/ 1012764 h 1117010"/>
                  <a:gd name="connsiteX1875" fmla="*/ 1073979 w 1672940"/>
                  <a:gd name="connsiteY1875" fmla="*/ 1011552 h 1117010"/>
                  <a:gd name="connsiteX1876" fmla="*/ 1076555 w 1672940"/>
                  <a:gd name="connsiteY1876" fmla="*/ 1013370 h 1117010"/>
                  <a:gd name="connsiteX1877" fmla="*/ 1077919 w 1672940"/>
                  <a:gd name="connsiteY1877" fmla="*/ 1012613 h 1117010"/>
                  <a:gd name="connsiteX1878" fmla="*/ 1078676 w 1672940"/>
                  <a:gd name="connsiteY1878" fmla="*/ 1011704 h 1117010"/>
                  <a:gd name="connsiteX1879" fmla="*/ 1079282 w 1672940"/>
                  <a:gd name="connsiteY1879" fmla="*/ 1006552 h 1117010"/>
                  <a:gd name="connsiteX1880" fmla="*/ 1081555 w 1672940"/>
                  <a:gd name="connsiteY1880" fmla="*/ 1003976 h 1117010"/>
                  <a:gd name="connsiteX1881" fmla="*/ 1083222 w 1672940"/>
                  <a:gd name="connsiteY1881" fmla="*/ 1007764 h 1117010"/>
                  <a:gd name="connsiteX1882" fmla="*/ 1086404 w 1672940"/>
                  <a:gd name="connsiteY1882" fmla="*/ 1007310 h 1117010"/>
                  <a:gd name="connsiteX1883" fmla="*/ 1088071 w 1672940"/>
                  <a:gd name="connsiteY1883" fmla="*/ 1005643 h 1117010"/>
                  <a:gd name="connsiteX1884" fmla="*/ 1089131 w 1672940"/>
                  <a:gd name="connsiteY1884" fmla="*/ 1005037 h 1117010"/>
                  <a:gd name="connsiteX1885" fmla="*/ 1090495 w 1672940"/>
                  <a:gd name="connsiteY1885" fmla="*/ 1004582 h 1117010"/>
                  <a:gd name="connsiteX1886" fmla="*/ 1092010 w 1672940"/>
                  <a:gd name="connsiteY1886" fmla="*/ 1004128 h 1117010"/>
                  <a:gd name="connsiteX1887" fmla="*/ 1092162 w 1672940"/>
                  <a:gd name="connsiteY1887" fmla="*/ 1004128 h 1117010"/>
                  <a:gd name="connsiteX1888" fmla="*/ 1092162 w 1672940"/>
                  <a:gd name="connsiteY1888" fmla="*/ 1003522 h 1117010"/>
                  <a:gd name="connsiteX1889" fmla="*/ 1092464 w 1672940"/>
                  <a:gd name="connsiteY1889" fmla="*/ 1002764 h 1117010"/>
                  <a:gd name="connsiteX1890" fmla="*/ 1093374 w 1672940"/>
                  <a:gd name="connsiteY1890" fmla="*/ 1002612 h 1117010"/>
                  <a:gd name="connsiteX1891" fmla="*/ 1093980 w 1672940"/>
                  <a:gd name="connsiteY1891" fmla="*/ 1003219 h 1117010"/>
                  <a:gd name="connsiteX1892" fmla="*/ 1093980 w 1672940"/>
                  <a:gd name="connsiteY1892" fmla="*/ 1003219 h 1117010"/>
                  <a:gd name="connsiteX1893" fmla="*/ 1094738 w 1672940"/>
                  <a:gd name="connsiteY1893" fmla="*/ 1001097 h 1117010"/>
                  <a:gd name="connsiteX1894" fmla="*/ 1095040 w 1672940"/>
                  <a:gd name="connsiteY1894" fmla="*/ 999582 h 1117010"/>
                  <a:gd name="connsiteX1895" fmla="*/ 1093980 w 1672940"/>
                  <a:gd name="connsiteY1895" fmla="*/ 998067 h 1117010"/>
                  <a:gd name="connsiteX1896" fmla="*/ 1093980 w 1672940"/>
                  <a:gd name="connsiteY1896" fmla="*/ 992612 h 1117010"/>
                  <a:gd name="connsiteX1897" fmla="*/ 1092162 w 1672940"/>
                  <a:gd name="connsiteY1897" fmla="*/ 989733 h 1117010"/>
                  <a:gd name="connsiteX1898" fmla="*/ 1091252 w 1672940"/>
                  <a:gd name="connsiteY1898" fmla="*/ 988824 h 1117010"/>
                  <a:gd name="connsiteX1899" fmla="*/ 1090798 w 1672940"/>
                  <a:gd name="connsiteY1899" fmla="*/ 987006 h 1117010"/>
                  <a:gd name="connsiteX1900" fmla="*/ 1088374 w 1672940"/>
                  <a:gd name="connsiteY1900" fmla="*/ 984884 h 1117010"/>
                  <a:gd name="connsiteX1901" fmla="*/ 1088222 w 1672940"/>
                  <a:gd name="connsiteY1901" fmla="*/ 984127 h 1117010"/>
                  <a:gd name="connsiteX1902" fmla="*/ 1088071 w 1672940"/>
                  <a:gd name="connsiteY1902" fmla="*/ 983521 h 1117010"/>
                  <a:gd name="connsiteX1903" fmla="*/ 1091101 w 1672940"/>
                  <a:gd name="connsiteY1903" fmla="*/ 982763 h 1117010"/>
                  <a:gd name="connsiteX1904" fmla="*/ 1091555 w 1672940"/>
                  <a:gd name="connsiteY1904" fmla="*/ 981248 h 1117010"/>
                  <a:gd name="connsiteX1905" fmla="*/ 1091101 w 1672940"/>
                  <a:gd name="connsiteY1905" fmla="*/ 979581 h 1117010"/>
                  <a:gd name="connsiteX1906" fmla="*/ 1093071 w 1672940"/>
                  <a:gd name="connsiteY1906" fmla="*/ 978217 h 1117010"/>
                  <a:gd name="connsiteX1907" fmla="*/ 1095798 w 1672940"/>
                  <a:gd name="connsiteY1907" fmla="*/ 977460 h 1117010"/>
                  <a:gd name="connsiteX1908" fmla="*/ 1095040 w 1672940"/>
                  <a:gd name="connsiteY1908" fmla="*/ 978975 h 1117010"/>
                  <a:gd name="connsiteX1909" fmla="*/ 1094889 w 1672940"/>
                  <a:gd name="connsiteY1909" fmla="*/ 980642 h 1117010"/>
                  <a:gd name="connsiteX1910" fmla="*/ 1095343 w 1672940"/>
                  <a:gd name="connsiteY1910" fmla="*/ 982157 h 1117010"/>
                  <a:gd name="connsiteX1911" fmla="*/ 1095798 w 1672940"/>
                  <a:gd name="connsiteY1911" fmla="*/ 985188 h 1117010"/>
                  <a:gd name="connsiteX1912" fmla="*/ 1096859 w 1672940"/>
                  <a:gd name="connsiteY1912" fmla="*/ 986854 h 1117010"/>
                  <a:gd name="connsiteX1913" fmla="*/ 1099435 w 1672940"/>
                  <a:gd name="connsiteY1913" fmla="*/ 988824 h 1117010"/>
                  <a:gd name="connsiteX1914" fmla="*/ 1101405 w 1672940"/>
                  <a:gd name="connsiteY1914" fmla="*/ 992460 h 1117010"/>
                  <a:gd name="connsiteX1915" fmla="*/ 1104283 w 1672940"/>
                  <a:gd name="connsiteY1915" fmla="*/ 994582 h 1117010"/>
                  <a:gd name="connsiteX1916" fmla="*/ 1106556 w 1672940"/>
                  <a:gd name="connsiteY1916" fmla="*/ 995188 h 1117010"/>
                  <a:gd name="connsiteX1917" fmla="*/ 1106707 w 1672940"/>
                  <a:gd name="connsiteY1917" fmla="*/ 995188 h 1117010"/>
                  <a:gd name="connsiteX1918" fmla="*/ 1107617 w 1672940"/>
                  <a:gd name="connsiteY1918" fmla="*/ 994430 h 1117010"/>
                  <a:gd name="connsiteX1919" fmla="*/ 1108981 w 1672940"/>
                  <a:gd name="connsiteY1919" fmla="*/ 994127 h 1117010"/>
                  <a:gd name="connsiteX1920" fmla="*/ 1109738 w 1672940"/>
                  <a:gd name="connsiteY1920" fmla="*/ 993673 h 1117010"/>
                  <a:gd name="connsiteX1921" fmla="*/ 1111556 w 1672940"/>
                  <a:gd name="connsiteY1921" fmla="*/ 993673 h 1117010"/>
                  <a:gd name="connsiteX1922" fmla="*/ 1112617 w 1672940"/>
                  <a:gd name="connsiteY1922" fmla="*/ 993976 h 1117010"/>
                  <a:gd name="connsiteX1923" fmla="*/ 1113678 w 1672940"/>
                  <a:gd name="connsiteY1923" fmla="*/ 994279 h 1117010"/>
                  <a:gd name="connsiteX1924" fmla="*/ 1115647 w 1672940"/>
                  <a:gd name="connsiteY1924" fmla="*/ 992764 h 1117010"/>
                  <a:gd name="connsiteX1925" fmla="*/ 1117769 w 1672940"/>
                  <a:gd name="connsiteY1925" fmla="*/ 993067 h 1117010"/>
                  <a:gd name="connsiteX1926" fmla="*/ 1119890 w 1672940"/>
                  <a:gd name="connsiteY1926" fmla="*/ 994733 h 1117010"/>
                  <a:gd name="connsiteX1927" fmla="*/ 1121405 w 1672940"/>
                  <a:gd name="connsiteY1927" fmla="*/ 994733 h 1117010"/>
                  <a:gd name="connsiteX1928" fmla="*/ 1121102 w 1672940"/>
                  <a:gd name="connsiteY1928" fmla="*/ 992158 h 1117010"/>
                  <a:gd name="connsiteX1929" fmla="*/ 1121860 w 1672940"/>
                  <a:gd name="connsiteY1929" fmla="*/ 991248 h 1117010"/>
                  <a:gd name="connsiteX1930" fmla="*/ 1122466 w 1672940"/>
                  <a:gd name="connsiteY1930" fmla="*/ 990036 h 1117010"/>
                  <a:gd name="connsiteX1931" fmla="*/ 1124133 w 1672940"/>
                  <a:gd name="connsiteY1931" fmla="*/ 988370 h 1117010"/>
                  <a:gd name="connsiteX1932" fmla="*/ 1125799 w 1672940"/>
                  <a:gd name="connsiteY1932" fmla="*/ 988824 h 1117010"/>
                  <a:gd name="connsiteX1933" fmla="*/ 1126860 w 1672940"/>
                  <a:gd name="connsiteY1933" fmla="*/ 992006 h 1117010"/>
                  <a:gd name="connsiteX1934" fmla="*/ 1129739 w 1672940"/>
                  <a:gd name="connsiteY1934" fmla="*/ 992309 h 1117010"/>
                  <a:gd name="connsiteX1935" fmla="*/ 1130951 w 1672940"/>
                  <a:gd name="connsiteY1935" fmla="*/ 991703 h 1117010"/>
                  <a:gd name="connsiteX1936" fmla="*/ 1131405 w 1672940"/>
                  <a:gd name="connsiteY1936" fmla="*/ 990339 h 1117010"/>
                  <a:gd name="connsiteX1937" fmla="*/ 1134133 w 1672940"/>
                  <a:gd name="connsiteY1937" fmla="*/ 989582 h 1117010"/>
                  <a:gd name="connsiteX1938" fmla="*/ 1136254 w 1672940"/>
                  <a:gd name="connsiteY1938" fmla="*/ 987460 h 1117010"/>
                  <a:gd name="connsiteX1939" fmla="*/ 1139133 w 1672940"/>
                  <a:gd name="connsiteY1939" fmla="*/ 986400 h 1117010"/>
                  <a:gd name="connsiteX1940" fmla="*/ 1141709 w 1672940"/>
                  <a:gd name="connsiteY1940" fmla="*/ 987612 h 1117010"/>
                  <a:gd name="connsiteX1941" fmla="*/ 1144284 w 1672940"/>
                  <a:gd name="connsiteY1941" fmla="*/ 989279 h 1117010"/>
                  <a:gd name="connsiteX1942" fmla="*/ 1147467 w 1672940"/>
                  <a:gd name="connsiteY1942" fmla="*/ 989279 h 1117010"/>
                  <a:gd name="connsiteX1943" fmla="*/ 1148527 w 1672940"/>
                  <a:gd name="connsiteY1943" fmla="*/ 987915 h 1117010"/>
                  <a:gd name="connsiteX1944" fmla="*/ 1149285 w 1672940"/>
                  <a:gd name="connsiteY1944" fmla="*/ 986248 h 1117010"/>
                  <a:gd name="connsiteX1945" fmla="*/ 1151406 w 1672940"/>
                  <a:gd name="connsiteY1945" fmla="*/ 985491 h 1117010"/>
                  <a:gd name="connsiteX1946" fmla="*/ 1154589 w 1672940"/>
                  <a:gd name="connsiteY1946" fmla="*/ 986400 h 1117010"/>
                  <a:gd name="connsiteX1947" fmla="*/ 1157164 w 1672940"/>
                  <a:gd name="connsiteY1947" fmla="*/ 987006 h 1117010"/>
                  <a:gd name="connsiteX1948" fmla="*/ 1162922 w 1672940"/>
                  <a:gd name="connsiteY1948" fmla="*/ 984733 h 1117010"/>
                  <a:gd name="connsiteX1949" fmla="*/ 1165498 w 1672940"/>
                  <a:gd name="connsiteY1949" fmla="*/ 984430 h 1117010"/>
                  <a:gd name="connsiteX1950" fmla="*/ 1166862 w 1672940"/>
                  <a:gd name="connsiteY1950" fmla="*/ 983521 h 1117010"/>
                  <a:gd name="connsiteX1951" fmla="*/ 1167316 w 1672940"/>
                  <a:gd name="connsiteY1951" fmla="*/ 982612 h 1117010"/>
                  <a:gd name="connsiteX1952" fmla="*/ 1168073 w 1672940"/>
                  <a:gd name="connsiteY1952" fmla="*/ 981703 h 1117010"/>
                  <a:gd name="connsiteX1953" fmla="*/ 1170650 w 1672940"/>
                  <a:gd name="connsiteY1953" fmla="*/ 982915 h 1117010"/>
                  <a:gd name="connsiteX1954" fmla="*/ 1174134 w 1672940"/>
                  <a:gd name="connsiteY1954" fmla="*/ 982763 h 1117010"/>
                  <a:gd name="connsiteX1955" fmla="*/ 1175498 w 1672940"/>
                  <a:gd name="connsiteY1955" fmla="*/ 981096 h 1117010"/>
                  <a:gd name="connsiteX1956" fmla="*/ 1175953 w 1672940"/>
                  <a:gd name="connsiteY1956" fmla="*/ 976096 h 1117010"/>
                  <a:gd name="connsiteX1957" fmla="*/ 1177317 w 1672940"/>
                  <a:gd name="connsiteY1957" fmla="*/ 975036 h 1117010"/>
                  <a:gd name="connsiteX1958" fmla="*/ 1179589 w 1672940"/>
                  <a:gd name="connsiteY1958" fmla="*/ 974733 h 1117010"/>
                  <a:gd name="connsiteX1959" fmla="*/ 1180346 w 1672940"/>
                  <a:gd name="connsiteY1959" fmla="*/ 973369 h 1117010"/>
                  <a:gd name="connsiteX1960" fmla="*/ 1179892 w 1672940"/>
                  <a:gd name="connsiteY1960" fmla="*/ 972005 h 1117010"/>
                  <a:gd name="connsiteX1961" fmla="*/ 1178376 w 1672940"/>
                  <a:gd name="connsiteY1961" fmla="*/ 971248 h 1117010"/>
                  <a:gd name="connsiteX1962" fmla="*/ 1180650 w 1672940"/>
                  <a:gd name="connsiteY1962" fmla="*/ 971096 h 1117010"/>
                  <a:gd name="connsiteX1963" fmla="*/ 1182014 w 1672940"/>
                  <a:gd name="connsiteY1963" fmla="*/ 970490 h 1117010"/>
                  <a:gd name="connsiteX1964" fmla="*/ 1184741 w 1672940"/>
                  <a:gd name="connsiteY1964" fmla="*/ 968520 h 1117010"/>
                  <a:gd name="connsiteX1965" fmla="*/ 1186104 w 1672940"/>
                  <a:gd name="connsiteY1965" fmla="*/ 962914 h 1117010"/>
                  <a:gd name="connsiteX1966" fmla="*/ 1189438 w 1672940"/>
                  <a:gd name="connsiteY1966" fmla="*/ 963520 h 1117010"/>
                  <a:gd name="connsiteX1967" fmla="*/ 1190801 w 1672940"/>
                  <a:gd name="connsiteY1967" fmla="*/ 964732 h 1117010"/>
                  <a:gd name="connsiteX1968" fmla="*/ 1192619 w 1672940"/>
                  <a:gd name="connsiteY1968" fmla="*/ 964126 h 1117010"/>
                  <a:gd name="connsiteX1969" fmla="*/ 1194741 w 1672940"/>
                  <a:gd name="connsiteY1969" fmla="*/ 962763 h 1117010"/>
                  <a:gd name="connsiteX1970" fmla="*/ 1196559 w 1672940"/>
                  <a:gd name="connsiteY1970" fmla="*/ 960793 h 1117010"/>
                  <a:gd name="connsiteX1971" fmla="*/ 1197620 w 1672940"/>
                  <a:gd name="connsiteY1971" fmla="*/ 960944 h 1117010"/>
                  <a:gd name="connsiteX1972" fmla="*/ 1198075 w 1672940"/>
                  <a:gd name="connsiteY1972" fmla="*/ 963065 h 1117010"/>
                  <a:gd name="connsiteX1973" fmla="*/ 1198681 w 1672940"/>
                  <a:gd name="connsiteY1973" fmla="*/ 964429 h 1117010"/>
                  <a:gd name="connsiteX1974" fmla="*/ 1200045 w 1672940"/>
                  <a:gd name="connsiteY1974" fmla="*/ 963520 h 1117010"/>
                  <a:gd name="connsiteX1975" fmla="*/ 1201256 w 1672940"/>
                  <a:gd name="connsiteY1975" fmla="*/ 960187 h 1117010"/>
                  <a:gd name="connsiteX1976" fmla="*/ 1201256 w 1672940"/>
                  <a:gd name="connsiteY1976" fmla="*/ 959126 h 1117010"/>
                  <a:gd name="connsiteX1977" fmla="*/ 1200499 w 1672940"/>
                  <a:gd name="connsiteY1977" fmla="*/ 958520 h 1117010"/>
                  <a:gd name="connsiteX1978" fmla="*/ 1201408 w 1672940"/>
                  <a:gd name="connsiteY1978" fmla="*/ 957156 h 1117010"/>
                  <a:gd name="connsiteX1979" fmla="*/ 1204439 w 1672940"/>
                  <a:gd name="connsiteY1979" fmla="*/ 956702 h 1117010"/>
                  <a:gd name="connsiteX1980" fmla="*/ 1205803 w 1672940"/>
                  <a:gd name="connsiteY1980" fmla="*/ 957308 h 1117010"/>
                  <a:gd name="connsiteX1981" fmla="*/ 1206862 w 1672940"/>
                  <a:gd name="connsiteY1981" fmla="*/ 954429 h 1117010"/>
                  <a:gd name="connsiteX1982" fmla="*/ 1208832 w 1672940"/>
                  <a:gd name="connsiteY1982" fmla="*/ 952308 h 1117010"/>
                  <a:gd name="connsiteX1983" fmla="*/ 1211560 w 1672940"/>
                  <a:gd name="connsiteY1983" fmla="*/ 952308 h 1117010"/>
                  <a:gd name="connsiteX1984" fmla="*/ 1213379 w 1672940"/>
                  <a:gd name="connsiteY1984" fmla="*/ 949580 h 1117010"/>
                  <a:gd name="connsiteX1985" fmla="*/ 1217469 w 1672940"/>
                  <a:gd name="connsiteY1985" fmla="*/ 945489 h 1117010"/>
                  <a:gd name="connsiteX1986" fmla="*/ 1217317 w 1672940"/>
                  <a:gd name="connsiteY1986" fmla="*/ 943216 h 1117010"/>
                  <a:gd name="connsiteX1987" fmla="*/ 1216560 w 1672940"/>
                  <a:gd name="connsiteY1987" fmla="*/ 941701 h 1117010"/>
                  <a:gd name="connsiteX1988" fmla="*/ 1212620 w 1672940"/>
                  <a:gd name="connsiteY1988" fmla="*/ 941247 h 1117010"/>
                  <a:gd name="connsiteX1989" fmla="*/ 1211711 w 1672940"/>
                  <a:gd name="connsiteY1989" fmla="*/ 940186 h 1117010"/>
                  <a:gd name="connsiteX1990" fmla="*/ 1211560 w 1672940"/>
                  <a:gd name="connsiteY1990" fmla="*/ 938974 h 1117010"/>
                  <a:gd name="connsiteX1991" fmla="*/ 1213075 w 1672940"/>
                  <a:gd name="connsiteY1991" fmla="*/ 938822 h 1117010"/>
                  <a:gd name="connsiteX1992" fmla="*/ 1214136 w 1672940"/>
                  <a:gd name="connsiteY1992" fmla="*/ 938974 h 1117010"/>
                  <a:gd name="connsiteX1993" fmla="*/ 1216106 w 1672940"/>
                  <a:gd name="connsiteY1993" fmla="*/ 938822 h 1117010"/>
                  <a:gd name="connsiteX1994" fmla="*/ 1216257 w 1672940"/>
                  <a:gd name="connsiteY1994" fmla="*/ 936549 h 1117010"/>
                  <a:gd name="connsiteX1995" fmla="*/ 1218226 w 1672940"/>
                  <a:gd name="connsiteY1995" fmla="*/ 934580 h 1117010"/>
                  <a:gd name="connsiteX1996" fmla="*/ 1221105 w 1672940"/>
                  <a:gd name="connsiteY1996" fmla="*/ 934580 h 1117010"/>
                  <a:gd name="connsiteX1997" fmla="*/ 1223833 w 1672940"/>
                  <a:gd name="connsiteY1997" fmla="*/ 936095 h 1117010"/>
                  <a:gd name="connsiteX1998" fmla="*/ 1227015 w 1672940"/>
                  <a:gd name="connsiteY1998" fmla="*/ 935337 h 1117010"/>
                  <a:gd name="connsiteX1999" fmla="*/ 1231106 w 1672940"/>
                  <a:gd name="connsiteY1999" fmla="*/ 935943 h 1117010"/>
                  <a:gd name="connsiteX2000" fmla="*/ 1233682 w 1672940"/>
                  <a:gd name="connsiteY2000" fmla="*/ 934731 h 1117010"/>
                  <a:gd name="connsiteX2001" fmla="*/ 1235348 w 1672940"/>
                  <a:gd name="connsiteY2001" fmla="*/ 931095 h 1117010"/>
                  <a:gd name="connsiteX2002" fmla="*/ 1234591 w 1672940"/>
                  <a:gd name="connsiteY2002" fmla="*/ 930034 h 1117010"/>
                  <a:gd name="connsiteX2003" fmla="*/ 1233228 w 1672940"/>
                  <a:gd name="connsiteY2003" fmla="*/ 929276 h 1117010"/>
                  <a:gd name="connsiteX2004" fmla="*/ 1233076 w 1672940"/>
                  <a:gd name="connsiteY2004" fmla="*/ 928519 h 1117010"/>
                  <a:gd name="connsiteX2005" fmla="*/ 1235046 w 1672940"/>
                  <a:gd name="connsiteY2005" fmla="*/ 928064 h 1117010"/>
                  <a:gd name="connsiteX2006" fmla="*/ 1238227 w 1672940"/>
                  <a:gd name="connsiteY2006" fmla="*/ 926246 h 1117010"/>
                  <a:gd name="connsiteX2007" fmla="*/ 1240652 w 1672940"/>
                  <a:gd name="connsiteY2007" fmla="*/ 925791 h 1117010"/>
                  <a:gd name="connsiteX2008" fmla="*/ 1241864 w 1672940"/>
                  <a:gd name="connsiteY2008" fmla="*/ 923519 h 1117010"/>
                  <a:gd name="connsiteX2009" fmla="*/ 1240804 w 1672940"/>
                  <a:gd name="connsiteY2009" fmla="*/ 920034 h 1117010"/>
                  <a:gd name="connsiteX2010" fmla="*/ 1242470 w 1672940"/>
                  <a:gd name="connsiteY2010" fmla="*/ 917609 h 1117010"/>
                  <a:gd name="connsiteX2011" fmla="*/ 1243683 w 1672940"/>
                  <a:gd name="connsiteY2011" fmla="*/ 917155 h 1117010"/>
                  <a:gd name="connsiteX2012" fmla="*/ 1249440 w 1672940"/>
                  <a:gd name="connsiteY2012" fmla="*/ 917609 h 1117010"/>
                  <a:gd name="connsiteX2013" fmla="*/ 1250804 w 1672940"/>
                  <a:gd name="connsiteY2013" fmla="*/ 916852 h 1117010"/>
                  <a:gd name="connsiteX2014" fmla="*/ 1249591 w 1672940"/>
                  <a:gd name="connsiteY2014" fmla="*/ 914731 h 1117010"/>
                  <a:gd name="connsiteX2015" fmla="*/ 1247622 w 1672940"/>
                  <a:gd name="connsiteY2015" fmla="*/ 913367 h 1117010"/>
                  <a:gd name="connsiteX2016" fmla="*/ 1247016 w 1672940"/>
                  <a:gd name="connsiteY2016" fmla="*/ 911700 h 1117010"/>
                  <a:gd name="connsiteX2017" fmla="*/ 1247925 w 1672940"/>
                  <a:gd name="connsiteY2017" fmla="*/ 910639 h 1117010"/>
                  <a:gd name="connsiteX2018" fmla="*/ 1250198 w 1672940"/>
                  <a:gd name="connsiteY2018" fmla="*/ 910185 h 1117010"/>
                  <a:gd name="connsiteX2019" fmla="*/ 1252470 w 1672940"/>
                  <a:gd name="connsiteY2019" fmla="*/ 910791 h 1117010"/>
                  <a:gd name="connsiteX2020" fmla="*/ 1254592 w 1672940"/>
                  <a:gd name="connsiteY2020" fmla="*/ 910336 h 1117010"/>
                  <a:gd name="connsiteX2021" fmla="*/ 1256713 w 1672940"/>
                  <a:gd name="connsiteY2021" fmla="*/ 911852 h 1117010"/>
                  <a:gd name="connsiteX2022" fmla="*/ 1259289 w 1672940"/>
                  <a:gd name="connsiteY2022" fmla="*/ 913064 h 1117010"/>
                  <a:gd name="connsiteX2023" fmla="*/ 1260046 w 1672940"/>
                  <a:gd name="connsiteY2023" fmla="*/ 912458 h 1117010"/>
                  <a:gd name="connsiteX2024" fmla="*/ 1259895 w 1672940"/>
                  <a:gd name="connsiteY2024" fmla="*/ 911094 h 1117010"/>
                  <a:gd name="connsiteX2025" fmla="*/ 1257774 w 1672940"/>
                  <a:gd name="connsiteY2025" fmla="*/ 906700 h 1117010"/>
                  <a:gd name="connsiteX2026" fmla="*/ 1258077 w 1672940"/>
                  <a:gd name="connsiteY2026" fmla="*/ 903518 h 1117010"/>
                  <a:gd name="connsiteX2027" fmla="*/ 1259895 w 1672940"/>
                  <a:gd name="connsiteY2027" fmla="*/ 899881 h 1117010"/>
                  <a:gd name="connsiteX2028" fmla="*/ 1260804 w 1672940"/>
                  <a:gd name="connsiteY2028" fmla="*/ 897154 h 1117010"/>
                  <a:gd name="connsiteX2029" fmla="*/ 1260046 w 1672940"/>
                  <a:gd name="connsiteY2029" fmla="*/ 894730 h 1117010"/>
                  <a:gd name="connsiteX2030" fmla="*/ 1256865 w 1672940"/>
                  <a:gd name="connsiteY2030" fmla="*/ 894578 h 1117010"/>
                  <a:gd name="connsiteX2031" fmla="*/ 1254592 w 1672940"/>
                  <a:gd name="connsiteY2031" fmla="*/ 896245 h 1117010"/>
                  <a:gd name="connsiteX2032" fmla="*/ 1252319 w 1672940"/>
                  <a:gd name="connsiteY2032" fmla="*/ 896396 h 1117010"/>
                  <a:gd name="connsiteX2033" fmla="*/ 1250500 w 1672940"/>
                  <a:gd name="connsiteY2033" fmla="*/ 895639 h 1117010"/>
                  <a:gd name="connsiteX2034" fmla="*/ 1247167 w 1672940"/>
                  <a:gd name="connsiteY2034" fmla="*/ 891396 h 1117010"/>
                  <a:gd name="connsiteX2035" fmla="*/ 1249743 w 1672940"/>
                  <a:gd name="connsiteY2035" fmla="*/ 891851 h 1117010"/>
                  <a:gd name="connsiteX2036" fmla="*/ 1252016 w 1672940"/>
                  <a:gd name="connsiteY2036" fmla="*/ 893063 h 1117010"/>
                  <a:gd name="connsiteX2037" fmla="*/ 1253531 w 1672940"/>
                  <a:gd name="connsiteY2037" fmla="*/ 893366 h 1117010"/>
                  <a:gd name="connsiteX2038" fmla="*/ 1256107 w 1672940"/>
                  <a:gd name="connsiteY2038" fmla="*/ 893366 h 1117010"/>
                  <a:gd name="connsiteX2039" fmla="*/ 1258986 w 1672940"/>
                  <a:gd name="connsiteY2039" fmla="*/ 891245 h 1117010"/>
                  <a:gd name="connsiteX2040" fmla="*/ 1262471 w 1672940"/>
                  <a:gd name="connsiteY2040" fmla="*/ 888063 h 1117010"/>
                  <a:gd name="connsiteX2041" fmla="*/ 1265350 w 1672940"/>
                  <a:gd name="connsiteY2041" fmla="*/ 886245 h 1117010"/>
                  <a:gd name="connsiteX2042" fmla="*/ 1267622 w 1672940"/>
                  <a:gd name="connsiteY2042" fmla="*/ 885184 h 1117010"/>
                  <a:gd name="connsiteX2043" fmla="*/ 1267471 w 1672940"/>
                  <a:gd name="connsiteY2043" fmla="*/ 884123 h 1117010"/>
                  <a:gd name="connsiteX2044" fmla="*/ 1266411 w 1672940"/>
                  <a:gd name="connsiteY2044" fmla="*/ 882911 h 1117010"/>
                  <a:gd name="connsiteX2045" fmla="*/ 1266108 w 1672940"/>
                  <a:gd name="connsiteY2045" fmla="*/ 881850 h 1117010"/>
                  <a:gd name="connsiteX2046" fmla="*/ 1264895 w 1672940"/>
                  <a:gd name="connsiteY2046" fmla="*/ 878972 h 1117010"/>
                  <a:gd name="connsiteX2047" fmla="*/ 1263229 w 1672940"/>
                  <a:gd name="connsiteY2047" fmla="*/ 877153 h 1117010"/>
                  <a:gd name="connsiteX2048" fmla="*/ 1260804 w 1672940"/>
                  <a:gd name="connsiteY2048" fmla="*/ 876850 h 1117010"/>
                  <a:gd name="connsiteX2049" fmla="*/ 1260350 w 1672940"/>
                  <a:gd name="connsiteY2049" fmla="*/ 875184 h 1117010"/>
                  <a:gd name="connsiteX2050" fmla="*/ 1259441 w 1672940"/>
                  <a:gd name="connsiteY2050" fmla="*/ 873517 h 1117010"/>
                  <a:gd name="connsiteX2051" fmla="*/ 1259441 w 1672940"/>
                  <a:gd name="connsiteY2051" fmla="*/ 871850 h 1117010"/>
                  <a:gd name="connsiteX2052" fmla="*/ 1261107 w 1672940"/>
                  <a:gd name="connsiteY2052" fmla="*/ 872911 h 1117010"/>
                  <a:gd name="connsiteX2053" fmla="*/ 1262774 w 1672940"/>
                  <a:gd name="connsiteY2053" fmla="*/ 873517 h 1117010"/>
                  <a:gd name="connsiteX2054" fmla="*/ 1264289 w 1672940"/>
                  <a:gd name="connsiteY2054" fmla="*/ 872153 h 1117010"/>
                  <a:gd name="connsiteX2055" fmla="*/ 1264895 w 1672940"/>
                  <a:gd name="connsiteY2055" fmla="*/ 870486 h 1117010"/>
                  <a:gd name="connsiteX2056" fmla="*/ 1265804 w 1672940"/>
                  <a:gd name="connsiteY2056" fmla="*/ 870032 h 1117010"/>
                  <a:gd name="connsiteX2057" fmla="*/ 1265501 w 1672940"/>
                  <a:gd name="connsiteY2057" fmla="*/ 871396 h 1117010"/>
                  <a:gd name="connsiteX2058" fmla="*/ 1265653 w 1672940"/>
                  <a:gd name="connsiteY2058" fmla="*/ 873214 h 1117010"/>
                  <a:gd name="connsiteX2059" fmla="*/ 1266259 w 1672940"/>
                  <a:gd name="connsiteY2059" fmla="*/ 874577 h 1117010"/>
                  <a:gd name="connsiteX2060" fmla="*/ 1267320 w 1672940"/>
                  <a:gd name="connsiteY2060" fmla="*/ 874729 h 1117010"/>
                  <a:gd name="connsiteX2061" fmla="*/ 1267320 w 1672940"/>
                  <a:gd name="connsiteY2061" fmla="*/ 876850 h 1117010"/>
                  <a:gd name="connsiteX2062" fmla="*/ 1269592 w 1672940"/>
                  <a:gd name="connsiteY2062" fmla="*/ 877608 h 1117010"/>
                  <a:gd name="connsiteX2063" fmla="*/ 1271714 w 1672940"/>
                  <a:gd name="connsiteY2063" fmla="*/ 876244 h 1117010"/>
                  <a:gd name="connsiteX2064" fmla="*/ 1272926 w 1672940"/>
                  <a:gd name="connsiteY2064" fmla="*/ 875184 h 1117010"/>
                  <a:gd name="connsiteX2065" fmla="*/ 1273229 w 1672940"/>
                  <a:gd name="connsiteY2065" fmla="*/ 872002 h 1117010"/>
                  <a:gd name="connsiteX2066" fmla="*/ 1274289 w 1672940"/>
                  <a:gd name="connsiteY2066" fmla="*/ 868971 h 1117010"/>
                  <a:gd name="connsiteX2067" fmla="*/ 1278077 w 1672940"/>
                  <a:gd name="connsiteY2067" fmla="*/ 862759 h 1117010"/>
                  <a:gd name="connsiteX2068" fmla="*/ 1280956 w 1672940"/>
                  <a:gd name="connsiteY2068" fmla="*/ 861092 h 1117010"/>
                  <a:gd name="connsiteX2069" fmla="*/ 1283229 w 1672940"/>
                  <a:gd name="connsiteY2069" fmla="*/ 858213 h 1117010"/>
                  <a:gd name="connsiteX2070" fmla="*/ 1285199 w 1672940"/>
                  <a:gd name="connsiteY2070" fmla="*/ 856395 h 1117010"/>
                  <a:gd name="connsiteX2071" fmla="*/ 1287018 w 1672940"/>
                  <a:gd name="connsiteY2071" fmla="*/ 853667 h 1117010"/>
                  <a:gd name="connsiteX2072" fmla="*/ 1287623 w 1672940"/>
                  <a:gd name="connsiteY2072" fmla="*/ 851546 h 1117010"/>
                  <a:gd name="connsiteX2073" fmla="*/ 1286411 w 1672940"/>
                  <a:gd name="connsiteY2073" fmla="*/ 848667 h 1117010"/>
                  <a:gd name="connsiteX2074" fmla="*/ 1288532 w 1672940"/>
                  <a:gd name="connsiteY2074" fmla="*/ 847001 h 1117010"/>
                  <a:gd name="connsiteX2075" fmla="*/ 1288381 w 1672940"/>
                  <a:gd name="connsiteY2075" fmla="*/ 845637 h 1117010"/>
                  <a:gd name="connsiteX2076" fmla="*/ 1288987 w 1672940"/>
                  <a:gd name="connsiteY2076" fmla="*/ 843970 h 1117010"/>
                  <a:gd name="connsiteX2077" fmla="*/ 1293078 w 1672940"/>
                  <a:gd name="connsiteY2077" fmla="*/ 839576 h 1117010"/>
                  <a:gd name="connsiteX2078" fmla="*/ 1293078 w 1672940"/>
                  <a:gd name="connsiteY2078" fmla="*/ 838213 h 1117010"/>
                  <a:gd name="connsiteX2079" fmla="*/ 1291108 w 1672940"/>
                  <a:gd name="connsiteY2079" fmla="*/ 837000 h 1117010"/>
                  <a:gd name="connsiteX2080" fmla="*/ 1290654 w 1672940"/>
                  <a:gd name="connsiteY2080" fmla="*/ 836091 h 1117010"/>
                  <a:gd name="connsiteX2081" fmla="*/ 1292472 w 1672940"/>
                  <a:gd name="connsiteY2081" fmla="*/ 835940 h 1117010"/>
                  <a:gd name="connsiteX2082" fmla="*/ 1294594 w 1672940"/>
                  <a:gd name="connsiteY2082" fmla="*/ 836243 h 1117010"/>
                  <a:gd name="connsiteX2083" fmla="*/ 1296412 w 1672940"/>
                  <a:gd name="connsiteY2083" fmla="*/ 835334 h 1117010"/>
                  <a:gd name="connsiteX2084" fmla="*/ 1298533 w 1672940"/>
                  <a:gd name="connsiteY2084" fmla="*/ 831849 h 1117010"/>
                  <a:gd name="connsiteX2085" fmla="*/ 1300200 w 1672940"/>
                  <a:gd name="connsiteY2085" fmla="*/ 827909 h 1117010"/>
                  <a:gd name="connsiteX2086" fmla="*/ 1301563 w 1672940"/>
                  <a:gd name="connsiteY2086" fmla="*/ 826848 h 1117010"/>
                  <a:gd name="connsiteX2087" fmla="*/ 1303533 w 1672940"/>
                  <a:gd name="connsiteY2087" fmla="*/ 826242 h 1117010"/>
                  <a:gd name="connsiteX2088" fmla="*/ 1305049 w 1672940"/>
                  <a:gd name="connsiteY2088" fmla="*/ 829879 h 1117010"/>
                  <a:gd name="connsiteX2089" fmla="*/ 1307321 w 1672940"/>
                  <a:gd name="connsiteY2089" fmla="*/ 829576 h 1117010"/>
                  <a:gd name="connsiteX2090" fmla="*/ 1311564 w 1672940"/>
                  <a:gd name="connsiteY2090" fmla="*/ 826848 h 1117010"/>
                  <a:gd name="connsiteX2091" fmla="*/ 1314291 w 1672940"/>
                  <a:gd name="connsiteY2091" fmla="*/ 827758 h 1117010"/>
                  <a:gd name="connsiteX2092" fmla="*/ 1314139 w 1672940"/>
                  <a:gd name="connsiteY2092" fmla="*/ 825485 h 1117010"/>
                  <a:gd name="connsiteX2093" fmla="*/ 1312321 w 1672940"/>
                  <a:gd name="connsiteY2093" fmla="*/ 820939 h 1117010"/>
                  <a:gd name="connsiteX2094" fmla="*/ 1310655 w 1672940"/>
                  <a:gd name="connsiteY2094" fmla="*/ 817454 h 1117010"/>
                  <a:gd name="connsiteX2095" fmla="*/ 1311867 w 1672940"/>
                  <a:gd name="connsiteY2095" fmla="*/ 815333 h 1117010"/>
                  <a:gd name="connsiteX2096" fmla="*/ 1313836 w 1672940"/>
                  <a:gd name="connsiteY2096" fmla="*/ 814727 h 1117010"/>
                  <a:gd name="connsiteX2097" fmla="*/ 1314897 w 1672940"/>
                  <a:gd name="connsiteY2097" fmla="*/ 813818 h 1117010"/>
                  <a:gd name="connsiteX2098" fmla="*/ 1315806 w 1672940"/>
                  <a:gd name="connsiteY2098" fmla="*/ 811393 h 1117010"/>
                  <a:gd name="connsiteX2099" fmla="*/ 1312473 w 1672940"/>
                  <a:gd name="connsiteY2099" fmla="*/ 808969 h 1117010"/>
                  <a:gd name="connsiteX2100" fmla="*/ 1315200 w 1672940"/>
                  <a:gd name="connsiteY2100" fmla="*/ 809423 h 1117010"/>
                  <a:gd name="connsiteX2101" fmla="*/ 1316261 w 1672940"/>
                  <a:gd name="connsiteY2101" fmla="*/ 808363 h 1117010"/>
                  <a:gd name="connsiteX2102" fmla="*/ 1315806 w 1672940"/>
                  <a:gd name="connsiteY2102" fmla="*/ 806696 h 1117010"/>
                  <a:gd name="connsiteX2103" fmla="*/ 1311867 w 1672940"/>
                  <a:gd name="connsiteY2103" fmla="*/ 803514 h 1117010"/>
                  <a:gd name="connsiteX2104" fmla="*/ 1309897 w 1672940"/>
                  <a:gd name="connsiteY2104" fmla="*/ 803060 h 1117010"/>
                  <a:gd name="connsiteX2105" fmla="*/ 1310957 w 1672940"/>
                  <a:gd name="connsiteY2105" fmla="*/ 801241 h 1117010"/>
                  <a:gd name="connsiteX2106" fmla="*/ 1312170 w 1672940"/>
                  <a:gd name="connsiteY2106" fmla="*/ 799878 h 1117010"/>
                  <a:gd name="connsiteX2107" fmla="*/ 1315503 w 1672940"/>
                  <a:gd name="connsiteY2107" fmla="*/ 799878 h 1117010"/>
                  <a:gd name="connsiteX2108" fmla="*/ 1317170 w 1672940"/>
                  <a:gd name="connsiteY2108" fmla="*/ 799272 h 1117010"/>
                  <a:gd name="connsiteX2109" fmla="*/ 1319140 w 1672940"/>
                  <a:gd name="connsiteY2109" fmla="*/ 800181 h 1117010"/>
                  <a:gd name="connsiteX2110" fmla="*/ 1320806 w 1672940"/>
                  <a:gd name="connsiteY2110" fmla="*/ 803060 h 1117010"/>
                  <a:gd name="connsiteX2111" fmla="*/ 1322625 w 1672940"/>
                  <a:gd name="connsiteY2111" fmla="*/ 802908 h 1117010"/>
                  <a:gd name="connsiteX2112" fmla="*/ 1323989 w 1672940"/>
                  <a:gd name="connsiteY2112" fmla="*/ 792302 h 1117010"/>
                  <a:gd name="connsiteX2113" fmla="*/ 1323231 w 1672940"/>
                  <a:gd name="connsiteY2113" fmla="*/ 788817 h 1117010"/>
                  <a:gd name="connsiteX2114" fmla="*/ 1321715 w 1672940"/>
                  <a:gd name="connsiteY2114" fmla="*/ 788211 h 1117010"/>
                  <a:gd name="connsiteX2115" fmla="*/ 1319897 w 1672940"/>
                  <a:gd name="connsiteY2115" fmla="*/ 788968 h 1117010"/>
                  <a:gd name="connsiteX2116" fmla="*/ 1316261 w 1672940"/>
                  <a:gd name="connsiteY2116" fmla="*/ 791696 h 1117010"/>
                  <a:gd name="connsiteX2117" fmla="*/ 1311260 w 1672940"/>
                  <a:gd name="connsiteY2117" fmla="*/ 792453 h 1117010"/>
                  <a:gd name="connsiteX2118" fmla="*/ 1313079 w 1672940"/>
                  <a:gd name="connsiteY2118" fmla="*/ 790938 h 1117010"/>
                  <a:gd name="connsiteX2119" fmla="*/ 1315806 w 1672940"/>
                  <a:gd name="connsiteY2119" fmla="*/ 789574 h 1117010"/>
                  <a:gd name="connsiteX2120" fmla="*/ 1322019 w 1672940"/>
                  <a:gd name="connsiteY2120" fmla="*/ 783817 h 1117010"/>
                  <a:gd name="connsiteX2121" fmla="*/ 1326868 w 1672940"/>
                  <a:gd name="connsiteY2121" fmla="*/ 781089 h 1117010"/>
                  <a:gd name="connsiteX2122" fmla="*/ 1325049 w 1672940"/>
                  <a:gd name="connsiteY2122" fmla="*/ 780635 h 1117010"/>
                  <a:gd name="connsiteX2123" fmla="*/ 1323080 w 1672940"/>
                  <a:gd name="connsiteY2123" fmla="*/ 780483 h 1117010"/>
                  <a:gd name="connsiteX2124" fmla="*/ 1319443 w 1672940"/>
                  <a:gd name="connsiteY2124" fmla="*/ 778816 h 1117010"/>
                  <a:gd name="connsiteX2125" fmla="*/ 1315806 w 1672940"/>
                  <a:gd name="connsiteY2125" fmla="*/ 778059 h 1117010"/>
                  <a:gd name="connsiteX2126" fmla="*/ 1309139 w 1672940"/>
                  <a:gd name="connsiteY2126" fmla="*/ 770634 h 1117010"/>
                  <a:gd name="connsiteX2127" fmla="*/ 1306563 w 1672940"/>
                  <a:gd name="connsiteY2127" fmla="*/ 768967 h 1117010"/>
                  <a:gd name="connsiteX2128" fmla="*/ 1304291 w 1672940"/>
                  <a:gd name="connsiteY2128" fmla="*/ 768361 h 1117010"/>
                  <a:gd name="connsiteX2129" fmla="*/ 1301563 w 1672940"/>
                  <a:gd name="connsiteY2129" fmla="*/ 768361 h 1117010"/>
                  <a:gd name="connsiteX2130" fmla="*/ 1294594 w 1672940"/>
                  <a:gd name="connsiteY2130" fmla="*/ 772604 h 1117010"/>
                  <a:gd name="connsiteX2131" fmla="*/ 1287169 w 1672940"/>
                  <a:gd name="connsiteY2131" fmla="*/ 773362 h 1117010"/>
                  <a:gd name="connsiteX2132" fmla="*/ 1283381 w 1672940"/>
                  <a:gd name="connsiteY2132" fmla="*/ 768361 h 1117010"/>
                  <a:gd name="connsiteX2133" fmla="*/ 1279441 w 1672940"/>
                  <a:gd name="connsiteY2133" fmla="*/ 770028 h 1117010"/>
                  <a:gd name="connsiteX2134" fmla="*/ 1276865 w 1672940"/>
                  <a:gd name="connsiteY2134" fmla="*/ 769574 h 1117010"/>
                  <a:gd name="connsiteX2135" fmla="*/ 1275956 w 1672940"/>
                  <a:gd name="connsiteY2135" fmla="*/ 770028 h 1117010"/>
                  <a:gd name="connsiteX2136" fmla="*/ 1275047 w 1672940"/>
                  <a:gd name="connsiteY2136" fmla="*/ 770331 h 1117010"/>
                  <a:gd name="connsiteX2137" fmla="*/ 1276411 w 1672940"/>
                  <a:gd name="connsiteY2137" fmla="*/ 769119 h 1117010"/>
                  <a:gd name="connsiteX2138" fmla="*/ 1282017 w 1672940"/>
                  <a:gd name="connsiteY2138" fmla="*/ 765937 h 1117010"/>
                  <a:gd name="connsiteX2139" fmla="*/ 1287018 w 1672940"/>
                  <a:gd name="connsiteY2139" fmla="*/ 765786 h 1117010"/>
                  <a:gd name="connsiteX2140" fmla="*/ 1292320 w 1672940"/>
                  <a:gd name="connsiteY2140" fmla="*/ 766846 h 1117010"/>
                  <a:gd name="connsiteX2141" fmla="*/ 1294442 w 1672940"/>
                  <a:gd name="connsiteY2141" fmla="*/ 765786 h 1117010"/>
                  <a:gd name="connsiteX2142" fmla="*/ 1295503 w 1672940"/>
                  <a:gd name="connsiteY2142" fmla="*/ 763513 h 1117010"/>
                  <a:gd name="connsiteX2143" fmla="*/ 1297169 w 1672940"/>
                  <a:gd name="connsiteY2143" fmla="*/ 760937 h 1117010"/>
                  <a:gd name="connsiteX2144" fmla="*/ 1305654 w 1672940"/>
                  <a:gd name="connsiteY2144" fmla="*/ 756694 h 1117010"/>
                  <a:gd name="connsiteX2145" fmla="*/ 1308685 w 1672940"/>
                  <a:gd name="connsiteY2145" fmla="*/ 753967 h 1117010"/>
                  <a:gd name="connsiteX2146" fmla="*/ 1311715 w 1672940"/>
                  <a:gd name="connsiteY2146" fmla="*/ 752452 h 1117010"/>
                  <a:gd name="connsiteX2147" fmla="*/ 1315806 w 1672940"/>
                  <a:gd name="connsiteY2147" fmla="*/ 751694 h 1117010"/>
                  <a:gd name="connsiteX2148" fmla="*/ 1318382 w 1672940"/>
                  <a:gd name="connsiteY2148" fmla="*/ 751543 h 1117010"/>
                  <a:gd name="connsiteX2149" fmla="*/ 1321412 w 1672940"/>
                  <a:gd name="connsiteY2149" fmla="*/ 750179 h 1117010"/>
                  <a:gd name="connsiteX2150" fmla="*/ 1320201 w 1672940"/>
                  <a:gd name="connsiteY2150" fmla="*/ 745785 h 1117010"/>
                  <a:gd name="connsiteX2151" fmla="*/ 1318837 w 1672940"/>
                  <a:gd name="connsiteY2151" fmla="*/ 742754 h 1117010"/>
                  <a:gd name="connsiteX2152" fmla="*/ 1315352 w 1672940"/>
                  <a:gd name="connsiteY2152" fmla="*/ 738057 h 1117010"/>
                  <a:gd name="connsiteX2153" fmla="*/ 1306867 w 1672940"/>
                  <a:gd name="connsiteY2153" fmla="*/ 733057 h 1117010"/>
                  <a:gd name="connsiteX2154" fmla="*/ 1302927 w 1672940"/>
                  <a:gd name="connsiteY2154" fmla="*/ 728815 h 1117010"/>
                  <a:gd name="connsiteX2155" fmla="*/ 1298836 w 1672940"/>
                  <a:gd name="connsiteY2155" fmla="*/ 726087 h 1117010"/>
                  <a:gd name="connsiteX2156" fmla="*/ 1295654 w 1672940"/>
                  <a:gd name="connsiteY2156" fmla="*/ 725178 h 1117010"/>
                  <a:gd name="connsiteX2157" fmla="*/ 1291563 w 1672940"/>
                  <a:gd name="connsiteY2157" fmla="*/ 723057 h 1117010"/>
                  <a:gd name="connsiteX2158" fmla="*/ 1290654 w 1672940"/>
                  <a:gd name="connsiteY2158" fmla="*/ 719875 h 1117010"/>
                  <a:gd name="connsiteX2159" fmla="*/ 1289593 w 1672940"/>
                  <a:gd name="connsiteY2159" fmla="*/ 718057 h 1117010"/>
                  <a:gd name="connsiteX2160" fmla="*/ 1283684 w 1672940"/>
                  <a:gd name="connsiteY2160" fmla="*/ 716996 h 1117010"/>
                  <a:gd name="connsiteX2161" fmla="*/ 1279593 w 1672940"/>
                  <a:gd name="connsiteY2161" fmla="*/ 718966 h 1117010"/>
                  <a:gd name="connsiteX2162" fmla="*/ 1275350 w 1672940"/>
                  <a:gd name="connsiteY2162" fmla="*/ 720329 h 1117010"/>
                  <a:gd name="connsiteX2163" fmla="*/ 1271108 w 1672940"/>
                  <a:gd name="connsiteY2163" fmla="*/ 719420 h 1117010"/>
                  <a:gd name="connsiteX2164" fmla="*/ 1272168 w 1672940"/>
                  <a:gd name="connsiteY2164" fmla="*/ 718663 h 1117010"/>
                  <a:gd name="connsiteX2165" fmla="*/ 1272775 w 1672940"/>
                  <a:gd name="connsiteY2165" fmla="*/ 718208 h 1117010"/>
                  <a:gd name="connsiteX2166" fmla="*/ 1275047 w 1672940"/>
                  <a:gd name="connsiteY2166" fmla="*/ 718511 h 1117010"/>
                  <a:gd name="connsiteX2167" fmla="*/ 1284290 w 1672940"/>
                  <a:gd name="connsiteY2167" fmla="*/ 714268 h 1117010"/>
                  <a:gd name="connsiteX2168" fmla="*/ 1288078 w 1672940"/>
                  <a:gd name="connsiteY2168" fmla="*/ 715026 h 1117010"/>
                  <a:gd name="connsiteX2169" fmla="*/ 1291715 w 1672940"/>
                  <a:gd name="connsiteY2169" fmla="*/ 716541 h 1117010"/>
                  <a:gd name="connsiteX2170" fmla="*/ 1296715 w 1672940"/>
                  <a:gd name="connsiteY2170" fmla="*/ 721390 h 1117010"/>
                  <a:gd name="connsiteX2171" fmla="*/ 1301412 w 1672940"/>
                  <a:gd name="connsiteY2171" fmla="*/ 722148 h 1117010"/>
                  <a:gd name="connsiteX2172" fmla="*/ 1304745 w 1672940"/>
                  <a:gd name="connsiteY2172" fmla="*/ 721542 h 1117010"/>
                  <a:gd name="connsiteX2173" fmla="*/ 1307018 w 1672940"/>
                  <a:gd name="connsiteY2173" fmla="*/ 721693 h 1117010"/>
                  <a:gd name="connsiteX2174" fmla="*/ 1315958 w 1672940"/>
                  <a:gd name="connsiteY2174" fmla="*/ 726087 h 1117010"/>
                  <a:gd name="connsiteX2175" fmla="*/ 1318231 w 1672940"/>
                  <a:gd name="connsiteY2175" fmla="*/ 726542 h 1117010"/>
                  <a:gd name="connsiteX2176" fmla="*/ 1321110 w 1672940"/>
                  <a:gd name="connsiteY2176" fmla="*/ 726390 h 1117010"/>
                  <a:gd name="connsiteX2177" fmla="*/ 1320806 w 1672940"/>
                  <a:gd name="connsiteY2177" fmla="*/ 723057 h 1117010"/>
                  <a:gd name="connsiteX2178" fmla="*/ 1320201 w 1672940"/>
                  <a:gd name="connsiteY2178" fmla="*/ 720481 h 1117010"/>
                  <a:gd name="connsiteX2179" fmla="*/ 1317927 w 1672940"/>
                  <a:gd name="connsiteY2179" fmla="*/ 717602 h 1117010"/>
                  <a:gd name="connsiteX2180" fmla="*/ 1315806 w 1672940"/>
                  <a:gd name="connsiteY2180" fmla="*/ 715784 h 1117010"/>
                  <a:gd name="connsiteX2181" fmla="*/ 1310806 w 1672940"/>
                  <a:gd name="connsiteY2181" fmla="*/ 713663 h 1117010"/>
                  <a:gd name="connsiteX2182" fmla="*/ 1309746 w 1672940"/>
                  <a:gd name="connsiteY2182" fmla="*/ 712753 h 1117010"/>
                  <a:gd name="connsiteX2183" fmla="*/ 1308533 w 1672940"/>
                  <a:gd name="connsiteY2183" fmla="*/ 711087 h 1117010"/>
                  <a:gd name="connsiteX2184" fmla="*/ 1308382 w 1672940"/>
                  <a:gd name="connsiteY2184" fmla="*/ 706086 h 1117010"/>
                  <a:gd name="connsiteX2185" fmla="*/ 1306715 w 1672940"/>
                  <a:gd name="connsiteY2185" fmla="*/ 704420 h 1117010"/>
                  <a:gd name="connsiteX2186" fmla="*/ 1305351 w 1672940"/>
                  <a:gd name="connsiteY2186" fmla="*/ 703511 h 1117010"/>
                  <a:gd name="connsiteX2187" fmla="*/ 1297017 w 1672940"/>
                  <a:gd name="connsiteY2187" fmla="*/ 700177 h 1117010"/>
                  <a:gd name="connsiteX2188" fmla="*/ 1293229 w 1672940"/>
                  <a:gd name="connsiteY2188" fmla="*/ 697298 h 1117010"/>
                  <a:gd name="connsiteX2189" fmla="*/ 1293229 w 1672940"/>
                  <a:gd name="connsiteY2189" fmla="*/ 694116 h 1117010"/>
                  <a:gd name="connsiteX2190" fmla="*/ 1294442 w 1672940"/>
                  <a:gd name="connsiteY2190" fmla="*/ 691692 h 1117010"/>
                  <a:gd name="connsiteX2191" fmla="*/ 1293684 w 1672940"/>
                  <a:gd name="connsiteY2191" fmla="*/ 686389 h 1117010"/>
                  <a:gd name="connsiteX2192" fmla="*/ 1289896 w 1672940"/>
                  <a:gd name="connsiteY2192" fmla="*/ 679722 h 1117010"/>
                  <a:gd name="connsiteX2193" fmla="*/ 1286714 w 1672940"/>
                  <a:gd name="connsiteY2193" fmla="*/ 671994 h 1117010"/>
                  <a:gd name="connsiteX2194" fmla="*/ 1283684 w 1672940"/>
                  <a:gd name="connsiteY2194" fmla="*/ 667449 h 1117010"/>
                  <a:gd name="connsiteX2195" fmla="*/ 1283532 w 1672940"/>
                  <a:gd name="connsiteY2195" fmla="*/ 665024 h 1117010"/>
                  <a:gd name="connsiteX2196" fmla="*/ 1281563 w 1672940"/>
                  <a:gd name="connsiteY2196" fmla="*/ 660479 h 1117010"/>
                  <a:gd name="connsiteX2197" fmla="*/ 1278684 w 1672940"/>
                  <a:gd name="connsiteY2197" fmla="*/ 651236 h 1117010"/>
                  <a:gd name="connsiteX2198" fmla="*/ 1277168 w 1672940"/>
                  <a:gd name="connsiteY2198" fmla="*/ 648054 h 1117010"/>
                  <a:gd name="connsiteX2199" fmla="*/ 1275350 w 1672940"/>
                  <a:gd name="connsiteY2199" fmla="*/ 646539 h 1117010"/>
                  <a:gd name="connsiteX2200" fmla="*/ 1268835 w 1672940"/>
                  <a:gd name="connsiteY2200" fmla="*/ 642751 h 1117010"/>
                  <a:gd name="connsiteX2201" fmla="*/ 1263532 w 1672940"/>
                  <a:gd name="connsiteY2201" fmla="*/ 641236 h 1117010"/>
                  <a:gd name="connsiteX2202" fmla="*/ 1258380 w 1672940"/>
                  <a:gd name="connsiteY2202" fmla="*/ 638660 h 1117010"/>
                  <a:gd name="connsiteX2203" fmla="*/ 1254137 w 1672940"/>
                  <a:gd name="connsiteY2203" fmla="*/ 634569 h 1117010"/>
                  <a:gd name="connsiteX2204" fmla="*/ 1252016 w 1672940"/>
                  <a:gd name="connsiteY2204" fmla="*/ 633508 h 1117010"/>
                  <a:gd name="connsiteX2205" fmla="*/ 1247925 w 1672940"/>
                  <a:gd name="connsiteY2205" fmla="*/ 633508 h 1117010"/>
                  <a:gd name="connsiteX2206" fmla="*/ 1247016 w 1672940"/>
                  <a:gd name="connsiteY2206" fmla="*/ 630478 h 1117010"/>
                  <a:gd name="connsiteX2207" fmla="*/ 1248380 w 1672940"/>
                  <a:gd name="connsiteY2207" fmla="*/ 625477 h 1117010"/>
                  <a:gd name="connsiteX2208" fmla="*/ 1252168 w 1672940"/>
                  <a:gd name="connsiteY2208" fmla="*/ 622296 h 1117010"/>
                  <a:gd name="connsiteX2209" fmla="*/ 1254289 w 1672940"/>
                  <a:gd name="connsiteY2209" fmla="*/ 616538 h 1117010"/>
                  <a:gd name="connsiteX2210" fmla="*/ 1256865 w 1672940"/>
                  <a:gd name="connsiteY2210" fmla="*/ 614720 h 1117010"/>
                  <a:gd name="connsiteX2211" fmla="*/ 1259137 w 1672940"/>
                  <a:gd name="connsiteY2211" fmla="*/ 611234 h 1117010"/>
                  <a:gd name="connsiteX2212" fmla="*/ 1262168 w 1672940"/>
                  <a:gd name="connsiteY2212" fmla="*/ 607598 h 1117010"/>
                  <a:gd name="connsiteX2213" fmla="*/ 1264592 w 1672940"/>
                  <a:gd name="connsiteY2213" fmla="*/ 606689 h 1117010"/>
                  <a:gd name="connsiteX2214" fmla="*/ 1266108 w 1672940"/>
                  <a:gd name="connsiteY2214" fmla="*/ 605931 h 1117010"/>
                  <a:gd name="connsiteX2215" fmla="*/ 1267320 w 1672940"/>
                  <a:gd name="connsiteY2215" fmla="*/ 604416 h 1117010"/>
                  <a:gd name="connsiteX2216" fmla="*/ 1269138 w 1672940"/>
                  <a:gd name="connsiteY2216" fmla="*/ 602901 h 1117010"/>
                  <a:gd name="connsiteX2217" fmla="*/ 1270501 w 1672940"/>
                  <a:gd name="connsiteY2217" fmla="*/ 601083 h 1117010"/>
                  <a:gd name="connsiteX2218" fmla="*/ 1271259 w 1672940"/>
                  <a:gd name="connsiteY2218" fmla="*/ 599113 h 1117010"/>
                  <a:gd name="connsiteX2219" fmla="*/ 1275805 w 1672940"/>
                  <a:gd name="connsiteY2219" fmla="*/ 596840 h 1117010"/>
                  <a:gd name="connsiteX2220" fmla="*/ 1277623 w 1672940"/>
                  <a:gd name="connsiteY2220" fmla="*/ 595325 h 1117010"/>
                  <a:gd name="connsiteX2221" fmla="*/ 1277017 w 1672940"/>
                  <a:gd name="connsiteY2221" fmla="*/ 594567 h 1117010"/>
                  <a:gd name="connsiteX2222" fmla="*/ 1274744 w 1672940"/>
                  <a:gd name="connsiteY2222" fmla="*/ 594264 h 1117010"/>
                  <a:gd name="connsiteX2223" fmla="*/ 1272320 w 1672940"/>
                  <a:gd name="connsiteY2223" fmla="*/ 591082 h 1117010"/>
                  <a:gd name="connsiteX2224" fmla="*/ 1272926 w 1672940"/>
                  <a:gd name="connsiteY2224" fmla="*/ 590173 h 1117010"/>
                  <a:gd name="connsiteX2225" fmla="*/ 1274744 w 1672940"/>
                  <a:gd name="connsiteY2225" fmla="*/ 588506 h 1117010"/>
                  <a:gd name="connsiteX2226" fmla="*/ 1277168 w 1672940"/>
                  <a:gd name="connsiteY2226" fmla="*/ 587749 h 1117010"/>
                  <a:gd name="connsiteX2227" fmla="*/ 1278684 w 1672940"/>
                  <a:gd name="connsiteY2227" fmla="*/ 587749 h 1117010"/>
                  <a:gd name="connsiteX2228" fmla="*/ 1279138 w 1672940"/>
                  <a:gd name="connsiteY2228" fmla="*/ 588961 h 1117010"/>
                  <a:gd name="connsiteX2229" fmla="*/ 1278835 w 1672940"/>
                  <a:gd name="connsiteY2229" fmla="*/ 591385 h 1117010"/>
                  <a:gd name="connsiteX2230" fmla="*/ 1279290 w 1672940"/>
                  <a:gd name="connsiteY2230" fmla="*/ 592294 h 1117010"/>
                  <a:gd name="connsiteX2231" fmla="*/ 1280502 w 1672940"/>
                  <a:gd name="connsiteY2231" fmla="*/ 593052 h 1117010"/>
                  <a:gd name="connsiteX2232" fmla="*/ 1283987 w 1672940"/>
                  <a:gd name="connsiteY2232" fmla="*/ 591385 h 1117010"/>
                  <a:gd name="connsiteX2233" fmla="*/ 1287169 w 1672940"/>
                  <a:gd name="connsiteY2233" fmla="*/ 590779 h 1117010"/>
                  <a:gd name="connsiteX2234" fmla="*/ 1288381 w 1672940"/>
                  <a:gd name="connsiteY2234" fmla="*/ 589567 h 1117010"/>
                  <a:gd name="connsiteX2235" fmla="*/ 1288381 w 1672940"/>
                  <a:gd name="connsiteY2235" fmla="*/ 584264 h 1117010"/>
                  <a:gd name="connsiteX2236" fmla="*/ 1289139 w 1672940"/>
                  <a:gd name="connsiteY2236" fmla="*/ 581991 h 1117010"/>
                  <a:gd name="connsiteX2237" fmla="*/ 1290957 w 1672940"/>
                  <a:gd name="connsiteY2237" fmla="*/ 580627 h 1117010"/>
                  <a:gd name="connsiteX2238" fmla="*/ 1292927 w 1672940"/>
                  <a:gd name="connsiteY2238" fmla="*/ 581536 h 1117010"/>
                  <a:gd name="connsiteX2239" fmla="*/ 1294290 w 1672940"/>
                  <a:gd name="connsiteY2239" fmla="*/ 580930 h 1117010"/>
                  <a:gd name="connsiteX2240" fmla="*/ 1294594 w 1672940"/>
                  <a:gd name="connsiteY2240" fmla="*/ 579718 h 1117010"/>
                  <a:gd name="connsiteX2241" fmla="*/ 1293987 w 1672940"/>
                  <a:gd name="connsiteY2241" fmla="*/ 578052 h 1117010"/>
                  <a:gd name="connsiteX2242" fmla="*/ 1291563 w 1672940"/>
                  <a:gd name="connsiteY2242" fmla="*/ 575930 h 1117010"/>
                  <a:gd name="connsiteX2243" fmla="*/ 1292017 w 1672940"/>
                  <a:gd name="connsiteY2243" fmla="*/ 575173 h 1117010"/>
                  <a:gd name="connsiteX2244" fmla="*/ 1293836 w 1672940"/>
                  <a:gd name="connsiteY2244" fmla="*/ 575173 h 1117010"/>
                  <a:gd name="connsiteX2245" fmla="*/ 1296866 w 1672940"/>
                  <a:gd name="connsiteY2245" fmla="*/ 576385 h 1117010"/>
                  <a:gd name="connsiteX2246" fmla="*/ 1298684 w 1672940"/>
                  <a:gd name="connsiteY2246" fmla="*/ 575930 h 1117010"/>
                  <a:gd name="connsiteX2247" fmla="*/ 1301109 w 1672940"/>
                  <a:gd name="connsiteY2247" fmla="*/ 574415 h 1117010"/>
                  <a:gd name="connsiteX2248" fmla="*/ 1308533 w 1672940"/>
                  <a:gd name="connsiteY2248" fmla="*/ 571991 h 1117010"/>
                  <a:gd name="connsiteX2249" fmla="*/ 1315503 w 1672940"/>
                  <a:gd name="connsiteY2249" fmla="*/ 568960 h 1117010"/>
                  <a:gd name="connsiteX2250" fmla="*/ 1322776 w 1672940"/>
                  <a:gd name="connsiteY2250" fmla="*/ 565172 h 1117010"/>
                  <a:gd name="connsiteX2251" fmla="*/ 1325958 w 1672940"/>
                  <a:gd name="connsiteY2251" fmla="*/ 564869 h 1117010"/>
                  <a:gd name="connsiteX2252" fmla="*/ 1328988 w 1672940"/>
                  <a:gd name="connsiteY2252" fmla="*/ 565324 h 1117010"/>
                  <a:gd name="connsiteX2253" fmla="*/ 1330049 w 1672940"/>
                  <a:gd name="connsiteY2253" fmla="*/ 566384 h 1117010"/>
                  <a:gd name="connsiteX2254" fmla="*/ 1330504 w 1672940"/>
                  <a:gd name="connsiteY2254" fmla="*/ 567900 h 1117010"/>
                  <a:gd name="connsiteX2255" fmla="*/ 1331110 w 1672940"/>
                  <a:gd name="connsiteY2255" fmla="*/ 568809 h 1117010"/>
                  <a:gd name="connsiteX2256" fmla="*/ 1332019 w 1672940"/>
                  <a:gd name="connsiteY2256" fmla="*/ 569263 h 1117010"/>
                  <a:gd name="connsiteX2257" fmla="*/ 1333837 w 1672940"/>
                  <a:gd name="connsiteY2257" fmla="*/ 569263 h 1117010"/>
                  <a:gd name="connsiteX2258" fmla="*/ 1337019 w 1672940"/>
                  <a:gd name="connsiteY2258" fmla="*/ 566688 h 1117010"/>
                  <a:gd name="connsiteX2259" fmla="*/ 1338686 w 1672940"/>
                  <a:gd name="connsiteY2259" fmla="*/ 565627 h 1117010"/>
                  <a:gd name="connsiteX2260" fmla="*/ 1338837 w 1672940"/>
                  <a:gd name="connsiteY2260" fmla="*/ 563809 h 1117010"/>
                  <a:gd name="connsiteX2261" fmla="*/ 1337777 w 1672940"/>
                  <a:gd name="connsiteY2261" fmla="*/ 563202 h 1117010"/>
                  <a:gd name="connsiteX2262" fmla="*/ 1336716 w 1672940"/>
                  <a:gd name="connsiteY2262" fmla="*/ 561839 h 1117010"/>
                  <a:gd name="connsiteX2263" fmla="*/ 1338534 w 1672940"/>
                  <a:gd name="connsiteY2263" fmla="*/ 559717 h 1117010"/>
                  <a:gd name="connsiteX2264" fmla="*/ 1340504 w 1672940"/>
                  <a:gd name="connsiteY2264" fmla="*/ 558354 h 1117010"/>
                  <a:gd name="connsiteX2265" fmla="*/ 1340050 w 1672940"/>
                  <a:gd name="connsiteY2265" fmla="*/ 554111 h 1117010"/>
                  <a:gd name="connsiteX2266" fmla="*/ 1342625 w 1672940"/>
                  <a:gd name="connsiteY2266" fmla="*/ 551384 h 1117010"/>
                  <a:gd name="connsiteX2267" fmla="*/ 1340807 w 1672940"/>
                  <a:gd name="connsiteY2267" fmla="*/ 550626 h 1117010"/>
                  <a:gd name="connsiteX2268" fmla="*/ 1337777 w 1672940"/>
                  <a:gd name="connsiteY2268" fmla="*/ 551232 h 1117010"/>
                  <a:gd name="connsiteX2269" fmla="*/ 1333535 w 1672940"/>
                  <a:gd name="connsiteY2269" fmla="*/ 551384 h 1117010"/>
                  <a:gd name="connsiteX2270" fmla="*/ 1328988 w 1672940"/>
                  <a:gd name="connsiteY2270" fmla="*/ 549717 h 1117010"/>
                  <a:gd name="connsiteX2271" fmla="*/ 1327322 w 1672940"/>
                  <a:gd name="connsiteY2271" fmla="*/ 547596 h 1117010"/>
                  <a:gd name="connsiteX2272" fmla="*/ 1325807 w 1672940"/>
                  <a:gd name="connsiteY2272" fmla="*/ 547444 h 1117010"/>
                  <a:gd name="connsiteX2273" fmla="*/ 1324594 w 1672940"/>
                  <a:gd name="connsiteY2273" fmla="*/ 548505 h 1117010"/>
                  <a:gd name="connsiteX2274" fmla="*/ 1323382 w 1672940"/>
                  <a:gd name="connsiteY2274" fmla="*/ 550020 h 1117010"/>
                  <a:gd name="connsiteX2275" fmla="*/ 1319292 w 1672940"/>
                  <a:gd name="connsiteY2275" fmla="*/ 549717 h 1117010"/>
                  <a:gd name="connsiteX2276" fmla="*/ 1314443 w 1672940"/>
                  <a:gd name="connsiteY2276" fmla="*/ 549566 h 1117010"/>
                  <a:gd name="connsiteX2277" fmla="*/ 1310806 w 1672940"/>
                  <a:gd name="connsiteY2277" fmla="*/ 547899 h 1117010"/>
                  <a:gd name="connsiteX2278" fmla="*/ 1307624 w 1672940"/>
                  <a:gd name="connsiteY2278" fmla="*/ 545929 h 1117010"/>
                  <a:gd name="connsiteX2279" fmla="*/ 1303079 w 1672940"/>
                  <a:gd name="connsiteY2279" fmla="*/ 545323 h 1117010"/>
                  <a:gd name="connsiteX2280" fmla="*/ 1298382 w 1672940"/>
                  <a:gd name="connsiteY2280" fmla="*/ 541384 h 1117010"/>
                  <a:gd name="connsiteX2281" fmla="*/ 1290199 w 1672940"/>
                  <a:gd name="connsiteY2281" fmla="*/ 537898 h 1117010"/>
                  <a:gd name="connsiteX2282" fmla="*/ 1279744 w 1672940"/>
                  <a:gd name="connsiteY2282" fmla="*/ 542141 h 1117010"/>
                  <a:gd name="connsiteX2283" fmla="*/ 1277472 w 1672940"/>
                  <a:gd name="connsiteY2283" fmla="*/ 542444 h 1117010"/>
                  <a:gd name="connsiteX2284" fmla="*/ 1276714 w 1672940"/>
                  <a:gd name="connsiteY2284" fmla="*/ 542899 h 1117010"/>
                  <a:gd name="connsiteX2285" fmla="*/ 1277472 w 1672940"/>
                  <a:gd name="connsiteY2285" fmla="*/ 543656 h 1117010"/>
                  <a:gd name="connsiteX2286" fmla="*/ 1278077 w 1672940"/>
                  <a:gd name="connsiteY2286" fmla="*/ 544717 h 1117010"/>
                  <a:gd name="connsiteX2287" fmla="*/ 1273835 w 1672940"/>
                  <a:gd name="connsiteY2287" fmla="*/ 548808 h 1117010"/>
                  <a:gd name="connsiteX2288" fmla="*/ 1266411 w 1672940"/>
                  <a:gd name="connsiteY2288" fmla="*/ 553354 h 1117010"/>
                  <a:gd name="connsiteX2289" fmla="*/ 1266259 w 1672940"/>
                  <a:gd name="connsiteY2289" fmla="*/ 555020 h 1117010"/>
                  <a:gd name="connsiteX2290" fmla="*/ 1266411 w 1672940"/>
                  <a:gd name="connsiteY2290" fmla="*/ 556384 h 1117010"/>
                  <a:gd name="connsiteX2291" fmla="*/ 1262925 w 1672940"/>
                  <a:gd name="connsiteY2291" fmla="*/ 559414 h 1117010"/>
                  <a:gd name="connsiteX2292" fmla="*/ 1254440 w 1672940"/>
                  <a:gd name="connsiteY2292" fmla="*/ 560324 h 1117010"/>
                  <a:gd name="connsiteX2293" fmla="*/ 1250046 w 1672940"/>
                  <a:gd name="connsiteY2293" fmla="*/ 559869 h 1117010"/>
                  <a:gd name="connsiteX2294" fmla="*/ 1245198 w 1672940"/>
                  <a:gd name="connsiteY2294" fmla="*/ 557899 h 1117010"/>
                  <a:gd name="connsiteX2295" fmla="*/ 1242015 w 1672940"/>
                  <a:gd name="connsiteY2295" fmla="*/ 555475 h 1117010"/>
                  <a:gd name="connsiteX2296" fmla="*/ 1240804 w 1672940"/>
                  <a:gd name="connsiteY2296" fmla="*/ 553808 h 1117010"/>
                  <a:gd name="connsiteX2297" fmla="*/ 1240804 w 1672940"/>
                  <a:gd name="connsiteY2297" fmla="*/ 548657 h 1117010"/>
                  <a:gd name="connsiteX2298" fmla="*/ 1241713 w 1672940"/>
                  <a:gd name="connsiteY2298" fmla="*/ 543959 h 1117010"/>
                  <a:gd name="connsiteX2299" fmla="*/ 1242924 w 1672940"/>
                  <a:gd name="connsiteY2299" fmla="*/ 543353 h 1117010"/>
                  <a:gd name="connsiteX2300" fmla="*/ 1244440 w 1672940"/>
                  <a:gd name="connsiteY2300" fmla="*/ 542141 h 1117010"/>
                  <a:gd name="connsiteX2301" fmla="*/ 1243985 w 1672940"/>
                  <a:gd name="connsiteY2301" fmla="*/ 540626 h 1117010"/>
                  <a:gd name="connsiteX2302" fmla="*/ 1243076 w 1672940"/>
                  <a:gd name="connsiteY2302" fmla="*/ 539717 h 1117010"/>
                  <a:gd name="connsiteX2303" fmla="*/ 1242924 w 1672940"/>
                  <a:gd name="connsiteY2303" fmla="*/ 538656 h 1117010"/>
                  <a:gd name="connsiteX2304" fmla="*/ 1242773 w 1672940"/>
                  <a:gd name="connsiteY2304" fmla="*/ 535626 h 1117010"/>
                  <a:gd name="connsiteX2305" fmla="*/ 1240349 w 1672940"/>
                  <a:gd name="connsiteY2305" fmla="*/ 531231 h 1117010"/>
                  <a:gd name="connsiteX2306" fmla="*/ 1236561 w 1672940"/>
                  <a:gd name="connsiteY2306" fmla="*/ 528504 h 1117010"/>
                  <a:gd name="connsiteX2307" fmla="*/ 1232924 w 1672940"/>
                  <a:gd name="connsiteY2307" fmla="*/ 528504 h 1117010"/>
                  <a:gd name="connsiteX2308" fmla="*/ 1229591 w 1672940"/>
                  <a:gd name="connsiteY2308" fmla="*/ 529565 h 1117010"/>
                  <a:gd name="connsiteX2309" fmla="*/ 1215197 w 1672940"/>
                  <a:gd name="connsiteY2309" fmla="*/ 526837 h 1117010"/>
                  <a:gd name="connsiteX2310" fmla="*/ 1208378 w 1672940"/>
                  <a:gd name="connsiteY2310" fmla="*/ 522746 h 1117010"/>
                  <a:gd name="connsiteX2311" fmla="*/ 1205348 w 1672940"/>
                  <a:gd name="connsiteY2311" fmla="*/ 519110 h 1117010"/>
                  <a:gd name="connsiteX2312" fmla="*/ 1202620 w 1672940"/>
                  <a:gd name="connsiteY2312" fmla="*/ 512746 h 1117010"/>
                  <a:gd name="connsiteX2313" fmla="*/ 1202469 w 1672940"/>
                  <a:gd name="connsiteY2313" fmla="*/ 510625 h 1117010"/>
                  <a:gd name="connsiteX2314" fmla="*/ 1204135 w 1672940"/>
                  <a:gd name="connsiteY2314" fmla="*/ 505473 h 1117010"/>
                  <a:gd name="connsiteX2315" fmla="*/ 1208681 w 1672940"/>
                  <a:gd name="connsiteY2315" fmla="*/ 496533 h 1117010"/>
                  <a:gd name="connsiteX2316" fmla="*/ 1210954 w 1672940"/>
                  <a:gd name="connsiteY2316" fmla="*/ 494715 h 1117010"/>
                  <a:gd name="connsiteX2317" fmla="*/ 1215803 w 1672940"/>
                  <a:gd name="connsiteY2317" fmla="*/ 493654 h 1117010"/>
                  <a:gd name="connsiteX2318" fmla="*/ 1218681 w 1672940"/>
                  <a:gd name="connsiteY2318" fmla="*/ 494715 h 1117010"/>
                  <a:gd name="connsiteX2319" fmla="*/ 1222773 w 1672940"/>
                  <a:gd name="connsiteY2319" fmla="*/ 498806 h 1117010"/>
                  <a:gd name="connsiteX2320" fmla="*/ 1227470 w 1672940"/>
                  <a:gd name="connsiteY2320" fmla="*/ 497139 h 1117010"/>
                  <a:gd name="connsiteX2321" fmla="*/ 1231712 w 1672940"/>
                  <a:gd name="connsiteY2321" fmla="*/ 495321 h 1117010"/>
                  <a:gd name="connsiteX2322" fmla="*/ 1235197 w 1672940"/>
                  <a:gd name="connsiteY2322" fmla="*/ 495776 h 1117010"/>
                  <a:gd name="connsiteX2323" fmla="*/ 1237167 w 1672940"/>
                  <a:gd name="connsiteY2323" fmla="*/ 495473 h 1117010"/>
                  <a:gd name="connsiteX2324" fmla="*/ 1239591 w 1672940"/>
                  <a:gd name="connsiteY2324" fmla="*/ 495624 h 1117010"/>
                  <a:gd name="connsiteX2325" fmla="*/ 1241410 w 1672940"/>
                  <a:gd name="connsiteY2325" fmla="*/ 495170 h 1117010"/>
                  <a:gd name="connsiteX2326" fmla="*/ 1243076 w 1672940"/>
                  <a:gd name="connsiteY2326" fmla="*/ 493958 h 1117010"/>
                  <a:gd name="connsiteX2327" fmla="*/ 1248077 w 1672940"/>
                  <a:gd name="connsiteY2327" fmla="*/ 488048 h 1117010"/>
                  <a:gd name="connsiteX2328" fmla="*/ 1249137 w 1672940"/>
                  <a:gd name="connsiteY2328" fmla="*/ 483199 h 1117010"/>
                  <a:gd name="connsiteX2329" fmla="*/ 1250804 w 1672940"/>
                  <a:gd name="connsiteY2329" fmla="*/ 480018 h 1117010"/>
                  <a:gd name="connsiteX2330" fmla="*/ 1252622 w 1672940"/>
                  <a:gd name="connsiteY2330" fmla="*/ 477139 h 1117010"/>
                  <a:gd name="connsiteX2331" fmla="*/ 1258077 w 1672940"/>
                  <a:gd name="connsiteY2331" fmla="*/ 472290 h 1117010"/>
                  <a:gd name="connsiteX2332" fmla="*/ 1265198 w 1672940"/>
                  <a:gd name="connsiteY2332" fmla="*/ 469563 h 1117010"/>
                  <a:gd name="connsiteX2333" fmla="*/ 1279441 w 1672940"/>
                  <a:gd name="connsiteY2333" fmla="*/ 462593 h 1117010"/>
                  <a:gd name="connsiteX2334" fmla="*/ 1282472 w 1672940"/>
                  <a:gd name="connsiteY2334" fmla="*/ 461684 h 1117010"/>
                  <a:gd name="connsiteX2335" fmla="*/ 1290502 w 1672940"/>
                  <a:gd name="connsiteY2335" fmla="*/ 450168 h 1117010"/>
                  <a:gd name="connsiteX2336" fmla="*/ 1292472 w 1672940"/>
                  <a:gd name="connsiteY2336" fmla="*/ 448198 h 1117010"/>
                  <a:gd name="connsiteX2337" fmla="*/ 1294745 w 1672940"/>
                  <a:gd name="connsiteY2337" fmla="*/ 447138 h 1117010"/>
                  <a:gd name="connsiteX2338" fmla="*/ 1297017 w 1672940"/>
                  <a:gd name="connsiteY2338" fmla="*/ 445016 h 1117010"/>
                  <a:gd name="connsiteX2339" fmla="*/ 1299291 w 1672940"/>
                  <a:gd name="connsiteY2339" fmla="*/ 441986 h 1117010"/>
                  <a:gd name="connsiteX2340" fmla="*/ 1301715 w 1672940"/>
                  <a:gd name="connsiteY2340" fmla="*/ 440016 h 1117010"/>
                  <a:gd name="connsiteX2341" fmla="*/ 1311564 w 1672940"/>
                  <a:gd name="connsiteY2341" fmla="*/ 440774 h 1117010"/>
                  <a:gd name="connsiteX2342" fmla="*/ 1313230 w 1672940"/>
                  <a:gd name="connsiteY2342" fmla="*/ 441834 h 1117010"/>
                  <a:gd name="connsiteX2343" fmla="*/ 1316867 w 1672940"/>
                  <a:gd name="connsiteY2343" fmla="*/ 441683 h 1117010"/>
                  <a:gd name="connsiteX2344" fmla="*/ 1317927 w 1672940"/>
                  <a:gd name="connsiteY2344" fmla="*/ 440774 h 1117010"/>
                  <a:gd name="connsiteX2345" fmla="*/ 1319140 w 1672940"/>
                  <a:gd name="connsiteY2345" fmla="*/ 437743 h 1117010"/>
                  <a:gd name="connsiteX2346" fmla="*/ 1319897 w 1672940"/>
                  <a:gd name="connsiteY2346" fmla="*/ 437592 h 1117010"/>
                  <a:gd name="connsiteX2347" fmla="*/ 1320503 w 1672940"/>
                  <a:gd name="connsiteY2347" fmla="*/ 441834 h 1117010"/>
                  <a:gd name="connsiteX2348" fmla="*/ 1328231 w 1672940"/>
                  <a:gd name="connsiteY2348" fmla="*/ 446835 h 1117010"/>
                  <a:gd name="connsiteX2349" fmla="*/ 1329291 w 1672940"/>
                  <a:gd name="connsiteY2349" fmla="*/ 449562 h 1117010"/>
                  <a:gd name="connsiteX2350" fmla="*/ 1331867 w 1672940"/>
                  <a:gd name="connsiteY2350" fmla="*/ 451532 h 1117010"/>
                  <a:gd name="connsiteX2351" fmla="*/ 1331565 w 1672940"/>
                  <a:gd name="connsiteY2351" fmla="*/ 452895 h 1117010"/>
                  <a:gd name="connsiteX2352" fmla="*/ 1329897 w 1672940"/>
                  <a:gd name="connsiteY2352" fmla="*/ 456229 h 1117010"/>
                  <a:gd name="connsiteX2353" fmla="*/ 1329595 w 1672940"/>
                  <a:gd name="connsiteY2353" fmla="*/ 457441 h 1117010"/>
                  <a:gd name="connsiteX2354" fmla="*/ 1323837 w 1672940"/>
                  <a:gd name="connsiteY2354" fmla="*/ 464562 h 1117010"/>
                  <a:gd name="connsiteX2355" fmla="*/ 1320655 w 1672940"/>
                  <a:gd name="connsiteY2355" fmla="*/ 467441 h 1117010"/>
                  <a:gd name="connsiteX2356" fmla="*/ 1318837 w 1672940"/>
                  <a:gd name="connsiteY2356" fmla="*/ 470472 h 1117010"/>
                  <a:gd name="connsiteX2357" fmla="*/ 1311109 w 1672940"/>
                  <a:gd name="connsiteY2357" fmla="*/ 473805 h 1117010"/>
                  <a:gd name="connsiteX2358" fmla="*/ 1309897 w 1672940"/>
                  <a:gd name="connsiteY2358" fmla="*/ 476684 h 1117010"/>
                  <a:gd name="connsiteX2359" fmla="*/ 1310957 w 1672940"/>
                  <a:gd name="connsiteY2359" fmla="*/ 478957 h 1117010"/>
                  <a:gd name="connsiteX2360" fmla="*/ 1311109 w 1672940"/>
                  <a:gd name="connsiteY2360" fmla="*/ 480472 h 1117010"/>
                  <a:gd name="connsiteX2361" fmla="*/ 1309746 w 1672940"/>
                  <a:gd name="connsiteY2361" fmla="*/ 480472 h 1117010"/>
                  <a:gd name="connsiteX2362" fmla="*/ 1308079 w 1672940"/>
                  <a:gd name="connsiteY2362" fmla="*/ 481078 h 1117010"/>
                  <a:gd name="connsiteX2363" fmla="*/ 1304291 w 1672940"/>
                  <a:gd name="connsiteY2363" fmla="*/ 483503 h 1117010"/>
                  <a:gd name="connsiteX2364" fmla="*/ 1304745 w 1672940"/>
                  <a:gd name="connsiteY2364" fmla="*/ 484260 h 1117010"/>
                  <a:gd name="connsiteX2365" fmla="*/ 1305049 w 1672940"/>
                  <a:gd name="connsiteY2365" fmla="*/ 486381 h 1117010"/>
                  <a:gd name="connsiteX2366" fmla="*/ 1304442 w 1672940"/>
                  <a:gd name="connsiteY2366" fmla="*/ 488503 h 1117010"/>
                  <a:gd name="connsiteX2367" fmla="*/ 1306563 w 1672940"/>
                  <a:gd name="connsiteY2367" fmla="*/ 488806 h 1117010"/>
                  <a:gd name="connsiteX2368" fmla="*/ 1310806 w 1672940"/>
                  <a:gd name="connsiteY2368" fmla="*/ 488806 h 1117010"/>
                  <a:gd name="connsiteX2369" fmla="*/ 1318231 w 1672940"/>
                  <a:gd name="connsiteY2369" fmla="*/ 488048 h 1117010"/>
                  <a:gd name="connsiteX2370" fmla="*/ 1319140 w 1672940"/>
                  <a:gd name="connsiteY2370" fmla="*/ 488503 h 1117010"/>
                  <a:gd name="connsiteX2371" fmla="*/ 1317473 w 1672940"/>
                  <a:gd name="connsiteY2371" fmla="*/ 489715 h 1117010"/>
                  <a:gd name="connsiteX2372" fmla="*/ 1314897 w 1672940"/>
                  <a:gd name="connsiteY2372" fmla="*/ 492291 h 1117010"/>
                  <a:gd name="connsiteX2373" fmla="*/ 1313836 w 1672940"/>
                  <a:gd name="connsiteY2373" fmla="*/ 493806 h 1117010"/>
                  <a:gd name="connsiteX2374" fmla="*/ 1315200 w 1672940"/>
                  <a:gd name="connsiteY2374" fmla="*/ 497291 h 1117010"/>
                  <a:gd name="connsiteX2375" fmla="*/ 1303836 w 1672940"/>
                  <a:gd name="connsiteY2375" fmla="*/ 501988 h 1117010"/>
                  <a:gd name="connsiteX2376" fmla="*/ 1301715 w 1672940"/>
                  <a:gd name="connsiteY2376" fmla="*/ 502443 h 1117010"/>
                  <a:gd name="connsiteX2377" fmla="*/ 1299442 w 1672940"/>
                  <a:gd name="connsiteY2377" fmla="*/ 503200 h 1117010"/>
                  <a:gd name="connsiteX2378" fmla="*/ 1299896 w 1672940"/>
                  <a:gd name="connsiteY2378" fmla="*/ 506685 h 1117010"/>
                  <a:gd name="connsiteX2379" fmla="*/ 1301109 w 1672940"/>
                  <a:gd name="connsiteY2379" fmla="*/ 509261 h 1117010"/>
                  <a:gd name="connsiteX2380" fmla="*/ 1302321 w 1672940"/>
                  <a:gd name="connsiteY2380" fmla="*/ 508958 h 1117010"/>
                  <a:gd name="connsiteX2381" fmla="*/ 1303079 w 1672940"/>
                  <a:gd name="connsiteY2381" fmla="*/ 508200 h 1117010"/>
                  <a:gd name="connsiteX2382" fmla="*/ 1305351 w 1672940"/>
                  <a:gd name="connsiteY2382" fmla="*/ 506837 h 1117010"/>
                  <a:gd name="connsiteX2383" fmla="*/ 1310806 w 1672940"/>
                  <a:gd name="connsiteY2383" fmla="*/ 506079 h 1117010"/>
                  <a:gd name="connsiteX2384" fmla="*/ 1314443 w 1672940"/>
                  <a:gd name="connsiteY2384" fmla="*/ 505018 h 1117010"/>
                  <a:gd name="connsiteX2385" fmla="*/ 1315048 w 1672940"/>
                  <a:gd name="connsiteY2385" fmla="*/ 504109 h 1117010"/>
                  <a:gd name="connsiteX2386" fmla="*/ 1313988 w 1672940"/>
                  <a:gd name="connsiteY2386" fmla="*/ 502140 h 1117010"/>
                  <a:gd name="connsiteX2387" fmla="*/ 1315200 w 1672940"/>
                  <a:gd name="connsiteY2387" fmla="*/ 500624 h 1117010"/>
                  <a:gd name="connsiteX2388" fmla="*/ 1317018 w 1672940"/>
                  <a:gd name="connsiteY2388" fmla="*/ 500473 h 1117010"/>
                  <a:gd name="connsiteX2389" fmla="*/ 1318685 w 1672940"/>
                  <a:gd name="connsiteY2389" fmla="*/ 501079 h 1117010"/>
                  <a:gd name="connsiteX2390" fmla="*/ 1320352 w 1672940"/>
                  <a:gd name="connsiteY2390" fmla="*/ 500927 h 1117010"/>
                  <a:gd name="connsiteX2391" fmla="*/ 1322019 w 1672940"/>
                  <a:gd name="connsiteY2391" fmla="*/ 499715 h 1117010"/>
                  <a:gd name="connsiteX2392" fmla="*/ 1323685 w 1672940"/>
                  <a:gd name="connsiteY2392" fmla="*/ 499109 h 1117010"/>
                  <a:gd name="connsiteX2393" fmla="*/ 1325503 w 1672940"/>
                  <a:gd name="connsiteY2393" fmla="*/ 497746 h 1117010"/>
                  <a:gd name="connsiteX2394" fmla="*/ 1327473 w 1672940"/>
                  <a:gd name="connsiteY2394" fmla="*/ 495927 h 1117010"/>
                  <a:gd name="connsiteX2395" fmla="*/ 1330352 w 1672940"/>
                  <a:gd name="connsiteY2395" fmla="*/ 492291 h 1117010"/>
                  <a:gd name="connsiteX2396" fmla="*/ 1333383 w 1672940"/>
                  <a:gd name="connsiteY2396" fmla="*/ 489109 h 1117010"/>
                  <a:gd name="connsiteX2397" fmla="*/ 1347171 w 1672940"/>
                  <a:gd name="connsiteY2397" fmla="*/ 481533 h 1117010"/>
                  <a:gd name="connsiteX2398" fmla="*/ 1350505 w 1672940"/>
                  <a:gd name="connsiteY2398" fmla="*/ 480927 h 1117010"/>
                  <a:gd name="connsiteX2399" fmla="*/ 1352475 w 1672940"/>
                  <a:gd name="connsiteY2399" fmla="*/ 479260 h 1117010"/>
                  <a:gd name="connsiteX2400" fmla="*/ 1357777 w 1672940"/>
                  <a:gd name="connsiteY2400" fmla="*/ 478805 h 1117010"/>
                  <a:gd name="connsiteX2401" fmla="*/ 1358990 w 1672940"/>
                  <a:gd name="connsiteY2401" fmla="*/ 477442 h 1117010"/>
                  <a:gd name="connsiteX2402" fmla="*/ 1361111 w 1672940"/>
                  <a:gd name="connsiteY2402" fmla="*/ 476230 h 1117010"/>
                  <a:gd name="connsiteX2403" fmla="*/ 1365050 w 1672940"/>
                  <a:gd name="connsiteY2403" fmla="*/ 476078 h 1117010"/>
                  <a:gd name="connsiteX2404" fmla="*/ 1367475 w 1672940"/>
                  <a:gd name="connsiteY2404" fmla="*/ 475472 h 1117010"/>
                  <a:gd name="connsiteX2405" fmla="*/ 1368384 w 1672940"/>
                  <a:gd name="connsiteY2405" fmla="*/ 473654 h 1117010"/>
                  <a:gd name="connsiteX2406" fmla="*/ 1369445 w 1672940"/>
                  <a:gd name="connsiteY2406" fmla="*/ 472290 h 1117010"/>
                  <a:gd name="connsiteX2407" fmla="*/ 1372475 w 1672940"/>
                  <a:gd name="connsiteY2407" fmla="*/ 474260 h 1117010"/>
                  <a:gd name="connsiteX2408" fmla="*/ 1381870 w 1672940"/>
                  <a:gd name="connsiteY2408" fmla="*/ 473654 h 1117010"/>
                  <a:gd name="connsiteX2409" fmla="*/ 1386263 w 1672940"/>
                  <a:gd name="connsiteY2409" fmla="*/ 470926 h 1117010"/>
                  <a:gd name="connsiteX2410" fmla="*/ 1388537 w 1672940"/>
                  <a:gd name="connsiteY2410" fmla="*/ 468047 h 1117010"/>
                  <a:gd name="connsiteX2411" fmla="*/ 1388839 w 1672940"/>
                  <a:gd name="connsiteY2411" fmla="*/ 468350 h 1117010"/>
                  <a:gd name="connsiteX2412" fmla="*/ 1389446 w 1672940"/>
                  <a:gd name="connsiteY2412" fmla="*/ 465168 h 1117010"/>
                  <a:gd name="connsiteX2413" fmla="*/ 1392021 w 1672940"/>
                  <a:gd name="connsiteY2413" fmla="*/ 462744 h 1117010"/>
                  <a:gd name="connsiteX2414" fmla="*/ 1398385 w 1672940"/>
                  <a:gd name="connsiteY2414" fmla="*/ 458350 h 1117010"/>
                  <a:gd name="connsiteX2415" fmla="*/ 1400051 w 1672940"/>
                  <a:gd name="connsiteY2415" fmla="*/ 456229 h 1117010"/>
                  <a:gd name="connsiteX2416" fmla="*/ 1403234 w 1672940"/>
                  <a:gd name="connsiteY2416" fmla="*/ 453804 h 1117010"/>
                  <a:gd name="connsiteX2417" fmla="*/ 1404749 w 1672940"/>
                  <a:gd name="connsiteY2417" fmla="*/ 453804 h 1117010"/>
                  <a:gd name="connsiteX2418" fmla="*/ 1406264 w 1672940"/>
                  <a:gd name="connsiteY2418" fmla="*/ 453653 h 1117010"/>
                  <a:gd name="connsiteX2419" fmla="*/ 1406718 w 1672940"/>
                  <a:gd name="connsiteY2419" fmla="*/ 452592 h 1117010"/>
                  <a:gd name="connsiteX2420" fmla="*/ 1407022 w 1672940"/>
                  <a:gd name="connsiteY2420" fmla="*/ 451683 h 1117010"/>
                  <a:gd name="connsiteX2421" fmla="*/ 1408234 w 1672940"/>
                  <a:gd name="connsiteY2421" fmla="*/ 450926 h 1117010"/>
                  <a:gd name="connsiteX2422" fmla="*/ 1411265 w 1672940"/>
                  <a:gd name="connsiteY2422" fmla="*/ 449562 h 1117010"/>
                  <a:gd name="connsiteX2423" fmla="*/ 1414749 w 1672940"/>
                  <a:gd name="connsiteY2423" fmla="*/ 447744 h 1117010"/>
                  <a:gd name="connsiteX2424" fmla="*/ 1417477 w 1672940"/>
                  <a:gd name="connsiteY2424" fmla="*/ 447289 h 1117010"/>
                  <a:gd name="connsiteX2425" fmla="*/ 1420961 w 1672940"/>
                  <a:gd name="connsiteY2425" fmla="*/ 444562 h 1117010"/>
                  <a:gd name="connsiteX2426" fmla="*/ 1422325 w 1672940"/>
                  <a:gd name="connsiteY2426" fmla="*/ 443350 h 1117010"/>
                  <a:gd name="connsiteX2427" fmla="*/ 1423689 w 1672940"/>
                  <a:gd name="connsiteY2427" fmla="*/ 443350 h 1117010"/>
                  <a:gd name="connsiteX2428" fmla="*/ 1424144 w 1672940"/>
                  <a:gd name="connsiteY2428" fmla="*/ 442743 h 1117010"/>
                  <a:gd name="connsiteX2429" fmla="*/ 1424901 w 1672940"/>
                  <a:gd name="connsiteY2429" fmla="*/ 441380 h 1117010"/>
                  <a:gd name="connsiteX2430" fmla="*/ 1425962 w 1672940"/>
                  <a:gd name="connsiteY2430" fmla="*/ 440471 h 1117010"/>
                  <a:gd name="connsiteX2431" fmla="*/ 1427477 w 1672940"/>
                  <a:gd name="connsiteY2431" fmla="*/ 440319 h 1117010"/>
                  <a:gd name="connsiteX2432" fmla="*/ 1429901 w 1672940"/>
                  <a:gd name="connsiteY2432" fmla="*/ 439713 h 1117010"/>
                  <a:gd name="connsiteX2433" fmla="*/ 1433084 w 1672940"/>
                  <a:gd name="connsiteY2433" fmla="*/ 439259 h 1117010"/>
                  <a:gd name="connsiteX2434" fmla="*/ 1435204 w 1672940"/>
                  <a:gd name="connsiteY2434" fmla="*/ 436986 h 1117010"/>
                  <a:gd name="connsiteX2435" fmla="*/ 1435962 w 1672940"/>
                  <a:gd name="connsiteY2435" fmla="*/ 435319 h 1117010"/>
                  <a:gd name="connsiteX2436" fmla="*/ 1437326 w 1672940"/>
                  <a:gd name="connsiteY2436" fmla="*/ 433501 h 1117010"/>
                  <a:gd name="connsiteX2437" fmla="*/ 1440356 w 1672940"/>
                  <a:gd name="connsiteY2437" fmla="*/ 431531 h 1117010"/>
                  <a:gd name="connsiteX2438" fmla="*/ 1442478 w 1672940"/>
                  <a:gd name="connsiteY2438" fmla="*/ 428652 h 1117010"/>
                  <a:gd name="connsiteX2439" fmla="*/ 1444750 w 1672940"/>
                  <a:gd name="connsiteY2439" fmla="*/ 425470 h 1117010"/>
                  <a:gd name="connsiteX2440" fmla="*/ 1445811 w 1672940"/>
                  <a:gd name="connsiteY2440" fmla="*/ 424409 h 1117010"/>
                  <a:gd name="connsiteX2441" fmla="*/ 1446872 w 1672940"/>
                  <a:gd name="connsiteY2441" fmla="*/ 424258 h 1117010"/>
                  <a:gd name="connsiteX2442" fmla="*/ 1447477 w 1672940"/>
                  <a:gd name="connsiteY2442" fmla="*/ 423046 h 1117010"/>
                  <a:gd name="connsiteX2443" fmla="*/ 1448236 w 1672940"/>
                  <a:gd name="connsiteY2443" fmla="*/ 419712 h 1117010"/>
                  <a:gd name="connsiteX2444" fmla="*/ 1449296 w 1672940"/>
                  <a:gd name="connsiteY2444" fmla="*/ 416530 h 1117010"/>
                  <a:gd name="connsiteX2445" fmla="*/ 1449902 w 1672940"/>
                  <a:gd name="connsiteY2445" fmla="*/ 415015 h 1117010"/>
                  <a:gd name="connsiteX2446" fmla="*/ 1452478 w 1672940"/>
                  <a:gd name="connsiteY2446" fmla="*/ 413349 h 1117010"/>
                  <a:gd name="connsiteX2447" fmla="*/ 1453084 w 1672940"/>
                  <a:gd name="connsiteY2447" fmla="*/ 412591 h 1117010"/>
                  <a:gd name="connsiteX2448" fmla="*/ 1453690 w 1672940"/>
                  <a:gd name="connsiteY2448" fmla="*/ 412288 h 1117010"/>
                  <a:gd name="connsiteX2449" fmla="*/ 1454902 w 1672940"/>
                  <a:gd name="connsiteY2449" fmla="*/ 412439 h 1117010"/>
                  <a:gd name="connsiteX2450" fmla="*/ 1456569 w 1672940"/>
                  <a:gd name="connsiteY2450" fmla="*/ 411530 h 1117010"/>
                  <a:gd name="connsiteX2451" fmla="*/ 1458084 w 1672940"/>
                  <a:gd name="connsiteY2451" fmla="*/ 410470 h 1117010"/>
                  <a:gd name="connsiteX2452" fmla="*/ 1459448 w 1672940"/>
                  <a:gd name="connsiteY2452" fmla="*/ 410773 h 1117010"/>
                  <a:gd name="connsiteX2453" fmla="*/ 1460811 w 1672940"/>
                  <a:gd name="connsiteY2453" fmla="*/ 411682 h 1117010"/>
                  <a:gd name="connsiteX2454" fmla="*/ 1462327 w 1672940"/>
                  <a:gd name="connsiteY2454" fmla="*/ 413500 h 1117010"/>
                  <a:gd name="connsiteX2455" fmla="*/ 1462933 w 1672940"/>
                  <a:gd name="connsiteY2455" fmla="*/ 414864 h 1117010"/>
                  <a:gd name="connsiteX2456" fmla="*/ 1464145 w 1672940"/>
                  <a:gd name="connsiteY2456" fmla="*/ 416076 h 1117010"/>
                  <a:gd name="connsiteX2457" fmla="*/ 1464448 w 1672940"/>
                  <a:gd name="connsiteY2457" fmla="*/ 417743 h 1117010"/>
                  <a:gd name="connsiteX2458" fmla="*/ 1465660 w 1672940"/>
                  <a:gd name="connsiteY2458" fmla="*/ 418500 h 1117010"/>
                  <a:gd name="connsiteX2459" fmla="*/ 1468085 w 1672940"/>
                  <a:gd name="connsiteY2459" fmla="*/ 418803 h 1117010"/>
                  <a:gd name="connsiteX2460" fmla="*/ 1472175 w 1672940"/>
                  <a:gd name="connsiteY2460" fmla="*/ 420015 h 1117010"/>
                  <a:gd name="connsiteX2461" fmla="*/ 1474752 w 1672940"/>
                  <a:gd name="connsiteY2461" fmla="*/ 420015 h 1117010"/>
                  <a:gd name="connsiteX2462" fmla="*/ 1476267 w 1672940"/>
                  <a:gd name="connsiteY2462" fmla="*/ 420925 h 1117010"/>
                  <a:gd name="connsiteX2463" fmla="*/ 1479449 w 1672940"/>
                  <a:gd name="connsiteY2463" fmla="*/ 421379 h 1117010"/>
                  <a:gd name="connsiteX2464" fmla="*/ 1485813 w 1672940"/>
                  <a:gd name="connsiteY2464" fmla="*/ 420621 h 1117010"/>
                  <a:gd name="connsiteX2465" fmla="*/ 1488388 w 1672940"/>
                  <a:gd name="connsiteY2465" fmla="*/ 421076 h 1117010"/>
                  <a:gd name="connsiteX2466" fmla="*/ 1489449 w 1672940"/>
                  <a:gd name="connsiteY2466" fmla="*/ 422137 h 1117010"/>
                  <a:gd name="connsiteX2467" fmla="*/ 1491116 w 1672940"/>
                  <a:gd name="connsiteY2467" fmla="*/ 423046 h 1117010"/>
                  <a:gd name="connsiteX2468" fmla="*/ 1492176 w 1672940"/>
                  <a:gd name="connsiteY2468" fmla="*/ 423046 h 1117010"/>
                  <a:gd name="connsiteX2469" fmla="*/ 1493540 w 1672940"/>
                  <a:gd name="connsiteY2469" fmla="*/ 421531 h 1117010"/>
                  <a:gd name="connsiteX2470" fmla="*/ 1495055 w 1672940"/>
                  <a:gd name="connsiteY2470" fmla="*/ 419106 h 1117010"/>
                  <a:gd name="connsiteX2471" fmla="*/ 1496116 w 1672940"/>
                  <a:gd name="connsiteY2471" fmla="*/ 417288 h 1117010"/>
                  <a:gd name="connsiteX2472" fmla="*/ 1496116 w 1672940"/>
                  <a:gd name="connsiteY2472" fmla="*/ 415773 h 1117010"/>
                  <a:gd name="connsiteX2473" fmla="*/ 1495207 w 1672940"/>
                  <a:gd name="connsiteY2473" fmla="*/ 414258 h 1117010"/>
                  <a:gd name="connsiteX2474" fmla="*/ 1493085 w 1672940"/>
                  <a:gd name="connsiteY2474" fmla="*/ 412742 h 1117010"/>
                  <a:gd name="connsiteX2475" fmla="*/ 1491722 w 1672940"/>
                  <a:gd name="connsiteY2475" fmla="*/ 410470 h 1117010"/>
                  <a:gd name="connsiteX2476" fmla="*/ 1490358 w 1672940"/>
                  <a:gd name="connsiteY2476" fmla="*/ 408197 h 1117010"/>
                  <a:gd name="connsiteX2477" fmla="*/ 1489601 w 1672940"/>
                  <a:gd name="connsiteY2477" fmla="*/ 407439 h 1117010"/>
                  <a:gd name="connsiteX2478" fmla="*/ 1488994 w 1672940"/>
                  <a:gd name="connsiteY2478" fmla="*/ 406379 h 1117010"/>
                  <a:gd name="connsiteX2479" fmla="*/ 1488843 w 1672940"/>
                  <a:gd name="connsiteY2479" fmla="*/ 404712 h 1117010"/>
                  <a:gd name="connsiteX2480" fmla="*/ 1489297 w 1672940"/>
                  <a:gd name="connsiteY2480" fmla="*/ 403500 h 1117010"/>
                  <a:gd name="connsiteX2481" fmla="*/ 1492480 w 1672940"/>
                  <a:gd name="connsiteY2481" fmla="*/ 402742 h 1117010"/>
                  <a:gd name="connsiteX2482" fmla="*/ 1496570 w 1672940"/>
                  <a:gd name="connsiteY2482" fmla="*/ 402287 h 1117010"/>
                  <a:gd name="connsiteX2483" fmla="*/ 1499904 w 1672940"/>
                  <a:gd name="connsiteY2483" fmla="*/ 402742 h 1117010"/>
                  <a:gd name="connsiteX2484" fmla="*/ 1505359 w 1672940"/>
                  <a:gd name="connsiteY2484" fmla="*/ 402439 h 1117010"/>
                  <a:gd name="connsiteX2485" fmla="*/ 1508692 w 1672940"/>
                  <a:gd name="connsiteY2485" fmla="*/ 401833 h 1117010"/>
                  <a:gd name="connsiteX2486" fmla="*/ 1511116 w 1672940"/>
                  <a:gd name="connsiteY2486" fmla="*/ 401984 h 1117010"/>
                  <a:gd name="connsiteX2487" fmla="*/ 1513390 w 1672940"/>
                  <a:gd name="connsiteY2487" fmla="*/ 401984 h 1117010"/>
                  <a:gd name="connsiteX2488" fmla="*/ 1514450 w 1672940"/>
                  <a:gd name="connsiteY2488" fmla="*/ 400924 h 1117010"/>
                  <a:gd name="connsiteX2489" fmla="*/ 1517632 w 1672940"/>
                  <a:gd name="connsiteY2489" fmla="*/ 398499 h 1117010"/>
                  <a:gd name="connsiteX2490" fmla="*/ 1519147 w 1672940"/>
                  <a:gd name="connsiteY2490" fmla="*/ 397590 h 1117010"/>
                  <a:gd name="connsiteX2491" fmla="*/ 1520814 w 1672940"/>
                  <a:gd name="connsiteY2491" fmla="*/ 395924 h 1117010"/>
                  <a:gd name="connsiteX2492" fmla="*/ 1521117 w 1672940"/>
                  <a:gd name="connsiteY2492" fmla="*/ 394257 h 1117010"/>
                  <a:gd name="connsiteX2493" fmla="*/ 1521420 w 1672940"/>
                  <a:gd name="connsiteY2493" fmla="*/ 392893 h 1117010"/>
                  <a:gd name="connsiteX2494" fmla="*/ 1522329 w 1672940"/>
                  <a:gd name="connsiteY2494" fmla="*/ 391378 h 1117010"/>
                  <a:gd name="connsiteX2495" fmla="*/ 1523996 w 1672940"/>
                  <a:gd name="connsiteY2495" fmla="*/ 389560 h 1117010"/>
                  <a:gd name="connsiteX2496" fmla="*/ 1525359 w 1672940"/>
                  <a:gd name="connsiteY2496" fmla="*/ 388651 h 1117010"/>
                  <a:gd name="connsiteX2497" fmla="*/ 1526874 w 1672940"/>
                  <a:gd name="connsiteY2497" fmla="*/ 388802 h 1117010"/>
                  <a:gd name="connsiteX2498" fmla="*/ 1528542 w 1672940"/>
                  <a:gd name="connsiteY2498" fmla="*/ 389711 h 1117010"/>
                  <a:gd name="connsiteX2499" fmla="*/ 1529602 w 1672940"/>
                  <a:gd name="connsiteY2499" fmla="*/ 390620 h 1117010"/>
                  <a:gd name="connsiteX2500" fmla="*/ 1530814 w 1672940"/>
                  <a:gd name="connsiteY2500" fmla="*/ 390317 h 1117010"/>
                  <a:gd name="connsiteX2501" fmla="*/ 1531875 w 1672940"/>
                  <a:gd name="connsiteY2501" fmla="*/ 388802 h 1117010"/>
                  <a:gd name="connsiteX2502" fmla="*/ 1532481 w 1672940"/>
                  <a:gd name="connsiteY2502" fmla="*/ 388499 h 1117010"/>
                  <a:gd name="connsiteX2503" fmla="*/ 1534450 w 1672940"/>
                  <a:gd name="connsiteY2503" fmla="*/ 388348 h 1117010"/>
                  <a:gd name="connsiteX2504" fmla="*/ 1535057 w 1672940"/>
                  <a:gd name="connsiteY2504" fmla="*/ 387438 h 1117010"/>
                  <a:gd name="connsiteX2505" fmla="*/ 1535814 w 1672940"/>
                  <a:gd name="connsiteY2505" fmla="*/ 383196 h 1117010"/>
                  <a:gd name="connsiteX2506" fmla="*/ 1536572 w 1672940"/>
                  <a:gd name="connsiteY2506" fmla="*/ 379862 h 1117010"/>
                  <a:gd name="connsiteX2507" fmla="*/ 1536723 w 1672940"/>
                  <a:gd name="connsiteY2507" fmla="*/ 377590 h 1117010"/>
                  <a:gd name="connsiteX2508" fmla="*/ 1538390 w 1672940"/>
                  <a:gd name="connsiteY2508" fmla="*/ 373650 h 1117010"/>
                  <a:gd name="connsiteX2509" fmla="*/ 1538997 w 1672940"/>
                  <a:gd name="connsiteY2509" fmla="*/ 371377 h 1117010"/>
                  <a:gd name="connsiteX2510" fmla="*/ 1540057 w 1672940"/>
                  <a:gd name="connsiteY2510" fmla="*/ 370317 h 1117010"/>
                  <a:gd name="connsiteX2511" fmla="*/ 1541269 w 1672940"/>
                  <a:gd name="connsiteY2511" fmla="*/ 370468 h 1117010"/>
                  <a:gd name="connsiteX2512" fmla="*/ 1542178 w 1672940"/>
                  <a:gd name="connsiteY2512" fmla="*/ 371226 h 1117010"/>
                  <a:gd name="connsiteX2513" fmla="*/ 1543390 w 1672940"/>
                  <a:gd name="connsiteY2513" fmla="*/ 371680 h 1117010"/>
                  <a:gd name="connsiteX2514" fmla="*/ 1545057 w 1672940"/>
                  <a:gd name="connsiteY2514" fmla="*/ 371226 h 1117010"/>
                  <a:gd name="connsiteX2515" fmla="*/ 1546269 w 1672940"/>
                  <a:gd name="connsiteY2515" fmla="*/ 371832 h 1117010"/>
                  <a:gd name="connsiteX2516" fmla="*/ 1547027 w 1672940"/>
                  <a:gd name="connsiteY2516" fmla="*/ 373044 h 1117010"/>
                  <a:gd name="connsiteX2517" fmla="*/ 1549452 w 1672940"/>
                  <a:gd name="connsiteY2517" fmla="*/ 373953 h 1117010"/>
                  <a:gd name="connsiteX2518" fmla="*/ 1549754 w 1672940"/>
                  <a:gd name="connsiteY2518" fmla="*/ 374559 h 1117010"/>
                  <a:gd name="connsiteX2519" fmla="*/ 1549754 w 1672940"/>
                  <a:gd name="connsiteY2519" fmla="*/ 378802 h 1117010"/>
                  <a:gd name="connsiteX2520" fmla="*/ 1551118 w 1672940"/>
                  <a:gd name="connsiteY2520" fmla="*/ 380772 h 1117010"/>
                  <a:gd name="connsiteX2521" fmla="*/ 1552936 w 1672940"/>
                  <a:gd name="connsiteY2521" fmla="*/ 382590 h 1117010"/>
                  <a:gd name="connsiteX2522" fmla="*/ 1555360 w 1672940"/>
                  <a:gd name="connsiteY2522" fmla="*/ 384256 h 1117010"/>
                  <a:gd name="connsiteX2523" fmla="*/ 1556724 w 1672940"/>
                  <a:gd name="connsiteY2523" fmla="*/ 384560 h 1117010"/>
                  <a:gd name="connsiteX2524" fmla="*/ 1557482 w 1672940"/>
                  <a:gd name="connsiteY2524" fmla="*/ 385772 h 1117010"/>
                  <a:gd name="connsiteX2525" fmla="*/ 1558997 w 1672940"/>
                  <a:gd name="connsiteY2525" fmla="*/ 384711 h 1117010"/>
                  <a:gd name="connsiteX2526" fmla="*/ 1558846 w 1672940"/>
                  <a:gd name="connsiteY2526" fmla="*/ 382893 h 1117010"/>
                  <a:gd name="connsiteX2527" fmla="*/ 1557330 w 1672940"/>
                  <a:gd name="connsiteY2527" fmla="*/ 381226 h 1117010"/>
                  <a:gd name="connsiteX2528" fmla="*/ 1555058 w 1672940"/>
                  <a:gd name="connsiteY2528" fmla="*/ 380923 h 1117010"/>
                  <a:gd name="connsiteX2529" fmla="*/ 1554603 w 1672940"/>
                  <a:gd name="connsiteY2529" fmla="*/ 380468 h 1117010"/>
                  <a:gd name="connsiteX2530" fmla="*/ 1554754 w 1672940"/>
                  <a:gd name="connsiteY2530" fmla="*/ 379559 h 1117010"/>
                  <a:gd name="connsiteX2531" fmla="*/ 1555512 w 1672940"/>
                  <a:gd name="connsiteY2531" fmla="*/ 378650 h 1117010"/>
                  <a:gd name="connsiteX2532" fmla="*/ 1556573 w 1672940"/>
                  <a:gd name="connsiteY2532" fmla="*/ 377893 h 1117010"/>
                  <a:gd name="connsiteX2533" fmla="*/ 1558846 w 1672940"/>
                  <a:gd name="connsiteY2533" fmla="*/ 376832 h 1117010"/>
                  <a:gd name="connsiteX2534" fmla="*/ 1562785 w 1672940"/>
                  <a:gd name="connsiteY2534" fmla="*/ 376074 h 1117010"/>
                  <a:gd name="connsiteX2535" fmla="*/ 1565058 w 1672940"/>
                  <a:gd name="connsiteY2535" fmla="*/ 375317 h 1117010"/>
                  <a:gd name="connsiteX2536" fmla="*/ 1566876 w 1672940"/>
                  <a:gd name="connsiteY2536" fmla="*/ 375165 h 1117010"/>
                  <a:gd name="connsiteX2537" fmla="*/ 1568846 w 1672940"/>
                  <a:gd name="connsiteY2537" fmla="*/ 375620 h 1117010"/>
                  <a:gd name="connsiteX2538" fmla="*/ 1570512 w 1672940"/>
                  <a:gd name="connsiteY2538" fmla="*/ 374559 h 1117010"/>
                  <a:gd name="connsiteX2539" fmla="*/ 1572180 w 1672940"/>
                  <a:gd name="connsiteY2539" fmla="*/ 373953 h 1117010"/>
                  <a:gd name="connsiteX2540" fmla="*/ 1572634 w 1672940"/>
                  <a:gd name="connsiteY2540" fmla="*/ 372135 h 1117010"/>
                  <a:gd name="connsiteX2541" fmla="*/ 1572634 w 1672940"/>
                  <a:gd name="connsiteY2541" fmla="*/ 369407 h 1117010"/>
                  <a:gd name="connsiteX2542" fmla="*/ 1573240 w 1672940"/>
                  <a:gd name="connsiteY2542" fmla="*/ 368650 h 1117010"/>
                  <a:gd name="connsiteX2543" fmla="*/ 1573998 w 1672940"/>
                  <a:gd name="connsiteY2543" fmla="*/ 367438 h 1117010"/>
                  <a:gd name="connsiteX2544" fmla="*/ 1575059 w 1672940"/>
                  <a:gd name="connsiteY2544" fmla="*/ 365922 h 1117010"/>
                  <a:gd name="connsiteX2545" fmla="*/ 1576118 w 1672940"/>
                  <a:gd name="connsiteY2545" fmla="*/ 362134 h 1117010"/>
                  <a:gd name="connsiteX2546" fmla="*/ 1576877 w 1672940"/>
                  <a:gd name="connsiteY2546" fmla="*/ 359559 h 1117010"/>
                  <a:gd name="connsiteX2547" fmla="*/ 1577331 w 1672940"/>
                  <a:gd name="connsiteY2547" fmla="*/ 358195 h 1117010"/>
                  <a:gd name="connsiteX2548" fmla="*/ 1577483 w 1672940"/>
                  <a:gd name="connsiteY2548" fmla="*/ 356377 h 1117010"/>
                  <a:gd name="connsiteX2549" fmla="*/ 1577028 w 1672940"/>
                  <a:gd name="connsiteY2549" fmla="*/ 355165 h 1117010"/>
                  <a:gd name="connsiteX2550" fmla="*/ 1576118 w 1672940"/>
                  <a:gd name="connsiteY2550" fmla="*/ 354407 h 1117010"/>
                  <a:gd name="connsiteX2551" fmla="*/ 1575361 w 1672940"/>
                  <a:gd name="connsiteY2551" fmla="*/ 353952 h 1117010"/>
                  <a:gd name="connsiteX2552" fmla="*/ 1575361 w 1672940"/>
                  <a:gd name="connsiteY2552" fmla="*/ 351831 h 1117010"/>
                  <a:gd name="connsiteX2553" fmla="*/ 1575513 w 1672940"/>
                  <a:gd name="connsiteY2553" fmla="*/ 349104 h 1117010"/>
                  <a:gd name="connsiteX2554" fmla="*/ 1575209 w 1672940"/>
                  <a:gd name="connsiteY2554" fmla="*/ 347285 h 1117010"/>
                  <a:gd name="connsiteX2555" fmla="*/ 1576270 w 1672940"/>
                  <a:gd name="connsiteY2555" fmla="*/ 337285 h 1117010"/>
                  <a:gd name="connsiteX2556" fmla="*/ 1577483 w 1672940"/>
                  <a:gd name="connsiteY2556" fmla="*/ 335012 h 1117010"/>
                  <a:gd name="connsiteX2557" fmla="*/ 1573998 w 1672940"/>
                  <a:gd name="connsiteY2557" fmla="*/ 321678 h 1117010"/>
                  <a:gd name="connsiteX2558" fmla="*/ 1572937 w 1672940"/>
                  <a:gd name="connsiteY2558" fmla="*/ 317436 h 1117010"/>
                  <a:gd name="connsiteX2559" fmla="*/ 1572180 w 1672940"/>
                  <a:gd name="connsiteY2559" fmla="*/ 315315 h 1117010"/>
                  <a:gd name="connsiteX2560" fmla="*/ 1570664 w 1672940"/>
                  <a:gd name="connsiteY2560" fmla="*/ 312133 h 1117010"/>
                  <a:gd name="connsiteX2561" fmla="*/ 1569603 w 1672940"/>
                  <a:gd name="connsiteY2561" fmla="*/ 310617 h 1117010"/>
                  <a:gd name="connsiteX2562" fmla="*/ 1570058 w 1672940"/>
                  <a:gd name="connsiteY2562" fmla="*/ 309102 h 1117010"/>
                  <a:gd name="connsiteX2563" fmla="*/ 1571421 w 1672940"/>
                  <a:gd name="connsiteY2563" fmla="*/ 307587 h 1117010"/>
                  <a:gd name="connsiteX2564" fmla="*/ 1572785 w 1672940"/>
                  <a:gd name="connsiteY2564" fmla="*/ 306829 h 1117010"/>
                  <a:gd name="connsiteX2565" fmla="*/ 1576725 w 1672940"/>
                  <a:gd name="connsiteY2565" fmla="*/ 306526 h 1117010"/>
                  <a:gd name="connsiteX2566" fmla="*/ 1577786 w 1672940"/>
                  <a:gd name="connsiteY2566" fmla="*/ 305920 h 1117010"/>
                  <a:gd name="connsiteX2567" fmla="*/ 1582635 w 1672940"/>
                  <a:gd name="connsiteY2567" fmla="*/ 304254 h 1117010"/>
                  <a:gd name="connsiteX2568" fmla="*/ 1583695 w 1672940"/>
                  <a:gd name="connsiteY2568" fmla="*/ 303344 h 1117010"/>
                  <a:gd name="connsiteX2569" fmla="*/ 1586119 w 1672940"/>
                  <a:gd name="connsiteY2569" fmla="*/ 300920 h 1117010"/>
                  <a:gd name="connsiteX2570" fmla="*/ 1587028 w 1672940"/>
                  <a:gd name="connsiteY2570" fmla="*/ 299102 h 1117010"/>
                  <a:gd name="connsiteX2571" fmla="*/ 1588089 w 1672940"/>
                  <a:gd name="connsiteY2571" fmla="*/ 296829 h 1117010"/>
                  <a:gd name="connsiteX2572" fmla="*/ 1590513 w 1672940"/>
                  <a:gd name="connsiteY2572" fmla="*/ 295617 h 1117010"/>
                  <a:gd name="connsiteX2573" fmla="*/ 1592029 w 1672940"/>
                  <a:gd name="connsiteY2573" fmla="*/ 293496 h 1117010"/>
                  <a:gd name="connsiteX2574" fmla="*/ 1593544 w 1672940"/>
                  <a:gd name="connsiteY2574" fmla="*/ 292738 h 1117010"/>
                  <a:gd name="connsiteX2575" fmla="*/ 1595059 w 1672940"/>
                  <a:gd name="connsiteY2575" fmla="*/ 294556 h 1117010"/>
                  <a:gd name="connsiteX2576" fmla="*/ 1596878 w 1672940"/>
                  <a:gd name="connsiteY2576" fmla="*/ 295617 h 1117010"/>
                  <a:gd name="connsiteX2577" fmla="*/ 1598089 w 1672940"/>
                  <a:gd name="connsiteY2577" fmla="*/ 295920 h 1117010"/>
                  <a:gd name="connsiteX2578" fmla="*/ 1599453 w 1672940"/>
                  <a:gd name="connsiteY2578" fmla="*/ 294102 h 1117010"/>
                  <a:gd name="connsiteX2579" fmla="*/ 1603847 w 1672940"/>
                  <a:gd name="connsiteY2579" fmla="*/ 292738 h 1117010"/>
                  <a:gd name="connsiteX2580" fmla="*/ 1608544 w 1672940"/>
                  <a:gd name="connsiteY2580" fmla="*/ 292738 h 1117010"/>
                  <a:gd name="connsiteX2581" fmla="*/ 1613393 w 1672940"/>
                  <a:gd name="connsiteY2581" fmla="*/ 293799 h 1117010"/>
                  <a:gd name="connsiteX2582" fmla="*/ 1617333 w 1672940"/>
                  <a:gd name="connsiteY2582" fmla="*/ 296071 h 1117010"/>
                  <a:gd name="connsiteX2583" fmla="*/ 1619606 w 1672940"/>
                  <a:gd name="connsiteY2583" fmla="*/ 298799 h 1117010"/>
                  <a:gd name="connsiteX2584" fmla="*/ 1619606 w 1672940"/>
                  <a:gd name="connsiteY2584" fmla="*/ 301526 h 1117010"/>
                  <a:gd name="connsiteX2585" fmla="*/ 1620363 w 1672940"/>
                  <a:gd name="connsiteY2585" fmla="*/ 301678 h 1117010"/>
                  <a:gd name="connsiteX2586" fmla="*/ 1621726 w 1672940"/>
                  <a:gd name="connsiteY2586" fmla="*/ 302132 h 1117010"/>
                  <a:gd name="connsiteX2587" fmla="*/ 1623090 w 1672940"/>
                  <a:gd name="connsiteY2587" fmla="*/ 302738 h 1117010"/>
                  <a:gd name="connsiteX2588" fmla="*/ 1625212 w 1672940"/>
                  <a:gd name="connsiteY2588" fmla="*/ 301223 h 1117010"/>
                  <a:gd name="connsiteX2589" fmla="*/ 1627939 w 1672940"/>
                  <a:gd name="connsiteY2589" fmla="*/ 299253 h 1117010"/>
                  <a:gd name="connsiteX2590" fmla="*/ 1627484 w 1672940"/>
                  <a:gd name="connsiteY2590" fmla="*/ 296223 h 1117010"/>
                  <a:gd name="connsiteX2591" fmla="*/ 1627939 w 1672940"/>
                  <a:gd name="connsiteY2591" fmla="*/ 292738 h 1117010"/>
                  <a:gd name="connsiteX2592" fmla="*/ 1629909 w 1672940"/>
                  <a:gd name="connsiteY2592" fmla="*/ 286829 h 1117010"/>
                  <a:gd name="connsiteX2593" fmla="*/ 1632181 w 1672940"/>
                  <a:gd name="connsiteY2593" fmla="*/ 285162 h 1117010"/>
                  <a:gd name="connsiteX2594" fmla="*/ 1633394 w 1672940"/>
                  <a:gd name="connsiteY2594" fmla="*/ 284859 h 1117010"/>
                  <a:gd name="connsiteX2595" fmla="*/ 1634606 w 1672940"/>
                  <a:gd name="connsiteY2595" fmla="*/ 284253 h 1117010"/>
                  <a:gd name="connsiteX2596" fmla="*/ 1636878 w 1672940"/>
                  <a:gd name="connsiteY2596" fmla="*/ 283192 h 1117010"/>
                  <a:gd name="connsiteX2597" fmla="*/ 1637637 w 1672940"/>
                  <a:gd name="connsiteY2597" fmla="*/ 281677 h 1117010"/>
                  <a:gd name="connsiteX2598" fmla="*/ 1637182 w 1672940"/>
                  <a:gd name="connsiteY2598" fmla="*/ 279859 h 1117010"/>
                  <a:gd name="connsiteX2599" fmla="*/ 1637939 w 1672940"/>
                  <a:gd name="connsiteY2599" fmla="*/ 278041 h 1117010"/>
                  <a:gd name="connsiteX2600" fmla="*/ 1638243 w 1672940"/>
                  <a:gd name="connsiteY2600" fmla="*/ 276222 h 1117010"/>
                  <a:gd name="connsiteX2601" fmla="*/ 1639000 w 1672940"/>
                  <a:gd name="connsiteY2601" fmla="*/ 273949 h 1117010"/>
                  <a:gd name="connsiteX2602" fmla="*/ 1640061 w 1672940"/>
                  <a:gd name="connsiteY2602" fmla="*/ 273343 h 1117010"/>
                  <a:gd name="connsiteX2603" fmla="*/ 1641576 w 1672940"/>
                  <a:gd name="connsiteY2603" fmla="*/ 272586 h 1117010"/>
                  <a:gd name="connsiteX2604" fmla="*/ 1642636 w 1672940"/>
                  <a:gd name="connsiteY2604" fmla="*/ 271374 h 1117010"/>
                  <a:gd name="connsiteX2605" fmla="*/ 1643697 w 1672940"/>
                  <a:gd name="connsiteY2605" fmla="*/ 269555 h 1117010"/>
                  <a:gd name="connsiteX2606" fmla="*/ 1644454 w 1672940"/>
                  <a:gd name="connsiteY2606" fmla="*/ 267434 h 1117010"/>
                  <a:gd name="connsiteX2607" fmla="*/ 1644152 w 1672940"/>
                  <a:gd name="connsiteY2607" fmla="*/ 265010 h 1117010"/>
                  <a:gd name="connsiteX2608" fmla="*/ 1645515 w 1672940"/>
                  <a:gd name="connsiteY2608" fmla="*/ 263495 h 1117010"/>
                  <a:gd name="connsiteX2609" fmla="*/ 1647788 w 1672940"/>
                  <a:gd name="connsiteY2609" fmla="*/ 262131 h 1117010"/>
                  <a:gd name="connsiteX2610" fmla="*/ 1648546 w 1672940"/>
                  <a:gd name="connsiteY2610" fmla="*/ 261373 h 1117010"/>
                  <a:gd name="connsiteX2611" fmla="*/ 1648849 w 1672940"/>
                  <a:gd name="connsiteY2611" fmla="*/ 259252 h 1117010"/>
                  <a:gd name="connsiteX2612" fmla="*/ 1649001 w 1672940"/>
                  <a:gd name="connsiteY2612" fmla="*/ 258343 h 1117010"/>
                  <a:gd name="connsiteX2613" fmla="*/ 1649607 w 1672940"/>
                  <a:gd name="connsiteY2613" fmla="*/ 257282 h 1117010"/>
                  <a:gd name="connsiteX2614" fmla="*/ 1649152 w 1672940"/>
                  <a:gd name="connsiteY2614" fmla="*/ 255161 h 1117010"/>
                  <a:gd name="connsiteX2615" fmla="*/ 1648546 w 1672940"/>
                  <a:gd name="connsiteY2615" fmla="*/ 252737 h 1117010"/>
                  <a:gd name="connsiteX2616" fmla="*/ 1650970 w 1672940"/>
                  <a:gd name="connsiteY2616" fmla="*/ 248797 h 1117010"/>
                  <a:gd name="connsiteX2617" fmla="*/ 1652789 w 1672940"/>
                  <a:gd name="connsiteY2617" fmla="*/ 245464 h 1117010"/>
                  <a:gd name="connsiteX2618" fmla="*/ 1653243 w 1672940"/>
                  <a:gd name="connsiteY2618" fmla="*/ 240463 h 1117010"/>
                  <a:gd name="connsiteX2619" fmla="*/ 1653395 w 1672940"/>
                  <a:gd name="connsiteY2619" fmla="*/ 239706 h 1117010"/>
                  <a:gd name="connsiteX2620" fmla="*/ 1654152 w 1672940"/>
                  <a:gd name="connsiteY2620" fmla="*/ 237281 h 1117010"/>
                  <a:gd name="connsiteX2621" fmla="*/ 1654607 w 1672940"/>
                  <a:gd name="connsiteY2621" fmla="*/ 236372 h 1117010"/>
                  <a:gd name="connsiteX2622" fmla="*/ 1655970 w 1672940"/>
                  <a:gd name="connsiteY2622" fmla="*/ 233190 h 1117010"/>
                  <a:gd name="connsiteX2623" fmla="*/ 1657788 w 1672940"/>
                  <a:gd name="connsiteY2623" fmla="*/ 231221 h 1117010"/>
                  <a:gd name="connsiteX2624" fmla="*/ 1657486 w 1672940"/>
                  <a:gd name="connsiteY2624" fmla="*/ 228948 h 1117010"/>
                  <a:gd name="connsiteX2625" fmla="*/ 1656728 w 1672940"/>
                  <a:gd name="connsiteY2625" fmla="*/ 226675 h 1117010"/>
                  <a:gd name="connsiteX2626" fmla="*/ 1656879 w 1672940"/>
                  <a:gd name="connsiteY2626" fmla="*/ 225160 h 1117010"/>
                  <a:gd name="connsiteX2627" fmla="*/ 1658395 w 1672940"/>
                  <a:gd name="connsiteY2627" fmla="*/ 223342 h 1117010"/>
                  <a:gd name="connsiteX2628" fmla="*/ 1659304 w 1672940"/>
                  <a:gd name="connsiteY2628" fmla="*/ 222432 h 1117010"/>
                  <a:gd name="connsiteX2629" fmla="*/ 1660213 w 1672940"/>
                  <a:gd name="connsiteY2629" fmla="*/ 221220 h 1117010"/>
                  <a:gd name="connsiteX2630" fmla="*/ 1661576 w 1672940"/>
                  <a:gd name="connsiteY2630" fmla="*/ 220614 h 1117010"/>
                  <a:gd name="connsiteX2631" fmla="*/ 1662789 w 1672940"/>
                  <a:gd name="connsiteY2631" fmla="*/ 220311 h 1117010"/>
                  <a:gd name="connsiteX2632" fmla="*/ 1665516 w 1672940"/>
                  <a:gd name="connsiteY2632" fmla="*/ 220008 h 1117010"/>
                  <a:gd name="connsiteX2633" fmla="*/ 1667183 w 1672940"/>
                  <a:gd name="connsiteY2633" fmla="*/ 218644 h 1117010"/>
                  <a:gd name="connsiteX2634" fmla="*/ 1668698 w 1672940"/>
                  <a:gd name="connsiteY2634" fmla="*/ 217281 h 1117010"/>
                  <a:gd name="connsiteX2635" fmla="*/ 1671426 w 1672940"/>
                  <a:gd name="connsiteY2635" fmla="*/ 213796 h 1117010"/>
                  <a:gd name="connsiteX2636" fmla="*/ 1672335 w 1672940"/>
                  <a:gd name="connsiteY2636" fmla="*/ 211674 h 1117010"/>
                  <a:gd name="connsiteX2637" fmla="*/ 1672940 w 1672940"/>
                  <a:gd name="connsiteY2637" fmla="*/ 210614 h 1117010"/>
                  <a:gd name="connsiteX2638" fmla="*/ 1670365 w 1672940"/>
                  <a:gd name="connsiteY2638" fmla="*/ 207129 h 1117010"/>
                  <a:gd name="connsiteX2639" fmla="*/ 1326261 w 1672940"/>
                  <a:gd name="connsiteY2639" fmla="*/ 783362 h 1117010"/>
                  <a:gd name="connsiteX2640" fmla="*/ 1324746 w 1672940"/>
                  <a:gd name="connsiteY2640" fmla="*/ 783665 h 1117010"/>
                  <a:gd name="connsiteX2641" fmla="*/ 1324140 w 1672940"/>
                  <a:gd name="connsiteY2641" fmla="*/ 784726 h 1117010"/>
                  <a:gd name="connsiteX2642" fmla="*/ 1325200 w 1672940"/>
                  <a:gd name="connsiteY2642" fmla="*/ 785029 h 1117010"/>
                  <a:gd name="connsiteX2643" fmla="*/ 1327473 w 1672940"/>
                  <a:gd name="connsiteY2643" fmla="*/ 786998 h 1117010"/>
                  <a:gd name="connsiteX2644" fmla="*/ 1327625 w 1672940"/>
                  <a:gd name="connsiteY2644" fmla="*/ 786392 h 1117010"/>
                  <a:gd name="connsiteX2645" fmla="*/ 1327473 w 1672940"/>
                  <a:gd name="connsiteY2645" fmla="*/ 785786 h 1117010"/>
                  <a:gd name="connsiteX2646" fmla="*/ 1326261 w 1672940"/>
                  <a:gd name="connsiteY2646" fmla="*/ 783362 h 1117010"/>
                  <a:gd name="connsiteX2647" fmla="*/ 1332474 w 1672940"/>
                  <a:gd name="connsiteY2647" fmla="*/ 778210 h 1117010"/>
                  <a:gd name="connsiteX2648" fmla="*/ 1332019 w 1672940"/>
                  <a:gd name="connsiteY2648" fmla="*/ 778816 h 1117010"/>
                  <a:gd name="connsiteX2649" fmla="*/ 1332928 w 1672940"/>
                  <a:gd name="connsiteY2649" fmla="*/ 781241 h 1117010"/>
                  <a:gd name="connsiteX2650" fmla="*/ 1333685 w 1672940"/>
                  <a:gd name="connsiteY2650" fmla="*/ 781392 h 1117010"/>
                  <a:gd name="connsiteX2651" fmla="*/ 1333989 w 1672940"/>
                  <a:gd name="connsiteY2651" fmla="*/ 780029 h 1117010"/>
                  <a:gd name="connsiteX2652" fmla="*/ 1333989 w 1672940"/>
                  <a:gd name="connsiteY2652" fmla="*/ 778362 h 1117010"/>
                  <a:gd name="connsiteX2653" fmla="*/ 1332474 w 1672940"/>
                  <a:gd name="connsiteY2653" fmla="*/ 778210 h 1117010"/>
                  <a:gd name="connsiteX2654" fmla="*/ 1325958 w 1672940"/>
                  <a:gd name="connsiteY2654" fmla="*/ 772755 h 1117010"/>
                  <a:gd name="connsiteX2655" fmla="*/ 1322170 w 1672940"/>
                  <a:gd name="connsiteY2655" fmla="*/ 772604 h 1117010"/>
                  <a:gd name="connsiteX2656" fmla="*/ 1322473 w 1672940"/>
                  <a:gd name="connsiteY2656" fmla="*/ 775028 h 1117010"/>
                  <a:gd name="connsiteX2657" fmla="*/ 1323685 w 1672940"/>
                  <a:gd name="connsiteY2657" fmla="*/ 776544 h 1117010"/>
                  <a:gd name="connsiteX2658" fmla="*/ 1327322 w 1672940"/>
                  <a:gd name="connsiteY2658" fmla="*/ 776847 h 1117010"/>
                  <a:gd name="connsiteX2659" fmla="*/ 1330656 w 1672940"/>
                  <a:gd name="connsiteY2659" fmla="*/ 778513 h 1117010"/>
                  <a:gd name="connsiteX2660" fmla="*/ 1331110 w 1672940"/>
                  <a:gd name="connsiteY2660" fmla="*/ 777907 h 1117010"/>
                  <a:gd name="connsiteX2661" fmla="*/ 1331867 w 1672940"/>
                  <a:gd name="connsiteY2661" fmla="*/ 775938 h 1117010"/>
                  <a:gd name="connsiteX2662" fmla="*/ 1330807 w 1672940"/>
                  <a:gd name="connsiteY2662" fmla="*/ 774877 h 1117010"/>
                  <a:gd name="connsiteX2663" fmla="*/ 1325958 w 1672940"/>
                  <a:gd name="connsiteY2663" fmla="*/ 772755 h 11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Lst>
                <a:rect l="l" t="t" r="r" b="b"/>
                <a:pathLst>
                  <a:path w="1672940" h="1117010">
                    <a:moveTo>
                      <a:pt x="1302018" y="830788"/>
                    </a:moveTo>
                    <a:lnTo>
                      <a:pt x="1301261" y="830182"/>
                    </a:lnTo>
                    <a:lnTo>
                      <a:pt x="1299291" y="832152"/>
                    </a:lnTo>
                    <a:lnTo>
                      <a:pt x="1299291" y="834273"/>
                    </a:lnTo>
                    <a:lnTo>
                      <a:pt x="1300200" y="834273"/>
                    </a:lnTo>
                    <a:lnTo>
                      <a:pt x="1302624" y="833515"/>
                    </a:lnTo>
                    <a:lnTo>
                      <a:pt x="1302624" y="831849"/>
                    </a:lnTo>
                    <a:lnTo>
                      <a:pt x="1302018" y="830788"/>
                    </a:lnTo>
                    <a:close/>
                    <a:moveTo>
                      <a:pt x="1070645" y="1016552"/>
                    </a:moveTo>
                    <a:lnTo>
                      <a:pt x="1070040" y="1017613"/>
                    </a:lnTo>
                    <a:lnTo>
                      <a:pt x="1068676" y="1018674"/>
                    </a:lnTo>
                    <a:lnTo>
                      <a:pt x="1069282" y="1019431"/>
                    </a:lnTo>
                    <a:lnTo>
                      <a:pt x="1069585" y="1020946"/>
                    </a:lnTo>
                    <a:lnTo>
                      <a:pt x="1070343" y="1022007"/>
                    </a:lnTo>
                    <a:lnTo>
                      <a:pt x="1070797" y="1021401"/>
                    </a:lnTo>
                    <a:lnTo>
                      <a:pt x="1071100" y="1018674"/>
                    </a:lnTo>
                    <a:lnTo>
                      <a:pt x="1071403" y="1018219"/>
                    </a:lnTo>
                    <a:lnTo>
                      <a:pt x="1072767" y="1017007"/>
                    </a:lnTo>
                    <a:lnTo>
                      <a:pt x="1072161" y="1016704"/>
                    </a:lnTo>
                    <a:lnTo>
                      <a:pt x="1070645" y="1016552"/>
                    </a:lnTo>
                    <a:close/>
                    <a:moveTo>
                      <a:pt x="1263834" y="906700"/>
                    </a:moveTo>
                    <a:lnTo>
                      <a:pt x="1263532" y="906245"/>
                    </a:lnTo>
                    <a:lnTo>
                      <a:pt x="1262623" y="905791"/>
                    </a:lnTo>
                    <a:lnTo>
                      <a:pt x="1262016" y="904882"/>
                    </a:lnTo>
                    <a:lnTo>
                      <a:pt x="1260501" y="905336"/>
                    </a:lnTo>
                    <a:lnTo>
                      <a:pt x="1259744" y="906700"/>
                    </a:lnTo>
                    <a:lnTo>
                      <a:pt x="1260501" y="907912"/>
                    </a:lnTo>
                    <a:lnTo>
                      <a:pt x="1259895" y="909579"/>
                    </a:lnTo>
                    <a:lnTo>
                      <a:pt x="1259895" y="911397"/>
                    </a:lnTo>
                    <a:lnTo>
                      <a:pt x="1261107" y="912003"/>
                    </a:lnTo>
                    <a:lnTo>
                      <a:pt x="1263077" y="910639"/>
                    </a:lnTo>
                    <a:lnTo>
                      <a:pt x="1263380" y="910033"/>
                    </a:lnTo>
                    <a:lnTo>
                      <a:pt x="1262774" y="909276"/>
                    </a:lnTo>
                    <a:lnTo>
                      <a:pt x="1263532" y="907760"/>
                    </a:lnTo>
                    <a:lnTo>
                      <a:pt x="1263834" y="906700"/>
                    </a:lnTo>
                    <a:close/>
                    <a:moveTo>
                      <a:pt x="1216257" y="936701"/>
                    </a:moveTo>
                    <a:lnTo>
                      <a:pt x="1215954" y="937004"/>
                    </a:lnTo>
                    <a:lnTo>
                      <a:pt x="1215499" y="938216"/>
                    </a:lnTo>
                    <a:lnTo>
                      <a:pt x="1215803" y="938519"/>
                    </a:lnTo>
                    <a:lnTo>
                      <a:pt x="1215803" y="939731"/>
                    </a:lnTo>
                    <a:lnTo>
                      <a:pt x="1217469" y="940034"/>
                    </a:lnTo>
                    <a:lnTo>
                      <a:pt x="1218378" y="938368"/>
                    </a:lnTo>
                    <a:lnTo>
                      <a:pt x="1218076" y="937761"/>
                    </a:lnTo>
                    <a:lnTo>
                      <a:pt x="1216257" y="936701"/>
                    </a:lnTo>
                    <a:close/>
                    <a:moveTo>
                      <a:pt x="1006098" y="1036856"/>
                    </a:moveTo>
                    <a:lnTo>
                      <a:pt x="1005037" y="1035947"/>
                    </a:lnTo>
                    <a:lnTo>
                      <a:pt x="1002916" y="1036402"/>
                    </a:lnTo>
                    <a:lnTo>
                      <a:pt x="1001704" y="1037765"/>
                    </a:lnTo>
                    <a:lnTo>
                      <a:pt x="1002158" y="1038523"/>
                    </a:lnTo>
                    <a:lnTo>
                      <a:pt x="1003825" y="1038674"/>
                    </a:lnTo>
                    <a:lnTo>
                      <a:pt x="1006098" y="1038371"/>
                    </a:lnTo>
                    <a:lnTo>
                      <a:pt x="1008371" y="1039432"/>
                    </a:lnTo>
                    <a:lnTo>
                      <a:pt x="1009280" y="1037917"/>
                    </a:lnTo>
                    <a:lnTo>
                      <a:pt x="1009280" y="1037311"/>
                    </a:lnTo>
                    <a:lnTo>
                      <a:pt x="1008825" y="1036098"/>
                    </a:lnTo>
                    <a:lnTo>
                      <a:pt x="1006098" y="1036856"/>
                    </a:lnTo>
                    <a:close/>
                    <a:moveTo>
                      <a:pt x="1063676" y="1020795"/>
                    </a:moveTo>
                    <a:lnTo>
                      <a:pt x="1064282" y="1020946"/>
                    </a:lnTo>
                    <a:lnTo>
                      <a:pt x="1067009" y="1020340"/>
                    </a:lnTo>
                    <a:lnTo>
                      <a:pt x="1067161" y="1018371"/>
                    </a:lnTo>
                    <a:lnTo>
                      <a:pt x="1064736" y="1019431"/>
                    </a:lnTo>
                    <a:lnTo>
                      <a:pt x="1063676" y="1020795"/>
                    </a:lnTo>
                    <a:close/>
                    <a:moveTo>
                      <a:pt x="1021098" y="1070191"/>
                    </a:moveTo>
                    <a:lnTo>
                      <a:pt x="1020189" y="1068373"/>
                    </a:lnTo>
                    <a:lnTo>
                      <a:pt x="1018826" y="1067160"/>
                    </a:lnTo>
                    <a:lnTo>
                      <a:pt x="1016704" y="1066554"/>
                    </a:lnTo>
                    <a:lnTo>
                      <a:pt x="1014886" y="1065342"/>
                    </a:lnTo>
                    <a:lnTo>
                      <a:pt x="1013068" y="1063069"/>
                    </a:lnTo>
                    <a:lnTo>
                      <a:pt x="1012310" y="1063069"/>
                    </a:lnTo>
                    <a:lnTo>
                      <a:pt x="1010795" y="1064130"/>
                    </a:lnTo>
                    <a:lnTo>
                      <a:pt x="1010492" y="1064887"/>
                    </a:lnTo>
                    <a:lnTo>
                      <a:pt x="1010492" y="1067615"/>
                    </a:lnTo>
                    <a:lnTo>
                      <a:pt x="1005795" y="1065342"/>
                    </a:lnTo>
                    <a:lnTo>
                      <a:pt x="1005189" y="1065190"/>
                    </a:lnTo>
                    <a:lnTo>
                      <a:pt x="1005037" y="1066403"/>
                    </a:lnTo>
                    <a:lnTo>
                      <a:pt x="1005189" y="1067615"/>
                    </a:lnTo>
                    <a:lnTo>
                      <a:pt x="1003825" y="1065796"/>
                    </a:lnTo>
                    <a:lnTo>
                      <a:pt x="1000188" y="1065342"/>
                    </a:lnTo>
                    <a:lnTo>
                      <a:pt x="998976" y="1065342"/>
                    </a:lnTo>
                    <a:lnTo>
                      <a:pt x="996552" y="1067009"/>
                    </a:lnTo>
                    <a:lnTo>
                      <a:pt x="991703" y="1067918"/>
                    </a:lnTo>
                    <a:lnTo>
                      <a:pt x="984733" y="1067312"/>
                    </a:lnTo>
                    <a:lnTo>
                      <a:pt x="982915" y="1067766"/>
                    </a:lnTo>
                    <a:lnTo>
                      <a:pt x="980945" y="1069584"/>
                    </a:lnTo>
                    <a:lnTo>
                      <a:pt x="978369" y="1070039"/>
                    </a:lnTo>
                    <a:lnTo>
                      <a:pt x="975490" y="1069584"/>
                    </a:lnTo>
                    <a:lnTo>
                      <a:pt x="974127" y="1070191"/>
                    </a:lnTo>
                    <a:lnTo>
                      <a:pt x="972915" y="1071251"/>
                    </a:lnTo>
                    <a:lnTo>
                      <a:pt x="971854" y="1073372"/>
                    </a:lnTo>
                    <a:lnTo>
                      <a:pt x="973066" y="1073676"/>
                    </a:lnTo>
                    <a:lnTo>
                      <a:pt x="974581" y="1073524"/>
                    </a:lnTo>
                    <a:lnTo>
                      <a:pt x="971854" y="1075949"/>
                    </a:lnTo>
                    <a:lnTo>
                      <a:pt x="968672" y="1077615"/>
                    </a:lnTo>
                    <a:lnTo>
                      <a:pt x="964278" y="1081403"/>
                    </a:lnTo>
                    <a:lnTo>
                      <a:pt x="961248" y="1083221"/>
                    </a:lnTo>
                    <a:lnTo>
                      <a:pt x="958520" y="1085494"/>
                    </a:lnTo>
                    <a:lnTo>
                      <a:pt x="957763" y="1086403"/>
                    </a:lnTo>
                    <a:lnTo>
                      <a:pt x="957308" y="1087464"/>
                    </a:lnTo>
                    <a:lnTo>
                      <a:pt x="956854" y="1097464"/>
                    </a:lnTo>
                    <a:lnTo>
                      <a:pt x="956854" y="1098677"/>
                    </a:lnTo>
                    <a:lnTo>
                      <a:pt x="957914" y="1102010"/>
                    </a:lnTo>
                    <a:lnTo>
                      <a:pt x="958672" y="1108071"/>
                    </a:lnTo>
                    <a:lnTo>
                      <a:pt x="964733" y="1111404"/>
                    </a:lnTo>
                    <a:lnTo>
                      <a:pt x="967611" y="1112768"/>
                    </a:lnTo>
                    <a:lnTo>
                      <a:pt x="971854" y="1113980"/>
                    </a:lnTo>
                    <a:lnTo>
                      <a:pt x="976097" y="1114738"/>
                    </a:lnTo>
                    <a:lnTo>
                      <a:pt x="977764" y="1115192"/>
                    </a:lnTo>
                    <a:lnTo>
                      <a:pt x="981097" y="1117011"/>
                    </a:lnTo>
                    <a:lnTo>
                      <a:pt x="983066" y="1116859"/>
                    </a:lnTo>
                    <a:lnTo>
                      <a:pt x="985642" y="1116253"/>
                    </a:lnTo>
                    <a:lnTo>
                      <a:pt x="986249" y="1115950"/>
                    </a:lnTo>
                    <a:lnTo>
                      <a:pt x="987764" y="1113374"/>
                    </a:lnTo>
                    <a:lnTo>
                      <a:pt x="989279" y="1112010"/>
                    </a:lnTo>
                    <a:lnTo>
                      <a:pt x="993370" y="1111253"/>
                    </a:lnTo>
                    <a:lnTo>
                      <a:pt x="994734" y="1111404"/>
                    </a:lnTo>
                    <a:lnTo>
                      <a:pt x="996097" y="1110495"/>
                    </a:lnTo>
                    <a:lnTo>
                      <a:pt x="996097" y="1109738"/>
                    </a:lnTo>
                    <a:lnTo>
                      <a:pt x="995643" y="1108980"/>
                    </a:lnTo>
                    <a:lnTo>
                      <a:pt x="998522" y="1107162"/>
                    </a:lnTo>
                    <a:lnTo>
                      <a:pt x="1001097" y="1104737"/>
                    </a:lnTo>
                    <a:lnTo>
                      <a:pt x="1002158" y="1104283"/>
                    </a:lnTo>
                    <a:lnTo>
                      <a:pt x="1003371" y="1104131"/>
                    </a:lnTo>
                    <a:lnTo>
                      <a:pt x="1005189" y="1103374"/>
                    </a:lnTo>
                    <a:lnTo>
                      <a:pt x="1006552" y="1102010"/>
                    </a:lnTo>
                    <a:lnTo>
                      <a:pt x="1007310" y="1100192"/>
                    </a:lnTo>
                    <a:lnTo>
                      <a:pt x="1008522" y="1095798"/>
                    </a:lnTo>
                    <a:lnTo>
                      <a:pt x="1009734" y="1092161"/>
                    </a:lnTo>
                    <a:lnTo>
                      <a:pt x="1009583" y="1091101"/>
                    </a:lnTo>
                    <a:lnTo>
                      <a:pt x="1009886" y="1090040"/>
                    </a:lnTo>
                    <a:lnTo>
                      <a:pt x="1010795" y="1088979"/>
                    </a:lnTo>
                    <a:lnTo>
                      <a:pt x="1011856" y="1086555"/>
                    </a:lnTo>
                    <a:lnTo>
                      <a:pt x="1016856" y="1078979"/>
                    </a:lnTo>
                    <a:lnTo>
                      <a:pt x="1019280" y="1078221"/>
                    </a:lnTo>
                    <a:lnTo>
                      <a:pt x="1022007" y="1076251"/>
                    </a:lnTo>
                    <a:lnTo>
                      <a:pt x="1021553" y="1073221"/>
                    </a:lnTo>
                    <a:lnTo>
                      <a:pt x="1021098" y="1070191"/>
                    </a:lnTo>
                    <a:close/>
                    <a:moveTo>
                      <a:pt x="1311412" y="727754"/>
                    </a:moveTo>
                    <a:lnTo>
                      <a:pt x="1310503" y="726693"/>
                    </a:lnTo>
                    <a:lnTo>
                      <a:pt x="1309139" y="726087"/>
                    </a:lnTo>
                    <a:lnTo>
                      <a:pt x="1308382" y="724269"/>
                    </a:lnTo>
                    <a:lnTo>
                      <a:pt x="1304897" y="723057"/>
                    </a:lnTo>
                    <a:lnTo>
                      <a:pt x="1301412" y="722754"/>
                    </a:lnTo>
                    <a:lnTo>
                      <a:pt x="1301866" y="724117"/>
                    </a:lnTo>
                    <a:lnTo>
                      <a:pt x="1304897" y="727602"/>
                    </a:lnTo>
                    <a:lnTo>
                      <a:pt x="1309897" y="730481"/>
                    </a:lnTo>
                    <a:lnTo>
                      <a:pt x="1317018" y="733057"/>
                    </a:lnTo>
                    <a:lnTo>
                      <a:pt x="1319292" y="732148"/>
                    </a:lnTo>
                    <a:lnTo>
                      <a:pt x="1318837" y="731087"/>
                    </a:lnTo>
                    <a:lnTo>
                      <a:pt x="1317927" y="730330"/>
                    </a:lnTo>
                    <a:lnTo>
                      <a:pt x="1311412" y="727754"/>
                    </a:lnTo>
                    <a:close/>
                    <a:moveTo>
                      <a:pt x="1089434" y="984127"/>
                    </a:moveTo>
                    <a:lnTo>
                      <a:pt x="1087767" y="984127"/>
                    </a:lnTo>
                    <a:lnTo>
                      <a:pt x="1088374" y="985339"/>
                    </a:lnTo>
                    <a:lnTo>
                      <a:pt x="1089434" y="986097"/>
                    </a:lnTo>
                    <a:lnTo>
                      <a:pt x="1090041" y="986248"/>
                    </a:lnTo>
                    <a:lnTo>
                      <a:pt x="1092162" y="988218"/>
                    </a:lnTo>
                    <a:lnTo>
                      <a:pt x="1091859" y="986854"/>
                    </a:lnTo>
                    <a:lnTo>
                      <a:pt x="1090950" y="985491"/>
                    </a:lnTo>
                    <a:lnTo>
                      <a:pt x="1089434" y="984127"/>
                    </a:lnTo>
                    <a:close/>
                    <a:moveTo>
                      <a:pt x="1670365" y="207129"/>
                    </a:moveTo>
                    <a:lnTo>
                      <a:pt x="1669001" y="204553"/>
                    </a:lnTo>
                    <a:lnTo>
                      <a:pt x="1667334" y="201068"/>
                    </a:lnTo>
                    <a:lnTo>
                      <a:pt x="1666577" y="199401"/>
                    </a:lnTo>
                    <a:lnTo>
                      <a:pt x="1667638" y="197280"/>
                    </a:lnTo>
                    <a:lnTo>
                      <a:pt x="1668850" y="195916"/>
                    </a:lnTo>
                    <a:lnTo>
                      <a:pt x="1669456" y="194704"/>
                    </a:lnTo>
                    <a:lnTo>
                      <a:pt x="1669759" y="192734"/>
                    </a:lnTo>
                    <a:lnTo>
                      <a:pt x="1669304" y="191219"/>
                    </a:lnTo>
                    <a:lnTo>
                      <a:pt x="1666577" y="188795"/>
                    </a:lnTo>
                    <a:lnTo>
                      <a:pt x="1663698" y="187583"/>
                    </a:lnTo>
                    <a:lnTo>
                      <a:pt x="1660365" y="187128"/>
                    </a:lnTo>
                    <a:lnTo>
                      <a:pt x="1659152" y="186977"/>
                    </a:lnTo>
                    <a:lnTo>
                      <a:pt x="1656728" y="187431"/>
                    </a:lnTo>
                    <a:lnTo>
                      <a:pt x="1646728" y="190462"/>
                    </a:lnTo>
                    <a:lnTo>
                      <a:pt x="1642031" y="192734"/>
                    </a:lnTo>
                    <a:lnTo>
                      <a:pt x="1639303" y="195310"/>
                    </a:lnTo>
                    <a:lnTo>
                      <a:pt x="1636424" y="196522"/>
                    </a:lnTo>
                    <a:lnTo>
                      <a:pt x="1631879" y="196371"/>
                    </a:lnTo>
                    <a:lnTo>
                      <a:pt x="1627636" y="196219"/>
                    </a:lnTo>
                    <a:lnTo>
                      <a:pt x="1624303" y="197583"/>
                    </a:lnTo>
                    <a:lnTo>
                      <a:pt x="1620363" y="200613"/>
                    </a:lnTo>
                    <a:lnTo>
                      <a:pt x="1617484" y="201977"/>
                    </a:lnTo>
                    <a:lnTo>
                      <a:pt x="1615666" y="201674"/>
                    </a:lnTo>
                    <a:lnTo>
                      <a:pt x="1613696" y="203644"/>
                    </a:lnTo>
                    <a:lnTo>
                      <a:pt x="1611575" y="207886"/>
                    </a:lnTo>
                    <a:lnTo>
                      <a:pt x="1609302" y="209705"/>
                    </a:lnTo>
                    <a:lnTo>
                      <a:pt x="1606726" y="209250"/>
                    </a:lnTo>
                    <a:lnTo>
                      <a:pt x="1600362" y="209705"/>
                    </a:lnTo>
                    <a:lnTo>
                      <a:pt x="1590361" y="211068"/>
                    </a:lnTo>
                    <a:lnTo>
                      <a:pt x="1584150" y="211068"/>
                    </a:lnTo>
                    <a:lnTo>
                      <a:pt x="1581574" y="209705"/>
                    </a:lnTo>
                    <a:lnTo>
                      <a:pt x="1577634" y="209553"/>
                    </a:lnTo>
                    <a:lnTo>
                      <a:pt x="1572180" y="210614"/>
                    </a:lnTo>
                    <a:lnTo>
                      <a:pt x="1568846" y="210765"/>
                    </a:lnTo>
                    <a:lnTo>
                      <a:pt x="1567785" y="210159"/>
                    </a:lnTo>
                    <a:lnTo>
                      <a:pt x="1567028" y="208341"/>
                    </a:lnTo>
                    <a:lnTo>
                      <a:pt x="1566574" y="205462"/>
                    </a:lnTo>
                    <a:lnTo>
                      <a:pt x="1564754" y="202432"/>
                    </a:lnTo>
                    <a:lnTo>
                      <a:pt x="1561573" y="199250"/>
                    </a:lnTo>
                    <a:lnTo>
                      <a:pt x="1560966" y="195462"/>
                    </a:lnTo>
                    <a:lnTo>
                      <a:pt x="1563088" y="191068"/>
                    </a:lnTo>
                    <a:lnTo>
                      <a:pt x="1563543" y="188037"/>
                    </a:lnTo>
                    <a:lnTo>
                      <a:pt x="1562482" y="186370"/>
                    </a:lnTo>
                    <a:lnTo>
                      <a:pt x="1562027" y="184855"/>
                    </a:lnTo>
                    <a:lnTo>
                      <a:pt x="1559603" y="183037"/>
                    </a:lnTo>
                    <a:lnTo>
                      <a:pt x="1557937" y="179855"/>
                    </a:lnTo>
                    <a:lnTo>
                      <a:pt x="1556724" y="178946"/>
                    </a:lnTo>
                    <a:lnTo>
                      <a:pt x="1557028" y="176219"/>
                    </a:lnTo>
                    <a:lnTo>
                      <a:pt x="1558391" y="172885"/>
                    </a:lnTo>
                    <a:lnTo>
                      <a:pt x="1556573" y="169855"/>
                    </a:lnTo>
                    <a:lnTo>
                      <a:pt x="1551118" y="169703"/>
                    </a:lnTo>
                    <a:lnTo>
                      <a:pt x="1546724" y="168794"/>
                    </a:lnTo>
                    <a:lnTo>
                      <a:pt x="1542330" y="165915"/>
                    </a:lnTo>
                    <a:lnTo>
                      <a:pt x="1535663" y="157885"/>
                    </a:lnTo>
                    <a:lnTo>
                      <a:pt x="1532330" y="155006"/>
                    </a:lnTo>
                    <a:lnTo>
                      <a:pt x="1530208" y="154703"/>
                    </a:lnTo>
                    <a:lnTo>
                      <a:pt x="1528693" y="153339"/>
                    </a:lnTo>
                    <a:lnTo>
                      <a:pt x="1527784" y="151066"/>
                    </a:lnTo>
                    <a:lnTo>
                      <a:pt x="1526268" y="151066"/>
                    </a:lnTo>
                    <a:lnTo>
                      <a:pt x="1524754" y="151066"/>
                    </a:lnTo>
                    <a:lnTo>
                      <a:pt x="1523845" y="151975"/>
                    </a:lnTo>
                    <a:lnTo>
                      <a:pt x="1522784" y="152278"/>
                    </a:lnTo>
                    <a:lnTo>
                      <a:pt x="1521117" y="151369"/>
                    </a:lnTo>
                    <a:lnTo>
                      <a:pt x="1519450" y="151218"/>
                    </a:lnTo>
                    <a:lnTo>
                      <a:pt x="1517632" y="151975"/>
                    </a:lnTo>
                    <a:lnTo>
                      <a:pt x="1516117" y="151521"/>
                    </a:lnTo>
                    <a:lnTo>
                      <a:pt x="1514904" y="150006"/>
                    </a:lnTo>
                    <a:lnTo>
                      <a:pt x="1512632" y="148945"/>
                    </a:lnTo>
                    <a:lnTo>
                      <a:pt x="1509450" y="148490"/>
                    </a:lnTo>
                    <a:lnTo>
                      <a:pt x="1508086" y="147430"/>
                    </a:lnTo>
                    <a:lnTo>
                      <a:pt x="1508692" y="145763"/>
                    </a:lnTo>
                    <a:lnTo>
                      <a:pt x="1508086" y="144551"/>
                    </a:lnTo>
                    <a:lnTo>
                      <a:pt x="1506268" y="143793"/>
                    </a:lnTo>
                    <a:lnTo>
                      <a:pt x="1501419" y="143945"/>
                    </a:lnTo>
                    <a:lnTo>
                      <a:pt x="1493540" y="145157"/>
                    </a:lnTo>
                    <a:lnTo>
                      <a:pt x="1487025" y="144854"/>
                    </a:lnTo>
                    <a:lnTo>
                      <a:pt x="1482025" y="142884"/>
                    </a:lnTo>
                    <a:lnTo>
                      <a:pt x="1479146" y="141066"/>
                    </a:lnTo>
                    <a:lnTo>
                      <a:pt x="1478540" y="139399"/>
                    </a:lnTo>
                    <a:lnTo>
                      <a:pt x="1477024" y="137884"/>
                    </a:lnTo>
                    <a:lnTo>
                      <a:pt x="1474600" y="136369"/>
                    </a:lnTo>
                    <a:lnTo>
                      <a:pt x="1473236" y="133793"/>
                    </a:lnTo>
                    <a:lnTo>
                      <a:pt x="1472933" y="130156"/>
                    </a:lnTo>
                    <a:lnTo>
                      <a:pt x="1473540" y="126671"/>
                    </a:lnTo>
                    <a:lnTo>
                      <a:pt x="1475661" y="121823"/>
                    </a:lnTo>
                    <a:lnTo>
                      <a:pt x="1470357" y="118641"/>
                    </a:lnTo>
                    <a:lnTo>
                      <a:pt x="1468842" y="116823"/>
                    </a:lnTo>
                    <a:lnTo>
                      <a:pt x="1469297" y="115307"/>
                    </a:lnTo>
                    <a:lnTo>
                      <a:pt x="1468994" y="114095"/>
                    </a:lnTo>
                    <a:lnTo>
                      <a:pt x="1468085" y="113186"/>
                    </a:lnTo>
                    <a:lnTo>
                      <a:pt x="1468085" y="111671"/>
                    </a:lnTo>
                    <a:lnTo>
                      <a:pt x="1469145" y="109701"/>
                    </a:lnTo>
                    <a:lnTo>
                      <a:pt x="1469145" y="107125"/>
                    </a:lnTo>
                    <a:lnTo>
                      <a:pt x="1468085" y="103943"/>
                    </a:lnTo>
                    <a:lnTo>
                      <a:pt x="1465054" y="99549"/>
                    </a:lnTo>
                    <a:lnTo>
                      <a:pt x="1460206" y="93943"/>
                    </a:lnTo>
                    <a:lnTo>
                      <a:pt x="1457630" y="89852"/>
                    </a:lnTo>
                    <a:lnTo>
                      <a:pt x="1457327" y="87276"/>
                    </a:lnTo>
                    <a:lnTo>
                      <a:pt x="1456721" y="85155"/>
                    </a:lnTo>
                    <a:lnTo>
                      <a:pt x="1455812" y="84094"/>
                    </a:lnTo>
                    <a:lnTo>
                      <a:pt x="1455205" y="82124"/>
                    </a:lnTo>
                    <a:lnTo>
                      <a:pt x="1455660" y="80003"/>
                    </a:lnTo>
                    <a:lnTo>
                      <a:pt x="1455054" y="78639"/>
                    </a:lnTo>
                    <a:lnTo>
                      <a:pt x="1454296" y="77276"/>
                    </a:lnTo>
                    <a:lnTo>
                      <a:pt x="1454448" y="75154"/>
                    </a:lnTo>
                    <a:lnTo>
                      <a:pt x="1453539" y="73791"/>
                    </a:lnTo>
                    <a:lnTo>
                      <a:pt x="1451721" y="73033"/>
                    </a:lnTo>
                    <a:lnTo>
                      <a:pt x="1451114" y="71518"/>
                    </a:lnTo>
                    <a:lnTo>
                      <a:pt x="1451417" y="68184"/>
                    </a:lnTo>
                    <a:lnTo>
                      <a:pt x="1450205" y="65305"/>
                    </a:lnTo>
                    <a:lnTo>
                      <a:pt x="1446266" y="60002"/>
                    </a:lnTo>
                    <a:lnTo>
                      <a:pt x="1445054" y="56214"/>
                    </a:lnTo>
                    <a:lnTo>
                      <a:pt x="1444750" y="52729"/>
                    </a:lnTo>
                    <a:lnTo>
                      <a:pt x="1443084" y="51063"/>
                    </a:lnTo>
                    <a:lnTo>
                      <a:pt x="1442932" y="49547"/>
                    </a:lnTo>
                    <a:lnTo>
                      <a:pt x="1442780" y="46972"/>
                    </a:lnTo>
                    <a:lnTo>
                      <a:pt x="1441720" y="46214"/>
                    </a:lnTo>
                    <a:lnTo>
                      <a:pt x="1441114" y="45305"/>
                    </a:lnTo>
                    <a:lnTo>
                      <a:pt x="1441569" y="44244"/>
                    </a:lnTo>
                    <a:lnTo>
                      <a:pt x="1440811" y="42880"/>
                    </a:lnTo>
                    <a:lnTo>
                      <a:pt x="1438690" y="41214"/>
                    </a:lnTo>
                    <a:lnTo>
                      <a:pt x="1437781" y="39850"/>
                    </a:lnTo>
                    <a:lnTo>
                      <a:pt x="1437478" y="38486"/>
                    </a:lnTo>
                    <a:lnTo>
                      <a:pt x="1436417" y="37426"/>
                    </a:lnTo>
                    <a:lnTo>
                      <a:pt x="1433386" y="36517"/>
                    </a:lnTo>
                    <a:lnTo>
                      <a:pt x="1432629" y="35153"/>
                    </a:lnTo>
                    <a:lnTo>
                      <a:pt x="1432780" y="33941"/>
                    </a:lnTo>
                    <a:lnTo>
                      <a:pt x="1433386" y="32880"/>
                    </a:lnTo>
                    <a:lnTo>
                      <a:pt x="1433690" y="32122"/>
                    </a:lnTo>
                    <a:lnTo>
                      <a:pt x="1433538" y="31213"/>
                    </a:lnTo>
                    <a:lnTo>
                      <a:pt x="1433386" y="30304"/>
                    </a:lnTo>
                    <a:lnTo>
                      <a:pt x="1432174" y="29243"/>
                    </a:lnTo>
                    <a:lnTo>
                      <a:pt x="1430507" y="28031"/>
                    </a:lnTo>
                    <a:lnTo>
                      <a:pt x="1428537" y="25455"/>
                    </a:lnTo>
                    <a:lnTo>
                      <a:pt x="1426113" y="24698"/>
                    </a:lnTo>
                    <a:lnTo>
                      <a:pt x="1424598" y="24698"/>
                    </a:lnTo>
                    <a:lnTo>
                      <a:pt x="1423235" y="23183"/>
                    </a:lnTo>
                    <a:lnTo>
                      <a:pt x="1423689" y="22274"/>
                    </a:lnTo>
                    <a:lnTo>
                      <a:pt x="1423538" y="20455"/>
                    </a:lnTo>
                    <a:lnTo>
                      <a:pt x="1422325" y="19092"/>
                    </a:lnTo>
                    <a:lnTo>
                      <a:pt x="1420810" y="18486"/>
                    </a:lnTo>
                    <a:lnTo>
                      <a:pt x="1419447" y="18789"/>
                    </a:lnTo>
                    <a:lnTo>
                      <a:pt x="1416113" y="17425"/>
                    </a:lnTo>
                    <a:lnTo>
                      <a:pt x="1410658" y="14395"/>
                    </a:lnTo>
                    <a:lnTo>
                      <a:pt x="1406568" y="13031"/>
                    </a:lnTo>
                    <a:lnTo>
                      <a:pt x="1403689" y="13334"/>
                    </a:lnTo>
                    <a:lnTo>
                      <a:pt x="1401870" y="14243"/>
                    </a:lnTo>
                    <a:lnTo>
                      <a:pt x="1401264" y="15910"/>
                    </a:lnTo>
                    <a:lnTo>
                      <a:pt x="1399294" y="15758"/>
                    </a:lnTo>
                    <a:lnTo>
                      <a:pt x="1394597" y="12879"/>
                    </a:lnTo>
                    <a:lnTo>
                      <a:pt x="1389900" y="12122"/>
                    </a:lnTo>
                    <a:lnTo>
                      <a:pt x="1387324" y="10607"/>
                    </a:lnTo>
                    <a:lnTo>
                      <a:pt x="1385203" y="8031"/>
                    </a:lnTo>
                    <a:lnTo>
                      <a:pt x="1383233" y="6970"/>
                    </a:lnTo>
                    <a:lnTo>
                      <a:pt x="1381415" y="7425"/>
                    </a:lnTo>
                    <a:lnTo>
                      <a:pt x="1377021" y="5606"/>
                    </a:lnTo>
                    <a:lnTo>
                      <a:pt x="1370051" y="1667"/>
                    </a:lnTo>
                    <a:lnTo>
                      <a:pt x="1366414" y="303"/>
                    </a:lnTo>
                    <a:lnTo>
                      <a:pt x="1365050" y="1061"/>
                    </a:lnTo>
                    <a:lnTo>
                      <a:pt x="1364293" y="1061"/>
                    </a:lnTo>
                    <a:lnTo>
                      <a:pt x="1363080" y="909"/>
                    </a:lnTo>
                    <a:lnTo>
                      <a:pt x="1361262" y="909"/>
                    </a:lnTo>
                    <a:lnTo>
                      <a:pt x="1358081" y="0"/>
                    </a:lnTo>
                    <a:lnTo>
                      <a:pt x="1353838" y="455"/>
                    </a:lnTo>
                    <a:lnTo>
                      <a:pt x="1348535" y="2273"/>
                    </a:lnTo>
                    <a:lnTo>
                      <a:pt x="1342777" y="3333"/>
                    </a:lnTo>
                    <a:lnTo>
                      <a:pt x="1336564" y="3788"/>
                    </a:lnTo>
                    <a:lnTo>
                      <a:pt x="1332928" y="3637"/>
                    </a:lnTo>
                    <a:lnTo>
                      <a:pt x="1331716" y="2727"/>
                    </a:lnTo>
                    <a:lnTo>
                      <a:pt x="1324898" y="3940"/>
                    </a:lnTo>
                    <a:lnTo>
                      <a:pt x="1315503" y="6515"/>
                    </a:lnTo>
                    <a:lnTo>
                      <a:pt x="1306260" y="8940"/>
                    </a:lnTo>
                    <a:lnTo>
                      <a:pt x="1295199" y="10000"/>
                    </a:lnTo>
                    <a:lnTo>
                      <a:pt x="1287472" y="14243"/>
                    </a:lnTo>
                    <a:lnTo>
                      <a:pt x="1279744" y="21819"/>
                    </a:lnTo>
                    <a:lnTo>
                      <a:pt x="1274138" y="26516"/>
                    </a:lnTo>
                    <a:lnTo>
                      <a:pt x="1270805" y="28486"/>
                    </a:lnTo>
                    <a:lnTo>
                      <a:pt x="1269441" y="31062"/>
                    </a:lnTo>
                    <a:lnTo>
                      <a:pt x="1270047" y="34244"/>
                    </a:lnTo>
                    <a:lnTo>
                      <a:pt x="1272926" y="35304"/>
                    </a:lnTo>
                    <a:lnTo>
                      <a:pt x="1278077" y="34395"/>
                    </a:lnTo>
                    <a:lnTo>
                      <a:pt x="1282472" y="34850"/>
                    </a:lnTo>
                    <a:lnTo>
                      <a:pt x="1286108" y="36668"/>
                    </a:lnTo>
                    <a:lnTo>
                      <a:pt x="1287320" y="39395"/>
                    </a:lnTo>
                    <a:lnTo>
                      <a:pt x="1285957" y="43032"/>
                    </a:lnTo>
                    <a:lnTo>
                      <a:pt x="1286411" y="46517"/>
                    </a:lnTo>
                    <a:lnTo>
                      <a:pt x="1288532" y="50002"/>
                    </a:lnTo>
                    <a:lnTo>
                      <a:pt x="1288684" y="53941"/>
                    </a:lnTo>
                    <a:lnTo>
                      <a:pt x="1286866" y="58487"/>
                    </a:lnTo>
                    <a:lnTo>
                      <a:pt x="1282169" y="63033"/>
                    </a:lnTo>
                    <a:lnTo>
                      <a:pt x="1274744" y="67578"/>
                    </a:lnTo>
                    <a:lnTo>
                      <a:pt x="1270047" y="71972"/>
                    </a:lnTo>
                    <a:lnTo>
                      <a:pt x="1267320" y="78488"/>
                    </a:lnTo>
                    <a:lnTo>
                      <a:pt x="1263077" y="84094"/>
                    </a:lnTo>
                    <a:lnTo>
                      <a:pt x="1261562" y="87276"/>
                    </a:lnTo>
                    <a:lnTo>
                      <a:pt x="1261259" y="89852"/>
                    </a:lnTo>
                    <a:lnTo>
                      <a:pt x="1259592" y="92731"/>
                    </a:lnTo>
                    <a:lnTo>
                      <a:pt x="1256562" y="95761"/>
                    </a:lnTo>
                    <a:lnTo>
                      <a:pt x="1254895" y="98792"/>
                    </a:lnTo>
                    <a:lnTo>
                      <a:pt x="1254592" y="101822"/>
                    </a:lnTo>
                    <a:lnTo>
                      <a:pt x="1253077" y="104549"/>
                    </a:lnTo>
                    <a:lnTo>
                      <a:pt x="1250349" y="106974"/>
                    </a:lnTo>
                    <a:lnTo>
                      <a:pt x="1248682" y="109550"/>
                    </a:lnTo>
                    <a:lnTo>
                      <a:pt x="1248077" y="112277"/>
                    </a:lnTo>
                    <a:lnTo>
                      <a:pt x="1247016" y="114095"/>
                    </a:lnTo>
                    <a:lnTo>
                      <a:pt x="1245501" y="115004"/>
                    </a:lnTo>
                    <a:lnTo>
                      <a:pt x="1246258" y="115913"/>
                    </a:lnTo>
                    <a:lnTo>
                      <a:pt x="1249289" y="116823"/>
                    </a:lnTo>
                    <a:lnTo>
                      <a:pt x="1250500" y="119550"/>
                    </a:lnTo>
                    <a:lnTo>
                      <a:pt x="1249895" y="123944"/>
                    </a:lnTo>
                    <a:lnTo>
                      <a:pt x="1248077" y="127126"/>
                    </a:lnTo>
                    <a:lnTo>
                      <a:pt x="1245046" y="128944"/>
                    </a:lnTo>
                    <a:lnTo>
                      <a:pt x="1240501" y="130156"/>
                    </a:lnTo>
                    <a:lnTo>
                      <a:pt x="1234439" y="130762"/>
                    </a:lnTo>
                    <a:lnTo>
                      <a:pt x="1226106" y="135005"/>
                    </a:lnTo>
                    <a:lnTo>
                      <a:pt x="1218833" y="140460"/>
                    </a:lnTo>
                    <a:lnTo>
                      <a:pt x="1210196" y="146824"/>
                    </a:lnTo>
                    <a:lnTo>
                      <a:pt x="1208530" y="146824"/>
                    </a:lnTo>
                    <a:lnTo>
                      <a:pt x="1205348" y="146066"/>
                    </a:lnTo>
                    <a:lnTo>
                      <a:pt x="1199286" y="143490"/>
                    </a:lnTo>
                    <a:lnTo>
                      <a:pt x="1192923" y="142884"/>
                    </a:lnTo>
                    <a:lnTo>
                      <a:pt x="1186863" y="140460"/>
                    </a:lnTo>
                    <a:lnTo>
                      <a:pt x="1183225" y="138793"/>
                    </a:lnTo>
                    <a:lnTo>
                      <a:pt x="1177619" y="135763"/>
                    </a:lnTo>
                    <a:lnTo>
                      <a:pt x="1175043" y="140763"/>
                    </a:lnTo>
                    <a:lnTo>
                      <a:pt x="1169891" y="150612"/>
                    </a:lnTo>
                    <a:lnTo>
                      <a:pt x="1165498" y="158945"/>
                    </a:lnTo>
                    <a:lnTo>
                      <a:pt x="1163224" y="163642"/>
                    </a:lnTo>
                    <a:lnTo>
                      <a:pt x="1161558" y="167279"/>
                    </a:lnTo>
                    <a:lnTo>
                      <a:pt x="1159740" y="170612"/>
                    </a:lnTo>
                    <a:lnTo>
                      <a:pt x="1159436" y="172582"/>
                    </a:lnTo>
                    <a:lnTo>
                      <a:pt x="1157467" y="175916"/>
                    </a:lnTo>
                    <a:lnTo>
                      <a:pt x="1153830" y="179855"/>
                    </a:lnTo>
                    <a:lnTo>
                      <a:pt x="1153073" y="184098"/>
                    </a:lnTo>
                    <a:lnTo>
                      <a:pt x="1153224" y="187886"/>
                    </a:lnTo>
                    <a:lnTo>
                      <a:pt x="1152921" y="191371"/>
                    </a:lnTo>
                    <a:lnTo>
                      <a:pt x="1148982" y="193492"/>
                    </a:lnTo>
                    <a:lnTo>
                      <a:pt x="1145800" y="195462"/>
                    </a:lnTo>
                    <a:lnTo>
                      <a:pt x="1146709" y="201977"/>
                    </a:lnTo>
                    <a:lnTo>
                      <a:pt x="1148376" y="204401"/>
                    </a:lnTo>
                    <a:lnTo>
                      <a:pt x="1150951" y="206977"/>
                    </a:lnTo>
                    <a:lnTo>
                      <a:pt x="1153679" y="209099"/>
                    </a:lnTo>
                    <a:lnTo>
                      <a:pt x="1156103" y="210917"/>
                    </a:lnTo>
                    <a:lnTo>
                      <a:pt x="1158679" y="210008"/>
                    </a:lnTo>
                    <a:lnTo>
                      <a:pt x="1160952" y="207280"/>
                    </a:lnTo>
                    <a:lnTo>
                      <a:pt x="1165194" y="204856"/>
                    </a:lnTo>
                    <a:lnTo>
                      <a:pt x="1167619" y="204856"/>
                    </a:lnTo>
                    <a:lnTo>
                      <a:pt x="1169286" y="205462"/>
                    </a:lnTo>
                    <a:lnTo>
                      <a:pt x="1172922" y="205614"/>
                    </a:lnTo>
                    <a:lnTo>
                      <a:pt x="1176710" y="204704"/>
                    </a:lnTo>
                    <a:lnTo>
                      <a:pt x="1179741" y="204553"/>
                    </a:lnTo>
                    <a:lnTo>
                      <a:pt x="1183529" y="205159"/>
                    </a:lnTo>
                    <a:lnTo>
                      <a:pt x="1184893" y="205765"/>
                    </a:lnTo>
                    <a:lnTo>
                      <a:pt x="1188074" y="206826"/>
                    </a:lnTo>
                    <a:lnTo>
                      <a:pt x="1191560" y="209099"/>
                    </a:lnTo>
                    <a:lnTo>
                      <a:pt x="1193984" y="211674"/>
                    </a:lnTo>
                    <a:lnTo>
                      <a:pt x="1195802" y="212129"/>
                    </a:lnTo>
                    <a:lnTo>
                      <a:pt x="1196711" y="211371"/>
                    </a:lnTo>
                    <a:lnTo>
                      <a:pt x="1198681" y="209099"/>
                    </a:lnTo>
                    <a:lnTo>
                      <a:pt x="1201408" y="206826"/>
                    </a:lnTo>
                    <a:lnTo>
                      <a:pt x="1204742" y="203189"/>
                    </a:lnTo>
                    <a:lnTo>
                      <a:pt x="1207317" y="200462"/>
                    </a:lnTo>
                    <a:lnTo>
                      <a:pt x="1209287" y="200007"/>
                    </a:lnTo>
                    <a:lnTo>
                      <a:pt x="1213075" y="200007"/>
                    </a:lnTo>
                    <a:lnTo>
                      <a:pt x="1214742" y="199401"/>
                    </a:lnTo>
                    <a:lnTo>
                      <a:pt x="1217621" y="199098"/>
                    </a:lnTo>
                    <a:lnTo>
                      <a:pt x="1220196" y="200159"/>
                    </a:lnTo>
                    <a:lnTo>
                      <a:pt x="1227318" y="200765"/>
                    </a:lnTo>
                    <a:lnTo>
                      <a:pt x="1229288" y="202129"/>
                    </a:lnTo>
                    <a:lnTo>
                      <a:pt x="1232621" y="206371"/>
                    </a:lnTo>
                    <a:lnTo>
                      <a:pt x="1234591" y="208644"/>
                    </a:lnTo>
                    <a:lnTo>
                      <a:pt x="1237925" y="209705"/>
                    </a:lnTo>
                    <a:lnTo>
                      <a:pt x="1239895" y="210462"/>
                    </a:lnTo>
                    <a:lnTo>
                      <a:pt x="1241713" y="211068"/>
                    </a:lnTo>
                    <a:lnTo>
                      <a:pt x="1243531" y="212129"/>
                    </a:lnTo>
                    <a:lnTo>
                      <a:pt x="1243985" y="213493"/>
                    </a:lnTo>
                    <a:lnTo>
                      <a:pt x="1244743" y="215462"/>
                    </a:lnTo>
                    <a:lnTo>
                      <a:pt x="1245803" y="216675"/>
                    </a:lnTo>
                    <a:lnTo>
                      <a:pt x="1247773" y="217735"/>
                    </a:lnTo>
                    <a:lnTo>
                      <a:pt x="1249289" y="218493"/>
                    </a:lnTo>
                    <a:lnTo>
                      <a:pt x="1249743" y="220008"/>
                    </a:lnTo>
                    <a:lnTo>
                      <a:pt x="1250198" y="220766"/>
                    </a:lnTo>
                    <a:lnTo>
                      <a:pt x="1251561" y="221826"/>
                    </a:lnTo>
                    <a:lnTo>
                      <a:pt x="1255653" y="226220"/>
                    </a:lnTo>
                    <a:lnTo>
                      <a:pt x="1257622" y="227433"/>
                    </a:lnTo>
                    <a:lnTo>
                      <a:pt x="1260653" y="230008"/>
                    </a:lnTo>
                    <a:lnTo>
                      <a:pt x="1261865" y="232130"/>
                    </a:lnTo>
                    <a:lnTo>
                      <a:pt x="1261865" y="234251"/>
                    </a:lnTo>
                    <a:lnTo>
                      <a:pt x="1262623" y="235918"/>
                    </a:lnTo>
                    <a:lnTo>
                      <a:pt x="1264592" y="238342"/>
                    </a:lnTo>
                    <a:lnTo>
                      <a:pt x="1265501" y="240009"/>
                    </a:lnTo>
                    <a:lnTo>
                      <a:pt x="1265198" y="242282"/>
                    </a:lnTo>
                    <a:lnTo>
                      <a:pt x="1265501" y="244251"/>
                    </a:lnTo>
                    <a:lnTo>
                      <a:pt x="1264743" y="246373"/>
                    </a:lnTo>
                    <a:lnTo>
                      <a:pt x="1261410" y="247888"/>
                    </a:lnTo>
                    <a:lnTo>
                      <a:pt x="1260350" y="248645"/>
                    </a:lnTo>
                    <a:lnTo>
                      <a:pt x="1257925" y="248645"/>
                    </a:lnTo>
                    <a:lnTo>
                      <a:pt x="1253986" y="247888"/>
                    </a:lnTo>
                    <a:lnTo>
                      <a:pt x="1250046" y="248343"/>
                    </a:lnTo>
                    <a:lnTo>
                      <a:pt x="1245349" y="247433"/>
                    </a:lnTo>
                    <a:lnTo>
                      <a:pt x="1241713" y="245615"/>
                    </a:lnTo>
                    <a:lnTo>
                      <a:pt x="1239743" y="244100"/>
                    </a:lnTo>
                    <a:lnTo>
                      <a:pt x="1236713" y="243191"/>
                    </a:lnTo>
                    <a:lnTo>
                      <a:pt x="1235197" y="243645"/>
                    </a:lnTo>
                    <a:lnTo>
                      <a:pt x="1233379" y="245615"/>
                    </a:lnTo>
                    <a:lnTo>
                      <a:pt x="1231409" y="245312"/>
                    </a:lnTo>
                    <a:lnTo>
                      <a:pt x="1229591" y="245615"/>
                    </a:lnTo>
                    <a:lnTo>
                      <a:pt x="1224743" y="245160"/>
                    </a:lnTo>
                    <a:lnTo>
                      <a:pt x="1222166" y="244706"/>
                    </a:lnTo>
                    <a:lnTo>
                      <a:pt x="1218076" y="246070"/>
                    </a:lnTo>
                    <a:lnTo>
                      <a:pt x="1215803" y="246524"/>
                    </a:lnTo>
                    <a:lnTo>
                      <a:pt x="1211409" y="248191"/>
                    </a:lnTo>
                    <a:lnTo>
                      <a:pt x="1208681" y="250918"/>
                    </a:lnTo>
                    <a:lnTo>
                      <a:pt x="1206712" y="251524"/>
                    </a:lnTo>
                    <a:lnTo>
                      <a:pt x="1204742" y="251373"/>
                    </a:lnTo>
                    <a:lnTo>
                      <a:pt x="1203378" y="250312"/>
                    </a:lnTo>
                    <a:lnTo>
                      <a:pt x="1201408" y="249100"/>
                    </a:lnTo>
                    <a:lnTo>
                      <a:pt x="1198377" y="249100"/>
                    </a:lnTo>
                    <a:lnTo>
                      <a:pt x="1197468" y="249555"/>
                    </a:lnTo>
                    <a:lnTo>
                      <a:pt x="1197166" y="250767"/>
                    </a:lnTo>
                    <a:lnTo>
                      <a:pt x="1196257" y="254252"/>
                    </a:lnTo>
                    <a:lnTo>
                      <a:pt x="1196257" y="255767"/>
                    </a:lnTo>
                    <a:lnTo>
                      <a:pt x="1195650" y="256828"/>
                    </a:lnTo>
                    <a:lnTo>
                      <a:pt x="1193832" y="257131"/>
                    </a:lnTo>
                    <a:lnTo>
                      <a:pt x="1190801" y="256979"/>
                    </a:lnTo>
                    <a:lnTo>
                      <a:pt x="1185952" y="256676"/>
                    </a:lnTo>
                    <a:lnTo>
                      <a:pt x="1182619" y="255767"/>
                    </a:lnTo>
                    <a:lnTo>
                      <a:pt x="1180650" y="256222"/>
                    </a:lnTo>
                    <a:lnTo>
                      <a:pt x="1177922" y="258040"/>
                    </a:lnTo>
                    <a:lnTo>
                      <a:pt x="1175953" y="258343"/>
                    </a:lnTo>
                    <a:lnTo>
                      <a:pt x="1174438" y="259100"/>
                    </a:lnTo>
                    <a:lnTo>
                      <a:pt x="1173225" y="261828"/>
                    </a:lnTo>
                    <a:lnTo>
                      <a:pt x="1171255" y="263495"/>
                    </a:lnTo>
                    <a:lnTo>
                      <a:pt x="1168831" y="265616"/>
                    </a:lnTo>
                    <a:lnTo>
                      <a:pt x="1166255" y="270161"/>
                    </a:lnTo>
                    <a:lnTo>
                      <a:pt x="1164892" y="272737"/>
                    </a:lnTo>
                    <a:lnTo>
                      <a:pt x="1165346" y="274101"/>
                    </a:lnTo>
                    <a:lnTo>
                      <a:pt x="1165649" y="275768"/>
                    </a:lnTo>
                    <a:lnTo>
                      <a:pt x="1164437" y="277737"/>
                    </a:lnTo>
                    <a:lnTo>
                      <a:pt x="1162013" y="279556"/>
                    </a:lnTo>
                    <a:lnTo>
                      <a:pt x="1160043" y="279859"/>
                    </a:lnTo>
                    <a:lnTo>
                      <a:pt x="1157164" y="281525"/>
                    </a:lnTo>
                    <a:lnTo>
                      <a:pt x="1153224" y="284556"/>
                    </a:lnTo>
                    <a:lnTo>
                      <a:pt x="1150194" y="287132"/>
                    </a:lnTo>
                    <a:lnTo>
                      <a:pt x="1146254" y="287738"/>
                    </a:lnTo>
                    <a:lnTo>
                      <a:pt x="1143527" y="288344"/>
                    </a:lnTo>
                    <a:lnTo>
                      <a:pt x="1137467" y="289101"/>
                    </a:lnTo>
                    <a:lnTo>
                      <a:pt x="1135951" y="289253"/>
                    </a:lnTo>
                    <a:lnTo>
                      <a:pt x="1129284" y="289708"/>
                    </a:lnTo>
                    <a:lnTo>
                      <a:pt x="1124284" y="288344"/>
                    </a:lnTo>
                    <a:lnTo>
                      <a:pt x="1121708" y="288495"/>
                    </a:lnTo>
                    <a:lnTo>
                      <a:pt x="1119435" y="289253"/>
                    </a:lnTo>
                    <a:lnTo>
                      <a:pt x="1118223" y="290162"/>
                    </a:lnTo>
                    <a:lnTo>
                      <a:pt x="1117769" y="291829"/>
                    </a:lnTo>
                    <a:lnTo>
                      <a:pt x="1117314" y="293344"/>
                    </a:lnTo>
                    <a:lnTo>
                      <a:pt x="1115496" y="295617"/>
                    </a:lnTo>
                    <a:lnTo>
                      <a:pt x="1111708" y="298647"/>
                    </a:lnTo>
                    <a:lnTo>
                      <a:pt x="1108526" y="300769"/>
                    </a:lnTo>
                    <a:lnTo>
                      <a:pt x="1106102" y="303496"/>
                    </a:lnTo>
                    <a:lnTo>
                      <a:pt x="1104738" y="304405"/>
                    </a:lnTo>
                    <a:lnTo>
                      <a:pt x="1102010" y="305466"/>
                    </a:lnTo>
                    <a:lnTo>
                      <a:pt x="1100495" y="306072"/>
                    </a:lnTo>
                    <a:lnTo>
                      <a:pt x="1097010" y="308496"/>
                    </a:lnTo>
                    <a:lnTo>
                      <a:pt x="1094283" y="310617"/>
                    </a:lnTo>
                    <a:lnTo>
                      <a:pt x="1092464" y="311223"/>
                    </a:lnTo>
                    <a:lnTo>
                      <a:pt x="1090343" y="310617"/>
                    </a:lnTo>
                    <a:lnTo>
                      <a:pt x="1088980" y="310466"/>
                    </a:lnTo>
                    <a:lnTo>
                      <a:pt x="1084737" y="309708"/>
                    </a:lnTo>
                    <a:lnTo>
                      <a:pt x="1081858" y="309557"/>
                    </a:lnTo>
                    <a:lnTo>
                      <a:pt x="1077919" y="309102"/>
                    </a:lnTo>
                    <a:lnTo>
                      <a:pt x="1068524" y="306678"/>
                    </a:lnTo>
                    <a:lnTo>
                      <a:pt x="1065494" y="305466"/>
                    </a:lnTo>
                    <a:lnTo>
                      <a:pt x="1062766" y="302284"/>
                    </a:lnTo>
                    <a:lnTo>
                      <a:pt x="1060342" y="300617"/>
                    </a:lnTo>
                    <a:lnTo>
                      <a:pt x="1057009" y="300466"/>
                    </a:lnTo>
                    <a:lnTo>
                      <a:pt x="1052160" y="300466"/>
                    </a:lnTo>
                    <a:lnTo>
                      <a:pt x="1050039" y="299859"/>
                    </a:lnTo>
                    <a:lnTo>
                      <a:pt x="1046402" y="300466"/>
                    </a:lnTo>
                    <a:lnTo>
                      <a:pt x="1042311" y="303647"/>
                    </a:lnTo>
                    <a:lnTo>
                      <a:pt x="1040341" y="306072"/>
                    </a:lnTo>
                    <a:lnTo>
                      <a:pt x="1038675" y="308496"/>
                    </a:lnTo>
                    <a:lnTo>
                      <a:pt x="1036705" y="313648"/>
                    </a:lnTo>
                    <a:lnTo>
                      <a:pt x="1035796" y="317133"/>
                    </a:lnTo>
                    <a:lnTo>
                      <a:pt x="1035038" y="319103"/>
                    </a:lnTo>
                    <a:lnTo>
                      <a:pt x="1032917" y="322133"/>
                    </a:lnTo>
                    <a:lnTo>
                      <a:pt x="1032614" y="323800"/>
                    </a:lnTo>
                    <a:lnTo>
                      <a:pt x="1033371" y="325315"/>
                    </a:lnTo>
                    <a:lnTo>
                      <a:pt x="1034887" y="326982"/>
                    </a:lnTo>
                    <a:lnTo>
                      <a:pt x="1035796" y="329709"/>
                    </a:lnTo>
                    <a:lnTo>
                      <a:pt x="1038069" y="332588"/>
                    </a:lnTo>
                    <a:lnTo>
                      <a:pt x="1040341" y="334861"/>
                    </a:lnTo>
                    <a:lnTo>
                      <a:pt x="1044584" y="338346"/>
                    </a:lnTo>
                    <a:lnTo>
                      <a:pt x="1045796" y="340164"/>
                    </a:lnTo>
                    <a:lnTo>
                      <a:pt x="1047160" y="342285"/>
                    </a:lnTo>
                    <a:lnTo>
                      <a:pt x="1047463" y="344407"/>
                    </a:lnTo>
                    <a:lnTo>
                      <a:pt x="1047160" y="345770"/>
                    </a:lnTo>
                    <a:lnTo>
                      <a:pt x="1045645" y="346831"/>
                    </a:lnTo>
                    <a:lnTo>
                      <a:pt x="1042766" y="347285"/>
                    </a:lnTo>
                    <a:lnTo>
                      <a:pt x="1041402" y="348801"/>
                    </a:lnTo>
                    <a:lnTo>
                      <a:pt x="1039281" y="350770"/>
                    </a:lnTo>
                    <a:lnTo>
                      <a:pt x="1036705" y="353043"/>
                    </a:lnTo>
                    <a:lnTo>
                      <a:pt x="1035493" y="353195"/>
                    </a:lnTo>
                    <a:lnTo>
                      <a:pt x="1034129" y="353801"/>
                    </a:lnTo>
                    <a:lnTo>
                      <a:pt x="1026856" y="356528"/>
                    </a:lnTo>
                    <a:lnTo>
                      <a:pt x="1024129" y="357286"/>
                    </a:lnTo>
                    <a:lnTo>
                      <a:pt x="1022007" y="358195"/>
                    </a:lnTo>
                    <a:lnTo>
                      <a:pt x="1019432" y="361074"/>
                    </a:lnTo>
                    <a:lnTo>
                      <a:pt x="1017462" y="363195"/>
                    </a:lnTo>
                    <a:lnTo>
                      <a:pt x="1015038" y="365922"/>
                    </a:lnTo>
                    <a:lnTo>
                      <a:pt x="1013977" y="367135"/>
                    </a:lnTo>
                    <a:lnTo>
                      <a:pt x="1011704" y="369862"/>
                    </a:lnTo>
                    <a:lnTo>
                      <a:pt x="1008825" y="373044"/>
                    </a:lnTo>
                    <a:lnTo>
                      <a:pt x="1007159" y="374711"/>
                    </a:lnTo>
                    <a:lnTo>
                      <a:pt x="1006249" y="375771"/>
                    </a:lnTo>
                    <a:lnTo>
                      <a:pt x="1005492" y="377135"/>
                    </a:lnTo>
                    <a:lnTo>
                      <a:pt x="1002461" y="378196"/>
                    </a:lnTo>
                    <a:lnTo>
                      <a:pt x="999885" y="379256"/>
                    </a:lnTo>
                    <a:lnTo>
                      <a:pt x="996097" y="380923"/>
                    </a:lnTo>
                    <a:lnTo>
                      <a:pt x="990642" y="382741"/>
                    </a:lnTo>
                    <a:lnTo>
                      <a:pt x="986249" y="384408"/>
                    </a:lnTo>
                    <a:lnTo>
                      <a:pt x="983370" y="385772"/>
                    </a:lnTo>
                    <a:lnTo>
                      <a:pt x="979127" y="387590"/>
                    </a:lnTo>
                    <a:lnTo>
                      <a:pt x="976248" y="388196"/>
                    </a:lnTo>
                    <a:lnTo>
                      <a:pt x="970490" y="388196"/>
                    </a:lnTo>
                    <a:lnTo>
                      <a:pt x="963521" y="388651"/>
                    </a:lnTo>
                    <a:lnTo>
                      <a:pt x="958369" y="388954"/>
                    </a:lnTo>
                    <a:lnTo>
                      <a:pt x="954581" y="388499"/>
                    </a:lnTo>
                    <a:lnTo>
                      <a:pt x="948823" y="388196"/>
                    </a:lnTo>
                    <a:lnTo>
                      <a:pt x="944429" y="387893"/>
                    </a:lnTo>
                    <a:lnTo>
                      <a:pt x="941398" y="388499"/>
                    </a:lnTo>
                    <a:lnTo>
                      <a:pt x="934428" y="389257"/>
                    </a:lnTo>
                    <a:lnTo>
                      <a:pt x="932913" y="389408"/>
                    </a:lnTo>
                    <a:lnTo>
                      <a:pt x="920489" y="391075"/>
                    </a:lnTo>
                    <a:lnTo>
                      <a:pt x="915034" y="391984"/>
                    </a:lnTo>
                    <a:lnTo>
                      <a:pt x="910034" y="392439"/>
                    </a:lnTo>
                    <a:lnTo>
                      <a:pt x="906246" y="393045"/>
                    </a:lnTo>
                    <a:lnTo>
                      <a:pt x="904124" y="393802"/>
                    </a:lnTo>
                    <a:lnTo>
                      <a:pt x="900942" y="395015"/>
                    </a:lnTo>
                    <a:lnTo>
                      <a:pt x="899275" y="395469"/>
                    </a:lnTo>
                    <a:lnTo>
                      <a:pt x="893821" y="397742"/>
                    </a:lnTo>
                    <a:lnTo>
                      <a:pt x="881548" y="402591"/>
                    </a:lnTo>
                    <a:lnTo>
                      <a:pt x="873366" y="406530"/>
                    </a:lnTo>
                    <a:lnTo>
                      <a:pt x="872002" y="407136"/>
                    </a:lnTo>
                    <a:lnTo>
                      <a:pt x="866396" y="409863"/>
                    </a:lnTo>
                    <a:lnTo>
                      <a:pt x="863214" y="410924"/>
                    </a:lnTo>
                    <a:lnTo>
                      <a:pt x="860941" y="413349"/>
                    </a:lnTo>
                    <a:lnTo>
                      <a:pt x="859123" y="414864"/>
                    </a:lnTo>
                    <a:lnTo>
                      <a:pt x="857304" y="415470"/>
                    </a:lnTo>
                    <a:lnTo>
                      <a:pt x="853971" y="413955"/>
                    </a:lnTo>
                    <a:lnTo>
                      <a:pt x="851546" y="414106"/>
                    </a:lnTo>
                    <a:lnTo>
                      <a:pt x="843970" y="413500"/>
                    </a:lnTo>
                    <a:lnTo>
                      <a:pt x="843970" y="406379"/>
                    </a:lnTo>
                    <a:lnTo>
                      <a:pt x="838667" y="407439"/>
                    </a:lnTo>
                    <a:lnTo>
                      <a:pt x="830182" y="409106"/>
                    </a:lnTo>
                    <a:lnTo>
                      <a:pt x="822303" y="410621"/>
                    </a:lnTo>
                    <a:lnTo>
                      <a:pt x="815182" y="407136"/>
                    </a:lnTo>
                    <a:lnTo>
                      <a:pt x="809727" y="404560"/>
                    </a:lnTo>
                    <a:lnTo>
                      <a:pt x="804878" y="402287"/>
                    </a:lnTo>
                    <a:lnTo>
                      <a:pt x="797605" y="400772"/>
                    </a:lnTo>
                    <a:lnTo>
                      <a:pt x="791242" y="399409"/>
                    </a:lnTo>
                    <a:lnTo>
                      <a:pt x="779726" y="397287"/>
                    </a:lnTo>
                    <a:lnTo>
                      <a:pt x="774725" y="395318"/>
                    </a:lnTo>
                    <a:lnTo>
                      <a:pt x="772150" y="392742"/>
                    </a:lnTo>
                    <a:lnTo>
                      <a:pt x="767604" y="386984"/>
                    </a:lnTo>
                    <a:lnTo>
                      <a:pt x="766089" y="385923"/>
                    </a:lnTo>
                    <a:lnTo>
                      <a:pt x="763816" y="385166"/>
                    </a:lnTo>
                    <a:lnTo>
                      <a:pt x="761543" y="384711"/>
                    </a:lnTo>
                    <a:lnTo>
                      <a:pt x="756543" y="384711"/>
                    </a:lnTo>
                    <a:lnTo>
                      <a:pt x="750482" y="384256"/>
                    </a:lnTo>
                    <a:lnTo>
                      <a:pt x="741694" y="383044"/>
                    </a:lnTo>
                    <a:lnTo>
                      <a:pt x="734724" y="382135"/>
                    </a:lnTo>
                    <a:lnTo>
                      <a:pt x="722905" y="380317"/>
                    </a:lnTo>
                    <a:lnTo>
                      <a:pt x="720027" y="380165"/>
                    </a:lnTo>
                    <a:lnTo>
                      <a:pt x="713814" y="381681"/>
                    </a:lnTo>
                    <a:lnTo>
                      <a:pt x="705935" y="383650"/>
                    </a:lnTo>
                    <a:lnTo>
                      <a:pt x="691692" y="382135"/>
                    </a:lnTo>
                    <a:lnTo>
                      <a:pt x="685328" y="381378"/>
                    </a:lnTo>
                    <a:lnTo>
                      <a:pt x="672449" y="379862"/>
                    </a:lnTo>
                    <a:lnTo>
                      <a:pt x="657903" y="378196"/>
                    </a:lnTo>
                    <a:lnTo>
                      <a:pt x="643812" y="376377"/>
                    </a:lnTo>
                    <a:lnTo>
                      <a:pt x="633660" y="377287"/>
                    </a:lnTo>
                    <a:lnTo>
                      <a:pt x="627902" y="377893"/>
                    </a:lnTo>
                    <a:lnTo>
                      <a:pt x="621386" y="378650"/>
                    </a:lnTo>
                    <a:lnTo>
                      <a:pt x="620477" y="377741"/>
                    </a:lnTo>
                    <a:lnTo>
                      <a:pt x="620174" y="374408"/>
                    </a:lnTo>
                    <a:lnTo>
                      <a:pt x="618962" y="371832"/>
                    </a:lnTo>
                    <a:lnTo>
                      <a:pt x="615326" y="368953"/>
                    </a:lnTo>
                    <a:lnTo>
                      <a:pt x="612901" y="366226"/>
                    </a:lnTo>
                    <a:lnTo>
                      <a:pt x="608356" y="362589"/>
                    </a:lnTo>
                    <a:lnTo>
                      <a:pt x="606841" y="360316"/>
                    </a:lnTo>
                    <a:lnTo>
                      <a:pt x="606386" y="356680"/>
                    </a:lnTo>
                    <a:lnTo>
                      <a:pt x="602143" y="347285"/>
                    </a:lnTo>
                    <a:lnTo>
                      <a:pt x="599567" y="340922"/>
                    </a:lnTo>
                    <a:lnTo>
                      <a:pt x="598962" y="339558"/>
                    </a:lnTo>
                    <a:lnTo>
                      <a:pt x="597749" y="337437"/>
                    </a:lnTo>
                    <a:lnTo>
                      <a:pt x="596234" y="336376"/>
                    </a:lnTo>
                    <a:lnTo>
                      <a:pt x="593052" y="335770"/>
                    </a:lnTo>
                    <a:lnTo>
                      <a:pt x="592143" y="334709"/>
                    </a:lnTo>
                    <a:lnTo>
                      <a:pt x="592143" y="332588"/>
                    </a:lnTo>
                    <a:lnTo>
                      <a:pt x="592598" y="329557"/>
                    </a:lnTo>
                    <a:lnTo>
                      <a:pt x="593204" y="327285"/>
                    </a:lnTo>
                    <a:lnTo>
                      <a:pt x="592749" y="326679"/>
                    </a:lnTo>
                    <a:lnTo>
                      <a:pt x="584567" y="327285"/>
                    </a:lnTo>
                    <a:lnTo>
                      <a:pt x="579567" y="325769"/>
                    </a:lnTo>
                    <a:lnTo>
                      <a:pt x="575324" y="324103"/>
                    </a:lnTo>
                    <a:lnTo>
                      <a:pt x="569415" y="320012"/>
                    </a:lnTo>
                    <a:lnTo>
                      <a:pt x="565930" y="318497"/>
                    </a:lnTo>
                    <a:lnTo>
                      <a:pt x="561384" y="314254"/>
                    </a:lnTo>
                    <a:lnTo>
                      <a:pt x="554717" y="313193"/>
                    </a:lnTo>
                    <a:lnTo>
                      <a:pt x="552293" y="311527"/>
                    </a:lnTo>
                    <a:lnTo>
                      <a:pt x="549263" y="307890"/>
                    </a:lnTo>
                    <a:lnTo>
                      <a:pt x="546535" y="305617"/>
                    </a:lnTo>
                    <a:lnTo>
                      <a:pt x="542747" y="304102"/>
                    </a:lnTo>
                    <a:lnTo>
                      <a:pt x="536686" y="302738"/>
                    </a:lnTo>
                    <a:lnTo>
                      <a:pt x="526383" y="301526"/>
                    </a:lnTo>
                    <a:lnTo>
                      <a:pt x="522898" y="301072"/>
                    </a:lnTo>
                    <a:lnTo>
                      <a:pt x="517140" y="301981"/>
                    </a:lnTo>
                    <a:lnTo>
                      <a:pt x="512897" y="301981"/>
                    </a:lnTo>
                    <a:lnTo>
                      <a:pt x="506079" y="301072"/>
                    </a:lnTo>
                    <a:lnTo>
                      <a:pt x="502140" y="300011"/>
                    </a:lnTo>
                    <a:lnTo>
                      <a:pt x="497291" y="300011"/>
                    </a:lnTo>
                    <a:lnTo>
                      <a:pt x="494109" y="300011"/>
                    </a:lnTo>
                    <a:lnTo>
                      <a:pt x="489866" y="299708"/>
                    </a:lnTo>
                    <a:lnTo>
                      <a:pt x="487897" y="298950"/>
                    </a:lnTo>
                    <a:lnTo>
                      <a:pt x="486078" y="298041"/>
                    </a:lnTo>
                    <a:lnTo>
                      <a:pt x="482593" y="298193"/>
                    </a:lnTo>
                    <a:lnTo>
                      <a:pt x="480169" y="297284"/>
                    </a:lnTo>
                    <a:lnTo>
                      <a:pt x="477896" y="295617"/>
                    </a:lnTo>
                    <a:lnTo>
                      <a:pt x="475472" y="294859"/>
                    </a:lnTo>
                    <a:lnTo>
                      <a:pt x="472896" y="294859"/>
                    </a:lnTo>
                    <a:lnTo>
                      <a:pt x="471835" y="295617"/>
                    </a:lnTo>
                    <a:lnTo>
                      <a:pt x="470775" y="295617"/>
                    </a:lnTo>
                    <a:lnTo>
                      <a:pt x="470169" y="293344"/>
                    </a:lnTo>
                    <a:lnTo>
                      <a:pt x="467745" y="289708"/>
                    </a:lnTo>
                    <a:lnTo>
                      <a:pt x="467441" y="288041"/>
                    </a:lnTo>
                    <a:lnTo>
                      <a:pt x="465926" y="286223"/>
                    </a:lnTo>
                    <a:lnTo>
                      <a:pt x="465017" y="284556"/>
                    </a:lnTo>
                    <a:lnTo>
                      <a:pt x="465320" y="282132"/>
                    </a:lnTo>
                    <a:lnTo>
                      <a:pt x="466381" y="277586"/>
                    </a:lnTo>
                    <a:lnTo>
                      <a:pt x="468805" y="273343"/>
                    </a:lnTo>
                    <a:lnTo>
                      <a:pt x="470320" y="272283"/>
                    </a:lnTo>
                    <a:lnTo>
                      <a:pt x="471229" y="271071"/>
                    </a:lnTo>
                    <a:lnTo>
                      <a:pt x="473199" y="268949"/>
                    </a:lnTo>
                    <a:lnTo>
                      <a:pt x="474412" y="267283"/>
                    </a:lnTo>
                    <a:lnTo>
                      <a:pt x="474260" y="264858"/>
                    </a:lnTo>
                    <a:lnTo>
                      <a:pt x="472896" y="262434"/>
                    </a:lnTo>
                    <a:lnTo>
                      <a:pt x="471835" y="259252"/>
                    </a:lnTo>
                    <a:lnTo>
                      <a:pt x="471987" y="257434"/>
                    </a:lnTo>
                    <a:lnTo>
                      <a:pt x="473502" y="255312"/>
                    </a:lnTo>
                    <a:lnTo>
                      <a:pt x="475169" y="250464"/>
                    </a:lnTo>
                    <a:lnTo>
                      <a:pt x="475017" y="249252"/>
                    </a:lnTo>
                    <a:lnTo>
                      <a:pt x="474412" y="248191"/>
                    </a:lnTo>
                    <a:lnTo>
                      <a:pt x="474260" y="245918"/>
                    </a:lnTo>
                    <a:lnTo>
                      <a:pt x="473957" y="242888"/>
                    </a:lnTo>
                    <a:lnTo>
                      <a:pt x="471835" y="238342"/>
                    </a:lnTo>
                    <a:lnTo>
                      <a:pt x="470775" y="235918"/>
                    </a:lnTo>
                    <a:lnTo>
                      <a:pt x="468805" y="234857"/>
                    </a:lnTo>
                    <a:lnTo>
                      <a:pt x="466532" y="234251"/>
                    </a:lnTo>
                    <a:lnTo>
                      <a:pt x="464562" y="230918"/>
                    </a:lnTo>
                    <a:lnTo>
                      <a:pt x="462138" y="226978"/>
                    </a:lnTo>
                    <a:lnTo>
                      <a:pt x="460623" y="224554"/>
                    </a:lnTo>
                    <a:lnTo>
                      <a:pt x="460017" y="223038"/>
                    </a:lnTo>
                    <a:lnTo>
                      <a:pt x="459714" y="220311"/>
                    </a:lnTo>
                    <a:lnTo>
                      <a:pt x="458502" y="216978"/>
                    </a:lnTo>
                    <a:lnTo>
                      <a:pt x="457290" y="215159"/>
                    </a:lnTo>
                    <a:lnTo>
                      <a:pt x="456380" y="213796"/>
                    </a:lnTo>
                    <a:lnTo>
                      <a:pt x="455926" y="211826"/>
                    </a:lnTo>
                    <a:lnTo>
                      <a:pt x="455471" y="211068"/>
                    </a:lnTo>
                    <a:lnTo>
                      <a:pt x="452138" y="210159"/>
                    </a:lnTo>
                    <a:lnTo>
                      <a:pt x="449714" y="208644"/>
                    </a:lnTo>
                    <a:lnTo>
                      <a:pt x="449259" y="206977"/>
                    </a:lnTo>
                    <a:lnTo>
                      <a:pt x="448956" y="205311"/>
                    </a:lnTo>
                    <a:lnTo>
                      <a:pt x="448198" y="204401"/>
                    </a:lnTo>
                    <a:lnTo>
                      <a:pt x="446380" y="204098"/>
                    </a:lnTo>
                    <a:lnTo>
                      <a:pt x="445016" y="205614"/>
                    </a:lnTo>
                    <a:lnTo>
                      <a:pt x="442895" y="206371"/>
                    </a:lnTo>
                    <a:lnTo>
                      <a:pt x="441380" y="206220"/>
                    </a:lnTo>
                    <a:lnTo>
                      <a:pt x="440016" y="205311"/>
                    </a:lnTo>
                    <a:lnTo>
                      <a:pt x="439107" y="204401"/>
                    </a:lnTo>
                    <a:lnTo>
                      <a:pt x="437592" y="203341"/>
                    </a:lnTo>
                    <a:lnTo>
                      <a:pt x="435471" y="200007"/>
                    </a:lnTo>
                    <a:lnTo>
                      <a:pt x="433198" y="199098"/>
                    </a:lnTo>
                    <a:lnTo>
                      <a:pt x="429106" y="199250"/>
                    </a:lnTo>
                    <a:lnTo>
                      <a:pt x="425470" y="200765"/>
                    </a:lnTo>
                    <a:lnTo>
                      <a:pt x="423197" y="200462"/>
                    </a:lnTo>
                    <a:lnTo>
                      <a:pt x="421379" y="200007"/>
                    </a:lnTo>
                    <a:lnTo>
                      <a:pt x="419258" y="198341"/>
                    </a:lnTo>
                    <a:lnTo>
                      <a:pt x="417742" y="196977"/>
                    </a:lnTo>
                    <a:lnTo>
                      <a:pt x="415621" y="196522"/>
                    </a:lnTo>
                    <a:lnTo>
                      <a:pt x="411379" y="194098"/>
                    </a:lnTo>
                    <a:lnTo>
                      <a:pt x="408500" y="192431"/>
                    </a:lnTo>
                    <a:lnTo>
                      <a:pt x="408197" y="189098"/>
                    </a:lnTo>
                    <a:lnTo>
                      <a:pt x="406833" y="186825"/>
                    </a:lnTo>
                    <a:lnTo>
                      <a:pt x="403954" y="186219"/>
                    </a:lnTo>
                    <a:lnTo>
                      <a:pt x="401076" y="183795"/>
                    </a:lnTo>
                    <a:lnTo>
                      <a:pt x="396984" y="182431"/>
                    </a:lnTo>
                    <a:lnTo>
                      <a:pt x="394409" y="181370"/>
                    </a:lnTo>
                    <a:lnTo>
                      <a:pt x="392135" y="180764"/>
                    </a:lnTo>
                    <a:lnTo>
                      <a:pt x="391833" y="179855"/>
                    </a:lnTo>
                    <a:lnTo>
                      <a:pt x="391984" y="179098"/>
                    </a:lnTo>
                    <a:lnTo>
                      <a:pt x="393045" y="177734"/>
                    </a:lnTo>
                    <a:lnTo>
                      <a:pt x="394105" y="176522"/>
                    </a:lnTo>
                    <a:lnTo>
                      <a:pt x="394409" y="175461"/>
                    </a:lnTo>
                    <a:lnTo>
                      <a:pt x="393499" y="174400"/>
                    </a:lnTo>
                    <a:lnTo>
                      <a:pt x="391226" y="173340"/>
                    </a:lnTo>
                    <a:lnTo>
                      <a:pt x="388196" y="172431"/>
                    </a:lnTo>
                    <a:lnTo>
                      <a:pt x="387590" y="170915"/>
                    </a:lnTo>
                    <a:lnTo>
                      <a:pt x="385772" y="169249"/>
                    </a:lnTo>
                    <a:lnTo>
                      <a:pt x="386075" y="167885"/>
                    </a:lnTo>
                    <a:lnTo>
                      <a:pt x="387438" y="166976"/>
                    </a:lnTo>
                    <a:lnTo>
                      <a:pt x="388954" y="166218"/>
                    </a:lnTo>
                    <a:lnTo>
                      <a:pt x="389257" y="165006"/>
                    </a:lnTo>
                    <a:lnTo>
                      <a:pt x="388196" y="163945"/>
                    </a:lnTo>
                    <a:lnTo>
                      <a:pt x="387742" y="162279"/>
                    </a:lnTo>
                    <a:lnTo>
                      <a:pt x="388044" y="161067"/>
                    </a:lnTo>
                    <a:lnTo>
                      <a:pt x="387742" y="159400"/>
                    </a:lnTo>
                    <a:lnTo>
                      <a:pt x="386378" y="159248"/>
                    </a:lnTo>
                    <a:lnTo>
                      <a:pt x="383802" y="159854"/>
                    </a:lnTo>
                    <a:lnTo>
                      <a:pt x="381226" y="160309"/>
                    </a:lnTo>
                    <a:lnTo>
                      <a:pt x="379559" y="160612"/>
                    </a:lnTo>
                    <a:lnTo>
                      <a:pt x="378499" y="161673"/>
                    </a:lnTo>
                    <a:lnTo>
                      <a:pt x="376832" y="162127"/>
                    </a:lnTo>
                    <a:lnTo>
                      <a:pt x="374256" y="161824"/>
                    </a:lnTo>
                    <a:lnTo>
                      <a:pt x="371680" y="161067"/>
                    </a:lnTo>
                    <a:lnTo>
                      <a:pt x="366680" y="160915"/>
                    </a:lnTo>
                    <a:lnTo>
                      <a:pt x="363650" y="161370"/>
                    </a:lnTo>
                    <a:lnTo>
                      <a:pt x="362286" y="161673"/>
                    </a:lnTo>
                    <a:lnTo>
                      <a:pt x="360165" y="163188"/>
                    </a:lnTo>
                    <a:lnTo>
                      <a:pt x="358649" y="164703"/>
                    </a:lnTo>
                    <a:lnTo>
                      <a:pt x="358043" y="167127"/>
                    </a:lnTo>
                    <a:lnTo>
                      <a:pt x="358801" y="169855"/>
                    </a:lnTo>
                    <a:lnTo>
                      <a:pt x="357740" y="175613"/>
                    </a:lnTo>
                    <a:lnTo>
                      <a:pt x="356225" y="177734"/>
                    </a:lnTo>
                    <a:lnTo>
                      <a:pt x="353043" y="181522"/>
                    </a:lnTo>
                    <a:lnTo>
                      <a:pt x="351225" y="182279"/>
                    </a:lnTo>
                    <a:lnTo>
                      <a:pt x="348194" y="182886"/>
                    </a:lnTo>
                    <a:lnTo>
                      <a:pt x="345316" y="183946"/>
                    </a:lnTo>
                    <a:lnTo>
                      <a:pt x="339558" y="185007"/>
                    </a:lnTo>
                    <a:lnTo>
                      <a:pt x="333346" y="185613"/>
                    </a:lnTo>
                    <a:lnTo>
                      <a:pt x="331073" y="186370"/>
                    </a:lnTo>
                    <a:lnTo>
                      <a:pt x="329558" y="188946"/>
                    </a:lnTo>
                    <a:lnTo>
                      <a:pt x="328497" y="191068"/>
                    </a:lnTo>
                    <a:lnTo>
                      <a:pt x="327739" y="192734"/>
                    </a:lnTo>
                    <a:lnTo>
                      <a:pt x="325921" y="198038"/>
                    </a:lnTo>
                    <a:lnTo>
                      <a:pt x="324861" y="202735"/>
                    </a:lnTo>
                    <a:lnTo>
                      <a:pt x="325770" y="208644"/>
                    </a:lnTo>
                    <a:lnTo>
                      <a:pt x="326527" y="215159"/>
                    </a:lnTo>
                    <a:lnTo>
                      <a:pt x="326527" y="217432"/>
                    </a:lnTo>
                    <a:lnTo>
                      <a:pt x="328042" y="220766"/>
                    </a:lnTo>
                    <a:lnTo>
                      <a:pt x="328800" y="222735"/>
                    </a:lnTo>
                    <a:lnTo>
                      <a:pt x="328497" y="225614"/>
                    </a:lnTo>
                    <a:lnTo>
                      <a:pt x="326375" y="227887"/>
                    </a:lnTo>
                    <a:lnTo>
                      <a:pt x="325012" y="230918"/>
                    </a:lnTo>
                    <a:lnTo>
                      <a:pt x="323800" y="232130"/>
                    </a:lnTo>
                    <a:lnTo>
                      <a:pt x="320315" y="232736"/>
                    </a:lnTo>
                    <a:lnTo>
                      <a:pt x="316981" y="233039"/>
                    </a:lnTo>
                    <a:lnTo>
                      <a:pt x="313648" y="235615"/>
                    </a:lnTo>
                    <a:lnTo>
                      <a:pt x="310920" y="237433"/>
                    </a:lnTo>
                    <a:lnTo>
                      <a:pt x="306678" y="239706"/>
                    </a:lnTo>
                    <a:lnTo>
                      <a:pt x="304708" y="240160"/>
                    </a:lnTo>
                    <a:lnTo>
                      <a:pt x="303647" y="238948"/>
                    </a:lnTo>
                    <a:lnTo>
                      <a:pt x="302890" y="236372"/>
                    </a:lnTo>
                    <a:lnTo>
                      <a:pt x="301375" y="235160"/>
                    </a:lnTo>
                    <a:lnTo>
                      <a:pt x="299405" y="235009"/>
                    </a:lnTo>
                    <a:lnTo>
                      <a:pt x="297738" y="235009"/>
                    </a:lnTo>
                    <a:lnTo>
                      <a:pt x="292435" y="234251"/>
                    </a:lnTo>
                    <a:lnTo>
                      <a:pt x="289101" y="234251"/>
                    </a:lnTo>
                    <a:lnTo>
                      <a:pt x="286525" y="234857"/>
                    </a:lnTo>
                    <a:lnTo>
                      <a:pt x="283647" y="235160"/>
                    </a:lnTo>
                    <a:lnTo>
                      <a:pt x="278646" y="234251"/>
                    </a:lnTo>
                    <a:lnTo>
                      <a:pt x="275465" y="233493"/>
                    </a:lnTo>
                    <a:lnTo>
                      <a:pt x="273343" y="232736"/>
                    </a:lnTo>
                    <a:lnTo>
                      <a:pt x="268191" y="230463"/>
                    </a:lnTo>
                    <a:lnTo>
                      <a:pt x="261373" y="227736"/>
                    </a:lnTo>
                    <a:lnTo>
                      <a:pt x="258494" y="226978"/>
                    </a:lnTo>
                    <a:lnTo>
                      <a:pt x="256827" y="227736"/>
                    </a:lnTo>
                    <a:lnTo>
                      <a:pt x="256525" y="229251"/>
                    </a:lnTo>
                    <a:lnTo>
                      <a:pt x="256070" y="233039"/>
                    </a:lnTo>
                    <a:lnTo>
                      <a:pt x="255312" y="235312"/>
                    </a:lnTo>
                    <a:lnTo>
                      <a:pt x="250464" y="247130"/>
                    </a:lnTo>
                    <a:lnTo>
                      <a:pt x="247585" y="255312"/>
                    </a:lnTo>
                    <a:lnTo>
                      <a:pt x="243797" y="263040"/>
                    </a:lnTo>
                    <a:lnTo>
                      <a:pt x="242584" y="268192"/>
                    </a:lnTo>
                    <a:lnTo>
                      <a:pt x="240312" y="274859"/>
                    </a:lnTo>
                    <a:lnTo>
                      <a:pt x="238039" y="279707"/>
                    </a:lnTo>
                    <a:lnTo>
                      <a:pt x="237130" y="282283"/>
                    </a:lnTo>
                    <a:lnTo>
                      <a:pt x="236978" y="283344"/>
                    </a:lnTo>
                    <a:lnTo>
                      <a:pt x="237433" y="284859"/>
                    </a:lnTo>
                    <a:lnTo>
                      <a:pt x="240918" y="286526"/>
                    </a:lnTo>
                    <a:lnTo>
                      <a:pt x="244554" y="287586"/>
                    </a:lnTo>
                    <a:lnTo>
                      <a:pt x="245312" y="288192"/>
                    </a:lnTo>
                    <a:lnTo>
                      <a:pt x="245767" y="289859"/>
                    </a:lnTo>
                    <a:lnTo>
                      <a:pt x="245615" y="292587"/>
                    </a:lnTo>
                    <a:lnTo>
                      <a:pt x="245009" y="295162"/>
                    </a:lnTo>
                    <a:lnTo>
                      <a:pt x="243948" y="297284"/>
                    </a:lnTo>
                    <a:lnTo>
                      <a:pt x="242888" y="298344"/>
                    </a:lnTo>
                    <a:lnTo>
                      <a:pt x="241675" y="298344"/>
                    </a:lnTo>
                    <a:lnTo>
                      <a:pt x="239403" y="296981"/>
                    </a:lnTo>
                    <a:lnTo>
                      <a:pt x="237433" y="295465"/>
                    </a:lnTo>
                    <a:lnTo>
                      <a:pt x="235917" y="295011"/>
                    </a:lnTo>
                    <a:lnTo>
                      <a:pt x="231978" y="295768"/>
                    </a:lnTo>
                    <a:lnTo>
                      <a:pt x="228341" y="296829"/>
                    </a:lnTo>
                    <a:lnTo>
                      <a:pt x="227129" y="296829"/>
                    </a:lnTo>
                    <a:lnTo>
                      <a:pt x="225008" y="296071"/>
                    </a:lnTo>
                    <a:lnTo>
                      <a:pt x="222887" y="294556"/>
                    </a:lnTo>
                    <a:lnTo>
                      <a:pt x="221978" y="291677"/>
                    </a:lnTo>
                    <a:lnTo>
                      <a:pt x="220160" y="290314"/>
                    </a:lnTo>
                    <a:lnTo>
                      <a:pt x="217735" y="291677"/>
                    </a:lnTo>
                    <a:lnTo>
                      <a:pt x="210462" y="293799"/>
                    </a:lnTo>
                    <a:lnTo>
                      <a:pt x="202432" y="296375"/>
                    </a:lnTo>
                    <a:lnTo>
                      <a:pt x="197280" y="297738"/>
                    </a:lnTo>
                    <a:lnTo>
                      <a:pt x="195310" y="297587"/>
                    </a:lnTo>
                    <a:lnTo>
                      <a:pt x="191370" y="297890"/>
                    </a:lnTo>
                    <a:lnTo>
                      <a:pt x="187886" y="298647"/>
                    </a:lnTo>
                    <a:lnTo>
                      <a:pt x="185310" y="299708"/>
                    </a:lnTo>
                    <a:lnTo>
                      <a:pt x="180158" y="301072"/>
                    </a:lnTo>
                    <a:lnTo>
                      <a:pt x="175461" y="301981"/>
                    </a:lnTo>
                    <a:lnTo>
                      <a:pt x="172430" y="304102"/>
                    </a:lnTo>
                    <a:lnTo>
                      <a:pt x="170309" y="306072"/>
                    </a:lnTo>
                    <a:lnTo>
                      <a:pt x="170461" y="306829"/>
                    </a:lnTo>
                    <a:lnTo>
                      <a:pt x="171976" y="308042"/>
                    </a:lnTo>
                    <a:lnTo>
                      <a:pt x="173794" y="308951"/>
                    </a:lnTo>
                    <a:lnTo>
                      <a:pt x="177431" y="308799"/>
                    </a:lnTo>
                    <a:lnTo>
                      <a:pt x="180916" y="308648"/>
                    </a:lnTo>
                    <a:lnTo>
                      <a:pt x="183794" y="309860"/>
                    </a:lnTo>
                    <a:lnTo>
                      <a:pt x="186370" y="310617"/>
                    </a:lnTo>
                    <a:lnTo>
                      <a:pt x="187128" y="311678"/>
                    </a:lnTo>
                    <a:lnTo>
                      <a:pt x="186370" y="312739"/>
                    </a:lnTo>
                    <a:lnTo>
                      <a:pt x="184855" y="313042"/>
                    </a:lnTo>
                    <a:lnTo>
                      <a:pt x="184401" y="313799"/>
                    </a:lnTo>
                    <a:lnTo>
                      <a:pt x="184704" y="314709"/>
                    </a:lnTo>
                    <a:lnTo>
                      <a:pt x="183794" y="317284"/>
                    </a:lnTo>
                    <a:lnTo>
                      <a:pt x="183340" y="321072"/>
                    </a:lnTo>
                    <a:lnTo>
                      <a:pt x="183794" y="324860"/>
                    </a:lnTo>
                    <a:lnTo>
                      <a:pt x="184098" y="328345"/>
                    </a:lnTo>
                    <a:lnTo>
                      <a:pt x="183946" y="330012"/>
                    </a:lnTo>
                    <a:lnTo>
                      <a:pt x="183794" y="332436"/>
                    </a:lnTo>
                    <a:lnTo>
                      <a:pt x="184855" y="334103"/>
                    </a:lnTo>
                    <a:lnTo>
                      <a:pt x="185764" y="337285"/>
                    </a:lnTo>
                    <a:lnTo>
                      <a:pt x="187582" y="339255"/>
                    </a:lnTo>
                    <a:lnTo>
                      <a:pt x="190310" y="346225"/>
                    </a:lnTo>
                    <a:lnTo>
                      <a:pt x="191825" y="350316"/>
                    </a:lnTo>
                    <a:lnTo>
                      <a:pt x="193340" y="354862"/>
                    </a:lnTo>
                    <a:lnTo>
                      <a:pt x="192280" y="357286"/>
                    </a:lnTo>
                    <a:lnTo>
                      <a:pt x="192280" y="358650"/>
                    </a:lnTo>
                    <a:lnTo>
                      <a:pt x="193946" y="359862"/>
                    </a:lnTo>
                    <a:lnTo>
                      <a:pt x="194704" y="362134"/>
                    </a:lnTo>
                    <a:lnTo>
                      <a:pt x="195462" y="363498"/>
                    </a:lnTo>
                    <a:lnTo>
                      <a:pt x="195310" y="364862"/>
                    </a:lnTo>
                    <a:lnTo>
                      <a:pt x="194553" y="365468"/>
                    </a:lnTo>
                    <a:lnTo>
                      <a:pt x="190916" y="364559"/>
                    </a:lnTo>
                    <a:lnTo>
                      <a:pt x="187886" y="365922"/>
                    </a:lnTo>
                    <a:lnTo>
                      <a:pt x="184704" y="367286"/>
                    </a:lnTo>
                    <a:lnTo>
                      <a:pt x="184249" y="368044"/>
                    </a:lnTo>
                    <a:lnTo>
                      <a:pt x="184098" y="368801"/>
                    </a:lnTo>
                    <a:lnTo>
                      <a:pt x="184401" y="369559"/>
                    </a:lnTo>
                    <a:lnTo>
                      <a:pt x="186219" y="370771"/>
                    </a:lnTo>
                    <a:lnTo>
                      <a:pt x="188795" y="371529"/>
                    </a:lnTo>
                    <a:lnTo>
                      <a:pt x="188643" y="372741"/>
                    </a:lnTo>
                    <a:lnTo>
                      <a:pt x="185461" y="373347"/>
                    </a:lnTo>
                    <a:lnTo>
                      <a:pt x="180764" y="375317"/>
                    </a:lnTo>
                    <a:lnTo>
                      <a:pt x="179401" y="377438"/>
                    </a:lnTo>
                    <a:lnTo>
                      <a:pt x="178340" y="379711"/>
                    </a:lnTo>
                    <a:lnTo>
                      <a:pt x="178188" y="381075"/>
                    </a:lnTo>
                    <a:lnTo>
                      <a:pt x="178643" y="384560"/>
                    </a:lnTo>
                    <a:lnTo>
                      <a:pt x="179401" y="388499"/>
                    </a:lnTo>
                    <a:lnTo>
                      <a:pt x="180764" y="392590"/>
                    </a:lnTo>
                    <a:lnTo>
                      <a:pt x="180916" y="393802"/>
                    </a:lnTo>
                    <a:lnTo>
                      <a:pt x="180158" y="394711"/>
                    </a:lnTo>
                    <a:lnTo>
                      <a:pt x="179552" y="395318"/>
                    </a:lnTo>
                    <a:lnTo>
                      <a:pt x="180158" y="397287"/>
                    </a:lnTo>
                    <a:lnTo>
                      <a:pt x="180613" y="399560"/>
                    </a:lnTo>
                    <a:lnTo>
                      <a:pt x="180310" y="400166"/>
                    </a:lnTo>
                    <a:lnTo>
                      <a:pt x="179855" y="400469"/>
                    </a:lnTo>
                    <a:lnTo>
                      <a:pt x="171521" y="401075"/>
                    </a:lnTo>
                    <a:lnTo>
                      <a:pt x="169703" y="401681"/>
                    </a:lnTo>
                    <a:lnTo>
                      <a:pt x="167733" y="404863"/>
                    </a:lnTo>
                    <a:lnTo>
                      <a:pt x="160612" y="407439"/>
                    </a:lnTo>
                    <a:lnTo>
                      <a:pt x="156521" y="408803"/>
                    </a:lnTo>
                    <a:lnTo>
                      <a:pt x="154854" y="408803"/>
                    </a:lnTo>
                    <a:lnTo>
                      <a:pt x="150915" y="410924"/>
                    </a:lnTo>
                    <a:lnTo>
                      <a:pt x="139853" y="416076"/>
                    </a:lnTo>
                    <a:lnTo>
                      <a:pt x="134399" y="419409"/>
                    </a:lnTo>
                    <a:lnTo>
                      <a:pt x="131672" y="420773"/>
                    </a:lnTo>
                    <a:lnTo>
                      <a:pt x="129398" y="422288"/>
                    </a:lnTo>
                    <a:lnTo>
                      <a:pt x="129096" y="423803"/>
                    </a:lnTo>
                    <a:lnTo>
                      <a:pt x="129096" y="425167"/>
                    </a:lnTo>
                    <a:lnTo>
                      <a:pt x="123035" y="431834"/>
                    </a:lnTo>
                    <a:lnTo>
                      <a:pt x="118489" y="432592"/>
                    </a:lnTo>
                    <a:lnTo>
                      <a:pt x="114550" y="432440"/>
                    </a:lnTo>
                    <a:lnTo>
                      <a:pt x="111974" y="433501"/>
                    </a:lnTo>
                    <a:lnTo>
                      <a:pt x="108186" y="434561"/>
                    </a:lnTo>
                    <a:lnTo>
                      <a:pt x="100003" y="433804"/>
                    </a:lnTo>
                    <a:lnTo>
                      <a:pt x="97276" y="433955"/>
                    </a:lnTo>
                    <a:lnTo>
                      <a:pt x="91973" y="433046"/>
                    </a:lnTo>
                    <a:lnTo>
                      <a:pt x="89852" y="433501"/>
                    </a:lnTo>
                    <a:lnTo>
                      <a:pt x="87579" y="434864"/>
                    </a:lnTo>
                    <a:lnTo>
                      <a:pt x="84397" y="440168"/>
                    </a:lnTo>
                    <a:lnTo>
                      <a:pt x="83033" y="441380"/>
                    </a:lnTo>
                    <a:lnTo>
                      <a:pt x="82427" y="442592"/>
                    </a:lnTo>
                    <a:lnTo>
                      <a:pt x="81972" y="445168"/>
                    </a:lnTo>
                    <a:lnTo>
                      <a:pt x="80760" y="447895"/>
                    </a:lnTo>
                    <a:lnTo>
                      <a:pt x="79245" y="450016"/>
                    </a:lnTo>
                    <a:lnTo>
                      <a:pt x="78184" y="451986"/>
                    </a:lnTo>
                    <a:lnTo>
                      <a:pt x="75912" y="453956"/>
                    </a:lnTo>
                    <a:lnTo>
                      <a:pt x="73791" y="455168"/>
                    </a:lnTo>
                    <a:lnTo>
                      <a:pt x="72124" y="452592"/>
                    </a:lnTo>
                    <a:lnTo>
                      <a:pt x="70760" y="453350"/>
                    </a:lnTo>
                    <a:lnTo>
                      <a:pt x="69396" y="454411"/>
                    </a:lnTo>
                    <a:lnTo>
                      <a:pt x="66820" y="454108"/>
                    </a:lnTo>
                    <a:lnTo>
                      <a:pt x="65305" y="454562"/>
                    </a:lnTo>
                    <a:lnTo>
                      <a:pt x="61669" y="456835"/>
                    </a:lnTo>
                    <a:lnTo>
                      <a:pt x="56366" y="456683"/>
                    </a:lnTo>
                    <a:lnTo>
                      <a:pt x="55760" y="455926"/>
                    </a:lnTo>
                    <a:lnTo>
                      <a:pt x="54699" y="449865"/>
                    </a:lnTo>
                    <a:lnTo>
                      <a:pt x="53790" y="446986"/>
                    </a:lnTo>
                    <a:lnTo>
                      <a:pt x="53032" y="446380"/>
                    </a:lnTo>
                    <a:lnTo>
                      <a:pt x="52123" y="446228"/>
                    </a:lnTo>
                    <a:lnTo>
                      <a:pt x="44395" y="450926"/>
                    </a:lnTo>
                    <a:lnTo>
                      <a:pt x="40910" y="451835"/>
                    </a:lnTo>
                    <a:lnTo>
                      <a:pt x="38031" y="451986"/>
                    </a:lnTo>
                    <a:lnTo>
                      <a:pt x="34243" y="450623"/>
                    </a:lnTo>
                    <a:lnTo>
                      <a:pt x="33334" y="450926"/>
                    </a:lnTo>
                    <a:lnTo>
                      <a:pt x="32728" y="451683"/>
                    </a:lnTo>
                    <a:lnTo>
                      <a:pt x="32425" y="452592"/>
                    </a:lnTo>
                    <a:lnTo>
                      <a:pt x="33486" y="455320"/>
                    </a:lnTo>
                    <a:lnTo>
                      <a:pt x="33183" y="455926"/>
                    </a:lnTo>
                    <a:lnTo>
                      <a:pt x="31516" y="455926"/>
                    </a:lnTo>
                    <a:lnTo>
                      <a:pt x="29092" y="456532"/>
                    </a:lnTo>
                    <a:lnTo>
                      <a:pt x="27274" y="457744"/>
                    </a:lnTo>
                    <a:lnTo>
                      <a:pt x="21819" y="462138"/>
                    </a:lnTo>
                    <a:lnTo>
                      <a:pt x="17121" y="463653"/>
                    </a:lnTo>
                    <a:lnTo>
                      <a:pt x="12879" y="464259"/>
                    </a:lnTo>
                    <a:lnTo>
                      <a:pt x="11061" y="464714"/>
                    </a:lnTo>
                    <a:lnTo>
                      <a:pt x="10303" y="465168"/>
                    </a:lnTo>
                    <a:lnTo>
                      <a:pt x="8788" y="467290"/>
                    </a:lnTo>
                    <a:lnTo>
                      <a:pt x="7273" y="470472"/>
                    </a:lnTo>
                    <a:lnTo>
                      <a:pt x="6515" y="471987"/>
                    </a:lnTo>
                    <a:lnTo>
                      <a:pt x="5909" y="472896"/>
                    </a:lnTo>
                    <a:lnTo>
                      <a:pt x="6061" y="474108"/>
                    </a:lnTo>
                    <a:lnTo>
                      <a:pt x="7273" y="475623"/>
                    </a:lnTo>
                    <a:lnTo>
                      <a:pt x="8182" y="479109"/>
                    </a:lnTo>
                    <a:lnTo>
                      <a:pt x="8031" y="480018"/>
                    </a:lnTo>
                    <a:lnTo>
                      <a:pt x="7121" y="481533"/>
                    </a:lnTo>
                    <a:lnTo>
                      <a:pt x="5757" y="482897"/>
                    </a:lnTo>
                    <a:lnTo>
                      <a:pt x="2879" y="483806"/>
                    </a:lnTo>
                    <a:lnTo>
                      <a:pt x="606" y="484260"/>
                    </a:lnTo>
                    <a:lnTo>
                      <a:pt x="757" y="485927"/>
                    </a:lnTo>
                    <a:lnTo>
                      <a:pt x="455" y="489109"/>
                    </a:lnTo>
                    <a:lnTo>
                      <a:pt x="0" y="491230"/>
                    </a:lnTo>
                    <a:lnTo>
                      <a:pt x="2273" y="495170"/>
                    </a:lnTo>
                    <a:lnTo>
                      <a:pt x="3788" y="497139"/>
                    </a:lnTo>
                    <a:lnTo>
                      <a:pt x="5152" y="498503"/>
                    </a:lnTo>
                    <a:lnTo>
                      <a:pt x="5455" y="499564"/>
                    </a:lnTo>
                    <a:lnTo>
                      <a:pt x="5152" y="500473"/>
                    </a:lnTo>
                    <a:lnTo>
                      <a:pt x="3333" y="501382"/>
                    </a:lnTo>
                    <a:lnTo>
                      <a:pt x="2727" y="502291"/>
                    </a:lnTo>
                    <a:lnTo>
                      <a:pt x="2424" y="503352"/>
                    </a:lnTo>
                    <a:lnTo>
                      <a:pt x="3030" y="504564"/>
                    </a:lnTo>
                    <a:lnTo>
                      <a:pt x="4091" y="508352"/>
                    </a:lnTo>
                    <a:lnTo>
                      <a:pt x="5455" y="511231"/>
                    </a:lnTo>
                    <a:lnTo>
                      <a:pt x="7273" y="512594"/>
                    </a:lnTo>
                    <a:lnTo>
                      <a:pt x="10000" y="513504"/>
                    </a:lnTo>
                    <a:lnTo>
                      <a:pt x="11515" y="513352"/>
                    </a:lnTo>
                    <a:lnTo>
                      <a:pt x="12576" y="511231"/>
                    </a:lnTo>
                    <a:lnTo>
                      <a:pt x="14394" y="509564"/>
                    </a:lnTo>
                    <a:lnTo>
                      <a:pt x="15909" y="509716"/>
                    </a:lnTo>
                    <a:lnTo>
                      <a:pt x="18334" y="509716"/>
                    </a:lnTo>
                    <a:lnTo>
                      <a:pt x="24849" y="511685"/>
                    </a:lnTo>
                    <a:lnTo>
                      <a:pt x="31213" y="514564"/>
                    </a:lnTo>
                    <a:lnTo>
                      <a:pt x="33031" y="516079"/>
                    </a:lnTo>
                    <a:lnTo>
                      <a:pt x="33638" y="517898"/>
                    </a:lnTo>
                    <a:lnTo>
                      <a:pt x="31819" y="521989"/>
                    </a:lnTo>
                    <a:lnTo>
                      <a:pt x="31971" y="524565"/>
                    </a:lnTo>
                    <a:lnTo>
                      <a:pt x="32425" y="527292"/>
                    </a:lnTo>
                    <a:lnTo>
                      <a:pt x="33941" y="529413"/>
                    </a:lnTo>
                    <a:lnTo>
                      <a:pt x="35304" y="532898"/>
                    </a:lnTo>
                    <a:lnTo>
                      <a:pt x="35607" y="535777"/>
                    </a:lnTo>
                    <a:lnTo>
                      <a:pt x="36213" y="536686"/>
                    </a:lnTo>
                    <a:lnTo>
                      <a:pt x="36668" y="537747"/>
                    </a:lnTo>
                    <a:lnTo>
                      <a:pt x="35910" y="540474"/>
                    </a:lnTo>
                    <a:lnTo>
                      <a:pt x="35456" y="543202"/>
                    </a:lnTo>
                    <a:lnTo>
                      <a:pt x="36062" y="544111"/>
                    </a:lnTo>
                    <a:lnTo>
                      <a:pt x="38031" y="545474"/>
                    </a:lnTo>
                    <a:lnTo>
                      <a:pt x="41062" y="547899"/>
                    </a:lnTo>
                    <a:lnTo>
                      <a:pt x="41668" y="550020"/>
                    </a:lnTo>
                    <a:lnTo>
                      <a:pt x="40607" y="551384"/>
                    </a:lnTo>
                    <a:lnTo>
                      <a:pt x="38638" y="552899"/>
                    </a:lnTo>
                    <a:lnTo>
                      <a:pt x="36213" y="554263"/>
                    </a:lnTo>
                    <a:lnTo>
                      <a:pt x="35456" y="554869"/>
                    </a:lnTo>
                    <a:lnTo>
                      <a:pt x="34092" y="555020"/>
                    </a:lnTo>
                    <a:lnTo>
                      <a:pt x="32122" y="554263"/>
                    </a:lnTo>
                    <a:lnTo>
                      <a:pt x="31364" y="553051"/>
                    </a:lnTo>
                    <a:lnTo>
                      <a:pt x="31062" y="552899"/>
                    </a:lnTo>
                    <a:lnTo>
                      <a:pt x="29546" y="553657"/>
                    </a:lnTo>
                    <a:lnTo>
                      <a:pt x="26516" y="554566"/>
                    </a:lnTo>
                    <a:lnTo>
                      <a:pt x="21364" y="556990"/>
                    </a:lnTo>
                    <a:lnTo>
                      <a:pt x="21516" y="557596"/>
                    </a:lnTo>
                    <a:lnTo>
                      <a:pt x="24849" y="560172"/>
                    </a:lnTo>
                    <a:lnTo>
                      <a:pt x="25607" y="561081"/>
                    </a:lnTo>
                    <a:lnTo>
                      <a:pt x="26062" y="561384"/>
                    </a:lnTo>
                    <a:lnTo>
                      <a:pt x="27728" y="560930"/>
                    </a:lnTo>
                    <a:lnTo>
                      <a:pt x="30304" y="560930"/>
                    </a:lnTo>
                    <a:lnTo>
                      <a:pt x="32274" y="561687"/>
                    </a:lnTo>
                    <a:lnTo>
                      <a:pt x="34395" y="562748"/>
                    </a:lnTo>
                    <a:lnTo>
                      <a:pt x="35759" y="563657"/>
                    </a:lnTo>
                    <a:lnTo>
                      <a:pt x="37426" y="563202"/>
                    </a:lnTo>
                    <a:lnTo>
                      <a:pt x="40304" y="562596"/>
                    </a:lnTo>
                    <a:lnTo>
                      <a:pt x="42729" y="563051"/>
                    </a:lnTo>
                    <a:lnTo>
                      <a:pt x="48183" y="564869"/>
                    </a:lnTo>
                    <a:lnTo>
                      <a:pt x="48941" y="565778"/>
                    </a:lnTo>
                    <a:lnTo>
                      <a:pt x="50305" y="570324"/>
                    </a:lnTo>
                    <a:lnTo>
                      <a:pt x="51365" y="570778"/>
                    </a:lnTo>
                    <a:lnTo>
                      <a:pt x="54396" y="569718"/>
                    </a:lnTo>
                    <a:lnTo>
                      <a:pt x="56971" y="570324"/>
                    </a:lnTo>
                    <a:lnTo>
                      <a:pt x="59850" y="571839"/>
                    </a:lnTo>
                    <a:lnTo>
                      <a:pt x="61669" y="573203"/>
                    </a:lnTo>
                    <a:lnTo>
                      <a:pt x="62881" y="574718"/>
                    </a:lnTo>
                    <a:lnTo>
                      <a:pt x="64245" y="577142"/>
                    </a:lnTo>
                    <a:lnTo>
                      <a:pt x="64699" y="579112"/>
                    </a:lnTo>
                    <a:lnTo>
                      <a:pt x="65305" y="581536"/>
                    </a:lnTo>
                    <a:lnTo>
                      <a:pt x="65154" y="588203"/>
                    </a:lnTo>
                    <a:lnTo>
                      <a:pt x="64245" y="589264"/>
                    </a:lnTo>
                    <a:lnTo>
                      <a:pt x="63487" y="590628"/>
                    </a:lnTo>
                    <a:lnTo>
                      <a:pt x="63638" y="591840"/>
                    </a:lnTo>
                    <a:lnTo>
                      <a:pt x="64548" y="592749"/>
                    </a:lnTo>
                    <a:lnTo>
                      <a:pt x="66366" y="593355"/>
                    </a:lnTo>
                    <a:lnTo>
                      <a:pt x="68033" y="593810"/>
                    </a:lnTo>
                    <a:lnTo>
                      <a:pt x="68942" y="594870"/>
                    </a:lnTo>
                    <a:lnTo>
                      <a:pt x="70154" y="598658"/>
                    </a:lnTo>
                    <a:lnTo>
                      <a:pt x="70912" y="599264"/>
                    </a:lnTo>
                    <a:lnTo>
                      <a:pt x="72881" y="599264"/>
                    </a:lnTo>
                    <a:lnTo>
                      <a:pt x="76518" y="598507"/>
                    </a:lnTo>
                    <a:lnTo>
                      <a:pt x="79700" y="597295"/>
                    </a:lnTo>
                    <a:lnTo>
                      <a:pt x="81063" y="596992"/>
                    </a:lnTo>
                    <a:lnTo>
                      <a:pt x="81367" y="600477"/>
                    </a:lnTo>
                    <a:lnTo>
                      <a:pt x="83185" y="601840"/>
                    </a:lnTo>
                    <a:lnTo>
                      <a:pt x="85760" y="603355"/>
                    </a:lnTo>
                    <a:lnTo>
                      <a:pt x="86821" y="603810"/>
                    </a:lnTo>
                    <a:lnTo>
                      <a:pt x="89852" y="605325"/>
                    </a:lnTo>
                    <a:lnTo>
                      <a:pt x="95610" y="607295"/>
                    </a:lnTo>
                    <a:lnTo>
                      <a:pt x="101216" y="608659"/>
                    </a:lnTo>
                    <a:lnTo>
                      <a:pt x="105307" y="609719"/>
                    </a:lnTo>
                    <a:lnTo>
                      <a:pt x="107277" y="609719"/>
                    </a:lnTo>
                    <a:lnTo>
                      <a:pt x="108640" y="609719"/>
                    </a:lnTo>
                    <a:lnTo>
                      <a:pt x="112731" y="609416"/>
                    </a:lnTo>
                    <a:lnTo>
                      <a:pt x="114853" y="608962"/>
                    </a:lnTo>
                    <a:lnTo>
                      <a:pt x="115004" y="609113"/>
                    </a:lnTo>
                    <a:lnTo>
                      <a:pt x="115307" y="609416"/>
                    </a:lnTo>
                    <a:lnTo>
                      <a:pt x="116368" y="610174"/>
                    </a:lnTo>
                    <a:lnTo>
                      <a:pt x="117580" y="610477"/>
                    </a:lnTo>
                    <a:lnTo>
                      <a:pt x="118943" y="609719"/>
                    </a:lnTo>
                    <a:lnTo>
                      <a:pt x="120610" y="609113"/>
                    </a:lnTo>
                    <a:lnTo>
                      <a:pt x="121519" y="609416"/>
                    </a:lnTo>
                    <a:lnTo>
                      <a:pt x="121671" y="610325"/>
                    </a:lnTo>
                    <a:lnTo>
                      <a:pt x="120610" y="614720"/>
                    </a:lnTo>
                    <a:lnTo>
                      <a:pt x="120762" y="616386"/>
                    </a:lnTo>
                    <a:lnTo>
                      <a:pt x="122429" y="620023"/>
                    </a:lnTo>
                    <a:lnTo>
                      <a:pt x="124701" y="625780"/>
                    </a:lnTo>
                    <a:lnTo>
                      <a:pt x="126823" y="631235"/>
                    </a:lnTo>
                    <a:lnTo>
                      <a:pt x="128035" y="634872"/>
                    </a:lnTo>
                    <a:lnTo>
                      <a:pt x="129247" y="636387"/>
                    </a:lnTo>
                    <a:lnTo>
                      <a:pt x="134399" y="637902"/>
                    </a:lnTo>
                    <a:lnTo>
                      <a:pt x="138641" y="639114"/>
                    </a:lnTo>
                    <a:lnTo>
                      <a:pt x="141217" y="641084"/>
                    </a:lnTo>
                    <a:lnTo>
                      <a:pt x="143945" y="643054"/>
                    </a:lnTo>
                    <a:lnTo>
                      <a:pt x="145914" y="644266"/>
                    </a:lnTo>
                    <a:lnTo>
                      <a:pt x="146824" y="645781"/>
                    </a:lnTo>
                    <a:lnTo>
                      <a:pt x="146975" y="647145"/>
                    </a:lnTo>
                    <a:lnTo>
                      <a:pt x="146824" y="648054"/>
                    </a:lnTo>
                    <a:lnTo>
                      <a:pt x="145763" y="649266"/>
                    </a:lnTo>
                    <a:lnTo>
                      <a:pt x="140914" y="652448"/>
                    </a:lnTo>
                    <a:lnTo>
                      <a:pt x="140308" y="653509"/>
                    </a:lnTo>
                    <a:lnTo>
                      <a:pt x="140157" y="654872"/>
                    </a:lnTo>
                    <a:lnTo>
                      <a:pt x="141066" y="658660"/>
                    </a:lnTo>
                    <a:lnTo>
                      <a:pt x="141672" y="661085"/>
                    </a:lnTo>
                    <a:lnTo>
                      <a:pt x="141823" y="665933"/>
                    </a:lnTo>
                    <a:lnTo>
                      <a:pt x="142126" y="670479"/>
                    </a:lnTo>
                    <a:lnTo>
                      <a:pt x="143793" y="672600"/>
                    </a:lnTo>
                    <a:lnTo>
                      <a:pt x="145157" y="673964"/>
                    </a:lnTo>
                    <a:lnTo>
                      <a:pt x="146066" y="675176"/>
                    </a:lnTo>
                    <a:lnTo>
                      <a:pt x="147884" y="676843"/>
                    </a:lnTo>
                    <a:lnTo>
                      <a:pt x="149399" y="678055"/>
                    </a:lnTo>
                    <a:lnTo>
                      <a:pt x="150612" y="678813"/>
                    </a:lnTo>
                    <a:lnTo>
                      <a:pt x="150763" y="678964"/>
                    </a:lnTo>
                    <a:lnTo>
                      <a:pt x="151369" y="680328"/>
                    </a:lnTo>
                    <a:lnTo>
                      <a:pt x="151066" y="682298"/>
                    </a:lnTo>
                    <a:lnTo>
                      <a:pt x="150612" y="683964"/>
                    </a:lnTo>
                    <a:lnTo>
                      <a:pt x="150763" y="684873"/>
                    </a:lnTo>
                    <a:lnTo>
                      <a:pt x="151824" y="685480"/>
                    </a:lnTo>
                    <a:lnTo>
                      <a:pt x="153339" y="687146"/>
                    </a:lnTo>
                    <a:lnTo>
                      <a:pt x="153490" y="689571"/>
                    </a:lnTo>
                    <a:lnTo>
                      <a:pt x="153339" y="691238"/>
                    </a:lnTo>
                    <a:lnTo>
                      <a:pt x="153945" y="692753"/>
                    </a:lnTo>
                    <a:lnTo>
                      <a:pt x="154096" y="694419"/>
                    </a:lnTo>
                    <a:lnTo>
                      <a:pt x="153642" y="698662"/>
                    </a:lnTo>
                    <a:lnTo>
                      <a:pt x="153642" y="700329"/>
                    </a:lnTo>
                    <a:lnTo>
                      <a:pt x="153642" y="700480"/>
                    </a:lnTo>
                    <a:lnTo>
                      <a:pt x="152278" y="700632"/>
                    </a:lnTo>
                    <a:lnTo>
                      <a:pt x="151066" y="701238"/>
                    </a:lnTo>
                    <a:lnTo>
                      <a:pt x="149399" y="703965"/>
                    </a:lnTo>
                    <a:lnTo>
                      <a:pt x="147429" y="704723"/>
                    </a:lnTo>
                    <a:lnTo>
                      <a:pt x="145308" y="704874"/>
                    </a:lnTo>
                    <a:lnTo>
                      <a:pt x="143036" y="703208"/>
                    </a:lnTo>
                    <a:lnTo>
                      <a:pt x="141217" y="701541"/>
                    </a:lnTo>
                    <a:lnTo>
                      <a:pt x="140762" y="700632"/>
                    </a:lnTo>
                    <a:lnTo>
                      <a:pt x="140308" y="698814"/>
                    </a:lnTo>
                    <a:lnTo>
                      <a:pt x="139399" y="697601"/>
                    </a:lnTo>
                    <a:lnTo>
                      <a:pt x="137429" y="698207"/>
                    </a:lnTo>
                    <a:lnTo>
                      <a:pt x="134550" y="698510"/>
                    </a:lnTo>
                    <a:lnTo>
                      <a:pt x="131368" y="698965"/>
                    </a:lnTo>
                    <a:lnTo>
                      <a:pt x="130762" y="699420"/>
                    </a:lnTo>
                    <a:lnTo>
                      <a:pt x="130762" y="700177"/>
                    </a:lnTo>
                    <a:lnTo>
                      <a:pt x="131520" y="701844"/>
                    </a:lnTo>
                    <a:lnTo>
                      <a:pt x="132126" y="703965"/>
                    </a:lnTo>
                    <a:lnTo>
                      <a:pt x="132581" y="706844"/>
                    </a:lnTo>
                    <a:lnTo>
                      <a:pt x="133490" y="708814"/>
                    </a:lnTo>
                    <a:lnTo>
                      <a:pt x="133793" y="709420"/>
                    </a:lnTo>
                    <a:lnTo>
                      <a:pt x="138793" y="715178"/>
                    </a:lnTo>
                    <a:lnTo>
                      <a:pt x="140157" y="716390"/>
                    </a:lnTo>
                    <a:lnTo>
                      <a:pt x="140460" y="717147"/>
                    </a:lnTo>
                    <a:lnTo>
                      <a:pt x="140005" y="719269"/>
                    </a:lnTo>
                    <a:lnTo>
                      <a:pt x="139096" y="721693"/>
                    </a:lnTo>
                    <a:lnTo>
                      <a:pt x="139248" y="723663"/>
                    </a:lnTo>
                    <a:lnTo>
                      <a:pt x="140914" y="725784"/>
                    </a:lnTo>
                    <a:lnTo>
                      <a:pt x="142278" y="727299"/>
                    </a:lnTo>
                    <a:lnTo>
                      <a:pt x="140914" y="729269"/>
                    </a:lnTo>
                    <a:lnTo>
                      <a:pt x="140157" y="731694"/>
                    </a:lnTo>
                    <a:lnTo>
                      <a:pt x="141066" y="732754"/>
                    </a:lnTo>
                    <a:lnTo>
                      <a:pt x="140611" y="736088"/>
                    </a:lnTo>
                    <a:lnTo>
                      <a:pt x="141066" y="736694"/>
                    </a:lnTo>
                    <a:lnTo>
                      <a:pt x="141975" y="736997"/>
                    </a:lnTo>
                    <a:lnTo>
                      <a:pt x="143490" y="736694"/>
                    </a:lnTo>
                    <a:lnTo>
                      <a:pt x="145005" y="735784"/>
                    </a:lnTo>
                    <a:lnTo>
                      <a:pt x="146217" y="735633"/>
                    </a:lnTo>
                    <a:lnTo>
                      <a:pt x="146975" y="735936"/>
                    </a:lnTo>
                    <a:lnTo>
                      <a:pt x="148036" y="733360"/>
                    </a:lnTo>
                    <a:lnTo>
                      <a:pt x="148945" y="733057"/>
                    </a:lnTo>
                    <a:lnTo>
                      <a:pt x="150612" y="733815"/>
                    </a:lnTo>
                    <a:lnTo>
                      <a:pt x="154096" y="738663"/>
                    </a:lnTo>
                    <a:lnTo>
                      <a:pt x="156975" y="742754"/>
                    </a:lnTo>
                    <a:lnTo>
                      <a:pt x="157884" y="743512"/>
                    </a:lnTo>
                    <a:lnTo>
                      <a:pt x="158339" y="743967"/>
                    </a:lnTo>
                    <a:lnTo>
                      <a:pt x="161218" y="746088"/>
                    </a:lnTo>
                    <a:lnTo>
                      <a:pt x="163188" y="747452"/>
                    </a:lnTo>
                    <a:lnTo>
                      <a:pt x="165915" y="746997"/>
                    </a:lnTo>
                    <a:lnTo>
                      <a:pt x="169552" y="746846"/>
                    </a:lnTo>
                    <a:lnTo>
                      <a:pt x="171673" y="748209"/>
                    </a:lnTo>
                    <a:lnTo>
                      <a:pt x="172885" y="749118"/>
                    </a:lnTo>
                    <a:lnTo>
                      <a:pt x="173036" y="749270"/>
                    </a:lnTo>
                    <a:lnTo>
                      <a:pt x="177279" y="752452"/>
                    </a:lnTo>
                    <a:lnTo>
                      <a:pt x="179097" y="752149"/>
                    </a:lnTo>
                    <a:lnTo>
                      <a:pt x="180310" y="753058"/>
                    </a:lnTo>
                    <a:lnTo>
                      <a:pt x="180613" y="755331"/>
                    </a:lnTo>
                    <a:lnTo>
                      <a:pt x="180006" y="757603"/>
                    </a:lnTo>
                    <a:lnTo>
                      <a:pt x="180158" y="758664"/>
                    </a:lnTo>
                    <a:lnTo>
                      <a:pt x="182128" y="758816"/>
                    </a:lnTo>
                    <a:lnTo>
                      <a:pt x="186219" y="760331"/>
                    </a:lnTo>
                    <a:lnTo>
                      <a:pt x="189856" y="761695"/>
                    </a:lnTo>
                    <a:lnTo>
                      <a:pt x="191674" y="762149"/>
                    </a:lnTo>
                    <a:lnTo>
                      <a:pt x="193644" y="763210"/>
                    </a:lnTo>
                    <a:lnTo>
                      <a:pt x="195462" y="764877"/>
                    </a:lnTo>
                    <a:lnTo>
                      <a:pt x="198946" y="766998"/>
                    </a:lnTo>
                    <a:lnTo>
                      <a:pt x="201977" y="768665"/>
                    </a:lnTo>
                    <a:lnTo>
                      <a:pt x="202583" y="770786"/>
                    </a:lnTo>
                    <a:lnTo>
                      <a:pt x="203795" y="772755"/>
                    </a:lnTo>
                    <a:lnTo>
                      <a:pt x="205310" y="774574"/>
                    </a:lnTo>
                    <a:lnTo>
                      <a:pt x="207129" y="774422"/>
                    </a:lnTo>
                    <a:lnTo>
                      <a:pt x="209250" y="772755"/>
                    </a:lnTo>
                    <a:lnTo>
                      <a:pt x="213644" y="765483"/>
                    </a:lnTo>
                    <a:lnTo>
                      <a:pt x="219856" y="763967"/>
                    </a:lnTo>
                    <a:lnTo>
                      <a:pt x="225614" y="764725"/>
                    </a:lnTo>
                    <a:lnTo>
                      <a:pt x="230766" y="765786"/>
                    </a:lnTo>
                    <a:lnTo>
                      <a:pt x="232281" y="768210"/>
                    </a:lnTo>
                    <a:lnTo>
                      <a:pt x="233342" y="770786"/>
                    </a:lnTo>
                    <a:lnTo>
                      <a:pt x="233948" y="772150"/>
                    </a:lnTo>
                    <a:lnTo>
                      <a:pt x="235615" y="773665"/>
                    </a:lnTo>
                    <a:lnTo>
                      <a:pt x="242888" y="777301"/>
                    </a:lnTo>
                    <a:lnTo>
                      <a:pt x="247130" y="780635"/>
                    </a:lnTo>
                    <a:lnTo>
                      <a:pt x="253039" y="785029"/>
                    </a:lnTo>
                    <a:lnTo>
                      <a:pt x="257434" y="786998"/>
                    </a:lnTo>
                    <a:lnTo>
                      <a:pt x="261373" y="787150"/>
                    </a:lnTo>
                    <a:lnTo>
                      <a:pt x="263494" y="788817"/>
                    </a:lnTo>
                    <a:lnTo>
                      <a:pt x="266828" y="792302"/>
                    </a:lnTo>
                    <a:lnTo>
                      <a:pt x="269555" y="796241"/>
                    </a:lnTo>
                    <a:lnTo>
                      <a:pt x="273040" y="799878"/>
                    </a:lnTo>
                    <a:lnTo>
                      <a:pt x="275465" y="799726"/>
                    </a:lnTo>
                    <a:lnTo>
                      <a:pt x="278798" y="798514"/>
                    </a:lnTo>
                    <a:lnTo>
                      <a:pt x="282737" y="796999"/>
                    </a:lnTo>
                    <a:lnTo>
                      <a:pt x="285162" y="797757"/>
                    </a:lnTo>
                    <a:lnTo>
                      <a:pt x="287283" y="798817"/>
                    </a:lnTo>
                    <a:lnTo>
                      <a:pt x="288041" y="800635"/>
                    </a:lnTo>
                    <a:lnTo>
                      <a:pt x="289404" y="804120"/>
                    </a:lnTo>
                    <a:lnTo>
                      <a:pt x="290920" y="807757"/>
                    </a:lnTo>
                    <a:lnTo>
                      <a:pt x="293192" y="809121"/>
                    </a:lnTo>
                    <a:lnTo>
                      <a:pt x="295920" y="811090"/>
                    </a:lnTo>
                    <a:lnTo>
                      <a:pt x="297435" y="812605"/>
                    </a:lnTo>
                    <a:lnTo>
                      <a:pt x="302435" y="815333"/>
                    </a:lnTo>
                    <a:lnTo>
                      <a:pt x="303193" y="816394"/>
                    </a:lnTo>
                    <a:lnTo>
                      <a:pt x="304254" y="817151"/>
                    </a:lnTo>
                    <a:lnTo>
                      <a:pt x="305465" y="817606"/>
                    </a:lnTo>
                    <a:lnTo>
                      <a:pt x="306526" y="818212"/>
                    </a:lnTo>
                    <a:lnTo>
                      <a:pt x="308193" y="818363"/>
                    </a:lnTo>
                    <a:lnTo>
                      <a:pt x="314102" y="816697"/>
                    </a:lnTo>
                    <a:lnTo>
                      <a:pt x="315618" y="816848"/>
                    </a:lnTo>
                    <a:lnTo>
                      <a:pt x="316527" y="817151"/>
                    </a:lnTo>
                    <a:lnTo>
                      <a:pt x="316527" y="817757"/>
                    </a:lnTo>
                    <a:lnTo>
                      <a:pt x="315466" y="820333"/>
                    </a:lnTo>
                    <a:lnTo>
                      <a:pt x="314557" y="823666"/>
                    </a:lnTo>
                    <a:lnTo>
                      <a:pt x="315466" y="825333"/>
                    </a:lnTo>
                    <a:lnTo>
                      <a:pt x="317890" y="826091"/>
                    </a:lnTo>
                    <a:lnTo>
                      <a:pt x="323345" y="826545"/>
                    </a:lnTo>
                    <a:lnTo>
                      <a:pt x="330618" y="826545"/>
                    </a:lnTo>
                    <a:lnTo>
                      <a:pt x="332891" y="828212"/>
                    </a:lnTo>
                    <a:lnTo>
                      <a:pt x="335164" y="830788"/>
                    </a:lnTo>
                    <a:lnTo>
                      <a:pt x="337437" y="835030"/>
                    </a:lnTo>
                    <a:lnTo>
                      <a:pt x="338346" y="836849"/>
                    </a:lnTo>
                    <a:lnTo>
                      <a:pt x="339406" y="837303"/>
                    </a:lnTo>
                    <a:lnTo>
                      <a:pt x="341376" y="836546"/>
                    </a:lnTo>
                    <a:lnTo>
                      <a:pt x="341679" y="834727"/>
                    </a:lnTo>
                    <a:lnTo>
                      <a:pt x="341831" y="832152"/>
                    </a:lnTo>
                    <a:lnTo>
                      <a:pt x="343497" y="831242"/>
                    </a:lnTo>
                    <a:lnTo>
                      <a:pt x="344558" y="831849"/>
                    </a:lnTo>
                    <a:lnTo>
                      <a:pt x="345770" y="833970"/>
                    </a:lnTo>
                    <a:lnTo>
                      <a:pt x="348801" y="835788"/>
                    </a:lnTo>
                    <a:lnTo>
                      <a:pt x="350922" y="836697"/>
                    </a:lnTo>
                    <a:lnTo>
                      <a:pt x="353043" y="836394"/>
                    </a:lnTo>
                    <a:lnTo>
                      <a:pt x="353952" y="835637"/>
                    </a:lnTo>
                    <a:lnTo>
                      <a:pt x="355013" y="832000"/>
                    </a:lnTo>
                    <a:lnTo>
                      <a:pt x="356680" y="831546"/>
                    </a:lnTo>
                    <a:lnTo>
                      <a:pt x="358801" y="831849"/>
                    </a:lnTo>
                    <a:lnTo>
                      <a:pt x="359559" y="832606"/>
                    </a:lnTo>
                    <a:lnTo>
                      <a:pt x="360468" y="833970"/>
                    </a:lnTo>
                    <a:lnTo>
                      <a:pt x="363044" y="834576"/>
                    </a:lnTo>
                    <a:lnTo>
                      <a:pt x="365619" y="835485"/>
                    </a:lnTo>
                    <a:lnTo>
                      <a:pt x="368044" y="836697"/>
                    </a:lnTo>
                    <a:lnTo>
                      <a:pt x="371377" y="839425"/>
                    </a:lnTo>
                    <a:lnTo>
                      <a:pt x="375468" y="839879"/>
                    </a:lnTo>
                    <a:lnTo>
                      <a:pt x="380166" y="839879"/>
                    </a:lnTo>
                    <a:lnTo>
                      <a:pt x="382590" y="839879"/>
                    </a:lnTo>
                    <a:lnTo>
                      <a:pt x="384408" y="840031"/>
                    </a:lnTo>
                    <a:lnTo>
                      <a:pt x="386075" y="839879"/>
                    </a:lnTo>
                    <a:lnTo>
                      <a:pt x="390923" y="837909"/>
                    </a:lnTo>
                    <a:lnTo>
                      <a:pt x="392893" y="837758"/>
                    </a:lnTo>
                    <a:lnTo>
                      <a:pt x="395318" y="837909"/>
                    </a:lnTo>
                    <a:lnTo>
                      <a:pt x="397742" y="838213"/>
                    </a:lnTo>
                    <a:lnTo>
                      <a:pt x="397439" y="837152"/>
                    </a:lnTo>
                    <a:lnTo>
                      <a:pt x="397742" y="836243"/>
                    </a:lnTo>
                    <a:lnTo>
                      <a:pt x="398651" y="835788"/>
                    </a:lnTo>
                    <a:lnTo>
                      <a:pt x="402287" y="835182"/>
                    </a:lnTo>
                    <a:lnTo>
                      <a:pt x="406378" y="833970"/>
                    </a:lnTo>
                    <a:lnTo>
                      <a:pt x="408045" y="833364"/>
                    </a:lnTo>
                    <a:lnTo>
                      <a:pt x="409257" y="832758"/>
                    </a:lnTo>
                    <a:lnTo>
                      <a:pt x="410470" y="831697"/>
                    </a:lnTo>
                    <a:lnTo>
                      <a:pt x="411682" y="831697"/>
                    </a:lnTo>
                    <a:lnTo>
                      <a:pt x="415318" y="833212"/>
                    </a:lnTo>
                    <a:lnTo>
                      <a:pt x="416682" y="834121"/>
                    </a:lnTo>
                    <a:lnTo>
                      <a:pt x="417288" y="837000"/>
                    </a:lnTo>
                    <a:lnTo>
                      <a:pt x="417894" y="838213"/>
                    </a:lnTo>
                    <a:lnTo>
                      <a:pt x="417440" y="841243"/>
                    </a:lnTo>
                    <a:lnTo>
                      <a:pt x="415167" y="848516"/>
                    </a:lnTo>
                    <a:lnTo>
                      <a:pt x="415621" y="851243"/>
                    </a:lnTo>
                    <a:lnTo>
                      <a:pt x="417440" y="853213"/>
                    </a:lnTo>
                    <a:lnTo>
                      <a:pt x="419106" y="854577"/>
                    </a:lnTo>
                    <a:lnTo>
                      <a:pt x="420621" y="850183"/>
                    </a:lnTo>
                    <a:lnTo>
                      <a:pt x="422743" y="848667"/>
                    </a:lnTo>
                    <a:lnTo>
                      <a:pt x="424864" y="846546"/>
                    </a:lnTo>
                    <a:lnTo>
                      <a:pt x="426379" y="843061"/>
                    </a:lnTo>
                    <a:lnTo>
                      <a:pt x="429410" y="839425"/>
                    </a:lnTo>
                    <a:lnTo>
                      <a:pt x="432743" y="835788"/>
                    </a:lnTo>
                    <a:lnTo>
                      <a:pt x="435016" y="832758"/>
                    </a:lnTo>
                    <a:lnTo>
                      <a:pt x="436531" y="831394"/>
                    </a:lnTo>
                    <a:lnTo>
                      <a:pt x="439713" y="829879"/>
                    </a:lnTo>
                    <a:lnTo>
                      <a:pt x="442440" y="828970"/>
                    </a:lnTo>
                    <a:lnTo>
                      <a:pt x="444259" y="827000"/>
                    </a:lnTo>
                    <a:lnTo>
                      <a:pt x="446532" y="825939"/>
                    </a:lnTo>
                    <a:lnTo>
                      <a:pt x="448804" y="825485"/>
                    </a:lnTo>
                    <a:lnTo>
                      <a:pt x="452138" y="825788"/>
                    </a:lnTo>
                    <a:lnTo>
                      <a:pt x="455320" y="826545"/>
                    </a:lnTo>
                    <a:lnTo>
                      <a:pt x="458805" y="827606"/>
                    </a:lnTo>
                    <a:lnTo>
                      <a:pt x="459259" y="828364"/>
                    </a:lnTo>
                    <a:lnTo>
                      <a:pt x="458956" y="829727"/>
                    </a:lnTo>
                    <a:lnTo>
                      <a:pt x="458502" y="831242"/>
                    </a:lnTo>
                    <a:lnTo>
                      <a:pt x="458502" y="832000"/>
                    </a:lnTo>
                    <a:lnTo>
                      <a:pt x="459108" y="832455"/>
                    </a:lnTo>
                    <a:lnTo>
                      <a:pt x="462593" y="832758"/>
                    </a:lnTo>
                    <a:lnTo>
                      <a:pt x="466835" y="832455"/>
                    </a:lnTo>
                    <a:lnTo>
                      <a:pt x="469108" y="832606"/>
                    </a:lnTo>
                    <a:lnTo>
                      <a:pt x="474260" y="833970"/>
                    </a:lnTo>
                    <a:lnTo>
                      <a:pt x="475775" y="834879"/>
                    </a:lnTo>
                    <a:lnTo>
                      <a:pt x="477442" y="835637"/>
                    </a:lnTo>
                    <a:lnTo>
                      <a:pt x="478957" y="835485"/>
                    </a:lnTo>
                    <a:lnTo>
                      <a:pt x="480927" y="833970"/>
                    </a:lnTo>
                    <a:lnTo>
                      <a:pt x="483048" y="832606"/>
                    </a:lnTo>
                    <a:lnTo>
                      <a:pt x="484412" y="832455"/>
                    </a:lnTo>
                    <a:lnTo>
                      <a:pt x="485321" y="832909"/>
                    </a:lnTo>
                    <a:lnTo>
                      <a:pt x="486988" y="834121"/>
                    </a:lnTo>
                    <a:lnTo>
                      <a:pt x="490473" y="835334"/>
                    </a:lnTo>
                    <a:lnTo>
                      <a:pt x="493503" y="836243"/>
                    </a:lnTo>
                    <a:lnTo>
                      <a:pt x="494564" y="837152"/>
                    </a:lnTo>
                    <a:lnTo>
                      <a:pt x="494261" y="840788"/>
                    </a:lnTo>
                    <a:lnTo>
                      <a:pt x="494261" y="842001"/>
                    </a:lnTo>
                    <a:lnTo>
                      <a:pt x="496533" y="842001"/>
                    </a:lnTo>
                    <a:lnTo>
                      <a:pt x="499564" y="842455"/>
                    </a:lnTo>
                    <a:lnTo>
                      <a:pt x="501837" y="842910"/>
                    </a:lnTo>
                    <a:lnTo>
                      <a:pt x="503655" y="842910"/>
                    </a:lnTo>
                    <a:lnTo>
                      <a:pt x="506988" y="840637"/>
                    </a:lnTo>
                    <a:lnTo>
                      <a:pt x="508504" y="840485"/>
                    </a:lnTo>
                    <a:lnTo>
                      <a:pt x="510322" y="840031"/>
                    </a:lnTo>
                    <a:lnTo>
                      <a:pt x="511079" y="839576"/>
                    </a:lnTo>
                    <a:lnTo>
                      <a:pt x="511685" y="839879"/>
                    </a:lnTo>
                    <a:lnTo>
                      <a:pt x="513655" y="840182"/>
                    </a:lnTo>
                    <a:lnTo>
                      <a:pt x="515625" y="840031"/>
                    </a:lnTo>
                    <a:lnTo>
                      <a:pt x="517443" y="839425"/>
                    </a:lnTo>
                    <a:lnTo>
                      <a:pt x="519262" y="838515"/>
                    </a:lnTo>
                    <a:lnTo>
                      <a:pt x="522443" y="836394"/>
                    </a:lnTo>
                    <a:lnTo>
                      <a:pt x="523050" y="835182"/>
                    </a:lnTo>
                    <a:lnTo>
                      <a:pt x="523050" y="834121"/>
                    </a:lnTo>
                    <a:lnTo>
                      <a:pt x="522443" y="833364"/>
                    </a:lnTo>
                    <a:lnTo>
                      <a:pt x="521838" y="833061"/>
                    </a:lnTo>
                    <a:lnTo>
                      <a:pt x="522140" y="832152"/>
                    </a:lnTo>
                    <a:lnTo>
                      <a:pt x="523504" y="830636"/>
                    </a:lnTo>
                    <a:lnTo>
                      <a:pt x="528504" y="828212"/>
                    </a:lnTo>
                    <a:lnTo>
                      <a:pt x="532747" y="825333"/>
                    </a:lnTo>
                    <a:lnTo>
                      <a:pt x="535020" y="823060"/>
                    </a:lnTo>
                    <a:lnTo>
                      <a:pt x="536080" y="820333"/>
                    </a:lnTo>
                    <a:lnTo>
                      <a:pt x="537444" y="817454"/>
                    </a:lnTo>
                    <a:lnTo>
                      <a:pt x="538656" y="816242"/>
                    </a:lnTo>
                    <a:lnTo>
                      <a:pt x="541687" y="815484"/>
                    </a:lnTo>
                    <a:lnTo>
                      <a:pt x="550020" y="814424"/>
                    </a:lnTo>
                    <a:lnTo>
                      <a:pt x="552596" y="813211"/>
                    </a:lnTo>
                    <a:lnTo>
                      <a:pt x="556536" y="811090"/>
                    </a:lnTo>
                    <a:lnTo>
                      <a:pt x="558505" y="809423"/>
                    </a:lnTo>
                    <a:lnTo>
                      <a:pt x="559566" y="808060"/>
                    </a:lnTo>
                    <a:lnTo>
                      <a:pt x="559718" y="806545"/>
                    </a:lnTo>
                    <a:lnTo>
                      <a:pt x="562293" y="806090"/>
                    </a:lnTo>
                    <a:lnTo>
                      <a:pt x="564566" y="803666"/>
                    </a:lnTo>
                    <a:lnTo>
                      <a:pt x="567294" y="801090"/>
                    </a:lnTo>
                    <a:lnTo>
                      <a:pt x="572142" y="798969"/>
                    </a:lnTo>
                    <a:lnTo>
                      <a:pt x="576385" y="796090"/>
                    </a:lnTo>
                    <a:lnTo>
                      <a:pt x="577900" y="796544"/>
                    </a:lnTo>
                    <a:lnTo>
                      <a:pt x="579415" y="797908"/>
                    </a:lnTo>
                    <a:lnTo>
                      <a:pt x="580173" y="799423"/>
                    </a:lnTo>
                    <a:lnTo>
                      <a:pt x="580324" y="800181"/>
                    </a:lnTo>
                    <a:lnTo>
                      <a:pt x="585779" y="801090"/>
                    </a:lnTo>
                    <a:lnTo>
                      <a:pt x="586688" y="800938"/>
                    </a:lnTo>
                    <a:lnTo>
                      <a:pt x="590628" y="802302"/>
                    </a:lnTo>
                    <a:lnTo>
                      <a:pt x="594265" y="803969"/>
                    </a:lnTo>
                    <a:lnTo>
                      <a:pt x="596234" y="804423"/>
                    </a:lnTo>
                    <a:lnTo>
                      <a:pt x="597295" y="804423"/>
                    </a:lnTo>
                    <a:lnTo>
                      <a:pt x="598204" y="803969"/>
                    </a:lnTo>
                    <a:lnTo>
                      <a:pt x="599264" y="802605"/>
                    </a:lnTo>
                    <a:lnTo>
                      <a:pt x="600325" y="801545"/>
                    </a:lnTo>
                    <a:lnTo>
                      <a:pt x="600931" y="801090"/>
                    </a:lnTo>
                    <a:lnTo>
                      <a:pt x="600931" y="799423"/>
                    </a:lnTo>
                    <a:lnTo>
                      <a:pt x="606234" y="796241"/>
                    </a:lnTo>
                    <a:lnTo>
                      <a:pt x="611083" y="793969"/>
                    </a:lnTo>
                    <a:lnTo>
                      <a:pt x="615174" y="792302"/>
                    </a:lnTo>
                    <a:lnTo>
                      <a:pt x="616386" y="793059"/>
                    </a:lnTo>
                    <a:lnTo>
                      <a:pt x="617750" y="794271"/>
                    </a:lnTo>
                    <a:lnTo>
                      <a:pt x="619568" y="797453"/>
                    </a:lnTo>
                    <a:lnTo>
                      <a:pt x="620629" y="798211"/>
                    </a:lnTo>
                    <a:lnTo>
                      <a:pt x="623356" y="797757"/>
                    </a:lnTo>
                    <a:lnTo>
                      <a:pt x="623811" y="798059"/>
                    </a:lnTo>
                    <a:lnTo>
                      <a:pt x="623356" y="799272"/>
                    </a:lnTo>
                    <a:lnTo>
                      <a:pt x="621538" y="800787"/>
                    </a:lnTo>
                    <a:lnTo>
                      <a:pt x="619114" y="802151"/>
                    </a:lnTo>
                    <a:lnTo>
                      <a:pt x="617447" y="803211"/>
                    </a:lnTo>
                    <a:lnTo>
                      <a:pt x="617902" y="806696"/>
                    </a:lnTo>
                    <a:lnTo>
                      <a:pt x="617750" y="807908"/>
                    </a:lnTo>
                    <a:lnTo>
                      <a:pt x="618507" y="808363"/>
                    </a:lnTo>
                    <a:lnTo>
                      <a:pt x="623508" y="804878"/>
                    </a:lnTo>
                    <a:lnTo>
                      <a:pt x="625932" y="804120"/>
                    </a:lnTo>
                    <a:lnTo>
                      <a:pt x="626841" y="805029"/>
                    </a:lnTo>
                    <a:lnTo>
                      <a:pt x="627144" y="806848"/>
                    </a:lnTo>
                    <a:lnTo>
                      <a:pt x="629114" y="810636"/>
                    </a:lnTo>
                    <a:lnTo>
                      <a:pt x="630023" y="812605"/>
                    </a:lnTo>
                    <a:lnTo>
                      <a:pt x="625023" y="817303"/>
                    </a:lnTo>
                    <a:lnTo>
                      <a:pt x="623205" y="819727"/>
                    </a:lnTo>
                    <a:lnTo>
                      <a:pt x="623205" y="820636"/>
                    </a:lnTo>
                    <a:lnTo>
                      <a:pt x="623053" y="821545"/>
                    </a:lnTo>
                    <a:lnTo>
                      <a:pt x="621690" y="822757"/>
                    </a:lnTo>
                    <a:lnTo>
                      <a:pt x="621690" y="823212"/>
                    </a:lnTo>
                    <a:lnTo>
                      <a:pt x="622750" y="823970"/>
                    </a:lnTo>
                    <a:lnTo>
                      <a:pt x="623962" y="824576"/>
                    </a:lnTo>
                    <a:lnTo>
                      <a:pt x="624569" y="824576"/>
                    </a:lnTo>
                    <a:lnTo>
                      <a:pt x="625629" y="823515"/>
                    </a:lnTo>
                    <a:lnTo>
                      <a:pt x="630478" y="821848"/>
                    </a:lnTo>
                    <a:lnTo>
                      <a:pt x="631841" y="822151"/>
                    </a:lnTo>
                    <a:lnTo>
                      <a:pt x="635175" y="824576"/>
                    </a:lnTo>
                    <a:lnTo>
                      <a:pt x="636690" y="824727"/>
                    </a:lnTo>
                    <a:lnTo>
                      <a:pt x="640781" y="825485"/>
                    </a:lnTo>
                    <a:lnTo>
                      <a:pt x="643357" y="824576"/>
                    </a:lnTo>
                    <a:lnTo>
                      <a:pt x="645327" y="825485"/>
                    </a:lnTo>
                    <a:lnTo>
                      <a:pt x="649266" y="828515"/>
                    </a:lnTo>
                    <a:lnTo>
                      <a:pt x="650175" y="829121"/>
                    </a:lnTo>
                    <a:lnTo>
                      <a:pt x="651085" y="828061"/>
                    </a:lnTo>
                    <a:lnTo>
                      <a:pt x="653206" y="825182"/>
                    </a:lnTo>
                    <a:lnTo>
                      <a:pt x="654418" y="823060"/>
                    </a:lnTo>
                    <a:lnTo>
                      <a:pt x="655024" y="822151"/>
                    </a:lnTo>
                    <a:lnTo>
                      <a:pt x="655933" y="820636"/>
                    </a:lnTo>
                    <a:lnTo>
                      <a:pt x="657600" y="820485"/>
                    </a:lnTo>
                    <a:lnTo>
                      <a:pt x="659267" y="820939"/>
                    </a:lnTo>
                    <a:lnTo>
                      <a:pt x="660176" y="821848"/>
                    </a:lnTo>
                    <a:lnTo>
                      <a:pt x="661085" y="823666"/>
                    </a:lnTo>
                    <a:lnTo>
                      <a:pt x="662146" y="825182"/>
                    </a:lnTo>
                    <a:lnTo>
                      <a:pt x="663509" y="825182"/>
                    </a:lnTo>
                    <a:lnTo>
                      <a:pt x="664873" y="825030"/>
                    </a:lnTo>
                    <a:lnTo>
                      <a:pt x="665479" y="825182"/>
                    </a:lnTo>
                    <a:lnTo>
                      <a:pt x="666691" y="826394"/>
                    </a:lnTo>
                    <a:lnTo>
                      <a:pt x="669115" y="829424"/>
                    </a:lnTo>
                    <a:lnTo>
                      <a:pt x="670176" y="830182"/>
                    </a:lnTo>
                    <a:lnTo>
                      <a:pt x="671237" y="831394"/>
                    </a:lnTo>
                    <a:lnTo>
                      <a:pt x="671843" y="833970"/>
                    </a:lnTo>
                    <a:lnTo>
                      <a:pt x="672146" y="836546"/>
                    </a:lnTo>
                    <a:lnTo>
                      <a:pt x="675177" y="845485"/>
                    </a:lnTo>
                    <a:lnTo>
                      <a:pt x="676086" y="847304"/>
                    </a:lnTo>
                    <a:lnTo>
                      <a:pt x="676691" y="848667"/>
                    </a:lnTo>
                    <a:lnTo>
                      <a:pt x="678055" y="848970"/>
                    </a:lnTo>
                    <a:lnTo>
                      <a:pt x="679267" y="847607"/>
                    </a:lnTo>
                    <a:lnTo>
                      <a:pt x="679722" y="846091"/>
                    </a:lnTo>
                    <a:lnTo>
                      <a:pt x="680934" y="845637"/>
                    </a:lnTo>
                    <a:lnTo>
                      <a:pt x="682298" y="845940"/>
                    </a:lnTo>
                    <a:lnTo>
                      <a:pt x="684874" y="847304"/>
                    </a:lnTo>
                    <a:lnTo>
                      <a:pt x="686237" y="848061"/>
                    </a:lnTo>
                    <a:lnTo>
                      <a:pt x="686995" y="852456"/>
                    </a:lnTo>
                    <a:lnTo>
                      <a:pt x="687146" y="857607"/>
                    </a:lnTo>
                    <a:lnTo>
                      <a:pt x="686995" y="859274"/>
                    </a:lnTo>
                    <a:lnTo>
                      <a:pt x="688207" y="863516"/>
                    </a:lnTo>
                    <a:lnTo>
                      <a:pt x="688510" y="868365"/>
                    </a:lnTo>
                    <a:lnTo>
                      <a:pt x="688813" y="871092"/>
                    </a:lnTo>
                    <a:lnTo>
                      <a:pt x="688813" y="873668"/>
                    </a:lnTo>
                    <a:lnTo>
                      <a:pt x="688662" y="877002"/>
                    </a:lnTo>
                    <a:lnTo>
                      <a:pt x="688055" y="881547"/>
                    </a:lnTo>
                    <a:lnTo>
                      <a:pt x="686995" y="885335"/>
                    </a:lnTo>
                    <a:lnTo>
                      <a:pt x="687298" y="888517"/>
                    </a:lnTo>
                    <a:lnTo>
                      <a:pt x="686692" y="890033"/>
                    </a:lnTo>
                    <a:lnTo>
                      <a:pt x="684267" y="890790"/>
                    </a:lnTo>
                    <a:lnTo>
                      <a:pt x="684116" y="892002"/>
                    </a:lnTo>
                    <a:lnTo>
                      <a:pt x="684874" y="893972"/>
                    </a:lnTo>
                    <a:lnTo>
                      <a:pt x="686541" y="896548"/>
                    </a:lnTo>
                    <a:lnTo>
                      <a:pt x="686541" y="898063"/>
                    </a:lnTo>
                    <a:lnTo>
                      <a:pt x="685632" y="899124"/>
                    </a:lnTo>
                    <a:lnTo>
                      <a:pt x="683813" y="899275"/>
                    </a:lnTo>
                    <a:lnTo>
                      <a:pt x="681237" y="900336"/>
                    </a:lnTo>
                    <a:lnTo>
                      <a:pt x="679419" y="903518"/>
                    </a:lnTo>
                    <a:lnTo>
                      <a:pt x="677601" y="906094"/>
                    </a:lnTo>
                    <a:lnTo>
                      <a:pt x="676540" y="906548"/>
                    </a:lnTo>
                    <a:lnTo>
                      <a:pt x="673207" y="905791"/>
                    </a:lnTo>
                    <a:lnTo>
                      <a:pt x="672449" y="906397"/>
                    </a:lnTo>
                    <a:lnTo>
                      <a:pt x="671237" y="910942"/>
                    </a:lnTo>
                    <a:lnTo>
                      <a:pt x="670328" y="912912"/>
                    </a:lnTo>
                    <a:lnTo>
                      <a:pt x="668812" y="914579"/>
                    </a:lnTo>
                    <a:lnTo>
                      <a:pt x="667449" y="915488"/>
                    </a:lnTo>
                    <a:lnTo>
                      <a:pt x="666237" y="916094"/>
                    </a:lnTo>
                    <a:lnTo>
                      <a:pt x="663509" y="915640"/>
                    </a:lnTo>
                    <a:lnTo>
                      <a:pt x="662146" y="918367"/>
                    </a:lnTo>
                    <a:lnTo>
                      <a:pt x="660782" y="922003"/>
                    </a:lnTo>
                    <a:lnTo>
                      <a:pt x="660630" y="923822"/>
                    </a:lnTo>
                    <a:lnTo>
                      <a:pt x="661388" y="926701"/>
                    </a:lnTo>
                    <a:lnTo>
                      <a:pt x="660934" y="927458"/>
                    </a:lnTo>
                    <a:lnTo>
                      <a:pt x="659418" y="928064"/>
                    </a:lnTo>
                    <a:lnTo>
                      <a:pt x="656994" y="929428"/>
                    </a:lnTo>
                    <a:lnTo>
                      <a:pt x="655479" y="933519"/>
                    </a:lnTo>
                    <a:lnTo>
                      <a:pt x="655479" y="937610"/>
                    </a:lnTo>
                    <a:lnTo>
                      <a:pt x="656388" y="938974"/>
                    </a:lnTo>
                    <a:lnTo>
                      <a:pt x="658055" y="939580"/>
                    </a:lnTo>
                    <a:lnTo>
                      <a:pt x="659267" y="940792"/>
                    </a:lnTo>
                    <a:lnTo>
                      <a:pt x="659418" y="942762"/>
                    </a:lnTo>
                    <a:lnTo>
                      <a:pt x="660479" y="945186"/>
                    </a:lnTo>
                    <a:lnTo>
                      <a:pt x="660024" y="948065"/>
                    </a:lnTo>
                    <a:lnTo>
                      <a:pt x="656691" y="952156"/>
                    </a:lnTo>
                    <a:lnTo>
                      <a:pt x="656539" y="954429"/>
                    </a:lnTo>
                    <a:lnTo>
                      <a:pt x="658357" y="955187"/>
                    </a:lnTo>
                    <a:lnTo>
                      <a:pt x="659873" y="954883"/>
                    </a:lnTo>
                    <a:lnTo>
                      <a:pt x="661843" y="953974"/>
                    </a:lnTo>
                    <a:lnTo>
                      <a:pt x="664115" y="952459"/>
                    </a:lnTo>
                    <a:lnTo>
                      <a:pt x="668964" y="950186"/>
                    </a:lnTo>
                    <a:lnTo>
                      <a:pt x="674267" y="948823"/>
                    </a:lnTo>
                    <a:lnTo>
                      <a:pt x="678510" y="948520"/>
                    </a:lnTo>
                    <a:lnTo>
                      <a:pt x="682146" y="948671"/>
                    </a:lnTo>
                    <a:lnTo>
                      <a:pt x="683965" y="949126"/>
                    </a:lnTo>
                    <a:lnTo>
                      <a:pt x="684419" y="950035"/>
                    </a:lnTo>
                    <a:lnTo>
                      <a:pt x="689420" y="948671"/>
                    </a:lnTo>
                    <a:lnTo>
                      <a:pt x="690480" y="948520"/>
                    </a:lnTo>
                    <a:lnTo>
                      <a:pt x="691389" y="948520"/>
                    </a:lnTo>
                    <a:lnTo>
                      <a:pt x="691389" y="949429"/>
                    </a:lnTo>
                    <a:lnTo>
                      <a:pt x="687753" y="953065"/>
                    </a:lnTo>
                    <a:lnTo>
                      <a:pt x="687146" y="954732"/>
                    </a:lnTo>
                    <a:lnTo>
                      <a:pt x="687298" y="956550"/>
                    </a:lnTo>
                    <a:lnTo>
                      <a:pt x="688813" y="958217"/>
                    </a:lnTo>
                    <a:lnTo>
                      <a:pt x="690177" y="959581"/>
                    </a:lnTo>
                    <a:lnTo>
                      <a:pt x="691389" y="962914"/>
                    </a:lnTo>
                    <a:lnTo>
                      <a:pt x="690480" y="965944"/>
                    </a:lnTo>
                    <a:lnTo>
                      <a:pt x="691086" y="967005"/>
                    </a:lnTo>
                    <a:lnTo>
                      <a:pt x="692147" y="968217"/>
                    </a:lnTo>
                    <a:lnTo>
                      <a:pt x="692753" y="969884"/>
                    </a:lnTo>
                    <a:lnTo>
                      <a:pt x="692904" y="972005"/>
                    </a:lnTo>
                    <a:lnTo>
                      <a:pt x="692298" y="975339"/>
                    </a:lnTo>
                    <a:lnTo>
                      <a:pt x="697601" y="977006"/>
                    </a:lnTo>
                    <a:lnTo>
                      <a:pt x="702147" y="977763"/>
                    </a:lnTo>
                    <a:lnTo>
                      <a:pt x="705481" y="977915"/>
                    </a:lnTo>
                    <a:lnTo>
                      <a:pt x="707602" y="978672"/>
                    </a:lnTo>
                    <a:lnTo>
                      <a:pt x="708814" y="979278"/>
                    </a:lnTo>
                    <a:lnTo>
                      <a:pt x="709723" y="980490"/>
                    </a:lnTo>
                    <a:lnTo>
                      <a:pt x="710026" y="981854"/>
                    </a:lnTo>
                    <a:lnTo>
                      <a:pt x="708965" y="982763"/>
                    </a:lnTo>
                    <a:lnTo>
                      <a:pt x="706693" y="985642"/>
                    </a:lnTo>
                    <a:lnTo>
                      <a:pt x="705481" y="989582"/>
                    </a:lnTo>
                    <a:lnTo>
                      <a:pt x="705632" y="992460"/>
                    </a:lnTo>
                    <a:lnTo>
                      <a:pt x="705481" y="995036"/>
                    </a:lnTo>
                    <a:lnTo>
                      <a:pt x="702905" y="998673"/>
                    </a:lnTo>
                    <a:lnTo>
                      <a:pt x="701844" y="1001249"/>
                    </a:lnTo>
                    <a:lnTo>
                      <a:pt x="700935" y="1003825"/>
                    </a:lnTo>
                    <a:lnTo>
                      <a:pt x="700935" y="1004885"/>
                    </a:lnTo>
                    <a:lnTo>
                      <a:pt x="701541" y="1005643"/>
                    </a:lnTo>
                    <a:lnTo>
                      <a:pt x="702602" y="1006097"/>
                    </a:lnTo>
                    <a:lnTo>
                      <a:pt x="704572" y="1006400"/>
                    </a:lnTo>
                    <a:lnTo>
                      <a:pt x="706844" y="1006097"/>
                    </a:lnTo>
                    <a:lnTo>
                      <a:pt x="712451" y="1006703"/>
                    </a:lnTo>
                    <a:lnTo>
                      <a:pt x="718815" y="1007764"/>
                    </a:lnTo>
                    <a:lnTo>
                      <a:pt x="721390" y="1008370"/>
                    </a:lnTo>
                    <a:lnTo>
                      <a:pt x="722148" y="1009431"/>
                    </a:lnTo>
                    <a:lnTo>
                      <a:pt x="721996" y="1011855"/>
                    </a:lnTo>
                    <a:lnTo>
                      <a:pt x="721542" y="1014128"/>
                    </a:lnTo>
                    <a:lnTo>
                      <a:pt x="721996" y="1015946"/>
                    </a:lnTo>
                    <a:lnTo>
                      <a:pt x="723057" y="1017613"/>
                    </a:lnTo>
                    <a:lnTo>
                      <a:pt x="724724" y="1018219"/>
                    </a:lnTo>
                    <a:lnTo>
                      <a:pt x="726239" y="1018825"/>
                    </a:lnTo>
                    <a:lnTo>
                      <a:pt x="726542" y="1020037"/>
                    </a:lnTo>
                    <a:lnTo>
                      <a:pt x="726087" y="1021704"/>
                    </a:lnTo>
                    <a:lnTo>
                      <a:pt x="726845" y="1023068"/>
                    </a:lnTo>
                    <a:lnTo>
                      <a:pt x="727754" y="1023977"/>
                    </a:lnTo>
                    <a:lnTo>
                      <a:pt x="729572" y="1024431"/>
                    </a:lnTo>
                    <a:lnTo>
                      <a:pt x="733360" y="1023371"/>
                    </a:lnTo>
                    <a:lnTo>
                      <a:pt x="735936" y="1023825"/>
                    </a:lnTo>
                    <a:lnTo>
                      <a:pt x="738209" y="1024583"/>
                    </a:lnTo>
                    <a:lnTo>
                      <a:pt x="740179" y="1024128"/>
                    </a:lnTo>
                    <a:lnTo>
                      <a:pt x="742148" y="1023219"/>
                    </a:lnTo>
                    <a:lnTo>
                      <a:pt x="746543" y="1018977"/>
                    </a:lnTo>
                    <a:lnTo>
                      <a:pt x="751543" y="1016704"/>
                    </a:lnTo>
                    <a:lnTo>
                      <a:pt x="753210" y="1016098"/>
                    </a:lnTo>
                    <a:lnTo>
                      <a:pt x="754270" y="1016401"/>
                    </a:lnTo>
                    <a:lnTo>
                      <a:pt x="754573" y="1016704"/>
                    </a:lnTo>
                    <a:lnTo>
                      <a:pt x="754573" y="1017613"/>
                    </a:lnTo>
                    <a:lnTo>
                      <a:pt x="755028" y="1021098"/>
                    </a:lnTo>
                    <a:lnTo>
                      <a:pt x="754725" y="1021552"/>
                    </a:lnTo>
                    <a:lnTo>
                      <a:pt x="756240" y="1022916"/>
                    </a:lnTo>
                    <a:lnTo>
                      <a:pt x="755634" y="1026250"/>
                    </a:lnTo>
                    <a:lnTo>
                      <a:pt x="756391" y="1027007"/>
                    </a:lnTo>
                    <a:lnTo>
                      <a:pt x="756846" y="1028219"/>
                    </a:lnTo>
                    <a:lnTo>
                      <a:pt x="756695" y="1030038"/>
                    </a:lnTo>
                    <a:lnTo>
                      <a:pt x="756998" y="1031553"/>
                    </a:lnTo>
                    <a:lnTo>
                      <a:pt x="757604" y="1032310"/>
                    </a:lnTo>
                    <a:lnTo>
                      <a:pt x="758513" y="1032614"/>
                    </a:lnTo>
                    <a:lnTo>
                      <a:pt x="762907" y="1031250"/>
                    </a:lnTo>
                    <a:lnTo>
                      <a:pt x="765634" y="1031098"/>
                    </a:lnTo>
                    <a:lnTo>
                      <a:pt x="766695" y="1032007"/>
                    </a:lnTo>
                    <a:lnTo>
                      <a:pt x="767756" y="1032614"/>
                    </a:lnTo>
                    <a:lnTo>
                      <a:pt x="768968" y="1033068"/>
                    </a:lnTo>
                    <a:lnTo>
                      <a:pt x="770028" y="1033674"/>
                    </a:lnTo>
                    <a:lnTo>
                      <a:pt x="770634" y="1033523"/>
                    </a:lnTo>
                    <a:lnTo>
                      <a:pt x="772150" y="1032159"/>
                    </a:lnTo>
                    <a:lnTo>
                      <a:pt x="772604" y="1031856"/>
                    </a:lnTo>
                    <a:lnTo>
                      <a:pt x="772604" y="1031250"/>
                    </a:lnTo>
                    <a:lnTo>
                      <a:pt x="771544" y="1030038"/>
                    </a:lnTo>
                    <a:lnTo>
                      <a:pt x="770483" y="1028977"/>
                    </a:lnTo>
                    <a:lnTo>
                      <a:pt x="770483" y="1026704"/>
                    </a:lnTo>
                    <a:lnTo>
                      <a:pt x="770937" y="1022765"/>
                    </a:lnTo>
                    <a:lnTo>
                      <a:pt x="771089" y="1020643"/>
                    </a:lnTo>
                    <a:lnTo>
                      <a:pt x="770937" y="1015795"/>
                    </a:lnTo>
                    <a:lnTo>
                      <a:pt x="770786" y="1014431"/>
                    </a:lnTo>
                    <a:lnTo>
                      <a:pt x="769725" y="1012764"/>
                    </a:lnTo>
                    <a:lnTo>
                      <a:pt x="767149" y="1009734"/>
                    </a:lnTo>
                    <a:lnTo>
                      <a:pt x="766392" y="1007916"/>
                    </a:lnTo>
                    <a:lnTo>
                      <a:pt x="765937" y="1006097"/>
                    </a:lnTo>
                    <a:lnTo>
                      <a:pt x="765937" y="1004885"/>
                    </a:lnTo>
                    <a:lnTo>
                      <a:pt x="765331" y="1003522"/>
                    </a:lnTo>
                    <a:lnTo>
                      <a:pt x="765028" y="1002309"/>
                    </a:lnTo>
                    <a:lnTo>
                      <a:pt x="766240" y="1001703"/>
                    </a:lnTo>
                    <a:lnTo>
                      <a:pt x="767604" y="1000188"/>
                    </a:lnTo>
                    <a:lnTo>
                      <a:pt x="768362" y="997915"/>
                    </a:lnTo>
                    <a:lnTo>
                      <a:pt x="769119" y="996248"/>
                    </a:lnTo>
                    <a:lnTo>
                      <a:pt x="770180" y="995491"/>
                    </a:lnTo>
                    <a:lnTo>
                      <a:pt x="771089" y="995188"/>
                    </a:lnTo>
                    <a:lnTo>
                      <a:pt x="771695" y="995339"/>
                    </a:lnTo>
                    <a:lnTo>
                      <a:pt x="773968" y="998218"/>
                    </a:lnTo>
                    <a:lnTo>
                      <a:pt x="776847" y="996703"/>
                    </a:lnTo>
                    <a:lnTo>
                      <a:pt x="778968" y="996703"/>
                    </a:lnTo>
                    <a:lnTo>
                      <a:pt x="780787" y="997461"/>
                    </a:lnTo>
                    <a:lnTo>
                      <a:pt x="781696" y="998370"/>
                    </a:lnTo>
                    <a:lnTo>
                      <a:pt x="783059" y="997309"/>
                    </a:lnTo>
                    <a:lnTo>
                      <a:pt x="784726" y="995794"/>
                    </a:lnTo>
                    <a:lnTo>
                      <a:pt x="786544" y="993521"/>
                    </a:lnTo>
                    <a:lnTo>
                      <a:pt x="788514" y="990642"/>
                    </a:lnTo>
                    <a:lnTo>
                      <a:pt x="789423" y="988824"/>
                    </a:lnTo>
                    <a:lnTo>
                      <a:pt x="790029" y="988066"/>
                    </a:lnTo>
                    <a:lnTo>
                      <a:pt x="791242" y="987612"/>
                    </a:lnTo>
                    <a:lnTo>
                      <a:pt x="792453" y="987915"/>
                    </a:lnTo>
                    <a:lnTo>
                      <a:pt x="794726" y="989127"/>
                    </a:lnTo>
                    <a:lnTo>
                      <a:pt x="798060" y="990642"/>
                    </a:lnTo>
                    <a:lnTo>
                      <a:pt x="801090" y="992460"/>
                    </a:lnTo>
                    <a:lnTo>
                      <a:pt x="802302" y="994279"/>
                    </a:lnTo>
                    <a:lnTo>
                      <a:pt x="803969" y="995946"/>
                    </a:lnTo>
                    <a:lnTo>
                      <a:pt x="805181" y="996400"/>
                    </a:lnTo>
                    <a:lnTo>
                      <a:pt x="805787" y="996248"/>
                    </a:lnTo>
                    <a:lnTo>
                      <a:pt x="807757" y="995036"/>
                    </a:lnTo>
                    <a:lnTo>
                      <a:pt x="809424" y="993824"/>
                    </a:lnTo>
                    <a:lnTo>
                      <a:pt x="809424" y="992309"/>
                    </a:lnTo>
                    <a:lnTo>
                      <a:pt x="810939" y="990945"/>
                    </a:lnTo>
                    <a:lnTo>
                      <a:pt x="812909" y="988824"/>
                    </a:lnTo>
                    <a:lnTo>
                      <a:pt x="813818" y="987309"/>
                    </a:lnTo>
                    <a:lnTo>
                      <a:pt x="814575" y="987157"/>
                    </a:lnTo>
                    <a:lnTo>
                      <a:pt x="815333" y="987612"/>
                    </a:lnTo>
                    <a:lnTo>
                      <a:pt x="818515" y="992158"/>
                    </a:lnTo>
                    <a:lnTo>
                      <a:pt x="819121" y="992460"/>
                    </a:lnTo>
                    <a:lnTo>
                      <a:pt x="820030" y="991854"/>
                    </a:lnTo>
                    <a:lnTo>
                      <a:pt x="821242" y="988370"/>
                    </a:lnTo>
                    <a:lnTo>
                      <a:pt x="822606" y="987006"/>
                    </a:lnTo>
                    <a:lnTo>
                      <a:pt x="823060" y="987309"/>
                    </a:lnTo>
                    <a:lnTo>
                      <a:pt x="830637" y="993976"/>
                    </a:lnTo>
                    <a:lnTo>
                      <a:pt x="831394" y="993976"/>
                    </a:lnTo>
                    <a:lnTo>
                      <a:pt x="832152" y="993673"/>
                    </a:lnTo>
                    <a:lnTo>
                      <a:pt x="832758" y="992612"/>
                    </a:lnTo>
                    <a:lnTo>
                      <a:pt x="833364" y="990339"/>
                    </a:lnTo>
                    <a:lnTo>
                      <a:pt x="834425" y="987915"/>
                    </a:lnTo>
                    <a:lnTo>
                      <a:pt x="836849" y="986551"/>
                    </a:lnTo>
                    <a:lnTo>
                      <a:pt x="838819" y="986248"/>
                    </a:lnTo>
                    <a:lnTo>
                      <a:pt x="839576" y="987460"/>
                    </a:lnTo>
                    <a:lnTo>
                      <a:pt x="841243" y="989127"/>
                    </a:lnTo>
                    <a:lnTo>
                      <a:pt x="843213" y="989430"/>
                    </a:lnTo>
                    <a:lnTo>
                      <a:pt x="847456" y="986551"/>
                    </a:lnTo>
                    <a:lnTo>
                      <a:pt x="848819" y="986097"/>
                    </a:lnTo>
                    <a:lnTo>
                      <a:pt x="850335" y="986097"/>
                    </a:lnTo>
                    <a:lnTo>
                      <a:pt x="851850" y="985945"/>
                    </a:lnTo>
                    <a:lnTo>
                      <a:pt x="853365" y="984884"/>
                    </a:lnTo>
                    <a:lnTo>
                      <a:pt x="854880" y="983369"/>
                    </a:lnTo>
                    <a:lnTo>
                      <a:pt x="855334" y="980490"/>
                    </a:lnTo>
                    <a:lnTo>
                      <a:pt x="855638" y="977915"/>
                    </a:lnTo>
                    <a:lnTo>
                      <a:pt x="856698" y="976854"/>
                    </a:lnTo>
                    <a:lnTo>
                      <a:pt x="857911" y="976096"/>
                    </a:lnTo>
                    <a:lnTo>
                      <a:pt x="860183" y="975187"/>
                    </a:lnTo>
                    <a:lnTo>
                      <a:pt x="865487" y="972763"/>
                    </a:lnTo>
                    <a:lnTo>
                      <a:pt x="866850" y="971551"/>
                    </a:lnTo>
                    <a:lnTo>
                      <a:pt x="867911" y="970945"/>
                    </a:lnTo>
                    <a:lnTo>
                      <a:pt x="870032" y="972005"/>
                    </a:lnTo>
                    <a:lnTo>
                      <a:pt x="872456" y="974127"/>
                    </a:lnTo>
                    <a:lnTo>
                      <a:pt x="873972" y="975642"/>
                    </a:lnTo>
                    <a:lnTo>
                      <a:pt x="875032" y="977308"/>
                    </a:lnTo>
                    <a:lnTo>
                      <a:pt x="875487" y="978672"/>
                    </a:lnTo>
                    <a:lnTo>
                      <a:pt x="879426" y="979884"/>
                    </a:lnTo>
                    <a:lnTo>
                      <a:pt x="881851" y="981551"/>
                    </a:lnTo>
                    <a:lnTo>
                      <a:pt x="883518" y="982915"/>
                    </a:lnTo>
                    <a:lnTo>
                      <a:pt x="885184" y="982915"/>
                    </a:lnTo>
                    <a:lnTo>
                      <a:pt x="886851" y="982612"/>
                    </a:lnTo>
                    <a:lnTo>
                      <a:pt x="887911" y="981551"/>
                    </a:lnTo>
                    <a:lnTo>
                      <a:pt x="889730" y="981551"/>
                    </a:lnTo>
                    <a:lnTo>
                      <a:pt x="891851" y="981703"/>
                    </a:lnTo>
                    <a:lnTo>
                      <a:pt x="892760" y="982157"/>
                    </a:lnTo>
                    <a:lnTo>
                      <a:pt x="894578" y="984582"/>
                    </a:lnTo>
                    <a:lnTo>
                      <a:pt x="895336" y="984884"/>
                    </a:lnTo>
                    <a:lnTo>
                      <a:pt x="897003" y="984733"/>
                    </a:lnTo>
                    <a:lnTo>
                      <a:pt x="900033" y="983824"/>
                    </a:lnTo>
                    <a:lnTo>
                      <a:pt x="902458" y="983369"/>
                    </a:lnTo>
                    <a:lnTo>
                      <a:pt x="904730" y="984278"/>
                    </a:lnTo>
                    <a:lnTo>
                      <a:pt x="908973" y="987006"/>
                    </a:lnTo>
                    <a:lnTo>
                      <a:pt x="907761" y="988976"/>
                    </a:lnTo>
                    <a:lnTo>
                      <a:pt x="906851" y="991097"/>
                    </a:lnTo>
                    <a:lnTo>
                      <a:pt x="905033" y="992612"/>
                    </a:lnTo>
                    <a:lnTo>
                      <a:pt x="903670" y="992915"/>
                    </a:lnTo>
                    <a:lnTo>
                      <a:pt x="902761" y="995036"/>
                    </a:lnTo>
                    <a:lnTo>
                      <a:pt x="902306" y="998067"/>
                    </a:lnTo>
                    <a:lnTo>
                      <a:pt x="902761" y="999582"/>
                    </a:lnTo>
                    <a:lnTo>
                      <a:pt x="903821" y="1000036"/>
                    </a:lnTo>
                    <a:lnTo>
                      <a:pt x="905033" y="1001097"/>
                    </a:lnTo>
                    <a:lnTo>
                      <a:pt x="905488" y="1002461"/>
                    </a:lnTo>
                    <a:lnTo>
                      <a:pt x="905640" y="1005491"/>
                    </a:lnTo>
                    <a:lnTo>
                      <a:pt x="905640" y="1008825"/>
                    </a:lnTo>
                    <a:lnTo>
                      <a:pt x="905791" y="1009885"/>
                    </a:lnTo>
                    <a:lnTo>
                      <a:pt x="906700" y="1009734"/>
                    </a:lnTo>
                    <a:lnTo>
                      <a:pt x="907609" y="1009279"/>
                    </a:lnTo>
                    <a:lnTo>
                      <a:pt x="909428" y="1009734"/>
                    </a:lnTo>
                    <a:lnTo>
                      <a:pt x="911700" y="1010643"/>
                    </a:lnTo>
                    <a:lnTo>
                      <a:pt x="913064" y="1011552"/>
                    </a:lnTo>
                    <a:lnTo>
                      <a:pt x="914276" y="1011401"/>
                    </a:lnTo>
                    <a:lnTo>
                      <a:pt x="915185" y="1012310"/>
                    </a:lnTo>
                    <a:lnTo>
                      <a:pt x="915488" y="1013976"/>
                    </a:lnTo>
                    <a:lnTo>
                      <a:pt x="916701" y="1015189"/>
                    </a:lnTo>
                    <a:lnTo>
                      <a:pt x="919882" y="1017462"/>
                    </a:lnTo>
                    <a:lnTo>
                      <a:pt x="922458" y="1017613"/>
                    </a:lnTo>
                    <a:lnTo>
                      <a:pt x="924580" y="1020492"/>
                    </a:lnTo>
                    <a:lnTo>
                      <a:pt x="926852" y="1019583"/>
                    </a:lnTo>
                    <a:lnTo>
                      <a:pt x="927913" y="1020795"/>
                    </a:lnTo>
                    <a:lnTo>
                      <a:pt x="932610" y="1020340"/>
                    </a:lnTo>
                    <a:lnTo>
                      <a:pt x="935792" y="1019128"/>
                    </a:lnTo>
                    <a:lnTo>
                      <a:pt x="937004" y="1019431"/>
                    </a:lnTo>
                    <a:lnTo>
                      <a:pt x="939883" y="1021856"/>
                    </a:lnTo>
                    <a:lnTo>
                      <a:pt x="941702" y="1023371"/>
                    </a:lnTo>
                    <a:lnTo>
                      <a:pt x="944277" y="1022916"/>
                    </a:lnTo>
                    <a:lnTo>
                      <a:pt x="946399" y="1021856"/>
                    </a:lnTo>
                    <a:lnTo>
                      <a:pt x="949126" y="1022007"/>
                    </a:lnTo>
                    <a:lnTo>
                      <a:pt x="950641" y="1020189"/>
                    </a:lnTo>
                    <a:lnTo>
                      <a:pt x="951247" y="1018219"/>
                    </a:lnTo>
                    <a:lnTo>
                      <a:pt x="952005" y="1018067"/>
                    </a:lnTo>
                    <a:lnTo>
                      <a:pt x="952762" y="1018522"/>
                    </a:lnTo>
                    <a:lnTo>
                      <a:pt x="954429" y="1020643"/>
                    </a:lnTo>
                    <a:lnTo>
                      <a:pt x="955945" y="1019886"/>
                    </a:lnTo>
                    <a:lnTo>
                      <a:pt x="956550" y="1018825"/>
                    </a:lnTo>
                    <a:lnTo>
                      <a:pt x="955641" y="1016855"/>
                    </a:lnTo>
                    <a:lnTo>
                      <a:pt x="955338" y="1014279"/>
                    </a:lnTo>
                    <a:lnTo>
                      <a:pt x="955338" y="1012158"/>
                    </a:lnTo>
                    <a:lnTo>
                      <a:pt x="958520" y="1012310"/>
                    </a:lnTo>
                    <a:lnTo>
                      <a:pt x="959126" y="1013219"/>
                    </a:lnTo>
                    <a:lnTo>
                      <a:pt x="958369" y="1014734"/>
                    </a:lnTo>
                    <a:lnTo>
                      <a:pt x="959126" y="1016098"/>
                    </a:lnTo>
                    <a:lnTo>
                      <a:pt x="960793" y="1017462"/>
                    </a:lnTo>
                    <a:lnTo>
                      <a:pt x="962763" y="1019583"/>
                    </a:lnTo>
                    <a:lnTo>
                      <a:pt x="963521" y="1020189"/>
                    </a:lnTo>
                    <a:lnTo>
                      <a:pt x="965490" y="1020037"/>
                    </a:lnTo>
                    <a:lnTo>
                      <a:pt x="967611" y="1020340"/>
                    </a:lnTo>
                    <a:lnTo>
                      <a:pt x="970642" y="1020340"/>
                    </a:lnTo>
                    <a:lnTo>
                      <a:pt x="972612" y="1021401"/>
                    </a:lnTo>
                    <a:lnTo>
                      <a:pt x="973521" y="1022765"/>
                    </a:lnTo>
                    <a:lnTo>
                      <a:pt x="972612" y="1024431"/>
                    </a:lnTo>
                    <a:lnTo>
                      <a:pt x="972157" y="1025795"/>
                    </a:lnTo>
                    <a:lnTo>
                      <a:pt x="973976" y="1026250"/>
                    </a:lnTo>
                    <a:lnTo>
                      <a:pt x="975945" y="1025795"/>
                    </a:lnTo>
                    <a:lnTo>
                      <a:pt x="979430" y="1025492"/>
                    </a:lnTo>
                    <a:lnTo>
                      <a:pt x="981854" y="1024734"/>
                    </a:lnTo>
                    <a:lnTo>
                      <a:pt x="984885" y="1023068"/>
                    </a:lnTo>
                    <a:lnTo>
                      <a:pt x="984279" y="1018674"/>
                    </a:lnTo>
                    <a:lnTo>
                      <a:pt x="985491" y="1018825"/>
                    </a:lnTo>
                    <a:lnTo>
                      <a:pt x="986249" y="1019280"/>
                    </a:lnTo>
                    <a:lnTo>
                      <a:pt x="988824" y="1023522"/>
                    </a:lnTo>
                    <a:lnTo>
                      <a:pt x="990340" y="1023371"/>
                    </a:lnTo>
                    <a:lnTo>
                      <a:pt x="990794" y="1022462"/>
                    </a:lnTo>
                    <a:lnTo>
                      <a:pt x="992764" y="1024583"/>
                    </a:lnTo>
                    <a:lnTo>
                      <a:pt x="995491" y="1024734"/>
                    </a:lnTo>
                    <a:lnTo>
                      <a:pt x="995188" y="1027765"/>
                    </a:lnTo>
                    <a:lnTo>
                      <a:pt x="991249" y="1028826"/>
                    </a:lnTo>
                    <a:lnTo>
                      <a:pt x="990642" y="1031856"/>
                    </a:lnTo>
                    <a:lnTo>
                      <a:pt x="988521" y="1034583"/>
                    </a:lnTo>
                    <a:lnTo>
                      <a:pt x="989128" y="1036856"/>
                    </a:lnTo>
                    <a:lnTo>
                      <a:pt x="987915" y="1040644"/>
                    </a:lnTo>
                    <a:lnTo>
                      <a:pt x="988521" y="1041856"/>
                    </a:lnTo>
                    <a:lnTo>
                      <a:pt x="989582" y="1042917"/>
                    </a:lnTo>
                    <a:lnTo>
                      <a:pt x="990642" y="1044584"/>
                    </a:lnTo>
                    <a:lnTo>
                      <a:pt x="991703" y="1046553"/>
                    </a:lnTo>
                    <a:lnTo>
                      <a:pt x="991400" y="1049129"/>
                    </a:lnTo>
                    <a:lnTo>
                      <a:pt x="993218" y="1052160"/>
                    </a:lnTo>
                    <a:lnTo>
                      <a:pt x="995491" y="1053220"/>
                    </a:lnTo>
                    <a:lnTo>
                      <a:pt x="996097" y="1053978"/>
                    </a:lnTo>
                    <a:lnTo>
                      <a:pt x="996552" y="1055190"/>
                    </a:lnTo>
                    <a:lnTo>
                      <a:pt x="995188" y="1055342"/>
                    </a:lnTo>
                    <a:lnTo>
                      <a:pt x="993976" y="1054887"/>
                    </a:lnTo>
                    <a:lnTo>
                      <a:pt x="993825" y="1056251"/>
                    </a:lnTo>
                    <a:lnTo>
                      <a:pt x="995340" y="1058220"/>
                    </a:lnTo>
                    <a:lnTo>
                      <a:pt x="1000340" y="1059130"/>
                    </a:lnTo>
                    <a:lnTo>
                      <a:pt x="1006401" y="1058220"/>
                    </a:lnTo>
                    <a:lnTo>
                      <a:pt x="1009280" y="1056554"/>
                    </a:lnTo>
                    <a:lnTo>
                      <a:pt x="1010340" y="1054584"/>
                    </a:lnTo>
                    <a:lnTo>
                      <a:pt x="1011249" y="1053675"/>
                    </a:lnTo>
                    <a:lnTo>
                      <a:pt x="1011098" y="1052008"/>
                    </a:lnTo>
                    <a:lnTo>
                      <a:pt x="1005643" y="1047614"/>
                    </a:lnTo>
                    <a:lnTo>
                      <a:pt x="1005946" y="1046250"/>
                    </a:lnTo>
                    <a:lnTo>
                      <a:pt x="1007159" y="1045341"/>
                    </a:lnTo>
                    <a:lnTo>
                      <a:pt x="1007613" y="1044281"/>
                    </a:lnTo>
                    <a:lnTo>
                      <a:pt x="1007007" y="1042917"/>
                    </a:lnTo>
                    <a:lnTo>
                      <a:pt x="1002006" y="1042311"/>
                    </a:lnTo>
                    <a:lnTo>
                      <a:pt x="1001249" y="1039887"/>
                    </a:lnTo>
                    <a:lnTo>
                      <a:pt x="1002310" y="1037311"/>
                    </a:lnTo>
                    <a:lnTo>
                      <a:pt x="1006098" y="1034583"/>
                    </a:lnTo>
                    <a:lnTo>
                      <a:pt x="1007310" y="1033371"/>
                    </a:lnTo>
                    <a:lnTo>
                      <a:pt x="1007916" y="1031250"/>
                    </a:lnTo>
                    <a:lnTo>
                      <a:pt x="1008219" y="1028674"/>
                    </a:lnTo>
                    <a:lnTo>
                      <a:pt x="1008825" y="1028977"/>
                    </a:lnTo>
                    <a:lnTo>
                      <a:pt x="1009431" y="1031704"/>
                    </a:lnTo>
                    <a:lnTo>
                      <a:pt x="1010643" y="1032310"/>
                    </a:lnTo>
                    <a:lnTo>
                      <a:pt x="1012310" y="1032159"/>
                    </a:lnTo>
                    <a:lnTo>
                      <a:pt x="1014583" y="1030341"/>
                    </a:lnTo>
                    <a:lnTo>
                      <a:pt x="1017765" y="1027310"/>
                    </a:lnTo>
                    <a:lnTo>
                      <a:pt x="1020644" y="1027007"/>
                    </a:lnTo>
                    <a:lnTo>
                      <a:pt x="1023826" y="1026098"/>
                    </a:lnTo>
                    <a:lnTo>
                      <a:pt x="1024432" y="1023825"/>
                    </a:lnTo>
                    <a:lnTo>
                      <a:pt x="1025644" y="1023825"/>
                    </a:lnTo>
                    <a:lnTo>
                      <a:pt x="1026704" y="1024583"/>
                    </a:lnTo>
                    <a:lnTo>
                      <a:pt x="1027917" y="1024583"/>
                    </a:lnTo>
                    <a:lnTo>
                      <a:pt x="1030038" y="1024280"/>
                    </a:lnTo>
                    <a:lnTo>
                      <a:pt x="1032765" y="1024431"/>
                    </a:lnTo>
                    <a:lnTo>
                      <a:pt x="1034735" y="1023068"/>
                    </a:lnTo>
                    <a:lnTo>
                      <a:pt x="1040493" y="1022310"/>
                    </a:lnTo>
                    <a:lnTo>
                      <a:pt x="1042614" y="1020946"/>
                    </a:lnTo>
                    <a:lnTo>
                      <a:pt x="1043372" y="1019583"/>
                    </a:lnTo>
                    <a:lnTo>
                      <a:pt x="1045190" y="1017764"/>
                    </a:lnTo>
                    <a:lnTo>
                      <a:pt x="1046554" y="1018067"/>
                    </a:lnTo>
                    <a:lnTo>
                      <a:pt x="1047917" y="1017916"/>
                    </a:lnTo>
                    <a:lnTo>
                      <a:pt x="1049433" y="1016249"/>
                    </a:lnTo>
                    <a:lnTo>
                      <a:pt x="1049887" y="1014128"/>
                    </a:lnTo>
                    <a:lnTo>
                      <a:pt x="1052160" y="1014279"/>
                    </a:lnTo>
                    <a:lnTo>
                      <a:pt x="1054736" y="1015340"/>
                    </a:lnTo>
                    <a:lnTo>
                      <a:pt x="1056857" y="1016552"/>
                    </a:lnTo>
                    <a:lnTo>
                      <a:pt x="1059888" y="1017158"/>
                    </a:lnTo>
                    <a:lnTo>
                      <a:pt x="1061251" y="1016401"/>
                    </a:lnTo>
                    <a:lnTo>
                      <a:pt x="1062160" y="1015492"/>
                    </a:lnTo>
                    <a:lnTo>
                      <a:pt x="1061857" y="1012158"/>
                    </a:lnTo>
                    <a:lnTo>
                      <a:pt x="1061403" y="1010491"/>
                    </a:lnTo>
                    <a:lnTo>
                      <a:pt x="1062464" y="1010340"/>
                    </a:lnTo>
                    <a:lnTo>
                      <a:pt x="1063373" y="1010946"/>
                    </a:lnTo>
                    <a:lnTo>
                      <a:pt x="1063676" y="1011855"/>
                    </a:lnTo>
                    <a:lnTo>
                      <a:pt x="1063221" y="1013219"/>
                    </a:lnTo>
                    <a:lnTo>
                      <a:pt x="1065191" y="1015037"/>
                    </a:lnTo>
                    <a:lnTo>
                      <a:pt x="1067767" y="1016249"/>
                    </a:lnTo>
                    <a:lnTo>
                      <a:pt x="1069131" y="1015037"/>
                    </a:lnTo>
                    <a:lnTo>
                      <a:pt x="1069888" y="1013976"/>
                    </a:lnTo>
                    <a:lnTo>
                      <a:pt x="1071706" y="1012764"/>
                    </a:lnTo>
                    <a:lnTo>
                      <a:pt x="1073979" y="1011552"/>
                    </a:lnTo>
                    <a:lnTo>
                      <a:pt x="1076555" y="1013370"/>
                    </a:lnTo>
                    <a:lnTo>
                      <a:pt x="1077919" y="1012613"/>
                    </a:lnTo>
                    <a:lnTo>
                      <a:pt x="1078676" y="1011704"/>
                    </a:lnTo>
                    <a:lnTo>
                      <a:pt x="1079282" y="1006552"/>
                    </a:lnTo>
                    <a:lnTo>
                      <a:pt x="1081555" y="1003976"/>
                    </a:lnTo>
                    <a:lnTo>
                      <a:pt x="1083222" y="1007764"/>
                    </a:lnTo>
                    <a:lnTo>
                      <a:pt x="1086404" y="1007310"/>
                    </a:lnTo>
                    <a:lnTo>
                      <a:pt x="1088071" y="1005643"/>
                    </a:lnTo>
                    <a:lnTo>
                      <a:pt x="1089131" y="1005037"/>
                    </a:lnTo>
                    <a:lnTo>
                      <a:pt x="1090495" y="1004582"/>
                    </a:lnTo>
                    <a:lnTo>
                      <a:pt x="1092010" y="1004128"/>
                    </a:lnTo>
                    <a:lnTo>
                      <a:pt x="1092162" y="1004128"/>
                    </a:lnTo>
                    <a:lnTo>
                      <a:pt x="1092162" y="1003522"/>
                    </a:lnTo>
                    <a:lnTo>
                      <a:pt x="1092464" y="1002764"/>
                    </a:lnTo>
                    <a:lnTo>
                      <a:pt x="1093374" y="1002612"/>
                    </a:lnTo>
                    <a:lnTo>
                      <a:pt x="1093980" y="1003219"/>
                    </a:lnTo>
                    <a:lnTo>
                      <a:pt x="1093980" y="1003219"/>
                    </a:lnTo>
                    <a:lnTo>
                      <a:pt x="1094738" y="1001097"/>
                    </a:lnTo>
                    <a:lnTo>
                      <a:pt x="1095040" y="999582"/>
                    </a:lnTo>
                    <a:lnTo>
                      <a:pt x="1093980" y="998067"/>
                    </a:lnTo>
                    <a:lnTo>
                      <a:pt x="1093980" y="992612"/>
                    </a:lnTo>
                    <a:lnTo>
                      <a:pt x="1092162" y="989733"/>
                    </a:lnTo>
                    <a:lnTo>
                      <a:pt x="1091252" y="988824"/>
                    </a:lnTo>
                    <a:lnTo>
                      <a:pt x="1090798" y="987006"/>
                    </a:lnTo>
                    <a:lnTo>
                      <a:pt x="1088374" y="984884"/>
                    </a:lnTo>
                    <a:lnTo>
                      <a:pt x="1088222" y="984127"/>
                    </a:lnTo>
                    <a:lnTo>
                      <a:pt x="1088071" y="983521"/>
                    </a:lnTo>
                    <a:lnTo>
                      <a:pt x="1091101" y="982763"/>
                    </a:lnTo>
                    <a:lnTo>
                      <a:pt x="1091555" y="981248"/>
                    </a:lnTo>
                    <a:lnTo>
                      <a:pt x="1091101" y="979581"/>
                    </a:lnTo>
                    <a:lnTo>
                      <a:pt x="1093071" y="978217"/>
                    </a:lnTo>
                    <a:lnTo>
                      <a:pt x="1095798" y="977460"/>
                    </a:lnTo>
                    <a:lnTo>
                      <a:pt x="1095040" y="978975"/>
                    </a:lnTo>
                    <a:lnTo>
                      <a:pt x="1094889" y="980642"/>
                    </a:lnTo>
                    <a:lnTo>
                      <a:pt x="1095343" y="982157"/>
                    </a:lnTo>
                    <a:lnTo>
                      <a:pt x="1095798" y="985188"/>
                    </a:lnTo>
                    <a:lnTo>
                      <a:pt x="1096859" y="986854"/>
                    </a:lnTo>
                    <a:lnTo>
                      <a:pt x="1099435" y="988824"/>
                    </a:lnTo>
                    <a:lnTo>
                      <a:pt x="1101405" y="992460"/>
                    </a:lnTo>
                    <a:lnTo>
                      <a:pt x="1104283" y="994582"/>
                    </a:lnTo>
                    <a:lnTo>
                      <a:pt x="1106556" y="995188"/>
                    </a:lnTo>
                    <a:lnTo>
                      <a:pt x="1106707" y="995188"/>
                    </a:lnTo>
                    <a:lnTo>
                      <a:pt x="1107617" y="994430"/>
                    </a:lnTo>
                    <a:lnTo>
                      <a:pt x="1108981" y="994127"/>
                    </a:lnTo>
                    <a:lnTo>
                      <a:pt x="1109738" y="993673"/>
                    </a:lnTo>
                    <a:lnTo>
                      <a:pt x="1111556" y="993673"/>
                    </a:lnTo>
                    <a:lnTo>
                      <a:pt x="1112617" y="993976"/>
                    </a:lnTo>
                    <a:lnTo>
                      <a:pt x="1113678" y="994279"/>
                    </a:lnTo>
                    <a:lnTo>
                      <a:pt x="1115647" y="992764"/>
                    </a:lnTo>
                    <a:lnTo>
                      <a:pt x="1117769" y="993067"/>
                    </a:lnTo>
                    <a:lnTo>
                      <a:pt x="1119890" y="994733"/>
                    </a:lnTo>
                    <a:lnTo>
                      <a:pt x="1121405" y="994733"/>
                    </a:lnTo>
                    <a:lnTo>
                      <a:pt x="1121102" y="992158"/>
                    </a:lnTo>
                    <a:lnTo>
                      <a:pt x="1121860" y="991248"/>
                    </a:lnTo>
                    <a:lnTo>
                      <a:pt x="1122466" y="990036"/>
                    </a:lnTo>
                    <a:lnTo>
                      <a:pt x="1124133" y="988370"/>
                    </a:lnTo>
                    <a:lnTo>
                      <a:pt x="1125799" y="988824"/>
                    </a:lnTo>
                    <a:lnTo>
                      <a:pt x="1126860" y="992006"/>
                    </a:lnTo>
                    <a:lnTo>
                      <a:pt x="1129739" y="992309"/>
                    </a:lnTo>
                    <a:lnTo>
                      <a:pt x="1130951" y="991703"/>
                    </a:lnTo>
                    <a:lnTo>
                      <a:pt x="1131405" y="990339"/>
                    </a:lnTo>
                    <a:lnTo>
                      <a:pt x="1134133" y="989582"/>
                    </a:lnTo>
                    <a:lnTo>
                      <a:pt x="1136254" y="987460"/>
                    </a:lnTo>
                    <a:lnTo>
                      <a:pt x="1139133" y="986400"/>
                    </a:lnTo>
                    <a:lnTo>
                      <a:pt x="1141709" y="987612"/>
                    </a:lnTo>
                    <a:lnTo>
                      <a:pt x="1144284" y="989279"/>
                    </a:lnTo>
                    <a:lnTo>
                      <a:pt x="1147467" y="989279"/>
                    </a:lnTo>
                    <a:lnTo>
                      <a:pt x="1148527" y="987915"/>
                    </a:lnTo>
                    <a:lnTo>
                      <a:pt x="1149285" y="986248"/>
                    </a:lnTo>
                    <a:lnTo>
                      <a:pt x="1151406" y="985491"/>
                    </a:lnTo>
                    <a:lnTo>
                      <a:pt x="1154589" y="986400"/>
                    </a:lnTo>
                    <a:lnTo>
                      <a:pt x="1157164" y="987006"/>
                    </a:lnTo>
                    <a:lnTo>
                      <a:pt x="1162922" y="984733"/>
                    </a:lnTo>
                    <a:lnTo>
                      <a:pt x="1165498" y="984430"/>
                    </a:lnTo>
                    <a:lnTo>
                      <a:pt x="1166862" y="983521"/>
                    </a:lnTo>
                    <a:lnTo>
                      <a:pt x="1167316" y="982612"/>
                    </a:lnTo>
                    <a:lnTo>
                      <a:pt x="1168073" y="981703"/>
                    </a:lnTo>
                    <a:lnTo>
                      <a:pt x="1170650" y="982915"/>
                    </a:lnTo>
                    <a:lnTo>
                      <a:pt x="1174134" y="982763"/>
                    </a:lnTo>
                    <a:lnTo>
                      <a:pt x="1175498" y="981096"/>
                    </a:lnTo>
                    <a:lnTo>
                      <a:pt x="1175953" y="976096"/>
                    </a:lnTo>
                    <a:lnTo>
                      <a:pt x="1177317" y="975036"/>
                    </a:lnTo>
                    <a:lnTo>
                      <a:pt x="1179589" y="974733"/>
                    </a:lnTo>
                    <a:lnTo>
                      <a:pt x="1180346" y="973369"/>
                    </a:lnTo>
                    <a:lnTo>
                      <a:pt x="1179892" y="972005"/>
                    </a:lnTo>
                    <a:lnTo>
                      <a:pt x="1178376" y="971248"/>
                    </a:lnTo>
                    <a:lnTo>
                      <a:pt x="1180650" y="971096"/>
                    </a:lnTo>
                    <a:lnTo>
                      <a:pt x="1182014" y="970490"/>
                    </a:lnTo>
                    <a:lnTo>
                      <a:pt x="1184741" y="968520"/>
                    </a:lnTo>
                    <a:lnTo>
                      <a:pt x="1186104" y="962914"/>
                    </a:lnTo>
                    <a:lnTo>
                      <a:pt x="1189438" y="963520"/>
                    </a:lnTo>
                    <a:lnTo>
                      <a:pt x="1190801" y="964732"/>
                    </a:lnTo>
                    <a:lnTo>
                      <a:pt x="1192619" y="964126"/>
                    </a:lnTo>
                    <a:lnTo>
                      <a:pt x="1194741" y="962763"/>
                    </a:lnTo>
                    <a:lnTo>
                      <a:pt x="1196559" y="960793"/>
                    </a:lnTo>
                    <a:lnTo>
                      <a:pt x="1197620" y="960944"/>
                    </a:lnTo>
                    <a:lnTo>
                      <a:pt x="1198075" y="963065"/>
                    </a:lnTo>
                    <a:lnTo>
                      <a:pt x="1198681" y="964429"/>
                    </a:lnTo>
                    <a:lnTo>
                      <a:pt x="1200045" y="963520"/>
                    </a:lnTo>
                    <a:lnTo>
                      <a:pt x="1201256" y="960187"/>
                    </a:lnTo>
                    <a:lnTo>
                      <a:pt x="1201256" y="959126"/>
                    </a:lnTo>
                    <a:lnTo>
                      <a:pt x="1200499" y="958520"/>
                    </a:lnTo>
                    <a:lnTo>
                      <a:pt x="1201408" y="957156"/>
                    </a:lnTo>
                    <a:lnTo>
                      <a:pt x="1204439" y="956702"/>
                    </a:lnTo>
                    <a:lnTo>
                      <a:pt x="1205803" y="957308"/>
                    </a:lnTo>
                    <a:lnTo>
                      <a:pt x="1206862" y="954429"/>
                    </a:lnTo>
                    <a:lnTo>
                      <a:pt x="1208832" y="952308"/>
                    </a:lnTo>
                    <a:lnTo>
                      <a:pt x="1211560" y="952308"/>
                    </a:lnTo>
                    <a:lnTo>
                      <a:pt x="1213379" y="949580"/>
                    </a:lnTo>
                    <a:lnTo>
                      <a:pt x="1217469" y="945489"/>
                    </a:lnTo>
                    <a:lnTo>
                      <a:pt x="1217317" y="943216"/>
                    </a:lnTo>
                    <a:lnTo>
                      <a:pt x="1216560" y="941701"/>
                    </a:lnTo>
                    <a:lnTo>
                      <a:pt x="1212620" y="941247"/>
                    </a:lnTo>
                    <a:lnTo>
                      <a:pt x="1211711" y="940186"/>
                    </a:lnTo>
                    <a:lnTo>
                      <a:pt x="1211560" y="938974"/>
                    </a:lnTo>
                    <a:lnTo>
                      <a:pt x="1213075" y="938822"/>
                    </a:lnTo>
                    <a:lnTo>
                      <a:pt x="1214136" y="938974"/>
                    </a:lnTo>
                    <a:lnTo>
                      <a:pt x="1216106" y="938822"/>
                    </a:lnTo>
                    <a:lnTo>
                      <a:pt x="1216257" y="936549"/>
                    </a:lnTo>
                    <a:lnTo>
                      <a:pt x="1218226" y="934580"/>
                    </a:lnTo>
                    <a:lnTo>
                      <a:pt x="1221105" y="934580"/>
                    </a:lnTo>
                    <a:lnTo>
                      <a:pt x="1223833" y="936095"/>
                    </a:lnTo>
                    <a:lnTo>
                      <a:pt x="1227015" y="935337"/>
                    </a:lnTo>
                    <a:lnTo>
                      <a:pt x="1231106" y="935943"/>
                    </a:lnTo>
                    <a:lnTo>
                      <a:pt x="1233682" y="934731"/>
                    </a:lnTo>
                    <a:lnTo>
                      <a:pt x="1235348" y="931095"/>
                    </a:lnTo>
                    <a:lnTo>
                      <a:pt x="1234591" y="930034"/>
                    </a:lnTo>
                    <a:lnTo>
                      <a:pt x="1233228" y="929276"/>
                    </a:lnTo>
                    <a:lnTo>
                      <a:pt x="1233076" y="928519"/>
                    </a:lnTo>
                    <a:lnTo>
                      <a:pt x="1235046" y="928064"/>
                    </a:lnTo>
                    <a:lnTo>
                      <a:pt x="1238227" y="926246"/>
                    </a:lnTo>
                    <a:lnTo>
                      <a:pt x="1240652" y="925791"/>
                    </a:lnTo>
                    <a:lnTo>
                      <a:pt x="1241864" y="923519"/>
                    </a:lnTo>
                    <a:lnTo>
                      <a:pt x="1240804" y="920034"/>
                    </a:lnTo>
                    <a:lnTo>
                      <a:pt x="1242470" y="917609"/>
                    </a:lnTo>
                    <a:lnTo>
                      <a:pt x="1243683" y="917155"/>
                    </a:lnTo>
                    <a:lnTo>
                      <a:pt x="1249440" y="917609"/>
                    </a:lnTo>
                    <a:lnTo>
                      <a:pt x="1250804" y="916852"/>
                    </a:lnTo>
                    <a:lnTo>
                      <a:pt x="1249591" y="914731"/>
                    </a:lnTo>
                    <a:lnTo>
                      <a:pt x="1247622" y="913367"/>
                    </a:lnTo>
                    <a:lnTo>
                      <a:pt x="1247016" y="911700"/>
                    </a:lnTo>
                    <a:lnTo>
                      <a:pt x="1247925" y="910639"/>
                    </a:lnTo>
                    <a:lnTo>
                      <a:pt x="1250198" y="910185"/>
                    </a:lnTo>
                    <a:lnTo>
                      <a:pt x="1252470" y="910791"/>
                    </a:lnTo>
                    <a:lnTo>
                      <a:pt x="1254592" y="910336"/>
                    </a:lnTo>
                    <a:lnTo>
                      <a:pt x="1256713" y="911852"/>
                    </a:lnTo>
                    <a:lnTo>
                      <a:pt x="1259289" y="913064"/>
                    </a:lnTo>
                    <a:lnTo>
                      <a:pt x="1260046" y="912458"/>
                    </a:lnTo>
                    <a:lnTo>
                      <a:pt x="1259895" y="911094"/>
                    </a:lnTo>
                    <a:lnTo>
                      <a:pt x="1257774" y="906700"/>
                    </a:lnTo>
                    <a:lnTo>
                      <a:pt x="1258077" y="903518"/>
                    </a:lnTo>
                    <a:lnTo>
                      <a:pt x="1259895" y="899881"/>
                    </a:lnTo>
                    <a:lnTo>
                      <a:pt x="1260804" y="897154"/>
                    </a:lnTo>
                    <a:lnTo>
                      <a:pt x="1260046" y="894730"/>
                    </a:lnTo>
                    <a:lnTo>
                      <a:pt x="1256865" y="894578"/>
                    </a:lnTo>
                    <a:lnTo>
                      <a:pt x="1254592" y="896245"/>
                    </a:lnTo>
                    <a:lnTo>
                      <a:pt x="1252319" y="896396"/>
                    </a:lnTo>
                    <a:lnTo>
                      <a:pt x="1250500" y="895639"/>
                    </a:lnTo>
                    <a:lnTo>
                      <a:pt x="1247167" y="891396"/>
                    </a:lnTo>
                    <a:lnTo>
                      <a:pt x="1249743" y="891851"/>
                    </a:lnTo>
                    <a:lnTo>
                      <a:pt x="1252016" y="893063"/>
                    </a:lnTo>
                    <a:lnTo>
                      <a:pt x="1253531" y="893366"/>
                    </a:lnTo>
                    <a:lnTo>
                      <a:pt x="1256107" y="893366"/>
                    </a:lnTo>
                    <a:lnTo>
                      <a:pt x="1258986" y="891245"/>
                    </a:lnTo>
                    <a:lnTo>
                      <a:pt x="1262471" y="888063"/>
                    </a:lnTo>
                    <a:lnTo>
                      <a:pt x="1265350" y="886245"/>
                    </a:lnTo>
                    <a:lnTo>
                      <a:pt x="1267622" y="885184"/>
                    </a:lnTo>
                    <a:lnTo>
                      <a:pt x="1267471" y="884123"/>
                    </a:lnTo>
                    <a:lnTo>
                      <a:pt x="1266411" y="882911"/>
                    </a:lnTo>
                    <a:lnTo>
                      <a:pt x="1266108" y="881850"/>
                    </a:lnTo>
                    <a:lnTo>
                      <a:pt x="1264895" y="878972"/>
                    </a:lnTo>
                    <a:lnTo>
                      <a:pt x="1263229" y="877153"/>
                    </a:lnTo>
                    <a:lnTo>
                      <a:pt x="1260804" y="876850"/>
                    </a:lnTo>
                    <a:lnTo>
                      <a:pt x="1260350" y="875184"/>
                    </a:lnTo>
                    <a:lnTo>
                      <a:pt x="1259441" y="873517"/>
                    </a:lnTo>
                    <a:lnTo>
                      <a:pt x="1259441" y="871850"/>
                    </a:lnTo>
                    <a:lnTo>
                      <a:pt x="1261107" y="872911"/>
                    </a:lnTo>
                    <a:lnTo>
                      <a:pt x="1262774" y="873517"/>
                    </a:lnTo>
                    <a:lnTo>
                      <a:pt x="1264289" y="872153"/>
                    </a:lnTo>
                    <a:lnTo>
                      <a:pt x="1264895" y="870486"/>
                    </a:lnTo>
                    <a:lnTo>
                      <a:pt x="1265804" y="870032"/>
                    </a:lnTo>
                    <a:lnTo>
                      <a:pt x="1265501" y="871396"/>
                    </a:lnTo>
                    <a:lnTo>
                      <a:pt x="1265653" y="873214"/>
                    </a:lnTo>
                    <a:lnTo>
                      <a:pt x="1266259" y="874577"/>
                    </a:lnTo>
                    <a:lnTo>
                      <a:pt x="1267320" y="874729"/>
                    </a:lnTo>
                    <a:lnTo>
                      <a:pt x="1267320" y="876850"/>
                    </a:lnTo>
                    <a:lnTo>
                      <a:pt x="1269592" y="877608"/>
                    </a:lnTo>
                    <a:lnTo>
                      <a:pt x="1271714" y="876244"/>
                    </a:lnTo>
                    <a:lnTo>
                      <a:pt x="1272926" y="875184"/>
                    </a:lnTo>
                    <a:lnTo>
                      <a:pt x="1273229" y="872002"/>
                    </a:lnTo>
                    <a:lnTo>
                      <a:pt x="1274289" y="868971"/>
                    </a:lnTo>
                    <a:lnTo>
                      <a:pt x="1278077" y="862759"/>
                    </a:lnTo>
                    <a:lnTo>
                      <a:pt x="1280956" y="861092"/>
                    </a:lnTo>
                    <a:lnTo>
                      <a:pt x="1283229" y="858213"/>
                    </a:lnTo>
                    <a:lnTo>
                      <a:pt x="1285199" y="856395"/>
                    </a:lnTo>
                    <a:lnTo>
                      <a:pt x="1287018" y="853667"/>
                    </a:lnTo>
                    <a:lnTo>
                      <a:pt x="1287623" y="851546"/>
                    </a:lnTo>
                    <a:lnTo>
                      <a:pt x="1286411" y="848667"/>
                    </a:lnTo>
                    <a:lnTo>
                      <a:pt x="1288532" y="847001"/>
                    </a:lnTo>
                    <a:lnTo>
                      <a:pt x="1288381" y="845637"/>
                    </a:lnTo>
                    <a:lnTo>
                      <a:pt x="1288987" y="843970"/>
                    </a:lnTo>
                    <a:lnTo>
                      <a:pt x="1293078" y="839576"/>
                    </a:lnTo>
                    <a:lnTo>
                      <a:pt x="1293078" y="838213"/>
                    </a:lnTo>
                    <a:lnTo>
                      <a:pt x="1291108" y="837000"/>
                    </a:lnTo>
                    <a:lnTo>
                      <a:pt x="1290654" y="836091"/>
                    </a:lnTo>
                    <a:lnTo>
                      <a:pt x="1292472" y="835940"/>
                    </a:lnTo>
                    <a:lnTo>
                      <a:pt x="1294594" y="836243"/>
                    </a:lnTo>
                    <a:lnTo>
                      <a:pt x="1296412" y="835334"/>
                    </a:lnTo>
                    <a:lnTo>
                      <a:pt x="1298533" y="831849"/>
                    </a:lnTo>
                    <a:lnTo>
                      <a:pt x="1300200" y="827909"/>
                    </a:lnTo>
                    <a:lnTo>
                      <a:pt x="1301563" y="826848"/>
                    </a:lnTo>
                    <a:lnTo>
                      <a:pt x="1303533" y="826242"/>
                    </a:lnTo>
                    <a:lnTo>
                      <a:pt x="1305049" y="829879"/>
                    </a:lnTo>
                    <a:lnTo>
                      <a:pt x="1307321" y="829576"/>
                    </a:lnTo>
                    <a:lnTo>
                      <a:pt x="1311564" y="826848"/>
                    </a:lnTo>
                    <a:lnTo>
                      <a:pt x="1314291" y="827758"/>
                    </a:lnTo>
                    <a:lnTo>
                      <a:pt x="1314139" y="825485"/>
                    </a:lnTo>
                    <a:lnTo>
                      <a:pt x="1312321" y="820939"/>
                    </a:lnTo>
                    <a:lnTo>
                      <a:pt x="1310655" y="817454"/>
                    </a:lnTo>
                    <a:lnTo>
                      <a:pt x="1311867" y="815333"/>
                    </a:lnTo>
                    <a:lnTo>
                      <a:pt x="1313836" y="814727"/>
                    </a:lnTo>
                    <a:lnTo>
                      <a:pt x="1314897" y="813818"/>
                    </a:lnTo>
                    <a:lnTo>
                      <a:pt x="1315806" y="811393"/>
                    </a:lnTo>
                    <a:lnTo>
                      <a:pt x="1312473" y="808969"/>
                    </a:lnTo>
                    <a:lnTo>
                      <a:pt x="1315200" y="809423"/>
                    </a:lnTo>
                    <a:lnTo>
                      <a:pt x="1316261" y="808363"/>
                    </a:lnTo>
                    <a:lnTo>
                      <a:pt x="1315806" y="806696"/>
                    </a:lnTo>
                    <a:lnTo>
                      <a:pt x="1311867" y="803514"/>
                    </a:lnTo>
                    <a:lnTo>
                      <a:pt x="1309897" y="803060"/>
                    </a:lnTo>
                    <a:lnTo>
                      <a:pt x="1310957" y="801241"/>
                    </a:lnTo>
                    <a:lnTo>
                      <a:pt x="1312170" y="799878"/>
                    </a:lnTo>
                    <a:lnTo>
                      <a:pt x="1315503" y="799878"/>
                    </a:lnTo>
                    <a:lnTo>
                      <a:pt x="1317170" y="799272"/>
                    </a:lnTo>
                    <a:lnTo>
                      <a:pt x="1319140" y="800181"/>
                    </a:lnTo>
                    <a:lnTo>
                      <a:pt x="1320806" y="803060"/>
                    </a:lnTo>
                    <a:lnTo>
                      <a:pt x="1322625" y="802908"/>
                    </a:lnTo>
                    <a:lnTo>
                      <a:pt x="1323989" y="792302"/>
                    </a:lnTo>
                    <a:lnTo>
                      <a:pt x="1323231" y="788817"/>
                    </a:lnTo>
                    <a:lnTo>
                      <a:pt x="1321715" y="788211"/>
                    </a:lnTo>
                    <a:lnTo>
                      <a:pt x="1319897" y="788968"/>
                    </a:lnTo>
                    <a:lnTo>
                      <a:pt x="1316261" y="791696"/>
                    </a:lnTo>
                    <a:lnTo>
                      <a:pt x="1311260" y="792453"/>
                    </a:lnTo>
                    <a:lnTo>
                      <a:pt x="1313079" y="790938"/>
                    </a:lnTo>
                    <a:lnTo>
                      <a:pt x="1315806" y="789574"/>
                    </a:lnTo>
                    <a:lnTo>
                      <a:pt x="1322019" y="783817"/>
                    </a:lnTo>
                    <a:lnTo>
                      <a:pt x="1326868" y="781089"/>
                    </a:lnTo>
                    <a:lnTo>
                      <a:pt x="1325049" y="780635"/>
                    </a:lnTo>
                    <a:lnTo>
                      <a:pt x="1323080" y="780483"/>
                    </a:lnTo>
                    <a:lnTo>
                      <a:pt x="1319443" y="778816"/>
                    </a:lnTo>
                    <a:lnTo>
                      <a:pt x="1315806" y="778059"/>
                    </a:lnTo>
                    <a:lnTo>
                      <a:pt x="1309139" y="770634"/>
                    </a:lnTo>
                    <a:lnTo>
                      <a:pt x="1306563" y="768967"/>
                    </a:lnTo>
                    <a:lnTo>
                      <a:pt x="1304291" y="768361"/>
                    </a:lnTo>
                    <a:lnTo>
                      <a:pt x="1301563" y="768361"/>
                    </a:lnTo>
                    <a:lnTo>
                      <a:pt x="1294594" y="772604"/>
                    </a:lnTo>
                    <a:lnTo>
                      <a:pt x="1287169" y="773362"/>
                    </a:lnTo>
                    <a:lnTo>
                      <a:pt x="1283381" y="768361"/>
                    </a:lnTo>
                    <a:lnTo>
                      <a:pt x="1279441" y="770028"/>
                    </a:lnTo>
                    <a:lnTo>
                      <a:pt x="1276865" y="769574"/>
                    </a:lnTo>
                    <a:lnTo>
                      <a:pt x="1275956" y="770028"/>
                    </a:lnTo>
                    <a:lnTo>
                      <a:pt x="1275047" y="770331"/>
                    </a:lnTo>
                    <a:lnTo>
                      <a:pt x="1276411" y="769119"/>
                    </a:lnTo>
                    <a:lnTo>
                      <a:pt x="1282017" y="765937"/>
                    </a:lnTo>
                    <a:lnTo>
                      <a:pt x="1287018" y="765786"/>
                    </a:lnTo>
                    <a:lnTo>
                      <a:pt x="1292320" y="766846"/>
                    </a:lnTo>
                    <a:lnTo>
                      <a:pt x="1294442" y="765786"/>
                    </a:lnTo>
                    <a:lnTo>
                      <a:pt x="1295503" y="763513"/>
                    </a:lnTo>
                    <a:lnTo>
                      <a:pt x="1297169" y="760937"/>
                    </a:lnTo>
                    <a:lnTo>
                      <a:pt x="1305654" y="756694"/>
                    </a:lnTo>
                    <a:lnTo>
                      <a:pt x="1308685" y="753967"/>
                    </a:lnTo>
                    <a:lnTo>
                      <a:pt x="1311715" y="752452"/>
                    </a:lnTo>
                    <a:lnTo>
                      <a:pt x="1315806" y="751694"/>
                    </a:lnTo>
                    <a:lnTo>
                      <a:pt x="1318382" y="751543"/>
                    </a:lnTo>
                    <a:lnTo>
                      <a:pt x="1321412" y="750179"/>
                    </a:lnTo>
                    <a:lnTo>
                      <a:pt x="1320201" y="745785"/>
                    </a:lnTo>
                    <a:lnTo>
                      <a:pt x="1318837" y="742754"/>
                    </a:lnTo>
                    <a:lnTo>
                      <a:pt x="1315352" y="738057"/>
                    </a:lnTo>
                    <a:lnTo>
                      <a:pt x="1306867" y="733057"/>
                    </a:lnTo>
                    <a:lnTo>
                      <a:pt x="1302927" y="728815"/>
                    </a:lnTo>
                    <a:lnTo>
                      <a:pt x="1298836" y="726087"/>
                    </a:lnTo>
                    <a:lnTo>
                      <a:pt x="1295654" y="725178"/>
                    </a:lnTo>
                    <a:lnTo>
                      <a:pt x="1291563" y="723057"/>
                    </a:lnTo>
                    <a:lnTo>
                      <a:pt x="1290654" y="719875"/>
                    </a:lnTo>
                    <a:lnTo>
                      <a:pt x="1289593" y="718057"/>
                    </a:lnTo>
                    <a:lnTo>
                      <a:pt x="1283684" y="716996"/>
                    </a:lnTo>
                    <a:lnTo>
                      <a:pt x="1279593" y="718966"/>
                    </a:lnTo>
                    <a:lnTo>
                      <a:pt x="1275350" y="720329"/>
                    </a:lnTo>
                    <a:lnTo>
                      <a:pt x="1271108" y="719420"/>
                    </a:lnTo>
                    <a:lnTo>
                      <a:pt x="1272168" y="718663"/>
                    </a:lnTo>
                    <a:lnTo>
                      <a:pt x="1272775" y="718208"/>
                    </a:lnTo>
                    <a:lnTo>
                      <a:pt x="1275047" y="718511"/>
                    </a:lnTo>
                    <a:lnTo>
                      <a:pt x="1284290" y="714268"/>
                    </a:lnTo>
                    <a:lnTo>
                      <a:pt x="1288078" y="715026"/>
                    </a:lnTo>
                    <a:lnTo>
                      <a:pt x="1291715" y="716541"/>
                    </a:lnTo>
                    <a:lnTo>
                      <a:pt x="1296715" y="721390"/>
                    </a:lnTo>
                    <a:lnTo>
                      <a:pt x="1301412" y="722148"/>
                    </a:lnTo>
                    <a:lnTo>
                      <a:pt x="1304745" y="721542"/>
                    </a:lnTo>
                    <a:lnTo>
                      <a:pt x="1307018" y="721693"/>
                    </a:lnTo>
                    <a:lnTo>
                      <a:pt x="1315958" y="726087"/>
                    </a:lnTo>
                    <a:lnTo>
                      <a:pt x="1318231" y="726542"/>
                    </a:lnTo>
                    <a:lnTo>
                      <a:pt x="1321110" y="726390"/>
                    </a:lnTo>
                    <a:lnTo>
                      <a:pt x="1320806" y="723057"/>
                    </a:lnTo>
                    <a:lnTo>
                      <a:pt x="1320201" y="720481"/>
                    </a:lnTo>
                    <a:lnTo>
                      <a:pt x="1317927" y="717602"/>
                    </a:lnTo>
                    <a:lnTo>
                      <a:pt x="1315806" y="715784"/>
                    </a:lnTo>
                    <a:lnTo>
                      <a:pt x="1310806" y="713663"/>
                    </a:lnTo>
                    <a:lnTo>
                      <a:pt x="1309746" y="712753"/>
                    </a:lnTo>
                    <a:lnTo>
                      <a:pt x="1308533" y="711087"/>
                    </a:lnTo>
                    <a:lnTo>
                      <a:pt x="1308382" y="706086"/>
                    </a:lnTo>
                    <a:lnTo>
                      <a:pt x="1306715" y="704420"/>
                    </a:lnTo>
                    <a:lnTo>
                      <a:pt x="1305351" y="703511"/>
                    </a:lnTo>
                    <a:lnTo>
                      <a:pt x="1297017" y="700177"/>
                    </a:lnTo>
                    <a:lnTo>
                      <a:pt x="1293229" y="697298"/>
                    </a:lnTo>
                    <a:lnTo>
                      <a:pt x="1293229" y="694116"/>
                    </a:lnTo>
                    <a:lnTo>
                      <a:pt x="1294442" y="691692"/>
                    </a:lnTo>
                    <a:lnTo>
                      <a:pt x="1293684" y="686389"/>
                    </a:lnTo>
                    <a:lnTo>
                      <a:pt x="1289896" y="679722"/>
                    </a:lnTo>
                    <a:lnTo>
                      <a:pt x="1286714" y="671994"/>
                    </a:lnTo>
                    <a:lnTo>
                      <a:pt x="1283684" y="667449"/>
                    </a:lnTo>
                    <a:lnTo>
                      <a:pt x="1283532" y="665024"/>
                    </a:lnTo>
                    <a:lnTo>
                      <a:pt x="1281563" y="660479"/>
                    </a:lnTo>
                    <a:lnTo>
                      <a:pt x="1278684" y="651236"/>
                    </a:lnTo>
                    <a:lnTo>
                      <a:pt x="1277168" y="648054"/>
                    </a:lnTo>
                    <a:lnTo>
                      <a:pt x="1275350" y="646539"/>
                    </a:lnTo>
                    <a:lnTo>
                      <a:pt x="1268835" y="642751"/>
                    </a:lnTo>
                    <a:lnTo>
                      <a:pt x="1263532" y="641236"/>
                    </a:lnTo>
                    <a:lnTo>
                      <a:pt x="1258380" y="638660"/>
                    </a:lnTo>
                    <a:lnTo>
                      <a:pt x="1254137" y="634569"/>
                    </a:lnTo>
                    <a:lnTo>
                      <a:pt x="1252016" y="633508"/>
                    </a:lnTo>
                    <a:lnTo>
                      <a:pt x="1247925" y="633508"/>
                    </a:lnTo>
                    <a:lnTo>
                      <a:pt x="1247016" y="630478"/>
                    </a:lnTo>
                    <a:lnTo>
                      <a:pt x="1248380" y="625477"/>
                    </a:lnTo>
                    <a:lnTo>
                      <a:pt x="1252168" y="622296"/>
                    </a:lnTo>
                    <a:lnTo>
                      <a:pt x="1254289" y="616538"/>
                    </a:lnTo>
                    <a:lnTo>
                      <a:pt x="1256865" y="614720"/>
                    </a:lnTo>
                    <a:lnTo>
                      <a:pt x="1259137" y="611234"/>
                    </a:lnTo>
                    <a:lnTo>
                      <a:pt x="1262168" y="607598"/>
                    </a:lnTo>
                    <a:lnTo>
                      <a:pt x="1264592" y="606689"/>
                    </a:lnTo>
                    <a:lnTo>
                      <a:pt x="1266108" y="605931"/>
                    </a:lnTo>
                    <a:lnTo>
                      <a:pt x="1267320" y="604416"/>
                    </a:lnTo>
                    <a:lnTo>
                      <a:pt x="1269138" y="602901"/>
                    </a:lnTo>
                    <a:lnTo>
                      <a:pt x="1270501" y="601083"/>
                    </a:lnTo>
                    <a:lnTo>
                      <a:pt x="1271259" y="599113"/>
                    </a:lnTo>
                    <a:lnTo>
                      <a:pt x="1275805" y="596840"/>
                    </a:lnTo>
                    <a:lnTo>
                      <a:pt x="1277623" y="595325"/>
                    </a:lnTo>
                    <a:lnTo>
                      <a:pt x="1277017" y="594567"/>
                    </a:lnTo>
                    <a:lnTo>
                      <a:pt x="1274744" y="594264"/>
                    </a:lnTo>
                    <a:lnTo>
                      <a:pt x="1272320" y="591082"/>
                    </a:lnTo>
                    <a:lnTo>
                      <a:pt x="1272926" y="590173"/>
                    </a:lnTo>
                    <a:lnTo>
                      <a:pt x="1274744" y="588506"/>
                    </a:lnTo>
                    <a:lnTo>
                      <a:pt x="1277168" y="587749"/>
                    </a:lnTo>
                    <a:lnTo>
                      <a:pt x="1278684" y="587749"/>
                    </a:lnTo>
                    <a:lnTo>
                      <a:pt x="1279138" y="588961"/>
                    </a:lnTo>
                    <a:lnTo>
                      <a:pt x="1278835" y="591385"/>
                    </a:lnTo>
                    <a:lnTo>
                      <a:pt x="1279290" y="592294"/>
                    </a:lnTo>
                    <a:lnTo>
                      <a:pt x="1280502" y="593052"/>
                    </a:lnTo>
                    <a:lnTo>
                      <a:pt x="1283987" y="591385"/>
                    </a:lnTo>
                    <a:lnTo>
                      <a:pt x="1287169" y="590779"/>
                    </a:lnTo>
                    <a:lnTo>
                      <a:pt x="1288381" y="589567"/>
                    </a:lnTo>
                    <a:lnTo>
                      <a:pt x="1288381" y="584264"/>
                    </a:lnTo>
                    <a:lnTo>
                      <a:pt x="1289139" y="581991"/>
                    </a:lnTo>
                    <a:lnTo>
                      <a:pt x="1290957" y="580627"/>
                    </a:lnTo>
                    <a:lnTo>
                      <a:pt x="1292927" y="581536"/>
                    </a:lnTo>
                    <a:lnTo>
                      <a:pt x="1294290" y="580930"/>
                    </a:lnTo>
                    <a:lnTo>
                      <a:pt x="1294594" y="579718"/>
                    </a:lnTo>
                    <a:lnTo>
                      <a:pt x="1293987" y="578052"/>
                    </a:lnTo>
                    <a:lnTo>
                      <a:pt x="1291563" y="575930"/>
                    </a:lnTo>
                    <a:lnTo>
                      <a:pt x="1292017" y="575173"/>
                    </a:lnTo>
                    <a:lnTo>
                      <a:pt x="1293836" y="575173"/>
                    </a:lnTo>
                    <a:lnTo>
                      <a:pt x="1296866" y="576385"/>
                    </a:lnTo>
                    <a:lnTo>
                      <a:pt x="1298684" y="575930"/>
                    </a:lnTo>
                    <a:lnTo>
                      <a:pt x="1301109" y="574415"/>
                    </a:lnTo>
                    <a:lnTo>
                      <a:pt x="1308533" y="571991"/>
                    </a:lnTo>
                    <a:lnTo>
                      <a:pt x="1315503" y="568960"/>
                    </a:lnTo>
                    <a:lnTo>
                      <a:pt x="1322776" y="565172"/>
                    </a:lnTo>
                    <a:lnTo>
                      <a:pt x="1325958" y="564869"/>
                    </a:lnTo>
                    <a:lnTo>
                      <a:pt x="1328988" y="565324"/>
                    </a:lnTo>
                    <a:lnTo>
                      <a:pt x="1330049" y="566384"/>
                    </a:lnTo>
                    <a:lnTo>
                      <a:pt x="1330504" y="567900"/>
                    </a:lnTo>
                    <a:lnTo>
                      <a:pt x="1331110" y="568809"/>
                    </a:lnTo>
                    <a:lnTo>
                      <a:pt x="1332019" y="569263"/>
                    </a:lnTo>
                    <a:lnTo>
                      <a:pt x="1333837" y="569263"/>
                    </a:lnTo>
                    <a:lnTo>
                      <a:pt x="1337019" y="566688"/>
                    </a:lnTo>
                    <a:lnTo>
                      <a:pt x="1338686" y="565627"/>
                    </a:lnTo>
                    <a:lnTo>
                      <a:pt x="1338837" y="563809"/>
                    </a:lnTo>
                    <a:lnTo>
                      <a:pt x="1337777" y="563202"/>
                    </a:lnTo>
                    <a:lnTo>
                      <a:pt x="1336716" y="561839"/>
                    </a:lnTo>
                    <a:lnTo>
                      <a:pt x="1338534" y="559717"/>
                    </a:lnTo>
                    <a:lnTo>
                      <a:pt x="1340504" y="558354"/>
                    </a:lnTo>
                    <a:lnTo>
                      <a:pt x="1340050" y="554111"/>
                    </a:lnTo>
                    <a:lnTo>
                      <a:pt x="1342625" y="551384"/>
                    </a:lnTo>
                    <a:lnTo>
                      <a:pt x="1340807" y="550626"/>
                    </a:lnTo>
                    <a:lnTo>
                      <a:pt x="1337777" y="551232"/>
                    </a:lnTo>
                    <a:lnTo>
                      <a:pt x="1333535" y="551384"/>
                    </a:lnTo>
                    <a:lnTo>
                      <a:pt x="1328988" y="549717"/>
                    </a:lnTo>
                    <a:lnTo>
                      <a:pt x="1327322" y="547596"/>
                    </a:lnTo>
                    <a:lnTo>
                      <a:pt x="1325807" y="547444"/>
                    </a:lnTo>
                    <a:lnTo>
                      <a:pt x="1324594" y="548505"/>
                    </a:lnTo>
                    <a:lnTo>
                      <a:pt x="1323382" y="550020"/>
                    </a:lnTo>
                    <a:lnTo>
                      <a:pt x="1319292" y="549717"/>
                    </a:lnTo>
                    <a:lnTo>
                      <a:pt x="1314443" y="549566"/>
                    </a:lnTo>
                    <a:lnTo>
                      <a:pt x="1310806" y="547899"/>
                    </a:lnTo>
                    <a:lnTo>
                      <a:pt x="1307624" y="545929"/>
                    </a:lnTo>
                    <a:lnTo>
                      <a:pt x="1303079" y="545323"/>
                    </a:lnTo>
                    <a:lnTo>
                      <a:pt x="1298382" y="541384"/>
                    </a:lnTo>
                    <a:lnTo>
                      <a:pt x="1290199" y="537898"/>
                    </a:lnTo>
                    <a:lnTo>
                      <a:pt x="1279744" y="542141"/>
                    </a:lnTo>
                    <a:lnTo>
                      <a:pt x="1277472" y="542444"/>
                    </a:lnTo>
                    <a:lnTo>
                      <a:pt x="1276714" y="542899"/>
                    </a:lnTo>
                    <a:lnTo>
                      <a:pt x="1277472" y="543656"/>
                    </a:lnTo>
                    <a:lnTo>
                      <a:pt x="1278077" y="544717"/>
                    </a:lnTo>
                    <a:lnTo>
                      <a:pt x="1273835" y="548808"/>
                    </a:lnTo>
                    <a:lnTo>
                      <a:pt x="1266411" y="553354"/>
                    </a:lnTo>
                    <a:lnTo>
                      <a:pt x="1266259" y="555020"/>
                    </a:lnTo>
                    <a:lnTo>
                      <a:pt x="1266411" y="556384"/>
                    </a:lnTo>
                    <a:lnTo>
                      <a:pt x="1262925" y="559414"/>
                    </a:lnTo>
                    <a:lnTo>
                      <a:pt x="1254440" y="560324"/>
                    </a:lnTo>
                    <a:lnTo>
                      <a:pt x="1250046" y="559869"/>
                    </a:lnTo>
                    <a:lnTo>
                      <a:pt x="1245198" y="557899"/>
                    </a:lnTo>
                    <a:lnTo>
                      <a:pt x="1242015" y="555475"/>
                    </a:lnTo>
                    <a:lnTo>
                      <a:pt x="1240804" y="553808"/>
                    </a:lnTo>
                    <a:lnTo>
                      <a:pt x="1240804" y="548657"/>
                    </a:lnTo>
                    <a:lnTo>
                      <a:pt x="1241713" y="543959"/>
                    </a:lnTo>
                    <a:lnTo>
                      <a:pt x="1242924" y="543353"/>
                    </a:lnTo>
                    <a:lnTo>
                      <a:pt x="1244440" y="542141"/>
                    </a:lnTo>
                    <a:lnTo>
                      <a:pt x="1243985" y="540626"/>
                    </a:lnTo>
                    <a:lnTo>
                      <a:pt x="1243076" y="539717"/>
                    </a:lnTo>
                    <a:lnTo>
                      <a:pt x="1242924" y="538656"/>
                    </a:lnTo>
                    <a:lnTo>
                      <a:pt x="1242773" y="535626"/>
                    </a:lnTo>
                    <a:lnTo>
                      <a:pt x="1240349" y="531231"/>
                    </a:lnTo>
                    <a:lnTo>
                      <a:pt x="1236561" y="528504"/>
                    </a:lnTo>
                    <a:lnTo>
                      <a:pt x="1232924" y="528504"/>
                    </a:lnTo>
                    <a:lnTo>
                      <a:pt x="1229591" y="529565"/>
                    </a:lnTo>
                    <a:lnTo>
                      <a:pt x="1215197" y="526837"/>
                    </a:lnTo>
                    <a:lnTo>
                      <a:pt x="1208378" y="522746"/>
                    </a:lnTo>
                    <a:lnTo>
                      <a:pt x="1205348" y="519110"/>
                    </a:lnTo>
                    <a:lnTo>
                      <a:pt x="1202620" y="512746"/>
                    </a:lnTo>
                    <a:lnTo>
                      <a:pt x="1202469" y="510625"/>
                    </a:lnTo>
                    <a:lnTo>
                      <a:pt x="1204135" y="505473"/>
                    </a:lnTo>
                    <a:lnTo>
                      <a:pt x="1208681" y="496533"/>
                    </a:lnTo>
                    <a:lnTo>
                      <a:pt x="1210954" y="494715"/>
                    </a:lnTo>
                    <a:lnTo>
                      <a:pt x="1215803" y="493654"/>
                    </a:lnTo>
                    <a:lnTo>
                      <a:pt x="1218681" y="494715"/>
                    </a:lnTo>
                    <a:lnTo>
                      <a:pt x="1222773" y="498806"/>
                    </a:lnTo>
                    <a:lnTo>
                      <a:pt x="1227470" y="497139"/>
                    </a:lnTo>
                    <a:lnTo>
                      <a:pt x="1231712" y="495321"/>
                    </a:lnTo>
                    <a:lnTo>
                      <a:pt x="1235197" y="495776"/>
                    </a:lnTo>
                    <a:lnTo>
                      <a:pt x="1237167" y="495473"/>
                    </a:lnTo>
                    <a:lnTo>
                      <a:pt x="1239591" y="495624"/>
                    </a:lnTo>
                    <a:lnTo>
                      <a:pt x="1241410" y="495170"/>
                    </a:lnTo>
                    <a:lnTo>
                      <a:pt x="1243076" y="493958"/>
                    </a:lnTo>
                    <a:lnTo>
                      <a:pt x="1248077" y="488048"/>
                    </a:lnTo>
                    <a:lnTo>
                      <a:pt x="1249137" y="483199"/>
                    </a:lnTo>
                    <a:lnTo>
                      <a:pt x="1250804" y="480018"/>
                    </a:lnTo>
                    <a:lnTo>
                      <a:pt x="1252622" y="477139"/>
                    </a:lnTo>
                    <a:lnTo>
                      <a:pt x="1258077" y="472290"/>
                    </a:lnTo>
                    <a:lnTo>
                      <a:pt x="1265198" y="469563"/>
                    </a:lnTo>
                    <a:lnTo>
                      <a:pt x="1279441" y="462593"/>
                    </a:lnTo>
                    <a:lnTo>
                      <a:pt x="1282472" y="461684"/>
                    </a:lnTo>
                    <a:lnTo>
                      <a:pt x="1290502" y="450168"/>
                    </a:lnTo>
                    <a:lnTo>
                      <a:pt x="1292472" y="448198"/>
                    </a:lnTo>
                    <a:lnTo>
                      <a:pt x="1294745" y="447138"/>
                    </a:lnTo>
                    <a:lnTo>
                      <a:pt x="1297017" y="445016"/>
                    </a:lnTo>
                    <a:lnTo>
                      <a:pt x="1299291" y="441986"/>
                    </a:lnTo>
                    <a:lnTo>
                      <a:pt x="1301715" y="440016"/>
                    </a:lnTo>
                    <a:lnTo>
                      <a:pt x="1311564" y="440774"/>
                    </a:lnTo>
                    <a:lnTo>
                      <a:pt x="1313230" y="441834"/>
                    </a:lnTo>
                    <a:lnTo>
                      <a:pt x="1316867" y="441683"/>
                    </a:lnTo>
                    <a:lnTo>
                      <a:pt x="1317927" y="440774"/>
                    </a:lnTo>
                    <a:lnTo>
                      <a:pt x="1319140" y="437743"/>
                    </a:lnTo>
                    <a:lnTo>
                      <a:pt x="1319897" y="437592"/>
                    </a:lnTo>
                    <a:lnTo>
                      <a:pt x="1320503" y="441834"/>
                    </a:lnTo>
                    <a:lnTo>
                      <a:pt x="1328231" y="446835"/>
                    </a:lnTo>
                    <a:lnTo>
                      <a:pt x="1329291" y="449562"/>
                    </a:lnTo>
                    <a:lnTo>
                      <a:pt x="1331867" y="451532"/>
                    </a:lnTo>
                    <a:lnTo>
                      <a:pt x="1331565" y="452895"/>
                    </a:lnTo>
                    <a:lnTo>
                      <a:pt x="1329897" y="456229"/>
                    </a:lnTo>
                    <a:lnTo>
                      <a:pt x="1329595" y="457441"/>
                    </a:lnTo>
                    <a:lnTo>
                      <a:pt x="1323837" y="464562"/>
                    </a:lnTo>
                    <a:lnTo>
                      <a:pt x="1320655" y="467441"/>
                    </a:lnTo>
                    <a:lnTo>
                      <a:pt x="1318837" y="470472"/>
                    </a:lnTo>
                    <a:lnTo>
                      <a:pt x="1311109" y="473805"/>
                    </a:lnTo>
                    <a:lnTo>
                      <a:pt x="1309897" y="476684"/>
                    </a:lnTo>
                    <a:lnTo>
                      <a:pt x="1310957" y="478957"/>
                    </a:lnTo>
                    <a:lnTo>
                      <a:pt x="1311109" y="480472"/>
                    </a:lnTo>
                    <a:lnTo>
                      <a:pt x="1309746" y="480472"/>
                    </a:lnTo>
                    <a:lnTo>
                      <a:pt x="1308079" y="481078"/>
                    </a:lnTo>
                    <a:lnTo>
                      <a:pt x="1304291" y="483503"/>
                    </a:lnTo>
                    <a:lnTo>
                      <a:pt x="1304745" y="484260"/>
                    </a:lnTo>
                    <a:lnTo>
                      <a:pt x="1305049" y="486381"/>
                    </a:lnTo>
                    <a:lnTo>
                      <a:pt x="1304442" y="488503"/>
                    </a:lnTo>
                    <a:lnTo>
                      <a:pt x="1306563" y="488806"/>
                    </a:lnTo>
                    <a:lnTo>
                      <a:pt x="1310806" y="488806"/>
                    </a:lnTo>
                    <a:lnTo>
                      <a:pt x="1318231" y="488048"/>
                    </a:lnTo>
                    <a:lnTo>
                      <a:pt x="1319140" y="488503"/>
                    </a:lnTo>
                    <a:lnTo>
                      <a:pt x="1317473" y="489715"/>
                    </a:lnTo>
                    <a:lnTo>
                      <a:pt x="1314897" y="492291"/>
                    </a:lnTo>
                    <a:lnTo>
                      <a:pt x="1313836" y="493806"/>
                    </a:lnTo>
                    <a:lnTo>
                      <a:pt x="1315200" y="497291"/>
                    </a:lnTo>
                    <a:lnTo>
                      <a:pt x="1303836" y="501988"/>
                    </a:lnTo>
                    <a:lnTo>
                      <a:pt x="1301715" y="502443"/>
                    </a:lnTo>
                    <a:lnTo>
                      <a:pt x="1299442" y="503200"/>
                    </a:lnTo>
                    <a:lnTo>
                      <a:pt x="1299896" y="506685"/>
                    </a:lnTo>
                    <a:lnTo>
                      <a:pt x="1301109" y="509261"/>
                    </a:lnTo>
                    <a:lnTo>
                      <a:pt x="1302321" y="508958"/>
                    </a:lnTo>
                    <a:lnTo>
                      <a:pt x="1303079" y="508200"/>
                    </a:lnTo>
                    <a:lnTo>
                      <a:pt x="1305351" y="506837"/>
                    </a:lnTo>
                    <a:lnTo>
                      <a:pt x="1310806" y="506079"/>
                    </a:lnTo>
                    <a:lnTo>
                      <a:pt x="1314443" y="505018"/>
                    </a:lnTo>
                    <a:lnTo>
                      <a:pt x="1315048" y="504109"/>
                    </a:lnTo>
                    <a:lnTo>
                      <a:pt x="1313988" y="502140"/>
                    </a:lnTo>
                    <a:lnTo>
                      <a:pt x="1315200" y="500624"/>
                    </a:lnTo>
                    <a:lnTo>
                      <a:pt x="1317018" y="500473"/>
                    </a:lnTo>
                    <a:lnTo>
                      <a:pt x="1318685" y="501079"/>
                    </a:lnTo>
                    <a:lnTo>
                      <a:pt x="1320352" y="500927"/>
                    </a:lnTo>
                    <a:lnTo>
                      <a:pt x="1322019" y="499715"/>
                    </a:lnTo>
                    <a:lnTo>
                      <a:pt x="1323685" y="499109"/>
                    </a:lnTo>
                    <a:lnTo>
                      <a:pt x="1325503" y="497746"/>
                    </a:lnTo>
                    <a:lnTo>
                      <a:pt x="1327473" y="495927"/>
                    </a:lnTo>
                    <a:lnTo>
                      <a:pt x="1330352" y="492291"/>
                    </a:lnTo>
                    <a:lnTo>
                      <a:pt x="1333383" y="489109"/>
                    </a:lnTo>
                    <a:lnTo>
                      <a:pt x="1347171" y="481533"/>
                    </a:lnTo>
                    <a:lnTo>
                      <a:pt x="1350505" y="480927"/>
                    </a:lnTo>
                    <a:lnTo>
                      <a:pt x="1352475" y="479260"/>
                    </a:lnTo>
                    <a:lnTo>
                      <a:pt x="1357777" y="478805"/>
                    </a:lnTo>
                    <a:lnTo>
                      <a:pt x="1358990" y="477442"/>
                    </a:lnTo>
                    <a:lnTo>
                      <a:pt x="1361111" y="476230"/>
                    </a:lnTo>
                    <a:lnTo>
                      <a:pt x="1365050" y="476078"/>
                    </a:lnTo>
                    <a:lnTo>
                      <a:pt x="1367475" y="475472"/>
                    </a:lnTo>
                    <a:lnTo>
                      <a:pt x="1368384" y="473654"/>
                    </a:lnTo>
                    <a:lnTo>
                      <a:pt x="1369445" y="472290"/>
                    </a:lnTo>
                    <a:lnTo>
                      <a:pt x="1372475" y="474260"/>
                    </a:lnTo>
                    <a:lnTo>
                      <a:pt x="1381870" y="473654"/>
                    </a:lnTo>
                    <a:lnTo>
                      <a:pt x="1386263" y="470926"/>
                    </a:lnTo>
                    <a:lnTo>
                      <a:pt x="1388537" y="468047"/>
                    </a:lnTo>
                    <a:lnTo>
                      <a:pt x="1388839" y="468350"/>
                    </a:lnTo>
                    <a:lnTo>
                      <a:pt x="1389446" y="465168"/>
                    </a:lnTo>
                    <a:lnTo>
                      <a:pt x="1392021" y="462744"/>
                    </a:lnTo>
                    <a:lnTo>
                      <a:pt x="1398385" y="458350"/>
                    </a:lnTo>
                    <a:lnTo>
                      <a:pt x="1400051" y="456229"/>
                    </a:lnTo>
                    <a:lnTo>
                      <a:pt x="1403234" y="453804"/>
                    </a:lnTo>
                    <a:lnTo>
                      <a:pt x="1404749" y="453804"/>
                    </a:lnTo>
                    <a:lnTo>
                      <a:pt x="1406264" y="453653"/>
                    </a:lnTo>
                    <a:lnTo>
                      <a:pt x="1406718" y="452592"/>
                    </a:lnTo>
                    <a:lnTo>
                      <a:pt x="1407022" y="451683"/>
                    </a:lnTo>
                    <a:lnTo>
                      <a:pt x="1408234" y="450926"/>
                    </a:lnTo>
                    <a:lnTo>
                      <a:pt x="1411265" y="449562"/>
                    </a:lnTo>
                    <a:lnTo>
                      <a:pt x="1414749" y="447744"/>
                    </a:lnTo>
                    <a:lnTo>
                      <a:pt x="1417477" y="447289"/>
                    </a:lnTo>
                    <a:lnTo>
                      <a:pt x="1420961" y="444562"/>
                    </a:lnTo>
                    <a:lnTo>
                      <a:pt x="1422325" y="443350"/>
                    </a:lnTo>
                    <a:lnTo>
                      <a:pt x="1423689" y="443350"/>
                    </a:lnTo>
                    <a:lnTo>
                      <a:pt x="1424144" y="442743"/>
                    </a:lnTo>
                    <a:lnTo>
                      <a:pt x="1424901" y="441380"/>
                    </a:lnTo>
                    <a:lnTo>
                      <a:pt x="1425962" y="440471"/>
                    </a:lnTo>
                    <a:lnTo>
                      <a:pt x="1427477" y="440319"/>
                    </a:lnTo>
                    <a:lnTo>
                      <a:pt x="1429901" y="439713"/>
                    </a:lnTo>
                    <a:lnTo>
                      <a:pt x="1433084" y="439259"/>
                    </a:lnTo>
                    <a:lnTo>
                      <a:pt x="1435204" y="436986"/>
                    </a:lnTo>
                    <a:lnTo>
                      <a:pt x="1435962" y="435319"/>
                    </a:lnTo>
                    <a:lnTo>
                      <a:pt x="1437326" y="433501"/>
                    </a:lnTo>
                    <a:lnTo>
                      <a:pt x="1440356" y="431531"/>
                    </a:lnTo>
                    <a:lnTo>
                      <a:pt x="1442478" y="428652"/>
                    </a:lnTo>
                    <a:lnTo>
                      <a:pt x="1444750" y="425470"/>
                    </a:lnTo>
                    <a:lnTo>
                      <a:pt x="1445811" y="424409"/>
                    </a:lnTo>
                    <a:lnTo>
                      <a:pt x="1446872" y="424258"/>
                    </a:lnTo>
                    <a:lnTo>
                      <a:pt x="1447477" y="423046"/>
                    </a:lnTo>
                    <a:lnTo>
                      <a:pt x="1448236" y="419712"/>
                    </a:lnTo>
                    <a:lnTo>
                      <a:pt x="1449296" y="416530"/>
                    </a:lnTo>
                    <a:lnTo>
                      <a:pt x="1449902" y="415015"/>
                    </a:lnTo>
                    <a:lnTo>
                      <a:pt x="1452478" y="413349"/>
                    </a:lnTo>
                    <a:lnTo>
                      <a:pt x="1453084" y="412591"/>
                    </a:lnTo>
                    <a:lnTo>
                      <a:pt x="1453690" y="412288"/>
                    </a:lnTo>
                    <a:lnTo>
                      <a:pt x="1454902" y="412439"/>
                    </a:lnTo>
                    <a:lnTo>
                      <a:pt x="1456569" y="411530"/>
                    </a:lnTo>
                    <a:lnTo>
                      <a:pt x="1458084" y="410470"/>
                    </a:lnTo>
                    <a:lnTo>
                      <a:pt x="1459448" y="410773"/>
                    </a:lnTo>
                    <a:lnTo>
                      <a:pt x="1460811" y="411682"/>
                    </a:lnTo>
                    <a:lnTo>
                      <a:pt x="1462327" y="413500"/>
                    </a:lnTo>
                    <a:lnTo>
                      <a:pt x="1462933" y="414864"/>
                    </a:lnTo>
                    <a:lnTo>
                      <a:pt x="1464145" y="416076"/>
                    </a:lnTo>
                    <a:lnTo>
                      <a:pt x="1464448" y="417743"/>
                    </a:lnTo>
                    <a:lnTo>
                      <a:pt x="1465660" y="418500"/>
                    </a:lnTo>
                    <a:lnTo>
                      <a:pt x="1468085" y="418803"/>
                    </a:lnTo>
                    <a:lnTo>
                      <a:pt x="1472175" y="420015"/>
                    </a:lnTo>
                    <a:lnTo>
                      <a:pt x="1474752" y="420015"/>
                    </a:lnTo>
                    <a:lnTo>
                      <a:pt x="1476267" y="420925"/>
                    </a:lnTo>
                    <a:lnTo>
                      <a:pt x="1479449" y="421379"/>
                    </a:lnTo>
                    <a:lnTo>
                      <a:pt x="1485813" y="420621"/>
                    </a:lnTo>
                    <a:lnTo>
                      <a:pt x="1488388" y="421076"/>
                    </a:lnTo>
                    <a:lnTo>
                      <a:pt x="1489449" y="422137"/>
                    </a:lnTo>
                    <a:lnTo>
                      <a:pt x="1491116" y="423046"/>
                    </a:lnTo>
                    <a:lnTo>
                      <a:pt x="1492176" y="423046"/>
                    </a:lnTo>
                    <a:lnTo>
                      <a:pt x="1493540" y="421531"/>
                    </a:lnTo>
                    <a:lnTo>
                      <a:pt x="1495055" y="419106"/>
                    </a:lnTo>
                    <a:lnTo>
                      <a:pt x="1496116" y="417288"/>
                    </a:lnTo>
                    <a:lnTo>
                      <a:pt x="1496116" y="415773"/>
                    </a:lnTo>
                    <a:lnTo>
                      <a:pt x="1495207" y="414258"/>
                    </a:lnTo>
                    <a:lnTo>
                      <a:pt x="1493085" y="412742"/>
                    </a:lnTo>
                    <a:lnTo>
                      <a:pt x="1491722" y="410470"/>
                    </a:lnTo>
                    <a:lnTo>
                      <a:pt x="1490358" y="408197"/>
                    </a:lnTo>
                    <a:lnTo>
                      <a:pt x="1489601" y="407439"/>
                    </a:lnTo>
                    <a:lnTo>
                      <a:pt x="1488994" y="406379"/>
                    </a:lnTo>
                    <a:lnTo>
                      <a:pt x="1488843" y="404712"/>
                    </a:lnTo>
                    <a:lnTo>
                      <a:pt x="1489297" y="403500"/>
                    </a:lnTo>
                    <a:lnTo>
                      <a:pt x="1492480" y="402742"/>
                    </a:lnTo>
                    <a:lnTo>
                      <a:pt x="1496570" y="402287"/>
                    </a:lnTo>
                    <a:lnTo>
                      <a:pt x="1499904" y="402742"/>
                    </a:lnTo>
                    <a:lnTo>
                      <a:pt x="1505359" y="402439"/>
                    </a:lnTo>
                    <a:lnTo>
                      <a:pt x="1508692" y="401833"/>
                    </a:lnTo>
                    <a:lnTo>
                      <a:pt x="1511116" y="401984"/>
                    </a:lnTo>
                    <a:lnTo>
                      <a:pt x="1513390" y="401984"/>
                    </a:lnTo>
                    <a:lnTo>
                      <a:pt x="1514450" y="400924"/>
                    </a:lnTo>
                    <a:lnTo>
                      <a:pt x="1517632" y="398499"/>
                    </a:lnTo>
                    <a:lnTo>
                      <a:pt x="1519147" y="397590"/>
                    </a:lnTo>
                    <a:lnTo>
                      <a:pt x="1520814" y="395924"/>
                    </a:lnTo>
                    <a:lnTo>
                      <a:pt x="1521117" y="394257"/>
                    </a:lnTo>
                    <a:lnTo>
                      <a:pt x="1521420" y="392893"/>
                    </a:lnTo>
                    <a:lnTo>
                      <a:pt x="1522329" y="391378"/>
                    </a:lnTo>
                    <a:lnTo>
                      <a:pt x="1523996" y="389560"/>
                    </a:lnTo>
                    <a:lnTo>
                      <a:pt x="1525359" y="388651"/>
                    </a:lnTo>
                    <a:lnTo>
                      <a:pt x="1526874" y="388802"/>
                    </a:lnTo>
                    <a:lnTo>
                      <a:pt x="1528542" y="389711"/>
                    </a:lnTo>
                    <a:lnTo>
                      <a:pt x="1529602" y="390620"/>
                    </a:lnTo>
                    <a:lnTo>
                      <a:pt x="1530814" y="390317"/>
                    </a:lnTo>
                    <a:lnTo>
                      <a:pt x="1531875" y="388802"/>
                    </a:lnTo>
                    <a:lnTo>
                      <a:pt x="1532481" y="388499"/>
                    </a:lnTo>
                    <a:lnTo>
                      <a:pt x="1534450" y="388348"/>
                    </a:lnTo>
                    <a:lnTo>
                      <a:pt x="1535057" y="387438"/>
                    </a:lnTo>
                    <a:lnTo>
                      <a:pt x="1535814" y="383196"/>
                    </a:lnTo>
                    <a:lnTo>
                      <a:pt x="1536572" y="379862"/>
                    </a:lnTo>
                    <a:lnTo>
                      <a:pt x="1536723" y="377590"/>
                    </a:lnTo>
                    <a:lnTo>
                      <a:pt x="1538390" y="373650"/>
                    </a:lnTo>
                    <a:lnTo>
                      <a:pt x="1538997" y="371377"/>
                    </a:lnTo>
                    <a:lnTo>
                      <a:pt x="1540057" y="370317"/>
                    </a:lnTo>
                    <a:lnTo>
                      <a:pt x="1541269" y="370468"/>
                    </a:lnTo>
                    <a:lnTo>
                      <a:pt x="1542178" y="371226"/>
                    </a:lnTo>
                    <a:lnTo>
                      <a:pt x="1543390" y="371680"/>
                    </a:lnTo>
                    <a:lnTo>
                      <a:pt x="1545057" y="371226"/>
                    </a:lnTo>
                    <a:lnTo>
                      <a:pt x="1546269" y="371832"/>
                    </a:lnTo>
                    <a:lnTo>
                      <a:pt x="1547027" y="373044"/>
                    </a:lnTo>
                    <a:lnTo>
                      <a:pt x="1549452" y="373953"/>
                    </a:lnTo>
                    <a:lnTo>
                      <a:pt x="1549754" y="374559"/>
                    </a:lnTo>
                    <a:lnTo>
                      <a:pt x="1549754" y="378802"/>
                    </a:lnTo>
                    <a:lnTo>
                      <a:pt x="1551118" y="380772"/>
                    </a:lnTo>
                    <a:lnTo>
                      <a:pt x="1552936" y="382590"/>
                    </a:lnTo>
                    <a:lnTo>
                      <a:pt x="1555360" y="384256"/>
                    </a:lnTo>
                    <a:lnTo>
                      <a:pt x="1556724" y="384560"/>
                    </a:lnTo>
                    <a:lnTo>
                      <a:pt x="1557482" y="385772"/>
                    </a:lnTo>
                    <a:lnTo>
                      <a:pt x="1558997" y="384711"/>
                    </a:lnTo>
                    <a:lnTo>
                      <a:pt x="1558846" y="382893"/>
                    </a:lnTo>
                    <a:lnTo>
                      <a:pt x="1557330" y="381226"/>
                    </a:lnTo>
                    <a:lnTo>
                      <a:pt x="1555058" y="380923"/>
                    </a:lnTo>
                    <a:lnTo>
                      <a:pt x="1554603" y="380468"/>
                    </a:lnTo>
                    <a:lnTo>
                      <a:pt x="1554754" y="379559"/>
                    </a:lnTo>
                    <a:lnTo>
                      <a:pt x="1555512" y="378650"/>
                    </a:lnTo>
                    <a:lnTo>
                      <a:pt x="1556573" y="377893"/>
                    </a:lnTo>
                    <a:lnTo>
                      <a:pt x="1558846" y="376832"/>
                    </a:lnTo>
                    <a:lnTo>
                      <a:pt x="1562785" y="376074"/>
                    </a:lnTo>
                    <a:lnTo>
                      <a:pt x="1565058" y="375317"/>
                    </a:lnTo>
                    <a:lnTo>
                      <a:pt x="1566876" y="375165"/>
                    </a:lnTo>
                    <a:lnTo>
                      <a:pt x="1568846" y="375620"/>
                    </a:lnTo>
                    <a:lnTo>
                      <a:pt x="1570512" y="374559"/>
                    </a:lnTo>
                    <a:lnTo>
                      <a:pt x="1572180" y="373953"/>
                    </a:lnTo>
                    <a:lnTo>
                      <a:pt x="1572634" y="372135"/>
                    </a:lnTo>
                    <a:lnTo>
                      <a:pt x="1572634" y="369407"/>
                    </a:lnTo>
                    <a:lnTo>
                      <a:pt x="1573240" y="368650"/>
                    </a:lnTo>
                    <a:lnTo>
                      <a:pt x="1573998" y="367438"/>
                    </a:lnTo>
                    <a:lnTo>
                      <a:pt x="1575059" y="365922"/>
                    </a:lnTo>
                    <a:lnTo>
                      <a:pt x="1576118" y="362134"/>
                    </a:lnTo>
                    <a:lnTo>
                      <a:pt x="1576877" y="359559"/>
                    </a:lnTo>
                    <a:lnTo>
                      <a:pt x="1577331" y="358195"/>
                    </a:lnTo>
                    <a:lnTo>
                      <a:pt x="1577483" y="356377"/>
                    </a:lnTo>
                    <a:lnTo>
                      <a:pt x="1577028" y="355165"/>
                    </a:lnTo>
                    <a:lnTo>
                      <a:pt x="1576118" y="354407"/>
                    </a:lnTo>
                    <a:lnTo>
                      <a:pt x="1575361" y="353952"/>
                    </a:lnTo>
                    <a:lnTo>
                      <a:pt x="1575361" y="351831"/>
                    </a:lnTo>
                    <a:lnTo>
                      <a:pt x="1575513" y="349104"/>
                    </a:lnTo>
                    <a:lnTo>
                      <a:pt x="1575209" y="347285"/>
                    </a:lnTo>
                    <a:lnTo>
                      <a:pt x="1576270" y="337285"/>
                    </a:lnTo>
                    <a:lnTo>
                      <a:pt x="1577483" y="335012"/>
                    </a:lnTo>
                    <a:lnTo>
                      <a:pt x="1573998" y="321678"/>
                    </a:lnTo>
                    <a:lnTo>
                      <a:pt x="1572937" y="317436"/>
                    </a:lnTo>
                    <a:lnTo>
                      <a:pt x="1572180" y="315315"/>
                    </a:lnTo>
                    <a:lnTo>
                      <a:pt x="1570664" y="312133"/>
                    </a:lnTo>
                    <a:lnTo>
                      <a:pt x="1569603" y="310617"/>
                    </a:lnTo>
                    <a:lnTo>
                      <a:pt x="1570058" y="309102"/>
                    </a:lnTo>
                    <a:lnTo>
                      <a:pt x="1571421" y="307587"/>
                    </a:lnTo>
                    <a:lnTo>
                      <a:pt x="1572785" y="306829"/>
                    </a:lnTo>
                    <a:lnTo>
                      <a:pt x="1576725" y="306526"/>
                    </a:lnTo>
                    <a:lnTo>
                      <a:pt x="1577786" y="305920"/>
                    </a:lnTo>
                    <a:lnTo>
                      <a:pt x="1582635" y="304254"/>
                    </a:lnTo>
                    <a:lnTo>
                      <a:pt x="1583695" y="303344"/>
                    </a:lnTo>
                    <a:lnTo>
                      <a:pt x="1586119" y="300920"/>
                    </a:lnTo>
                    <a:lnTo>
                      <a:pt x="1587028" y="299102"/>
                    </a:lnTo>
                    <a:lnTo>
                      <a:pt x="1588089" y="296829"/>
                    </a:lnTo>
                    <a:lnTo>
                      <a:pt x="1590513" y="295617"/>
                    </a:lnTo>
                    <a:lnTo>
                      <a:pt x="1592029" y="293496"/>
                    </a:lnTo>
                    <a:lnTo>
                      <a:pt x="1593544" y="292738"/>
                    </a:lnTo>
                    <a:lnTo>
                      <a:pt x="1595059" y="294556"/>
                    </a:lnTo>
                    <a:lnTo>
                      <a:pt x="1596878" y="295617"/>
                    </a:lnTo>
                    <a:lnTo>
                      <a:pt x="1598089" y="295920"/>
                    </a:lnTo>
                    <a:lnTo>
                      <a:pt x="1599453" y="294102"/>
                    </a:lnTo>
                    <a:lnTo>
                      <a:pt x="1603847" y="292738"/>
                    </a:lnTo>
                    <a:lnTo>
                      <a:pt x="1608544" y="292738"/>
                    </a:lnTo>
                    <a:lnTo>
                      <a:pt x="1613393" y="293799"/>
                    </a:lnTo>
                    <a:lnTo>
                      <a:pt x="1617333" y="296071"/>
                    </a:lnTo>
                    <a:lnTo>
                      <a:pt x="1619606" y="298799"/>
                    </a:lnTo>
                    <a:lnTo>
                      <a:pt x="1619606" y="301526"/>
                    </a:lnTo>
                    <a:lnTo>
                      <a:pt x="1620363" y="301678"/>
                    </a:lnTo>
                    <a:lnTo>
                      <a:pt x="1621726" y="302132"/>
                    </a:lnTo>
                    <a:lnTo>
                      <a:pt x="1623090" y="302738"/>
                    </a:lnTo>
                    <a:lnTo>
                      <a:pt x="1625212" y="301223"/>
                    </a:lnTo>
                    <a:lnTo>
                      <a:pt x="1627939" y="299253"/>
                    </a:lnTo>
                    <a:lnTo>
                      <a:pt x="1627484" y="296223"/>
                    </a:lnTo>
                    <a:lnTo>
                      <a:pt x="1627939" y="292738"/>
                    </a:lnTo>
                    <a:lnTo>
                      <a:pt x="1629909" y="286829"/>
                    </a:lnTo>
                    <a:lnTo>
                      <a:pt x="1632181" y="285162"/>
                    </a:lnTo>
                    <a:lnTo>
                      <a:pt x="1633394" y="284859"/>
                    </a:lnTo>
                    <a:lnTo>
                      <a:pt x="1634606" y="284253"/>
                    </a:lnTo>
                    <a:lnTo>
                      <a:pt x="1636878" y="283192"/>
                    </a:lnTo>
                    <a:lnTo>
                      <a:pt x="1637637" y="281677"/>
                    </a:lnTo>
                    <a:lnTo>
                      <a:pt x="1637182" y="279859"/>
                    </a:lnTo>
                    <a:lnTo>
                      <a:pt x="1637939" y="278041"/>
                    </a:lnTo>
                    <a:lnTo>
                      <a:pt x="1638243" y="276222"/>
                    </a:lnTo>
                    <a:lnTo>
                      <a:pt x="1639000" y="273949"/>
                    </a:lnTo>
                    <a:lnTo>
                      <a:pt x="1640061" y="273343"/>
                    </a:lnTo>
                    <a:lnTo>
                      <a:pt x="1641576" y="272586"/>
                    </a:lnTo>
                    <a:lnTo>
                      <a:pt x="1642636" y="271374"/>
                    </a:lnTo>
                    <a:lnTo>
                      <a:pt x="1643697" y="269555"/>
                    </a:lnTo>
                    <a:lnTo>
                      <a:pt x="1644454" y="267434"/>
                    </a:lnTo>
                    <a:lnTo>
                      <a:pt x="1644152" y="265010"/>
                    </a:lnTo>
                    <a:lnTo>
                      <a:pt x="1645515" y="263495"/>
                    </a:lnTo>
                    <a:lnTo>
                      <a:pt x="1647788" y="262131"/>
                    </a:lnTo>
                    <a:lnTo>
                      <a:pt x="1648546" y="261373"/>
                    </a:lnTo>
                    <a:lnTo>
                      <a:pt x="1648849" y="259252"/>
                    </a:lnTo>
                    <a:lnTo>
                      <a:pt x="1649001" y="258343"/>
                    </a:lnTo>
                    <a:lnTo>
                      <a:pt x="1649607" y="257282"/>
                    </a:lnTo>
                    <a:lnTo>
                      <a:pt x="1649152" y="255161"/>
                    </a:lnTo>
                    <a:lnTo>
                      <a:pt x="1648546" y="252737"/>
                    </a:lnTo>
                    <a:lnTo>
                      <a:pt x="1650970" y="248797"/>
                    </a:lnTo>
                    <a:lnTo>
                      <a:pt x="1652789" y="245464"/>
                    </a:lnTo>
                    <a:lnTo>
                      <a:pt x="1653243" y="240463"/>
                    </a:lnTo>
                    <a:lnTo>
                      <a:pt x="1653395" y="239706"/>
                    </a:lnTo>
                    <a:lnTo>
                      <a:pt x="1654152" y="237281"/>
                    </a:lnTo>
                    <a:lnTo>
                      <a:pt x="1654607" y="236372"/>
                    </a:lnTo>
                    <a:lnTo>
                      <a:pt x="1655970" y="233190"/>
                    </a:lnTo>
                    <a:lnTo>
                      <a:pt x="1657788" y="231221"/>
                    </a:lnTo>
                    <a:lnTo>
                      <a:pt x="1657486" y="228948"/>
                    </a:lnTo>
                    <a:lnTo>
                      <a:pt x="1656728" y="226675"/>
                    </a:lnTo>
                    <a:lnTo>
                      <a:pt x="1656879" y="225160"/>
                    </a:lnTo>
                    <a:lnTo>
                      <a:pt x="1658395" y="223342"/>
                    </a:lnTo>
                    <a:lnTo>
                      <a:pt x="1659304" y="222432"/>
                    </a:lnTo>
                    <a:lnTo>
                      <a:pt x="1660213" y="221220"/>
                    </a:lnTo>
                    <a:lnTo>
                      <a:pt x="1661576" y="220614"/>
                    </a:lnTo>
                    <a:lnTo>
                      <a:pt x="1662789" y="220311"/>
                    </a:lnTo>
                    <a:lnTo>
                      <a:pt x="1665516" y="220008"/>
                    </a:lnTo>
                    <a:lnTo>
                      <a:pt x="1667183" y="218644"/>
                    </a:lnTo>
                    <a:lnTo>
                      <a:pt x="1668698" y="217281"/>
                    </a:lnTo>
                    <a:lnTo>
                      <a:pt x="1671426" y="213796"/>
                    </a:lnTo>
                    <a:lnTo>
                      <a:pt x="1672335" y="211674"/>
                    </a:lnTo>
                    <a:lnTo>
                      <a:pt x="1672940" y="210614"/>
                    </a:lnTo>
                    <a:lnTo>
                      <a:pt x="1670365" y="207129"/>
                    </a:lnTo>
                    <a:close/>
                    <a:moveTo>
                      <a:pt x="1326261" y="783362"/>
                    </a:moveTo>
                    <a:lnTo>
                      <a:pt x="1324746" y="783665"/>
                    </a:lnTo>
                    <a:lnTo>
                      <a:pt x="1324140" y="784726"/>
                    </a:lnTo>
                    <a:lnTo>
                      <a:pt x="1325200" y="785029"/>
                    </a:lnTo>
                    <a:lnTo>
                      <a:pt x="1327473" y="786998"/>
                    </a:lnTo>
                    <a:lnTo>
                      <a:pt x="1327625" y="786392"/>
                    </a:lnTo>
                    <a:lnTo>
                      <a:pt x="1327473" y="785786"/>
                    </a:lnTo>
                    <a:lnTo>
                      <a:pt x="1326261" y="783362"/>
                    </a:lnTo>
                    <a:close/>
                    <a:moveTo>
                      <a:pt x="1332474" y="778210"/>
                    </a:moveTo>
                    <a:lnTo>
                      <a:pt x="1332019" y="778816"/>
                    </a:lnTo>
                    <a:lnTo>
                      <a:pt x="1332928" y="781241"/>
                    </a:lnTo>
                    <a:lnTo>
                      <a:pt x="1333685" y="781392"/>
                    </a:lnTo>
                    <a:lnTo>
                      <a:pt x="1333989" y="780029"/>
                    </a:lnTo>
                    <a:lnTo>
                      <a:pt x="1333989" y="778362"/>
                    </a:lnTo>
                    <a:lnTo>
                      <a:pt x="1332474" y="778210"/>
                    </a:lnTo>
                    <a:close/>
                    <a:moveTo>
                      <a:pt x="1325958" y="772755"/>
                    </a:moveTo>
                    <a:lnTo>
                      <a:pt x="1322170" y="772604"/>
                    </a:lnTo>
                    <a:lnTo>
                      <a:pt x="1322473" y="775028"/>
                    </a:lnTo>
                    <a:lnTo>
                      <a:pt x="1323685" y="776544"/>
                    </a:lnTo>
                    <a:lnTo>
                      <a:pt x="1327322" y="776847"/>
                    </a:lnTo>
                    <a:lnTo>
                      <a:pt x="1330656" y="778513"/>
                    </a:lnTo>
                    <a:lnTo>
                      <a:pt x="1331110" y="777907"/>
                    </a:lnTo>
                    <a:lnTo>
                      <a:pt x="1331867" y="775938"/>
                    </a:lnTo>
                    <a:lnTo>
                      <a:pt x="1330807" y="774877"/>
                    </a:lnTo>
                    <a:lnTo>
                      <a:pt x="1325958" y="7727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3" name="Freeform: Shape 3312">
                <a:extLst>
                  <a:ext uri="{FF2B5EF4-FFF2-40B4-BE49-F238E27FC236}">
                    <a16:creationId xmlns:a16="http://schemas.microsoft.com/office/drawing/2014/main" id="{C4E5A163-A1E2-4243-8E0D-40979AF5D16D}"/>
                  </a:ext>
                </a:extLst>
              </p:cNvPr>
              <p:cNvSpPr/>
              <p:nvPr/>
            </p:nvSpPr>
            <p:spPr>
              <a:xfrm>
                <a:off x="6010693" y="4204556"/>
                <a:ext cx="209250" cy="311981"/>
              </a:xfrm>
              <a:custGeom>
                <a:avLst/>
                <a:gdLst>
                  <a:gd name="connsiteX0" fmla="*/ 208038 w 209250"/>
                  <a:gd name="connsiteY0" fmla="*/ 293192 h 311981"/>
                  <a:gd name="connsiteX1" fmla="*/ 207129 w 209250"/>
                  <a:gd name="connsiteY1" fmla="*/ 290313 h 311981"/>
                  <a:gd name="connsiteX2" fmla="*/ 206826 w 209250"/>
                  <a:gd name="connsiteY2" fmla="*/ 286829 h 311981"/>
                  <a:gd name="connsiteX3" fmla="*/ 207129 w 209250"/>
                  <a:gd name="connsiteY3" fmla="*/ 285919 h 311981"/>
                  <a:gd name="connsiteX4" fmla="*/ 206523 w 209250"/>
                  <a:gd name="connsiteY4" fmla="*/ 284859 h 311981"/>
                  <a:gd name="connsiteX5" fmla="*/ 206523 w 209250"/>
                  <a:gd name="connsiteY5" fmla="*/ 284707 h 311981"/>
                  <a:gd name="connsiteX6" fmla="*/ 205917 w 209250"/>
                  <a:gd name="connsiteY6" fmla="*/ 282131 h 311981"/>
                  <a:gd name="connsiteX7" fmla="*/ 206523 w 209250"/>
                  <a:gd name="connsiteY7" fmla="*/ 280313 h 311981"/>
                  <a:gd name="connsiteX8" fmla="*/ 206068 w 209250"/>
                  <a:gd name="connsiteY8" fmla="*/ 278495 h 311981"/>
                  <a:gd name="connsiteX9" fmla="*/ 204553 w 209250"/>
                  <a:gd name="connsiteY9" fmla="*/ 276525 h 311981"/>
                  <a:gd name="connsiteX10" fmla="*/ 203189 w 209250"/>
                  <a:gd name="connsiteY10" fmla="*/ 275161 h 311981"/>
                  <a:gd name="connsiteX11" fmla="*/ 202280 w 209250"/>
                  <a:gd name="connsiteY11" fmla="*/ 273949 h 311981"/>
                  <a:gd name="connsiteX12" fmla="*/ 201674 w 209250"/>
                  <a:gd name="connsiteY12" fmla="*/ 273343 h 311981"/>
                  <a:gd name="connsiteX13" fmla="*/ 200159 w 209250"/>
                  <a:gd name="connsiteY13" fmla="*/ 273192 h 311981"/>
                  <a:gd name="connsiteX14" fmla="*/ 198038 w 209250"/>
                  <a:gd name="connsiteY14" fmla="*/ 272434 h 311981"/>
                  <a:gd name="connsiteX15" fmla="*/ 195462 w 209250"/>
                  <a:gd name="connsiteY15" fmla="*/ 269707 h 311981"/>
                  <a:gd name="connsiteX16" fmla="*/ 192734 w 209250"/>
                  <a:gd name="connsiteY16" fmla="*/ 266979 h 311981"/>
                  <a:gd name="connsiteX17" fmla="*/ 189401 w 209250"/>
                  <a:gd name="connsiteY17" fmla="*/ 263494 h 311981"/>
                  <a:gd name="connsiteX18" fmla="*/ 186825 w 209250"/>
                  <a:gd name="connsiteY18" fmla="*/ 260464 h 311981"/>
                  <a:gd name="connsiteX19" fmla="*/ 183492 w 209250"/>
                  <a:gd name="connsiteY19" fmla="*/ 256828 h 311981"/>
                  <a:gd name="connsiteX20" fmla="*/ 180461 w 209250"/>
                  <a:gd name="connsiteY20" fmla="*/ 253494 h 311981"/>
                  <a:gd name="connsiteX21" fmla="*/ 178643 w 209250"/>
                  <a:gd name="connsiteY21" fmla="*/ 250161 h 311981"/>
                  <a:gd name="connsiteX22" fmla="*/ 177885 w 209250"/>
                  <a:gd name="connsiteY22" fmla="*/ 248342 h 311981"/>
                  <a:gd name="connsiteX23" fmla="*/ 178795 w 209250"/>
                  <a:gd name="connsiteY23" fmla="*/ 248191 h 311981"/>
                  <a:gd name="connsiteX24" fmla="*/ 180007 w 209250"/>
                  <a:gd name="connsiteY24" fmla="*/ 248039 h 311981"/>
                  <a:gd name="connsiteX25" fmla="*/ 180613 w 209250"/>
                  <a:gd name="connsiteY25" fmla="*/ 247736 h 311981"/>
                  <a:gd name="connsiteX26" fmla="*/ 180613 w 209250"/>
                  <a:gd name="connsiteY26" fmla="*/ 246827 h 311981"/>
                  <a:gd name="connsiteX27" fmla="*/ 179249 w 209250"/>
                  <a:gd name="connsiteY27" fmla="*/ 244251 h 311981"/>
                  <a:gd name="connsiteX28" fmla="*/ 178643 w 209250"/>
                  <a:gd name="connsiteY28" fmla="*/ 240918 h 311981"/>
                  <a:gd name="connsiteX29" fmla="*/ 177582 w 209250"/>
                  <a:gd name="connsiteY29" fmla="*/ 238948 h 311981"/>
                  <a:gd name="connsiteX30" fmla="*/ 173946 w 209250"/>
                  <a:gd name="connsiteY30" fmla="*/ 235918 h 311981"/>
                  <a:gd name="connsiteX31" fmla="*/ 170613 w 209250"/>
                  <a:gd name="connsiteY31" fmla="*/ 233493 h 311981"/>
                  <a:gd name="connsiteX32" fmla="*/ 169552 w 209250"/>
                  <a:gd name="connsiteY32" fmla="*/ 232281 h 311981"/>
                  <a:gd name="connsiteX33" fmla="*/ 168946 w 209250"/>
                  <a:gd name="connsiteY33" fmla="*/ 230614 h 311981"/>
                  <a:gd name="connsiteX34" fmla="*/ 167582 w 209250"/>
                  <a:gd name="connsiteY34" fmla="*/ 219705 h 311981"/>
                  <a:gd name="connsiteX35" fmla="*/ 167127 w 209250"/>
                  <a:gd name="connsiteY35" fmla="*/ 216675 h 311981"/>
                  <a:gd name="connsiteX36" fmla="*/ 166067 w 209250"/>
                  <a:gd name="connsiteY36" fmla="*/ 215311 h 311981"/>
                  <a:gd name="connsiteX37" fmla="*/ 165309 w 209250"/>
                  <a:gd name="connsiteY37" fmla="*/ 214705 h 311981"/>
                  <a:gd name="connsiteX38" fmla="*/ 165006 w 209250"/>
                  <a:gd name="connsiteY38" fmla="*/ 213947 h 311981"/>
                  <a:gd name="connsiteX39" fmla="*/ 165158 w 209250"/>
                  <a:gd name="connsiteY39" fmla="*/ 211977 h 311981"/>
                  <a:gd name="connsiteX40" fmla="*/ 165461 w 209250"/>
                  <a:gd name="connsiteY40" fmla="*/ 210159 h 311981"/>
                  <a:gd name="connsiteX41" fmla="*/ 165461 w 209250"/>
                  <a:gd name="connsiteY41" fmla="*/ 209553 h 311981"/>
                  <a:gd name="connsiteX42" fmla="*/ 166370 w 209250"/>
                  <a:gd name="connsiteY42" fmla="*/ 208038 h 311981"/>
                  <a:gd name="connsiteX43" fmla="*/ 166370 w 209250"/>
                  <a:gd name="connsiteY43" fmla="*/ 197886 h 311981"/>
                  <a:gd name="connsiteX44" fmla="*/ 165915 w 209250"/>
                  <a:gd name="connsiteY44" fmla="*/ 197431 h 311981"/>
                  <a:gd name="connsiteX45" fmla="*/ 165309 w 209250"/>
                  <a:gd name="connsiteY45" fmla="*/ 196522 h 311981"/>
                  <a:gd name="connsiteX46" fmla="*/ 164400 w 209250"/>
                  <a:gd name="connsiteY46" fmla="*/ 196674 h 311981"/>
                  <a:gd name="connsiteX47" fmla="*/ 163339 w 209250"/>
                  <a:gd name="connsiteY47" fmla="*/ 196522 h 311981"/>
                  <a:gd name="connsiteX48" fmla="*/ 162279 w 209250"/>
                  <a:gd name="connsiteY48" fmla="*/ 195007 h 311981"/>
                  <a:gd name="connsiteX49" fmla="*/ 161370 w 209250"/>
                  <a:gd name="connsiteY49" fmla="*/ 193189 h 311981"/>
                  <a:gd name="connsiteX50" fmla="*/ 161673 w 209250"/>
                  <a:gd name="connsiteY50" fmla="*/ 191825 h 311981"/>
                  <a:gd name="connsiteX51" fmla="*/ 162582 w 209250"/>
                  <a:gd name="connsiteY51" fmla="*/ 190764 h 311981"/>
                  <a:gd name="connsiteX52" fmla="*/ 163491 w 209250"/>
                  <a:gd name="connsiteY52" fmla="*/ 189855 h 311981"/>
                  <a:gd name="connsiteX53" fmla="*/ 164855 w 209250"/>
                  <a:gd name="connsiteY53" fmla="*/ 189098 h 311981"/>
                  <a:gd name="connsiteX54" fmla="*/ 168643 w 209250"/>
                  <a:gd name="connsiteY54" fmla="*/ 187431 h 311981"/>
                  <a:gd name="connsiteX55" fmla="*/ 169703 w 209250"/>
                  <a:gd name="connsiteY55" fmla="*/ 186673 h 311981"/>
                  <a:gd name="connsiteX56" fmla="*/ 170461 w 209250"/>
                  <a:gd name="connsiteY56" fmla="*/ 185613 h 311981"/>
                  <a:gd name="connsiteX57" fmla="*/ 170915 w 209250"/>
                  <a:gd name="connsiteY57" fmla="*/ 184249 h 311981"/>
                  <a:gd name="connsiteX58" fmla="*/ 173188 w 209250"/>
                  <a:gd name="connsiteY58" fmla="*/ 179097 h 311981"/>
                  <a:gd name="connsiteX59" fmla="*/ 176370 w 209250"/>
                  <a:gd name="connsiteY59" fmla="*/ 173946 h 311981"/>
                  <a:gd name="connsiteX60" fmla="*/ 177885 w 209250"/>
                  <a:gd name="connsiteY60" fmla="*/ 172885 h 311981"/>
                  <a:gd name="connsiteX61" fmla="*/ 179249 w 209250"/>
                  <a:gd name="connsiteY61" fmla="*/ 169400 h 311981"/>
                  <a:gd name="connsiteX62" fmla="*/ 181219 w 209250"/>
                  <a:gd name="connsiteY62" fmla="*/ 165157 h 311981"/>
                  <a:gd name="connsiteX63" fmla="*/ 181977 w 209250"/>
                  <a:gd name="connsiteY63" fmla="*/ 163339 h 311981"/>
                  <a:gd name="connsiteX64" fmla="*/ 182583 w 209250"/>
                  <a:gd name="connsiteY64" fmla="*/ 161369 h 311981"/>
                  <a:gd name="connsiteX65" fmla="*/ 183643 w 209250"/>
                  <a:gd name="connsiteY65" fmla="*/ 159703 h 311981"/>
                  <a:gd name="connsiteX66" fmla="*/ 187280 w 209250"/>
                  <a:gd name="connsiteY66" fmla="*/ 157127 h 311981"/>
                  <a:gd name="connsiteX67" fmla="*/ 190007 w 209250"/>
                  <a:gd name="connsiteY67" fmla="*/ 152581 h 311981"/>
                  <a:gd name="connsiteX68" fmla="*/ 191522 w 209250"/>
                  <a:gd name="connsiteY68" fmla="*/ 150460 h 311981"/>
                  <a:gd name="connsiteX69" fmla="*/ 191977 w 209250"/>
                  <a:gd name="connsiteY69" fmla="*/ 148793 h 311981"/>
                  <a:gd name="connsiteX70" fmla="*/ 192128 w 209250"/>
                  <a:gd name="connsiteY70" fmla="*/ 146824 h 311981"/>
                  <a:gd name="connsiteX71" fmla="*/ 191977 w 209250"/>
                  <a:gd name="connsiteY71" fmla="*/ 145460 h 311981"/>
                  <a:gd name="connsiteX72" fmla="*/ 190159 w 209250"/>
                  <a:gd name="connsiteY72" fmla="*/ 144702 h 311981"/>
                  <a:gd name="connsiteX73" fmla="*/ 189098 w 209250"/>
                  <a:gd name="connsiteY73" fmla="*/ 143642 h 311981"/>
                  <a:gd name="connsiteX74" fmla="*/ 186522 w 209250"/>
                  <a:gd name="connsiteY74" fmla="*/ 137278 h 311981"/>
                  <a:gd name="connsiteX75" fmla="*/ 183795 w 209250"/>
                  <a:gd name="connsiteY75" fmla="*/ 130762 h 311981"/>
                  <a:gd name="connsiteX76" fmla="*/ 180158 w 209250"/>
                  <a:gd name="connsiteY76" fmla="*/ 124398 h 311981"/>
                  <a:gd name="connsiteX77" fmla="*/ 176067 w 209250"/>
                  <a:gd name="connsiteY77" fmla="*/ 120307 h 311981"/>
                  <a:gd name="connsiteX78" fmla="*/ 173037 w 209250"/>
                  <a:gd name="connsiteY78" fmla="*/ 117731 h 311981"/>
                  <a:gd name="connsiteX79" fmla="*/ 172128 w 209250"/>
                  <a:gd name="connsiteY79" fmla="*/ 117429 h 311981"/>
                  <a:gd name="connsiteX80" fmla="*/ 170613 w 209250"/>
                  <a:gd name="connsiteY80" fmla="*/ 116671 h 311981"/>
                  <a:gd name="connsiteX81" fmla="*/ 169552 w 209250"/>
                  <a:gd name="connsiteY81" fmla="*/ 115913 h 311981"/>
                  <a:gd name="connsiteX82" fmla="*/ 164248 w 209250"/>
                  <a:gd name="connsiteY82" fmla="*/ 111519 h 311981"/>
                  <a:gd name="connsiteX83" fmla="*/ 158642 w 209250"/>
                  <a:gd name="connsiteY83" fmla="*/ 106670 h 311981"/>
                  <a:gd name="connsiteX84" fmla="*/ 157279 w 209250"/>
                  <a:gd name="connsiteY84" fmla="*/ 104398 h 311981"/>
                  <a:gd name="connsiteX85" fmla="*/ 154400 w 209250"/>
                  <a:gd name="connsiteY85" fmla="*/ 101064 h 311981"/>
                  <a:gd name="connsiteX86" fmla="*/ 151369 w 209250"/>
                  <a:gd name="connsiteY86" fmla="*/ 97731 h 311981"/>
                  <a:gd name="connsiteX87" fmla="*/ 149703 w 209250"/>
                  <a:gd name="connsiteY87" fmla="*/ 96064 h 311981"/>
                  <a:gd name="connsiteX88" fmla="*/ 148945 w 209250"/>
                  <a:gd name="connsiteY88" fmla="*/ 93337 h 311981"/>
                  <a:gd name="connsiteX89" fmla="*/ 151066 w 209250"/>
                  <a:gd name="connsiteY89" fmla="*/ 90761 h 311981"/>
                  <a:gd name="connsiteX90" fmla="*/ 153339 w 209250"/>
                  <a:gd name="connsiteY90" fmla="*/ 87579 h 311981"/>
                  <a:gd name="connsiteX91" fmla="*/ 156218 w 209250"/>
                  <a:gd name="connsiteY91" fmla="*/ 85458 h 311981"/>
                  <a:gd name="connsiteX92" fmla="*/ 159855 w 209250"/>
                  <a:gd name="connsiteY92" fmla="*/ 85306 h 311981"/>
                  <a:gd name="connsiteX93" fmla="*/ 165915 w 209250"/>
                  <a:gd name="connsiteY93" fmla="*/ 86064 h 311981"/>
                  <a:gd name="connsiteX94" fmla="*/ 172431 w 209250"/>
                  <a:gd name="connsiteY94" fmla="*/ 86367 h 311981"/>
                  <a:gd name="connsiteX95" fmla="*/ 178795 w 209250"/>
                  <a:gd name="connsiteY95" fmla="*/ 85761 h 311981"/>
                  <a:gd name="connsiteX96" fmla="*/ 180613 w 209250"/>
                  <a:gd name="connsiteY96" fmla="*/ 85306 h 311981"/>
                  <a:gd name="connsiteX97" fmla="*/ 182128 w 209250"/>
                  <a:gd name="connsiteY97" fmla="*/ 85306 h 311981"/>
                  <a:gd name="connsiteX98" fmla="*/ 185613 w 209250"/>
                  <a:gd name="connsiteY98" fmla="*/ 86064 h 311981"/>
                  <a:gd name="connsiteX99" fmla="*/ 191674 w 209250"/>
                  <a:gd name="connsiteY99" fmla="*/ 85912 h 311981"/>
                  <a:gd name="connsiteX100" fmla="*/ 194856 w 209250"/>
                  <a:gd name="connsiteY100" fmla="*/ 84549 h 311981"/>
                  <a:gd name="connsiteX101" fmla="*/ 191522 w 209250"/>
                  <a:gd name="connsiteY101" fmla="*/ 82427 h 311981"/>
                  <a:gd name="connsiteX102" fmla="*/ 187886 w 209250"/>
                  <a:gd name="connsiteY102" fmla="*/ 78942 h 311981"/>
                  <a:gd name="connsiteX103" fmla="*/ 184401 w 209250"/>
                  <a:gd name="connsiteY103" fmla="*/ 75003 h 311981"/>
                  <a:gd name="connsiteX104" fmla="*/ 182431 w 209250"/>
                  <a:gd name="connsiteY104" fmla="*/ 71518 h 311981"/>
                  <a:gd name="connsiteX105" fmla="*/ 180461 w 209250"/>
                  <a:gd name="connsiteY105" fmla="*/ 66972 h 311981"/>
                  <a:gd name="connsiteX106" fmla="*/ 178795 w 209250"/>
                  <a:gd name="connsiteY106" fmla="*/ 61517 h 311981"/>
                  <a:gd name="connsiteX107" fmla="*/ 177734 w 209250"/>
                  <a:gd name="connsiteY107" fmla="*/ 54244 h 311981"/>
                  <a:gd name="connsiteX108" fmla="*/ 177885 w 209250"/>
                  <a:gd name="connsiteY108" fmla="*/ 50153 h 311981"/>
                  <a:gd name="connsiteX109" fmla="*/ 178491 w 209250"/>
                  <a:gd name="connsiteY109" fmla="*/ 47274 h 311981"/>
                  <a:gd name="connsiteX110" fmla="*/ 180310 w 209250"/>
                  <a:gd name="connsiteY110" fmla="*/ 42426 h 311981"/>
                  <a:gd name="connsiteX111" fmla="*/ 179098 w 209250"/>
                  <a:gd name="connsiteY111" fmla="*/ 39698 h 311981"/>
                  <a:gd name="connsiteX112" fmla="*/ 179249 w 209250"/>
                  <a:gd name="connsiteY112" fmla="*/ 37426 h 311981"/>
                  <a:gd name="connsiteX113" fmla="*/ 179098 w 209250"/>
                  <a:gd name="connsiteY113" fmla="*/ 34092 h 311981"/>
                  <a:gd name="connsiteX114" fmla="*/ 178491 w 209250"/>
                  <a:gd name="connsiteY114" fmla="*/ 32425 h 311981"/>
                  <a:gd name="connsiteX115" fmla="*/ 176219 w 209250"/>
                  <a:gd name="connsiteY115" fmla="*/ 26819 h 311981"/>
                  <a:gd name="connsiteX116" fmla="*/ 175764 w 209250"/>
                  <a:gd name="connsiteY116" fmla="*/ 26213 h 311981"/>
                  <a:gd name="connsiteX117" fmla="*/ 173643 w 209250"/>
                  <a:gd name="connsiteY117" fmla="*/ 22425 h 311981"/>
                  <a:gd name="connsiteX118" fmla="*/ 172734 w 209250"/>
                  <a:gd name="connsiteY118" fmla="*/ 15910 h 311981"/>
                  <a:gd name="connsiteX119" fmla="*/ 170309 w 209250"/>
                  <a:gd name="connsiteY119" fmla="*/ 11667 h 311981"/>
                  <a:gd name="connsiteX120" fmla="*/ 166673 w 209250"/>
                  <a:gd name="connsiteY120" fmla="*/ 9697 h 311981"/>
                  <a:gd name="connsiteX121" fmla="*/ 164400 w 209250"/>
                  <a:gd name="connsiteY121" fmla="*/ 7121 h 311981"/>
                  <a:gd name="connsiteX122" fmla="*/ 163643 w 209250"/>
                  <a:gd name="connsiteY122" fmla="*/ 2727 h 311981"/>
                  <a:gd name="connsiteX123" fmla="*/ 162127 w 209250"/>
                  <a:gd name="connsiteY123" fmla="*/ 1667 h 311981"/>
                  <a:gd name="connsiteX124" fmla="*/ 156218 w 209250"/>
                  <a:gd name="connsiteY124" fmla="*/ 0 h 311981"/>
                  <a:gd name="connsiteX125" fmla="*/ 151369 w 209250"/>
                  <a:gd name="connsiteY125" fmla="*/ 0 h 311981"/>
                  <a:gd name="connsiteX126" fmla="*/ 153945 w 209250"/>
                  <a:gd name="connsiteY126" fmla="*/ 12879 h 311981"/>
                  <a:gd name="connsiteX127" fmla="*/ 154248 w 209250"/>
                  <a:gd name="connsiteY127" fmla="*/ 15304 h 311981"/>
                  <a:gd name="connsiteX128" fmla="*/ 154400 w 209250"/>
                  <a:gd name="connsiteY128" fmla="*/ 16516 h 311981"/>
                  <a:gd name="connsiteX129" fmla="*/ 154551 w 209250"/>
                  <a:gd name="connsiteY129" fmla="*/ 17425 h 311981"/>
                  <a:gd name="connsiteX130" fmla="*/ 155006 w 209250"/>
                  <a:gd name="connsiteY130" fmla="*/ 19243 h 311981"/>
                  <a:gd name="connsiteX131" fmla="*/ 156976 w 209250"/>
                  <a:gd name="connsiteY131" fmla="*/ 20001 h 311981"/>
                  <a:gd name="connsiteX132" fmla="*/ 160915 w 209250"/>
                  <a:gd name="connsiteY132" fmla="*/ 20304 h 311981"/>
                  <a:gd name="connsiteX133" fmla="*/ 163794 w 209250"/>
                  <a:gd name="connsiteY133" fmla="*/ 21516 h 311981"/>
                  <a:gd name="connsiteX134" fmla="*/ 165461 w 209250"/>
                  <a:gd name="connsiteY134" fmla="*/ 23637 h 311981"/>
                  <a:gd name="connsiteX135" fmla="*/ 165612 w 209250"/>
                  <a:gd name="connsiteY135" fmla="*/ 24092 h 311981"/>
                  <a:gd name="connsiteX136" fmla="*/ 166521 w 209250"/>
                  <a:gd name="connsiteY136" fmla="*/ 25607 h 311981"/>
                  <a:gd name="connsiteX137" fmla="*/ 166673 w 209250"/>
                  <a:gd name="connsiteY137" fmla="*/ 26819 h 311981"/>
                  <a:gd name="connsiteX138" fmla="*/ 166521 w 209250"/>
                  <a:gd name="connsiteY138" fmla="*/ 30152 h 311981"/>
                  <a:gd name="connsiteX139" fmla="*/ 165915 w 209250"/>
                  <a:gd name="connsiteY139" fmla="*/ 34547 h 311981"/>
                  <a:gd name="connsiteX140" fmla="*/ 164855 w 209250"/>
                  <a:gd name="connsiteY140" fmla="*/ 37274 h 311981"/>
                  <a:gd name="connsiteX141" fmla="*/ 165461 w 209250"/>
                  <a:gd name="connsiteY141" fmla="*/ 41062 h 311981"/>
                  <a:gd name="connsiteX142" fmla="*/ 165309 w 209250"/>
                  <a:gd name="connsiteY142" fmla="*/ 42729 h 311981"/>
                  <a:gd name="connsiteX143" fmla="*/ 164855 w 209250"/>
                  <a:gd name="connsiteY143" fmla="*/ 43789 h 311981"/>
                  <a:gd name="connsiteX144" fmla="*/ 163188 w 209250"/>
                  <a:gd name="connsiteY144" fmla="*/ 45002 h 311981"/>
                  <a:gd name="connsiteX145" fmla="*/ 160764 w 209250"/>
                  <a:gd name="connsiteY145" fmla="*/ 46365 h 311981"/>
                  <a:gd name="connsiteX146" fmla="*/ 155157 w 209250"/>
                  <a:gd name="connsiteY146" fmla="*/ 50002 h 311981"/>
                  <a:gd name="connsiteX147" fmla="*/ 153491 w 209250"/>
                  <a:gd name="connsiteY147" fmla="*/ 50456 h 311981"/>
                  <a:gd name="connsiteX148" fmla="*/ 151066 w 209250"/>
                  <a:gd name="connsiteY148" fmla="*/ 50608 h 311981"/>
                  <a:gd name="connsiteX149" fmla="*/ 149096 w 209250"/>
                  <a:gd name="connsiteY149" fmla="*/ 51517 h 311981"/>
                  <a:gd name="connsiteX150" fmla="*/ 146521 w 209250"/>
                  <a:gd name="connsiteY150" fmla="*/ 53487 h 311981"/>
                  <a:gd name="connsiteX151" fmla="*/ 141369 w 209250"/>
                  <a:gd name="connsiteY151" fmla="*/ 60911 h 311981"/>
                  <a:gd name="connsiteX152" fmla="*/ 136823 w 209250"/>
                  <a:gd name="connsiteY152" fmla="*/ 68184 h 311981"/>
                  <a:gd name="connsiteX153" fmla="*/ 135308 w 209250"/>
                  <a:gd name="connsiteY153" fmla="*/ 74245 h 311981"/>
                  <a:gd name="connsiteX154" fmla="*/ 133490 w 209250"/>
                  <a:gd name="connsiteY154" fmla="*/ 80154 h 311981"/>
                  <a:gd name="connsiteX155" fmla="*/ 129551 w 209250"/>
                  <a:gd name="connsiteY155" fmla="*/ 83791 h 311981"/>
                  <a:gd name="connsiteX156" fmla="*/ 129096 w 209250"/>
                  <a:gd name="connsiteY156" fmla="*/ 85912 h 311981"/>
                  <a:gd name="connsiteX157" fmla="*/ 128793 w 209250"/>
                  <a:gd name="connsiteY157" fmla="*/ 87124 h 311981"/>
                  <a:gd name="connsiteX158" fmla="*/ 128793 w 209250"/>
                  <a:gd name="connsiteY158" fmla="*/ 90003 h 311981"/>
                  <a:gd name="connsiteX159" fmla="*/ 128186 w 209250"/>
                  <a:gd name="connsiteY159" fmla="*/ 94549 h 311981"/>
                  <a:gd name="connsiteX160" fmla="*/ 127581 w 209250"/>
                  <a:gd name="connsiteY160" fmla="*/ 96822 h 311981"/>
                  <a:gd name="connsiteX161" fmla="*/ 126974 w 209250"/>
                  <a:gd name="connsiteY161" fmla="*/ 97428 h 311981"/>
                  <a:gd name="connsiteX162" fmla="*/ 122732 w 209250"/>
                  <a:gd name="connsiteY162" fmla="*/ 98943 h 311981"/>
                  <a:gd name="connsiteX163" fmla="*/ 120308 w 209250"/>
                  <a:gd name="connsiteY163" fmla="*/ 100610 h 311981"/>
                  <a:gd name="connsiteX164" fmla="*/ 118792 w 209250"/>
                  <a:gd name="connsiteY164" fmla="*/ 103943 h 311981"/>
                  <a:gd name="connsiteX165" fmla="*/ 118186 w 209250"/>
                  <a:gd name="connsiteY165" fmla="*/ 107580 h 311981"/>
                  <a:gd name="connsiteX166" fmla="*/ 117429 w 209250"/>
                  <a:gd name="connsiteY166" fmla="*/ 111671 h 311981"/>
                  <a:gd name="connsiteX167" fmla="*/ 116822 w 209250"/>
                  <a:gd name="connsiteY167" fmla="*/ 115307 h 311981"/>
                  <a:gd name="connsiteX168" fmla="*/ 116217 w 209250"/>
                  <a:gd name="connsiteY168" fmla="*/ 117277 h 311981"/>
                  <a:gd name="connsiteX169" fmla="*/ 114853 w 209250"/>
                  <a:gd name="connsiteY169" fmla="*/ 119247 h 311981"/>
                  <a:gd name="connsiteX170" fmla="*/ 112580 w 209250"/>
                  <a:gd name="connsiteY170" fmla="*/ 121368 h 311981"/>
                  <a:gd name="connsiteX171" fmla="*/ 110762 w 209250"/>
                  <a:gd name="connsiteY171" fmla="*/ 122580 h 311981"/>
                  <a:gd name="connsiteX172" fmla="*/ 105913 w 209250"/>
                  <a:gd name="connsiteY172" fmla="*/ 123338 h 311981"/>
                  <a:gd name="connsiteX173" fmla="*/ 103337 w 209250"/>
                  <a:gd name="connsiteY173" fmla="*/ 128186 h 311981"/>
                  <a:gd name="connsiteX174" fmla="*/ 101216 w 209250"/>
                  <a:gd name="connsiteY174" fmla="*/ 131974 h 311981"/>
                  <a:gd name="connsiteX175" fmla="*/ 101216 w 209250"/>
                  <a:gd name="connsiteY175" fmla="*/ 133338 h 311981"/>
                  <a:gd name="connsiteX176" fmla="*/ 99095 w 209250"/>
                  <a:gd name="connsiteY176" fmla="*/ 141217 h 311981"/>
                  <a:gd name="connsiteX177" fmla="*/ 95458 w 209250"/>
                  <a:gd name="connsiteY177" fmla="*/ 147126 h 311981"/>
                  <a:gd name="connsiteX178" fmla="*/ 95307 w 209250"/>
                  <a:gd name="connsiteY178" fmla="*/ 149096 h 311981"/>
                  <a:gd name="connsiteX179" fmla="*/ 95307 w 209250"/>
                  <a:gd name="connsiteY179" fmla="*/ 150914 h 311981"/>
                  <a:gd name="connsiteX180" fmla="*/ 90761 w 209250"/>
                  <a:gd name="connsiteY180" fmla="*/ 156066 h 311981"/>
                  <a:gd name="connsiteX181" fmla="*/ 89549 w 209250"/>
                  <a:gd name="connsiteY181" fmla="*/ 157581 h 311981"/>
                  <a:gd name="connsiteX182" fmla="*/ 88488 w 209250"/>
                  <a:gd name="connsiteY182" fmla="*/ 159551 h 311981"/>
                  <a:gd name="connsiteX183" fmla="*/ 89549 w 209250"/>
                  <a:gd name="connsiteY183" fmla="*/ 161521 h 311981"/>
                  <a:gd name="connsiteX184" fmla="*/ 90912 w 209250"/>
                  <a:gd name="connsiteY184" fmla="*/ 163188 h 311981"/>
                  <a:gd name="connsiteX185" fmla="*/ 91064 w 209250"/>
                  <a:gd name="connsiteY185" fmla="*/ 163794 h 311981"/>
                  <a:gd name="connsiteX186" fmla="*/ 88943 w 209250"/>
                  <a:gd name="connsiteY186" fmla="*/ 165461 h 311981"/>
                  <a:gd name="connsiteX187" fmla="*/ 85458 w 209250"/>
                  <a:gd name="connsiteY187" fmla="*/ 168339 h 311981"/>
                  <a:gd name="connsiteX188" fmla="*/ 83336 w 209250"/>
                  <a:gd name="connsiteY188" fmla="*/ 170006 h 311981"/>
                  <a:gd name="connsiteX189" fmla="*/ 82882 w 209250"/>
                  <a:gd name="connsiteY189" fmla="*/ 170915 h 311981"/>
                  <a:gd name="connsiteX190" fmla="*/ 82579 w 209250"/>
                  <a:gd name="connsiteY190" fmla="*/ 175158 h 311981"/>
                  <a:gd name="connsiteX191" fmla="*/ 81973 w 209250"/>
                  <a:gd name="connsiteY191" fmla="*/ 176370 h 311981"/>
                  <a:gd name="connsiteX192" fmla="*/ 80457 w 209250"/>
                  <a:gd name="connsiteY192" fmla="*/ 177885 h 311981"/>
                  <a:gd name="connsiteX193" fmla="*/ 78488 w 209250"/>
                  <a:gd name="connsiteY193" fmla="*/ 179704 h 311981"/>
                  <a:gd name="connsiteX194" fmla="*/ 76367 w 209250"/>
                  <a:gd name="connsiteY194" fmla="*/ 181067 h 311981"/>
                  <a:gd name="connsiteX195" fmla="*/ 73942 w 209250"/>
                  <a:gd name="connsiteY195" fmla="*/ 181976 h 311981"/>
                  <a:gd name="connsiteX196" fmla="*/ 71669 w 209250"/>
                  <a:gd name="connsiteY196" fmla="*/ 182279 h 311981"/>
                  <a:gd name="connsiteX197" fmla="*/ 70306 w 209250"/>
                  <a:gd name="connsiteY197" fmla="*/ 181825 h 311981"/>
                  <a:gd name="connsiteX198" fmla="*/ 69700 w 209250"/>
                  <a:gd name="connsiteY198" fmla="*/ 180461 h 311981"/>
                  <a:gd name="connsiteX199" fmla="*/ 68336 w 209250"/>
                  <a:gd name="connsiteY199" fmla="*/ 175158 h 311981"/>
                  <a:gd name="connsiteX200" fmla="*/ 67730 w 209250"/>
                  <a:gd name="connsiteY200" fmla="*/ 174097 h 311981"/>
                  <a:gd name="connsiteX201" fmla="*/ 66215 w 209250"/>
                  <a:gd name="connsiteY201" fmla="*/ 173037 h 311981"/>
                  <a:gd name="connsiteX202" fmla="*/ 63336 w 209250"/>
                  <a:gd name="connsiteY202" fmla="*/ 170158 h 311981"/>
                  <a:gd name="connsiteX203" fmla="*/ 60305 w 209250"/>
                  <a:gd name="connsiteY203" fmla="*/ 167279 h 311981"/>
                  <a:gd name="connsiteX204" fmla="*/ 56669 w 209250"/>
                  <a:gd name="connsiteY204" fmla="*/ 165309 h 311981"/>
                  <a:gd name="connsiteX205" fmla="*/ 55911 w 209250"/>
                  <a:gd name="connsiteY205" fmla="*/ 165461 h 311981"/>
                  <a:gd name="connsiteX206" fmla="*/ 55305 w 209250"/>
                  <a:gd name="connsiteY206" fmla="*/ 165915 h 311981"/>
                  <a:gd name="connsiteX207" fmla="*/ 54245 w 209250"/>
                  <a:gd name="connsiteY207" fmla="*/ 168794 h 311981"/>
                  <a:gd name="connsiteX208" fmla="*/ 53336 w 209250"/>
                  <a:gd name="connsiteY208" fmla="*/ 170006 h 311981"/>
                  <a:gd name="connsiteX209" fmla="*/ 51366 w 209250"/>
                  <a:gd name="connsiteY209" fmla="*/ 170309 h 311981"/>
                  <a:gd name="connsiteX210" fmla="*/ 48183 w 209250"/>
                  <a:gd name="connsiteY210" fmla="*/ 170309 h 311981"/>
                  <a:gd name="connsiteX211" fmla="*/ 45760 w 209250"/>
                  <a:gd name="connsiteY211" fmla="*/ 169855 h 311981"/>
                  <a:gd name="connsiteX212" fmla="*/ 45153 w 209250"/>
                  <a:gd name="connsiteY212" fmla="*/ 169400 h 311981"/>
                  <a:gd name="connsiteX213" fmla="*/ 44699 w 209250"/>
                  <a:gd name="connsiteY213" fmla="*/ 168036 h 311981"/>
                  <a:gd name="connsiteX214" fmla="*/ 44093 w 209250"/>
                  <a:gd name="connsiteY214" fmla="*/ 167127 h 311981"/>
                  <a:gd name="connsiteX215" fmla="*/ 41214 w 209250"/>
                  <a:gd name="connsiteY215" fmla="*/ 169097 h 311981"/>
                  <a:gd name="connsiteX216" fmla="*/ 36668 w 209250"/>
                  <a:gd name="connsiteY216" fmla="*/ 172279 h 311981"/>
                  <a:gd name="connsiteX217" fmla="*/ 35153 w 209250"/>
                  <a:gd name="connsiteY217" fmla="*/ 172885 h 311981"/>
                  <a:gd name="connsiteX218" fmla="*/ 34092 w 209250"/>
                  <a:gd name="connsiteY218" fmla="*/ 173491 h 311981"/>
                  <a:gd name="connsiteX219" fmla="*/ 32577 w 209250"/>
                  <a:gd name="connsiteY219" fmla="*/ 176522 h 311981"/>
                  <a:gd name="connsiteX220" fmla="*/ 30759 w 209250"/>
                  <a:gd name="connsiteY220" fmla="*/ 179704 h 311981"/>
                  <a:gd name="connsiteX221" fmla="*/ 28486 w 209250"/>
                  <a:gd name="connsiteY221" fmla="*/ 181370 h 311981"/>
                  <a:gd name="connsiteX222" fmla="*/ 26213 w 209250"/>
                  <a:gd name="connsiteY222" fmla="*/ 182885 h 311981"/>
                  <a:gd name="connsiteX223" fmla="*/ 24850 w 209250"/>
                  <a:gd name="connsiteY223" fmla="*/ 184098 h 311981"/>
                  <a:gd name="connsiteX224" fmla="*/ 23031 w 209250"/>
                  <a:gd name="connsiteY224" fmla="*/ 185461 h 311981"/>
                  <a:gd name="connsiteX225" fmla="*/ 19243 w 209250"/>
                  <a:gd name="connsiteY225" fmla="*/ 189249 h 311981"/>
                  <a:gd name="connsiteX226" fmla="*/ 14395 w 209250"/>
                  <a:gd name="connsiteY226" fmla="*/ 193947 h 311981"/>
                  <a:gd name="connsiteX227" fmla="*/ 12728 w 209250"/>
                  <a:gd name="connsiteY227" fmla="*/ 196522 h 311981"/>
                  <a:gd name="connsiteX228" fmla="*/ 10910 w 209250"/>
                  <a:gd name="connsiteY228" fmla="*/ 200159 h 311981"/>
                  <a:gd name="connsiteX229" fmla="*/ 10000 w 209250"/>
                  <a:gd name="connsiteY229" fmla="*/ 204401 h 311981"/>
                  <a:gd name="connsiteX230" fmla="*/ 8940 w 209250"/>
                  <a:gd name="connsiteY230" fmla="*/ 208947 h 311981"/>
                  <a:gd name="connsiteX231" fmla="*/ 7273 w 209250"/>
                  <a:gd name="connsiteY231" fmla="*/ 216068 h 311981"/>
                  <a:gd name="connsiteX232" fmla="*/ 5000 w 209250"/>
                  <a:gd name="connsiteY232" fmla="*/ 220311 h 311981"/>
                  <a:gd name="connsiteX233" fmla="*/ 2879 w 209250"/>
                  <a:gd name="connsiteY233" fmla="*/ 223493 h 311981"/>
                  <a:gd name="connsiteX234" fmla="*/ 1364 w 209250"/>
                  <a:gd name="connsiteY234" fmla="*/ 226069 h 311981"/>
                  <a:gd name="connsiteX235" fmla="*/ 606 w 209250"/>
                  <a:gd name="connsiteY235" fmla="*/ 228190 h 311981"/>
                  <a:gd name="connsiteX236" fmla="*/ 1061 w 209250"/>
                  <a:gd name="connsiteY236" fmla="*/ 228342 h 311981"/>
                  <a:gd name="connsiteX237" fmla="*/ 0 w 209250"/>
                  <a:gd name="connsiteY237" fmla="*/ 232281 h 311981"/>
                  <a:gd name="connsiteX238" fmla="*/ 152 w 209250"/>
                  <a:gd name="connsiteY238" fmla="*/ 233190 h 311981"/>
                  <a:gd name="connsiteX239" fmla="*/ 1061 w 209250"/>
                  <a:gd name="connsiteY239" fmla="*/ 234403 h 311981"/>
                  <a:gd name="connsiteX240" fmla="*/ 3333 w 209250"/>
                  <a:gd name="connsiteY240" fmla="*/ 234705 h 311981"/>
                  <a:gd name="connsiteX241" fmla="*/ 4243 w 209250"/>
                  <a:gd name="connsiteY241" fmla="*/ 233796 h 311981"/>
                  <a:gd name="connsiteX242" fmla="*/ 3485 w 209250"/>
                  <a:gd name="connsiteY242" fmla="*/ 230463 h 311981"/>
                  <a:gd name="connsiteX243" fmla="*/ 4697 w 209250"/>
                  <a:gd name="connsiteY243" fmla="*/ 231220 h 311981"/>
                  <a:gd name="connsiteX244" fmla="*/ 6212 w 209250"/>
                  <a:gd name="connsiteY244" fmla="*/ 232887 h 311981"/>
                  <a:gd name="connsiteX245" fmla="*/ 7424 w 209250"/>
                  <a:gd name="connsiteY245" fmla="*/ 233190 h 311981"/>
                  <a:gd name="connsiteX246" fmla="*/ 8788 w 209250"/>
                  <a:gd name="connsiteY246" fmla="*/ 233039 h 311981"/>
                  <a:gd name="connsiteX247" fmla="*/ 9698 w 209250"/>
                  <a:gd name="connsiteY247" fmla="*/ 233190 h 311981"/>
                  <a:gd name="connsiteX248" fmla="*/ 10455 w 209250"/>
                  <a:gd name="connsiteY248" fmla="*/ 233645 h 311981"/>
                  <a:gd name="connsiteX249" fmla="*/ 10152 w 209250"/>
                  <a:gd name="connsiteY249" fmla="*/ 236827 h 311981"/>
                  <a:gd name="connsiteX250" fmla="*/ 10303 w 209250"/>
                  <a:gd name="connsiteY250" fmla="*/ 238948 h 311981"/>
                  <a:gd name="connsiteX251" fmla="*/ 10910 w 209250"/>
                  <a:gd name="connsiteY251" fmla="*/ 240918 h 311981"/>
                  <a:gd name="connsiteX252" fmla="*/ 12122 w 209250"/>
                  <a:gd name="connsiteY252" fmla="*/ 242433 h 311981"/>
                  <a:gd name="connsiteX253" fmla="*/ 12728 w 209250"/>
                  <a:gd name="connsiteY253" fmla="*/ 246221 h 311981"/>
                  <a:gd name="connsiteX254" fmla="*/ 15910 w 209250"/>
                  <a:gd name="connsiteY254" fmla="*/ 247585 h 311981"/>
                  <a:gd name="connsiteX255" fmla="*/ 19546 w 209250"/>
                  <a:gd name="connsiteY255" fmla="*/ 248797 h 311981"/>
                  <a:gd name="connsiteX256" fmla="*/ 20910 w 209250"/>
                  <a:gd name="connsiteY256" fmla="*/ 249555 h 311981"/>
                  <a:gd name="connsiteX257" fmla="*/ 21213 w 209250"/>
                  <a:gd name="connsiteY257" fmla="*/ 250312 h 311981"/>
                  <a:gd name="connsiteX258" fmla="*/ 22728 w 209250"/>
                  <a:gd name="connsiteY258" fmla="*/ 250767 h 311981"/>
                  <a:gd name="connsiteX259" fmla="*/ 24395 w 209250"/>
                  <a:gd name="connsiteY259" fmla="*/ 250918 h 311981"/>
                  <a:gd name="connsiteX260" fmla="*/ 25455 w 209250"/>
                  <a:gd name="connsiteY260" fmla="*/ 250312 h 311981"/>
                  <a:gd name="connsiteX261" fmla="*/ 26516 w 209250"/>
                  <a:gd name="connsiteY261" fmla="*/ 248797 h 311981"/>
                  <a:gd name="connsiteX262" fmla="*/ 25910 w 209250"/>
                  <a:gd name="connsiteY262" fmla="*/ 246979 h 311981"/>
                  <a:gd name="connsiteX263" fmla="*/ 26819 w 209250"/>
                  <a:gd name="connsiteY263" fmla="*/ 247130 h 311981"/>
                  <a:gd name="connsiteX264" fmla="*/ 27880 w 209250"/>
                  <a:gd name="connsiteY264" fmla="*/ 248039 h 311981"/>
                  <a:gd name="connsiteX265" fmla="*/ 29243 w 209250"/>
                  <a:gd name="connsiteY265" fmla="*/ 248039 h 311981"/>
                  <a:gd name="connsiteX266" fmla="*/ 31062 w 209250"/>
                  <a:gd name="connsiteY266" fmla="*/ 246676 h 311981"/>
                  <a:gd name="connsiteX267" fmla="*/ 31517 w 209250"/>
                  <a:gd name="connsiteY267" fmla="*/ 247282 h 311981"/>
                  <a:gd name="connsiteX268" fmla="*/ 30456 w 209250"/>
                  <a:gd name="connsiteY268" fmla="*/ 248494 h 311981"/>
                  <a:gd name="connsiteX269" fmla="*/ 30304 w 209250"/>
                  <a:gd name="connsiteY269" fmla="*/ 249706 h 311981"/>
                  <a:gd name="connsiteX270" fmla="*/ 32880 w 209250"/>
                  <a:gd name="connsiteY270" fmla="*/ 251979 h 311981"/>
                  <a:gd name="connsiteX271" fmla="*/ 33031 w 209250"/>
                  <a:gd name="connsiteY271" fmla="*/ 252736 h 311981"/>
                  <a:gd name="connsiteX272" fmla="*/ 30001 w 209250"/>
                  <a:gd name="connsiteY272" fmla="*/ 252282 h 311981"/>
                  <a:gd name="connsiteX273" fmla="*/ 28941 w 209250"/>
                  <a:gd name="connsiteY273" fmla="*/ 253797 h 311981"/>
                  <a:gd name="connsiteX274" fmla="*/ 28031 w 209250"/>
                  <a:gd name="connsiteY274" fmla="*/ 254252 h 311981"/>
                  <a:gd name="connsiteX275" fmla="*/ 29547 w 209250"/>
                  <a:gd name="connsiteY275" fmla="*/ 256979 h 311981"/>
                  <a:gd name="connsiteX276" fmla="*/ 30304 w 209250"/>
                  <a:gd name="connsiteY276" fmla="*/ 259252 h 311981"/>
                  <a:gd name="connsiteX277" fmla="*/ 33638 w 209250"/>
                  <a:gd name="connsiteY277" fmla="*/ 258949 h 311981"/>
                  <a:gd name="connsiteX278" fmla="*/ 31062 w 209250"/>
                  <a:gd name="connsiteY278" fmla="*/ 261373 h 311981"/>
                  <a:gd name="connsiteX279" fmla="*/ 36668 w 209250"/>
                  <a:gd name="connsiteY279" fmla="*/ 267585 h 311981"/>
                  <a:gd name="connsiteX280" fmla="*/ 37729 w 209250"/>
                  <a:gd name="connsiteY280" fmla="*/ 269404 h 311981"/>
                  <a:gd name="connsiteX281" fmla="*/ 38638 w 209250"/>
                  <a:gd name="connsiteY281" fmla="*/ 273798 h 311981"/>
                  <a:gd name="connsiteX282" fmla="*/ 36971 w 209250"/>
                  <a:gd name="connsiteY282" fmla="*/ 278192 h 311981"/>
                  <a:gd name="connsiteX283" fmla="*/ 36517 w 209250"/>
                  <a:gd name="connsiteY283" fmla="*/ 283192 h 311981"/>
                  <a:gd name="connsiteX284" fmla="*/ 35153 w 209250"/>
                  <a:gd name="connsiteY284" fmla="*/ 288495 h 311981"/>
                  <a:gd name="connsiteX285" fmla="*/ 34698 w 209250"/>
                  <a:gd name="connsiteY285" fmla="*/ 294859 h 311981"/>
                  <a:gd name="connsiteX286" fmla="*/ 35305 w 209250"/>
                  <a:gd name="connsiteY286" fmla="*/ 295011 h 311981"/>
                  <a:gd name="connsiteX287" fmla="*/ 35456 w 209250"/>
                  <a:gd name="connsiteY287" fmla="*/ 295617 h 311981"/>
                  <a:gd name="connsiteX288" fmla="*/ 35607 w 209250"/>
                  <a:gd name="connsiteY288" fmla="*/ 296526 h 311981"/>
                  <a:gd name="connsiteX289" fmla="*/ 36517 w 209250"/>
                  <a:gd name="connsiteY289" fmla="*/ 297284 h 311981"/>
                  <a:gd name="connsiteX290" fmla="*/ 39547 w 209250"/>
                  <a:gd name="connsiteY290" fmla="*/ 298647 h 311981"/>
                  <a:gd name="connsiteX291" fmla="*/ 48487 w 209250"/>
                  <a:gd name="connsiteY291" fmla="*/ 298647 h 311981"/>
                  <a:gd name="connsiteX292" fmla="*/ 53790 w 209250"/>
                  <a:gd name="connsiteY292" fmla="*/ 298647 h 311981"/>
                  <a:gd name="connsiteX293" fmla="*/ 61669 w 209250"/>
                  <a:gd name="connsiteY293" fmla="*/ 298647 h 311981"/>
                  <a:gd name="connsiteX294" fmla="*/ 70154 w 209250"/>
                  <a:gd name="connsiteY294" fmla="*/ 298647 h 311981"/>
                  <a:gd name="connsiteX295" fmla="*/ 76518 w 209250"/>
                  <a:gd name="connsiteY295" fmla="*/ 298647 h 311981"/>
                  <a:gd name="connsiteX296" fmla="*/ 76821 w 209250"/>
                  <a:gd name="connsiteY296" fmla="*/ 296829 h 311981"/>
                  <a:gd name="connsiteX297" fmla="*/ 77124 w 209250"/>
                  <a:gd name="connsiteY297" fmla="*/ 296071 h 311981"/>
                  <a:gd name="connsiteX298" fmla="*/ 76973 w 209250"/>
                  <a:gd name="connsiteY298" fmla="*/ 295011 h 311981"/>
                  <a:gd name="connsiteX299" fmla="*/ 82730 w 209250"/>
                  <a:gd name="connsiteY299" fmla="*/ 295011 h 311981"/>
                  <a:gd name="connsiteX300" fmla="*/ 93185 w 209250"/>
                  <a:gd name="connsiteY300" fmla="*/ 295465 h 311981"/>
                  <a:gd name="connsiteX301" fmla="*/ 97731 w 209250"/>
                  <a:gd name="connsiteY301" fmla="*/ 295314 h 311981"/>
                  <a:gd name="connsiteX302" fmla="*/ 99095 w 209250"/>
                  <a:gd name="connsiteY302" fmla="*/ 295465 h 311981"/>
                  <a:gd name="connsiteX303" fmla="*/ 104701 w 209250"/>
                  <a:gd name="connsiteY303" fmla="*/ 295162 h 311981"/>
                  <a:gd name="connsiteX304" fmla="*/ 109246 w 209250"/>
                  <a:gd name="connsiteY304" fmla="*/ 295465 h 311981"/>
                  <a:gd name="connsiteX305" fmla="*/ 111216 w 209250"/>
                  <a:gd name="connsiteY305" fmla="*/ 295920 h 311981"/>
                  <a:gd name="connsiteX306" fmla="*/ 113034 w 209250"/>
                  <a:gd name="connsiteY306" fmla="*/ 296223 h 311981"/>
                  <a:gd name="connsiteX307" fmla="*/ 118489 w 209250"/>
                  <a:gd name="connsiteY307" fmla="*/ 296374 h 311981"/>
                  <a:gd name="connsiteX308" fmla="*/ 125763 w 209250"/>
                  <a:gd name="connsiteY308" fmla="*/ 296071 h 311981"/>
                  <a:gd name="connsiteX309" fmla="*/ 128186 w 209250"/>
                  <a:gd name="connsiteY309" fmla="*/ 296223 h 311981"/>
                  <a:gd name="connsiteX310" fmla="*/ 129551 w 209250"/>
                  <a:gd name="connsiteY310" fmla="*/ 297132 h 311981"/>
                  <a:gd name="connsiteX311" fmla="*/ 130156 w 209250"/>
                  <a:gd name="connsiteY311" fmla="*/ 298799 h 311981"/>
                  <a:gd name="connsiteX312" fmla="*/ 136823 w 209250"/>
                  <a:gd name="connsiteY312" fmla="*/ 298799 h 311981"/>
                  <a:gd name="connsiteX313" fmla="*/ 143339 w 209250"/>
                  <a:gd name="connsiteY313" fmla="*/ 298799 h 311981"/>
                  <a:gd name="connsiteX314" fmla="*/ 150460 w 209250"/>
                  <a:gd name="connsiteY314" fmla="*/ 298799 h 311981"/>
                  <a:gd name="connsiteX315" fmla="*/ 157430 w 209250"/>
                  <a:gd name="connsiteY315" fmla="*/ 298799 h 311981"/>
                  <a:gd name="connsiteX316" fmla="*/ 162733 w 209250"/>
                  <a:gd name="connsiteY316" fmla="*/ 298950 h 311981"/>
                  <a:gd name="connsiteX317" fmla="*/ 165461 w 209250"/>
                  <a:gd name="connsiteY317" fmla="*/ 297738 h 311981"/>
                  <a:gd name="connsiteX318" fmla="*/ 167885 w 209250"/>
                  <a:gd name="connsiteY318" fmla="*/ 299556 h 311981"/>
                  <a:gd name="connsiteX319" fmla="*/ 169097 w 209250"/>
                  <a:gd name="connsiteY319" fmla="*/ 300011 h 311981"/>
                  <a:gd name="connsiteX320" fmla="*/ 169400 w 209250"/>
                  <a:gd name="connsiteY320" fmla="*/ 299859 h 311981"/>
                  <a:gd name="connsiteX321" fmla="*/ 170461 w 209250"/>
                  <a:gd name="connsiteY321" fmla="*/ 301072 h 311981"/>
                  <a:gd name="connsiteX322" fmla="*/ 173491 w 209250"/>
                  <a:gd name="connsiteY322" fmla="*/ 300920 h 311981"/>
                  <a:gd name="connsiteX323" fmla="*/ 173946 w 209250"/>
                  <a:gd name="connsiteY323" fmla="*/ 301223 h 311981"/>
                  <a:gd name="connsiteX324" fmla="*/ 174249 w 209250"/>
                  <a:gd name="connsiteY324" fmla="*/ 302890 h 311981"/>
                  <a:gd name="connsiteX325" fmla="*/ 177128 w 209250"/>
                  <a:gd name="connsiteY325" fmla="*/ 302738 h 311981"/>
                  <a:gd name="connsiteX326" fmla="*/ 178491 w 209250"/>
                  <a:gd name="connsiteY326" fmla="*/ 303193 h 311981"/>
                  <a:gd name="connsiteX327" fmla="*/ 179704 w 209250"/>
                  <a:gd name="connsiteY327" fmla="*/ 303041 h 311981"/>
                  <a:gd name="connsiteX328" fmla="*/ 181219 w 209250"/>
                  <a:gd name="connsiteY328" fmla="*/ 302132 h 311981"/>
                  <a:gd name="connsiteX329" fmla="*/ 182431 w 209250"/>
                  <a:gd name="connsiteY329" fmla="*/ 302435 h 311981"/>
                  <a:gd name="connsiteX330" fmla="*/ 184704 w 209250"/>
                  <a:gd name="connsiteY330" fmla="*/ 303647 h 311981"/>
                  <a:gd name="connsiteX331" fmla="*/ 186219 w 209250"/>
                  <a:gd name="connsiteY331" fmla="*/ 304708 h 311981"/>
                  <a:gd name="connsiteX332" fmla="*/ 188340 w 209250"/>
                  <a:gd name="connsiteY332" fmla="*/ 304405 h 311981"/>
                  <a:gd name="connsiteX333" fmla="*/ 193341 w 209250"/>
                  <a:gd name="connsiteY333" fmla="*/ 304556 h 311981"/>
                  <a:gd name="connsiteX334" fmla="*/ 197129 w 209250"/>
                  <a:gd name="connsiteY334" fmla="*/ 305466 h 311981"/>
                  <a:gd name="connsiteX335" fmla="*/ 201068 w 209250"/>
                  <a:gd name="connsiteY335" fmla="*/ 308193 h 311981"/>
                  <a:gd name="connsiteX336" fmla="*/ 203644 w 209250"/>
                  <a:gd name="connsiteY336" fmla="*/ 309708 h 311981"/>
                  <a:gd name="connsiteX337" fmla="*/ 205917 w 209250"/>
                  <a:gd name="connsiteY337" fmla="*/ 311981 h 311981"/>
                  <a:gd name="connsiteX338" fmla="*/ 206675 w 209250"/>
                  <a:gd name="connsiteY338" fmla="*/ 311526 h 311981"/>
                  <a:gd name="connsiteX339" fmla="*/ 207584 w 209250"/>
                  <a:gd name="connsiteY339" fmla="*/ 310920 h 311981"/>
                  <a:gd name="connsiteX340" fmla="*/ 208038 w 209250"/>
                  <a:gd name="connsiteY340" fmla="*/ 310617 h 311981"/>
                  <a:gd name="connsiteX341" fmla="*/ 207887 w 209250"/>
                  <a:gd name="connsiteY341" fmla="*/ 308648 h 311981"/>
                  <a:gd name="connsiteX342" fmla="*/ 206675 w 209250"/>
                  <a:gd name="connsiteY342" fmla="*/ 305314 h 311981"/>
                  <a:gd name="connsiteX343" fmla="*/ 206220 w 209250"/>
                  <a:gd name="connsiteY343" fmla="*/ 302587 h 311981"/>
                  <a:gd name="connsiteX344" fmla="*/ 206523 w 209250"/>
                  <a:gd name="connsiteY344" fmla="*/ 300314 h 311981"/>
                  <a:gd name="connsiteX345" fmla="*/ 207432 w 209250"/>
                  <a:gd name="connsiteY345" fmla="*/ 298647 h 311981"/>
                  <a:gd name="connsiteX346" fmla="*/ 209099 w 209250"/>
                  <a:gd name="connsiteY346" fmla="*/ 297587 h 311981"/>
                  <a:gd name="connsiteX347" fmla="*/ 209250 w 209250"/>
                  <a:gd name="connsiteY347" fmla="*/ 296071 h 311981"/>
                  <a:gd name="connsiteX348" fmla="*/ 209250 w 209250"/>
                  <a:gd name="connsiteY348" fmla="*/ 295768 h 31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209250" h="311981">
                    <a:moveTo>
                      <a:pt x="208038" y="293192"/>
                    </a:moveTo>
                    <a:lnTo>
                      <a:pt x="207129" y="290313"/>
                    </a:lnTo>
                    <a:lnTo>
                      <a:pt x="206826" y="286829"/>
                    </a:lnTo>
                    <a:lnTo>
                      <a:pt x="207129" y="285919"/>
                    </a:lnTo>
                    <a:lnTo>
                      <a:pt x="206523" y="284859"/>
                    </a:lnTo>
                    <a:lnTo>
                      <a:pt x="206523" y="284707"/>
                    </a:lnTo>
                    <a:lnTo>
                      <a:pt x="205917" y="282131"/>
                    </a:lnTo>
                    <a:lnTo>
                      <a:pt x="206523" y="280313"/>
                    </a:lnTo>
                    <a:lnTo>
                      <a:pt x="206068" y="278495"/>
                    </a:lnTo>
                    <a:lnTo>
                      <a:pt x="204553" y="276525"/>
                    </a:lnTo>
                    <a:lnTo>
                      <a:pt x="203189" y="275161"/>
                    </a:lnTo>
                    <a:lnTo>
                      <a:pt x="202280" y="273949"/>
                    </a:lnTo>
                    <a:lnTo>
                      <a:pt x="201674" y="273343"/>
                    </a:lnTo>
                    <a:lnTo>
                      <a:pt x="200159" y="273192"/>
                    </a:lnTo>
                    <a:lnTo>
                      <a:pt x="198038" y="272434"/>
                    </a:lnTo>
                    <a:lnTo>
                      <a:pt x="195462" y="269707"/>
                    </a:lnTo>
                    <a:lnTo>
                      <a:pt x="192734" y="266979"/>
                    </a:lnTo>
                    <a:lnTo>
                      <a:pt x="189401" y="263494"/>
                    </a:lnTo>
                    <a:lnTo>
                      <a:pt x="186825" y="260464"/>
                    </a:lnTo>
                    <a:lnTo>
                      <a:pt x="183492" y="256828"/>
                    </a:lnTo>
                    <a:lnTo>
                      <a:pt x="180461" y="253494"/>
                    </a:lnTo>
                    <a:lnTo>
                      <a:pt x="178643" y="250161"/>
                    </a:lnTo>
                    <a:lnTo>
                      <a:pt x="177885" y="248342"/>
                    </a:lnTo>
                    <a:lnTo>
                      <a:pt x="178795" y="248191"/>
                    </a:lnTo>
                    <a:lnTo>
                      <a:pt x="180007" y="248039"/>
                    </a:lnTo>
                    <a:lnTo>
                      <a:pt x="180613" y="247736"/>
                    </a:lnTo>
                    <a:lnTo>
                      <a:pt x="180613" y="246827"/>
                    </a:lnTo>
                    <a:lnTo>
                      <a:pt x="179249" y="244251"/>
                    </a:lnTo>
                    <a:lnTo>
                      <a:pt x="178643" y="240918"/>
                    </a:lnTo>
                    <a:lnTo>
                      <a:pt x="177582" y="238948"/>
                    </a:lnTo>
                    <a:lnTo>
                      <a:pt x="173946" y="235918"/>
                    </a:lnTo>
                    <a:lnTo>
                      <a:pt x="170613" y="233493"/>
                    </a:lnTo>
                    <a:lnTo>
                      <a:pt x="169552" y="232281"/>
                    </a:lnTo>
                    <a:lnTo>
                      <a:pt x="168946" y="230614"/>
                    </a:lnTo>
                    <a:lnTo>
                      <a:pt x="167582" y="219705"/>
                    </a:lnTo>
                    <a:lnTo>
                      <a:pt x="167127" y="216675"/>
                    </a:lnTo>
                    <a:lnTo>
                      <a:pt x="166067" y="215311"/>
                    </a:lnTo>
                    <a:lnTo>
                      <a:pt x="165309" y="214705"/>
                    </a:lnTo>
                    <a:lnTo>
                      <a:pt x="165006" y="213947"/>
                    </a:lnTo>
                    <a:lnTo>
                      <a:pt x="165158" y="211977"/>
                    </a:lnTo>
                    <a:lnTo>
                      <a:pt x="165461" y="210159"/>
                    </a:lnTo>
                    <a:lnTo>
                      <a:pt x="165461" y="209553"/>
                    </a:lnTo>
                    <a:lnTo>
                      <a:pt x="166370" y="208038"/>
                    </a:lnTo>
                    <a:lnTo>
                      <a:pt x="166370" y="197886"/>
                    </a:lnTo>
                    <a:lnTo>
                      <a:pt x="165915" y="197431"/>
                    </a:lnTo>
                    <a:lnTo>
                      <a:pt x="165309" y="196522"/>
                    </a:lnTo>
                    <a:lnTo>
                      <a:pt x="164400" y="196674"/>
                    </a:lnTo>
                    <a:lnTo>
                      <a:pt x="163339" y="196522"/>
                    </a:lnTo>
                    <a:lnTo>
                      <a:pt x="162279" y="195007"/>
                    </a:lnTo>
                    <a:lnTo>
                      <a:pt x="161370" y="193189"/>
                    </a:lnTo>
                    <a:lnTo>
                      <a:pt x="161673" y="191825"/>
                    </a:lnTo>
                    <a:lnTo>
                      <a:pt x="162582" y="190764"/>
                    </a:lnTo>
                    <a:lnTo>
                      <a:pt x="163491" y="189855"/>
                    </a:lnTo>
                    <a:lnTo>
                      <a:pt x="164855" y="189098"/>
                    </a:lnTo>
                    <a:lnTo>
                      <a:pt x="168643" y="187431"/>
                    </a:lnTo>
                    <a:lnTo>
                      <a:pt x="169703" y="186673"/>
                    </a:lnTo>
                    <a:lnTo>
                      <a:pt x="170461" y="185613"/>
                    </a:lnTo>
                    <a:lnTo>
                      <a:pt x="170915" y="184249"/>
                    </a:lnTo>
                    <a:lnTo>
                      <a:pt x="173188" y="179097"/>
                    </a:lnTo>
                    <a:lnTo>
                      <a:pt x="176370" y="173946"/>
                    </a:lnTo>
                    <a:lnTo>
                      <a:pt x="177885" y="172885"/>
                    </a:lnTo>
                    <a:lnTo>
                      <a:pt x="179249" y="169400"/>
                    </a:lnTo>
                    <a:lnTo>
                      <a:pt x="181219" y="165157"/>
                    </a:lnTo>
                    <a:lnTo>
                      <a:pt x="181977" y="163339"/>
                    </a:lnTo>
                    <a:lnTo>
                      <a:pt x="182583" y="161369"/>
                    </a:lnTo>
                    <a:lnTo>
                      <a:pt x="183643" y="159703"/>
                    </a:lnTo>
                    <a:lnTo>
                      <a:pt x="187280" y="157127"/>
                    </a:lnTo>
                    <a:lnTo>
                      <a:pt x="190007" y="152581"/>
                    </a:lnTo>
                    <a:lnTo>
                      <a:pt x="191522" y="150460"/>
                    </a:lnTo>
                    <a:lnTo>
                      <a:pt x="191977" y="148793"/>
                    </a:lnTo>
                    <a:lnTo>
                      <a:pt x="192128" y="146824"/>
                    </a:lnTo>
                    <a:lnTo>
                      <a:pt x="191977" y="145460"/>
                    </a:lnTo>
                    <a:lnTo>
                      <a:pt x="190159" y="144702"/>
                    </a:lnTo>
                    <a:lnTo>
                      <a:pt x="189098" y="143642"/>
                    </a:lnTo>
                    <a:lnTo>
                      <a:pt x="186522" y="137278"/>
                    </a:lnTo>
                    <a:lnTo>
                      <a:pt x="183795" y="130762"/>
                    </a:lnTo>
                    <a:lnTo>
                      <a:pt x="180158" y="124398"/>
                    </a:lnTo>
                    <a:lnTo>
                      <a:pt x="176067" y="120307"/>
                    </a:lnTo>
                    <a:lnTo>
                      <a:pt x="173037" y="117731"/>
                    </a:lnTo>
                    <a:lnTo>
                      <a:pt x="172128" y="117429"/>
                    </a:lnTo>
                    <a:lnTo>
                      <a:pt x="170613" y="116671"/>
                    </a:lnTo>
                    <a:lnTo>
                      <a:pt x="169552" y="115913"/>
                    </a:lnTo>
                    <a:lnTo>
                      <a:pt x="164248" y="111519"/>
                    </a:lnTo>
                    <a:lnTo>
                      <a:pt x="158642" y="106670"/>
                    </a:lnTo>
                    <a:lnTo>
                      <a:pt x="157279" y="104398"/>
                    </a:lnTo>
                    <a:lnTo>
                      <a:pt x="154400" y="101064"/>
                    </a:lnTo>
                    <a:lnTo>
                      <a:pt x="151369" y="97731"/>
                    </a:lnTo>
                    <a:lnTo>
                      <a:pt x="149703" y="96064"/>
                    </a:lnTo>
                    <a:lnTo>
                      <a:pt x="148945" y="93337"/>
                    </a:lnTo>
                    <a:lnTo>
                      <a:pt x="151066" y="90761"/>
                    </a:lnTo>
                    <a:lnTo>
                      <a:pt x="153339" y="87579"/>
                    </a:lnTo>
                    <a:lnTo>
                      <a:pt x="156218" y="85458"/>
                    </a:lnTo>
                    <a:lnTo>
                      <a:pt x="159855" y="85306"/>
                    </a:lnTo>
                    <a:lnTo>
                      <a:pt x="165915" y="86064"/>
                    </a:lnTo>
                    <a:lnTo>
                      <a:pt x="172431" y="86367"/>
                    </a:lnTo>
                    <a:lnTo>
                      <a:pt x="178795" y="85761"/>
                    </a:lnTo>
                    <a:lnTo>
                      <a:pt x="180613" y="85306"/>
                    </a:lnTo>
                    <a:lnTo>
                      <a:pt x="182128" y="85306"/>
                    </a:lnTo>
                    <a:lnTo>
                      <a:pt x="185613" y="86064"/>
                    </a:lnTo>
                    <a:lnTo>
                      <a:pt x="191674" y="85912"/>
                    </a:lnTo>
                    <a:lnTo>
                      <a:pt x="194856" y="84549"/>
                    </a:lnTo>
                    <a:lnTo>
                      <a:pt x="191522" y="82427"/>
                    </a:lnTo>
                    <a:lnTo>
                      <a:pt x="187886" y="78942"/>
                    </a:lnTo>
                    <a:lnTo>
                      <a:pt x="184401" y="75003"/>
                    </a:lnTo>
                    <a:lnTo>
                      <a:pt x="182431" y="71518"/>
                    </a:lnTo>
                    <a:lnTo>
                      <a:pt x="180461" y="66972"/>
                    </a:lnTo>
                    <a:lnTo>
                      <a:pt x="178795" y="61517"/>
                    </a:lnTo>
                    <a:lnTo>
                      <a:pt x="177734" y="54244"/>
                    </a:lnTo>
                    <a:lnTo>
                      <a:pt x="177885" y="50153"/>
                    </a:lnTo>
                    <a:lnTo>
                      <a:pt x="178491" y="47274"/>
                    </a:lnTo>
                    <a:lnTo>
                      <a:pt x="180310" y="42426"/>
                    </a:lnTo>
                    <a:lnTo>
                      <a:pt x="179098" y="39698"/>
                    </a:lnTo>
                    <a:lnTo>
                      <a:pt x="179249" y="37426"/>
                    </a:lnTo>
                    <a:lnTo>
                      <a:pt x="179098" y="34092"/>
                    </a:lnTo>
                    <a:lnTo>
                      <a:pt x="178491" y="32425"/>
                    </a:lnTo>
                    <a:lnTo>
                      <a:pt x="176219" y="26819"/>
                    </a:lnTo>
                    <a:lnTo>
                      <a:pt x="175764" y="26213"/>
                    </a:lnTo>
                    <a:lnTo>
                      <a:pt x="173643" y="22425"/>
                    </a:lnTo>
                    <a:lnTo>
                      <a:pt x="172734" y="15910"/>
                    </a:lnTo>
                    <a:lnTo>
                      <a:pt x="170309" y="11667"/>
                    </a:lnTo>
                    <a:lnTo>
                      <a:pt x="166673" y="9697"/>
                    </a:lnTo>
                    <a:lnTo>
                      <a:pt x="164400" y="7121"/>
                    </a:lnTo>
                    <a:lnTo>
                      <a:pt x="163643" y="2727"/>
                    </a:lnTo>
                    <a:lnTo>
                      <a:pt x="162127" y="1667"/>
                    </a:lnTo>
                    <a:lnTo>
                      <a:pt x="156218" y="0"/>
                    </a:lnTo>
                    <a:lnTo>
                      <a:pt x="151369" y="0"/>
                    </a:lnTo>
                    <a:lnTo>
                      <a:pt x="153945" y="12879"/>
                    </a:lnTo>
                    <a:lnTo>
                      <a:pt x="154248" y="15304"/>
                    </a:lnTo>
                    <a:lnTo>
                      <a:pt x="154400" y="16516"/>
                    </a:lnTo>
                    <a:lnTo>
                      <a:pt x="154551" y="17425"/>
                    </a:lnTo>
                    <a:lnTo>
                      <a:pt x="155006" y="19243"/>
                    </a:lnTo>
                    <a:lnTo>
                      <a:pt x="156976" y="20001"/>
                    </a:lnTo>
                    <a:lnTo>
                      <a:pt x="160915" y="20304"/>
                    </a:lnTo>
                    <a:lnTo>
                      <a:pt x="163794" y="21516"/>
                    </a:lnTo>
                    <a:lnTo>
                      <a:pt x="165461" y="23637"/>
                    </a:lnTo>
                    <a:lnTo>
                      <a:pt x="165612" y="24092"/>
                    </a:lnTo>
                    <a:lnTo>
                      <a:pt x="166521" y="25607"/>
                    </a:lnTo>
                    <a:lnTo>
                      <a:pt x="166673" y="26819"/>
                    </a:lnTo>
                    <a:lnTo>
                      <a:pt x="166521" y="30152"/>
                    </a:lnTo>
                    <a:lnTo>
                      <a:pt x="165915" y="34547"/>
                    </a:lnTo>
                    <a:lnTo>
                      <a:pt x="164855" y="37274"/>
                    </a:lnTo>
                    <a:lnTo>
                      <a:pt x="165461" y="41062"/>
                    </a:lnTo>
                    <a:lnTo>
                      <a:pt x="165309" y="42729"/>
                    </a:lnTo>
                    <a:lnTo>
                      <a:pt x="164855" y="43789"/>
                    </a:lnTo>
                    <a:lnTo>
                      <a:pt x="163188" y="45002"/>
                    </a:lnTo>
                    <a:lnTo>
                      <a:pt x="160764" y="46365"/>
                    </a:lnTo>
                    <a:lnTo>
                      <a:pt x="155157" y="50002"/>
                    </a:lnTo>
                    <a:lnTo>
                      <a:pt x="153491" y="50456"/>
                    </a:lnTo>
                    <a:lnTo>
                      <a:pt x="151066" y="50608"/>
                    </a:lnTo>
                    <a:lnTo>
                      <a:pt x="149096" y="51517"/>
                    </a:lnTo>
                    <a:lnTo>
                      <a:pt x="146521" y="53487"/>
                    </a:lnTo>
                    <a:lnTo>
                      <a:pt x="141369" y="60911"/>
                    </a:lnTo>
                    <a:lnTo>
                      <a:pt x="136823" y="68184"/>
                    </a:lnTo>
                    <a:lnTo>
                      <a:pt x="135308" y="74245"/>
                    </a:lnTo>
                    <a:lnTo>
                      <a:pt x="133490" y="80154"/>
                    </a:lnTo>
                    <a:lnTo>
                      <a:pt x="129551" y="83791"/>
                    </a:lnTo>
                    <a:lnTo>
                      <a:pt x="129096" y="85912"/>
                    </a:lnTo>
                    <a:lnTo>
                      <a:pt x="128793" y="87124"/>
                    </a:lnTo>
                    <a:lnTo>
                      <a:pt x="128793" y="90003"/>
                    </a:lnTo>
                    <a:lnTo>
                      <a:pt x="128186" y="94549"/>
                    </a:lnTo>
                    <a:lnTo>
                      <a:pt x="127581" y="96822"/>
                    </a:lnTo>
                    <a:lnTo>
                      <a:pt x="126974" y="97428"/>
                    </a:lnTo>
                    <a:lnTo>
                      <a:pt x="122732" y="98943"/>
                    </a:lnTo>
                    <a:lnTo>
                      <a:pt x="120308" y="100610"/>
                    </a:lnTo>
                    <a:lnTo>
                      <a:pt x="118792" y="103943"/>
                    </a:lnTo>
                    <a:lnTo>
                      <a:pt x="118186" y="107580"/>
                    </a:lnTo>
                    <a:lnTo>
                      <a:pt x="117429" y="111671"/>
                    </a:lnTo>
                    <a:lnTo>
                      <a:pt x="116822" y="115307"/>
                    </a:lnTo>
                    <a:lnTo>
                      <a:pt x="116217" y="117277"/>
                    </a:lnTo>
                    <a:lnTo>
                      <a:pt x="114853" y="119247"/>
                    </a:lnTo>
                    <a:lnTo>
                      <a:pt x="112580" y="121368"/>
                    </a:lnTo>
                    <a:lnTo>
                      <a:pt x="110762" y="122580"/>
                    </a:lnTo>
                    <a:lnTo>
                      <a:pt x="105913" y="123338"/>
                    </a:lnTo>
                    <a:lnTo>
                      <a:pt x="103337" y="128186"/>
                    </a:lnTo>
                    <a:lnTo>
                      <a:pt x="101216" y="131974"/>
                    </a:lnTo>
                    <a:lnTo>
                      <a:pt x="101216" y="133338"/>
                    </a:lnTo>
                    <a:lnTo>
                      <a:pt x="99095" y="141217"/>
                    </a:lnTo>
                    <a:lnTo>
                      <a:pt x="95458" y="147126"/>
                    </a:lnTo>
                    <a:lnTo>
                      <a:pt x="95307" y="149096"/>
                    </a:lnTo>
                    <a:lnTo>
                      <a:pt x="95307" y="150914"/>
                    </a:lnTo>
                    <a:lnTo>
                      <a:pt x="90761" y="156066"/>
                    </a:lnTo>
                    <a:lnTo>
                      <a:pt x="89549" y="157581"/>
                    </a:lnTo>
                    <a:lnTo>
                      <a:pt x="88488" y="159551"/>
                    </a:lnTo>
                    <a:lnTo>
                      <a:pt x="89549" y="161521"/>
                    </a:lnTo>
                    <a:lnTo>
                      <a:pt x="90912" y="163188"/>
                    </a:lnTo>
                    <a:lnTo>
                      <a:pt x="91064" y="163794"/>
                    </a:lnTo>
                    <a:lnTo>
                      <a:pt x="88943" y="165461"/>
                    </a:lnTo>
                    <a:lnTo>
                      <a:pt x="85458" y="168339"/>
                    </a:lnTo>
                    <a:lnTo>
                      <a:pt x="83336" y="170006"/>
                    </a:lnTo>
                    <a:lnTo>
                      <a:pt x="82882" y="170915"/>
                    </a:lnTo>
                    <a:lnTo>
                      <a:pt x="82579" y="175158"/>
                    </a:lnTo>
                    <a:lnTo>
                      <a:pt x="81973" y="176370"/>
                    </a:lnTo>
                    <a:lnTo>
                      <a:pt x="80457" y="177885"/>
                    </a:lnTo>
                    <a:lnTo>
                      <a:pt x="78488" y="179704"/>
                    </a:lnTo>
                    <a:lnTo>
                      <a:pt x="76367" y="181067"/>
                    </a:lnTo>
                    <a:lnTo>
                      <a:pt x="73942" y="181976"/>
                    </a:lnTo>
                    <a:lnTo>
                      <a:pt x="71669" y="182279"/>
                    </a:lnTo>
                    <a:lnTo>
                      <a:pt x="70306" y="181825"/>
                    </a:lnTo>
                    <a:lnTo>
                      <a:pt x="69700" y="180461"/>
                    </a:lnTo>
                    <a:lnTo>
                      <a:pt x="68336" y="175158"/>
                    </a:lnTo>
                    <a:lnTo>
                      <a:pt x="67730" y="174097"/>
                    </a:lnTo>
                    <a:lnTo>
                      <a:pt x="66215" y="173037"/>
                    </a:lnTo>
                    <a:lnTo>
                      <a:pt x="63336" y="170158"/>
                    </a:lnTo>
                    <a:lnTo>
                      <a:pt x="60305" y="167279"/>
                    </a:lnTo>
                    <a:lnTo>
                      <a:pt x="56669" y="165309"/>
                    </a:lnTo>
                    <a:lnTo>
                      <a:pt x="55911" y="165461"/>
                    </a:lnTo>
                    <a:lnTo>
                      <a:pt x="55305" y="165915"/>
                    </a:lnTo>
                    <a:lnTo>
                      <a:pt x="54245" y="168794"/>
                    </a:lnTo>
                    <a:lnTo>
                      <a:pt x="53336" y="170006"/>
                    </a:lnTo>
                    <a:lnTo>
                      <a:pt x="51366" y="170309"/>
                    </a:lnTo>
                    <a:lnTo>
                      <a:pt x="48183" y="170309"/>
                    </a:lnTo>
                    <a:lnTo>
                      <a:pt x="45760" y="169855"/>
                    </a:lnTo>
                    <a:lnTo>
                      <a:pt x="45153" y="169400"/>
                    </a:lnTo>
                    <a:lnTo>
                      <a:pt x="44699" y="168036"/>
                    </a:lnTo>
                    <a:lnTo>
                      <a:pt x="44093" y="167127"/>
                    </a:lnTo>
                    <a:lnTo>
                      <a:pt x="41214" y="169097"/>
                    </a:lnTo>
                    <a:lnTo>
                      <a:pt x="36668" y="172279"/>
                    </a:lnTo>
                    <a:lnTo>
                      <a:pt x="35153" y="172885"/>
                    </a:lnTo>
                    <a:lnTo>
                      <a:pt x="34092" y="173491"/>
                    </a:lnTo>
                    <a:lnTo>
                      <a:pt x="32577" y="176522"/>
                    </a:lnTo>
                    <a:lnTo>
                      <a:pt x="30759" y="179704"/>
                    </a:lnTo>
                    <a:lnTo>
                      <a:pt x="28486" y="181370"/>
                    </a:lnTo>
                    <a:lnTo>
                      <a:pt x="26213" y="182885"/>
                    </a:lnTo>
                    <a:lnTo>
                      <a:pt x="24850" y="184098"/>
                    </a:lnTo>
                    <a:lnTo>
                      <a:pt x="23031" y="185461"/>
                    </a:lnTo>
                    <a:lnTo>
                      <a:pt x="19243" y="189249"/>
                    </a:lnTo>
                    <a:lnTo>
                      <a:pt x="14395" y="193947"/>
                    </a:lnTo>
                    <a:lnTo>
                      <a:pt x="12728" y="196522"/>
                    </a:lnTo>
                    <a:lnTo>
                      <a:pt x="10910" y="200159"/>
                    </a:lnTo>
                    <a:lnTo>
                      <a:pt x="10000" y="204401"/>
                    </a:lnTo>
                    <a:lnTo>
                      <a:pt x="8940" y="208947"/>
                    </a:lnTo>
                    <a:lnTo>
                      <a:pt x="7273" y="216068"/>
                    </a:lnTo>
                    <a:lnTo>
                      <a:pt x="5000" y="220311"/>
                    </a:lnTo>
                    <a:lnTo>
                      <a:pt x="2879" y="223493"/>
                    </a:lnTo>
                    <a:lnTo>
                      <a:pt x="1364" y="226069"/>
                    </a:lnTo>
                    <a:lnTo>
                      <a:pt x="606" y="228190"/>
                    </a:lnTo>
                    <a:lnTo>
                      <a:pt x="1061" y="228342"/>
                    </a:lnTo>
                    <a:lnTo>
                      <a:pt x="0" y="232281"/>
                    </a:lnTo>
                    <a:lnTo>
                      <a:pt x="152" y="233190"/>
                    </a:lnTo>
                    <a:lnTo>
                      <a:pt x="1061" y="234403"/>
                    </a:lnTo>
                    <a:lnTo>
                      <a:pt x="3333" y="234705"/>
                    </a:lnTo>
                    <a:lnTo>
                      <a:pt x="4243" y="233796"/>
                    </a:lnTo>
                    <a:lnTo>
                      <a:pt x="3485" y="230463"/>
                    </a:lnTo>
                    <a:lnTo>
                      <a:pt x="4697" y="231220"/>
                    </a:lnTo>
                    <a:lnTo>
                      <a:pt x="6212" y="232887"/>
                    </a:lnTo>
                    <a:lnTo>
                      <a:pt x="7424" y="233190"/>
                    </a:lnTo>
                    <a:lnTo>
                      <a:pt x="8788" y="233039"/>
                    </a:lnTo>
                    <a:lnTo>
                      <a:pt x="9698" y="233190"/>
                    </a:lnTo>
                    <a:lnTo>
                      <a:pt x="10455" y="233645"/>
                    </a:lnTo>
                    <a:lnTo>
                      <a:pt x="10152" y="236827"/>
                    </a:lnTo>
                    <a:lnTo>
                      <a:pt x="10303" y="238948"/>
                    </a:lnTo>
                    <a:lnTo>
                      <a:pt x="10910" y="240918"/>
                    </a:lnTo>
                    <a:lnTo>
                      <a:pt x="12122" y="242433"/>
                    </a:lnTo>
                    <a:lnTo>
                      <a:pt x="12728" y="246221"/>
                    </a:lnTo>
                    <a:lnTo>
                      <a:pt x="15910" y="247585"/>
                    </a:lnTo>
                    <a:lnTo>
                      <a:pt x="19546" y="248797"/>
                    </a:lnTo>
                    <a:lnTo>
                      <a:pt x="20910" y="249555"/>
                    </a:lnTo>
                    <a:lnTo>
                      <a:pt x="21213" y="250312"/>
                    </a:lnTo>
                    <a:lnTo>
                      <a:pt x="22728" y="250767"/>
                    </a:lnTo>
                    <a:lnTo>
                      <a:pt x="24395" y="250918"/>
                    </a:lnTo>
                    <a:lnTo>
                      <a:pt x="25455" y="250312"/>
                    </a:lnTo>
                    <a:lnTo>
                      <a:pt x="26516" y="248797"/>
                    </a:lnTo>
                    <a:lnTo>
                      <a:pt x="25910" y="246979"/>
                    </a:lnTo>
                    <a:lnTo>
                      <a:pt x="26819" y="247130"/>
                    </a:lnTo>
                    <a:lnTo>
                      <a:pt x="27880" y="248039"/>
                    </a:lnTo>
                    <a:lnTo>
                      <a:pt x="29243" y="248039"/>
                    </a:lnTo>
                    <a:lnTo>
                      <a:pt x="31062" y="246676"/>
                    </a:lnTo>
                    <a:lnTo>
                      <a:pt x="31517" y="247282"/>
                    </a:lnTo>
                    <a:lnTo>
                      <a:pt x="30456" y="248494"/>
                    </a:lnTo>
                    <a:lnTo>
                      <a:pt x="30304" y="249706"/>
                    </a:lnTo>
                    <a:lnTo>
                      <a:pt x="32880" y="251979"/>
                    </a:lnTo>
                    <a:lnTo>
                      <a:pt x="33031" y="252736"/>
                    </a:lnTo>
                    <a:lnTo>
                      <a:pt x="30001" y="252282"/>
                    </a:lnTo>
                    <a:lnTo>
                      <a:pt x="28941" y="253797"/>
                    </a:lnTo>
                    <a:lnTo>
                      <a:pt x="28031" y="254252"/>
                    </a:lnTo>
                    <a:lnTo>
                      <a:pt x="29547" y="256979"/>
                    </a:lnTo>
                    <a:lnTo>
                      <a:pt x="30304" y="259252"/>
                    </a:lnTo>
                    <a:lnTo>
                      <a:pt x="33638" y="258949"/>
                    </a:lnTo>
                    <a:lnTo>
                      <a:pt x="31062" y="261373"/>
                    </a:lnTo>
                    <a:lnTo>
                      <a:pt x="36668" y="267585"/>
                    </a:lnTo>
                    <a:lnTo>
                      <a:pt x="37729" y="269404"/>
                    </a:lnTo>
                    <a:lnTo>
                      <a:pt x="38638" y="273798"/>
                    </a:lnTo>
                    <a:lnTo>
                      <a:pt x="36971" y="278192"/>
                    </a:lnTo>
                    <a:lnTo>
                      <a:pt x="36517" y="283192"/>
                    </a:lnTo>
                    <a:lnTo>
                      <a:pt x="35153" y="288495"/>
                    </a:lnTo>
                    <a:lnTo>
                      <a:pt x="34698" y="294859"/>
                    </a:lnTo>
                    <a:lnTo>
                      <a:pt x="35305" y="295011"/>
                    </a:lnTo>
                    <a:lnTo>
                      <a:pt x="35456" y="295617"/>
                    </a:lnTo>
                    <a:lnTo>
                      <a:pt x="35607" y="296526"/>
                    </a:lnTo>
                    <a:lnTo>
                      <a:pt x="36517" y="297284"/>
                    </a:lnTo>
                    <a:lnTo>
                      <a:pt x="39547" y="298647"/>
                    </a:lnTo>
                    <a:lnTo>
                      <a:pt x="48487" y="298647"/>
                    </a:lnTo>
                    <a:lnTo>
                      <a:pt x="53790" y="298647"/>
                    </a:lnTo>
                    <a:lnTo>
                      <a:pt x="61669" y="298647"/>
                    </a:lnTo>
                    <a:lnTo>
                      <a:pt x="70154" y="298647"/>
                    </a:lnTo>
                    <a:lnTo>
                      <a:pt x="76518" y="298647"/>
                    </a:lnTo>
                    <a:lnTo>
                      <a:pt x="76821" y="296829"/>
                    </a:lnTo>
                    <a:lnTo>
                      <a:pt x="77124" y="296071"/>
                    </a:lnTo>
                    <a:lnTo>
                      <a:pt x="76973" y="295011"/>
                    </a:lnTo>
                    <a:lnTo>
                      <a:pt x="82730" y="295011"/>
                    </a:lnTo>
                    <a:lnTo>
                      <a:pt x="93185" y="295465"/>
                    </a:lnTo>
                    <a:lnTo>
                      <a:pt x="97731" y="295314"/>
                    </a:lnTo>
                    <a:lnTo>
                      <a:pt x="99095" y="295465"/>
                    </a:lnTo>
                    <a:lnTo>
                      <a:pt x="104701" y="295162"/>
                    </a:lnTo>
                    <a:lnTo>
                      <a:pt x="109246" y="295465"/>
                    </a:lnTo>
                    <a:lnTo>
                      <a:pt x="111216" y="295920"/>
                    </a:lnTo>
                    <a:lnTo>
                      <a:pt x="113034" y="296223"/>
                    </a:lnTo>
                    <a:lnTo>
                      <a:pt x="118489" y="296374"/>
                    </a:lnTo>
                    <a:lnTo>
                      <a:pt x="125763" y="296071"/>
                    </a:lnTo>
                    <a:lnTo>
                      <a:pt x="128186" y="296223"/>
                    </a:lnTo>
                    <a:lnTo>
                      <a:pt x="129551" y="297132"/>
                    </a:lnTo>
                    <a:lnTo>
                      <a:pt x="130156" y="298799"/>
                    </a:lnTo>
                    <a:lnTo>
                      <a:pt x="136823" y="298799"/>
                    </a:lnTo>
                    <a:lnTo>
                      <a:pt x="143339" y="298799"/>
                    </a:lnTo>
                    <a:lnTo>
                      <a:pt x="150460" y="298799"/>
                    </a:lnTo>
                    <a:lnTo>
                      <a:pt x="157430" y="298799"/>
                    </a:lnTo>
                    <a:lnTo>
                      <a:pt x="162733" y="298950"/>
                    </a:lnTo>
                    <a:lnTo>
                      <a:pt x="165461" y="297738"/>
                    </a:lnTo>
                    <a:lnTo>
                      <a:pt x="167885" y="299556"/>
                    </a:lnTo>
                    <a:lnTo>
                      <a:pt x="169097" y="300011"/>
                    </a:lnTo>
                    <a:lnTo>
                      <a:pt x="169400" y="299859"/>
                    </a:lnTo>
                    <a:lnTo>
                      <a:pt x="170461" y="301072"/>
                    </a:lnTo>
                    <a:lnTo>
                      <a:pt x="173491" y="300920"/>
                    </a:lnTo>
                    <a:lnTo>
                      <a:pt x="173946" y="301223"/>
                    </a:lnTo>
                    <a:lnTo>
                      <a:pt x="174249" y="302890"/>
                    </a:lnTo>
                    <a:lnTo>
                      <a:pt x="177128" y="302738"/>
                    </a:lnTo>
                    <a:lnTo>
                      <a:pt x="178491" y="303193"/>
                    </a:lnTo>
                    <a:lnTo>
                      <a:pt x="179704" y="303041"/>
                    </a:lnTo>
                    <a:lnTo>
                      <a:pt x="181219" y="302132"/>
                    </a:lnTo>
                    <a:lnTo>
                      <a:pt x="182431" y="302435"/>
                    </a:lnTo>
                    <a:lnTo>
                      <a:pt x="184704" y="303647"/>
                    </a:lnTo>
                    <a:lnTo>
                      <a:pt x="186219" y="304708"/>
                    </a:lnTo>
                    <a:lnTo>
                      <a:pt x="188340" y="304405"/>
                    </a:lnTo>
                    <a:lnTo>
                      <a:pt x="193341" y="304556"/>
                    </a:lnTo>
                    <a:lnTo>
                      <a:pt x="197129" y="305466"/>
                    </a:lnTo>
                    <a:lnTo>
                      <a:pt x="201068" y="308193"/>
                    </a:lnTo>
                    <a:lnTo>
                      <a:pt x="203644" y="309708"/>
                    </a:lnTo>
                    <a:lnTo>
                      <a:pt x="205917" y="311981"/>
                    </a:lnTo>
                    <a:lnTo>
                      <a:pt x="206675" y="311526"/>
                    </a:lnTo>
                    <a:lnTo>
                      <a:pt x="207584" y="310920"/>
                    </a:lnTo>
                    <a:lnTo>
                      <a:pt x="208038" y="310617"/>
                    </a:lnTo>
                    <a:lnTo>
                      <a:pt x="207887" y="308648"/>
                    </a:lnTo>
                    <a:lnTo>
                      <a:pt x="206675" y="305314"/>
                    </a:lnTo>
                    <a:lnTo>
                      <a:pt x="206220" y="302587"/>
                    </a:lnTo>
                    <a:lnTo>
                      <a:pt x="206523" y="300314"/>
                    </a:lnTo>
                    <a:lnTo>
                      <a:pt x="207432" y="298647"/>
                    </a:lnTo>
                    <a:lnTo>
                      <a:pt x="209099" y="297587"/>
                    </a:lnTo>
                    <a:lnTo>
                      <a:pt x="209250" y="296071"/>
                    </a:lnTo>
                    <a:lnTo>
                      <a:pt x="209250" y="29576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4" name="Freeform: Shape 3313">
                <a:extLst>
                  <a:ext uri="{FF2B5EF4-FFF2-40B4-BE49-F238E27FC236}">
                    <a16:creationId xmlns:a16="http://schemas.microsoft.com/office/drawing/2014/main" id="{091FDC29-6926-4316-AD81-D6AC7F2FDAD7}"/>
                  </a:ext>
                </a:extLst>
              </p:cNvPr>
              <p:cNvSpPr/>
              <p:nvPr/>
            </p:nvSpPr>
            <p:spPr>
              <a:xfrm>
                <a:off x="2782998" y="5042314"/>
                <a:ext cx="1176558" cy="1226256"/>
              </a:xfrm>
              <a:custGeom>
                <a:avLst/>
                <a:gdLst>
                  <a:gd name="connsiteX0" fmla="*/ 939429 w 1176558"/>
                  <a:gd name="connsiteY0" fmla="*/ 831243 h 1226256"/>
                  <a:gd name="connsiteX1" fmla="*/ 940338 w 1176558"/>
                  <a:gd name="connsiteY1" fmla="*/ 831394 h 1226256"/>
                  <a:gd name="connsiteX2" fmla="*/ 941096 w 1176558"/>
                  <a:gd name="connsiteY2" fmla="*/ 830788 h 1226256"/>
                  <a:gd name="connsiteX3" fmla="*/ 941399 w 1176558"/>
                  <a:gd name="connsiteY3" fmla="*/ 830182 h 1226256"/>
                  <a:gd name="connsiteX4" fmla="*/ 940944 w 1176558"/>
                  <a:gd name="connsiteY4" fmla="*/ 828667 h 1226256"/>
                  <a:gd name="connsiteX5" fmla="*/ 940035 w 1176558"/>
                  <a:gd name="connsiteY5" fmla="*/ 827758 h 1226256"/>
                  <a:gd name="connsiteX6" fmla="*/ 939277 w 1176558"/>
                  <a:gd name="connsiteY6" fmla="*/ 827758 h 1226256"/>
                  <a:gd name="connsiteX7" fmla="*/ 938368 w 1176558"/>
                  <a:gd name="connsiteY7" fmla="*/ 828515 h 1226256"/>
                  <a:gd name="connsiteX8" fmla="*/ 938823 w 1176558"/>
                  <a:gd name="connsiteY8" fmla="*/ 830333 h 1226256"/>
                  <a:gd name="connsiteX9" fmla="*/ 939429 w 1176558"/>
                  <a:gd name="connsiteY9" fmla="*/ 831243 h 1226256"/>
                  <a:gd name="connsiteX10" fmla="*/ 1212 w 1176558"/>
                  <a:gd name="connsiteY10" fmla="*/ 274101 h 1226256"/>
                  <a:gd name="connsiteX11" fmla="*/ 152 w 1176558"/>
                  <a:gd name="connsiteY11" fmla="*/ 275465 h 1226256"/>
                  <a:gd name="connsiteX12" fmla="*/ 0 w 1176558"/>
                  <a:gd name="connsiteY12" fmla="*/ 277131 h 1226256"/>
                  <a:gd name="connsiteX13" fmla="*/ 4243 w 1176558"/>
                  <a:gd name="connsiteY13" fmla="*/ 276222 h 1226256"/>
                  <a:gd name="connsiteX14" fmla="*/ 5758 w 1176558"/>
                  <a:gd name="connsiteY14" fmla="*/ 275010 h 1226256"/>
                  <a:gd name="connsiteX15" fmla="*/ 4243 w 1176558"/>
                  <a:gd name="connsiteY15" fmla="*/ 274859 h 1226256"/>
                  <a:gd name="connsiteX16" fmla="*/ 1212 w 1176558"/>
                  <a:gd name="connsiteY16" fmla="*/ 274101 h 1226256"/>
                  <a:gd name="connsiteX17" fmla="*/ 837152 w 1176558"/>
                  <a:gd name="connsiteY17" fmla="*/ 468957 h 1226256"/>
                  <a:gd name="connsiteX18" fmla="*/ 836546 w 1176558"/>
                  <a:gd name="connsiteY18" fmla="*/ 468805 h 1226256"/>
                  <a:gd name="connsiteX19" fmla="*/ 836092 w 1176558"/>
                  <a:gd name="connsiteY19" fmla="*/ 468653 h 1226256"/>
                  <a:gd name="connsiteX20" fmla="*/ 835789 w 1176558"/>
                  <a:gd name="connsiteY20" fmla="*/ 468653 h 1226256"/>
                  <a:gd name="connsiteX21" fmla="*/ 834425 w 1176558"/>
                  <a:gd name="connsiteY21" fmla="*/ 469866 h 1226256"/>
                  <a:gd name="connsiteX22" fmla="*/ 833364 w 1176558"/>
                  <a:gd name="connsiteY22" fmla="*/ 470775 h 1226256"/>
                  <a:gd name="connsiteX23" fmla="*/ 833061 w 1176558"/>
                  <a:gd name="connsiteY23" fmla="*/ 471381 h 1226256"/>
                  <a:gd name="connsiteX24" fmla="*/ 833213 w 1176558"/>
                  <a:gd name="connsiteY24" fmla="*/ 471532 h 1226256"/>
                  <a:gd name="connsiteX25" fmla="*/ 838061 w 1176558"/>
                  <a:gd name="connsiteY25" fmla="*/ 470927 h 1226256"/>
                  <a:gd name="connsiteX26" fmla="*/ 838819 w 1176558"/>
                  <a:gd name="connsiteY26" fmla="*/ 470775 h 1226256"/>
                  <a:gd name="connsiteX27" fmla="*/ 838971 w 1176558"/>
                  <a:gd name="connsiteY27" fmla="*/ 470320 h 1226256"/>
                  <a:gd name="connsiteX28" fmla="*/ 838516 w 1176558"/>
                  <a:gd name="connsiteY28" fmla="*/ 469866 h 1226256"/>
                  <a:gd name="connsiteX29" fmla="*/ 837152 w 1176558"/>
                  <a:gd name="connsiteY29" fmla="*/ 468957 h 1226256"/>
                  <a:gd name="connsiteX30" fmla="*/ 945035 w 1176558"/>
                  <a:gd name="connsiteY30" fmla="*/ 931852 h 1226256"/>
                  <a:gd name="connsiteX31" fmla="*/ 942914 w 1176558"/>
                  <a:gd name="connsiteY31" fmla="*/ 934731 h 1226256"/>
                  <a:gd name="connsiteX32" fmla="*/ 936853 w 1176558"/>
                  <a:gd name="connsiteY32" fmla="*/ 936549 h 1226256"/>
                  <a:gd name="connsiteX33" fmla="*/ 935489 w 1176558"/>
                  <a:gd name="connsiteY33" fmla="*/ 938367 h 1226256"/>
                  <a:gd name="connsiteX34" fmla="*/ 935792 w 1176558"/>
                  <a:gd name="connsiteY34" fmla="*/ 939277 h 1226256"/>
                  <a:gd name="connsiteX35" fmla="*/ 936398 w 1176558"/>
                  <a:gd name="connsiteY35" fmla="*/ 942307 h 1226256"/>
                  <a:gd name="connsiteX36" fmla="*/ 937914 w 1176558"/>
                  <a:gd name="connsiteY36" fmla="*/ 945186 h 1226256"/>
                  <a:gd name="connsiteX37" fmla="*/ 938671 w 1176558"/>
                  <a:gd name="connsiteY37" fmla="*/ 947004 h 1226256"/>
                  <a:gd name="connsiteX38" fmla="*/ 940186 w 1176558"/>
                  <a:gd name="connsiteY38" fmla="*/ 949883 h 1226256"/>
                  <a:gd name="connsiteX39" fmla="*/ 940944 w 1176558"/>
                  <a:gd name="connsiteY39" fmla="*/ 950944 h 1226256"/>
                  <a:gd name="connsiteX40" fmla="*/ 942005 w 1176558"/>
                  <a:gd name="connsiteY40" fmla="*/ 955944 h 1226256"/>
                  <a:gd name="connsiteX41" fmla="*/ 944429 w 1176558"/>
                  <a:gd name="connsiteY41" fmla="*/ 959126 h 1226256"/>
                  <a:gd name="connsiteX42" fmla="*/ 950338 w 1176558"/>
                  <a:gd name="connsiteY42" fmla="*/ 958217 h 1226256"/>
                  <a:gd name="connsiteX43" fmla="*/ 953672 w 1176558"/>
                  <a:gd name="connsiteY43" fmla="*/ 958671 h 1226256"/>
                  <a:gd name="connsiteX44" fmla="*/ 954126 w 1176558"/>
                  <a:gd name="connsiteY44" fmla="*/ 957914 h 1226256"/>
                  <a:gd name="connsiteX45" fmla="*/ 952763 w 1176558"/>
                  <a:gd name="connsiteY45" fmla="*/ 952005 h 1226256"/>
                  <a:gd name="connsiteX46" fmla="*/ 953217 w 1176558"/>
                  <a:gd name="connsiteY46" fmla="*/ 950944 h 1226256"/>
                  <a:gd name="connsiteX47" fmla="*/ 953217 w 1176558"/>
                  <a:gd name="connsiteY47" fmla="*/ 950186 h 1226256"/>
                  <a:gd name="connsiteX48" fmla="*/ 952914 w 1176558"/>
                  <a:gd name="connsiteY48" fmla="*/ 949277 h 1226256"/>
                  <a:gd name="connsiteX49" fmla="*/ 951550 w 1176558"/>
                  <a:gd name="connsiteY49" fmla="*/ 947762 h 1226256"/>
                  <a:gd name="connsiteX50" fmla="*/ 950490 w 1176558"/>
                  <a:gd name="connsiteY50" fmla="*/ 944429 h 1226256"/>
                  <a:gd name="connsiteX51" fmla="*/ 950187 w 1176558"/>
                  <a:gd name="connsiteY51" fmla="*/ 942307 h 1226256"/>
                  <a:gd name="connsiteX52" fmla="*/ 949732 w 1176558"/>
                  <a:gd name="connsiteY52" fmla="*/ 941550 h 1226256"/>
                  <a:gd name="connsiteX53" fmla="*/ 947611 w 1176558"/>
                  <a:gd name="connsiteY53" fmla="*/ 939883 h 1226256"/>
                  <a:gd name="connsiteX54" fmla="*/ 946550 w 1176558"/>
                  <a:gd name="connsiteY54" fmla="*/ 937913 h 1226256"/>
                  <a:gd name="connsiteX55" fmla="*/ 947005 w 1176558"/>
                  <a:gd name="connsiteY55" fmla="*/ 932004 h 1226256"/>
                  <a:gd name="connsiteX56" fmla="*/ 945035 w 1176558"/>
                  <a:gd name="connsiteY56" fmla="*/ 931852 h 1226256"/>
                  <a:gd name="connsiteX57" fmla="*/ 933974 w 1176558"/>
                  <a:gd name="connsiteY57" fmla="*/ 1002461 h 1226256"/>
                  <a:gd name="connsiteX58" fmla="*/ 937611 w 1176558"/>
                  <a:gd name="connsiteY58" fmla="*/ 1002764 h 1226256"/>
                  <a:gd name="connsiteX59" fmla="*/ 940338 w 1176558"/>
                  <a:gd name="connsiteY59" fmla="*/ 1002613 h 1226256"/>
                  <a:gd name="connsiteX60" fmla="*/ 941247 w 1176558"/>
                  <a:gd name="connsiteY60" fmla="*/ 1002006 h 1226256"/>
                  <a:gd name="connsiteX61" fmla="*/ 942308 w 1176558"/>
                  <a:gd name="connsiteY61" fmla="*/ 998976 h 1226256"/>
                  <a:gd name="connsiteX62" fmla="*/ 942308 w 1176558"/>
                  <a:gd name="connsiteY62" fmla="*/ 993824 h 1226256"/>
                  <a:gd name="connsiteX63" fmla="*/ 942611 w 1176558"/>
                  <a:gd name="connsiteY63" fmla="*/ 992309 h 1226256"/>
                  <a:gd name="connsiteX64" fmla="*/ 943217 w 1176558"/>
                  <a:gd name="connsiteY64" fmla="*/ 991249 h 1226256"/>
                  <a:gd name="connsiteX65" fmla="*/ 949126 w 1176558"/>
                  <a:gd name="connsiteY65" fmla="*/ 987309 h 1226256"/>
                  <a:gd name="connsiteX66" fmla="*/ 949732 w 1176558"/>
                  <a:gd name="connsiteY66" fmla="*/ 987309 h 1226256"/>
                  <a:gd name="connsiteX67" fmla="*/ 949884 w 1176558"/>
                  <a:gd name="connsiteY67" fmla="*/ 987763 h 1226256"/>
                  <a:gd name="connsiteX68" fmla="*/ 949732 w 1176558"/>
                  <a:gd name="connsiteY68" fmla="*/ 988370 h 1226256"/>
                  <a:gd name="connsiteX69" fmla="*/ 948217 w 1176558"/>
                  <a:gd name="connsiteY69" fmla="*/ 989733 h 1226256"/>
                  <a:gd name="connsiteX70" fmla="*/ 947611 w 1176558"/>
                  <a:gd name="connsiteY70" fmla="*/ 990642 h 1226256"/>
                  <a:gd name="connsiteX71" fmla="*/ 947459 w 1176558"/>
                  <a:gd name="connsiteY71" fmla="*/ 993824 h 1226256"/>
                  <a:gd name="connsiteX72" fmla="*/ 946096 w 1176558"/>
                  <a:gd name="connsiteY72" fmla="*/ 994885 h 1226256"/>
                  <a:gd name="connsiteX73" fmla="*/ 945490 w 1176558"/>
                  <a:gd name="connsiteY73" fmla="*/ 997006 h 1226256"/>
                  <a:gd name="connsiteX74" fmla="*/ 945490 w 1176558"/>
                  <a:gd name="connsiteY74" fmla="*/ 998218 h 1226256"/>
                  <a:gd name="connsiteX75" fmla="*/ 947156 w 1176558"/>
                  <a:gd name="connsiteY75" fmla="*/ 1001400 h 1226256"/>
                  <a:gd name="connsiteX76" fmla="*/ 947005 w 1176558"/>
                  <a:gd name="connsiteY76" fmla="*/ 1003673 h 1226256"/>
                  <a:gd name="connsiteX77" fmla="*/ 947459 w 1176558"/>
                  <a:gd name="connsiteY77" fmla="*/ 1005491 h 1226256"/>
                  <a:gd name="connsiteX78" fmla="*/ 948823 w 1176558"/>
                  <a:gd name="connsiteY78" fmla="*/ 1008370 h 1226256"/>
                  <a:gd name="connsiteX79" fmla="*/ 950490 w 1176558"/>
                  <a:gd name="connsiteY79" fmla="*/ 1008673 h 1226256"/>
                  <a:gd name="connsiteX80" fmla="*/ 953520 w 1176558"/>
                  <a:gd name="connsiteY80" fmla="*/ 1008219 h 1226256"/>
                  <a:gd name="connsiteX81" fmla="*/ 954126 w 1176558"/>
                  <a:gd name="connsiteY81" fmla="*/ 1007613 h 1226256"/>
                  <a:gd name="connsiteX82" fmla="*/ 954884 w 1176558"/>
                  <a:gd name="connsiteY82" fmla="*/ 1005037 h 1226256"/>
                  <a:gd name="connsiteX83" fmla="*/ 956096 w 1176558"/>
                  <a:gd name="connsiteY83" fmla="*/ 1002915 h 1226256"/>
                  <a:gd name="connsiteX84" fmla="*/ 956702 w 1176558"/>
                  <a:gd name="connsiteY84" fmla="*/ 1000339 h 1226256"/>
                  <a:gd name="connsiteX85" fmla="*/ 957005 w 1176558"/>
                  <a:gd name="connsiteY85" fmla="*/ 997006 h 1226256"/>
                  <a:gd name="connsiteX86" fmla="*/ 956702 w 1176558"/>
                  <a:gd name="connsiteY86" fmla="*/ 996248 h 1226256"/>
                  <a:gd name="connsiteX87" fmla="*/ 955490 w 1176558"/>
                  <a:gd name="connsiteY87" fmla="*/ 995946 h 1226256"/>
                  <a:gd name="connsiteX88" fmla="*/ 955338 w 1176558"/>
                  <a:gd name="connsiteY88" fmla="*/ 994582 h 1226256"/>
                  <a:gd name="connsiteX89" fmla="*/ 956399 w 1176558"/>
                  <a:gd name="connsiteY89" fmla="*/ 988218 h 1226256"/>
                  <a:gd name="connsiteX90" fmla="*/ 956854 w 1176558"/>
                  <a:gd name="connsiteY90" fmla="*/ 983066 h 1226256"/>
                  <a:gd name="connsiteX91" fmla="*/ 956551 w 1176558"/>
                  <a:gd name="connsiteY91" fmla="*/ 977915 h 1226256"/>
                  <a:gd name="connsiteX92" fmla="*/ 955036 w 1176558"/>
                  <a:gd name="connsiteY92" fmla="*/ 966096 h 1226256"/>
                  <a:gd name="connsiteX93" fmla="*/ 954581 w 1176558"/>
                  <a:gd name="connsiteY93" fmla="*/ 964429 h 1226256"/>
                  <a:gd name="connsiteX94" fmla="*/ 953975 w 1176558"/>
                  <a:gd name="connsiteY94" fmla="*/ 963975 h 1226256"/>
                  <a:gd name="connsiteX95" fmla="*/ 951702 w 1176558"/>
                  <a:gd name="connsiteY95" fmla="*/ 963823 h 1226256"/>
                  <a:gd name="connsiteX96" fmla="*/ 949126 w 1176558"/>
                  <a:gd name="connsiteY96" fmla="*/ 962308 h 1226256"/>
                  <a:gd name="connsiteX97" fmla="*/ 947914 w 1176558"/>
                  <a:gd name="connsiteY97" fmla="*/ 962156 h 1226256"/>
                  <a:gd name="connsiteX98" fmla="*/ 945035 w 1176558"/>
                  <a:gd name="connsiteY98" fmla="*/ 963217 h 1226256"/>
                  <a:gd name="connsiteX99" fmla="*/ 943065 w 1176558"/>
                  <a:gd name="connsiteY99" fmla="*/ 965187 h 1226256"/>
                  <a:gd name="connsiteX100" fmla="*/ 942762 w 1176558"/>
                  <a:gd name="connsiteY100" fmla="*/ 966096 h 1226256"/>
                  <a:gd name="connsiteX101" fmla="*/ 943671 w 1176558"/>
                  <a:gd name="connsiteY101" fmla="*/ 968520 h 1226256"/>
                  <a:gd name="connsiteX102" fmla="*/ 943520 w 1176558"/>
                  <a:gd name="connsiteY102" fmla="*/ 970945 h 1226256"/>
                  <a:gd name="connsiteX103" fmla="*/ 941096 w 1176558"/>
                  <a:gd name="connsiteY103" fmla="*/ 973066 h 1226256"/>
                  <a:gd name="connsiteX104" fmla="*/ 937005 w 1176558"/>
                  <a:gd name="connsiteY104" fmla="*/ 975187 h 1226256"/>
                  <a:gd name="connsiteX105" fmla="*/ 936247 w 1176558"/>
                  <a:gd name="connsiteY105" fmla="*/ 977460 h 1226256"/>
                  <a:gd name="connsiteX106" fmla="*/ 939429 w 1176558"/>
                  <a:gd name="connsiteY106" fmla="*/ 978824 h 1226256"/>
                  <a:gd name="connsiteX107" fmla="*/ 939580 w 1176558"/>
                  <a:gd name="connsiteY107" fmla="*/ 981854 h 1226256"/>
                  <a:gd name="connsiteX108" fmla="*/ 935944 w 1176558"/>
                  <a:gd name="connsiteY108" fmla="*/ 982612 h 1226256"/>
                  <a:gd name="connsiteX109" fmla="*/ 934429 w 1176558"/>
                  <a:gd name="connsiteY109" fmla="*/ 981551 h 1226256"/>
                  <a:gd name="connsiteX110" fmla="*/ 932913 w 1176558"/>
                  <a:gd name="connsiteY110" fmla="*/ 981703 h 1226256"/>
                  <a:gd name="connsiteX111" fmla="*/ 930034 w 1176558"/>
                  <a:gd name="connsiteY111" fmla="*/ 983521 h 1226256"/>
                  <a:gd name="connsiteX112" fmla="*/ 929125 w 1176558"/>
                  <a:gd name="connsiteY112" fmla="*/ 984884 h 1226256"/>
                  <a:gd name="connsiteX113" fmla="*/ 930186 w 1176558"/>
                  <a:gd name="connsiteY113" fmla="*/ 986703 h 1226256"/>
                  <a:gd name="connsiteX114" fmla="*/ 932004 w 1176558"/>
                  <a:gd name="connsiteY114" fmla="*/ 988672 h 1226256"/>
                  <a:gd name="connsiteX115" fmla="*/ 933671 w 1176558"/>
                  <a:gd name="connsiteY115" fmla="*/ 989733 h 1226256"/>
                  <a:gd name="connsiteX116" fmla="*/ 932762 w 1176558"/>
                  <a:gd name="connsiteY116" fmla="*/ 994430 h 1226256"/>
                  <a:gd name="connsiteX117" fmla="*/ 927762 w 1176558"/>
                  <a:gd name="connsiteY117" fmla="*/ 994127 h 1226256"/>
                  <a:gd name="connsiteX118" fmla="*/ 926398 w 1176558"/>
                  <a:gd name="connsiteY118" fmla="*/ 996855 h 1226256"/>
                  <a:gd name="connsiteX119" fmla="*/ 927004 w 1176558"/>
                  <a:gd name="connsiteY119" fmla="*/ 1000188 h 1226256"/>
                  <a:gd name="connsiteX120" fmla="*/ 929732 w 1176558"/>
                  <a:gd name="connsiteY120" fmla="*/ 999430 h 1226256"/>
                  <a:gd name="connsiteX121" fmla="*/ 933974 w 1176558"/>
                  <a:gd name="connsiteY121" fmla="*/ 1002461 h 1226256"/>
                  <a:gd name="connsiteX122" fmla="*/ 942005 w 1176558"/>
                  <a:gd name="connsiteY122" fmla="*/ 926852 h 1226256"/>
                  <a:gd name="connsiteX123" fmla="*/ 939580 w 1176558"/>
                  <a:gd name="connsiteY123" fmla="*/ 926701 h 1226256"/>
                  <a:gd name="connsiteX124" fmla="*/ 936550 w 1176558"/>
                  <a:gd name="connsiteY124" fmla="*/ 928064 h 1226256"/>
                  <a:gd name="connsiteX125" fmla="*/ 935035 w 1176558"/>
                  <a:gd name="connsiteY125" fmla="*/ 929277 h 1226256"/>
                  <a:gd name="connsiteX126" fmla="*/ 936853 w 1176558"/>
                  <a:gd name="connsiteY126" fmla="*/ 931095 h 1226256"/>
                  <a:gd name="connsiteX127" fmla="*/ 937156 w 1176558"/>
                  <a:gd name="connsiteY127" fmla="*/ 932155 h 1226256"/>
                  <a:gd name="connsiteX128" fmla="*/ 939126 w 1176558"/>
                  <a:gd name="connsiteY128" fmla="*/ 931701 h 1226256"/>
                  <a:gd name="connsiteX129" fmla="*/ 939883 w 1176558"/>
                  <a:gd name="connsiteY129" fmla="*/ 931246 h 1226256"/>
                  <a:gd name="connsiteX130" fmla="*/ 940793 w 1176558"/>
                  <a:gd name="connsiteY130" fmla="*/ 930337 h 1226256"/>
                  <a:gd name="connsiteX131" fmla="*/ 944429 w 1176558"/>
                  <a:gd name="connsiteY131" fmla="*/ 928822 h 1226256"/>
                  <a:gd name="connsiteX132" fmla="*/ 944126 w 1176558"/>
                  <a:gd name="connsiteY132" fmla="*/ 927610 h 1226256"/>
                  <a:gd name="connsiteX133" fmla="*/ 942005 w 1176558"/>
                  <a:gd name="connsiteY133" fmla="*/ 926852 h 1226256"/>
                  <a:gd name="connsiteX134" fmla="*/ 931398 w 1176558"/>
                  <a:gd name="connsiteY134" fmla="*/ 978066 h 1226256"/>
                  <a:gd name="connsiteX135" fmla="*/ 934883 w 1176558"/>
                  <a:gd name="connsiteY135" fmla="*/ 974884 h 1226256"/>
                  <a:gd name="connsiteX136" fmla="*/ 938974 w 1176558"/>
                  <a:gd name="connsiteY136" fmla="*/ 969429 h 1226256"/>
                  <a:gd name="connsiteX137" fmla="*/ 939277 w 1176558"/>
                  <a:gd name="connsiteY137" fmla="*/ 966702 h 1226256"/>
                  <a:gd name="connsiteX138" fmla="*/ 938974 w 1176558"/>
                  <a:gd name="connsiteY138" fmla="*/ 964429 h 1226256"/>
                  <a:gd name="connsiteX139" fmla="*/ 935792 w 1176558"/>
                  <a:gd name="connsiteY139" fmla="*/ 964581 h 1226256"/>
                  <a:gd name="connsiteX140" fmla="*/ 934126 w 1176558"/>
                  <a:gd name="connsiteY140" fmla="*/ 965641 h 1226256"/>
                  <a:gd name="connsiteX141" fmla="*/ 928822 w 1176558"/>
                  <a:gd name="connsiteY141" fmla="*/ 967005 h 1226256"/>
                  <a:gd name="connsiteX142" fmla="*/ 927610 w 1176558"/>
                  <a:gd name="connsiteY142" fmla="*/ 966551 h 1226256"/>
                  <a:gd name="connsiteX143" fmla="*/ 926246 w 1176558"/>
                  <a:gd name="connsiteY143" fmla="*/ 967308 h 1226256"/>
                  <a:gd name="connsiteX144" fmla="*/ 925186 w 1176558"/>
                  <a:gd name="connsiteY144" fmla="*/ 968217 h 1226256"/>
                  <a:gd name="connsiteX145" fmla="*/ 924731 w 1176558"/>
                  <a:gd name="connsiteY145" fmla="*/ 970187 h 1226256"/>
                  <a:gd name="connsiteX146" fmla="*/ 926398 w 1176558"/>
                  <a:gd name="connsiteY146" fmla="*/ 971551 h 1226256"/>
                  <a:gd name="connsiteX147" fmla="*/ 927459 w 1176558"/>
                  <a:gd name="connsiteY147" fmla="*/ 971854 h 1226256"/>
                  <a:gd name="connsiteX148" fmla="*/ 928216 w 1176558"/>
                  <a:gd name="connsiteY148" fmla="*/ 972611 h 1226256"/>
                  <a:gd name="connsiteX149" fmla="*/ 928974 w 1176558"/>
                  <a:gd name="connsiteY149" fmla="*/ 975187 h 1226256"/>
                  <a:gd name="connsiteX150" fmla="*/ 926701 w 1176558"/>
                  <a:gd name="connsiteY150" fmla="*/ 977157 h 1226256"/>
                  <a:gd name="connsiteX151" fmla="*/ 924883 w 1176558"/>
                  <a:gd name="connsiteY151" fmla="*/ 979127 h 1226256"/>
                  <a:gd name="connsiteX152" fmla="*/ 926550 w 1176558"/>
                  <a:gd name="connsiteY152" fmla="*/ 980339 h 1226256"/>
                  <a:gd name="connsiteX153" fmla="*/ 928519 w 1176558"/>
                  <a:gd name="connsiteY153" fmla="*/ 980339 h 1226256"/>
                  <a:gd name="connsiteX154" fmla="*/ 931398 w 1176558"/>
                  <a:gd name="connsiteY154" fmla="*/ 978066 h 1226256"/>
                  <a:gd name="connsiteX155" fmla="*/ 962914 w 1176558"/>
                  <a:gd name="connsiteY155" fmla="*/ 778210 h 1226256"/>
                  <a:gd name="connsiteX156" fmla="*/ 966248 w 1176558"/>
                  <a:gd name="connsiteY156" fmla="*/ 779574 h 1226256"/>
                  <a:gd name="connsiteX157" fmla="*/ 969581 w 1176558"/>
                  <a:gd name="connsiteY157" fmla="*/ 779574 h 1226256"/>
                  <a:gd name="connsiteX158" fmla="*/ 971551 w 1176558"/>
                  <a:gd name="connsiteY158" fmla="*/ 780029 h 1226256"/>
                  <a:gd name="connsiteX159" fmla="*/ 973521 w 1176558"/>
                  <a:gd name="connsiteY159" fmla="*/ 779877 h 1226256"/>
                  <a:gd name="connsiteX160" fmla="*/ 975642 w 1176558"/>
                  <a:gd name="connsiteY160" fmla="*/ 779120 h 1226256"/>
                  <a:gd name="connsiteX161" fmla="*/ 976551 w 1176558"/>
                  <a:gd name="connsiteY161" fmla="*/ 777301 h 1226256"/>
                  <a:gd name="connsiteX162" fmla="*/ 976248 w 1176558"/>
                  <a:gd name="connsiteY162" fmla="*/ 772907 h 1226256"/>
                  <a:gd name="connsiteX163" fmla="*/ 978976 w 1176558"/>
                  <a:gd name="connsiteY163" fmla="*/ 771846 h 1226256"/>
                  <a:gd name="connsiteX164" fmla="*/ 982006 w 1176558"/>
                  <a:gd name="connsiteY164" fmla="*/ 770028 h 1226256"/>
                  <a:gd name="connsiteX165" fmla="*/ 983824 w 1176558"/>
                  <a:gd name="connsiteY165" fmla="*/ 767301 h 1226256"/>
                  <a:gd name="connsiteX166" fmla="*/ 984885 w 1176558"/>
                  <a:gd name="connsiteY166" fmla="*/ 765482 h 1226256"/>
                  <a:gd name="connsiteX167" fmla="*/ 982915 w 1176558"/>
                  <a:gd name="connsiteY167" fmla="*/ 762604 h 1226256"/>
                  <a:gd name="connsiteX168" fmla="*/ 981400 w 1176558"/>
                  <a:gd name="connsiteY168" fmla="*/ 759725 h 1226256"/>
                  <a:gd name="connsiteX169" fmla="*/ 978521 w 1176558"/>
                  <a:gd name="connsiteY169" fmla="*/ 757906 h 1226256"/>
                  <a:gd name="connsiteX170" fmla="*/ 975945 w 1176558"/>
                  <a:gd name="connsiteY170" fmla="*/ 755179 h 1226256"/>
                  <a:gd name="connsiteX171" fmla="*/ 975339 w 1176558"/>
                  <a:gd name="connsiteY171" fmla="*/ 753967 h 1226256"/>
                  <a:gd name="connsiteX172" fmla="*/ 977309 w 1176558"/>
                  <a:gd name="connsiteY172" fmla="*/ 752603 h 1226256"/>
                  <a:gd name="connsiteX173" fmla="*/ 978976 w 1176558"/>
                  <a:gd name="connsiteY173" fmla="*/ 752149 h 1226256"/>
                  <a:gd name="connsiteX174" fmla="*/ 979582 w 1176558"/>
                  <a:gd name="connsiteY174" fmla="*/ 751543 h 1226256"/>
                  <a:gd name="connsiteX175" fmla="*/ 981855 w 1176558"/>
                  <a:gd name="connsiteY175" fmla="*/ 751088 h 1226256"/>
                  <a:gd name="connsiteX176" fmla="*/ 983976 w 1176558"/>
                  <a:gd name="connsiteY176" fmla="*/ 750179 h 1226256"/>
                  <a:gd name="connsiteX177" fmla="*/ 982461 w 1176558"/>
                  <a:gd name="connsiteY177" fmla="*/ 747755 h 1226256"/>
                  <a:gd name="connsiteX178" fmla="*/ 982309 w 1176558"/>
                  <a:gd name="connsiteY178" fmla="*/ 745179 h 1226256"/>
                  <a:gd name="connsiteX179" fmla="*/ 984885 w 1176558"/>
                  <a:gd name="connsiteY179" fmla="*/ 743967 h 1226256"/>
                  <a:gd name="connsiteX180" fmla="*/ 985340 w 1176558"/>
                  <a:gd name="connsiteY180" fmla="*/ 741239 h 1226256"/>
                  <a:gd name="connsiteX181" fmla="*/ 984431 w 1176558"/>
                  <a:gd name="connsiteY181" fmla="*/ 740330 h 1226256"/>
                  <a:gd name="connsiteX182" fmla="*/ 983824 w 1176558"/>
                  <a:gd name="connsiteY182" fmla="*/ 736391 h 1226256"/>
                  <a:gd name="connsiteX183" fmla="*/ 982764 w 1176558"/>
                  <a:gd name="connsiteY183" fmla="*/ 734269 h 1226256"/>
                  <a:gd name="connsiteX184" fmla="*/ 982461 w 1176558"/>
                  <a:gd name="connsiteY184" fmla="*/ 731542 h 1226256"/>
                  <a:gd name="connsiteX185" fmla="*/ 976855 w 1176558"/>
                  <a:gd name="connsiteY185" fmla="*/ 730936 h 1226256"/>
                  <a:gd name="connsiteX186" fmla="*/ 968521 w 1176558"/>
                  <a:gd name="connsiteY186" fmla="*/ 728208 h 1226256"/>
                  <a:gd name="connsiteX187" fmla="*/ 967763 w 1176558"/>
                  <a:gd name="connsiteY187" fmla="*/ 729117 h 1226256"/>
                  <a:gd name="connsiteX188" fmla="*/ 968672 w 1176558"/>
                  <a:gd name="connsiteY188" fmla="*/ 730178 h 1226256"/>
                  <a:gd name="connsiteX189" fmla="*/ 968975 w 1176558"/>
                  <a:gd name="connsiteY189" fmla="*/ 731390 h 1226256"/>
                  <a:gd name="connsiteX190" fmla="*/ 967915 w 1176558"/>
                  <a:gd name="connsiteY190" fmla="*/ 735027 h 1226256"/>
                  <a:gd name="connsiteX191" fmla="*/ 967915 w 1176558"/>
                  <a:gd name="connsiteY191" fmla="*/ 736845 h 1226256"/>
                  <a:gd name="connsiteX192" fmla="*/ 967612 w 1176558"/>
                  <a:gd name="connsiteY192" fmla="*/ 738512 h 1226256"/>
                  <a:gd name="connsiteX193" fmla="*/ 965187 w 1176558"/>
                  <a:gd name="connsiteY193" fmla="*/ 742148 h 1226256"/>
                  <a:gd name="connsiteX194" fmla="*/ 964884 w 1176558"/>
                  <a:gd name="connsiteY194" fmla="*/ 743815 h 1226256"/>
                  <a:gd name="connsiteX195" fmla="*/ 965036 w 1176558"/>
                  <a:gd name="connsiteY195" fmla="*/ 745633 h 1226256"/>
                  <a:gd name="connsiteX196" fmla="*/ 964733 w 1176558"/>
                  <a:gd name="connsiteY196" fmla="*/ 747452 h 1226256"/>
                  <a:gd name="connsiteX197" fmla="*/ 964127 w 1176558"/>
                  <a:gd name="connsiteY197" fmla="*/ 749270 h 1226256"/>
                  <a:gd name="connsiteX198" fmla="*/ 963975 w 1176558"/>
                  <a:gd name="connsiteY198" fmla="*/ 750785 h 1226256"/>
                  <a:gd name="connsiteX199" fmla="*/ 965187 w 1176558"/>
                  <a:gd name="connsiteY199" fmla="*/ 754422 h 1226256"/>
                  <a:gd name="connsiteX200" fmla="*/ 963672 w 1176558"/>
                  <a:gd name="connsiteY200" fmla="*/ 763967 h 1226256"/>
                  <a:gd name="connsiteX201" fmla="*/ 961551 w 1176558"/>
                  <a:gd name="connsiteY201" fmla="*/ 770634 h 1226256"/>
                  <a:gd name="connsiteX202" fmla="*/ 959278 w 1176558"/>
                  <a:gd name="connsiteY202" fmla="*/ 774119 h 1226256"/>
                  <a:gd name="connsiteX203" fmla="*/ 958824 w 1176558"/>
                  <a:gd name="connsiteY203" fmla="*/ 775634 h 1226256"/>
                  <a:gd name="connsiteX204" fmla="*/ 959733 w 1176558"/>
                  <a:gd name="connsiteY204" fmla="*/ 776695 h 1226256"/>
                  <a:gd name="connsiteX205" fmla="*/ 962914 w 1176558"/>
                  <a:gd name="connsiteY205" fmla="*/ 778210 h 1226256"/>
                  <a:gd name="connsiteX206" fmla="*/ 978067 w 1176558"/>
                  <a:gd name="connsiteY206" fmla="*/ 819272 h 1226256"/>
                  <a:gd name="connsiteX207" fmla="*/ 977006 w 1176558"/>
                  <a:gd name="connsiteY207" fmla="*/ 819272 h 1226256"/>
                  <a:gd name="connsiteX208" fmla="*/ 975491 w 1176558"/>
                  <a:gd name="connsiteY208" fmla="*/ 819727 h 1226256"/>
                  <a:gd name="connsiteX209" fmla="*/ 974430 w 1176558"/>
                  <a:gd name="connsiteY209" fmla="*/ 821545 h 1226256"/>
                  <a:gd name="connsiteX210" fmla="*/ 974430 w 1176558"/>
                  <a:gd name="connsiteY210" fmla="*/ 822757 h 1226256"/>
                  <a:gd name="connsiteX211" fmla="*/ 974885 w 1176558"/>
                  <a:gd name="connsiteY211" fmla="*/ 823818 h 1226256"/>
                  <a:gd name="connsiteX212" fmla="*/ 976703 w 1176558"/>
                  <a:gd name="connsiteY212" fmla="*/ 826091 h 1226256"/>
                  <a:gd name="connsiteX213" fmla="*/ 977006 w 1176558"/>
                  <a:gd name="connsiteY213" fmla="*/ 827606 h 1226256"/>
                  <a:gd name="connsiteX214" fmla="*/ 977764 w 1176558"/>
                  <a:gd name="connsiteY214" fmla="*/ 828818 h 1226256"/>
                  <a:gd name="connsiteX215" fmla="*/ 978521 w 1176558"/>
                  <a:gd name="connsiteY215" fmla="*/ 828818 h 1226256"/>
                  <a:gd name="connsiteX216" fmla="*/ 979430 w 1176558"/>
                  <a:gd name="connsiteY216" fmla="*/ 828364 h 1226256"/>
                  <a:gd name="connsiteX217" fmla="*/ 979885 w 1176558"/>
                  <a:gd name="connsiteY217" fmla="*/ 826091 h 1226256"/>
                  <a:gd name="connsiteX218" fmla="*/ 979582 w 1176558"/>
                  <a:gd name="connsiteY218" fmla="*/ 823667 h 1226256"/>
                  <a:gd name="connsiteX219" fmla="*/ 979279 w 1176558"/>
                  <a:gd name="connsiteY219" fmla="*/ 821242 h 1226256"/>
                  <a:gd name="connsiteX220" fmla="*/ 978067 w 1176558"/>
                  <a:gd name="connsiteY220" fmla="*/ 819272 h 1226256"/>
                  <a:gd name="connsiteX221" fmla="*/ 988219 w 1176558"/>
                  <a:gd name="connsiteY221" fmla="*/ 818818 h 1226256"/>
                  <a:gd name="connsiteX222" fmla="*/ 985794 w 1176558"/>
                  <a:gd name="connsiteY222" fmla="*/ 820939 h 1226256"/>
                  <a:gd name="connsiteX223" fmla="*/ 984733 w 1176558"/>
                  <a:gd name="connsiteY223" fmla="*/ 822454 h 1226256"/>
                  <a:gd name="connsiteX224" fmla="*/ 985491 w 1176558"/>
                  <a:gd name="connsiteY224" fmla="*/ 825333 h 1226256"/>
                  <a:gd name="connsiteX225" fmla="*/ 986097 w 1176558"/>
                  <a:gd name="connsiteY225" fmla="*/ 827000 h 1226256"/>
                  <a:gd name="connsiteX226" fmla="*/ 987309 w 1176558"/>
                  <a:gd name="connsiteY226" fmla="*/ 828970 h 1226256"/>
                  <a:gd name="connsiteX227" fmla="*/ 990643 w 1176558"/>
                  <a:gd name="connsiteY227" fmla="*/ 829879 h 1226256"/>
                  <a:gd name="connsiteX228" fmla="*/ 997310 w 1176558"/>
                  <a:gd name="connsiteY228" fmla="*/ 827151 h 1226256"/>
                  <a:gd name="connsiteX229" fmla="*/ 999734 w 1176558"/>
                  <a:gd name="connsiteY229" fmla="*/ 824879 h 1226256"/>
                  <a:gd name="connsiteX230" fmla="*/ 1001098 w 1176558"/>
                  <a:gd name="connsiteY230" fmla="*/ 822454 h 1226256"/>
                  <a:gd name="connsiteX231" fmla="*/ 1003371 w 1176558"/>
                  <a:gd name="connsiteY231" fmla="*/ 819424 h 1226256"/>
                  <a:gd name="connsiteX232" fmla="*/ 1003068 w 1176558"/>
                  <a:gd name="connsiteY232" fmla="*/ 818060 h 1226256"/>
                  <a:gd name="connsiteX233" fmla="*/ 1001249 w 1176558"/>
                  <a:gd name="connsiteY233" fmla="*/ 816394 h 1226256"/>
                  <a:gd name="connsiteX234" fmla="*/ 996098 w 1176558"/>
                  <a:gd name="connsiteY234" fmla="*/ 813969 h 1226256"/>
                  <a:gd name="connsiteX235" fmla="*/ 991249 w 1176558"/>
                  <a:gd name="connsiteY235" fmla="*/ 812303 h 1226256"/>
                  <a:gd name="connsiteX236" fmla="*/ 989885 w 1176558"/>
                  <a:gd name="connsiteY236" fmla="*/ 812757 h 1226256"/>
                  <a:gd name="connsiteX237" fmla="*/ 989582 w 1176558"/>
                  <a:gd name="connsiteY237" fmla="*/ 814272 h 1226256"/>
                  <a:gd name="connsiteX238" fmla="*/ 989734 w 1176558"/>
                  <a:gd name="connsiteY238" fmla="*/ 815787 h 1226256"/>
                  <a:gd name="connsiteX239" fmla="*/ 989279 w 1176558"/>
                  <a:gd name="connsiteY239" fmla="*/ 817454 h 1226256"/>
                  <a:gd name="connsiteX240" fmla="*/ 988219 w 1176558"/>
                  <a:gd name="connsiteY240" fmla="*/ 818818 h 1226256"/>
                  <a:gd name="connsiteX241" fmla="*/ 951248 w 1176558"/>
                  <a:gd name="connsiteY241" fmla="*/ 787908 h 1226256"/>
                  <a:gd name="connsiteX242" fmla="*/ 951399 w 1176558"/>
                  <a:gd name="connsiteY242" fmla="*/ 787605 h 1226256"/>
                  <a:gd name="connsiteX243" fmla="*/ 951248 w 1176558"/>
                  <a:gd name="connsiteY243" fmla="*/ 786847 h 1226256"/>
                  <a:gd name="connsiteX244" fmla="*/ 950641 w 1176558"/>
                  <a:gd name="connsiteY244" fmla="*/ 786089 h 1226256"/>
                  <a:gd name="connsiteX245" fmla="*/ 949278 w 1176558"/>
                  <a:gd name="connsiteY245" fmla="*/ 785483 h 1226256"/>
                  <a:gd name="connsiteX246" fmla="*/ 947308 w 1176558"/>
                  <a:gd name="connsiteY246" fmla="*/ 785938 h 1226256"/>
                  <a:gd name="connsiteX247" fmla="*/ 946702 w 1176558"/>
                  <a:gd name="connsiteY247" fmla="*/ 786696 h 1226256"/>
                  <a:gd name="connsiteX248" fmla="*/ 946702 w 1176558"/>
                  <a:gd name="connsiteY248" fmla="*/ 787605 h 1226256"/>
                  <a:gd name="connsiteX249" fmla="*/ 947611 w 1176558"/>
                  <a:gd name="connsiteY249" fmla="*/ 788665 h 1226256"/>
                  <a:gd name="connsiteX250" fmla="*/ 951248 w 1176558"/>
                  <a:gd name="connsiteY250" fmla="*/ 787908 h 1226256"/>
                  <a:gd name="connsiteX251" fmla="*/ 938823 w 1176558"/>
                  <a:gd name="connsiteY251" fmla="*/ 1009885 h 1226256"/>
                  <a:gd name="connsiteX252" fmla="*/ 936398 w 1176558"/>
                  <a:gd name="connsiteY252" fmla="*/ 1009582 h 1226256"/>
                  <a:gd name="connsiteX253" fmla="*/ 933217 w 1176558"/>
                  <a:gd name="connsiteY253" fmla="*/ 1008370 h 1226256"/>
                  <a:gd name="connsiteX254" fmla="*/ 932004 w 1176558"/>
                  <a:gd name="connsiteY254" fmla="*/ 1012007 h 1226256"/>
                  <a:gd name="connsiteX255" fmla="*/ 931853 w 1176558"/>
                  <a:gd name="connsiteY255" fmla="*/ 1013977 h 1226256"/>
                  <a:gd name="connsiteX256" fmla="*/ 931247 w 1176558"/>
                  <a:gd name="connsiteY256" fmla="*/ 1014886 h 1226256"/>
                  <a:gd name="connsiteX257" fmla="*/ 930792 w 1176558"/>
                  <a:gd name="connsiteY257" fmla="*/ 1017158 h 1226256"/>
                  <a:gd name="connsiteX258" fmla="*/ 929732 w 1176558"/>
                  <a:gd name="connsiteY258" fmla="*/ 1020189 h 1226256"/>
                  <a:gd name="connsiteX259" fmla="*/ 933671 w 1176558"/>
                  <a:gd name="connsiteY259" fmla="*/ 1020189 h 1226256"/>
                  <a:gd name="connsiteX260" fmla="*/ 935186 w 1176558"/>
                  <a:gd name="connsiteY260" fmla="*/ 1021401 h 1226256"/>
                  <a:gd name="connsiteX261" fmla="*/ 940489 w 1176558"/>
                  <a:gd name="connsiteY261" fmla="*/ 1018522 h 1226256"/>
                  <a:gd name="connsiteX262" fmla="*/ 943065 w 1176558"/>
                  <a:gd name="connsiteY262" fmla="*/ 1016401 h 1226256"/>
                  <a:gd name="connsiteX263" fmla="*/ 946550 w 1176558"/>
                  <a:gd name="connsiteY263" fmla="*/ 1015037 h 1226256"/>
                  <a:gd name="connsiteX264" fmla="*/ 945490 w 1176558"/>
                  <a:gd name="connsiteY264" fmla="*/ 1011855 h 1226256"/>
                  <a:gd name="connsiteX265" fmla="*/ 942005 w 1176558"/>
                  <a:gd name="connsiteY265" fmla="*/ 1011098 h 1226256"/>
                  <a:gd name="connsiteX266" fmla="*/ 938823 w 1176558"/>
                  <a:gd name="connsiteY266" fmla="*/ 1009885 h 1226256"/>
                  <a:gd name="connsiteX267" fmla="*/ 973369 w 1176558"/>
                  <a:gd name="connsiteY267" fmla="*/ 793817 h 1226256"/>
                  <a:gd name="connsiteX268" fmla="*/ 970339 w 1176558"/>
                  <a:gd name="connsiteY268" fmla="*/ 794877 h 1226256"/>
                  <a:gd name="connsiteX269" fmla="*/ 965642 w 1176558"/>
                  <a:gd name="connsiteY269" fmla="*/ 795029 h 1226256"/>
                  <a:gd name="connsiteX270" fmla="*/ 965491 w 1176558"/>
                  <a:gd name="connsiteY270" fmla="*/ 796696 h 1226256"/>
                  <a:gd name="connsiteX271" fmla="*/ 966248 w 1176558"/>
                  <a:gd name="connsiteY271" fmla="*/ 797151 h 1226256"/>
                  <a:gd name="connsiteX272" fmla="*/ 970642 w 1176558"/>
                  <a:gd name="connsiteY272" fmla="*/ 798363 h 1226256"/>
                  <a:gd name="connsiteX273" fmla="*/ 971097 w 1176558"/>
                  <a:gd name="connsiteY273" fmla="*/ 798060 h 1226256"/>
                  <a:gd name="connsiteX274" fmla="*/ 972006 w 1176558"/>
                  <a:gd name="connsiteY274" fmla="*/ 796696 h 1226256"/>
                  <a:gd name="connsiteX275" fmla="*/ 973976 w 1176558"/>
                  <a:gd name="connsiteY275" fmla="*/ 796999 h 1226256"/>
                  <a:gd name="connsiteX276" fmla="*/ 975188 w 1176558"/>
                  <a:gd name="connsiteY276" fmla="*/ 796847 h 1226256"/>
                  <a:gd name="connsiteX277" fmla="*/ 974582 w 1176558"/>
                  <a:gd name="connsiteY277" fmla="*/ 795181 h 1226256"/>
                  <a:gd name="connsiteX278" fmla="*/ 973673 w 1176558"/>
                  <a:gd name="connsiteY278" fmla="*/ 793968 h 1226256"/>
                  <a:gd name="connsiteX279" fmla="*/ 973369 w 1176558"/>
                  <a:gd name="connsiteY279" fmla="*/ 793817 h 1226256"/>
                  <a:gd name="connsiteX280" fmla="*/ 950944 w 1176558"/>
                  <a:gd name="connsiteY280" fmla="*/ 859577 h 1226256"/>
                  <a:gd name="connsiteX281" fmla="*/ 954126 w 1176558"/>
                  <a:gd name="connsiteY281" fmla="*/ 858971 h 1226256"/>
                  <a:gd name="connsiteX282" fmla="*/ 956702 w 1176558"/>
                  <a:gd name="connsiteY282" fmla="*/ 860183 h 1226256"/>
                  <a:gd name="connsiteX283" fmla="*/ 959430 w 1176558"/>
                  <a:gd name="connsiteY283" fmla="*/ 859425 h 1226256"/>
                  <a:gd name="connsiteX284" fmla="*/ 960945 w 1176558"/>
                  <a:gd name="connsiteY284" fmla="*/ 857910 h 1226256"/>
                  <a:gd name="connsiteX285" fmla="*/ 962763 w 1176558"/>
                  <a:gd name="connsiteY285" fmla="*/ 856546 h 1226256"/>
                  <a:gd name="connsiteX286" fmla="*/ 963218 w 1176558"/>
                  <a:gd name="connsiteY286" fmla="*/ 855183 h 1226256"/>
                  <a:gd name="connsiteX287" fmla="*/ 962914 w 1176558"/>
                  <a:gd name="connsiteY287" fmla="*/ 853971 h 1226256"/>
                  <a:gd name="connsiteX288" fmla="*/ 960793 w 1176558"/>
                  <a:gd name="connsiteY288" fmla="*/ 850183 h 1226256"/>
                  <a:gd name="connsiteX289" fmla="*/ 961551 w 1176558"/>
                  <a:gd name="connsiteY289" fmla="*/ 843819 h 1226256"/>
                  <a:gd name="connsiteX290" fmla="*/ 960793 w 1176558"/>
                  <a:gd name="connsiteY290" fmla="*/ 840334 h 1226256"/>
                  <a:gd name="connsiteX291" fmla="*/ 957763 w 1176558"/>
                  <a:gd name="connsiteY291" fmla="*/ 841394 h 1226256"/>
                  <a:gd name="connsiteX292" fmla="*/ 957005 w 1176558"/>
                  <a:gd name="connsiteY292" fmla="*/ 843061 h 1226256"/>
                  <a:gd name="connsiteX293" fmla="*/ 955642 w 1176558"/>
                  <a:gd name="connsiteY293" fmla="*/ 844122 h 1226256"/>
                  <a:gd name="connsiteX294" fmla="*/ 955793 w 1176558"/>
                  <a:gd name="connsiteY294" fmla="*/ 848819 h 1226256"/>
                  <a:gd name="connsiteX295" fmla="*/ 953975 w 1176558"/>
                  <a:gd name="connsiteY295" fmla="*/ 852152 h 1226256"/>
                  <a:gd name="connsiteX296" fmla="*/ 951550 w 1176558"/>
                  <a:gd name="connsiteY296" fmla="*/ 854728 h 1226256"/>
                  <a:gd name="connsiteX297" fmla="*/ 950338 w 1176558"/>
                  <a:gd name="connsiteY297" fmla="*/ 856849 h 1226256"/>
                  <a:gd name="connsiteX298" fmla="*/ 950944 w 1176558"/>
                  <a:gd name="connsiteY298" fmla="*/ 859577 h 1226256"/>
                  <a:gd name="connsiteX299" fmla="*/ 955793 w 1176558"/>
                  <a:gd name="connsiteY299" fmla="*/ 826091 h 1226256"/>
                  <a:gd name="connsiteX300" fmla="*/ 957914 w 1176558"/>
                  <a:gd name="connsiteY300" fmla="*/ 830030 h 1226256"/>
                  <a:gd name="connsiteX301" fmla="*/ 959733 w 1176558"/>
                  <a:gd name="connsiteY301" fmla="*/ 831546 h 1226256"/>
                  <a:gd name="connsiteX302" fmla="*/ 962005 w 1176558"/>
                  <a:gd name="connsiteY302" fmla="*/ 836546 h 1226256"/>
                  <a:gd name="connsiteX303" fmla="*/ 963975 w 1176558"/>
                  <a:gd name="connsiteY303" fmla="*/ 839424 h 1226256"/>
                  <a:gd name="connsiteX304" fmla="*/ 966854 w 1176558"/>
                  <a:gd name="connsiteY304" fmla="*/ 841091 h 1226256"/>
                  <a:gd name="connsiteX305" fmla="*/ 966551 w 1176558"/>
                  <a:gd name="connsiteY305" fmla="*/ 845485 h 1226256"/>
                  <a:gd name="connsiteX306" fmla="*/ 968824 w 1176558"/>
                  <a:gd name="connsiteY306" fmla="*/ 846091 h 1226256"/>
                  <a:gd name="connsiteX307" fmla="*/ 973369 w 1176558"/>
                  <a:gd name="connsiteY307" fmla="*/ 845940 h 1226256"/>
                  <a:gd name="connsiteX308" fmla="*/ 973824 w 1176558"/>
                  <a:gd name="connsiteY308" fmla="*/ 845485 h 1226256"/>
                  <a:gd name="connsiteX309" fmla="*/ 973976 w 1176558"/>
                  <a:gd name="connsiteY309" fmla="*/ 843970 h 1226256"/>
                  <a:gd name="connsiteX310" fmla="*/ 975642 w 1176558"/>
                  <a:gd name="connsiteY310" fmla="*/ 843667 h 1226256"/>
                  <a:gd name="connsiteX311" fmla="*/ 976097 w 1176558"/>
                  <a:gd name="connsiteY311" fmla="*/ 843364 h 1226256"/>
                  <a:gd name="connsiteX312" fmla="*/ 976703 w 1176558"/>
                  <a:gd name="connsiteY312" fmla="*/ 840940 h 1226256"/>
                  <a:gd name="connsiteX313" fmla="*/ 976855 w 1176558"/>
                  <a:gd name="connsiteY313" fmla="*/ 839576 h 1226256"/>
                  <a:gd name="connsiteX314" fmla="*/ 976703 w 1176558"/>
                  <a:gd name="connsiteY314" fmla="*/ 838213 h 1226256"/>
                  <a:gd name="connsiteX315" fmla="*/ 975036 w 1176558"/>
                  <a:gd name="connsiteY315" fmla="*/ 835334 h 1226256"/>
                  <a:gd name="connsiteX316" fmla="*/ 974733 w 1176558"/>
                  <a:gd name="connsiteY316" fmla="*/ 833515 h 1226256"/>
                  <a:gd name="connsiteX317" fmla="*/ 974885 w 1176558"/>
                  <a:gd name="connsiteY317" fmla="*/ 832455 h 1226256"/>
                  <a:gd name="connsiteX318" fmla="*/ 973976 w 1176558"/>
                  <a:gd name="connsiteY318" fmla="*/ 828818 h 1226256"/>
                  <a:gd name="connsiteX319" fmla="*/ 972612 w 1176558"/>
                  <a:gd name="connsiteY319" fmla="*/ 825030 h 1226256"/>
                  <a:gd name="connsiteX320" fmla="*/ 971551 w 1176558"/>
                  <a:gd name="connsiteY320" fmla="*/ 822606 h 1226256"/>
                  <a:gd name="connsiteX321" fmla="*/ 969279 w 1176558"/>
                  <a:gd name="connsiteY321" fmla="*/ 820484 h 1226256"/>
                  <a:gd name="connsiteX322" fmla="*/ 969430 w 1176558"/>
                  <a:gd name="connsiteY322" fmla="*/ 818666 h 1226256"/>
                  <a:gd name="connsiteX323" fmla="*/ 969733 w 1176558"/>
                  <a:gd name="connsiteY323" fmla="*/ 817151 h 1226256"/>
                  <a:gd name="connsiteX324" fmla="*/ 973067 w 1176558"/>
                  <a:gd name="connsiteY324" fmla="*/ 815484 h 1226256"/>
                  <a:gd name="connsiteX325" fmla="*/ 975188 w 1176558"/>
                  <a:gd name="connsiteY325" fmla="*/ 815181 h 1226256"/>
                  <a:gd name="connsiteX326" fmla="*/ 976551 w 1176558"/>
                  <a:gd name="connsiteY326" fmla="*/ 813666 h 1226256"/>
                  <a:gd name="connsiteX327" fmla="*/ 977461 w 1176558"/>
                  <a:gd name="connsiteY327" fmla="*/ 811393 h 1226256"/>
                  <a:gd name="connsiteX328" fmla="*/ 977461 w 1176558"/>
                  <a:gd name="connsiteY328" fmla="*/ 809727 h 1226256"/>
                  <a:gd name="connsiteX329" fmla="*/ 974279 w 1176558"/>
                  <a:gd name="connsiteY329" fmla="*/ 808363 h 1226256"/>
                  <a:gd name="connsiteX330" fmla="*/ 973067 w 1176558"/>
                  <a:gd name="connsiteY330" fmla="*/ 806696 h 1226256"/>
                  <a:gd name="connsiteX331" fmla="*/ 972157 w 1176558"/>
                  <a:gd name="connsiteY331" fmla="*/ 805029 h 1226256"/>
                  <a:gd name="connsiteX332" fmla="*/ 969581 w 1176558"/>
                  <a:gd name="connsiteY332" fmla="*/ 805181 h 1226256"/>
                  <a:gd name="connsiteX333" fmla="*/ 967157 w 1176558"/>
                  <a:gd name="connsiteY333" fmla="*/ 806696 h 1226256"/>
                  <a:gd name="connsiteX334" fmla="*/ 966400 w 1176558"/>
                  <a:gd name="connsiteY334" fmla="*/ 809727 h 1226256"/>
                  <a:gd name="connsiteX335" fmla="*/ 966702 w 1176558"/>
                  <a:gd name="connsiteY335" fmla="*/ 813515 h 1226256"/>
                  <a:gd name="connsiteX336" fmla="*/ 965793 w 1176558"/>
                  <a:gd name="connsiteY336" fmla="*/ 814424 h 1226256"/>
                  <a:gd name="connsiteX337" fmla="*/ 963672 w 1176558"/>
                  <a:gd name="connsiteY337" fmla="*/ 814727 h 1226256"/>
                  <a:gd name="connsiteX338" fmla="*/ 961248 w 1176558"/>
                  <a:gd name="connsiteY338" fmla="*/ 813666 h 1226256"/>
                  <a:gd name="connsiteX339" fmla="*/ 957914 w 1176558"/>
                  <a:gd name="connsiteY339" fmla="*/ 815030 h 1226256"/>
                  <a:gd name="connsiteX340" fmla="*/ 955793 w 1176558"/>
                  <a:gd name="connsiteY340" fmla="*/ 816242 h 1226256"/>
                  <a:gd name="connsiteX341" fmla="*/ 956399 w 1176558"/>
                  <a:gd name="connsiteY341" fmla="*/ 820030 h 1226256"/>
                  <a:gd name="connsiteX342" fmla="*/ 952611 w 1176558"/>
                  <a:gd name="connsiteY342" fmla="*/ 822151 h 1226256"/>
                  <a:gd name="connsiteX343" fmla="*/ 955793 w 1176558"/>
                  <a:gd name="connsiteY343" fmla="*/ 826091 h 1226256"/>
                  <a:gd name="connsiteX344" fmla="*/ 924277 w 1176558"/>
                  <a:gd name="connsiteY344" fmla="*/ 957914 h 1226256"/>
                  <a:gd name="connsiteX345" fmla="*/ 925034 w 1176558"/>
                  <a:gd name="connsiteY345" fmla="*/ 964126 h 1226256"/>
                  <a:gd name="connsiteX346" fmla="*/ 928065 w 1176558"/>
                  <a:gd name="connsiteY346" fmla="*/ 964126 h 1226256"/>
                  <a:gd name="connsiteX347" fmla="*/ 930186 w 1176558"/>
                  <a:gd name="connsiteY347" fmla="*/ 962611 h 1226256"/>
                  <a:gd name="connsiteX348" fmla="*/ 935944 w 1176558"/>
                  <a:gd name="connsiteY348" fmla="*/ 960793 h 1226256"/>
                  <a:gd name="connsiteX349" fmla="*/ 937762 w 1176558"/>
                  <a:gd name="connsiteY349" fmla="*/ 959126 h 1226256"/>
                  <a:gd name="connsiteX350" fmla="*/ 937914 w 1176558"/>
                  <a:gd name="connsiteY350" fmla="*/ 952156 h 1226256"/>
                  <a:gd name="connsiteX351" fmla="*/ 934580 w 1176558"/>
                  <a:gd name="connsiteY351" fmla="*/ 944883 h 1226256"/>
                  <a:gd name="connsiteX352" fmla="*/ 932913 w 1176558"/>
                  <a:gd name="connsiteY352" fmla="*/ 939883 h 1226256"/>
                  <a:gd name="connsiteX353" fmla="*/ 931398 w 1176558"/>
                  <a:gd name="connsiteY353" fmla="*/ 938065 h 1226256"/>
                  <a:gd name="connsiteX354" fmla="*/ 926701 w 1176558"/>
                  <a:gd name="connsiteY354" fmla="*/ 939883 h 1226256"/>
                  <a:gd name="connsiteX355" fmla="*/ 926398 w 1176558"/>
                  <a:gd name="connsiteY355" fmla="*/ 940792 h 1226256"/>
                  <a:gd name="connsiteX356" fmla="*/ 926853 w 1176558"/>
                  <a:gd name="connsiteY356" fmla="*/ 942913 h 1226256"/>
                  <a:gd name="connsiteX357" fmla="*/ 928065 w 1176558"/>
                  <a:gd name="connsiteY357" fmla="*/ 945489 h 1226256"/>
                  <a:gd name="connsiteX358" fmla="*/ 927762 w 1176558"/>
                  <a:gd name="connsiteY358" fmla="*/ 948974 h 1226256"/>
                  <a:gd name="connsiteX359" fmla="*/ 924277 w 1176558"/>
                  <a:gd name="connsiteY359" fmla="*/ 957914 h 1226256"/>
                  <a:gd name="connsiteX360" fmla="*/ 1146103 w 1176558"/>
                  <a:gd name="connsiteY360" fmla="*/ 1223681 h 1226256"/>
                  <a:gd name="connsiteX361" fmla="*/ 1140194 w 1176558"/>
                  <a:gd name="connsiteY361" fmla="*/ 1223227 h 1226256"/>
                  <a:gd name="connsiteX362" fmla="*/ 1138224 w 1176558"/>
                  <a:gd name="connsiteY362" fmla="*/ 1223681 h 1226256"/>
                  <a:gd name="connsiteX363" fmla="*/ 1137770 w 1176558"/>
                  <a:gd name="connsiteY363" fmla="*/ 1224287 h 1226256"/>
                  <a:gd name="connsiteX364" fmla="*/ 1137921 w 1176558"/>
                  <a:gd name="connsiteY364" fmla="*/ 1224893 h 1226256"/>
                  <a:gd name="connsiteX365" fmla="*/ 1138376 w 1176558"/>
                  <a:gd name="connsiteY365" fmla="*/ 1225196 h 1226256"/>
                  <a:gd name="connsiteX366" fmla="*/ 1142012 w 1176558"/>
                  <a:gd name="connsiteY366" fmla="*/ 1225499 h 1226256"/>
                  <a:gd name="connsiteX367" fmla="*/ 1144437 w 1176558"/>
                  <a:gd name="connsiteY367" fmla="*/ 1226257 h 1226256"/>
                  <a:gd name="connsiteX368" fmla="*/ 1145497 w 1176558"/>
                  <a:gd name="connsiteY368" fmla="*/ 1226106 h 1226256"/>
                  <a:gd name="connsiteX369" fmla="*/ 1146255 w 1176558"/>
                  <a:gd name="connsiteY369" fmla="*/ 1225651 h 1226256"/>
                  <a:gd name="connsiteX370" fmla="*/ 1147164 w 1176558"/>
                  <a:gd name="connsiteY370" fmla="*/ 1224439 h 1226256"/>
                  <a:gd name="connsiteX371" fmla="*/ 1147012 w 1176558"/>
                  <a:gd name="connsiteY371" fmla="*/ 1223984 h 1226256"/>
                  <a:gd name="connsiteX372" fmla="*/ 1146103 w 1176558"/>
                  <a:gd name="connsiteY372" fmla="*/ 1223681 h 1226256"/>
                  <a:gd name="connsiteX373" fmla="*/ 1085192 w 1176558"/>
                  <a:gd name="connsiteY373" fmla="*/ 1182164 h 1226256"/>
                  <a:gd name="connsiteX374" fmla="*/ 1086555 w 1176558"/>
                  <a:gd name="connsiteY374" fmla="*/ 1181104 h 1226256"/>
                  <a:gd name="connsiteX375" fmla="*/ 1090344 w 1176558"/>
                  <a:gd name="connsiteY375" fmla="*/ 1184892 h 1226256"/>
                  <a:gd name="connsiteX376" fmla="*/ 1093071 w 1176558"/>
                  <a:gd name="connsiteY376" fmla="*/ 1186710 h 1226256"/>
                  <a:gd name="connsiteX377" fmla="*/ 1104132 w 1176558"/>
                  <a:gd name="connsiteY377" fmla="*/ 1188680 h 1226256"/>
                  <a:gd name="connsiteX378" fmla="*/ 1110647 w 1176558"/>
                  <a:gd name="connsiteY378" fmla="*/ 1187468 h 1226256"/>
                  <a:gd name="connsiteX379" fmla="*/ 1111708 w 1176558"/>
                  <a:gd name="connsiteY379" fmla="*/ 1186558 h 1226256"/>
                  <a:gd name="connsiteX380" fmla="*/ 1115799 w 1176558"/>
                  <a:gd name="connsiteY380" fmla="*/ 1186558 h 1226256"/>
                  <a:gd name="connsiteX381" fmla="*/ 1115951 w 1176558"/>
                  <a:gd name="connsiteY381" fmla="*/ 1178073 h 1226256"/>
                  <a:gd name="connsiteX382" fmla="*/ 1116102 w 1176558"/>
                  <a:gd name="connsiteY382" fmla="*/ 1166558 h 1226256"/>
                  <a:gd name="connsiteX383" fmla="*/ 1116102 w 1176558"/>
                  <a:gd name="connsiteY383" fmla="*/ 1156406 h 1226256"/>
                  <a:gd name="connsiteX384" fmla="*/ 1116102 w 1176558"/>
                  <a:gd name="connsiteY384" fmla="*/ 1146557 h 1226256"/>
                  <a:gd name="connsiteX385" fmla="*/ 1116102 w 1176558"/>
                  <a:gd name="connsiteY385" fmla="*/ 1136405 h 1226256"/>
                  <a:gd name="connsiteX386" fmla="*/ 1116102 w 1176558"/>
                  <a:gd name="connsiteY386" fmla="*/ 1126254 h 1226256"/>
                  <a:gd name="connsiteX387" fmla="*/ 1116102 w 1176558"/>
                  <a:gd name="connsiteY387" fmla="*/ 1115344 h 1226256"/>
                  <a:gd name="connsiteX388" fmla="*/ 1116102 w 1176558"/>
                  <a:gd name="connsiteY388" fmla="*/ 1104434 h 1226256"/>
                  <a:gd name="connsiteX389" fmla="*/ 1115345 w 1176558"/>
                  <a:gd name="connsiteY389" fmla="*/ 1103677 h 1226256"/>
                  <a:gd name="connsiteX390" fmla="*/ 1112617 w 1176558"/>
                  <a:gd name="connsiteY390" fmla="*/ 1101858 h 1226256"/>
                  <a:gd name="connsiteX391" fmla="*/ 1111708 w 1176558"/>
                  <a:gd name="connsiteY391" fmla="*/ 1101707 h 1226256"/>
                  <a:gd name="connsiteX392" fmla="*/ 1103829 w 1176558"/>
                  <a:gd name="connsiteY392" fmla="*/ 1105344 h 1226256"/>
                  <a:gd name="connsiteX393" fmla="*/ 1101404 w 1176558"/>
                  <a:gd name="connsiteY393" fmla="*/ 1105040 h 1226256"/>
                  <a:gd name="connsiteX394" fmla="*/ 1094586 w 1176558"/>
                  <a:gd name="connsiteY394" fmla="*/ 1098373 h 1226256"/>
                  <a:gd name="connsiteX395" fmla="*/ 1092313 w 1176558"/>
                  <a:gd name="connsiteY395" fmla="*/ 1098525 h 1226256"/>
                  <a:gd name="connsiteX396" fmla="*/ 1090344 w 1176558"/>
                  <a:gd name="connsiteY396" fmla="*/ 1100646 h 1226256"/>
                  <a:gd name="connsiteX397" fmla="*/ 1087768 w 1176558"/>
                  <a:gd name="connsiteY397" fmla="*/ 1104283 h 1226256"/>
                  <a:gd name="connsiteX398" fmla="*/ 1085040 w 1176558"/>
                  <a:gd name="connsiteY398" fmla="*/ 1107465 h 1226256"/>
                  <a:gd name="connsiteX399" fmla="*/ 1081707 w 1176558"/>
                  <a:gd name="connsiteY399" fmla="*/ 1109889 h 1226256"/>
                  <a:gd name="connsiteX400" fmla="*/ 1080343 w 1176558"/>
                  <a:gd name="connsiteY400" fmla="*/ 1110646 h 1226256"/>
                  <a:gd name="connsiteX401" fmla="*/ 1078828 w 1176558"/>
                  <a:gd name="connsiteY401" fmla="*/ 1110646 h 1226256"/>
                  <a:gd name="connsiteX402" fmla="*/ 1076252 w 1176558"/>
                  <a:gd name="connsiteY402" fmla="*/ 1108677 h 1226256"/>
                  <a:gd name="connsiteX403" fmla="*/ 1073525 w 1176558"/>
                  <a:gd name="connsiteY403" fmla="*/ 1107010 h 1226256"/>
                  <a:gd name="connsiteX404" fmla="*/ 1069585 w 1176558"/>
                  <a:gd name="connsiteY404" fmla="*/ 1107313 h 1226256"/>
                  <a:gd name="connsiteX405" fmla="*/ 1068373 w 1176558"/>
                  <a:gd name="connsiteY405" fmla="*/ 1107919 h 1226256"/>
                  <a:gd name="connsiteX406" fmla="*/ 1070646 w 1176558"/>
                  <a:gd name="connsiteY406" fmla="*/ 1110344 h 1226256"/>
                  <a:gd name="connsiteX407" fmla="*/ 1071707 w 1176558"/>
                  <a:gd name="connsiteY407" fmla="*/ 1111859 h 1226256"/>
                  <a:gd name="connsiteX408" fmla="*/ 1074282 w 1176558"/>
                  <a:gd name="connsiteY408" fmla="*/ 1113374 h 1226256"/>
                  <a:gd name="connsiteX409" fmla="*/ 1074888 w 1176558"/>
                  <a:gd name="connsiteY409" fmla="*/ 1114132 h 1226256"/>
                  <a:gd name="connsiteX410" fmla="*/ 1075191 w 1176558"/>
                  <a:gd name="connsiteY410" fmla="*/ 1115041 h 1226256"/>
                  <a:gd name="connsiteX411" fmla="*/ 1074434 w 1176558"/>
                  <a:gd name="connsiteY411" fmla="*/ 1116101 h 1226256"/>
                  <a:gd name="connsiteX412" fmla="*/ 1073525 w 1176558"/>
                  <a:gd name="connsiteY412" fmla="*/ 1116859 h 1226256"/>
                  <a:gd name="connsiteX413" fmla="*/ 1071858 w 1176558"/>
                  <a:gd name="connsiteY413" fmla="*/ 1117313 h 1226256"/>
                  <a:gd name="connsiteX414" fmla="*/ 1070191 w 1176558"/>
                  <a:gd name="connsiteY414" fmla="*/ 1117162 h 1226256"/>
                  <a:gd name="connsiteX415" fmla="*/ 1068222 w 1176558"/>
                  <a:gd name="connsiteY415" fmla="*/ 1118071 h 1226256"/>
                  <a:gd name="connsiteX416" fmla="*/ 1066706 w 1176558"/>
                  <a:gd name="connsiteY416" fmla="*/ 1120192 h 1226256"/>
                  <a:gd name="connsiteX417" fmla="*/ 1066252 w 1176558"/>
                  <a:gd name="connsiteY417" fmla="*/ 1122314 h 1226256"/>
                  <a:gd name="connsiteX418" fmla="*/ 1066252 w 1176558"/>
                  <a:gd name="connsiteY418" fmla="*/ 1124587 h 1226256"/>
                  <a:gd name="connsiteX419" fmla="*/ 1067464 w 1176558"/>
                  <a:gd name="connsiteY419" fmla="*/ 1128223 h 1226256"/>
                  <a:gd name="connsiteX420" fmla="*/ 1069888 w 1176558"/>
                  <a:gd name="connsiteY420" fmla="*/ 1130951 h 1226256"/>
                  <a:gd name="connsiteX421" fmla="*/ 1073070 w 1176558"/>
                  <a:gd name="connsiteY421" fmla="*/ 1132314 h 1226256"/>
                  <a:gd name="connsiteX422" fmla="*/ 1076404 w 1176558"/>
                  <a:gd name="connsiteY422" fmla="*/ 1132465 h 1226256"/>
                  <a:gd name="connsiteX423" fmla="*/ 1082313 w 1176558"/>
                  <a:gd name="connsiteY423" fmla="*/ 1129890 h 1226256"/>
                  <a:gd name="connsiteX424" fmla="*/ 1085495 w 1176558"/>
                  <a:gd name="connsiteY424" fmla="*/ 1129435 h 1226256"/>
                  <a:gd name="connsiteX425" fmla="*/ 1088677 w 1176558"/>
                  <a:gd name="connsiteY425" fmla="*/ 1129284 h 1226256"/>
                  <a:gd name="connsiteX426" fmla="*/ 1092010 w 1176558"/>
                  <a:gd name="connsiteY426" fmla="*/ 1129587 h 1226256"/>
                  <a:gd name="connsiteX427" fmla="*/ 1095192 w 1176558"/>
                  <a:gd name="connsiteY427" fmla="*/ 1130799 h 1226256"/>
                  <a:gd name="connsiteX428" fmla="*/ 1096253 w 1176558"/>
                  <a:gd name="connsiteY428" fmla="*/ 1132465 h 1226256"/>
                  <a:gd name="connsiteX429" fmla="*/ 1096404 w 1176558"/>
                  <a:gd name="connsiteY429" fmla="*/ 1134890 h 1226256"/>
                  <a:gd name="connsiteX430" fmla="*/ 1095344 w 1176558"/>
                  <a:gd name="connsiteY430" fmla="*/ 1135648 h 1226256"/>
                  <a:gd name="connsiteX431" fmla="*/ 1087162 w 1176558"/>
                  <a:gd name="connsiteY431" fmla="*/ 1139436 h 1226256"/>
                  <a:gd name="connsiteX432" fmla="*/ 1080040 w 1176558"/>
                  <a:gd name="connsiteY432" fmla="*/ 1142011 h 1226256"/>
                  <a:gd name="connsiteX433" fmla="*/ 1076101 w 1176558"/>
                  <a:gd name="connsiteY433" fmla="*/ 1143830 h 1226256"/>
                  <a:gd name="connsiteX434" fmla="*/ 1074585 w 1176558"/>
                  <a:gd name="connsiteY434" fmla="*/ 1145345 h 1226256"/>
                  <a:gd name="connsiteX435" fmla="*/ 1074585 w 1176558"/>
                  <a:gd name="connsiteY435" fmla="*/ 1150042 h 1226256"/>
                  <a:gd name="connsiteX436" fmla="*/ 1076404 w 1176558"/>
                  <a:gd name="connsiteY436" fmla="*/ 1154588 h 1226256"/>
                  <a:gd name="connsiteX437" fmla="*/ 1079131 w 1176558"/>
                  <a:gd name="connsiteY437" fmla="*/ 1158224 h 1226256"/>
                  <a:gd name="connsiteX438" fmla="*/ 1100798 w 1176558"/>
                  <a:gd name="connsiteY438" fmla="*/ 1167467 h 1226256"/>
                  <a:gd name="connsiteX439" fmla="*/ 1104890 w 1176558"/>
                  <a:gd name="connsiteY439" fmla="*/ 1169437 h 1226256"/>
                  <a:gd name="connsiteX440" fmla="*/ 1104890 w 1176558"/>
                  <a:gd name="connsiteY440" fmla="*/ 1170194 h 1226256"/>
                  <a:gd name="connsiteX441" fmla="*/ 1103981 w 1176558"/>
                  <a:gd name="connsiteY441" fmla="*/ 1170800 h 1226256"/>
                  <a:gd name="connsiteX442" fmla="*/ 1102617 w 1176558"/>
                  <a:gd name="connsiteY442" fmla="*/ 1171255 h 1226256"/>
                  <a:gd name="connsiteX443" fmla="*/ 1101556 w 1176558"/>
                  <a:gd name="connsiteY443" fmla="*/ 1172164 h 1226256"/>
                  <a:gd name="connsiteX444" fmla="*/ 1099283 w 1176558"/>
                  <a:gd name="connsiteY444" fmla="*/ 1174892 h 1226256"/>
                  <a:gd name="connsiteX445" fmla="*/ 1097616 w 1176558"/>
                  <a:gd name="connsiteY445" fmla="*/ 1175498 h 1226256"/>
                  <a:gd name="connsiteX446" fmla="*/ 1097314 w 1176558"/>
                  <a:gd name="connsiteY446" fmla="*/ 1174437 h 1226256"/>
                  <a:gd name="connsiteX447" fmla="*/ 1097314 w 1176558"/>
                  <a:gd name="connsiteY447" fmla="*/ 1172315 h 1226256"/>
                  <a:gd name="connsiteX448" fmla="*/ 1096253 w 1176558"/>
                  <a:gd name="connsiteY448" fmla="*/ 1170346 h 1226256"/>
                  <a:gd name="connsiteX449" fmla="*/ 1094738 w 1176558"/>
                  <a:gd name="connsiteY449" fmla="*/ 1169134 h 1226256"/>
                  <a:gd name="connsiteX450" fmla="*/ 1089131 w 1176558"/>
                  <a:gd name="connsiteY450" fmla="*/ 1167467 h 1226256"/>
                  <a:gd name="connsiteX451" fmla="*/ 1085798 w 1176558"/>
                  <a:gd name="connsiteY451" fmla="*/ 1165346 h 1226256"/>
                  <a:gd name="connsiteX452" fmla="*/ 1083980 w 1176558"/>
                  <a:gd name="connsiteY452" fmla="*/ 1165952 h 1226256"/>
                  <a:gd name="connsiteX453" fmla="*/ 1082464 w 1176558"/>
                  <a:gd name="connsiteY453" fmla="*/ 1167770 h 1226256"/>
                  <a:gd name="connsiteX454" fmla="*/ 1079131 w 1176558"/>
                  <a:gd name="connsiteY454" fmla="*/ 1168225 h 1226256"/>
                  <a:gd name="connsiteX455" fmla="*/ 1074282 w 1176558"/>
                  <a:gd name="connsiteY455" fmla="*/ 1168073 h 1226256"/>
                  <a:gd name="connsiteX456" fmla="*/ 1072312 w 1176558"/>
                  <a:gd name="connsiteY456" fmla="*/ 1166861 h 1226256"/>
                  <a:gd name="connsiteX457" fmla="*/ 1072312 w 1176558"/>
                  <a:gd name="connsiteY457" fmla="*/ 1164285 h 1226256"/>
                  <a:gd name="connsiteX458" fmla="*/ 1068676 w 1176558"/>
                  <a:gd name="connsiteY458" fmla="*/ 1160649 h 1226256"/>
                  <a:gd name="connsiteX459" fmla="*/ 1064434 w 1176558"/>
                  <a:gd name="connsiteY459" fmla="*/ 1158982 h 1226256"/>
                  <a:gd name="connsiteX460" fmla="*/ 1061858 w 1176558"/>
                  <a:gd name="connsiteY460" fmla="*/ 1154133 h 1226256"/>
                  <a:gd name="connsiteX461" fmla="*/ 1066555 w 1176558"/>
                  <a:gd name="connsiteY461" fmla="*/ 1154133 h 1226256"/>
                  <a:gd name="connsiteX462" fmla="*/ 1068828 w 1176558"/>
                  <a:gd name="connsiteY462" fmla="*/ 1153375 h 1226256"/>
                  <a:gd name="connsiteX463" fmla="*/ 1067161 w 1176558"/>
                  <a:gd name="connsiteY463" fmla="*/ 1149891 h 1226256"/>
                  <a:gd name="connsiteX464" fmla="*/ 1064736 w 1176558"/>
                  <a:gd name="connsiteY464" fmla="*/ 1139890 h 1226256"/>
                  <a:gd name="connsiteX465" fmla="*/ 1062312 w 1176558"/>
                  <a:gd name="connsiteY465" fmla="*/ 1140951 h 1226256"/>
                  <a:gd name="connsiteX466" fmla="*/ 1060191 w 1176558"/>
                  <a:gd name="connsiteY466" fmla="*/ 1143678 h 1226256"/>
                  <a:gd name="connsiteX467" fmla="*/ 1061555 w 1176558"/>
                  <a:gd name="connsiteY467" fmla="*/ 1147315 h 1226256"/>
                  <a:gd name="connsiteX468" fmla="*/ 1055494 w 1176558"/>
                  <a:gd name="connsiteY468" fmla="*/ 1149587 h 1226256"/>
                  <a:gd name="connsiteX469" fmla="*/ 1055797 w 1176558"/>
                  <a:gd name="connsiteY469" fmla="*/ 1153830 h 1226256"/>
                  <a:gd name="connsiteX470" fmla="*/ 1055645 w 1176558"/>
                  <a:gd name="connsiteY470" fmla="*/ 1158072 h 1226256"/>
                  <a:gd name="connsiteX471" fmla="*/ 1058524 w 1176558"/>
                  <a:gd name="connsiteY471" fmla="*/ 1162921 h 1226256"/>
                  <a:gd name="connsiteX472" fmla="*/ 1061858 w 1176558"/>
                  <a:gd name="connsiteY472" fmla="*/ 1163679 h 1226256"/>
                  <a:gd name="connsiteX473" fmla="*/ 1064434 w 1176558"/>
                  <a:gd name="connsiteY473" fmla="*/ 1165194 h 1226256"/>
                  <a:gd name="connsiteX474" fmla="*/ 1066403 w 1176558"/>
                  <a:gd name="connsiteY474" fmla="*/ 1167770 h 1226256"/>
                  <a:gd name="connsiteX475" fmla="*/ 1071100 w 1176558"/>
                  <a:gd name="connsiteY475" fmla="*/ 1172013 h 1226256"/>
                  <a:gd name="connsiteX476" fmla="*/ 1070494 w 1176558"/>
                  <a:gd name="connsiteY476" fmla="*/ 1174134 h 1226256"/>
                  <a:gd name="connsiteX477" fmla="*/ 1067615 w 1176558"/>
                  <a:gd name="connsiteY477" fmla="*/ 1173073 h 1226256"/>
                  <a:gd name="connsiteX478" fmla="*/ 1063373 w 1176558"/>
                  <a:gd name="connsiteY478" fmla="*/ 1173225 h 1226256"/>
                  <a:gd name="connsiteX479" fmla="*/ 1059888 w 1176558"/>
                  <a:gd name="connsiteY479" fmla="*/ 1172467 h 1226256"/>
                  <a:gd name="connsiteX480" fmla="*/ 1060191 w 1176558"/>
                  <a:gd name="connsiteY480" fmla="*/ 1169740 h 1226256"/>
                  <a:gd name="connsiteX481" fmla="*/ 1059888 w 1176558"/>
                  <a:gd name="connsiteY481" fmla="*/ 1167315 h 1226256"/>
                  <a:gd name="connsiteX482" fmla="*/ 1057160 w 1176558"/>
                  <a:gd name="connsiteY482" fmla="*/ 1166558 h 1226256"/>
                  <a:gd name="connsiteX483" fmla="*/ 1054433 w 1176558"/>
                  <a:gd name="connsiteY483" fmla="*/ 1167012 h 1226256"/>
                  <a:gd name="connsiteX484" fmla="*/ 1053676 w 1176558"/>
                  <a:gd name="connsiteY484" fmla="*/ 1167922 h 1226256"/>
                  <a:gd name="connsiteX485" fmla="*/ 1053221 w 1176558"/>
                  <a:gd name="connsiteY485" fmla="*/ 1169285 h 1226256"/>
                  <a:gd name="connsiteX486" fmla="*/ 1052615 w 1176558"/>
                  <a:gd name="connsiteY486" fmla="*/ 1170043 h 1226256"/>
                  <a:gd name="connsiteX487" fmla="*/ 1049584 w 1176558"/>
                  <a:gd name="connsiteY487" fmla="*/ 1170952 h 1226256"/>
                  <a:gd name="connsiteX488" fmla="*/ 1047463 w 1176558"/>
                  <a:gd name="connsiteY488" fmla="*/ 1171255 h 1226256"/>
                  <a:gd name="connsiteX489" fmla="*/ 1042160 w 1176558"/>
                  <a:gd name="connsiteY489" fmla="*/ 1169134 h 1226256"/>
                  <a:gd name="connsiteX490" fmla="*/ 1041099 w 1176558"/>
                  <a:gd name="connsiteY490" fmla="*/ 1169285 h 1226256"/>
                  <a:gd name="connsiteX491" fmla="*/ 1038220 w 1176558"/>
                  <a:gd name="connsiteY491" fmla="*/ 1170952 h 1226256"/>
                  <a:gd name="connsiteX492" fmla="*/ 1036251 w 1176558"/>
                  <a:gd name="connsiteY492" fmla="*/ 1172922 h 1226256"/>
                  <a:gd name="connsiteX493" fmla="*/ 1035341 w 1176558"/>
                  <a:gd name="connsiteY493" fmla="*/ 1172922 h 1226256"/>
                  <a:gd name="connsiteX494" fmla="*/ 1032311 w 1176558"/>
                  <a:gd name="connsiteY494" fmla="*/ 1170952 h 1226256"/>
                  <a:gd name="connsiteX495" fmla="*/ 1030038 w 1176558"/>
                  <a:gd name="connsiteY495" fmla="*/ 1170649 h 1226256"/>
                  <a:gd name="connsiteX496" fmla="*/ 1029432 w 1176558"/>
                  <a:gd name="connsiteY496" fmla="*/ 1172164 h 1226256"/>
                  <a:gd name="connsiteX497" fmla="*/ 1027159 w 1176558"/>
                  <a:gd name="connsiteY497" fmla="*/ 1172922 h 1226256"/>
                  <a:gd name="connsiteX498" fmla="*/ 1026553 w 1176558"/>
                  <a:gd name="connsiteY498" fmla="*/ 1174134 h 1226256"/>
                  <a:gd name="connsiteX499" fmla="*/ 1027311 w 1176558"/>
                  <a:gd name="connsiteY499" fmla="*/ 1176861 h 1226256"/>
                  <a:gd name="connsiteX500" fmla="*/ 1029281 w 1176558"/>
                  <a:gd name="connsiteY500" fmla="*/ 1177770 h 1226256"/>
                  <a:gd name="connsiteX501" fmla="*/ 1040039 w 1176558"/>
                  <a:gd name="connsiteY501" fmla="*/ 1177467 h 1226256"/>
                  <a:gd name="connsiteX502" fmla="*/ 1045796 w 1176558"/>
                  <a:gd name="connsiteY502" fmla="*/ 1180346 h 1226256"/>
                  <a:gd name="connsiteX503" fmla="*/ 1054130 w 1176558"/>
                  <a:gd name="connsiteY503" fmla="*/ 1181104 h 1226256"/>
                  <a:gd name="connsiteX504" fmla="*/ 1059282 w 1176558"/>
                  <a:gd name="connsiteY504" fmla="*/ 1182468 h 1226256"/>
                  <a:gd name="connsiteX505" fmla="*/ 1065797 w 1176558"/>
                  <a:gd name="connsiteY505" fmla="*/ 1184740 h 1226256"/>
                  <a:gd name="connsiteX506" fmla="*/ 1071707 w 1176558"/>
                  <a:gd name="connsiteY506" fmla="*/ 1182619 h 1226256"/>
                  <a:gd name="connsiteX507" fmla="*/ 1072312 w 1176558"/>
                  <a:gd name="connsiteY507" fmla="*/ 1182770 h 1226256"/>
                  <a:gd name="connsiteX508" fmla="*/ 1072919 w 1176558"/>
                  <a:gd name="connsiteY508" fmla="*/ 1183528 h 1226256"/>
                  <a:gd name="connsiteX509" fmla="*/ 1075646 w 1176558"/>
                  <a:gd name="connsiteY509" fmla="*/ 1185043 h 1226256"/>
                  <a:gd name="connsiteX510" fmla="*/ 1078525 w 1176558"/>
                  <a:gd name="connsiteY510" fmla="*/ 1184892 h 1226256"/>
                  <a:gd name="connsiteX511" fmla="*/ 1082161 w 1176558"/>
                  <a:gd name="connsiteY511" fmla="*/ 1183680 h 1226256"/>
                  <a:gd name="connsiteX512" fmla="*/ 1085192 w 1176558"/>
                  <a:gd name="connsiteY512" fmla="*/ 1182164 h 1226256"/>
                  <a:gd name="connsiteX513" fmla="*/ 1151406 w 1176558"/>
                  <a:gd name="connsiteY513" fmla="*/ 1215347 h 1226256"/>
                  <a:gd name="connsiteX514" fmla="*/ 1150800 w 1176558"/>
                  <a:gd name="connsiteY514" fmla="*/ 1214438 h 1226256"/>
                  <a:gd name="connsiteX515" fmla="*/ 1150194 w 1176558"/>
                  <a:gd name="connsiteY515" fmla="*/ 1214287 h 1226256"/>
                  <a:gd name="connsiteX516" fmla="*/ 1148831 w 1176558"/>
                  <a:gd name="connsiteY516" fmla="*/ 1216408 h 1226256"/>
                  <a:gd name="connsiteX517" fmla="*/ 1147012 w 1176558"/>
                  <a:gd name="connsiteY517" fmla="*/ 1217166 h 1226256"/>
                  <a:gd name="connsiteX518" fmla="*/ 1146103 w 1176558"/>
                  <a:gd name="connsiteY518" fmla="*/ 1217923 h 1226256"/>
                  <a:gd name="connsiteX519" fmla="*/ 1145649 w 1176558"/>
                  <a:gd name="connsiteY519" fmla="*/ 1218832 h 1226256"/>
                  <a:gd name="connsiteX520" fmla="*/ 1145800 w 1176558"/>
                  <a:gd name="connsiteY520" fmla="*/ 1219439 h 1226256"/>
                  <a:gd name="connsiteX521" fmla="*/ 1150346 w 1176558"/>
                  <a:gd name="connsiteY521" fmla="*/ 1220499 h 1226256"/>
                  <a:gd name="connsiteX522" fmla="*/ 1151406 w 1176558"/>
                  <a:gd name="connsiteY522" fmla="*/ 1220954 h 1226256"/>
                  <a:gd name="connsiteX523" fmla="*/ 1152164 w 1176558"/>
                  <a:gd name="connsiteY523" fmla="*/ 1221711 h 1226256"/>
                  <a:gd name="connsiteX524" fmla="*/ 1153225 w 1176558"/>
                  <a:gd name="connsiteY524" fmla="*/ 1221408 h 1226256"/>
                  <a:gd name="connsiteX525" fmla="*/ 1153831 w 1176558"/>
                  <a:gd name="connsiteY525" fmla="*/ 1220802 h 1226256"/>
                  <a:gd name="connsiteX526" fmla="*/ 1153982 w 1176558"/>
                  <a:gd name="connsiteY526" fmla="*/ 1220044 h 1226256"/>
                  <a:gd name="connsiteX527" fmla="*/ 1152619 w 1176558"/>
                  <a:gd name="connsiteY527" fmla="*/ 1217923 h 1226256"/>
                  <a:gd name="connsiteX528" fmla="*/ 1151406 w 1176558"/>
                  <a:gd name="connsiteY528" fmla="*/ 1215347 h 1226256"/>
                  <a:gd name="connsiteX529" fmla="*/ 1131254 w 1176558"/>
                  <a:gd name="connsiteY529" fmla="*/ 1210347 h 1226256"/>
                  <a:gd name="connsiteX530" fmla="*/ 1129587 w 1176558"/>
                  <a:gd name="connsiteY530" fmla="*/ 1208832 h 1226256"/>
                  <a:gd name="connsiteX531" fmla="*/ 1125345 w 1176558"/>
                  <a:gd name="connsiteY531" fmla="*/ 1205802 h 1226256"/>
                  <a:gd name="connsiteX532" fmla="*/ 1124739 w 1176558"/>
                  <a:gd name="connsiteY532" fmla="*/ 1204892 h 1226256"/>
                  <a:gd name="connsiteX533" fmla="*/ 1124890 w 1176558"/>
                  <a:gd name="connsiteY533" fmla="*/ 1203983 h 1226256"/>
                  <a:gd name="connsiteX534" fmla="*/ 1125951 w 1176558"/>
                  <a:gd name="connsiteY534" fmla="*/ 1202014 h 1226256"/>
                  <a:gd name="connsiteX535" fmla="*/ 1124587 w 1176558"/>
                  <a:gd name="connsiteY535" fmla="*/ 1200650 h 1226256"/>
                  <a:gd name="connsiteX536" fmla="*/ 1123223 w 1176558"/>
                  <a:gd name="connsiteY536" fmla="*/ 1199589 h 1226256"/>
                  <a:gd name="connsiteX537" fmla="*/ 1117617 w 1176558"/>
                  <a:gd name="connsiteY537" fmla="*/ 1199135 h 1226256"/>
                  <a:gd name="connsiteX538" fmla="*/ 1116860 w 1176558"/>
                  <a:gd name="connsiteY538" fmla="*/ 1198226 h 1226256"/>
                  <a:gd name="connsiteX539" fmla="*/ 1117314 w 1176558"/>
                  <a:gd name="connsiteY539" fmla="*/ 1197165 h 1226256"/>
                  <a:gd name="connsiteX540" fmla="*/ 1122769 w 1176558"/>
                  <a:gd name="connsiteY540" fmla="*/ 1193832 h 1226256"/>
                  <a:gd name="connsiteX541" fmla="*/ 1121102 w 1176558"/>
                  <a:gd name="connsiteY541" fmla="*/ 1190650 h 1226256"/>
                  <a:gd name="connsiteX542" fmla="*/ 1115799 w 1176558"/>
                  <a:gd name="connsiteY542" fmla="*/ 1190650 h 1226256"/>
                  <a:gd name="connsiteX543" fmla="*/ 1108980 w 1176558"/>
                  <a:gd name="connsiteY543" fmla="*/ 1192923 h 1226256"/>
                  <a:gd name="connsiteX544" fmla="*/ 1087010 w 1176558"/>
                  <a:gd name="connsiteY544" fmla="*/ 1189135 h 1226256"/>
                  <a:gd name="connsiteX545" fmla="*/ 1082010 w 1176558"/>
                  <a:gd name="connsiteY545" fmla="*/ 1187771 h 1226256"/>
                  <a:gd name="connsiteX546" fmla="*/ 1080949 w 1176558"/>
                  <a:gd name="connsiteY546" fmla="*/ 1194589 h 1226256"/>
                  <a:gd name="connsiteX547" fmla="*/ 1080192 w 1176558"/>
                  <a:gd name="connsiteY547" fmla="*/ 1196559 h 1226256"/>
                  <a:gd name="connsiteX548" fmla="*/ 1079131 w 1176558"/>
                  <a:gd name="connsiteY548" fmla="*/ 1197316 h 1226256"/>
                  <a:gd name="connsiteX549" fmla="*/ 1079283 w 1176558"/>
                  <a:gd name="connsiteY549" fmla="*/ 1197922 h 1226256"/>
                  <a:gd name="connsiteX550" fmla="*/ 1081858 w 1176558"/>
                  <a:gd name="connsiteY550" fmla="*/ 1198983 h 1226256"/>
                  <a:gd name="connsiteX551" fmla="*/ 1082464 w 1176558"/>
                  <a:gd name="connsiteY551" fmla="*/ 1199589 h 1226256"/>
                  <a:gd name="connsiteX552" fmla="*/ 1082767 w 1176558"/>
                  <a:gd name="connsiteY552" fmla="*/ 1200650 h 1226256"/>
                  <a:gd name="connsiteX553" fmla="*/ 1083525 w 1176558"/>
                  <a:gd name="connsiteY553" fmla="*/ 1201256 h 1226256"/>
                  <a:gd name="connsiteX554" fmla="*/ 1087465 w 1176558"/>
                  <a:gd name="connsiteY554" fmla="*/ 1200650 h 1226256"/>
                  <a:gd name="connsiteX555" fmla="*/ 1088071 w 1176558"/>
                  <a:gd name="connsiteY555" fmla="*/ 1201104 h 1226256"/>
                  <a:gd name="connsiteX556" fmla="*/ 1088071 w 1176558"/>
                  <a:gd name="connsiteY556" fmla="*/ 1203680 h 1226256"/>
                  <a:gd name="connsiteX557" fmla="*/ 1088374 w 1176558"/>
                  <a:gd name="connsiteY557" fmla="*/ 1204589 h 1226256"/>
                  <a:gd name="connsiteX558" fmla="*/ 1089283 w 1176558"/>
                  <a:gd name="connsiteY558" fmla="*/ 1205347 h 1226256"/>
                  <a:gd name="connsiteX559" fmla="*/ 1092010 w 1176558"/>
                  <a:gd name="connsiteY559" fmla="*/ 1206559 h 1226256"/>
                  <a:gd name="connsiteX560" fmla="*/ 1093526 w 1176558"/>
                  <a:gd name="connsiteY560" fmla="*/ 1208529 h 1226256"/>
                  <a:gd name="connsiteX561" fmla="*/ 1094738 w 1176558"/>
                  <a:gd name="connsiteY561" fmla="*/ 1209287 h 1226256"/>
                  <a:gd name="connsiteX562" fmla="*/ 1099435 w 1176558"/>
                  <a:gd name="connsiteY562" fmla="*/ 1210499 h 1226256"/>
                  <a:gd name="connsiteX563" fmla="*/ 1101102 w 1176558"/>
                  <a:gd name="connsiteY563" fmla="*/ 1210499 h 1226256"/>
                  <a:gd name="connsiteX564" fmla="*/ 1097920 w 1176558"/>
                  <a:gd name="connsiteY564" fmla="*/ 1206408 h 1226256"/>
                  <a:gd name="connsiteX565" fmla="*/ 1096253 w 1176558"/>
                  <a:gd name="connsiteY565" fmla="*/ 1203832 h 1226256"/>
                  <a:gd name="connsiteX566" fmla="*/ 1096404 w 1176558"/>
                  <a:gd name="connsiteY566" fmla="*/ 1202771 h 1226256"/>
                  <a:gd name="connsiteX567" fmla="*/ 1098071 w 1176558"/>
                  <a:gd name="connsiteY567" fmla="*/ 1198680 h 1226256"/>
                  <a:gd name="connsiteX568" fmla="*/ 1100950 w 1176558"/>
                  <a:gd name="connsiteY568" fmla="*/ 1198983 h 1226256"/>
                  <a:gd name="connsiteX569" fmla="*/ 1102162 w 1176558"/>
                  <a:gd name="connsiteY569" fmla="*/ 1199438 h 1226256"/>
                  <a:gd name="connsiteX570" fmla="*/ 1105041 w 1176558"/>
                  <a:gd name="connsiteY570" fmla="*/ 1201711 h 1226256"/>
                  <a:gd name="connsiteX571" fmla="*/ 1106102 w 1176558"/>
                  <a:gd name="connsiteY571" fmla="*/ 1202165 h 1226256"/>
                  <a:gd name="connsiteX572" fmla="*/ 1108678 w 1176558"/>
                  <a:gd name="connsiteY572" fmla="*/ 1201559 h 1226256"/>
                  <a:gd name="connsiteX573" fmla="*/ 1109284 w 1176558"/>
                  <a:gd name="connsiteY573" fmla="*/ 1201711 h 1226256"/>
                  <a:gd name="connsiteX574" fmla="*/ 1109284 w 1176558"/>
                  <a:gd name="connsiteY574" fmla="*/ 1202620 h 1226256"/>
                  <a:gd name="connsiteX575" fmla="*/ 1108071 w 1176558"/>
                  <a:gd name="connsiteY575" fmla="*/ 1205802 h 1226256"/>
                  <a:gd name="connsiteX576" fmla="*/ 1108071 w 1176558"/>
                  <a:gd name="connsiteY576" fmla="*/ 1206711 h 1226256"/>
                  <a:gd name="connsiteX577" fmla="*/ 1108980 w 1176558"/>
                  <a:gd name="connsiteY577" fmla="*/ 1208680 h 1226256"/>
                  <a:gd name="connsiteX578" fmla="*/ 1109738 w 1176558"/>
                  <a:gd name="connsiteY578" fmla="*/ 1209741 h 1226256"/>
                  <a:gd name="connsiteX579" fmla="*/ 1112011 w 1176558"/>
                  <a:gd name="connsiteY579" fmla="*/ 1209135 h 1226256"/>
                  <a:gd name="connsiteX580" fmla="*/ 1114587 w 1176558"/>
                  <a:gd name="connsiteY580" fmla="*/ 1209741 h 1226256"/>
                  <a:gd name="connsiteX581" fmla="*/ 1117314 w 1176558"/>
                  <a:gd name="connsiteY581" fmla="*/ 1209590 h 1226256"/>
                  <a:gd name="connsiteX582" fmla="*/ 1120799 w 1176558"/>
                  <a:gd name="connsiteY582" fmla="*/ 1211105 h 1226256"/>
                  <a:gd name="connsiteX583" fmla="*/ 1124284 w 1176558"/>
                  <a:gd name="connsiteY583" fmla="*/ 1211711 h 1226256"/>
                  <a:gd name="connsiteX584" fmla="*/ 1125496 w 1176558"/>
                  <a:gd name="connsiteY584" fmla="*/ 1212317 h 1226256"/>
                  <a:gd name="connsiteX585" fmla="*/ 1127315 w 1176558"/>
                  <a:gd name="connsiteY585" fmla="*/ 1215347 h 1226256"/>
                  <a:gd name="connsiteX586" fmla="*/ 1129284 w 1176558"/>
                  <a:gd name="connsiteY586" fmla="*/ 1216560 h 1226256"/>
                  <a:gd name="connsiteX587" fmla="*/ 1131254 w 1176558"/>
                  <a:gd name="connsiteY587" fmla="*/ 1217166 h 1226256"/>
                  <a:gd name="connsiteX588" fmla="*/ 1132163 w 1176558"/>
                  <a:gd name="connsiteY588" fmla="*/ 1216863 h 1226256"/>
                  <a:gd name="connsiteX589" fmla="*/ 1132163 w 1176558"/>
                  <a:gd name="connsiteY589" fmla="*/ 1214742 h 1226256"/>
                  <a:gd name="connsiteX590" fmla="*/ 1131860 w 1176558"/>
                  <a:gd name="connsiteY590" fmla="*/ 1212014 h 1226256"/>
                  <a:gd name="connsiteX591" fmla="*/ 1131254 w 1176558"/>
                  <a:gd name="connsiteY591" fmla="*/ 1210347 h 1226256"/>
                  <a:gd name="connsiteX592" fmla="*/ 1174134 w 1176558"/>
                  <a:gd name="connsiteY592" fmla="*/ 1198377 h 1226256"/>
                  <a:gd name="connsiteX593" fmla="*/ 1173680 w 1176558"/>
                  <a:gd name="connsiteY593" fmla="*/ 1198529 h 1226256"/>
                  <a:gd name="connsiteX594" fmla="*/ 1172165 w 1176558"/>
                  <a:gd name="connsiteY594" fmla="*/ 1199438 h 1226256"/>
                  <a:gd name="connsiteX595" fmla="*/ 1171407 w 1176558"/>
                  <a:gd name="connsiteY595" fmla="*/ 1200195 h 1226256"/>
                  <a:gd name="connsiteX596" fmla="*/ 1171104 w 1176558"/>
                  <a:gd name="connsiteY596" fmla="*/ 1200953 h 1226256"/>
                  <a:gd name="connsiteX597" fmla="*/ 1171256 w 1176558"/>
                  <a:gd name="connsiteY597" fmla="*/ 1201711 h 1226256"/>
                  <a:gd name="connsiteX598" fmla="*/ 1171710 w 1176558"/>
                  <a:gd name="connsiteY598" fmla="*/ 1202317 h 1226256"/>
                  <a:gd name="connsiteX599" fmla="*/ 1173377 w 1176558"/>
                  <a:gd name="connsiteY599" fmla="*/ 1202468 h 1226256"/>
                  <a:gd name="connsiteX600" fmla="*/ 1175498 w 1176558"/>
                  <a:gd name="connsiteY600" fmla="*/ 1200801 h 1226256"/>
                  <a:gd name="connsiteX601" fmla="*/ 1176559 w 1176558"/>
                  <a:gd name="connsiteY601" fmla="*/ 1199286 h 1226256"/>
                  <a:gd name="connsiteX602" fmla="*/ 1174134 w 1176558"/>
                  <a:gd name="connsiteY602" fmla="*/ 1198377 h 1226256"/>
                  <a:gd name="connsiteX603" fmla="*/ 1151103 w 1176558"/>
                  <a:gd name="connsiteY603" fmla="*/ 151975 h 1226256"/>
                  <a:gd name="connsiteX604" fmla="*/ 1145194 w 1176558"/>
                  <a:gd name="connsiteY604" fmla="*/ 153036 h 1226256"/>
                  <a:gd name="connsiteX605" fmla="*/ 1141709 w 1176558"/>
                  <a:gd name="connsiteY605" fmla="*/ 153036 h 1226256"/>
                  <a:gd name="connsiteX606" fmla="*/ 1139285 w 1176558"/>
                  <a:gd name="connsiteY606" fmla="*/ 152733 h 1226256"/>
                  <a:gd name="connsiteX607" fmla="*/ 1138527 w 1176558"/>
                  <a:gd name="connsiteY607" fmla="*/ 152127 h 1226256"/>
                  <a:gd name="connsiteX608" fmla="*/ 1136860 w 1176558"/>
                  <a:gd name="connsiteY608" fmla="*/ 151066 h 1226256"/>
                  <a:gd name="connsiteX609" fmla="*/ 1136557 w 1176558"/>
                  <a:gd name="connsiteY609" fmla="*/ 150006 h 1226256"/>
                  <a:gd name="connsiteX610" fmla="*/ 1136557 w 1176558"/>
                  <a:gd name="connsiteY610" fmla="*/ 148490 h 1226256"/>
                  <a:gd name="connsiteX611" fmla="*/ 1137012 w 1176558"/>
                  <a:gd name="connsiteY611" fmla="*/ 145611 h 1226256"/>
                  <a:gd name="connsiteX612" fmla="*/ 1136860 w 1176558"/>
                  <a:gd name="connsiteY612" fmla="*/ 141672 h 1226256"/>
                  <a:gd name="connsiteX613" fmla="*/ 1135042 w 1176558"/>
                  <a:gd name="connsiteY613" fmla="*/ 137126 h 1226256"/>
                  <a:gd name="connsiteX614" fmla="*/ 1135194 w 1176558"/>
                  <a:gd name="connsiteY614" fmla="*/ 135611 h 1226256"/>
                  <a:gd name="connsiteX615" fmla="*/ 1134891 w 1176558"/>
                  <a:gd name="connsiteY615" fmla="*/ 133338 h 1226256"/>
                  <a:gd name="connsiteX616" fmla="*/ 1133982 w 1176558"/>
                  <a:gd name="connsiteY616" fmla="*/ 129096 h 1226256"/>
                  <a:gd name="connsiteX617" fmla="*/ 1131557 w 1176558"/>
                  <a:gd name="connsiteY617" fmla="*/ 126974 h 1226256"/>
                  <a:gd name="connsiteX618" fmla="*/ 1130800 w 1176558"/>
                  <a:gd name="connsiteY618" fmla="*/ 123489 h 1226256"/>
                  <a:gd name="connsiteX619" fmla="*/ 1130497 w 1176558"/>
                  <a:gd name="connsiteY619" fmla="*/ 120459 h 1226256"/>
                  <a:gd name="connsiteX620" fmla="*/ 1128527 w 1176558"/>
                  <a:gd name="connsiteY620" fmla="*/ 116671 h 1226256"/>
                  <a:gd name="connsiteX621" fmla="*/ 1128224 w 1176558"/>
                  <a:gd name="connsiteY621" fmla="*/ 111822 h 1226256"/>
                  <a:gd name="connsiteX622" fmla="*/ 1128224 w 1176558"/>
                  <a:gd name="connsiteY622" fmla="*/ 107580 h 1226256"/>
                  <a:gd name="connsiteX623" fmla="*/ 1125042 w 1176558"/>
                  <a:gd name="connsiteY623" fmla="*/ 102731 h 1226256"/>
                  <a:gd name="connsiteX624" fmla="*/ 1121708 w 1176558"/>
                  <a:gd name="connsiteY624" fmla="*/ 97579 h 1226256"/>
                  <a:gd name="connsiteX625" fmla="*/ 1118981 w 1176558"/>
                  <a:gd name="connsiteY625" fmla="*/ 96822 h 1226256"/>
                  <a:gd name="connsiteX626" fmla="*/ 1118375 w 1176558"/>
                  <a:gd name="connsiteY626" fmla="*/ 96216 h 1226256"/>
                  <a:gd name="connsiteX627" fmla="*/ 1118072 w 1176558"/>
                  <a:gd name="connsiteY627" fmla="*/ 94700 h 1226256"/>
                  <a:gd name="connsiteX628" fmla="*/ 1118072 w 1176558"/>
                  <a:gd name="connsiteY628" fmla="*/ 92428 h 1226256"/>
                  <a:gd name="connsiteX629" fmla="*/ 1118223 w 1176558"/>
                  <a:gd name="connsiteY629" fmla="*/ 91064 h 1226256"/>
                  <a:gd name="connsiteX630" fmla="*/ 1120345 w 1176558"/>
                  <a:gd name="connsiteY630" fmla="*/ 88791 h 1226256"/>
                  <a:gd name="connsiteX631" fmla="*/ 1120496 w 1176558"/>
                  <a:gd name="connsiteY631" fmla="*/ 88488 h 1226256"/>
                  <a:gd name="connsiteX632" fmla="*/ 1120042 w 1176558"/>
                  <a:gd name="connsiteY632" fmla="*/ 88033 h 1226256"/>
                  <a:gd name="connsiteX633" fmla="*/ 1114738 w 1176558"/>
                  <a:gd name="connsiteY633" fmla="*/ 84700 h 1226256"/>
                  <a:gd name="connsiteX634" fmla="*/ 1113375 w 1176558"/>
                  <a:gd name="connsiteY634" fmla="*/ 83791 h 1226256"/>
                  <a:gd name="connsiteX635" fmla="*/ 1112920 w 1176558"/>
                  <a:gd name="connsiteY635" fmla="*/ 82579 h 1226256"/>
                  <a:gd name="connsiteX636" fmla="*/ 1112920 w 1176558"/>
                  <a:gd name="connsiteY636" fmla="*/ 81518 h 1226256"/>
                  <a:gd name="connsiteX637" fmla="*/ 1114132 w 1176558"/>
                  <a:gd name="connsiteY637" fmla="*/ 80457 h 1226256"/>
                  <a:gd name="connsiteX638" fmla="*/ 1114738 w 1176558"/>
                  <a:gd name="connsiteY638" fmla="*/ 79700 h 1226256"/>
                  <a:gd name="connsiteX639" fmla="*/ 1113526 w 1176558"/>
                  <a:gd name="connsiteY639" fmla="*/ 77276 h 1226256"/>
                  <a:gd name="connsiteX640" fmla="*/ 1113678 w 1176558"/>
                  <a:gd name="connsiteY640" fmla="*/ 75154 h 1226256"/>
                  <a:gd name="connsiteX641" fmla="*/ 1112920 w 1176558"/>
                  <a:gd name="connsiteY641" fmla="*/ 74245 h 1226256"/>
                  <a:gd name="connsiteX642" fmla="*/ 1113072 w 1176558"/>
                  <a:gd name="connsiteY642" fmla="*/ 73488 h 1226256"/>
                  <a:gd name="connsiteX643" fmla="*/ 1113829 w 1176558"/>
                  <a:gd name="connsiteY643" fmla="*/ 72881 h 1226256"/>
                  <a:gd name="connsiteX644" fmla="*/ 1117314 w 1176558"/>
                  <a:gd name="connsiteY644" fmla="*/ 72124 h 1226256"/>
                  <a:gd name="connsiteX645" fmla="*/ 1118375 w 1176558"/>
                  <a:gd name="connsiteY645" fmla="*/ 69851 h 1226256"/>
                  <a:gd name="connsiteX646" fmla="*/ 1118375 w 1176558"/>
                  <a:gd name="connsiteY646" fmla="*/ 68033 h 1226256"/>
                  <a:gd name="connsiteX647" fmla="*/ 1117920 w 1176558"/>
                  <a:gd name="connsiteY647" fmla="*/ 66669 h 1226256"/>
                  <a:gd name="connsiteX648" fmla="*/ 1114738 w 1176558"/>
                  <a:gd name="connsiteY648" fmla="*/ 63336 h 1226256"/>
                  <a:gd name="connsiteX649" fmla="*/ 1114738 w 1176558"/>
                  <a:gd name="connsiteY649" fmla="*/ 62730 h 1226256"/>
                  <a:gd name="connsiteX650" fmla="*/ 1118072 w 1176558"/>
                  <a:gd name="connsiteY650" fmla="*/ 58184 h 1226256"/>
                  <a:gd name="connsiteX651" fmla="*/ 1120496 w 1176558"/>
                  <a:gd name="connsiteY651" fmla="*/ 55154 h 1226256"/>
                  <a:gd name="connsiteX652" fmla="*/ 1121102 w 1176558"/>
                  <a:gd name="connsiteY652" fmla="*/ 54548 h 1226256"/>
                  <a:gd name="connsiteX653" fmla="*/ 1120951 w 1176558"/>
                  <a:gd name="connsiteY653" fmla="*/ 53941 h 1226256"/>
                  <a:gd name="connsiteX654" fmla="*/ 1120345 w 1176558"/>
                  <a:gd name="connsiteY654" fmla="*/ 53184 h 1226256"/>
                  <a:gd name="connsiteX655" fmla="*/ 1118829 w 1176558"/>
                  <a:gd name="connsiteY655" fmla="*/ 51972 h 1226256"/>
                  <a:gd name="connsiteX656" fmla="*/ 1116860 w 1176558"/>
                  <a:gd name="connsiteY656" fmla="*/ 50760 h 1226256"/>
                  <a:gd name="connsiteX657" fmla="*/ 1115193 w 1176558"/>
                  <a:gd name="connsiteY657" fmla="*/ 49244 h 1226256"/>
                  <a:gd name="connsiteX658" fmla="*/ 1113072 w 1176558"/>
                  <a:gd name="connsiteY658" fmla="*/ 46972 h 1226256"/>
                  <a:gd name="connsiteX659" fmla="*/ 1110344 w 1176558"/>
                  <a:gd name="connsiteY659" fmla="*/ 45002 h 1226256"/>
                  <a:gd name="connsiteX660" fmla="*/ 1108375 w 1176558"/>
                  <a:gd name="connsiteY660" fmla="*/ 43032 h 1226256"/>
                  <a:gd name="connsiteX661" fmla="*/ 1107314 w 1176558"/>
                  <a:gd name="connsiteY661" fmla="*/ 41365 h 1226256"/>
                  <a:gd name="connsiteX662" fmla="*/ 1107314 w 1176558"/>
                  <a:gd name="connsiteY662" fmla="*/ 39698 h 1226256"/>
                  <a:gd name="connsiteX663" fmla="*/ 1107011 w 1176558"/>
                  <a:gd name="connsiteY663" fmla="*/ 36971 h 1226256"/>
                  <a:gd name="connsiteX664" fmla="*/ 1105647 w 1176558"/>
                  <a:gd name="connsiteY664" fmla="*/ 32577 h 1226256"/>
                  <a:gd name="connsiteX665" fmla="*/ 1105344 w 1176558"/>
                  <a:gd name="connsiteY665" fmla="*/ 29546 h 1226256"/>
                  <a:gd name="connsiteX666" fmla="*/ 1104738 w 1176558"/>
                  <a:gd name="connsiteY666" fmla="*/ 26213 h 1226256"/>
                  <a:gd name="connsiteX667" fmla="*/ 1104132 w 1176558"/>
                  <a:gd name="connsiteY667" fmla="*/ 24092 h 1226256"/>
                  <a:gd name="connsiteX668" fmla="*/ 1103829 w 1176558"/>
                  <a:gd name="connsiteY668" fmla="*/ 21970 h 1226256"/>
                  <a:gd name="connsiteX669" fmla="*/ 1102920 w 1176558"/>
                  <a:gd name="connsiteY669" fmla="*/ 19698 h 1226256"/>
                  <a:gd name="connsiteX670" fmla="*/ 1102465 w 1176558"/>
                  <a:gd name="connsiteY670" fmla="*/ 18031 h 1226256"/>
                  <a:gd name="connsiteX671" fmla="*/ 1103223 w 1176558"/>
                  <a:gd name="connsiteY671" fmla="*/ 16819 h 1226256"/>
                  <a:gd name="connsiteX672" fmla="*/ 1103981 w 1176558"/>
                  <a:gd name="connsiteY672" fmla="*/ 15910 h 1226256"/>
                  <a:gd name="connsiteX673" fmla="*/ 1103829 w 1176558"/>
                  <a:gd name="connsiteY673" fmla="*/ 15304 h 1226256"/>
                  <a:gd name="connsiteX674" fmla="*/ 1098677 w 1176558"/>
                  <a:gd name="connsiteY674" fmla="*/ 12879 h 1226256"/>
                  <a:gd name="connsiteX675" fmla="*/ 1097768 w 1176558"/>
                  <a:gd name="connsiteY675" fmla="*/ 12273 h 1226256"/>
                  <a:gd name="connsiteX676" fmla="*/ 1096556 w 1176558"/>
                  <a:gd name="connsiteY676" fmla="*/ 7425 h 1226256"/>
                  <a:gd name="connsiteX677" fmla="*/ 1092768 w 1176558"/>
                  <a:gd name="connsiteY677" fmla="*/ 3182 h 1226256"/>
                  <a:gd name="connsiteX678" fmla="*/ 1092313 w 1176558"/>
                  <a:gd name="connsiteY678" fmla="*/ 0 h 1226256"/>
                  <a:gd name="connsiteX679" fmla="*/ 1090192 w 1176558"/>
                  <a:gd name="connsiteY679" fmla="*/ 1818 h 1226256"/>
                  <a:gd name="connsiteX680" fmla="*/ 1087465 w 1176558"/>
                  <a:gd name="connsiteY680" fmla="*/ 3940 h 1226256"/>
                  <a:gd name="connsiteX681" fmla="*/ 1084131 w 1176558"/>
                  <a:gd name="connsiteY681" fmla="*/ 4394 h 1226256"/>
                  <a:gd name="connsiteX682" fmla="*/ 1082919 w 1176558"/>
                  <a:gd name="connsiteY682" fmla="*/ 5455 h 1226256"/>
                  <a:gd name="connsiteX683" fmla="*/ 1083222 w 1176558"/>
                  <a:gd name="connsiteY683" fmla="*/ 7728 h 1226256"/>
                  <a:gd name="connsiteX684" fmla="*/ 1084283 w 1176558"/>
                  <a:gd name="connsiteY684" fmla="*/ 10910 h 1226256"/>
                  <a:gd name="connsiteX685" fmla="*/ 1084283 w 1176558"/>
                  <a:gd name="connsiteY685" fmla="*/ 13485 h 1226256"/>
                  <a:gd name="connsiteX686" fmla="*/ 1083222 w 1176558"/>
                  <a:gd name="connsiteY686" fmla="*/ 16364 h 1226256"/>
                  <a:gd name="connsiteX687" fmla="*/ 1080798 w 1176558"/>
                  <a:gd name="connsiteY687" fmla="*/ 19546 h 1226256"/>
                  <a:gd name="connsiteX688" fmla="*/ 1077161 w 1176558"/>
                  <a:gd name="connsiteY688" fmla="*/ 21668 h 1226256"/>
                  <a:gd name="connsiteX689" fmla="*/ 1073676 w 1176558"/>
                  <a:gd name="connsiteY689" fmla="*/ 22880 h 1226256"/>
                  <a:gd name="connsiteX690" fmla="*/ 1070949 w 1176558"/>
                  <a:gd name="connsiteY690" fmla="*/ 22880 h 1226256"/>
                  <a:gd name="connsiteX691" fmla="*/ 1068373 w 1176558"/>
                  <a:gd name="connsiteY691" fmla="*/ 23183 h 1226256"/>
                  <a:gd name="connsiteX692" fmla="*/ 1067312 w 1176558"/>
                  <a:gd name="connsiteY692" fmla="*/ 23486 h 1226256"/>
                  <a:gd name="connsiteX693" fmla="*/ 1068828 w 1176558"/>
                  <a:gd name="connsiteY693" fmla="*/ 25001 h 1226256"/>
                  <a:gd name="connsiteX694" fmla="*/ 1069585 w 1176558"/>
                  <a:gd name="connsiteY694" fmla="*/ 30607 h 1226256"/>
                  <a:gd name="connsiteX695" fmla="*/ 1069585 w 1176558"/>
                  <a:gd name="connsiteY695" fmla="*/ 37123 h 1226256"/>
                  <a:gd name="connsiteX696" fmla="*/ 1071252 w 1176558"/>
                  <a:gd name="connsiteY696" fmla="*/ 49547 h 1226256"/>
                  <a:gd name="connsiteX697" fmla="*/ 1073070 w 1176558"/>
                  <a:gd name="connsiteY697" fmla="*/ 55760 h 1226256"/>
                  <a:gd name="connsiteX698" fmla="*/ 1073373 w 1176558"/>
                  <a:gd name="connsiteY698" fmla="*/ 59396 h 1226256"/>
                  <a:gd name="connsiteX699" fmla="*/ 1074434 w 1176558"/>
                  <a:gd name="connsiteY699" fmla="*/ 61972 h 1226256"/>
                  <a:gd name="connsiteX700" fmla="*/ 1074737 w 1176558"/>
                  <a:gd name="connsiteY700" fmla="*/ 64851 h 1226256"/>
                  <a:gd name="connsiteX701" fmla="*/ 1074737 w 1176558"/>
                  <a:gd name="connsiteY701" fmla="*/ 76821 h 1226256"/>
                  <a:gd name="connsiteX702" fmla="*/ 1073525 w 1176558"/>
                  <a:gd name="connsiteY702" fmla="*/ 85306 h 1226256"/>
                  <a:gd name="connsiteX703" fmla="*/ 1073373 w 1176558"/>
                  <a:gd name="connsiteY703" fmla="*/ 90761 h 1226256"/>
                  <a:gd name="connsiteX704" fmla="*/ 1076404 w 1176558"/>
                  <a:gd name="connsiteY704" fmla="*/ 105761 h 1226256"/>
                  <a:gd name="connsiteX705" fmla="*/ 1076707 w 1176558"/>
                  <a:gd name="connsiteY705" fmla="*/ 108640 h 1226256"/>
                  <a:gd name="connsiteX706" fmla="*/ 1076555 w 1176558"/>
                  <a:gd name="connsiteY706" fmla="*/ 112580 h 1226256"/>
                  <a:gd name="connsiteX707" fmla="*/ 1075343 w 1176558"/>
                  <a:gd name="connsiteY707" fmla="*/ 116823 h 1226256"/>
                  <a:gd name="connsiteX708" fmla="*/ 1074585 w 1176558"/>
                  <a:gd name="connsiteY708" fmla="*/ 123186 h 1226256"/>
                  <a:gd name="connsiteX709" fmla="*/ 1073828 w 1176558"/>
                  <a:gd name="connsiteY709" fmla="*/ 126217 h 1226256"/>
                  <a:gd name="connsiteX710" fmla="*/ 1072616 w 1176558"/>
                  <a:gd name="connsiteY710" fmla="*/ 132429 h 1226256"/>
                  <a:gd name="connsiteX711" fmla="*/ 1071707 w 1176558"/>
                  <a:gd name="connsiteY711" fmla="*/ 142732 h 1226256"/>
                  <a:gd name="connsiteX712" fmla="*/ 1069737 w 1176558"/>
                  <a:gd name="connsiteY712" fmla="*/ 151066 h 1226256"/>
                  <a:gd name="connsiteX713" fmla="*/ 1068222 w 1176558"/>
                  <a:gd name="connsiteY713" fmla="*/ 154551 h 1226256"/>
                  <a:gd name="connsiteX714" fmla="*/ 1066555 w 1176558"/>
                  <a:gd name="connsiteY714" fmla="*/ 156369 h 1226256"/>
                  <a:gd name="connsiteX715" fmla="*/ 1063373 w 1176558"/>
                  <a:gd name="connsiteY715" fmla="*/ 156975 h 1226256"/>
                  <a:gd name="connsiteX716" fmla="*/ 1063221 w 1176558"/>
                  <a:gd name="connsiteY716" fmla="*/ 160309 h 1226256"/>
                  <a:gd name="connsiteX717" fmla="*/ 1062615 w 1176558"/>
                  <a:gd name="connsiteY717" fmla="*/ 162733 h 1226256"/>
                  <a:gd name="connsiteX718" fmla="*/ 1062767 w 1176558"/>
                  <a:gd name="connsiteY718" fmla="*/ 165915 h 1226256"/>
                  <a:gd name="connsiteX719" fmla="*/ 1064888 w 1176558"/>
                  <a:gd name="connsiteY719" fmla="*/ 169249 h 1226256"/>
                  <a:gd name="connsiteX720" fmla="*/ 1067464 w 1176558"/>
                  <a:gd name="connsiteY720" fmla="*/ 170612 h 1226256"/>
                  <a:gd name="connsiteX721" fmla="*/ 1068222 w 1176558"/>
                  <a:gd name="connsiteY721" fmla="*/ 171673 h 1226256"/>
                  <a:gd name="connsiteX722" fmla="*/ 1067767 w 1176558"/>
                  <a:gd name="connsiteY722" fmla="*/ 174249 h 1226256"/>
                  <a:gd name="connsiteX723" fmla="*/ 1065646 w 1176558"/>
                  <a:gd name="connsiteY723" fmla="*/ 177885 h 1226256"/>
                  <a:gd name="connsiteX724" fmla="*/ 1065040 w 1176558"/>
                  <a:gd name="connsiteY724" fmla="*/ 180916 h 1226256"/>
                  <a:gd name="connsiteX725" fmla="*/ 1064736 w 1176558"/>
                  <a:gd name="connsiteY725" fmla="*/ 183340 h 1226256"/>
                  <a:gd name="connsiteX726" fmla="*/ 1065040 w 1176558"/>
                  <a:gd name="connsiteY726" fmla="*/ 188037 h 1226256"/>
                  <a:gd name="connsiteX727" fmla="*/ 1063979 w 1176558"/>
                  <a:gd name="connsiteY727" fmla="*/ 193795 h 1226256"/>
                  <a:gd name="connsiteX728" fmla="*/ 1063221 w 1176558"/>
                  <a:gd name="connsiteY728" fmla="*/ 202886 h 1226256"/>
                  <a:gd name="connsiteX729" fmla="*/ 1063676 w 1176558"/>
                  <a:gd name="connsiteY729" fmla="*/ 206826 h 1226256"/>
                  <a:gd name="connsiteX730" fmla="*/ 1066706 w 1176558"/>
                  <a:gd name="connsiteY730" fmla="*/ 218190 h 1226256"/>
                  <a:gd name="connsiteX731" fmla="*/ 1066555 w 1176558"/>
                  <a:gd name="connsiteY731" fmla="*/ 220463 h 1226256"/>
                  <a:gd name="connsiteX732" fmla="*/ 1065494 w 1176558"/>
                  <a:gd name="connsiteY732" fmla="*/ 224099 h 1226256"/>
                  <a:gd name="connsiteX733" fmla="*/ 1063070 w 1176558"/>
                  <a:gd name="connsiteY733" fmla="*/ 227281 h 1226256"/>
                  <a:gd name="connsiteX734" fmla="*/ 1061555 w 1176558"/>
                  <a:gd name="connsiteY734" fmla="*/ 228948 h 1226256"/>
                  <a:gd name="connsiteX735" fmla="*/ 1059282 w 1176558"/>
                  <a:gd name="connsiteY735" fmla="*/ 235918 h 1226256"/>
                  <a:gd name="connsiteX736" fmla="*/ 1059736 w 1176558"/>
                  <a:gd name="connsiteY736" fmla="*/ 238191 h 1226256"/>
                  <a:gd name="connsiteX737" fmla="*/ 1061555 w 1176558"/>
                  <a:gd name="connsiteY737" fmla="*/ 241979 h 1226256"/>
                  <a:gd name="connsiteX738" fmla="*/ 1060797 w 1176558"/>
                  <a:gd name="connsiteY738" fmla="*/ 248797 h 1226256"/>
                  <a:gd name="connsiteX739" fmla="*/ 1061252 w 1176558"/>
                  <a:gd name="connsiteY739" fmla="*/ 251827 h 1226256"/>
                  <a:gd name="connsiteX740" fmla="*/ 1060191 w 1176558"/>
                  <a:gd name="connsiteY740" fmla="*/ 254555 h 1226256"/>
                  <a:gd name="connsiteX741" fmla="*/ 1059585 w 1176558"/>
                  <a:gd name="connsiteY741" fmla="*/ 259706 h 1226256"/>
                  <a:gd name="connsiteX742" fmla="*/ 1057009 w 1176558"/>
                  <a:gd name="connsiteY742" fmla="*/ 266828 h 1226256"/>
                  <a:gd name="connsiteX743" fmla="*/ 1056706 w 1176558"/>
                  <a:gd name="connsiteY743" fmla="*/ 270010 h 1226256"/>
                  <a:gd name="connsiteX744" fmla="*/ 1054433 w 1176558"/>
                  <a:gd name="connsiteY744" fmla="*/ 276980 h 1226256"/>
                  <a:gd name="connsiteX745" fmla="*/ 1053979 w 1176558"/>
                  <a:gd name="connsiteY745" fmla="*/ 280465 h 1226256"/>
                  <a:gd name="connsiteX746" fmla="*/ 1054130 w 1176558"/>
                  <a:gd name="connsiteY746" fmla="*/ 286223 h 1226256"/>
                  <a:gd name="connsiteX747" fmla="*/ 1053676 w 1176558"/>
                  <a:gd name="connsiteY747" fmla="*/ 288647 h 1226256"/>
                  <a:gd name="connsiteX748" fmla="*/ 1053070 w 1176558"/>
                  <a:gd name="connsiteY748" fmla="*/ 289556 h 1226256"/>
                  <a:gd name="connsiteX749" fmla="*/ 1050191 w 1176558"/>
                  <a:gd name="connsiteY749" fmla="*/ 292738 h 1226256"/>
                  <a:gd name="connsiteX750" fmla="*/ 1049282 w 1176558"/>
                  <a:gd name="connsiteY750" fmla="*/ 295314 h 1226256"/>
                  <a:gd name="connsiteX751" fmla="*/ 1047463 w 1176558"/>
                  <a:gd name="connsiteY751" fmla="*/ 302738 h 1226256"/>
                  <a:gd name="connsiteX752" fmla="*/ 1046554 w 1176558"/>
                  <a:gd name="connsiteY752" fmla="*/ 311981 h 1226256"/>
                  <a:gd name="connsiteX753" fmla="*/ 1044281 w 1176558"/>
                  <a:gd name="connsiteY753" fmla="*/ 315769 h 1226256"/>
                  <a:gd name="connsiteX754" fmla="*/ 1043221 w 1176558"/>
                  <a:gd name="connsiteY754" fmla="*/ 320618 h 1226256"/>
                  <a:gd name="connsiteX755" fmla="*/ 1041099 w 1176558"/>
                  <a:gd name="connsiteY755" fmla="*/ 323800 h 1226256"/>
                  <a:gd name="connsiteX756" fmla="*/ 1038069 w 1176558"/>
                  <a:gd name="connsiteY756" fmla="*/ 326072 h 1226256"/>
                  <a:gd name="connsiteX757" fmla="*/ 1037311 w 1176558"/>
                  <a:gd name="connsiteY757" fmla="*/ 328194 h 1226256"/>
                  <a:gd name="connsiteX758" fmla="*/ 1038220 w 1176558"/>
                  <a:gd name="connsiteY758" fmla="*/ 336224 h 1226256"/>
                  <a:gd name="connsiteX759" fmla="*/ 1041857 w 1176558"/>
                  <a:gd name="connsiteY759" fmla="*/ 340770 h 1226256"/>
                  <a:gd name="connsiteX760" fmla="*/ 1042615 w 1176558"/>
                  <a:gd name="connsiteY760" fmla="*/ 343498 h 1226256"/>
                  <a:gd name="connsiteX761" fmla="*/ 1042917 w 1176558"/>
                  <a:gd name="connsiteY761" fmla="*/ 349710 h 1226256"/>
                  <a:gd name="connsiteX762" fmla="*/ 1042008 w 1176558"/>
                  <a:gd name="connsiteY762" fmla="*/ 358195 h 1226256"/>
                  <a:gd name="connsiteX763" fmla="*/ 1040645 w 1176558"/>
                  <a:gd name="connsiteY763" fmla="*/ 364407 h 1226256"/>
                  <a:gd name="connsiteX764" fmla="*/ 1033220 w 1176558"/>
                  <a:gd name="connsiteY764" fmla="*/ 370014 h 1226256"/>
                  <a:gd name="connsiteX765" fmla="*/ 1032160 w 1176558"/>
                  <a:gd name="connsiteY765" fmla="*/ 378953 h 1226256"/>
                  <a:gd name="connsiteX766" fmla="*/ 1032311 w 1176558"/>
                  <a:gd name="connsiteY766" fmla="*/ 382893 h 1226256"/>
                  <a:gd name="connsiteX767" fmla="*/ 1033675 w 1176558"/>
                  <a:gd name="connsiteY767" fmla="*/ 389711 h 1226256"/>
                  <a:gd name="connsiteX768" fmla="*/ 1033523 w 1176558"/>
                  <a:gd name="connsiteY768" fmla="*/ 395166 h 1226256"/>
                  <a:gd name="connsiteX769" fmla="*/ 1035796 w 1176558"/>
                  <a:gd name="connsiteY769" fmla="*/ 405015 h 1226256"/>
                  <a:gd name="connsiteX770" fmla="*/ 1037160 w 1176558"/>
                  <a:gd name="connsiteY770" fmla="*/ 414409 h 1226256"/>
                  <a:gd name="connsiteX771" fmla="*/ 1037463 w 1176558"/>
                  <a:gd name="connsiteY771" fmla="*/ 426531 h 1226256"/>
                  <a:gd name="connsiteX772" fmla="*/ 1040039 w 1176558"/>
                  <a:gd name="connsiteY772" fmla="*/ 431986 h 1226256"/>
                  <a:gd name="connsiteX773" fmla="*/ 1038978 w 1176558"/>
                  <a:gd name="connsiteY773" fmla="*/ 436531 h 1226256"/>
                  <a:gd name="connsiteX774" fmla="*/ 1039281 w 1176558"/>
                  <a:gd name="connsiteY774" fmla="*/ 440167 h 1226256"/>
                  <a:gd name="connsiteX775" fmla="*/ 1035493 w 1176558"/>
                  <a:gd name="connsiteY775" fmla="*/ 449562 h 1226256"/>
                  <a:gd name="connsiteX776" fmla="*/ 1034281 w 1176558"/>
                  <a:gd name="connsiteY776" fmla="*/ 451229 h 1226256"/>
                  <a:gd name="connsiteX777" fmla="*/ 1031402 w 1176558"/>
                  <a:gd name="connsiteY777" fmla="*/ 453501 h 1226256"/>
                  <a:gd name="connsiteX778" fmla="*/ 1032614 w 1176558"/>
                  <a:gd name="connsiteY778" fmla="*/ 459411 h 1226256"/>
                  <a:gd name="connsiteX779" fmla="*/ 1032614 w 1176558"/>
                  <a:gd name="connsiteY779" fmla="*/ 463653 h 1226256"/>
                  <a:gd name="connsiteX780" fmla="*/ 1034281 w 1176558"/>
                  <a:gd name="connsiteY780" fmla="*/ 466381 h 1226256"/>
                  <a:gd name="connsiteX781" fmla="*/ 1033523 w 1176558"/>
                  <a:gd name="connsiteY781" fmla="*/ 470472 h 1226256"/>
                  <a:gd name="connsiteX782" fmla="*/ 1028978 w 1176558"/>
                  <a:gd name="connsiteY782" fmla="*/ 475624 h 1226256"/>
                  <a:gd name="connsiteX783" fmla="*/ 1028372 w 1176558"/>
                  <a:gd name="connsiteY783" fmla="*/ 477745 h 1226256"/>
                  <a:gd name="connsiteX784" fmla="*/ 1026402 w 1176558"/>
                  <a:gd name="connsiteY784" fmla="*/ 481533 h 1226256"/>
                  <a:gd name="connsiteX785" fmla="*/ 1024280 w 1176558"/>
                  <a:gd name="connsiteY785" fmla="*/ 486079 h 1226256"/>
                  <a:gd name="connsiteX786" fmla="*/ 1024584 w 1176558"/>
                  <a:gd name="connsiteY786" fmla="*/ 489867 h 1226256"/>
                  <a:gd name="connsiteX787" fmla="*/ 1023523 w 1176558"/>
                  <a:gd name="connsiteY787" fmla="*/ 493958 h 1226256"/>
                  <a:gd name="connsiteX788" fmla="*/ 1022765 w 1176558"/>
                  <a:gd name="connsiteY788" fmla="*/ 500018 h 1226256"/>
                  <a:gd name="connsiteX789" fmla="*/ 1019280 w 1176558"/>
                  <a:gd name="connsiteY789" fmla="*/ 509412 h 1226256"/>
                  <a:gd name="connsiteX790" fmla="*/ 1018220 w 1176558"/>
                  <a:gd name="connsiteY790" fmla="*/ 514867 h 1226256"/>
                  <a:gd name="connsiteX791" fmla="*/ 1013825 w 1176558"/>
                  <a:gd name="connsiteY791" fmla="*/ 519261 h 1226256"/>
                  <a:gd name="connsiteX792" fmla="*/ 1012007 w 1176558"/>
                  <a:gd name="connsiteY792" fmla="*/ 522292 h 1226256"/>
                  <a:gd name="connsiteX793" fmla="*/ 1010644 w 1176558"/>
                  <a:gd name="connsiteY793" fmla="*/ 525625 h 1226256"/>
                  <a:gd name="connsiteX794" fmla="*/ 1009128 w 1176558"/>
                  <a:gd name="connsiteY794" fmla="*/ 527443 h 1226256"/>
                  <a:gd name="connsiteX795" fmla="*/ 1007462 w 1176558"/>
                  <a:gd name="connsiteY795" fmla="*/ 529868 h 1226256"/>
                  <a:gd name="connsiteX796" fmla="*/ 1008522 w 1176558"/>
                  <a:gd name="connsiteY796" fmla="*/ 535323 h 1226256"/>
                  <a:gd name="connsiteX797" fmla="*/ 1005947 w 1176558"/>
                  <a:gd name="connsiteY797" fmla="*/ 538959 h 1226256"/>
                  <a:gd name="connsiteX798" fmla="*/ 1003371 w 1176558"/>
                  <a:gd name="connsiteY798" fmla="*/ 542141 h 1226256"/>
                  <a:gd name="connsiteX799" fmla="*/ 1000795 w 1176558"/>
                  <a:gd name="connsiteY799" fmla="*/ 555020 h 1226256"/>
                  <a:gd name="connsiteX800" fmla="*/ 998219 w 1176558"/>
                  <a:gd name="connsiteY800" fmla="*/ 559566 h 1226256"/>
                  <a:gd name="connsiteX801" fmla="*/ 997158 w 1176558"/>
                  <a:gd name="connsiteY801" fmla="*/ 562899 h 1226256"/>
                  <a:gd name="connsiteX802" fmla="*/ 994128 w 1176558"/>
                  <a:gd name="connsiteY802" fmla="*/ 564263 h 1226256"/>
                  <a:gd name="connsiteX803" fmla="*/ 993522 w 1176558"/>
                  <a:gd name="connsiteY803" fmla="*/ 567748 h 1226256"/>
                  <a:gd name="connsiteX804" fmla="*/ 993219 w 1176558"/>
                  <a:gd name="connsiteY804" fmla="*/ 570172 h 1226256"/>
                  <a:gd name="connsiteX805" fmla="*/ 992613 w 1176558"/>
                  <a:gd name="connsiteY805" fmla="*/ 575779 h 1226256"/>
                  <a:gd name="connsiteX806" fmla="*/ 991400 w 1176558"/>
                  <a:gd name="connsiteY806" fmla="*/ 579264 h 1226256"/>
                  <a:gd name="connsiteX807" fmla="*/ 989885 w 1176558"/>
                  <a:gd name="connsiteY807" fmla="*/ 580476 h 1226256"/>
                  <a:gd name="connsiteX808" fmla="*/ 987006 w 1176558"/>
                  <a:gd name="connsiteY808" fmla="*/ 581082 h 1226256"/>
                  <a:gd name="connsiteX809" fmla="*/ 980794 w 1176558"/>
                  <a:gd name="connsiteY809" fmla="*/ 580021 h 1226256"/>
                  <a:gd name="connsiteX810" fmla="*/ 979885 w 1176558"/>
                  <a:gd name="connsiteY810" fmla="*/ 582143 h 1226256"/>
                  <a:gd name="connsiteX811" fmla="*/ 979127 w 1176558"/>
                  <a:gd name="connsiteY811" fmla="*/ 584870 h 1226256"/>
                  <a:gd name="connsiteX812" fmla="*/ 980794 w 1176558"/>
                  <a:gd name="connsiteY812" fmla="*/ 589264 h 1226256"/>
                  <a:gd name="connsiteX813" fmla="*/ 979127 w 1176558"/>
                  <a:gd name="connsiteY813" fmla="*/ 592749 h 1226256"/>
                  <a:gd name="connsiteX814" fmla="*/ 979279 w 1176558"/>
                  <a:gd name="connsiteY814" fmla="*/ 596082 h 1226256"/>
                  <a:gd name="connsiteX815" fmla="*/ 983218 w 1176558"/>
                  <a:gd name="connsiteY815" fmla="*/ 602749 h 1226256"/>
                  <a:gd name="connsiteX816" fmla="*/ 984582 w 1176558"/>
                  <a:gd name="connsiteY816" fmla="*/ 606840 h 1226256"/>
                  <a:gd name="connsiteX817" fmla="*/ 984431 w 1176558"/>
                  <a:gd name="connsiteY817" fmla="*/ 609719 h 1226256"/>
                  <a:gd name="connsiteX818" fmla="*/ 982764 w 1176558"/>
                  <a:gd name="connsiteY818" fmla="*/ 617295 h 1226256"/>
                  <a:gd name="connsiteX819" fmla="*/ 983067 w 1176558"/>
                  <a:gd name="connsiteY819" fmla="*/ 621841 h 1226256"/>
                  <a:gd name="connsiteX820" fmla="*/ 984127 w 1176558"/>
                  <a:gd name="connsiteY820" fmla="*/ 625477 h 1226256"/>
                  <a:gd name="connsiteX821" fmla="*/ 991097 w 1176558"/>
                  <a:gd name="connsiteY821" fmla="*/ 644569 h 1226256"/>
                  <a:gd name="connsiteX822" fmla="*/ 990491 w 1176558"/>
                  <a:gd name="connsiteY822" fmla="*/ 650933 h 1226256"/>
                  <a:gd name="connsiteX823" fmla="*/ 986097 w 1176558"/>
                  <a:gd name="connsiteY823" fmla="*/ 662751 h 1226256"/>
                  <a:gd name="connsiteX824" fmla="*/ 984127 w 1176558"/>
                  <a:gd name="connsiteY824" fmla="*/ 664873 h 1226256"/>
                  <a:gd name="connsiteX825" fmla="*/ 978976 w 1176558"/>
                  <a:gd name="connsiteY825" fmla="*/ 668358 h 1226256"/>
                  <a:gd name="connsiteX826" fmla="*/ 978976 w 1176558"/>
                  <a:gd name="connsiteY826" fmla="*/ 672146 h 1226256"/>
                  <a:gd name="connsiteX827" fmla="*/ 977006 w 1176558"/>
                  <a:gd name="connsiteY827" fmla="*/ 677903 h 1226256"/>
                  <a:gd name="connsiteX828" fmla="*/ 975794 w 1176558"/>
                  <a:gd name="connsiteY828" fmla="*/ 684570 h 1226256"/>
                  <a:gd name="connsiteX829" fmla="*/ 972006 w 1176558"/>
                  <a:gd name="connsiteY829" fmla="*/ 697601 h 1226256"/>
                  <a:gd name="connsiteX830" fmla="*/ 970339 w 1176558"/>
                  <a:gd name="connsiteY830" fmla="*/ 700935 h 1226256"/>
                  <a:gd name="connsiteX831" fmla="*/ 970794 w 1176558"/>
                  <a:gd name="connsiteY831" fmla="*/ 705632 h 1226256"/>
                  <a:gd name="connsiteX832" fmla="*/ 973218 w 1176558"/>
                  <a:gd name="connsiteY832" fmla="*/ 712147 h 1226256"/>
                  <a:gd name="connsiteX833" fmla="*/ 973824 w 1176558"/>
                  <a:gd name="connsiteY833" fmla="*/ 716238 h 1226256"/>
                  <a:gd name="connsiteX834" fmla="*/ 975036 w 1176558"/>
                  <a:gd name="connsiteY834" fmla="*/ 718511 h 1226256"/>
                  <a:gd name="connsiteX835" fmla="*/ 977764 w 1176558"/>
                  <a:gd name="connsiteY835" fmla="*/ 720329 h 1226256"/>
                  <a:gd name="connsiteX836" fmla="*/ 980188 w 1176558"/>
                  <a:gd name="connsiteY836" fmla="*/ 720632 h 1226256"/>
                  <a:gd name="connsiteX837" fmla="*/ 980188 w 1176558"/>
                  <a:gd name="connsiteY837" fmla="*/ 721693 h 1226256"/>
                  <a:gd name="connsiteX838" fmla="*/ 978521 w 1176558"/>
                  <a:gd name="connsiteY838" fmla="*/ 722602 h 1226256"/>
                  <a:gd name="connsiteX839" fmla="*/ 977612 w 1176558"/>
                  <a:gd name="connsiteY839" fmla="*/ 724269 h 1226256"/>
                  <a:gd name="connsiteX840" fmla="*/ 977309 w 1176558"/>
                  <a:gd name="connsiteY840" fmla="*/ 725936 h 1226256"/>
                  <a:gd name="connsiteX841" fmla="*/ 980339 w 1176558"/>
                  <a:gd name="connsiteY841" fmla="*/ 726996 h 1226256"/>
                  <a:gd name="connsiteX842" fmla="*/ 983218 w 1176558"/>
                  <a:gd name="connsiteY842" fmla="*/ 727754 h 1226256"/>
                  <a:gd name="connsiteX843" fmla="*/ 990794 w 1176558"/>
                  <a:gd name="connsiteY843" fmla="*/ 727299 h 1226256"/>
                  <a:gd name="connsiteX844" fmla="*/ 992613 w 1176558"/>
                  <a:gd name="connsiteY844" fmla="*/ 726239 h 1226256"/>
                  <a:gd name="connsiteX845" fmla="*/ 997007 w 1176558"/>
                  <a:gd name="connsiteY845" fmla="*/ 719572 h 1226256"/>
                  <a:gd name="connsiteX846" fmla="*/ 998673 w 1176558"/>
                  <a:gd name="connsiteY846" fmla="*/ 718662 h 1226256"/>
                  <a:gd name="connsiteX847" fmla="*/ 1000643 w 1176558"/>
                  <a:gd name="connsiteY847" fmla="*/ 718814 h 1226256"/>
                  <a:gd name="connsiteX848" fmla="*/ 1002764 w 1176558"/>
                  <a:gd name="connsiteY848" fmla="*/ 719723 h 1226256"/>
                  <a:gd name="connsiteX849" fmla="*/ 1006401 w 1176558"/>
                  <a:gd name="connsiteY849" fmla="*/ 723511 h 1226256"/>
                  <a:gd name="connsiteX850" fmla="*/ 1008219 w 1176558"/>
                  <a:gd name="connsiteY850" fmla="*/ 724269 h 1226256"/>
                  <a:gd name="connsiteX851" fmla="*/ 1009886 w 1176558"/>
                  <a:gd name="connsiteY851" fmla="*/ 724420 h 1226256"/>
                  <a:gd name="connsiteX852" fmla="*/ 1013068 w 1176558"/>
                  <a:gd name="connsiteY852" fmla="*/ 722905 h 1226256"/>
                  <a:gd name="connsiteX853" fmla="*/ 1014886 w 1176558"/>
                  <a:gd name="connsiteY853" fmla="*/ 718662 h 1226256"/>
                  <a:gd name="connsiteX854" fmla="*/ 1015947 w 1176558"/>
                  <a:gd name="connsiteY854" fmla="*/ 718208 h 1226256"/>
                  <a:gd name="connsiteX855" fmla="*/ 1014735 w 1176558"/>
                  <a:gd name="connsiteY855" fmla="*/ 723057 h 1226256"/>
                  <a:gd name="connsiteX856" fmla="*/ 1011250 w 1176558"/>
                  <a:gd name="connsiteY856" fmla="*/ 725481 h 1226256"/>
                  <a:gd name="connsiteX857" fmla="*/ 1006553 w 1176558"/>
                  <a:gd name="connsiteY857" fmla="*/ 726087 h 1226256"/>
                  <a:gd name="connsiteX858" fmla="*/ 1004280 w 1176558"/>
                  <a:gd name="connsiteY858" fmla="*/ 728057 h 1226256"/>
                  <a:gd name="connsiteX859" fmla="*/ 1003219 w 1176558"/>
                  <a:gd name="connsiteY859" fmla="*/ 729572 h 1226256"/>
                  <a:gd name="connsiteX860" fmla="*/ 1002159 w 1176558"/>
                  <a:gd name="connsiteY860" fmla="*/ 731542 h 1226256"/>
                  <a:gd name="connsiteX861" fmla="*/ 1003371 w 1176558"/>
                  <a:gd name="connsiteY861" fmla="*/ 733209 h 1226256"/>
                  <a:gd name="connsiteX862" fmla="*/ 1004583 w 1176558"/>
                  <a:gd name="connsiteY862" fmla="*/ 734421 h 1226256"/>
                  <a:gd name="connsiteX863" fmla="*/ 1007765 w 1176558"/>
                  <a:gd name="connsiteY863" fmla="*/ 734875 h 1226256"/>
                  <a:gd name="connsiteX864" fmla="*/ 1011098 w 1176558"/>
                  <a:gd name="connsiteY864" fmla="*/ 733966 h 1226256"/>
                  <a:gd name="connsiteX865" fmla="*/ 1012159 w 1176558"/>
                  <a:gd name="connsiteY865" fmla="*/ 741391 h 1226256"/>
                  <a:gd name="connsiteX866" fmla="*/ 1013523 w 1176558"/>
                  <a:gd name="connsiteY866" fmla="*/ 747300 h 1226256"/>
                  <a:gd name="connsiteX867" fmla="*/ 1013068 w 1176558"/>
                  <a:gd name="connsiteY867" fmla="*/ 748815 h 1226256"/>
                  <a:gd name="connsiteX868" fmla="*/ 1009886 w 1176558"/>
                  <a:gd name="connsiteY868" fmla="*/ 742906 h 1226256"/>
                  <a:gd name="connsiteX869" fmla="*/ 1007613 w 1176558"/>
                  <a:gd name="connsiteY869" fmla="*/ 741088 h 1226256"/>
                  <a:gd name="connsiteX870" fmla="*/ 1005492 w 1176558"/>
                  <a:gd name="connsiteY870" fmla="*/ 741694 h 1226256"/>
                  <a:gd name="connsiteX871" fmla="*/ 1003674 w 1176558"/>
                  <a:gd name="connsiteY871" fmla="*/ 742906 h 1226256"/>
                  <a:gd name="connsiteX872" fmla="*/ 1003371 w 1176558"/>
                  <a:gd name="connsiteY872" fmla="*/ 744270 h 1226256"/>
                  <a:gd name="connsiteX873" fmla="*/ 1005189 w 1176558"/>
                  <a:gd name="connsiteY873" fmla="*/ 747906 h 1226256"/>
                  <a:gd name="connsiteX874" fmla="*/ 1007462 w 1176558"/>
                  <a:gd name="connsiteY874" fmla="*/ 751240 h 1226256"/>
                  <a:gd name="connsiteX875" fmla="*/ 1006856 w 1176558"/>
                  <a:gd name="connsiteY875" fmla="*/ 751543 h 1226256"/>
                  <a:gd name="connsiteX876" fmla="*/ 1003522 w 1176558"/>
                  <a:gd name="connsiteY876" fmla="*/ 751240 h 1226256"/>
                  <a:gd name="connsiteX877" fmla="*/ 1001552 w 1176558"/>
                  <a:gd name="connsiteY877" fmla="*/ 756694 h 1226256"/>
                  <a:gd name="connsiteX878" fmla="*/ 1001704 w 1176558"/>
                  <a:gd name="connsiteY878" fmla="*/ 761240 h 1226256"/>
                  <a:gd name="connsiteX879" fmla="*/ 1003825 w 1176558"/>
                  <a:gd name="connsiteY879" fmla="*/ 764573 h 1226256"/>
                  <a:gd name="connsiteX880" fmla="*/ 1004128 w 1176558"/>
                  <a:gd name="connsiteY880" fmla="*/ 767452 h 1226256"/>
                  <a:gd name="connsiteX881" fmla="*/ 1004128 w 1176558"/>
                  <a:gd name="connsiteY881" fmla="*/ 768967 h 1226256"/>
                  <a:gd name="connsiteX882" fmla="*/ 1000795 w 1176558"/>
                  <a:gd name="connsiteY882" fmla="*/ 769270 h 1226256"/>
                  <a:gd name="connsiteX883" fmla="*/ 999734 w 1176558"/>
                  <a:gd name="connsiteY883" fmla="*/ 772149 h 1226256"/>
                  <a:gd name="connsiteX884" fmla="*/ 999128 w 1176558"/>
                  <a:gd name="connsiteY884" fmla="*/ 774725 h 1226256"/>
                  <a:gd name="connsiteX885" fmla="*/ 995340 w 1176558"/>
                  <a:gd name="connsiteY885" fmla="*/ 778513 h 1226256"/>
                  <a:gd name="connsiteX886" fmla="*/ 994582 w 1176558"/>
                  <a:gd name="connsiteY886" fmla="*/ 782908 h 1226256"/>
                  <a:gd name="connsiteX887" fmla="*/ 997461 w 1176558"/>
                  <a:gd name="connsiteY887" fmla="*/ 788817 h 1226256"/>
                  <a:gd name="connsiteX888" fmla="*/ 995492 w 1176558"/>
                  <a:gd name="connsiteY888" fmla="*/ 796544 h 1226256"/>
                  <a:gd name="connsiteX889" fmla="*/ 991249 w 1176558"/>
                  <a:gd name="connsiteY889" fmla="*/ 797756 h 1226256"/>
                  <a:gd name="connsiteX890" fmla="*/ 990794 w 1176558"/>
                  <a:gd name="connsiteY890" fmla="*/ 803362 h 1226256"/>
                  <a:gd name="connsiteX891" fmla="*/ 990188 w 1176558"/>
                  <a:gd name="connsiteY891" fmla="*/ 806848 h 1226256"/>
                  <a:gd name="connsiteX892" fmla="*/ 993522 w 1176558"/>
                  <a:gd name="connsiteY892" fmla="*/ 809120 h 1226256"/>
                  <a:gd name="connsiteX893" fmla="*/ 997310 w 1176558"/>
                  <a:gd name="connsiteY893" fmla="*/ 810939 h 1226256"/>
                  <a:gd name="connsiteX894" fmla="*/ 1002007 w 1176558"/>
                  <a:gd name="connsiteY894" fmla="*/ 814424 h 1226256"/>
                  <a:gd name="connsiteX895" fmla="*/ 1006553 w 1176558"/>
                  <a:gd name="connsiteY895" fmla="*/ 815787 h 1226256"/>
                  <a:gd name="connsiteX896" fmla="*/ 1006098 w 1176558"/>
                  <a:gd name="connsiteY896" fmla="*/ 821091 h 1226256"/>
                  <a:gd name="connsiteX897" fmla="*/ 1004431 w 1176558"/>
                  <a:gd name="connsiteY897" fmla="*/ 825788 h 1226256"/>
                  <a:gd name="connsiteX898" fmla="*/ 995188 w 1176558"/>
                  <a:gd name="connsiteY898" fmla="*/ 832000 h 1226256"/>
                  <a:gd name="connsiteX899" fmla="*/ 990340 w 1176558"/>
                  <a:gd name="connsiteY899" fmla="*/ 833364 h 1226256"/>
                  <a:gd name="connsiteX900" fmla="*/ 987461 w 1176558"/>
                  <a:gd name="connsiteY900" fmla="*/ 833970 h 1226256"/>
                  <a:gd name="connsiteX901" fmla="*/ 986249 w 1176558"/>
                  <a:gd name="connsiteY901" fmla="*/ 838213 h 1226256"/>
                  <a:gd name="connsiteX902" fmla="*/ 985188 w 1176558"/>
                  <a:gd name="connsiteY902" fmla="*/ 842758 h 1226256"/>
                  <a:gd name="connsiteX903" fmla="*/ 991097 w 1176558"/>
                  <a:gd name="connsiteY903" fmla="*/ 843364 h 1226256"/>
                  <a:gd name="connsiteX904" fmla="*/ 995492 w 1176558"/>
                  <a:gd name="connsiteY904" fmla="*/ 846849 h 1226256"/>
                  <a:gd name="connsiteX905" fmla="*/ 997916 w 1176558"/>
                  <a:gd name="connsiteY905" fmla="*/ 847910 h 1226256"/>
                  <a:gd name="connsiteX906" fmla="*/ 998825 w 1176558"/>
                  <a:gd name="connsiteY906" fmla="*/ 848819 h 1226256"/>
                  <a:gd name="connsiteX907" fmla="*/ 998976 w 1176558"/>
                  <a:gd name="connsiteY907" fmla="*/ 850031 h 1226256"/>
                  <a:gd name="connsiteX908" fmla="*/ 997764 w 1176558"/>
                  <a:gd name="connsiteY908" fmla="*/ 850031 h 1226256"/>
                  <a:gd name="connsiteX909" fmla="*/ 991704 w 1176558"/>
                  <a:gd name="connsiteY909" fmla="*/ 846698 h 1226256"/>
                  <a:gd name="connsiteX910" fmla="*/ 989885 w 1176558"/>
                  <a:gd name="connsiteY910" fmla="*/ 846395 h 1226256"/>
                  <a:gd name="connsiteX911" fmla="*/ 986855 w 1176558"/>
                  <a:gd name="connsiteY911" fmla="*/ 847607 h 1226256"/>
                  <a:gd name="connsiteX912" fmla="*/ 982158 w 1176558"/>
                  <a:gd name="connsiteY912" fmla="*/ 851092 h 1226256"/>
                  <a:gd name="connsiteX913" fmla="*/ 977157 w 1176558"/>
                  <a:gd name="connsiteY913" fmla="*/ 850940 h 1226256"/>
                  <a:gd name="connsiteX914" fmla="*/ 975794 w 1176558"/>
                  <a:gd name="connsiteY914" fmla="*/ 855940 h 1226256"/>
                  <a:gd name="connsiteX915" fmla="*/ 976400 w 1176558"/>
                  <a:gd name="connsiteY915" fmla="*/ 858516 h 1226256"/>
                  <a:gd name="connsiteX916" fmla="*/ 978976 w 1176558"/>
                  <a:gd name="connsiteY916" fmla="*/ 859425 h 1226256"/>
                  <a:gd name="connsiteX917" fmla="*/ 980794 w 1176558"/>
                  <a:gd name="connsiteY917" fmla="*/ 860941 h 1226256"/>
                  <a:gd name="connsiteX918" fmla="*/ 980794 w 1176558"/>
                  <a:gd name="connsiteY918" fmla="*/ 865032 h 1226256"/>
                  <a:gd name="connsiteX919" fmla="*/ 979733 w 1176558"/>
                  <a:gd name="connsiteY919" fmla="*/ 868062 h 1226256"/>
                  <a:gd name="connsiteX920" fmla="*/ 979127 w 1176558"/>
                  <a:gd name="connsiteY920" fmla="*/ 873971 h 1226256"/>
                  <a:gd name="connsiteX921" fmla="*/ 978673 w 1176558"/>
                  <a:gd name="connsiteY921" fmla="*/ 875789 h 1226256"/>
                  <a:gd name="connsiteX922" fmla="*/ 978824 w 1176558"/>
                  <a:gd name="connsiteY922" fmla="*/ 878668 h 1226256"/>
                  <a:gd name="connsiteX923" fmla="*/ 977309 w 1176558"/>
                  <a:gd name="connsiteY923" fmla="*/ 882760 h 1226256"/>
                  <a:gd name="connsiteX924" fmla="*/ 975794 w 1176558"/>
                  <a:gd name="connsiteY924" fmla="*/ 885639 h 1226256"/>
                  <a:gd name="connsiteX925" fmla="*/ 973673 w 1176558"/>
                  <a:gd name="connsiteY925" fmla="*/ 887911 h 1226256"/>
                  <a:gd name="connsiteX926" fmla="*/ 970945 w 1176558"/>
                  <a:gd name="connsiteY926" fmla="*/ 888063 h 1226256"/>
                  <a:gd name="connsiteX927" fmla="*/ 970794 w 1176558"/>
                  <a:gd name="connsiteY927" fmla="*/ 886699 h 1226256"/>
                  <a:gd name="connsiteX928" fmla="*/ 971097 w 1176558"/>
                  <a:gd name="connsiteY928" fmla="*/ 885639 h 1226256"/>
                  <a:gd name="connsiteX929" fmla="*/ 974430 w 1176558"/>
                  <a:gd name="connsiteY929" fmla="*/ 881396 h 1226256"/>
                  <a:gd name="connsiteX930" fmla="*/ 977309 w 1176558"/>
                  <a:gd name="connsiteY930" fmla="*/ 870941 h 1226256"/>
                  <a:gd name="connsiteX931" fmla="*/ 977309 w 1176558"/>
                  <a:gd name="connsiteY931" fmla="*/ 867456 h 1226256"/>
                  <a:gd name="connsiteX932" fmla="*/ 977612 w 1176558"/>
                  <a:gd name="connsiteY932" fmla="*/ 863820 h 1226256"/>
                  <a:gd name="connsiteX933" fmla="*/ 976551 w 1176558"/>
                  <a:gd name="connsiteY933" fmla="*/ 862153 h 1226256"/>
                  <a:gd name="connsiteX934" fmla="*/ 974430 w 1176558"/>
                  <a:gd name="connsiteY934" fmla="*/ 862304 h 1226256"/>
                  <a:gd name="connsiteX935" fmla="*/ 972612 w 1176558"/>
                  <a:gd name="connsiteY935" fmla="*/ 863213 h 1226256"/>
                  <a:gd name="connsiteX936" fmla="*/ 971248 w 1176558"/>
                  <a:gd name="connsiteY936" fmla="*/ 870183 h 1226256"/>
                  <a:gd name="connsiteX937" fmla="*/ 970188 w 1176558"/>
                  <a:gd name="connsiteY937" fmla="*/ 873668 h 1226256"/>
                  <a:gd name="connsiteX938" fmla="*/ 966854 w 1176558"/>
                  <a:gd name="connsiteY938" fmla="*/ 875941 h 1226256"/>
                  <a:gd name="connsiteX939" fmla="*/ 963521 w 1176558"/>
                  <a:gd name="connsiteY939" fmla="*/ 876547 h 1226256"/>
                  <a:gd name="connsiteX940" fmla="*/ 959126 w 1176558"/>
                  <a:gd name="connsiteY940" fmla="*/ 876850 h 1226256"/>
                  <a:gd name="connsiteX941" fmla="*/ 958520 w 1176558"/>
                  <a:gd name="connsiteY941" fmla="*/ 875789 h 1226256"/>
                  <a:gd name="connsiteX942" fmla="*/ 959581 w 1176558"/>
                  <a:gd name="connsiteY942" fmla="*/ 875638 h 1226256"/>
                  <a:gd name="connsiteX943" fmla="*/ 967157 w 1176558"/>
                  <a:gd name="connsiteY943" fmla="*/ 872911 h 1226256"/>
                  <a:gd name="connsiteX944" fmla="*/ 968824 w 1176558"/>
                  <a:gd name="connsiteY944" fmla="*/ 870335 h 1226256"/>
                  <a:gd name="connsiteX945" fmla="*/ 967763 w 1176558"/>
                  <a:gd name="connsiteY945" fmla="*/ 866698 h 1226256"/>
                  <a:gd name="connsiteX946" fmla="*/ 969430 w 1176558"/>
                  <a:gd name="connsiteY946" fmla="*/ 864880 h 1226256"/>
                  <a:gd name="connsiteX947" fmla="*/ 970490 w 1176558"/>
                  <a:gd name="connsiteY947" fmla="*/ 862759 h 1226256"/>
                  <a:gd name="connsiteX948" fmla="*/ 972612 w 1176558"/>
                  <a:gd name="connsiteY948" fmla="*/ 853667 h 1226256"/>
                  <a:gd name="connsiteX949" fmla="*/ 973673 w 1176558"/>
                  <a:gd name="connsiteY949" fmla="*/ 851395 h 1226256"/>
                  <a:gd name="connsiteX950" fmla="*/ 974127 w 1176558"/>
                  <a:gd name="connsiteY950" fmla="*/ 849577 h 1226256"/>
                  <a:gd name="connsiteX951" fmla="*/ 971551 w 1176558"/>
                  <a:gd name="connsiteY951" fmla="*/ 848213 h 1226256"/>
                  <a:gd name="connsiteX952" fmla="*/ 970490 w 1176558"/>
                  <a:gd name="connsiteY952" fmla="*/ 848061 h 1226256"/>
                  <a:gd name="connsiteX953" fmla="*/ 968218 w 1176558"/>
                  <a:gd name="connsiteY953" fmla="*/ 848516 h 1226256"/>
                  <a:gd name="connsiteX954" fmla="*/ 966551 w 1176558"/>
                  <a:gd name="connsiteY954" fmla="*/ 850031 h 1226256"/>
                  <a:gd name="connsiteX955" fmla="*/ 965945 w 1176558"/>
                  <a:gd name="connsiteY955" fmla="*/ 851243 h 1226256"/>
                  <a:gd name="connsiteX956" fmla="*/ 966551 w 1176558"/>
                  <a:gd name="connsiteY956" fmla="*/ 854880 h 1226256"/>
                  <a:gd name="connsiteX957" fmla="*/ 967006 w 1176558"/>
                  <a:gd name="connsiteY957" fmla="*/ 856244 h 1226256"/>
                  <a:gd name="connsiteX958" fmla="*/ 967006 w 1176558"/>
                  <a:gd name="connsiteY958" fmla="*/ 857455 h 1226256"/>
                  <a:gd name="connsiteX959" fmla="*/ 966551 w 1176558"/>
                  <a:gd name="connsiteY959" fmla="*/ 858819 h 1226256"/>
                  <a:gd name="connsiteX960" fmla="*/ 964884 w 1176558"/>
                  <a:gd name="connsiteY960" fmla="*/ 860486 h 1226256"/>
                  <a:gd name="connsiteX961" fmla="*/ 960945 w 1176558"/>
                  <a:gd name="connsiteY961" fmla="*/ 861698 h 1226256"/>
                  <a:gd name="connsiteX962" fmla="*/ 959126 w 1176558"/>
                  <a:gd name="connsiteY962" fmla="*/ 861850 h 1226256"/>
                  <a:gd name="connsiteX963" fmla="*/ 956551 w 1176558"/>
                  <a:gd name="connsiteY963" fmla="*/ 862910 h 1226256"/>
                  <a:gd name="connsiteX964" fmla="*/ 952005 w 1176558"/>
                  <a:gd name="connsiteY964" fmla="*/ 863062 h 1226256"/>
                  <a:gd name="connsiteX965" fmla="*/ 948369 w 1176558"/>
                  <a:gd name="connsiteY965" fmla="*/ 862304 h 1226256"/>
                  <a:gd name="connsiteX966" fmla="*/ 940035 w 1176558"/>
                  <a:gd name="connsiteY966" fmla="*/ 864122 h 1226256"/>
                  <a:gd name="connsiteX967" fmla="*/ 939883 w 1176558"/>
                  <a:gd name="connsiteY967" fmla="*/ 868517 h 1226256"/>
                  <a:gd name="connsiteX968" fmla="*/ 942005 w 1176558"/>
                  <a:gd name="connsiteY968" fmla="*/ 871698 h 1226256"/>
                  <a:gd name="connsiteX969" fmla="*/ 943974 w 1176558"/>
                  <a:gd name="connsiteY969" fmla="*/ 873820 h 1226256"/>
                  <a:gd name="connsiteX970" fmla="*/ 939883 w 1176558"/>
                  <a:gd name="connsiteY970" fmla="*/ 876396 h 1226256"/>
                  <a:gd name="connsiteX971" fmla="*/ 935186 w 1176558"/>
                  <a:gd name="connsiteY971" fmla="*/ 880941 h 1226256"/>
                  <a:gd name="connsiteX972" fmla="*/ 931701 w 1176558"/>
                  <a:gd name="connsiteY972" fmla="*/ 883063 h 1226256"/>
                  <a:gd name="connsiteX973" fmla="*/ 930034 w 1176558"/>
                  <a:gd name="connsiteY973" fmla="*/ 884881 h 1226256"/>
                  <a:gd name="connsiteX974" fmla="*/ 923974 w 1176558"/>
                  <a:gd name="connsiteY974" fmla="*/ 889275 h 1226256"/>
                  <a:gd name="connsiteX975" fmla="*/ 922610 w 1176558"/>
                  <a:gd name="connsiteY975" fmla="*/ 892608 h 1226256"/>
                  <a:gd name="connsiteX976" fmla="*/ 922610 w 1176558"/>
                  <a:gd name="connsiteY976" fmla="*/ 895033 h 1226256"/>
                  <a:gd name="connsiteX977" fmla="*/ 924580 w 1176558"/>
                  <a:gd name="connsiteY977" fmla="*/ 898063 h 1226256"/>
                  <a:gd name="connsiteX978" fmla="*/ 928368 w 1176558"/>
                  <a:gd name="connsiteY978" fmla="*/ 900791 h 1226256"/>
                  <a:gd name="connsiteX979" fmla="*/ 930186 w 1176558"/>
                  <a:gd name="connsiteY979" fmla="*/ 900639 h 1226256"/>
                  <a:gd name="connsiteX980" fmla="*/ 930944 w 1176558"/>
                  <a:gd name="connsiteY980" fmla="*/ 899578 h 1226256"/>
                  <a:gd name="connsiteX981" fmla="*/ 931398 w 1176558"/>
                  <a:gd name="connsiteY981" fmla="*/ 898063 h 1226256"/>
                  <a:gd name="connsiteX982" fmla="*/ 929732 w 1176558"/>
                  <a:gd name="connsiteY982" fmla="*/ 894275 h 1226256"/>
                  <a:gd name="connsiteX983" fmla="*/ 927459 w 1176558"/>
                  <a:gd name="connsiteY983" fmla="*/ 894124 h 1226256"/>
                  <a:gd name="connsiteX984" fmla="*/ 926398 w 1176558"/>
                  <a:gd name="connsiteY984" fmla="*/ 893517 h 1226256"/>
                  <a:gd name="connsiteX985" fmla="*/ 927004 w 1176558"/>
                  <a:gd name="connsiteY985" fmla="*/ 892457 h 1226256"/>
                  <a:gd name="connsiteX986" fmla="*/ 928671 w 1176558"/>
                  <a:gd name="connsiteY986" fmla="*/ 891245 h 1226256"/>
                  <a:gd name="connsiteX987" fmla="*/ 932459 w 1176558"/>
                  <a:gd name="connsiteY987" fmla="*/ 890790 h 1226256"/>
                  <a:gd name="connsiteX988" fmla="*/ 937762 w 1176558"/>
                  <a:gd name="connsiteY988" fmla="*/ 889123 h 1226256"/>
                  <a:gd name="connsiteX989" fmla="*/ 941247 w 1176558"/>
                  <a:gd name="connsiteY989" fmla="*/ 886093 h 1226256"/>
                  <a:gd name="connsiteX990" fmla="*/ 942156 w 1176558"/>
                  <a:gd name="connsiteY990" fmla="*/ 886093 h 1226256"/>
                  <a:gd name="connsiteX991" fmla="*/ 940338 w 1176558"/>
                  <a:gd name="connsiteY991" fmla="*/ 890032 h 1226256"/>
                  <a:gd name="connsiteX992" fmla="*/ 940944 w 1176558"/>
                  <a:gd name="connsiteY992" fmla="*/ 892306 h 1226256"/>
                  <a:gd name="connsiteX993" fmla="*/ 941702 w 1176558"/>
                  <a:gd name="connsiteY993" fmla="*/ 893820 h 1226256"/>
                  <a:gd name="connsiteX994" fmla="*/ 947005 w 1176558"/>
                  <a:gd name="connsiteY994" fmla="*/ 895790 h 1226256"/>
                  <a:gd name="connsiteX995" fmla="*/ 950338 w 1176558"/>
                  <a:gd name="connsiteY995" fmla="*/ 898063 h 1226256"/>
                  <a:gd name="connsiteX996" fmla="*/ 955187 w 1176558"/>
                  <a:gd name="connsiteY996" fmla="*/ 898821 h 1226256"/>
                  <a:gd name="connsiteX997" fmla="*/ 956096 w 1176558"/>
                  <a:gd name="connsiteY997" fmla="*/ 898821 h 1226256"/>
                  <a:gd name="connsiteX998" fmla="*/ 956399 w 1176558"/>
                  <a:gd name="connsiteY998" fmla="*/ 898063 h 1226256"/>
                  <a:gd name="connsiteX999" fmla="*/ 955793 w 1176558"/>
                  <a:gd name="connsiteY999" fmla="*/ 897003 h 1226256"/>
                  <a:gd name="connsiteX1000" fmla="*/ 955945 w 1176558"/>
                  <a:gd name="connsiteY1000" fmla="*/ 895639 h 1226256"/>
                  <a:gd name="connsiteX1001" fmla="*/ 956702 w 1176558"/>
                  <a:gd name="connsiteY1001" fmla="*/ 894729 h 1226256"/>
                  <a:gd name="connsiteX1002" fmla="*/ 960490 w 1176558"/>
                  <a:gd name="connsiteY1002" fmla="*/ 895487 h 1226256"/>
                  <a:gd name="connsiteX1003" fmla="*/ 963369 w 1176558"/>
                  <a:gd name="connsiteY1003" fmla="*/ 898821 h 1226256"/>
                  <a:gd name="connsiteX1004" fmla="*/ 964884 w 1176558"/>
                  <a:gd name="connsiteY1004" fmla="*/ 901851 h 1226256"/>
                  <a:gd name="connsiteX1005" fmla="*/ 963369 w 1176558"/>
                  <a:gd name="connsiteY1005" fmla="*/ 905639 h 1226256"/>
                  <a:gd name="connsiteX1006" fmla="*/ 964733 w 1176558"/>
                  <a:gd name="connsiteY1006" fmla="*/ 909124 h 1226256"/>
                  <a:gd name="connsiteX1007" fmla="*/ 963218 w 1176558"/>
                  <a:gd name="connsiteY1007" fmla="*/ 910033 h 1226256"/>
                  <a:gd name="connsiteX1008" fmla="*/ 958066 w 1176558"/>
                  <a:gd name="connsiteY1008" fmla="*/ 914125 h 1226256"/>
                  <a:gd name="connsiteX1009" fmla="*/ 955945 w 1176558"/>
                  <a:gd name="connsiteY1009" fmla="*/ 917761 h 1226256"/>
                  <a:gd name="connsiteX1010" fmla="*/ 960339 w 1176558"/>
                  <a:gd name="connsiteY1010" fmla="*/ 921246 h 1226256"/>
                  <a:gd name="connsiteX1011" fmla="*/ 962612 w 1176558"/>
                  <a:gd name="connsiteY1011" fmla="*/ 922155 h 1226256"/>
                  <a:gd name="connsiteX1012" fmla="*/ 963975 w 1176558"/>
                  <a:gd name="connsiteY1012" fmla="*/ 922458 h 1226256"/>
                  <a:gd name="connsiteX1013" fmla="*/ 965491 w 1176558"/>
                  <a:gd name="connsiteY1013" fmla="*/ 923215 h 1226256"/>
                  <a:gd name="connsiteX1014" fmla="*/ 965036 w 1176558"/>
                  <a:gd name="connsiteY1014" fmla="*/ 924428 h 1226256"/>
                  <a:gd name="connsiteX1015" fmla="*/ 962612 w 1176558"/>
                  <a:gd name="connsiteY1015" fmla="*/ 926246 h 1226256"/>
                  <a:gd name="connsiteX1016" fmla="*/ 960490 w 1176558"/>
                  <a:gd name="connsiteY1016" fmla="*/ 925791 h 1226256"/>
                  <a:gd name="connsiteX1017" fmla="*/ 958217 w 1176558"/>
                  <a:gd name="connsiteY1017" fmla="*/ 923519 h 1226256"/>
                  <a:gd name="connsiteX1018" fmla="*/ 956551 w 1176558"/>
                  <a:gd name="connsiteY1018" fmla="*/ 922761 h 1226256"/>
                  <a:gd name="connsiteX1019" fmla="*/ 954732 w 1176558"/>
                  <a:gd name="connsiteY1019" fmla="*/ 922458 h 1226256"/>
                  <a:gd name="connsiteX1020" fmla="*/ 953217 w 1176558"/>
                  <a:gd name="connsiteY1020" fmla="*/ 924276 h 1226256"/>
                  <a:gd name="connsiteX1021" fmla="*/ 951399 w 1176558"/>
                  <a:gd name="connsiteY1021" fmla="*/ 927155 h 1226256"/>
                  <a:gd name="connsiteX1022" fmla="*/ 952611 w 1176558"/>
                  <a:gd name="connsiteY1022" fmla="*/ 929125 h 1226256"/>
                  <a:gd name="connsiteX1023" fmla="*/ 953672 w 1176558"/>
                  <a:gd name="connsiteY1023" fmla="*/ 929579 h 1226256"/>
                  <a:gd name="connsiteX1024" fmla="*/ 957460 w 1176558"/>
                  <a:gd name="connsiteY1024" fmla="*/ 930489 h 1226256"/>
                  <a:gd name="connsiteX1025" fmla="*/ 958975 w 1176558"/>
                  <a:gd name="connsiteY1025" fmla="*/ 931549 h 1226256"/>
                  <a:gd name="connsiteX1026" fmla="*/ 958824 w 1176558"/>
                  <a:gd name="connsiteY1026" fmla="*/ 933670 h 1226256"/>
                  <a:gd name="connsiteX1027" fmla="*/ 959581 w 1176558"/>
                  <a:gd name="connsiteY1027" fmla="*/ 935489 h 1226256"/>
                  <a:gd name="connsiteX1028" fmla="*/ 962914 w 1176558"/>
                  <a:gd name="connsiteY1028" fmla="*/ 936398 h 1226256"/>
                  <a:gd name="connsiteX1029" fmla="*/ 966854 w 1176558"/>
                  <a:gd name="connsiteY1029" fmla="*/ 935943 h 1226256"/>
                  <a:gd name="connsiteX1030" fmla="*/ 970794 w 1176558"/>
                  <a:gd name="connsiteY1030" fmla="*/ 935034 h 1226256"/>
                  <a:gd name="connsiteX1031" fmla="*/ 973369 w 1176558"/>
                  <a:gd name="connsiteY1031" fmla="*/ 932913 h 1226256"/>
                  <a:gd name="connsiteX1032" fmla="*/ 975188 w 1176558"/>
                  <a:gd name="connsiteY1032" fmla="*/ 928367 h 1226256"/>
                  <a:gd name="connsiteX1033" fmla="*/ 976097 w 1176558"/>
                  <a:gd name="connsiteY1033" fmla="*/ 925640 h 1226256"/>
                  <a:gd name="connsiteX1034" fmla="*/ 977006 w 1176558"/>
                  <a:gd name="connsiteY1034" fmla="*/ 925489 h 1226256"/>
                  <a:gd name="connsiteX1035" fmla="*/ 979279 w 1176558"/>
                  <a:gd name="connsiteY1035" fmla="*/ 933367 h 1226256"/>
                  <a:gd name="connsiteX1036" fmla="*/ 979430 w 1176558"/>
                  <a:gd name="connsiteY1036" fmla="*/ 935489 h 1226256"/>
                  <a:gd name="connsiteX1037" fmla="*/ 979885 w 1176558"/>
                  <a:gd name="connsiteY1037" fmla="*/ 937307 h 1226256"/>
                  <a:gd name="connsiteX1038" fmla="*/ 980945 w 1176558"/>
                  <a:gd name="connsiteY1038" fmla="*/ 938216 h 1226256"/>
                  <a:gd name="connsiteX1039" fmla="*/ 982764 w 1176558"/>
                  <a:gd name="connsiteY1039" fmla="*/ 941246 h 1226256"/>
                  <a:gd name="connsiteX1040" fmla="*/ 985794 w 1176558"/>
                  <a:gd name="connsiteY1040" fmla="*/ 942610 h 1226256"/>
                  <a:gd name="connsiteX1041" fmla="*/ 985946 w 1176558"/>
                  <a:gd name="connsiteY1041" fmla="*/ 943671 h 1226256"/>
                  <a:gd name="connsiteX1042" fmla="*/ 982006 w 1176558"/>
                  <a:gd name="connsiteY1042" fmla="*/ 944429 h 1226256"/>
                  <a:gd name="connsiteX1043" fmla="*/ 973067 w 1176558"/>
                  <a:gd name="connsiteY1043" fmla="*/ 938974 h 1226256"/>
                  <a:gd name="connsiteX1044" fmla="*/ 962157 w 1176558"/>
                  <a:gd name="connsiteY1044" fmla="*/ 939125 h 1226256"/>
                  <a:gd name="connsiteX1045" fmla="*/ 958066 w 1176558"/>
                  <a:gd name="connsiteY1045" fmla="*/ 938065 h 1226256"/>
                  <a:gd name="connsiteX1046" fmla="*/ 953066 w 1176558"/>
                  <a:gd name="connsiteY1046" fmla="*/ 937610 h 1226256"/>
                  <a:gd name="connsiteX1047" fmla="*/ 952914 w 1176558"/>
                  <a:gd name="connsiteY1047" fmla="*/ 943368 h 1226256"/>
                  <a:gd name="connsiteX1048" fmla="*/ 953217 w 1176558"/>
                  <a:gd name="connsiteY1048" fmla="*/ 947307 h 1226256"/>
                  <a:gd name="connsiteX1049" fmla="*/ 955338 w 1176558"/>
                  <a:gd name="connsiteY1049" fmla="*/ 950338 h 1226256"/>
                  <a:gd name="connsiteX1050" fmla="*/ 956096 w 1176558"/>
                  <a:gd name="connsiteY1050" fmla="*/ 953823 h 1226256"/>
                  <a:gd name="connsiteX1051" fmla="*/ 959733 w 1176558"/>
                  <a:gd name="connsiteY1051" fmla="*/ 954883 h 1226256"/>
                  <a:gd name="connsiteX1052" fmla="*/ 961702 w 1176558"/>
                  <a:gd name="connsiteY1052" fmla="*/ 953520 h 1226256"/>
                  <a:gd name="connsiteX1053" fmla="*/ 964430 w 1176558"/>
                  <a:gd name="connsiteY1053" fmla="*/ 952610 h 1226256"/>
                  <a:gd name="connsiteX1054" fmla="*/ 968824 w 1176558"/>
                  <a:gd name="connsiteY1054" fmla="*/ 954277 h 1226256"/>
                  <a:gd name="connsiteX1055" fmla="*/ 967460 w 1176558"/>
                  <a:gd name="connsiteY1055" fmla="*/ 955338 h 1226256"/>
                  <a:gd name="connsiteX1056" fmla="*/ 965491 w 1176558"/>
                  <a:gd name="connsiteY1056" fmla="*/ 955338 h 1226256"/>
                  <a:gd name="connsiteX1057" fmla="*/ 964278 w 1176558"/>
                  <a:gd name="connsiteY1057" fmla="*/ 955035 h 1226256"/>
                  <a:gd name="connsiteX1058" fmla="*/ 962914 w 1176558"/>
                  <a:gd name="connsiteY1058" fmla="*/ 955793 h 1226256"/>
                  <a:gd name="connsiteX1059" fmla="*/ 959884 w 1176558"/>
                  <a:gd name="connsiteY1059" fmla="*/ 958520 h 1226256"/>
                  <a:gd name="connsiteX1060" fmla="*/ 958824 w 1176558"/>
                  <a:gd name="connsiteY1060" fmla="*/ 965490 h 1226256"/>
                  <a:gd name="connsiteX1061" fmla="*/ 958824 w 1176558"/>
                  <a:gd name="connsiteY1061" fmla="*/ 974429 h 1226256"/>
                  <a:gd name="connsiteX1062" fmla="*/ 959430 w 1176558"/>
                  <a:gd name="connsiteY1062" fmla="*/ 985187 h 1226256"/>
                  <a:gd name="connsiteX1063" fmla="*/ 959126 w 1176558"/>
                  <a:gd name="connsiteY1063" fmla="*/ 986854 h 1226256"/>
                  <a:gd name="connsiteX1064" fmla="*/ 959581 w 1176558"/>
                  <a:gd name="connsiteY1064" fmla="*/ 987763 h 1226256"/>
                  <a:gd name="connsiteX1065" fmla="*/ 960793 w 1176558"/>
                  <a:gd name="connsiteY1065" fmla="*/ 989127 h 1226256"/>
                  <a:gd name="connsiteX1066" fmla="*/ 962914 w 1176558"/>
                  <a:gd name="connsiteY1066" fmla="*/ 990491 h 1226256"/>
                  <a:gd name="connsiteX1067" fmla="*/ 963975 w 1176558"/>
                  <a:gd name="connsiteY1067" fmla="*/ 987157 h 1226256"/>
                  <a:gd name="connsiteX1068" fmla="*/ 964430 w 1176558"/>
                  <a:gd name="connsiteY1068" fmla="*/ 984127 h 1226256"/>
                  <a:gd name="connsiteX1069" fmla="*/ 965187 w 1176558"/>
                  <a:gd name="connsiteY1069" fmla="*/ 981703 h 1226256"/>
                  <a:gd name="connsiteX1070" fmla="*/ 967006 w 1176558"/>
                  <a:gd name="connsiteY1070" fmla="*/ 979581 h 1226256"/>
                  <a:gd name="connsiteX1071" fmla="*/ 967309 w 1176558"/>
                  <a:gd name="connsiteY1071" fmla="*/ 976854 h 1226256"/>
                  <a:gd name="connsiteX1072" fmla="*/ 968218 w 1176558"/>
                  <a:gd name="connsiteY1072" fmla="*/ 973823 h 1226256"/>
                  <a:gd name="connsiteX1073" fmla="*/ 970794 w 1176558"/>
                  <a:gd name="connsiteY1073" fmla="*/ 973672 h 1226256"/>
                  <a:gd name="connsiteX1074" fmla="*/ 970642 w 1176558"/>
                  <a:gd name="connsiteY1074" fmla="*/ 974581 h 1226256"/>
                  <a:gd name="connsiteX1075" fmla="*/ 969430 w 1176558"/>
                  <a:gd name="connsiteY1075" fmla="*/ 975036 h 1226256"/>
                  <a:gd name="connsiteX1076" fmla="*/ 968521 w 1176558"/>
                  <a:gd name="connsiteY1076" fmla="*/ 976096 h 1226256"/>
                  <a:gd name="connsiteX1077" fmla="*/ 968824 w 1176558"/>
                  <a:gd name="connsiteY1077" fmla="*/ 978521 h 1226256"/>
                  <a:gd name="connsiteX1078" fmla="*/ 968369 w 1176558"/>
                  <a:gd name="connsiteY1078" fmla="*/ 981551 h 1226256"/>
                  <a:gd name="connsiteX1079" fmla="*/ 967612 w 1176558"/>
                  <a:gd name="connsiteY1079" fmla="*/ 983672 h 1226256"/>
                  <a:gd name="connsiteX1080" fmla="*/ 966702 w 1176558"/>
                  <a:gd name="connsiteY1080" fmla="*/ 985642 h 1226256"/>
                  <a:gd name="connsiteX1081" fmla="*/ 966400 w 1176558"/>
                  <a:gd name="connsiteY1081" fmla="*/ 988066 h 1226256"/>
                  <a:gd name="connsiteX1082" fmla="*/ 969279 w 1176558"/>
                  <a:gd name="connsiteY1082" fmla="*/ 990188 h 1226256"/>
                  <a:gd name="connsiteX1083" fmla="*/ 971854 w 1176558"/>
                  <a:gd name="connsiteY1083" fmla="*/ 991400 h 1226256"/>
                  <a:gd name="connsiteX1084" fmla="*/ 973369 w 1176558"/>
                  <a:gd name="connsiteY1084" fmla="*/ 994430 h 1226256"/>
                  <a:gd name="connsiteX1085" fmla="*/ 971854 w 1176558"/>
                  <a:gd name="connsiteY1085" fmla="*/ 994885 h 1226256"/>
                  <a:gd name="connsiteX1086" fmla="*/ 970036 w 1176558"/>
                  <a:gd name="connsiteY1086" fmla="*/ 993824 h 1226256"/>
                  <a:gd name="connsiteX1087" fmla="*/ 966096 w 1176558"/>
                  <a:gd name="connsiteY1087" fmla="*/ 992460 h 1226256"/>
                  <a:gd name="connsiteX1088" fmla="*/ 962612 w 1176558"/>
                  <a:gd name="connsiteY1088" fmla="*/ 993370 h 1226256"/>
                  <a:gd name="connsiteX1089" fmla="*/ 960945 w 1176558"/>
                  <a:gd name="connsiteY1089" fmla="*/ 994279 h 1226256"/>
                  <a:gd name="connsiteX1090" fmla="*/ 960187 w 1176558"/>
                  <a:gd name="connsiteY1090" fmla="*/ 998370 h 1226256"/>
                  <a:gd name="connsiteX1091" fmla="*/ 960036 w 1176558"/>
                  <a:gd name="connsiteY1091" fmla="*/ 1000643 h 1226256"/>
                  <a:gd name="connsiteX1092" fmla="*/ 964278 w 1176558"/>
                  <a:gd name="connsiteY1092" fmla="*/ 1005037 h 1226256"/>
                  <a:gd name="connsiteX1093" fmla="*/ 967006 w 1176558"/>
                  <a:gd name="connsiteY1093" fmla="*/ 1006552 h 1226256"/>
                  <a:gd name="connsiteX1094" fmla="*/ 968672 w 1176558"/>
                  <a:gd name="connsiteY1094" fmla="*/ 1005794 h 1226256"/>
                  <a:gd name="connsiteX1095" fmla="*/ 970188 w 1176558"/>
                  <a:gd name="connsiteY1095" fmla="*/ 1008219 h 1226256"/>
                  <a:gd name="connsiteX1096" fmla="*/ 968521 w 1176558"/>
                  <a:gd name="connsiteY1096" fmla="*/ 1009280 h 1226256"/>
                  <a:gd name="connsiteX1097" fmla="*/ 959884 w 1176558"/>
                  <a:gd name="connsiteY1097" fmla="*/ 1007613 h 1226256"/>
                  <a:gd name="connsiteX1098" fmla="*/ 957157 w 1176558"/>
                  <a:gd name="connsiteY1098" fmla="*/ 1010794 h 1226256"/>
                  <a:gd name="connsiteX1099" fmla="*/ 951853 w 1176558"/>
                  <a:gd name="connsiteY1099" fmla="*/ 1015340 h 1226256"/>
                  <a:gd name="connsiteX1100" fmla="*/ 954884 w 1176558"/>
                  <a:gd name="connsiteY1100" fmla="*/ 1017916 h 1226256"/>
                  <a:gd name="connsiteX1101" fmla="*/ 957308 w 1176558"/>
                  <a:gd name="connsiteY1101" fmla="*/ 1020946 h 1226256"/>
                  <a:gd name="connsiteX1102" fmla="*/ 958672 w 1176558"/>
                  <a:gd name="connsiteY1102" fmla="*/ 1021401 h 1226256"/>
                  <a:gd name="connsiteX1103" fmla="*/ 960490 w 1176558"/>
                  <a:gd name="connsiteY1103" fmla="*/ 1022613 h 1226256"/>
                  <a:gd name="connsiteX1104" fmla="*/ 968066 w 1176558"/>
                  <a:gd name="connsiteY1104" fmla="*/ 1025189 h 1226256"/>
                  <a:gd name="connsiteX1105" fmla="*/ 970339 w 1176558"/>
                  <a:gd name="connsiteY1105" fmla="*/ 1026704 h 1226256"/>
                  <a:gd name="connsiteX1106" fmla="*/ 963975 w 1176558"/>
                  <a:gd name="connsiteY1106" fmla="*/ 1025795 h 1226256"/>
                  <a:gd name="connsiteX1107" fmla="*/ 963672 w 1176558"/>
                  <a:gd name="connsiteY1107" fmla="*/ 1030189 h 1226256"/>
                  <a:gd name="connsiteX1108" fmla="*/ 964581 w 1176558"/>
                  <a:gd name="connsiteY1108" fmla="*/ 1031250 h 1226256"/>
                  <a:gd name="connsiteX1109" fmla="*/ 966400 w 1176558"/>
                  <a:gd name="connsiteY1109" fmla="*/ 1034129 h 1226256"/>
                  <a:gd name="connsiteX1110" fmla="*/ 969581 w 1176558"/>
                  <a:gd name="connsiteY1110" fmla="*/ 1038068 h 1226256"/>
                  <a:gd name="connsiteX1111" fmla="*/ 972006 w 1176558"/>
                  <a:gd name="connsiteY1111" fmla="*/ 1036401 h 1226256"/>
                  <a:gd name="connsiteX1112" fmla="*/ 975945 w 1176558"/>
                  <a:gd name="connsiteY1112" fmla="*/ 1027613 h 1226256"/>
                  <a:gd name="connsiteX1113" fmla="*/ 977915 w 1176558"/>
                  <a:gd name="connsiteY1113" fmla="*/ 1025795 h 1226256"/>
                  <a:gd name="connsiteX1114" fmla="*/ 978673 w 1176558"/>
                  <a:gd name="connsiteY1114" fmla="*/ 1025946 h 1226256"/>
                  <a:gd name="connsiteX1115" fmla="*/ 977612 w 1176558"/>
                  <a:gd name="connsiteY1115" fmla="*/ 1028674 h 1226256"/>
                  <a:gd name="connsiteX1116" fmla="*/ 979733 w 1176558"/>
                  <a:gd name="connsiteY1116" fmla="*/ 1030795 h 1226256"/>
                  <a:gd name="connsiteX1117" fmla="*/ 979582 w 1176558"/>
                  <a:gd name="connsiteY1117" fmla="*/ 1031704 h 1226256"/>
                  <a:gd name="connsiteX1118" fmla="*/ 978521 w 1176558"/>
                  <a:gd name="connsiteY1118" fmla="*/ 1031704 h 1226256"/>
                  <a:gd name="connsiteX1119" fmla="*/ 976248 w 1176558"/>
                  <a:gd name="connsiteY1119" fmla="*/ 1033371 h 1226256"/>
                  <a:gd name="connsiteX1120" fmla="*/ 973976 w 1176558"/>
                  <a:gd name="connsiteY1120" fmla="*/ 1038371 h 1226256"/>
                  <a:gd name="connsiteX1121" fmla="*/ 974430 w 1176558"/>
                  <a:gd name="connsiteY1121" fmla="*/ 1042008 h 1226256"/>
                  <a:gd name="connsiteX1122" fmla="*/ 973369 w 1176558"/>
                  <a:gd name="connsiteY1122" fmla="*/ 1042008 h 1226256"/>
                  <a:gd name="connsiteX1123" fmla="*/ 965339 w 1176558"/>
                  <a:gd name="connsiteY1123" fmla="*/ 1037614 h 1226256"/>
                  <a:gd name="connsiteX1124" fmla="*/ 964884 w 1176558"/>
                  <a:gd name="connsiteY1124" fmla="*/ 1036856 h 1226256"/>
                  <a:gd name="connsiteX1125" fmla="*/ 963975 w 1176558"/>
                  <a:gd name="connsiteY1125" fmla="*/ 1036098 h 1226256"/>
                  <a:gd name="connsiteX1126" fmla="*/ 960036 w 1176558"/>
                  <a:gd name="connsiteY1126" fmla="*/ 1028220 h 1226256"/>
                  <a:gd name="connsiteX1127" fmla="*/ 959126 w 1176558"/>
                  <a:gd name="connsiteY1127" fmla="*/ 1025644 h 1226256"/>
                  <a:gd name="connsiteX1128" fmla="*/ 953672 w 1176558"/>
                  <a:gd name="connsiteY1128" fmla="*/ 1021856 h 1226256"/>
                  <a:gd name="connsiteX1129" fmla="*/ 951399 w 1176558"/>
                  <a:gd name="connsiteY1129" fmla="*/ 1021098 h 1226256"/>
                  <a:gd name="connsiteX1130" fmla="*/ 949278 w 1176558"/>
                  <a:gd name="connsiteY1130" fmla="*/ 1022765 h 1226256"/>
                  <a:gd name="connsiteX1131" fmla="*/ 947762 w 1176558"/>
                  <a:gd name="connsiteY1131" fmla="*/ 1025037 h 1226256"/>
                  <a:gd name="connsiteX1132" fmla="*/ 949732 w 1176558"/>
                  <a:gd name="connsiteY1132" fmla="*/ 1027310 h 1226256"/>
                  <a:gd name="connsiteX1133" fmla="*/ 951248 w 1176558"/>
                  <a:gd name="connsiteY1133" fmla="*/ 1030341 h 1226256"/>
                  <a:gd name="connsiteX1134" fmla="*/ 950187 w 1176558"/>
                  <a:gd name="connsiteY1134" fmla="*/ 1031856 h 1226256"/>
                  <a:gd name="connsiteX1135" fmla="*/ 946096 w 1176558"/>
                  <a:gd name="connsiteY1135" fmla="*/ 1032462 h 1226256"/>
                  <a:gd name="connsiteX1136" fmla="*/ 938974 w 1176558"/>
                  <a:gd name="connsiteY1136" fmla="*/ 1032613 h 1226256"/>
                  <a:gd name="connsiteX1137" fmla="*/ 940035 w 1176558"/>
                  <a:gd name="connsiteY1137" fmla="*/ 1036401 h 1226256"/>
                  <a:gd name="connsiteX1138" fmla="*/ 942005 w 1176558"/>
                  <a:gd name="connsiteY1138" fmla="*/ 1039887 h 1226256"/>
                  <a:gd name="connsiteX1139" fmla="*/ 946550 w 1176558"/>
                  <a:gd name="connsiteY1139" fmla="*/ 1046402 h 1226256"/>
                  <a:gd name="connsiteX1140" fmla="*/ 950035 w 1176558"/>
                  <a:gd name="connsiteY1140" fmla="*/ 1047311 h 1226256"/>
                  <a:gd name="connsiteX1141" fmla="*/ 952914 w 1176558"/>
                  <a:gd name="connsiteY1141" fmla="*/ 1048978 h 1226256"/>
                  <a:gd name="connsiteX1142" fmla="*/ 955036 w 1176558"/>
                  <a:gd name="connsiteY1142" fmla="*/ 1049735 h 1226256"/>
                  <a:gd name="connsiteX1143" fmla="*/ 957611 w 1176558"/>
                  <a:gd name="connsiteY1143" fmla="*/ 1050190 h 1226256"/>
                  <a:gd name="connsiteX1144" fmla="*/ 959884 w 1176558"/>
                  <a:gd name="connsiteY1144" fmla="*/ 1051402 h 1226256"/>
                  <a:gd name="connsiteX1145" fmla="*/ 963218 w 1176558"/>
                  <a:gd name="connsiteY1145" fmla="*/ 1051705 h 1226256"/>
                  <a:gd name="connsiteX1146" fmla="*/ 965642 w 1176558"/>
                  <a:gd name="connsiteY1146" fmla="*/ 1051402 h 1226256"/>
                  <a:gd name="connsiteX1147" fmla="*/ 970642 w 1176558"/>
                  <a:gd name="connsiteY1147" fmla="*/ 1053978 h 1226256"/>
                  <a:gd name="connsiteX1148" fmla="*/ 971854 w 1176558"/>
                  <a:gd name="connsiteY1148" fmla="*/ 1056402 h 1226256"/>
                  <a:gd name="connsiteX1149" fmla="*/ 970945 w 1176558"/>
                  <a:gd name="connsiteY1149" fmla="*/ 1066857 h 1226256"/>
                  <a:gd name="connsiteX1150" fmla="*/ 967157 w 1176558"/>
                  <a:gd name="connsiteY1150" fmla="*/ 1065494 h 1226256"/>
                  <a:gd name="connsiteX1151" fmla="*/ 963672 w 1176558"/>
                  <a:gd name="connsiteY1151" fmla="*/ 1069130 h 1226256"/>
                  <a:gd name="connsiteX1152" fmla="*/ 965036 w 1176558"/>
                  <a:gd name="connsiteY1152" fmla="*/ 1070342 h 1226256"/>
                  <a:gd name="connsiteX1153" fmla="*/ 969733 w 1176558"/>
                  <a:gd name="connsiteY1153" fmla="*/ 1072918 h 1226256"/>
                  <a:gd name="connsiteX1154" fmla="*/ 971854 w 1176558"/>
                  <a:gd name="connsiteY1154" fmla="*/ 1072009 h 1226256"/>
                  <a:gd name="connsiteX1155" fmla="*/ 972915 w 1176558"/>
                  <a:gd name="connsiteY1155" fmla="*/ 1073221 h 1226256"/>
                  <a:gd name="connsiteX1156" fmla="*/ 974127 w 1176558"/>
                  <a:gd name="connsiteY1156" fmla="*/ 1073676 h 1226256"/>
                  <a:gd name="connsiteX1157" fmla="*/ 975642 w 1176558"/>
                  <a:gd name="connsiteY1157" fmla="*/ 1073524 h 1226256"/>
                  <a:gd name="connsiteX1158" fmla="*/ 978370 w 1176558"/>
                  <a:gd name="connsiteY1158" fmla="*/ 1075797 h 1226256"/>
                  <a:gd name="connsiteX1159" fmla="*/ 980188 w 1176558"/>
                  <a:gd name="connsiteY1159" fmla="*/ 1079585 h 1226256"/>
                  <a:gd name="connsiteX1160" fmla="*/ 982006 w 1176558"/>
                  <a:gd name="connsiteY1160" fmla="*/ 1082464 h 1226256"/>
                  <a:gd name="connsiteX1161" fmla="*/ 985643 w 1176558"/>
                  <a:gd name="connsiteY1161" fmla="*/ 1083525 h 1226256"/>
                  <a:gd name="connsiteX1162" fmla="*/ 990946 w 1176558"/>
                  <a:gd name="connsiteY1162" fmla="*/ 1080646 h 1226256"/>
                  <a:gd name="connsiteX1163" fmla="*/ 998067 w 1176558"/>
                  <a:gd name="connsiteY1163" fmla="*/ 1075797 h 1226256"/>
                  <a:gd name="connsiteX1164" fmla="*/ 1007007 w 1176558"/>
                  <a:gd name="connsiteY1164" fmla="*/ 1073524 h 1226256"/>
                  <a:gd name="connsiteX1165" fmla="*/ 1007462 w 1176558"/>
                  <a:gd name="connsiteY1165" fmla="*/ 1071251 h 1226256"/>
                  <a:gd name="connsiteX1166" fmla="*/ 1005643 w 1176558"/>
                  <a:gd name="connsiteY1166" fmla="*/ 1069736 h 1226256"/>
                  <a:gd name="connsiteX1167" fmla="*/ 1004128 w 1176558"/>
                  <a:gd name="connsiteY1167" fmla="*/ 1069130 h 1226256"/>
                  <a:gd name="connsiteX1168" fmla="*/ 1001855 w 1176558"/>
                  <a:gd name="connsiteY1168" fmla="*/ 1066857 h 1226256"/>
                  <a:gd name="connsiteX1169" fmla="*/ 992916 w 1176558"/>
                  <a:gd name="connsiteY1169" fmla="*/ 1062918 h 1226256"/>
                  <a:gd name="connsiteX1170" fmla="*/ 991552 w 1176558"/>
                  <a:gd name="connsiteY1170" fmla="*/ 1062615 h 1226256"/>
                  <a:gd name="connsiteX1171" fmla="*/ 990643 w 1176558"/>
                  <a:gd name="connsiteY1171" fmla="*/ 1062008 h 1226256"/>
                  <a:gd name="connsiteX1172" fmla="*/ 991400 w 1176558"/>
                  <a:gd name="connsiteY1172" fmla="*/ 1061099 h 1226256"/>
                  <a:gd name="connsiteX1173" fmla="*/ 992613 w 1176558"/>
                  <a:gd name="connsiteY1173" fmla="*/ 1060645 h 1226256"/>
                  <a:gd name="connsiteX1174" fmla="*/ 1002613 w 1176558"/>
                  <a:gd name="connsiteY1174" fmla="*/ 1065494 h 1226256"/>
                  <a:gd name="connsiteX1175" fmla="*/ 1008522 w 1176558"/>
                  <a:gd name="connsiteY1175" fmla="*/ 1070342 h 1226256"/>
                  <a:gd name="connsiteX1176" fmla="*/ 1010037 w 1176558"/>
                  <a:gd name="connsiteY1176" fmla="*/ 1072463 h 1226256"/>
                  <a:gd name="connsiteX1177" fmla="*/ 1009886 w 1176558"/>
                  <a:gd name="connsiteY1177" fmla="*/ 1075494 h 1226256"/>
                  <a:gd name="connsiteX1178" fmla="*/ 1009128 w 1176558"/>
                  <a:gd name="connsiteY1178" fmla="*/ 1077009 h 1226256"/>
                  <a:gd name="connsiteX1179" fmla="*/ 1006401 w 1176558"/>
                  <a:gd name="connsiteY1179" fmla="*/ 1078979 h 1226256"/>
                  <a:gd name="connsiteX1180" fmla="*/ 1006401 w 1176558"/>
                  <a:gd name="connsiteY1180" fmla="*/ 1081252 h 1226256"/>
                  <a:gd name="connsiteX1181" fmla="*/ 1006704 w 1176558"/>
                  <a:gd name="connsiteY1181" fmla="*/ 1082312 h 1226256"/>
                  <a:gd name="connsiteX1182" fmla="*/ 1009128 w 1176558"/>
                  <a:gd name="connsiteY1182" fmla="*/ 1087161 h 1226256"/>
                  <a:gd name="connsiteX1183" fmla="*/ 1009280 w 1176558"/>
                  <a:gd name="connsiteY1183" fmla="*/ 1088828 h 1226256"/>
                  <a:gd name="connsiteX1184" fmla="*/ 1009128 w 1176558"/>
                  <a:gd name="connsiteY1184" fmla="*/ 1090192 h 1226256"/>
                  <a:gd name="connsiteX1185" fmla="*/ 1008825 w 1176558"/>
                  <a:gd name="connsiteY1185" fmla="*/ 1091252 h 1226256"/>
                  <a:gd name="connsiteX1186" fmla="*/ 1007916 w 1176558"/>
                  <a:gd name="connsiteY1186" fmla="*/ 1093222 h 1226256"/>
                  <a:gd name="connsiteX1187" fmla="*/ 1006249 w 1176558"/>
                  <a:gd name="connsiteY1187" fmla="*/ 1094585 h 1226256"/>
                  <a:gd name="connsiteX1188" fmla="*/ 1005037 w 1176558"/>
                  <a:gd name="connsiteY1188" fmla="*/ 1095040 h 1226256"/>
                  <a:gd name="connsiteX1189" fmla="*/ 1003977 w 1176558"/>
                  <a:gd name="connsiteY1189" fmla="*/ 1093980 h 1226256"/>
                  <a:gd name="connsiteX1190" fmla="*/ 1004583 w 1176558"/>
                  <a:gd name="connsiteY1190" fmla="*/ 1093070 h 1226256"/>
                  <a:gd name="connsiteX1191" fmla="*/ 1007613 w 1176558"/>
                  <a:gd name="connsiteY1191" fmla="*/ 1090343 h 1226256"/>
                  <a:gd name="connsiteX1192" fmla="*/ 1007916 w 1176558"/>
                  <a:gd name="connsiteY1192" fmla="*/ 1088373 h 1226256"/>
                  <a:gd name="connsiteX1193" fmla="*/ 1007462 w 1176558"/>
                  <a:gd name="connsiteY1193" fmla="*/ 1086404 h 1226256"/>
                  <a:gd name="connsiteX1194" fmla="*/ 1005795 w 1176558"/>
                  <a:gd name="connsiteY1194" fmla="*/ 1084737 h 1226256"/>
                  <a:gd name="connsiteX1195" fmla="*/ 1004583 w 1176558"/>
                  <a:gd name="connsiteY1195" fmla="*/ 1082767 h 1226256"/>
                  <a:gd name="connsiteX1196" fmla="*/ 1004583 w 1176558"/>
                  <a:gd name="connsiteY1196" fmla="*/ 1080646 h 1226256"/>
                  <a:gd name="connsiteX1197" fmla="*/ 1003522 w 1176558"/>
                  <a:gd name="connsiteY1197" fmla="*/ 1079737 h 1226256"/>
                  <a:gd name="connsiteX1198" fmla="*/ 1001855 w 1176558"/>
                  <a:gd name="connsiteY1198" fmla="*/ 1079282 h 1226256"/>
                  <a:gd name="connsiteX1199" fmla="*/ 1000492 w 1176558"/>
                  <a:gd name="connsiteY1199" fmla="*/ 1079737 h 1226256"/>
                  <a:gd name="connsiteX1200" fmla="*/ 997764 w 1176558"/>
                  <a:gd name="connsiteY1200" fmla="*/ 1082918 h 1226256"/>
                  <a:gd name="connsiteX1201" fmla="*/ 992461 w 1176558"/>
                  <a:gd name="connsiteY1201" fmla="*/ 1085949 h 1226256"/>
                  <a:gd name="connsiteX1202" fmla="*/ 989128 w 1176558"/>
                  <a:gd name="connsiteY1202" fmla="*/ 1087009 h 1226256"/>
                  <a:gd name="connsiteX1203" fmla="*/ 987309 w 1176558"/>
                  <a:gd name="connsiteY1203" fmla="*/ 1087313 h 1226256"/>
                  <a:gd name="connsiteX1204" fmla="*/ 983673 w 1176558"/>
                  <a:gd name="connsiteY1204" fmla="*/ 1086555 h 1226256"/>
                  <a:gd name="connsiteX1205" fmla="*/ 981703 w 1176558"/>
                  <a:gd name="connsiteY1205" fmla="*/ 1086858 h 1226256"/>
                  <a:gd name="connsiteX1206" fmla="*/ 978521 w 1176558"/>
                  <a:gd name="connsiteY1206" fmla="*/ 1084130 h 1226256"/>
                  <a:gd name="connsiteX1207" fmla="*/ 977612 w 1176558"/>
                  <a:gd name="connsiteY1207" fmla="*/ 1084130 h 1226256"/>
                  <a:gd name="connsiteX1208" fmla="*/ 977612 w 1176558"/>
                  <a:gd name="connsiteY1208" fmla="*/ 1086252 h 1226256"/>
                  <a:gd name="connsiteX1209" fmla="*/ 977157 w 1176558"/>
                  <a:gd name="connsiteY1209" fmla="*/ 1088525 h 1226256"/>
                  <a:gd name="connsiteX1210" fmla="*/ 975945 w 1176558"/>
                  <a:gd name="connsiteY1210" fmla="*/ 1089131 h 1226256"/>
                  <a:gd name="connsiteX1211" fmla="*/ 973673 w 1176558"/>
                  <a:gd name="connsiteY1211" fmla="*/ 1089737 h 1226256"/>
                  <a:gd name="connsiteX1212" fmla="*/ 968066 w 1176558"/>
                  <a:gd name="connsiteY1212" fmla="*/ 1087009 h 1226256"/>
                  <a:gd name="connsiteX1213" fmla="*/ 965491 w 1176558"/>
                  <a:gd name="connsiteY1213" fmla="*/ 1086858 h 1226256"/>
                  <a:gd name="connsiteX1214" fmla="*/ 963824 w 1176558"/>
                  <a:gd name="connsiteY1214" fmla="*/ 1085646 h 1226256"/>
                  <a:gd name="connsiteX1215" fmla="*/ 961854 w 1176558"/>
                  <a:gd name="connsiteY1215" fmla="*/ 1085040 h 1226256"/>
                  <a:gd name="connsiteX1216" fmla="*/ 960945 w 1176558"/>
                  <a:gd name="connsiteY1216" fmla="*/ 1085494 h 1226256"/>
                  <a:gd name="connsiteX1217" fmla="*/ 961702 w 1176558"/>
                  <a:gd name="connsiteY1217" fmla="*/ 1087464 h 1226256"/>
                  <a:gd name="connsiteX1218" fmla="*/ 962460 w 1176558"/>
                  <a:gd name="connsiteY1218" fmla="*/ 1088676 h 1226256"/>
                  <a:gd name="connsiteX1219" fmla="*/ 964127 w 1176558"/>
                  <a:gd name="connsiteY1219" fmla="*/ 1092919 h 1226256"/>
                  <a:gd name="connsiteX1220" fmla="*/ 964884 w 1176558"/>
                  <a:gd name="connsiteY1220" fmla="*/ 1095343 h 1226256"/>
                  <a:gd name="connsiteX1221" fmla="*/ 966400 w 1176558"/>
                  <a:gd name="connsiteY1221" fmla="*/ 1095040 h 1226256"/>
                  <a:gd name="connsiteX1222" fmla="*/ 967915 w 1176558"/>
                  <a:gd name="connsiteY1222" fmla="*/ 1095949 h 1226256"/>
                  <a:gd name="connsiteX1223" fmla="*/ 968975 w 1176558"/>
                  <a:gd name="connsiteY1223" fmla="*/ 1100040 h 1226256"/>
                  <a:gd name="connsiteX1224" fmla="*/ 968066 w 1176558"/>
                  <a:gd name="connsiteY1224" fmla="*/ 1102465 h 1226256"/>
                  <a:gd name="connsiteX1225" fmla="*/ 968672 w 1176558"/>
                  <a:gd name="connsiteY1225" fmla="*/ 1104737 h 1226256"/>
                  <a:gd name="connsiteX1226" fmla="*/ 971400 w 1176558"/>
                  <a:gd name="connsiteY1226" fmla="*/ 1106556 h 1226256"/>
                  <a:gd name="connsiteX1227" fmla="*/ 977006 w 1176558"/>
                  <a:gd name="connsiteY1227" fmla="*/ 1105646 h 1226256"/>
                  <a:gd name="connsiteX1228" fmla="*/ 980491 w 1176558"/>
                  <a:gd name="connsiteY1228" fmla="*/ 1106556 h 1226256"/>
                  <a:gd name="connsiteX1229" fmla="*/ 986097 w 1176558"/>
                  <a:gd name="connsiteY1229" fmla="*/ 1103222 h 1226256"/>
                  <a:gd name="connsiteX1230" fmla="*/ 989885 w 1176558"/>
                  <a:gd name="connsiteY1230" fmla="*/ 1104283 h 1226256"/>
                  <a:gd name="connsiteX1231" fmla="*/ 991704 w 1176558"/>
                  <a:gd name="connsiteY1231" fmla="*/ 1102010 h 1226256"/>
                  <a:gd name="connsiteX1232" fmla="*/ 991552 w 1176558"/>
                  <a:gd name="connsiteY1232" fmla="*/ 1099282 h 1226256"/>
                  <a:gd name="connsiteX1233" fmla="*/ 993219 w 1176558"/>
                  <a:gd name="connsiteY1233" fmla="*/ 1099282 h 1226256"/>
                  <a:gd name="connsiteX1234" fmla="*/ 994582 w 1176558"/>
                  <a:gd name="connsiteY1234" fmla="*/ 1100949 h 1226256"/>
                  <a:gd name="connsiteX1235" fmla="*/ 992613 w 1176558"/>
                  <a:gd name="connsiteY1235" fmla="*/ 1103374 h 1226256"/>
                  <a:gd name="connsiteX1236" fmla="*/ 990037 w 1176558"/>
                  <a:gd name="connsiteY1236" fmla="*/ 1107313 h 1226256"/>
                  <a:gd name="connsiteX1237" fmla="*/ 987158 w 1176558"/>
                  <a:gd name="connsiteY1237" fmla="*/ 1108980 h 1226256"/>
                  <a:gd name="connsiteX1238" fmla="*/ 978976 w 1176558"/>
                  <a:gd name="connsiteY1238" fmla="*/ 1112011 h 1226256"/>
                  <a:gd name="connsiteX1239" fmla="*/ 982764 w 1176558"/>
                  <a:gd name="connsiteY1239" fmla="*/ 1114434 h 1226256"/>
                  <a:gd name="connsiteX1240" fmla="*/ 984127 w 1176558"/>
                  <a:gd name="connsiteY1240" fmla="*/ 1116708 h 1226256"/>
                  <a:gd name="connsiteX1241" fmla="*/ 987461 w 1176558"/>
                  <a:gd name="connsiteY1241" fmla="*/ 1120041 h 1226256"/>
                  <a:gd name="connsiteX1242" fmla="*/ 993370 w 1176558"/>
                  <a:gd name="connsiteY1242" fmla="*/ 1120799 h 1226256"/>
                  <a:gd name="connsiteX1243" fmla="*/ 995188 w 1176558"/>
                  <a:gd name="connsiteY1243" fmla="*/ 1119738 h 1226256"/>
                  <a:gd name="connsiteX1244" fmla="*/ 996098 w 1176558"/>
                  <a:gd name="connsiteY1244" fmla="*/ 1118829 h 1226256"/>
                  <a:gd name="connsiteX1245" fmla="*/ 996249 w 1176558"/>
                  <a:gd name="connsiteY1245" fmla="*/ 1117162 h 1226256"/>
                  <a:gd name="connsiteX1246" fmla="*/ 996098 w 1176558"/>
                  <a:gd name="connsiteY1246" fmla="*/ 1113980 h 1226256"/>
                  <a:gd name="connsiteX1247" fmla="*/ 998522 w 1176558"/>
                  <a:gd name="connsiteY1247" fmla="*/ 1109889 h 1226256"/>
                  <a:gd name="connsiteX1248" fmla="*/ 1002007 w 1176558"/>
                  <a:gd name="connsiteY1248" fmla="*/ 1107313 h 1226256"/>
                  <a:gd name="connsiteX1249" fmla="*/ 1002916 w 1176558"/>
                  <a:gd name="connsiteY1249" fmla="*/ 1104737 h 1226256"/>
                  <a:gd name="connsiteX1250" fmla="*/ 1002613 w 1176558"/>
                  <a:gd name="connsiteY1250" fmla="*/ 1102313 h 1226256"/>
                  <a:gd name="connsiteX1251" fmla="*/ 1004431 w 1176558"/>
                  <a:gd name="connsiteY1251" fmla="*/ 1100798 h 1226256"/>
                  <a:gd name="connsiteX1252" fmla="*/ 1006249 w 1176558"/>
                  <a:gd name="connsiteY1252" fmla="*/ 1100495 h 1226256"/>
                  <a:gd name="connsiteX1253" fmla="*/ 1010037 w 1176558"/>
                  <a:gd name="connsiteY1253" fmla="*/ 1101707 h 1226256"/>
                  <a:gd name="connsiteX1254" fmla="*/ 1010795 w 1176558"/>
                  <a:gd name="connsiteY1254" fmla="*/ 1103374 h 1226256"/>
                  <a:gd name="connsiteX1255" fmla="*/ 1011856 w 1176558"/>
                  <a:gd name="connsiteY1255" fmla="*/ 1104131 h 1226256"/>
                  <a:gd name="connsiteX1256" fmla="*/ 1015189 w 1176558"/>
                  <a:gd name="connsiteY1256" fmla="*/ 1100949 h 1226256"/>
                  <a:gd name="connsiteX1257" fmla="*/ 1017613 w 1176558"/>
                  <a:gd name="connsiteY1257" fmla="*/ 1100343 h 1226256"/>
                  <a:gd name="connsiteX1258" fmla="*/ 1028978 w 1176558"/>
                  <a:gd name="connsiteY1258" fmla="*/ 1100949 h 1226256"/>
                  <a:gd name="connsiteX1259" fmla="*/ 1033069 w 1176558"/>
                  <a:gd name="connsiteY1259" fmla="*/ 1101858 h 1226256"/>
                  <a:gd name="connsiteX1260" fmla="*/ 1037311 w 1176558"/>
                  <a:gd name="connsiteY1260" fmla="*/ 1103525 h 1226256"/>
                  <a:gd name="connsiteX1261" fmla="*/ 1036099 w 1176558"/>
                  <a:gd name="connsiteY1261" fmla="*/ 1104889 h 1226256"/>
                  <a:gd name="connsiteX1262" fmla="*/ 1035038 w 1176558"/>
                  <a:gd name="connsiteY1262" fmla="*/ 1105495 h 1226256"/>
                  <a:gd name="connsiteX1263" fmla="*/ 1029432 w 1176558"/>
                  <a:gd name="connsiteY1263" fmla="*/ 1106253 h 1226256"/>
                  <a:gd name="connsiteX1264" fmla="*/ 1024432 w 1176558"/>
                  <a:gd name="connsiteY1264" fmla="*/ 1104889 h 1226256"/>
                  <a:gd name="connsiteX1265" fmla="*/ 1020644 w 1176558"/>
                  <a:gd name="connsiteY1265" fmla="*/ 1105040 h 1226256"/>
                  <a:gd name="connsiteX1266" fmla="*/ 1011401 w 1176558"/>
                  <a:gd name="connsiteY1266" fmla="*/ 1111101 h 1226256"/>
                  <a:gd name="connsiteX1267" fmla="*/ 1006704 w 1176558"/>
                  <a:gd name="connsiteY1267" fmla="*/ 1111253 h 1226256"/>
                  <a:gd name="connsiteX1268" fmla="*/ 1006553 w 1176558"/>
                  <a:gd name="connsiteY1268" fmla="*/ 1109586 h 1226256"/>
                  <a:gd name="connsiteX1269" fmla="*/ 1005340 w 1176558"/>
                  <a:gd name="connsiteY1269" fmla="*/ 1108677 h 1226256"/>
                  <a:gd name="connsiteX1270" fmla="*/ 1003977 w 1176558"/>
                  <a:gd name="connsiteY1270" fmla="*/ 1109132 h 1226256"/>
                  <a:gd name="connsiteX1271" fmla="*/ 1001098 w 1176558"/>
                  <a:gd name="connsiteY1271" fmla="*/ 1111253 h 1226256"/>
                  <a:gd name="connsiteX1272" fmla="*/ 999583 w 1176558"/>
                  <a:gd name="connsiteY1272" fmla="*/ 1113222 h 1226256"/>
                  <a:gd name="connsiteX1273" fmla="*/ 998976 w 1176558"/>
                  <a:gd name="connsiteY1273" fmla="*/ 1115647 h 1226256"/>
                  <a:gd name="connsiteX1274" fmla="*/ 998825 w 1176558"/>
                  <a:gd name="connsiteY1274" fmla="*/ 1122465 h 1226256"/>
                  <a:gd name="connsiteX1275" fmla="*/ 996552 w 1176558"/>
                  <a:gd name="connsiteY1275" fmla="*/ 1124587 h 1226256"/>
                  <a:gd name="connsiteX1276" fmla="*/ 995037 w 1176558"/>
                  <a:gd name="connsiteY1276" fmla="*/ 1127011 h 1226256"/>
                  <a:gd name="connsiteX1277" fmla="*/ 996552 w 1176558"/>
                  <a:gd name="connsiteY1277" fmla="*/ 1128829 h 1226256"/>
                  <a:gd name="connsiteX1278" fmla="*/ 1003977 w 1176558"/>
                  <a:gd name="connsiteY1278" fmla="*/ 1133678 h 1226256"/>
                  <a:gd name="connsiteX1279" fmla="*/ 1008825 w 1176558"/>
                  <a:gd name="connsiteY1279" fmla="*/ 1135193 h 1226256"/>
                  <a:gd name="connsiteX1280" fmla="*/ 1009280 w 1176558"/>
                  <a:gd name="connsiteY1280" fmla="*/ 1131860 h 1226256"/>
                  <a:gd name="connsiteX1281" fmla="*/ 1010341 w 1176558"/>
                  <a:gd name="connsiteY1281" fmla="*/ 1128829 h 1226256"/>
                  <a:gd name="connsiteX1282" fmla="*/ 1011250 w 1176558"/>
                  <a:gd name="connsiteY1282" fmla="*/ 1127465 h 1226256"/>
                  <a:gd name="connsiteX1283" fmla="*/ 1016250 w 1176558"/>
                  <a:gd name="connsiteY1283" fmla="*/ 1122920 h 1226256"/>
                  <a:gd name="connsiteX1284" fmla="*/ 1020341 w 1176558"/>
                  <a:gd name="connsiteY1284" fmla="*/ 1120344 h 1226256"/>
                  <a:gd name="connsiteX1285" fmla="*/ 1026705 w 1176558"/>
                  <a:gd name="connsiteY1285" fmla="*/ 1118071 h 1226256"/>
                  <a:gd name="connsiteX1286" fmla="*/ 1040645 w 1176558"/>
                  <a:gd name="connsiteY1286" fmla="*/ 1109283 h 1226256"/>
                  <a:gd name="connsiteX1287" fmla="*/ 1045039 w 1176558"/>
                  <a:gd name="connsiteY1287" fmla="*/ 1110950 h 1226256"/>
                  <a:gd name="connsiteX1288" fmla="*/ 1047009 w 1176558"/>
                  <a:gd name="connsiteY1288" fmla="*/ 1112313 h 1226256"/>
                  <a:gd name="connsiteX1289" fmla="*/ 1046857 w 1176558"/>
                  <a:gd name="connsiteY1289" fmla="*/ 1113829 h 1226256"/>
                  <a:gd name="connsiteX1290" fmla="*/ 1046403 w 1176558"/>
                  <a:gd name="connsiteY1290" fmla="*/ 1115041 h 1226256"/>
                  <a:gd name="connsiteX1291" fmla="*/ 1043372 w 1176558"/>
                  <a:gd name="connsiteY1291" fmla="*/ 1119283 h 1226256"/>
                  <a:gd name="connsiteX1292" fmla="*/ 1040342 w 1176558"/>
                  <a:gd name="connsiteY1292" fmla="*/ 1122010 h 1226256"/>
                  <a:gd name="connsiteX1293" fmla="*/ 1031099 w 1176558"/>
                  <a:gd name="connsiteY1293" fmla="*/ 1126708 h 1226256"/>
                  <a:gd name="connsiteX1294" fmla="*/ 1029735 w 1176558"/>
                  <a:gd name="connsiteY1294" fmla="*/ 1136102 h 1226256"/>
                  <a:gd name="connsiteX1295" fmla="*/ 1027008 w 1176558"/>
                  <a:gd name="connsiteY1295" fmla="*/ 1137618 h 1226256"/>
                  <a:gd name="connsiteX1296" fmla="*/ 1026705 w 1176558"/>
                  <a:gd name="connsiteY1296" fmla="*/ 1136557 h 1226256"/>
                  <a:gd name="connsiteX1297" fmla="*/ 1027614 w 1176558"/>
                  <a:gd name="connsiteY1297" fmla="*/ 1135193 h 1226256"/>
                  <a:gd name="connsiteX1298" fmla="*/ 1028675 w 1176558"/>
                  <a:gd name="connsiteY1298" fmla="*/ 1132920 h 1226256"/>
                  <a:gd name="connsiteX1299" fmla="*/ 1028068 w 1176558"/>
                  <a:gd name="connsiteY1299" fmla="*/ 1128677 h 1226256"/>
                  <a:gd name="connsiteX1300" fmla="*/ 1025644 w 1176558"/>
                  <a:gd name="connsiteY1300" fmla="*/ 1126708 h 1226256"/>
                  <a:gd name="connsiteX1301" fmla="*/ 1021856 w 1176558"/>
                  <a:gd name="connsiteY1301" fmla="*/ 1127314 h 1226256"/>
                  <a:gd name="connsiteX1302" fmla="*/ 1017311 w 1176558"/>
                  <a:gd name="connsiteY1302" fmla="*/ 1127163 h 1226256"/>
                  <a:gd name="connsiteX1303" fmla="*/ 1015795 w 1176558"/>
                  <a:gd name="connsiteY1303" fmla="*/ 1127465 h 1226256"/>
                  <a:gd name="connsiteX1304" fmla="*/ 1012916 w 1176558"/>
                  <a:gd name="connsiteY1304" fmla="*/ 1131102 h 1226256"/>
                  <a:gd name="connsiteX1305" fmla="*/ 1013371 w 1176558"/>
                  <a:gd name="connsiteY1305" fmla="*/ 1133678 h 1226256"/>
                  <a:gd name="connsiteX1306" fmla="*/ 1013977 w 1176558"/>
                  <a:gd name="connsiteY1306" fmla="*/ 1135648 h 1226256"/>
                  <a:gd name="connsiteX1307" fmla="*/ 1019583 w 1176558"/>
                  <a:gd name="connsiteY1307" fmla="*/ 1141708 h 1226256"/>
                  <a:gd name="connsiteX1308" fmla="*/ 1021553 w 1176558"/>
                  <a:gd name="connsiteY1308" fmla="*/ 1142920 h 1226256"/>
                  <a:gd name="connsiteX1309" fmla="*/ 1027765 w 1176558"/>
                  <a:gd name="connsiteY1309" fmla="*/ 1145042 h 1226256"/>
                  <a:gd name="connsiteX1310" fmla="*/ 1032614 w 1176558"/>
                  <a:gd name="connsiteY1310" fmla="*/ 1148072 h 1226256"/>
                  <a:gd name="connsiteX1311" fmla="*/ 1039432 w 1176558"/>
                  <a:gd name="connsiteY1311" fmla="*/ 1149436 h 1226256"/>
                  <a:gd name="connsiteX1312" fmla="*/ 1043372 w 1176558"/>
                  <a:gd name="connsiteY1312" fmla="*/ 1150951 h 1226256"/>
                  <a:gd name="connsiteX1313" fmla="*/ 1049282 w 1176558"/>
                  <a:gd name="connsiteY1313" fmla="*/ 1148830 h 1226256"/>
                  <a:gd name="connsiteX1314" fmla="*/ 1051706 w 1176558"/>
                  <a:gd name="connsiteY1314" fmla="*/ 1147163 h 1226256"/>
                  <a:gd name="connsiteX1315" fmla="*/ 1053070 w 1176558"/>
                  <a:gd name="connsiteY1315" fmla="*/ 1139284 h 1226256"/>
                  <a:gd name="connsiteX1316" fmla="*/ 1052009 w 1176558"/>
                  <a:gd name="connsiteY1316" fmla="*/ 1134739 h 1226256"/>
                  <a:gd name="connsiteX1317" fmla="*/ 1052009 w 1176558"/>
                  <a:gd name="connsiteY1317" fmla="*/ 1132011 h 1226256"/>
                  <a:gd name="connsiteX1318" fmla="*/ 1052918 w 1176558"/>
                  <a:gd name="connsiteY1318" fmla="*/ 1126556 h 1226256"/>
                  <a:gd name="connsiteX1319" fmla="*/ 1056554 w 1176558"/>
                  <a:gd name="connsiteY1319" fmla="*/ 1116708 h 1226256"/>
                  <a:gd name="connsiteX1320" fmla="*/ 1056100 w 1176558"/>
                  <a:gd name="connsiteY1320" fmla="*/ 1113980 h 1226256"/>
                  <a:gd name="connsiteX1321" fmla="*/ 1057312 w 1176558"/>
                  <a:gd name="connsiteY1321" fmla="*/ 1109586 h 1226256"/>
                  <a:gd name="connsiteX1322" fmla="*/ 1060494 w 1176558"/>
                  <a:gd name="connsiteY1322" fmla="*/ 1107465 h 1226256"/>
                  <a:gd name="connsiteX1323" fmla="*/ 1063676 w 1176558"/>
                  <a:gd name="connsiteY1323" fmla="*/ 1105949 h 1226256"/>
                  <a:gd name="connsiteX1324" fmla="*/ 1068373 w 1176558"/>
                  <a:gd name="connsiteY1324" fmla="*/ 1105495 h 1226256"/>
                  <a:gd name="connsiteX1325" fmla="*/ 1081555 w 1176558"/>
                  <a:gd name="connsiteY1325" fmla="*/ 1100040 h 1226256"/>
                  <a:gd name="connsiteX1326" fmla="*/ 1085495 w 1176558"/>
                  <a:gd name="connsiteY1326" fmla="*/ 1099737 h 1226256"/>
                  <a:gd name="connsiteX1327" fmla="*/ 1089434 w 1176558"/>
                  <a:gd name="connsiteY1327" fmla="*/ 1098222 h 1226256"/>
                  <a:gd name="connsiteX1328" fmla="*/ 1091101 w 1176558"/>
                  <a:gd name="connsiteY1328" fmla="*/ 1096707 h 1226256"/>
                  <a:gd name="connsiteX1329" fmla="*/ 1094283 w 1176558"/>
                  <a:gd name="connsiteY1329" fmla="*/ 1091101 h 1226256"/>
                  <a:gd name="connsiteX1330" fmla="*/ 1099889 w 1176558"/>
                  <a:gd name="connsiteY1330" fmla="*/ 1088828 h 1226256"/>
                  <a:gd name="connsiteX1331" fmla="*/ 1102768 w 1176558"/>
                  <a:gd name="connsiteY1331" fmla="*/ 1088979 h 1226256"/>
                  <a:gd name="connsiteX1332" fmla="*/ 1106253 w 1176558"/>
                  <a:gd name="connsiteY1332" fmla="*/ 1090797 h 1226256"/>
                  <a:gd name="connsiteX1333" fmla="*/ 1121708 w 1176558"/>
                  <a:gd name="connsiteY1333" fmla="*/ 1094282 h 1226256"/>
                  <a:gd name="connsiteX1334" fmla="*/ 1121254 w 1176558"/>
                  <a:gd name="connsiteY1334" fmla="*/ 1091858 h 1226256"/>
                  <a:gd name="connsiteX1335" fmla="*/ 1117769 w 1176558"/>
                  <a:gd name="connsiteY1335" fmla="*/ 1091252 h 1226256"/>
                  <a:gd name="connsiteX1336" fmla="*/ 1114284 w 1176558"/>
                  <a:gd name="connsiteY1336" fmla="*/ 1090646 h 1226256"/>
                  <a:gd name="connsiteX1337" fmla="*/ 1108526 w 1176558"/>
                  <a:gd name="connsiteY1337" fmla="*/ 1088979 h 1226256"/>
                  <a:gd name="connsiteX1338" fmla="*/ 1100798 w 1176558"/>
                  <a:gd name="connsiteY1338" fmla="*/ 1086404 h 1226256"/>
                  <a:gd name="connsiteX1339" fmla="*/ 1093071 w 1176558"/>
                  <a:gd name="connsiteY1339" fmla="*/ 1086404 h 1226256"/>
                  <a:gd name="connsiteX1340" fmla="*/ 1087010 w 1176558"/>
                  <a:gd name="connsiteY1340" fmla="*/ 1084130 h 1226256"/>
                  <a:gd name="connsiteX1341" fmla="*/ 1080192 w 1176558"/>
                  <a:gd name="connsiteY1341" fmla="*/ 1081706 h 1226256"/>
                  <a:gd name="connsiteX1342" fmla="*/ 1065949 w 1176558"/>
                  <a:gd name="connsiteY1342" fmla="*/ 1081555 h 1226256"/>
                  <a:gd name="connsiteX1343" fmla="*/ 1053372 w 1176558"/>
                  <a:gd name="connsiteY1343" fmla="*/ 1081403 h 1226256"/>
                  <a:gd name="connsiteX1344" fmla="*/ 1040493 w 1176558"/>
                  <a:gd name="connsiteY1344" fmla="*/ 1081252 h 1226256"/>
                  <a:gd name="connsiteX1345" fmla="*/ 1032160 w 1176558"/>
                  <a:gd name="connsiteY1345" fmla="*/ 1081100 h 1226256"/>
                  <a:gd name="connsiteX1346" fmla="*/ 1026705 w 1176558"/>
                  <a:gd name="connsiteY1346" fmla="*/ 1081100 h 1226256"/>
                  <a:gd name="connsiteX1347" fmla="*/ 1025341 w 1176558"/>
                  <a:gd name="connsiteY1347" fmla="*/ 1080191 h 1226256"/>
                  <a:gd name="connsiteX1348" fmla="*/ 1025796 w 1176558"/>
                  <a:gd name="connsiteY1348" fmla="*/ 1077160 h 1226256"/>
                  <a:gd name="connsiteX1349" fmla="*/ 1023674 w 1176558"/>
                  <a:gd name="connsiteY1349" fmla="*/ 1074888 h 1226256"/>
                  <a:gd name="connsiteX1350" fmla="*/ 1020644 w 1176558"/>
                  <a:gd name="connsiteY1350" fmla="*/ 1072161 h 1226256"/>
                  <a:gd name="connsiteX1351" fmla="*/ 1017007 w 1176558"/>
                  <a:gd name="connsiteY1351" fmla="*/ 1070191 h 1226256"/>
                  <a:gd name="connsiteX1352" fmla="*/ 1015189 w 1176558"/>
                  <a:gd name="connsiteY1352" fmla="*/ 1067615 h 1226256"/>
                  <a:gd name="connsiteX1353" fmla="*/ 1013219 w 1176558"/>
                  <a:gd name="connsiteY1353" fmla="*/ 1064736 h 1226256"/>
                  <a:gd name="connsiteX1354" fmla="*/ 1014280 w 1176558"/>
                  <a:gd name="connsiteY1354" fmla="*/ 1062160 h 1226256"/>
                  <a:gd name="connsiteX1355" fmla="*/ 1015947 w 1176558"/>
                  <a:gd name="connsiteY1355" fmla="*/ 1055948 h 1226256"/>
                  <a:gd name="connsiteX1356" fmla="*/ 1015947 w 1176558"/>
                  <a:gd name="connsiteY1356" fmla="*/ 1053220 h 1226256"/>
                  <a:gd name="connsiteX1357" fmla="*/ 1014432 w 1176558"/>
                  <a:gd name="connsiteY1357" fmla="*/ 1051251 h 1226256"/>
                  <a:gd name="connsiteX1358" fmla="*/ 1013977 w 1176558"/>
                  <a:gd name="connsiteY1358" fmla="*/ 1048523 h 1226256"/>
                  <a:gd name="connsiteX1359" fmla="*/ 1014432 w 1176558"/>
                  <a:gd name="connsiteY1359" fmla="*/ 1047311 h 1226256"/>
                  <a:gd name="connsiteX1360" fmla="*/ 1015795 w 1176558"/>
                  <a:gd name="connsiteY1360" fmla="*/ 1046402 h 1226256"/>
                  <a:gd name="connsiteX1361" fmla="*/ 1016704 w 1176558"/>
                  <a:gd name="connsiteY1361" fmla="*/ 1042008 h 1226256"/>
                  <a:gd name="connsiteX1362" fmla="*/ 1016098 w 1176558"/>
                  <a:gd name="connsiteY1362" fmla="*/ 1037614 h 1226256"/>
                  <a:gd name="connsiteX1363" fmla="*/ 1015038 w 1176558"/>
                  <a:gd name="connsiteY1363" fmla="*/ 1033674 h 1226256"/>
                  <a:gd name="connsiteX1364" fmla="*/ 1013674 w 1176558"/>
                  <a:gd name="connsiteY1364" fmla="*/ 1032008 h 1226256"/>
                  <a:gd name="connsiteX1365" fmla="*/ 1011856 w 1176558"/>
                  <a:gd name="connsiteY1365" fmla="*/ 1031250 h 1226256"/>
                  <a:gd name="connsiteX1366" fmla="*/ 1010492 w 1176558"/>
                  <a:gd name="connsiteY1366" fmla="*/ 1031098 h 1226256"/>
                  <a:gd name="connsiteX1367" fmla="*/ 1007462 w 1176558"/>
                  <a:gd name="connsiteY1367" fmla="*/ 1032613 h 1226256"/>
                  <a:gd name="connsiteX1368" fmla="*/ 1002461 w 1176558"/>
                  <a:gd name="connsiteY1368" fmla="*/ 1032310 h 1226256"/>
                  <a:gd name="connsiteX1369" fmla="*/ 1000795 w 1176558"/>
                  <a:gd name="connsiteY1369" fmla="*/ 1032917 h 1226256"/>
                  <a:gd name="connsiteX1370" fmla="*/ 998370 w 1176558"/>
                  <a:gd name="connsiteY1370" fmla="*/ 1034432 h 1226256"/>
                  <a:gd name="connsiteX1371" fmla="*/ 994885 w 1176558"/>
                  <a:gd name="connsiteY1371" fmla="*/ 1036705 h 1226256"/>
                  <a:gd name="connsiteX1372" fmla="*/ 992916 w 1176558"/>
                  <a:gd name="connsiteY1372" fmla="*/ 1035947 h 1226256"/>
                  <a:gd name="connsiteX1373" fmla="*/ 992310 w 1176558"/>
                  <a:gd name="connsiteY1373" fmla="*/ 1033522 h 1226256"/>
                  <a:gd name="connsiteX1374" fmla="*/ 990946 w 1176558"/>
                  <a:gd name="connsiteY1374" fmla="*/ 1031401 h 1226256"/>
                  <a:gd name="connsiteX1375" fmla="*/ 990188 w 1176558"/>
                  <a:gd name="connsiteY1375" fmla="*/ 1029583 h 1226256"/>
                  <a:gd name="connsiteX1376" fmla="*/ 989582 w 1176558"/>
                  <a:gd name="connsiteY1376" fmla="*/ 1026553 h 1226256"/>
                  <a:gd name="connsiteX1377" fmla="*/ 988521 w 1176558"/>
                  <a:gd name="connsiteY1377" fmla="*/ 1022613 h 1226256"/>
                  <a:gd name="connsiteX1378" fmla="*/ 986400 w 1176558"/>
                  <a:gd name="connsiteY1378" fmla="*/ 1017916 h 1226256"/>
                  <a:gd name="connsiteX1379" fmla="*/ 983218 w 1176558"/>
                  <a:gd name="connsiteY1379" fmla="*/ 1014128 h 1226256"/>
                  <a:gd name="connsiteX1380" fmla="*/ 983067 w 1176558"/>
                  <a:gd name="connsiteY1380" fmla="*/ 1010794 h 1226256"/>
                  <a:gd name="connsiteX1381" fmla="*/ 982461 w 1176558"/>
                  <a:gd name="connsiteY1381" fmla="*/ 1006552 h 1226256"/>
                  <a:gd name="connsiteX1382" fmla="*/ 984127 w 1176558"/>
                  <a:gd name="connsiteY1382" fmla="*/ 1002461 h 1226256"/>
                  <a:gd name="connsiteX1383" fmla="*/ 983218 w 1176558"/>
                  <a:gd name="connsiteY1383" fmla="*/ 998976 h 1226256"/>
                  <a:gd name="connsiteX1384" fmla="*/ 981249 w 1176558"/>
                  <a:gd name="connsiteY1384" fmla="*/ 994885 h 1226256"/>
                  <a:gd name="connsiteX1385" fmla="*/ 981855 w 1176558"/>
                  <a:gd name="connsiteY1385" fmla="*/ 990642 h 1226256"/>
                  <a:gd name="connsiteX1386" fmla="*/ 983824 w 1176558"/>
                  <a:gd name="connsiteY1386" fmla="*/ 988370 h 1226256"/>
                  <a:gd name="connsiteX1387" fmla="*/ 984431 w 1176558"/>
                  <a:gd name="connsiteY1387" fmla="*/ 985339 h 1226256"/>
                  <a:gd name="connsiteX1388" fmla="*/ 993370 w 1176558"/>
                  <a:gd name="connsiteY1388" fmla="*/ 984884 h 1226256"/>
                  <a:gd name="connsiteX1389" fmla="*/ 993067 w 1176558"/>
                  <a:gd name="connsiteY1389" fmla="*/ 980945 h 1226256"/>
                  <a:gd name="connsiteX1390" fmla="*/ 994582 w 1176558"/>
                  <a:gd name="connsiteY1390" fmla="*/ 977763 h 1226256"/>
                  <a:gd name="connsiteX1391" fmla="*/ 996249 w 1176558"/>
                  <a:gd name="connsiteY1391" fmla="*/ 974884 h 1226256"/>
                  <a:gd name="connsiteX1392" fmla="*/ 997613 w 1176558"/>
                  <a:gd name="connsiteY1392" fmla="*/ 973520 h 1226256"/>
                  <a:gd name="connsiteX1393" fmla="*/ 1000795 w 1176558"/>
                  <a:gd name="connsiteY1393" fmla="*/ 972308 h 1226256"/>
                  <a:gd name="connsiteX1394" fmla="*/ 1004583 w 1176558"/>
                  <a:gd name="connsiteY1394" fmla="*/ 970641 h 1226256"/>
                  <a:gd name="connsiteX1395" fmla="*/ 1006704 w 1176558"/>
                  <a:gd name="connsiteY1395" fmla="*/ 968672 h 1226256"/>
                  <a:gd name="connsiteX1396" fmla="*/ 1007765 w 1176558"/>
                  <a:gd name="connsiteY1396" fmla="*/ 967005 h 1226256"/>
                  <a:gd name="connsiteX1397" fmla="*/ 1008371 w 1176558"/>
                  <a:gd name="connsiteY1397" fmla="*/ 964732 h 1226256"/>
                  <a:gd name="connsiteX1398" fmla="*/ 1008522 w 1176558"/>
                  <a:gd name="connsiteY1398" fmla="*/ 962308 h 1226256"/>
                  <a:gd name="connsiteX1399" fmla="*/ 1007916 w 1176558"/>
                  <a:gd name="connsiteY1399" fmla="*/ 957308 h 1226256"/>
                  <a:gd name="connsiteX1400" fmla="*/ 1008674 w 1176558"/>
                  <a:gd name="connsiteY1400" fmla="*/ 955793 h 1226256"/>
                  <a:gd name="connsiteX1401" fmla="*/ 1010947 w 1176558"/>
                  <a:gd name="connsiteY1401" fmla="*/ 953823 h 1226256"/>
                  <a:gd name="connsiteX1402" fmla="*/ 1014886 w 1176558"/>
                  <a:gd name="connsiteY1402" fmla="*/ 952005 h 1226256"/>
                  <a:gd name="connsiteX1403" fmla="*/ 1016553 w 1176558"/>
                  <a:gd name="connsiteY1403" fmla="*/ 947156 h 1226256"/>
                  <a:gd name="connsiteX1404" fmla="*/ 1015644 w 1176558"/>
                  <a:gd name="connsiteY1404" fmla="*/ 943065 h 1226256"/>
                  <a:gd name="connsiteX1405" fmla="*/ 1013523 w 1176558"/>
                  <a:gd name="connsiteY1405" fmla="*/ 939731 h 1226256"/>
                  <a:gd name="connsiteX1406" fmla="*/ 1010795 w 1176558"/>
                  <a:gd name="connsiteY1406" fmla="*/ 938216 h 1226256"/>
                  <a:gd name="connsiteX1407" fmla="*/ 1010492 w 1176558"/>
                  <a:gd name="connsiteY1407" fmla="*/ 934883 h 1226256"/>
                  <a:gd name="connsiteX1408" fmla="*/ 1011704 w 1176558"/>
                  <a:gd name="connsiteY1408" fmla="*/ 931701 h 1226256"/>
                  <a:gd name="connsiteX1409" fmla="*/ 1013371 w 1176558"/>
                  <a:gd name="connsiteY1409" fmla="*/ 928216 h 1226256"/>
                  <a:gd name="connsiteX1410" fmla="*/ 1015341 w 1176558"/>
                  <a:gd name="connsiteY1410" fmla="*/ 924276 h 1226256"/>
                  <a:gd name="connsiteX1411" fmla="*/ 1015189 w 1176558"/>
                  <a:gd name="connsiteY1411" fmla="*/ 921549 h 1226256"/>
                  <a:gd name="connsiteX1412" fmla="*/ 1016856 w 1176558"/>
                  <a:gd name="connsiteY1412" fmla="*/ 919882 h 1226256"/>
                  <a:gd name="connsiteX1413" fmla="*/ 1021705 w 1176558"/>
                  <a:gd name="connsiteY1413" fmla="*/ 916246 h 1226256"/>
                  <a:gd name="connsiteX1414" fmla="*/ 1023371 w 1176558"/>
                  <a:gd name="connsiteY1414" fmla="*/ 912760 h 1226256"/>
                  <a:gd name="connsiteX1415" fmla="*/ 1025038 w 1176558"/>
                  <a:gd name="connsiteY1415" fmla="*/ 911851 h 1226256"/>
                  <a:gd name="connsiteX1416" fmla="*/ 1027008 w 1176558"/>
                  <a:gd name="connsiteY1416" fmla="*/ 911397 h 1226256"/>
                  <a:gd name="connsiteX1417" fmla="*/ 1027159 w 1176558"/>
                  <a:gd name="connsiteY1417" fmla="*/ 909427 h 1226256"/>
                  <a:gd name="connsiteX1418" fmla="*/ 1025644 w 1176558"/>
                  <a:gd name="connsiteY1418" fmla="*/ 907458 h 1226256"/>
                  <a:gd name="connsiteX1419" fmla="*/ 1025341 w 1176558"/>
                  <a:gd name="connsiteY1419" fmla="*/ 905033 h 1226256"/>
                  <a:gd name="connsiteX1420" fmla="*/ 1025493 w 1176558"/>
                  <a:gd name="connsiteY1420" fmla="*/ 902305 h 1226256"/>
                  <a:gd name="connsiteX1421" fmla="*/ 1025947 w 1176558"/>
                  <a:gd name="connsiteY1421" fmla="*/ 898669 h 1226256"/>
                  <a:gd name="connsiteX1422" fmla="*/ 1028220 w 1176558"/>
                  <a:gd name="connsiteY1422" fmla="*/ 897305 h 1226256"/>
                  <a:gd name="connsiteX1423" fmla="*/ 1031553 w 1176558"/>
                  <a:gd name="connsiteY1423" fmla="*/ 894427 h 1226256"/>
                  <a:gd name="connsiteX1424" fmla="*/ 1032463 w 1176558"/>
                  <a:gd name="connsiteY1424" fmla="*/ 892608 h 1226256"/>
                  <a:gd name="connsiteX1425" fmla="*/ 1032614 w 1176558"/>
                  <a:gd name="connsiteY1425" fmla="*/ 890032 h 1226256"/>
                  <a:gd name="connsiteX1426" fmla="*/ 1031553 w 1176558"/>
                  <a:gd name="connsiteY1426" fmla="*/ 884881 h 1226256"/>
                  <a:gd name="connsiteX1427" fmla="*/ 1030644 w 1176558"/>
                  <a:gd name="connsiteY1427" fmla="*/ 881244 h 1226256"/>
                  <a:gd name="connsiteX1428" fmla="*/ 1030190 w 1176558"/>
                  <a:gd name="connsiteY1428" fmla="*/ 879881 h 1226256"/>
                  <a:gd name="connsiteX1429" fmla="*/ 1028675 w 1176558"/>
                  <a:gd name="connsiteY1429" fmla="*/ 877305 h 1226256"/>
                  <a:gd name="connsiteX1430" fmla="*/ 1027462 w 1176558"/>
                  <a:gd name="connsiteY1430" fmla="*/ 875789 h 1226256"/>
                  <a:gd name="connsiteX1431" fmla="*/ 1029281 w 1176558"/>
                  <a:gd name="connsiteY1431" fmla="*/ 873820 h 1226256"/>
                  <a:gd name="connsiteX1432" fmla="*/ 1032766 w 1176558"/>
                  <a:gd name="connsiteY1432" fmla="*/ 871698 h 1226256"/>
                  <a:gd name="connsiteX1433" fmla="*/ 1034281 w 1176558"/>
                  <a:gd name="connsiteY1433" fmla="*/ 868668 h 1226256"/>
                  <a:gd name="connsiteX1434" fmla="*/ 1032917 w 1176558"/>
                  <a:gd name="connsiteY1434" fmla="*/ 866092 h 1226256"/>
                  <a:gd name="connsiteX1435" fmla="*/ 1030947 w 1176558"/>
                  <a:gd name="connsiteY1435" fmla="*/ 864729 h 1226256"/>
                  <a:gd name="connsiteX1436" fmla="*/ 1030341 w 1176558"/>
                  <a:gd name="connsiteY1436" fmla="*/ 860789 h 1226256"/>
                  <a:gd name="connsiteX1437" fmla="*/ 1031099 w 1176558"/>
                  <a:gd name="connsiteY1437" fmla="*/ 855789 h 1226256"/>
                  <a:gd name="connsiteX1438" fmla="*/ 1032614 w 1176558"/>
                  <a:gd name="connsiteY1438" fmla="*/ 854274 h 1226256"/>
                  <a:gd name="connsiteX1439" fmla="*/ 1037614 w 1176558"/>
                  <a:gd name="connsiteY1439" fmla="*/ 853516 h 1226256"/>
                  <a:gd name="connsiteX1440" fmla="*/ 1038069 w 1176558"/>
                  <a:gd name="connsiteY1440" fmla="*/ 850940 h 1226256"/>
                  <a:gd name="connsiteX1441" fmla="*/ 1041857 w 1176558"/>
                  <a:gd name="connsiteY1441" fmla="*/ 847304 h 1226256"/>
                  <a:gd name="connsiteX1442" fmla="*/ 1041705 w 1176558"/>
                  <a:gd name="connsiteY1442" fmla="*/ 843819 h 1226256"/>
                  <a:gd name="connsiteX1443" fmla="*/ 1039281 w 1176558"/>
                  <a:gd name="connsiteY1443" fmla="*/ 841697 h 1226256"/>
                  <a:gd name="connsiteX1444" fmla="*/ 1036857 w 1176558"/>
                  <a:gd name="connsiteY1444" fmla="*/ 838364 h 1226256"/>
                  <a:gd name="connsiteX1445" fmla="*/ 1035038 w 1176558"/>
                  <a:gd name="connsiteY1445" fmla="*/ 835334 h 1226256"/>
                  <a:gd name="connsiteX1446" fmla="*/ 1029129 w 1176558"/>
                  <a:gd name="connsiteY1446" fmla="*/ 833667 h 1226256"/>
                  <a:gd name="connsiteX1447" fmla="*/ 1022917 w 1176558"/>
                  <a:gd name="connsiteY1447" fmla="*/ 832758 h 1226256"/>
                  <a:gd name="connsiteX1448" fmla="*/ 1022008 w 1176558"/>
                  <a:gd name="connsiteY1448" fmla="*/ 829879 h 1226256"/>
                  <a:gd name="connsiteX1449" fmla="*/ 1022311 w 1176558"/>
                  <a:gd name="connsiteY1449" fmla="*/ 828212 h 1226256"/>
                  <a:gd name="connsiteX1450" fmla="*/ 1025189 w 1176558"/>
                  <a:gd name="connsiteY1450" fmla="*/ 828818 h 1226256"/>
                  <a:gd name="connsiteX1451" fmla="*/ 1029887 w 1176558"/>
                  <a:gd name="connsiteY1451" fmla="*/ 828212 h 1226256"/>
                  <a:gd name="connsiteX1452" fmla="*/ 1033523 w 1176558"/>
                  <a:gd name="connsiteY1452" fmla="*/ 828060 h 1226256"/>
                  <a:gd name="connsiteX1453" fmla="*/ 1035948 w 1176558"/>
                  <a:gd name="connsiteY1453" fmla="*/ 827758 h 1226256"/>
                  <a:gd name="connsiteX1454" fmla="*/ 1038827 w 1176558"/>
                  <a:gd name="connsiteY1454" fmla="*/ 827303 h 1226256"/>
                  <a:gd name="connsiteX1455" fmla="*/ 1041554 w 1176558"/>
                  <a:gd name="connsiteY1455" fmla="*/ 828515 h 1226256"/>
                  <a:gd name="connsiteX1456" fmla="*/ 1044281 w 1176558"/>
                  <a:gd name="connsiteY1456" fmla="*/ 827758 h 1226256"/>
                  <a:gd name="connsiteX1457" fmla="*/ 1045342 w 1176558"/>
                  <a:gd name="connsiteY1457" fmla="*/ 823363 h 1226256"/>
                  <a:gd name="connsiteX1458" fmla="*/ 1047009 w 1176558"/>
                  <a:gd name="connsiteY1458" fmla="*/ 820939 h 1226256"/>
                  <a:gd name="connsiteX1459" fmla="*/ 1047312 w 1176558"/>
                  <a:gd name="connsiteY1459" fmla="*/ 818666 h 1226256"/>
                  <a:gd name="connsiteX1460" fmla="*/ 1045645 w 1176558"/>
                  <a:gd name="connsiteY1460" fmla="*/ 816848 h 1226256"/>
                  <a:gd name="connsiteX1461" fmla="*/ 1042615 w 1176558"/>
                  <a:gd name="connsiteY1461" fmla="*/ 816242 h 1226256"/>
                  <a:gd name="connsiteX1462" fmla="*/ 1029129 w 1176558"/>
                  <a:gd name="connsiteY1462" fmla="*/ 814878 h 1226256"/>
                  <a:gd name="connsiteX1463" fmla="*/ 1028675 w 1176558"/>
                  <a:gd name="connsiteY1463" fmla="*/ 813060 h 1226256"/>
                  <a:gd name="connsiteX1464" fmla="*/ 1028826 w 1176558"/>
                  <a:gd name="connsiteY1464" fmla="*/ 810029 h 1226256"/>
                  <a:gd name="connsiteX1465" fmla="*/ 1029281 w 1176558"/>
                  <a:gd name="connsiteY1465" fmla="*/ 806999 h 1226256"/>
                  <a:gd name="connsiteX1466" fmla="*/ 1029281 w 1176558"/>
                  <a:gd name="connsiteY1466" fmla="*/ 805484 h 1226256"/>
                  <a:gd name="connsiteX1467" fmla="*/ 1030493 w 1176558"/>
                  <a:gd name="connsiteY1467" fmla="*/ 804120 h 1226256"/>
                  <a:gd name="connsiteX1468" fmla="*/ 1031856 w 1176558"/>
                  <a:gd name="connsiteY1468" fmla="*/ 801393 h 1226256"/>
                  <a:gd name="connsiteX1469" fmla="*/ 1032917 w 1176558"/>
                  <a:gd name="connsiteY1469" fmla="*/ 799574 h 1226256"/>
                  <a:gd name="connsiteX1470" fmla="*/ 1032008 w 1176558"/>
                  <a:gd name="connsiteY1470" fmla="*/ 797151 h 1226256"/>
                  <a:gd name="connsiteX1471" fmla="*/ 1029887 w 1176558"/>
                  <a:gd name="connsiteY1471" fmla="*/ 793665 h 1226256"/>
                  <a:gd name="connsiteX1472" fmla="*/ 1031402 w 1176558"/>
                  <a:gd name="connsiteY1472" fmla="*/ 791998 h 1226256"/>
                  <a:gd name="connsiteX1473" fmla="*/ 1031553 w 1176558"/>
                  <a:gd name="connsiteY1473" fmla="*/ 790029 h 1226256"/>
                  <a:gd name="connsiteX1474" fmla="*/ 1031099 w 1176558"/>
                  <a:gd name="connsiteY1474" fmla="*/ 788210 h 1226256"/>
                  <a:gd name="connsiteX1475" fmla="*/ 1028826 w 1176558"/>
                  <a:gd name="connsiteY1475" fmla="*/ 786089 h 1226256"/>
                  <a:gd name="connsiteX1476" fmla="*/ 1026856 w 1176558"/>
                  <a:gd name="connsiteY1476" fmla="*/ 783210 h 1226256"/>
                  <a:gd name="connsiteX1477" fmla="*/ 1026856 w 1176558"/>
                  <a:gd name="connsiteY1477" fmla="*/ 780180 h 1226256"/>
                  <a:gd name="connsiteX1478" fmla="*/ 1029129 w 1176558"/>
                  <a:gd name="connsiteY1478" fmla="*/ 779422 h 1226256"/>
                  <a:gd name="connsiteX1479" fmla="*/ 1030644 w 1176558"/>
                  <a:gd name="connsiteY1479" fmla="*/ 778513 h 1226256"/>
                  <a:gd name="connsiteX1480" fmla="*/ 1030947 w 1176558"/>
                  <a:gd name="connsiteY1480" fmla="*/ 776544 h 1226256"/>
                  <a:gd name="connsiteX1481" fmla="*/ 1030038 w 1176558"/>
                  <a:gd name="connsiteY1481" fmla="*/ 774271 h 1226256"/>
                  <a:gd name="connsiteX1482" fmla="*/ 1026856 w 1176558"/>
                  <a:gd name="connsiteY1482" fmla="*/ 773513 h 1226256"/>
                  <a:gd name="connsiteX1483" fmla="*/ 1022614 w 1176558"/>
                  <a:gd name="connsiteY1483" fmla="*/ 772149 h 1226256"/>
                  <a:gd name="connsiteX1484" fmla="*/ 1021250 w 1176558"/>
                  <a:gd name="connsiteY1484" fmla="*/ 770937 h 1226256"/>
                  <a:gd name="connsiteX1485" fmla="*/ 1020038 w 1176558"/>
                  <a:gd name="connsiteY1485" fmla="*/ 768361 h 1226256"/>
                  <a:gd name="connsiteX1486" fmla="*/ 1020947 w 1176558"/>
                  <a:gd name="connsiteY1486" fmla="*/ 761240 h 1226256"/>
                  <a:gd name="connsiteX1487" fmla="*/ 1020492 w 1176558"/>
                  <a:gd name="connsiteY1487" fmla="*/ 756997 h 1226256"/>
                  <a:gd name="connsiteX1488" fmla="*/ 1020189 w 1176558"/>
                  <a:gd name="connsiteY1488" fmla="*/ 754724 h 1226256"/>
                  <a:gd name="connsiteX1489" fmla="*/ 1021250 w 1176558"/>
                  <a:gd name="connsiteY1489" fmla="*/ 752906 h 1226256"/>
                  <a:gd name="connsiteX1490" fmla="*/ 1022614 w 1176558"/>
                  <a:gd name="connsiteY1490" fmla="*/ 751240 h 1226256"/>
                  <a:gd name="connsiteX1491" fmla="*/ 1022008 w 1176558"/>
                  <a:gd name="connsiteY1491" fmla="*/ 747452 h 1226256"/>
                  <a:gd name="connsiteX1492" fmla="*/ 1020795 w 1176558"/>
                  <a:gd name="connsiteY1492" fmla="*/ 745482 h 1226256"/>
                  <a:gd name="connsiteX1493" fmla="*/ 1021250 w 1176558"/>
                  <a:gd name="connsiteY1493" fmla="*/ 743967 h 1226256"/>
                  <a:gd name="connsiteX1494" fmla="*/ 1022462 w 1176558"/>
                  <a:gd name="connsiteY1494" fmla="*/ 742451 h 1226256"/>
                  <a:gd name="connsiteX1495" fmla="*/ 1023523 w 1176558"/>
                  <a:gd name="connsiteY1495" fmla="*/ 740633 h 1226256"/>
                  <a:gd name="connsiteX1496" fmla="*/ 1024432 w 1176558"/>
                  <a:gd name="connsiteY1496" fmla="*/ 740179 h 1226256"/>
                  <a:gd name="connsiteX1497" fmla="*/ 1025796 w 1176558"/>
                  <a:gd name="connsiteY1497" fmla="*/ 741239 h 1226256"/>
                  <a:gd name="connsiteX1498" fmla="*/ 1028068 w 1176558"/>
                  <a:gd name="connsiteY1498" fmla="*/ 740633 h 1226256"/>
                  <a:gd name="connsiteX1499" fmla="*/ 1030796 w 1176558"/>
                  <a:gd name="connsiteY1499" fmla="*/ 739118 h 1226256"/>
                  <a:gd name="connsiteX1500" fmla="*/ 1031099 w 1176558"/>
                  <a:gd name="connsiteY1500" fmla="*/ 737300 h 1226256"/>
                  <a:gd name="connsiteX1501" fmla="*/ 1030493 w 1176558"/>
                  <a:gd name="connsiteY1501" fmla="*/ 734724 h 1226256"/>
                  <a:gd name="connsiteX1502" fmla="*/ 1028523 w 1176558"/>
                  <a:gd name="connsiteY1502" fmla="*/ 728360 h 1226256"/>
                  <a:gd name="connsiteX1503" fmla="*/ 1026705 w 1176558"/>
                  <a:gd name="connsiteY1503" fmla="*/ 724420 h 1226256"/>
                  <a:gd name="connsiteX1504" fmla="*/ 1027008 w 1176558"/>
                  <a:gd name="connsiteY1504" fmla="*/ 723057 h 1226256"/>
                  <a:gd name="connsiteX1505" fmla="*/ 1027765 w 1176558"/>
                  <a:gd name="connsiteY1505" fmla="*/ 721541 h 1226256"/>
                  <a:gd name="connsiteX1506" fmla="*/ 1027159 w 1176558"/>
                  <a:gd name="connsiteY1506" fmla="*/ 716087 h 1226256"/>
                  <a:gd name="connsiteX1507" fmla="*/ 1027311 w 1176558"/>
                  <a:gd name="connsiteY1507" fmla="*/ 712753 h 1226256"/>
                  <a:gd name="connsiteX1508" fmla="*/ 1027462 w 1176558"/>
                  <a:gd name="connsiteY1508" fmla="*/ 703056 h 1226256"/>
                  <a:gd name="connsiteX1509" fmla="*/ 1027614 w 1176558"/>
                  <a:gd name="connsiteY1509" fmla="*/ 699722 h 1226256"/>
                  <a:gd name="connsiteX1510" fmla="*/ 1025796 w 1176558"/>
                  <a:gd name="connsiteY1510" fmla="*/ 696389 h 1226256"/>
                  <a:gd name="connsiteX1511" fmla="*/ 1026099 w 1176558"/>
                  <a:gd name="connsiteY1511" fmla="*/ 693207 h 1226256"/>
                  <a:gd name="connsiteX1512" fmla="*/ 1027462 w 1176558"/>
                  <a:gd name="connsiteY1512" fmla="*/ 690934 h 1226256"/>
                  <a:gd name="connsiteX1513" fmla="*/ 1028675 w 1176558"/>
                  <a:gd name="connsiteY1513" fmla="*/ 687753 h 1226256"/>
                  <a:gd name="connsiteX1514" fmla="*/ 1029584 w 1176558"/>
                  <a:gd name="connsiteY1514" fmla="*/ 685025 h 1226256"/>
                  <a:gd name="connsiteX1515" fmla="*/ 1030493 w 1176558"/>
                  <a:gd name="connsiteY1515" fmla="*/ 683813 h 1226256"/>
                  <a:gd name="connsiteX1516" fmla="*/ 1032160 w 1176558"/>
                  <a:gd name="connsiteY1516" fmla="*/ 683207 h 1226256"/>
                  <a:gd name="connsiteX1517" fmla="*/ 1032463 w 1176558"/>
                  <a:gd name="connsiteY1517" fmla="*/ 681691 h 1226256"/>
                  <a:gd name="connsiteX1518" fmla="*/ 1031705 w 1176558"/>
                  <a:gd name="connsiteY1518" fmla="*/ 680479 h 1226256"/>
                  <a:gd name="connsiteX1519" fmla="*/ 1029584 w 1176558"/>
                  <a:gd name="connsiteY1519" fmla="*/ 678661 h 1226256"/>
                  <a:gd name="connsiteX1520" fmla="*/ 1029129 w 1176558"/>
                  <a:gd name="connsiteY1520" fmla="*/ 676540 h 1226256"/>
                  <a:gd name="connsiteX1521" fmla="*/ 1029584 w 1176558"/>
                  <a:gd name="connsiteY1521" fmla="*/ 674873 h 1226256"/>
                  <a:gd name="connsiteX1522" fmla="*/ 1030644 w 1176558"/>
                  <a:gd name="connsiteY1522" fmla="*/ 673964 h 1226256"/>
                  <a:gd name="connsiteX1523" fmla="*/ 1032311 w 1176558"/>
                  <a:gd name="connsiteY1523" fmla="*/ 673964 h 1226256"/>
                  <a:gd name="connsiteX1524" fmla="*/ 1033523 w 1176558"/>
                  <a:gd name="connsiteY1524" fmla="*/ 671540 h 1226256"/>
                  <a:gd name="connsiteX1525" fmla="*/ 1033826 w 1176558"/>
                  <a:gd name="connsiteY1525" fmla="*/ 668661 h 1226256"/>
                  <a:gd name="connsiteX1526" fmla="*/ 1034129 w 1176558"/>
                  <a:gd name="connsiteY1526" fmla="*/ 667297 h 1226256"/>
                  <a:gd name="connsiteX1527" fmla="*/ 1033220 w 1176558"/>
                  <a:gd name="connsiteY1527" fmla="*/ 665630 h 1226256"/>
                  <a:gd name="connsiteX1528" fmla="*/ 1032614 w 1176558"/>
                  <a:gd name="connsiteY1528" fmla="*/ 661539 h 1226256"/>
                  <a:gd name="connsiteX1529" fmla="*/ 1032008 w 1176558"/>
                  <a:gd name="connsiteY1529" fmla="*/ 659267 h 1226256"/>
                  <a:gd name="connsiteX1530" fmla="*/ 1032766 w 1176558"/>
                  <a:gd name="connsiteY1530" fmla="*/ 658358 h 1226256"/>
                  <a:gd name="connsiteX1531" fmla="*/ 1033826 w 1176558"/>
                  <a:gd name="connsiteY1531" fmla="*/ 658054 h 1226256"/>
                  <a:gd name="connsiteX1532" fmla="*/ 1035644 w 1176558"/>
                  <a:gd name="connsiteY1532" fmla="*/ 658660 h 1226256"/>
                  <a:gd name="connsiteX1533" fmla="*/ 1037008 w 1176558"/>
                  <a:gd name="connsiteY1533" fmla="*/ 658358 h 1226256"/>
                  <a:gd name="connsiteX1534" fmla="*/ 1037160 w 1176558"/>
                  <a:gd name="connsiteY1534" fmla="*/ 657145 h 1226256"/>
                  <a:gd name="connsiteX1535" fmla="*/ 1037311 w 1176558"/>
                  <a:gd name="connsiteY1535" fmla="*/ 655782 h 1226256"/>
                  <a:gd name="connsiteX1536" fmla="*/ 1037766 w 1176558"/>
                  <a:gd name="connsiteY1536" fmla="*/ 654872 h 1226256"/>
                  <a:gd name="connsiteX1537" fmla="*/ 1038978 w 1176558"/>
                  <a:gd name="connsiteY1537" fmla="*/ 651842 h 1226256"/>
                  <a:gd name="connsiteX1538" fmla="*/ 1040190 w 1176558"/>
                  <a:gd name="connsiteY1538" fmla="*/ 648205 h 1226256"/>
                  <a:gd name="connsiteX1539" fmla="*/ 1040493 w 1176558"/>
                  <a:gd name="connsiteY1539" fmla="*/ 645630 h 1226256"/>
                  <a:gd name="connsiteX1540" fmla="*/ 1040039 w 1176558"/>
                  <a:gd name="connsiteY1540" fmla="*/ 638660 h 1226256"/>
                  <a:gd name="connsiteX1541" fmla="*/ 1040645 w 1176558"/>
                  <a:gd name="connsiteY1541" fmla="*/ 636993 h 1226256"/>
                  <a:gd name="connsiteX1542" fmla="*/ 1042008 w 1176558"/>
                  <a:gd name="connsiteY1542" fmla="*/ 635478 h 1226256"/>
                  <a:gd name="connsiteX1543" fmla="*/ 1043827 w 1176558"/>
                  <a:gd name="connsiteY1543" fmla="*/ 634114 h 1226256"/>
                  <a:gd name="connsiteX1544" fmla="*/ 1046251 w 1176558"/>
                  <a:gd name="connsiteY1544" fmla="*/ 632902 h 1226256"/>
                  <a:gd name="connsiteX1545" fmla="*/ 1049282 w 1176558"/>
                  <a:gd name="connsiteY1545" fmla="*/ 631235 h 1226256"/>
                  <a:gd name="connsiteX1546" fmla="*/ 1052918 w 1176558"/>
                  <a:gd name="connsiteY1546" fmla="*/ 630629 h 1226256"/>
                  <a:gd name="connsiteX1547" fmla="*/ 1054433 w 1176558"/>
                  <a:gd name="connsiteY1547" fmla="*/ 628811 h 1226256"/>
                  <a:gd name="connsiteX1548" fmla="*/ 1055494 w 1176558"/>
                  <a:gd name="connsiteY1548" fmla="*/ 626386 h 1226256"/>
                  <a:gd name="connsiteX1549" fmla="*/ 1055797 w 1176558"/>
                  <a:gd name="connsiteY1549" fmla="*/ 624417 h 1226256"/>
                  <a:gd name="connsiteX1550" fmla="*/ 1054433 w 1176558"/>
                  <a:gd name="connsiteY1550" fmla="*/ 623053 h 1226256"/>
                  <a:gd name="connsiteX1551" fmla="*/ 1052615 w 1176558"/>
                  <a:gd name="connsiteY1551" fmla="*/ 621386 h 1226256"/>
                  <a:gd name="connsiteX1552" fmla="*/ 1051706 w 1176558"/>
                  <a:gd name="connsiteY1552" fmla="*/ 617295 h 1226256"/>
                  <a:gd name="connsiteX1553" fmla="*/ 1051251 w 1176558"/>
                  <a:gd name="connsiteY1553" fmla="*/ 613507 h 1226256"/>
                  <a:gd name="connsiteX1554" fmla="*/ 1050948 w 1176558"/>
                  <a:gd name="connsiteY1554" fmla="*/ 608659 h 1226256"/>
                  <a:gd name="connsiteX1555" fmla="*/ 1049130 w 1176558"/>
                  <a:gd name="connsiteY1555" fmla="*/ 604567 h 1226256"/>
                  <a:gd name="connsiteX1556" fmla="*/ 1047160 w 1176558"/>
                  <a:gd name="connsiteY1556" fmla="*/ 599870 h 1226256"/>
                  <a:gd name="connsiteX1557" fmla="*/ 1046705 w 1176558"/>
                  <a:gd name="connsiteY1557" fmla="*/ 595779 h 1226256"/>
                  <a:gd name="connsiteX1558" fmla="*/ 1047312 w 1176558"/>
                  <a:gd name="connsiteY1558" fmla="*/ 593507 h 1226256"/>
                  <a:gd name="connsiteX1559" fmla="*/ 1048069 w 1176558"/>
                  <a:gd name="connsiteY1559" fmla="*/ 589870 h 1226256"/>
                  <a:gd name="connsiteX1560" fmla="*/ 1047312 w 1176558"/>
                  <a:gd name="connsiteY1560" fmla="*/ 588203 h 1226256"/>
                  <a:gd name="connsiteX1561" fmla="*/ 1046403 w 1176558"/>
                  <a:gd name="connsiteY1561" fmla="*/ 585324 h 1226256"/>
                  <a:gd name="connsiteX1562" fmla="*/ 1047463 w 1176558"/>
                  <a:gd name="connsiteY1562" fmla="*/ 583052 h 1226256"/>
                  <a:gd name="connsiteX1563" fmla="*/ 1048675 w 1176558"/>
                  <a:gd name="connsiteY1563" fmla="*/ 579567 h 1226256"/>
                  <a:gd name="connsiteX1564" fmla="*/ 1048524 w 1176558"/>
                  <a:gd name="connsiteY1564" fmla="*/ 577748 h 1226256"/>
                  <a:gd name="connsiteX1565" fmla="*/ 1047615 w 1176558"/>
                  <a:gd name="connsiteY1565" fmla="*/ 573506 h 1226256"/>
                  <a:gd name="connsiteX1566" fmla="*/ 1046705 w 1176558"/>
                  <a:gd name="connsiteY1566" fmla="*/ 571081 h 1226256"/>
                  <a:gd name="connsiteX1567" fmla="*/ 1047615 w 1176558"/>
                  <a:gd name="connsiteY1567" fmla="*/ 568505 h 1226256"/>
                  <a:gd name="connsiteX1568" fmla="*/ 1048978 w 1176558"/>
                  <a:gd name="connsiteY1568" fmla="*/ 566082 h 1226256"/>
                  <a:gd name="connsiteX1569" fmla="*/ 1050039 w 1176558"/>
                  <a:gd name="connsiteY1569" fmla="*/ 564869 h 1226256"/>
                  <a:gd name="connsiteX1570" fmla="*/ 1049887 w 1176558"/>
                  <a:gd name="connsiteY1570" fmla="*/ 562748 h 1226256"/>
                  <a:gd name="connsiteX1571" fmla="*/ 1050342 w 1176558"/>
                  <a:gd name="connsiteY1571" fmla="*/ 561081 h 1226256"/>
                  <a:gd name="connsiteX1572" fmla="*/ 1052463 w 1176558"/>
                  <a:gd name="connsiteY1572" fmla="*/ 559869 h 1226256"/>
                  <a:gd name="connsiteX1573" fmla="*/ 1054433 w 1176558"/>
                  <a:gd name="connsiteY1573" fmla="*/ 557748 h 1226256"/>
                  <a:gd name="connsiteX1574" fmla="*/ 1055797 w 1176558"/>
                  <a:gd name="connsiteY1574" fmla="*/ 557445 h 1226256"/>
                  <a:gd name="connsiteX1575" fmla="*/ 1057464 w 1176558"/>
                  <a:gd name="connsiteY1575" fmla="*/ 557445 h 1226256"/>
                  <a:gd name="connsiteX1576" fmla="*/ 1058524 w 1176558"/>
                  <a:gd name="connsiteY1576" fmla="*/ 556839 h 1226256"/>
                  <a:gd name="connsiteX1577" fmla="*/ 1058979 w 1176558"/>
                  <a:gd name="connsiteY1577" fmla="*/ 555172 h 1226256"/>
                  <a:gd name="connsiteX1578" fmla="*/ 1059282 w 1176558"/>
                  <a:gd name="connsiteY1578" fmla="*/ 553353 h 1226256"/>
                  <a:gd name="connsiteX1579" fmla="*/ 1062009 w 1176558"/>
                  <a:gd name="connsiteY1579" fmla="*/ 551081 h 1226256"/>
                  <a:gd name="connsiteX1580" fmla="*/ 1063676 w 1176558"/>
                  <a:gd name="connsiteY1580" fmla="*/ 549111 h 1226256"/>
                  <a:gd name="connsiteX1581" fmla="*/ 1066555 w 1176558"/>
                  <a:gd name="connsiteY1581" fmla="*/ 548656 h 1226256"/>
                  <a:gd name="connsiteX1582" fmla="*/ 1067918 w 1176558"/>
                  <a:gd name="connsiteY1582" fmla="*/ 546384 h 1226256"/>
                  <a:gd name="connsiteX1583" fmla="*/ 1067918 w 1176558"/>
                  <a:gd name="connsiteY1583" fmla="*/ 543505 h 1226256"/>
                  <a:gd name="connsiteX1584" fmla="*/ 1067615 w 1176558"/>
                  <a:gd name="connsiteY1584" fmla="*/ 540626 h 1226256"/>
                  <a:gd name="connsiteX1585" fmla="*/ 1068524 w 1176558"/>
                  <a:gd name="connsiteY1585" fmla="*/ 537292 h 1226256"/>
                  <a:gd name="connsiteX1586" fmla="*/ 1067464 w 1176558"/>
                  <a:gd name="connsiteY1586" fmla="*/ 532292 h 1226256"/>
                  <a:gd name="connsiteX1587" fmla="*/ 1067615 w 1176558"/>
                  <a:gd name="connsiteY1587" fmla="*/ 529565 h 1226256"/>
                  <a:gd name="connsiteX1588" fmla="*/ 1066555 w 1176558"/>
                  <a:gd name="connsiteY1588" fmla="*/ 527292 h 1226256"/>
                  <a:gd name="connsiteX1589" fmla="*/ 1066706 w 1176558"/>
                  <a:gd name="connsiteY1589" fmla="*/ 524868 h 1226256"/>
                  <a:gd name="connsiteX1590" fmla="*/ 1066100 w 1176558"/>
                  <a:gd name="connsiteY1590" fmla="*/ 523353 h 1226256"/>
                  <a:gd name="connsiteX1591" fmla="*/ 1064434 w 1176558"/>
                  <a:gd name="connsiteY1591" fmla="*/ 522746 h 1226256"/>
                  <a:gd name="connsiteX1592" fmla="*/ 1063827 w 1176558"/>
                  <a:gd name="connsiteY1592" fmla="*/ 520928 h 1226256"/>
                  <a:gd name="connsiteX1593" fmla="*/ 1064585 w 1176558"/>
                  <a:gd name="connsiteY1593" fmla="*/ 520019 h 1226256"/>
                  <a:gd name="connsiteX1594" fmla="*/ 1066252 w 1176558"/>
                  <a:gd name="connsiteY1594" fmla="*/ 519261 h 1226256"/>
                  <a:gd name="connsiteX1595" fmla="*/ 1068222 w 1176558"/>
                  <a:gd name="connsiteY1595" fmla="*/ 517746 h 1226256"/>
                  <a:gd name="connsiteX1596" fmla="*/ 1069737 w 1176558"/>
                  <a:gd name="connsiteY1596" fmla="*/ 510776 h 1226256"/>
                  <a:gd name="connsiteX1597" fmla="*/ 1070494 w 1176558"/>
                  <a:gd name="connsiteY1597" fmla="*/ 508655 h 1226256"/>
                  <a:gd name="connsiteX1598" fmla="*/ 1071252 w 1176558"/>
                  <a:gd name="connsiteY1598" fmla="*/ 506231 h 1226256"/>
                  <a:gd name="connsiteX1599" fmla="*/ 1071100 w 1176558"/>
                  <a:gd name="connsiteY1599" fmla="*/ 505019 h 1226256"/>
                  <a:gd name="connsiteX1600" fmla="*/ 1072010 w 1176558"/>
                  <a:gd name="connsiteY1600" fmla="*/ 503200 h 1226256"/>
                  <a:gd name="connsiteX1601" fmla="*/ 1073222 w 1176558"/>
                  <a:gd name="connsiteY1601" fmla="*/ 500321 h 1226256"/>
                  <a:gd name="connsiteX1602" fmla="*/ 1075191 w 1176558"/>
                  <a:gd name="connsiteY1602" fmla="*/ 497594 h 1226256"/>
                  <a:gd name="connsiteX1603" fmla="*/ 1076252 w 1176558"/>
                  <a:gd name="connsiteY1603" fmla="*/ 495776 h 1226256"/>
                  <a:gd name="connsiteX1604" fmla="*/ 1077313 w 1176558"/>
                  <a:gd name="connsiteY1604" fmla="*/ 493200 h 1226256"/>
                  <a:gd name="connsiteX1605" fmla="*/ 1077616 w 1176558"/>
                  <a:gd name="connsiteY1605" fmla="*/ 491685 h 1226256"/>
                  <a:gd name="connsiteX1606" fmla="*/ 1078979 w 1176558"/>
                  <a:gd name="connsiteY1606" fmla="*/ 490927 h 1226256"/>
                  <a:gd name="connsiteX1607" fmla="*/ 1080495 w 1176558"/>
                  <a:gd name="connsiteY1607" fmla="*/ 490776 h 1226256"/>
                  <a:gd name="connsiteX1608" fmla="*/ 1082313 w 1176558"/>
                  <a:gd name="connsiteY1608" fmla="*/ 490321 h 1226256"/>
                  <a:gd name="connsiteX1609" fmla="*/ 1083071 w 1176558"/>
                  <a:gd name="connsiteY1609" fmla="*/ 489412 h 1226256"/>
                  <a:gd name="connsiteX1610" fmla="*/ 1082919 w 1176558"/>
                  <a:gd name="connsiteY1610" fmla="*/ 488048 h 1226256"/>
                  <a:gd name="connsiteX1611" fmla="*/ 1082767 w 1176558"/>
                  <a:gd name="connsiteY1611" fmla="*/ 485018 h 1226256"/>
                  <a:gd name="connsiteX1612" fmla="*/ 1082161 w 1176558"/>
                  <a:gd name="connsiteY1612" fmla="*/ 480321 h 1226256"/>
                  <a:gd name="connsiteX1613" fmla="*/ 1081858 w 1176558"/>
                  <a:gd name="connsiteY1613" fmla="*/ 474260 h 1226256"/>
                  <a:gd name="connsiteX1614" fmla="*/ 1082161 w 1176558"/>
                  <a:gd name="connsiteY1614" fmla="*/ 470320 h 1226256"/>
                  <a:gd name="connsiteX1615" fmla="*/ 1083374 w 1176558"/>
                  <a:gd name="connsiteY1615" fmla="*/ 466381 h 1226256"/>
                  <a:gd name="connsiteX1616" fmla="*/ 1084434 w 1176558"/>
                  <a:gd name="connsiteY1616" fmla="*/ 464260 h 1226256"/>
                  <a:gd name="connsiteX1617" fmla="*/ 1084131 w 1176558"/>
                  <a:gd name="connsiteY1617" fmla="*/ 462593 h 1226256"/>
                  <a:gd name="connsiteX1618" fmla="*/ 1083828 w 1176558"/>
                  <a:gd name="connsiteY1618" fmla="*/ 460774 h 1226256"/>
                  <a:gd name="connsiteX1619" fmla="*/ 1081707 w 1176558"/>
                  <a:gd name="connsiteY1619" fmla="*/ 459714 h 1226256"/>
                  <a:gd name="connsiteX1620" fmla="*/ 1079737 w 1176558"/>
                  <a:gd name="connsiteY1620" fmla="*/ 460623 h 1226256"/>
                  <a:gd name="connsiteX1621" fmla="*/ 1078373 w 1176558"/>
                  <a:gd name="connsiteY1621" fmla="*/ 460320 h 1226256"/>
                  <a:gd name="connsiteX1622" fmla="*/ 1076555 w 1176558"/>
                  <a:gd name="connsiteY1622" fmla="*/ 458198 h 1226256"/>
                  <a:gd name="connsiteX1623" fmla="*/ 1076101 w 1176558"/>
                  <a:gd name="connsiteY1623" fmla="*/ 455926 h 1226256"/>
                  <a:gd name="connsiteX1624" fmla="*/ 1076404 w 1176558"/>
                  <a:gd name="connsiteY1624" fmla="*/ 452896 h 1226256"/>
                  <a:gd name="connsiteX1625" fmla="*/ 1077767 w 1176558"/>
                  <a:gd name="connsiteY1625" fmla="*/ 450926 h 1226256"/>
                  <a:gd name="connsiteX1626" fmla="*/ 1078373 w 1176558"/>
                  <a:gd name="connsiteY1626" fmla="*/ 448501 h 1226256"/>
                  <a:gd name="connsiteX1627" fmla="*/ 1077616 w 1176558"/>
                  <a:gd name="connsiteY1627" fmla="*/ 447743 h 1226256"/>
                  <a:gd name="connsiteX1628" fmla="*/ 1075798 w 1176558"/>
                  <a:gd name="connsiteY1628" fmla="*/ 446077 h 1226256"/>
                  <a:gd name="connsiteX1629" fmla="*/ 1074131 w 1176558"/>
                  <a:gd name="connsiteY1629" fmla="*/ 440622 h 1226256"/>
                  <a:gd name="connsiteX1630" fmla="*/ 1074282 w 1176558"/>
                  <a:gd name="connsiteY1630" fmla="*/ 435925 h 1226256"/>
                  <a:gd name="connsiteX1631" fmla="*/ 1072616 w 1176558"/>
                  <a:gd name="connsiteY1631" fmla="*/ 434713 h 1226256"/>
                  <a:gd name="connsiteX1632" fmla="*/ 1071858 w 1176558"/>
                  <a:gd name="connsiteY1632" fmla="*/ 431077 h 1226256"/>
                  <a:gd name="connsiteX1633" fmla="*/ 1070191 w 1176558"/>
                  <a:gd name="connsiteY1633" fmla="*/ 429713 h 1226256"/>
                  <a:gd name="connsiteX1634" fmla="*/ 1069585 w 1176558"/>
                  <a:gd name="connsiteY1634" fmla="*/ 426985 h 1226256"/>
                  <a:gd name="connsiteX1635" fmla="*/ 1069131 w 1176558"/>
                  <a:gd name="connsiteY1635" fmla="*/ 424106 h 1226256"/>
                  <a:gd name="connsiteX1636" fmla="*/ 1069282 w 1176558"/>
                  <a:gd name="connsiteY1636" fmla="*/ 422894 h 1226256"/>
                  <a:gd name="connsiteX1637" fmla="*/ 1071100 w 1176558"/>
                  <a:gd name="connsiteY1637" fmla="*/ 422591 h 1226256"/>
                  <a:gd name="connsiteX1638" fmla="*/ 1072161 w 1176558"/>
                  <a:gd name="connsiteY1638" fmla="*/ 420318 h 1226256"/>
                  <a:gd name="connsiteX1639" fmla="*/ 1071403 w 1176558"/>
                  <a:gd name="connsiteY1639" fmla="*/ 419106 h 1226256"/>
                  <a:gd name="connsiteX1640" fmla="*/ 1070040 w 1176558"/>
                  <a:gd name="connsiteY1640" fmla="*/ 418046 h 1226256"/>
                  <a:gd name="connsiteX1641" fmla="*/ 1068373 w 1176558"/>
                  <a:gd name="connsiteY1641" fmla="*/ 418197 h 1226256"/>
                  <a:gd name="connsiteX1642" fmla="*/ 1066858 w 1176558"/>
                  <a:gd name="connsiteY1642" fmla="*/ 416985 h 1226256"/>
                  <a:gd name="connsiteX1643" fmla="*/ 1064736 w 1176558"/>
                  <a:gd name="connsiteY1643" fmla="*/ 411682 h 1226256"/>
                  <a:gd name="connsiteX1644" fmla="*/ 1063070 w 1176558"/>
                  <a:gd name="connsiteY1644" fmla="*/ 408803 h 1226256"/>
                  <a:gd name="connsiteX1645" fmla="*/ 1063524 w 1176558"/>
                  <a:gd name="connsiteY1645" fmla="*/ 404560 h 1226256"/>
                  <a:gd name="connsiteX1646" fmla="*/ 1063827 w 1176558"/>
                  <a:gd name="connsiteY1646" fmla="*/ 401227 h 1226256"/>
                  <a:gd name="connsiteX1647" fmla="*/ 1064585 w 1176558"/>
                  <a:gd name="connsiteY1647" fmla="*/ 398348 h 1226256"/>
                  <a:gd name="connsiteX1648" fmla="*/ 1064888 w 1176558"/>
                  <a:gd name="connsiteY1648" fmla="*/ 396075 h 1226256"/>
                  <a:gd name="connsiteX1649" fmla="*/ 1066100 w 1176558"/>
                  <a:gd name="connsiteY1649" fmla="*/ 395015 h 1226256"/>
                  <a:gd name="connsiteX1650" fmla="*/ 1067312 w 1176558"/>
                  <a:gd name="connsiteY1650" fmla="*/ 395469 h 1226256"/>
                  <a:gd name="connsiteX1651" fmla="*/ 1068373 w 1176558"/>
                  <a:gd name="connsiteY1651" fmla="*/ 395166 h 1226256"/>
                  <a:gd name="connsiteX1652" fmla="*/ 1069434 w 1176558"/>
                  <a:gd name="connsiteY1652" fmla="*/ 393348 h 1226256"/>
                  <a:gd name="connsiteX1653" fmla="*/ 1070494 w 1176558"/>
                  <a:gd name="connsiteY1653" fmla="*/ 392287 h 1226256"/>
                  <a:gd name="connsiteX1654" fmla="*/ 1070494 w 1176558"/>
                  <a:gd name="connsiteY1654" fmla="*/ 391378 h 1226256"/>
                  <a:gd name="connsiteX1655" fmla="*/ 1069888 w 1176558"/>
                  <a:gd name="connsiteY1655" fmla="*/ 390317 h 1226256"/>
                  <a:gd name="connsiteX1656" fmla="*/ 1069585 w 1176558"/>
                  <a:gd name="connsiteY1656" fmla="*/ 388650 h 1226256"/>
                  <a:gd name="connsiteX1657" fmla="*/ 1070343 w 1176558"/>
                  <a:gd name="connsiteY1657" fmla="*/ 386529 h 1226256"/>
                  <a:gd name="connsiteX1658" fmla="*/ 1071707 w 1176558"/>
                  <a:gd name="connsiteY1658" fmla="*/ 381832 h 1226256"/>
                  <a:gd name="connsiteX1659" fmla="*/ 1073828 w 1176558"/>
                  <a:gd name="connsiteY1659" fmla="*/ 376681 h 1226256"/>
                  <a:gd name="connsiteX1660" fmla="*/ 1074737 w 1176558"/>
                  <a:gd name="connsiteY1660" fmla="*/ 374711 h 1226256"/>
                  <a:gd name="connsiteX1661" fmla="*/ 1074585 w 1176558"/>
                  <a:gd name="connsiteY1661" fmla="*/ 373044 h 1226256"/>
                  <a:gd name="connsiteX1662" fmla="*/ 1075040 w 1176558"/>
                  <a:gd name="connsiteY1662" fmla="*/ 372286 h 1226256"/>
                  <a:gd name="connsiteX1663" fmla="*/ 1076404 w 1176558"/>
                  <a:gd name="connsiteY1663" fmla="*/ 373044 h 1226256"/>
                  <a:gd name="connsiteX1664" fmla="*/ 1080343 w 1176558"/>
                  <a:gd name="connsiteY1664" fmla="*/ 372135 h 1226256"/>
                  <a:gd name="connsiteX1665" fmla="*/ 1081707 w 1176558"/>
                  <a:gd name="connsiteY1665" fmla="*/ 369862 h 1226256"/>
                  <a:gd name="connsiteX1666" fmla="*/ 1082161 w 1176558"/>
                  <a:gd name="connsiteY1666" fmla="*/ 367892 h 1226256"/>
                  <a:gd name="connsiteX1667" fmla="*/ 1083374 w 1176558"/>
                  <a:gd name="connsiteY1667" fmla="*/ 366680 h 1226256"/>
                  <a:gd name="connsiteX1668" fmla="*/ 1082919 w 1176558"/>
                  <a:gd name="connsiteY1668" fmla="*/ 365013 h 1226256"/>
                  <a:gd name="connsiteX1669" fmla="*/ 1081252 w 1176558"/>
                  <a:gd name="connsiteY1669" fmla="*/ 364559 h 1226256"/>
                  <a:gd name="connsiteX1670" fmla="*/ 1080192 w 1176558"/>
                  <a:gd name="connsiteY1670" fmla="*/ 363801 h 1226256"/>
                  <a:gd name="connsiteX1671" fmla="*/ 1080646 w 1176558"/>
                  <a:gd name="connsiteY1671" fmla="*/ 361983 h 1226256"/>
                  <a:gd name="connsiteX1672" fmla="*/ 1081252 w 1176558"/>
                  <a:gd name="connsiteY1672" fmla="*/ 357741 h 1226256"/>
                  <a:gd name="connsiteX1673" fmla="*/ 1081101 w 1176558"/>
                  <a:gd name="connsiteY1673" fmla="*/ 354558 h 1226256"/>
                  <a:gd name="connsiteX1674" fmla="*/ 1079586 w 1176558"/>
                  <a:gd name="connsiteY1674" fmla="*/ 347891 h 1226256"/>
                  <a:gd name="connsiteX1675" fmla="*/ 1078373 w 1176558"/>
                  <a:gd name="connsiteY1675" fmla="*/ 341376 h 1226256"/>
                  <a:gd name="connsiteX1676" fmla="*/ 1079283 w 1176558"/>
                  <a:gd name="connsiteY1676" fmla="*/ 339103 h 1226256"/>
                  <a:gd name="connsiteX1677" fmla="*/ 1081858 w 1176558"/>
                  <a:gd name="connsiteY1677" fmla="*/ 336073 h 1226256"/>
                  <a:gd name="connsiteX1678" fmla="*/ 1083828 w 1176558"/>
                  <a:gd name="connsiteY1678" fmla="*/ 334709 h 1226256"/>
                  <a:gd name="connsiteX1679" fmla="*/ 1084131 w 1176558"/>
                  <a:gd name="connsiteY1679" fmla="*/ 333043 h 1226256"/>
                  <a:gd name="connsiteX1680" fmla="*/ 1086101 w 1176558"/>
                  <a:gd name="connsiteY1680" fmla="*/ 325315 h 1226256"/>
                  <a:gd name="connsiteX1681" fmla="*/ 1086252 w 1176558"/>
                  <a:gd name="connsiteY1681" fmla="*/ 321072 h 1226256"/>
                  <a:gd name="connsiteX1682" fmla="*/ 1087465 w 1176558"/>
                  <a:gd name="connsiteY1682" fmla="*/ 318800 h 1226256"/>
                  <a:gd name="connsiteX1683" fmla="*/ 1088374 w 1176558"/>
                  <a:gd name="connsiteY1683" fmla="*/ 314405 h 1226256"/>
                  <a:gd name="connsiteX1684" fmla="*/ 1091859 w 1176558"/>
                  <a:gd name="connsiteY1684" fmla="*/ 310617 h 1226256"/>
                  <a:gd name="connsiteX1685" fmla="*/ 1092919 w 1176558"/>
                  <a:gd name="connsiteY1685" fmla="*/ 308042 h 1226256"/>
                  <a:gd name="connsiteX1686" fmla="*/ 1094283 w 1176558"/>
                  <a:gd name="connsiteY1686" fmla="*/ 307738 h 1226256"/>
                  <a:gd name="connsiteX1687" fmla="*/ 1095041 w 1176558"/>
                  <a:gd name="connsiteY1687" fmla="*/ 306981 h 1226256"/>
                  <a:gd name="connsiteX1688" fmla="*/ 1096859 w 1176558"/>
                  <a:gd name="connsiteY1688" fmla="*/ 304254 h 1226256"/>
                  <a:gd name="connsiteX1689" fmla="*/ 1099283 w 1176558"/>
                  <a:gd name="connsiteY1689" fmla="*/ 301375 h 1226256"/>
                  <a:gd name="connsiteX1690" fmla="*/ 1101404 w 1176558"/>
                  <a:gd name="connsiteY1690" fmla="*/ 299860 h 1226256"/>
                  <a:gd name="connsiteX1691" fmla="*/ 1101859 w 1176558"/>
                  <a:gd name="connsiteY1691" fmla="*/ 297587 h 1226256"/>
                  <a:gd name="connsiteX1692" fmla="*/ 1102920 w 1176558"/>
                  <a:gd name="connsiteY1692" fmla="*/ 294556 h 1226256"/>
                  <a:gd name="connsiteX1693" fmla="*/ 1105041 w 1176558"/>
                  <a:gd name="connsiteY1693" fmla="*/ 289405 h 1226256"/>
                  <a:gd name="connsiteX1694" fmla="*/ 1106253 w 1176558"/>
                  <a:gd name="connsiteY1694" fmla="*/ 285919 h 1226256"/>
                  <a:gd name="connsiteX1695" fmla="*/ 1107769 w 1176558"/>
                  <a:gd name="connsiteY1695" fmla="*/ 284707 h 1226256"/>
                  <a:gd name="connsiteX1696" fmla="*/ 1109587 w 1176558"/>
                  <a:gd name="connsiteY1696" fmla="*/ 280010 h 1226256"/>
                  <a:gd name="connsiteX1697" fmla="*/ 1110344 w 1176558"/>
                  <a:gd name="connsiteY1697" fmla="*/ 277283 h 1226256"/>
                  <a:gd name="connsiteX1698" fmla="*/ 1112466 w 1176558"/>
                  <a:gd name="connsiteY1698" fmla="*/ 276222 h 1226256"/>
                  <a:gd name="connsiteX1699" fmla="*/ 1114132 w 1176558"/>
                  <a:gd name="connsiteY1699" fmla="*/ 275919 h 1226256"/>
                  <a:gd name="connsiteX1700" fmla="*/ 1115647 w 1176558"/>
                  <a:gd name="connsiteY1700" fmla="*/ 277131 h 1226256"/>
                  <a:gd name="connsiteX1701" fmla="*/ 1117314 w 1176558"/>
                  <a:gd name="connsiteY1701" fmla="*/ 276828 h 1226256"/>
                  <a:gd name="connsiteX1702" fmla="*/ 1118829 w 1176558"/>
                  <a:gd name="connsiteY1702" fmla="*/ 275162 h 1226256"/>
                  <a:gd name="connsiteX1703" fmla="*/ 1122466 w 1176558"/>
                  <a:gd name="connsiteY1703" fmla="*/ 274101 h 1226256"/>
                  <a:gd name="connsiteX1704" fmla="*/ 1124133 w 1176558"/>
                  <a:gd name="connsiteY1704" fmla="*/ 273495 h 1226256"/>
                  <a:gd name="connsiteX1705" fmla="*/ 1124890 w 1176558"/>
                  <a:gd name="connsiteY1705" fmla="*/ 271828 h 1226256"/>
                  <a:gd name="connsiteX1706" fmla="*/ 1124890 w 1176558"/>
                  <a:gd name="connsiteY1706" fmla="*/ 269101 h 1226256"/>
                  <a:gd name="connsiteX1707" fmla="*/ 1123375 w 1176558"/>
                  <a:gd name="connsiteY1707" fmla="*/ 266979 h 1226256"/>
                  <a:gd name="connsiteX1708" fmla="*/ 1120345 w 1176558"/>
                  <a:gd name="connsiteY1708" fmla="*/ 263040 h 1226256"/>
                  <a:gd name="connsiteX1709" fmla="*/ 1117769 w 1176558"/>
                  <a:gd name="connsiteY1709" fmla="*/ 258646 h 1226256"/>
                  <a:gd name="connsiteX1710" fmla="*/ 1117466 w 1176558"/>
                  <a:gd name="connsiteY1710" fmla="*/ 257282 h 1226256"/>
                  <a:gd name="connsiteX1711" fmla="*/ 1117466 w 1176558"/>
                  <a:gd name="connsiteY1711" fmla="*/ 255767 h 1226256"/>
                  <a:gd name="connsiteX1712" fmla="*/ 1117920 w 1176558"/>
                  <a:gd name="connsiteY1712" fmla="*/ 253797 h 1226256"/>
                  <a:gd name="connsiteX1713" fmla="*/ 1119133 w 1176558"/>
                  <a:gd name="connsiteY1713" fmla="*/ 251676 h 1226256"/>
                  <a:gd name="connsiteX1714" fmla="*/ 1122314 w 1176558"/>
                  <a:gd name="connsiteY1714" fmla="*/ 248039 h 1226256"/>
                  <a:gd name="connsiteX1715" fmla="*/ 1122011 w 1176558"/>
                  <a:gd name="connsiteY1715" fmla="*/ 245463 h 1226256"/>
                  <a:gd name="connsiteX1716" fmla="*/ 1119739 w 1176558"/>
                  <a:gd name="connsiteY1716" fmla="*/ 236069 h 1226256"/>
                  <a:gd name="connsiteX1717" fmla="*/ 1118829 w 1176558"/>
                  <a:gd name="connsiteY1717" fmla="*/ 233493 h 1226256"/>
                  <a:gd name="connsiteX1718" fmla="*/ 1117163 w 1176558"/>
                  <a:gd name="connsiteY1718" fmla="*/ 228645 h 1226256"/>
                  <a:gd name="connsiteX1719" fmla="*/ 1117314 w 1176558"/>
                  <a:gd name="connsiteY1719" fmla="*/ 226675 h 1226256"/>
                  <a:gd name="connsiteX1720" fmla="*/ 1118678 w 1176558"/>
                  <a:gd name="connsiteY1720" fmla="*/ 221372 h 1226256"/>
                  <a:gd name="connsiteX1721" fmla="*/ 1119890 w 1176558"/>
                  <a:gd name="connsiteY1721" fmla="*/ 219250 h 1226256"/>
                  <a:gd name="connsiteX1722" fmla="*/ 1121708 w 1176558"/>
                  <a:gd name="connsiteY1722" fmla="*/ 218796 h 1226256"/>
                  <a:gd name="connsiteX1723" fmla="*/ 1122618 w 1176558"/>
                  <a:gd name="connsiteY1723" fmla="*/ 218038 h 1226256"/>
                  <a:gd name="connsiteX1724" fmla="*/ 1122921 w 1176558"/>
                  <a:gd name="connsiteY1724" fmla="*/ 217129 h 1226256"/>
                  <a:gd name="connsiteX1725" fmla="*/ 1121708 w 1176558"/>
                  <a:gd name="connsiteY1725" fmla="*/ 215917 h 1226256"/>
                  <a:gd name="connsiteX1726" fmla="*/ 1121254 w 1176558"/>
                  <a:gd name="connsiteY1726" fmla="*/ 214402 h 1226256"/>
                  <a:gd name="connsiteX1727" fmla="*/ 1120799 w 1176558"/>
                  <a:gd name="connsiteY1727" fmla="*/ 212281 h 1226256"/>
                  <a:gd name="connsiteX1728" fmla="*/ 1119133 w 1176558"/>
                  <a:gd name="connsiteY1728" fmla="*/ 211523 h 1226256"/>
                  <a:gd name="connsiteX1729" fmla="*/ 1118223 w 1176558"/>
                  <a:gd name="connsiteY1729" fmla="*/ 209705 h 1226256"/>
                  <a:gd name="connsiteX1730" fmla="*/ 1118223 w 1176558"/>
                  <a:gd name="connsiteY1730" fmla="*/ 207129 h 1226256"/>
                  <a:gd name="connsiteX1731" fmla="*/ 1119739 w 1176558"/>
                  <a:gd name="connsiteY1731" fmla="*/ 203795 h 1226256"/>
                  <a:gd name="connsiteX1732" fmla="*/ 1121405 w 1176558"/>
                  <a:gd name="connsiteY1732" fmla="*/ 202886 h 1226256"/>
                  <a:gd name="connsiteX1733" fmla="*/ 1122011 w 1176558"/>
                  <a:gd name="connsiteY1733" fmla="*/ 201371 h 1226256"/>
                  <a:gd name="connsiteX1734" fmla="*/ 1123830 w 1176558"/>
                  <a:gd name="connsiteY1734" fmla="*/ 200007 h 1226256"/>
                  <a:gd name="connsiteX1735" fmla="*/ 1125496 w 1176558"/>
                  <a:gd name="connsiteY1735" fmla="*/ 198947 h 1226256"/>
                  <a:gd name="connsiteX1736" fmla="*/ 1126860 w 1176558"/>
                  <a:gd name="connsiteY1736" fmla="*/ 196977 h 1226256"/>
                  <a:gd name="connsiteX1737" fmla="*/ 1132466 w 1176558"/>
                  <a:gd name="connsiteY1737" fmla="*/ 194553 h 1226256"/>
                  <a:gd name="connsiteX1738" fmla="*/ 1136860 w 1176558"/>
                  <a:gd name="connsiteY1738" fmla="*/ 192734 h 1226256"/>
                  <a:gd name="connsiteX1739" fmla="*/ 1145497 w 1176558"/>
                  <a:gd name="connsiteY1739" fmla="*/ 189098 h 1226256"/>
                  <a:gd name="connsiteX1740" fmla="*/ 1151406 w 1176558"/>
                  <a:gd name="connsiteY1740" fmla="*/ 186674 h 1226256"/>
                  <a:gd name="connsiteX1741" fmla="*/ 1152013 w 1176558"/>
                  <a:gd name="connsiteY1741" fmla="*/ 185007 h 1226256"/>
                  <a:gd name="connsiteX1742" fmla="*/ 1152467 w 1176558"/>
                  <a:gd name="connsiteY1742" fmla="*/ 183795 h 1226256"/>
                  <a:gd name="connsiteX1743" fmla="*/ 1155194 w 1176558"/>
                  <a:gd name="connsiteY1743" fmla="*/ 175158 h 1226256"/>
                  <a:gd name="connsiteX1744" fmla="*/ 1158680 w 1176558"/>
                  <a:gd name="connsiteY1744" fmla="*/ 163945 h 1226256"/>
                  <a:gd name="connsiteX1745" fmla="*/ 1160952 w 1176558"/>
                  <a:gd name="connsiteY1745" fmla="*/ 156975 h 1226256"/>
                  <a:gd name="connsiteX1746" fmla="*/ 1155801 w 1176558"/>
                  <a:gd name="connsiteY1746" fmla="*/ 151824 h 1226256"/>
                  <a:gd name="connsiteX1747" fmla="*/ 1151103 w 1176558"/>
                  <a:gd name="connsiteY1747" fmla="*/ 151975 h 1226256"/>
                  <a:gd name="connsiteX1748" fmla="*/ 1158073 w 1176558"/>
                  <a:gd name="connsiteY1748" fmla="*/ 1194438 h 1226256"/>
                  <a:gd name="connsiteX1749" fmla="*/ 1154285 w 1176558"/>
                  <a:gd name="connsiteY1749" fmla="*/ 1191104 h 1226256"/>
                  <a:gd name="connsiteX1750" fmla="*/ 1149437 w 1176558"/>
                  <a:gd name="connsiteY1750" fmla="*/ 1190801 h 1226256"/>
                  <a:gd name="connsiteX1751" fmla="*/ 1137163 w 1176558"/>
                  <a:gd name="connsiteY1751" fmla="*/ 1189286 h 1226256"/>
                  <a:gd name="connsiteX1752" fmla="*/ 1130800 w 1176558"/>
                  <a:gd name="connsiteY1752" fmla="*/ 1189286 h 1226256"/>
                  <a:gd name="connsiteX1753" fmla="*/ 1125496 w 1176558"/>
                  <a:gd name="connsiteY1753" fmla="*/ 1191256 h 1226256"/>
                  <a:gd name="connsiteX1754" fmla="*/ 1128981 w 1176558"/>
                  <a:gd name="connsiteY1754" fmla="*/ 1194741 h 1226256"/>
                  <a:gd name="connsiteX1755" fmla="*/ 1130042 w 1176558"/>
                  <a:gd name="connsiteY1755" fmla="*/ 1198529 h 1226256"/>
                  <a:gd name="connsiteX1756" fmla="*/ 1130951 w 1176558"/>
                  <a:gd name="connsiteY1756" fmla="*/ 1199892 h 1226256"/>
                  <a:gd name="connsiteX1757" fmla="*/ 1131709 w 1176558"/>
                  <a:gd name="connsiteY1757" fmla="*/ 1200499 h 1226256"/>
                  <a:gd name="connsiteX1758" fmla="*/ 1140042 w 1176558"/>
                  <a:gd name="connsiteY1758" fmla="*/ 1202014 h 1226256"/>
                  <a:gd name="connsiteX1759" fmla="*/ 1140951 w 1176558"/>
                  <a:gd name="connsiteY1759" fmla="*/ 1201862 h 1226256"/>
                  <a:gd name="connsiteX1760" fmla="*/ 1142164 w 1176558"/>
                  <a:gd name="connsiteY1760" fmla="*/ 1201408 h 1226256"/>
                  <a:gd name="connsiteX1761" fmla="*/ 1145043 w 1176558"/>
                  <a:gd name="connsiteY1761" fmla="*/ 1199438 h 1226256"/>
                  <a:gd name="connsiteX1762" fmla="*/ 1146406 w 1176558"/>
                  <a:gd name="connsiteY1762" fmla="*/ 1198983 h 1226256"/>
                  <a:gd name="connsiteX1763" fmla="*/ 1147467 w 1176558"/>
                  <a:gd name="connsiteY1763" fmla="*/ 1198983 h 1226256"/>
                  <a:gd name="connsiteX1764" fmla="*/ 1148376 w 1176558"/>
                  <a:gd name="connsiteY1764" fmla="*/ 1199135 h 1226256"/>
                  <a:gd name="connsiteX1765" fmla="*/ 1148982 w 1176558"/>
                  <a:gd name="connsiteY1765" fmla="*/ 1199892 h 1226256"/>
                  <a:gd name="connsiteX1766" fmla="*/ 1149285 w 1176558"/>
                  <a:gd name="connsiteY1766" fmla="*/ 1201256 h 1226256"/>
                  <a:gd name="connsiteX1767" fmla="*/ 1150043 w 1176558"/>
                  <a:gd name="connsiteY1767" fmla="*/ 1202620 h 1226256"/>
                  <a:gd name="connsiteX1768" fmla="*/ 1151709 w 1176558"/>
                  <a:gd name="connsiteY1768" fmla="*/ 1203377 h 1226256"/>
                  <a:gd name="connsiteX1769" fmla="*/ 1153982 w 1176558"/>
                  <a:gd name="connsiteY1769" fmla="*/ 1202923 h 1226256"/>
                  <a:gd name="connsiteX1770" fmla="*/ 1156255 w 1176558"/>
                  <a:gd name="connsiteY1770" fmla="*/ 1201408 h 1226256"/>
                  <a:gd name="connsiteX1771" fmla="*/ 1157922 w 1176558"/>
                  <a:gd name="connsiteY1771" fmla="*/ 1199438 h 1226256"/>
                  <a:gd name="connsiteX1772" fmla="*/ 1158680 w 1176558"/>
                  <a:gd name="connsiteY1772" fmla="*/ 1197922 h 1226256"/>
                  <a:gd name="connsiteX1773" fmla="*/ 1158528 w 1176558"/>
                  <a:gd name="connsiteY1773" fmla="*/ 1196407 h 1226256"/>
                  <a:gd name="connsiteX1774" fmla="*/ 1158073 w 1176558"/>
                  <a:gd name="connsiteY1774" fmla="*/ 1194438 h 1226256"/>
                  <a:gd name="connsiteX1775" fmla="*/ 943823 w 1176558"/>
                  <a:gd name="connsiteY1775" fmla="*/ 1059433 h 1226256"/>
                  <a:gd name="connsiteX1776" fmla="*/ 946096 w 1176558"/>
                  <a:gd name="connsiteY1776" fmla="*/ 1059584 h 1226256"/>
                  <a:gd name="connsiteX1777" fmla="*/ 947611 w 1176558"/>
                  <a:gd name="connsiteY1777" fmla="*/ 1058827 h 1226256"/>
                  <a:gd name="connsiteX1778" fmla="*/ 949429 w 1176558"/>
                  <a:gd name="connsiteY1778" fmla="*/ 1057160 h 1226256"/>
                  <a:gd name="connsiteX1779" fmla="*/ 950490 w 1176558"/>
                  <a:gd name="connsiteY1779" fmla="*/ 1057311 h 1226256"/>
                  <a:gd name="connsiteX1780" fmla="*/ 952460 w 1176558"/>
                  <a:gd name="connsiteY1780" fmla="*/ 1058220 h 1226256"/>
                  <a:gd name="connsiteX1781" fmla="*/ 953217 w 1176558"/>
                  <a:gd name="connsiteY1781" fmla="*/ 1057918 h 1226256"/>
                  <a:gd name="connsiteX1782" fmla="*/ 954126 w 1176558"/>
                  <a:gd name="connsiteY1782" fmla="*/ 1057008 h 1226256"/>
                  <a:gd name="connsiteX1783" fmla="*/ 954126 w 1176558"/>
                  <a:gd name="connsiteY1783" fmla="*/ 1053978 h 1226256"/>
                  <a:gd name="connsiteX1784" fmla="*/ 953823 w 1176558"/>
                  <a:gd name="connsiteY1784" fmla="*/ 1052766 h 1226256"/>
                  <a:gd name="connsiteX1785" fmla="*/ 952763 w 1176558"/>
                  <a:gd name="connsiteY1785" fmla="*/ 1051402 h 1226256"/>
                  <a:gd name="connsiteX1786" fmla="*/ 949278 w 1176558"/>
                  <a:gd name="connsiteY1786" fmla="*/ 1051402 h 1226256"/>
                  <a:gd name="connsiteX1787" fmla="*/ 945338 w 1176558"/>
                  <a:gd name="connsiteY1787" fmla="*/ 1053978 h 1226256"/>
                  <a:gd name="connsiteX1788" fmla="*/ 940944 w 1176558"/>
                  <a:gd name="connsiteY1788" fmla="*/ 1055341 h 1226256"/>
                  <a:gd name="connsiteX1789" fmla="*/ 937914 w 1176558"/>
                  <a:gd name="connsiteY1789" fmla="*/ 1053978 h 1226256"/>
                  <a:gd name="connsiteX1790" fmla="*/ 936398 w 1176558"/>
                  <a:gd name="connsiteY1790" fmla="*/ 1057766 h 1226256"/>
                  <a:gd name="connsiteX1791" fmla="*/ 935641 w 1176558"/>
                  <a:gd name="connsiteY1791" fmla="*/ 1060342 h 1226256"/>
                  <a:gd name="connsiteX1792" fmla="*/ 933974 w 1176558"/>
                  <a:gd name="connsiteY1792" fmla="*/ 1064130 h 1226256"/>
                  <a:gd name="connsiteX1793" fmla="*/ 934277 w 1176558"/>
                  <a:gd name="connsiteY1793" fmla="*/ 1066706 h 1226256"/>
                  <a:gd name="connsiteX1794" fmla="*/ 936853 w 1176558"/>
                  <a:gd name="connsiteY1794" fmla="*/ 1064584 h 1226256"/>
                  <a:gd name="connsiteX1795" fmla="*/ 938065 w 1176558"/>
                  <a:gd name="connsiteY1795" fmla="*/ 1063069 h 1226256"/>
                  <a:gd name="connsiteX1796" fmla="*/ 940793 w 1176558"/>
                  <a:gd name="connsiteY1796" fmla="*/ 1058524 h 1226256"/>
                  <a:gd name="connsiteX1797" fmla="*/ 943823 w 1176558"/>
                  <a:gd name="connsiteY1797" fmla="*/ 1059433 h 1226256"/>
                  <a:gd name="connsiteX1798" fmla="*/ 951248 w 1176558"/>
                  <a:gd name="connsiteY1798" fmla="*/ 1086100 h 1226256"/>
                  <a:gd name="connsiteX1799" fmla="*/ 954884 w 1176558"/>
                  <a:gd name="connsiteY1799" fmla="*/ 1079888 h 1226256"/>
                  <a:gd name="connsiteX1800" fmla="*/ 954732 w 1176558"/>
                  <a:gd name="connsiteY1800" fmla="*/ 1078979 h 1226256"/>
                  <a:gd name="connsiteX1801" fmla="*/ 951702 w 1176558"/>
                  <a:gd name="connsiteY1801" fmla="*/ 1075342 h 1226256"/>
                  <a:gd name="connsiteX1802" fmla="*/ 948975 w 1176558"/>
                  <a:gd name="connsiteY1802" fmla="*/ 1074888 h 1226256"/>
                  <a:gd name="connsiteX1803" fmla="*/ 948065 w 1176558"/>
                  <a:gd name="connsiteY1803" fmla="*/ 1073827 h 1226256"/>
                  <a:gd name="connsiteX1804" fmla="*/ 946853 w 1176558"/>
                  <a:gd name="connsiteY1804" fmla="*/ 1066706 h 1226256"/>
                  <a:gd name="connsiteX1805" fmla="*/ 944429 w 1176558"/>
                  <a:gd name="connsiteY1805" fmla="*/ 1067463 h 1226256"/>
                  <a:gd name="connsiteX1806" fmla="*/ 944277 w 1176558"/>
                  <a:gd name="connsiteY1806" fmla="*/ 1070645 h 1226256"/>
                  <a:gd name="connsiteX1807" fmla="*/ 941702 w 1176558"/>
                  <a:gd name="connsiteY1807" fmla="*/ 1070191 h 1226256"/>
                  <a:gd name="connsiteX1808" fmla="*/ 938974 w 1176558"/>
                  <a:gd name="connsiteY1808" fmla="*/ 1072615 h 1226256"/>
                  <a:gd name="connsiteX1809" fmla="*/ 940489 w 1176558"/>
                  <a:gd name="connsiteY1809" fmla="*/ 1076858 h 1226256"/>
                  <a:gd name="connsiteX1810" fmla="*/ 941399 w 1176558"/>
                  <a:gd name="connsiteY1810" fmla="*/ 1081706 h 1226256"/>
                  <a:gd name="connsiteX1811" fmla="*/ 944126 w 1176558"/>
                  <a:gd name="connsiteY1811" fmla="*/ 1085949 h 1226256"/>
                  <a:gd name="connsiteX1812" fmla="*/ 945944 w 1176558"/>
                  <a:gd name="connsiteY1812" fmla="*/ 1090343 h 1226256"/>
                  <a:gd name="connsiteX1813" fmla="*/ 950187 w 1176558"/>
                  <a:gd name="connsiteY1813" fmla="*/ 1090646 h 1226256"/>
                  <a:gd name="connsiteX1814" fmla="*/ 951248 w 1176558"/>
                  <a:gd name="connsiteY1814" fmla="*/ 1086100 h 1226256"/>
                  <a:gd name="connsiteX1815" fmla="*/ 980036 w 1176558"/>
                  <a:gd name="connsiteY1815" fmla="*/ 1125496 h 1226256"/>
                  <a:gd name="connsiteX1816" fmla="*/ 980643 w 1176558"/>
                  <a:gd name="connsiteY1816" fmla="*/ 1126405 h 1226256"/>
                  <a:gd name="connsiteX1817" fmla="*/ 980945 w 1176558"/>
                  <a:gd name="connsiteY1817" fmla="*/ 1128223 h 1226256"/>
                  <a:gd name="connsiteX1818" fmla="*/ 981400 w 1176558"/>
                  <a:gd name="connsiteY1818" fmla="*/ 1128526 h 1226256"/>
                  <a:gd name="connsiteX1819" fmla="*/ 983218 w 1176558"/>
                  <a:gd name="connsiteY1819" fmla="*/ 1128981 h 1226256"/>
                  <a:gd name="connsiteX1820" fmla="*/ 985794 w 1176558"/>
                  <a:gd name="connsiteY1820" fmla="*/ 1129132 h 1226256"/>
                  <a:gd name="connsiteX1821" fmla="*/ 990794 w 1176558"/>
                  <a:gd name="connsiteY1821" fmla="*/ 1130496 h 1226256"/>
                  <a:gd name="connsiteX1822" fmla="*/ 993219 w 1176558"/>
                  <a:gd name="connsiteY1822" fmla="*/ 1130344 h 1226256"/>
                  <a:gd name="connsiteX1823" fmla="*/ 993067 w 1176558"/>
                  <a:gd name="connsiteY1823" fmla="*/ 1129890 h 1226256"/>
                  <a:gd name="connsiteX1824" fmla="*/ 988673 w 1176558"/>
                  <a:gd name="connsiteY1824" fmla="*/ 1126859 h 1226256"/>
                  <a:gd name="connsiteX1825" fmla="*/ 988521 w 1176558"/>
                  <a:gd name="connsiteY1825" fmla="*/ 1126405 h 1226256"/>
                  <a:gd name="connsiteX1826" fmla="*/ 984733 w 1176558"/>
                  <a:gd name="connsiteY1826" fmla="*/ 1122617 h 1226256"/>
                  <a:gd name="connsiteX1827" fmla="*/ 983218 w 1176558"/>
                  <a:gd name="connsiteY1827" fmla="*/ 1122465 h 1226256"/>
                  <a:gd name="connsiteX1828" fmla="*/ 982006 w 1176558"/>
                  <a:gd name="connsiteY1828" fmla="*/ 1121859 h 1226256"/>
                  <a:gd name="connsiteX1829" fmla="*/ 979127 w 1176558"/>
                  <a:gd name="connsiteY1829" fmla="*/ 1119738 h 1226256"/>
                  <a:gd name="connsiteX1830" fmla="*/ 975642 w 1176558"/>
                  <a:gd name="connsiteY1830" fmla="*/ 1119283 h 1226256"/>
                  <a:gd name="connsiteX1831" fmla="*/ 972915 w 1176558"/>
                  <a:gd name="connsiteY1831" fmla="*/ 1117617 h 1226256"/>
                  <a:gd name="connsiteX1832" fmla="*/ 967763 w 1176558"/>
                  <a:gd name="connsiteY1832" fmla="*/ 1115950 h 1226256"/>
                  <a:gd name="connsiteX1833" fmla="*/ 962005 w 1176558"/>
                  <a:gd name="connsiteY1833" fmla="*/ 1115192 h 1226256"/>
                  <a:gd name="connsiteX1834" fmla="*/ 960490 w 1176558"/>
                  <a:gd name="connsiteY1834" fmla="*/ 1114586 h 1226256"/>
                  <a:gd name="connsiteX1835" fmla="*/ 959430 w 1176558"/>
                  <a:gd name="connsiteY1835" fmla="*/ 1114738 h 1226256"/>
                  <a:gd name="connsiteX1836" fmla="*/ 958975 w 1176558"/>
                  <a:gd name="connsiteY1836" fmla="*/ 1114434 h 1226256"/>
                  <a:gd name="connsiteX1837" fmla="*/ 957914 w 1176558"/>
                  <a:gd name="connsiteY1837" fmla="*/ 1112162 h 1226256"/>
                  <a:gd name="connsiteX1838" fmla="*/ 956551 w 1176558"/>
                  <a:gd name="connsiteY1838" fmla="*/ 1111253 h 1226256"/>
                  <a:gd name="connsiteX1839" fmla="*/ 953823 w 1176558"/>
                  <a:gd name="connsiteY1839" fmla="*/ 1108828 h 1226256"/>
                  <a:gd name="connsiteX1840" fmla="*/ 951096 w 1176558"/>
                  <a:gd name="connsiteY1840" fmla="*/ 1107465 h 1226256"/>
                  <a:gd name="connsiteX1841" fmla="*/ 949884 w 1176558"/>
                  <a:gd name="connsiteY1841" fmla="*/ 1108071 h 1226256"/>
                  <a:gd name="connsiteX1842" fmla="*/ 949884 w 1176558"/>
                  <a:gd name="connsiteY1842" fmla="*/ 1108828 h 1226256"/>
                  <a:gd name="connsiteX1843" fmla="*/ 952460 w 1176558"/>
                  <a:gd name="connsiteY1843" fmla="*/ 1111253 h 1226256"/>
                  <a:gd name="connsiteX1844" fmla="*/ 954126 w 1176558"/>
                  <a:gd name="connsiteY1844" fmla="*/ 1114434 h 1226256"/>
                  <a:gd name="connsiteX1845" fmla="*/ 958066 w 1176558"/>
                  <a:gd name="connsiteY1845" fmla="*/ 1117162 h 1226256"/>
                  <a:gd name="connsiteX1846" fmla="*/ 962005 w 1176558"/>
                  <a:gd name="connsiteY1846" fmla="*/ 1120344 h 1226256"/>
                  <a:gd name="connsiteX1847" fmla="*/ 962914 w 1176558"/>
                  <a:gd name="connsiteY1847" fmla="*/ 1120192 h 1226256"/>
                  <a:gd name="connsiteX1848" fmla="*/ 965642 w 1176558"/>
                  <a:gd name="connsiteY1848" fmla="*/ 1120647 h 1226256"/>
                  <a:gd name="connsiteX1849" fmla="*/ 969581 w 1176558"/>
                  <a:gd name="connsiteY1849" fmla="*/ 1120041 h 1226256"/>
                  <a:gd name="connsiteX1850" fmla="*/ 973067 w 1176558"/>
                  <a:gd name="connsiteY1850" fmla="*/ 1120799 h 1226256"/>
                  <a:gd name="connsiteX1851" fmla="*/ 975036 w 1176558"/>
                  <a:gd name="connsiteY1851" fmla="*/ 1121708 h 1226256"/>
                  <a:gd name="connsiteX1852" fmla="*/ 980036 w 1176558"/>
                  <a:gd name="connsiteY1852" fmla="*/ 1125496 h 1226256"/>
                  <a:gd name="connsiteX1853" fmla="*/ 936550 w 1176558"/>
                  <a:gd name="connsiteY1853" fmla="*/ 1028825 h 1226256"/>
                  <a:gd name="connsiteX1854" fmla="*/ 937762 w 1176558"/>
                  <a:gd name="connsiteY1854" fmla="*/ 1027916 h 1226256"/>
                  <a:gd name="connsiteX1855" fmla="*/ 938974 w 1176558"/>
                  <a:gd name="connsiteY1855" fmla="*/ 1026401 h 1226256"/>
                  <a:gd name="connsiteX1856" fmla="*/ 937914 w 1176558"/>
                  <a:gd name="connsiteY1856" fmla="*/ 1025946 h 1226256"/>
                  <a:gd name="connsiteX1857" fmla="*/ 933822 w 1176558"/>
                  <a:gd name="connsiteY1857" fmla="*/ 1025492 h 1226256"/>
                  <a:gd name="connsiteX1858" fmla="*/ 930489 w 1176558"/>
                  <a:gd name="connsiteY1858" fmla="*/ 1025341 h 1226256"/>
                  <a:gd name="connsiteX1859" fmla="*/ 930641 w 1176558"/>
                  <a:gd name="connsiteY1859" fmla="*/ 1027159 h 1226256"/>
                  <a:gd name="connsiteX1860" fmla="*/ 930034 w 1176558"/>
                  <a:gd name="connsiteY1860" fmla="*/ 1029432 h 1226256"/>
                  <a:gd name="connsiteX1861" fmla="*/ 929125 w 1176558"/>
                  <a:gd name="connsiteY1861" fmla="*/ 1031553 h 1226256"/>
                  <a:gd name="connsiteX1862" fmla="*/ 929732 w 1176558"/>
                  <a:gd name="connsiteY1862" fmla="*/ 1032613 h 1226256"/>
                  <a:gd name="connsiteX1863" fmla="*/ 930186 w 1176558"/>
                  <a:gd name="connsiteY1863" fmla="*/ 1034735 h 1226256"/>
                  <a:gd name="connsiteX1864" fmla="*/ 930944 w 1176558"/>
                  <a:gd name="connsiteY1864" fmla="*/ 1035644 h 1226256"/>
                  <a:gd name="connsiteX1865" fmla="*/ 933217 w 1176558"/>
                  <a:gd name="connsiteY1865" fmla="*/ 1035947 h 1226256"/>
                  <a:gd name="connsiteX1866" fmla="*/ 933974 w 1176558"/>
                  <a:gd name="connsiteY1866" fmla="*/ 1032613 h 1226256"/>
                  <a:gd name="connsiteX1867" fmla="*/ 934277 w 1176558"/>
                  <a:gd name="connsiteY1867" fmla="*/ 1029583 h 1226256"/>
                  <a:gd name="connsiteX1868" fmla="*/ 936550 w 1176558"/>
                  <a:gd name="connsiteY1868" fmla="*/ 1028825 h 1226256"/>
                  <a:gd name="connsiteX1869" fmla="*/ 1030796 w 1176558"/>
                  <a:gd name="connsiteY1869" fmla="*/ 1162921 h 1226256"/>
                  <a:gd name="connsiteX1870" fmla="*/ 1033220 w 1176558"/>
                  <a:gd name="connsiteY1870" fmla="*/ 1162770 h 1226256"/>
                  <a:gd name="connsiteX1871" fmla="*/ 1036251 w 1176558"/>
                  <a:gd name="connsiteY1871" fmla="*/ 1163527 h 1226256"/>
                  <a:gd name="connsiteX1872" fmla="*/ 1038523 w 1176558"/>
                  <a:gd name="connsiteY1872" fmla="*/ 1162921 h 1226256"/>
                  <a:gd name="connsiteX1873" fmla="*/ 1043069 w 1176558"/>
                  <a:gd name="connsiteY1873" fmla="*/ 1165952 h 1226256"/>
                  <a:gd name="connsiteX1874" fmla="*/ 1047463 w 1176558"/>
                  <a:gd name="connsiteY1874" fmla="*/ 1168225 h 1226256"/>
                  <a:gd name="connsiteX1875" fmla="*/ 1048221 w 1176558"/>
                  <a:gd name="connsiteY1875" fmla="*/ 1167922 h 1226256"/>
                  <a:gd name="connsiteX1876" fmla="*/ 1049130 w 1176558"/>
                  <a:gd name="connsiteY1876" fmla="*/ 1166103 h 1226256"/>
                  <a:gd name="connsiteX1877" fmla="*/ 1050645 w 1176558"/>
                  <a:gd name="connsiteY1877" fmla="*/ 1164739 h 1226256"/>
                  <a:gd name="connsiteX1878" fmla="*/ 1051251 w 1176558"/>
                  <a:gd name="connsiteY1878" fmla="*/ 1163376 h 1226256"/>
                  <a:gd name="connsiteX1879" fmla="*/ 1050797 w 1176558"/>
                  <a:gd name="connsiteY1879" fmla="*/ 1160194 h 1226256"/>
                  <a:gd name="connsiteX1880" fmla="*/ 1050797 w 1176558"/>
                  <a:gd name="connsiteY1880" fmla="*/ 1158376 h 1226256"/>
                  <a:gd name="connsiteX1881" fmla="*/ 1046705 w 1176558"/>
                  <a:gd name="connsiteY1881" fmla="*/ 1158376 h 1226256"/>
                  <a:gd name="connsiteX1882" fmla="*/ 1040645 w 1176558"/>
                  <a:gd name="connsiteY1882" fmla="*/ 1155345 h 1226256"/>
                  <a:gd name="connsiteX1883" fmla="*/ 1036099 w 1176558"/>
                  <a:gd name="connsiteY1883" fmla="*/ 1152466 h 1226256"/>
                  <a:gd name="connsiteX1884" fmla="*/ 1032008 w 1176558"/>
                  <a:gd name="connsiteY1884" fmla="*/ 1151254 h 1226256"/>
                  <a:gd name="connsiteX1885" fmla="*/ 1023977 w 1176558"/>
                  <a:gd name="connsiteY1885" fmla="*/ 1149739 h 1226256"/>
                  <a:gd name="connsiteX1886" fmla="*/ 1022008 w 1176558"/>
                  <a:gd name="connsiteY1886" fmla="*/ 1151103 h 1226256"/>
                  <a:gd name="connsiteX1887" fmla="*/ 1019886 w 1176558"/>
                  <a:gd name="connsiteY1887" fmla="*/ 1151709 h 1226256"/>
                  <a:gd name="connsiteX1888" fmla="*/ 1018068 w 1176558"/>
                  <a:gd name="connsiteY1888" fmla="*/ 1155800 h 1226256"/>
                  <a:gd name="connsiteX1889" fmla="*/ 1021250 w 1176558"/>
                  <a:gd name="connsiteY1889" fmla="*/ 1158527 h 1226256"/>
                  <a:gd name="connsiteX1890" fmla="*/ 1024584 w 1176558"/>
                  <a:gd name="connsiteY1890" fmla="*/ 1161861 h 1226256"/>
                  <a:gd name="connsiteX1891" fmla="*/ 1025189 w 1176558"/>
                  <a:gd name="connsiteY1891" fmla="*/ 1165346 h 1226256"/>
                  <a:gd name="connsiteX1892" fmla="*/ 1028826 w 1176558"/>
                  <a:gd name="connsiteY1892" fmla="*/ 1164437 h 1226256"/>
                  <a:gd name="connsiteX1893" fmla="*/ 1030796 w 1176558"/>
                  <a:gd name="connsiteY1893" fmla="*/ 1162921 h 1226256"/>
                  <a:gd name="connsiteX1894" fmla="*/ 957914 w 1176558"/>
                  <a:gd name="connsiteY1894" fmla="*/ 1074585 h 1226256"/>
                  <a:gd name="connsiteX1895" fmla="*/ 960187 w 1176558"/>
                  <a:gd name="connsiteY1895" fmla="*/ 1076554 h 1226256"/>
                  <a:gd name="connsiteX1896" fmla="*/ 961702 w 1176558"/>
                  <a:gd name="connsiteY1896" fmla="*/ 1077312 h 1226256"/>
                  <a:gd name="connsiteX1897" fmla="*/ 964733 w 1176558"/>
                  <a:gd name="connsiteY1897" fmla="*/ 1078221 h 1226256"/>
                  <a:gd name="connsiteX1898" fmla="*/ 965491 w 1176558"/>
                  <a:gd name="connsiteY1898" fmla="*/ 1077767 h 1226256"/>
                  <a:gd name="connsiteX1899" fmla="*/ 966096 w 1176558"/>
                  <a:gd name="connsiteY1899" fmla="*/ 1077009 h 1226256"/>
                  <a:gd name="connsiteX1900" fmla="*/ 966248 w 1176558"/>
                  <a:gd name="connsiteY1900" fmla="*/ 1076251 h 1226256"/>
                  <a:gd name="connsiteX1901" fmla="*/ 965793 w 1176558"/>
                  <a:gd name="connsiteY1901" fmla="*/ 1075645 h 1226256"/>
                  <a:gd name="connsiteX1902" fmla="*/ 961854 w 1176558"/>
                  <a:gd name="connsiteY1902" fmla="*/ 1073524 h 1226256"/>
                  <a:gd name="connsiteX1903" fmla="*/ 960490 w 1176558"/>
                  <a:gd name="connsiteY1903" fmla="*/ 1072009 h 1226256"/>
                  <a:gd name="connsiteX1904" fmla="*/ 959430 w 1176558"/>
                  <a:gd name="connsiteY1904" fmla="*/ 1071251 h 1226256"/>
                  <a:gd name="connsiteX1905" fmla="*/ 957005 w 1176558"/>
                  <a:gd name="connsiteY1905" fmla="*/ 1070342 h 1226256"/>
                  <a:gd name="connsiteX1906" fmla="*/ 956399 w 1176558"/>
                  <a:gd name="connsiteY1906" fmla="*/ 1070342 h 1226256"/>
                  <a:gd name="connsiteX1907" fmla="*/ 957460 w 1176558"/>
                  <a:gd name="connsiteY1907" fmla="*/ 1072766 h 1226256"/>
                  <a:gd name="connsiteX1908" fmla="*/ 957914 w 1176558"/>
                  <a:gd name="connsiteY1908" fmla="*/ 1074585 h 1226256"/>
                  <a:gd name="connsiteX1909" fmla="*/ 1064282 w 1176558"/>
                  <a:gd name="connsiteY1909" fmla="*/ 1188983 h 1226256"/>
                  <a:gd name="connsiteX1910" fmla="*/ 1062009 w 1176558"/>
                  <a:gd name="connsiteY1910" fmla="*/ 1189892 h 1226256"/>
                  <a:gd name="connsiteX1911" fmla="*/ 1058373 w 1176558"/>
                  <a:gd name="connsiteY1911" fmla="*/ 1190195 h 1226256"/>
                  <a:gd name="connsiteX1912" fmla="*/ 1056858 w 1176558"/>
                  <a:gd name="connsiteY1912" fmla="*/ 1190801 h 1226256"/>
                  <a:gd name="connsiteX1913" fmla="*/ 1053524 w 1176558"/>
                  <a:gd name="connsiteY1913" fmla="*/ 1189892 h 1226256"/>
                  <a:gd name="connsiteX1914" fmla="*/ 1053070 w 1176558"/>
                  <a:gd name="connsiteY1914" fmla="*/ 1189437 h 1226256"/>
                  <a:gd name="connsiteX1915" fmla="*/ 1051857 w 1176558"/>
                  <a:gd name="connsiteY1915" fmla="*/ 1187013 h 1226256"/>
                  <a:gd name="connsiteX1916" fmla="*/ 1049130 w 1176558"/>
                  <a:gd name="connsiteY1916" fmla="*/ 1187013 h 1226256"/>
                  <a:gd name="connsiteX1917" fmla="*/ 1046099 w 1176558"/>
                  <a:gd name="connsiteY1917" fmla="*/ 1186104 h 1226256"/>
                  <a:gd name="connsiteX1918" fmla="*/ 1041251 w 1176558"/>
                  <a:gd name="connsiteY1918" fmla="*/ 1185801 h 1226256"/>
                  <a:gd name="connsiteX1919" fmla="*/ 1040190 w 1176558"/>
                  <a:gd name="connsiteY1919" fmla="*/ 1185952 h 1226256"/>
                  <a:gd name="connsiteX1920" fmla="*/ 1039432 w 1176558"/>
                  <a:gd name="connsiteY1920" fmla="*/ 1187922 h 1226256"/>
                  <a:gd name="connsiteX1921" fmla="*/ 1039736 w 1176558"/>
                  <a:gd name="connsiteY1921" fmla="*/ 1188831 h 1226256"/>
                  <a:gd name="connsiteX1922" fmla="*/ 1040342 w 1176558"/>
                  <a:gd name="connsiteY1922" fmla="*/ 1189437 h 1226256"/>
                  <a:gd name="connsiteX1923" fmla="*/ 1040796 w 1176558"/>
                  <a:gd name="connsiteY1923" fmla="*/ 1189589 h 1226256"/>
                  <a:gd name="connsiteX1924" fmla="*/ 1042463 w 1176558"/>
                  <a:gd name="connsiteY1924" fmla="*/ 1188831 h 1226256"/>
                  <a:gd name="connsiteX1925" fmla="*/ 1043221 w 1176558"/>
                  <a:gd name="connsiteY1925" fmla="*/ 1188074 h 1226256"/>
                  <a:gd name="connsiteX1926" fmla="*/ 1043978 w 1176558"/>
                  <a:gd name="connsiteY1926" fmla="*/ 1187922 h 1226256"/>
                  <a:gd name="connsiteX1927" fmla="*/ 1045948 w 1176558"/>
                  <a:gd name="connsiteY1927" fmla="*/ 1188225 h 1226256"/>
                  <a:gd name="connsiteX1928" fmla="*/ 1048221 w 1176558"/>
                  <a:gd name="connsiteY1928" fmla="*/ 1189892 h 1226256"/>
                  <a:gd name="connsiteX1929" fmla="*/ 1051706 w 1176558"/>
                  <a:gd name="connsiteY1929" fmla="*/ 1191862 h 1226256"/>
                  <a:gd name="connsiteX1930" fmla="*/ 1052312 w 1176558"/>
                  <a:gd name="connsiteY1930" fmla="*/ 1192468 h 1226256"/>
                  <a:gd name="connsiteX1931" fmla="*/ 1052463 w 1176558"/>
                  <a:gd name="connsiteY1931" fmla="*/ 1193680 h 1226256"/>
                  <a:gd name="connsiteX1932" fmla="*/ 1053070 w 1176558"/>
                  <a:gd name="connsiteY1932" fmla="*/ 1194589 h 1226256"/>
                  <a:gd name="connsiteX1933" fmla="*/ 1056403 w 1176558"/>
                  <a:gd name="connsiteY1933" fmla="*/ 1195347 h 1226256"/>
                  <a:gd name="connsiteX1934" fmla="*/ 1058373 w 1176558"/>
                  <a:gd name="connsiteY1934" fmla="*/ 1196256 h 1226256"/>
                  <a:gd name="connsiteX1935" fmla="*/ 1059282 w 1176558"/>
                  <a:gd name="connsiteY1935" fmla="*/ 1196407 h 1226256"/>
                  <a:gd name="connsiteX1936" fmla="*/ 1061252 w 1176558"/>
                  <a:gd name="connsiteY1936" fmla="*/ 1195498 h 1226256"/>
                  <a:gd name="connsiteX1937" fmla="*/ 1062464 w 1176558"/>
                  <a:gd name="connsiteY1937" fmla="*/ 1195347 h 1226256"/>
                  <a:gd name="connsiteX1938" fmla="*/ 1063676 w 1176558"/>
                  <a:gd name="connsiteY1938" fmla="*/ 1196559 h 1226256"/>
                  <a:gd name="connsiteX1939" fmla="*/ 1063979 w 1176558"/>
                  <a:gd name="connsiteY1939" fmla="*/ 1197468 h 1226256"/>
                  <a:gd name="connsiteX1940" fmla="*/ 1063827 w 1176558"/>
                  <a:gd name="connsiteY1940" fmla="*/ 1198529 h 1226256"/>
                  <a:gd name="connsiteX1941" fmla="*/ 1065646 w 1176558"/>
                  <a:gd name="connsiteY1941" fmla="*/ 1199135 h 1226256"/>
                  <a:gd name="connsiteX1942" fmla="*/ 1067615 w 1176558"/>
                  <a:gd name="connsiteY1942" fmla="*/ 1198680 h 1226256"/>
                  <a:gd name="connsiteX1943" fmla="*/ 1070494 w 1176558"/>
                  <a:gd name="connsiteY1943" fmla="*/ 1196711 h 1226256"/>
                  <a:gd name="connsiteX1944" fmla="*/ 1070949 w 1176558"/>
                  <a:gd name="connsiteY1944" fmla="*/ 1194892 h 1226256"/>
                  <a:gd name="connsiteX1945" fmla="*/ 1067312 w 1176558"/>
                  <a:gd name="connsiteY1945" fmla="*/ 1188983 h 1226256"/>
                  <a:gd name="connsiteX1946" fmla="*/ 1064282 w 1176558"/>
                  <a:gd name="connsiteY1946" fmla="*/ 1188983 h 1226256"/>
                  <a:gd name="connsiteX1947" fmla="*/ 1015795 w 1176558"/>
                  <a:gd name="connsiteY1947" fmla="*/ 1143981 h 1226256"/>
                  <a:gd name="connsiteX1948" fmla="*/ 1013977 w 1176558"/>
                  <a:gd name="connsiteY1948" fmla="*/ 1142618 h 1226256"/>
                  <a:gd name="connsiteX1949" fmla="*/ 1011553 w 1176558"/>
                  <a:gd name="connsiteY1949" fmla="*/ 1139284 h 1226256"/>
                  <a:gd name="connsiteX1950" fmla="*/ 1010947 w 1176558"/>
                  <a:gd name="connsiteY1950" fmla="*/ 1138830 h 1226256"/>
                  <a:gd name="connsiteX1951" fmla="*/ 1005340 w 1176558"/>
                  <a:gd name="connsiteY1951" fmla="*/ 1137769 h 1226256"/>
                  <a:gd name="connsiteX1952" fmla="*/ 1002007 w 1176558"/>
                  <a:gd name="connsiteY1952" fmla="*/ 1138072 h 1226256"/>
                  <a:gd name="connsiteX1953" fmla="*/ 1000037 w 1176558"/>
                  <a:gd name="connsiteY1953" fmla="*/ 1138527 h 1226256"/>
                  <a:gd name="connsiteX1954" fmla="*/ 999583 w 1176558"/>
                  <a:gd name="connsiteY1954" fmla="*/ 1137920 h 1226256"/>
                  <a:gd name="connsiteX1955" fmla="*/ 998825 w 1176558"/>
                  <a:gd name="connsiteY1955" fmla="*/ 1134890 h 1226256"/>
                  <a:gd name="connsiteX1956" fmla="*/ 998219 w 1176558"/>
                  <a:gd name="connsiteY1956" fmla="*/ 1133375 h 1226256"/>
                  <a:gd name="connsiteX1957" fmla="*/ 997613 w 1176558"/>
                  <a:gd name="connsiteY1957" fmla="*/ 1132617 h 1226256"/>
                  <a:gd name="connsiteX1958" fmla="*/ 996249 w 1176558"/>
                  <a:gd name="connsiteY1958" fmla="*/ 1132314 h 1226256"/>
                  <a:gd name="connsiteX1959" fmla="*/ 995340 w 1176558"/>
                  <a:gd name="connsiteY1959" fmla="*/ 1131556 h 1226256"/>
                  <a:gd name="connsiteX1960" fmla="*/ 994734 w 1176558"/>
                  <a:gd name="connsiteY1960" fmla="*/ 1131708 h 1226256"/>
                  <a:gd name="connsiteX1961" fmla="*/ 993673 w 1176558"/>
                  <a:gd name="connsiteY1961" fmla="*/ 1132769 h 1226256"/>
                  <a:gd name="connsiteX1962" fmla="*/ 993522 w 1176558"/>
                  <a:gd name="connsiteY1962" fmla="*/ 1133678 h 1226256"/>
                  <a:gd name="connsiteX1963" fmla="*/ 993976 w 1176558"/>
                  <a:gd name="connsiteY1963" fmla="*/ 1136102 h 1226256"/>
                  <a:gd name="connsiteX1964" fmla="*/ 986703 w 1176558"/>
                  <a:gd name="connsiteY1964" fmla="*/ 1134587 h 1226256"/>
                  <a:gd name="connsiteX1965" fmla="*/ 984431 w 1176558"/>
                  <a:gd name="connsiteY1965" fmla="*/ 1132314 h 1226256"/>
                  <a:gd name="connsiteX1966" fmla="*/ 977915 w 1176558"/>
                  <a:gd name="connsiteY1966" fmla="*/ 1132920 h 1226256"/>
                  <a:gd name="connsiteX1967" fmla="*/ 973521 w 1176558"/>
                  <a:gd name="connsiteY1967" fmla="*/ 1137314 h 1226256"/>
                  <a:gd name="connsiteX1968" fmla="*/ 979127 w 1176558"/>
                  <a:gd name="connsiteY1968" fmla="*/ 1138223 h 1226256"/>
                  <a:gd name="connsiteX1969" fmla="*/ 980794 w 1176558"/>
                  <a:gd name="connsiteY1969" fmla="*/ 1141406 h 1226256"/>
                  <a:gd name="connsiteX1970" fmla="*/ 983824 w 1176558"/>
                  <a:gd name="connsiteY1970" fmla="*/ 1144436 h 1226256"/>
                  <a:gd name="connsiteX1971" fmla="*/ 986855 w 1176558"/>
                  <a:gd name="connsiteY1971" fmla="*/ 1143981 h 1226256"/>
                  <a:gd name="connsiteX1972" fmla="*/ 987764 w 1176558"/>
                  <a:gd name="connsiteY1972" fmla="*/ 1143981 h 1226256"/>
                  <a:gd name="connsiteX1973" fmla="*/ 988067 w 1176558"/>
                  <a:gd name="connsiteY1973" fmla="*/ 1144284 h 1226256"/>
                  <a:gd name="connsiteX1974" fmla="*/ 988673 w 1176558"/>
                  <a:gd name="connsiteY1974" fmla="*/ 1146708 h 1226256"/>
                  <a:gd name="connsiteX1975" fmla="*/ 988673 w 1176558"/>
                  <a:gd name="connsiteY1975" fmla="*/ 1148375 h 1226256"/>
                  <a:gd name="connsiteX1976" fmla="*/ 988219 w 1176558"/>
                  <a:gd name="connsiteY1976" fmla="*/ 1151557 h 1226256"/>
                  <a:gd name="connsiteX1977" fmla="*/ 988370 w 1176558"/>
                  <a:gd name="connsiteY1977" fmla="*/ 1152466 h 1226256"/>
                  <a:gd name="connsiteX1978" fmla="*/ 990946 w 1176558"/>
                  <a:gd name="connsiteY1978" fmla="*/ 1153982 h 1226256"/>
                  <a:gd name="connsiteX1979" fmla="*/ 993370 w 1176558"/>
                  <a:gd name="connsiteY1979" fmla="*/ 1154891 h 1226256"/>
                  <a:gd name="connsiteX1980" fmla="*/ 994431 w 1176558"/>
                  <a:gd name="connsiteY1980" fmla="*/ 1154436 h 1226256"/>
                  <a:gd name="connsiteX1981" fmla="*/ 994734 w 1176558"/>
                  <a:gd name="connsiteY1981" fmla="*/ 1153679 h 1226256"/>
                  <a:gd name="connsiteX1982" fmla="*/ 994279 w 1176558"/>
                  <a:gd name="connsiteY1982" fmla="*/ 1151406 h 1226256"/>
                  <a:gd name="connsiteX1983" fmla="*/ 994582 w 1176558"/>
                  <a:gd name="connsiteY1983" fmla="*/ 1149891 h 1226256"/>
                  <a:gd name="connsiteX1984" fmla="*/ 995492 w 1176558"/>
                  <a:gd name="connsiteY1984" fmla="*/ 1148375 h 1226256"/>
                  <a:gd name="connsiteX1985" fmla="*/ 997007 w 1176558"/>
                  <a:gd name="connsiteY1985" fmla="*/ 1149436 h 1226256"/>
                  <a:gd name="connsiteX1986" fmla="*/ 998370 w 1176558"/>
                  <a:gd name="connsiteY1986" fmla="*/ 1149436 h 1226256"/>
                  <a:gd name="connsiteX1987" fmla="*/ 1000189 w 1176558"/>
                  <a:gd name="connsiteY1987" fmla="*/ 1148982 h 1226256"/>
                  <a:gd name="connsiteX1988" fmla="*/ 1003068 w 1176558"/>
                  <a:gd name="connsiteY1988" fmla="*/ 1149587 h 1226256"/>
                  <a:gd name="connsiteX1989" fmla="*/ 1002613 w 1176558"/>
                  <a:gd name="connsiteY1989" fmla="*/ 1152921 h 1226256"/>
                  <a:gd name="connsiteX1990" fmla="*/ 999886 w 1176558"/>
                  <a:gd name="connsiteY1990" fmla="*/ 1156103 h 1226256"/>
                  <a:gd name="connsiteX1991" fmla="*/ 997764 w 1176558"/>
                  <a:gd name="connsiteY1991" fmla="*/ 1157012 h 1226256"/>
                  <a:gd name="connsiteX1992" fmla="*/ 998067 w 1176558"/>
                  <a:gd name="connsiteY1992" fmla="*/ 1157921 h 1226256"/>
                  <a:gd name="connsiteX1993" fmla="*/ 999128 w 1176558"/>
                  <a:gd name="connsiteY1993" fmla="*/ 1158830 h 1226256"/>
                  <a:gd name="connsiteX1994" fmla="*/ 1000189 w 1176558"/>
                  <a:gd name="connsiteY1994" fmla="*/ 1159285 h 1226256"/>
                  <a:gd name="connsiteX1995" fmla="*/ 1001098 w 1176558"/>
                  <a:gd name="connsiteY1995" fmla="*/ 1159285 h 1226256"/>
                  <a:gd name="connsiteX1996" fmla="*/ 1002461 w 1176558"/>
                  <a:gd name="connsiteY1996" fmla="*/ 1158527 h 1226256"/>
                  <a:gd name="connsiteX1997" fmla="*/ 1005492 w 1176558"/>
                  <a:gd name="connsiteY1997" fmla="*/ 1157618 h 1226256"/>
                  <a:gd name="connsiteX1998" fmla="*/ 1008674 w 1176558"/>
                  <a:gd name="connsiteY1998" fmla="*/ 1157467 h 1226256"/>
                  <a:gd name="connsiteX1999" fmla="*/ 1011250 w 1176558"/>
                  <a:gd name="connsiteY1999" fmla="*/ 1155800 h 1226256"/>
                  <a:gd name="connsiteX2000" fmla="*/ 1012916 w 1176558"/>
                  <a:gd name="connsiteY2000" fmla="*/ 1154891 h 1226256"/>
                  <a:gd name="connsiteX2001" fmla="*/ 1013977 w 1176558"/>
                  <a:gd name="connsiteY2001" fmla="*/ 1153982 h 1226256"/>
                  <a:gd name="connsiteX2002" fmla="*/ 1014129 w 1176558"/>
                  <a:gd name="connsiteY2002" fmla="*/ 1152466 h 1226256"/>
                  <a:gd name="connsiteX2003" fmla="*/ 1015795 w 1176558"/>
                  <a:gd name="connsiteY2003" fmla="*/ 1149587 h 1226256"/>
                  <a:gd name="connsiteX2004" fmla="*/ 1018523 w 1176558"/>
                  <a:gd name="connsiteY2004" fmla="*/ 1147466 h 1226256"/>
                  <a:gd name="connsiteX2005" fmla="*/ 1015795 w 1176558"/>
                  <a:gd name="connsiteY2005" fmla="*/ 1143981 h 12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Lst>
                <a:rect l="l" t="t" r="r" b="b"/>
                <a:pathLst>
                  <a:path w="1176558" h="1226256">
                    <a:moveTo>
                      <a:pt x="939429" y="831243"/>
                    </a:moveTo>
                    <a:lnTo>
                      <a:pt x="940338" y="831394"/>
                    </a:lnTo>
                    <a:lnTo>
                      <a:pt x="941096" y="830788"/>
                    </a:lnTo>
                    <a:lnTo>
                      <a:pt x="941399" y="830182"/>
                    </a:lnTo>
                    <a:lnTo>
                      <a:pt x="940944" y="828667"/>
                    </a:lnTo>
                    <a:lnTo>
                      <a:pt x="940035" y="827758"/>
                    </a:lnTo>
                    <a:lnTo>
                      <a:pt x="939277" y="827758"/>
                    </a:lnTo>
                    <a:lnTo>
                      <a:pt x="938368" y="828515"/>
                    </a:lnTo>
                    <a:lnTo>
                      <a:pt x="938823" y="830333"/>
                    </a:lnTo>
                    <a:lnTo>
                      <a:pt x="939429" y="831243"/>
                    </a:lnTo>
                    <a:close/>
                    <a:moveTo>
                      <a:pt x="1212" y="274101"/>
                    </a:moveTo>
                    <a:lnTo>
                      <a:pt x="152" y="275465"/>
                    </a:lnTo>
                    <a:lnTo>
                      <a:pt x="0" y="277131"/>
                    </a:lnTo>
                    <a:lnTo>
                      <a:pt x="4243" y="276222"/>
                    </a:lnTo>
                    <a:lnTo>
                      <a:pt x="5758" y="275010"/>
                    </a:lnTo>
                    <a:lnTo>
                      <a:pt x="4243" y="274859"/>
                    </a:lnTo>
                    <a:lnTo>
                      <a:pt x="1212" y="274101"/>
                    </a:lnTo>
                    <a:close/>
                    <a:moveTo>
                      <a:pt x="837152" y="468957"/>
                    </a:moveTo>
                    <a:lnTo>
                      <a:pt x="836546" y="468805"/>
                    </a:lnTo>
                    <a:lnTo>
                      <a:pt x="836092" y="468653"/>
                    </a:lnTo>
                    <a:lnTo>
                      <a:pt x="835789" y="468653"/>
                    </a:lnTo>
                    <a:lnTo>
                      <a:pt x="834425" y="469866"/>
                    </a:lnTo>
                    <a:lnTo>
                      <a:pt x="833364" y="470775"/>
                    </a:lnTo>
                    <a:lnTo>
                      <a:pt x="833061" y="471381"/>
                    </a:lnTo>
                    <a:lnTo>
                      <a:pt x="833213" y="471532"/>
                    </a:lnTo>
                    <a:lnTo>
                      <a:pt x="838061" y="470927"/>
                    </a:lnTo>
                    <a:lnTo>
                      <a:pt x="838819" y="470775"/>
                    </a:lnTo>
                    <a:lnTo>
                      <a:pt x="838971" y="470320"/>
                    </a:lnTo>
                    <a:lnTo>
                      <a:pt x="838516" y="469866"/>
                    </a:lnTo>
                    <a:lnTo>
                      <a:pt x="837152" y="468957"/>
                    </a:lnTo>
                    <a:close/>
                    <a:moveTo>
                      <a:pt x="945035" y="931852"/>
                    </a:moveTo>
                    <a:lnTo>
                      <a:pt x="942914" y="934731"/>
                    </a:lnTo>
                    <a:lnTo>
                      <a:pt x="936853" y="936549"/>
                    </a:lnTo>
                    <a:lnTo>
                      <a:pt x="935489" y="938367"/>
                    </a:lnTo>
                    <a:lnTo>
                      <a:pt x="935792" y="939277"/>
                    </a:lnTo>
                    <a:lnTo>
                      <a:pt x="936398" y="942307"/>
                    </a:lnTo>
                    <a:lnTo>
                      <a:pt x="937914" y="945186"/>
                    </a:lnTo>
                    <a:lnTo>
                      <a:pt x="938671" y="947004"/>
                    </a:lnTo>
                    <a:lnTo>
                      <a:pt x="940186" y="949883"/>
                    </a:lnTo>
                    <a:lnTo>
                      <a:pt x="940944" y="950944"/>
                    </a:lnTo>
                    <a:lnTo>
                      <a:pt x="942005" y="955944"/>
                    </a:lnTo>
                    <a:lnTo>
                      <a:pt x="944429" y="959126"/>
                    </a:lnTo>
                    <a:lnTo>
                      <a:pt x="950338" y="958217"/>
                    </a:lnTo>
                    <a:lnTo>
                      <a:pt x="953672" y="958671"/>
                    </a:lnTo>
                    <a:lnTo>
                      <a:pt x="954126" y="957914"/>
                    </a:lnTo>
                    <a:lnTo>
                      <a:pt x="952763" y="952005"/>
                    </a:lnTo>
                    <a:lnTo>
                      <a:pt x="953217" y="950944"/>
                    </a:lnTo>
                    <a:lnTo>
                      <a:pt x="953217" y="950186"/>
                    </a:lnTo>
                    <a:lnTo>
                      <a:pt x="952914" y="949277"/>
                    </a:lnTo>
                    <a:lnTo>
                      <a:pt x="951550" y="947762"/>
                    </a:lnTo>
                    <a:lnTo>
                      <a:pt x="950490" y="944429"/>
                    </a:lnTo>
                    <a:lnTo>
                      <a:pt x="950187" y="942307"/>
                    </a:lnTo>
                    <a:lnTo>
                      <a:pt x="949732" y="941550"/>
                    </a:lnTo>
                    <a:lnTo>
                      <a:pt x="947611" y="939883"/>
                    </a:lnTo>
                    <a:lnTo>
                      <a:pt x="946550" y="937913"/>
                    </a:lnTo>
                    <a:lnTo>
                      <a:pt x="947005" y="932004"/>
                    </a:lnTo>
                    <a:lnTo>
                      <a:pt x="945035" y="931852"/>
                    </a:lnTo>
                    <a:close/>
                    <a:moveTo>
                      <a:pt x="933974" y="1002461"/>
                    </a:moveTo>
                    <a:lnTo>
                      <a:pt x="937611" y="1002764"/>
                    </a:lnTo>
                    <a:lnTo>
                      <a:pt x="940338" y="1002613"/>
                    </a:lnTo>
                    <a:lnTo>
                      <a:pt x="941247" y="1002006"/>
                    </a:lnTo>
                    <a:lnTo>
                      <a:pt x="942308" y="998976"/>
                    </a:lnTo>
                    <a:lnTo>
                      <a:pt x="942308" y="993824"/>
                    </a:lnTo>
                    <a:lnTo>
                      <a:pt x="942611" y="992309"/>
                    </a:lnTo>
                    <a:lnTo>
                      <a:pt x="943217" y="991249"/>
                    </a:lnTo>
                    <a:lnTo>
                      <a:pt x="949126" y="987309"/>
                    </a:lnTo>
                    <a:lnTo>
                      <a:pt x="949732" y="987309"/>
                    </a:lnTo>
                    <a:lnTo>
                      <a:pt x="949884" y="987763"/>
                    </a:lnTo>
                    <a:lnTo>
                      <a:pt x="949732" y="988370"/>
                    </a:lnTo>
                    <a:lnTo>
                      <a:pt x="948217" y="989733"/>
                    </a:lnTo>
                    <a:lnTo>
                      <a:pt x="947611" y="990642"/>
                    </a:lnTo>
                    <a:lnTo>
                      <a:pt x="947459" y="993824"/>
                    </a:lnTo>
                    <a:lnTo>
                      <a:pt x="946096" y="994885"/>
                    </a:lnTo>
                    <a:lnTo>
                      <a:pt x="945490" y="997006"/>
                    </a:lnTo>
                    <a:lnTo>
                      <a:pt x="945490" y="998218"/>
                    </a:lnTo>
                    <a:lnTo>
                      <a:pt x="947156" y="1001400"/>
                    </a:lnTo>
                    <a:lnTo>
                      <a:pt x="947005" y="1003673"/>
                    </a:lnTo>
                    <a:lnTo>
                      <a:pt x="947459" y="1005491"/>
                    </a:lnTo>
                    <a:lnTo>
                      <a:pt x="948823" y="1008370"/>
                    </a:lnTo>
                    <a:lnTo>
                      <a:pt x="950490" y="1008673"/>
                    </a:lnTo>
                    <a:lnTo>
                      <a:pt x="953520" y="1008219"/>
                    </a:lnTo>
                    <a:lnTo>
                      <a:pt x="954126" y="1007613"/>
                    </a:lnTo>
                    <a:lnTo>
                      <a:pt x="954884" y="1005037"/>
                    </a:lnTo>
                    <a:lnTo>
                      <a:pt x="956096" y="1002915"/>
                    </a:lnTo>
                    <a:lnTo>
                      <a:pt x="956702" y="1000339"/>
                    </a:lnTo>
                    <a:lnTo>
                      <a:pt x="957005" y="997006"/>
                    </a:lnTo>
                    <a:lnTo>
                      <a:pt x="956702" y="996248"/>
                    </a:lnTo>
                    <a:lnTo>
                      <a:pt x="955490" y="995946"/>
                    </a:lnTo>
                    <a:lnTo>
                      <a:pt x="955338" y="994582"/>
                    </a:lnTo>
                    <a:lnTo>
                      <a:pt x="956399" y="988218"/>
                    </a:lnTo>
                    <a:lnTo>
                      <a:pt x="956854" y="983066"/>
                    </a:lnTo>
                    <a:lnTo>
                      <a:pt x="956551" y="977915"/>
                    </a:lnTo>
                    <a:lnTo>
                      <a:pt x="955036" y="966096"/>
                    </a:lnTo>
                    <a:lnTo>
                      <a:pt x="954581" y="964429"/>
                    </a:lnTo>
                    <a:lnTo>
                      <a:pt x="953975" y="963975"/>
                    </a:lnTo>
                    <a:lnTo>
                      <a:pt x="951702" y="963823"/>
                    </a:lnTo>
                    <a:lnTo>
                      <a:pt x="949126" y="962308"/>
                    </a:lnTo>
                    <a:lnTo>
                      <a:pt x="947914" y="962156"/>
                    </a:lnTo>
                    <a:lnTo>
                      <a:pt x="945035" y="963217"/>
                    </a:lnTo>
                    <a:lnTo>
                      <a:pt x="943065" y="965187"/>
                    </a:lnTo>
                    <a:lnTo>
                      <a:pt x="942762" y="966096"/>
                    </a:lnTo>
                    <a:lnTo>
                      <a:pt x="943671" y="968520"/>
                    </a:lnTo>
                    <a:lnTo>
                      <a:pt x="943520" y="970945"/>
                    </a:lnTo>
                    <a:lnTo>
                      <a:pt x="941096" y="973066"/>
                    </a:lnTo>
                    <a:lnTo>
                      <a:pt x="937005" y="975187"/>
                    </a:lnTo>
                    <a:lnTo>
                      <a:pt x="936247" y="977460"/>
                    </a:lnTo>
                    <a:lnTo>
                      <a:pt x="939429" y="978824"/>
                    </a:lnTo>
                    <a:lnTo>
                      <a:pt x="939580" y="981854"/>
                    </a:lnTo>
                    <a:lnTo>
                      <a:pt x="935944" y="982612"/>
                    </a:lnTo>
                    <a:lnTo>
                      <a:pt x="934429" y="981551"/>
                    </a:lnTo>
                    <a:lnTo>
                      <a:pt x="932913" y="981703"/>
                    </a:lnTo>
                    <a:lnTo>
                      <a:pt x="930034" y="983521"/>
                    </a:lnTo>
                    <a:lnTo>
                      <a:pt x="929125" y="984884"/>
                    </a:lnTo>
                    <a:lnTo>
                      <a:pt x="930186" y="986703"/>
                    </a:lnTo>
                    <a:lnTo>
                      <a:pt x="932004" y="988672"/>
                    </a:lnTo>
                    <a:lnTo>
                      <a:pt x="933671" y="989733"/>
                    </a:lnTo>
                    <a:lnTo>
                      <a:pt x="932762" y="994430"/>
                    </a:lnTo>
                    <a:lnTo>
                      <a:pt x="927762" y="994127"/>
                    </a:lnTo>
                    <a:lnTo>
                      <a:pt x="926398" y="996855"/>
                    </a:lnTo>
                    <a:lnTo>
                      <a:pt x="927004" y="1000188"/>
                    </a:lnTo>
                    <a:lnTo>
                      <a:pt x="929732" y="999430"/>
                    </a:lnTo>
                    <a:lnTo>
                      <a:pt x="933974" y="1002461"/>
                    </a:lnTo>
                    <a:close/>
                    <a:moveTo>
                      <a:pt x="942005" y="926852"/>
                    </a:moveTo>
                    <a:lnTo>
                      <a:pt x="939580" y="926701"/>
                    </a:lnTo>
                    <a:lnTo>
                      <a:pt x="936550" y="928064"/>
                    </a:lnTo>
                    <a:lnTo>
                      <a:pt x="935035" y="929277"/>
                    </a:lnTo>
                    <a:lnTo>
                      <a:pt x="936853" y="931095"/>
                    </a:lnTo>
                    <a:lnTo>
                      <a:pt x="937156" y="932155"/>
                    </a:lnTo>
                    <a:lnTo>
                      <a:pt x="939126" y="931701"/>
                    </a:lnTo>
                    <a:lnTo>
                      <a:pt x="939883" y="931246"/>
                    </a:lnTo>
                    <a:lnTo>
                      <a:pt x="940793" y="930337"/>
                    </a:lnTo>
                    <a:lnTo>
                      <a:pt x="944429" y="928822"/>
                    </a:lnTo>
                    <a:lnTo>
                      <a:pt x="944126" y="927610"/>
                    </a:lnTo>
                    <a:lnTo>
                      <a:pt x="942005" y="926852"/>
                    </a:lnTo>
                    <a:close/>
                    <a:moveTo>
                      <a:pt x="931398" y="978066"/>
                    </a:moveTo>
                    <a:lnTo>
                      <a:pt x="934883" y="974884"/>
                    </a:lnTo>
                    <a:lnTo>
                      <a:pt x="938974" y="969429"/>
                    </a:lnTo>
                    <a:lnTo>
                      <a:pt x="939277" y="966702"/>
                    </a:lnTo>
                    <a:lnTo>
                      <a:pt x="938974" y="964429"/>
                    </a:lnTo>
                    <a:lnTo>
                      <a:pt x="935792" y="964581"/>
                    </a:lnTo>
                    <a:lnTo>
                      <a:pt x="934126" y="965641"/>
                    </a:lnTo>
                    <a:lnTo>
                      <a:pt x="928822" y="967005"/>
                    </a:lnTo>
                    <a:lnTo>
                      <a:pt x="927610" y="966551"/>
                    </a:lnTo>
                    <a:lnTo>
                      <a:pt x="926246" y="967308"/>
                    </a:lnTo>
                    <a:lnTo>
                      <a:pt x="925186" y="968217"/>
                    </a:lnTo>
                    <a:lnTo>
                      <a:pt x="924731" y="970187"/>
                    </a:lnTo>
                    <a:lnTo>
                      <a:pt x="926398" y="971551"/>
                    </a:lnTo>
                    <a:lnTo>
                      <a:pt x="927459" y="971854"/>
                    </a:lnTo>
                    <a:lnTo>
                      <a:pt x="928216" y="972611"/>
                    </a:lnTo>
                    <a:lnTo>
                      <a:pt x="928974" y="975187"/>
                    </a:lnTo>
                    <a:lnTo>
                      <a:pt x="926701" y="977157"/>
                    </a:lnTo>
                    <a:lnTo>
                      <a:pt x="924883" y="979127"/>
                    </a:lnTo>
                    <a:lnTo>
                      <a:pt x="926550" y="980339"/>
                    </a:lnTo>
                    <a:lnTo>
                      <a:pt x="928519" y="980339"/>
                    </a:lnTo>
                    <a:lnTo>
                      <a:pt x="931398" y="978066"/>
                    </a:lnTo>
                    <a:close/>
                    <a:moveTo>
                      <a:pt x="962914" y="778210"/>
                    </a:moveTo>
                    <a:lnTo>
                      <a:pt x="966248" y="779574"/>
                    </a:lnTo>
                    <a:lnTo>
                      <a:pt x="969581" y="779574"/>
                    </a:lnTo>
                    <a:lnTo>
                      <a:pt x="971551" y="780029"/>
                    </a:lnTo>
                    <a:lnTo>
                      <a:pt x="973521" y="779877"/>
                    </a:lnTo>
                    <a:lnTo>
                      <a:pt x="975642" y="779120"/>
                    </a:lnTo>
                    <a:lnTo>
                      <a:pt x="976551" y="777301"/>
                    </a:lnTo>
                    <a:lnTo>
                      <a:pt x="976248" y="772907"/>
                    </a:lnTo>
                    <a:lnTo>
                      <a:pt x="978976" y="771846"/>
                    </a:lnTo>
                    <a:lnTo>
                      <a:pt x="982006" y="770028"/>
                    </a:lnTo>
                    <a:lnTo>
                      <a:pt x="983824" y="767301"/>
                    </a:lnTo>
                    <a:lnTo>
                      <a:pt x="984885" y="765482"/>
                    </a:lnTo>
                    <a:lnTo>
                      <a:pt x="982915" y="762604"/>
                    </a:lnTo>
                    <a:lnTo>
                      <a:pt x="981400" y="759725"/>
                    </a:lnTo>
                    <a:lnTo>
                      <a:pt x="978521" y="757906"/>
                    </a:lnTo>
                    <a:lnTo>
                      <a:pt x="975945" y="755179"/>
                    </a:lnTo>
                    <a:lnTo>
                      <a:pt x="975339" y="753967"/>
                    </a:lnTo>
                    <a:lnTo>
                      <a:pt x="977309" y="752603"/>
                    </a:lnTo>
                    <a:lnTo>
                      <a:pt x="978976" y="752149"/>
                    </a:lnTo>
                    <a:lnTo>
                      <a:pt x="979582" y="751543"/>
                    </a:lnTo>
                    <a:lnTo>
                      <a:pt x="981855" y="751088"/>
                    </a:lnTo>
                    <a:lnTo>
                      <a:pt x="983976" y="750179"/>
                    </a:lnTo>
                    <a:lnTo>
                      <a:pt x="982461" y="747755"/>
                    </a:lnTo>
                    <a:lnTo>
                      <a:pt x="982309" y="745179"/>
                    </a:lnTo>
                    <a:lnTo>
                      <a:pt x="984885" y="743967"/>
                    </a:lnTo>
                    <a:lnTo>
                      <a:pt x="985340" y="741239"/>
                    </a:lnTo>
                    <a:lnTo>
                      <a:pt x="984431" y="740330"/>
                    </a:lnTo>
                    <a:lnTo>
                      <a:pt x="983824" y="736391"/>
                    </a:lnTo>
                    <a:lnTo>
                      <a:pt x="982764" y="734269"/>
                    </a:lnTo>
                    <a:lnTo>
                      <a:pt x="982461" y="731542"/>
                    </a:lnTo>
                    <a:lnTo>
                      <a:pt x="976855" y="730936"/>
                    </a:lnTo>
                    <a:lnTo>
                      <a:pt x="968521" y="728208"/>
                    </a:lnTo>
                    <a:lnTo>
                      <a:pt x="967763" y="729117"/>
                    </a:lnTo>
                    <a:lnTo>
                      <a:pt x="968672" y="730178"/>
                    </a:lnTo>
                    <a:lnTo>
                      <a:pt x="968975" y="731390"/>
                    </a:lnTo>
                    <a:lnTo>
                      <a:pt x="967915" y="735027"/>
                    </a:lnTo>
                    <a:lnTo>
                      <a:pt x="967915" y="736845"/>
                    </a:lnTo>
                    <a:lnTo>
                      <a:pt x="967612" y="738512"/>
                    </a:lnTo>
                    <a:lnTo>
                      <a:pt x="965187" y="742148"/>
                    </a:lnTo>
                    <a:lnTo>
                      <a:pt x="964884" y="743815"/>
                    </a:lnTo>
                    <a:lnTo>
                      <a:pt x="965036" y="745633"/>
                    </a:lnTo>
                    <a:lnTo>
                      <a:pt x="964733" y="747452"/>
                    </a:lnTo>
                    <a:lnTo>
                      <a:pt x="964127" y="749270"/>
                    </a:lnTo>
                    <a:lnTo>
                      <a:pt x="963975" y="750785"/>
                    </a:lnTo>
                    <a:lnTo>
                      <a:pt x="965187" y="754422"/>
                    </a:lnTo>
                    <a:lnTo>
                      <a:pt x="963672" y="763967"/>
                    </a:lnTo>
                    <a:lnTo>
                      <a:pt x="961551" y="770634"/>
                    </a:lnTo>
                    <a:lnTo>
                      <a:pt x="959278" y="774119"/>
                    </a:lnTo>
                    <a:lnTo>
                      <a:pt x="958824" y="775634"/>
                    </a:lnTo>
                    <a:lnTo>
                      <a:pt x="959733" y="776695"/>
                    </a:lnTo>
                    <a:lnTo>
                      <a:pt x="962914" y="778210"/>
                    </a:lnTo>
                    <a:close/>
                    <a:moveTo>
                      <a:pt x="978067" y="819272"/>
                    </a:moveTo>
                    <a:lnTo>
                      <a:pt x="977006" y="819272"/>
                    </a:lnTo>
                    <a:lnTo>
                      <a:pt x="975491" y="819727"/>
                    </a:lnTo>
                    <a:lnTo>
                      <a:pt x="974430" y="821545"/>
                    </a:lnTo>
                    <a:lnTo>
                      <a:pt x="974430" y="822757"/>
                    </a:lnTo>
                    <a:lnTo>
                      <a:pt x="974885" y="823818"/>
                    </a:lnTo>
                    <a:lnTo>
                      <a:pt x="976703" y="826091"/>
                    </a:lnTo>
                    <a:lnTo>
                      <a:pt x="977006" y="827606"/>
                    </a:lnTo>
                    <a:lnTo>
                      <a:pt x="977764" y="828818"/>
                    </a:lnTo>
                    <a:lnTo>
                      <a:pt x="978521" y="828818"/>
                    </a:lnTo>
                    <a:lnTo>
                      <a:pt x="979430" y="828364"/>
                    </a:lnTo>
                    <a:lnTo>
                      <a:pt x="979885" y="826091"/>
                    </a:lnTo>
                    <a:lnTo>
                      <a:pt x="979582" y="823667"/>
                    </a:lnTo>
                    <a:lnTo>
                      <a:pt x="979279" y="821242"/>
                    </a:lnTo>
                    <a:lnTo>
                      <a:pt x="978067" y="819272"/>
                    </a:lnTo>
                    <a:close/>
                    <a:moveTo>
                      <a:pt x="988219" y="818818"/>
                    </a:moveTo>
                    <a:lnTo>
                      <a:pt x="985794" y="820939"/>
                    </a:lnTo>
                    <a:lnTo>
                      <a:pt x="984733" y="822454"/>
                    </a:lnTo>
                    <a:lnTo>
                      <a:pt x="985491" y="825333"/>
                    </a:lnTo>
                    <a:lnTo>
                      <a:pt x="986097" y="827000"/>
                    </a:lnTo>
                    <a:lnTo>
                      <a:pt x="987309" y="828970"/>
                    </a:lnTo>
                    <a:lnTo>
                      <a:pt x="990643" y="829879"/>
                    </a:lnTo>
                    <a:lnTo>
                      <a:pt x="997310" y="827151"/>
                    </a:lnTo>
                    <a:lnTo>
                      <a:pt x="999734" y="824879"/>
                    </a:lnTo>
                    <a:lnTo>
                      <a:pt x="1001098" y="822454"/>
                    </a:lnTo>
                    <a:lnTo>
                      <a:pt x="1003371" y="819424"/>
                    </a:lnTo>
                    <a:lnTo>
                      <a:pt x="1003068" y="818060"/>
                    </a:lnTo>
                    <a:lnTo>
                      <a:pt x="1001249" y="816394"/>
                    </a:lnTo>
                    <a:lnTo>
                      <a:pt x="996098" y="813969"/>
                    </a:lnTo>
                    <a:lnTo>
                      <a:pt x="991249" y="812303"/>
                    </a:lnTo>
                    <a:lnTo>
                      <a:pt x="989885" y="812757"/>
                    </a:lnTo>
                    <a:lnTo>
                      <a:pt x="989582" y="814272"/>
                    </a:lnTo>
                    <a:lnTo>
                      <a:pt x="989734" y="815787"/>
                    </a:lnTo>
                    <a:lnTo>
                      <a:pt x="989279" y="817454"/>
                    </a:lnTo>
                    <a:lnTo>
                      <a:pt x="988219" y="818818"/>
                    </a:lnTo>
                    <a:close/>
                    <a:moveTo>
                      <a:pt x="951248" y="787908"/>
                    </a:moveTo>
                    <a:lnTo>
                      <a:pt x="951399" y="787605"/>
                    </a:lnTo>
                    <a:lnTo>
                      <a:pt x="951248" y="786847"/>
                    </a:lnTo>
                    <a:lnTo>
                      <a:pt x="950641" y="786089"/>
                    </a:lnTo>
                    <a:lnTo>
                      <a:pt x="949278" y="785483"/>
                    </a:lnTo>
                    <a:lnTo>
                      <a:pt x="947308" y="785938"/>
                    </a:lnTo>
                    <a:lnTo>
                      <a:pt x="946702" y="786696"/>
                    </a:lnTo>
                    <a:lnTo>
                      <a:pt x="946702" y="787605"/>
                    </a:lnTo>
                    <a:lnTo>
                      <a:pt x="947611" y="788665"/>
                    </a:lnTo>
                    <a:lnTo>
                      <a:pt x="951248" y="787908"/>
                    </a:lnTo>
                    <a:close/>
                    <a:moveTo>
                      <a:pt x="938823" y="1009885"/>
                    </a:moveTo>
                    <a:lnTo>
                      <a:pt x="936398" y="1009582"/>
                    </a:lnTo>
                    <a:lnTo>
                      <a:pt x="933217" y="1008370"/>
                    </a:lnTo>
                    <a:lnTo>
                      <a:pt x="932004" y="1012007"/>
                    </a:lnTo>
                    <a:lnTo>
                      <a:pt x="931853" y="1013977"/>
                    </a:lnTo>
                    <a:lnTo>
                      <a:pt x="931247" y="1014886"/>
                    </a:lnTo>
                    <a:lnTo>
                      <a:pt x="930792" y="1017158"/>
                    </a:lnTo>
                    <a:lnTo>
                      <a:pt x="929732" y="1020189"/>
                    </a:lnTo>
                    <a:lnTo>
                      <a:pt x="933671" y="1020189"/>
                    </a:lnTo>
                    <a:lnTo>
                      <a:pt x="935186" y="1021401"/>
                    </a:lnTo>
                    <a:lnTo>
                      <a:pt x="940489" y="1018522"/>
                    </a:lnTo>
                    <a:lnTo>
                      <a:pt x="943065" y="1016401"/>
                    </a:lnTo>
                    <a:lnTo>
                      <a:pt x="946550" y="1015037"/>
                    </a:lnTo>
                    <a:lnTo>
                      <a:pt x="945490" y="1011855"/>
                    </a:lnTo>
                    <a:lnTo>
                      <a:pt x="942005" y="1011098"/>
                    </a:lnTo>
                    <a:lnTo>
                      <a:pt x="938823" y="1009885"/>
                    </a:lnTo>
                    <a:close/>
                    <a:moveTo>
                      <a:pt x="973369" y="793817"/>
                    </a:moveTo>
                    <a:lnTo>
                      <a:pt x="970339" y="794877"/>
                    </a:lnTo>
                    <a:lnTo>
                      <a:pt x="965642" y="795029"/>
                    </a:lnTo>
                    <a:lnTo>
                      <a:pt x="965491" y="796696"/>
                    </a:lnTo>
                    <a:lnTo>
                      <a:pt x="966248" y="797151"/>
                    </a:lnTo>
                    <a:lnTo>
                      <a:pt x="970642" y="798363"/>
                    </a:lnTo>
                    <a:lnTo>
                      <a:pt x="971097" y="798060"/>
                    </a:lnTo>
                    <a:lnTo>
                      <a:pt x="972006" y="796696"/>
                    </a:lnTo>
                    <a:lnTo>
                      <a:pt x="973976" y="796999"/>
                    </a:lnTo>
                    <a:lnTo>
                      <a:pt x="975188" y="796847"/>
                    </a:lnTo>
                    <a:lnTo>
                      <a:pt x="974582" y="795181"/>
                    </a:lnTo>
                    <a:lnTo>
                      <a:pt x="973673" y="793968"/>
                    </a:lnTo>
                    <a:lnTo>
                      <a:pt x="973369" y="793817"/>
                    </a:lnTo>
                    <a:close/>
                    <a:moveTo>
                      <a:pt x="950944" y="859577"/>
                    </a:moveTo>
                    <a:lnTo>
                      <a:pt x="954126" y="858971"/>
                    </a:lnTo>
                    <a:lnTo>
                      <a:pt x="956702" y="860183"/>
                    </a:lnTo>
                    <a:lnTo>
                      <a:pt x="959430" y="859425"/>
                    </a:lnTo>
                    <a:lnTo>
                      <a:pt x="960945" y="857910"/>
                    </a:lnTo>
                    <a:lnTo>
                      <a:pt x="962763" y="856546"/>
                    </a:lnTo>
                    <a:lnTo>
                      <a:pt x="963218" y="855183"/>
                    </a:lnTo>
                    <a:lnTo>
                      <a:pt x="962914" y="853971"/>
                    </a:lnTo>
                    <a:lnTo>
                      <a:pt x="960793" y="850183"/>
                    </a:lnTo>
                    <a:lnTo>
                      <a:pt x="961551" y="843819"/>
                    </a:lnTo>
                    <a:lnTo>
                      <a:pt x="960793" y="840334"/>
                    </a:lnTo>
                    <a:lnTo>
                      <a:pt x="957763" y="841394"/>
                    </a:lnTo>
                    <a:lnTo>
                      <a:pt x="957005" y="843061"/>
                    </a:lnTo>
                    <a:lnTo>
                      <a:pt x="955642" y="844122"/>
                    </a:lnTo>
                    <a:lnTo>
                      <a:pt x="955793" y="848819"/>
                    </a:lnTo>
                    <a:lnTo>
                      <a:pt x="953975" y="852152"/>
                    </a:lnTo>
                    <a:lnTo>
                      <a:pt x="951550" y="854728"/>
                    </a:lnTo>
                    <a:lnTo>
                      <a:pt x="950338" y="856849"/>
                    </a:lnTo>
                    <a:lnTo>
                      <a:pt x="950944" y="859577"/>
                    </a:lnTo>
                    <a:close/>
                    <a:moveTo>
                      <a:pt x="955793" y="826091"/>
                    </a:moveTo>
                    <a:lnTo>
                      <a:pt x="957914" y="830030"/>
                    </a:lnTo>
                    <a:lnTo>
                      <a:pt x="959733" y="831546"/>
                    </a:lnTo>
                    <a:lnTo>
                      <a:pt x="962005" y="836546"/>
                    </a:lnTo>
                    <a:lnTo>
                      <a:pt x="963975" y="839424"/>
                    </a:lnTo>
                    <a:lnTo>
                      <a:pt x="966854" y="841091"/>
                    </a:lnTo>
                    <a:lnTo>
                      <a:pt x="966551" y="845485"/>
                    </a:lnTo>
                    <a:lnTo>
                      <a:pt x="968824" y="846091"/>
                    </a:lnTo>
                    <a:lnTo>
                      <a:pt x="973369" y="845940"/>
                    </a:lnTo>
                    <a:lnTo>
                      <a:pt x="973824" y="845485"/>
                    </a:lnTo>
                    <a:lnTo>
                      <a:pt x="973976" y="843970"/>
                    </a:lnTo>
                    <a:lnTo>
                      <a:pt x="975642" y="843667"/>
                    </a:lnTo>
                    <a:lnTo>
                      <a:pt x="976097" y="843364"/>
                    </a:lnTo>
                    <a:lnTo>
                      <a:pt x="976703" y="840940"/>
                    </a:lnTo>
                    <a:lnTo>
                      <a:pt x="976855" y="839576"/>
                    </a:lnTo>
                    <a:lnTo>
                      <a:pt x="976703" y="838213"/>
                    </a:lnTo>
                    <a:lnTo>
                      <a:pt x="975036" y="835334"/>
                    </a:lnTo>
                    <a:lnTo>
                      <a:pt x="974733" y="833515"/>
                    </a:lnTo>
                    <a:lnTo>
                      <a:pt x="974885" y="832455"/>
                    </a:lnTo>
                    <a:lnTo>
                      <a:pt x="973976" y="828818"/>
                    </a:lnTo>
                    <a:lnTo>
                      <a:pt x="972612" y="825030"/>
                    </a:lnTo>
                    <a:lnTo>
                      <a:pt x="971551" y="822606"/>
                    </a:lnTo>
                    <a:lnTo>
                      <a:pt x="969279" y="820484"/>
                    </a:lnTo>
                    <a:lnTo>
                      <a:pt x="969430" y="818666"/>
                    </a:lnTo>
                    <a:lnTo>
                      <a:pt x="969733" y="817151"/>
                    </a:lnTo>
                    <a:lnTo>
                      <a:pt x="973067" y="815484"/>
                    </a:lnTo>
                    <a:lnTo>
                      <a:pt x="975188" y="815181"/>
                    </a:lnTo>
                    <a:lnTo>
                      <a:pt x="976551" y="813666"/>
                    </a:lnTo>
                    <a:lnTo>
                      <a:pt x="977461" y="811393"/>
                    </a:lnTo>
                    <a:lnTo>
                      <a:pt x="977461" y="809727"/>
                    </a:lnTo>
                    <a:lnTo>
                      <a:pt x="974279" y="808363"/>
                    </a:lnTo>
                    <a:lnTo>
                      <a:pt x="973067" y="806696"/>
                    </a:lnTo>
                    <a:lnTo>
                      <a:pt x="972157" y="805029"/>
                    </a:lnTo>
                    <a:lnTo>
                      <a:pt x="969581" y="805181"/>
                    </a:lnTo>
                    <a:lnTo>
                      <a:pt x="967157" y="806696"/>
                    </a:lnTo>
                    <a:lnTo>
                      <a:pt x="966400" y="809727"/>
                    </a:lnTo>
                    <a:lnTo>
                      <a:pt x="966702" y="813515"/>
                    </a:lnTo>
                    <a:lnTo>
                      <a:pt x="965793" y="814424"/>
                    </a:lnTo>
                    <a:lnTo>
                      <a:pt x="963672" y="814727"/>
                    </a:lnTo>
                    <a:lnTo>
                      <a:pt x="961248" y="813666"/>
                    </a:lnTo>
                    <a:lnTo>
                      <a:pt x="957914" y="815030"/>
                    </a:lnTo>
                    <a:lnTo>
                      <a:pt x="955793" y="816242"/>
                    </a:lnTo>
                    <a:lnTo>
                      <a:pt x="956399" y="820030"/>
                    </a:lnTo>
                    <a:lnTo>
                      <a:pt x="952611" y="822151"/>
                    </a:lnTo>
                    <a:lnTo>
                      <a:pt x="955793" y="826091"/>
                    </a:lnTo>
                    <a:close/>
                    <a:moveTo>
                      <a:pt x="924277" y="957914"/>
                    </a:moveTo>
                    <a:lnTo>
                      <a:pt x="925034" y="964126"/>
                    </a:lnTo>
                    <a:lnTo>
                      <a:pt x="928065" y="964126"/>
                    </a:lnTo>
                    <a:lnTo>
                      <a:pt x="930186" y="962611"/>
                    </a:lnTo>
                    <a:lnTo>
                      <a:pt x="935944" y="960793"/>
                    </a:lnTo>
                    <a:lnTo>
                      <a:pt x="937762" y="959126"/>
                    </a:lnTo>
                    <a:lnTo>
                      <a:pt x="937914" y="952156"/>
                    </a:lnTo>
                    <a:lnTo>
                      <a:pt x="934580" y="944883"/>
                    </a:lnTo>
                    <a:lnTo>
                      <a:pt x="932913" y="939883"/>
                    </a:lnTo>
                    <a:lnTo>
                      <a:pt x="931398" y="938065"/>
                    </a:lnTo>
                    <a:lnTo>
                      <a:pt x="926701" y="939883"/>
                    </a:lnTo>
                    <a:lnTo>
                      <a:pt x="926398" y="940792"/>
                    </a:lnTo>
                    <a:lnTo>
                      <a:pt x="926853" y="942913"/>
                    </a:lnTo>
                    <a:lnTo>
                      <a:pt x="928065" y="945489"/>
                    </a:lnTo>
                    <a:lnTo>
                      <a:pt x="927762" y="948974"/>
                    </a:lnTo>
                    <a:lnTo>
                      <a:pt x="924277" y="957914"/>
                    </a:lnTo>
                    <a:close/>
                    <a:moveTo>
                      <a:pt x="1146103" y="1223681"/>
                    </a:moveTo>
                    <a:lnTo>
                      <a:pt x="1140194" y="1223227"/>
                    </a:lnTo>
                    <a:lnTo>
                      <a:pt x="1138224" y="1223681"/>
                    </a:lnTo>
                    <a:lnTo>
                      <a:pt x="1137770" y="1224287"/>
                    </a:lnTo>
                    <a:lnTo>
                      <a:pt x="1137921" y="1224893"/>
                    </a:lnTo>
                    <a:lnTo>
                      <a:pt x="1138376" y="1225196"/>
                    </a:lnTo>
                    <a:lnTo>
                      <a:pt x="1142012" y="1225499"/>
                    </a:lnTo>
                    <a:lnTo>
                      <a:pt x="1144437" y="1226257"/>
                    </a:lnTo>
                    <a:lnTo>
                      <a:pt x="1145497" y="1226106"/>
                    </a:lnTo>
                    <a:lnTo>
                      <a:pt x="1146255" y="1225651"/>
                    </a:lnTo>
                    <a:lnTo>
                      <a:pt x="1147164" y="1224439"/>
                    </a:lnTo>
                    <a:lnTo>
                      <a:pt x="1147012" y="1223984"/>
                    </a:lnTo>
                    <a:lnTo>
                      <a:pt x="1146103" y="1223681"/>
                    </a:lnTo>
                    <a:close/>
                    <a:moveTo>
                      <a:pt x="1085192" y="1182164"/>
                    </a:moveTo>
                    <a:lnTo>
                      <a:pt x="1086555" y="1181104"/>
                    </a:lnTo>
                    <a:lnTo>
                      <a:pt x="1090344" y="1184892"/>
                    </a:lnTo>
                    <a:lnTo>
                      <a:pt x="1093071" y="1186710"/>
                    </a:lnTo>
                    <a:lnTo>
                      <a:pt x="1104132" y="1188680"/>
                    </a:lnTo>
                    <a:lnTo>
                      <a:pt x="1110647" y="1187468"/>
                    </a:lnTo>
                    <a:lnTo>
                      <a:pt x="1111708" y="1186558"/>
                    </a:lnTo>
                    <a:lnTo>
                      <a:pt x="1115799" y="1186558"/>
                    </a:lnTo>
                    <a:lnTo>
                      <a:pt x="1115951" y="1178073"/>
                    </a:lnTo>
                    <a:lnTo>
                      <a:pt x="1116102" y="1166558"/>
                    </a:lnTo>
                    <a:lnTo>
                      <a:pt x="1116102" y="1156406"/>
                    </a:lnTo>
                    <a:lnTo>
                      <a:pt x="1116102" y="1146557"/>
                    </a:lnTo>
                    <a:lnTo>
                      <a:pt x="1116102" y="1136405"/>
                    </a:lnTo>
                    <a:lnTo>
                      <a:pt x="1116102" y="1126254"/>
                    </a:lnTo>
                    <a:lnTo>
                      <a:pt x="1116102" y="1115344"/>
                    </a:lnTo>
                    <a:lnTo>
                      <a:pt x="1116102" y="1104434"/>
                    </a:lnTo>
                    <a:lnTo>
                      <a:pt x="1115345" y="1103677"/>
                    </a:lnTo>
                    <a:lnTo>
                      <a:pt x="1112617" y="1101858"/>
                    </a:lnTo>
                    <a:lnTo>
                      <a:pt x="1111708" y="1101707"/>
                    </a:lnTo>
                    <a:lnTo>
                      <a:pt x="1103829" y="1105344"/>
                    </a:lnTo>
                    <a:lnTo>
                      <a:pt x="1101404" y="1105040"/>
                    </a:lnTo>
                    <a:lnTo>
                      <a:pt x="1094586" y="1098373"/>
                    </a:lnTo>
                    <a:lnTo>
                      <a:pt x="1092313" y="1098525"/>
                    </a:lnTo>
                    <a:lnTo>
                      <a:pt x="1090344" y="1100646"/>
                    </a:lnTo>
                    <a:lnTo>
                      <a:pt x="1087768" y="1104283"/>
                    </a:lnTo>
                    <a:lnTo>
                      <a:pt x="1085040" y="1107465"/>
                    </a:lnTo>
                    <a:lnTo>
                      <a:pt x="1081707" y="1109889"/>
                    </a:lnTo>
                    <a:lnTo>
                      <a:pt x="1080343" y="1110646"/>
                    </a:lnTo>
                    <a:lnTo>
                      <a:pt x="1078828" y="1110646"/>
                    </a:lnTo>
                    <a:lnTo>
                      <a:pt x="1076252" y="1108677"/>
                    </a:lnTo>
                    <a:lnTo>
                      <a:pt x="1073525" y="1107010"/>
                    </a:lnTo>
                    <a:lnTo>
                      <a:pt x="1069585" y="1107313"/>
                    </a:lnTo>
                    <a:lnTo>
                      <a:pt x="1068373" y="1107919"/>
                    </a:lnTo>
                    <a:lnTo>
                      <a:pt x="1070646" y="1110344"/>
                    </a:lnTo>
                    <a:lnTo>
                      <a:pt x="1071707" y="1111859"/>
                    </a:lnTo>
                    <a:lnTo>
                      <a:pt x="1074282" y="1113374"/>
                    </a:lnTo>
                    <a:lnTo>
                      <a:pt x="1074888" y="1114132"/>
                    </a:lnTo>
                    <a:lnTo>
                      <a:pt x="1075191" y="1115041"/>
                    </a:lnTo>
                    <a:lnTo>
                      <a:pt x="1074434" y="1116101"/>
                    </a:lnTo>
                    <a:lnTo>
                      <a:pt x="1073525" y="1116859"/>
                    </a:lnTo>
                    <a:lnTo>
                      <a:pt x="1071858" y="1117313"/>
                    </a:lnTo>
                    <a:lnTo>
                      <a:pt x="1070191" y="1117162"/>
                    </a:lnTo>
                    <a:lnTo>
                      <a:pt x="1068222" y="1118071"/>
                    </a:lnTo>
                    <a:lnTo>
                      <a:pt x="1066706" y="1120192"/>
                    </a:lnTo>
                    <a:lnTo>
                      <a:pt x="1066252" y="1122314"/>
                    </a:lnTo>
                    <a:lnTo>
                      <a:pt x="1066252" y="1124587"/>
                    </a:lnTo>
                    <a:lnTo>
                      <a:pt x="1067464" y="1128223"/>
                    </a:lnTo>
                    <a:lnTo>
                      <a:pt x="1069888" y="1130951"/>
                    </a:lnTo>
                    <a:lnTo>
                      <a:pt x="1073070" y="1132314"/>
                    </a:lnTo>
                    <a:lnTo>
                      <a:pt x="1076404" y="1132465"/>
                    </a:lnTo>
                    <a:lnTo>
                      <a:pt x="1082313" y="1129890"/>
                    </a:lnTo>
                    <a:lnTo>
                      <a:pt x="1085495" y="1129435"/>
                    </a:lnTo>
                    <a:lnTo>
                      <a:pt x="1088677" y="1129284"/>
                    </a:lnTo>
                    <a:lnTo>
                      <a:pt x="1092010" y="1129587"/>
                    </a:lnTo>
                    <a:lnTo>
                      <a:pt x="1095192" y="1130799"/>
                    </a:lnTo>
                    <a:lnTo>
                      <a:pt x="1096253" y="1132465"/>
                    </a:lnTo>
                    <a:lnTo>
                      <a:pt x="1096404" y="1134890"/>
                    </a:lnTo>
                    <a:lnTo>
                      <a:pt x="1095344" y="1135648"/>
                    </a:lnTo>
                    <a:lnTo>
                      <a:pt x="1087162" y="1139436"/>
                    </a:lnTo>
                    <a:lnTo>
                      <a:pt x="1080040" y="1142011"/>
                    </a:lnTo>
                    <a:lnTo>
                      <a:pt x="1076101" y="1143830"/>
                    </a:lnTo>
                    <a:lnTo>
                      <a:pt x="1074585" y="1145345"/>
                    </a:lnTo>
                    <a:lnTo>
                      <a:pt x="1074585" y="1150042"/>
                    </a:lnTo>
                    <a:lnTo>
                      <a:pt x="1076404" y="1154588"/>
                    </a:lnTo>
                    <a:lnTo>
                      <a:pt x="1079131" y="1158224"/>
                    </a:lnTo>
                    <a:lnTo>
                      <a:pt x="1100798" y="1167467"/>
                    </a:lnTo>
                    <a:lnTo>
                      <a:pt x="1104890" y="1169437"/>
                    </a:lnTo>
                    <a:lnTo>
                      <a:pt x="1104890" y="1170194"/>
                    </a:lnTo>
                    <a:lnTo>
                      <a:pt x="1103981" y="1170800"/>
                    </a:lnTo>
                    <a:lnTo>
                      <a:pt x="1102617" y="1171255"/>
                    </a:lnTo>
                    <a:lnTo>
                      <a:pt x="1101556" y="1172164"/>
                    </a:lnTo>
                    <a:lnTo>
                      <a:pt x="1099283" y="1174892"/>
                    </a:lnTo>
                    <a:lnTo>
                      <a:pt x="1097616" y="1175498"/>
                    </a:lnTo>
                    <a:lnTo>
                      <a:pt x="1097314" y="1174437"/>
                    </a:lnTo>
                    <a:lnTo>
                      <a:pt x="1097314" y="1172315"/>
                    </a:lnTo>
                    <a:lnTo>
                      <a:pt x="1096253" y="1170346"/>
                    </a:lnTo>
                    <a:lnTo>
                      <a:pt x="1094738" y="1169134"/>
                    </a:lnTo>
                    <a:lnTo>
                      <a:pt x="1089131" y="1167467"/>
                    </a:lnTo>
                    <a:lnTo>
                      <a:pt x="1085798" y="1165346"/>
                    </a:lnTo>
                    <a:lnTo>
                      <a:pt x="1083980" y="1165952"/>
                    </a:lnTo>
                    <a:lnTo>
                      <a:pt x="1082464" y="1167770"/>
                    </a:lnTo>
                    <a:lnTo>
                      <a:pt x="1079131" y="1168225"/>
                    </a:lnTo>
                    <a:lnTo>
                      <a:pt x="1074282" y="1168073"/>
                    </a:lnTo>
                    <a:lnTo>
                      <a:pt x="1072312" y="1166861"/>
                    </a:lnTo>
                    <a:lnTo>
                      <a:pt x="1072312" y="1164285"/>
                    </a:lnTo>
                    <a:lnTo>
                      <a:pt x="1068676" y="1160649"/>
                    </a:lnTo>
                    <a:lnTo>
                      <a:pt x="1064434" y="1158982"/>
                    </a:lnTo>
                    <a:lnTo>
                      <a:pt x="1061858" y="1154133"/>
                    </a:lnTo>
                    <a:lnTo>
                      <a:pt x="1066555" y="1154133"/>
                    </a:lnTo>
                    <a:lnTo>
                      <a:pt x="1068828" y="1153375"/>
                    </a:lnTo>
                    <a:lnTo>
                      <a:pt x="1067161" y="1149891"/>
                    </a:lnTo>
                    <a:lnTo>
                      <a:pt x="1064736" y="1139890"/>
                    </a:lnTo>
                    <a:lnTo>
                      <a:pt x="1062312" y="1140951"/>
                    </a:lnTo>
                    <a:lnTo>
                      <a:pt x="1060191" y="1143678"/>
                    </a:lnTo>
                    <a:lnTo>
                      <a:pt x="1061555" y="1147315"/>
                    </a:lnTo>
                    <a:lnTo>
                      <a:pt x="1055494" y="1149587"/>
                    </a:lnTo>
                    <a:lnTo>
                      <a:pt x="1055797" y="1153830"/>
                    </a:lnTo>
                    <a:lnTo>
                      <a:pt x="1055645" y="1158072"/>
                    </a:lnTo>
                    <a:lnTo>
                      <a:pt x="1058524" y="1162921"/>
                    </a:lnTo>
                    <a:lnTo>
                      <a:pt x="1061858" y="1163679"/>
                    </a:lnTo>
                    <a:lnTo>
                      <a:pt x="1064434" y="1165194"/>
                    </a:lnTo>
                    <a:lnTo>
                      <a:pt x="1066403" y="1167770"/>
                    </a:lnTo>
                    <a:lnTo>
                      <a:pt x="1071100" y="1172013"/>
                    </a:lnTo>
                    <a:lnTo>
                      <a:pt x="1070494" y="1174134"/>
                    </a:lnTo>
                    <a:lnTo>
                      <a:pt x="1067615" y="1173073"/>
                    </a:lnTo>
                    <a:lnTo>
                      <a:pt x="1063373" y="1173225"/>
                    </a:lnTo>
                    <a:lnTo>
                      <a:pt x="1059888" y="1172467"/>
                    </a:lnTo>
                    <a:lnTo>
                      <a:pt x="1060191" y="1169740"/>
                    </a:lnTo>
                    <a:lnTo>
                      <a:pt x="1059888" y="1167315"/>
                    </a:lnTo>
                    <a:lnTo>
                      <a:pt x="1057160" y="1166558"/>
                    </a:lnTo>
                    <a:lnTo>
                      <a:pt x="1054433" y="1167012"/>
                    </a:lnTo>
                    <a:lnTo>
                      <a:pt x="1053676" y="1167922"/>
                    </a:lnTo>
                    <a:lnTo>
                      <a:pt x="1053221" y="1169285"/>
                    </a:lnTo>
                    <a:lnTo>
                      <a:pt x="1052615" y="1170043"/>
                    </a:lnTo>
                    <a:lnTo>
                      <a:pt x="1049584" y="1170952"/>
                    </a:lnTo>
                    <a:lnTo>
                      <a:pt x="1047463" y="1171255"/>
                    </a:lnTo>
                    <a:lnTo>
                      <a:pt x="1042160" y="1169134"/>
                    </a:lnTo>
                    <a:lnTo>
                      <a:pt x="1041099" y="1169285"/>
                    </a:lnTo>
                    <a:lnTo>
                      <a:pt x="1038220" y="1170952"/>
                    </a:lnTo>
                    <a:lnTo>
                      <a:pt x="1036251" y="1172922"/>
                    </a:lnTo>
                    <a:lnTo>
                      <a:pt x="1035341" y="1172922"/>
                    </a:lnTo>
                    <a:lnTo>
                      <a:pt x="1032311" y="1170952"/>
                    </a:lnTo>
                    <a:lnTo>
                      <a:pt x="1030038" y="1170649"/>
                    </a:lnTo>
                    <a:lnTo>
                      <a:pt x="1029432" y="1172164"/>
                    </a:lnTo>
                    <a:lnTo>
                      <a:pt x="1027159" y="1172922"/>
                    </a:lnTo>
                    <a:lnTo>
                      <a:pt x="1026553" y="1174134"/>
                    </a:lnTo>
                    <a:lnTo>
                      <a:pt x="1027311" y="1176861"/>
                    </a:lnTo>
                    <a:lnTo>
                      <a:pt x="1029281" y="1177770"/>
                    </a:lnTo>
                    <a:lnTo>
                      <a:pt x="1040039" y="1177467"/>
                    </a:lnTo>
                    <a:lnTo>
                      <a:pt x="1045796" y="1180346"/>
                    </a:lnTo>
                    <a:lnTo>
                      <a:pt x="1054130" y="1181104"/>
                    </a:lnTo>
                    <a:lnTo>
                      <a:pt x="1059282" y="1182468"/>
                    </a:lnTo>
                    <a:lnTo>
                      <a:pt x="1065797" y="1184740"/>
                    </a:lnTo>
                    <a:lnTo>
                      <a:pt x="1071707" y="1182619"/>
                    </a:lnTo>
                    <a:lnTo>
                      <a:pt x="1072312" y="1182770"/>
                    </a:lnTo>
                    <a:lnTo>
                      <a:pt x="1072919" y="1183528"/>
                    </a:lnTo>
                    <a:lnTo>
                      <a:pt x="1075646" y="1185043"/>
                    </a:lnTo>
                    <a:lnTo>
                      <a:pt x="1078525" y="1184892"/>
                    </a:lnTo>
                    <a:lnTo>
                      <a:pt x="1082161" y="1183680"/>
                    </a:lnTo>
                    <a:lnTo>
                      <a:pt x="1085192" y="1182164"/>
                    </a:lnTo>
                    <a:close/>
                    <a:moveTo>
                      <a:pt x="1151406" y="1215347"/>
                    </a:moveTo>
                    <a:lnTo>
                      <a:pt x="1150800" y="1214438"/>
                    </a:lnTo>
                    <a:lnTo>
                      <a:pt x="1150194" y="1214287"/>
                    </a:lnTo>
                    <a:lnTo>
                      <a:pt x="1148831" y="1216408"/>
                    </a:lnTo>
                    <a:lnTo>
                      <a:pt x="1147012" y="1217166"/>
                    </a:lnTo>
                    <a:lnTo>
                      <a:pt x="1146103" y="1217923"/>
                    </a:lnTo>
                    <a:lnTo>
                      <a:pt x="1145649" y="1218832"/>
                    </a:lnTo>
                    <a:lnTo>
                      <a:pt x="1145800" y="1219439"/>
                    </a:lnTo>
                    <a:lnTo>
                      <a:pt x="1150346" y="1220499"/>
                    </a:lnTo>
                    <a:lnTo>
                      <a:pt x="1151406" y="1220954"/>
                    </a:lnTo>
                    <a:lnTo>
                      <a:pt x="1152164" y="1221711"/>
                    </a:lnTo>
                    <a:lnTo>
                      <a:pt x="1153225" y="1221408"/>
                    </a:lnTo>
                    <a:lnTo>
                      <a:pt x="1153831" y="1220802"/>
                    </a:lnTo>
                    <a:lnTo>
                      <a:pt x="1153982" y="1220044"/>
                    </a:lnTo>
                    <a:lnTo>
                      <a:pt x="1152619" y="1217923"/>
                    </a:lnTo>
                    <a:lnTo>
                      <a:pt x="1151406" y="1215347"/>
                    </a:lnTo>
                    <a:close/>
                    <a:moveTo>
                      <a:pt x="1131254" y="1210347"/>
                    </a:moveTo>
                    <a:lnTo>
                      <a:pt x="1129587" y="1208832"/>
                    </a:lnTo>
                    <a:lnTo>
                      <a:pt x="1125345" y="1205802"/>
                    </a:lnTo>
                    <a:lnTo>
                      <a:pt x="1124739" y="1204892"/>
                    </a:lnTo>
                    <a:lnTo>
                      <a:pt x="1124890" y="1203983"/>
                    </a:lnTo>
                    <a:lnTo>
                      <a:pt x="1125951" y="1202014"/>
                    </a:lnTo>
                    <a:lnTo>
                      <a:pt x="1124587" y="1200650"/>
                    </a:lnTo>
                    <a:lnTo>
                      <a:pt x="1123223" y="1199589"/>
                    </a:lnTo>
                    <a:lnTo>
                      <a:pt x="1117617" y="1199135"/>
                    </a:lnTo>
                    <a:lnTo>
                      <a:pt x="1116860" y="1198226"/>
                    </a:lnTo>
                    <a:lnTo>
                      <a:pt x="1117314" y="1197165"/>
                    </a:lnTo>
                    <a:lnTo>
                      <a:pt x="1122769" y="1193832"/>
                    </a:lnTo>
                    <a:lnTo>
                      <a:pt x="1121102" y="1190650"/>
                    </a:lnTo>
                    <a:lnTo>
                      <a:pt x="1115799" y="1190650"/>
                    </a:lnTo>
                    <a:lnTo>
                      <a:pt x="1108980" y="1192923"/>
                    </a:lnTo>
                    <a:lnTo>
                      <a:pt x="1087010" y="1189135"/>
                    </a:lnTo>
                    <a:lnTo>
                      <a:pt x="1082010" y="1187771"/>
                    </a:lnTo>
                    <a:lnTo>
                      <a:pt x="1080949" y="1194589"/>
                    </a:lnTo>
                    <a:lnTo>
                      <a:pt x="1080192" y="1196559"/>
                    </a:lnTo>
                    <a:lnTo>
                      <a:pt x="1079131" y="1197316"/>
                    </a:lnTo>
                    <a:lnTo>
                      <a:pt x="1079283" y="1197922"/>
                    </a:lnTo>
                    <a:lnTo>
                      <a:pt x="1081858" y="1198983"/>
                    </a:lnTo>
                    <a:lnTo>
                      <a:pt x="1082464" y="1199589"/>
                    </a:lnTo>
                    <a:lnTo>
                      <a:pt x="1082767" y="1200650"/>
                    </a:lnTo>
                    <a:lnTo>
                      <a:pt x="1083525" y="1201256"/>
                    </a:lnTo>
                    <a:lnTo>
                      <a:pt x="1087465" y="1200650"/>
                    </a:lnTo>
                    <a:lnTo>
                      <a:pt x="1088071" y="1201104"/>
                    </a:lnTo>
                    <a:lnTo>
                      <a:pt x="1088071" y="1203680"/>
                    </a:lnTo>
                    <a:lnTo>
                      <a:pt x="1088374" y="1204589"/>
                    </a:lnTo>
                    <a:lnTo>
                      <a:pt x="1089283" y="1205347"/>
                    </a:lnTo>
                    <a:lnTo>
                      <a:pt x="1092010" y="1206559"/>
                    </a:lnTo>
                    <a:lnTo>
                      <a:pt x="1093526" y="1208529"/>
                    </a:lnTo>
                    <a:lnTo>
                      <a:pt x="1094738" y="1209287"/>
                    </a:lnTo>
                    <a:lnTo>
                      <a:pt x="1099435" y="1210499"/>
                    </a:lnTo>
                    <a:lnTo>
                      <a:pt x="1101102" y="1210499"/>
                    </a:lnTo>
                    <a:lnTo>
                      <a:pt x="1097920" y="1206408"/>
                    </a:lnTo>
                    <a:lnTo>
                      <a:pt x="1096253" y="1203832"/>
                    </a:lnTo>
                    <a:lnTo>
                      <a:pt x="1096404" y="1202771"/>
                    </a:lnTo>
                    <a:lnTo>
                      <a:pt x="1098071" y="1198680"/>
                    </a:lnTo>
                    <a:lnTo>
                      <a:pt x="1100950" y="1198983"/>
                    </a:lnTo>
                    <a:lnTo>
                      <a:pt x="1102162" y="1199438"/>
                    </a:lnTo>
                    <a:lnTo>
                      <a:pt x="1105041" y="1201711"/>
                    </a:lnTo>
                    <a:lnTo>
                      <a:pt x="1106102" y="1202165"/>
                    </a:lnTo>
                    <a:lnTo>
                      <a:pt x="1108678" y="1201559"/>
                    </a:lnTo>
                    <a:lnTo>
                      <a:pt x="1109284" y="1201711"/>
                    </a:lnTo>
                    <a:lnTo>
                      <a:pt x="1109284" y="1202620"/>
                    </a:lnTo>
                    <a:lnTo>
                      <a:pt x="1108071" y="1205802"/>
                    </a:lnTo>
                    <a:lnTo>
                      <a:pt x="1108071" y="1206711"/>
                    </a:lnTo>
                    <a:lnTo>
                      <a:pt x="1108980" y="1208680"/>
                    </a:lnTo>
                    <a:lnTo>
                      <a:pt x="1109738" y="1209741"/>
                    </a:lnTo>
                    <a:lnTo>
                      <a:pt x="1112011" y="1209135"/>
                    </a:lnTo>
                    <a:lnTo>
                      <a:pt x="1114587" y="1209741"/>
                    </a:lnTo>
                    <a:lnTo>
                      <a:pt x="1117314" y="1209590"/>
                    </a:lnTo>
                    <a:lnTo>
                      <a:pt x="1120799" y="1211105"/>
                    </a:lnTo>
                    <a:lnTo>
                      <a:pt x="1124284" y="1211711"/>
                    </a:lnTo>
                    <a:lnTo>
                      <a:pt x="1125496" y="1212317"/>
                    </a:lnTo>
                    <a:lnTo>
                      <a:pt x="1127315" y="1215347"/>
                    </a:lnTo>
                    <a:lnTo>
                      <a:pt x="1129284" y="1216560"/>
                    </a:lnTo>
                    <a:lnTo>
                      <a:pt x="1131254" y="1217166"/>
                    </a:lnTo>
                    <a:lnTo>
                      <a:pt x="1132163" y="1216863"/>
                    </a:lnTo>
                    <a:lnTo>
                      <a:pt x="1132163" y="1214742"/>
                    </a:lnTo>
                    <a:lnTo>
                      <a:pt x="1131860" y="1212014"/>
                    </a:lnTo>
                    <a:lnTo>
                      <a:pt x="1131254" y="1210347"/>
                    </a:lnTo>
                    <a:close/>
                    <a:moveTo>
                      <a:pt x="1174134" y="1198377"/>
                    </a:moveTo>
                    <a:lnTo>
                      <a:pt x="1173680" y="1198529"/>
                    </a:lnTo>
                    <a:lnTo>
                      <a:pt x="1172165" y="1199438"/>
                    </a:lnTo>
                    <a:lnTo>
                      <a:pt x="1171407" y="1200195"/>
                    </a:lnTo>
                    <a:lnTo>
                      <a:pt x="1171104" y="1200953"/>
                    </a:lnTo>
                    <a:lnTo>
                      <a:pt x="1171256" y="1201711"/>
                    </a:lnTo>
                    <a:lnTo>
                      <a:pt x="1171710" y="1202317"/>
                    </a:lnTo>
                    <a:lnTo>
                      <a:pt x="1173377" y="1202468"/>
                    </a:lnTo>
                    <a:lnTo>
                      <a:pt x="1175498" y="1200801"/>
                    </a:lnTo>
                    <a:lnTo>
                      <a:pt x="1176559" y="1199286"/>
                    </a:lnTo>
                    <a:lnTo>
                      <a:pt x="1174134" y="1198377"/>
                    </a:lnTo>
                    <a:close/>
                    <a:moveTo>
                      <a:pt x="1151103" y="151975"/>
                    </a:moveTo>
                    <a:lnTo>
                      <a:pt x="1145194" y="153036"/>
                    </a:lnTo>
                    <a:lnTo>
                      <a:pt x="1141709" y="153036"/>
                    </a:lnTo>
                    <a:lnTo>
                      <a:pt x="1139285" y="152733"/>
                    </a:lnTo>
                    <a:lnTo>
                      <a:pt x="1138527" y="152127"/>
                    </a:lnTo>
                    <a:lnTo>
                      <a:pt x="1136860" y="151066"/>
                    </a:lnTo>
                    <a:lnTo>
                      <a:pt x="1136557" y="150006"/>
                    </a:lnTo>
                    <a:lnTo>
                      <a:pt x="1136557" y="148490"/>
                    </a:lnTo>
                    <a:lnTo>
                      <a:pt x="1137012" y="145611"/>
                    </a:lnTo>
                    <a:lnTo>
                      <a:pt x="1136860" y="141672"/>
                    </a:lnTo>
                    <a:lnTo>
                      <a:pt x="1135042" y="137126"/>
                    </a:lnTo>
                    <a:lnTo>
                      <a:pt x="1135194" y="135611"/>
                    </a:lnTo>
                    <a:lnTo>
                      <a:pt x="1134891" y="133338"/>
                    </a:lnTo>
                    <a:lnTo>
                      <a:pt x="1133982" y="129096"/>
                    </a:lnTo>
                    <a:lnTo>
                      <a:pt x="1131557" y="126974"/>
                    </a:lnTo>
                    <a:lnTo>
                      <a:pt x="1130800" y="123489"/>
                    </a:lnTo>
                    <a:lnTo>
                      <a:pt x="1130497" y="120459"/>
                    </a:lnTo>
                    <a:lnTo>
                      <a:pt x="1128527" y="116671"/>
                    </a:lnTo>
                    <a:lnTo>
                      <a:pt x="1128224" y="111822"/>
                    </a:lnTo>
                    <a:lnTo>
                      <a:pt x="1128224" y="107580"/>
                    </a:lnTo>
                    <a:lnTo>
                      <a:pt x="1125042" y="102731"/>
                    </a:lnTo>
                    <a:lnTo>
                      <a:pt x="1121708" y="97579"/>
                    </a:lnTo>
                    <a:lnTo>
                      <a:pt x="1118981" y="96822"/>
                    </a:lnTo>
                    <a:lnTo>
                      <a:pt x="1118375" y="96216"/>
                    </a:lnTo>
                    <a:lnTo>
                      <a:pt x="1118072" y="94700"/>
                    </a:lnTo>
                    <a:lnTo>
                      <a:pt x="1118072" y="92428"/>
                    </a:lnTo>
                    <a:lnTo>
                      <a:pt x="1118223" y="91064"/>
                    </a:lnTo>
                    <a:lnTo>
                      <a:pt x="1120345" y="88791"/>
                    </a:lnTo>
                    <a:lnTo>
                      <a:pt x="1120496" y="88488"/>
                    </a:lnTo>
                    <a:lnTo>
                      <a:pt x="1120042" y="88033"/>
                    </a:lnTo>
                    <a:lnTo>
                      <a:pt x="1114738" y="84700"/>
                    </a:lnTo>
                    <a:lnTo>
                      <a:pt x="1113375" y="83791"/>
                    </a:lnTo>
                    <a:lnTo>
                      <a:pt x="1112920" y="82579"/>
                    </a:lnTo>
                    <a:lnTo>
                      <a:pt x="1112920" y="81518"/>
                    </a:lnTo>
                    <a:lnTo>
                      <a:pt x="1114132" y="80457"/>
                    </a:lnTo>
                    <a:lnTo>
                      <a:pt x="1114738" y="79700"/>
                    </a:lnTo>
                    <a:lnTo>
                      <a:pt x="1113526" y="77276"/>
                    </a:lnTo>
                    <a:lnTo>
                      <a:pt x="1113678" y="75154"/>
                    </a:lnTo>
                    <a:lnTo>
                      <a:pt x="1112920" y="74245"/>
                    </a:lnTo>
                    <a:lnTo>
                      <a:pt x="1113072" y="73488"/>
                    </a:lnTo>
                    <a:lnTo>
                      <a:pt x="1113829" y="72881"/>
                    </a:lnTo>
                    <a:lnTo>
                      <a:pt x="1117314" y="72124"/>
                    </a:lnTo>
                    <a:lnTo>
                      <a:pt x="1118375" y="69851"/>
                    </a:lnTo>
                    <a:lnTo>
                      <a:pt x="1118375" y="68033"/>
                    </a:lnTo>
                    <a:lnTo>
                      <a:pt x="1117920" y="66669"/>
                    </a:lnTo>
                    <a:lnTo>
                      <a:pt x="1114738" y="63336"/>
                    </a:lnTo>
                    <a:lnTo>
                      <a:pt x="1114738" y="62730"/>
                    </a:lnTo>
                    <a:lnTo>
                      <a:pt x="1118072" y="58184"/>
                    </a:lnTo>
                    <a:lnTo>
                      <a:pt x="1120496" y="55154"/>
                    </a:lnTo>
                    <a:lnTo>
                      <a:pt x="1121102" y="54548"/>
                    </a:lnTo>
                    <a:lnTo>
                      <a:pt x="1120951" y="53941"/>
                    </a:lnTo>
                    <a:lnTo>
                      <a:pt x="1120345" y="53184"/>
                    </a:lnTo>
                    <a:lnTo>
                      <a:pt x="1118829" y="51972"/>
                    </a:lnTo>
                    <a:lnTo>
                      <a:pt x="1116860" y="50760"/>
                    </a:lnTo>
                    <a:lnTo>
                      <a:pt x="1115193" y="49244"/>
                    </a:lnTo>
                    <a:lnTo>
                      <a:pt x="1113072" y="46972"/>
                    </a:lnTo>
                    <a:lnTo>
                      <a:pt x="1110344" y="45002"/>
                    </a:lnTo>
                    <a:lnTo>
                      <a:pt x="1108375" y="43032"/>
                    </a:lnTo>
                    <a:lnTo>
                      <a:pt x="1107314" y="41365"/>
                    </a:lnTo>
                    <a:lnTo>
                      <a:pt x="1107314" y="39698"/>
                    </a:lnTo>
                    <a:lnTo>
                      <a:pt x="1107011" y="36971"/>
                    </a:lnTo>
                    <a:lnTo>
                      <a:pt x="1105647" y="32577"/>
                    </a:lnTo>
                    <a:lnTo>
                      <a:pt x="1105344" y="29546"/>
                    </a:lnTo>
                    <a:lnTo>
                      <a:pt x="1104738" y="26213"/>
                    </a:lnTo>
                    <a:lnTo>
                      <a:pt x="1104132" y="24092"/>
                    </a:lnTo>
                    <a:lnTo>
                      <a:pt x="1103829" y="21970"/>
                    </a:lnTo>
                    <a:lnTo>
                      <a:pt x="1102920" y="19698"/>
                    </a:lnTo>
                    <a:lnTo>
                      <a:pt x="1102465" y="18031"/>
                    </a:lnTo>
                    <a:lnTo>
                      <a:pt x="1103223" y="16819"/>
                    </a:lnTo>
                    <a:lnTo>
                      <a:pt x="1103981" y="15910"/>
                    </a:lnTo>
                    <a:lnTo>
                      <a:pt x="1103829" y="15304"/>
                    </a:lnTo>
                    <a:lnTo>
                      <a:pt x="1098677" y="12879"/>
                    </a:lnTo>
                    <a:lnTo>
                      <a:pt x="1097768" y="12273"/>
                    </a:lnTo>
                    <a:lnTo>
                      <a:pt x="1096556" y="7425"/>
                    </a:lnTo>
                    <a:lnTo>
                      <a:pt x="1092768" y="3182"/>
                    </a:lnTo>
                    <a:lnTo>
                      <a:pt x="1092313" y="0"/>
                    </a:lnTo>
                    <a:lnTo>
                      <a:pt x="1090192" y="1818"/>
                    </a:lnTo>
                    <a:lnTo>
                      <a:pt x="1087465" y="3940"/>
                    </a:lnTo>
                    <a:lnTo>
                      <a:pt x="1084131" y="4394"/>
                    </a:lnTo>
                    <a:lnTo>
                      <a:pt x="1082919" y="5455"/>
                    </a:lnTo>
                    <a:lnTo>
                      <a:pt x="1083222" y="7728"/>
                    </a:lnTo>
                    <a:lnTo>
                      <a:pt x="1084283" y="10910"/>
                    </a:lnTo>
                    <a:lnTo>
                      <a:pt x="1084283" y="13485"/>
                    </a:lnTo>
                    <a:lnTo>
                      <a:pt x="1083222" y="16364"/>
                    </a:lnTo>
                    <a:lnTo>
                      <a:pt x="1080798" y="19546"/>
                    </a:lnTo>
                    <a:lnTo>
                      <a:pt x="1077161" y="21668"/>
                    </a:lnTo>
                    <a:lnTo>
                      <a:pt x="1073676" y="22880"/>
                    </a:lnTo>
                    <a:lnTo>
                      <a:pt x="1070949" y="22880"/>
                    </a:lnTo>
                    <a:lnTo>
                      <a:pt x="1068373" y="23183"/>
                    </a:lnTo>
                    <a:lnTo>
                      <a:pt x="1067312" y="23486"/>
                    </a:lnTo>
                    <a:lnTo>
                      <a:pt x="1068828" y="25001"/>
                    </a:lnTo>
                    <a:lnTo>
                      <a:pt x="1069585" y="30607"/>
                    </a:lnTo>
                    <a:lnTo>
                      <a:pt x="1069585" y="37123"/>
                    </a:lnTo>
                    <a:lnTo>
                      <a:pt x="1071252" y="49547"/>
                    </a:lnTo>
                    <a:lnTo>
                      <a:pt x="1073070" y="55760"/>
                    </a:lnTo>
                    <a:lnTo>
                      <a:pt x="1073373" y="59396"/>
                    </a:lnTo>
                    <a:lnTo>
                      <a:pt x="1074434" y="61972"/>
                    </a:lnTo>
                    <a:lnTo>
                      <a:pt x="1074737" y="64851"/>
                    </a:lnTo>
                    <a:lnTo>
                      <a:pt x="1074737" y="76821"/>
                    </a:lnTo>
                    <a:lnTo>
                      <a:pt x="1073525" y="85306"/>
                    </a:lnTo>
                    <a:lnTo>
                      <a:pt x="1073373" y="90761"/>
                    </a:lnTo>
                    <a:lnTo>
                      <a:pt x="1076404" y="105761"/>
                    </a:lnTo>
                    <a:lnTo>
                      <a:pt x="1076707" y="108640"/>
                    </a:lnTo>
                    <a:lnTo>
                      <a:pt x="1076555" y="112580"/>
                    </a:lnTo>
                    <a:lnTo>
                      <a:pt x="1075343" y="116823"/>
                    </a:lnTo>
                    <a:lnTo>
                      <a:pt x="1074585" y="123186"/>
                    </a:lnTo>
                    <a:lnTo>
                      <a:pt x="1073828" y="126217"/>
                    </a:lnTo>
                    <a:lnTo>
                      <a:pt x="1072616" y="132429"/>
                    </a:lnTo>
                    <a:lnTo>
                      <a:pt x="1071707" y="142732"/>
                    </a:lnTo>
                    <a:lnTo>
                      <a:pt x="1069737" y="151066"/>
                    </a:lnTo>
                    <a:lnTo>
                      <a:pt x="1068222" y="154551"/>
                    </a:lnTo>
                    <a:lnTo>
                      <a:pt x="1066555" y="156369"/>
                    </a:lnTo>
                    <a:lnTo>
                      <a:pt x="1063373" y="156975"/>
                    </a:lnTo>
                    <a:lnTo>
                      <a:pt x="1063221" y="160309"/>
                    </a:lnTo>
                    <a:lnTo>
                      <a:pt x="1062615" y="162733"/>
                    </a:lnTo>
                    <a:lnTo>
                      <a:pt x="1062767" y="165915"/>
                    </a:lnTo>
                    <a:lnTo>
                      <a:pt x="1064888" y="169249"/>
                    </a:lnTo>
                    <a:lnTo>
                      <a:pt x="1067464" y="170612"/>
                    </a:lnTo>
                    <a:lnTo>
                      <a:pt x="1068222" y="171673"/>
                    </a:lnTo>
                    <a:lnTo>
                      <a:pt x="1067767" y="174249"/>
                    </a:lnTo>
                    <a:lnTo>
                      <a:pt x="1065646" y="177885"/>
                    </a:lnTo>
                    <a:lnTo>
                      <a:pt x="1065040" y="180916"/>
                    </a:lnTo>
                    <a:lnTo>
                      <a:pt x="1064736" y="183340"/>
                    </a:lnTo>
                    <a:lnTo>
                      <a:pt x="1065040" y="188037"/>
                    </a:lnTo>
                    <a:lnTo>
                      <a:pt x="1063979" y="193795"/>
                    </a:lnTo>
                    <a:lnTo>
                      <a:pt x="1063221" y="202886"/>
                    </a:lnTo>
                    <a:lnTo>
                      <a:pt x="1063676" y="206826"/>
                    </a:lnTo>
                    <a:lnTo>
                      <a:pt x="1066706" y="218190"/>
                    </a:lnTo>
                    <a:lnTo>
                      <a:pt x="1066555" y="220463"/>
                    </a:lnTo>
                    <a:lnTo>
                      <a:pt x="1065494" y="224099"/>
                    </a:lnTo>
                    <a:lnTo>
                      <a:pt x="1063070" y="227281"/>
                    </a:lnTo>
                    <a:lnTo>
                      <a:pt x="1061555" y="228948"/>
                    </a:lnTo>
                    <a:lnTo>
                      <a:pt x="1059282" y="235918"/>
                    </a:lnTo>
                    <a:lnTo>
                      <a:pt x="1059736" y="238191"/>
                    </a:lnTo>
                    <a:lnTo>
                      <a:pt x="1061555" y="241979"/>
                    </a:lnTo>
                    <a:lnTo>
                      <a:pt x="1060797" y="248797"/>
                    </a:lnTo>
                    <a:lnTo>
                      <a:pt x="1061252" y="251827"/>
                    </a:lnTo>
                    <a:lnTo>
                      <a:pt x="1060191" y="254555"/>
                    </a:lnTo>
                    <a:lnTo>
                      <a:pt x="1059585" y="259706"/>
                    </a:lnTo>
                    <a:lnTo>
                      <a:pt x="1057009" y="266828"/>
                    </a:lnTo>
                    <a:lnTo>
                      <a:pt x="1056706" y="270010"/>
                    </a:lnTo>
                    <a:lnTo>
                      <a:pt x="1054433" y="276980"/>
                    </a:lnTo>
                    <a:lnTo>
                      <a:pt x="1053979" y="280465"/>
                    </a:lnTo>
                    <a:lnTo>
                      <a:pt x="1054130" y="286223"/>
                    </a:lnTo>
                    <a:lnTo>
                      <a:pt x="1053676" y="288647"/>
                    </a:lnTo>
                    <a:lnTo>
                      <a:pt x="1053070" y="289556"/>
                    </a:lnTo>
                    <a:lnTo>
                      <a:pt x="1050191" y="292738"/>
                    </a:lnTo>
                    <a:lnTo>
                      <a:pt x="1049282" y="295314"/>
                    </a:lnTo>
                    <a:lnTo>
                      <a:pt x="1047463" y="302738"/>
                    </a:lnTo>
                    <a:lnTo>
                      <a:pt x="1046554" y="311981"/>
                    </a:lnTo>
                    <a:lnTo>
                      <a:pt x="1044281" y="315769"/>
                    </a:lnTo>
                    <a:lnTo>
                      <a:pt x="1043221" y="320618"/>
                    </a:lnTo>
                    <a:lnTo>
                      <a:pt x="1041099" y="323800"/>
                    </a:lnTo>
                    <a:lnTo>
                      <a:pt x="1038069" y="326072"/>
                    </a:lnTo>
                    <a:lnTo>
                      <a:pt x="1037311" y="328194"/>
                    </a:lnTo>
                    <a:lnTo>
                      <a:pt x="1038220" y="336224"/>
                    </a:lnTo>
                    <a:lnTo>
                      <a:pt x="1041857" y="340770"/>
                    </a:lnTo>
                    <a:lnTo>
                      <a:pt x="1042615" y="343498"/>
                    </a:lnTo>
                    <a:lnTo>
                      <a:pt x="1042917" y="349710"/>
                    </a:lnTo>
                    <a:lnTo>
                      <a:pt x="1042008" y="358195"/>
                    </a:lnTo>
                    <a:lnTo>
                      <a:pt x="1040645" y="364407"/>
                    </a:lnTo>
                    <a:lnTo>
                      <a:pt x="1033220" y="370014"/>
                    </a:lnTo>
                    <a:lnTo>
                      <a:pt x="1032160" y="378953"/>
                    </a:lnTo>
                    <a:lnTo>
                      <a:pt x="1032311" y="382893"/>
                    </a:lnTo>
                    <a:lnTo>
                      <a:pt x="1033675" y="389711"/>
                    </a:lnTo>
                    <a:lnTo>
                      <a:pt x="1033523" y="395166"/>
                    </a:lnTo>
                    <a:lnTo>
                      <a:pt x="1035796" y="405015"/>
                    </a:lnTo>
                    <a:lnTo>
                      <a:pt x="1037160" y="414409"/>
                    </a:lnTo>
                    <a:lnTo>
                      <a:pt x="1037463" y="426531"/>
                    </a:lnTo>
                    <a:lnTo>
                      <a:pt x="1040039" y="431986"/>
                    </a:lnTo>
                    <a:lnTo>
                      <a:pt x="1038978" y="436531"/>
                    </a:lnTo>
                    <a:lnTo>
                      <a:pt x="1039281" y="440167"/>
                    </a:lnTo>
                    <a:lnTo>
                      <a:pt x="1035493" y="449562"/>
                    </a:lnTo>
                    <a:lnTo>
                      <a:pt x="1034281" y="451229"/>
                    </a:lnTo>
                    <a:lnTo>
                      <a:pt x="1031402" y="453501"/>
                    </a:lnTo>
                    <a:lnTo>
                      <a:pt x="1032614" y="459411"/>
                    </a:lnTo>
                    <a:lnTo>
                      <a:pt x="1032614" y="463653"/>
                    </a:lnTo>
                    <a:lnTo>
                      <a:pt x="1034281" y="466381"/>
                    </a:lnTo>
                    <a:lnTo>
                      <a:pt x="1033523" y="470472"/>
                    </a:lnTo>
                    <a:lnTo>
                      <a:pt x="1028978" y="475624"/>
                    </a:lnTo>
                    <a:lnTo>
                      <a:pt x="1028372" y="477745"/>
                    </a:lnTo>
                    <a:lnTo>
                      <a:pt x="1026402" y="481533"/>
                    </a:lnTo>
                    <a:lnTo>
                      <a:pt x="1024280" y="486079"/>
                    </a:lnTo>
                    <a:lnTo>
                      <a:pt x="1024584" y="489867"/>
                    </a:lnTo>
                    <a:lnTo>
                      <a:pt x="1023523" y="493958"/>
                    </a:lnTo>
                    <a:lnTo>
                      <a:pt x="1022765" y="500018"/>
                    </a:lnTo>
                    <a:lnTo>
                      <a:pt x="1019280" y="509412"/>
                    </a:lnTo>
                    <a:lnTo>
                      <a:pt x="1018220" y="514867"/>
                    </a:lnTo>
                    <a:lnTo>
                      <a:pt x="1013825" y="519261"/>
                    </a:lnTo>
                    <a:lnTo>
                      <a:pt x="1012007" y="522292"/>
                    </a:lnTo>
                    <a:lnTo>
                      <a:pt x="1010644" y="525625"/>
                    </a:lnTo>
                    <a:lnTo>
                      <a:pt x="1009128" y="527443"/>
                    </a:lnTo>
                    <a:lnTo>
                      <a:pt x="1007462" y="529868"/>
                    </a:lnTo>
                    <a:lnTo>
                      <a:pt x="1008522" y="535323"/>
                    </a:lnTo>
                    <a:lnTo>
                      <a:pt x="1005947" y="538959"/>
                    </a:lnTo>
                    <a:lnTo>
                      <a:pt x="1003371" y="542141"/>
                    </a:lnTo>
                    <a:lnTo>
                      <a:pt x="1000795" y="555020"/>
                    </a:lnTo>
                    <a:lnTo>
                      <a:pt x="998219" y="559566"/>
                    </a:lnTo>
                    <a:lnTo>
                      <a:pt x="997158" y="562899"/>
                    </a:lnTo>
                    <a:lnTo>
                      <a:pt x="994128" y="564263"/>
                    </a:lnTo>
                    <a:lnTo>
                      <a:pt x="993522" y="567748"/>
                    </a:lnTo>
                    <a:lnTo>
                      <a:pt x="993219" y="570172"/>
                    </a:lnTo>
                    <a:lnTo>
                      <a:pt x="992613" y="575779"/>
                    </a:lnTo>
                    <a:lnTo>
                      <a:pt x="991400" y="579264"/>
                    </a:lnTo>
                    <a:lnTo>
                      <a:pt x="989885" y="580476"/>
                    </a:lnTo>
                    <a:lnTo>
                      <a:pt x="987006" y="581082"/>
                    </a:lnTo>
                    <a:lnTo>
                      <a:pt x="980794" y="580021"/>
                    </a:lnTo>
                    <a:lnTo>
                      <a:pt x="979885" y="582143"/>
                    </a:lnTo>
                    <a:lnTo>
                      <a:pt x="979127" y="584870"/>
                    </a:lnTo>
                    <a:lnTo>
                      <a:pt x="980794" y="589264"/>
                    </a:lnTo>
                    <a:lnTo>
                      <a:pt x="979127" y="592749"/>
                    </a:lnTo>
                    <a:lnTo>
                      <a:pt x="979279" y="596082"/>
                    </a:lnTo>
                    <a:lnTo>
                      <a:pt x="983218" y="602749"/>
                    </a:lnTo>
                    <a:lnTo>
                      <a:pt x="984582" y="606840"/>
                    </a:lnTo>
                    <a:lnTo>
                      <a:pt x="984431" y="609719"/>
                    </a:lnTo>
                    <a:lnTo>
                      <a:pt x="982764" y="617295"/>
                    </a:lnTo>
                    <a:lnTo>
                      <a:pt x="983067" y="621841"/>
                    </a:lnTo>
                    <a:lnTo>
                      <a:pt x="984127" y="625477"/>
                    </a:lnTo>
                    <a:lnTo>
                      <a:pt x="991097" y="644569"/>
                    </a:lnTo>
                    <a:lnTo>
                      <a:pt x="990491" y="650933"/>
                    </a:lnTo>
                    <a:lnTo>
                      <a:pt x="986097" y="662751"/>
                    </a:lnTo>
                    <a:lnTo>
                      <a:pt x="984127" y="664873"/>
                    </a:lnTo>
                    <a:lnTo>
                      <a:pt x="978976" y="668358"/>
                    </a:lnTo>
                    <a:lnTo>
                      <a:pt x="978976" y="672146"/>
                    </a:lnTo>
                    <a:lnTo>
                      <a:pt x="977006" y="677903"/>
                    </a:lnTo>
                    <a:lnTo>
                      <a:pt x="975794" y="684570"/>
                    </a:lnTo>
                    <a:lnTo>
                      <a:pt x="972006" y="697601"/>
                    </a:lnTo>
                    <a:lnTo>
                      <a:pt x="970339" y="700935"/>
                    </a:lnTo>
                    <a:lnTo>
                      <a:pt x="970794" y="705632"/>
                    </a:lnTo>
                    <a:lnTo>
                      <a:pt x="973218" y="712147"/>
                    </a:lnTo>
                    <a:lnTo>
                      <a:pt x="973824" y="716238"/>
                    </a:lnTo>
                    <a:lnTo>
                      <a:pt x="975036" y="718511"/>
                    </a:lnTo>
                    <a:lnTo>
                      <a:pt x="977764" y="720329"/>
                    </a:lnTo>
                    <a:lnTo>
                      <a:pt x="980188" y="720632"/>
                    </a:lnTo>
                    <a:lnTo>
                      <a:pt x="980188" y="721693"/>
                    </a:lnTo>
                    <a:lnTo>
                      <a:pt x="978521" y="722602"/>
                    </a:lnTo>
                    <a:lnTo>
                      <a:pt x="977612" y="724269"/>
                    </a:lnTo>
                    <a:lnTo>
                      <a:pt x="977309" y="725936"/>
                    </a:lnTo>
                    <a:lnTo>
                      <a:pt x="980339" y="726996"/>
                    </a:lnTo>
                    <a:lnTo>
                      <a:pt x="983218" y="727754"/>
                    </a:lnTo>
                    <a:lnTo>
                      <a:pt x="990794" y="727299"/>
                    </a:lnTo>
                    <a:lnTo>
                      <a:pt x="992613" y="726239"/>
                    </a:lnTo>
                    <a:lnTo>
                      <a:pt x="997007" y="719572"/>
                    </a:lnTo>
                    <a:lnTo>
                      <a:pt x="998673" y="718662"/>
                    </a:lnTo>
                    <a:lnTo>
                      <a:pt x="1000643" y="718814"/>
                    </a:lnTo>
                    <a:lnTo>
                      <a:pt x="1002764" y="719723"/>
                    </a:lnTo>
                    <a:lnTo>
                      <a:pt x="1006401" y="723511"/>
                    </a:lnTo>
                    <a:lnTo>
                      <a:pt x="1008219" y="724269"/>
                    </a:lnTo>
                    <a:lnTo>
                      <a:pt x="1009886" y="724420"/>
                    </a:lnTo>
                    <a:lnTo>
                      <a:pt x="1013068" y="722905"/>
                    </a:lnTo>
                    <a:lnTo>
                      <a:pt x="1014886" y="718662"/>
                    </a:lnTo>
                    <a:lnTo>
                      <a:pt x="1015947" y="718208"/>
                    </a:lnTo>
                    <a:lnTo>
                      <a:pt x="1014735" y="723057"/>
                    </a:lnTo>
                    <a:lnTo>
                      <a:pt x="1011250" y="725481"/>
                    </a:lnTo>
                    <a:lnTo>
                      <a:pt x="1006553" y="726087"/>
                    </a:lnTo>
                    <a:lnTo>
                      <a:pt x="1004280" y="728057"/>
                    </a:lnTo>
                    <a:lnTo>
                      <a:pt x="1003219" y="729572"/>
                    </a:lnTo>
                    <a:lnTo>
                      <a:pt x="1002159" y="731542"/>
                    </a:lnTo>
                    <a:lnTo>
                      <a:pt x="1003371" y="733209"/>
                    </a:lnTo>
                    <a:lnTo>
                      <a:pt x="1004583" y="734421"/>
                    </a:lnTo>
                    <a:lnTo>
                      <a:pt x="1007765" y="734875"/>
                    </a:lnTo>
                    <a:lnTo>
                      <a:pt x="1011098" y="733966"/>
                    </a:lnTo>
                    <a:lnTo>
                      <a:pt x="1012159" y="741391"/>
                    </a:lnTo>
                    <a:lnTo>
                      <a:pt x="1013523" y="747300"/>
                    </a:lnTo>
                    <a:lnTo>
                      <a:pt x="1013068" y="748815"/>
                    </a:lnTo>
                    <a:lnTo>
                      <a:pt x="1009886" y="742906"/>
                    </a:lnTo>
                    <a:lnTo>
                      <a:pt x="1007613" y="741088"/>
                    </a:lnTo>
                    <a:lnTo>
                      <a:pt x="1005492" y="741694"/>
                    </a:lnTo>
                    <a:lnTo>
                      <a:pt x="1003674" y="742906"/>
                    </a:lnTo>
                    <a:lnTo>
                      <a:pt x="1003371" y="744270"/>
                    </a:lnTo>
                    <a:lnTo>
                      <a:pt x="1005189" y="747906"/>
                    </a:lnTo>
                    <a:lnTo>
                      <a:pt x="1007462" y="751240"/>
                    </a:lnTo>
                    <a:lnTo>
                      <a:pt x="1006856" y="751543"/>
                    </a:lnTo>
                    <a:lnTo>
                      <a:pt x="1003522" y="751240"/>
                    </a:lnTo>
                    <a:lnTo>
                      <a:pt x="1001552" y="756694"/>
                    </a:lnTo>
                    <a:lnTo>
                      <a:pt x="1001704" y="761240"/>
                    </a:lnTo>
                    <a:lnTo>
                      <a:pt x="1003825" y="764573"/>
                    </a:lnTo>
                    <a:lnTo>
                      <a:pt x="1004128" y="767452"/>
                    </a:lnTo>
                    <a:lnTo>
                      <a:pt x="1004128" y="768967"/>
                    </a:lnTo>
                    <a:lnTo>
                      <a:pt x="1000795" y="769270"/>
                    </a:lnTo>
                    <a:lnTo>
                      <a:pt x="999734" y="772149"/>
                    </a:lnTo>
                    <a:lnTo>
                      <a:pt x="999128" y="774725"/>
                    </a:lnTo>
                    <a:lnTo>
                      <a:pt x="995340" y="778513"/>
                    </a:lnTo>
                    <a:lnTo>
                      <a:pt x="994582" y="782908"/>
                    </a:lnTo>
                    <a:lnTo>
                      <a:pt x="997461" y="788817"/>
                    </a:lnTo>
                    <a:lnTo>
                      <a:pt x="995492" y="796544"/>
                    </a:lnTo>
                    <a:lnTo>
                      <a:pt x="991249" y="797756"/>
                    </a:lnTo>
                    <a:lnTo>
                      <a:pt x="990794" y="803362"/>
                    </a:lnTo>
                    <a:lnTo>
                      <a:pt x="990188" y="806848"/>
                    </a:lnTo>
                    <a:lnTo>
                      <a:pt x="993522" y="809120"/>
                    </a:lnTo>
                    <a:lnTo>
                      <a:pt x="997310" y="810939"/>
                    </a:lnTo>
                    <a:lnTo>
                      <a:pt x="1002007" y="814424"/>
                    </a:lnTo>
                    <a:lnTo>
                      <a:pt x="1006553" y="815787"/>
                    </a:lnTo>
                    <a:lnTo>
                      <a:pt x="1006098" y="821091"/>
                    </a:lnTo>
                    <a:lnTo>
                      <a:pt x="1004431" y="825788"/>
                    </a:lnTo>
                    <a:lnTo>
                      <a:pt x="995188" y="832000"/>
                    </a:lnTo>
                    <a:lnTo>
                      <a:pt x="990340" y="833364"/>
                    </a:lnTo>
                    <a:lnTo>
                      <a:pt x="987461" y="833970"/>
                    </a:lnTo>
                    <a:lnTo>
                      <a:pt x="986249" y="838213"/>
                    </a:lnTo>
                    <a:lnTo>
                      <a:pt x="985188" y="842758"/>
                    </a:lnTo>
                    <a:lnTo>
                      <a:pt x="991097" y="843364"/>
                    </a:lnTo>
                    <a:lnTo>
                      <a:pt x="995492" y="846849"/>
                    </a:lnTo>
                    <a:lnTo>
                      <a:pt x="997916" y="847910"/>
                    </a:lnTo>
                    <a:lnTo>
                      <a:pt x="998825" y="848819"/>
                    </a:lnTo>
                    <a:lnTo>
                      <a:pt x="998976" y="850031"/>
                    </a:lnTo>
                    <a:lnTo>
                      <a:pt x="997764" y="850031"/>
                    </a:lnTo>
                    <a:lnTo>
                      <a:pt x="991704" y="846698"/>
                    </a:lnTo>
                    <a:lnTo>
                      <a:pt x="989885" y="846395"/>
                    </a:lnTo>
                    <a:lnTo>
                      <a:pt x="986855" y="847607"/>
                    </a:lnTo>
                    <a:lnTo>
                      <a:pt x="982158" y="851092"/>
                    </a:lnTo>
                    <a:lnTo>
                      <a:pt x="977157" y="850940"/>
                    </a:lnTo>
                    <a:lnTo>
                      <a:pt x="975794" y="855940"/>
                    </a:lnTo>
                    <a:lnTo>
                      <a:pt x="976400" y="858516"/>
                    </a:lnTo>
                    <a:lnTo>
                      <a:pt x="978976" y="859425"/>
                    </a:lnTo>
                    <a:lnTo>
                      <a:pt x="980794" y="860941"/>
                    </a:lnTo>
                    <a:lnTo>
                      <a:pt x="980794" y="865032"/>
                    </a:lnTo>
                    <a:lnTo>
                      <a:pt x="979733" y="868062"/>
                    </a:lnTo>
                    <a:lnTo>
                      <a:pt x="979127" y="873971"/>
                    </a:lnTo>
                    <a:lnTo>
                      <a:pt x="978673" y="875789"/>
                    </a:lnTo>
                    <a:lnTo>
                      <a:pt x="978824" y="878668"/>
                    </a:lnTo>
                    <a:lnTo>
                      <a:pt x="977309" y="882760"/>
                    </a:lnTo>
                    <a:lnTo>
                      <a:pt x="975794" y="885639"/>
                    </a:lnTo>
                    <a:lnTo>
                      <a:pt x="973673" y="887911"/>
                    </a:lnTo>
                    <a:lnTo>
                      <a:pt x="970945" y="888063"/>
                    </a:lnTo>
                    <a:lnTo>
                      <a:pt x="970794" y="886699"/>
                    </a:lnTo>
                    <a:lnTo>
                      <a:pt x="971097" y="885639"/>
                    </a:lnTo>
                    <a:lnTo>
                      <a:pt x="974430" y="881396"/>
                    </a:lnTo>
                    <a:lnTo>
                      <a:pt x="977309" y="870941"/>
                    </a:lnTo>
                    <a:lnTo>
                      <a:pt x="977309" y="867456"/>
                    </a:lnTo>
                    <a:lnTo>
                      <a:pt x="977612" y="863820"/>
                    </a:lnTo>
                    <a:lnTo>
                      <a:pt x="976551" y="862153"/>
                    </a:lnTo>
                    <a:lnTo>
                      <a:pt x="974430" y="862304"/>
                    </a:lnTo>
                    <a:lnTo>
                      <a:pt x="972612" y="863213"/>
                    </a:lnTo>
                    <a:lnTo>
                      <a:pt x="971248" y="870183"/>
                    </a:lnTo>
                    <a:lnTo>
                      <a:pt x="970188" y="873668"/>
                    </a:lnTo>
                    <a:lnTo>
                      <a:pt x="966854" y="875941"/>
                    </a:lnTo>
                    <a:lnTo>
                      <a:pt x="963521" y="876547"/>
                    </a:lnTo>
                    <a:lnTo>
                      <a:pt x="959126" y="876850"/>
                    </a:lnTo>
                    <a:lnTo>
                      <a:pt x="958520" y="875789"/>
                    </a:lnTo>
                    <a:lnTo>
                      <a:pt x="959581" y="875638"/>
                    </a:lnTo>
                    <a:lnTo>
                      <a:pt x="967157" y="872911"/>
                    </a:lnTo>
                    <a:lnTo>
                      <a:pt x="968824" y="870335"/>
                    </a:lnTo>
                    <a:lnTo>
                      <a:pt x="967763" y="866698"/>
                    </a:lnTo>
                    <a:lnTo>
                      <a:pt x="969430" y="864880"/>
                    </a:lnTo>
                    <a:lnTo>
                      <a:pt x="970490" y="862759"/>
                    </a:lnTo>
                    <a:lnTo>
                      <a:pt x="972612" y="853667"/>
                    </a:lnTo>
                    <a:lnTo>
                      <a:pt x="973673" y="851395"/>
                    </a:lnTo>
                    <a:lnTo>
                      <a:pt x="974127" y="849577"/>
                    </a:lnTo>
                    <a:lnTo>
                      <a:pt x="971551" y="848213"/>
                    </a:lnTo>
                    <a:lnTo>
                      <a:pt x="970490" y="848061"/>
                    </a:lnTo>
                    <a:lnTo>
                      <a:pt x="968218" y="848516"/>
                    </a:lnTo>
                    <a:lnTo>
                      <a:pt x="966551" y="850031"/>
                    </a:lnTo>
                    <a:lnTo>
                      <a:pt x="965945" y="851243"/>
                    </a:lnTo>
                    <a:lnTo>
                      <a:pt x="966551" y="854880"/>
                    </a:lnTo>
                    <a:lnTo>
                      <a:pt x="967006" y="856244"/>
                    </a:lnTo>
                    <a:lnTo>
                      <a:pt x="967006" y="857455"/>
                    </a:lnTo>
                    <a:lnTo>
                      <a:pt x="966551" y="858819"/>
                    </a:lnTo>
                    <a:lnTo>
                      <a:pt x="964884" y="860486"/>
                    </a:lnTo>
                    <a:lnTo>
                      <a:pt x="960945" y="861698"/>
                    </a:lnTo>
                    <a:lnTo>
                      <a:pt x="959126" y="861850"/>
                    </a:lnTo>
                    <a:lnTo>
                      <a:pt x="956551" y="862910"/>
                    </a:lnTo>
                    <a:lnTo>
                      <a:pt x="952005" y="863062"/>
                    </a:lnTo>
                    <a:lnTo>
                      <a:pt x="948369" y="862304"/>
                    </a:lnTo>
                    <a:lnTo>
                      <a:pt x="940035" y="864122"/>
                    </a:lnTo>
                    <a:lnTo>
                      <a:pt x="939883" y="868517"/>
                    </a:lnTo>
                    <a:lnTo>
                      <a:pt x="942005" y="871698"/>
                    </a:lnTo>
                    <a:lnTo>
                      <a:pt x="943974" y="873820"/>
                    </a:lnTo>
                    <a:lnTo>
                      <a:pt x="939883" y="876396"/>
                    </a:lnTo>
                    <a:lnTo>
                      <a:pt x="935186" y="880941"/>
                    </a:lnTo>
                    <a:lnTo>
                      <a:pt x="931701" y="883063"/>
                    </a:lnTo>
                    <a:lnTo>
                      <a:pt x="930034" y="884881"/>
                    </a:lnTo>
                    <a:lnTo>
                      <a:pt x="923974" y="889275"/>
                    </a:lnTo>
                    <a:lnTo>
                      <a:pt x="922610" y="892608"/>
                    </a:lnTo>
                    <a:lnTo>
                      <a:pt x="922610" y="895033"/>
                    </a:lnTo>
                    <a:lnTo>
                      <a:pt x="924580" y="898063"/>
                    </a:lnTo>
                    <a:lnTo>
                      <a:pt x="928368" y="900791"/>
                    </a:lnTo>
                    <a:lnTo>
                      <a:pt x="930186" y="900639"/>
                    </a:lnTo>
                    <a:lnTo>
                      <a:pt x="930944" y="899578"/>
                    </a:lnTo>
                    <a:lnTo>
                      <a:pt x="931398" y="898063"/>
                    </a:lnTo>
                    <a:lnTo>
                      <a:pt x="929732" y="894275"/>
                    </a:lnTo>
                    <a:lnTo>
                      <a:pt x="927459" y="894124"/>
                    </a:lnTo>
                    <a:lnTo>
                      <a:pt x="926398" y="893517"/>
                    </a:lnTo>
                    <a:lnTo>
                      <a:pt x="927004" y="892457"/>
                    </a:lnTo>
                    <a:lnTo>
                      <a:pt x="928671" y="891245"/>
                    </a:lnTo>
                    <a:lnTo>
                      <a:pt x="932459" y="890790"/>
                    </a:lnTo>
                    <a:lnTo>
                      <a:pt x="937762" y="889123"/>
                    </a:lnTo>
                    <a:lnTo>
                      <a:pt x="941247" y="886093"/>
                    </a:lnTo>
                    <a:lnTo>
                      <a:pt x="942156" y="886093"/>
                    </a:lnTo>
                    <a:lnTo>
                      <a:pt x="940338" y="890032"/>
                    </a:lnTo>
                    <a:lnTo>
                      <a:pt x="940944" y="892306"/>
                    </a:lnTo>
                    <a:lnTo>
                      <a:pt x="941702" y="893820"/>
                    </a:lnTo>
                    <a:lnTo>
                      <a:pt x="947005" y="895790"/>
                    </a:lnTo>
                    <a:lnTo>
                      <a:pt x="950338" y="898063"/>
                    </a:lnTo>
                    <a:lnTo>
                      <a:pt x="955187" y="898821"/>
                    </a:lnTo>
                    <a:lnTo>
                      <a:pt x="956096" y="898821"/>
                    </a:lnTo>
                    <a:lnTo>
                      <a:pt x="956399" y="898063"/>
                    </a:lnTo>
                    <a:lnTo>
                      <a:pt x="955793" y="897003"/>
                    </a:lnTo>
                    <a:lnTo>
                      <a:pt x="955945" y="895639"/>
                    </a:lnTo>
                    <a:lnTo>
                      <a:pt x="956702" y="894729"/>
                    </a:lnTo>
                    <a:lnTo>
                      <a:pt x="960490" y="895487"/>
                    </a:lnTo>
                    <a:lnTo>
                      <a:pt x="963369" y="898821"/>
                    </a:lnTo>
                    <a:lnTo>
                      <a:pt x="964884" y="901851"/>
                    </a:lnTo>
                    <a:lnTo>
                      <a:pt x="963369" y="905639"/>
                    </a:lnTo>
                    <a:lnTo>
                      <a:pt x="964733" y="909124"/>
                    </a:lnTo>
                    <a:lnTo>
                      <a:pt x="963218" y="910033"/>
                    </a:lnTo>
                    <a:lnTo>
                      <a:pt x="958066" y="914125"/>
                    </a:lnTo>
                    <a:lnTo>
                      <a:pt x="955945" y="917761"/>
                    </a:lnTo>
                    <a:lnTo>
                      <a:pt x="960339" y="921246"/>
                    </a:lnTo>
                    <a:lnTo>
                      <a:pt x="962612" y="922155"/>
                    </a:lnTo>
                    <a:lnTo>
                      <a:pt x="963975" y="922458"/>
                    </a:lnTo>
                    <a:lnTo>
                      <a:pt x="965491" y="923215"/>
                    </a:lnTo>
                    <a:lnTo>
                      <a:pt x="965036" y="924428"/>
                    </a:lnTo>
                    <a:lnTo>
                      <a:pt x="962612" y="926246"/>
                    </a:lnTo>
                    <a:lnTo>
                      <a:pt x="960490" y="925791"/>
                    </a:lnTo>
                    <a:lnTo>
                      <a:pt x="958217" y="923519"/>
                    </a:lnTo>
                    <a:lnTo>
                      <a:pt x="956551" y="922761"/>
                    </a:lnTo>
                    <a:lnTo>
                      <a:pt x="954732" y="922458"/>
                    </a:lnTo>
                    <a:lnTo>
                      <a:pt x="953217" y="924276"/>
                    </a:lnTo>
                    <a:lnTo>
                      <a:pt x="951399" y="927155"/>
                    </a:lnTo>
                    <a:lnTo>
                      <a:pt x="952611" y="929125"/>
                    </a:lnTo>
                    <a:lnTo>
                      <a:pt x="953672" y="929579"/>
                    </a:lnTo>
                    <a:lnTo>
                      <a:pt x="957460" y="930489"/>
                    </a:lnTo>
                    <a:lnTo>
                      <a:pt x="958975" y="931549"/>
                    </a:lnTo>
                    <a:lnTo>
                      <a:pt x="958824" y="933670"/>
                    </a:lnTo>
                    <a:lnTo>
                      <a:pt x="959581" y="935489"/>
                    </a:lnTo>
                    <a:lnTo>
                      <a:pt x="962914" y="936398"/>
                    </a:lnTo>
                    <a:lnTo>
                      <a:pt x="966854" y="935943"/>
                    </a:lnTo>
                    <a:lnTo>
                      <a:pt x="970794" y="935034"/>
                    </a:lnTo>
                    <a:lnTo>
                      <a:pt x="973369" y="932913"/>
                    </a:lnTo>
                    <a:lnTo>
                      <a:pt x="975188" y="928367"/>
                    </a:lnTo>
                    <a:lnTo>
                      <a:pt x="976097" y="925640"/>
                    </a:lnTo>
                    <a:lnTo>
                      <a:pt x="977006" y="925489"/>
                    </a:lnTo>
                    <a:lnTo>
                      <a:pt x="979279" y="933367"/>
                    </a:lnTo>
                    <a:lnTo>
                      <a:pt x="979430" y="935489"/>
                    </a:lnTo>
                    <a:lnTo>
                      <a:pt x="979885" y="937307"/>
                    </a:lnTo>
                    <a:lnTo>
                      <a:pt x="980945" y="938216"/>
                    </a:lnTo>
                    <a:lnTo>
                      <a:pt x="982764" y="941246"/>
                    </a:lnTo>
                    <a:lnTo>
                      <a:pt x="985794" y="942610"/>
                    </a:lnTo>
                    <a:lnTo>
                      <a:pt x="985946" y="943671"/>
                    </a:lnTo>
                    <a:lnTo>
                      <a:pt x="982006" y="944429"/>
                    </a:lnTo>
                    <a:lnTo>
                      <a:pt x="973067" y="938974"/>
                    </a:lnTo>
                    <a:lnTo>
                      <a:pt x="962157" y="939125"/>
                    </a:lnTo>
                    <a:lnTo>
                      <a:pt x="958066" y="938065"/>
                    </a:lnTo>
                    <a:lnTo>
                      <a:pt x="953066" y="937610"/>
                    </a:lnTo>
                    <a:lnTo>
                      <a:pt x="952914" y="943368"/>
                    </a:lnTo>
                    <a:lnTo>
                      <a:pt x="953217" y="947307"/>
                    </a:lnTo>
                    <a:lnTo>
                      <a:pt x="955338" y="950338"/>
                    </a:lnTo>
                    <a:lnTo>
                      <a:pt x="956096" y="953823"/>
                    </a:lnTo>
                    <a:lnTo>
                      <a:pt x="959733" y="954883"/>
                    </a:lnTo>
                    <a:lnTo>
                      <a:pt x="961702" y="953520"/>
                    </a:lnTo>
                    <a:lnTo>
                      <a:pt x="964430" y="952610"/>
                    </a:lnTo>
                    <a:lnTo>
                      <a:pt x="968824" y="954277"/>
                    </a:lnTo>
                    <a:lnTo>
                      <a:pt x="967460" y="955338"/>
                    </a:lnTo>
                    <a:lnTo>
                      <a:pt x="965491" y="955338"/>
                    </a:lnTo>
                    <a:lnTo>
                      <a:pt x="964278" y="955035"/>
                    </a:lnTo>
                    <a:lnTo>
                      <a:pt x="962914" y="955793"/>
                    </a:lnTo>
                    <a:lnTo>
                      <a:pt x="959884" y="958520"/>
                    </a:lnTo>
                    <a:lnTo>
                      <a:pt x="958824" y="965490"/>
                    </a:lnTo>
                    <a:lnTo>
                      <a:pt x="958824" y="974429"/>
                    </a:lnTo>
                    <a:lnTo>
                      <a:pt x="959430" y="985187"/>
                    </a:lnTo>
                    <a:lnTo>
                      <a:pt x="959126" y="986854"/>
                    </a:lnTo>
                    <a:lnTo>
                      <a:pt x="959581" y="987763"/>
                    </a:lnTo>
                    <a:lnTo>
                      <a:pt x="960793" y="989127"/>
                    </a:lnTo>
                    <a:lnTo>
                      <a:pt x="962914" y="990491"/>
                    </a:lnTo>
                    <a:lnTo>
                      <a:pt x="963975" y="987157"/>
                    </a:lnTo>
                    <a:lnTo>
                      <a:pt x="964430" y="984127"/>
                    </a:lnTo>
                    <a:lnTo>
                      <a:pt x="965187" y="981703"/>
                    </a:lnTo>
                    <a:lnTo>
                      <a:pt x="967006" y="979581"/>
                    </a:lnTo>
                    <a:lnTo>
                      <a:pt x="967309" y="976854"/>
                    </a:lnTo>
                    <a:lnTo>
                      <a:pt x="968218" y="973823"/>
                    </a:lnTo>
                    <a:lnTo>
                      <a:pt x="970794" y="973672"/>
                    </a:lnTo>
                    <a:lnTo>
                      <a:pt x="970642" y="974581"/>
                    </a:lnTo>
                    <a:lnTo>
                      <a:pt x="969430" y="975036"/>
                    </a:lnTo>
                    <a:lnTo>
                      <a:pt x="968521" y="976096"/>
                    </a:lnTo>
                    <a:lnTo>
                      <a:pt x="968824" y="978521"/>
                    </a:lnTo>
                    <a:lnTo>
                      <a:pt x="968369" y="981551"/>
                    </a:lnTo>
                    <a:lnTo>
                      <a:pt x="967612" y="983672"/>
                    </a:lnTo>
                    <a:lnTo>
                      <a:pt x="966702" y="985642"/>
                    </a:lnTo>
                    <a:lnTo>
                      <a:pt x="966400" y="988066"/>
                    </a:lnTo>
                    <a:lnTo>
                      <a:pt x="969279" y="990188"/>
                    </a:lnTo>
                    <a:lnTo>
                      <a:pt x="971854" y="991400"/>
                    </a:lnTo>
                    <a:lnTo>
                      <a:pt x="973369" y="994430"/>
                    </a:lnTo>
                    <a:lnTo>
                      <a:pt x="971854" y="994885"/>
                    </a:lnTo>
                    <a:lnTo>
                      <a:pt x="970036" y="993824"/>
                    </a:lnTo>
                    <a:lnTo>
                      <a:pt x="966096" y="992460"/>
                    </a:lnTo>
                    <a:lnTo>
                      <a:pt x="962612" y="993370"/>
                    </a:lnTo>
                    <a:lnTo>
                      <a:pt x="960945" y="994279"/>
                    </a:lnTo>
                    <a:lnTo>
                      <a:pt x="960187" y="998370"/>
                    </a:lnTo>
                    <a:lnTo>
                      <a:pt x="960036" y="1000643"/>
                    </a:lnTo>
                    <a:lnTo>
                      <a:pt x="964278" y="1005037"/>
                    </a:lnTo>
                    <a:lnTo>
                      <a:pt x="967006" y="1006552"/>
                    </a:lnTo>
                    <a:lnTo>
                      <a:pt x="968672" y="1005794"/>
                    </a:lnTo>
                    <a:lnTo>
                      <a:pt x="970188" y="1008219"/>
                    </a:lnTo>
                    <a:lnTo>
                      <a:pt x="968521" y="1009280"/>
                    </a:lnTo>
                    <a:lnTo>
                      <a:pt x="959884" y="1007613"/>
                    </a:lnTo>
                    <a:lnTo>
                      <a:pt x="957157" y="1010794"/>
                    </a:lnTo>
                    <a:lnTo>
                      <a:pt x="951853" y="1015340"/>
                    </a:lnTo>
                    <a:lnTo>
                      <a:pt x="954884" y="1017916"/>
                    </a:lnTo>
                    <a:lnTo>
                      <a:pt x="957308" y="1020946"/>
                    </a:lnTo>
                    <a:lnTo>
                      <a:pt x="958672" y="1021401"/>
                    </a:lnTo>
                    <a:lnTo>
                      <a:pt x="960490" y="1022613"/>
                    </a:lnTo>
                    <a:lnTo>
                      <a:pt x="968066" y="1025189"/>
                    </a:lnTo>
                    <a:lnTo>
                      <a:pt x="970339" y="1026704"/>
                    </a:lnTo>
                    <a:lnTo>
                      <a:pt x="963975" y="1025795"/>
                    </a:lnTo>
                    <a:lnTo>
                      <a:pt x="963672" y="1030189"/>
                    </a:lnTo>
                    <a:lnTo>
                      <a:pt x="964581" y="1031250"/>
                    </a:lnTo>
                    <a:lnTo>
                      <a:pt x="966400" y="1034129"/>
                    </a:lnTo>
                    <a:lnTo>
                      <a:pt x="969581" y="1038068"/>
                    </a:lnTo>
                    <a:lnTo>
                      <a:pt x="972006" y="1036401"/>
                    </a:lnTo>
                    <a:lnTo>
                      <a:pt x="975945" y="1027613"/>
                    </a:lnTo>
                    <a:lnTo>
                      <a:pt x="977915" y="1025795"/>
                    </a:lnTo>
                    <a:lnTo>
                      <a:pt x="978673" y="1025946"/>
                    </a:lnTo>
                    <a:lnTo>
                      <a:pt x="977612" y="1028674"/>
                    </a:lnTo>
                    <a:lnTo>
                      <a:pt x="979733" y="1030795"/>
                    </a:lnTo>
                    <a:lnTo>
                      <a:pt x="979582" y="1031704"/>
                    </a:lnTo>
                    <a:lnTo>
                      <a:pt x="978521" y="1031704"/>
                    </a:lnTo>
                    <a:lnTo>
                      <a:pt x="976248" y="1033371"/>
                    </a:lnTo>
                    <a:lnTo>
                      <a:pt x="973976" y="1038371"/>
                    </a:lnTo>
                    <a:lnTo>
                      <a:pt x="974430" y="1042008"/>
                    </a:lnTo>
                    <a:lnTo>
                      <a:pt x="973369" y="1042008"/>
                    </a:lnTo>
                    <a:lnTo>
                      <a:pt x="965339" y="1037614"/>
                    </a:lnTo>
                    <a:lnTo>
                      <a:pt x="964884" y="1036856"/>
                    </a:lnTo>
                    <a:lnTo>
                      <a:pt x="963975" y="1036098"/>
                    </a:lnTo>
                    <a:lnTo>
                      <a:pt x="960036" y="1028220"/>
                    </a:lnTo>
                    <a:lnTo>
                      <a:pt x="959126" y="1025644"/>
                    </a:lnTo>
                    <a:lnTo>
                      <a:pt x="953672" y="1021856"/>
                    </a:lnTo>
                    <a:lnTo>
                      <a:pt x="951399" y="1021098"/>
                    </a:lnTo>
                    <a:lnTo>
                      <a:pt x="949278" y="1022765"/>
                    </a:lnTo>
                    <a:lnTo>
                      <a:pt x="947762" y="1025037"/>
                    </a:lnTo>
                    <a:lnTo>
                      <a:pt x="949732" y="1027310"/>
                    </a:lnTo>
                    <a:lnTo>
                      <a:pt x="951248" y="1030341"/>
                    </a:lnTo>
                    <a:lnTo>
                      <a:pt x="950187" y="1031856"/>
                    </a:lnTo>
                    <a:lnTo>
                      <a:pt x="946096" y="1032462"/>
                    </a:lnTo>
                    <a:lnTo>
                      <a:pt x="938974" y="1032613"/>
                    </a:lnTo>
                    <a:lnTo>
                      <a:pt x="940035" y="1036401"/>
                    </a:lnTo>
                    <a:lnTo>
                      <a:pt x="942005" y="1039887"/>
                    </a:lnTo>
                    <a:lnTo>
                      <a:pt x="946550" y="1046402"/>
                    </a:lnTo>
                    <a:lnTo>
                      <a:pt x="950035" y="1047311"/>
                    </a:lnTo>
                    <a:lnTo>
                      <a:pt x="952914" y="1048978"/>
                    </a:lnTo>
                    <a:lnTo>
                      <a:pt x="955036" y="1049735"/>
                    </a:lnTo>
                    <a:lnTo>
                      <a:pt x="957611" y="1050190"/>
                    </a:lnTo>
                    <a:lnTo>
                      <a:pt x="959884" y="1051402"/>
                    </a:lnTo>
                    <a:lnTo>
                      <a:pt x="963218" y="1051705"/>
                    </a:lnTo>
                    <a:lnTo>
                      <a:pt x="965642" y="1051402"/>
                    </a:lnTo>
                    <a:lnTo>
                      <a:pt x="970642" y="1053978"/>
                    </a:lnTo>
                    <a:lnTo>
                      <a:pt x="971854" y="1056402"/>
                    </a:lnTo>
                    <a:lnTo>
                      <a:pt x="970945" y="1066857"/>
                    </a:lnTo>
                    <a:lnTo>
                      <a:pt x="967157" y="1065494"/>
                    </a:lnTo>
                    <a:lnTo>
                      <a:pt x="963672" y="1069130"/>
                    </a:lnTo>
                    <a:lnTo>
                      <a:pt x="965036" y="1070342"/>
                    </a:lnTo>
                    <a:lnTo>
                      <a:pt x="969733" y="1072918"/>
                    </a:lnTo>
                    <a:lnTo>
                      <a:pt x="971854" y="1072009"/>
                    </a:lnTo>
                    <a:lnTo>
                      <a:pt x="972915" y="1073221"/>
                    </a:lnTo>
                    <a:lnTo>
                      <a:pt x="974127" y="1073676"/>
                    </a:lnTo>
                    <a:lnTo>
                      <a:pt x="975642" y="1073524"/>
                    </a:lnTo>
                    <a:lnTo>
                      <a:pt x="978370" y="1075797"/>
                    </a:lnTo>
                    <a:lnTo>
                      <a:pt x="980188" y="1079585"/>
                    </a:lnTo>
                    <a:lnTo>
                      <a:pt x="982006" y="1082464"/>
                    </a:lnTo>
                    <a:lnTo>
                      <a:pt x="985643" y="1083525"/>
                    </a:lnTo>
                    <a:lnTo>
                      <a:pt x="990946" y="1080646"/>
                    </a:lnTo>
                    <a:lnTo>
                      <a:pt x="998067" y="1075797"/>
                    </a:lnTo>
                    <a:lnTo>
                      <a:pt x="1007007" y="1073524"/>
                    </a:lnTo>
                    <a:lnTo>
                      <a:pt x="1007462" y="1071251"/>
                    </a:lnTo>
                    <a:lnTo>
                      <a:pt x="1005643" y="1069736"/>
                    </a:lnTo>
                    <a:lnTo>
                      <a:pt x="1004128" y="1069130"/>
                    </a:lnTo>
                    <a:lnTo>
                      <a:pt x="1001855" y="1066857"/>
                    </a:lnTo>
                    <a:lnTo>
                      <a:pt x="992916" y="1062918"/>
                    </a:lnTo>
                    <a:lnTo>
                      <a:pt x="991552" y="1062615"/>
                    </a:lnTo>
                    <a:lnTo>
                      <a:pt x="990643" y="1062008"/>
                    </a:lnTo>
                    <a:lnTo>
                      <a:pt x="991400" y="1061099"/>
                    </a:lnTo>
                    <a:lnTo>
                      <a:pt x="992613" y="1060645"/>
                    </a:lnTo>
                    <a:lnTo>
                      <a:pt x="1002613" y="1065494"/>
                    </a:lnTo>
                    <a:lnTo>
                      <a:pt x="1008522" y="1070342"/>
                    </a:lnTo>
                    <a:lnTo>
                      <a:pt x="1010037" y="1072463"/>
                    </a:lnTo>
                    <a:lnTo>
                      <a:pt x="1009886" y="1075494"/>
                    </a:lnTo>
                    <a:lnTo>
                      <a:pt x="1009128" y="1077009"/>
                    </a:lnTo>
                    <a:lnTo>
                      <a:pt x="1006401" y="1078979"/>
                    </a:lnTo>
                    <a:lnTo>
                      <a:pt x="1006401" y="1081252"/>
                    </a:lnTo>
                    <a:lnTo>
                      <a:pt x="1006704" y="1082312"/>
                    </a:lnTo>
                    <a:lnTo>
                      <a:pt x="1009128" y="1087161"/>
                    </a:lnTo>
                    <a:lnTo>
                      <a:pt x="1009280" y="1088828"/>
                    </a:lnTo>
                    <a:lnTo>
                      <a:pt x="1009128" y="1090192"/>
                    </a:lnTo>
                    <a:lnTo>
                      <a:pt x="1008825" y="1091252"/>
                    </a:lnTo>
                    <a:lnTo>
                      <a:pt x="1007916" y="1093222"/>
                    </a:lnTo>
                    <a:lnTo>
                      <a:pt x="1006249" y="1094585"/>
                    </a:lnTo>
                    <a:lnTo>
                      <a:pt x="1005037" y="1095040"/>
                    </a:lnTo>
                    <a:lnTo>
                      <a:pt x="1003977" y="1093980"/>
                    </a:lnTo>
                    <a:lnTo>
                      <a:pt x="1004583" y="1093070"/>
                    </a:lnTo>
                    <a:lnTo>
                      <a:pt x="1007613" y="1090343"/>
                    </a:lnTo>
                    <a:lnTo>
                      <a:pt x="1007916" y="1088373"/>
                    </a:lnTo>
                    <a:lnTo>
                      <a:pt x="1007462" y="1086404"/>
                    </a:lnTo>
                    <a:lnTo>
                      <a:pt x="1005795" y="1084737"/>
                    </a:lnTo>
                    <a:lnTo>
                      <a:pt x="1004583" y="1082767"/>
                    </a:lnTo>
                    <a:lnTo>
                      <a:pt x="1004583" y="1080646"/>
                    </a:lnTo>
                    <a:lnTo>
                      <a:pt x="1003522" y="1079737"/>
                    </a:lnTo>
                    <a:lnTo>
                      <a:pt x="1001855" y="1079282"/>
                    </a:lnTo>
                    <a:lnTo>
                      <a:pt x="1000492" y="1079737"/>
                    </a:lnTo>
                    <a:lnTo>
                      <a:pt x="997764" y="1082918"/>
                    </a:lnTo>
                    <a:lnTo>
                      <a:pt x="992461" y="1085949"/>
                    </a:lnTo>
                    <a:lnTo>
                      <a:pt x="989128" y="1087009"/>
                    </a:lnTo>
                    <a:lnTo>
                      <a:pt x="987309" y="1087313"/>
                    </a:lnTo>
                    <a:lnTo>
                      <a:pt x="983673" y="1086555"/>
                    </a:lnTo>
                    <a:lnTo>
                      <a:pt x="981703" y="1086858"/>
                    </a:lnTo>
                    <a:lnTo>
                      <a:pt x="978521" y="1084130"/>
                    </a:lnTo>
                    <a:lnTo>
                      <a:pt x="977612" y="1084130"/>
                    </a:lnTo>
                    <a:lnTo>
                      <a:pt x="977612" y="1086252"/>
                    </a:lnTo>
                    <a:lnTo>
                      <a:pt x="977157" y="1088525"/>
                    </a:lnTo>
                    <a:lnTo>
                      <a:pt x="975945" y="1089131"/>
                    </a:lnTo>
                    <a:lnTo>
                      <a:pt x="973673" y="1089737"/>
                    </a:lnTo>
                    <a:lnTo>
                      <a:pt x="968066" y="1087009"/>
                    </a:lnTo>
                    <a:lnTo>
                      <a:pt x="965491" y="1086858"/>
                    </a:lnTo>
                    <a:lnTo>
                      <a:pt x="963824" y="1085646"/>
                    </a:lnTo>
                    <a:lnTo>
                      <a:pt x="961854" y="1085040"/>
                    </a:lnTo>
                    <a:lnTo>
                      <a:pt x="960945" y="1085494"/>
                    </a:lnTo>
                    <a:lnTo>
                      <a:pt x="961702" y="1087464"/>
                    </a:lnTo>
                    <a:lnTo>
                      <a:pt x="962460" y="1088676"/>
                    </a:lnTo>
                    <a:lnTo>
                      <a:pt x="964127" y="1092919"/>
                    </a:lnTo>
                    <a:lnTo>
                      <a:pt x="964884" y="1095343"/>
                    </a:lnTo>
                    <a:lnTo>
                      <a:pt x="966400" y="1095040"/>
                    </a:lnTo>
                    <a:lnTo>
                      <a:pt x="967915" y="1095949"/>
                    </a:lnTo>
                    <a:lnTo>
                      <a:pt x="968975" y="1100040"/>
                    </a:lnTo>
                    <a:lnTo>
                      <a:pt x="968066" y="1102465"/>
                    </a:lnTo>
                    <a:lnTo>
                      <a:pt x="968672" y="1104737"/>
                    </a:lnTo>
                    <a:lnTo>
                      <a:pt x="971400" y="1106556"/>
                    </a:lnTo>
                    <a:lnTo>
                      <a:pt x="977006" y="1105646"/>
                    </a:lnTo>
                    <a:lnTo>
                      <a:pt x="980491" y="1106556"/>
                    </a:lnTo>
                    <a:lnTo>
                      <a:pt x="986097" y="1103222"/>
                    </a:lnTo>
                    <a:lnTo>
                      <a:pt x="989885" y="1104283"/>
                    </a:lnTo>
                    <a:lnTo>
                      <a:pt x="991704" y="1102010"/>
                    </a:lnTo>
                    <a:lnTo>
                      <a:pt x="991552" y="1099282"/>
                    </a:lnTo>
                    <a:lnTo>
                      <a:pt x="993219" y="1099282"/>
                    </a:lnTo>
                    <a:lnTo>
                      <a:pt x="994582" y="1100949"/>
                    </a:lnTo>
                    <a:lnTo>
                      <a:pt x="992613" y="1103374"/>
                    </a:lnTo>
                    <a:lnTo>
                      <a:pt x="990037" y="1107313"/>
                    </a:lnTo>
                    <a:lnTo>
                      <a:pt x="987158" y="1108980"/>
                    </a:lnTo>
                    <a:lnTo>
                      <a:pt x="978976" y="1112011"/>
                    </a:lnTo>
                    <a:lnTo>
                      <a:pt x="982764" y="1114434"/>
                    </a:lnTo>
                    <a:lnTo>
                      <a:pt x="984127" y="1116708"/>
                    </a:lnTo>
                    <a:lnTo>
                      <a:pt x="987461" y="1120041"/>
                    </a:lnTo>
                    <a:lnTo>
                      <a:pt x="993370" y="1120799"/>
                    </a:lnTo>
                    <a:lnTo>
                      <a:pt x="995188" y="1119738"/>
                    </a:lnTo>
                    <a:lnTo>
                      <a:pt x="996098" y="1118829"/>
                    </a:lnTo>
                    <a:lnTo>
                      <a:pt x="996249" y="1117162"/>
                    </a:lnTo>
                    <a:lnTo>
                      <a:pt x="996098" y="1113980"/>
                    </a:lnTo>
                    <a:lnTo>
                      <a:pt x="998522" y="1109889"/>
                    </a:lnTo>
                    <a:lnTo>
                      <a:pt x="1002007" y="1107313"/>
                    </a:lnTo>
                    <a:lnTo>
                      <a:pt x="1002916" y="1104737"/>
                    </a:lnTo>
                    <a:lnTo>
                      <a:pt x="1002613" y="1102313"/>
                    </a:lnTo>
                    <a:lnTo>
                      <a:pt x="1004431" y="1100798"/>
                    </a:lnTo>
                    <a:lnTo>
                      <a:pt x="1006249" y="1100495"/>
                    </a:lnTo>
                    <a:lnTo>
                      <a:pt x="1010037" y="1101707"/>
                    </a:lnTo>
                    <a:lnTo>
                      <a:pt x="1010795" y="1103374"/>
                    </a:lnTo>
                    <a:lnTo>
                      <a:pt x="1011856" y="1104131"/>
                    </a:lnTo>
                    <a:lnTo>
                      <a:pt x="1015189" y="1100949"/>
                    </a:lnTo>
                    <a:lnTo>
                      <a:pt x="1017613" y="1100343"/>
                    </a:lnTo>
                    <a:lnTo>
                      <a:pt x="1028978" y="1100949"/>
                    </a:lnTo>
                    <a:lnTo>
                      <a:pt x="1033069" y="1101858"/>
                    </a:lnTo>
                    <a:lnTo>
                      <a:pt x="1037311" y="1103525"/>
                    </a:lnTo>
                    <a:lnTo>
                      <a:pt x="1036099" y="1104889"/>
                    </a:lnTo>
                    <a:lnTo>
                      <a:pt x="1035038" y="1105495"/>
                    </a:lnTo>
                    <a:lnTo>
                      <a:pt x="1029432" y="1106253"/>
                    </a:lnTo>
                    <a:lnTo>
                      <a:pt x="1024432" y="1104889"/>
                    </a:lnTo>
                    <a:lnTo>
                      <a:pt x="1020644" y="1105040"/>
                    </a:lnTo>
                    <a:lnTo>
                      <a:pt x="1011401" y="1111101"/>
                    </a:lnTo>
                    <a:lnTo>
                      <a:pt x="1006704" y="1111253"/>
                    </a:lnTo>
                    <a:lnTo>
                      <a:pt x="1006553" y="1109586"/>
                    </a:lnTo>
                    <a:lnTo>
                      <a:pt x="1005340" y="1108677"/>
                    </a:lnTo>
                    <a:lnTo>
                      <a:pt x="1003977" y="1109132"/>
                    </a:lnTo>
                    <a:lnTo>
                      <a:pt x="1001098" y="1111253"/>
                    </a:lnTo>
                    <a:lnTo>
                      <a:pt x="999583" y="1113222"/>
                    </a:lnTo>
                    <a:lnTo>
                      <a:pt x="998976" y="1115647"/>
                    </a:lnTo>
                    <a:lnTo>
                      <a:pt x="998825" y="1122465"/>
                    </a:lnTo>
                    <a:lnTo>
                      <a:pt x="996552" y="1124587"/>
                    </a:lnTo>
                    <a:lnTo>
                      <a:pt x="995037" y="1127011"/>
                    </a:lnTo>
                    <a:lnTo>
                      <a:pt x="996552" y="1128829"/>
                    </a:lnTo>
                    <a:lnTo>
                      <a:pt x="1003977" y="1133678"/>
                    </a:lnTo>
                    <a:lnTo>
                      <a:pt x="1008825" y="1135193"/>
                    </a:lnTo>
                    <a:lnTo>
                      <a:pt x="1009280" y="1131860"/>
                    </a:lnTo>
                    <a:lnTo>
                      <a:pt x="1010341" y="1128829"/>
                    </a:lnTo>
                    <a:lnTo>
                      <a:pt x="1011250" y="1127465"/>
                    </a:lnTo>
                    <a:lnTo>
                      <a:pt x="1016250" y="1122920"/>
                    </a:lnTo>
                    <a:lnTo>
                      <a:pt x="1020341" y="1120344"/>
                    </a:lnTo>
                    <a:lnTo>
                      <a:pt x="1026705" y="1118071"/>
                    </a:lnTo>
                    <a:lnTo>
                      <a:pt x="1040645" y="1109283"/>
                    </a:lnTo>
                    <a:lnTo>
                      <a:pt x="1045039" y="1110950"/>
                    </a:lnTo>
                    <a:lnTo>
                      <a:pt x="1047009" y="1112313"/>
                    </a:lnTo>
                    <a:lnTo>
                      <a:pt x="1046857" y="1113829"/>
                    </a:lnTo>
                    <a:lnTo>
                      <a:pt x="1046403" y="1115041"/>
                    </a:lnTo>
                    <a:lnTo>
                      <a:pt x="1043372" y="1119283"/>
                    </a:lnTo>
                    <a:lnTo>
                      <a:pt x="1040342" y="1122010"/>
                    </a:lnTo>
                    <a:lnTo>
                      <a:pt x="1031099" y="1126708"/>
                    </a:lnTo>
                    <a:lnTo>
                      <a:pt x="1029735" y="1136102"/>
                    </a:lnTo>
                    <a:lnTo>
                      <a:pt x="1027008" y="1137618"/>
                    </a:lnTo>
                    <a:lnTo>
                      <a:pt x="1026705" y="1136557"/>
                    </a:lnTo>
                    <a:lnTo>
                      <a:pt x="1027614" y="1135193"/>
                    </a:lnTo>
                    <a:lnTo>
                      <a:pt x="1028675" y="1132920"/>
                    </a:lnTo>
                    <a:lnTo>
                      <a:pt x="1028068" y="1128677"/>
                    </a:lnTo>
                    <a:lnTo>
                      <a:pt x="1025644" y="1126708"/>
                    </a:lnTo>
                    <a:lnTo>
                      <a:pt x="1021856" y="1127314"/>
                    </a:lnTo>
                    <a:lnTo>
                      <a:pt x="1017311" y="1127163"/>
                    </a:lnTo>
                    <a:lnTo>
                      <a:pt x="1015795" y="1127465"/>
                    </a:lnTo>
                    <a:lnTo>
                      <a:pt x="1012916" y="1131102"/>
                    </a:lnTo>
                    <a:lnTo>
                      <a:pt x="1013371" y="1133678"/>
                    </a:lnTo>
                    <a:lnTo>
                      <a:pt x="1013977" y="1135648"/>
                    </a:lnTo>
                    <a:lnTo>
                      <a:pt x="1019583" y="1141708"/>
                    </a:lnTo>
                    <a:lnTo>
                      <a:pt x="1021553" y="1142920"/>
                    </a:lnTo>
                    <a:lnTo>
                      <a:pt x="1027765" y="1145042"/>
                    </a:lnTo>
                    <a:lnTo>
                      <a:pt x="1032614" y="1148072"/>
                    </a:lnTo>
                    <a:lnTo>
                      <a:pt x="1039432" y="1149436"/>
                    </a:lnTo>
                    <a:lnTo>
                      <a:pt x="1043372" y="1150951"/>
                    </a:lnTo>
                    <a:lnTo>
                      <a:pt x="1049282" y="1148830"/>
                    </a:lnTo>
                    <a:lnTo>
                      <a:pt x="1051706" y="1147163"/>
                    </a:lnTo>
                    <a:lnTo>
                      <a:pt x="1053070" y="1139284"/>
                    </a:lnTo>
                    <a:lnTo>
                      <a:pt x="1052009" y="1134739"/>
                    </a:lnTo>
                    <a:lnTo>
                      <a:pt x="1052009" y="1132011"/>
                    </a:lnTo>
                    <a:lnTo>
                      <a:pt x="1052918" y="1126556"/>
                    </a:lnTo>
                    <a:lnTo>
                      <a:pt x="1056554" y="1116708"/>
                    </a:lnTo>
                    <a:lnTo>
                      <a:pt x="1056100" y="1113980"/>
                    </a:lnTo>
                    <a:lnTo>
                      <a:pt x="1057312" y="1109586"/>
                    </a:lnTo>
                    <a:lnTo>
                      <a:pt x="1060494" y="1107465"/>
                    </a:lnTo>
                    <a:lnTo>
                      <a:pt x="1063676" y="1105949"/>
                    </a:lnTo>
                    <a:lnTo>
                      <a:pt x="1068373" y="1105495"/>
                    </a:lnTo>
                    <a:lnTo>
                      <a:pt x="1081555" y="1100040"/>
                    </a:lnTo>
                    <a:lnTo>
                      <a:pt x="1085495" y="1099737"/>
                    </a:lnTo>
                    <a:lnTo>
                      <a:pt x="1089434" y="1098222"/>
                    </a:lnTo>
                    <a:lnTo>
                      <a:pt x="1091101" y="1096707"/>
                    </a:lnTo>
                    <a:lnTo>
                      <a:pt x="1094283" y="1091101"/>
                    </a:lnTo>
                    <a:lnTo>
                      <a:pt x="1099889" y="1088828"/>
                    </a:lnTo>
                    <a:lnTo>
                      <a:pt x="1102768" y="1088979"/>
                    </a:lnTo>
                    <a:lnTo>
                      <a:pt x="1106253" y="1090797"/>
                    </a:lnTo>
                    <a:lnTo>
                      <a:pt x="1121708" y="1094282"/>
                    </a:lnTo>
                    <a:lnTo>
                      <a:pt x="1121254" y="1091858"/>
                    </a:lnTo>
                    <a:lnTo>
                      <a:pt x="1117769" y="1091252"/>
                    </a:lnTo>
                    <a:lnTo>
                      <a:pt x="1114284" y="1090646"/>
                    </a:lnTo>
                    <a:lnTo>
                      <a:pt x="1108526" y="1088979"/>
                    </a:lnTo>
                    <a:lnTo>
                      <a:pt x="1100798" y="1086404"/>
                    </a:lnTo>
                    <a:lnTo>
                      <a:pt x="1093071" y="1086404"/>
                    </a:lnTo>
                    <a:lnTo>
                      <a:pt x="1087010" y="1084130"/>
                    </a:lnTo>
                    <a:lnTo>
                      <a:pt x="1080192" y="1081706"/>
                    </a:lnTo>
                    <a:lnTo>
                      <a:pt x="1065949" y="1081555"/>
                    </a:lnTo>
                    <a:lnTo>
                      <a:pt x="1053372" y="1081403"/>
                    </a:lnTo>
                    <a:lnTo>
                      <a:pt x="1040493" y="1081252"/>
                    </a:lnTo>
                    <a:lnTo>
                      <a:pt x="1032160" y="1081100"/>
                    </a:lnTo>
                    <a:lnTo>
                      <a:pt x="1026705" y="1081100"/>
                    </a:lnTo>
                    <a:lnTo>
                      <a:pt x="1025341" y="1080191"/>
                    </a:lnTo>
                    <a:lnTo>
                      <a:pt x="1025796" y="1077160"/>
                    </a:lnTo>
                    <a:lnTo>
                      <a:pt x="1023674" y="1074888"/>
                    </a:lnTo>
                    <a:lnTo>
                      <a:pt x="1020644" y="1072161"/>
                    </a:lnTo>
                    <a:lnTo>
                      <a:pt x="1017007" y="1070191"/>
                    </a:lnTo>
                    <a:lnTo>
                      <a:pt x="1015189" y="1067615"/>
                    </a:lnTo>
                    <a:lnTo>
                      <a:pt x="1013219" y="1064736"/>
                    </a:lnTo>
                    <a:lnTo>
                      <a:pt x="1014280" y="1062160"/>
                    </a:lnTo>
                    <a:lnTo>
                      <a:pt x="1015947" y="1055948"/>
                    </a:lnTo>
                    <a:lnTo>
                      <a:pt x="1015947" y="1053220"/>
                    </a:lnTo>
                    <a:lnTo>
                      <a:pt x="1014432" y="1051251"/>
                    </a:lnTo>
                    <a:lnTo>
                      <a:pt x="1013977" y="1048523"/>
                    </a:lnTo>
                    <a:lnTo>
                      <a:pt x="1014432" y="1047311"/>
                    </a:lnTo>
                    <a:lnTo>
                      <a:pt x="1015795" y="1046402"/>
                    </a:lnTo>
                    <a:lnTo>
                      <a:pt x="1016704" y="1042008"/>
                    </a:lnTo>
                    <a:lnTo>
                      <a:pt x="1016098" y="1037614"/>
                    </a:lnTo>
                    <a:lnTo>
                      <a:pt x="1015038" y="1033674"/>
                    </a:lnTo>
                    <a:lnTo>
                      <a:pt x="1013674" y="1032008"/>
                    </a:lnTo>
                    <a:lnTo>
                      <a:pt x="1011856" y="1031250"/>
                    </a:lnTo>
                    <a:lnTo>
                      <a:pt x="1010492" y="1031098"/>
                    </a:lnTo>
                    <a:lnTo>
                      <a:pt x="1007462" y="1032613"/>
                    </a:lnTo>
                    <a:lnTo>
                      <a:pt x="1002461" y="1032310"/>
                    </a:lnTo>
                    <a:lnTo>
                      <a:pt x="1000795" y="1032917"/>
                    </a:lnTo>
                    <a:lnTo>
                      <a:pt x="998370" y="1034432"/>
                    </a:lnTo>
                    <a:lnTo>
                      <a:pt x="994885" y="1036705"/>
                    </a:lnTo>
                    <a:lnTo>
                      <a:pt x="992916" y="1035947"/>
                    </a:lnTo>
                    <a:lnTo>
                      <a:pt x="992310" y="1033522"/>
                    </a:lnTo>
                    <a:lnTo>
                      <a:pt x="990946" y="1031401"/>
                    </a:lnTo>
                    <a:lnTo>
                      <a:pt x="990188" y="1029583"/>
                    </a:lnTo>
                    <a:lnTo>
                      <a:pt x="989582" y="1026553"/>
                    </a:lnTo>
                    <a:lnTo>
                      <a:pt x="988521" y="1022613"/>
                    </a:lnTo>
                    <a:lnTo>
                      <a:pt x="986400" y="1017916"/>
                    </a:lnTo>
                    <a:lnTo>
                      <a:pt x="983218" y="1014128"/>
                    </a:lnTo>
                    <a:lnTo>
                      <a:pt x="983067" y="1010794"/>
                    </a:lnTo>
                    <a:lnTo>
                      <a:pt x="982461" y="1006552"/>
                    </a:lnTo>
                    <a:lnTo>
                      <a:pt x="984127" y="1002461"/>
                    </a:lnTo>
                    <a:lnTo>
                      <a:pt x="983218" y="998976"/>
                    </a:lnTo>
                    <a:lnTo>
                      <a:pt x="981249" y="994885"/>
                    </a:lnTo>
                    <a:lnTo>
                      <a:pt x="981855" y="990642"/>
                    </a:lnTo>
                    <a:lnTo>
                      <a:pt x="983824" y="988370"/>
                    </a:lnTo>
                    <a:lnTo>
                      <a:pt x="984431" y="985339"/>
                    </a:lnTo>
                    <a:lnTo>
                      <a:pt x="993370" y="984884"/>
                    </a:lnTo>
                    <a:lnTo>
                      <a:pt x="993067" y="980945"/>
                    </a:lnTo>
                    <a:lnTo>
                      <a:pt x="994582" y="977763"/>
                    </a:lnTo>
                    <a:lnTo>
                      <a:pt x="996249" y="974884"/>
                    </a:lnTo>
                    <a:lnTo>
                      <a:pt x="997613" y="973520"/>
                    </a:lnTo>
                    <a:lnTo>
                      <a:pt x="1000795" y="972308"/>
                    </a:lnTo>
                    <a:lnTo>
                      <a:pt x="1004583" y="970641"/>
                    </a:lnTo>
                    <a:lnTo>
                      <a:pt x="1006704" y="968672"/>
                    </a:lnTo>
                    <a:lnTo>
                      <a:pt x="1007765" y="967005"/>
                    </a:lnTo>
                    <a:lnTo>
                      <a:pt x="1008371" y="964732"/>
                    </a:lnTo>
                    <a:lnTo>
                      <a:pt x="1008522" y="962308"/>
                    </a:lnTo>
                    <a:lnTo>
                      <a:pt x="1007916" y="957308"/>
                    </a:lnTo>
                    <a:lnTo>
                      <a:pt x="1008674" y="955793"/>
                    </a:lnTo>
                    <a:lnTo>
                      <a:pt x="1010947" y="953823"/>
                    </a:lnTo>
                    <a:lnTo>
                      <a:pt x="1014886" y="952005"/>
                    </a:lnTo>
                    <a:lnTo>
                      <a:pt x="1016553" y="947156"/>
                    </a:lnTo>
                    <a:lnTo>
                      <a:pt x="1015644" y="943065"/>
                    </a:lnTo>
                    <a:lnTo>
                      <a:pt x="1013523" y="939731"/>
                    </a:lnTo>
                    <a:lnTo>
                      <a:pt x="1010795" y="938216"/>
                    </a:lnTo>
                    <a:lnTo>
                      <a:pt x="1010492" y="934883"/>
                    </a:lnTo>
                    <a:lnTo>
                      <a:pt x="1011704" y="931701"/>
                    </a:lnTo>
                    <a:lnTo>
                      <a:pt x="1013371" y="928216"/>
                    </a:lnTo>
                    <a:lnTo>
                      <a:pt x="1015341" y="924276"/>
                    </a:lnTo>
                    <a:lnTo>
                      <a:pt x="1015189" y="921549"/>
                    </a:lnTo>
                    <a:lnTo>
                      <a:pt x="1016856" y="919882"/>
                    </a:lnTo>
                    <a:lnTo>
                      <a:pt x="1021705" y="916246"/>
                    </a:lnTo>
                    <a:lnTo>
                      <a:pt x="1023371" y="912760"/>
                    </a:lnTo>
                    <a:lnTo>
                      <a:pt x="1025038" y="911851"/>
                    </a:lnTo>
                    <a:lnTo>
                      <a:pt x="1027008" y="911397"/>
                    </a:lnTo>
                    <a:lnTo>
                      <a:pt x="1027159" y="909427"/>
                    </a:lnTo>
                    <a:lnTo>
                      <a:pt x="1025644" y="907458"/>
                    </a:lnTo>
                    <a:lnTo>
                      <a:pt x="1025341" y="905033"/>
                    </a:lnTo>
                    <a:lnTo>
                      <a:pt x="1025493" y="902305"/>
                    </a:lnTo>
                    <a:lnTo>
                      <a:pt x="1025947" y="898669"/>
                    </a:lnTo>
                    <a:lnTo>
                      <a:pt x="1028220" y="897305"/>
                    </a:lnTo>
                    <a:lnTo>
                      <a:pt x="1031553" y="894427"/>
                    </a:lnTo>
                    <a:lnTo>
                      <a:pt x="1032463" y="892608"/>
                    </a:lnTo>
                    <a:lnTo>
                      <a:pt x="1032614" y="890032"/>
                    </a:lnTo>
                    <a:lnTo>
                      <a:pt x="1031553" y="884881"/>
                    </a:lnTo>
                    <a:lnTo>
                      <a:pt x="1030644" y="881244"/>
                    </a:lnTo>
                    <a:lnTo>
                      <a:pt x="1030190" y="879881"/>
                    </a:lnTo>
                    <a:lnTo>
                      <a:pt x="1028675" y="877305"/>
                    </a:lnTo>
                    <a:lnTo>
                      <a:pt x="1027462" y="875789"/>
                    </a:lnTo>
                    <a:lnTo>
                      <a:pt x="1029281" y="873820"/>
                    </a:lnTo>
                    <a:lnTo>
                      <a:pt x="1032766" y="871698"/>
                    </a:lnTo>
                    <a:lnTo>
                      <a:pt x="1034281" y="868668"/>
                    </a:lnTo>
                    <a:lnTo>
                      <a:pt x="1032917" y="866092"/>
                    </a:lnTo>
                    <a:lnTo>
                      <a:pt x="1030947" y="864729"/>
                    </a:lnTo>
                    <a:lnTo>
                      <a:pt x="1030341" y="860789"/>
                    </a:lnTo>
                    <a:lnTo>
                      <a:pt x="1031099" y="855789"/>
                    </a:lnTo>
                    <a:lnTo>
                      <a:pt x="1032614" y="854274"/>
                    </a:lnTo>
                    <a:lnTo>
                      <a:pt x="1037614" y="853516"/>
                    </a:lnTo>
                    <a:lnTo>
                      <a:pt x="1038069" y="850940"/>
                    </a:lnTo>
                    <a:lnTo>
                      <a:pt x="1041857" y="847304"/>
                    </a:lnTo>
                    <a:lnTo>
                      <a:pt x="1041705" y="843819"/>
                    </a:lnTo>
                    <a:lnTo>
                      <a:pt x="1039281" y="841697"/>
                    </a:lnTo>
                    <a:lnTo>
                      <a:pt x="1036857" y="838364"/>
                    </a:lnTo>
                    <a:lnTo>
                      <a:pt x="1035038" y="835334"/>
                    </a:lnTo>
                    <a:lnTo>
                      <a:pt x="1029129" y="833667"/>
                    </a:lnTo>
                    <a:lnTo>
                      <a:pt x="1022917" y="832758"/>
                    </a:lnTo>
                    <a:lnTo>
                      <a:pt x="1022008" y="829879"/>
                    </a:lnTo>
                    <a:lnTo>
                      <a:pt x="1022311" y="828212"/>
                    </a:lnTo>
                    <a:lnTo>
                      <a:pt x="1025189" y="828818"/>
                    </a:lnTo>
                    <a:lnTo>
                      <a:pt x="1029887" y="828212"/>
                    </a:lnTo>
                    <a:lnTo>
                      <a:pt x="1033523" y="828060"/>
                    </a:lnTo>
                    <a:lnTo>
                      <a:pt x="1035948" y="827758"/>
                    </a:lnTo>
                    <a:lnTo>
                      <a:pt x="1038827" y="827303"/>
                    </a:lnTo>
                    <a:lnTo>
                      <a:pt x="1041554" y="828515"/>
                    </a:lnTo>
                    <a:lnTo>
                      <a:pt x="1044281" y="827758"/>
                    </a:lnTo>
                    <a:lnTo>
                      <a:pt x="1045342" y="823363"/>
                    </a:lnTo>
                    <a:lnTo>
                      <a:pt x="1047009" y="820939"/>
                    </a:lnTo>
                    <a:lnTo>
                      <a:pt x="1047312" y="818666"/>
                    </a:lnTo>
                    <a:lnTo>
                      <a:pt x="1045645" y="816848"/>
                    </a:lnTo>
                    <a:lnTo>
                      <a:pt x="1042615" y="816242"/>
                    </a:lnTo>
                    <a:lnTo>
                      <a:pt x="1029129" y="814878"/>
                    </a:lnTo>
                    <a:lnTo>
                      <a:pt x="1028675" y="813060"/>
                    </a:lnTo>
                    <a:lnTo>
                      <a:pt x="1028826" y="810029"/>
                    </a:lnTo>
                    <a:lnTo>
                      <a:pt x="1029281" y="806999"/>
                    </a:lnTo>
                    <a:lnTo>
                      <a:pt x="1029281" y="805484"/>
                    </a:lnTo>
                    <a:lnTo>
                      <a:pt x="1030493" y="804120"/>
                    </a:lnTo>
                    <a:lnTo>
                      <a:pt x="1031856" y="801393"/>
                    </a:lnTo>
                    <a:lnTo>
                      <a:pt x="1032917" y="799574"/>
                    </a:lnTo>
                    <a:lnTo>
                      <a:pt x="1032008" y="797151"/>
                    </a:lnTo>
                    <a:lnTo>
                      <a:pt x="1029887" y="793665"/>
                    </a:lnTo>
                    <a:lnTo>
                      <a:pt x="1031402" y="791998"/>
                    </a:lnTo>
                    <a:lnTo>
                      <a:pt x="1031553" y="790029"/>
                    </a:lnTo>
                    <a:lnTo>
                      <a:pt x="1031099" y="788210"/>
                    </a:lnTo>
                    <a:lnTo>
                      <a:pt x="1028826" y="786089"/>
                    </a:lnTo>
                    <a:lnTo>
                      <a:pt x="1026856" y="783210"/>
                    </a:lnTo>
                    <a:lnTo>
                      <a:pt x="1026856" y="780180"/>
                    </a:lnTo>
                    <a:lnTo>
                      <a:pt x="1029129" y="779422"/>
                    </a:lnTo>
                    <a:lnTo>
                      <a:pt x="1030644" y="778513"/>
                    </a:lnTo>
                    <a:lnTo>
                      <a:pt x="1030947" y="776544"/>
                    </a:lnTo>
                    <a:lnTo>
                      <a:pt x="1030038" y="774271"/>
                    </a:lnTo>
                    <a:lnTo>
                      <a:pt x="1026856" y="773513"/>
                    </a:lnTo>
                    <a:lnTo>
                      <a:pt x="1022614" y="772149"/>
                    </a:lnTo>
                    <a:lnTo>
                      <a:pt x="1021250" y="770937"/>
                    </a:lnTo>
                    <a:lnTo>
                      <a:pt x="1020038" y="768361"/>
                    </a:lnTo>
                    <a:lnTo>
                      <a:pt x="1020947" y="761240"/>
                    </a:lnTo>
                    <a:lnTo>
                      <a:pt x="1020492" y="756997"/>
                    </a:lnTo>
                    <a:lnTo>
                      <a:pt x="1020189" y="754724"/>
                    </a:lnTo>
                    <a:lnTo>
                      <a:pt x="1021250" y="752906"/>
                    </a:lnTo>
                    <a:lnTo>
                      <a:pt x="1022614" y="751240"/>
                    </a:lnTo>
                    <a:lnTo>
                      <a:pt x="1022008" y="747452"/>
                    </a:lnTo>
                    <a:lnTo>
                      <a:pt x="1020795" y="745482"/>
                    </a:lnTo>
                    <a:lnTo>
                      <a:pt x="1021250" y="743967"/>
                    </a:lnTo>
                    <a:lnTo>
                      <a:pt x="1022462" y="742451"/>
                    </a:lnTo>
                    <a:lnTo>
                      <a:pt x="1023523" y="740633"/>
                    </a:lnTo>
                    <a:lnTo>
                      <a:pt x="1024432" y="740179"/>
                    </a:lnTo>
                    <a:lnTo>
                      <a:pt x="1025796" y="741239"/>
                    </a:lnTo>
                    <a:lnTo>
                      <a:pt x="1028068" y="740633"/>
                    </a:lnTo>
                    <a:lnTo>
                      <a:pt x="1030796" y="739118"/>
                    </a:lnTo>
                    <a:lnTo>
                      <a:pt x="1031099" y="737300"/>
                    </a:lnTo>
                    <a:lnTo>
                      <a:pt x="1030493" y="734724"/>
                    </a:lnTo>
                    <a:lnTo>
                      <a:pt x="1028523" y="728360"/>
                    </a:lnTo>
                    <a:lnTo>
                      <a:pt x="1026705" y="724420"/>
                    </a:lnTo>
                    <a:lnTo>
                      <a:pt x="1027008" y="723057"/>
                    </a:lnTo>
                    <a:lnTo>
                      <a:pt x="1027765" y="721541"/>
                    </a:lnTo>
                    <a:lnTo>
                      <a:pt x="1027159" y="716087"/>
                    </a:lnTo>
                    <a:lnTo>
                      <a:pt x="1027311" y="712753"/>
                    </a:lnTo>
                    <a:lnTo>
                      <a:pt x="1027462" y="703056"/>
                    </a:lnTo>
                    <a:lnTo>
                      <a:pt x="1027614" y="699722"/>
                    </a:lnTo>
                    <a:lnTo>
                      <a:pt x="1025796" y="696389"/>
                    </a:lnTo>
                    <a:lnTo>
                      <a:pt x="1026099" y="693207"/>
                    </a:lnTo>
                    <a:lnTo>
                      <a:pt x="1027462" y="690934"/>
                    </a:lnTo>
                    <a:lnTo>
                      <a:pt x="1028675" y="687753"/>
                    </a:lnTo>
                    <a:lnTo>
                      <a:pt x="1029584" y="685025"/>
                    </a:lnTo>
                    <a:lnTo>
                      <a:pt x="1030493" y="683813"/>
                    </a:lnTo>
                    <a:lnTo>
                      <a:pt x="1032160" y="683207"/>
                    </a:lnTo>
                    <a:lnTo>
                      <a:pt x="1032463" y="681691"/>
                    </a:lnTo>
                    <a:lnTo>
                      <a:pt x="1031705" y="680479"/>
                    </a:lnTo>
                    <a:lnTo>
                      <a:pt x="1029584" y="678661"/>
                    </a:lnTo>
                    <a:lnTo>
                      <a:pt x="1029129" y="676540"/>
                    </a:lnTo>
                    <a:lnTo>
                      <a:pt x="1029584" y="674873"/>
                    </a:lnTo>
                    <a:lnTo>
                      <a:pt x="1030644" y="673964"/>
                    </a:lnTo>
                    <a:lnTo>
                      <a:pt x="1032311" y="673964"/>
                    </a:lnTo>
                    <a:lnTo>
                      <a:pt x="1033523" y="671540"/>
                    </a:lnTo>
                    <a:lnTo>
                      <a:pt x="1033826" y="668661"/>
                    </a:lnTo>
                    <a:lnTo>
                      <a:pt x="1034129" y="667297"/>
                    </a:lnTo>
                    <a:lnTo>
                      <a:pt x="1033220" y="665630"/>
                    </a:lnTo>
                    <a:lnTo>
                      <a:pt x="1032614" y="661539"/>
                    </a:lnTo>
                    <a:lnTo>
                      <a:pt x="1032008" y="659267"/>
                    </a:lnTo>
                    <a:lnTo>
                      <a:pt x="1032766" y="658358"/>
                    </a:lnTo>
                    <a:lnTo>
                      <a:pt x="1033826" y="658054"/>
                    </a:lnTo>
                    <a:lnTo>
                      <a:pt x="1035644" y="658660"/>
                    </a:lnTo>
                    <a:lnTo>
                      <a:pt x="1037008" y="658358"/>
                    </a:lnTo>
                    <a:lnTo>
                      <a:pt x="1037160" y="657145"/>
                    </a:lnTo>
                    <a:lnTo>
                      <a:pt x="1037311" y="655782"/>
                    </a:lnTo>
                    <a:lnTo>
                      <a:pt x="1037766" y="654872"/>
                    </a:lnTo>
                    <a:lnTo>
                      <a:pt x="1038978" y="651842"/>
                    </a:lnTo>
                    <a:lnTo>
                      <a:pt x="1040190" y="648205"/>
                    </a:lnTo>
                    <a:lnTo>
                      <a:pt x="1040493" y="645630"/>
                    </a:lnTo>
                    <a:lnTo>
                      <a:pt x="1040039" y="638660"/>
                    </a:lnTo>
                    <a:lnTo>
                      <a:pt x="1040645" y="636993"/>
                    </a:lnTo>
                    <a:lnTo>
                      <a:pt x="1042008" y="635478"/>
                    </a:lnTo>
                    <a:lnTo>
                      <a:pt x="1043827" y="634114"/>
                    </a:lnTo>
                    <a:lnTo>
                      <a:pt x="1046251" y="632902"/>
                    </a:lnTo>
                    <a:lnTo>
                      <a:pt x="1049282" y="631235"/>
                    </a:lnTo>
                    <a:lnTo>
                      <a:pt x="1052918" y="630629"/>
                    </a:lnTo>
                    <a:lnTo>
                      <a:pt x="1054433" y="628811"/>
                    </a:lnTo>
                    <a:lnTo>
                      <a:pt x="1055494" y="626386"/>
                    </a:lnTo>
                    <a:lnTo>
                      <a:pt x="1055797" y="624417"/>
                    </a:lnTo>
                    <a:lnTo>
                      <a:pt x="1054433" y="623053"/>
                    </a:lnTo>
                    <a:lnTo>
                      <a:pt x="1052615" y="621386"/>
                    </a:lnTo>
                    <a:lnTo>
                      <a:pt x="1051706" y="617295"/>
                    </a:lnTo>
                    <a:lnTo>
                      <a:pt x="1051251" y="613507"/>
                    </a:lnTo>
                    <a:lnTo>
                      <a:pt x="1050948" y="608659"/>
                    </a:lnTo>
                    <a:lnTo>
                      <a:pt x="1049130" y="604567"/>
                    </a:lnTo>
                    <a:lnTo>
                      <a:pt x="1047160" y="599870"/>
                    </a:lnTo>
                    <a:lnTo>
                      <a:pt x="1046705" y="595779"/>
                    </a:lnTo>
                    <a:lnTo>
                      <a:pt x="1047312" y="593507"/>
                    </a:lnTo>
                    <a:lnTo>
                      <a:pt x="1048069" y="589870"/>
                    </a:lnTo>
                    <a:lnTo>
                      <a:pt x="1047312" y="588203"/>
                    </a:lnTo>
                    <a:lnTo>
                      <a:pt x="1046403" y="585324"/>
                    </a:lnTo>
                    <a:lnTo>
                      <a:pt x="1047463" y="583052"/>
                    </a:lnTo>
                    <a:lnTo>
                      <a:pt x="1048675" y="579567"/>
                    </a:lnTo>
                    <a:lnTo>
                      <a:pt x="1048524" y="577748"/>
                    </a:lnTo>
                    <a:lnTo>
                      <a:pt x="1047615" y="573506"/>
                    </a:lnTo>
                    <a:lnTo>
                      <a:pt x="1046705" y="571081"/>
                    </a:lnTo>
                    <a:lnTo>
                      <a:pt x="1047615" y="568505"/>
                    </a:lnTo>
                    <a:lnTo>
                      <a:pt x="1048978" y="566082"/>
                    </a:lnTo>
                    <a:lnTo>
                      <a:pt x="1050039" y="564869"/>
                    </a:lnTo>
                    <a:lnTo>
                      <a:pt x="1049887" y="562748"/>
                    </a:lnTo>
                    <a:lnTo>
                      <a:pt x="1050342" y="561081"/>
                    </a:lnTo>
                    <a:lnTo>
                      <a:pt x="1052463" y="559869"/>
                    </a:lnTo>
                    <a:lnTo>
                      <a:pt x="1054433" y="557748"/>
                    </a:lnTo>
                    <a:lnTo>
                      <a:pt x="1055797" y="557445"/>
                    </a:lnTo>
                    <a:lnTo>
                      <a:pt x="1057464" y="557445"/>
                    </a:lnTo>
                    <a:lnTo>
                      <a:pt x="1058524" y="556839"/>
                    </a:lnTo>
                    <a:lnTo>
                      <a:pt x="1058979" y="555172"/>
                    </a:lnTo>
                    <a:lnTo>
                      <a:pt x="1059282" y="553353"/>
                    </a:lnTo>
                    <a:lnTo>
                      <a:pt x="1062009" y="551081"/>
                    </a:lnTo>
                    <a:lnTo>
                      <a:pt x="1063676" y="549111"/>
                    </a:lnTo>
                    <a:lnTo>
                      <a:pt x="1066555" y="548656"/>
                    </a:lnTo>
                    <a:lnTo>
                      <a:pt x="1067918" y="546384"/>
                    </a:lnTo>
                    <a:lnTo>
                      <a:pt x="1067918" y="543505"/>
                    </a:lnTo>
                    <a:lnTo>
                      <a:pt x="1067615" y="540626"/>
                    </a:lnTo>
                    <a:lnTo>
                      <a:pt x="1068524" y="537292"/>
                    </a:lnTo>
                    <a:lnTo>
                      <a:pt x="1067464" y="532292"/>
                    </a:lnTo>
                    <a:lnTo>
                      <a:pt x="1067615" y="529565"/>
                    </a:lnTo>
                    <a:lnTo>
                      <a:pt x="1066555" y="527292"/>
                    </a:lnTo>
                    <a:lnTo>
                      <a:pt x="1066706" y="524868"/>
                    </a:lnTo>
                    <a:lnTo>
                      <a:pt x="1066100" y="523353"/>
                    </a:lnTo>
                    <a:lnTo>
                      <a:pt x="1064434" y="522746"/>
                    </a:lnTo>
                    <a:lnTo>
                      <a:pt x="1063827" y="520928"/>
                    </a:lnTo>
                    <a:lnTo>
                      <a:pt x="1064585" y="520019"/>
                    </a:lnTo>
                    <a:lnTo>
                      <a:pt x="1066252" y="519261"/>
                    </a:lnTo>
                    <a:lnTo>
                      <a:pt x="1068222" y="517746"/>
                    </a:lnTo>
                    <a:lnTo>
                      <a:pt x="1069737" y="510776"/>
                    </a:lnTo>
                    <a:lnTo>
                      <a:pt x="1070494" y="508655"/>
                    </a:lnTo>
                    <a:lnTo>
                      <a:pt x="1071252" y="506231"/>
                    </a:lnTo>
                    <a:lnTo>
                      <a:pt x="1071100" y="505019"/>
                    </a:lnTo>
                    <a:lnTo>
                      <a:pt x="1072010" y="503200"/>
                    </a:lnTo>
                    <a:lnTo>
                      <a:pt x="1073222" y="500321"/>
                    </a:lnTo>
                    <a:lnTo>
                      <a:pt x="1075191" y="497594"/>
                    </a:lnTo>
                    <a:lnTo>
                      <a:pt x="1076252" y="495776"/>
                    </a:lnTo>
                    <a:lnTo>
                      <a:pt x="1077313" y="493200"/>
                    </a:lnTo>
                    <a:lnTo>
                      <a:pt x="1077616" y="491685"/>
                    </a:lnTo>
                    <a:lnTo>
                      <a:pt x="1078979" y="490927"/>
                    </a:lnTo>
                    <a:lnTo>
                      <a:pt x="1080495" y="490776"/>
                    </a:lnTo>
                    <a:lnTo>
                      <a:pt x="1082313" y="490321"/>
                    </a:lnTo>
                    <a:lnTo>
                      <a:pt x="1083071" y="489412"/>
                    </a:lnTo>
                    <a:lnTo>
                      <a:pt x="1082919" y="488048"/>
                    </a:lnTo>
                    <a:lnTo>
                      <a:pt x="1082767" y="485018"/>
                    </a:lnTo>
                    <a:lnTo>
                      <a:pt x="1082161" y="480321"/>
                    </a:lnTo>
                    <a:lnTo>
                      <a:pt x="1081858" y="474260"/>
                    </a:lnTo>
                    <a:lnTo>
                      <a:pt x="1082161" y="470320"/>
                    </a:lnTo>
                    <a:lnTo>
                      <a:pt x="1083374" y="466381"/>
                    </a:lnTo>
                    <a:lnTo>
                      <a:pt x="1084434" y="464260"/>
                    </a:lnTo>
                    <a:lnTo>
                      <a:pt x="1084131" y="462593"/>
                    </a:lnTo>
                    <a:lnTo>
                      <a:pt x="1083828" y="460774"/>
                    </a:lnTo>
                    <a:lnTo>
                      <a:pt x="1081707" y="459714"/>
                    </a:lnTo>
                    <a:lnTo>
                      <a:pt x="1079737" y="460623"/>
                    </a:lnTo>
                    <a:lnTo>
                      <a:pt x="1078373" y="460320"/>
                    </a:lnTo>
                    <a:lnTo>
                      <a:pt x="1076555" y="458198"/>
                    </a:lnTo>
                    <a:lnTo>
                      <a:pt x="1076101" y="455926"/>
                    </a:lnTo>
                    <a:lnTo>
                      <a:pt x="1076404" y="452896"/>
                    </a:lnTo>
                    <a:lnTo>
                      <a:pt x="1077767" y="450926"/>
                    </a:lnTo>
                    <a:lnTo>
                      <a:pt x="1078373" y="448501"/>
                    </a:lnTo>
                    <a:lnTo>
                      <a:pt x="1077616" y="447743"/>
                    </a:lnTo>
                    <a:lnTo>
                      <a:pt x="1075798" y="446077"/>
                    </a:lnTo>
                    <a:lnTo>
                      <a:pt x="1074131" y="440622"/>
                    </a:lnTo>
                    <a:lnTo>
                      <a:pt x="1074282" y="435925"/>
                    </a:lnTo>
                    <a:lnTo>
                      <a:pt x="1072616" y="434713"/>
                    </a:lnTo>
                    <a:lnTo>
                      <a:pt x="1071858" y="431077"/>
                    </a:lnTo>
                    <a:lnTo>
                      <a:pt x="1070191" y="429713"/>
                    </a:lnTo>
                    <a:lnTo>
                      <a:pt x="1069585" y="426985"/>
                    </a:lnTo>
                    <a:lnTo>
                      <a:pt x="1069131" y="424106"/>
                    </a:lnTo>
                    <a:lnTo>
                      <a:pt x="1069282" y="422894"/>
                    </a:lnTo>
                    <a:lnTo>
                      <a:pt x="1071100" y="422591"/>
                    </a:lnTo>
                    <a:lnTo>
                      <a:pt x="1072161" y="420318"/>
                    </a:lnTo>
                    <a:lnTo>
                      <a:pt x="1071403" y="419106"/>
                    </a:lnTo>
                    <a:lnTo>
                      <a:pt x="1070040" y="418046"/>
                    </a:lnTo>
                    <a:lnTo>
                      <a:pt x="1068373" y="418197"/>
                    </a:lnTo>
                    <a:lnTo>
                      <a:pt x="1066858" y="416985"/>
                    </a:lnTo>
                    <a:lnTo>
                      <a:pt x="1064736" y="411682"/>
                    </a:lnTo>
                    <a:lnTo>
                      <a:pt x="1063070" y="408803"/>
                    </a:lnTo>
                    <a:lnTo>
                      <a:pt x="1063524" y="404560"/>
                    </a:lnTo>
                    <a:lnTo>
                      <a:pt x="1063827" y="401227"/>
                    </a:lnTo>
                    <a:lnTo>
                      <a:pt x="1064585" y="398348"/>
                    </a:lnTo>
                    <a:lnTo>
                      <a:pt x="1064888" y="396075"/>
                    </a:lnTo>
                    <a:lnTo>
                      <a:pt x="1066100" y="395015"/>
                    </a:lnTo>
                    <a:lnTo>
                      <a:pt x="1067312" y="395469"/>
                    </a:lnTo>
                    <a:lnTo>
                      <a:pt x="1068373" y="395166"/>
                    </a:lnTo>
                    <a:lnTo>
                      <a:pt x="1069434" y="393348"/>
                    </a:lnTo>
                    <a:lnTo>
                      <a:pt x="1070494" y="392287"/>
                    </a:lnTo>
                    <a:lnTo>
                      <a:pt x="1070494" y="391378"/>
                    </a:lnTo>
                    <a:lnTo>
                      <a:pt x="1069888" y="390317"/>
                    </a:lnTo>
                    <a:lnTo>
                      <a:pt x="1069585" y="388650"/>
                    </a:lnTo>
                    <a:lnTo>
                      <a:pt x="1070343" y="386529"/>
                    </a:lnTo>
                    <a:lnTo>
                      <a:pt x="1071707" y="381832"/>
                    </a:lnTo>
                    <a:lnTo>
                      <a:pt x="1073828" y="376681"/>
                    </a:lnTo>
                    <a:lnTo>
                      <a:pt x="1074737" y="374711"/>
                    </a:lnTo>
                    <a:lnTo>
                      <a:pt x="1074585" y="373044"/>
                    </a:lnTo>
                    <a:lnTo>
                      <a:pt x="1075040" y="372286"/>
                    </a:lnTo>
                    <a:lnTo>
                      <a:pt x="1076404" y="373044"/>
                    </a:lnTo>
                    <a:lnTo>
                      <a:pt x="1080343" y="372135"/>
                    </a:lnTo>
                    <a:lnTo>
                      <a:pt x="1081707" y="369862"/>
                    </a:lnTo>
                    <a:lnTo>
                      <a:pt x="1082161" y="367892"/>
                    </a:lnTo>
                    <a:lnTo>
                      <a:pt x="1083374" y="366680"/>
                    </a:lnTo>
                    <a:lnTo>
                      <a:pt x="1082919" y="365013"/>
                    </a:lnTo>
                    <a:lnTo>
                      <a:pt x="1081252" y="364559"/>
                    </a:lnTo>
                    <a:lnTo>
                      <a:pt x="1080192" y="363801"/>
                    </a:lnTo>
                    <a:lnTo>
                      <a:pt x="1080646" y="361983"/>
                    </a:lnTo>
                    <a:lnTo>
                      <a:pt x="1081252" y="357741"/>
                    </a:lnTo>
                    <a:lnTo>
                      <a:pt x="1081101" y="354558"/>
                    </a:lnTo>
                    <a:lnTo>
                      <a:pt x="1079586" y="347891"/>
                    </a:lnTo>
                    <a:lnTo>
                      <a:pt x="1078373" y="341376"/>
                    </a:lnTo>
                    <a:lnTo>
                      <a:pt x="1079283" y="339103"/>
                    </a:lnTo>
                    <a:lnTo>
                      <a:pt x="1081858" y="336073"/>
                    </a:lnTo>
                    <a:lnTo>
                      <a:pt x="1083828" y="334709"/>
                    </a:lnTo>
                    <a:lnTo>
                      <a:pt x="1084131" y="333043"/>
                    </a:lnTo>
                    <a:lnTo>
                      <a:pt x="1086101" y="325315"/>
                    </a:lnTo>
                    <a:lnTo>
                      <a:pt x="1086252" y="321072"/>
                    </a:lnTo>
                    <a:lnTo>
                      <a:pt x="1087465" y="318800"/>
                    </a:lnTo>
                    <a:lnTo>
                      <a:pt x="1088374" y="314405"/>
                    </a:lnTo>
                    <a:lnTo>
                      <a:pt x="1091859" y="310617"/>
                    </a:lnTo>
                    <a:lnTo>
                      <a:pt x="1092919" y="308042"/>
                    </a:lnTo>
                    <a:lnTo>
                      <a:pt x="1094283" y="307738"/>
                    </a:lnTo>
                    <a:lnTo>
                      <a:pt x="1095041" y="306981"/>
                    </a:lnTo>
                    <a:lnTo>
                      <a:pt x="1096859" y="304254"/>
                    </a:lnTo>
                    <a:lnTo>
                      <a:pt x="1099283" y="301375"/>
                    </a:lnTo>
                    <a:lnTo>
                      <a:pt x="1101404" y="299860"/>
                    </a:lnTo>
                    <a:lnTo>
                      <a:pt x="1101859" y="297587"/>
                    </a:lnTo>
                    <a:lnTo>
                      <a:pt x="1102920" y="294556"/>
                    </a:lnTo>
                    <a:lnTo>
                      <a:pt x="1105041" y="289405"/>
                    </a:lnTo>
                    <a:lnTo>
                      <a:pt x="1106253" y="285919"/>
                    </a:lnTo>
                    <a:lnTo>
                      <a:pt x="1107769" y="284707"/>
                    </a:lnTo>
                    <a:lnTo>
                      <a:pt x="1109587" y="280010"/>
                    </a:lnTo>
                    <a:lnTo>
                      <a:pt x="1110344" y="277283"/>
                    </a:lnTo>
                    <a:lnTo>
                      <a:pt x="1112466" y="276222"/>
                    </a:lnTo>
                    <a:lnTo>
                      <a:pt x="1114132" y="275919"/>
                    </a:lnTo>
                    <a:lnTo>
                      <a:pt x="1115647" y="277131"/>
                    </a:lnTo>
                    <a:lnTo>
                      <a:pt x="1117314" y="276828"/>
                    </a:lnTo>
                    <a:lnTo>
                      <a:pt x="1118829" y="275162"/>
                    </a:lnTo>
                    <a:lnTo>
                      <a:pt x="1122466" y="274101"/>
                    </a:lnTo>
                    <a:lnTo>
                      <a:pt x="1124133" y="273495"/>
                    </a:lnTo>
                    <a:lnTo>
                      <a:pt x="1124890" y="271828"/>
                    </a:lnTo>
                    <a:lnTo>
                      <a:pt x="1124890" y="269101"/>
                    </a:lnTo>
                    <a:lnTo>
                      <a:pt x="1123375" y="266979"/>
                    </a:lnTo>
                    <a:lnTo>
                      <a:pt x="1120345" y="263040"/>
                    </a:lnTo>
                    <a:lnTo>
                      <a:pt x="1117769" y="258646"/>
                    </a:lnTo>
                    <a:lnTo>
                      <a:pt x="1117466" y="257282"/>
                    </a:lnTo>
                    <a:lnTo>
                      <a:pt x="1117466" y="255767"/>
                    </a:lnTo>
                    <a:lnTo>
                      <a:pt x="1117920" y="253797"/>
                    </a:lnTo>
                    <a:lnTo>
                      <a:pt x="1119133" y="251676"/>
                    </a:lnTo>
                    <a:lnTo>
                      <a:pt x="1122314" y="248039"/>
                    </a:lnTo>
                    <a:lnTo>
                      <a:pt x="1122011" y="245463"/>
                    </a:lnTo>
                    <a:lnTo>
                      <a:pt x="1119739" y="236069"/>
                    </a:lnTo>
                    <a:lnTo>
                      <a:pt x="1118829" y="233493"/>
                    </a:lnTo>
                    <a:lnTo>
                      <a:pt x="1117163" y="228645"/>
                    </a:lnTo>
                    <a:lnTo>
                      <a:pt x="1117314" y="226675"/>
                    </a:lnTo>
                    <a:lnTo>
                      <a:pt x="1118678" y="221372"/>
                    </a:lnTo>
                    <a:lnTo>
                      <a:pt x="1119890" y="219250"/>
                    </a:lnTo>
                    <a:lnTo>
                      <a:pt x="1121708" y="218796"/>
                    </a:lnTo>
                    <a:lnTo>
                      <a:pt x="1122618" y="218038"/>
                    </a:lnTo>
                    <a:lnTo>
                      <a:pt x="1122921" y="217129"/>
                    </a:lnTo>
                    <a:lnTo>
                      <a:pt x="1121708" y="215917"/>
                    </a:lnTo>
                    <a:lnTo>
                      <a:pt x="1121254" y="214402"/>
                    </a:lnTo>
                    <a:lnTo>
                      <a:pt x="1120799" y="212281"/>
                    </a:lnTo>
                    <a:lnTo>
                      <a:pt x="1119133" y="211523"/>
                    </a:lnTo>
                    <a:lnTo>
                      <a:pt x="1118223" y="209705"/>
                    </a:lnTo>
                    <a:lnTo>
                      <a:pt x="1118223" y="207129"/>
                    </a:lnTo>
                    <a:lnTo>
                      <a:pt x="1119739" y="203795"/>
                    </a:lnTo>
                    <a:lnTo>
                      <a:pt x="1121405" y="202886"/>
                    </a:lnTo>
                    <a:lnTo>
                      <a:pt x="1122011" y="201371"/>
                    </a:lnTo>
                    <a:lnTo>
                      <a:pt x="1123830" y="200007"/>
                    </a:lnTo>
                    <a:lnTo>
                      <a:pt x="1125496" y="198947"/>
                    </a:lnTo>
                    <a:lnTo>
                      <a:pt x="1126860" y="196977"/>
                    </a:lnTo>
                    <a:lnTo>
                      <a:pt x="1132466" y="194553"/>
                    </a:lnTo>
                    <a:lnTo>
                      <a:pt x="1136860" y="192734"/>
                    </a:lnTo>
                    <a:lnTo>
                      <a:pt x="1145497" y="189098"/>
                    </a:lnTo>
                    <a:lnTo>
                      <a:pt x="1151406" y="186674"/>
                    </a:lnTo>
                    <a:lnTo>
                      <a:pt x="1152013" y="185007"/>
                    </a:lnTo>
                    <a:lnTo>
                      <a:pt x="1152467" y="183795"/>
                    </a:lnTo>
                    <a:lnTo>
                      <a:pt x="1155194" y="175158"/>
                    </a:lnTo>
                    <a:lnTo>
                      <a:pt x="1158680" y="163945"/>
                    </a:lnTo>
                    <a:lnTo>
                      <a:pt x="1160952" y="156975"/>
                    </a:lnTo>
                    <a:lnTo>
                      <a:pt x="1155801" y="151824"/>
                    </a:lnTo>
                    <a:lnTo>
                      <a:pt x="1151103" y="151975"/>
                    </a:lnTo>
                    <a:close/>
                    <a:moveTo>
                      <a:pt x="1158073" y="1194438"/>
                    </a:moveTo>
                    <a:lnTo>
                      <a:pt x="1154285" y="1191104"/>
                    </a:lnTo>
                    <a:lnTo>
                      <a:pt x="1149437" y="1190801"/>
                    </a:lnTo>
                    <a:lnTo>
                      <a:pt x="1137163" y="1189286"/>
                    </a:lnTo>
                    <a:lnTo>
                      <a:pt x="1130800" y="1189286"/>
                    </a:lnTo>
                    <a:lnTo>
                      <a:pt x="1125496" y="1191256"/>
                    </a:lnTo>
                    <a:lnTo>
                      <a:pt x="1128981" y="1194741"/>
                    </a:lnTo>
                    <a:lnTo>
                      <a:pt x="1130042" y="1198529"/>
                    </a:lnTo>
                    <a:lnTo>
                      <a:pt x="1130951" y="1199892"/>
                    </a:lnTo>
                    <a:lnTo>
                      <a:pt x="1131709" y="1200499"/>
                    </a:lnTo>
                    <a:lnTo>
                      <a:pt x="1140042" y="1202014"/>
                    </a:lnTo>
                    <a:lnTo>
                      <a:pt x="1140951" y="1201862"/>
                    </a:lnTo>
                    <a:lnTo>
                      <a:pt x="1142164" y="1201408"/>
                    </a:lnTo>
                    <a:lnTo>
                      <a:pt x="1145043" y="1199438"/>
                    </a:lnTo>
                    <a:lnTo>
                      <a:pt x="1146406" y="1198983"/>
                    </a:lnTo>
                    <a:lnTo>
                      <a:pt x="1147467" y="1198983"/>
                    </a:lnTo>
                    <a:lnTo>
                      <a:pt x="1148376" y="1199135"/>
                    </a:lnTo>
                    <a:lnTo>
                      <a:pt x="1148982" y="1199892"/>
                    </a:lnTo>
                    <a:lnTo>
                      <a:pt x="1149285" y="1201256"/>
                    </a:lnTo>
                    <a:lnTo>
                      <a:pt x="1150043" y="1202620"/>
                    </a:lnTo>
                    <a:lnTo>
                      <a:pt x="1151709" y="1203377"/>
                    </a:lnTo>
                    <a:lnTo>
                      <a:pt x="1153982" y="1202923"/>
                    </a:lnTo>
                    <a:lnTo>
                      <a:pt x="1156255" y="1201408"/>
                    </a:lnTo>
                    <a:lnTo>
                      <a:pt x="1157922" y="1199438"/>
                    </a:lnTo>
                    <a:lnTo>
                      <a:pt x="1158680" y="1197922"/>
                    </a:lnTo>
                    <a:lnTo>
                      <a:pt x="1158528" y="1196407"/>
                    </a:lnTo>
                    <a:lnTo>
                      <a:pt x="1158073" y="1194438"/>
                    </a:lnTo>
                    <a:close/>
                    <a:moveTo>
                      <a:pt x="943823" y="1059433"/>
                    </a:moveTo>
                    <a:lnTo>
                      <a:pt x="946096" y="1059584"/>
                    </a:lnTo>
                    <a:lnTo>
                      <a:pt x="947611" y="1058827"/>
                    </a:lnTo>
                    <a:lnTo>
                      <a:pt x="949429" y="1057160"/>
                    </a:lnTo>
                    <a:lnTo>
                      <a:pt x="950490" y="1057311"/>
                    </a:lnTo>
                    <a:lnTo>
                      <a:pt x="952460" y="1058220"/>
                    </a:lnTo>
                    <a:lnTo>
                      <a:pt x="953217" y="1057918"/>
                    </a:lnTo>
                    <a:lnTo>
                      <a:pt x="954126" y="1057008"/>
                    </a:lnTo>
                    <a:lnTo>
                      <a:pt x="954126" y="1053978"/>
                    </a:lnTo>
                    <a:lnTo>
                      <a:pt x="953823" y="1052766"/>
                    </a:lnTo>
                    <a:lnTo>
                      <a:pt x="952763" y="1051402"/>
                    </a:lnTo>
                    <a:lnTo>
                      <a:pt x="949278" y="1051402"/>
                    </a:lnTo>
                    <a:lnTo>
                      <a:pt x="945338" y="1053978"/>
                    </a:lnTo>
                    <a:lnTo>
                      <a:pt x="940944" y="1055341"/>
                    </a:lnTo>
                    <a:lnTo>
                      <a:pt x="937914" y="1053978"/>
                    </a:lnTo>
                    <a:lnTo>
                      <a:pt x="936398" y="1057766"/>
                    </a:lnTo>
                    <a:lnTo>
                      <a:pt x="935641" y="1060342"/>
                    </a:lnTo>
                    <a:lnTo>
                      <a:pt x="933974" y="1064130"/>
                    </a:lnTo>
                    <a:lnTo>
                      <a:pt x="934277" y="1066706"/>
                    </a:lnTo>
                    <a:lnTo>
                      <a:pt x="936853" y="1064584"/>
                    </a:lnTo>
                    <a:lnTo>
                      <a:pt x="938065" y="1063069"/>
                    </a:lnTo>
                    <a:lnTo>
                      <a:pt x="940793" y="1058524"/>
                    </a:lnTo>
                    <a:lnTo>
                      <a:pt x="943823" y="1059433"/>
                    </a:lnTo>
                    <a:close/>
                    <a:moveTo>
                      <a:pt x="951248" y="1086100"/>
                    </a:moveTo>
                    <a:lnTo>
                      <a:pt x="954884" y="1079888"/>
                    </a:lnTo>
                    <a:lnTo>
                      <a:pt x="954732" y="1078979"/>
                    </a:lnTo>
                    <a:lnTo>
                      <a:pt x="951702" y="1075342"/>
                    </a:lnTo>
                    <a:lnTo>
                      <a:pt x="948975" y="1074888"/>
                    </a:lnTo>
                    <a:lnTo>
                      <a:pt x="948065" y="1073827"/>
                    </a:lnTo>
                    <a:lnTo>
                      <a:pt x="946853" y="1066706"/>
                    </a:lnTo>
                    <a:lnTo>
                      <a:pt x="944429" y="1067463"/>
                    </a:lnTo>
                    <a:lnTo>
                      <a:pt x="944277" y="1070645"/>
                    </a:lnTo>
                    <a:lnTo>
                      <a:pt x="941702" y="1070191"/>
                    </a:lnTo>
                    <a:lnTo>
                      <a:pt x="938974" y="1072615"/>
                    </a:lnTo>
                    <a:lnTo>
                      <a:pt x="940489" y="1076858"/>
                    </a:lnTo>
                    <a:lnTo>
                      <a:pt x="941399" y="1081706"/>
                    </a:lnTo>
                    <a:lnTo>
                      <a:pt x="944126" y="1085949"/>
                    </a:lnTo>
                    <a:lnTo>
                      <a:pt x="945944" y="1090343"/>
                    </a:lnTo>
                    <a:lnTo>
                      <a:pt x="950187" y="1090646"/>
                    </a:lnTo>
                    <a:lnTo>
                      <a:pt x="951248" y="1086100"/>
                    </a:lnTo>
                    <a:close/>
                    <a:moveTo>
                      <a:pt x="980036" y="1125496"/>
                    </a:moveTo>
                    <a:lnTo>
                      <a:pt x="980643" y="1126405"/>
                    </a:lnTo>
                    <a:lnTo>
                      <a:pt x="980945" y="1128223"/>
                    </a:lnTo>
                    <a:lnTo>
                      <a:pt x="981400" y="1128526"/>
                    </a:lnTo>
                    <a:lnTo>
                      <a:pt x="983218" y="1128981"/>
                    </a:lnTo>
                    <a:lnTo>
                      <a:pt x="985794" y="1129132"/>
                    </a:lnTo>
                    <a:lnTo>
                      <a:pt x="990794" y="1130496"/>
                    </a:lnTo>
                    <a:lnTo>
                      <a:pt x="993219" y="1130344"/>
                    </a:lnTo>
                    <a:lnTo>
                      <a:pt x="993067" y="1129890"/>
                    </a:lnTo>
                    <a:lnTo>
                      <a:pt x="988673" y="1126859"/>
                    </a:lnTo>
                    <a:lnTo>
                      <a:pt x="988521" y="1126405"/>
                    </a:lnTo>
                    <a:lnTo>
                      <a:pt x="984733" y="1122617"/>
                    </a:lnTo>
                    <a:lnTo>
                      <a:pt x="983218" y="1122465"/>
                    </a:lnTo>
                    <a:lnTo>
                      <a:pt x="982006" y="1121859"/>
                    </a:lnTo>
                    <a:lnTo>
                      <a:pt x="979127" y="1119738"/>
                    </a:lnTo>
                    <a:lnTo>
                      <a:pt x="975642" y="1119283"/>
                    </a:lnTo>
                    <a:lnTo>
                      <a:pt x="972915" y="1117617"/>
                    </a:lnTo>
                    <a:lnTo>
                      <a:pt x="967763" y="1115950"/>
                    </a:lnTo>
                    <a:lnTo>
                      <a:pt x="962005" y="1115192"/>
                    </a:lnTo>
                    <a:lnTo>
                      <a:pt x="960490" y="1114586"/>
                    </a:lnTo>
                    <a:lnTo>
                      <a:pt x="959430" y="1114738"/>
                    </a:lnTo>
                    <a:lnTo>
                      <a:pt x="958975" y="1114434"/>
                    </a:lnTo>
                    <a:lnTo>
                      <a:pt x="957914" y="1112162"/>
                    </a:lnTo>
                    <a:lnTo>
                      <a:pt x="956551" y="1111253"/>
                    </a:lnTo>
                    <a:lnTo>
                      <a:pt x="953823" y="1108828"/>
                    </a:lnTo>
                    <a:lnTo>
                      <a:pt x="951096" y="1107465"/>
                    </a:lnTo>
                    <a:lnTo>
                      <a:pt x="949884" y="1108071"/>
                    </a:lnTo>
                    <a:lnTo>
                      <a:pt x="949884" y="1108828"/>
                    </a:lnTo>
                    <a:lnTo>
                      <a:pt x="952460" y="1111253"/>
                    </a:lnTo>
                    <a:lnTo>
                      <a:pt x="954126" y="1114434"/>
                    </a:lnTo>
                    <a:lnTo>
                      <a:pt x="958066" y="1117162"/>
                    </a:lnTo>
                    <a:lnTo>
                      <a:pt x="962005" y="1120344"/>
                    </a:lnTo>
                    <a:lnTo>
                      <a:pt x="962914" y="1120192"/>
                    </a:lnTo>
                    <a:lnTo>
                      <a:pt x="965642" y="1120647"/>
                    </a:lnTo>
                    <a:lnTo>
                      <a:pt x="969581" y="1120041"/>
                    </a:lnTo>
                    <a:lnTo>
                      <a:pt x="973067" y="1120799"/>
                    </a:lnTo>
                    <a:lnTo>
                      <a:pt x="975036" y="1121708"/>
                    </a:lnTo>
                    <a:lnTo>
                      <a:pt x="980036" y="1125496"/>
                    </a:lnTo>
                    <a:close/>
                    <a:moveTo>
                      <a:pt x="936550" y="1028825"/>
                    </a:moveTo>
                    <a:lnTo>
                      <a:pt x="937762" y="1027916"/>
                    </a:lnTo>
                    <a:lnTo>
                      <a:pt x="938974" y="1026401"/>
                    </a:lnTo>
                    <a:lnTo>
                      <a:pt x="937914" y="1025946"/>
                    </a:lnTo>
                    <a:lnTo>
                      <a:pt x="933822" y="1025492"/>
                    </a:lnTo>
                    <a:lnTo>
                      <a:pt x="930489" y="1025341"/>
                    </a:lnTo>
                    <a:lnTo>
                      <a:pt x="930641" y="1027159"/>
                    </a:lnTo>
                    <a:lnTo>
                      <a:pt x="930034" y="1029432"/>
                    </a:lnTo>
                    <a:lnTo>
                      <a:pt x="929125" y="1031553"/>
                    </a:lnTo>
                    <a:lnTo>
                      <a:pt x="929732" y="1032613"/>
                    </a:lnTo>
                    <a:lnTo>
                      <a:pt x="930186" y="1034735"/>
                    </a:lnTo>
                    <a:lnTo>
                      <a:pt x="930944" y="1035644"/>
                    </a:lnTo>
                    <a:lnTo>
                      <a:pt x="933217" y="1035947"/>
                    </a:lnTo>
                    <a:lnTo>
                      <a:pt x="933974" y="1032613"/>
                    </a:lnTo>
                    <a:lnTo>
                      <a:pt x="934277" y="1029583"/>
                    </a:lnTo>
                    <a:lnTo>
                      <a:pt x="936550" y="1028825"/>
                    </a:lnTo>
                    <a:close/>
                    <a:moveTo>
                      <a:pt x="1030796" y="1162921"/>
                    </a:moveTo>
                    <a:lnTo>
                      <a:pt x="1033220" y="1162770"/>
                    </a:lnTo>
                    <a:lnTo>
                      <a:pt x="1036251" y="1163527"/>
                    </a:lnTo>
                    <a:lnTo>
                      <a:pt x="1038523" y="1162921"/>
                    </a:lnTo>
                    <a:lnTo>
                      <a:pt x="1043069" y="1165952"/>
                    </a:lnTo>
                    <a:lnTo>
                      <a:pt x="1047463" y="1168225"/>
                    </a:lnTo>
                    <a:lnTo>
                      <a:pt x="1048221" y="1167922"/>
                    </a:lnTo>
                    <a:lnTo>
                      <a:pt x="1049130" y="1166103"/>
                    </a:lnTo>
                    <a:lnTo>
                      <a:pt x="1050645" y="1164739"/>
                    </a:lnTo>
                    <a:lnTo>
                      <a:pt x="1051251" y="1163376"/>
                    </a:lnTo>
                    <a:lnTo>
                      <a:pt x="1050797" y="1160194"/>
                    </a:lnTo>
                    <a:lnTo>
                      <a:pt x="1050797" y="1158376"/>
                    </a:lnTo>
                    <a:lnTo>
                      <a:pt x="1046705" y="1158376"/>
                    </a:lnTo>
                    <a:lnTo>
                      <a:pt x="1040645" y="1155345"/>
                    </a:lnTo>
                    <a:lnTo>
                      <a:pt x="1036099" y="1152466"/>
                    </a:lnTo>
                    <a:lnTo>
                      <a:pt x="1032008" y="1151254"/>
                    </a:lnTo>
                    <a:lnTo>
                      <a:pt x="1023977" y="1149739"/>
                    </a:lnTo>
                    <a:lnTo>
                      <a:pt x="1022008" y="1151103"/>
                    </a:lnTo>
                    <a:lnTo>
                      <a:pt x="1019886" y="1151709"/>
                    </a:lnTo>
                    <a:lnTo>
                      <a:pt x="1018068" y="1155800"/>
                    </a:lnTo>
                    <a:lnTo>
                      <a:pt x="1021250" y="1158527"/>
                    </a:lnTo>
                    <a:lnTo>
                      <a:pt x="1024584" y="1161861"/>
                    </a:lnTo>
                    <a:lnTo>
                      <a:pt x="1025189" y="1165346"/>
                    </a:lnTo>
                    <a:lnTo>
                      <a:pt x="1028826" y="1164437"/>
                    </a:lnTo>
                    <a:lnTo>
                      <a:pt x="1030796" y="1162921"/>
                    </a:lnTo>
                    <a:close/>
                    <a:moveTo>
                      <a:pt x="957914" y="1074585"/>
                    </a:moveTo>
                    <a:lnTo>
                      <a:pt x="960187" y="1076554"/>
                    </a:lnTo>
                    <a:lnTo>
                      <a:pt x="961702" y="1077312"/>
                    </a:lnTo>
                    <a:lnTo>
                      <a:pt x="964733" y="1078221"/>
                    </a:lnTo>
                    <a:lnTo>
                      <a:pt x="965491" y="1077767"/>
                    </a:lnTo>
                    <a:lnTo>
                      <a:pt x="966096" y="1077009"/>
                    </a:lnTo>
                    <a:lnTo>
                      <a:pt x="966248" y="1076251"/>
                    </a:lnTo>
                    <a:lnTo>
                      <a:pt x="965793" y="1075645"/>
                    </a:lnTo>
                    <a:lnTo>
                      <a:pt x="961854" y="1073524"/>
                    </a:lnTo>
                    <a:lnTo>
                      <a:pt x="960490" y="1072009"/>
                    </a:lnTo>
                    <a:lnTo>
                      <a:pt x="959430" y="1071251"/>
                    </a:lnTo>
                    <a:lnTo>
                      <a:pt x="957005" y="1070342"/>
                    </a:lnTo>
                    <a:lnTo>
                      <a:pt x="956399" y="1070342"/>
                    </a:lnTo>
                    <a:lnTo>
                      <a:pt x="957460" y="1072766"/>
                    </a:lnTo>
                    <a:lnTo>
                      <a:pt x="957914" y="1074585"/>
                    </a:lnTo>
                    <a:close/>
                    <a:moveTo>
                      <a:pt x="1064282" y="1188983"/>
                    </a:moveTo>
                    <a:lnTo>
                      <a:pt x="1062009" y="1189892"/>
                    </a:lnTo>
                    <a:lnTo>
                      <a:pt x="1058373" y="1190195"/>
                    </a:lnTo>
                    <a:lnTo>
                      <a:pt x="1056858" y="1190801"/>
                    </a:lnTo>
                    <a:lnTo>
                      <a:pt x="1053524" y="1189892"/>
                    </a:lnTo>
                    <a:lnTo>
                      <a:pt x="1053070" y="1189437"/>
                    </a:lnTo>
                    <a:lnTo>
                      <a:pt x="1051857" y="1187013"/>
                    </a:lnTo>
                    <a:lnTo>
                      <a:pt x="1049130" y="1187013"/>
                    </a:lnTo>
                    <a:lnTo>
                      <a:pt x="1046099" y="1186104"/>
                    </a:lnTo>
                    <a:lnTo>
                      <a:pt x="1041251" y="1185801"/>
                    </a:lnTo>
                    <a:lnTo>
                      <a:pt x="1040190" y="1185952"/>
                    </a:lnTo>
                    <a:lnTo>
                      <a:pt x="1039432" y="1187922"/>
                    </a:lnTo>
                    <a:lnTo>
                      <a:pt x="1039736" y="1188831"/>
                    </a:lnTo>
                    <a:lnTo>
                      <a:pt x="1040342" y="1189437"/>
                    </a:lnTo>
                    <a:lnTo>
                      <a:pt x="1040796" y="1189589"/>
                    </a:lnTo>
                    <a:lnTo>
                      <a:pt x="1042463" y="1188831"/>
                    </a:lnTo>
                    <a:lnTo>
                      <a:pt x="1043221" y="1188074"/>
                    </a:lnTo>
                    <a:lnTo>
                      <a:pt x="1043978" y="1187922"/>
                    </a:lnTo>
                    <a:lnTo>
                      <a:pt x="1045948" y="1188225"/>
                    </a:lnTo>
                    <a:lnTo>
                      <a:pt x="1048221" y="1189892"/>
                    </a:lnTo>
                    <a:lnTo>
                      <a:pt x="1051706" y="1191862"/>
                    </a:lnTo>
                    <a:lnTo>
                      <a:pt x="1052312" y="1192468"/>
                    </a:lnTo>
                    <a:lnTo>
                      <a:pt x="1052463" y="1193680"/>
                    </a:lnTo>
                    <a:lnTo>
                      <a:pt x="1053070" y="1194589"/>
                    </a:lnTo>
                    <a:lnTo>
                      <a:pt x="1056403" y="1195347"/>
                    </a:lnTo>
                    <a:lnTo>
                      <a:pt x="1058373" y="1196256"/>
                    </a:lnTo>
                    <a:lnTo>
                      <a:pt x="1059282" y="1196407"/>
                    </a:lnTo>
                    <a:lnTo>
                      <a:pt x="1061252" y="1195498"/>
                    </a:lnTo>
                    <a:lnTo>
                      <a:pt x="1062464" y="1195347"/>
                    </a:lnTo>
                    <a:lnTo>
                      <a:pt x="1063676" y="1196559"/>
                    </a:lnTo>
                    <a:lnTo>
                      <a:pt x="1063979" y="1197468"/>
                    </a:lnTo>
                    <a:lnTo>
                      <a:pt x="1063827" y="1198529"/>
                    </a:lnTo>
                    <a:lnTo>
                      <a:pt x="1065646" y="1199135"/>
                    </a:lnTo>
                    <a:lnTo>
                      <a:pt x="1067615" y="1198680"/>
                    </a:lnTo>
                    <a:lnTo>
                      <a:pt x="1070494" y="1196711"/>
                    </a:lnTo>
                    <a:lnTo>
                      <a:pt x="1070949" y="1194892"/>
                    </a:lnTo>
                    <a:lnTo>
                      <a:pt x="1067312" y="1188983"/>
                    </a:lnTo>
                    <a:lnTo>
                      <a:pt x="1064282" y="1188983"/>
                    </a:lnTo>
                    <a:close/>
                    <a:moveTo>
                      <a:pt x="1015795" y="1143981"/>
                    </a:moveTo>
                    <a:lnTo>
                      <a:pt x="1013977" y="1142618"/>
                    </a:lnTo>
                    <a:lnTo>
                      <a:pt x="1011553" y="1139284"/>
                    </a:lnTo>
                    <a:lnTo>
                      <a:pt x="1010947" y="1138830"/>
                    </a:lnTo>
                    <a:lnTo>
                      <a:pt x="1005340" y="1137769"/>
                    </a:lnTo>
                    <a:lnTo>
                      <a:pt x="1002007" y="1138072"/>
                    </a:lnTo>
                    <a:lnTo>
                      <a:pt x="1000037" y="1138527"/>
                    </a:lnTo>
                    <a:lnTo>
                      <a:pt x="999583" y="1137920"/>
                    </a:lnTo>
                    <a:lnTo>
                      <a:pt x="998825" y="1134890"/>
                    </a:lnTo>
                    <a:lnTo>
                      <a:pt x="998219" y="1133375"/>
                    </a:lnTo>
                    <a:lnTo>
                      <a:pt x="997613" y="1132617"/>
                    </a:lnTo>
                    <a:lnTo>
                      <a:pt x="996249" y="1132314"/>
                    </a:lnTo>
                    <a:lnTo>
                      <a:pt x="995340" y="1131556"/>
                    </a:lnTo>
                    <a:lnTo>
                      <a:pt x="994734" y="1131708"/>
                    </a:lnTo>
                    <a:lnTo>
                      <a:pt x="993673" y="1132769"/>
                    </a:lnTo>
                    <a:lnTo>
                      <a:pt x="993522" y="1133678"/>
                    </a:lnTo>
                    <a:lnTo>
                      <a:pt x="993976" y="1136102"/>
                    </a:lnTo>
                    <a:lnTo>
                      <a:pt x="986703" y="1134587"/>
                    </a:lnTo>
                    <a:lnTo>
                      <a:pt x="984431" y="1132314"/>
                    </a:lnTo>
                    <a:lnTo>
                      <a:pt x="977915" y="1132920"/>
                    </a:lnTo>
                    <a:lnTo>
                      <a:pt x="973521" y="1137314"/>
                    </a:lnTo>
                    <a:lnTo>
                      <a:pt x="979127" y="1138223"/>
                    </a:lnTo>
                    <a:lnTo>
                      <a:pt x="980794" y="1141406"/>
                    </a:lnTo>
                    <a:lnTo>
                      <a:pt x="983824" y="1144436"/>
                    </a:lnTo>
                    <a:lnTo>
                      <a:pt x="986855" y="1143981"/>
                    </a:lnTo>
                    <a:lnTo>
                      <a:pt x="987764" y="1143981"/>
                    </a:lnTo>
                    <a:lnTo>
                      <a:pt x="988067" y="1144284"/>
                    </a:lnTo>
                    <a:lnTo>
                      <a:pt x="988673" y="1146708"/>
                    </a:lnTo>
                    <a:lnTo>
                      <a:pt x="988673" y="1148375"/>
                    </a:lnTo>
                    <a:lnTo>
                      <a:pt x="988219" y="1151557"/>
                    </a:lnTo>
                    <a:lnTo>
                      <a:pt x="988370" y="1152466"/>
                    </a:lnTo>
                    <a:lnTo>
                      <a:pt x="990946" y="1153982"/>
                    </a:lnTo>
                    <a:lnTo>
                      <a:pt x="993370" y="1154891"/>
                    </a:lnTo>
                    <a:lnTo>
                      <a:pt x="994431" y="1154436"/>
                    </a:lnTo>
                    <a:lnTo>
                      <a:pt x="994734" y="1153679"/>
                    </a:lnTo>
                    <a:lnTo>
                      <a:pt x="994279" y="1151406"/>
                    </a:lnTo>
                    <a:lnTo>
                      <a:pt x="994582" y="1149891"/>
                    </a:lnTo>
                    <a:lnTo>
                      <a:pt x="995492" y="1148375"/>
                    </a:lnTo>
                    <a:lnTo>
                      <a:pt x="997007" y="1149436"/>
                    </a:lnTo>
                    <a:lnTo>
                      <a:pt x="998370" y="1149436"/>
                    </a:lnTo>
                    <a:lnTo>
                      <a:pt x="1000189" y="1148982"/>
                    </a:lnTo>
                    <a:lnTo>
                      <a:pt x="1003068" y="1149587"/>
                    </a:lnTo>
                    <a:lnTo>
                      <a:pt x="1002613" y="1152921"/>
                    </a:lnTo>
                    <a:lnTo>
                      <a:pt x="999886" y="1156103"/>
                    </a:lnTo>
                    <a:lnTo>
                      <a:pt x="997764" y="1157012"/>
                    </a:lnTo>
                    <a:lnTo>
                      <a:pt x="998067" y="1157921"/>
                    </a:lnTo>
                    <a:lnTo>
                      <a:pt x="999128" y="1158830"/>
                    </a:lnTo>
                    <a:lnTo>
                      <a:pt x="1000189" y="1159285"/>
                    </a:lnTo>
                    <a:lnTo>
                      <a:pt x="1001098" y="1159285"/>
                    </a:lnTo>
                    <a:lnTo>
                      <a:pt x="1002461" y="1158527"/>
                    </a:lnTo>
                    <a:lnTo>
                      <a:pt x="1005492" y="1157618"/>
                    </a:lnTo>
                    <a:lnTo>
                      <a:pt x="1008674" y="1157467"/>
                    </a:lnTo>
                    <a:lnTo>
                      <a:pt x="1011250" y="1155800"/>
                    </a:lnTo>
                    <a:lnTo>
                      <a:pt x="1012916" y="1154891"/>
                    </a:lnTo>
                    <a:lnTo>
                      <a:pt x="1013977" y="1153982"/>
                    </a:lnTo>
                    <a:lnTo>
                      <a:pt x="1014129" y="1152466"/>
                    </a:lnTo>
                    <a:lnTo>
                      <a:pt x="1015795" y="1149587"/>
                    </a:lnTo>
                    <a:lnTo>
                      <a:pt x="1018523" y="1147466"/>
                    </a:lnTo>
                    <a:lnTo>
                      <a:pt x="1015795" y="114398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5" name="Freeform: Shape 3314">
                <a:extLst>
                  <a:ext uri="{FF2B5EF4-FFF2-40B4-BE49-F238E27FC236}">
                    <a16:creationId xmlns:a16="http://schemas.microsoft.com/office/drawing/2014/main" id="{993F2C4E-3C74-46C2-92F1-B8FD7DE1A455}"/>
                  </a:ext>
                </a:extLst>
              </p:cNvPr>
              <p:cNvSpPr/>
              <p:nvPr/>
            </p:nvSpPr>
            <p:spPr>
              <a:xfrm>
                <a:off x="1403704" y="5146711"/>
                <a:ext cx="3030" cy="1818"/>
              </a:xfrm>
              <a:custGeom>
                <a:avLst/>
                <a:gdLst>
                  <a:gd name="connsiteX0" fmla="*/ 2879 w 3030"/>
                  <a:gd name="connsiteY0" fmla="*/ 606 h 1818"/>
                  <a:gd name="connsiteX1" fmla="*/ 2121 w 3030"/>
                  <a:gd name="connsiteY1" fmla="*/ 0 h 1818"/>
                  <a:gd name="connsiteX2" fmla="*/ 909 w 3030"/>
                  <a:gd name="connsiteY2" fmla="*/ 0 h 1818"/>
                  <a:gd name="connsiteX3" fmla="*/ 303 w 3030"/>
                  <a:gd name="connsiteY3" fmla="*/ 455 h 1818"/>
                  <a:gd name="connsiteX4" fmla="*/ 0 w 3030"/>
                  <a:gd name="connsiteY4" fmla="*/ 1212 h 1818"/>
                  <a:gd name="connsiteX5" fmla="*/ 152 w 3030"/>
                  <a:gd name="connsiteY5" fmla="*/ 1515 h 1818"/>
                  <a:gd name="connsiteX6" fmla="*/ 909 w 3030"/>
                  <a:gd name="connsiteY6" fmla="*/ 1515 h 1818"/>
                  <a:gd name="connsiteX7" fmla="*/ 1970 w 3030"/>
                  <a:gd name="connsiteY7" fmla="*/ 1818 h 1818"/>
                  <a:gd name="connsiteX8" fmla="*/ 2879 w 3030"/>
                  <a:gd name="connsiteY8" fmla="*/ 1818 h 1818"/>
                  <a:gd name="connsiteX9" fmla="*/ 3030 w 3030"/>
                  <a:gd name="connsiteY9" fmla="*/ 1515 h 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 h="1818">
                    <a:moveTo>
                      <a:pt x="2879" y="606"/>
                    </a:moveTo>
                    <a:lnTo>
                      <a:pt x="2121" y="0"/>
                    </a:lnTo>
                    <a:lnTo>
                      <a:pt x="909" y="0"/>
                    </a:lnTo>
                    <a:lnTo>
                      <a:pt x="303" y="455"/>
                    </a:lnTo>
                    <a:lnTo>
                      <a:pt x="0" y="1212"/>
                    </a:lnTo>
                    <a:lnTo>
                      <a:pt x="152" y="1515"/>
                    </a:lnTo>
                    <a:lnTo>
                      <a:pt x="909" y="1515"/>
                    </a:lnTo>
                    <a:lnTo>
                      <a:pt x="1970" y="1818"/>
                    </a:lnTo>
                    <a:lnTo>
                      <a:pt x="2879" y="1818"/>
                    </a:lnTo>
                    <a:lnTo>
                      <a:pt x="3030" y="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6" name="Freeform: Shape 3315">
                <a:extLst>
                  <a:ext uri="{FF2B5EF4-FFF2-40B4-BE49-F238E27FC236}">
                    <a16:creationId xmlns:a16="http://schemas.microsoft.com/office/drawing/2014/main" id="{797EA3A3-86E7-4AFB-87C4-24773F9BDDFA}"/>
                  </a:ext>
                </a:extLst>
              </p:cNvPr>
              <p:cNvSpPr/>
              <p:nvPr/>
            </p:nvSpPr>
            <p:spPr>
              <a:xfrm>
                <a:off x="5541585" y="4269255"/>
                <a:ext cx="167127" cy="174400"/>
              </a:xfrm>
              <a:custGeom>
                <a:avLst/>
                <a:gdLst>
                  <a:gd name="connsiteX0" fmla="*/ 146824 w 167127"/>
                  <a:gd name="connsiteY0" fmla="*/ 153642 h 174400"/>
                  <a:gd name="connsiteX1" fmla="*/ 150460 w 167127"/>
                  <a:gd name="connsiteY1" fmla="*/ 154400 h 174400"/>
                  <a:gd name="connsiteX2" fmla="*/ 151218 w 167127"/>
                  <a:gd name="connsiteY2" fmla="*/ 153339 h 174400"/>
                  <a:gd name="connsiteX3" fmla="*/ 147733 w 167127"/>
                  <a:gd name="connsiteY3" fmla="*/ 152885 h 174400"/>
                  <a:gd name="connsiteX4" fmla="*/ 146824 w 167127"/>
                  <a:gd name="connsiteY4" fmla="*/ 153642 h 174400"/>
                  <a:gd name="connsiteX5" fmla="*/ 165612 w 167127"/>
                  <a:gd name="connsiteY5" fmla="*/ 61366 h 174400"/>
                  <a:gd name="connsiteX6" fmla="*/ 164551 w 167127"/>
                  <a:gd name="connsiteY6" fmla="*/ 53638 h 174400"/>
                  <a:gd name="connsiteX7" fmla="*/ 164551 w 167127"/>
                  <a:gd name="connsiteY7" fmla="*/ 53032 h 174400"/>
                  <a:gd name="connsiteX8" fmla="*/ 163946 w 167127"/>
                  <a:gd name="connsiteY8" fmla="*/ 51972 h 174400"/>
                  <a:gd name="connsiteX9" fmla="*/ 163339 w 167127"/>
                  <a:gd name="connsiteY9" fmla="*/ 48790 h 174400"/>
                  <a:gd name="connsiteX10" fmla="*/ 162279 w 167127"/>
                  <a:gd name="connsiteY10" fmla="*/ 46972 h 174400"/>
                  <a:gd name="connsiteX11" fmla="*/ 160763 w 167127"/>
                  <a:gd name="connsiteY11" fmla="*/ 46366 h 174400"/>
                  <a:gd name="connsiteX12" fmla="*/ 160763 w 167127"/>
                  <a:gd name="connsiteY12" fmla="*/ 44547 h 174400"/>
                  <a:gd name="connsiteX13" fmla="*/ 162279 w 167127"/>
                  <a:gd name="connsiteY13" fmla="*/ 41517 h 174400"/>
                  <a:gd name="connsiteX14" fmla="*/ 162733 w 167127"/>
                  <a:gd name="connsiteY14" fmla="*/ 39699 h 174400"/>
                  <a:gd name="connsiteX15" fmla="*/ 161976 w 167127"/>
                  <a:gd name="connsiteY15" fmla="*/ 39244 h 174400"/>
                  <a:gd name="connsiteX16" fmla="*/ 161824 w 167127"/>
                  <a:gd name="connsiteY16" fmla="*/ 37880 h 174400"/>
                  <a:gd name="connsiteX17" fmla="*/ 162430 w 167127"/>
                  <a:gd name="connsiteY17" fmla="*/ 35607 h 174400"/>
                  <a:gd name="connsiteX18" fmla="*/ 162127 w 167127"/>
                  <a:gd name="connsiteY18" fmla="*/ 34244 h 174400"/>
                  <a:gd name="connsiteX19" fmla="*/ 161521 w 167127"/>
                  <a:gd name="connsiteY19" fmla="*/ 34850 h 174400"/>
                  <a:gd name="connsiteX20" fmla="*/ 160158 w 167127"/>
                  <a:gd name="connsiteY20" fmla="*/ 35759 h 174400"/>
                  <a:gd name="connsiteX21" fmla="*/ 158794 w 167127"/>
                  <a:gd name="connsiteY21" fmla="*/ 35759 h 174400"/>
                  <a:gd name="connsiteX22" fmla="*/ 157127 w 167127"/>
                  <a:gd name="connsiteY22" fmla="*/ 33638 h 174400"/>
                  <a:gd name="connsiteX23" fmla="*/ 156370 w 167127"/>
                  <a:gd name="connsiteY23" fmla="*/ 32729 h 174400"/>
                  <a:gd name="connsiteX24" fmla="*/ 155006 w 167127"/>
                  <a:gd name="connsiteY24" fmla="*/ 30607 h 174400"/>
                  <a:gd name="connsiteX25" fmla="*/ 153945 w 167127"/>
                  <a:gd name="connsiteY25" fmla="*/ 28486 h 174400"/>
                  <a:gd name="connsiteX26" fmla="*/ 152430 w 167127"/>
                  <a:gd name="connsiteY26" fmla="*/ 27577 h 174400"/>
                  <a:gd name="connsiteX27" fmla="*/ 150915 w 167127"/>
                  <a:gd name="connsiteY27" fmla="*/ 26668 h 174400"/>
                  <a:gd name="connsiteX28" fmla="*/ 149096 w 167127"/>
                  <a:gd name="connsiteY28" fmla="*/ 23940 h 174400"/>
                  <a:gd name="connsiteX29" fmla="*/ 147430 w 167127"/>
                  <a:gd name="connsiteY29" fmla="*/ 22728 h 174400"/>
                  <a:gd name="connsiteX30" fmla="*/ 145611 w 167127"/>
                  <a:gd name="connsiteY30" fmla="*/ 23031 h 174400"/>
                  <a:gd name="connsiteX31" fmla="*/ 143036 w 167127"/>
                  <a:gd name="connsiteY31" fmla="*/ 22577 h 174400"/>
                  <a:gd name="connsiteX32" fmla="*/ 137732 w 167127"/>
                  <a:gd name="connsiteY32" fmla="*/ 21971 h 174400"/>
                  <a:gd name="connsiteX33" fmla="*/ 131974 w 167127"/>
                  <a:gd name="connsiteY33" fmla="*/ 22122 h 174400"/>
                  <a:gd name="connsiteX34" fmla="*/ 129550 w 167127"/>
                  <a:gd name="connsiteY34" fmla="*/ 22728 h 174400"/>
                  <a:gd name="connsiteX35" fmla="*/ 127126 w 167127"/>
                  <a:gd name="connsiteY35" fmla="*/ 23637 h 174400"/>
                  <a:gd name="connsiteX36" fmla="*/ 121217 w 167127"/>
                  <a:gd name="connsiteY36" fmla="*/ 25759 h 174400"/>
                  <a:gd name="connsiteX37" fmla="*/ 118792 w 167127"/>
                  <a:gd name="connsiteY37" fmla="*/ 26819 h 174400"/>
                  <a:gd name="connsiteX38" fmla="*/ 116974 w 167127"/>
                  <a:gd name="connsiteY38" fmla="*/ 29547 h 174400"/>
                  <a:gd name="connsiteX39" fmla="*/ 115004 w 167127"/>
                  <a:gd name="connsiteY39" fmla="*/ 29547 h 174400"/>
                  <a:gd name="connsiteX40" fmla="*/ 113034 w 167127"/>
                  <a:gd name="connsiteY40" fmla="*/ 28637 h 174400"/>
                  <a:gd name="connsiteX41" fmla="*/ 111822 w 167127"/>
                  <a:gd name="connsiteY41" fmla="*/ 27425 h 174400"/>
                  <a:gd name="connsiteX42" fmla="*/ 109095 w 167127"/>
                  <a:gd name="connsiteY42" fmla="*/ 27728 h 174400"/>
                  <a:gd name="connsiteX43" fmla="*/ 106519 w 167127"/>
                  <a:gd name="connsiteY43" fmla="*/ 26516 h 174400"/>
                  <a:gd name="connsiteX44" fmla="*/ 103943 w 167127"/>
                  <a:gd name="connsiteY44" fmla="*/ 24243 h 174400"/>
                  <a:gd name="connsiteX45" fmla="*/ 102125 w 167127"/>
                  <a:gd name="connsiteY45" fmla="*/ 23486 h 174400"/>
                  <a:gd name="connsiteX46" fmla="*/ 99700 w 167127"/>
                  <a:gd name="connsiteY46" fmla="*/ 21819 h 174400"/>
                  <a:gd name="connsiteX47" fmla="*/ 99095 w 167127"/>
                  <a:gd name="connsiteY47" fmla="*/ 18637 h 174400"/>
                  <a:gd name="connsiteX48" fmla="*/ 97579 w 167127"/>
                  <a:gd name="connsiteY48" fmla="*/ 16364 h 174400"/>
                  <a:gd name="connsiteX49" fmla="*/ 96216 w 167127"/>
                  <a:gd name="connsiteY49" fmla="*/ 13182 h 174400"/>
                  <a:gd name="connsiteX50" fmla="*/ 94094 w 167127"/>
                  <a:gd name="connsiteY50" fmla="*/ 11819 h 174400"/>
                  <a:gd name="connsiteX51" fmla="*/ 91670 w 167127"/>
                  <a:gd name="connsiteY51" fmla="*/ 11061 h 174400"/>
                  <a:gd name="connsiteX52" fmla="*/ 88336 w 167127"/>
                  <a:gd name="connsiteY52" fmla="*/ 11213 h 174400"/>
                  <a:gd name="connsiteX53" fmla="*/ 86215 w 167127"/>
                  <a:gd name="connsiteY53" fmla="*/ 10000 h 174400"/>
                  <a:gd name="connsiteX54" fmla="*/ 84548 w 167127"/>
                  <a:gd name="connsiteY54" fmla="*/ 8182 h 174400"/>
                  <a:gd name="connsiteX55" fmla="*/ 83639 w 167127"/>
                  <a:gd name="connsiteY55" fmla="*/ 7728 h 174400"/>
                  <a:gd name="connsiteX56" fmla="*/ 79851 w 167127"/>
                  <a:gd name="connsiteY56" fmla="*/ 7879 h 174400"/>
                  <a:gd name="connsiteX57" fmla="*/ 75760 w 167127"/>
                  <a:gd name="connsiteY57" fmla="*/ 9091 h 174400"/>
                  <a:gd name="connsiteX58" fmla="*/ 74397 w 167127"/>
                  <a:gd name="connsiteY58" fmla="*/ 10000 h 174400"/>
                  <a:gd name="connsiteX59" fmla="*/ 74093 w 167127"/>
                  <a:gd name="connsiteY59" fmla="*/ 11364 h 174400"/>
                  <a:gd name="connsiteX60" fmla="*/ 73184 w 167127"/>
                  <a:gd name="connsiteY60" fmla="*/ 12273 h 174400"/>
                  <a:gd name="connsiteX61" fmla="*/ 71821 w 167127"/>
                  <a:gd name="connsiteY61" fmla="*/ 13334 h 174400"/>
                  <a:gd name="connsiteX62" fmla="*/ 70609 w 167127"/>
                  <a:gd name="connsiteY62" fmla="*/ 14546 h 174400"/>
                  <a:gd name="connsiteX63" fmla="*/ 68336 w 167127"/>
                  <a:gd name="connsiteY63" fmla="*/ 14395 h 174400"/>
                  <a:gd name="connsiteX64" fmla="*/ 66215 w 167127"/>
                  <a:gd name="connsiteY64" fmla="*/ 13637 h 174400"/>
                  <a:gd name="connsiteX65" fmla="*/ 65154 w 167127"/>
                  <a:gd name="connsiteY65" fmla="*/ 12879 h 174400"/>
                  <a:gd name="connsiteX66" fmla="*/ 65003 w 167127"/>
                  <a:gd name="connsiteY66" fmla="*/ 12425 h 174400"/>
                  <a:gd name="connsiteX67" fmla="*/ 65760 w 167127"/>
                  <a:gd name="connsiteY67" fmla="*/ 11213 h 174400"/>
                  <a:gd name="connsiteX68" fmla="*/ 66366 w 167127"/>
                  <a:gd name="connsiteY68" fmla="*/ 9849 h 174400"/>
                  <a:gd name="connsiteX69" fmla="*/ 66366 w 167127"/>
                  <a:gd name="connsiteY69" fmla="*/ 8940 h 174400"/>
                  <a:gd name="connsiteX70" fmla="*/ 65608 w 167127"/>
                  <a:gd name="connsiteY70" fmla="*/ 6819 h 174400"/>
                  <a:gd name="connsiteX71" fmla="*/ 65003 w 167127"/>
                  <a:gd name="connsiteY71" fmla="*/ 4546 h 174400"/>
                  <a:gd name="connsiteX72" fmla="*/ 65305 w 167127"/>
                  <a:gd name="connsiteY72" fmla="*/ 3485 h 174400"/>
                  <a:gd name="connsiteX73" fmla="*/ 64699 w 167127"/>
                  <a:gd name="connsiteY73" fmla="*/ 152 h 174400"/>
                  <a:gd name="connsiteX74" fmla="*/ 64396 w 167127"/>
                  <a:gd name="connsiteY74" fmla="*/ 0 h 174400"/>
                  <a:gd name="connsiteX75" fmla="*/ 61517 w 167127"/>
                  <a:gd name="connsiteY75" fmla="*/ 909 h 174400"/>
                  <a:gd name="connsiteX76" fmla="*/ 60457 w 167127"/>
                  <a:gd name="connsiteY76" fmla="*/ 1061 h 174400"/>
                  <a:gd name="connsiteX77" fmla="*/ 59850 w 167127"/>
                  <a:gd name="connsiteY77" fmla="*/ 1364 h 174400"/>
                  <a:gd name="connsiteX78" fmla="*/ 59699 w 167127"/>
                  <a:gd name="connsiteY78" fmla="*/ 1970 h 174400"/>
                  <a:gd name="connsiteX79" fmla="*/ 60457 w 167127"/>
                  <a:gd name="connsiteY79" fmla="*/ 4091 h 174400"/>
                  <a:gd name="connsiteX80" fmla="*/ 60002 w 167127"/>
                  <a:gd name="connsiteY80" fmla="*/ 4394 h 174400"/>
                  <a:gd name="connsiteX81" fmla="*/ 58336 w 167127"/>
                  <a:gd name="connsiteY81" fmla="*/ 4394 h 174400"/>
                  <a:gd name="connsiteX82" fmla="*/ 56062 w 167127"/>
                  <a:gd name="connsiteY82" fmla="*/ 3637 h 174400"/>
                  <a:gd name="connsiteX83" fmla="*/ 53638 w 167127"/>
                  <a:gd name="connsiteY83" fmla="*/ 1667 h 174400"/>
                  <a:gd name="connsiteX84" fmla="*/ 53032 w 167127"/>
                  <a:gd name="connsiteY84" fmla="*/ 2273 h 174400"/>
                  <a:gd name="connsiteX85" fmla="*/ 52729 w 167127"/>
                  <a:gd name="connsiteY85" fmla="*/ 3788 h 174400"/>
                  <a:gd name="connsiteX86" fmla="*/ 52578 w 167127"/>
                  <a:gd name="connsiteY86" fmla="*/ 5606 h 174400"/>
                  <a:gd name="connsiteX87" fmla="*/ 53184 w 167127"/>
                  <a:gd name="connsiteY87" fmla="*/ 8940 h 174400"/>
                  <a:gd name="connsiteX88" fmla="*/ 52578 w 167127"/>
                  <a:gd name="connsiteY88" fmla="*/ 10152 h 174400"/>
                  <a:gd name="connsiteX89" fmla="*/ 50911 w 167127"/>
                  <a:gd name="connsiteY89" fmla="*/ 10000 h 174400"/>
                  <a:gd name="connsiteX90" fmla="*/ 48638 w 167127"/>
                  <a:gd name="connsiteY90" fmla="*/ 10000 h 174400"/>
                  <a:gd name="connsiteX91" fmla="*/ 46668 w 167127"/>
                  <a:gd name="connsiteY91" fmla="*/ 10304 h 174400"/>
                  <a:gd name="connsiteX92" fmla="*/ 45456 w 167127"/>
                  <a:gd name="connsiteY92" fmla="*/ 10304 h 174400"/>
                  <a:gd name="connsiteX93" fmla="*/ 44698 w 167127"/>
                  <a:gd name="connsiteY93" fmla="*/ 11516 h 174400"/>
                  <a:gd name="connsiteX94" fmla="*/ 44395 w 167127"/>
                  <a:gd name="connsiteY94" fmla="*/ 12879 h 174400"/>
                  <a:gd name="connsiteX95" fmla="*/ 45153 w 167127"/>
                  <a:gd name="connsiteY95" fmla="*/ 14395 h 174400"/>
                  <a:gd name="connsiteX96" fmla="*/ 45002 w 167127"/>
                  <a:gd name="connsiteY96" fmla="*/ 15001 h 174400"/>
                  <a:gd name="connsiteX97" fmla="*/ 44395 w 167127"/>
                  <a:gd name="connsiteY97" fmla="*/ 15607 h 174400"/>
                  <a:gd name="connsiteX98" fmla="*/ 43638 w 167127"/>
                  <a:gd name="connsiteY98" fmla="*/ 15910 h 174400"/>
                  <a:gd name="connsiteX99" fmla="*/ 43032 w 167127"/>
                  <a:gd name="connsiteY99" fmla="*/ 15910 h 174400"/>
                  <a:gd name="connsiteX100" fmla="*/ 41214 w 167127"/>
                  <a:gd name="connsiteY100" fmla="*/ 14243 h 174400"/>
                  <a:gd name="connsiteX101" fmla="*/ 39092 w 167127"/>
                  <a:gd name="connsiteY101" fmla="*/ 13637 h 174400"/>
                  <a:gd name="connsiteX102" fmla="*/ 34092 w 167127"/>
                  <a:gd name="connsiteY102" fmla="*/ 12728 h 174400"/>
                  <a:gd name="connsiteX103" fmla="*/ 33486 w 167127"/>
                  <a:gd name="connsiteY103" fmla="*/ 10455 h 174400"/>
                  <a:gd name="connsiteX104" fmla="*/ 32729 w 167127"/>
                  <a:gd name="connsiteY104" fmla="*/ 10455 h 174400"/>
                  <a:gd name="connsiteX105" fmla="*/ 31516 w 167127"/>
                  <a:gd name="connsiteY105" fmla="*/ 9243 h 174400"/>
                  <a:gd name="connsiteX106" fmla="*/ 30456 w 167127"/>
                  <a:gd name="connsiteY106" fmla="*/ 7728 h 174400"/>
                  <a:gd name="connsiteX107" fmla="*/ 29546 w 167127"/>
                  <a:gd name="connsiteY107" fmla="*/ 7879 h 174400"/>
                  <a:gd name="connsiteX108" fmla="*/ 28789 w 167127"/>
                  <a:gd name="connsiteY108" fmla="*/ 8334 h 174400"/>
                  <a:gd name="connsiteX109" fmla="*/ 26062 w 167127"/>
                  <a:gd name="connsiteY109" fmla="*/ 8182 h 174400"/>
                  <a:gd name="connsiteX110" fmla="*/ 23637 w 167127"/>
                  <a:gd name="connsiteY110" fmla="*/ 10455 h 174400"/>
                  <a:gd name="connsiteX111" fmla="*/ 21819 w 167127"/>
                  <a:gd name="connsiteY111" fmla="*/ 13334 h 174400"/>
                  <a:gd name="connsiteX112" fmla="*/ 19849 w 167127"/>
                  <a:gd name="connsiteY112" fmla="*/ 14698 h 174400"/>
                  <a:gd name="connsiteX113" fmla="*/ 17728 w 167127"/>
                  <a:gd name="connsiteY113" fmla="*/ 15304 h 174400"/>
                  <a:gd name="connsiteX114" fmla="*/ 16970 w 167127"/>
                  <a:gd name="connsiteY114" fmla="*/ 15304 h 174400"/>
                  <a:gd name="connsiteX115" fmla="*/ 16364 w 167127"/>
                  <a:gd name="connsiteY115" fmla="*/ 16364 h 174400"/>
                  <a:gd name="connsiteX116" fmla="*/ 14546 w 167127"/>
                  <a:gd name="connsiteY116" fmla="*/ 18031 h 174400"/>
                  <a:gd name="connsiteX117" fmla="*/ 12879 w 167127"/>
                  <a:gd name="connsiteY117" fmla="*/ 19243 h 174400"/>
                  <a:gd name="connsiteX118" fmla="*/ 12425 w 167127"/>
                  <a:gd name="connsiteY118" fmla="*/ 20607 h 174400"/>
                  <a:gd name="connsiteX119" fmla="*/ 12728 w 167127"/>
                  <a:gd name="connsiteY119" fmla="*/ 23183 h 174400"/>
                  <a:gd name="connsiteX120" fmla="*/ 12728 w 167127"/>
                  <a:gd name="connsiteY120" fmla="*/ 28789 h 174400"/>
                  <a:gd name="connsiteX121" fmla="*/ 13031 w 167127"/>
                  <a:gd name="connsiteY121" fmla="*/ 33638 h 174400"/>
                  <a:gd name="connsiteX122" fmla="*/ 14394 w 167127"/>
                  <a:gd name="connsiteY122" fmla="*/ 35456 h 174400"/>
                  <a:gd name="connsiteX123" fmla="*/ 15909 w 167127"/>
                  <a:gd name="connsiteY123" fmla="*/ 36365 h 174400"/>
                  <a:gd name="connsiteX124" fmla="*/ 17728 w 167127"/>
                  <a:gd name="connsiteY124" fmla="*/ 36213 h 174400"/>
                  <a:gd name="connsiteX125" fmla="*/ 19546 w 167127"/>
                  <a:gd name="connsiteY125" fmla="*/ 35911 h 174400"/>
                  <a:gd name="connsiteX126" fmla="*/ 19395 w 167127"/>
                  <a:gd name="connsiteY126" fmla="*/ 38789 h 174400"/>
                  <a:gd name="connsiteX127" fmla="*/ 18940 w 167127"/>
                  <a:gd name="connsiteY127" fmla="*/ 42123 h 174400"/>
                  <a:gd name="connsiteX128" fmla="*/ 21061 w 167127"/>
                  <a:gd name="connsiteY128" fmla="*/ 43183 h 174400"/>
                  <a:gd name="connsiteX129" fmla="*/ 22122 w 167127"/>
                  <a:gd name="connsiteY129" fmla="*/ 44244 h 174400"/>
                  <a:gd name="connsiteX130" fmla="*/ 22728 w 167127"/>
                  <a:gd name="connsiteY130" fmla="*/ 45153 h 174400"/>
                  <a:gd name="connsiteX131" fmla="*/ 19395 w 167127"/>
                  <a:gd name="connsiteY131" fmla="*/ 46972 h 174400"/>
                  <a:gd name="connsiteX132" fmla="*/ 18334 w 167127"/>
                  <a:gd name="connsiteY132" fmla="*/ 48032 h 174400"/>
                  <a:gd name="connsiteX133" fmla="*/ 17879 w 167127"/>
                  <a:gd name="connsiteY133" fmla="*/ 50760 h 174400"/>
                  <a:gd name="connsiteX134" fmla="*/ 18031 w 167127"/>
                  <a:gd name="connsiteY134" fmla="*/ 53335 h 174400"/>
                  <a:gd name="connsiteX135" fmla="*/ 22576 w 167127"/>
                  <a:gd name="connsiteY135" fmla="*/ 55154 h 174400"/>
                  <a:gd name="connsiteX136" fmla="*/ 24395 w 167127"/>
                  <a:gd name="connsiteY136" fmla="*/ 57275 h 174400"/>
                  <a:gd name="connsiteX137" fmla="*/ 25153 w 167127"/>
                  <a:gd name="connsiteY137" fmla="*/ 59548 h 174400"/>
                  <a:gd name="connsiteX138" fmla="*/ 25455 w 167127"/>
                  <a:gd name="connsiteY138" fmla="*/ 63639 h 174400"/>
                  <a:gd name="connsiteX139" fmla="*/ 25001 w 167127"/>
                  <a:gd name="connsiteY139" fmla="*/ 64548 h 174400"/>
                  <a:gd name="connsiteX140" fmla="*/ 23789 w 167127"/>
                  <a:gd name="connsiteY140" fmla="*/ 64548 h 174400"/>
                  <a:gd name="connsiteX141" fmla="*/ 22425 w 167127"/>
                  <a:gd name="connsiteY141" fmla="*/ 63336 h 174400"/>
                  <a:gd name="connsiteX142" fmla="*/ 21364 w 167127"/>
                  <a:gd name="connsiteY142" fmla="*/ 62124 h 174400"/>
                  <a:gd name="connsiteX143" fmla="*/ 20152 w 167127"/>
                  <a:gd name="connsiteY143" fmla="*/ 62124 h 174400"/>
                  <a:gd name="connsiteX144" fmla="*/ 17879 w 167127"/>
                  <a:gd name="connsiteY144" fmla="*/ 61820 h 174400"/>
                  <a:gd name="connsiteX145" fmla="*/ 15304 w 167127"/>
                  <a:gd name="connsiteY145" fmla="*/ 61366 h 174400"/>
                  <a:gd name="connsiteX146" fmla="*/ 12121 w 167127"/>
                  <a:gd name="connsiteY146" fmla="*/ 61518 h 174400"/>
                  <a:gd name="connsiteX147" fmla="*/ 10910 w 167127"/>
                  <a:gd name="connsiteY147" fmla="*/ 61669 h 174400"/>
                  <a:gd name="connsiteX148" fmla="*/ 10152 w 167127"/>
                  <a:gd name="connsiteY148" fmla="*/ 62427 h 174400"/>
                  <a:gd name="connsiteX149" fmla="*/ 10000 w 167127"/>
                  <a:gd name="connsiteY149" fmla="*/ 63790 h 174400"/>
                  <a:gd name="connsiteX150" fmla="*/ 9697 w 167127"/>
                  <a:gd name="connsiteY150" fmla="*/ 68033 h 174400"/>
                  <a:gd name="connsiteX151" fmla="*/ 10758 w 167127"/>
                  <a:gd name="connsiteY151" fmla="*/ 68942 h 174400"/>
                  <a:gd name="connsiteX152" fmla="*/ 12879 w 167127"/>
                  <a:gd name="connsiteY152" fmla="*/ 70003 h 174400"/>
                  <a:gd name="connsiteX153" fmla="*/ 14243 w 167127"/>
                  <a:gd name="connsiteY153" fmla="*/ 70457 h 174400"/>
                  <a:gd name="connsiteX154" fmla="*/ 15455 w 167127"/>
                  <a:gd name="connsiteY154" fmla="*/ 70306 h 174400"/>
                  <a:gd name="connsiteX155" fmla="*/ 16364 w 167127"/>
                  <a:gd name="connsiteY155" fmla="*/ 70912 h 174400"/>
                  <a:gd name="connsiteX156" fmla="*/ 16516 w 167127"/>
                  <a:gd name="connsiteY156" fmla="*/ 72730 h 174400"/>
                  <a:gd name="connsiteX157" fmla="*/ 15909 w 167127"/>
                  <a:gd name="connsiteY157" fmla="*/ 74094 h 174400"/>
                  <a:gd name="connsiteX158" fmla="*/ 14698 w 167127"/>
                  <a:gd name="connsiteY158" fmla="*/ 75306 h 174400"/>
                  <a:gd name="connsiteX159" fmla="*/ 13182 w 167127"/>
                  <a:gd name="connsiteY159" fmla="*/ 78488 h 174400"/>
                  <a:gd name="connsiteX160" fmla="*/ 13485 w 167127"/>
                  <a:gd name="connsiteY160" fmla="*/ 79700 h 174400"/>
                  <a:gd name="connsiteX161" fmla="*/ 13485 w 167127"/>
                  <a:gd name="connsiteY161" fmla="*/ 81367 h 174400"/>
                  <a:gd name="connsiteX162" fmla="*/ 11061 w 167127"/>
                  <a:gd name="connsiteY162" fmla="*/ 86064 h 174400"/>
                  <a:gd name="connsiteX163" fmla="*/ 10303 w 167127"/>
                  <a:gd name="connsiteY163" fmla="*/ 86973 h 174400"/>
                  <a:gd name="connsiteX164" fmla="*/ 6970 w 167127"/>
                  <a:gd name="connsiteY164" fmla="*/ 86064 h 174400"/>
                  <a:gd name="connsiteX165" fmla="*/ 4849 w 167127"/>
                  <a:gd name="connsiteY165" fmla="*/ 85761 h 174400"/>
                  <a:gd name="connsiteX166" fmla="*/ 3333 w 167127"/>
                  <a:gd name="connsiteY166" fmla="*/ 86973 h 174400"/>
                  <a:gd name="connsiteX167" fmla="*/ 3788 w 167127"/>
                  <a:gd name="connsiteY167" fmla="*/ 87276 h 174400"/>
                  <a:gd name="connsiteX168" fmla="*/ 4545 w 167127"/>
                  <a:gd name="connsiteY168" fmla="*/ 88185 h 174400"/>
                  <a:gd name="connsiteX169" fmla="*/ 5303 w 167127"/>
                  <a:gd name="connsiteY169" fmla="*/ 91064 h 174400"/>
                  <a:gd name="connsiteX170" fmla="*/ 8333 w 167127"/>
                  <a:gd name="connsiteY170" fmla="*/ 100307 h 174400"/>
                  <a:gd name="connsiteX171" fmla="*/ 8182 w 167127"/>
                  <a:gd name="connsiteY171" fmla="*/ 102883 h 174400"/>
                  <a:gd name="connsiteX172" fmla="*/ 7576 w 167127"/>
                  <a:gd name="connsiteY172" fmla="*/ 104549 h 174400"/>
                  <a:gd name="connsiteX173" fmla="*/ 7576 w 167127"/>
                  <a:gd name="connsiteY173" fmla="*/ 106216 h 174400"/>
                  <a:gd name="connsiteX174" fmla="*/ 7424 w 167127"/>
                  <a:gd name="connsiteY174" fmla="*/ 107883 h 174400"/>
                  <a:gd name="connsiteX175" fmla="*/ 5606 w 167127"/>
                  <a:gd name="connsiteY175" fmla="*/ 110459 h 174400"/>
                  <a:gd name="connsiteX176" fmla="*/ 0 w 167127"/>
                  <a:gd name="connsiteY176" fmla="*/ 115913 h 174400"/>
                  <a:gd name="connsiteX177" fmla="*/ 455 w 167127"/>
                  <a:gd name="connsiteY177" fmla="*/ 116368 h 174400"/>
                  <a:gd name="connsiteX178" fmla="*/ 1818 w 167127"/>
                  <a:gd name="connsiteY178" fmla="*/ 116974 h 174400"/>
                  <a:gd name="connsiteX179" fmla="*/ 3182 w 167127"/>
                  <a:gd name="connsiteY179" fmla="*/ 117277 h 174400"/>
                  <a:gd name="connsiteX180" fmla="*/ 4243 w 167127"/>
                  <a:gd name="connsiteY180" fmla="*/ 117126 h 174400"/>
                  <a:gd name="connsiteX181" fmla="*/ 5606 w 167127"/>
                  <a:gd name="connsiteY181" fmla="*/ 118489 h 174400"/>
                  <a:gd name="connsiteX182" fmla="*/ 7121 w 167127"/>
                  <a:gd name="connsiteY182" fmla="*/ 120156 h 174400"/>
                  <a:gd name="connsiteX183" fmla="*/ 8637 w 167127"/>
                  <a:gd name="connsiteY183" fmla="*/ 121065 h 174400"/>
                  <a:gd name="connsiteX184" fmla="*/ 10910 w 167127"/>
                  <a:gd name="connsiteY184" fmla="*/ 121823 h 174400"/>
                  <a:gd name="connsiteX185" fmla="*/ 12879 w 167127"/>
                  <a:gd name="connsiteY185" fmla="*/ 121974 h 174400"/>
                  <a:gd name="connsiteX186" fmla="*/ 14546 w 167127"/>
                  <a:gd name="connsiteY186" fmla="*/ 121671 h 174400"/>
                  <a:gd name="connsiteX187" fmla="*/ 16970 w 167127"/>
                  <a:gd name="connsiteY187" fmla="*/ 121974 h 174400"/>
                  <a:gd name="connsiteX188" fmla="*/ 19546 w 167127"/>
                  <a:gd name="connsiteY188" fmla="*/ 123338 h 174400"/>
                  <a:gd name="connsiteX189" fmla="*/ 20455 w 167127"/>
                  <a:gd name="connsiteY189" fmla="*/ 125611 h 174400"/>
                  <a:gd name="connsiteX190" fmla="*/ 21061 w 167127"/>
                  <a:gd name="connsiteY190" fmla="*/ 127581 h 174400"/>
                  <a:gd name="connsiteX191" fmla="*/ 21970 w 167127"/>
                  <a:gd name="connsiteY191" fmla="*/ 128641 h 174400"/>
                  <a:gd name="connsiteX192" fmla="*/ 22122 w 167127"/>
                  <a:gd name="connsiteY192" fmla="*/ 130308 h 174400"/>
                  <a:gd name="connsiteX193" fmla="*/ 23940 w 167127"/>
                  <a:gd name="connsiteY193" fmla="*/ 131823 h 174400"/>
                  <a:gd name="connsiteX194" fmla="*/ 26516 w 167127"/>
                  <a:gd name="connsiteY194" fmla="*/ 132126 h 174400"/>
                  <a:gd name="connsiteX195" fmla="*/ 29850 w 167127"/>
                  <a:gd name="connsiteY195" fmla="*/ 133944 h 174400"/>
                  <a:gd name="connsiteX196" fmla="*/ 30759 w 167127"/>
                  <a:gd name="connsiteY196" fmla="*/ 133793 h 174400"/>
                  <a:gd name="connsiteX197" fmla="*/ 31062 w 167127"/>
                  <a:gd name="connsiteY197" fmla="*/ 133641 h 174400"/>
                  <a:gd name="connsiteX198" fmla="*/ 31516 w 167127"/>
                  <a:gd name="connsiteY198" fmla="*/ 133944 h 174400"/>
                  <a:gd name="connsiteX199" fmla="*/ 32425 w 167127"/>
                  <a:gd name="connsiteY199" fmla="*/ 139096 h 174400"/>
                  <a:gd name="connsiteX200" fmla="*/ 33031 w 167127"/>
                  <a:gd name="connsiteY200" fmla="*/ 141823 h 174400"/>
                  <a:gd name="connsiteX201" fmla="*/ 32729 w 167127"/>
                  <a:gd name="connsiteY201" fmla="*/ 142884 h 174400"/>
                  <a:gd name="connsiteX202" fmla="*/ 32274 w 167127"/>
                  <a:gd name="connsiteY202" fmla="*/ 143793 h 174400"/>
                  <a:gd name="connsiteX203" fmla="*/ 32274 w 167127"/>
                  <a:gd name="connsiteY203" fmla="*/ 148036 h 174400"/>
                  <a:gd name="connsiteX204" fmla="*/ 30759 w 167127"/>
                  <a:gd name="connsiteY204" fmla="*/ 150460 h 174400"/>
                  <a:gd name="connsiteX205" fmla="*/ 30456 w 167127"/>
                  <a:gd name="connsiteY205" fmla="*/ 153036 h 174400"/>
                  <a:gd name="connsiteX206" fmla="*/ 30001 w 167127"/>
                  <a:gd name="connsiteY206" fmla="*/ 153945 h 174400"/>
                  <a:gd name="connsiteX207" fmla="*/ 28334 w 167127"/>
                  <a:gd name="connsiteY207" fmla="*/ 154703 h 174400"/>
                  <a:gd name="connsiteX208" fmla="*/ 28334 w 167127"/>
                  <a:gd name="connsiteY208" fmla="*/ 156673 h 174400"/>
                  <a:gd name="connsiteX209" fmla="*/ 27880 w 167127"/>
                  <a:gd name="connsiteY209" fmla="*/ 159097 h 174400"/>
                  <a:gd name="connsiteX210" fmla="*/ 27728 w 167127"/>
                  <a:gd name="connsiteY210" fmla="*/ 161673 h 174400"/>
                  <a:gd name="connsiteX211" fmla="*/ 28183 w 167127"/>
                  <a:gd name="connsiteY211" fmla="*/ 168491 h 174400"/>
                  <a:gd name="connsiteX212" fmla="*/ 28334 w 167127"/>
                  <a:gd name="connsiteY212" fmla="*/ 173491 h 174400"/>
                  <a:gd name="connsiteX213" fmla="*/ 29092 w 167127"/>
                  <a:gd name="connsiteY213" fmla="*/ 174400 h 174400"/>
                  <a:gd name="connsiteX214" fmla="*/ 32274 w 167127"/>
                  <a:gd name="connsiteY214" fmla="*/ 173794 h 174400"/>
                  <a:gd name="connsiteX215" fmla="*/ 37577 w 167127"/>
                  <a:gd name="connsiteY215" fmla="*/ 170764 h 174400"/>
                  <a:gd name="connsiteX216" fmla="*/ 42274 w 167127"/>
                  <a:gd name="connsiteY216" fmla="*/ 169097 h 174400"/>
                  <a:gd name="connsiteX217" fmla="*/ 45911 w 167127"/>
                  <a:gd name="connsiteY217" fmla="*/ 166521 h 174400"/>
                  <a:gd name="connsiteX218" fmla="*/ 48032 w 167127"/>
                  <a:gd name="connsiteY218" fmla="*/ 165612 h 174400"/>
                  <a:gd name="connsiteX219" fmla="*/ 56214 w 167127"/>
                  <a:gd name="connsiteY219" fmla="*/ 163188 h 174400"/>
                  <a:gd name="connsiteX220" fmla="*/ 69548 w 167127"/>
                  <a:gd name="connsiteY220" fmla="*/ 158036 h 174400"/>
                  <a:gd name="connsiteX221" fmla="*/ 73639 w 167127"/>
                  <a:gd name="connsiteY221" fmla="*/ 156521 h 174400"/>
                  <a:gd name="connsiteX222" fmla="*/ 83185 w 167127"/>
                  <a:gd name="connsiteY222" fmla="*/ 154400 h 174400"/>
                  <a:gd name="connsiteX223" fmla="*/ 96973 w 167127"/>
                  <a:gd name="connsiteY223" fmla="*/ 153339 h 174400"/>
                  <a:gd name="connsiteX224" fmla="*/ 95761 w 167127"/>
                  <a:gd name="connsiteY224" fmla="*/ 152430 h 174400"/>
                  <a:gd name="connsiteX225" fmla="*/ 91367 w 167127"/>
                  <a:gd name="connsiteY225" fmla="*/ 152430 h 174400"/>
                  <a:gd name="connsiteX226" fmla="*/ 88640 w 167127"/>
                  <a:gd name="connsiteY226" fmla="*/ 152733 h 174400"/>
                  <a:gd name="connsiteX227" fmla="*/ 89549 w 167127"/>
                  <a:gd name="connsiteY227" fmla="*/ 151672 h 174400"/>
                  <a:gd name="connsiteX228" fmla="*/ 91064 w 167127"/>
                  <a:gd name="connsiteY228" fmla="*/ 151218 h 174400"/>
                  <a:gd name="connsiteX229" fmla="*/ 98186 w 167127"/>
                  <a:gd name="connsiteY229" fmla="*/ 151369 h 174400"/>
                  <a:gd name="connsiteX230" fmla="*/ 99700 w 167127"/>
                  <a:gd name="connsiteY230" fmla="*/ 152885 h 174400"/>
                  <a:gd name="connsiteX231" fmla="*/ 101670 w 167127"/>
                  <a:gd name="connsiteY231" fmla="*/ 153187 h 174400"/>
                  <a:gd name="connsiteX232" fmla="*/ 108186 w 167127"/>
                  <a:gd name="connsiteY232" fmla="*/ 152278 h 174400"/>
                  <a:gd name="connsiteX233" fmla="*/ 125308 w 167127"/>
                  <a:gd name="connsiteY233" fmla="*/ 150763 h 174400"/>
                  <a:gd name="connsiteX234" fmla="*/ 124702 w 167127"/>
                  <a:gd name="connsiteY234" fmla="*/ 150006 h 174400"/>
                  <a:gd name="connsiteX235" fmla="*/ 123186 w 167127"/>
                  <a:gd name="connsiteY235" fmla="*/ 149854 h 174400"/>
                  <a:gd name="connsiteX236" fmla="*/ 109701 w 167127"/>
                  <a:gd name="connsiteY236" fmla="*/ 150612 h 174400"/>
                  <a:gd name="connsiteX237" fmla="*/ 111216 w 167127"/>
                  <a:gd name="connsiteY237" fmla="*/ 149399 h 174400"/>
                  <a:gd name="connsiteX238" fmla="*/ 116520 w 167127"/>
                  <a:gd name="connsiteY238" fmla="*/ 148793 h 174400"/>
                  <a:gd name="connsiteX239" fmla="*/ 123035 w 167127"/>
                  <a:gd name="connsiteY239" fmla="*/ 148642 h 174400"/>
                  <a:gd name="connsiteX240" fmla="*/ 126823 w 167127"/>
                  <a:gd name="connsiteY240" fmla="*/ 149097 h 174400"/>
                  <a:gd name="connsiteX241" fmla="*/ 130005 w 167127"/>
                  <a:gd name="connsiteY241" fmla="*/ 151066 h 174400"/>
                  <a:gd name="connsiteX242" fmla="*/ 144248 w 167127"/>
                  <a:gd name="connsiteY242" fmla="*/ 153491 h 174400"/>
                  <a:gd name="connsiteX243" fmla="*/ 145157 w 167127"/>
                  <a:gd name="connsiteY243" fmla="*/ 152733 h 174400"/>
                  <a:gd name="connsiteX244" fmla="*/ 147127 w 167127"/>
                  <a:gd name="connsiteY244" fmla="*/ 148036 h 174400"/>
                  <a:gd name="connsiteX245" fmla="*/ 148187 w 167127"/>
                  <a:gd name="connsiteY245" fmla="*/ 147581 h 174400"/>
                  <a:gd name="connsiteX246" fmla="*/ 149551 w 167127"/>
                  <a:gd name="connsiteY246" fmla="*/ 147733 h 174400"/>
                  <a:gd name="connsiteX247" fmla="*/ 149096 w 167127"/>
                  <a:gd name="connsiteY247" fmla="*/ 151672 h 174400"/>
                  <a:gd name="connsiteX248" fmla="*/ 151975 w 167127"/>
                  <a:gd name="connsiteY248" fmla="*/ 152885 h 174400"/>
                  <a:gd name="connsiteX249" fmla="*/ 153036 w 167127"/>
                  <a:gd name="connsiteY249" fmla="*/ 153036 h 174400"/>
                  <a:gd name="connsiteX250" fmla="*/ 153187 w 167127"/>
                  <a:gd name="connsiteY250" fmla="*/ 153642 h 174400"/>
                  <a:gd name="connsiteX251" fmla="*/ 155157 w 167127"/>
                  <a:gd name="connsiteY251" fmla="*/ 153945 h 174400"/>
                  <a:gd name="connsiteX252" fmla="*/ 156672 w 167127"/>
                  <a:gd name="connsiteY252" fmla="*/ 153187 h 174400"/>
                  <a:gd name="connsiteX253" fmla="*/ 158794 w 167127"/>
                  <a:gd name="connsiteY253" fmla="*/ 153036 h 174400"/>
                  <a:gd name="connsiteX254" fmla="*/ 159400 w 167127"/>
                  <a:gd name="connsiteY254" fmla="*/ 152127 h 174400"/>
                  <a:gd name="connsiteX255" fmla="*/ 159551 w 167127"/>
                  <a:gd name="connsiteY255" fmla="*/ 150006 h 174400"/>
                  <a:gd name="connsiteX256" fmla="*/ 159551 w 167127"/>
                  <a:gd name="connsiteY256" fmla="*/ 148187 h 174400"/>
                  <a:gd name="connsiteX257" fmla="*/ 160309 w 167127"/>
                  <a:gd name="connsiteY257" fmla="*/ 147430 h 174400"/>
                  <a:gd name="connsiteX258" fmla="*/ 160460 w 167127"/>
                  <a:gd name="connsiteY258" fmla="*/ 145309 h 174400"/>
                  <a:gd name="connsiteX259" fmla="*/ 159400 w 167127"/>
                  <a:gd name="connsiteY259" fmla="*/ 140763 h 174400"/>
                  <a:gd name="connsiteX260" fmla="*/ 158642 w 167127"/>
                  <a:gd name="connsiteY260" fmla="*/ 140308 h 174400"/>
                  <a:gd name="connsiteX261" fmla="*/ 154854 w 167127"/>
                  <a:gd name="connsiteY261" fmla="*/ 139702 h 174400"/>
                  <a:gd name="connsiteX262" fmla="*/ 154551 w 167127"/>
                  <a:gd name="connsiteY262" fmla="*/ 138793 h 174400"/>
                  <a:gd name="connsiteX263" fmla="*/ 153793 w 167127"/>
                  <a:gd name="connsiteY263" fmla="*/ 137884 h 174400"/>
                  <a:gd name="connsiteX264" fmla="*/ 153036 w 167127"/>
                  <a:gd name="connsiteY264" fmla="*/ 135460 h 174400"/>
                  <a:gd name="connsiteX265" fmla="*/ 152127 w 167127"/>
                  <a:gd name="connsiteY265" fmla="*/ 131975 h 174400"/>
                  <a:gd name="connsiteX266" fmla="*/ 150763 w 167127"/>
                  <a:gd name="connsiteY266" fmla="*/ 127581 h 174400"/>
                  <a:gd name="connsiteX267" fmla="*/ 148187 w 167127"/>
                  <a:gd name="connsiteY267" fmla="*/ 120459 h 174400"/>
                  <a:gd name="connsiteX268" fmla="*/ 147581 w 167127"/>
                  <a:gd name="connsiteY268" fmla="*/ 117883 h 174400"/>
                  <a:gd name="connsiteX269" fmla="*/ 147127 w 167127"/>
                  <a:gd name="connsiteY269" fmla="*/ 115307 h 174400"/>
                  <a:gd name="connsiteX270" fmla="*/ 146975 w 167127"/>
                  <a:gd name="connsiteY270" fmla="*/ 112277 h 174400"/>
                  <a:gd name="connsiteX271" fmla="*/ 147581 w 167127"/>
                  <a:gd name="connsiteY271" fmla="*/ 111065 h 174400"/>
                  <a:gd name="connsiteX272" fmla="*/ 147430 w 167127"/>
                  <a:gd name="connsiteY272" fmla="*/ 109398 h 174400"/>
                  <a:gd name="connsiteX273" fmla="*/ 147127 w 167127"/>
                  <a:gd name="connsiteY273" fmla="*/ 107883 h 174400"/>
                  <a:gd name="connsiteX274" fmla="*/ 148945 w 167127"/>
                  <a:gd name="connsiteY274" fmla="*/ 104246 h 174400"/>
                  <a:gd name="connsiteX275" fmla="*/ 152582 w 167127"/>
                  <a:gd name="connsiteY275" fmla="*/ 99852 h 174400"/>
                  <a:gd name="connsiteX276" fmla="*/ 153339 w 167127"/>
                  <a:gd name="connsiteY276" fmla="*/ 98186 h 174400"/>
                  <a:gd name="connsiteX277" fmla="*/ 153945 w 167127"/>
                  <a:gd name="connsiteY277" fmla="*/ 97125 h 174400"/>
                  <a:gd name="connsiteX278" fmla="*/ 154096 w 167127"/>
                  <a:gd name="connsiteY278" fmla="*/ 95458 h 174400"/>
                  <a:gd name="connsiteX279" fmla="*/ 154703 w 167127"/>
                  <a:gd name="connsiteY279" fmla="*/ 90306 h 174400"/>
                  <a:gd name="connsiteX280" fmla="*/ 156370 w 167127"/>
                  <a:gd name="connsiteY280" fmla="*/ 83943 h 174400"/>
                  <a:gd name="connsiteX281" fmla="*/ 157430 w 167127"/>
                  <a:gd name="connsiteY281" fmla="*/ 81518 h 174400"/>
                  <a:gd name="connsiteX282" fmla="*/ 158188 w 167127"/>
                  <a:gd name="connsiteY282" fmla="*/ 80306 h 174400"/>
                  <a:gd name="connsiteX283" fmla="*/ 159097 w 167127"/>
                  <a:gd name="connsiteY283" fmla="*/ 78185 h 174400"/>
                  <a:gd name="connsiteX284" fmla="*/ 159400 w 167127"/>
                  <a:gd name="connsiteY284" fmla="*/ 77276 h 174400"/>
                  <a:gd name="connsiteX285" fmla="*/ 162733 w 167127"/>
                  <a:gd name="connsiteY285" fmla="*/ 74851 h 174400"/>
                  <a:gd name="connsiteX286" fmla="*/ 164248 w 167127"/>
                  <a:gd name="connsiteY286" fmla="*/ 74245 h 174400"/>
                  <a:gd name="connsiteX287" fmla="*/ 164551 w 167127"/>
                  <a:gd name="connsiteY287" fmla="*/ 73336 h 174400"/>
                  <a:gd name="connsiteX288" fmla="*/ 164097 w 167127"/>
                  <a:gd name="connsiteY288" fmla="*/ 72275 h 174400"/>
                  <a:gd name="connsiteX289" fmla="*/ 164248 w 167127"/>
                  <a:gd name="connsiteY289" fmla="*/ 71518 h 174400"/>
                  <a:gd name="connsiteX290" fmla="*/ 165006 w 167127"/>
                  <a:gd name="connsiteY290" fmla="*/ 71215 h 174400"/>
                  <a:gd name="connsiteX291" fmla="*/ 166218 w 167127"/>
                  <a:gd name="connsiteY291" fmla="*/ 70912 h 174400"/>
                  <a:gd name="connsiteX292" fmla="*/ 167127 w 167127"/>
                  <a:gd name="connsiteY292" fmla="*/ 69851 h 174400"/>
                  <a:gd name="connsiteX293" fmla="*/ 165612 w 167127"/>
                  <a:gd name="connsiteY293" fmla="*/ 61366 h 1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167127" h="174400">
                    <a:moveTo>
                      <a:pt x="146824" y="153642"/>
                    </a:moveTo>
                    <a:lnTo>
                      <a:pt x="150460" y="154400"/>
                    </a:lnTo>
                    <a:lnTo>
                      <a:pt x="151218" y="153339"/>
                    </a:lnTo>
                    <a:lnTo>
                      <a:pt x="147733" y="152885"/>
                    </a:lnTo>
                    <a:lnTo>
                      <a:pt x="146824" y="153642"/>
                    </a:lnTo>
                    <a:close/>
                    <a:moveTo>
                      <a:pt x="165612" y="61366"/>
                    </a:moveTo>
                    <a:lnTo>
                      <a:pt x="164551" y="53638"/>
                    </a:lnTo>
                    <a:lnTo>
                      <a:pt x="164551" y="53032"/>
                    </a:lnTo>
                    <a:lnTo>
                      <a:pt x="163946" y="51972"/>
                    </a:lnTo>
                    <a:lnTo>
                      <a:pt x="163339" y="48790"/>
                    </a:lnTo>
                    <a:lnTo>
                      <a:pt x="162279" y="46972"/>
                    </a:lnTo>
                    <a:lnTo>
                      <a:pt x="160763" y="46366"/>
                    </a:lnTo>
                    <a:lnTo>
                      <a:pt x="160763" y="44547"/>
                    </a:lnTo>
                    <a:lnTo>
                      <a:pt x="162279" y="41517"/>
                    </a:lnTo>
                    <a:lnTo>
                      <a:pt x="162733" y="39699"/>
                    </a:lnTo>
                    <a:lnTo>
                      <a:pt x="161976" y="39244"/>
                    </a:lnTo>
                    <a:lnTo>
                      <a:pt x="161824" y="37880"/>
                    </a:lnTo>
                    <a:lnTo>
                      <a:pt x="162430" y="35607"/>
                    </a:lnTo>
                    <a:lnTo>
                      <a:pt x="162127" y="34244"/>
                    </a:lnTo>
                    <a:lnTo>
                      <a:pt x="161521" y="34850"/>
                    </a:lnTo>
                    <a:lnTo>
                      <a:pt x="160158" y="35759"/>
                    </a:lnTo>
                    <a:lnTo>
                      <a:pt x="158794" y="35759"/>
                    </a:lnTo>
                    <a:lnTo>
                      <a:pt x="157127" y="33638"/>
                    </a:lnTo>
                    <a:lnTo>
                      <a:pt x="156370" y="32729"/>
                    </a:lnTo>
                    <a:lnTo>
                      <a:pt x="155006" y="30607"/>
                    </a:lnTo>
                    <a:lnTo>
                      <a:pt x="153945" y="28486"/>
                    </a:lnTo>
                    <a:lnTo>
                      <a:pt x="152430" y="27577"/>
                    </a:lnTo>
                    <a:lnTo>
                      <a:pt x="150915" y="26668"/>
                    </a:lnTo>
                    <a:lnTo>
                      <a:pt x="149096" y="23940"/>
                    </a:lnTo>
                    <a:lnTo>
                      <a:pt x="147430" y="22728"/>
                    </a:lnTo>
                    <a:lnTo>
                      <a:pt x="145611" y="23031"/>
                    </a:lnTo>
                    <a:lnTo>
                      <a:pt x="143036" y="22577"/>
                    </a:lnTo>
                    <a:lnTo>
                      <a:pt x="137732" y="21971"/>
                    </a:lnTo>
                    <a:lnTo>
                      <a:pt x="131974" y="22122"/>
                    </a:lnTo>
                    <a:lnTo>
                      <a:pt x="129550" y="22728"/>
                    </a:lnTo>
                    <a:lnTo>
                      <a:pt x="127126" y="23637"/>
                    </a:lnTo>
                    <a:lnTo>
                      <a:pt x="121217" y="25759"/>
                    </a:lnTo>
                    <a:lnTo>
                      <a:pt x="118792" y="26819"/>
                    </a:lnTo>
                    <a:lnTo>
                      <a:pt x="116974" y="29547"/>
                    </a:lnTo>
                    <a:lnTo>
                      <a:pt x="115004" y="29547"/>
                    </a:lnTo>
                    <a:lnTo>
                      <a:pt x="113034" y="28637"/>
                    </a:lnTo>
                    <a:lnTo>
                      <a:pt x="111822" y="27425"/>
                    </a:lnTo>
                    <a:lnTo>
                      <a:pt x="109095" y="27728"/>
                    </a:lnTo>
                    <a:lnTo>
                      <a:pt x="106519" y="26516"/>
                    </a:lnTo>
                    <a:lnTo>
                      <a:pt x="103943" y="24243"/>
                    </a:lnTo>
                    <a:lnTo>
                      <a:pt x="102125" y="23486"/>
                    </a:lnTo>
                    <a:lnTo>
                      <a:pt x="99700" y="21819"/>
                    </a:lnTo>
                    <a:lnTo>
                      <a:pt x="99095" y="18637"/>
                    </a:lnTo>
                    <a:lnTo>
                      <a:pt x="97579" y="16364"/>
                    </a:lnTo>
                    <a:lnTo>
                      <a:pt x="96216" y="13182"/>
                    </a:lnTo>
                    <a:lnTo>
                      <a:pt x="94094" y="11819"/>
                    </a:lnTo>
                    <a:lnTo>
                      <a:pt x="91670" y="11061"/>
                    </a:lnTo>
                    <a:lnTo>
                      <a:pt x="88336" y="11213"/>
                    </a:lnTo>
                    <a:lnTo>
                      <a:pt x="86215" y="10000"/>
                    </a:lnTo>
                    <a:lnTo>
                      <a:pt x="84548" y="8182"/>
                    </a:lnTo>
                    <a:lnTo>
                      <a:pt x="83639" y="7728"/>
                    </a:lnTo>
                    <a:lnTo>
                      <a:pt x="79851" y="7879"/>
                    </a:lnTo>
                    <a:lnTo>
                      <a:pt x="75760" y="9091"/>
                    </a:lnTo>
                    <a:lnTo>
                      <a:pt x="74397" y="10000"/>
                    </a:lnTo>
                    <a:lnTo>
                      <a:pt x="74093" y="11364"/>
                    </a:lnTo>
                    <a:lnTo>
                      <a:pt x="73184" y="12273"/>
                    </a:lnTo>
                    <a:lnTo>
                      <a:pt x="71821" y="13334"/>
                    </a:lnTo>
                    <a:lnTo>
                      <a:pt x="70609" y="14546"/>
                    </a:lnTo>
                    <a:lnTo>
                      <a:pt x="68336" y="14395"/>
                    </a:lnTo>
                    <a:lnTo>
                      <a:pt x="66215" y="13637"/>
                    </a:lnTo>
                    <a:lnTo>
                      <a:pt x="65154" y="12879"/>
                    </a:lnTo>
                    <a:lnTo>
                      <a:pt x="65003" y="12425"/>
                    </a:lnTo>
                    <a:lnTo>
                      <a:pt x="65760" y="11213"/>
                    </a:lnTo>
                    <a:lnTo>
                      <a:pt x="66366" y="9849"/>
                    </a:lnTo>
                    <a:lnTo>
                      <a:pt x="66366" y="8940"/>
                    </a:lnTo>
                    <a:lnTo>
                      <a:pt x="65608" y="6819"/>
                    </a:lnTo>
                    <a:lnTo>
                      <a:pt x="65003" y="4546"/>
                    </a:lnTo>
                    <a:lnTo>
                      <a:pt x="65305" y="3485"/>
                    </a:lnTo>
                    <a:lnTo>
                      <a:pt x="64699" y="152"/>
                    </a:lnTo>
                    <a:lnTo>
                      <a:pt x="64396" y="0"/>
                    </a:lnTo>
                    <a:lnTo>
                      <a:pt x="61517" y="909"/>
                    </a:lnTo>
                    <a:lnTo>
                      <a:pt x="60457" y="1061"/>
                    </a:lnTo>
                    <a:lnTo>
                      <a:pt x="59850" y="1364"/>
                    </a:lnTo>
                    <a:lnTo>
                      <a:pt x="59699" y="1970"/>
                    </a:lnTo>
                    <a:lnTo>
                      <a:pt x="60457" y="4091"/>
                    </a:lnTo>
                    <a:lnTo>
                      <a:pt x="60002" y="4394"/>
                    </a:lnTo>
                    <a:lnTo>
                      <a:pt x="58336" y="4394"/>
                    </a:lnTo>
                    <a:lnTo>
                      <a:pt x="56062" y="3637"/>
                    </a:lnTo>
                    <a:lnTo>
                      <a:pt x="53638" y="1667"/>
                    </a:lnTo>
                    <a:lnTo>
                      <a:pt x="53032" y="2273"/>
                    </a:lnTo>
                    <a:lnTo>
                      <a:pt x="52729" y="3788"/>
                    </a:lnTo>
                    <a:lnTo>
                      <a:pt x="52578" y="5606"/>
                    </a:lnTo>
                    <a:lnTo>
                      <a:pt x="53184" y="8940"/>
                    </a:lnTo>
                    <a:lnTo>
                      <a:pt x="52578" y="10152"/>
                    </a:lnTo>
                    <a:lnTo>
                      <a:pt x="50911" y="10000"/>
                    </a:lnTo>
                    <a:lnTo>
                      <a:pt x="48638" y="10000"/>
                    </a:lnTo>
                    <a:lnTo>
                      <a:pt x="46668" y="10304"/>
                    </a:lnTo>
                    <a:lnTo>
                      <a:pt x="45456" y="10304"/>
                    </a:lnTo>
                    <a:lnTo>
                      <a:pt x="44698" y="11516"/>
                    </a:lnTo>
                    <a:lnTo>
                      <a:pt x="44395" y="12879"/>
                    </a:lnTo>
                    <a:lnTo>
                      <a:pt x="45153" y="14395"/>
                    </a:lnTo>
                    <a:lnTo>
                      <a:pt x="45002" y="15001"/>
                    </a:lnTo>
                    <a:lnTo>
                      <a:pt x="44395" y="15607"/>
                    </a:lnTo>
                    <a:lnTo>
                      <a:pt x="43638" y="15910"/>
                    </a:lnTo>
                    <a:lnTo>
                      <a:pt x="43032" y="15910"/>
                    </a:lnTo>
                    <a:lnTo>
                      <a:pt x="41214" y="14243"/>
                    </a:lnTo>
                    <a:lnTo>
                      <a:pt x="39092" y="13637"/>
                    </a:lnTo>
                    <a:lnTo>
                      <a:pt x="34092" y="12728"/>
                    </a:lnTo>
                    <a:lnTo>
                      <a:pt x="33486" y="10455"/>
                    </a:lnTo>
                    <a:lnTo>
                      <a:pt x="32729" y="10455"/>
                    </a:lnTo>
                    <a:lnTo>
                      <a:pt x="31516" y="9243"/>
                    </a:lnTo>
                    <a:lnTo>
                      <a:pt x="30456" y="7728"/>
                    </a:lnTo>
                    <a:lnTo>
                      <a:pt x="29546" y="7879"/>
                    </a:lnTo>
                    <a:lnTo>
                      <a:pt x="28789" y="8334"/>
                    </a:lnTo>
                    <a:lnTo>
                      <a:pt x="26062" y="8182"/>
                    </a:lnTo>
                    <a:lnTo>
                      <a:pt x="23637" y="10455"/>
                    </a:lnTo>
                    <a:lnTo>
                      <a:pt x="21819" y="13334"/>
                    </a:lnTo>
                    <a:lnTo>
                      <a:pt x="19849" y="14698"/>
                    </a:lnTo>
                    <a:lnTo>
                      <a:pt x="17728" y="15304"/>
                    </a:lnTo>
                    <a:lnTo>
                      <a:pt x="16970" y="15304"/>
                    </a:lnTo>
                    <a:lnTo>
                      <a:pt x="16364" y="16364"/>
                    </a:lnTo>
                    <a:lnTo>
                      <a:pt x="14546" y="18031"/>
                    </a:lnTo>
                    <a:lnTo>
                      <a:pt x="12879" y="19243"/>
                    </a:lnTo>
                    <a:lnTo>
                      <a:pt x="12425" y="20607"/>
                    </a:lnTo>
                    <a:lnTo>
                      <a:pt x="12728" y="23183"/>
                    </a:lnTo>
                    <a:lnTo>
                      <a:pt x="12728" y="28789"/>
                    </a:lnTo>
                    <a:lnTo>
                      <a:pt x="13031" y="33638"/>
                    </a:lnTo>
                    <a:lnTo>
                      <a:pt x="14394" y="35456"/>
                    </a:lnTo>
                    <a:lnTo>
                      <a:pt x="15909" y="36365"/>
                    </a:lnTo>
                    <a:lnTo>
                      <a:pt x="17728" y="36213"/>
                    </a:lnTo>
                    <a:lnTo>
                      <a:pt x="19546" y="35911"/>
                    </a:lnTo>
                    <a:lnTo>
                      <a:pt x="19395" y="38789"/>
                    </a:lnTo>
                    <a:lnTo>
                      <a:pt x="18940" y="42123"/>
                    </a:lnTo>
                    <a:lnTo>
                      <a:pt x="21061" y="43183"/>
                    </a:lnTo>
                    <a:lnTo>
                      <a:pt x="22122" y="44244"/>
                    </a:lnTo>
                    <a:lnTo>
                      <a:pt x="22728" y="45153"/>
                    </a:lnTo>
                    <a:lnTo>
                      <a:pt x="19395" y="46972"/>
                    </a:lnTo>
                    <a:lnTo>
                      <a:pt x="18334" y="48032"/>
                    </a:lnTo>
                    <a:lnTo>
                      <a:pt x="17879" y="50760"/>
                    </a:lnTo>
                    <a:lnTo>
                      <a:pt x="18031" y="53335"/>
                    </a:lnTo>
                    <a:lnTo>
                      <a:pt x="22576" y="55154"/>
                    </a:lnTo>
                    <a:lnTo>
                      <a:pt x="24395" y="57275"/>
                    </a:lnTo>
                    <a:lnTo>
                      <a:pt x="25153" y="59548"/>
                    </a:lnTo>
                    <a:lnTo>
                      <a:pt x="25455" y="63639"/>
                    </a:lnTo>
                    <a:lnTo>
                      <a:pt x="25001" y="64548"/>
                    </a:lnTo>
                    <a:lnTo>
                      <a:pt x="23789" y="64548"/>
                    </a:lnTo>
                    <a:lnTo>
                      <a:pt x="22425" y="63336"/>
                    </a:lnTo>
                    <a:lnTo>
                      <a:pt x="21364" y="62124"/>
                    </a:lnTo>
                    <a:lnTo>
                      <a:pt x="20152" y="62124"/>
                    </a:lnTo>
                    <a:lnTo>
                      <a:pt x="17879" y="61820"/>
                    </a:lnTo>
                    <a:lnTo>
                      <a:pt x="15304" y="61366"/>
                    </a:lnTo>
                    <a:lnTo>
                      <a:pt x="12121" y="61518"/>
                    </a:lnTo>
                    <a:lnTo>
                      <a:pt x="10910" y="61669"/>
                    </a:lnTo>
                    <a:lnTo>
                      <a:pt x="10152" y="62427"/>
                    </a:lnTo>
                    <a:lnTo>
                      <a:pt x="10000" y="63790"/>
                    </a:lnTo>
                    <a:lnTo>
                      <a:pt x="9697" y="68033"/>
                    </a:lnTo>
                    <a:lnTo>
                      <a:pt x="10758" y="68942"/>
                    </a:lnTo>
                    <a:lnTo>
                      <a:pt x="12879" y="70003"/>
                    </a:lnTo>
                    <a:lnTo>
                      <a:pt x="14243" y="70457"/>
                    </a:lnTo>
                    <a:lnTo>
                      <a:pt x="15455" y="70306"/>
                    </a:lnTo>
                    <a:lnTo>
                      <a:pt x="16364" y="70912"/>
                    </a:lnTo>
                    <a:lnTo>
                      <a:pt x="16516" y="72730"/>
                    </a:lnTo>
                    <a:lnTo>
                      <a:pt x="15909" y="74094"/>
                    </a:lnTo>
                    <a:lnTo>
                      <a:pt x="14698" y="75306"/>
                    </a:lnTo>
                    <a:lnTo>
                      <a:pt x="13182" y="78488"/>
                    </a:lnTo>
                    <a:lnTo>
                      <a:pt x="13485" y="79700"/>
                    </a:lnTo>
                    <a:lnTo>
                      <a:pt x="13485" y="81367"/>
                    </a:lnTo>
                    <a:lnTo>
                      <a:pt x="11061" y="86064"/>
                    </a:lnTo>
                    <a:lnTo>
                      <a:pt x="10303" y="86973"/>
                    </a:lnTo>
                    <a:lnTo>
                      <a:pt x="6970" y="86064"/>
                    </a:lnTo>
                    <a:lnTo>
                      <a:pt x="4849" y="85761"/>
                    </a:lnTo>
                    <a:lnTo>
                      <a:pt x="3333" y="86973"/>
                    </a:lnTo>
                    <a:lnTo>
                      <a:pt x="3788" y="87276"/>
                    </a:lnTo>
                    <a:lnTo>
                      <a:pt x="4545" y="88185"/>
                    </a:lnTo>
                    <a:lnTo>
                      <a:pt x="5303" y="91064"/>
                    </a:lnTo>
                    <a:lnTo>
                      <a:pt x="8333" y="100307"/>
                    </a:lnTo>
                    <a:lnTo>
                      <a:pt x="8182" y="102883"/>
                    </a:lnTo>
                    <a:lnTo>
                      <a:pt x="7576" y="104549"/>
                    </a:lnTo>
                    <a:lnTo>
                      <a:pt x="7576" y="106216"/>
                    </a:lnTo>
                    <a:lnTo>
                      <a:pt x="7424" y="107883"/>
                    </a:lnTo>
                    <a:lnTo>
                      <a:pt x="5606" y="110459"/>
                    </a:lnTo>
                    <a:lnTo>
                      <a:pt x="0" y="115913"/>
                    </a:lnTo>
                    <a:lnTo>
                      <a:pt x="455" y="116368"/>
                    </a:lnTo>
                    <a:lnTo>
                      <a:pt x="1818" y="116974"/>
                    </a:lnTo>
                    <a:lnTo>
                      <a:pt x="3182" y="117277"/>
                    </a:lnTo>
                    <a:lnTo>
                      <a:pt x="4243" y="117126"/>
                    </a:lnTo>
                    <a:lnTo>
                      <a:pt x="5606" y="118489"/>
                    </a:lnTo>
                    <a:lnTo>
                      <a:pt x="7121" y="120156"/>
                    </a:lnTo>
                    <a:lnTo>
                      <a:pt x="8637" y="121065"/>
                    </a:lnTo>
                    <a:lnTo>
                      <a:pt x="10910" y="121823"/>
                    </a:lnTo>
                    <a:lnTo>
                      <a:pt x="12879" y="121974"/>
                    </a:lnTo>
                    <a:lnTo>
                      <a:pt x="14546" y="121671"/>
                    </a:lnTo>
                    <a:lnTo>
                      <a:pt x="16970" y="121974"/>
                    </a:lnTo>
                    <a:lnTo>
                      <a:pt x="19546" y="123338"/>
                    </a:lnTo>
                    <a:lnTo>
                      <a:pt x="20455" y="125611"/>
                    </a:lnTo>
                    <a:lnTo>
                      <a:pt x="21061" y="127581"/>
                    </a:lnTo>
                    <a:lnTo>
                      <a:pt x="21970" y="128641"/>
                    </a:lnTo>
                    <a:lnTo>
                      <a:pt x="22122" y="130308"/>
                    </a:lnTo>
                    <a:lnTo>
                      <a:pt x="23940" y="131823"/>
                    </a:lnTo>
                    <a:lnTo>
                      <a:pt x="26516" y="132126"/>
                    </a:lnTo>
                    <a:lnTo>
                      <a:pt x="29850" y="133944"/>
                    </a:lnTo>
                    <a:lnTo>
                      <a:pt x="30759" y="133793"/>
                    </a:lnTo>
                    <a:lnTo>
                      <a:pt x="31062" y="133641"/>
                    </a:lnTo>
                    <a:lnTo>
                      <a:pt x="31516" y="133944"/>
                    </a:lnTo>
                    <a:lnTo>
                      <a:pt x="32425" y="139096"/>
                    </a:lnTo>
                    <a:lnTo>
                      <a:pt x="33031" y="141823"/>
                    </a:lnTo>
                    <a:lnTo>
                      <a:pt x="32729" y="142884"/>
                    </a:lnTo>
                    <a:lnTo>
                      <a:pt x="32274" y="143793"/>
                    </a:lnTo>
                    <a:lnTo>
                      <a:pt x="32274" y="148036"/>
                    </a:lnTo>
                    <a:lnTo>
                      <a:pt x="30759" y="150460"/>
                    </a:lnTo>
                    <a:lnTo>
                      <a:pt x="30456" y="153036"/>
                    </a:lnTo>
                    <a:lnTo>
                      <a:pt x="30001" y="153945"/>
                    </a:lnTo>
                    <a:lnTo>
                      <a:pt x="28334" y="154703"/>
                    </a:lnTo>
                    <a:lnTo>
                      <a:pt x="28334" y="156673"/>
                    </a:lnTo>
                    <a:lnTo>
                      <a:pt x="27880" y="159097"/>
                    </a:lnTo>
                    <a:lnTo>
                      <a:pt x="27728" y="161673"/>
                    </a:lnTo>
                    <a:lnTo>
                      <a:pt x="28183" y="168491"/>
                    </a:lnTo>
                    <a:lnTo>
                      <a:pt x="28334" y="173491"/>
                    </a:lnTo>
                    <a:lnTo>
                      <a:pt x="29092" y="174400"/>
                    </a:lnTo>
                    <a:lnTo>
                      <a:pt x="32274" y="173794"/>
                    </a:lnTo>
                    <a:lnTo>
                      <a:pt x="37577" y="170764"/>
                    </a:lnTo>
                    <a:lnTo>
                      <a:pt x="42274" y="169097"/>
                    </a:lnTo>
                    <a:lnTo>
                      <a:pt x="45911" y="166521"/>
                    </a:lnTo>
                    <a:lnTo>
                      <a:pt x="48032" y="165612"/>
                    </a:lnTo>
                    <a:lnTo>
                      <a:pt x="56214" y="163188"/>
                    </a:lnTo>
                    <a:lnTo>
                      <a:pt x="69548" y="158036"/>
                    </a:lnTo>
                    <a:lnTo>
                      <a:pt x="73639" y="156521"/>
                    </a:lnTo>
                    <a:lnTo>
                      <a:pt x="83185" y="154400"/>
                    </a:lnTo>
                    <a:lnTo>
                      <a:pt x="96973" y="153339"/>
                    </a:lnTo>
                    <a:lnTo>
                      <a:pt x="95761" y="152430"/>
                    </a:lnTo>
                    <a:lnTo>
                      <a:pt x="91367" y="152430"/>
                    </a:lnTo>
                    <a:lnTo>
                      <a:pt x="88640" y="152733"/>
                    </a:lnTo>
                    <a:lnTo>
                      <a:pt x="89549" y="151672"/>
                    </a:lnTo>
                    <a:lnTo>
                      <a:pt x="91064" y="151218"/>
                    </a:lnTo>
                    <a:lnTo>
                      <a:pt x="98186" y="151369"/>
                    </a:lnTo>
                    <a:lnTo>
                      <a:pt x="99700" y="152885"/>
                    </a:lnTo>
                    <a:lnTo>
                      <a:pt x="101670" y="153187"/>
                    </a:lnTo>
                    <a:lnTo>
                      <a:pt x="108186" y="152278"/>
                    </a:lnTo>
                    <a:lnTo>
                      <a:pt x="125308" y="150763"/>
                    </a:lnTo>
                    <a:lnTo>
                      <a:pt x="124702" y="150006"/>
                    </a:lnTo>
                    <a:lnTo>
                      <a:pt x="123186" y="149854"/>
                    </a:lnTo>
                    <a:lnTo>
                      <a:pt x="109701" y="150612"/>
                    </a:lnTo>
                    <a:lnTo>
                      <a:pt x="111216" y="149399"/>
                    </a:lnTo>
                    <a:lnTo>
                      <a:pt x="116520" y="148793"/>
                    </a:lnTo>
                    <a:lnTo>
                      <a:pt x="123035" y="148642"/>
                    </a:lnTo>
                    <a:lnTo>
                      <a:pt x="126823" y="149097"/>
                    </a:lnTo>
                    <a:lnTo>
                      <a:pt x="130005" y="151066"/>
                    </a:lnTo>
                    <a:lnTo>
                      <a:pt x="144248" y="153491"/>
                    </a:lnTo>
                    <a:lnTo>
                      <a:pt x="145157" y="152733"/>
                    </a:lnTo>
                    <a:lnTo>
                      <a:pt x="147127" y="148036"/>
                    </a:lnTo>
                    <a:lnTo>
                      <a:pt x="148187" y="147581"/>
                    </a:lnTo>
                    <a:lnTo>
                      <a:pt x="149551" y="147733"/>
                    </a:lnTo>
                    <a:lnTo>
                      <a:pt x="149096" y="151672"/>
                    </a:lnTo>
                    <a:lnTo>
                      <a:pt x="151975" y="152885"/>
                    </a:lnTo>
                    <a:lnTo>
                      <a:pt x="153036" y="153036"/>
                    </a:lnTo>
                    <a:lnTo>
                      <a:pt x="153187" y="153642"/>
                    </a:lnTo>
                    <a:lnTo>
                      <a:pt x="155157" y="153945"/>
                    </a:lnTo>
                    <a:lnTo>
                      <a:pt x="156672" y="153187"/>
                    </a:lnTo>
                    <a:lnTo>
                      <a:pt x="158794" y="153036"/>
                    </a:lnTo>
                    <a:lnTo>
                      <a:pt x="159400" y="152127"/>
                    </a:lnTo>
                    <a:lnTo>
                      <a:pt x="159551" y="150006"/>
                    </a:lnTo>
                    <a:lnTo>
                      <a:pt x="159551" y="148187"/>
                    </a:lnTo>
                    <a:lnTo>
                      <a:pt x="160309" y="147430"/>
                    </a:lnTo>
                    <a:lnTo>
                      <a:pt x="160460" y="145309"/>
                    </a:lnTo>
                    <a:lnTo>
                      <a:pt x="159400" y="140763"/>
                    </a:lnTo>
                    <a:lnTo>
                      <a:pt x="158642" y="140308"/>
                    </a:lnTo>
                    <a:lnTo>
                      <a:pt x="154854" y="139702"/>
                    </a:lnTo>
                    <a:lnTo>
                      <a:pt x="154551" y="138793"/>
                    </a:lnTo>
                    <a:lnTo>
                      <a:pt x="153793" y="137884"/>
                    </a:lnTo>
                    <a:lnTo>
                      <a:pt x="153036" y="135460"/>
                    </a:lnTo>
                    <a:lnTo>
                      <a:pt x="152127" y="131975"/>
                    </a:lnTo>
                    <a:lnTo>
                      <a:pt x="150763" y="127581"/>
                    </a:lnTo>
                    <a:lnTo>
                      <a:pt x="148187" y="120459"/>
                    </a:lnTo>
                    <a:lnTo>
                      <a:pt x="147581" y="117883"/>
                    </a:lnTo>
                    <a:lnTo>
                      <a:pt x="147127" y="115307"/>
                    </a:lnTo>
                    <a:lnTo>
                      <a:pt x="146975" y="112277"/>
                    </a:lnTo>
                    <a:lnTo>
                      <a:pt x="147581" y="111065"/>
                    </a:lnTo>
                    <a:lnTo>
                      <a:pt x="147430" y="109398"/>
                    </a:lnTo>
                    <a:lnTo>
                      <a:pt x="147127" y="107883"/>
                    </a:lnTo>
                    <a:lnTo>
                      <a:pt x="148945" y="104246"/>
                    </a:lnTo>
                    <a:lnTo>
                      <a:pt x="152582" y="99852"/>
                    </a:lnTo>
                    <a:lnTo>
                      <a:pt x="153339" y="98186"/>
                    </a:lnTo>
                    <a:lnTo>
                      <a:pt x="153945" y="97125"/>
                    </a:lnTo>
                    <a:lnTo>
                      <a:pt x="154096" y="95458"/>
                    </a:lnTo>
                    <a:lnTo>
                      <a:pt x="154703" y="90306"/>
                    </a:lnTo>
                    <a:lnTo>
                      <a:pt x="156370" y="83943"/>
                    </a:lnTo>
                    <a:lnTo>
                      <a:pt x="157430" y="81518"/>
                    </a:lnTo>
                    <a:lnTo>
                      <a:pt x="158188" y="80306"/>
                    </a:lnTo>
                    <a:lnTo>
                      <a:pt x="159097" y="78185"/>
                    </a:lnTo>
                    <a:lnTo>
                      <a:pt x="159400" y="77276"/>
                    </a:lnTo>
                    <a:lnTo>
                      <a:pt x="162733" y="74851"/>
                    </a:lnTo>
                    <a:lnTo>
                      <a:pt x="164248" y="74245"/>
                    </a:lnTo>
                    <a:lnTo>
                      <a:pt x="164551" y="73336"/>
                    </a:lnTo>
                    <a:lnTo>
                      <a:pt x="164097" y="72275"/>
                    </a:lnTo>
                    <a:lnTo>
                      <a:pt x="164248" y="71518"/>
                    </a:lnTo>
                    <a:lnTo>
                      <a:pt x="165006" y="71215"/>
                    </a:lnTo>
                    <a:lnTo>
                      <a:pt x="166218" y="70912"/>
                    </a:lnTo>
                    <a:lnTo>
                      <a:pt x="167127" y="69851"/>
                    </a:lnTo>
                    <a:lnTo>
                      <a:pt x="165612" y="6136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7" name="Freeform: Shape 3316">
                <a:extLst>
                  <a:ext uri="{FF2B5EF4-FFF2-40B4-BE49-F238E27FC236}">
                    <a16:creationId xmlns:a16="http://schemas.microsoft.com/office/drawing/2014/main" id="{95332464-BD0D-4E4A-8B56-58099222652C}"/>
                  </a:ext>
                </a:extLst>
              </p:cNvPr>
              <p:cNvSpPr/>
              <p:nvPr/>
            </p:nvSpPr>
            <p:spPr>
              <a:xfrm>
                <a:off x="5940539" y="3152245"/>
                <a:ext cx="122731" cy="66972"/>
              </a:xfrm>
              <a:custGeom>
                <a:avLst/>
                <a:gdLst>
                  <a:gd name="connsiteX0" fmla="*/ 122580 w 122731"/>
                  <a:gd name="connsiteY0" fmla="*/ 31516 h 66972"/>
                  <a:gd name="connsiteX1" fmla="*/ 122732 w 122731"/>
                  <a:gd name="connsiteY1" fmla="*/ 30304 h 66972"/>
                  <a:gd name="connsiteX2" fmla="*/ 121671 w 122731"/>
                  <a:gd name="connsiteY2" fmla="*/ 28031 h 66972"/>
                  <a:gd name="connsiteX3" fmla="*/ 119853 w 122731"/>
                  <a:gd name="connsiteY3" fmla="*/ 27274 h 66972"/>
                  <a:gd name="connsiteX4" fmla="*/ 115156 w 122731"/>
                  <a:gd name="connsiteY4" fmla="*/ 31516 h 66972"/>
                  <a:gd name="connsiteX5" fmla="*/ 113944 w 122731"/>
                  <a:gd name="connsiteY5" fmla="*/ 31971 h 66972"/>
                  <a:gd name="connsiteX6" fmla="*/ 110156 w 122731"/>
                  <a:gd name="connsiteY6" fmla="*/ 30759 h 66972"/>
                  <a:gd name="connsiteX7" fmla="*/ 106974 w 122731"/>
                  <a:gd name="connsiteY7" fmla="*/ 28941 h 66972"/>
                  <a:gd name="connsiteX8" fmla="*/ 106519 w 122731"/>
                  <a:gd name="connsiteY8" fmla="*/ 27577 h 66972"/>
                  <a:gd name="connsiteX9" fmla="*/ 106065 w 122731"/>
                  <a:gd name="connsiteY9" fmla="*/ 26516 h 66972"/>
                  <a:gd name="connsiteX10" fmla="*/ 103337 w 122731"/>
                  <a:gd name="connsiteY10" fmla="*/ 25607 h 66972"/>
                  <a:gd name="connsiteX11" fmla="*/ 99852 w 122731"/>
                  <a:gd name="connsiteY11" fmla="*/ 24849 h 66972"/>
                  <a:gd name="connsiteX12" fmla="*/ 98792 w 122731"/>
                  <a:gd name="connsiteY12" fmla="*/ 24849 h 66972"/>
                  <a:gd name="connsiteX13" fmla="*/ 96670 w 122731"/>
                  <a:gd name="connsiteY13" fmla="*/ 24698 h 66972"/>
                  <a:gd name="connsiteX14" fmla="*/ 96216 w 122731"/>
                  <a:gd name="connsiteY14" fmla="*/ 24698 h 66972"/>
                  <a:gd name="connsiteX15" fmla="*/ 96064 w 122731"/>
                  <a:gd name="connsiteY15" fmla="*/ 23486 h 66972"/>
                  <a:gd name="connsiteX16" fmla="*/ 96216 w 122731"/>
                  <a:gd name="connsiteY16" fmla="*/ 20910 h 66972"/>
                  <a:gd name="connsiteX17" fmla="*/ 97277 w 122731"/>
                  <a:gd name="connsiteY17" fmla="*/ 17425 h 66972"/>
                  <a:gd name="connsiteX18" fmla="*/ 99549 w 122731"/>
                  <a:gd name="connsiteY18" fmla="*/ 13334 h 66972"/>
                  <a:gd name="connsiteX19" fmla="*/ 100004 w 122731"/>
                  <a:gd name="connsiteY19" fmla="*/ 10606 h 66972"/>
                  <a:gd name="connsiteX20" fmla="*/ 98034 w 122731"/>
                  <a:gd name="connsiteY20" fmla="*/ 9091 h 66972"/>
                  <a:gd name="connsiteX21" fmla="*/ 95307 w 122731"/>
                  <a:gd name="connsiteY21" fmla="*/ 9091 h 66972"/>
                  <a:gd name="connsiteX22" fmla="*/ 89701 w 122731"/>
                  <a:gd name="connsiteY22" fmla="*/ 6061 h 66972"/>
                  <a:gd name="connsiteX23" fmla="*/ 87882 w 122731"/>
                  <a:gd name="connsiteY23" fmla="*/ 3636 h 66972"/>
                  <a:gd name="connsiteX24" fmla="*/ 86367 w 122731"/>
                  <a:gd name="connsiteY24" fmla="*/ 3636 h 66972"/>
                  <a:gd name="connsiteX25" fmla="*/ 79700 w 122731"/>
                  <a:gd name="connsiteY25" fmla="*/ 4091 h 66972"/>
                  <a:gd name="connsiteX26" fmla="*/ 79397 w 122731"/>
                  <a:gd name="connsiteY26" fmla="*/ 3940 h 66972"/>
                  <a:gd name="connsiteX27" fmla="*/ 78336 w 122731"/>
                  <a:gd name="connsiteY27" fmla="*/ 2424 h 66972"/>
                  <a:gd name="connsiteX28" fmla="*/ 77276 w 122731"/>
                  <a:gd name="connsiteY28" fmla="*/ 1970 h 66972"/>
                  <a:gd name="connsiteX29" fmla="*/ 76669 w 122731"/>
                  <a:gd name="connsiteY29" fmla="*/ 2273 h 66972"/>
                  <a:gd name="connsiteX30" fmla="*/ 76215 w 122731"/>
                  <a:gd name="connsiteY30" fmla="*/ 2727 h 66972"/>
                  <a:gd name="connsiteX31" fmla="*/ 75458 w 122731"/>
                  <a:gd name="connsiteY31" fmla="*/ 2576 h 66972"/>
                  <a:gd name="connsiteX32" fmla="*/ 72427 w 122731"/>
                  <a:gd name="connsiteY32" fmla="*/ 303 h 66972"/>
                  <a:gd name="connsiteX33" fmla="*/ 71215 w 122731"/>
                  <a:gd name="connsiteY33" fmla="*/ 0 h 66972"/>
                  <a:gd name="connsiteX34" fmla="*/ 69548 w 122731"/>
                  <a:gd name="connsiteY34" fmla="*/ 303 h 66972"/>
                  <a:gd name="connsiteX35" fmla="*/ 67427 w 122731"/>
                  <a:gd name="connsiteY35" fmla="*/ 1515 h 66972"/>
                  <a:gd name="connsiteX36" fmla="*/ 66518 w 122731"/>
                  <a:gd name="connsiteY36" fmla="*/ 3030 h 66972"/>
                  <a:gd name="connsiteX37" fmla="*/ 66821 w 122731"/>
                  <a:gd name="connsiteY37" fmla="*/ 3940 h 66972"/>
                  <a:gd name="connsiteX38" fmla="*/ 67881 w 122731"/>
                  <a:gd name="connsiteY38" fmla="*/ 4243 h 66972"/>
                  <a:gd name="connsiteX39" fmla="*/ 70609 w 122731"/>
                  <a:gd name="connsiteY39" fmla="*/ 3940 h 66972"/>
                  <a:gd name="connsiteX40" fmla="*/ 71063 w 122731"/>
                  <a:gd name="connsiteY40" fmla="*/ 4243 h 66972"/>
                  <a:gd name="connsiteX41" fmla="*/ 71215 w 122731"/>
                  <a:gd name="connsiteY41" fmla="*/ 4697 h 66972"/>
                  <a:gd name="connsiteX42" fmla="*/ 70912 w 122731"/>
                  <a:gd name="connsiteY42" fmla="*/ 5303 h 66972"/>
                  <a:gd name="connsiteX43" fmla="*/ 68639 w 122731"/>
                  <a:gd name="connsiteY43" fmla="*/ 5606 h 66972"/>
                  <a:gd name="connsiteX44" fmla="*/ 68033 w 122731"/>
                  <a:gd name="connsiteY44" fmla="*/ 6212 h 66972"/>
                  <a:gd name="connsiteX45" fmla="*/ 67275 w 122731"/>
                  <a:gd name="connsiteY45" fmla="*/ 6364 h 66972"/>
                  <a:gd name="connsiteX46" fmla="*/ 66821 w 122731"/>
                  <a:gd name="connsiteY46" fmla="*/ 6364 h 66972"/>
                  <a:gd name="connsiteX47" fmla="*/ 64548 w 122731"/>
                  <a:gd name="connsiteY47" fmla="*/ 5758 h 66972"/>
                  <a:gd name="connsiteX48" fmla="*/ 60912 w 122731"/>
                  <a:gd name="connsiteY48" fmla="*/ 5758 h 66972"/>
                  <a:gd name="connsiteX49" fmla="*/ 58033 w 122731"/>
                  <a:gd name="connsiteY49" fmla="*/ 6818 h 66972"/>
                  <a:gd name="connsiteX50" fmla="*/ 53487 w 122731"/>
                  <a:gd name="connsiteY50" fmla="*/ 7273 h 66972"/>
                  <a:gd name="connsiteX51" fmla="*/ 47274 w 122731"/>
                  <a:gd name="connsiteY51" fmla="*/ 7121 h 66972"/>
                  <a:gd name="connsiteX52" fmla="*/ 45002 w 122731"/>
                  <a:gd name="connsiteY52" fmla="*/ 6364 h 66972"/>
                  <a:gd name="connsiteX53" fmla="*/ 41668 w 122731"/>
                  <a:gd name="connsiteY53" fmla="*/ 7879 h 66972"/>
                  <a:gd name="connsiteX54" fmla="*/ 40911 w 122731"/>
                  <a:gd name="connsiteY54" fmla="*/ 9243 h 66972"/>
                  <a:gd name="connsiteX55" fmla="*/ 39698 w 122731"/>
                  <a:gd name="connsiteY55" fmla="*/ 11061 h 66972"/>
                  <a:gd name="connsiteX56" fmla="*/ 37577 w 122731"/>
                  <a:gd name="connsiteY56" fmla="*/ 11819 h 66972"/>
                  <a:gd name="connsiteX57" fmla="*/ 35456 w 122731"/>
                  <a:gd name="connsiteY57" fmla="*/ 12122 h 66972"/>
                  <a:gd name="connsiteX58" fmla="*/ 33789 w 122731"/>
                  <a:gd name="connsiteY58" fmla="*/ 11819 h 66972"/>
                  <a:gd name="connsiteX59" fmla="*/ 32729 w 122731"/>
                  <a:gd name="connsiteY59" fmla="*/ 11061 h 66972"/>
                  <a:gd name="connsiteX60" fmla="*/ 32880 w 122731"/>
                  <a:gd name="connsiteY60" fmla="*/ 10455 h 66972"/>
                  <a:gd name="connsiteX61" fmla="*/ 31971 w 122731"/>
                  <a:gd name="connsiteY61" fmla="*/ 9849 h 66972"/>
                  <a:gd name="connsiteX62" fmla="*/ 29698 w 122731"/>
                  <a:gd name="connsiteY62" fmla="*/ 9849 h 66972"/>
                  <a:gd name="connsiteX63" fmla="*/ 27274 w 122731"/>
                  <a:gd name="connsiteY63" fmla="*/ 11212 h 66972"/>
                  <a:gd name="connsiteX64" fmla="*/ 25456 w 122731"/>
                  <a:gd name="connsiteY64" fmla="*/ 13182 h 66972"/>
                  <a:gd name="connsiteX65" fmla="*/ 26062 w 122731"/>
                  <a:gd name="connsiteY65" fmla="*/ 14394 h 66972"/>
                  <a:gd name="connsiteX66" fmla="*/ 27729 w 122731"/>
                  <a:gd name="connsiteY66" fmla="*/ 14698 h 66972"/>
                  <a:gd name="connsiteX67" fmla="*/ 28183 w 122731"/>
                  <a:gd name="connsiteY67" fmla="*/ 15152 h 66972"/>
                  <a:gd name="connsiteX68" fmla="*/ 28183 w 122731"/>
                  <a:gd name="connsiteY68" fmla="*/ 15607 h 66972"/>
                  <a:gd name="connsiteX69" fmla="*/ 27577 w 122731"/>
                  <a:gd name="connsiteY69" fmla="*/ 16364 h 66972"/>
                  <a:gd name="connsiteX70" fmla="*/ 26819 w 122731"/>
                  <a:gd name="connsiteY70" fmla="*/ 17576 h 66972"/>
                  <a:gd name="connsiteX71" fmla="*/ 23334 w 122731"/>
                  <a:gd name="connsiteY71" fmla="*/ 21213 h 66972"/>
                  <a:gd name="connsiteX72" fmla="*/ 19698 w 122731"/>
                  <a:gd name="connsiteY72" fmla="*/ 24849 h 66972"/>
                  <a:gd name="connsiteX73" fmla="*/ 19092 w 122731"/>
                  <a:gd name="connsiteY73" fmla="*/ 25910 h 66972"/>
                  <a:gd name="connsiteX74" fmla="*/ 17880 w 122731"/>
                  <a:gd name="connsiteY74" fmla="*/ 26668 h 66972"/>
                  <a:gd name="connsiteX75" fmla="*/ 13334 w 122731"/>
                  <a:gd name="connsiteY75" fmla="*/ 28637 h 66972"/>
                  <a:gd name="connsiteX76" fmla="*/ 12879 w 122731"/>
                  <a:gd name="connsiteY76" fmla="*/ 29395 h 66972"/>
                  <a:gd name="connsiteX77" fmla="*/ 12576 w 122731"/>
                  <a:gd name="connsiteY77" fmla="*/ 32577 h 66972"/>
                  <a:gd name="connsiteX78" fmla="*/ 11970 w 122731"/>
                  <a:gd name="connsiteY78" fmla="*/ 35304 h 66972"/>
                  <a:gd name="connsiteX79" fmla="*/ 8637 w 122731"/>
                  <a:gd name="connsiteY79" fmla="*/ 37729 h 66972"/>
                  <a:gd name="connsiteX80" fmla="*/ 5152 w 122731"/>
                  <a:gd name="connsiteY80" fmla="*/ 40153 h 66972"/>
                  <a:gd name="connsiteX81" fmla="*/ 4394 w 122731"/>
                  <a:gd name="connsiteY81" fmla="*/ 41668 h 66972"/>
                  <a:gd name="connsiteX82" fmla="*/ 3788 w 122731"/>
                  <a:gd name="connsiteY82" fmla="*/ 43486 h 66972"/>
                  <a:gd name="connsiteX83" fmla="*/ 2728 w 122731"/>
                  <a:gd name="connsiteY83" fmla="*/ 45456 h 66972"/>
                  <a:gd name="connsiteX84" fmla="*/ 2424 w 122731"/>
                  <a:gd name="connsiteY84" fmla="*/ 46517 h 66972"/>
                  <a:gd name="connsiteX85" fmla="*/ 4243 w 122731"/>
                  <a:gd name="connsiteY85" fmla="*/ 48184 h 66972"/>
                  <a:gd name="connsiteX86" fmla="*/ 3940 w 122731"/>
                  <a:gd name="connsiteY86" fmla="*/ 49547 h 66972"/>
                  <a:gd name="connsiteX87" fmla="*/ 3485 w 122731"/>
                  <a:gd name="connsiteY87" fmla="*/ 51517 h 66972"/>
                  <a:gd name="connsiteX88" fmla="*/ 1818 w 122731"/>
                  <a:gd name="connsiteY88" fmla="*/ 53032 h 66972"/>
                  <a:gd name="connsiteX89" fmla="*/ 0 w 122731"/>
                  <a:gd name="connsiteY89" fmla="*/ 53790 h 66972"/>
                  <a:gd name="connsiteX90" fmla="*/ 0 w 122731"/>
                  <a:gd name="connsiteY90" fmla="*/ 55911 h 66972"/>
                  <a:gd name="connsiteX91" fmla="*/ 1061 w 122731"/>
                  <a:gd name="connsiteY91" fmla="*/ 56214 h 66972"/>
                  <a:gd name="connsiteX92" fmla="*/ 3182 w 122731"/>
                  <a:gd name="connsiteY92" fmla="*/ 56063 h 66972"/>
                  <a:gd name="connsiteX93" fmla="*/ 6212 w 122731"/>
                  <a:gd name="connsiteY93" fmla="*/ 54547 h 66972"/>
                  <a:gd name="connsiteX94" fmla="*/ 8334 w 122731"/>
                  <a:gd name="connsiteY94" fmla="*/ 52426 h 66972"/>
                  <a:gd name="connsiteX95" fmla="*/ 7121 w 122731"/>
                  <a:gd name="connsiteY95" fmla="*/ 50608 h 66972"/>
                  <a:gd name="connsiteX96" fmla="*/ 6970 w 122731"/>
                  <a:gd name="connsiteY96" fmla="*/ 50153 h 66972"/>
                  <a:gd name="connsiteX97" fmla="*/ 7273 w 122731"/>
                  <a:gd name="connsiteY97" fmla="*/ 49699 h 66972"/>
                  <a:gd name="connsiteX98" fmla="*/ 9546 w 122731"/>
                  <a:gd name="connsiteY98" fmla="*/ 47729 h 66972"/>
                  <a:gd name="connsiteX99" fmla="*/ 12576 w 122731"/>
                  <a:gd name="connsiteY99" fmla="*/ 46365 h 66972"/>
                  <a:gd name="connsiteX100" fmla="*/ 16667 w 122731"/>
                  <a:gd name="connsiteY100" fmla="*/ 46214 h 66972"/>
                  <a:gd name="connsiteX101" fmla="*/ 21516 w 122731"/>
                  <a:gd name="connsiteY101" fmla="*/ 46971 h 66972"/>
                  <a:gd name="connsiteX102" fmla="*/ 22122 w 122731"/>
                  <a:gd name="connsiteY102" fmla="*/ 47274 h 66972"/>
                  <a:gd name="connsiteX103" fmla="*/ 21819 w 122731"/>
                  <a:gd name="connsiteY103" fmla="*/ 48487 h 66972"/>
                  <a:gd name="connsiteX104" fmla="*/ 22274 w 122731"/>
                  <a:gd name="connsiteY104" fmla="*/ 50456 h 66972"/>
                  <a:gd name="connsiteX105" fmla="*/ 23183 w 122731"/>
                  <a:gd name="connsiteY105" fmla="*/ 51669 h 66972"/>
                  <a:gd name="connsiteX106" fmla="*/ 21971 w 122731"/>
                  <a:gd name="connsiteY106" fmla="*/ 55457 h 66972"/>
                  <a:gd name="connsiteX107" fmla="*/ 22880 w 122731"/>
                  <a:gd name="connsiteY107" fmla="*/ 56669 h 66972"/>
                  <a:gd name="connsiteX108" fmla="*/ 24243 w 122731"/>
                  <a:gd name="connsiteY108" fmla="*/ 58032 h 66972"/>
                  <a:gd name="connsiteX109" fmla="*/ 25304 w 122731"/>
                  <a:gd name="connsiteY109" fmla="*/ 59396 h 66972"/>
                  <a:gd name="connsiteX110" fmla="*/ 26971 w 122731"/>
                  <a:gd name="connsiteY110" fmla="*/ 60457 h 66972"/>
                  <a:gd name="connsiteX111" fmla="*/ 28334 w 122731"/>
                  <a:gd name="connsiteY111" fmla="*/ 62578 h 66972"/>
                  <a:gd name="connsiteX112" fmla="*/ 28789 w 122731"/>
                  <a:gd name="connsiteY112" fmla="*/ 63639 h 66972"/>
                  <a:gd name="connsiteX113" fmla="*/ 29698 w 122731"/>
                  <a:gd name="connsiteY113" fmla="*/ 64396 h 66972"/>
                  <a:gd name="connsiteX114" fmla="*/ 31668 w 122731"/>
                  <a:gd name="connsiteY114" fmla="*/ 65154 h 66972"/>
                  <a:gd name="connsiteX115" fmla="*/ 37123 w 122731"/>
                  <a:gd name="connsiteY115" fmla="*/ 64093 h 66972"/>
                  <a:gd name="connsiteX116" fmla="*/ 40456 w 122731"/>
                  <a:gd name="connsiteY116" fmla="*/ 63033 h 66972"/>
                  <a:gd name="connsiteX117" fmla="*/ 42881 w 122731"/>
                  <a:gd name="connsiteY117" fmla="*/ 61820 h 66972"/>
                  <a:gd name="connsiteX118" fmla="*/ 44396 w 122731"/>
                  <a:gd name="connsiteY118" fmla="*/ 62123 h 66972"/>
                  <a:gd name="connsiteX119" fmla="*/ 49699 w 122731"/>
                  <a:gd name="connsiteY119" fmla="*/ 63790 h 66972"/>
                  <a:gd name="connsiteX120" fmla="*/ 51517 w 122731"/>
                  <a:gd name="connsiteY120" fmla="*/ 62881 h 66972"/>
                  <a:gd name="connsiteX121" fmla="*/ 55305 w 122731"/>
                  <a:gd name="connsiteY121" fmla="*/ 60608 h 66972"/>
                  <a:gd name="connsiteX122" fmla="*/ 55911 w 122731"/>
                  <a:gd name="connsiteY122" fmla="*/ 59396 h 66972"/>
                  <a:gd name="connsiteX123" fmla="*/ 58942 w 122731"/>
                  <a:gd name="connsiteY123" fmla="*/ 55608 h 66972"/>
                  <a:gd name="connsiteX124" fmla="*/ 59093 w 122731"/>
                  <a:gd name="connsiteY124" fmla="*/ 54699 h 66972"/>
                  <a:gd name="connsiteX125" fmla="*/ 57729 w 122731"/>
                  <a:gd name="connsiteY125" fmla="*/ 52426 h 66972"/>
                  <a:gd name="connsiteX126" fmla="*/ 58184 w 122731"/>
                  <a:gd name="connsiteY126" fmla="*/ 51820 h 66972"/>
                  <a:gd name="connsiteX127" fmla="*/ 61821 w 122731"/>
                  <a:gd name="connsiteY127" fmla="*/ 49396 h 66972"/>
                  <a:gd name="connsiteX128" fmla="*/ 63639 w 122731"/>
                  <a:gd name="connsiteY128" fmla="*/ 47274 h 66972"/>
                  <a:gd name="connsiteX129" fmla="*/ 65609 w 122731"/>
                  <a:gd name="connsiteY129" fmla="*/ 45911 h 66972"/>
                  <a:gd name="connsiteX130" fmla="*/ 67124 w 122731"/>
                  <a:gd name="connsiteY130" fmla="*/ 45911 h 66972"/>
                  <a:gd name="connsiteX131" fmla="*/ 67427 w 122731"/>
                  <a:gd name="connsiteY131" fmla="*/ 46365 h 66972"/>
                  <a:gd name="connsiteX132" fmla="*/ 67730 w 122731"/>
                  <a:gd name="connsiteY132" fmla="*/ 47274 h 66972"/>
                  <a:gd name="connsiteX133" fmla="*/ 67579 w 122731"/>
                  <a:gd name="connsiteY133" fmla="*/ 51517 h 66972"/>
                  <a:gd name="connsiteX134" fmla="*/ 68033 w 122731"/>
                  <a:gd name="connsiteY134" fmla="*/ 52729 h 66972"/>
                  <a:gd name="connsiteX135" fmla="*/ 71063 w 122731"/>
                  <a:gd name="connsiteY135" fmla="*/ 55608 h 66972"/>
                  <a:gd name="connsiteX136" fmla="*/ 73033 w 122731"/>
                  <a:gd name="connsiteY136" fmla="*/ 57275 h 66972"/>
                  <a:gd name="connsiteX137" fmla="*/ 77882 w 122731"/>
                  <a:gd name="connsiteY137" fmla="*/ 58487 h 66972"/>
                  <a:gd name="connsiteX138" fmla="*/ 78185 w 122731"/>
                  <a:gd name="connsiteY138" fmla="*/ 59093 h 66972"/>
                  <a:gd name="connsiteX139" fmla="*/ 76821 w 122731"/>
                  <a:gd name="connsiteY139" fmla="*/ 61214 h 66972"/>
                  <a:gd name="connsiteX140" fmla="*/ 79700 w 122731"/>
                  <a:gd name="connsiteY140" fmla="*/ 63942 h 66972"/>
                  <a:gd name="connsiteX141" fmla="*/ 80306 w 122731"/>
                  <a:gd name="connsiteY141" fmla="*/ 65760 h 66972"/>
                  <a:gd name="connsiteX142" fmla="*/ 81670 w 122731"/>
                  <a:gd name="connsiteY142" fmla="*/ 66972 h 66972"/>
                  <a:gd name="connsiteX143" fmla="*/ 83488 w 122731"/>
                  <a:gd name="connsiteY143" fmla="*/ 66366 h 66972"/>
                  <a:gd name="connsiteX144" fmla="*/ 84246 w 122731"/>
                  <a:gd name="connsiteY144" fmla="*/ 65305 h 66972"/>
                  <a:gd name="connsiteX145" fmla="*/ 83488 w 122731"/>
                  <a:gd name="connsiteY145" fmla="*/ 63487 h 66972"/>
                  <a:gd name="connsiteX146" fmla="*/ 82882 w 122731"/>
                  <a:gd name="connsiteY146" fmla="*/ 61669 h 66972"/>
                  <a:gd name="connsiteX147" fmla="*/ 83034 w 122731"/>
                  <a:gd name="connsiteY147" fmla="*/ 60608 h 66972"/>
                  <a:gd name="connsiteX148" fmla="*/ 83488 w 122731"/>
                  <a:gd name="connsiteY148" fmla="*/ 59396 h 66972"/>
                  <a:gd name="connsiteX149" fmla="*/ 84852 w 122731"/>
                  <a:gd name="connsiteY149" fmla="*/ 57578 h 66972"/>
                  <a:gd name="connsiteX150" fmla="*/ 88488 w 122731"/>
                  <a:gd name="connsiteY150" fmla="*/ 53638 h 66972"/>
                  <a:gd name="connsiteX151" fmla="*/ 89701 w 122731"/>
                  <a:gd name="connsiteY151" fmla="*/ 51366 h 66972"/>
                  <a:gd name="connsiteX152" fmla="*/ 90003 w 122731"/>
                  <a:gd name="connsiteY152" fmla="*/ 47729 h 66972"/>
                  <a:gd name="connsiteX153" fmla="*/ 90003 w 122731"/>
                  <a:gd name="connsiteY153" fmla="*/ 44850 h 66972"/>
                  <a:gd name="connsiteX154" fmla="*/ 91216 w 122731"/>
                  <a:gd name="connsiteY154" fmla="*/ 44093 h 66972"/>
                  <a:gd name="connsiteX155" fmla="*/ 93791 w 122731"/>
                  <a:gd name="connsiteY155" fmla="*/ 44699 h 66972"/>
                  <a:gd name="connsiteX156" fmla="*/ 94549 w 122731"/>
                  <a:gd name="connsiteY156" fmla="*/ 44547 h 66972"/>
                  <a:gd name="connsiteX157" fmla="*/ 95004 w 122731"/>
                  <a:gd name="connsiteY157" fmla="*/ 46365 h 66972"/>
                  <a:gd name="connsiteX158" fmla="*/ 96064 w 122731"/>
                  <a:gd name="connsiteY158" fmla="*/ 49244 h 66972"/>
                  <a:gd name="connsiteX159" fmla="*/ 97428 w 122731"/>
                  <a:gd name="connsiteY159" fmla="*/ 50608 h 66972"/>
                  <a:gd name="connsiteX160" fmla="*/ 98792 w 122731"/>
                  <a:gd name="connsiteY160" fmla="*/ 51063 h 66972"/>
                  <a:gd name="connsiteX161" fmla="*/ 100458 w 122731"/>
                  <a:gd name="connsiteY161" fmla="*/ 51063 h 66972"/>
                  <a:gd name="connsiteX162" fmla="*/ 104398 w 122731"/>
                  <a:gd name="connsiteY162" fmla="*/ 49244 h 66972"/>
                  <a:gd name="connsiteX163" fmla="*/ 107125 w 122731"/>
                  <a:gd name="connsiteY163" fmla="*/ 48487 h 66972"/>
                  <a:gd name="connsiteX164" fmla="*/ 108641 w 122731"/>
                  <a:gd name="connsiteY164" fmla="*/ 48790 h 66972"/>
                  <a:gd name="connsiteX165" fmla="*/ 109550 w 122731"/>
                  <a:gd name="connsiteY165" fmla="*/ 49850 h 66972"/>
                  <a:gd name="connsiteX166" fmla="*/ 111368 w 122731"/>
                  <a:gd name="connsiteY166" fmla="*/ 53032 h 66972"/>
                  <a:gd name="connsiteX167" fmla="*/ 112429 w 122731"/>
                  <a:gd name="connsiteY167" fmla="*/ 53335 h 66972"/>
                  <a:gd name="connsiteX168" fmla="*/ 113792 w 122731"/>
                  <a:gd name="connsiteY168" fmla="*/ 53032 h 66972"/>
                  <a:gd name="connsiteX169" fmla="*/ 114247 w 122731"/>
                  <a:gd name="connsiteY169" fmla="*/ 52426 h 66972"/>
                  <a:gd name="connsiteX170" fmla="*/ 113792 w 122731"/>
                  <a:gd name="connsiteY170" fmla="*/ 51214 h 66972"/>
                  <a:gd name="connsiteX171" fmla="*/ 113186 w 122731"/>
                  <a:gd name="connsiteY171" fmla="*/ 48638 h 66972"/>
                  <a:gd name="connsiteX172" fmla="*/ 112429 w 122731"/>
                  <a:gd name="connsiteY172" fmla="*/ 46668 h 66972"/>
                  <a:gd name="connsiteX173" fmla="*/ 111520 w 122731"/>
                  <a:gd name="connsiteY173" fmla="*/ 45759 h 66972"/>
                  <a:gd name="connsiteX174" fmla="*/ 111368 w 122731"/>
                  <a:gd name="connsiteY174" fmla="*/ 44547 h 66972"/>
                  <a:gd name="connsiteX175" fmla="*/ 111974 w 122731"/>
                  <a:gd name="connsiteY175" fmla="*/ 42426 h 66972"/>
                  <a:gd name="connsiteX176" fmla="*/ 112580 w 122731"/>
                  <a:gd name="connsiteY176" fmla="*/ 40608 h 66972"/>
                  <a:gd name="connsiteX177" fmla="*/ 113944 w 122731"/>
                  <a:gd name="connsiteY177" fmla="*/ 40153 h 66972"/>
                  <a:gd name="connsiteX178" fmla="*/ 115610 w 122731"/>
                  <a:gd name="connsiteY178" fmla="*/ 39850 h 66972"/>
                  <a:gd name="connsiteX179" fmla="*/ 117732 w 122731"/>
                  <a:gd name="connsiteY179" fmla="*/ 41820 h 66972"/>
                  <a:gd name="connsiteX180" fmla="*/ 120156 w 122731"/>
                  <a:gd name="connsiteY180" fmla="*/ 42426 h 66972"/>
                  <a:gd name="connsiteX181" fmla="*/ 121975 w 122731"/>
                  <a:gd name="connsiteY181" fmla="*/ 42274 h 66972"/>
                  <a:gd name="connsiteX182" fmla="*/ 122429 w 122731"/>
                  <a:gd name="connsiteY182" fmla="*/ 41214 h 66972"/>
                  <a:gd name="connsiteX183" fmla="*/ 122277 w 122731"/>
                  <a:gd name="connsiteY183" fmla="*/ 40001 h 66972"/>
                  <a:gd name="connsiteX184" fmla="*/ 121217 w 122731"/>
                  <a:gd name="connsiteY184" fmla="*/ 38335 h 66972"/>
                  <a:gd name="connsiteX185" fmla="*/ 121368 w 122731"/>
                  <a:gd name="connsiteY185" fmla="*/ 35910 h 66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2731" h="66972">
                    <a:moveTo>
                      <a:pt x="122580" y="31516"/>
                    </a:moveTo>
                    <a:lnTo>
                      <a:pt x="122732" y="30304"/>
                    </a:lnTo>
                    <a:lnTo>
                      <a:pt x="121671" y="28031"/>
                    </a:lnTo>
                    <a:lnTo>
                      <a:pt x="119853" y="27274"/>
                    </a:lnTo>
                    <a:lnTo>
                      <a:pt x="115156" y="31516"/>
                    </a:lnTo>
                    <a:lnTo>
                      <a:pt x="113944" y="31971"/>
                    </a:lnTo>
                    <a:lnTo>
                      <a:pt x="110156" y="30759"/>
                    </a:lnTo>
                    <a:lnTo>
                      <a:pt x="106974" y="28941"/>
                    </a:lnTo>
                    <a:lnTo>
                      <a:pt x="106519" y="27577"/>
                    </a:lnTo>
                    <a:lnTo>
                      <a:pt x="106065" y="26516"/>
                    </a:lnTo>
                    <a:lnTo>
                      <a:pt x="103337" y="25607"/>
                    </a:lnTo>
                    <a:lnTo>
                      <a:pt x="99852" y="24849"/>
                    </a:lnTo>
                    <a:lnTo>
                      <a:pt x="98792" y="24849"/>
                    </a:lnTo>
                    <a:lnTo>
                      <a:pt x="96670" y="24698"/>
                    </a:lnTo>
                    <a:lnTo>
                      <a:pt x="96216" y="24698"/>
                    </a:lnTo>
                    <a:lnTo>
                      <a:pt x="96064" y="23486"/>
                    </a:lnTo>
                    <a:lnTo>
                      <a:pt x="96216" y="20910"/>
                    </a:lnTo>
                    <a:lnTo>
                      <a:pt x="97277" y="17425"/>
                    </a:lnTo>
                    <a:lnTo>
                      <a:pt x="99549" y="13334"/>
                    </a:lnTo>
                    <a:lnTo>
                      <a:pt x="100004" y="10606"/>
                    </a:lnTo>
                    <a:lnTo>
                      <a:pt x="98034" y="9091"/>
                    </a:lnTo>
                    <a:lnTo>
                      <a:pt x="95307" y="9091"/>
                    </a:lnTo>
                    <a:lnTo>
                      <a:pt x="89701" y="6061"/>
                    </a:lnTo>
                    <a:lnTo>
                      <a:pt x="87882" y="3636"/>
                    </a:lnTo>
                    <a:lnTo>
                      <a:pt x="86367" y="3636"/>
                    </a:lnTo>
                    <a:lnTo>
                      <a:pt x="79700" y="4091"/>
                    </a:lnTo>
                    <a:lnTo>
                      <a:pt x="79397" y="3940"/>
                    </a:lnTo>
                    <a:lnTo>
                      <a:pt x="78336" y="2424"/>
                    </a:lnTo>
                    <a:lnTo>
                      <a:pt x="77276" y="1970"/>
                    </a:lnTo>
                    <a:lnTo>
                      <a:pt x="76669" y="2273"/>
                    </a:lnTo>
                    <a:lnTo>
                      <a:pt x="76215" y="2727"/>
                    </a:lnTo>
                    <a:lnTo>
                      <a:pt x="75458" y="2576"/>
                    </a:lnTo>
                    <a:lnTo>
                      <a:pt x="72427" y="303"/>
                    </a:lnTo>
                    <a:lnTo>
                      <a:pt x="71215" y="0"/>
                    </a:lnTo>
                    <a:lnTo>
                      <a:pt x="69548" y="303"/>
                    </a:lnTo>
                    <a:lnTo>
                      <a:pt x="67427" y="1515"/>
                    </a:lnTo>
                    <a:lnTo>
                      <a:pt x="66518" y="3030"/>
                    </a:lnTo>
                    <a:lnTo>
                      <a:pt x="66821" y="3940"/>
                    </a:lnTo>
                    <a:lnTo>
                      <a:pt x="67881" y="4243"/>
                    </a:lnTo>
                    <a:lnTo>
                      <a:pt x="70609" y="3940"/>
                    </a:lnTo>
                    <a:lnTo>
                      <a:pt x="71063" y="4243"/>
                    </a:lnTo>
                    <a:lnTo>
                      <a:pt x="71215" y="4697"/>
                    </a:lnTo>
                    <a:lnTo>
                      <a:pt x="70912" y="5303"/>
                    </a:lnTo>
                    <a:lnTo>
                      <a:pt x="68639" y="5606"/>
                    </a:lnTo>
                    <a:lnTo>
                      <a:pt x="68033" y="6212"/>
                    </a:lnTo>
                    <a:lnTo>
                      <a:pt x="67275" y="6364"/>
                    </a:lnTo>
                    <a:lnTo>
                      <a:pt x="66821" y="6364"/>
                    </a:lnTo>
                    <a:lnTo>
                      <a:pt x="64548" y="5758"/>
                    </a:lnTo>
                    <a:lnTo>
                      <a:pt x="60912" y="5758"/>
                    </a:lnTo>
                    <a:lnTo>
                      <a:pt x="58033" y="6818"/>
                    </a:lnTo>
                    <a:lnTo>
                      <a:pt x="53487" y="7273"/>
                    </a:lnTo>
                    <a:lnTo>
                      <a:pt x="47274" y="7121"/>
                    </a:lnTo>
                    <a:lnTo>
                      <a:pt x="45002" y="6364"/>
                    </a:lnTo>
                    <a:lnTo>
                      <a:pt x="41668" y="7879"/>
                    </a:lnTo>
                    <a:lnTo>
                      <a:pt x="40911" y="9243"/>
                    </a:lnTo>
                    <a:lnTo>
                      <a:pt x="39698" y="11061"/>
                    </a:lnTo>
                    <a:lnTo>
                      <a:pt x="37577" y="11819"/>
                    </a:lnTo>
                    <a:lnTo>
                      <a:pt x="35456" y="12122"/>
                    </a:lnTo>
                    <a:lnTo>
                      <a:pt x="33789" y="11819"/>
                    </a:lnTo>
                    <a:lnTo>
                      <a:pt x="32729" y="11061"/>
                    </a:lnTo>
                    <a:lnTo>
                      <a:pt x="32880" y="10455"/>
                    </a:lnTo>
                    <a:lnTo>
                      <a:pt x="31971" y="9849"/>
                    </a:lnTo>
                    <a:lnTo>
                      <a:pt x="29698" y="9849"/>
                    </a:lnTo>
                    <a:lnTo>
                      <a:pt x="27274" y="11212"/>
                    </a:lnTo>
                    <a:lnTo>
                      <a:pt x="25456" y="13182"/>
                    </a:lnTo>
                    <a:lnTo>
                      <a:pt x="26062" y="14394"/>
                    </a:lnTo>
                    <a:lnTo>
                      <a:pt x="27729" y="14698"/>
                    </a:lnTo>
                    <a:lnTo>
                      <a:pt x="28183" y="15152"/>
                    </a:lnTo>
                    <a:lnTo>
                      <a:pt x="28183" y="15607"/>
                    </a:lnTo>
                    <a:lnTo>
                      <a:pt x="27577" y="16364"/>
                    </a:lnTo>
                    <a:lnTo>
                      <a:pt x="26819" y="17576"/>
                    </a:lnTo>
                    <a:lnTo>
                      <a:pt x="23334" y="21213"/>
                    </a:lnTo>
                    <a:lnTo>
                      <a:pt x="19698" y="24849"/>
                    </a:lnTo>
                    <a:lnTo>
                      <a:pt x="19092" y="25910"/>
                    </a:lnTo>
                    <a:lnTo>
                      <a:pt x="17880" y="26668"/>
                    </a:lnTo>
                    <a:lnTo>
                      <a:pt x="13334" y="28637"/>
                    </a:lnTo>
                    <a:lnTo>
                      <a:pt x="12879" y="29395"/>
                    </a:lnTo>
                    <a:lnTo>
                      <a:pt x="12576" y="32577"/>
                    </a:lnTo>
                    <a:lnTo>
                      <a:pt x="11970" y="35304"/>
                    </a:lnTo>
                    <a:lnTo>
                      <a:pt x="8637" y="37729"/>
                    </a:lnTo>
                    <a:lnTo>
                      <a:pt x="5152" y="40153"/>
                    </a:lnTo>
                    <a:lnTo>
                      <a:pt x="4394" y="41668"/>
                    </a:lnTo>
                    <a:lnTo>
                      <a:pt x="3788" y="43486"/>
                    </a:lnTo>
                    <a:lnTo>
                      <a:pt x="2728" y="45456"/>
                    </a:lnTo>
                    <a:lnTo>
                      <a:pt x="2424" y="46517"/>
                    </a:lnTo>
                    <a:lnTo>
                      <a:pt x="4243" y="48184"/>
                    </a:lnTo>
                    <a:lnTo>
                      <a:pt x="3940" y="49547"/>
                    </a:lnTo>
                    <a:lnTo>
                      <a:pt x="3485" y="51517"/>
                    </a:lnTo>
                    <a:lnTo>
                      <a:pt x="1818" y="53032"/>
                    </a:lnTo>
                    <a:lnTo>
                      <a:pt x="0" y="53790"/>
                    </a:lnTo>
                    <a:lnTo>
                      <a:pt x="0" y="55911"/>
                    </a:lnTo>
                    <a:lnTo>
                      <a:pt x="1061" y="56214"/>
                    </a:lnTo>
                    <a:lnTo>
                      <a:pt x="3182" y="56063"/>
                    </a:lnTo>
                    <a:lnTo>
                      <a:pt x="6212" y="54547"/>
                    </a:lnTo>
                    <a:lnTo>
                      <a:pt x="8334" y="52426"/>
                    </a:lnTo>
                    <a:lnTo>
                      <a:pt x="7121" y="50608"/>
                    </a:lnTo>
                    <a:lnTo>
                      <a:pt x="6970" y="50153"/>
                    </a:lnTo>
                    <a:lnTo>
                      <a:pt x="7273" y="49699"/>
                    </a:lnTo>
                    <a:lnTo>
                      <a:pt x="9546" y="47729"/>
                    </a:lnTo>
                    <a:lnTo>
                      <a:pt x="12576" y="46365"/>
                    </a:lnTo>
                    <a:lnTo>
                      <a:pt x="16667" y="46214"/>
                    </a:lnTo>
                    <a:lnTo>
                      <a:pt x="21516" y="46971"/>
                    </a:lnTo>
                    <a:lnTo>
                      <a:pt x="22122" y="47274"/>
                    </a:lnTo>
                    <a:lnTo>
                      <a:pt x="21819" y="48487"/>
                    </a:lnTo>
                    <a:lnTo>
                      <a:pt x="22274" y="50456"/>
                    </a:lnTo>
                    <a:lnTo>
                      <a:pt x="23183" y="51669"/>
                    </a:lnTo>
                    <a:lnTo>
                      <a:pt x="21971" y="55457"/>
                    </a:lnTo>
                    <a:lnTo>
                      <a:pt x="22880" y="56669"/>
                    </a:lnTo>
                    <a:lnTo>
                      <a:pt x="24243" y="58032"/>
                    </a:lnTo>
                    <a:lnTo>
                      <a:pt x="25304" y="59396"/>
                    </a:lnTo>
                    <a:lnTo>
                      <a:pt x="26971" y="60457"/>
                    </a:lnTo>
                    <a:lnTo>
                      <a:pt x="28334" y="62578"/>
                    </a:lnTo>
                    <a:lnTo>
                      <a:pt x="28789" y="63639"/>
                    </a:lnTo>
                    <a:lnTo>
                      <a:pt x="29698" y="64396"/>
                    </a:lnTo>
                    <a:lnTo>
                      <a:pt x="31668" y="65154"/>
                    </a:lnTo>
                    <a:lnTo>
                      <a:pt x="37123" y="64093"/>
                    </a:lnTo>
                    <a:lnTo>
                      <a:pt x="40456" y="63033"/>
                    </a:lnTo>
                    <a:lnTo>
                      <a:pt x="42881" y="61820"/>
                    </a:lnTo>
                    <a:lnTo>
                      <a:pt x="44396" y="62123"/>
                    </a:lnTo>
                    <a:lnTo>
                      <a:pt x="49699" y="63790"/>
                    </a:lnTo>
                    <a:lnTo>
                      <a:pt x="51517" y="62881"/>
                    </a:lnTo>
                    <a:lnTo>
                      <a:pt x="55305" y="60608"/>
                    </a:lnTo>
                    <a:lnTo>
                      <a:pt x="55911" y="59396"/>
                    </a:lnTo>
                    <a:lnTo>
                      <a:pt x="58942" y="55608"/>
                    </a:lnTo>
                    <a:lnTo>
                      <a:pt x="59093" y="54699"/>
                    </a:lnTo>
                    <a:lnTo>
                      <a:pt x="57729" y="52426"/>
                    </a:lnTo>
                    <a:lnTo>
                      <a:pt x="58184" y="51820"/>
                    </a:lnTo>
                    <a:lnTo>
                      <a:pt x="61821" y="49396"/>
                    </a:lnTo>
                    <a:lnTo>
                      <a:pt x="63639" y="47274"/>
                    </a:lnTo>
                    <a:lnTo>
                      <a:pt x="65609" y="45911"/>
                    </a:lnTo>
                    <a:lnTo>
                      <a:pt x="67124" y="45911"/>
                    </a:lnTo>
                    <a:lnTo>
                      <a:pt x="67427" y="46365"/>
                    </a:lnTo>
                    <a:lnTo>
                      <a:pt x="67730" y="47274"/>
                    </a:lnTo>
                    <a:lnTo>
                      <a:pt x="67579" y="51517"/>
                    </a:lnTo>
                    <a:lnTo>
                      <a:pt x="68033" y="52729"/>
                    </a:lnTo>
                    <a:lnTo>
                      <a:pt x="71063" y="55608"/>
                    </a:lnTo>
                    <a:lnTo>
                      <a:pt x="73033" y="57275"/>
                    </a:lnTo>
                    <a:lnTo>
                      <a:pt x="77882" y="58487"/>
                    </a:lnTo>
                    <a:lnTo>
                      <a:pt x="78185" y="59093"/>
                    </a:lnTo>
                    <a:lnTo>
                      <a:pt x="76821" y="61214"/>
                    </a:lnTo>
                    <a:lnTo>
                      <a:pt x="79700" y="63942"/>
                    </a:lnTo>
                    <a:lnTo>
                      <a:pt x="80306" y="65760"/>
                    </a:lnTo>
                    <a:lnTo>
                      <a:pt x="81670" y="66972"/>
                    </a:lnTo>
                    <a:lnTo>
                      <a:pt x="83488" y="66366"/>
                    </a:lnTo>
                    <a:lnTo>
                      <a:pt x="84246" y="65305"/>
                    </a:lnTo>
                    <a:lnTo>
                      <a:pt x="83488" y="63487"/>
                    </a:lnTo>
                    <a:lnTo>
                      <a:pt x="82882" y="61669"/>
                    </a:lnTo>
                    <a:lnTo>
                      <a:pt x="83034" y="60608"/>
                    </a:lnTo>
                    <a:lnTo>
                      <a:pt x="83488" y="59396"/>
                    </a:lnTo>
                    <a:lnTo>
                      <a:pt x="84852" y="57578"/>
                    </a:lnTo>
                    <a:lnTo>
                      <a:pt x="88488" y="53638"/>
                    </a:lnTo>
                    <a:lnTo>
                      <a:pt x="89701" y="51366"/>
                    </a:lnTo>
                    <a:lnTo>
                      <a:pt x="90003" y="47729"/>
                    </a:lnTo>
                    <a:lnTo>
                      <a:pt x="90003" y="44850"/>
                    </a:lnTo>
                    <a:lnTo>
                      <a:pt x="91216" y="44093"/>
                    </a:lnTo>
                    <a:lnTo>
                      <a:pt x="93791" y="44699"/>
                    </a:lnTo>
                    <a:lnTo>
                      <a:pt x="94549" y="44547"/>
                    </a:lnTo>
                    <a:lnTo>
                      <a:pt x="95004" y="46365"/>
                    </a:lnTo>
                    <a:lnTo>
                      <a:pt x="96064" y="49244"/>
                    </a:lnTo>
                    <a:lnTo>
                      <a:pt x="97428" y="50608"/>
                    </a:lnTo>
                    <a:lnTo>
                      <a:pt x="98792" y="51063"/>
                    </a:lnTo>
                    <a:lnTo>
                      <a:pt x="100458" y="51063"/>
                    </a:lnTo>
                    <a:lnTo>
                      <a:pt x="104398" y="49244"/>
                    </a:lnTo>
                    <a:lnTo>
                      <a:pt x="107125" y="48487"/>
                    </a:lnTo>
                    <a:lnTo>
                      <a:pt x="108641" y="48790"/>
                    </a:lnTo>
                    <a:lnTo>
                      <a:pt x="109550" y="49850"/>
                    </a:lnTo>
                    <a:lnTo>
                      <a:pt x="111368" y="53032"/>
                    </a:lnTo>
                    <a:lnTo>
                      <a:pt x="112429" y="53335"/>
                    </a:lnTo>
                    <a:lnTo>
                      <a:pt x="113792" y="53032"/>
                    </a:lnTo>
                    <a:lnTo>
                      <a:pt x="114247" y="52426"/>
                    </a:lnTo>
                    <a:lnTo>
                      <a:pt x="113792" y="51214"/>
                    </a:lnTo>
                    <a:lnTo>
                      <a:pt x="113186" y="48638"/>
                    </a:lnTo>
                    <a:lnTo>
                      <a:pt x="112429" y="46668"/>
                    </a:lnTo>
                    <a:lnTo>
                      <a:pt x="111520" y="45759"/>
                    </a:lnTo>
                    <a:lnTo>
                      <a:pt x="111368" y="44547"/>
                    </a:lnTo>
                    <a:lnTo>
                      <a:pt x="111974" y="42426"/>
                    </a:lnTo>
                    <a:lnTo>
                      <a:pt x="112580" y="40608"/>
                    </a:lnTo>
                    <a:lnTo>
                      <a:pt x="113944" y="40153"/>
                    </a:lnTo>
                    <a:lnTo>
                      <a:pt x="115610" y="39850"/>
                    </a:lnTo>
                    <a:lnTo>
                      <a:pt x="117732" y="41820"/>
                    </a:lnTo>
                    <a:lnTo>
                      <a:pt x="120156" y="42426"/>
                    </a:lnTo>
                    <a:lnTo>
                      <a:pt x="121975" y="42274"/>
                    </a:lnTo>
                    <a:lnTo>
                      <a:pt x="122429" y="41214"/>
                    </a:lnTo>
                    <a:lnTo>
                      <a:pt x="122277" y="40001"/>
                    </a:lnTo>
                    <a:lnTo>
                      <a:pt x="121217" y="38335"/>
                    </a:lnTo>
                    <a:lnTo>
                      <a:pt x="121368" y="35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8" name="Freeform: Shape 3317">
                <a:extLst>
                  <a:ext uri="{FF2B5EF4-FFF2-40B4-BE49-F238E27FC236}">
                    <a16:creationId xmlns:a16="http://schemas.microsoft.com/office/drawing/2014/main" id="{7D16F739-6FC8-47DB-AC5D-A08328848906}"/>
                  </a:ext>
                </a:extLst>
              </p:cNvPr>
              <p:cNvSpPr/>
              <p:nvPr/>
            </p:nvSpPr>
            <p:spPr>
              <a:xfrm>
                <a:off x="6081757" y="4461838"/>
                <a:ext cx="205007" cy="236372"/>
              </a:xfrm>
              <a:custGeom>
                <a:avLst/>
                <a:gdLst>
                  <a:gd name="connsiteX0" fmla="*/ 204553 w 205007"/>
                  <a:gd name="connsiteY0" fmla="*/ 5606 h 236372"/>
                  <a:gd name="connsiteX1" fmla="*/ 203038 w 205007"/>
                  <a:gd name="connsiteY1" fmla="*/ 4849 h 236372"/>
                  <a:gd name="connsiteX2" fmla="*/ 201674 w 205007"/>
                  <a:gd name="connsiteY2" fmla="*/ 2273 h 236372"/>
                  <a:gd name="connsiteX3" fmla="*/ 200917 w 205007"/>
                  <a:gd name="connsiteY3" fmla="*/ 1667 h 236372"/>
                  <a:gd name="connsiteX4" fmla="*/ 196674 w 205007"/>
                  <a:gd name="connsiteY4" fmla="*/ 2879 h 236372"/>
                  <a:gd name="connsiteX5" fmla="*/ 194401 w 205007"/>
                  <a:gd name="connsiteY5" fmla="*/ 3939 h 236372"/>
                  <a:gd name="connsiteX6" fmla="*/ 193189 w 205007"/>
                  <a:gd name="connsiteY6" fmla="*/ 5000 h 236372"/>
                  <a:gd name="connsiteX7" fmla="*/ 192280 w 205007"/>
                  <a:gd name="connsiteY7" fmla="*/ 5152 h 236372"/>
                  <a:gd name="connsiteX8" fmla="*/ 190916 w 205007"/>
                  <a:gd name="connsiteY8" fmla="*/ 3637 h 236372"/>
                  <a:gd name="connsiteX9" fmla="*/ 189856 w 205007"/>
                  <a:gd name="connsiteY9" fmla="*/ 3485 h 236372"/>
                  <a:gd name="connsiteX10" fmla="*/ 188189 w 205007"/>
                  <a:gd name="connsiteY10" fmla="*/ 3637 h 236372"/>
                  <a:gd name="connsiteX11" fmla="*/ 186522 w 205007"/>
                  <a:gd name="connsiteY11" fmla="*/ 3637 h 236372"/>
                  <a:gd name="connsiteX12" fmla="*/ 185310 w 205007"/>
                  <a:gd name="connsiteY12" fmla="*/ 3485 h 236372"/>
                  <a:gd name="connsiteX13" fmla="*/ 184704 w 205007"/>
                  <a:gd name="connsiteY13" fmla="*/ 3637 h 236372"/>
                  <a:gd name="connsiteX14" fmla="*/ 182582 w 205007"/>
                  <a:gd name="connsiteY14" fmla="*/ 2727 h 236372"/>
                  <a:gd name="connsiteX15" fmla="*/ 175310 w 205007"/>
                  <a:gd name="connsiteY15" fmla="*/ 606 h 236372"/>
                  <a:gd name="connsiteX16" fmla="*/ 173946 w 205007"/>
                  <a:gd name="connsiteY16" fmla="*/ 0 h 236372"/>
                  <a:gd name="connsiteX17" fmla="*/ 172582 w 205007"/>
                  <a:gd name="connsiteY17" fmla="*/ 0 h 236372"/>
                  <a:gd name="connsiteX18" fmla="*/ 168794 w 205007"/>
                  <a:gd name="connsiteY18" fmla="*/ 1818 h 236372"/>
                  <a:gd name="connsiteX19" fmla="*/ 166673 w 205007"/>
                  <a:gd name="connsiteY19" fmla="*/ 2424 h 236372"/>
                  <a:gd name="connsiteX20" fmla="*/ 160612 w 205007"/>
                  <a:gd name="connsiteY20" fmla="*/ 3485 h 236372"/>
                  <a:gd name="connsiteX21" fmla="*/ 154097 w 205007"/>
                  <a:gd name="connsiteY21" fmla="*/ 4091 h 236372"/>
                  <a:gd name="connsiteX22" fmla="*/ 151672 w 205007"/>
                  <a:gd name="connsiteY22" fmla="*/ 4091 h 236372"/>
                  <a:gd name="connsiteX23" fmla="*/ 149854 w 205007"/>
                  <a:gd name="connsiteY23" fmla="*/ 5000 h 236372"/>
                  <a:gd name="connsiteX24" fmla="*/ 148794 w 205007"/>
                  <a:gd name="connsiteY24" fmla="*/ 6061 h 236372"/>
                  <a:gd name="connsiteX25" fmla="*/ 148036 w 205007"/>
                  <a:gd name="connsiteY25" fmla="*/ 8637 h 236372"/>
                  <a:gd name="connsiteX26" fmla="*/ 146824 w 205007"/>
                  <a:gd name="connsiteY26" fmla="*/ 13031 h 236372"/>
                  <a:gd name="connsiteX27" fmla="*/ 146217 w 205007"/>
                  <a:gd name="connsiteY27" fmla="*/ 14243 h 236372"/>
                  <a:gd name="connsiteX28" fmla="*/ 146369 w 205007"/>
                  <a:gd name="connsiteY28" fmla="*/ 15910 h 236372"/>
                  <a:gd name="connsiteX29" fmla="*/ 145915 w 205007"/>
                  <a:gd name="connsiteY29" fmla="*/ 18789 h 236372"/>
                  <a:gd name="connsiteX30" fmla="*/ 145763 w 205007"/>
                  <a:gd name="connsiteY30" fmla="*/ 21516 h 236372"/>
                  <a:gd name="connsiteX31" fmla="*/ 146066 w 205007"/>
                  <a:gd name="connsiteY31" fmla="*/ 23183 h 236372"/>
                  <a:gd name="connsiteX32" fmla="*/ 144248 w 205007"/>
                  <a:gd name="connsiteY32" fmla="*/ 26819 h 236372"/>
                  <a:gd name="connsiteX33" fmla="*/ 141975 w 205007"/>
                  <a:gd name="connsiteY33" fmla="*/ 31062 h 236372"/>
                  <a:gd name="connsiteX34" fmla="*/ 140157 w 205007"/>
                  <a:gd name="connsiteY34" fmla="*/ 34850 h 236372"/>
                  <a:gd name="connsiteX35" fmla="*/ 138187 w 205007"/>
                  <a:gd name="connsiteY35" fmla="*/ 38486 h 236372"/>
                  <a:gd name="connsiteX36" fmla="*/ 138187 w 205007"/>
                  <a:gd name="connsiteY36" fmla="*/ 38789 h 236372"/>
                  <a:gd name="connsiteX37" fmla="*/ 138036 w 205007"/>
                  <a:gd name="connsiteY37" fmla="*/ 40305 h 236372"/>
                  <a:gd name="connsiteX38" fmla="*/ 136369 w 205007"/>
                  <a:gd name="connsiteY38" fmla="*/ 41365 h 236372"/>
                  <a:gd name="connsiteX39" fmla="*/ 135460 w 205007"/>
                  <a:gd name="connsiteY39" fmla="*/ 43032 h 236372"/>
                  <a:gd name="connsiteX40" fmla="*/ 135157 w 205007"/>
                  <a:gd name="connsiteY40" fmla="*/ 45305 h 236372"/>
                  <a:gd name="connsiteX41" fmla="*/ 135611 w 205007"/>
                  <a:gd name="connsiteY41" fmla="*/ 48032 h 236372"/>
                  <a:gd name="connsiteX42" fmla="*/ 136823 w 205007"/>
                  <a:gd name="connsiteY42" fmla="*/ 51366 h 236372"/>
                  <a:gd name="connsiteX43" fmla="*/ 136975 w 205007"/>
                  <a:gd name="connsiteY43" fmla="*/ 53335 h 236372"/>
                  <a:gd name="connsiteX44" fmla="*/ 136520 w 205007"/>
                  <a:gd name="connsiteY44" fmla="*/ 53638 h 236372"/>
                  <a:gd name="connsiteX45" fmla="*/ 135611 w 205007"/>
                  <a:gd name="connsiteY45" fmla="*/ 54244 h 236372"/>
                  <a:gd name="connsiteX46" fmla="*/ 134853 w 205007"/>
                  <a:gd name="connsiteY46" fmla="*/ 54699 h 236372"/>
                  <a:gd name="connsiteX47" fmla="*/ 132581 w 205007"/>
                  <a:gd name="connsiteY47" fmla="*/ 52426 h 236372"/>
                  <a:gd name="connsiteX48" fmla="*/ 130005 w 205007"/>
                  <a:gd name="connsiteY48" fmla="*/ 50911 h 236372"/>
                  <a:gd name="connsiteX49" fmla="*/ 126065 w 205007"/>
                  <a:gd name="connsiteY49" fmla="*/ 48183 h 236372"/>
                  <a:gd name="connsiteX50" fmla="*/ 122277 w 205007"/>
                  <a:gd name="connsiteY50" fmla="*/ 47274 h 236372"/>
                  <a:gd name="connsiteX51" fmla="*/ 117277 w 205007"/>
                  <a:gd name="connsiteY51" fmla="*/ 47123 h 236372"/>
                  <a:gd name="connsiteX52" fmla="*/ 115156 w 205007"/>
                  <a:gd name="connsiteY52" fmla="*/ 47426 h 236372"/>
                  <a:gd name="connsiteX53" fmla="*/ 113641 w 205007"/>
                  <a:gd name="connsiteY53" fmla="*/ 46365 h 236372"/>
                  <a:gd name="connsiteX54" fmla="*/ 111368 w 205007"/>
                  <a:gd name="connsiteY54" fmla="*/ 45153 h 236372"/>
                  <a:gd name="connsiteX55" fmla="*/ 110155 w 205007"/>
                  <a:gd name="connsiteY55" fmla="*/ 44850 h 236372"/>
                  <a:gd name="connsiteX56" fmla="*/ 108641 w 205007"/>
                  <a:gd name="connsiteY56" fmla="*/ 45759 h 236372"/>
                  <a:gd name="connsiteX57" fmla="*/ 107428 w 205007"/>
                  <a:gd name="connsiteY57" fmla="*/ 45911 h 236372"/>
                  <a:gd name="connsiteX58" fmla="*/ 106065 w 205007"/>
                  <a:gd name="connsiteY58" fmla="*/ 45456 h 236372"/>
                  <a:gd name="connsiteX59" fmla="*/ 103186 w 205007"/>
                  <a:gd name="connsiteY59" fmla="*/ 45608 h 236372"/>
                  <a:gd name="connsiteX60" fmla="*/ 102883 w 205007"/>
                  <a:gd name="connsiteY60" fmla="*/ 43941 h 236372"/>
                  <a:gd name="connsiteX61" fmla="*/ 102428 w 205007"/>
                  <a:gd name="connsiteY61" fmla="*/ 43638 h 236372"/>
                  <a:gd name="connsiteX62" fmla="*/ 99398 w 205007"/>
                  <a:gd name="connsiteY62" fmla="*/ 43789 h 236372"/>
                  <a:gd name="connsiteX63" fmla="*/ 98337 w 205007"/>
                  <a:gd name="connsiteY63" fmla="*/ 42577 h 236372"/>
                  <a:gd name="connsiteX64" fmla="*/ 98034 w 205007"/>
                  <a:gd name="connsiteY64" fmla="*/ 42729 h 236372"/>
                  <a:gd name="connsiteX65" fmla="*/ 96822 w 205007"/>
                  <a:gd name="connsiteY65" fmla="*/ 42274 h 236372"/>
                  <a:gd name="connsiteX66" fmla="*/ 94398 w 205007"/>
                  <a:gd name="connsiteY66" fmla="*/ 40456 h 236372"/>
                  <a:gd name="connsiteX67" fmla="*/ 91670 w 205007"/>
                  <a:gd name="connsiteY67" fmla="*/ 41668 h 236372"/>
                  <a:gd name="connsiteX68" fmla="*/ 86367 w 205007"/>
                  <a:gd name="connsiteY68" fmla="*/ 41517 h 236372"/>
                  <a:gd name="connsiteX69" fmla="*/ 79397 w 205007"/>
                  <a:gd name="connsiteY69" fmla="*/ 41517 h 236372"/>
                  <a:gd name="connsiteX70" fmla="*/ 72275 w 205007"/>
                  <a:gd name="connsiteY70" fmla="*/ 41517 h 236372"/>
                  <a:gd name="connsiteX71" fmla="*/ 65760 w 205007"/>
                  <a:gd name="connsiteY71" fmla="*/ 41517 h 236372"/>
                  <a:gd name="connsiteX72" fmla="*/ 59093 w 205007"/>
                  <a:gd name="connsiteY72" fmla="*/ 41517 h 236372"/>
                  <a:gd name="connsiteX73" fmla="*/ 59093 w 205007"/>
                  <a:gd name="connsiteY73" fmla="*/ 43335 h 236372"/>
                  <a:gd name="connsiteX74" fmla="*/ 56820 w 205007"/>
                  <a:gd name="connsiteY74" fmla="*/ 48032 h 236372"/>
                  <a:gd name="connsiteX75" fmla="*/ 55760 w 205007"/>
                  <a:gd name="connsiteY75" fmla="*/ 51669 h 236372"/>
                  <a:gd name="connsiteX76" fmla="*/ 55608 w 205007"/>
                  <a:gd name="connsiteY76" fmla="*/ 55457 h 236372"/>
                  <a:gd name="connsiteX77" fmla="*/ 56214 w 205007"/>
                  <a:gd name="connsiteY77" fmla="*/ 58487 h 236372"/>
                  <a:gd name="connsiteX78" fmla="*/ 57275 w 205007"/>
                  <a:gd name="connsiteY78" fmla="*/ 60760 h 236372"/>
                  <a:gd name="connsiteX79" fmla="*/ 57881 w 205007"/>
                  <a:gd name="connsiteY79" fmla="*/ 63033 h 236372"/>
                  <a:gd name="connsiteX80" fmla="*/ 57427 w 205007"/>
                  <a:gd name="connsiteY80" fmla="*/ 64699 h 236372"/>
                  <a:gd name="connsiteX81" fmla="*/ 56366 w 205007"/>
                  <a:gd name="connsiteY81" fmla="*/ 65457 h 236372"/>
                  <a:gd name="connsiteX82" fmla="*/ 56972 w 205007"/>
                  <a:gd name="connsiteY82" fmla="*/ 66366 h 236372"/>
                  <a:gd name="connsiteX83" fmla="*/ 58638 w 205007"/>
                  <a:gd name="connsiteY83" fmla="*/ 66518 h 236372"/>
                  <a:gd name="connsiteX84" fmla="*/ 61366 w 205007"/>
                  <a:gd name="connsiteY84" fmla="*/ 65760 h 236372"/>
                  <a:gd name="connsiteX85" fmla="*/ 65457 w 205007"/>
                  <a:gd name="connsiteY85" fmla="*/ 64548 h 236372"/>
                  <a:gd name="connsiteX86" fmla="*/ 70912 w 205007"/>
                  <a:gd name="connsiteY86" fmla="*/ 62730 h 236372"/>
                  <a:gd name="connsiteX87" fmla="*/ 74397 w 205007"/>
                  <a:gd name="connsiteY87" fmla="*/ 61669 h 236372"/>
                  <a:gd name="connsiteX88" fmla="*/ 80306 w 205007"/>
                  <a:gd name="connsiteY88" fmla="*/ 62275 h 236372"/>
                  <a:gd name="connsiteX89" fmla="*/ 83488 w 205007"/>
                  <a:gd name="connsiteY89" fmla="*/ 63033 h 236372"/>
                  <a:gd name="connsiteX90" fmla="*/ 85003 w 205007"/>
                  <a:gd name="connsiteY90" fmla="*/ 64245 h 236372"/>
                  <a:gd name="connsiteX91" fmla="*/ 86822 w 205007"/>
                  <a:gd name="connsiteY91" fmla="*/ 69700 h 236372"/>
                  <a:gd name="connsiteX92" fmla="*/ 87579 w 205007"/>
                  <a:gd name="connsiteY92" fmla="*/ 70609 h 236372"/>
                  <a:gd name="connsiteX93" fmla="*/ 89094 w 205007"/>
                  <a:gd name="connsiteY93" fmla="*/ 72881 h 236372"/>
                  <a:gd name="connsiteX94" fmla="*/ 90306 w 205007"/>
                  <a:gd name="connsiteY94" fmla="*/ 75760 h 236372"/>
                  <a:gd name="connsiteX95" fmla="*/ 90458 w 205007"/>
                  <a:gd name="connsiteY95" fmla="*/ 77124 h 236372"/>
                  <a:gd name="connsiteX96" fmla="*/ 90306 w 205007"/>
                  <a:gd name="connsiteY96" fmla="*/ 78185 h 236372"/>
                  <a:gd name="connsiteX97" fmla="*/ 89246 w 205007"/>
                  <a:gd name="connsiteY97" fmla="*/ 79700 h 236372"/>
                  <a:gd name="connsiteX98" fmla="*/ 87882 w 205007"/>
                  <a:gd name="connsiteY98" fmla="*/ 81973 h 236372"/>
                  <a:gd name="connsiteX99" fmla="*/ 87427 w 205007"/>
                  <a:gd name="connsiteY99" fmla="*/ 83336 h 236372"/>
                  <a:gd name="connsiteX100" fmla="*/ 86215 w 205007"/>
                  <a:gd name="connsiteY100" fmla="*/ 84245 h 236372"/>
                  <a:gd name="connsiteX101" fmla="*/ 84852 w 205007"/>
                  <a:gd name="connsiteY101" fmla="*/ 85306 h 236372"/>
                  <a:gd name="connsiteX102" fmla="*/ 80912 w 205007"/>
                  <a:gd name="connsiteY102" fmla="*/ 85609 h 236372"/>
                  <a:gd name="connsiteX103" fmla="*/ 80306 w 205007"/>
                  <a:gd name="connsiteY103" fmla="*/ 86215 h 236372"/>
                  <a:gd name="connsiteX104" fmla="*/ 79246 w 205007"/>
                  <a:gd name="connsiteY104" fmla="*/ 88640 h 236372"/>
                  <a:gd name="connsiteX105" fmla="*/ 77124 w 205007"/>
                  <a:gd name="connsiteY105" fmla="*/ 90609 h 236372"/>
                  <a:gd name="connsiteX106" fmla="*/ 76215 w 205007"/>
                  <a:gd name="connsiteY106" fmla="*/ 92579 h 236372"/>
                  <a:gd name="connsiteX107" fmla="*/ 75306 w 205007"/>
                  <a:gd name="connsiteY107" fmla="*/ 95004 h 236372"/>
                  <a:gd name="connsiteX108" fmla="*/ 75458 w 205007"/>
                  <a:gd name="connsiteY108" fmla="*/ 98185 h 236372"/>
                  <a:gd name="connsiteX109" fmla="*/ 75003 w 205007"/>
                  <a:gd name="connsiteY109" fmla="*/ 102731 h 236372"/>
                  <a:gd name="connsiteX110" fmla="*/ 74700 w 205007"/>
                  <a:gd name="connsiteY110" fmla="*/ 105761 h 236372"/>
                  <a:gd name="connsiteX111" fmla="*/ 75760 w 205007"/>
                  <a:gd name="connsiteY111" fmla="*/ 106822 h 236372"/>
                  <a:gd name="connsiteX112" fmla="*/ 80457 w 205007"/>
                  <a:gd name="connsiteY112" fmla="*/ 107580 h 236372"/>
                  <a:gd name="connsiteX113" fmla="*/ 81367 w 205007"/>
                  <a:gd name="connsiteY113" fmla="*/ 108186 h 236372"/>
                  <a:gd name="connsiteX114" fmla="*/ 82579 w 205007"/>
                  <a:gd name="connsiteY114" fmla="*/ 110004 h 236372"/>
                  <a:gd name="connsiteX115" fmla="*/ 84094 w 205007"/>
                  <a:gd name="connsiteY115" fmla="*/ 111822 h 236372"/>
                  <a:gd name="connsiteX116" fmla="*/ 88488 w 205007"/>
                  <a:gd name="connsiteY116" fmla="*/ 113035 h 236372"/>
                  <a:gd name="connsiteX117" fmla="*/ 90155 w 205007"/>
                  <a:gd name="connsiteY117" fmla="*/ 114398 h 236372"/>
                  <a:gd name="connsiteX118" fmla="*/ 91519 w 205007"/>
                  <a:gd name="connsiteY118" fmla="*/ 115762 h 236372"/>
                  <a:gd name="connsiteX119" fmla="*/ 91670 w 205007"/>
                  <a:gd name="connsiteY119" fmla="*/ 116974 h 236372"/>
                  <a:gd name="connsiteX120" fmla="*/ 90610 w 205007"/>
                  <a:gd name="connsiteY120" fmla="*/ 121974 h 236372"/>
                  <a:gd name="connsiteX121" fmla="*/ 89701 w 205007"/>
                  <a:gd name="connsiteY121" fmla="*/ 126671 h 236372"/>
                  <a:gd name="connsiteX122" fmla="*/ 90155 w 205007"/>
                  <a:gd name="connsiteY122" fmla="*/ 130308 h 236372"/>
                  <a:gd name="connsiteX123" fmla="*/ 90458 w 205007"/>
                  <a:gd name="connsiteY123" fmla="*/ 133641 h 236372"/>
                  <a:gd name="connsiteX124" fmla="*/ 90912 w 205007"/>
                  <a:gd name="connsiteY124" fmla="*/ 138641 h 236372"/>
                  <a:gd name="connsiteX125" fmla="*/ 90761 w 205007"/>
                  <a:gd name="connsiteY125" fmla="*/ 141672 h 236372"/>
                  <a:gd name="connsiteX126" fmla="*/ 89549 w 205007"/>
                  <a:gd name="connsiteY126" fmla="*/ 143490 h 236372"/>
                  <a:gd name="connsiteX127" fmla="*/ 89549 w 205007"/>
                  <a:gd name="connsiteY127" fmla="*/ 145005 h 236372"/>
                  <a:gd name="connsiteX128" fmla="*/ 90003 w 205007"/>
                  <a:gd name="connsiteY128" fmla="*/ 146824 h 236372"/>
                  <a:gd name="connsiteX129" fmla="*/ 88943 w 205007"/>
                  <a:gd name="connsiteY129" fmla="*/ 151672 h 236372"/>
                  <a:gd name="connsiteX130" fmla="*/ 88337 w 205007"/>
                  <a:gd name="connsiteY130" fmla="*/ 152430 h 236372"/>
                  <a:gd name="connsiteX131" fmla="*/ 86367 w 205007"/>
                  <a:gd name="connsiteY131" fmla="*/ 153339 h 236372"/>
                  <a:gd name="connsiteX132" fmla="*/ 85306 w 205007"/>
                  <a:gd name="connsiteY132" fmla="*/ 154703 h 236372"/>
                  <a:gd name="connsiteX133" fmla="*/ 85003 w 205007"/>
                  <a:gd name="connsiteY133" fmla="*/ 156672 h 236372"/>
                  <a:gd name="connsiteX134" fmla="*/ 83943 w 205007"/>
                  <a:gd name="connsiteY134" fmla="*/ 159551 h 236372"/>
                  <a:gd name="connsiteX135" fmla="*/ 82882 w 205007"/>
                  <a:gd name="connsiteY135" fmla="*/ 160460 h 236372"/>
                  <a:gd name="connsiteX136" fmla="*/ 82882 w 205007"/>
                  <a:gd name="connsiteY136" fmla="*/ 161824 h 236372"/>
                  <a:gd name="connsiteX137" fmla="*/ 83943 w 205007"/>
                  <a:gd name="connsiteY137" fmla="*/ 162733 h 236372"/>
                  <a:gd name="connsiteX138" fmla="*/ 83943 w 205007"/>
                  <a:gd name="connsiteY138" fmla="*/ 164248 h 236372"/>
                  <a:gd name="connsiteX139" fmla="*/ 81973 w 205007"/>
                  <a:gd name="connsiteY139" fmla="*/ 165915 h 236372"/>
                  <a:gd name="connsiteX140" fmla="*/ 80912 w 205007"/>
                  <a:gd name="connsiteY140" fmla="*/ 167279 h 236372"/>
                  <a:gd name="connsiteX141" fmla="*/ 78336 w 205007"/>
                  <a:gd name="connsiteY141" fmla="*/ 167885 h 236372"/>
                  <a:gd name="connsiteX142" fmla="*/ 75458 w 205007"/>
                  <a:gd name="connsiteY142" fmla="*/ 167279 h 236372"/>
                  <a:gd name="connsiteX143" fmla="*/ 74700 w 205007"/>
                  <a:gd name="connsiteY143" fmla="*/ 166218 h 236372"/>
                  <a:gd name="connsiteX144" fmla="*/ 75458 w 205007"/>
                  <a:gd name="connsiteY144" fmla="*/ 164855 h 236372"/>
                  <a:gd name="connsiteX145" fmla="*/ 75154 w 205007"/>
                  <a:gd name="connsiteY145" fmla="*/ 163642 h 236372"/>
                  <a:gd name="connsiteX146" fmla="*/ 74094 w 205007"/>
                  <a:gd name="connsiteY146" fmla="*/ 162279 h 236372"/>
                  <a:gd name="connsiteX147" fmla="*/ 72579 w 205007"/>
                  <a:gd name="connsiteY147" fmla="*/ 159097 h 236372"/>
                  <a:gd name="connsiteX148" fmla="*/ 71215 w 205007"/>
                  <a:gd name="connsiteY148" fmla="*/ 158339 h 236372"/>
                  <a:gd name="connsiteX149" fmla="*/ 70457 w 205007"/>
                  <a:gd name="connsiteY149" fmla="*/ 159703 h 236372"/>
                  <a:gd name="connsiteX150" fmla="*/ 68033 w 205007"/>
                  <a:gd name="connsiteY150" fmla="*/ 162127 h 236372"/>
                  <a:gd name="connsiteX151" fmla="*/ 63790 w 205007"/>
                  <a:gd name="connsiteY151" fmla="*/ 165309 h 236372"/>
                  <a:gd name="connsiteX152" fmla="*/ 60911 w 205007"/>
                  <a:gd name="connsiteY152" fmla="*/ 165612 h 236372"/>
                  <a:gd name="connsiteX153" fmla="*/ 55457 w 205007"/>
                  <a:gd name="connsiteY153" fmla="*/ 164703 h 236372"/>
                  <a:gd name="connsiteX154" fmla="*/ 50911 w 205007"/>
                  <a:gd name="connsiteY154" fmla="*/ 163188 h 236372"/>
                  <a:gd name="connsiteX155" fmla="*/ 48790 w 205007"/>
                  <a:gd name="connsiteY155" fmla="*/ 159400 h 236372"/>
                  <a:gd name="connsiteX156" fmla="*/ 47426 w 205007"/>
                  <a:gd name="connsiteY156" fmla="*/ 156369 h 236372"/>
                  <a:gd name="connsiteX157" fmla="*/ 45456 w 205007"/>
                  <a:gd name="connsiteY157" fmla="*/ 152733 h 236372"/>
                  <a:gd name="connsiteX158" fmla="*/ 43335 w 205007"/>
                  <a:gd name="connsiteY158" fmla="*/ 151066 h 236372"/>
                  <a:gd name="connsiteX159" fmla="*/ 40911 w 205007"/>
                  <a:gd name="connsiteY159" fmla="*/ 150005 h 236372"/>
                  <a:gd name="connsiteX160" fmla="*/ 39850 w 205007"/>
                  <a:gd name="connsiteY160" fmla="*/ 149854 h 236372"/>
                  <a:gd name="connsiteX161" fmla="*/ 36517 w 205007"/>
                  <a:gd name="connsiteY161" fmla="*/ 151824 h 236372"/>
                  <a:gd name="connsiteX162" fmla="*/ 35607 w 205007"/>
                  <a:gd name="connsiteY162" fmla="*/ 152733 h 236372"/>
                  <a:gd name="connsiteX163" fmla="*/ 35607 w 205007"/>
                  <a:gd name="connsiteY163" fmla="*/ 154400 h 236372"/>
                  <a:gd name="connsiteX164" fmla="*/ 35910 w 205007"/>
                  <a:gd name="connsiteY164" fmla="*/ 155915 h 236372"/>
                  <a:gd name="connsiteX165" fmla="*/ 36365 w 205007"/>
                  <a:gd name="connsiteY165" fmla="*/ 156672 h 236372"/>
                  <a:gd name="connsiteX166" fmla="*/ 36819 w 205007"/>
                  <a:gd name="connsiteY166" fmla="*/ 157581 h 236372"/>
                  <a:gd name="connsiteX167" fmla="*/ 36819 w 205007"/>
                  <a:gd name="connsiteY167" fmla="*/ 159248 h 236372"/>
                  <a:gd name="connsiteX168" fmla="*/ 36214 w 205007"/>
                  <a:gd name="connsiteY168" fmla="*/ 161218 h 236372"/>
                  <a:gd name="connsiteX169" fmla="*/ 35910 w 205007"/>
                  <a:gd name="connsiteY169" fmla="*/ 163642 h 236372"/>
                  <a:gd name="connsiteX170" fmla="*/ 25455 w 205007"/>
                  <a:gd name="connsiteY170" fmla="*/ 165764 h 236372"/>
                  <a:gd name="connsiteX171" fmla="*/ 23789 w 205007"/>
                  <a:gd name="connsiteY171" fmla="*/ 165006 h 236372"/>
                  <a:gd name="connsiteX172" fmla="*/ 22425 w 205007"/>
                  <a:gd name="connsiteY172" fmla="*/ 163945 h 236372"/>
                  <a:gd name="connsiteX173" fmla="*/ 20758 w 205007"/>
                  <a:gd name="connsiteY173" fmla="*/ 164097 h 236372"/>
                  <a:gd name="connsiteX174" fmla="*/ 16213 w 205007"/>
                  <a:gd name="connsiteY174" fmla="*/ 165309 h 236372"/>
                  <a:gd name="connsiteX175" fmla="*/ 14546 w 205007"/>
                  <a:gd name="connsiteY175" fmla="*/ 164551 h 236372"/>
                  <a:gd name="connsiteX176" fmla="*/ 13031 w 205007"/>
                  <a:gd name="connsiteY176" fmla="*/ 163945 h 236372"/>
                  <a:gd name="connsiteX177" fmla="*/ 12273 w 205007"/>
                  <a:gd name="connsiteY177" fmla="*/ 164400 h 236372"/>
                  <a:gd name="connsiteX178" fmla="*/ 12121 w 205007"/>
                  <a:gd name="connsiteY178" fmla="*/ 165461 h 236372"/>
                  <a:gd name="connsiteX179" fmla="*/ 12879 w 205007"/>
                  <a:gd name="connsiteY179" fmla="*/ 170764 h 236372"/>
                  <a:gd name="connsiteX180" fmla="*/ 12728 w 205007"/>
                  <a:gd name="connsiteY180" fmla="*/ 172885 h 236372"/>
                  <a:gd name="connsiteX181" fmla="*/ 11667 w 205007"/>
                  <a:gd name="connsiteY181" fmla="*/ 175461 h 236372"/>
                  <a:gd name="connsiteX182" fmla="*/ 11061 w 205007"/>
                  <a:gd name="connsiteY182" fmla="*/ 177279 h 236372"/>
                  <a:gd name="connsiteX183" fmla="*/ 13940 w 205007"/>
                  <a:gd name="connsiteY183" fmla="*/ 177885 h 236372"/>
                  <a:gd name="connsiteX184" fmla="*/ 14849 w 205007"/>
                  <a:gd name="connsiteY184" fmla="*/ 178643 h 236372"/>
                  <a:gd name="connsiteX185" fmla="*/ 15909 w 205007"/>
                  <a:gd name="connsiteY185" fmla="*/ 180007 h 236372"/>
                  <a:gd name="connsiteX186" fmla="*/ 17274 w 205007"/>
                  <a:gd name="connsiteY186" fmla="*/ 181370 h 236372"/>
                  <a:gd name="connsiteX187" fmla="*/ 17274 w 205007"/>
                  <a:gd name="connsiteY187" fmla="*/ 182128 h 236372"/>
                  <a:gd name="connsiteX188" fmla="*/ 15758 w 205007"/>
                  <a:gd name="connsiteY188" fmla="*/ 183492 h 236372"/>
                  <a:gd name="connsiteX189" fmla="*/ 15304 w 205007"/>
                  <a:gd name="connsiteY189" fmla="*/ 185310 h 236372"/>
                  <a:gd name="connsiteX190" fmla="*/ 15909 w 205007"/>
                  <a:gd name="connsiteY190" fmla="*/ 186674 h 236372"/>
                  <a:gd name="connsiteX191" fmla="*/ 17879 w 205007"/>
                  <a:gd name="connsiteY191" fmla="*/ 188037 h 236372"/>
                  <a:gd name="connsiteX192" fmla="*/ 20607 w 205007"/>
                  <a:gd name="connsiteY192" fmla="*/ 189552 h 236372"/>
                  <a:gd name="connsiteX193" fmla="*/ 21971 w 205007"/>
                  <a:gd name="connsiteY193" fmla="*/ 190462 h 236372"/>
                  <a:gd name="connsiteX194" fmla="*/ 21819 w 205007"/>
                  <a:gd name="connsiteY194" fmla="*/ 191371 h 236372"/>
                  <a:gd name="connsiteX195" fmla="*/ 20607 w 205007"/>
                  <a:gd name="connsiteY195" fmla="*/ 193189 h 236372"/>
                  <a:gd name="connsiteX196" fmla="*/ 20001 w 205007"/>
                  <a:gd name="connsiteY196" fmla="*/ 194856 h 236372"/>
                  <a:gd name="connsiteX197" fmla="*/ 19243 w 205007"/>
                  <a:gd name="connsiteY197" fmla="*/ 196219 h 236372"/>
                  <a:gd name="connsiteX198" fmla="*/ 19395 w 205007"/>
                  <a:gd name="connsiteY198" fmla="*/ 197583 h 236372"/>
                  <a:gd name="connsiteX199" fmla="*/ 20607 w 205007"/>
                  <a:gd name="connsiteY199" fmla="*/ 198795 h 236372"/>
                  <a:gd name="connsiteX200" fmla="*/ 20455 w 205007"/>
                  <a:gd name="connsiteY200" fmla="*/ 199856 h 236372"/>
                  <a:gd name="connsiteX201" fmla="*/ 19698 w 205007"/>
                  <a:gd name="connsiteY201" fmla="*/ 200765 h 236372"/>
                  <a:gd name="connsiteX202" fmla="*/ 17879 w 205007"/>
                  <a:gd name="connsiteY202" fmla="*/ 200613 h 236372"/>
                  <a:gd name="connsiteX203" fmla="*/ 16516 w 205007"/>
                  <a:gd name="connsiteY203" fmla="*/ 200613 h 236372"/>
                  <a:gd name="connsiteX204" fmla="*/ 15152 w 205007"/>
                  <a:gd name="connsiteY204" fmla="*/ 200310 h 236372"/>
                  <a:gd name="connsiteX205" fmla="*/ 11061 w 205007"/>
                  <a:gd name="connsiteY205" fmla="*/ 196068 h 236372"/>
                  <a:gd name="connsiteX206" fmla="*/ 10152 w 205007"/>
                  <a:gd name="connsiteY206" fmla="*/ 195916 h 236372"/>
                  <a:gd name="connsiteX207" fmla="*/ 4243 w 205007"/>
                  <a:gd name="connsiteY207" fmla="*/ 199250 h 236372"/>
                  <a:gd name="connsiteX208" fmla="*/ 2879 w 205007"/>
                  <a:gd name="connsiteY208" fmla="*/ 200613 h 236372"/>
                  <a:gd name="connsiteX209" fmla="*/ 1667 w 205007"/>
                  <a:gd name="connsiteY209" fmla="*/ 202583 h 236372"/>
                  <a:gd name="connsiteX210" fmla="*/ 0 w 205007"/>
                  <a:gd name="connsiteY210" fmla="*/ 206674 h 236372"/>
                  <a:gd name="connsiteX211" fmla="*/ 6364 w 205007"/>
                  <a:gd name="connsiteY211" fmla="*/ 212583 h 236372"/>
                  <a:gd name="connsiteX212" fmla="*/ 7121 w 205007"/>
                  <a:gd name="connsiteY212" fmla="*/ 214402 h 236372"/>
                  <a:gd name="connsiteX213" fmla="*/ 14698 w 205007"/>
                  <a:gd name="connsiteY213" fmla="*/ 220766 h 236372"/>
                  <a:gd name="connsiteX214" fmla="*/ 17728 w 205007"/>
                  <a:gd name="connsiteY214" fmla="*/ 224402 h 236372"/>
                  <a:gd name="connsiteX215" fmla="*/ 17728 w 205007"/>
                  <a:gd name="connsiteY215" fmla="*/ 227432 h 236372"/>
                  <a:gd name="connsiteX216" fmla="*/ 18334 w 205007"/>
                  <a:gd name="connsiteY216" fmla="*/ 228190 h 236372"/>
                  <a:gd name="connsiteX217" fmla="*/ 18788 w 205007"/>
                  <a:gd name="connsiteY217" fmla="*/ 229554 h 236372"/>
                  <a:gd name="connsiteX218" fmla="*/ 20910 w 205007"/>
                  <a:gd name="connsiteY218" fmla="*/ 232584 h 236372"/>
                  <a:gd name="connsiteX219" fmla="*/ 22880 w 205007"/>
                  <a:gd name="connsiteY219" fmla="*/ 235008 h 236372"/>
                  <a:gd name="connsiteX220" fmla="*/ 23789 w 205007"/>
                  <a:gd name="connsiteY220" fmla="*/ 235766 h 236372"/>
                  <a:gd name="connsiteX221" fmla="*/ 24243 w 205007"/>
                  <a:gd name="connsiteY221" fmla="*/ 236372 h 236372"/>
                  <a:gd name="connsiteX222" fmla="*/ 25910 w 205007"/>
                  <a:gd name="connsiteY222" fmla="*/ 234857 h 236372"/>
                  <a:gd name="connsiteX223" fmla="*/ 28334 w 205007"/>
                  <a:gd name="connsiteY223" fmla="*/ 231827 h 236372"/>
                  <a:gd name="connsiteX224" fmla="*/ 29395 w 205007"/>
                  <a:gd name="connsiteY224" fmla="*/ 230160 h 236372"/>
                  <a:gd name="connsiteX225" fmla="*/ 32122 w 205007"/>
                  <a:gd name="connsiteY225" fmla="*/ 229857 h 236372"/>
                  <a:gd name="connsiteX226" fmla="*/ 33183 w 205007"/>
                  <a:gd name="connsiteY226" fmla="*/ 228796 h 236372"/>
                  <a:gd name="connsiteX227" fmla="*/ 33941 w 205007"/>
                  <a:gd name="connsiteY227" fmla="*/ 226978 h 236372"/>
                  <a:gd name="connsiteX228" fmla="*/ 34244 w 205007"/>
                  <a:gd name="connsiteY228" fmla="*/ 225917 h 236372"/>
                  <a:gd name="connsiteX229" fmla="*/ 37426 w 205007"/>
                  <a:gd name="connsiteY229" fmla="*/ 225008 h 236372"/>
                  <a:gd name="connsiteX230" fmla="*/ 41365 w 205007"/>
                  <a:gd name="connsiteY230" fmla="*/ 223493 h 236372"/>
                  <a:gd name="connsiteX231" fmla="*/ 43486 w 205007"/>
                  <a:gd name="connsiteY231" fmla="*/ 221826 h 236372"/>
                  <a:gd name="connsiteX232" fmla="*/ 45608 w 205007"/>
                  <a:gd name="connsiteY232" fmla="*/ 220766 h 236372"/>
                  <a:gd name="connsiteX233" fmla="*/ 46972 w 205007"/>
                  <a:gd name="connsiteY233" fmla="*/ 220614 h 236372"/>
                  <a:gd name="connsiteX234" fmla="*/ 47881 w 205007"/>
                  <a:gd name="connsiteY234" fmla="*/ 221069 h 236372"/>
                  <a:gd name="connsiteX235" fmla="*/ 50305 w 205007"/>
                  <a:gd name="connsiteY235" fmla="*/ 224099 h 236372"/>
                  <a:gd name="connsiteX236" fmla="*/ 52426 w 205007"/>
                  <a:gd name="connsiteY236" fmla="*/ 225917 h 236372"/>
                  <a:gd name="connsiteX237" fmla="*/ 53184 w 205007"/>
                  <a:gd name="connsiteY237" fmla="*/ 226220 h 236372"/>
                  <a:gd name="connsiteX238" fmla="*/ 53487 w 205007"/>
                  <a:gd name="connsiteY238" fmla="*/ 225463 h 236372"/>
                  <a:gd name="connsiteX239" fmla="*/ 54850 w 205007"/>
                  <a:gd name="connsiteY239" fmla="*/ 225463 h 236372"/>
                  <a:gd name="connsiteX240" fmla="*/ 55305 w 205007"/>
                  <a:gd name="connsiteY240" fmla="*/ 225917 h 236372"/>
                  <a:gd name="connsiteX241" fmla="*/ 55911 w 205007"/>
                  <a:gd name="connsiteY241" fmla="*/ 226826 h 236372"/>
                  <a:gd name="connsiteX242" fmla="*/ 57123 w 205007"/>
                  <a:gd name="connsiteY242" fmla="*/ 228190 h 236372"/>
                  <a:gd name="connsiteX243" fmla="*/ 59245 w 205007"/>
                  <a:gd name="connsiteY243" fmla="*/ 229857 h 236372"/>
                  <a:gd name="connsiteX244" fmla="*/ 61366 w 205007"/>
                  <a:gd name="connsiteY244" fmla="*/ 231524 h 236372"/>
                  <a:gd name="connsiteX245" fmla="*/ 62426 w 205007"/>
                  <a:gd name="connsiteY245" fmla="*/ 231827 h 236372"/>
                  <a:gd name="connsiteX246" fmla="*/ 64245 w 205007"/>
                  <a:gd name="connsiteY246" fmla="*/ 230918 h 236372"/>
                  <a:gd name="connsiteX247" fmla="*/ 66215 w 205007"/>
                  <a:gd name="connsiteY247" fmla="*/ 229554 h 236372"/>
                  <a:gd name="connsiteX248" fmla="*/ 69093 w 205007"/>
                  <a:gd name="connsiteY248" fmla="*/ 228645 h 236372"/>
                  <a:gd name="connsiteX249" fmla="*/ 69851 w 205007"/>
                  <a:gd name="connsiteY249" fmla="*/ 227736 h 236372"/>
                  <a:gd name="connsiteX250" fmla="*/ 70306 w 205007"/>
                  <a:gd name="connsiteY250" fmla="*/ 225766 h 236372"/>
                  <a:gd name="connsiteX251" fmla="*/ 70457 w 205007"/>
                  <a:gd name="connsiteY251" fmla="*/ 223796 h 236372"/>
                  <a:gd name="connsiteX252" fmla="*/ 70760 w 205007"/>
                  <a:gd name="connsiteY252" fmla="*/ 221372 h 236372"/>
                  <a:gd name="connsiteX253" fmla="*/ 71366 w 205007"/>
                  <a:gd name="connsiteY253" fmla="*/ 221069 h 236372"/>
                  <a:gd name="connsiteX254" fmla="*/ 72427 w 205007"/>
                  <a:gd name="connsiteY254" fmla="*/ 220766 h 236372"/>
                  <a:gd name="connsiteX255" fmla="*/ 74397 w 205007"/>
                  <a:gd name="connsiteY255" fmla="*/ 221523 h 236372"/>
                  <a:gd name="connsiteX256" fmla="*/ 75306 w 205007"/>
                  <a:gd name="connsiteY256" fmla="*/ 222129 h 236372"/>
                  <a:gd name="connsiteX257" fmla="*/ 76821 w 205007"/>
                  <a:gd name="connsiteY257" fmla="*/ 222129 h 236372"/>
                  <a:gd name="connsiteX258" fmla="*/ 77882 w 205007"/>
                  <a:gd name="connsiteY258" fmla="*/ 221523 h 236372"/>
                  <a:gd name="connsiteX259" fmla="*/ 79700 w 205007"/>
                  <a:gd name="connsiteY259" fmla="*/ 220311 h 236372"/>
                  <a:gd name="connsiteX260" fmla="*/ 82124 w 205007"/>
                  <a:gd name="connsiteY260" fmla="*/ 219856 h 236372"/>
                  <a:gd name="connsiteX261" fmla="*/ 84700 w 205007"/>
                  <a:gd name="connsiteY261" fmla="*/ 218796 h 236372"/>
                  <a:gd name="connsiteX262" fmla="*/ 87124 w 205007"/>
                  <a:gd name="connsiteY262" fmla="*/ 217281 h 236372"/>
                  <a:gd name="connsiteX263" fmla="*/ 88337 w 205007"/>
                  <a:gd name="connsiteY263" fmla="*/ 217129 h 236372"/>
                  <a:gd name="connsiteX264" fmla="*/ 89549 w 205007"/>
                  <a:gd name="connsiteY264" fmla="*/ 219099 h 236372"/>
                  <a:gd name="connsiteX265" fmla="*/ 90610 w 205007"/>
                  <a:gd name="connsiteY265" fmla="*/ 220463 h 236372"/>
                  <a:gd name="connsiteX266" fmla="*/ 90761 w 205007"/>
                  <a:gd name="connsiteY266" fmla="*/ 221220 h 236372"/>
                  <a:gd name="connsiteX267" fmla="*/ 89701 w 205007"/>
                  <a:gd name="connsiteY267" fmla="*/ 222887 h 236372"/>
                  <a:gd name="connsiteX268" fmla="*/ 88488 w 205007"/>
                  <a:gd name="connsiteY268" fmla="*/ 225008 h 236372"/>
                  <a:gd name="connsiteX269" fmla="*/ 89549 w 205007"/>
                  <a:gd name="connsiteY269" fmla="*/ 227584 h 236372"/>
                  <a:gd name="connsiteX270" fmla="*/ 89701 w 205007"/>
                  <a:gd name="connsiteY270" fmla="*/ 230160 h 236372"/>
                  <a:gd name="connsiteX271" fmla="*/ 89701 w 205007"/>
                  <a:gd name="connsiteY271" fmla="*/ 231675 h 236372"/>
                  <a:gd name="connsiteX272" fmla="*/ 90610 w 205007"/>
                  <a:gd name="connsiteY272" fmla="*/ 232281 h 236372"/>
                  <a:gd name="connsiteX273" fmla="*/ 91064 w 205007"/>
                  <a:gd name="connsiteY273" fmla="*/ 232584 h 236372"/>
                  <a:gd name="connsiteX274" fmla="*/ 91973 w 205007"/>
                  <a:gd name="connsiteY274" fmla="*/ 232130 h 236372"/>
                  <a:gd name="connsiteX275" fmla="*/ 93791 w 205007"/>
                  <a:gd name="connsiteY275" fmla="*/ 232281 h 236372"/>
                  <a:gd name="connsiteX276" fmla="*/ 95761 w 205007"/>
                  <a:gd name="connsiteY276" fmla="*/ 233039 h 236372"/>
                  <a:gd name="connsiteX277" fmla="*/ 97882 w 205007"/>
                  <a:gd name="connsiteY277" fmla="*/ 233039 h 236372"/>
                  <a:gd name="connsiteX278" fmla="*/ 99852 w 205007"/>
                  <a:gd name="connsiteY278" fmla="*/ 231978 h 236372"/>
                  <a:gd name="connsiteX279" fmla="*/ 103489 w 205007"/>
                  <a:gd name="connsiteY279" fmla="*/ 228190 h 236372"/>
                  <a:gd name="connsiteX280" fmla="*/ 108792 w 205007"/>
                  <a:gd name="connsiteY280" fmla="*/ 221523 h 236372"/>
                  <a:gd name="connsiteX281" fmla="*/ 113186 w 205007"/>
                  <a:gd name="connsiteY281" fmla="*/ 217432 h 236372"/>
                  <a:gd name="connsiteX282" fmla="*/ 116671 w 205007"/>
                  <a:gd name="connsiteY282" fmla="*/ 215614 h 236372"/>
                  <a:gd name="connsiteX283" fmla="*/ 118944 w 205007"/>
                  <a:gd name="connsiteY283" fmla="*/ 213644 h 236372"/>
                  <a:gd name="connsiteX284" fmla="*/ 120308 w 205007"/>
                  <a:gd name="connsiteY284" fmla="*/ 211371 h 236372"/>
                  <a:gd name="connsiteX285" fmla="*/ 122277 w 205007"/>
                  <a:gd name="connsiteY285" fmla="*/ 209856 h 236372"/>
                  <a:gd name="connsiteX286" fmla="*/ 126520 w 205007"/>
                  <a:gd name="connsiteY286" fmla="*/ 208644 h 236372"/>
                  <a:gd name="connsiteX287" fmla="*/ 129702 w 205007"/>
                  <a:gd name="connsiteY287" fmla="*/ 207280 h 236372"/>
                  <a:gd name="connsiteX288" fmla="*/ 132884 w 205007"/>
                  <a:gd name="connsiteY288" fmla="*/ 202583 h 236372"/>
                  <a:gd name="connsiteX289" fmla="*/ 137278 w 205007"/>
                  <a:gd name="connsiteY289" fmla="*/ 194401 h 236372"/>
                  <a:gd name="connsiteX290" fmla="*/ 138490 w 205007"/>
                  <a:gd name="connsiteY290" fmla="*/ 187128 h 236372"/>
                  <a:gd name="connsiteX291" fmla="*/ 139096 w 205007"/>
                  <a:gd name="connsiteY291" fmla="*/ 182582 h 236372"/>
                  <a:gd name="connsiteX292" fmla="*/ 138793 w 205007"/>
                  <a:gd name="connsiteY292" fmla="*/ 167279 h 236372"/>
                  <a:gd name="connsiteX293" fmla="*/ 138490 w 205007"/>
                  <a:gd name="connsiteY293" fmla="*/ 162127 h 236372"/>
                  <a:gd name="connsiteX294" fmla="*/ 139096 w 205007"/>
                  <a:gd name="connsiteY294" fmla="*/ 159400 h 236372"/>
                  <a:gd name="connsiteX295" fmla="*/ 140763 w 205007"/>
                  <a:gd name="connsiteY295" fmla="*/ 157581 h 236372"/>
                  <a:gd name="connsiteX296" fmla="*/ 145005 w 205007"/>
                  <a:gd name="connsiteY296" fmla="*/ 153491 h 236372"/>
                  <a:gd name="connsiteX297" fmla="*/ 148036 w 205007"/>
                  <a:gd name="connsiteY297" fmla="*/ 150308 h 236372"/>
                  <a:gd name="connsiteX298" fmla="*/ 150309 w 205007"/>
                  <a:gd name="connsiteY298" fmla="*/ 146369 h 236372"/>
                  <a:gd name="connsiteX299" fmla="*/ 154551 w 205007"/>
                  <a:gd name="connsiteY299" fmla="*/ 137581 h 236372"/>
                  <a:gd name="connsiteX300" fmla="*/ 156370 w 205007"/>
                  <a:gd name="connsiteY300" fmla="*/ 134853 h 236372"/>
                  <a:gd name="connsiteX301" fmla="*/ 157279 w 205007"/>
                  <a:gd name="connsiteY301" fmla="*/ 133490 h 236372"/>
                  <a:gd name="connsiteX302" fmla="*/ 159854 w 205007"/>
                  <a:gd name="connsiteY302" fmla="*/ 131217 h 236372"/>
                  <a:gd name="connsiteX303" fmla="*/ 163491 w 205007"/>
                  <a:gd name="connsiteY303" fmla="*/ 129096 h 236372"/>
                  <a:gd name="connsiteX304" fmla="*/ 168188 w 205007"/>
                  <a:gd name="connsiteY304" fmla="*/ 127429 h 236372"/>
                  <a:gd name="connsiteX305" fmla="*/ 175461 w 205007"/>
                  <a:gd name="connsiteY305" fmla="*/ 121368 h 236372"/>
                  <a:gd name="connsiteX306" fmla="*/ 181219 w 205007"/>
                  <a:gd name="connsiteY306" fmla="*/ 115156 h 236372"/>
                  <a:gd name="connsiteX307" fmla="*/ 180310 w 205007"/>
                  <a:gd name="connsiteY307" fmla="*/ 107731 h 236372"/>
                  <a:gd name="connsiteX308" fmla="*/ 181673 w 205007"/>
                  <a:gd name="connsiteY308" fmla="*/ 101670 h 236372"/>
                  <a:gd name="connsiteX309" fmla="*/ 184856 w 205007"/>
                  <a:gd name="connsiteY309" fmla="*/ 93943 h 236372"/>
                  <a:gd name="connsiteX310" fmla="*/ 185916 w 205007"/>
                  <a:gd name="connsiteY310" fmla="*/ 85609 h 236372"/>
                  <a:gd name="connsiteX311" fmla="*/ 184856 w 205007"/>
                  <a:gd name="connsiteY311" fmla="*/ 76973 h 236372"/>
                  <a:gd name="connsiteX312" fmla="*/ 185310 w 205007"/>
                  <a:gd name="connsiteY312" fmla="*/ 69851 h 236372"/>
                  <a:gd name="connsiteX313" fmla="*/ 188189 w 205007"/>
                  <a:gd name="connsiteY313" fmla="*/ 61517 h 236372"/>
                  <a:gd name="connsiteX314" fmla="*/ 189553 w 205007"/>
                  <a:gd name="connsiteY314" fmla="*/ 58487 h 236372"/>
                  <a:gd name="connsiteX315" fmla="*/ 189856 w 205007"/>
                  <a:gd name="connsiteY315" fmla="*/ 53487 h 236372"/>
                  <a:gd name="connsiteX316" fmla="*/ 189856 w 205007"/>
                  <a:gd name="connsiteY316" fmla="*/ 45456 h 236372"/>
                  <a:gd name="connsiteX317" fmla="*/ 193644 w 205007"/>
                  <a:gd name="connsiteY317" fmla="*/ 34547 h 236372"/>
                  <a:gd name="connsiteX318" fmla="*/ 197280 w 205007"/>
                  <a:gd name="connsiteY318" fmla="*/ 28031 h 236372"/>
                  <a:gd name="connsiteX319" fmla="*/ 201371 w 205007"/>
                  <a:gd name="connsiteY319" fmla="*/ 20758 h 236372"/>
                  <a:gd name="connsiteX320" fmla="*/ 202887 w 205007"/>
                  <a:gd name="connsiteY320" fmla="*/ 16364 h 236372"/>
                  <a:gd name="connsiteX321" fmla="*/ 205008 w 205007"/>
                  <a:gd name="connsiteY321" fmla="*/ 10455 h 23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205007" h="236372">
                    <a:moveTo>
                      <a:pt x="204553" y="5606"/>
                    </a:moveTo>
                    <a:lnTo>
                      <a:pt x="203038" y="4849"/>
                    </a:lnTo>
                    <a:lnTo>
                      <a:pt x="201674" y="2273"/>
                    </a:lnTo>
                    <a:lnTo>
                      <a:pt x="200917" y="1667"/>
                    </a:lnTo>
                    <a:lnTo>
                      <a:pt x="196674" y="2879"/>
                    </a:lnTo>
                    <a:lnTo>
                      <a:pt x="194401" y="3939"/>
                    </a:lnTo>
                    <a:lnTo>
                      <a:pt x="193189" y="5000"/>
                    </a:lnTo>
                    <a:lnTo>
                      <a:pt x="192280" y="5152"/>
                    </a:lnTo>
                    <a:lnTo>
                      <a:pt x="190916" y="3637"/>
                    </a:lnTo>
                    <a:lnTo>
                      <a:pt x="189856" y="3485"/>
                    </a:lnTo>
                    <a:lnTo>
                      <a:pt x="188189" y="3637"/>
                    </a:lnTo>
                    <a:lnTo>
                      <a:pt x="186522" y="3637"/>
                    </a:lnTo>
                    <a:lnTo>
                      <a:pt x="185310" y="3485"/>
                    </a:lnTo>
                    <a:lnTo>
                      <a:pt x="184704" y="3637"/>
                    </a:lnTo>
                    <a:lnTo>
                      <a:pt x="182582" y="2727"/>
                    </a:lnTo>
                    <a:lnTo>
                      <a:pt x="175310" y="606"/>
                    </a:lnTo>
                    <a:lnTo>
                      <a:pt x="173946" y="0"/>
                    </a:lnTo>
                    <a:lnTo>
                      <a:pt x="172582" y="0"/>
                    </a:lnTo>
                    <a:lnTo>
                      <a:pt x="168794" y="1818"/>
                    </a:lnTo>
                    <a:lnTo>
                      <a:pt x="166673" y="2424"/>
                    </a:lnTo>
                    <a:lnTo>
                      <a:pt x="160612" y="3485"/>
                    </a:lnTo>
                    <a:lnTo>
                      <a:pt x="154097" y="4091"/>
                    </a:lnTo>
                    <a:lnTo>
                      <a:pt x="151672" y="4091"/>
                    </a:lnTo>
                    <a:lnTo>
                      <a:pt x="149854" y="5000"/>
                    </a:lnTo>
                    <a:lnTo>
                      <a:pt x="148794" y="6061"/>
                    </a:lnTo>
                    <a:lnTo>
                      <a:pt x="148036" y="8637"/>
                    </a:lnTo>
                    <a:lnTo>
                      <a:pt x="146824" y="13031"/>
                    </a:lnTo>
                    <a:lnTo>
                      <a:pt x="146217" y="14243"/>
                    </a:lnTo>
                    <a:lnTo>
                      <a:pt x="146369" y="15910"/>
                    </a:lnTo>
                    <a:lnTo>
                      <a:pt x="145915" y="18789"/>
                    </a:lnTo>
                    <a:lnTo>
                      <a:pt x="145763" y="21516"/>
                    </a:lnTo>
                    <a:lnTo>
                      <a:pt x="146066" y="23183"/>
                    </a:lnTo>
                    <a:lnTo>
                      <a:pt x="144248" y="26819"/>
                    </a:lnTo>
                    <a:lnTo>
                      <a:pt x="141975" y="31062"/>
                    </a:lnTo>
                    <a:lnTo>
                      <a:pt x="140157" y="34850"/>
                    </a:lnTo>
                    <a:lnTo>
                      <a:pt x="138187" y="38486"/>
                    </a:lnTo>
                    <a:lnTo>
                      <a:pt x="138187" y="38789"/>
                    </a:lnTo>
                    <a:lnTo>
                      <a:pt x="138036" y="40305"/>
                    </a:lnTo>
                    <a:lnTo>
                      <a:pt x="136369" y="41365"/>
                    </a:lnTo>
                    <a:lnTo>
                      <a:pt x="135460" y="43032"/>
                    </a:lnTo>
                    <a:lnTo>
                      <a:pt x="135157" y="45305"/>
                    </a:lnTo>
                    <a:lnTo>
                      <a:pt x="135611" y="48032"/>
                    </a:lnTo>
                    <a:lnTo>
                      <a:pt x="136823" y="51366"/>
                    </a:lnTo>
                    <a:lnTo>
                      <a:pt x="136975" y="53335"/>
                    </a:lnTo>
                    <a:lnTo>
                      <a:pt x="136520" y="53638"/>
                    </a:lnTo>
                    <a:lnTo>
                      <a:pt x="135611" y="54244"/>
                    </a:lnTo>
                    <a:lnTo>
                      <a:pt x="134853" y="54699"/>
                    </a:lnTo>
                    <a:lnTo>
                      <a:pt x="132581" y="52426"/>
                    </a:lnTo>
                    <a:lnTo>
                      <a:pt x="130005" y="50911"/>
                    </a:lnTo>
                    <a:lnTo>
                      <a:pt x="126065" y="48183"/>
                    </a:lnTo>
                    <a:lnTo>
                      <a:pt x="122277" y="47274"/>
                    </a:lnTo>
                    <a:lnTo>
                      <a:pt x="117277" y="47123"/>
                    </a:lnTo>
                    <a:lnTo>
                      <a:pt x="115156" y="47426"/>
                    </a:lnTo>
                    <a:lnTo>
                      <a:pt x="113641" y="46365"/>
                    </a:lnTo>
                    <a:lnTo>
                      <a:pt x="111368" y="45153"/>
                    </a:lnTo>
                    <a:lnTo>
                      <a:pt x="110155" y="44850"/>
                    </a:lnTo>
                    <a:lnTo>
                      <a:pt x="108641" y="45759"/>
                    </a:lnTo>
                    <a:lnTo>
                      <a:pt x="107428" y="45911"/>
                    </a:lnTo>
                    <a:lnTo>
                      <a:pt x="106065" y="45456"/>
                    </a:lnTo>
                    <a:lnTo>
                      <a:pt x="103186" y="45608"/>
                    </a:lnTo>
                    <a:lnTo>
                      <a:pt x="102883" y="43941"/>
                    </a:lnTo>
                    <a:lnTo>
                      <a:pt x="102428" y="43638"/>
                    </a:lnTo>
                    <a:lnTo>
                      <a:pt x="99398" y="43789"/>
                    </a:lnTo>
                    <a:lnTo>
                      <a:pt x="98337" y="42577"/>
                    </a:lnTo>
                    <a:lnTo>
                      <a:pt x="98034" y="42729"/>
                    </a:lnTo>
                    <a:lnTo>
                      <a:pt x="96822" y="42274"/>
                    </a:lnTo>
                    <a:lnTo>
                      <a:pt x="94398" y="40456"/>
                    </a:lnTo>
                    <a:lnTo>
                      <a:pt x="91670" y="41668"/>
                    </a:lnTo>
                    <a:lnTo>
                      <a:pt x="86367" y="41517"/>
                    </a:lnTo>
                    <a:lnTo>
                      <a:pt x="79397" y="41517"/>
                    </a:lnTo>
                    <a:lnTo>
                      <a:pt x="72275" y="41517"/>
                    </a:lnTo>
                    <a:lnTo>
                      <a:pt x="65760" y="41517"/>
                    </a:lnTo>
                    <a:lnTo>
                      <a:pt x="59093" y="41517"/>
                    </a:lnTo>
                    <a:lnTo>
                      <a:pt x="59093" y="43335"/>
                    </a:lnTo>
                    <a:lnTo>
                      <a:pt x="56820" y="48032"/>
                    </a:lnTo>
                    <a:lnTo>
                      <a:pt x="55760" y="51669"/>
                    </a:lnTo>
                    <a:lnTo>
                      <a:pt x="55608" y="55457"/>
                    </a:lnTo>
                    <a:lnTo>
                      <a:pt x="56214" y="58487"/>
                    </a:lnTo>
                    <a:lnTo>
                      <a:pt x="57275" y="60760"/>
                    </a:lnTo>
                    <a:lnTo>
                      <a:pt x="57881" y="63033"/>
                    </a:lnTo>
                    <a:lnTo>
                      <a:pt x="57427" y="64699"/>
                    </a:lnTo>
                    <a:lnTo>
                      <a:pt x="56366" y="65457"/>
                    </a:lnTo>
                    <a:lnTo>
                      <a:pt x="56972" y="66366"/>
                    </a:lnTo>
                    <a:lnTo>
                      <a:pt x="58638" y="66518"/>
                    </a:lnTo>
                    <a:lnTo>
                      <a:pt x="61366" y="65760"/>
                    </a:lnTo>
                    <a:lnTo>
                      <a:pt x="65457" y="64548"/>
                    </a:lnTo>
                    <a:lnTo>
                      <a:pt x="70912" y="62730"/>
                    </a:lnTo>
                    <a:lnTo>
                      <a:pt x="74397" y="61669"/>
                    </a:lnTo>
                    <a:lnTo>
                      <a:pt x="80306" y="62275"/>
                    </a:lnTo>
                    <a:lnTo>
                      <a:pt x="83488" y="63033"/>
                    </a:lnTo>
                    <a:lnTo>
                      <a:pt x="85003" y="64245"/>
                    </a:lnTo>
                    <a:lnTo>
                      <a:pt x="86822" y="69700"/>
                    </a:lnTo>
                    <a:lnTo>
                      <a:pt x="87579" y="70609"/>
                    </a:lnTo>
                    <a:lnTo>
                      <a:pt x="89094" y="72881"/>
                    </a:lnTo>
                    <a:lnTo>
                      <a:pt x="90306" y="75760"/>
                    </a:lnTo>
                    <a:lnTo>
                      <a:pt x="90458" y="77124"/>
                    </a:lnTo>
                    <a:lnTo>
                      <a:pt x="90306" y="78185"/>
                    </a:lnTo>
                    <a:lnTo>
                      <a:pt x="89246" y="79700"/>
                    </a:lnTo>
                    <a:lnTo>
                      <a:pt x="87882" y="81973"/>
                    </a:lnTo>
                    <a:lnTo>
                      <a:pt x="87427" y="83336"/>
                    </a:lnTo>
                    <a:lnTo>
                      <a:pt x="86215" y="84245"/>
                    </a:lnTo>
                    <a:lnTo>
                      <a:pt x="84852" y="85306"/>
                    </a:lnTo>
                    <a:lnTo>
                      <a:pt x="80912" y="85609"/>
                    </a:lnTo>
                    <a:lnTo>
                      <a:pt x="80306" y="86215"/>
                    </a:lnTo>
                    <a:lnTo>
                      <a:pt x="79246" y="88640"/>
                    </a:lnTo>
                    <a:lnTo>
                      <a:pt x="77124" y="90609"/>
                    </a:lnTo>
                    <a:lnTo>
                      <a:pt x="76215" y="92579"/>
                    </a:lnTo>
                    <a:lnTo>
                      <a:pt x="75306" y="95004"/>
                    </a:lnTo>
                    <a:lnTo>
                      <a:pt x="75458" y="98185"/>
                    </a:lnTo>
                    <a:lnTo>
                      <a:pt x="75003" y="102731"/>
                    </a:lnTo>
                    <a:lnTo>
                      <a:pt x="74700" y="105761"/>
                    </a:lnTo>
                    <a:lnTo>
                      <a:pt x="75760" y="106822"/>
                    </a:lnTo>
                    <a:lnTo>
                      <a:pt x="80457" y="107580"/>
                    </a:lnTo>
                    <a:lnTo>
                      <a:pt x="81367" y="108186"/>
                    </a:lnTo>
                    <a:lnTo>
                      <a:pt x="82579" y="110004"/>
                    </a:lnTo>
                    <a:lnTo>
                      <a:pt x="84094" y="111822"/>
                    </a:lnTo>
                    <a:lnTo>
                      <a:pt x="88488" y="113035"/>
                    </a:lnTo>
                    <a:lnTo>
                      <a:pt x="90155" y="114398"/>
                    </a:lnTo>
                    <a:lnTo>
                      <a:pt x="91519" y="115762"/>
                    </a:lnTo>
                    <a:lnTo>
                      <a:pt x="91670" y="116974"/>
                    </a:lnTo>
                    <a:lnTo>
                      <a:pt x="90610" y="121974"/>
                    </a:lnTo>
                    <a:lnTo>
                      <a:pt x="89701" y="126671"/>
                    </a:lnTo>
                    <a:lnTo>
                      <a:pt x="90155" y="130308"/>
                    </a:lnTo>
                    <a:lnTo>
                      <a:pt x="90458" y="133641"/>
                    </a:lnTo>
                    <a:lnTo>
                      <a:pt x="90912" y="138641"/>
                    </a:lnTo>
                    <a:lnTo>
                      <a:pt x="90761" y="141672"/>
                    </a:lnTo>
                    <a:lnTo>
                      <a:pt x="89549" y="143490"/>
                    </a:lnTo>
                    <a:lnTo>
                      <a:pt x="89549" y="145005"/>
                    </a:lnTo>
                    <a:lnTo>
                      <a:pt x="90003" y="146824"/>
                    </a:lnTo>
                    <a:lnTo>
                      <a:pt x="88943" y="151672"/>
                    </a:lnTo>
                    <a:lnTo>
                      <a:pt x="88337" y="152430"/>
                    </a:lnTo>
                    <a:lnTo>
                      <a:pt x="86367" y="153339"/>
                    </a:lnTo>
                    <a:lnTo>
                      <a:pt x="85306" y="154703"/>
                    </a:lnTo>
                    <a:lnTo>
                      <a:pt x="85003" y="156672"/>
                    </a:lnTo>
                    <a:lnTo>
                      <a:pt x="83943" y="159551"/>
                    </a:lnTo>
                    <a:lnTo>
                      <a:pt x="82882" y="160460"/>
                    </a:lnTo>
                    <a:lnTo>
                      <a:pt x="82882" y="161824"/>
                    </a:lnTo>
                    <a:lnTo>
                      <a:pt x="83943" y="162733"/>
                    </a:lnTo>
                    <a:lnTo>
                      <a:pt x="83943" y="164248"/>
                    </a:lnTo>
                    <a:lnTo>
                      <a:pt x="81973" y="165915"/>
                    </a:lnTo>
                    <a:lnTo>
                      <a:pt x="80912" y="167279"/>
                    </a:lnTo>
                    <a:lnTo>
                      <a:pt x="78336" y="167885"/>
                    </a:lnTo>
                    <a:lnTo>
                      <a:pt x="75458" y="167279"/>
                    </a:lnTo>
                    <a:lnTo>
                      <a:pt x="74700" y="166218"/>
                    </a:lnTo>
                    <a:lnTo>
                      <a:pt x="75458" y="164855"/>
                    </a:lnTo>
                    <a:lnTo>
                      <a:pt x="75154" y="163642"/>
                    </a:lnTo>
                    <a:lnTo>
                      <a:pt x="74094" y="162279"/>
                    </a:lnTo>
                    <a:lnTo>
                      <a:pt x="72579" y="159097"/>
                    </a:lnTo>
                    <a:lnTo>
                      <a:pt x="71215" y="158339"/>
                    </a:lnTo>
                    <a:lnTo>
                      <a:pt x="70457" y="159703"/>
                    </a:lnTo>
                    <a:lnTo>
                      <a:pt x="68033" y="162127"/>
                    </a:lnTo>
                    <a:lnTo>
                      <a:pt x="63790" y="165309"/>
                    </a:lnTo>
                    <a:lnTo>
                      <a:pt x="60911" y="165612"/>
                    </a:lnTo>
                    <a:lnTo>
                      <a:pt x="55457" y="164703"/>
                    </a:lnTo>
                    <a:lnTo>
                      <a:pt x="50911" y="163188"/>
                    </a:lnTo>
                    <a:lnTo>
                      <a:pt x="48790" y="159400"/>
                    </a:lnTo>
                    <a:lnTo>
                      <a:pt x="47426" y="156369"/>
                    </a:lnTo>
                    <a:lnTo>
                      <a:pt x="45456" y="152733"/>
                    </a:lnTo>
                    <a:lnTo>
                      <a:pt x="43335" y="151066"/>
                    </a:lnTo>
                    <a:lnTo>
                      <a:pt x="40911" y="150005"/>
                    </a:lnTo>
                    <a:lnTo>
                      <a:pt x="39850" y="149854"/>
                    </a:lnTo>
                    <a:lnTo>
                      <a:pt x="36517" y="151824"/>
                    </a:lnTo>
                    <a:lnTo>
                      <a:pt x="35607" y="152733"/>
                    </a:lnTo>
                    <a:lnTo>
                      <a:pt x="35607" y="154400"/>
                    </a:lnTo>
                    <a:lnTo>
                      <a:pt x="35910" y="155915"/>
                    </a:lnTo>
                    <a:lnTo>
                      <a:pt x="36365" y="156672"/>
                    </a:lnTo>
                    <a:lnTo>
                      <a:pt x="36819" y="157581"/>
                    </a:lnTo>
                    <a:lnTo>
                      <a:pt x="36819" y="159248"/>
                    </a:lnTo>
                    <a:lnTo>
                      <a:pt x="36214" y="161218"/>
                    </a:lnTo>
                    <a:lnTo>
                      <a:pt x="35910" y="163642"/>
                    </a:lnTo>
                    <a:lnTo>
                      <a:pt x="25455" y="165764"/>
                    </a:lnTo>
                    <a:lnTo>
                      <a:pt x="23789" y="165006"/>
                    </a:lnTo>
                    <a:lnTo>
                      <a:pt x="22425" y="163945"/>
                    </a:lnTo>
                    <a:lnTo>
                      <a:pt x="20758" y="164097"/>
                    </a:lnTo>
                    <a:lnTo>
                      <a:pt x="16213" y="165309"/>
                    </a:lnTo>
                    <a:lnTo>
                      <a:pt x="14546" y="164551"/>
                    </a:lnTo>
                    <a:lnTo>
                      <a:pt x="13031" y="163945"/>
                    </a:lnTo>
                    <a:lnTo>
                      <a:pt x="12273" y="164400"/>
                    </a:lnTo>
                    <a:lnTo>
                      <a:pt x="12121" y="165461"/>
                    </a:lnTo>
                    <a:lnTo>
                      <a:pt x="12879" y="170764"/>
                    </a:lnTo>
                    <a:lnTo>
                      <a:pt x="12728" y="172885"/>
                    </a:lnTo>
                    <a:lnTo>
                      <a:pt x="11667" y="175461"/>
                    </a:lnTo>
                    <a:lnTo>
                      <a:pt x="11061" y="177279"/>
                    </a:lnTo>
                    <a:lnTo>
                      <a:pt x="13940" y="177885"/>
                    </a:lnTo>
                    <a:lnTo>
                      <a:pt x="14849" y="178643"/>
                    </a:lnTo>
                    <a:lnTo>
                      <a:pt x="15909" y="180007"/>
                    </a:lnTo>
                    <a:lnTo>
                      <a:pt x="17274" y="181370"/>
                    </a:lnTo>
                    <a:lnTo>
                      <a:pt x="17274" y="182128"/>
                    </a:lnTo>
                    <a:lnTo>
                      <a:pt x="15758" y="183492"/>
                    </a:lnTo>
                    <a:lnTo>
                      <a:pt x="15304" y="185310"/>
                    </a:lnTo>
                    <a:lnTo>
                      <a:pt x="15909" y="186674"/>
                    </a:lnTo>
                    <a:lnTo>
                      <a:pt x="17879" y="188037"/>
                    </a:lnTo>
                    <a:lnTo>
                      <a:pt x="20607" y="189552"/>
                    </a:lnTo>
                    <a:lnTo>
                      <a:pt x="21971" y="190462"/>
                    </a:lnTo>
                    <a:lnTo>
                      <a:pt x="21819" y="191371"/>
                    </a:lnTo>
                    <a:lnTo>
                      <a:pt x="20607" y="193189"/>
                    </a:lnTo>
                    <a:lnTo>
                      <a:pt x="20001" y="194856"/>
                    </a:lnTo>
                    <a:lnTo>
                      <a:pt x="19243" y="196219"/>
                    </a:lnTo>
                    <a:lnTo>
                      <a:pt x="19395" y="197583"/>
                    </a:lnTo>
                    <a:lnTo>
                      <a:pt x="20607" y="198795"/>
                    </a:lnTo>
                    <a:lnTo>
                      <a:pt x="20455" y="199856"/>
                    </a:lnTo>
                    <a:lnTo>
                      <a:pt x="19698" y="200765"/>
                    </a:lnTo>
                    <a:lnTo>
                      <a:pt x="17879" y="200613"/>
                    </a:lnTo>
                    <a:lnTo>
                      <a:pt x="16516" y="200613"/>
                    </a:lnTo>
                    <a:lnTo>
                      <a:pt x="15152" y="200310"/>
                    </a:lnTo>
                    <a:lnTo>
                      <a:pt x="11061" y="196068"/>
                    </a:lnTo>
                    <a:lnTo>
                      <a:pt x="10152" y="195916"/>
                    </a:lnTo>
                    <a:lnTo>
                      <a:pt x="4243" y="199250"/>
                    </a:lnTo>
                    <a:lnTo>
                      <a:pt x="2879" y="200613"/>
                    </a:lnTo>
                    <a:lnTo>
                      <a:pt x="1667" y="202583"/>
                    </a:lnTo>
                    <a:lnTo>
                      <a:pt x="0" y="206674"/>
                    </a:lnTo>
                    <a:lnTo>
                      <a:pt x="6364" y="212583"/>
                    </a:lnTo>
                    <a:lnTo>
                      <a:pt x="7121" y="214402"/>
                    </a:lnTo>
                    <a:lnTo>
                      <a:pt x="14698" y="220766"/>
                    </a:lnTo>
                    <a:lnTo>
                      <a:pt x="17728" y="224402"/>
                    </a:lnTo>
                    <a:lnTo>
                      <a:pt x="17728" y="227432"/>
                    </a:lnTo>
                    <a:lnTo>
                      <a:pt x="18334" y="228190"/>
                    </a:lnTo>
                    <a:lnTo>
                      <a:pt x="18788" y="229554"/>
                    </a:lnTo>
                    <a:lnTo>
                      <a:pt x="20910" y="232584"/>
                    </a:lnTo>
                    <a:lnTo>
                      <a:pt x="22880" y="235008"/>
                    </a:lnTo>
                    <a:lnTo>
                      <a:pt x="23789" y="235766"/>
                    </a:lnTo>
                    <a:lnTo>
                      <a:pt x="24243" y="236372"/>
                    </a:lnTo>
                    <a:lnTo>
                      <a:pt x="25910" y="234857"/>
                    </a:lnTo>
                    <a:lnTo>
                      <a:pt x="28334" y="231827"/>
                    </a:lnTo>
                    <a:lnTo>
                      <a:pt x="29395" y="230160"/>
                    </a:lnTo>
                    <a:lnTo>
                      <a:pt x="32122" y="229857"/>
                    </a:lnTo>
                    <a:lnTo>
                      <a:pt x="33183" y="228796"/>
                    </a:lnTo>
                    <a:lnTo>
                      <a:pt x="33941" y="226978"/>
                    </a:lnTo>
                    <a:lnTo>
                      <a:pt x="34244" y="225917"/>
                    </a:lnTo>
                    <a:lnTo>
                      <a:pt x="37426" y="225008"/>
                    </a:lnTo>
                    <a:lnTo>
                      <a:pt x="41365" y="223493"/>
                    </a:lnTo>
                    <a:lnTo>
                      <a:pt x="43486" y="221826"/>
                    </a:lnTo>
                    <a:lnTo>
                      <a:pt x="45608" y="220766"/>
                    </a:lnTo>
                    <a:lnTo>
                      <a:pt x="46972" y="220614"/>
                    </a:lnTo>
                    <a:lnTo>
                      <a:pt x="47881" y="221069"/>
                    </a:lnTo>
                    <a:lnTo>
                      <a:pt x="50305" y="224099"/>
                    </a:lnTo>
                    <a:lnTo>
                      <a:pt x="52426" y="225917"/>
                    </a:lnTo>
                    <a:lnTo>
                      <a:pt x="53184" y="226220"/>
                    </a:lnTo>
                    <a:lnTo>
                      <a:pt x="53487" y="225463"/>
                    </a:lnTo>
                    <a:lnTo>
                      <a:pt x="54850" y="225463"/>
                    </a:lnTo>
                    <a:lnTo>
                      <a:pt x="55305" y="225917"/>
                    </a:lnTo>
                    <a:lnTo>
                      <a:pt x="55911" y="226826"/>
                    </a:lnTo>
                    <a:lnTo>
                      <a:pt x="57123" y="228190"/>
                    </a:lnTo>
                    <a:lnTo>
                      <a:pt x="59245" y="229857"/>
                    </a:lnTo>
                    <a:lnTo>
                      <a:pt x="61366" y="231524"/>
                    </a:lnTo>
                    <a:lnTo>
                      <a:pt x="62426" y="231827"/>
                    </a:lnTo>
                    <a:lnTo>
                      <a:pt x="64245" y="230918"/>
                    </a:lnTo>
                    <a:lnTo>
                      <a:pt x="66215" y="229554"/>
                    </a:lnTo>
                    <a:lnTo>
                      <a:pt x="69093" y="228645"/>
                    </a:lnTo>
                    <a:lnTo>
                      <a:pt x="69851" y="227736"/>
                    </a:lnTo>
                    <a:lnTo>
                      <a:pt x="70306" y="225766"/>
                    </a:lnTo>
                    <a:lnTo>
                      <a:pt x="70457" y="223796"/>
                    </a:lnTo>
                    <a:lnTo>
                      <a:pt x="70760" y="221372"/>
                    </a:lnTo>
                    <a:lnTo>
                      <a:pt x="71366" y="221069"/>
                    </a:lnTo>
                    <a:lnTo>
                      <a:pt x="72427" y="220766"/>
                    </a:lnTo>
                    <a:lnTo>
                      <a:pt x="74397" y="221523"/>
                    </a:lnTo>
                    <a:lnTo>
                      <a:pt x="75306" y="222129"/>
                    </a:lnTo>
                    <a:lnTo>
                      <a:pt x="76821" y="222129"/>
                    </a:lnTo>
                    <a:lnTo>
                      <a:pt x="77882" y="221523"/>
                    </a:lnTo>
                    <a:lnTo>
                      <a:pt x="79700" y="220311"/>
                    </a:lnTo>
                    <a:lnTo>
                      <a:pt x="82124" y="219856"/>
                    </a:lnTo>
                    <a:lnTo>
                      <a:pt x="84700" y="218796"/>
                    </a:lnTo>
                    <a:lnTo>
                      <a:pt x="87124" y="217281"/>
                    </a:lnTo>
                    <a:lnTo>
                      <a:pt x="88337" y="217129"/>
                    </a:lnTo>
                    <a:lnTo>
                      <a:pt x="89549" y="219099"/>
                    </a:lnTo>
                    <a:lnTo>
                      <a:pt x="90610" y="220463"/>
                    </a:lnTo>
                    <a:lnTo>
                      <a:pt x="90761" y="221220"/>
                    </a:lnTo>
                    <a:lnTo>
                      <a:pt x="89701" y="222887"/>
                    </a:lnTo>
                    <a:lnTo>
                      <a:pt x="88488" y="225008"/>
                    </a:lnTo>
                    <a:lnTo>
                      <a:pt x="89549" y="227584"/>
                    </a:lnTo>
                    <a:lnTo>
                      <a:pt x="89701" y="230160"/>
                    </a:lnTo>
                    <a:lnTo>
                      <a:pt x="89701" y="231675"/>
                    </a:lnTo>
                    <a:lnTo>
                      <a:pt x="90610" y="232281"/>
                    </a:lnTo>
                    <a:lnTo>
                      <a:pt x="91064" y="232584"/>
                    </a:lnTo>
                    <a:lnTo>
                      <a:pt x="91973" y="232130"/>
                    </a:lnTo>
                    <a:lnTo>
                      <a:pt x="93791" y="232281"/>
                    </a:lnTo>
                    <a:lnTo>
                      <a:pt x="95761" y="233039"/>
                    </a:lnTo>
                    <a:lnTo>
                      <a:pt x="97882" y="233039"/>
                    </a:lnTo>
                    <a:lnTo>
                      <a:pt x="99852" y="231978"/>
                    </a:lnTo>
                    <a:lnTo>
                      <a:pt x="103489" y="228190"/>
                    </a:lnTo>
                    <a:lnTo>
                      <a:pt x="108792" y="221523"/>
                    </a:lnTo>
                    <a:lnTo>
                      <a:pt x="113186" y="217432"/>
                    </a:lnTo>
                    <a:lnTo>
                      <a:pt x="116671" y="215614"/>
                    </a:lnTo>
                    <a:lnTo>
                      <a:pt x="118944" y="213644"/>
                    </a:lnTo>
                    <a:lnTo>
                      <a:pt x="120308" y="211371"/>
                    </a:lnTo>
                    <a:lnTo>
                      <a:pt x="122277" y="209856"/>
                    </a:lnTo>
                    <a:lnTo>
                      <a:pt x="126520" y="208644"/>
                    </a:lnTo>
                    <a:lnTo>
                      <a:pt x="129702" y="207280"/>
                    </a:lnTo>
                    <a:lnTo>
                      <a:pt x="132884" y="202583"/>
                    </a:lnTo>
                    <a:lnTo>
                      <a:pt x="137278" y="194401"/>
                    </a:lnTo>
                    <a:lnTo>
                      <a:pt x="138490" y="187128"/>
                    </a:lnTo>
                    <a:lnTo>
                      <a:pt x="139096" y="182582"/>
                    </a:lnTo>
                    <a:lnTo>
                      <a:pt x="138793" y="167279"/>
                    </a:lnTo>
                    <a:lnTo>
                      <a:pt x="138490" y="162127"/>
                    </a:lnTo>
                    <a:lnTo>
                      <a:pt x="139096" y="159400"/>
                    </a:lnTo>
                    <a:lnTo>
                      <a:pt x="140763" y="157581"/>
                    </a:lnTo>
                    <a:lnTo>
                      <a:pt x="145005" y="153491"/>
                    </a:lnTo>
                    <a:lnTo>
                      <a:pt x="148036" y="150308"/>
                    </a:lnTo>
                    <a:lnTo>
                      <a:pt x="150309" y="146369"/>
                    </a:lnTo>
                    <a:lnTo>
                      <a:pt x="154551" y="137581"/>
                    </a:lnTo>
                    <a:lnTo>
                      <a:pt x="156370" y="134853"/>
                    </a:lnTo>
                    <a:lnTo>
                      <a:pt x="157279" y="133490"/>
                    </a:lnTo>
                    <a:lnTo>
                      <a:pt x="159854" y="131217"/>
                    </a:lnTo>
                    <a:lnTo>
                      <a:pt x="163491" y="129096"/>
                    </a:lnTo>
                    <a:lnTo>
                      <a:pt x="168188" y="127429"/>
                    </a:lnTo>
                    <a:lnTo>
                      <a:pt x="175461" y="121368"/>
                    </a:lnTo>
                    <a:lnTo>
                      <a:pt x="181219" y="115156"/>
                    </a:lnTo>
                    <a:lnTo>
                      <a:pt x="180310" y="107731"/>
                    </a:lnTo>
                    <a:lnTo>
                      <a:pt x="181673" y="101670"/>
                    </a:lnTo>
                    <a:lnTo>
                      <a:pt x="184856" y="93943"/>
                    </a:lnTo>
                    <a:lnTo>
                      <a:pt x="185916" y="85609"/>
                    </a:lnTo>
                    <a:lnTo>
                      <a:pt x="184856" y="76973"/>
                    </a:lnTo>
                    <a:lnTo>
                      <a:pt x="185310" y="69851"/>
                    </a:lnTo>
                    <a:lnTo>
                      <a:pt x="188189" y="61517"/>
                    </a:lnTo>
                    <a:lnTo>
                      <a:pt x="189553" y="58487"/>
                    </a:lnTo>
                    <a:lnTo>
                      <a:pt x="189856" y="53487"/>
                    </a:lnTo>
                    <a:lnTo>
                      <a:pt x="189856" y="45456"/>
                    </a:lnTo>
                    <a:lnTo>
                      <a:pt x="193644" y="34547"/>
                    </a:lnTo>
                    <a:lnTo>
                      <a:pt x="197280" y="28031"/>
                    </a:lnTo>
                    <a:lnTo>
                      <a:pt x="201371" y="20758"/>
                    </a:lnTo>
                    <a:lnTo>
                      <a:pt x="202887" y="16364"/>
                    </a:lnTo>
                    <a:lnTo>
                      <a:pt x="205008" y="10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9" name="Freeform: Shape 3318">
                <a:extLst>
                  <a:ext uri="{FF2B5EF4-FFF2-40B4-BE49-F238E27FC236}">
                    <a16:creationId xmlns:a16="http://schemas.microsoft.com/office/drawing/2014/main" id="{70DF9DB6-8064-42BF-A20B-50DC30705DD5}"/>
                  </a:ext>
                </a:extLst>
              </p:cNvPr>
              <p:cNvSpPr/>
              <p:nvPr/>
            </p:nvSpPr>
            <p:spPr>
              <a:xfrm>
                <a:off x="6172063" y="4261982"/>
                <a:ext cx="354861" cy="238341"/>
              </a:xfrm>
              <a:custGeom>
                <a:avLst/>
                <a:gdLst>
                  <a:gd name="connsiteX0" fmla="*/ 352892 w 354861"/>
                  <a:gd name="connsiteY0" fmla="*/ 158945 h 238341"/>
                  <a:gd name="connsiteX1" fmla="*/ 350922 w 354861"/>
                  <a:gd name="connsiteY1" fmla="*/ 156218 h 238341"/>
                  <a:gd name="connsiteX2" fmla="*/ 350165 w 354861"/>
                  <a:gd name="connsiteY2" fmla="*/ 152127 h 238341"/>
                  <a:gd name="connsiteX3" fmla="*/ 350165 w 354861"/>
                  <a:gd name="connsiteY3" fmla="*/ 148793 h 238341"/>
                  <a:gd name="connsiteX4" fmla="*/ 349710 w 354861"/>
                  <a:gd name="connsiteY4" fmla="*/ 147278 h 238341"/>
                  <a:gd name="connsiteX5" fmla="*/ 348801 w 354861"/>
                  <a:gd name="connsiteY5" fmla="*/ 145763 h 238341"/>
                  <a:gd name="connsiteX6" fmla="*/ 347740 w 354861"/>
                  <a:gd name="connsiteY6" fmla="*/ 144399 h 238341"/>
                  <a:gd name="connsiteX7" fmla="*/ 346073 w 354861"/>
                  <a:gd name="connsiteY7" fmla="*/ 142884 h 238341"/>
                  <a:gd name="connsiteX8" fmla="*/ 342285 w 354861"/>
                  <a:gd name="connsiteY8" fmla="*/ 140763 h 238341"/>
                  <a:gd name="connsiteX9" fmla="*/ 338346 w 354861"/>
                  <a:gd name="connsiteY9" fmla="*/ 138338 h 238341"/>
                  <a:gd name="connsiteX10" fmla="*/ 336376 w 354861"/>
                  <a:gd name="connsiteY10" fmla="*/ 136823 h 238341"/>
                  <a:gd name="connsiteX11" fmla="*/ 332740 w 354861"/>
                  <a:gd name="connsiteY11" fmla="*/ 136369 h 238341"/>
                  <a:gd name="connsiteX12" fmla="*/ 330618 w 354861"/>
                  <a:gd name="connsiteY12" fmla="*/ 135005 h 238341"/>
                  <a:gd name="connsiteX13" fmla="*/ 328800 w 354861"/>
                  <a:gd name="connsiteY13" fmla="*/ 131823 h 238341"/>
                  <a:gd name="connsiteX14" fmla="*/ 328043 w 354861"/>
                  <a:gd name="connsiteY14" fmla="*/ 129399 h 238341"/>
                  <a:gd name="connsiteX15" fmla="*/ 326224 w 354861"/>
                  <a:gd name="connsiteY15" fmla="*/ 127429 h 238341"/>
                  <a:gd name="connsiteX16" fmla="*/ 325315 w 354861"/>
                  <a:gd name="connsiteY16" fmla="*/ 126065 h 238341"/>
                  <a:gd name="connsiteX17" fmla="*/ 325012 w 354861"/>
                  <a:gd name="connsiteY17" fmla="*/ 124399 h 238341"/>
                  <a:gd name="connsiteX18" fmla="*/ 326376 w 354861"/>
                  <a:gd name="connsiteY18" fmla="*/ 119550 h 238341"/>
                  <a:gd name="connsiteX19" fmla="*/ 324255 w 354861"/>
                  <a:gd name="connsiteY19" fmla="*/ 117732 h 238341"/>
                  <a:gd name="connsiteX20" fmla="*/ 321073 w 354861"/>
                  <a:gd name="connsiteY20" fmla="*/ 115459 h 238341"/>
                  <a:gd name="connsiteX21" fmla="*/ 318952 w 354861"/>
                  <a:gd name="connsiteY21" fmla="*/ 113035 h 238341"/>
                  <a:gd name="connsiteX22" fmla="*/ 317436 w 354861"/>
                  <a:gd name="connsiteY22" fmla="*/ 110762 h 238341"/>
                  <a:gd name="connsiteX23" fmla="*/ 313497 w 354861"/>
                  <a:gd name="connsiteY23" fmla="*/ 107731 h 238341"/>
                  <a:gd name="connsiteX24" fmla="*/ 304709 w 354861"/>
                  <a:gd name="connsiteY24" fmla="*/ 103337 h 238341"/>
                  <a:gd name="connsiteX25" fmla="*/ 299557 w 354861"/>
                  <a:gd name="connsiteY25" fmla="*/ 100458 h 238341"/>
                  <a:gd name="connsiteX26" fmla="*/ 296829 w 354861"/>
                  <a:gd name="connsiteY26" fmla="*/ 97882 h 238341"/>
                  <a:gd name="connsiteX27" fmla="*/ 294405 w 354861"/>
                  <a:gd name="connsiteY27" fmla="*/ 95307 h 238341"/>
                  <a:gd name="connsiteX28" fmla="*/ 294102 w 354861"/>
                  <a:gd name="connsiteY28" fmla="*/ 94246 h 238341"/>
                  <a:gd name="connsiteX29" fmla="*/ 295617 w 354861"/>
                  <a:gd name="connsiteY29" fmla="*/ 91821 h 238341"/>
                  <a:gd name="connsiteX30" fmla="*/ 295920 w 354861"/>
                  <a:gd name="connsiteY30" fmla="*/ 89700 h 238341"/>
                  <a:gd name="connsiteX31" fmla="*/ 294556 w 354861"/>
                  <a:gd name="connsiteY31" fmla="*/ 87427 h 238341"/>
                  <a:gd name="connsiteX32" fmla="*/ 289405 w 354861"/>
                  <a:gd name="connsiteY32" fmla="*/ 83185 h 238341"/>
                  <a:gd name="connsiteX33" fmla="*/ 285162 w 354861"/>
                  <a:gd name="connsiteY33" fmla="*/ 78488 h 238341"/>
                  <a:gd name="connsiteX34" fmla="*/ 281980 w 354861"/>
                  <a:gd name="connsiteY34" fmla="*/ 76973 h 238341"/>
                  <a:gd name="connsiteX35" fmla="*/ 274253 w 354861"/>
                  <a:gd name="connsiteY35" fmla="*/ 75609 h 238341"/>
                  <a:gd name="connsiteX36" fmla="*/ 272132 w 354861"/>
                  <a:gd name="connsiteY36" fmla="*/ 75154 h 238341"/>
                  <a:gd name="connsiteX37" fmla="*/ 269707 w 354861"/>
                  <a:gd name="connsiteY37" fmla="*/ 74245 h 238341"/>
                  <a:gd name="connsiteX38" fmla="*/ 267435 w 354861"/>
                  <a:gd name="connsiteY38" fmla="*/ 72124 h 238341"/>
                  <a:gd name="connsiteX39" fmla="*/ 266677 w 354861"/>
                  <a:gd name="connsiteY39" fmla="*/ 69548 h 238341"/>
                  <a:gd name="connsiteX40" fmla="*/ 267889 w 354861"/>
                  <a:gd name="connsiteY40" fmla="*/ 65608 h 238341"/>
                  <a:gd name="connsiteX41" fmla="*/ 267131 w 354861"/>
                  <a:gd name="connsiteY41" fmla="*/ 64396 h 238341"/>
                  <a:gd name="connsiteX42" fmla="*/ 265768 w 354861"/>
                  <a:gd name="connsiteY42" fmla="*/ 63942 h 238341"/>
                  <a:gd name="connsiteX43" fmla="*/ 263040 w 354861"/>
                  <a:gd name="connsiteY43" fmla="*/ 63336 h 238341"/>
                  <a:gd name="connsiteX44" fmla="*/ 259707 w 354861"/>
                  <a:gd name="connsiteY44" fmla="*/ 62730 h 238341"/>
                  <a:gd name="connsiteX45" fmla="*/ 253040 w 354861"/>
                  <a:gd name="connsiteY45" fmla="*/ 62124 h 238341"/>
                  <a:gd name="connsiteX46" fmla="*/ 250313 w 354861"/>
                  <a:gd name="connsiteY46" fmla="*/ 61214 h 238341"/>
                  <a:gd name="connsiteX47" fmla="*/ 249100 w 354861"/>
                  <a:gd name="connsiteY47" fmla="*/ 59851 h 238341"/>
                  <a:gd name="connsiteX48" fmla="*/ 249555 w 354861"/>
                  <a:gd name="connsiteY48" fmla="*/ 56366 h 238341"/>
                  <a:gd name="connsiteX49" fmla="*/ 248797 w 354861"/>
                  <a:gd name="connsiteY49" fmla="*/ 55608 h 238341"/>
                  <a:gd name="connsiteX50" fmla="*/ 247737 w 354861"/>
                  <a:gd name="connsiteY50" fmla="*/ 55002 h 238341"/>
                  <a:gd name="connsiteX51" fmla="*/ 247130 w 354861"/>
                  <a:gd name="connsiteY51" fmla="*/ 53487 h 238341"/>
                  <a:gd name="connsiteX52" fmla="*/ 247282 w 354861"/>
                  <a:gd name="connsiteY52" fmla="*/ 51669 h 238341"/>
                  <a:gd name="connsiteX53" fmla="*/ 250767 w 354861"/>
                  <a:gd name="connsiteY53" fmla="*/ 47577 h 238341"/>
                  <a:gd name="connsiteX54" fmla="*/ 251525 w 354861"/>
                  <a:gd name="connsiteY54" fmla="*/ 45456 h 238341"/>
                  <a:gd name="connsiteX55" fmla="*/ 251979 w 354861"/>
                  <a:gd name="connsiteY55" fmla="*/ 38032 h 238341"/>
                  <a:gd name="connsiteX56" fmla="*/ 252434 w 354861"/>
                  <a:gd name="connsiteY56" fmla="*/ 35304 h 238341"/>
                  <a:gd name="connsiteX57" fmla="*/ 252131 w 354861"/>
                  <a:gd name="connsiteY57" fmla="*/ 32274 h 238341"/>
                  <a:gd name="connsiteX58" fmla="*/ 249404 w 354861"/>
                  <a:gd name="connsiteY58" fmla="*/ 26516 h 238341"/>
                  <a:gd name="connsiteX59" fmla="*/ 246979 w 354861"/>
                  <a:gd name="connsiteY59" fmla="*/ 22577 h 238341"/>
                  <a:gd name="connsiteX60" fmla="*/ 243039 w 354861"/>
                  <a:gd name="connsiteY60" fmla="*/ 16819 h 238341"/>
                  <a:gd name="connsiteX61" fmla="*/ 241373 w 354861"/>
                  <a:gd name="connsiteY61" fmla="*/ 14849 h 238341"/>
                  <a:gd name="connsiteX62" fmla="*/ 233494 w 354861"/>
                  <a:gd name="connsiteY62" fmla="*/ 6818 h 238341"/>
                  <a:gd name="connsiteX63" fmla="*/ 232584 w 354861"/>
                  <a:gd name="connsiteY63" fmla="*/ 5606 h 238341"/>
                  <a:gd name="connsiteX64" fmla="*/ 230615 w 354861"/>
                  <a:gd name="connsiteY64" fmla="*/ 2121 h 238341"/>
                  <a:gd name="connsiteX65" fmla="*/ 229403 w 354861"/>
                  <a:gd name="connsiteY65" fmla="*/ 1970 h 238341"/>
                  <a:gd name="connsiteX66" fmla="*/ 226978 w 354861"/>
                  <a:gd name="connsiteY66" fmla="*/ 1212 h 238341"/>
                  <a:gd name="connsiteX67" fmla="*/ 224099 w 354861"/>
                  <a:gd name="connsiteY67" fmla="*/ 606 h 238341"/>
                  <a:gd name="connsiteX68" fmla="*/ 220614 w 354861"/>
                  <a:gd name="connsiteY68" fmla="*/ 0 h 238341"/>
                  <a:gd name="connsiteX69" fmla="*/ 217130 w 354861"/>
                  <a:gd name="connsiteY69" fmla="*/ 1212 h 238341"/>
                  <a:gd name="connsiteX70" fmla="*/ 213493 w 354861"/>
                  <a:gd name="connsiteY70" fmla="*/ 2879 h 238341"/>
                  <a:gd name="connsiteX71" fmla="*/ 212432 w 354861"/>
                  <a:gd name="connsiteY71" fmla="*/ 3940 h 238341"/>
                  <a:gd name="connsiteX72" fmla="*/ 211372 w 354861"/>
                  <a:gd name="connsiteY72" fmla="*/ 4697 h 238341"/>
                  <a:gd name="connsiteX73" fmla="*/ 209705 w 354861"/>
                  <a:gd name="connsiteY73" fmla="*/ 4546 h 238341"/>
                  <a:gd name="connsiteX74" fmla="*/ 208190 w 354861"/>
                  <a:gd name="connsiteY74" fmla="*/ 4849 h 238341"/>
                  <a:gd name="connsiteX75" fmla="*/ 207432 w 354861"/>
                  <a:gd name="connsiteY75" fmla="*/ 5909 h 238341"/>
                  <a:gd name="connsiteX76" fmla="*/ 206068 w 354861"/>
                  <a:gd name="connsiteY76" fmla="*/ 7121 h 238341"/>
                  <a:gd name="connsiteX77" fmla="*/ 200765 w 354861"/>
                  <a:gd name="connsiteY77" fmla="*/ 9697 h 238341"/>
                  <a:gd name="connsiteX78" fmla="*/ 199705 w 354861"/>
                  <a:gd name="connsiteY78" fmla="*/ 10606 h 238341"/>
                  <a:gd name="connsiteX79" fmla="*/ 199099 w 354861"/>
                  <a:gd name="connsiteY79" fmla="*/ 11667 h 238341"/>
                  <a:gd name="connsiteX80" fmla="*/ 199099 w 354861"/>
                  <a:gd name="connsiteY80" fmla="*/ 12576 h 238341"/>
                  <a:gd name="connsiteX81" fmla="*/ 199553 w 354861"/>
                  <a:gd name="connsiteY81" fmla="*/ 14698 h 238341"/>
                  <a:gd name="connsiteX82" fmla="*/ 199553 w 354861"/>
                  <a:gd name="connsiteY82" fmla="*/ 17273 h 238341"/>
                  <a:gd name="connsiteX83" fmla="*/ 198341 w 354861"/>
                  <a:gd name="connsiteY83" fmla="*/ 19395 h 238341"/>
                  <a:gd name="connsiteX84" fmla="*/ 196977 w 354861"/>
                  <a:gd name="connsiteY84" fmla="*/ 20910 h 238341"/>
                  <a:gd name="connsiteX85" fmla="*/ 195462 w 354861"/>
                  <a:gd name="connsiteY85" fmla="*/ 21364 h 238341"/>
                  <a:gd name="connsiteX86" fmla="*/ 194098 w 354861"/>
                  <a:gd name="connsiteY86" fmla="*/ 21668 h 238341"/>
                  <a:gd name="connsiteX87" fmla="*/ 193341 w 354861"/>
                  <a:gd name="connsiteY87" fmla="*/ 22577 h 238341"/>
                  <a:gd name="connsiteX88" fmla="*/ 190462 w 354861"/>
                  <a:gd name="connsiteY88" fmla="*/ 27425 h 238341"/>
                  <a:gd name="connsiteX89" fmla="*/ 189401 w 354861"/>
                  <a:gd name="connsiteY89" fmla="*/ 28183 h 238341"/>
                  <a:gd name="connsiteX90" fmla="*/ 186977 w 354861"/>
                  <a:gd name="connsiteY90" fmla="*/ 28031 h 238341"/>
                  <a:gd name="connsiteX91" fmla="*/ 180007 w 354861"/>
                  <a:gd name="connsiteY91" fmla="*/ 35304 h 238341"/>
                  <a:gd name="connsiteX92" fmla="*/ 179249 w 354861"/>
                  <a:gd name="connsiteY92" fmla="*/ 37426 h 238341"/>
                  <a:gd name="connsiteX93" fmla="*/ 176673 w 354861"/>
                  <a:gd name="connsiteY93" fmla="*/ 40305 h 238341"/>
                  <a:gd name="connsiteX94" fmla="*/ 173491 w 354861"/>
                  <a:gd name="connsiteY94" fmla="*/ 43638 h 238341"/>
                  <a:gd name="connsiteX95" fmla="*/ 170613 w 354861"/>
                  <a:gd name="connsiteY95" fmla="*/ 45305 h 238341"/>
                  <a:gd name="connsiteX96" fmla="*/ 170461 w 354861"/>
                  <a:gd name="connsiteY96" fmla="*/ 45911 h 238341"/>
                  <a:gd name="connsiteX97" fmla="*/ 169552 w 354861"/>
                  <a:gd name="connsiteY97" fmla="*/ 46517 h 238341"/>
                  <a:gd name="connsiteX98" fmla="*/ 167885 w 354861"/>
                  <a:gd name="connsiteY98" fmla="*/ 47274 h 238341"/>
                  <a:gd name="connsiteX99" fmla="*/ 161673 w 354861"/>
                  <a:gd name="connsiteY99" fmla="*/ 51366 h 238341"/>
                  <a:gd name="connsiteX100" fmla="*/ 154400 w 354861"/>
                  <a:gd name="connsiteY100" fmla="*/ 51214 h 238341"/>
                  <a:gd name="connsiteX101" fmla="*/ 151066 w 354861"/>
                  <a:gd name="connsiteY101" fmla="*/ 52729 h 238341"/>
                  <a:gd name="connsiteX102" fmla="*/ 147884 w 354861"/>
                  <a:gd name="connsiteY102" fmla="*/ 53487 h 238341"/>
                  <a:gd name="connsiteX103" fmla="*/ 143339 w 354861"/>
                  <a:gd name="connsiteY103" fmla="*/ 54244 h 238341"/>
                  <a:gd name="connsiteX104" fmla="*/ 141824 w 354861"/>
                  <a:gd name="connsiteY104" fmla="*/ 54244 h 238341"/>
                  <a:gd name="connsiteX105" fmla="*/ 135914 w 354861"/>
                  <a:gd name="connsiteY105" fmla="*/ 54548 h 238341"/>
                  <a:gd name="connsiteX106" fmla="*/ 128944 w 354861"/>
                  <a:gd name="connsiteY106" fmla="*/ 54396 h 238341"/>
                  <a:gd name="connsiteX107" fmla="*/ 126217 w 354861"/>
                  <a:gd name="connsiteY107" fmla="*/ 55002 h 238341"/>
                  <a:gd name="connsiteX108" fmla="*/ 123793 w 354861"/>
                  <a:gd name="connsiteY108" fmla="*/ 56517 h 238341"/>
                  <a:gd name="connsiteX109" fmla="*/ 121975 w 354861"/>
                  <a:gd name="connsiteY109" fmla="*/ 57881 h 238341"/>
                  <a:gd name="connsiteX110" fmla="*/ 121671 w 354861"/>
                  <a:gd name="connsiteY110" fmla="*/ 58336 h 238341"/>
                  <a:gd name="connsiteX111" fmla="*/ 121975 w 354861"/>
                  <a:gd name="connsiteY111" fmla="*/ 58942 h 238341"/>
                  <a:gd name="connsiteX112" fmla="*/ 121823 w 354861"/>
                  <a:gd name="connsiteY112" fmla="*/ 59245 h 238341"/>
                  <a:gd name="connsiteX113" fmla="*/ 126672 w 354861"/>
                  <a:gd name="connsiteY113" fmla="*/ 62578 h 238341"/>
                  <a:gd name="connsiteX114" fmla="*/ 127884 w 354861"/>
                  <a:gd name="connsiteY114" fmla="*/ 64245 h 238341"/>
                  <a:gd name="connsiteX115" fmla="*/ 126672 w 354861"/>
                  <a:gd name="connsiteY115" fmla="*/ 65760 h 238341"/>
                  <a:gd name="connsiteX116" fmla="*/ 126065 w 354861"/>
                  <a:gd name="connsiteY116" fmla="*/ 66063 h 238341"/>
                  <a:gd name="connsiteX117" fmla="*/ 126065 w 354861"/>
                  <a:gd name="connsiteY117" fmla="*/ 66214 h 238341"/>
                  <a:gd name="connsiteX118" fmla="*/ 125308 w 354861"/>
                  <a:gd name="connsiteY118" fmla="*/ 67427 h 238341"/>
                  <a:gd name="connsiteX119" fmla="*/ 122429 w 354861"/>
                  <a:gd name="connsiteY119" fmla="*/ 71063 h 238341"/>
                  <a:gd name="connsiteX120" fmla="*/ 118035 w 354861"/>
                  <a:gd name="connsiteY120" fmla="*/ 75609 h 238341"/>
                  <a:gd name="connsiteX121" fmla="*/ 115914 w 354861"/>
                  <a:gd name="connsiteY121" fmla="*/ 76821 h 238341"/>
                  <a:gd name="connsiteX122" fmla="*/ 115004 w 354861"/>
                  <a:gd name="connsiteY122" fmla="*/ 77579 h 238341"/>
                  <a:gd name="connsiteX123" fmla="*/ 113792 w 354861"/>
                  <a:gd name="connsiteY123" fmla="*/ 80609 h 238341"/>
                  <a:gd name="connsiteX124" fmla="*/ 113035 w 354861"/>
                  <a:gd name="connsiteY124" fmla="*/ 80912 h 238341"/>
                  <a:gd name="connsiteX125" fmla="*/ 110004 w 354861"/>
                  <a:gd name="connsiteY125" fmla="*/ 81367 h 238341"/>
                  <a:gd name="connsiteX126" fmla="*/ 104095 w 354861"/>
                  <a:gd name="connsiteY126" fmla="*/ 81670 h 238341"/>
                  <a:gd name="connsiteX127" fmla="*/ 95913 w 354861"/>
                  <a:gd name="connsiteY127" fmla="*/ 82579 h 238341"/>
                  <a:gd name="connsiteX128" fmla="*/ 91064 w 354861"/>
                  <a:gd name="connsiteY128" fmla="*/ 82882 h 238341"/>
                  <a:gd name="connsiteX129" fmla="*/ 88034 w 354861"/>
                  <a:gd name="connsiteY129" fmla="*/ 82579 h 238341"/>
                  <a:gd name="connsiteX130" fmla="*/ 83791 w 354861"/>
                  <a:gd name="connsiteY130" fmla="*/ 84700 h 238341"/>
                  <a:gd name="connsiteX131" fmla="*/ 82124 w 354861"/>
                  <a:gd name="connsiteY131" fmla="*/ 85155 h 238341"/>
                  <a:gd name="connsiteX132" fmla="*/ 81215 w 354861"/>
                  <a:gd name="connsiteY132" fmla="*/ 85306 h 238341"/>
                  <a:gd name="connsiteX133" fmla="*/ 76973 w 354861"/>
                  <a:gd name="connsiteY133" fmla="*/ 87276 h 238341"/>
                  <a:gd name="connsiteX134" fmla="*/ 73488 w 354861"/>
                  <a:gd name="connsiteY134" fmla="*/ 90306 h 238341"/>
                  <a:gd name="connsiteX135" fmla="*/ 72276 w 354861"/>
                  <a:gd name="connsiteY135" fmla="*/ 90912 h 238341"/>
                  <a:gd name="connsiteX136" fmla="*/ 67275 w 354861"/>
                  <a:gd name="connsiteY136" fmla="*/ 92276 h 238341"/>
                  <a:gd name="connsiteX137" fmla="*/ 65305 w 354861"/>
                  <a:gd name="connsiteY137" fmla="*/ 94246 h 238341"/>
                  <a:gd name="connsiteX138" fmla="*/ 64396 w 354861"/>
                  <a:gd name="connsiteY138" fmla="*/ 94549 h 238341"/>
                  <a:gd name="connsiteX139" fmla="*/ 61215 w 354861"/>
                  <a:gd name="connsiteY139" fmla="*/ 91670 h 238341"/>
                  <a:gd name="connsiteX140" fmla="*/ 58942 w 354861"/>
                  <a:gd name="connsiteY140" fmla="*/ 89246 h 238341"/>
                  <a:gd name="connsiteX141" fmla="*/ 57881 w 354861"/>
                  <a:gd name="connsiteY141" fmla="*/ 86670 h 238341"/>
                  <a:gd name="connsiteX142" fmla="*/ 57881 w 354861"/>
                  <a:gd name="connsiteY142" fmla="*/ 85912 h 238341"/>
                  <a:gd name="connsiteX143" fmla="*/ 57275 w 354861"/>
                  <a:gd name="connsiteY143" fmla="*/ 86064 h 238341"/>
                  <a:gd name="connsiteX144" fmla="*/ 55457 w 354861"/>
                  <a:gd name="connsiteY144" fmla="*/ 87124 h 238341"/>
                  <a:gd name="connsiteX145" fmla="*/ 53941 w 354861"/>
                  <a:gd name="connsiteY145" fmla="*/ 88488 h 238341"/>
                  <a:gd name="connsiteX146" fmla="*/ 53336 w 354861"/>
                  <a:gd name="connsiteY146" fmla="*/ 90912 h 238341"/>
                  <a:gd name="connsiteX147" fmla="*/ 48184 w 354861"/>
                  <a:gd name="connsiteY147" fmla="*/ 92428 h 238341"/>
                  <a:gd name="connsiteX148" fmla="*/ 43790 w 354861"/>
                  <a:gd name="connsiteY148" fmla="*/ 93943 h 238341"/>
                  <a:gd name="connsiteX149" fmla="*/ 41668 w 354861"/>
                  <a:gd name="connsiteY149" fmla="*/ 95610 h 238341"/>
                  <a:gd name="connsiteX150" fmla="*/ 38638 w 354861"/>
                  <a:gd name="connsiteY150" fmla="*/ 96519 h 238341"/>
                  <a:gd name="connsiteX151" fmla="*/ 34698 w 354861"/>
                  <a:gd name="connsiteY151" fmla="*/ 96216 h 238341"/>
                  <a:gd name="connsiteX152" fmla="*/ 31668 w 354861"/>
                  <a:gd name="connsiteY152" fmla="*/ 95458 h 238341"/>
                  <a:gd name="connsiteX153" fmla="*/ 28638 w 354861"/>
                  <a:gd name="connsiteY153" fmla="*/ 95155 h 238341"/>
                  <a:gd name="connsiteX154" fmla="*/ 25910 w 354861"/>
                  <a:gd name="connsiteY154" fmla="*/ 99701 h 238341"/>
                  <a:gd name="connsiteX155" fmla="*/ 22274 w 354861"/>
                  <a:gd name="connsiteY155" fmla="*/ 102276 h 238341"/>
                  <a:gd name="connsiteX156" fmla="*/ 21213 w 354861"/>
                  <a:gd name="connsiteY156" fmla="*/ 103943 h 238341"/>
                  <a:gd name="connsiteX157" fmla="*/ 20607 w 354861"/>
                  <a:gd name="connsiteY157" fmla="*/ 105913 h 238341"/>
                  <a:gd name="connsiteX158" fmla="*/ 19849 w 354861"/>
                  <a:gd name="connsiteY158" fmla="*/ 107731 h 238341"/>
                  <a:gd name="connsiteX159" fmla="*/ 17880 w 354861"/>
                  <a:gd name="connsiteY159" fmla="*/ 111974 h 238341"/>
                  <a:gd name="connsiteX160" fmla="*/ 16516 w 354861"/>
                  <a:gd name="connsiteY160" fmla="*/ 115459 h 238341"/>
                  <a:gd name="connsiteX161" fmla="*/ 15001 w 354861"/>
                  <a:gd name="connsiteY161" fmla="*/ 116519 h 238341"/>
                  <a:gd name="connsiteX162" fmla="*/ 11819 w 354861"/>
                  <a:gd name="connsiteY162" fmla="*/ 121671 h 238341"/>
                  <a:gd name="connsiteX163" fmla="*/ 9546 w 354861"/>
                  <a:gd name="connsiteY163" fmla="*/ 126823 h 238341"/>
                  <a:gd name="connsiteX164" fmla="*/ 9091 w 354861"/>
                  <a:gd name="connsiteY164" fmla="*/ 128187 h 238341"/>
                  <a:gd name="connsiteX165" fmla="*/ 8334 w 354861"/>
                  <a:gd name="connsiteY165" fmla="*/ 129247 h 238341"/>
                  <a:gd name="connsiteX166" fmla="*/ 7273 w 354861"/>
                  <a:gd name="connsiteY166" fmla="*/ 130005 h 238341"/>
                  <a:gd name="connsiteX167" fmla="*/ 3485 w 354861"/>
                  <a:gd name="connsiteY167" fmla="*/ 131672 h 238341"/>
                  <a:gd name="connsiteX168" fmla="*/ 2122 w 354861"/>
                  <a:gd name="connsiteY168" fmla="*/ 132429 h 238341"/>
                  <a:gd name="connsiteX169" fmla="*/ 1212 w 354861"/>
                  <a:gd name="connsiteY169" fmla="*/ 133338 h 238341"/>
                  <a:gd name="connsiteX170" fmla="*/ 303 w 354861"/>
                  <a:gd name="connsiteY170" fmla="*/ 134399 h 238341"/>
                  <a:gd name="connsiteX171" fmla="*/ 0 w 354861"/>
                  <a:gd name="connsiteY171" fmla="*/ 135763 h 238341"/>
                  <a:gd name="connsiteX172" fmla="*/ 909 w 354861"/>
                  <a:gd name="connsiteY172" fmla="*/ 137581 h 238341"/>
                  <a:gd name="connsiteX173" fmla="*/ 1970 w 354861"/>
                  <a:gd name="connsiteY173" fmla="*/ 139096 h 238341"/>
                  <a:gd name="connsiteX174" fmla="*/ 3031 w 354861"/>
                  <a:gd name="connsiteY174" fmla="*/ 139248 h 238341"/>
                  <a:gd name="connsiteX175" fmla="*/ 3940 w 354861"/>
                  <a:gd name="connsiteY175" fmla="*/ 139096 h 238341"/>
                  <a:gd name="connsiteX176" fmla="*/ 4546 w 354861"/>
                  <a:gd name="connsiteY176" fmla="*/ 140005 h 238341"/>
                  <a:gd name="connsiteX177" fmla="*/ 5000 w 354861"/>
                  <a:gd name="connsiteY177" fmla="*/ 140460 h 238341"/>
                  <a:gd name="connsiteX178" fmla="*/ 5000 w 354861"/>
                  <a:gd name="connsiteY178" fmla="*/ 150612 h 238341"/>
                  <a:gd name="connsiteX179" fmla="*/ 4091 w 354861"/>
                  <a:gd name="connsiteY179" fmla="*/ 152127 h 238341"/>
                  <a:gd name="connsiteX180" fmla="*/ 4091 w 354861"/>
                  <a:gd name="connsiteY180" fmla="*/ 152733 h 238341"/>
                  <a:gd name="connsiteX181" fmla="*/ 3788 w 354861"/>
                  <a:gd name="connsiteY181" fmla="*/ 154551 h 238341"/>
                  <a:gd name="connsiteX182" fmla="*/ 3637 w 354861"/>
                  <a:gd name="connsiteY182" fmla="*/ 156521 h 238341"/>
                  <a:gd name="connsiteX183" fmla="*/ 3940 w 354861"/>
                  <a:gd name="connsiteY183" fmla="*/ 157279 h 238341"/>
                  <a:gd name="connsiteX184" fmla="*/ 4697 w 354861"/>
                  <a:gd name="connsiteY184" fmla="*/ 157885 h 238341"/>
                  <a:gd name="connsiteX185" fmla="*/ 5758 w 354861"/>
                  <a:gd name="connsiteY185" fmla="*/ 159248 h 238341"/>
                  <a:gd name="connsiteX186" fmla="*/ 6212 w 354861"/>
                  <a:gd name="connsiteY186" fmla="*/ 162279 h 238341"/>
                  <a:gd name="connsiteX187" fmla="*/ 7576 w 354861"/>
                  <a:gd name="connsiteY187" fmla="*/ 173188 h 238341"/>
                  <a:gd name="connsiteX188" fmla="*/ 8182 w 354861"/>
                  <a:gd name="connsiteY188" fmla="*/ 174855 h 238341"/>
                  <a:gd name="connsiteX189" fmla="*/ 9243 w 354861"/>
                  <a:gd name="connsiteY189" fmla="*/ 176067 h 238341"/>
                  <a:gd name="connsiteX190" fmla="*/ 12576 w 354861"/>
                  <a:gd name="connsiteY190" fmla="*/ 178491 h 238341"/>
                  <a:gd name="connsiteX191" fmla="*/ 16213 w 354861"/>
                  <a:gd name="connsiteY191" fmla="*/ 181522 h 238341"/>
                  <a:gd name="connsiteX192" fmla="*/ 17274 w 354861"/>
                  <a:gd name="connsiteY192" fmla="*/ 183492 h 238341"/>
                  <a:gd name="connsiteX193" fmla="*/ 17880 w 354861"/>
                  <a:gd name="connsiteY193" fmla="*/ 186825 h 238341"/>
                  <a:gd name="connsiteX194" fmla="*/ 19243 w 354861"/>
                  <a:gd name="connsiteY194" fmla="*/ 189401 h 238341"/>
                  <a:gd name="connsiteX195" fmla="*/ 19243 w 354861"/>
                  <a:gd name="connsiteY195" fmla="*/ 190310 h 238341"/>
                  <a:gd name="connsiteX196" fmla="*/ 18637 w 354861"/>
                  <a:gd name="connsiteY196" fmla="*/ 190613 h 238341"/>
                  <a:gd name="connsiteX197" fmla="*/ 17425 w 354861"/>
                  <a:gd name="connsiteY197" fmla="*/ 190764 h 238341"/>
                  <a:gd name="connsiteX198" fmla="*/ 16516 w 354861"/>
                  <a:gd name="connsiteY198" fmla="*/ 190916 h 238341"/>
                  <a:gd name="connsiteX199" fmla="*/ 17274 w 354861"/>
                  <a:gd name="connsiteY199" fmla="*/ 192734 h 238341"/>
                  <a:gd name="connsiteX200" fmla="*/ 19092 w 354861"/>
                  <a:gd name="connsiteY200" fmla="*/ 196068 h 238341"/>
                  <a:gd name="connsiteX201" fmla="*/ 22122 w 354861"/>
                  <a:gd name="connsiteY201" fmla="*/ 199401 h 238341"/>
                  <a:gd name="connsiteX202" fmla="*/ 25456 w 354861"/>
                  <a:gd name="connsiteY202" fmla="*/ 203038 h 238341"/>
                  <a:gd name="connsiteX203" fmla="*/ 28031 w 354861"/>
                  <a:gd name="connsiteY203" fmla="*/ 206068 h 238341"/>
                  <a:gd name="connsiteX204" fmla="*/ 31365 w 354861"/>
                  <a:gd name="connsiteY204" fmla="*/ 209553 h 238341"/>
                  <a:gd name="connsiteX205" fmla="*/ 34092 w 354861"/>
                  <a:gd name="connsiteY205" fmla="*/ 212281 h 238341"/>
                  <a:gd name="connsiteX206" fmla="*/ 36668 w 354861"/>
                  <a:gd name="connsiteY206" fmla="*/ 215008 h 238341"/>
                  <a:gd name="connsiteX207" fmla="*/ 38789 w 354861"/>
                  <a:gd name="connsiteY207" fmla="*/ 215766 h 238341"/>
                  <a:gd name="connsiteX208" fmla="*/ 40305 w 354861"/>
                  <a:gd name="connsiteY208" fmla="*/ 215917 h 238341"/>
                  <a:gd name="connsiteX209" fmla="*/ 40911 w 354861"/>
                  <a:gd name="connsiteY209" fmla="*/ 216523 h 238341"/>
                  <a:gd name="connsiteX210" fmla="*/ 41820 w 354861"/>
                  <a:gd name="connsiteY210" fmla="*/ 217735 h 238341"/>
                  <a:gd name="connsiteX211" fmla="*/ 43184 w 354861"/>
                  <a:gd name="connsiteY211" fmla="*/ 219099 h 238341"/>
                  <a:gd name="connsiteX212" fmla="*/ 44699 w 354861"/>
                  <a:gd name="connsiteY212" fmla="*/ 221069 h 238341"/>
                  <a:gd name="connsiteX213" fmla="*/ 45153 w 354861"/>
                  <a:gd name="connsiteY213" fmla="*/ 222887 h 238341"/>
                  <a:gd name="connsiteX214" fmla="*/ 44547 w 354861"/>
                  <a:gd name="connsiteY214" fmla="*/ 224705 h 238341"/>
                  <a:gd name="connsiteX215" fmla="*/ 45153 w 354861"/>
                  <a:gd name="connsiteY215" fmla="*/ 227281 h 238341"/>
                  <a:gd name="connsiteX216" fmla="*/ 45153 w 354861"/>
                  <a:gd name="connsiteY216" fmla="*/ 227433 h 238341"/>
                  <a:gd name="connsiteX217" fmla="*/ 45760 w 354861"/>
                  <a:gd name="connsiteY217" fmla="*/ 228493 h 238341"/>
                  <a:gd name="connsiteX218" fmla="*/ 45456 w 354861"/>
                  <a:gd name="connsiteY218" fmla="*/ 229402 h 238341"/>
                  <a:gd name="connsiteX219" fmla="*/ 45760 w 354861"/>
                  <a:gd name="connsiteY219" fmla="*/ 232887 h 238341"/>
                  <a:gd name="connsiteX220" fmla="*/ 46669 w 354861"/>
                  <a:gd name="connsiteY220" fmla="*/ 235766 h 238341"/>
                  <a:gd name="connsiteX221" fmla="*/ 47881 w 354861"/>
                  <a:gd name="connsiteY221" fmla="*/ 238342 h 238341"/>
                  <a:gd name="connsiteX222" fmla="*/ 49850 w 354861"/>
                  <a:gd name="connsiteY222" fmla="*/ 234706 h 238341"/>
                  <a:gd name="connsiteX223" fmla="*/ 51669 w 354861"/>
                  <a:gd name="connsiteY223" fmla="*/ 230918 h 238341"/>
                  <a:gd name="connsiteX224" fmla="*/ 53941 w 354861"/>
                  <a:gd name="connsiteY224" fmla="*/ 226675 h 238341"/>
                  <a:gd name="connsiteX225" fmla="*/ 55760 w 354861"/>
                  <a:gd name="connsiteY225" fmla="*/ 223038 h 238341"/>
                  <a:gd name="connsiteX226" fmla="*/ 55457 w 354861"/>
                  <a:gd name="connsiteY226" fmla="*/ 221372 h 238341"/>
                  <a:gd name="connsiteX227" fmla="*/ 55608 w 354861"/>
                  <a:gd name="connsiteY227" fmla="*/ 218644 h 238341"/>
                  <a:gd name="connsiteX228" fmla="*/ 56063 w 354861"/>
                  <a:gd name="connsiteY228" fmla="*/ 215766 h 238341"/>
                  <a:gd name="connsiteX229" fmla="*/ 55911 w 354861"/>
                  <a:gd name="connsiteY229" fmla="*/ 214099 h 238341"/>
                  <a:gd name="connsiteX230" fmla="*/ 56517 w 354861"/>
                  <a:gd name="connsiteY230" fmla="*/ 212887 h 238341"/>
                  <a:gd name="connsiteX231" fmla="*/ 57729 w 354861"/>
                  <a:gd name="connsiteY231" fmla="*/ 208493 h 238341"/>
                  <a:gd name="connsiteX232" fmla="*/ 58487 w 354861"/>
                  <a:gd name="connsiteY232" fmla="*/ 205917 h 238341"/>
                  <a:gd name="connsiteX233" fmla="*/ 59548 w 354861"/>
                  <a:gd name="connsiteY233" fmla="*/ 204856 h 238341"/>
                  <a:gd name="connsiteX234" fmla="*/ 61366 w 354861"/>
                  <a:gd name="connsiteY234" fmla="*/ 203947 h 238341"/>
                  <a:gd name="connsiteX235" fmla="*/ 63791 w 354861"/>
                  <a:gd name="connsiteY235" fmla="*/ 203947 h 238341"/>
                  <a:gd name="connsiteX236" fmla="*/ 70306 w 354861"/>
                  <a:gd name="connsiteY236" fmla="*/ 203341 h 238341"/>
                  <a:gd name="connsiteX237" fmla="*/ 76367 w 354861"/>
                  <a:gd name="connsiteY237" fmla="*/ 202280 h 238341"/>
                  <a:gd name="connsiteX238" fmla="*/ 78488 w 354861"/>
                  <a:gd name="connsiteY238" fmla="*/ 201674 h 238341"/>
                  <a:gd name="connsiteX239" fmla="*/ 82276 w 354861"/>
                  <a:gd name="connsiteY239" fmla="*/ 199856 h 238341"/>
                  <a:gd name="connsiteX240" fmla="*/ 83640 w 354861"/>
                  <a:gd name="connsiteY240" fmla="*/ 199856 h 238341"/>
                  <a:gd name="connsiteX241" fmla="*/ 85003 w 354861"/>
                  <a:gd name="connsiteY241" fmla="*/ 200462 h 238341"/>
                  <a:gd name="connsiteX242" fmla="*/ 92276 w 354861"/>
                  <a:gd name="connsiteY242" fmla="*/ 202583 h 238341"/>
                  <a:gd name="connsiteX243" fmla="*/ 94398 w 354861"/>
                  <a:gd name="connsiteY243" fmla="*/ 203492 h 238341"/>
                  <a:gd name="connsiteX244" fmla="*/ 95004 w 354861"/>
                  <a:gd name="connsiteY244" fmla="*/ 203341 h 238341"/>
                  <a:gd name="connsiteX245" fmla="*/ 96216 w 354861"/>
                  <a:gd name="connsiteY245" fmla="*/ 203492 h 238341"/>
                  <a:gd name="connsiteX246" fmla="*/ 97883 w 354861"/>
                  <a:gd name="connsiteY246" fmla="*/ 203492 h 238341"/>
                  <a:gd name="connsiteX247" fmla="*/ 99549 w 354861"/>
                  <a:gd name="connsiteY247" fmla="*/ 203341 h 238341"/>
                  <a:gd name="connsiteX248" fmla="*/ 100610 w 354861"/>
                  <a:gd name="connsiteY248" fmla="*/ 203492 h 238341"/>
                  <a:gd name="connsiteX249" fmla="*/ 101974 w 354861"/>
                  <a:gd name="connsiteY249" fmla="*/ 205007 h 238341"/>
                  <a:gd name="connsiteX250" fmla="*/ 102883 w 354861"/>
                  <a:gd name="connsiteY250" fmla="*/ 204856 h 238341"/>
                  <a:gd name="connsiteX251" fmla="*/ 104095 w 354861"/>
                  <a:gd name="connsiteY251" fmla="*/ 203795 h 238341"/>
                  <a:gd name="connsiteX252" fmla="*/ 106368 w 354861"/>
                  <a:gd name="connsiteY252" fmla="*/ 202735 h 238341"/>
                  <a:gd name="connsiteX253" fmla="*/ 110610 w 354861"/>
                  <a:gd name="connsiteY253" fmla="*/ 201523 h 238341"/>
                  <a:gd name="connsiteX254" fmla="*/ 111368 w 354861"/>
                  <a:gd name="connsiteY254" fmla="*/ 202129 h 238341"/>
                  <a:gd name="connsiteX255" fmla="*/ 112731 w 354861"/>
                  <a:gd name="connsiteY255" fmla="*/ 204705 h 238341"/>
                  <a:gd name="connsiteX256" fmla="*/ 114247 w 354861"/>
                  <a:gd name="connsiteY256" fmla="*/ 205462 h 238341"/>
                  <a:gd name="connsiteX257" fmla="*/ 113944 w 354861"/>
                  <a:gd name="connsiteY257" fmla="*/ 200007 h 238341"/>
                  <a:gd name="connsiteX258" fmla="*/ 115004 w 354861"/>
                  <a:gd name="connsiteY258" fmla="*/ 192583 h 238341"/>
                  <a:gd name="connsiteX259" fmla="*/ 114550 w 354861"/>
                  <a:gd name="connsiteY259" fmla="*/ 188189 h 238341"/>
                  <a:gd name="connsiteX260" fmla="*/ 113186 w 354861"/>
                  <a:gd name="connsiteY260" fmla="*/ 184249 h 238341"/>
                  <a:gd name="connsiteX261" fmla="*/ 113944 w 354861"/>
                  <a:gd name="connsiteY261" fmla="*/ 181825 h 238341"/>
                  <a:gd name="connsiteX262" fmla="*/ 116823 w 354861"/>
                  <a:gd name="connsiteY262" fmla="*/ 180916 h 238341"/>
                  <a:gd name="connsiteX263" fmla="*/ 120308 w 354861"/>
                  <a:gd name="connsiteY263" fmla="*/ 177128 h 238341"/>
                  <a:gd name="connsiteX264" fmla="*/ 126823 w 354861"/>
                  <a:gd name="connsiteY264" fmla="*/ 166976 h 238341"/>
                  <a:gd name="connsiteX265" fmla="*/ 133793 w 354861"/>
                  <a:gd name="connsiteY265" fmla="*/ 162127 h 238341"/>
                  <a:gd name="connsiteX266" fmla="*/ 138642 w 354861"/>
                  <a:gd name="connsiteY266" fmla="*/ 160612 h 238341"/>
                  <a:gd name="connsiteX267" fmla="*/ 143794 w 354861"/>
                  <a:gd name="connsiteY267" fmla="*/ 160763 h 238341"/>
                  <a:gd name="connsiteX268" fmla="*/ 146975 w 354861"/>
                  <a:gd name="connsiteY268" fmla="*/ 161673 h 238341"/>
                  <a:gd name="connsiteX269" fmla="*/ 148642 w 354861"/>
                  <a:gd name="connsiteY269" fmla="*/ 163188 h 238341"/>
                  <a:gd name="connsiteX270" fmla="*/ 152430 w 354861"/>
                  <a:gd name="connsiteY270" fmla="*/ 165612 h 238341"/>
                  <a:gd name="connsiteX271" fmla="*/ 158491 w 354861"/>
                  <a:gd name="connsiteY271" fmla="*/ 168794 h 238341"/>
                  <a:gd name="connsiteX272" fmla="*/ 163037 w 354861"/>
                  <a:gd name="connsiteY272" fmla="*/ 172582 h 238341"/>
                  <a:gd name="connsiteX273" fmla="*/ 165613 w 354861"/>
                  <a:gd name="connsiteY273" fmla="*/ 176522 h 238341"/>
                  <a:gd name="connsiteX274" fmla="*/ 167582 w 354861"/>
                  <a:gd name="connsiteY274" fmla="*/ 178794 h 238341"/>
                  <a:gd name="connsiteX275" fmla="*/ 170006 w 354861"/>
                  <a:gd name="connsiteY275" fmla="*/ 179400 h 238341"/>
                  <a:gd name="connsiteX276" fmla="*/ 174098 w 354861"/>
                  <a:gd name="connsiteY276" fmla="*/ 179098 h 238341"/>
                  <a:gd name="connsiteX277" fmla="*/ 178491 w 354861"/>
                  <a:gd name="connsiteY277" fmla="*/ 180007 h 238341"/>
                  <a:gd name="connsiteX278" fmla="*/ 183189 w 354861"/>
                  <a:gd name="connsiteY278" fmla="*/ 182279 h 238341"/>
                  <a:gd name="connsiteX279" fmla="*/ 185916 w 354861"/>
                  <a:gd name="connsiteY279" fmla="*/ 183037 h 238341"/>
                  <a:gd name="connsiteX280" fmla="*/ 186977 w 354861"/>
                  <a:gd name="connsiteY280" fmla="*/ 182582 h 238341"/>
                  <a:gd name="connsiteX281" fmla="*/ 189250 w 354861"/>
                  <a:gd name="connsiteY281" fmla="*/ 182886 h 238341"/>
                  <a:gd name="connsiteX282" fmla="*/ 194401 w 354861"/>
                  <a:gd name="connsiteY282" fmla="*/ 184704 h 238341"/>
                  <a:gd name="connsiteX283" fmla="*/ 198492 w 354861"/>
                  <a:gd name="connsiteY283" fmla="*/ 183643 h 238341"/>
                  <a:gd name="connsiteX284" fmla="*/ 204553 w 354861"/>
                  <a:gd name="connsiteY284" fmla="*/ 184401 h 238341"/>
                  <a:gd name="connsiteX285" fmla="*/ 218645 w 354861"/>
                  <a:gd name="connsiteY285" fmla="*/ 187583 h 238341"/>
                  <a:gd name="connsiteX286" fmla="*/ 219402 w 354861"/>
                  <a:gd name="connsiteY286" fmla="*/ 187128 h 238341"/>
                  <a:gd name="connsiteX287" fmla="*/ 219705 w 354861"/>
                  <a:gd name="connsiteY287" fmla="*/ 186976 h 238341"/>
                  <a:gd name="connsiteX288" fmla="*/ 220918 w 354861"/>
                  <a:gd name="connsiteY288" fmla="*/ 185613 h 238341"/>
                  <a:gd name="connsiteX289" fmla="*/ 223948 w 354861"/>
                  <a:gd name="connsiteY289" fmla="*/ 179249 h 238341"/>
                  <a:gd name="connsiteX290" fmla="*/ 226524 w 354861"/>
                  <a:gd name="connsiteY290" fmla="*/ 175158 h 238341"/>
                  <a:gd name="connsiteX291" fmla="*/ 227736 w 354861"/>
                  <a:gd name="connsiteY291" fmla="*/ 173643 h 238341"/>
                  <a:gd name="connsiteX292" fmla="*/ 230766 w 354861"/>
                  <a:gd name="connsiteY292" fmla="*/ 171673 h 238341"/>
                  <a:gd name="connsiteX293" fmla="*/ 234251 w 354861"/>
                  <a:gd name="connsiteY293" fmla="*/ 171067 h 238341"/>
                  <a:gd name="connsiteX294" fmla="*/ 237585 w 354861"/>
                  <a:gd name="connsiteY294" fmla="*/ 171218 h 238341"/>
                  <a:gd name="connsiteX295" fmla="*/ 240464 w 354861"/>
                  <a:gd name="connsiteY295" fmla="*/ 172128 h 238341"/>
                  <a:gd name="connsiteX296" fmla="*/ 243039 w 354861"/>
                  <a:gd name="connsiteY296" fmla="*/ 173188 h 238341"/>
                  <a:gd name="connsiteX297" fmla="*/ 245767 w 354861"/>
                  <a:gd name="connsiteY297" fmla="*/ 173340 h 238341"/>
                  <a:gd name="connsiteX298" fmla="*/ 248797 w 354861"/>
                  <a:gd name="connsiteY298" fmla="*/ 172279 h 238341"/>
                  <a:gd name="connsiteX299" fmla="*/ 253040 w 354861"/>
                  <a:gd name="connsiteY299" fmla="*/ 170309 h 238341"/>
                  <a:gd name="connsiteX300" fmla="*/ 257585 w 354861"/>
                  <a:gd name="connsiteY300" fmla="*/ 169097 h 238341"/>
                  <a:gd name="connsiteX301" fmla="*/ 261525 w 354861"/>
                  <a:gd name="connsiteY301" fmla="*/ 167734 h 238341"/>
                  <a:gd name="connsiteX302" fmla="*/ 268040 w 354861"/>
                  <a:gd name="connsiteY302" fmla="*/ 165309 h 238341"/>
                  <a:gd name="connsiteX303" fmla="*/ 270465 w 354861"/>
                  <a:gd name="connsiteY303" fmla="*/ 164248 h 238341"/>
                  <a:gd name="connsiteX304" fmla="*/ 273798 w 354861"/>
                  <a:gd name="connsiteY304" fmla="*/ 163794 h 238341"/>
                  <a:gd name="connsiteX305" fmla="*/ 282738 w 354861"/>
                  <a:gd name="connsiteY305" fmla="*/ 166067 h 238341"/>
                  <a:gd name="connsiteX306" fmla="*/ 288496 w 354861"/>
                  <a:gd name="connsiteY306" fmla="*/ 164551 h 238341"/>
                  <a:gd name="connsiteX307" fmla="*/ 290920 w 354861"/>
                  <a:gd name="connsiteY307" fmla="*/ 165006 h 238341"/>
                  <a:gd name="connsiteX308" fmla="*/ 295920 w 354861"/>
                  <a:gd name="connsiteY308" fmla="*/ 163491 h 238341"/>
                  <a:gd name="connsiteX309" fmla="*/ 296829 w 354861"/>
                  <a:gd name="connsiteY309" fmla="*/ 162430 h 238341"/>
                  <a:gd name="connsiteX310" fmla="*/ 300163 w 354861"/>
                  <a:gd name="connsiteY310" fmla="*/ 157127 h 238341"/>
                  <a:gd name="connsiteX311" fmla="*/ 303496 w 354861"/>
                  <a:gd name="connsiteY311" fmla="*/ 155612 h 238341"/>
                  <a:gd name="connsiteX312" fmla="*/ 308648 w 354861"/>
                  <a:gd name="connsiteY312" fmla="*/ 156369 h 238341"/>
                  <a:gd name="connsiteX313" fmla="*/ 311527 w 354861"/>
                  <a:gd name="connsiteY313" fmla="*/ 157127 h 238341"/>
                  <a:gd name="connsiteX314" fmla="*/ 321224 w 354861"/>
                  <a:gd name="connsiteY314" fmla="*/ 159400 h 238341"/>
                  <a:gd name="connsiteX315" fmla="*/ 333800 w 354861"/>
                  <a:gd name="connsiteY315" fmla="*/ 161824 h 238341"/>
                  <a:gd name="connsiteX316" fmla="*/ 337437 w 354861"/>
                  <a:gd name="connsiteY316" fmla="*/ 162127 h 238341"/>
                  <a:gd name="connsiteX317" fmla="*/ 338952 w 354861"/>
                  <a:gd name="connsiteY317" fmla="*/ 162430 h 238341"/>
                  <a:gd name="connsiteX318" fmla="*/ 340316 w 354861"/>
                  <a:gd name="connsiteY318" fmla="*/ 161976 h 238341"/>
                  <a:gd name="connsiteX319" fmla="*/ 344407 w 354861"/>
                  <a:gd name="connsiteY319" fmla="*/ 159097 h 238341"/>
                  <a:gd name="connsiteX320" fmla="*/ 345771 w 354861"/>
                  <a:gd name="connsiteY320" fmla="*/ 158642 h 238341"/>
                  <a:gd name="connsiteX321" fmla="*/ 346983 w 354861"/>
                  <a:gd name="connsiteY321" fmla="*/ 158642 h 238341"/>
                  <a:gd name="connsiteX322" fmla="*/ 354862 w 354861"/>
                  <a:gd name="connsiteY322" fmla="*/ 161067 h 23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354861" h="238341">
                    <a:moveTo>
                      <a:pt x="352892" y="158945"/>
                    </a:moveTo>
                    <a:lnTo>
                      <a:pt x="350922" y="156218"/>
                    </a:lnTo>
                    <a:lnTo>
                      <a:pt x="350165" y="152127"/>
                    </a:lnTo>
                    <a:lnTo>
                      <a:pt x="350165" y="148793"/>
                    </a:lnTo>
                    <a:lnTo>
                      <a:pt x="349710" y="147278"/>
                    </a:lnTo>
                    <a:lnTo>
                      <a:pt x="348801" y="145763"/>
                    </a:lnTo>
                    <a:lnTo>
                      <a:pt x="347740" y="144399"/>
                    </a:lnTo>
                    <a:lnTo>
                      <a:pt x="346073" y="142884"/>
                    </a:lnTo>
                    <a:lnTo>
                      <a:pt x="342285" y="140763"/>
                    </a:lnTo>
                    <a:lnTo>
                      <a:pt x="338346" y="138338"/>
                    </a:lnTo>
                    <a:lnTo>
                      <a:pt x="336376" y="136823"/>
                    </a:lnTo>
                    <a:lnTo>
                      <a:pt x="332740" y="136369"/>
                    </a:lnTo>
                    <a:lnTo>
                      <a:pt x="330618" y="135005"/>
                    </a:lnTo>
                    <a:lnTo>
                      <a:pt x="328800" y="131823"/>
                    </a:lnTo>
                    <a:lnTo>
                      <a:pt x="328043" y="129399"/>
                    </a:lnTo>
                    <a:lnTo>
                      <a:pt x="326224" y="127429"/>
                    </a:lnTo>
                    <a:lnTo>
                      <a:pt x="325315" y="126065"/>
                    </a:lnTo>
                    <a:lnTo>
                      <a:pt x="325012" y="124399"/>
                    </a:lnTo>
                    <a:lnTo>
                      <a:pt x="326376" y="119550"/>
                    </a:lnTo>
                    <a:lnTo>
                      <a:pt x="324255" y="117732"/>
                    </a:lnTo>
                    <a:lnTo>
                      <a:pt x="321073" y="115459"/>
                    </a:lnTo>
                    <a:lnTo>
                      <a:pt x="318952" y="113035"/>
                    </a:lnTo>
                    <a:lnTo>
                      <a:pt x="317436" y="110762"/>
                    </a:lnTo>
                    <a:lnTo>
                      <a:pt x="313497" y="107731"/>
                    </a:lnTo>
                    <a:lnTo>
                      <a:pt x="304709" y="103337"/>
                    </a:lnTo>
                    <a:lnTo>
                      <a:pt x="299557" y="100458"/>
                    </a:lnTo>
                    <a:lnTo>
                      <a:pt x="296829" y="97882"/>
                    </a:lnTo>
                    <a:lnTo>
                      <a:pt x="294405" y="95307"/>
                    </a:lnTo>
                    <a:lnTo>
                      <a:pt x="294102" y="94246"/>
                    </a:lnTo>
                    <a:lnTo>
                      <a:pt x="295617" y="91821"/>
                    </a:lnTo>
                    <a:lnTo>
                      <a:pt x="295920" y="89700"/>
                    </a:lnTo>
                    <a:lnTo>
                      <a:pt x="294556" y="87427"/>
                    </a:lnTo>
                    <a:lnTo>
                      <a:pt x="289405" y="83185"/>
                    </a:lnTo>
                    <a:lnTo>
                      <a:pt x="285162" y="78488"/>
                    </a:lnTo>
                    <a:lnTo>
                      <a:pt x="281980" y="76973"/>
                    </a:lnTo>
                    <a:lnTo>
                      <a:pt x="274253" y="75609"/>
                    </a:lnTo>
                    <a:lnTo>
                      <a:pt x="272132" y="75154"/>
                    </a:lnTo>
                    <a:lnTo>
                      <a:pt x="269707" y="74245"/>
                    </a:lnTo>
                    <a:lnTo>
                      <a:pt x="267435" y="72124"/>
                    </a:lnTo>
                    <a:lnTo>
                      <a:pt x="266677" y="69548"/>
                    </a:lnTo>
                    <a:lnTo>
                      <a:pt x="267889" y="65608"/>
                    </a:lnTo>
                    <a:lnTo>
                      <a:pt x="267131" y="64396"/>
                    </a:lnTo>
                    <a:lnTo>
                      <a:pt x="265768" y="63942"/>
                    </a:lnTo>
                    <a:lnTo>
                      <a:pt x="263040" y="63336"/>
                    </a:lnTo>
                    <a:lnTo>
                      <a:pt x="259707" y="62730"/>
                    </a:lnTo>
                    <a:lnTo>
                      <a:pt x="253040" y="62124"/>
                    </a:lnTo>
                    <a:lnTo>
                      <a:pt x="250313" y="61214"/>
                    </a:lnTo>
                    <a:lnTo>
                      <a:pt x="249100" y="59851"/>
                    </a:lnTo>
                    <a:lnTo>
                      <a:pt x="249555" y="56366"/>
                    </a:lnTo>
                    <a:lnTo>
                      <a:pt x="248797" y="55608"/>
                    </a:lnTo>
                    <a:lnTo>
                      <a:pt x="247737" y="55002"/>
                    </a:lnTo>
                    <a:lnTo>
                      <a:pt x="247130" y="53487"/>
                    </a:lnTo>
                    <a:lnTo>
                      <a:pt x="247282" y="51669"/>
                    </a:lnTo>
                    <a:lnTo>
                      <a:pt x="250767" y="47577"/>
                    </a:lnTo>
                    <a:lnTo>
                      <a:pt x="251525" y="45456"/>
                    </a:lnTo>
                    <a:lnTo>
                      <a:pt x="251979" y="38032"/>
                    </a:lnTo>
                    <a:lnTo>
                      <a:pt x="252434" y="35304"/>
                    </a:lnTo>
                    <a:lnTo>
                      <a:pt x="252131" y="32274"/>
                    </a:lnTo>
                    <a:lnTo>
                      <a:pt x="249404" y="26516"/>
                    </a:lnTo>
                    <a:lnTo>
                      <a:pt x="246979" y="22577"/>
                    </a:lnTo>
                    <a:lnTo>
                      <a:pt x="243039" y="16819"/>
                    </a:lnTo>
                    <a:lnTo>
                      <a:pt x="241373" y="14849"/>
                    </a:lnTo>
                    <a:lnTo>
                      <a:pt x="233494" y="6818"/>
                    </a:lnTo>
                    <a:lnTo>
                      <a:pt x="232584" y="5606"/>
                    </a:lnTo>
                    <a:lnTo>
                      <a:pt x="230615" y="2121"/>
                    </a:lnTo>
                    <a:lnTo>
                      <a:pt x="229403" y="1970"/>
                    </a:lnTo>
                    <a:lnTo>
                      <a:pt x="226978" y="1212"/>
                    </a:lnTo>
                    <a:lnTo>
                      <a:pt x="224099" y="606"/>
                    </a:lnTo>
                    <a:lnTo>
                      <a:pt x="220614" y="0"/>
                    </a:lnTo>
                    <a:lnTo>
                      <a:pt x="217130" y="1212"/>
                    </a:lnTo>
                    <a:lnTo>
                      <a:pt x="213493" y="2879"/>
                    </a:lnTo>
                    <a:lnTo>
                      <a:pt x="212432" y="3940"/>
                    </a:lnTo>
                    <a:lnTo>
                      <a:pt x="211372" y="4697"/>
                    </a:lnTo>
                    <a:lnTo>
                      <a:pt x="209705" y="4546"/>
                    </a:lnTo>
                    <a:lnTo>
                      <a:pt x="208190" y="4849"/>
                    </a:lnTo>
                    <a:lnTo>
                      <a:pt x="207432" y="5909"/>
                    </a:lnTo>
                    <a:lnTo>
                      <a:pt x="206068" y="7121"/>
                    </a:lnTo>
                    <a:lnTo>
                      <a:pt x="200765" y="9697"/>
                    </a:lnTo>
                    <a:lnTo>
                      <a:pt x="199705" y="10606"/>
                    </a:lnTo>
                    <a:lnTo>
                      <a:pt x="199099" y="11667"/>
                    </a:lnTo>
                    <a:lnTo>
                      <a:pt x="199099" y="12576"/>
                    </a:lnTo>
                    <a:lnTo>
                      <a:pt x="199553" y="14698"/>
                    </a:lnTo>
                    <a:lnTo>
                      <a:pt x="199553" y="17273"/>
                    </a:lnTo>
                    <a:lnTo>
                      <a:pt x="198341" y="19395"/>
                    </a:lnTo>
                    <a:lnTo>
                      <a:pt x="196977" y="20910"/>
                    </a:lnTo>
                    <a:lnTo>
                      <a:pt x="195462" y="21364"/>
                    </a:lnTo>
                    <a:lnTo>
                      <a:pt x="194098" y="21668"/>
                    </a:lnTo>
                    <a:lnTo>
                      <a:pt x="193341" y="22577"/>
                    </a:lnTo>
                    <a:lnTo>
                      <a:pt x="190462" y="27425"/>
                    </a:lnTo>
                    <a:lnTo>
                      <a:pt x="189401" y="28183"/>
                    </a:lnTo>
                    <a:lnTo>
                      <a:pt x="186977" y="28031"/>
                    </a:lnTo>
                    <a:lnTo>
                      <a:pt x="180007" y="35304"/>
                    </a:lnTo>
                    <a:lnTo>
                      <a:pt x="179249" y="37426"/>
                    </a:lnTo>
                    <a:lnTo>
                      <a:pt x="176673" y="40305"/>
                    </a:lnTo>
                    <a:lnTo>
                      <a:pt x="173491" y="43638"/>
                    </a:lnTo>
                    <a:lnTo>
                      <a:pt x="170613" y="45305"/>
                    </a:lnTo>
                    <a:lnTo>
                      <a:pt x="170461" y="45911"/>
                    </a:lnTo>
                    <a:lnTo>
                      <a:pt x="169552" y="46517"/>
                    </a:lnTo>
                    <a:lnTo>
                      <a:pt x="167885" y="47274"/>
                    </a:lnTo>
                    <a:lnTo>
                      <a:pt x="161673" y="51366"/>
                    </a:lnTo>
                    <a:lnTo>
                      <a:pt x="154400" y="51214"/>
                    </a:lnTo>
                    <a:lnTo>
                      <a:pt x="151066" y="52729"/>
                    </a:lnTo>
                    <a:lnTo>
                      <a:pt x="147884" y="53487"/>
                    </a:lnTo>
                    <a:lnTo>
                      <a:pt x="143339" y="54244"/>
                    </a:lnTo>
                    <a:lnTo>
                      <a:pt x="141824" y="54244"/>
                    </a:lnTo>
                    <a:lnTo>
                      <a:pt x="135914" y="54548"/>
                    </a:lnTo>
                    <a:lnTo>
                      <a:pt x="128944" y="54396"/>
                    </a:lnTo>
                    <a:lnTo>
                      <a:pt x="126217" y="55002"/>
                    </a:lnTo>
                    <a:lnTo>
                      <a:pt x="123793" y="56517"/>
                    </a:lnTo>
                    <a:lnTo>
                      <a:pt x="121975" y="57881"/>
                    </a:lnTo>
                    <a:lnTo>
                      <a:pt x="121671" y="58336"/>
                    </a:lnTo>
                    <a:lnTo>
                      <a:pt x="121975" y="58942"/>
                    </a:lnTo>
                    <a:lnTo>
                      <a:pt x="121823" y="59245"/>
                    </a:lnTo>
                    <a:lnTo>
                      <a:pt x="126672" y="62578"/>
                    </a:lnTo>
                    <a:lnTo>
                      <a:pt x="127884" y="64245"/>
                    </a:lnTo>
                    <a:lnTo>
                      <a:pt x="126672" y="65760"/>
                    </a:lnTo>
                    <a:lnTo>
                      <a:pt x="126065" y="66063"/>
                    </a:lnTo>
                    <a:lnTo>
                      <a:pt x="126065" y="66214"/>
                    </a:lnTo>
                    <a:lnTo>
                      <a:pt x="125308" y="67427"/>
                    </a:lnTo>
                    <a:lnTo>
                      <a:pt x="122429" y="71063"/>
                    </a:lnTo>
                    <a:lnTo>
                      <a:pt x="118035" y="75609"/>
                    </a:lnTo>
                    <a:lnTo>
                      <a:pt x="115914" y="76821"/>
                    </a:lnTo>
                    <a:lnTo>
                      <a:pt x="115004" y="77579"/>
                    </a:lnTo>
                    <a:lnTo>
                      <a:pt x="113792" y="80609"/>
                    </a:lnTo>
                    <a:lnTo>
                      <a:pt x="113035" y="80912"/>
                    </a:lnTo>
                    <a:lnTo>
                      <a:pt x="110004" y="81367"/>
                    </a:lnTo>
                    <a:lnTo>
                      <a:pt x="104095" y="81670"/>
                    </a:lnTo>
                    <a:lnTo>
                      <a:pt x="95913" y="82579"/>
                    </a:lnTo>
                    <a:lnTo>
                      <a:pt x="91064" y="82882"/>
                    </a:lnTo>
                    <a:lnTo>
                      <a:pt x="88034" y="82579"/>
                    </a:lnTo>
                    <a:lnTo>
                      <a:pt x="83791" y="84700"/>
                    </a:lnTo>
                    <a:lnTo>
                      <a:pt x="82124" y="85155"/>
                    </a:lnTo>
                    <a:lnTo>
                      <a:pt x="81215" y="85306"/>
                    </a:lnTo>
                    <a:lnTo>
                      <a:pt x="76973" y="87276"/>
                    </a:lnTo>
                    <a:lnTo>
                      <a:pt x="73488" y="90306"/>
                    </a:lnTo>
                    <a:lnTo>
                      <a:pt x="72276" y="90912"/>
                    </a:lnTo>
                    <a:lnTo>
                      <a:pt x="67275" y="92276"/>
                    </a:lnTo>
                    <a:lnTo>
                      <a:pt x="65305" y="94246"/>
                    </a:lnTo>
                    <a:lnTo>
                      <a:pt x="64396" y="94549"/>
                    </a:lnTo>
                    <a:lnTo>
                      <a:pt x="61215" y="91670"/>
                    </a:lnTo>
                    <a:lnTo>
                      <a:pt x="58942" y="89246"/>
                    </a:lnTo>
                    <a:lnTo>
                      <a:pt x="57881" y="86670"/>
                    </a:lnTo>
                    <a:lnTo>
                      <a:pt x="57881" y="85912"/>
                    </a:lnTo>
                    <a:lnTo>
                      <a:pt x="57275" y="86064"/>
                    </a:lnTo>
                    <a:lnTo>
                      <a:pt x="55457" y="87124"/>
                    </a:lnTo>
                    <a:lnTo>
                      <a:pt x="53941" y="88488"/>
                    </a:lnTo>
                    <a:lnTo>
                      <a:pt x="53336" y="90912"/>
                    </a:lnTo>
                    <a:lnTo>
                      <a:pt x="48184" y="92428"/>
                    </a:lnTo>
                    <a:lnTo>
                      <a:pt x="43790" y="93943"/>
                    </a:lnTo>
                    <a:lnTo>
                      <a:pt x="41668" y="95610"/>
                    </a:lnTo>
                    <a:lnTo>
                      <a:pt x="38638" y="96519"/>
                    </a:lnTo>
                    <a:lnTo>
                      <a:pt x="34698" y="96216"/>
                    </a:lnTo>
                    <a:lnTo>
                      <a:pt x="31668" y="95458"/>
                    </a:lnTo>
                    <a:lnTo>
                      <a:pt x="28638" y="95155"/>
                    </a:lnTo>
                    <a:lnTo>
                      <a:pt x="25910" y="99701"/>
                    </a:lnTo>
                    <a:lnTo>
                      <a:pt x="22274" y="102276"/>
                    </a:lnTo>
                    <a:lnTo>
                      <a:pt x="21213" y="103943"/>
                    </a:lnTo>
                    <a:lnTo>
                      <a:pt x="20607" y="105913"/>
                    </a:lnTo>
                    <a:lnTo>
                      <a:pt x="19849" y="107731"/>
                    </a:lnTo>
                    <a:lnTo>
                      <a:pt x="17880" y="111974"/>
                    </a:lnTo>
                    <a:lnTo>
                      <a:pt x="16516" y="115459"/>
                    </a:lnTo>
                    <a:lnTo>
                      <a:pt x="15001" y="116519"/>
                    </a:lnTo>
                    <a:lnTo>
                      <a:pt x="11819" y="121671"/>
                    </a:lnTo>
                    <a:lnTo>
                      <a:pt x="9546" y="126823"/>
                    </a:lnTo>
                    <a:lnTo>
                      <a:pt x="9091" y="128187"/>
                    </a:lnTo>
                    <a:lnTo>
                      <a:pt x="8334" y="129247"/>
                    </a:lnTo>
                    <a:lnTo>
                      <a:pt x="7273" y="130005"/>
                    </a:lnTo>
                    <a:lnTo>
                      <a:pt x="3485" y="131672"/>
                    </a:lnTo>
                    <a:lnTo>
                      <a:pt x="2122" y="132429"/>
                    </a:lnTo>
                    <a:lnTo>
                      <a:pt x="1212" y="133338"/>
                    </a:lnTo>
                    <a:lnTo>
                      <a:pt x="303" y="134399"/>
                    </a:lnTo>
                    <a:lnTo>
                      <a:pt x="0" y="135763"/>
                    </a:lnTo>
                    <a:lnTo>
                      <a:pt x="909" y="137581"/>
                    </a:lnTo>
                    <a:lnTo>
                      <a:pt x="1970" y="139096"/>
                    </a:lnTo>
                    <a:lnTo>
                      <a:pt x="3031" y="139248"/>
                    </a:lnTo>
                    <a:lnTo>
                      <a:pt x="3940" y="139096"/>
                    </a:lnTo>
                    <a:lnTo>
                      <a:pt x="4546" y="140005"/>
                    </a:lnTo>
                    <a:lnTo>
                      <a:pt x="5000" y="140460"/>
                    </a:lnTo>
                    <a:lnTo>
                      <a:pt x="5000" y="150612"/>
                    </a:lnTo>
                    <a:lnTo>
                      <a:pt x="4091" y="152127"/>
                    </a:lnTo>
                    <a:lnTo>
                      <a:pt x="4091" y="152733"/>
                    </a:lnTo>
                    <a:lnTo>
                      <a:pt x="3788" y="154551"/>
                    </a:lnTo>
                    <a:lnTo>
                      <a:pt x="3637" y="156521"/>
                    </a:lnTo>
                    <a:lnTo>
                      <a:pt x="3940" y="157279"/>
                    </a:lnTo>
                    <a:lnTo>
                      <a:pt x="4697" y="157885"/>
                    </a:lnTo>
                    <a:lnTo>
                      <a:pt x="5758" y="159248"/>
                    </a:lnTo>
                    <a:lnTo>
                      <a:pt x="6212" y="162279"/>
                    </a:lnTo>
                    <a:lnTo>
                      <a:pt x="7576" y="173188"/>
                    </a:lnTo>
                    <a:lnTo>
                      <a:pt x="8182" y="174855"/>
                    </a:lnTo>
                    <a:lnTo>
                      <a:pt x="9243" y="176067"/>
                    </a:lnTo>
                    <a:lnTo>
                      <a:pt x="12576" y="178491"/>
                    </a:lnTo>
                    <a:lnTo>
                      <a:pt x="16213" y="181522"/>
                    </a:lnTo>
                    <a:lnTo>
                      <a:pt x="17274" y="183492"/>
                    </a:lnTo>
                    <a:lnTo>
                      <a:pt x="17880" y="186825"/>
                    </a:lnTo>
                    <a:lnTo>
                      <a:pt x="19243" y="189401"/>
                    </a:lnTo>
                    <a:lnTo>
                      <a:pt x="19243" y="190310"/>
                    </a:lnTo>
                    <a:lnTo>
                      <a:pt x="18637" y="190613"/>
                    </a:lnTo>
                    <a:lnTo>
                      <a:pt x="17425" y="190764"/>
                    </a:lnTo>
                    <a:lnTo>
                      <a:pt x="16516" y="190916"/>
                    </a:lnTo>
                    <a:lnTo>
                      <a:pt x="17274" y="192734"/>
                    </a:lnTo>
                    <a:lnTo>
                      <a:pt x="19092" y="196068"/>
                    </a:lnTo>
                    <a:lnTo>
                      <a:pt x="22122" y="199401"/>
                    </a:lnTo>
                    <a:lnTo>
                      <a:pt x="25456" y="203038"/>
                    </a:lnTo>
                    <a:lnTo>
                      <a:pt x="28031" y="206068"/>
                    </a:lnTo>
                    <a:lnTo>
                      <a:pt x="31365" y="209553"/>
                    </a:lnTo>
                    <a:lnTo>
                      <a:pt x="34092" y="212281"/>
                    </a:lnTo>
                    <a:lnTo>
                      <a:pt x="36668" y="215008"/>
                    </a:lnTo>
                    <a:lnTo>
                      <a:pt x="38789" y="215766"/>
                    </a:lnTo>
                    <a:lnTo>
                      <a:pt x="40305" y="215917"/>
                    </a:lnTo>
                    <a:lnTo>
                      <a:pt x="40911" y="216523"/>
                    </a:lnTo>
                    <a:lnTo>
                      <a:pt x="41820" y="217735"/>
                    </a:lnTo>
                    <a:lnTo>
                      <a:pt x="43184" y="219099"/>
                    </a:lnTo>
                    <a:lnTo>
                      <a:pt x="44699" y="221069"/>
                    </a:lnTo>
                    <a:lnTo>
                      <a:pt x="45153" y="222887"/>
                    </a:lnTo>
                    <a:lnTo>
                      <a:pt x="44547" y="224705"/>
                    </a:lnTo>
                    <a:lnTo>
                      <a:pt x="45153" y="227281"/>
                    </a:lnTo>
                    <a:lnTo>
                      <a:pt x="45153" y="227433"/>
                    </a:lnTo>
                    <a:lnTo>
                      <a:pt x="45760" y="228493"/>
                    </a:lnTo>
                    <a:lnTo>
                      <a:pt x="45456" y="229402"/>
                    </a:lnTo>
                    <a:lnTo>
                      <a:pt x="45760" y="232887"/>
                    </a:lnTo>
                    <a:lnTo>
                      <a:pt x="46669" y="235766"/>
                    </a:lnTo>
                    <a:lnTo>
                      <a:pt x="47881" y="238342"/>
                    </a:lnTo>
                    <a:lnTo>
                      <a:pt x="49850" y="234706"/>
                    </a:lnTo>
                    <a:lnTo>
                      <a:pt x="51669" y="230918"/>
                    </a:lnTo>
                    <a:lnTo>
                      <a:pt x="53941" y="226675"/>
                    </a:lnTo>
                    <a:lnTo>
                      <a:pt x="55760" y="223038"/>
                    </a:lnTo>
                    <a:lnTo>
                      <a:pt x="55457" y="221372"/>
                    </a:lnTo>
                    <a:lnTo>
                      <a:pt x="55608" y="218644"/>
                    </a:lnTo>
                    <a:lnTo>
                      <a:pt x="56063" y="215766"/>
                    </a:lnTo>
                    <a:lnTo>
                      <a:pt x="55911" y="214099"/>
                    </a:lnTo>
                    <a:lnTo>
                      <a:pt x="56517" y="212887"/>
                    </a:lnTo>
                    <a:lnTo>
                      <a:pt x="57729" y="208493"/>
                    </a:lnTo>
                    <a:lnTo>
                      <a:pt x="58487" y="205917"/>
                    </a:lnTo>
                    <a:lnTo>
                      <a:pt x="59548" y="204856"/>
                    </a:lnTo>
                    <a:lnTo>
                      <a:pt x="61366" y="203947"/>
                    </a:lnTo>
                    <a:lnTo>
                      <a:pt x="63791" y="203947"/>
                    </a:lnTo>
                    <a:lnTo>
                      <a:pt x="70306" y="203341"/>
                    </a:lnTo>
                    <a:lnTo>
                      <a:pt x="76367" y="202280"/>
                    </a:lnTo>
                    <a:lnTo>
                      <a:pt x="78488" y="201674"/>
                    </a:lnTo>
                    <a:lnTo>
                      <a:pt x="82276" y="199856"/>
                    </a:lnTo>
                    <a:lnTo>
                      <a:pt x="83640" y="199856"/>
                    </a:lnTo>
                    <a:lnTo>
                      <a:pt x="85003" y="200462"/>
                    </a:lnTo>
                    <a:lnTo>
                      <a:pt x="92276" y="202583"/>
                    </a:lnTo>
                    <a:lnTo>
                      <a:pt x="94398" y="203492"/>
                    </a:lnTo>
                    <a:lnTo>
                      <a:pt x="95004" y="203341"/>
                    </a:lnTo>
                    <a:lnTo>
                      <a:pt x="96216" y="203492"/>
                    </a:lnTo>
                    <a:lnTo>
                      <a:pt x="97883" y="203492"/>
                    </a:lnTo>
                    <a:lnTo>
                      <a:pt x="99549" y="203341"/>
                    </a:lnTo>
                    <a:lnTo>
                      <a:pt x="100610" y="203492"/>
                    </a:lnTo>
                    <a:lnTo>
                      <a:pt x="101974" y="205007"/>
                    </a:lnTo>
                    <a:lnTo>
                      <a:pt x="102883" y="204856"/>
                    </a:lnTo>
                    <a:lnTo>
                      <a:pt x="104095" y="203795"/>
                    </a:lnTo>
                    <a:lnTo>
                      <a:pt x="106368" y="202735"/>
                    </a:lnTo>
                    <a:lnTo>
                      <a:pt x="110610" y="201523"/>
                    </a:lnTo>
                    <a:lnTo>
                      <a:pt x="111368" y="202129"/>
                    </a:lnTo>
                    <a:lnTo>
                      <a:pt x="112731" y="204705"/>
                    </a:lnTo>
                    <a:lnTo>
                      <a:pt x="114247" y="205462"/>
                    </a:lnTo>
                    <a:lnTo>
                      <a:pt x="113944" y="200007"/>
                    </a:lnTo>
                    <a:lnTo>
                      <a:pt x="115004" y="192583"/>
                    </a:lnTo>
                    <a:lnTo>
                      <a:pt x="114550" y="188189"/>
                    </a:lnTo>
                    <a:lnTo>
                      <a:pt x="113186" y="184249"/>
                    </a:lnTo>
                    <a:lnTo>
                      <a:pt x="113944" y="181825"/>
                    </a:lnTo>
                    <a:lnTo>
                      <a:pt x="116823" y="180916"/>
                    </a:lnTo>
                    <a:lnTo>
                      <a:pt x="120308" y="177128"/>
                    </a:lnTo>
                    <a:lnTo>
                      <a:pt x="126823" y="166976"/>
                    </a:lnTo>
                    <a:lnTo>
                      <a:pt x="133793" y="162127"/>
                    </a:lnTo>
                    <a:lnTo>
                      <a:pt x="138642" y="160612"/>
                    </a:lnTo>
                    <a:lnTo>
                      <a:pt x="143794" y="160763"/>
                    </a:lnTo>
                    <a:lnTo>
                      <a:pt x="146975" y="161673"/>
                    </a:lnTo>
                    <a:lnTo>
                      <a:pt x="148642" y="163188"/>
                    </a:lnTo>
                    <a:lnTo>
                      <a:pt x="152430" y="165612"/>
                    </a:lnTo>
                    <a:lnTo>
                      <a:pt x="158491" y="168794"/>
                    </a:lnTo>
                    <a:lnTo>
                      <a:pt x="163037" y="172582"/>
                    </a:lnTo>
                    <a:lnTo>
                      <a:pt x="165613" y="176522"/>
                    </a:lnTo>
                    <a:lnTo>
                      <a:pt x="167582" y="178794"/>
                    </a:lnTo>
                    <a:lnTo>
                      <a:pt x="170006" y="179400"/>
                    </a:lnTo>
                    <a:lnTo>
                      <a:pt x="174098" y="179098"/>
                    </a:lnTo>
                    <a:lnTo>
                      <a:pt x="178491" y="180007"/>
                    </a:lnTo>
                    <a:lnTo>
                      <a:pt x="183189" y="182279"/>
                    </a:lnTo>
                    <a:lnTo>
                      <a:pt x="185916" y="183037"/>
                    </a:lnTo>
                    <a:lnTo>
                      <a:pt x="186977" y="182582"/>
                    </a:lnTo>
                    <a:lnTo>
                      <a:pt x="189250" y="182886"/>
                    </a:lnTo>
                    <a:lnTo>
                      <a:pt x="194401" y="184704"/>
                    </a:lnTo>
                    <a:lnTo>
                      <a:pt x="198492" y="183643"/>
                    </a:lnTo>
                    <a:lnTo>
                      <a:pt x="204553" y="184401"/>
                    </a:lnTo>
                    <a:lnTo>
                      <a:pt x="218645" y="187583"/>
                    </a:lnTo>
                    <a:lnTo>
                      <a:pt x="219402" y="187128"/>
                    </a:lnTo>
                    <a:lnTo>
                      <a:pt x="219705" y="186976"/>
                    </a:lnTo>
                    <a:lnTo>
                      <a:pt x="220918" y="185613"/>
                    </a:lnTo>
                    <a:lnTo>
                      <a:pt x="223948" y="179249"/>
                    </a:lnTo>
                    <a:lnTo>
                      <a:pt x="226524" y="175158"/>
                    </a:lnTo>
                    <a:lnTo>
                      <a:pt x="227736" y="173643"/>
                    </a:lnTo>
                    <a:lnTo>
                      <a:pt x="230766" y="171673"/>
                    </a:lnTo>
                    <a:lnTo>
                      <a:pt x="234251" y="171067"/>
                    </a:lnTo>
                    <a:lnTo>
                      <a:pt x="237585" y="171218"/>
                    </a:lnTo>
                    <a:lnTo>
                      <a:pt x="240464" y="172128"/>
                    </a:lnTo>
                    <a:lnTo>
                      <a:pt x="243039" y="173188"/>
                    </a:lnTo>
                    <a:lnTo>
                      <a:pt x="245767" y="173340"/>
                    </a:lnTo>
                    <a:lnTo>
                      <a:pt x="248797" y="172279"/>
                    </a:lnTo>
                    <a:lnTo>
                      <a:pt x="253040" y="170309"/>
                    </a:lnTo>
                    <a:lnTo>
                      <a:pt x="257585" y="169097"/>
                    </a:lnTo>
                    <a:lnTo>
                      <a:pt x="261525" y="167734"/>
                    </a:lnTo>
                    <a:lnTo>
                      <a:pt x="268040" y="165309"/>
                    </a:lnTo>
                    <a:lnTo>
                      <a:pt x="270465" y="164248"/>
                    </a:lnTo>
                    <a:lnTo>
                      <a:pt x="273798" y="163794"/>
                    </a:lnTo>
                    <a:lnTo>
                      <a:pt x="282738" y="166067"/>
                    </a:lnTo>
                    <a:lnTo>
                      <a:pt x="288496" y="164551"/>
                    </a:lnTo>
                    <a:lnTo>
                      <a:pt x="290920" y="165006"/>
                    </a:lnTo>
                    <a:lnTo>
                      <a:pt x="295920" y="163491"/>
                    </a:lnTo>
                    <a:lnTo>
                      <a:pt x="296829" y="162430"/>
                    </a:lnTo>
                    <a:lnTo>
                      <a:pt x="300163" y="157127"/>
                    </a:lnTo>
                    <a:lnTo>
                      <a:pt x="303496" y="155612"/>
                    </a:lnTo>
                    <a:lnTo>
                      <a:pt x="308648" y="156369"/>
                    </a:lnTo>
                    <a:lnTo>
                      <a:pt x="311527" y="157127"/>
                    </a:lnTo>
                    <a:lnTo>
                      <a:pt x="321224" y="159400"/>
                    </a:lnTo>
                    <a:lnTo>
                      <a:pt x="333800" y="161824"/>
                    </a:lnTo>
                    <a:lnTo>
                      <a:pt x="337437" y="162127"/>
                    </a:lnTo>
                    <a:lnTo>
                      <a:pt x="338952" y="162430"/>
                    </a:lnTo>
                    <a:lnTo>
                      <a:pt x="340316" y="161976"/>
                    </a:lnTo>
                    <a:lnTo>
                      <a:pt x="344407" y="159097"/>
                    </a:lnTo>
                    <a:lnTo>
                      <a:pt x="345771" y="158642"/>
                    </a:lnTo>
                    <a:lnTo>
                      <a:pt x="346983" y="158642"/>
                    </a:lnTo>
                    <a:lnTo>
                      <a:pt x="354862" y="1610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0" name="Freeform: Shape 3319">
                <a:extLst>
                  <a:ext uri="{FF2B5EF4-FFF2-40B4-BE49-F238E27FC236}">
                    <a16:creationId xmlns:a16="http://schemas.microsoft.com/office/drawing/2014/main" id="{4AB2816A-EFAE-473E-A98F-FAE3EB4C4C29}"/>
                  </a:ext>
                </a:extLst>
              </p:cNvPr>
              <p:cNvSpPr/>
              <p:nvPr/>
            </p:nvSpPr>
            <p:spPr>
              <a:xfrm>
                <a:off x="6111303" y="4417594"/>
                <a:ext cx="521231" cy="512291"/>
              </a:xfrm>
              <a:custGeom>
                <a:avLst/>
                <a:gdLst>
                  <a:gd name="connsiteX0" fmla="*/ 520473 w 521231"/>
                  <a:gd name="connsiteY0" fmla="*/ 84851 h 512291"/>
                  <a:gd name="connsiteX1" fmla="*/ 519262 w 521231"/>
                  <a:gd name="connsiteY1" fmla="*/ 83791 h 512291"/>
                  <a:gd name="connsiteX2" fmla="*/ 518959 w 521231"/>
                  <a:gd name="connsiteY2" fmla="*/ 82730 h 512291"/>
                  <a:gd name="connsiteX3" fmla="*/ 517898 w 521231"/>
                  <a:gd name="connsiteY3" fmla="*/ 82276 h 512291"/>
                  <a:gd name="connsiteX4" fmla="*/ 516383 w 521231"/>
                  <a:gd name="connsiteY4" fmla="*/ 82276 h 512291"/>
                  <a:gd name="connsiteX5" fmla="*/ 515322 w 521231"/>
                  <a:gd name="connsiteY5" fmla="*/ 81518 h 512291"/>
                  <a:gd name="connsiteX6" fmla="*/ 514110 w 521231"/>
                  <a:gd name="connsiteY6" fmla="*/ 80003 h 512291"/>
                  <a:gd name="connsiteX7" fmla="*/ 513049 w 521231"/>
                  <a:gd name="connsiteY7" fmla="*/ 79094 h 512291"/>
                  <a:gd name="connsiteX8" fmla="*/ 509413 w 521231"/>
                  <a:gd name="connsiteY8" fmla="*/ 79245 h 512291"/>
                  <a:gd name="connsiteX9" fmla="*/ 506686 w 521231"/>
                  <a:gd name="connsiteY9" fmla="*/ 77730 h 512291"/>
                  <a:gd name="connsiteX10" fmla="*/ 506686 w 521231"/>
                  <a:gd name="connsiteY10" fmla="*/ 75760 h 512291"/>
                  <a:gd name="connsiteX11" fmla="*/ 507746 w 521231"/>
                  <a:gd name="connsiteY11" fmla="*/ 71669 h 512291"/>
                  <a:gd name="connsiteX12" fmla="*/ 509867 w 521231"/>
                  <a:gd name="connsiteY12" fmla="*/ 67124 h 512291"/>
                  <a:gd name="connsiteX13" fmla="*/ 510019 w 521231"/>
                  <a:gd name="connsiteY13" fmla="*/ 65760 h 512291"/>
                  <a:gd name="connsiteX14" fmla="*/ 509716 w 521231"/>
                  <a:gd name="connsiteY14" fmla="*/ 64699 h 512291"/>
                  <a:gd name="connsiteX15" fmla="*/ 509109 w 521231"/>
                  <a:gd name="connsiteY15" fmla="*/ 63790 h 512291"/>
                  <a:gd name="connsiteX16" fmla="*/ 508200 w 521231"/>
                  <a:gd name="connsiteY16" fmla="*/ 62881 h 512291"/>
                  <a:gd name="connsiteX17" fmla="*/ 507291 w 521231"/>
                  <a:gd name="connsiteY17" fmla="*/ 61820 h 512291"/>
                  <a:gd name="connsiteX18" fmla="*/ 508049 w 521231"/>
                  <a:gd name="connsiteY18" fmla="*/ 58487 h 512291"/>
                  <a:gd name="connsiteX19" fmla="*/ 509413 w 521231"/>
                  <a:gd name="connsiteY19" fmla="*/ 55305 h 512291"/>
                  <a:gd name="connsiteX20" fmla="*/ 510474 w 521231"/>
                  <a:gd name="connsiteY20" fmla="*/ 53638 h 512291"/>
                  <a:gd name="connsiteX21" fmla="*/ 511534 w 521231"/>
                  <a:gd name="connsiteY21" fmla="*/ 51820 h 512291"/>
                  <a:gd name="connsiteX22" fmla="*/ 511231 w 521231"/>
                  <a:gd name="connsiteY22" fmla="*/ 50305 h 512291"/>
                  <a:gd name="connsiteX23" fmla="*/ 509716 w 521231"/>
                  <a:gd name="connsiteY23" fmla="*/ 49547 h 512291"/>
                  <a:gd name="connsiteX24" fmla="*/ 509109 w 521231"/>
                  <a:gd name="connsiteY24" fmla="*/ 48487 h 512291"/>
                  <a:gd name="connsiteX25" fmla="*/ 508504 w 521231"/>
                  <a:gd name="connsiteY25" fmla="*/ 47274 h 512291"/>
                  <a:gd name="connsiteX26" fmla="*/ 507443 w 521231"/>
                  <a:gd name="connsiteY26" fmla="*/ 45911 h 512291"/>
                  <a:gd name="connsiteX27" fmla="*/ 505928 w 521231"/>
                  <a:gd name="connsiteY27" fmla="*/ 45456 h 512291"/>
                  <a:gd name="connsiteX28" fmla="*/ 504412 w 521231"/>
                  <a:gd name="connsiteY28" fmla="*/ 45608 h 512291"/>
                  <a:gd name="connsiteX29" fmla="*/ 502746 w 521231"/>
                  <a:gd name="connsiteY29" fmla="*/ 45911 h 512291"/>
                  <a:gd name="connsiteX30" fmla="*/ 501988 w 521231"/>
                  <a:gd name="connsiteY30" fmla="*/ 45153 h 512291"/>
                  <a:gd name="connsiteX31" fmla="*/ 501837 w 521231"/>
                  <a:gd name="connsiteY31" fmla="*/ 43183 h 512291"/>
                  <a:gd name="connsiteX32" fmla="*/ 501382 w 521231"/>
                  <a:gd name="connsiteY32" fmla="*/ 41517 h 512291"/>
                  <a:gd name="connsiteX33" fmla="*/ 500624 w 521231"/>
                  <a:gd name="connsiteY33" fmla="*/ 40153 h 512291"/>
                  <a:gd name="connsiteX34" fmla="*/ 498200 w 521231"/>
                  <a:gd name="connsiteY34" fmla="*/ 38941 h 512291"/>
                  <a:gd name="connsiteX35" fmla="*/ 491988 w 521231"/>
                  <a:gd name="connsiteY35" fmla="*/ 36213 h 512291"/>
                  <a:gd name="connsiteX36" fmla="*/ 487291 w 521231"/>
                  <a:gd name="connsiteY36" fmla="*/ 30910 h 512291"/>
                  <a:gd name="connsiteX37" fmla="*/ 484866 w 521231"/>
                  <a:gd name="connsiteY37" fmla="*/ 28334 h 512291"/>
                  <a:gd name="connsiteX38" fmla="*/ 483200 w 521231"/>
                  <a:gd name="connsiteY38" fmla="*/ 26819 h 512291"/>
                  <a:gd name="connsiteX39" fmla="*/ 480624 w 521231"/>
                  <a:gd name="connsiteY39" fmla="*/ 22577 h 512291"/>
                  <a:gd name="connsiteX40" fmla="*/ 477896 w 521231"/>
                  <a:gd name="connsiteY40" fmla="*/ 19698 h 512291"/>
                  <a:gd name="connsiteX41" fmla="*/ 474412 w 521231"/>
                  <a:gd name="connsiteY41" fmla="*/ 18334 h 512291"/>
                  <a:gd name="connsiteX42" fmla="*/ 472139 w 521231"/>
                  <a:gd name="connsiteY42" fmla="*/ 19092 h 512291"/>
                  <a:gd name="connsiteX43" fmla="*/ 469866 w 521231"/>
                  <a:gd name="connsiteY43" fmla="*/ 22122 h 512291"/>
                  <a:gd name="connsiteX44" fmla="*/ 465472 w 521231"/>
                  <a:gd name="connsiteY44" fmla="*/ 25001 h 512291"/>
                  <a:gd name="connsiteX45" fmla="*/ 463502 w 521231"/>
                  <a:gd name="connsiteY45" fmla="*/ 25152 h 512291"/>
                  <a:gd name="connsiteX46" fmla="*/ 460926 w 521231"/>
                  <a:gd name="connsiteY46" fmla="*/ 23637 h 512291"/>
                  <a:gd name="connsiteX47" fmla="*/ 457744 w 521231"/>
                  <a:gd name="connsiteY47" fmla="*/ 22425 h 512291"/>
                  <a:gd name="connsiteX48" fmla="*/ 451835 w 521231"/>
                  <a:gd name="connsiteY48" fmla="*/ 21970 h 512291"/>
                  <a:gd name="connsiteX49" fmla="*/ 449411 w 521231"/>
                  <a:gd name="connsiteY49" fmla="*/ 23334 h 512291"/>
                  <a:gd name="connsiteX50" fmla="*/ 446380 w 521231"/>
                  <a:gd name="connsiteY50" fmla="*/ 25607 h 512291"/>
                  <a:gd name="connsiteX51" fmla="*/ 443653 w 521231"/>
                  <a:gd name="connsiteY51" fmla="*/ 26819 h 512291"/>
                  <a:gd name="connsiteX52" fmla="*/ 441986 w 521231"/>
                  <a:gd name="connsiteY52" fmla="*/ 26971 h 512291"/>
                  <a:gd name="connsiteX53" fmla="*/ 440471 w 521231"/>
                  <a:gd name="connsiteY53" fmla="*/ 26516 h 512291"/>
                  <a:gd name="connsiteX54" fmla="*/ 438804 w 521231"/>
                  <a:gd name="connsiteY54" fmla="*/ 26213 h 512291"/>
                  <a:gd name="connsiteX55" fmla="*/ 437289 w 521231"/>
                  <a:gd name="connsiteY55" fmla="*/ 26213 h 512291"/>
                  <a:gd name="connsiteX56" fmla="*/ 434107 w 521231"/>
                  <a:gd name="connsiteY56" fmla="*/ 24092 h 512291"/>
                  <a:gd name="connsiteX57" fmla="*/ 432592 w 521231"/>
                  <a:gd name="connsiteY57" fmla="*/ 22728 h 512291"/>
                  <a:gd name="connsiteX58" fmla="*/ 431531 w 521231"/>
                  <a:gd name="connsiteY58" fmla="*/ 21213 h 512291"/>
                  <a:gd name="connsiteX59" fmla="*/ 429713 w 521231"/>
                  <a:gd name="connsiteY59" fmla="*/ 20304 h 512291"/>
                  <a:gd name="connsiteX60" fmla="*/ 427592 w 521231"/>
                  <a:gd name="connsiteY60" fmla="*/ 19395 h 512291"/>
                  <a:gd name="connsiteX61" fmla="*/ 426228 w 521231"/>
                  <a:gd name="connsiteY61" fmla="*/ 18182 h 512291"/>
                  <a:gd name="connsiteX62" fmla="*/ 425470 w 521231"/>
                  <a:gd name="connsiteY62" fmla="*/ 16516 h 512291"/>
                  <a:gd name="connsiteX63" fmla="*/ 424258 w 521231"/>
                  <a:gd name="connsiteY63" fmla="*/ 14546 h 512291"/>
                  <a:gd name="connsiteX64" fmla="*/ 422743 w 521231"/>
                  <a:gd name="connsiteY64" fmla="*/ 12728 h 512291"/>
                  <a:gd name="connsiteX65" fmla="*/ 418046 w 521231"/>
                  <a:gd name="connsiteY65" fmla="*/ 9394 h 512291"/>
                  <a:gd name="connsiteX66" fmla="*/ 416682 w 521231"/>
                  <a:gd name="connsiteY66" fmla="*/ 7425 h 512291"/>
                  <a:gd name="connsiteX67" fmla="*/ 415621 w 521231"/>
                  <a:gd name="connsiteY67" fmla="*/ 5455 h 512291"/>
                  <a:gd name="connsiteX68" fmla="*/ 407742 w 521231"/>
                  <a:gd name="connsiteY68" fmla="*/ 3030 h 512291"/>
                  <a:gd name="connsiteX69" fmla="*/ 406530 w 521231"/>
                  <a:gd name="connsiteY69" fmla="*/ 3030 h 512291"/>
                  <a:gd name="connsiteX70" fmla="*/ 405166 w 521231"/>
                  <a:gd name="connsiteY70" fmla="*/ 3485 h 512291"/>
                  <a:gd name="connsiteX71" fmla="*/ 401076 w 521231"/>
                  <a:gd name="connsiteY71" fmla="*/ 6364 h 512291"/>
                  <a:gd name="connsiteX72" fmla="*/ 399712 w 521231"/>
                  <a:gd name="connsiteY72" fmla="*/ 6818 h 512291"/>
                  <a:gd name="connsiteX73" fmla="*/ 398197 w 521231"/>
                  <a:gd name="connsiteY73" fmla="*/ 6515 h 512291"/>
                  <a:gd name="connsiteX74" fmla="*/ 394560 w 521231"/>
                  <a:gd name="connsiteY74" fmla="*/ 6212 h 512291"/>
                  <a:gd name="connsiteX75" fmla="*/ 381984 w 521231"/>
                  <a:gd name="connsiteY75" fmla="*/ 3788 h 512291"/>
                  <a:gd name="connsiteX76" fmla="*/ 372286 w 521231"/>
                  <a:gd name="connsiteY76" fmla="*/ 1515 h 512291"/>
                  <a:gd name="connsiteX77" fmla="*/ 369408 w 521231"/>
                  <a:gd name="connsiteY77" fmla="*/ 758 h 512291"/>
                  <a:gd name="connsiteX78" fmla="*/ 364256 w 521231"/>
                  <a:gd name="connsiteY78" fmla="*/ 0 h 512291"/>
                  <a:gd name="connsiteX79" fmla="*/ 360922 w 521231"/>
                  <a:gd name="connsiteY79" fmla="*/ 1515 h 512291"/>
                  <a:gd name="connsiteX80" fmla="*/ 357589 w 521231"/>
                  <a:gd name="connsiteY80" fmla="*/ 6818 h 512291"/>
                  <a:gd name="connsiteX81" fmla="*/ 356680 w 521231"/>
                  <a:gd name="connsiteY81" fmla="*/ 7879 h 512291"/>
                  <a:gd name="connsiteX82" fmla="*/ 351680 w 521231"/>
                  <a:gd name="connsiteY82" fmla="*/ 9394 h 512291"/>
                  <a:gd name="connsiteX83" fmla="*/ 349255 w 521231"/>
                  <a:gd name="connsiteY83" fmla="*/ 8940 h 512291"/>
                  <a:gd name="connsiteX84" fmla="*/ 343497 w 521231"/>
                  <a:gd name="connsiteY84" fmla="*/ 10455 h 512291"/>
                  <a:gd name="connsiteX85" fmla="*/ 334558 w 521231"/>
                  <a:gd name="connsiteY85" fmla="*/ 8182 h 512291"/>
                  <a:gd name="connsiteX86" fmla="*/ 331224 w 521231"/>
                  <a:gd name="connsiteY86" fmla="*/ 8637 h 512291"/>
                  <a:gd name="connsiteX87" fmla="*/ 328800 w 521231"/>
                  <a:gd name="connsiteY87" fmla="*/ 9697 h 512291"/>
                  <a:gd name="connsiteX88" fmla="*/ 322285 w 521231"/>
                  <a:gd name="connsiteY88" fmla="*/ 12122 h 512291"/>
                  <a:gd name="connsiteX89" fmla="*/ 318345 w 521231"/>
                  <a:gd name="connsiteY89" fmla="*/ 13485 h 512291"/>
                  <a:gd name="connsiteX90" fmla="*/ 313799 w 521231"/>
                  <a:gd name="connsiteY90" fmla="*/ 14698 h 512291"/>
                  <a:gd name="connsiteX91" fmla="*/ 309557 w 521231"/>
                  <a:gd name="connsiteY91" fmla="*/ 16667 h 512291"/>
                  <a:gd name="connsiteX92" fmla="*/ 306526 w 521231"/>
                  <a:gd name="connsiteY92" fmla="*/ 17728 h 512291"/>
                  <a:gd name="connsiteX93" fmla="*/ 303799 w 521231"/>
                  <a:gd name="connsiteY93" fmla="*/ 17576 h 512291"/>
                  <a:gd name="connsiteX94" fmla="*/ 301223 w 521231"/>
                  <a:gd name="connsiteY94" fmla="*/ 16516 h 512291"/>
                  <a:gd name="connsiteX95" fmla="*/ 298344 w 521231"/>
                  <a:gd name="connsiteY95" fmla="*/ 15607 h 512291"/>
                  <a:gd name="connsiteX96" fmla="*/ 295011 w 521231"/>
                  <a:gd name="connsiteY96" fmla="*/ 15455 h 512291"/>
                  <a:gd name="connsiteX97" fmla="*/ 291526 w 521231"/>
                  <a:gd name="connsiteY97" fmla="*/ 16061 h 512291"/>
                  <a:gd name="connsiteX98" fmla="*/ 288495 w 521231"/>
                  <a:gd name="connsiteY98" fmla="*/ 18031 h 512291"/>
                  <a:gd name="connsiteX99" fmla="*/ 287283 w 521231"/>
                  <a:gd name="connsiteY99" fmla="*/ 19546 h 512291"/>
                  <a:gd name="connsiteX100" fmla="*/ 284707 w 521231"/>
                  <a:gd name="connsiteY100" fmla="*/ 23637 h 512291"/>
                  <a:gd name="connsiteX101" fmla="*/ 281677 w 521231"/>
                  <a:gd name="connsiteY101" fmla="*/ 30001 h 512291"/>
                  <a:gd name="connsiteX102" fmla="*/ 280465 w 521231"/>
                  <a:gd name="connsiteY102" fmla="*/ 31365 h 512291"/>
                  <a:gd name="connsiteX103" fmla="*/ 280162 w 521231"/>
                  <a:gd name="connsiteY103" fmla="*/ 31516 h 512291"/>
                  <a:gd name="connsiteX104" fmla="*/ 279404 w 521231"/>
                  <a:gd name="connsiteY104" fmla="*/ 31971 h 512291"/>
                  <a:gd name="connsiteX105" fmla="*/ 265313 w 521231"/>
                  <a:gd name="connsiteY105" fmla="*/ 28789 h 512291"/>
                  <a:gd name="connsiteX106" fmla="*/ 259252 w 521231"/>
                  <a:gd name="connsiteY106" fmla="*/ 28031 h 512291"/>
                  <a:gd name="connsiteX107" fmla="*/ 255161 w 521231"/>
                  <a:gd name="connsiteY107" fmla="*/ 29092 h 512291"/>
                  <a:gd name="connsiteX108" fmla="*/ 250009 w 521231"/>
                  <a:gd name="connsiteY108" fmla="*/ 27274 h 512291"/>
                  <a:gd name="connsiteX109" fmla="*/ 247736 w 521231"/>
                  <a:gd name="connsiteY109" fmla="*/ 26971 h 512291"/>
                  <a:gd name="connsiteX110" fmla="*/ 246676 w 521231"/>
                  <a:gd name="connsiteY110" fmla="*/ 27425 h 512291"/>
                  <a:gd name="connsiteX111" fmla="*/ 243948 w 521231"/>
                  <a:gd name="connsiteY111" fmla="*/ 26668 h 512291"/>
                  <a:gd name="connsiteX112" fmla="*/ 239251 w 521231"/>
                  <a:gd name="connsiteY112" fmla="*/ 24395 h 512291"/>
                  <a:gd name="connsiteX113" fmla="*/ 234857 w 521231"/>
                  <a:gd name="connsiteY113" fmla="*/ 23486 h 512291"/>
                  <a:gd name="connsiteX114" fmla="*/ 230766 w 521231"/>
                  <a:gd name="connsiteY114" fmla="*/ 23789 h 512291"/>
                  <a:gd name="connsiteX115" fmla="*/ 228341 w 521231"/>
                  <a:gd name="connsiteY115" fmla="*/ 23183 h 512291"/>
                  <a:gd name="connsiteX116" fmla="*/ 226372 w 521231"/>
                  <a:gd name="connsiteY116" fmla="*/ 20910 h 512291"/>
                  <a:gd name="connsiteX117" fmla="*/ 223796 w 521231"/>
                  <a:gd name="connsiteY117" fmla="*/ 16970 h 512291"/>
                  <a:gd name="connsiteX118" fmla="*/ 219251 w 521231"/>
                  <a:gd name="connsiteY118" fmla="*/ 13182 h 512291"/>
                  <a:gd name="connsiteX119" fmla="*/ 213189 w 521231"/>
                  <a:gd name="connsiteY119" fmla="*/ 10000 h 512291"/>
                  <a:gd name="connsiteX120" fmla="*/ 209401 w 521231"/>
                  <a:gd name="connsiteY120" fmla="*/ 7576 h 512291"/>
                  <a:gd name="connsiteX121" fmla="*/ 207735 w 521231"/>
                  <a:gd name="connsiteY121" fmla="*/ 6061 h 512291"/>
                  <a:gd name="connsiteX122" fmla="*/ 204553 w 521231"/>
                  <a:gd name="connsiteY122" fmla="*/ 5152 h 512291"/>
                  <a:gd name="connsiteX123" fmla="*/ 199401 w 521231"/>
                  <a:gd name="connsiteY123" fmla="*/ 5000 h 512291"/>
                  <a:gd name="connsiteX124" fmla="*/ 194553 w 521231"/>
                  <a:gd name="connsiteY124" fmla="*/ 6515 h 512291"/>
                  <a:gd name="connsiteX125" fmla="*/ 187583 w 521231"/>
                  <a:gd name="connsiteY125" fmla="*/ 11364 h 512291"/>
                  <a:gd name="connsiteX126" fmla="*/ 181067 w 521231"/>
                  <a:gd name="connsiteY126" fmla="*/ 21516 h 512291"/>
                  <a:gd name="connsiteX127" fmla="*/ 177582 w 521231"/>
                  <a:gd name="connsiteY127" fmla="*/ 25304 h 512291"/>
                  <a:gd name="connsiteX128" fmla="*/ 174703 w 521231"/>
                  <a:gd name="connsiteY128" fmla="*/ 26213 h 512291"/>
                  <a:gd name="connsiteX129" fmla="*/ 173946 w 521231"/>
                  <a:gd name="connsiteY129" fmla="*/ 28637 h 512291"/>
                  <a:gd name="connsiteX130" fmla="*/ 175309 w 521231"/>
                  <a:gd name="connsiteY130" fmla="*/ 32577 h 512291"/>
                  <a:gd name="connsiteX131" fmla="*/ 175764 w 521231"/>
                  <a:gd name="connsiteY131" fmla="*/ 36971 h 512291"/>
                  <a:gd name="connsiteX132" fmla="*/ 174703 w 521231"/>
                  <a:gd name="connsiteY132" fmla="*/ 44395 h 512291"/>
                  <a:gd name="connsiteX133" fmla="*/ 175006 w 521231"/>
                  <a:gd name="connsiteY133" fmla="*/ 49850 h 512291"/>
                  <a:gd name="connsiteX134" fmla="*/ 175461 w 521231"/>
                  <a:gd name="connsiteY134" fmla="*/ 54699 h 512291"/>
                  <a:gd name="connsiteX135" fmla="*/ 173340 w 521231"/>
                  <a:gd name="connsiteY135" fmla="*/ 60608 h 512291"/>
                  <a:gd name="connsiteX136" fmla="*/ 171825 w 521231"/>
                  <a:gd name="connsiteY136" fmla="*/ 65002 h 512291"/>
                  <a:gd name="connsiteX137" fmla="*/ 167733 w 521231"/>
                  <a:gd name="connsiteY137" fmla="*/ 72275 h 512291"/>
                  <a:gd name="connsiteX138" fmla="*/ 164097 w 521231"/>
                  <a:gd name="connsiteY138" fmla="*/ 78791 h 512291"/>
                  <a:gd name="connsiteX139" fmla="*/ 160309 w 521231"/>
                  <a:gd name="connsiteY139" fmla="*/ 89700 h 512291"/>
                  <a:gd name="connsiteX140" fmla="*/ 160309 w 521231"/>
                  <a:gd name="connsiteY140" fmla="*/ 97731 h 512291"/>
                  <a:gd name="connsiteX141" fmla="*/ 160006 w 521231"/>
                  <a:gd name="connsiteY141" fmla="*/ 102731 h 512291"/>
                  <a:gd name="connsiteX142" fmla="*/ 158642 w 521231"/>
                  <a:gd name="connsiteY142" fmla="*/ 105761 h 512291"/>
                  <a:gd name="connsiteX143" fmla="*/ 155763 w 521231"/>
                  <a:gd name="connsiteY143" fmla="*/ 114095 h 512291"/>
                  <a:gd name="connsiteX144" fmla="*/ 155309 w 521231"/>
                  <a:gd name="connsiteY144" fmla="*/ 121217 h 512291"/>
                  <a:gd name="connsiteX145" fmla="*/ 156369 w 521231"/>
                  <a:gd name="connsiteY145" fmla="*/ 129853 h 512291"/>
                  <a:gd name="connsiteX146" fmla="*/ 155309 w 521231"/>
                  <a:gd name="connsiteY146" fmla="*/ 138187 h 512291"/>
                  <a:gd name="connsiteX147" fmla="*/ 152127 w 521231"/>
                  <a:gd name="connsiteY147" fmla="*/ 145914 h 512291"/>
                  <a:gd name="connsiteX148" fmla="*/ 150763 w 521231"/>
                  <a:gd name="connsiteY148" fmla="*/ 151975 h 512291"/>
                  <a:gd name="connsiteX149" fmla="*/ 151672 w 521231"/>
                  <a:gd name="connsiteY149" fmla="*/ 159400 h 512291"/>
                  <a:gd name="connsiteX150" fmla="*/ 145915 w 521231"/>
                  <a:gd name="connsiteY150" fmla="*/ 165612 h 512291"/>
                  <a:gd name="connsiteX151" fmla="*/ 138641 w 521231"/>
                  <a:gd name="connsiteY151" fmla="*/ 171673 h 512291"/>
                  <a:gd name="connsiteX152" fmla="*/ 133944 w 521231"/>
                  <a:gd name="connsiteY152" fmla="*/ 173340 h 512291"/>
                  <a:gd name="connsiteX153" fmla="*/ 130307 w 521231"/>
                  <a:gd name="connsiteY153" fmla="*/ 175461 h 512291"/>
                  <a:gd name="connsiteX154" fmla="*/ 127732 w 521231"/>
                  <a:gd name="connsiteY154" fmla="*/ 177734 h 512291"/>
                  <a:gd name="connsiteX155" fmla="*/ 126823 w 521231"/>
                  <a:gd name="connsiteY155" fmla="*/ 179097 h 512291"/>
                  <a:gd name="connsiteX156" fmla="*/ 125005 w 521231"/>
                  <a:gd name="connsiteY156" fmla="*/ 181825 h 512291"/>
                  <a:gd name="connsiteX157" fmla="*/ 120762 w 521231"/>
                  <a:gd name="connsiteY157" fmla="*/ 190613 h 512291"/>
                  <a:gd name="connsiteX158" fmla="*/ 118489 w 521231"/>
                  <a:gd name="connsiteY158" fmla="*/ 194553 h 512291"/>
                  <a:gd name="connsiteX159" fmla="*/ 115459 w 521231"/>
                  <a:gd name="connsiteY159" fmla="*/ 197735 h 512291"/>
                  <a:gd name="connsiteX160" fmla="*/ 111216 w 521231"/>
                  <a:gd name="connsiteY160" fmla="*/ 201825 h 512291"/>
                  <a:gd name="connsiteX161" fmla="*/ 109549 w 521231"/>
                  <a:gd name="connsiteY161" fmla="*/ 203644 h 512291"/>
                  <a:gd name="connsiteX162" fmla="*/ 108943 w 521231"/>
                  <a:gd name="connsiteY162" fmla="*/ 206371 h 512291"/>
                  <a:gd name="connsiteX163" fmla="*/ 109246 w 521231"/>
                  <a:gd name="connsiteY163" fmla="*/ 211523 h 512291"/>
                  <a:gd name="connsiteX164" fmla="*/ 109549 w 521231"/>
                  <a:gd name="connsiteY164" fmla="*/ 226826 h 512291"/>
                  <a:gd name="connsiteX165" fmla="*/ 108943 w 521231"/>
                  <a:gd name="connsiteY165" fmla="*/ 231372 h 512291"/>
                  <a:gd name="connsiteX166" fmla="*/ 107731 w 521231"/>
                  <a:gd name="connsiteY166" fmla="*/ 238645 h 512291"/>
                  <a:gd name="connsiteX167" fmla="*/ 103337 w 521231"/>
                  <a:gd name="connsiteY167" fmla="*/ 246827 h 512291"/>
                  <a:gd name="connsiteX168" fmla="*/ 100155 w 521231"/>
                  <a:gd name="connsiteY168" fmla="*/ 251524 h 512291"/>
                  <a:gd name="connsiteX169" fmla="*/ 96973 w 521231"/>
                  <a:gd name="connsiteY169" fmla="*/ 252888 h 512291"/>
                  <a:gd name="connsiteX170" fmla="*/ 92731 w 521231"/>
                  <a:gd name="connsiteY170" fmla="*/ 254100 h 512291"/>
                  <a:gd name="connsiteX171" fmla="*/ 90761 w 521231"/>
                  <a:gd name="connsiteY171" fmla="*/ 255615 h 512291"/>
                  <a:gd name="connsiteX172" fmla="*/ 89397 w 521231"/>
                  <a:gd name="connsiteY172" fmla="*/ 257888 h 512291"/>
                  <a:gd name="connsiteX173" fmla="*/ 87124 w 521231"/>
                  <a:gd name="connsiteY173" fmla="*/ 259858 h 512291"/>
                  <a:gd name="connsiteX174" fmla="*/ 83639 w 521231"/>
                  <a:gd name="connsiteY174" fmla="*/ 261676 h 512291"/>
                  <a:gd name="connsiteX175" fmla="*/ 79245 w 521231"/>
                  <a:gd name="connsiteY175" fmla="*/ 265767 h 512291"/>
                  <a:gd name="connsiteX176" fmla="*/ 73942 w 521231"/>
                  <a:gd name="connsiteY176" fmla="*/ 272434 h 512291"/>
                  <a:gd name="connsiteX177" fmla="*/ 70305 w 521231"/>
                  <a:gd name="connsiteY177" fmla="*/ 276222 h 512291"/>
                  <a:gd name="connsiteX178" fmla="*/ 68336 w 521231"/>
                  <a:gd name="connsiteY178" fmla="*/ 277283 h 512291"/>
                  <a:gd name="connsiteX179" fmla="*/ 66215 w 521231"/>
                  <a:gd name="connsiteY179" fmla="*/ 277283 h 512291"/>
                  <a:gd name="connsiteX180" fmla="*/ 64245 w 521231"/>
                  <a:gd name="connsiteY180" fmla="*/ 276525 h 512291"/>
                  <a:gd name="connsiteX181" fmla="*/ 62426 w 521231"/>
                  <a:gd name="connsiteY181" fmla="*/ 276374 h 512291"/>
                  <a:gd name="connsiteX182" fmla="*/ 61517 w 521231"/>
                  <a:gd name="connsiteY182" fmla="*/ 276828 h 512291"/>
                  <a:gd name="connsiteX183" fmla="*/ 61063 w 521231"/>
                  <a:gd name="connsiteY183" fmla="*/ 276525 h 512291"/>
                  <a:gd name="connsiteX184" fmla="*/ 60154 w 521231"/>
                  <a:gd name="connsiteY184" fmla="*/ 275919 h 512291"/>
                  <a:gd name="connsiteX185" fmla="*/ 60154 w 521231"/>
                  <a:gd name="connsiteY185" fmla="*/ 274404 h 512291"/>
                  <a:gd name="connsiteX186" fmla="*/ 60002 w 521231"/>
                  <a:gd name="connsiteY186" fmla="*/ 271828 h 512291"/>
                  <a:gd name="connsiteX187" fmla="*/ 58941 w 521231"/>
                  <a:gd name="connsiteY187" fmla="*/ 269252 h 512291"/>
                  <a:gd name="connsiteX188" fmla="*/ 60154 w 521231"/>
                  <a:gd name="connsiteY188" fmla="*/ 267131 h 512291"/>
                  <a:gd name="connsiteX189" fmla="*/ 61214 w 521231"/>
                  <a:gd name="connsiteY189" fmla="*/ 265464 h 512291"/>
                  <a:gd name="connsiteX190" fmla="*/ 61063 w 521231"/>
                  <a:gd name="connsiteY190" fmla="*/ 264707 h 512291"/>
                  <a:gd name="connsiteX191" fmla="*/ 60002 w 521231"/>
                  <a:gd name="connsiteY191" fmla="*/ 263343 h 512291"/>
                  <a:gd name="connsiteX192" fmla="*/ 58790 w 521231"/>
                  <a:gd name="connsiteY192" fmla="*/ 261373 h 512291"/>
                  <a:gd name="connsiteX193" fmla="*/ 57578 w 521231"/>
                  <a:gd name="connsiteY193" fmla="*/ 261525 h 512291"/>
                  <a:gd name="connsiteX194" fmla="*/ 55153 w 521231"/>
                  <a:gd name="connsiteY194" fmla="*/ 263040 h 512291"/>
                  <a:gd name="connsiteX195" fmla="*/ 52578 w 521231"/>
                  <a:gd name="connsiteY195" fmla="*/ 264100 h 512291"/>
                  <a:gd name="connsiteX196" fmla="*/ 50153 w 521231"/>
                  <a:gd name="connsiteY196" fmla="*/ 264555 h 512291"/>
                  <a:gd name="connsiteX197" fmla="*/ 48335 w 521231"/>
                  <a:gd name="connsiteY197" fmla="*/ 265767 h 512291"/>
                  <a:gd name="connsiteX198" fmla="*/ 47274 w 521231"/>
                  <a:gd name="connsiteY198" fmla="*/ 266373 h 512291"/>
                  <a:gd name="connsiteX199" fmla="*/ 45759 w 521231"/>
                  <a:gd name="connsiteY199" fmla="*/ 266373 h 512291"/>
                  <a:gd name="connsiteX200" fmla="*/ 44850 w 521231"/>
                  <a:gd name="connsiteY200" fmla="*/ 265767 h 512291"/>
                  <a:gd name="connsiteX201" fmla="*/ 42880 w 521231"/>
                  <a:gd name="connsiteY201" fmla="*/ 265010 h 512291"/>
                  <a:gd name="connsiteX202" fmla="*/ 41819 w 521231"/>
                  <a:gd name="connsiteY202" fmla="*/ 265313 h 512291"/>
                  <a:gd name="connsiteX203" fmla="*/ 41214 w 521231"/>
                  <a:gd name="connsiteY203" fmla="*/ 265616 h 512291"/>
                  <a:gd name="connsiteX204" fmla="*/ 40910 w 521231"/>
                  <a:gd name="connsiteY204" fmla="*/ 268040 h 512291"/>
                  <a:gd name="connsiteX205" fmla="*/ 40759 w 521231"/>
                  <a:gd name="connsiteY205" fmla="*/ 270010 h 512291"/>
                  <a:gd name="connsiteX206" fmla="*/ 40305 w 521231"/>
                  <a:gd name="connsiteY206" fmla="*/ 271980 h 512291"/>
                  <a:gd name="connsiteX207" fmla="*/ 39547 w 521231"/>
                  <a:gd name="connsiteY207" fmla="*/ 272889 h 512291"/>
                  <a:gd name="connsiteX208" fmla="*/ 36668 w 521231"/>
                  <a:gd name="connsiteY208" fmla="*/ 273798 h 512291"/>
                  <a:gd name="connsiteX209" fmla="*/ 34698 w 521231"/>
                  <a:gd name="connsiteY209" fmla="*/ 275162 h 512291"/>
                  <a:gd name="connsiteX210" fmla="*/ 32880 w 521231"/>
                  <a:gd name="connsiteY210" fmla="*/ 276071 h 512291"/>
                  <a:gd name="connsiteX211" fmla="*/ 31819 w 521231"/>
                  <a:gd name="connsiteY211" fmla="*/ 275768 h 512291"/>
                  <a:gd name="connsiteX212" fmla="*/ 29698 w 521231"/>
                  <a:gd name="connsiteY212" fmla="*/ 274101 h 512291"/>
                  <a:gd name="connsiteX213" fmla="*/ 27576 w 521231"/>
                  <a:gd name="connsiteY213" fmla="*/ 272434 h 512291"/>
                  <a:gd name="connsiteX214" fmla="*/ 26364 w 521231"/>
                  <a:gd name="connsiteY214" fmla="*/ 271070 h 512291"/>
                  <a:gd name="connsiteX215" fmla="*/ 25758 w 521231"/>
                  <a:gd name="connsiteY215" fmla="*/ 270161 h 512291"/>
                  <a:gd name="connsiteX216" fmla="*/ 25304 w 521231"/>
                  <a:gd name="connsiteY216" fmla="*/ 269707 h 512291"/>
                  <a:gd name="connsiteX217" fmla="*/ 23940 w 521231"/>
                  <a:gd name="connsiteY217" fmla="*/ 269707 h 512291"/>
                  <a:gd name="connsiteX218" fmla="*/ 23637 w 521231"/>
                  <a:gd name="connsiteY218" fmla="*/ 270464 h 512291"/>
                  <a:gd name="connsiteX219" fmla="*/ 23183 w 521231"/>
                  <a:gd name="connsiteY219" fmla="*/ 270919 h 512291"/>
                  <a:gd name="connsiteX220" fmla="*/ 20152 w 521231"/>
                  <a:gd name="connsiteY220" fmla="*/ 272131 h 512291"/>
                  <a:gd name="connsiteX221" fmla="*/ 16970 w 521231"/>
                  <a:gd name="connsiteY221" fmla="*/ 273343 h 512291"/>
                  <a:gd name="connsiteX222" fmla="*/ 12728 w 521231"/>
                  <a:gd name="connsiteY222" fmla="*/ 277889 h 512291"/>
                  <a:gd name="connsiteX223" fmla="*/ 10455 w 521231"/>
                  <a:gd name="connsiteY223" fmla="*/ 279859 h 512291"/>
                  <a:gd name="connsiteX224" fmla="*/ 9849 w 521231"/>
                  <a:gd name="connsiteY224" fmla="*/ 280313 h 512291"/>
                  <a:gd name="connsiteX225" fmla="*/ 8031 w 521231"/>
                  <a:gd name="connsiteY225" fmla="*/ 281525 h 512291"/>
                  <a:gd name="connsiteX226" fmla="*/ 6515 w 521231"/>
                  <a:gd name="connsiteY226" fmla="*/ 282435 h 512291"/>
                  <a:gd name="connsiteX227" fmla="*/ 6667 w 521231"/>
                  <a:gd name="connsiteY227" fmla="*/ 282889 h 512291"/>
                  <a:gd name="connsiteX228" fmla="*/ 7576 w 521231"/>
                  <a:gd name="connsiteY228" fmla="*/ 283495 h 512291"/>
                  <a:gd name="connsiteX229" fmla="*/ 8485 w 521231"/>
                  <a:gd name="connsiteY229" fmla="*/ 284556 h 512291"/>
                  <a:gd name="connsiteX230" fmla="*/ 8485 w 521231"/>
                  <a:gd name="connsiteY230" fmla="*/ 291980 h 512291"/>
                  <a:gd name="connsiteX231" fmla="*/ 8031 w 521231"/>
                  <a:gd name="connsiteY231" fmla="*/ 299405 h 512291"/>
                  <a:gd name="connsiteX232" fmla="*/ 7424 w 521231"/>
                  <a:gd name="connsiteY232" fmla="*/ 300011 h 512291"/>
                  <a:gd name="connsiteX233" fmla="*/ 4848 w 521231"/>
                  <a:gd name="connsiteY233" fmla="*/ 300314 h 512291"/>
                  <a:gd name="connsiteX234" fmla="*/ 1212 w 521231"/>
                  <a:gd name="connsiteY234" fmla="*/ 300768 h 512291"/>
                  <a:gd name="connsiteX235" fmla="*/ 0 w 521231"/>
                  <a:gd name="connsiteY235" fmla="*/ 301223 h 512291"/>
                  <a:gd name="connsiteX236" fmla="*/ 757 w 521231"/>
                  <a:gd name="connsiteY236" fmla="*/ 302435 h 512291"/>
                  <a:gd name="connsiteX237" fmla="*/ 2879 w 521231"/>
                  <a:gd name="connsiteY237" fmla="*/ 304860 h 512291"/>
                  <a:gd name="connsiteX238" fmla="*/ 5455 w 521231"/>
                  <a:gd name="connsiteY238" fmla="*/ 307435 h 512291"/>
                  <a:gd name="connsiteX239" fmla="*/ 6667 w 521231"/>
                  <a:gd name="connsiteY239" fmla="*/ 307738 h 512291"/>
                  <a:gd name="connsiteX240" fmla="*/ 8333 w 521231"/>
                  <a:gd name="connsiteY240" fmla="*/ 307890 h 512291"/>
                  <a:gd name="connsiteX241" fmla="*/ 12879 w 521231"/>
                  <a:gd name="connsiteY241" fmla="*/ 306678 h 512291"/>
                  <a:gd name="connsiteX242" fmla="*/ 15909 w 521231"/>
                  <a:gd name="connsiteY242" fmla="*/ 304405 h 512291"/>
                  <a:gd name="connsiteX243" fmla="*/ 17728 w 521231"/>
                  <a:gd name="connsiteY243" fmla="*/ 303799 h 512291"/>
                  <a:gd name="connsiteX244" fmla="*/ 21667 w 521231"/>
                  <a:gd name="connsiteY244" fmla="*/ 303344 h 512291"/>
                  <a:gd name="connsiteX245" fmla="*/ 23486 w 521231"/>
                  <a:gd name="connsiteY245" fmla="*/ 304102 h 512291"/>
                  <a:gd name="connsiteX246" fmla="*/ 26667 w 521231"/>
                  <a:gd name="connsiteY246" fmla="*/ 303799 h 512291"/>
                  <a:gd name="connsiteX247" fmla="*/ 29850 w 521231"/>
                  <a:gd name="connsiteY247" fmla="*/ 304556 h 512291"/>
                  <a:gd name="connsiteX248" fmla="*/ 31062 w 521231"/>
                  <a:gd name="connsiteY248" fmla="*/ 303950 h 512291"/>
                  <a:gd name="connsiteX249" fmla="*/ 31668 w 521231"/>
                  <a:gd name="connsiteY249" fmla="*/ 303950 h 512291"/>
                  <a:gd name="connsiteX250" fmla="*/ 39395 w 521231"/>
                  <a:gd name="connsiteY250" fmla="*/ 303950 h 512291"/>
                  <a:gd name="connsiteX251" fmla="*/ 42426 w 521231"/>
                  <a:gd name="connsiteY251" fmla="*/ 303799 h 512291"/>
                  <a:gd name="connsiteX252" fmla="*/ 48335 w 521231"/>
                  <a:gd name="connsiteY252" fmla="*/ 303799 h 512291"/>
                  <a:gd name="connsiteX253" fmla="*/ 52123 w 521231"/>
                  <a:gd name="connsiteY253" fmla="*/ 304102 h 512291"/>
                  <a:gd name="connsiteX254" fmla="*/ 54093 w 521231"/>
                  <a:gd name="connsiteY254" fmla="*/ 304405 h 512291"/>
                  <a:gd name="connsiteX255" fmla="*/ 59850 w 521231"/>
                  <a:gd name="connsiteY255" fmla="*/ 304860 h 512291"/>
                  <a:gd name="connsiteX256" fmla="*/ 66972 w 521231"/>
                  <a:gd name="connsiteY256" fmla="*/ 304708 h 512291"/>
                  <a:gd name="connsiteX257" fmla="*/ 69396 w 521231"/>
                  <a:gd name="connsiteY257" fmla="*/ 304405 h 512291"/>
                  <a:gd name="connsiteX258" fmla="*/ 78791 w 521231"/>
                  <a:gd name="connsiteY258" fmla="*/ 304254 h 512291"/>
                  <a:gd name="connsiteX259" fmla="*/ 87882 w 521231"/>
                  <a:gd name="connsiteY259" fmla="*/ 304102 h 512291"/>
                  <a:gd name="connsiteX260" fmla="*/ 96215 w 521231"/>
                  <a:gd name="connsiteY260" fmla="*/ 304102 h 512291"/>
                  <a:gd name="connsiteX261" fmla="*/ 105307 w 521231"/>
                  <a:gd name="connsiteY261" fmla="*/ 304102 h 512291"/>
                  <a:gd name="connsiteX262" fmla="*/ 112277 w 521231"/>
                  <a:gd name="connsiteY262" fmla="*/ 304102 h 512291"/>
                  <a:gd name="connsiteX263" fmla="*/ 115459 w 521231"/>
                  <a:gd name="connsiteY263" fmla="*/ 305011 h 512291"/>
                  <a:gd name="connsiteX264" fmla="*/ 118338 w 521231"/>
                  <a:gd name="connsiteY264" fmla="*/ 306829 h 512291"/>
                  <a:gd name="connsiteX265" fmla="*/ 119701 w 521231"/>
                  <a:gd name="connsiteY265" fmla="*/ 308496 h 512291"/>
                  <a:gd name="connsiteX266" fmla="*/ 120308 w 521231"/>
                  <a:gd name="connsiteY266" fmla="*/ 309102 h 512291"/>
                  <a:gd name="connsiteX267" fmla="*/ 121217 w 521231"/>
                  <a:gd name="connsiteY267" fmla="*/ 310921 h 512291"/>
                  <a:gd name="connsiteX268" fmla="*/ 122731 w 521231"/>
                  <a:gd name="connsiteY268" fmla="*/ 312284 h 512291"/>
                  <a:gd name="connsiteX269" fmla="*/ 123338 w 521231"/>
                  <a:gd name="connsiteY269" fmla="*/ 314254 h 512291"/>
                  <a:gd name="connsiteX270" fmla="*/ 122883 w 521231"/>
                  <a:gd name="connsiteY270" fmla="*/ 317133 h 512291"/>
                  <a:gd name="connsiteX271" fmla="*/ 123035 w 521231"/>
                  <a:gd name="connsiteY271" fmla="*/ 320618 h 512291"/>
                  <a:gd name="connsiteX272" fmla="*/ 123944 w 521231"/>
                  <a:gd name="connsiteY272" fmla="*/ 324557 h 512291"/>
                  <a:gd name="connsiteX273" fmla="*/ 125914 w 521231"/>
                  <a:gd name="connsiteY273" fmla="*/ 328800 h 512291"/>
                  <a:gd name="connsiteX274" fmla="*/ 128793 w 521231"/>
                  <a:gd name="connsiteY274" fmla="*/ 333194 h 512291"/>
                  <a:gd name="connsiteX275" fmla="*/ 130156 w 521231"/>
                  <a:gd name="connsiteY275" fmla="*/ 336679 h 512291"/>
                  <a:gd name="connsiteX276" fmla="*/ 129702 w 521231"/>
                  <a:gd name="connsiteY276" fmla="*/ 339255 h 512291"/>
                  <a:gd name="connsiteX277" fmla="*/ 130611 w 521231"/>
                  <a:gd name="connsiteY277" fmla="*/ 342134 h 512291"/>
                  <a:gd name="connsiteX278" fmla="*/ 132732 w 521231"/>
                  <a:gd name="connsiteY278" fmla="*/ 345013 h 512291"/>
                  <a:gd name="connsiteX279" fmla="*/ 134399 w 521231"/>
                  <a:gd name="connsiteY279" fmla="*/ 346528 h 512291"/>
                  <a:gd name="connsiteX280" fmla="*/ 135308 w 521231"/>
                  <a:gd name="connsiteY280" fmla="*/ 347588 h 512291"/>
                  <a:gd name="connsiteX281" fmla="*/ 137732 w 521231"/>
                  <a:gd name="connsiteY281" fmla="*/ 352134 h 512291"/>
                  <a:gd name="connsiteX282" fmla="*/ 142278 w 521231"/>
                  <a:gd name="connsiteY282" fmla="*/ 359104 h 512291"/>
                  <a:gd name="connsiteX283" fmla="*/ 145611 w 521231"/>
                  <a:gd name="connsiteY283" fmla="*/ 364407 h 512291"/>
                  <a:gd name="connsiteX284" fmla="*/ 146824 w 521231"/>
                  <a:gd name="connsiteY284" fmla="*/ 365013 h 512291"/>
                  <a:gd name="connsiteX285" fmla="*/ 148642 w 521231"/>
                  <a:gd name="connsiteY285" fmla="*/ 364862 h 512291"/>
                  <a:gd name="connsiteX286" fmla="*/ 152278 w 521231"/>
                  <a:gd name="connsiteY286" fmla="*/ 364256 h 512291"/>
                  <a:gd name="connsiteX287" fmla="*/ 156066 w 521231"/>
                  <a:gd name="connsiteY287" fmla="*/ 364256 h 512291"/>
                  <a:gd name="connsiteX288" fmla="*/ 158642 w 521231"/>
                  <a:gd name="connsiteY288" fmla="*/ 365316 h 512291"/>
                  <a:gd name="connsiteX289" fmla="*/ 159703 w 521231"/>
                  <a:gd name="connsiteY289" fmla="*/ 365165 h 512291"/>
                  <a:gd name="connsiteX290" fmla="*/ 163642 w 521231"/>
                  <a:gd name="connsiteY290" fmla="*/ 363043 h 512291"/>
                  <a:gd name="connsiteX291" fmla="*/ 167582 w 521231"/>
                  <a:gd name="connsiteY291" fmla="*/ 362437 h 512291"/>
                  <a:gd name="connsiteX292" fmla="*/ 171673 w 521231"/>
                  <a:gd name="connsiteY292" fmla="*/ 361528 h 512291"/>
                  <a:gd name="connsiteX293" fmla="*/ 173794 w 521231"/>
                  <a:gd name="connsiteY293" fmla="*/ 360619 h 512291"/>
                  <a:gd name="connsiteX294" fmla="*/ 176219 w 521231"/>
                  <a:gd name="connsiteY294" fmla="*/ 360619 h 512291"/>
                  <a:gd name="connsiteX295" fmla="*/ 182885 w 521231"/>
                  <a:gd name="connsiteY295" fmla="*/ 362286 h 512291"/>
                  <a:gd name="connsiteX296" fmla="*/ 184249 w 521231"/>
                  <a:gd name="connsiteY296" fmla="*/ 362437 h 512291"/>
                  <a:gd name="connsiteX297" fmla="*/ 189704 w 521231"/>
                  <a:gd name="connsiteY297" fmla="*/ 362437 h 512291"/>
                  <a:gd name="connsiteX298" fmla="*/ 195007 w 521231"/>
                  <a:gd name="connsiteY298" fmla="*/ 361377 h 512291"/>
                  <a:gd name="connsiteX299" fmla="*/ 195916 w 521231"/>
                  <a:gd name="connsiteY299" fmla="*/ 354407 h 512291"/>
                  <a:gd name="connsiteX300" fmla="*/ 195916 w 521231"/>
                  <a:gd name="connsiteY300" fmla="*/ 352892 h 512291"/>
                  <a:gd name="connsiteX301" fmla="*/ 197280 w 521231"/>
                  <a:gd name="connsiteY301" fmla="*/ 350316 h 512291"/>
                  <a:gd name="connsiteX302" fmla="*/ 198795 w 521231"/>
                  <a:gd name="connsiteY302" fmla="*/ 347891 h 512291"/>
                  <a:gd name="connsiteX303" fmla="*/ 199098 w 521231"/>
                  <a:gd name="connsiteY303" fmla="*/ 345770 h 512291"/>
                  <a:gd name="connsiteX304" fmla="*/ 198947 w 521231"/>
                  <a:gd name="connsiteY304" fmla="*/ 342740 h 512291"/>
                  <a:gd name="connsiteX305" fmla="*/ 200159 w 521231"/>
                  <a:gd name="connsiteY305" fmla="*/ 338952 h 512291"/>
                  <a:gd name="connsiteX306" fmla="*/ 203795 w 521231"/>
                  <a:gd name="connsiteY306" fmla="*/ 336073 h 512291"/>
                  <a:gd name="connsiteX307" fmla="*/ 209705 w 521231"/>
                  <a:gd name="connsiteY307" fmla="*/ 334709 h 512291"/>
                  <a:gd name="connsiteX308" fmla="*/ 213038 w 521231"/>
                  <a:gd name="connsiteY308" fmla="*/ 334406 h 512291"/>
                  <a:gd name="connsiteX309" fmla="*/ 218341 w 521231"/>
                  <a:gd name="connsiteY309" fmla="*/ 333497 h 512291"/>
                  <a:gd name="connsiteX310" fmla="*/ 226220 w 521231"/>
                  <a:gd name="connsiteY310" fmla="*/ 332739 h 512291"/>
                  <a:gd name="connsiteX311" fmla="*/ 229251 w 521231"/>
                  <a:gd name="connsiteY311" fmla="*/ 332891 h 512291"/>
                  <a:gd name="connsiteX312" fmla="*/ 229554 w 521231"/>
                  <a:gd name="connsiteY312" fmla="*/ 333194 h 512291"/>
                  <a:gd name="connsiteX313" fmla="*/ 227736 w 521231"/>
                  <a:gd name="connsiteY313" fmla="*/ 338346 h 512291"/>
                  <a:gd name="connsiteX314" fmla="*/ 227736 w 521231"/>
                  <a:gd name="connsiteY314" fmla="*/ 340012 h 512291"/>
                  <a:gd name="connsiteX315" fmla="*/ 228341 w 521231"/>
                  <a:gd name="connsiteY315" fmla="*/ 341679 h 512291"/>
                  <a:gd name="connsiteX316" fmla="*/ 229706 w 521231"/>
                  <a:gd name="connsiteY316" fmla="*/ 342588 h 512291"/>
                  <a:gd name="connsiteX317" fmla="*/ 238039 w 521231"/>
                  <a:gd name="connsiteY317" fmla="*/ 342740 h 512291"/>
                  <a:gd name="connsiteX318" fmla="*/ 245615 w 521231"/>
                  <a:gd name="connsiteY318" fmla="*/ 342891 h 512291"/>
                  <a:gd name="connsiteX319" fmla="*/ 254403 w 521231"/>
                  <a:gd name="connsiteY319" fmla="*/ 343194 h 512291"/>
                  <a:gd name="connsiteX320" fmla="*/ 261070 w 521231"/>
                  <a:gd name="connsiteY320" fmla="*/ 343346 h 512291"/>
                  <a:gd name="connsiteX321" fmla="*/ 261828 w 521231"/>
                  <a:gd name="connsiteY321" fmla="*/ 343649 h 512291"/>
                  <a:gd name="connsiteX322" fmla="*/ 262585 w 521231"/>
                  <a:gd name="connsiteY322" fmla="*/ 343952 h 512291"/>
                  <a:gd name="connsiteX323" fmla="*/ 263494 w 521231"/>
                  <a:gd name="connsiteY323" fmla="*/ 346528 h 512291"/>
                  <a:gd name="connsiteX324" fmla="*/ 263343 w 521231"/>
                  <a:gd name="connsiteY324" fmla="*/ 351528 h 512291"/>
                  <a:gd name="connsiteX325" fmla="*/ 261828 w 521231"/>
                  <a:gd name="connsiteY325" fmla="*/ 358649 h 512291"/>
                  <a:gd name="connsiteX326" fmla="*/ 262434 w 521231"/>
                  <a:gd name="connsiteY326" fmla="*/ 365468 h 512291"/>
                  <a:gd name="connsiteX327" fmla="*/ 265010 w 521231"/>
                  <a:gd name="connsiteY327" fmla="*/ 371680 h 512291"/>
                  <a:gd name="connsiteX328" fmla="*/ 265161 w 521231"/>
                  <a:gd name="connsiteY328" fmla="*/ 381378 h 512291"/>
                  <a:gd name="connsiteX329" fmla="*/ 264252 w 521231"/>
                  <a:gd name="connsiteY329" fmla="*/ 387135 h 512291"/>
                  <a:gd name="connsiteX330" fmla="*/ 263192 w 521231"/>
                  <a:gd name="connsiteY330" fmla="*/ 394408 h 512291"/>
                  <a:gd name="connsiteX331" fmla="*/ 262737 w 521231"/>
                  <a:gd name="connsiteY331" fmla="*/ 402590 h 512291"/>
                  <a:gd name="connsiteX332" fmla="*/ 263949 w 521231"/>
                  <a:gd name="connsiteY332" fmla="*/ 406075 h 512291"/>
                  <a:gd name="connsiteX333" fmla="*/ 266373 w 521231"/>
                  <a:gd name="connsiteY333" fmla="*/ 409712 h 512291"/>
                  <a:gd name="connsiteX334" fmla="*/ 270313 w 521231"/>
                  <a:gd name="connsiteY334" fmla="*/ 413348 h 512291"/>
                  <a:gd name="connsiteX335" fmla="*/ 273192 w 521231"/>
                  <a:gd name="connsiteY335" fmla="*/ 418349 h 512291"/>
                  <a:gd name="connsiteX336" fmla="*/ 275313 w 521231"/>
                  <a:gd name="connsiteY336" fmla="*/ 424258 h 512291"/>
                  <a:gd name="connsiteX337" fmla="*/ 276071 w 521231"/>
                  <a:gd name="connsiteY337" fmla="*/ 428046 h 512291"/>
                  <a:gd name="connsiteX338" fmla="*/ 275465 w 521231"/>
                  <a:gd name="connsiteY338" fmla="*/ 429561 h 512291"/>
                  <a:gd name="connsiteX339" fmla="*/ 275616 w 521231"/>
                  <a:gd name="connsiteY339" fmla="*/ 432288 h 512291"/>
                  <a:gd name="connsiteX340" fmla="*/ 276222 w 521231"/>
                  <a:gd name="connsiteY340" fmla="*/ 436228 h 512291"/>
                  <a:gd name="connsiteX341" fmla="*/ 275465 w 521231"/>
                  <a:gd name="connsiteY341" fmla="*/ 438652 h 512291"/>
                  <a:gd name="connsiteX342" fmla="*/ 273343 w 521231"/>
                  <a:gd name="connsiteY342" fmla="*/ 440016 h 512291"/>
                  <a:gd name="connsiteX343" fmla="*/ 272737 w 521231"/>
                  <a:gd name="connsiteY343" fmla="*/ 441683 h 512291"/>
                  <a:gd name="connsiteX344" fmla="*/ 273798 w 521231"/>
                  <a:gd name="connsiteY344" fmla="*/ 445016 h 512291"/>
                  <a:gd name="connsiteX345" fmla="*/ 273949 w 521231"/>
                  <a:gd name="connsiteY345" fmla="*/ 448047 h 512291"/>
                  <a:gd name="connsiteX346" fmla="*/ 274858 w 521231"/>
                  <a:gd name="connsiteY346" fmla="*/ 449107 h 512291"/>
                  <a:gd name="connsiteX347" fmla="*/ 275465 w 521231"/>
                  <a:gd name="connsiteY347" fmla="*/ 450016 h 512291"/>
                  <a:gd name="connsiteX348" fmla="*/ 276374 w 521231"/>
                  <a:gd name="connsiteY348" fmla="*/ 450168 h 512291"/>
                  <a:gd name="connsiteX349" fmla="*/ 278646 w 521231"/>
                  <a:gd name="connsiteY349" fmla="*/ 449107 h 512291"/>
                  <a:gd name="connsiteX350" fmla="*/ 281071 w 521231"/>
                  <a:gd name="connsiteY350" fmla="*/ 446986 h 512291"/>
                  <a:gd name="connsiteX351" fmla="*/ 283192 w 521231"/>
                  <a:gd name="connsiteY351" fmla="*/ 446228 h 512291"/>
                  <a:gd name="connsiteX352" fmla="*/ 286071 w 521231"/>
                  <a:gd name="connsiteY352" fmla="*/ 446228 h 512291"/>
                  <a:gd name="connsiteX353" fmla="*/ 290162 w 521231"/>
                  <a:gd name="connsiteY353" fmla="*/ 446835 h 512291"/>
                  <a:gd name="connsiteX354" fmla="*/ 297284 w 521231"/>
                  <a:gd name="connsiteY354" fmla="*/ 447137 h 512291"/>
                  <a:gd name="connsiteX355" fmla="*/ 299405 w 521231"/>
                  <a:gd name="connsiteY355" fmla="*/ 446683 h 512291"/>
                  <a:gd name="connsiteX356" fmla="*/ 306072 w 521231"/>
                  <a:gd name="connsiteY356" fmla="*/ 443956 h 512291"/>
                  <a:gd name="connsiteX357" fmla="*/ 307890 w 521231"/>
                  <a:gd name="connsiteY357" fmla="*/ 443804 h 512291"/>
                  <a:gd name="connsiteX358" fmla="*/ 310466 w 521231"/>
                  <a:gd name="connsiteY358" fmla="*/ 444107 h 512291"/>
                  <a:gd name="connsiteX359" fmla="*/ 314254 w 521231"/>
                  <a:gd name="connsiteY359" fmla="*/ 444865 h 512291"/>
                  <a:gd name="connsiteX360" fmla="*/ 318042 w 521231"/>
                  <a:gd name="connsiteY360" fmla="*/ 445016 h 512291"/>
                  <a:gd name="connsiteX361" fmla="*/ 319860 w 521231"/>
                  <a:gd name="connsiteY361" fmla="*/ 444259 h 512291"/>
                  <a:gd name="connsiteX362" fmla="*/ 320012 w 521231"/>
                  <a:gd name="connsiteY362" fmla="*/ 443047 h 512291"/>
                  <a:gd name="connsiteX363" fmla="*/ 320618 w 521231"/>
                  <a:gd name="connsiteY363" fmla="*/ 441683 h 512291"/>
                  <a:gd name="connsiteX364" fmla="*/ 321678 w 521231"/>
                  <a:gd name="connsiteY364" fmla="*/ 441077 h 512291"/>
                  <a:gd name="connsiteX365" fmla="*/ 322587 w 521231"/>
                  <a:gd name="connsiteY365" fmla="*/ 441380 h 512291"/>
                  <a:gd name="connsiteX366" fmla="*/ 324709 w 521231"/>
                  <a:gd name="connsiteY366" fmla="*/ 441683 h 512291"/>
                  <a:gd name="connsiteX367" fmla="*/ 325770 w 521231"/>
                  <a:gd name="connsiteY367" fmla="*/ 443501 h 512291"/>
                  <a:gd name="connsiteX368" fmla="*/ 326224 w 521231"/>
                  <a:gd name="connsiteY368" fmla="*/ 445319 h 512291"/>
                  <a:gd name="connsiteX369" fmla="*/ 327740 w 521231"/>
                  <a:gd name="connsiteY369" fmla="*/ 445471 h 512291"/>
                  <a:gd name="connsiteX370" fmla="*/ 331224 w 521231"/>
                  <a:gd name="connsiteY370" fmla="*/ 446683 h 512291"/>
                  <a:gd name="connsiteX371" fmla="*/ 332588 w 521231"/>
                  <a:gd name="connsiteY371" fmla="*/ 448198 h 512291"/>
                  <a:gd name="connsiteX372" fmla="*/ 333346 w 521231"/>
                  <a:gd name="connsiteY372" fmla="*/ 451683 h 512291"/>
                  <a:gd name="connsiteX373" fmla="*/ 332891 w 521231"/>
                  <a:gd name="connsiteY373" fmla="*/ 453501 h 512291"/>
                  <a:gd name="connsiteX374" fmla="*/ 331679 w 521231"/>
                  <a:gd name="connsiteY374" fmla="*/ 454865 h 512291"/>
                  <a:gd name="connsiteX375" fmla="*/ 332891 w 521231"/>
                  <a:gd name="connsiteY375" fmla="*/ 456077 h 512291"/>
                  <a:gd name="connsiteX376" fmla="*/ 335316 w 521231"/>
                  <a:gd name="connsiteY376" fmla="*/ 456986 h 512291"/>
                  <a:gd name="connsiteX377" fmla="*/ 336679 w 521231"/>
                  <a:gd name="connsiteY377" fmla="*/ 456683 h 512291"/>
                  <a:gd name="connsiteX378" fmla="*/ 340770 w 521231"/>
                  <a:gd name="connsiteY378" fmla="*/ 454411 h 512291"/>
                  <a:gd name="connsiteX379" fmla="*/ 342437 w 521231"/>
                  <a:gd name="connsiteY379" fmla="*/ 453956 h 512291"/>
                  <a:gd name="connsiteX380" fmla="*/ 344558 w 521231"/>
                  <a:gd name="connsiteY380" fmla="*/ 453501 h 512291"/>
                  <a:gd name="connsiteX381" fmla="*/ 346528 w 521231"/>
                  <a:gd name="connsiteY381" fmla="*/ 452895 h 512291"/>
                  <a:gd name="connsiteX382" fmla="*/ 351982 w 521231"/>
                  <a:gd name="connsiteY382" fmla="*/ 451835 h 512291"/>
                  <a:gd name="connsiteX383" fmla="*/ 355013 w 521231"/>
                  <a:gd name="connsiteY383" fmla="*/ 451380 h 512291"/>
                  <a:gd name="connsiteX384" fmla="*/ 356680 w 521231"/>
                  <a:gd name="connsiteY384" fmla="*/ 450471 h 512291"/>
                  <a:gd name="connsiteX385" fmla="*/ 357740 w 521231"/>
                  <a:gd name="connsiteY385" fmla="*/ 450471 h 512291"/>
                  <a:gd name="connsiteX386" fmla="*/ 358649 w 521231"/>
                  <a:gd name="connsiteY386" fmla="*/ 451229 h 512291"/>
                  <a:gd name="connsiteX387" fmla="*/ 357892 w 521231"/>
                  <a:gd name="connsiteY387" fmla="*/ 453653 h 512291"/>
                  <a:gd name="connsiteX388" fmla="*/ 357589 w 521231"/>
                  <a:gd name="connsiteY388" fmla="*/ 455774 h 512291"/>
                  <a:gd name="connsiteX389" fmla="*/ 358649 w 521231"/>
                  <a:gd name="connsiteY389" fmla="*/ 459865 h 512291"/>
                  <a:gd name="connsiteX390" fmla="*/ 359407 w 521231"/>
                  <a:gd name="connsiteY390" fmla="*/ 461835 h 512291"/>
                  <a:gd name="connsiteX391" fmla="*/ 361225 w 521231"/>
                  <a:gd name="connsiteY391" fmla="*/ 463199 h 512291"/>
                  <a:gd name="connsiteX392" fmla="*/ 362437 w 521231"/>
                  <a:gd name="connsiteY392" fmla="*/ 463956 h 512291"/>
                  <a:gd name="connsiteX393" fmla="*/ 363953 w 521231"/>
                  <a:gd name="connsiteY393" fmla="*/ 465320 h 512291"/>
                  <a:gd name="connsiteX394" fmla="*/ 366832 w 521231"/>
                  <a:gd name="connsiteY394" fmla="*/ 465168 h 512291"/>
                  <a:gd name="connsiteX395" fmla="*/ 373347 w 521231"/>
                  <a:gd name="connsiteY395" fmla="*/ 467290 h 512291"/>
                  <a:gd name="connsiteX396" fmla="*/ 375317 w 521231"/>
                  <a:gd name="connsiteY396" fmla="*/ 468199 h 512291"/>
                  <a:gd name="connsiteX397" fmla="*/ 378044 w 521231"/>
                  <a:gd name="connsiteY397" fmla="*/ 469108 h 512291"/>
                  <a:gd name="connsiteX398" fmla="*/ 379862 w 521231"/>
                  <a:gd name="connsiteY398" fmla="*/ 469563 h 512291"/>
                  <a:gd name="connsiteX399" fmla="*/ 386529 w 521231"/>
                  <a:gd name="connsiteY399" fmla="*/ 470320 h 512291"/>
                  <a:gd name="connsiteX400" fmla="*/ 388954 w 521231"/>
                  <a:gd name="connsiteY400" fmla="*/ 470775 h 512291"/>
                  <a:gd name="connsiteX401" fmla="*/ 393651 w 521231"/>
                  <a:gd name="connsiteY401" fmla="*/ 471381 h 512291"/>
                  <a:gd name="connsiteX402" fmla="*/ 397287 w 521231"/>
                  <a:gd name="connsiteY402" fmla="*/ 471532 h 512291"/>
                  <a:gd name="connsiteX403" fmla="*/ 399863 w 521231"/>
                  <a:gd name="connsiteY403" fmla="*/ 471229 h 512291"/>
                  <a:gd name="connsiteX404" fmla="*/ 401681 w 521231"/>
                  <a:gd name="connsiteY404" fmla="*/ 470623 h 512291"/>
                  <a:gd name="connsiteX405" fmla="*/ 402742 w 521231"/>
                  <a:gd name="connsiteY405" fmla="*/ 470017 h 512291"/>
                  <a:gd name="connsiteX406" fmla="*/ 403197 w 521231"/>
                  <a:gd name="connsiteY406" fmla="*/ 469411 h 512291"/>
                  <a:gd name="connsiteX407" fmla="*/ 403954 w 521231"/>
                  <a:gd name="connsiteY407" fmla="*/ 467290 h 512291"/>
                  <a:gd name="connsiteX408" fmla="*/ 405318 w 521231"/>
                  <a:gd name="connsiteY408" fmla="*/ 462896 h 512291"/>
                  <a:gd name="connsiteX409" fmla="*/ 405924 w 521231"/>
                  <a:gd name="connsiteY409" fmla="*/ 461532 h 512291"/>
                  <a:gd name="connsiteX410" fmla="*/ 407288 w 521231"/>
                  <a:gd name="connsiteY410" fmla="*/ 460926 h 512291"/>
                  <a:gd name="connsiteX411" fmla="*/ 408954 w 521231"/>
                  <a:gd name="connsiteY411" fmla="*/ 460623 h 512291"/>
                  <a:gd name="connsiteX412" fmla="*/ 410015 w 521231"/>
                  <a:gd name="connsiteY412" fmla="*/ 461380 h 512291"/>
                  <a:gd name="connsiteX413" fmla="*/ 411076 w 521231"/>
                  <a:gd name="connsiteY413" fmla="*/ 466229 h 512291"/>
                  <a:gd name="connsiteX414" fmla="*/ 416228 w 521231"/>
                  <a:gd name="connsiteY414" fmla="*/ 470623 h 512291"/>
                  <a:gd name="connsiteX415" fmla="*/ 417894 w 521231"/>
                  <a:gd name="connsiteY415" fmla="*/ 474411 h 512291"/>
                  <a:gd name="connsiteX416" fmla="*/ 419258 w 521231"/>
                  <a:gd name="connsiteY416" fmla="*/ 477593 h 512291"/>
                  <a:gd name="connsiteX417" fmla="*/ 420318 w 521231"/>
                  <a:gd name="connsiteY417" fmla="*/ 478502 h 512291"/>
                  <a:gd name="connsiteX418" fmla="*/ 422288 w 521231"/>
                  <a:gd name="connsiteY418" fmla="*/ 479563 h 512291"/>
                  <a:gd name="connsiteX419" fmla="*/ 425318 w 521231"/>
                  <a:gd name="connsiteY419" fmla="*/ 479866 h 512291"/>
                  <a:gd name="connsiteX420" fmla="*/ 428046 w 521231"/>
                  <a:gd name="connsiteY420" fmla="*/ 480017 h 512291"/>
                  <a:gd name="connsiteX421" fmla="*/ 433804 w 521231"/>
                  <a:gd name="connsiteY421" fmla="*/ 482290 h 512291"/>
                  <a:gd name="connsiteX422" fmla="*/ 438501 w 521231"/>
                  <a:gd name="connsiteY422" fmla="*/ 484109 h 512291"/>
                  <a:gd name="connsiteX423" fmla="*/ 441835 w 521231"/>
                  <a:gd name="connsiteY423" fmla="*/ 485472 h 512291"/>
                  <a:gd name="connsiteX424" fmla="*/ 443349 w 521231"/>
                  <a:gd name="connsiteY424" fmla="*/ 486533 h 512291"/>
                  <a:gd name="connsiteX425" fmla="*/ 444410 w 521231"/>
                  <a:gd name="connsiteY425" fmla="*/ 488200 h 512291"/>
                  <a:gd name="connsiteX426" fmla="*/ 445016 w 521231"/>
                  <a:gd name="connsiteY426" fmla="*/ 489412 h 512291"/>
                  <a:gd name="connsiteX427" fmla="*/ 445926 w 521231"/>
                  <a:gd name="connsiteY427" fmla="*/ 492745 h 512291"/>
                  <a:gd name="connsiteX428" fmla="*/ 446986 w 521231"/>
                  <a:gd name="connsiteY428" fmla="*/ 495321 h 512291"/>
                  <a:gd name="connsiteX429" fmla="*/ 448804 w 521231"/>
                  <a:gd name="connsiteY429" fmla="*/ 495776 h 512291"/>
                  <a:gd name="connsiteX430" fmla="*/ 450471 w 521231"/>
                  <a:gd name="connsiteY430" fmla="*/ 495927 h 512291"/>
                  <a:gd name="connsiteX431" fmla="*/ 451986 w 521231"/>
                  <a:gd name="connsiteY431" fmla="*/ 497745 h 512291"/>
                  <a:gd name="connsiteX432" fmla="*/ 453199 w 521231"/>
                  <a:gd name="connsiteY432" fmla="*/ 499261 h 512291"/>
                  <a:gd name="connsiteX433" fmla="*/ 455471 w 521231"/>
                  <a:gd name="connsiteY433" fmla="*/ 503049 h 512291"/>
                  <a:gd name="connsiteX434" fmla="*/ 457138 w 521231"/>
                  <a:gd name="connsiteY434" fmla="*/ 505776 h 512291"/>
                  <a:gd name="connsiteX435" fmla="*/ 457744 w 521231"/>
                  <a:gd name="connsiteY435" fmla="*/ 508352 h 512291"/>
                  <a:gd name="connsiteX436" fmla="*/ 459714 w 521231"/>
                  <a:gd name="connsiteY436" fmla="*/ 510019 h 512291"/>
                  <a:gd name="connsiteX437" fmla="*/ 462441 w 521231"/>
                  <a:gd name="connsiteY437" fmla="*/ 510776 h 512291"/>
                  <a:gd name="connsiteX438" fmla="*/ 464866 w 521231"/>
                  <a:gd name="connsiteY438" fmla="*/ 510776 h 512291"/>
                  <a:gd name="connsiteX439" fmla="*/ 466229 w 521231"/>
                  <a:gd name="connsiteY439" fmla="*/ 510019 h 512291"/>
                  <a:gd name="connsiteX440" fmla="*/ 469866 w 521231"/>
                  <a:gd name="connsiteY440" fmla="*/ 508655 h 512291"/>
                  <a:gd name="connsiteX441" fmla="*/ 472593 w 521231"/>
                  <a:gd name="connsiteY441" fmla="*/ 507140 h 512291"/>
                  <a:gd name="connsiteX442" fmla="*/ 474563 w 521231"/>
                  <a:gd name="connsiteY442" fmla="*/ 506685 h 512291"/>
                  <a:gd name="connsiteX443" fmla="*/ 475623 w 521231"/>
                  <a:gd name="connsiteY443" fmla="*/ 506988 h 512291"/>
                  <a:gd name="connsiteX444" fmla="*/ 476533 w 521231"/>
                  <a:gd name="connsiteY444" fmla="*/ 508049 h 512291"/>
                  <a:gd name="connsiteX445" fmla="*/ 477139 w 521231"/>
                  <a:gd name="connsiteY445" fmla="*/ 510170 h 512291"/>
                  <a:gd name="connsiteX446" fmla="*/ 477139 w 521231"/>
                  <a:gd name="connsiteY446" fmla="*/ 511231 h 512291"/>
                  <a:gd name="connsiteX447" fmla="*/ 479109 w 521231"/>
                  <a:gd name="connsiteY447" fmla="*/ 512291 h 512291"/>
                  <a:gd name="connsiteX448" fmla="*/ 480624 w 521231"/>
                  <a:gd name="connsiteY448" fmla="*/ 511988 h 512291"/>
                  <a:gd name="connsiteX449" fmla="*/ 481078 w 521231"/>
                  <a:gd name="connsiteY449" fmla="*/ 510625 h 512291"/>
                  <a:gd name="connsiteX450" fmla="*/ 481078 w 521231"/>
                  <a:gd name="connsiteY450" fmla="*/ 510019 h 512291"/>
                  <a:gd name="connsiteX451" fmla="*/ 481078 w 521231"/>
                  <a:gd name="connsiteY451" fmla="*/ 504412 h 512291"/>
                  <a:gd name="connsiteX452" fmla="*/ 481078 w 521231"/>
                  <a:gd name="connsiteY452" fmla="*/ 499564 h 512291"/>
                  <a:gd name="connsiteX453" fmla="*/ 481078 w 521231"/>
                  <a:gd name="connsiteY453" fmla="*/ 495018 h 512291"/>
                  <a:gd name="connsiteX454" fmla="*/ 481078 w 521231"/>
                  <a:gd name="connsiteY454" fmla="*/ 489412 h 512291"/>
                  <a:gd name="connsiteX455" fmla="*/ 481078 w 521231"/>
                  <a:gd name="connsiteY455" fmla="*/ 484563 h 512291"/>
                  <a:gd name="connsiteX456" fmla="*/ 481078 w 521231"/>
                  <a:gd name="connsiteY456" fmla="*/ 480624 h 512291"/>
                  <a:gd name="connsiteX457" fmla="*/ 481078 w 521231"/>
                  <a:gd name="connsiteY457" fmla="*/ 476532 h 512291"/>
                  <a:gd name="connsiteX458" fmla="*/ 479866 w 521231"/>
                  <a:gd name="connsiteY458" fmla="*/ 476684 h 512291"/>
                  <a:gd name="connsiteX459" fmla="*/ 478351 w 521231"/>
                  <a:gd name="connsiteY459" fmla="*/ 477593 h 512291"/>
                  <a:gd name="connsiteX460" fmla="*/ 474714 w 521231"/>
                  <a:gd name="connsiteY460" fmla="*/ 477745 h 512291"/>
                  <a:gd name="connsiteX461" fmla="*/ 473199 w 521231"/>
                  <a:gd name="connsiteY461" fmla="*/ 478502 h 512291"/>
                  <a:gd name="connsiteX462" fmla="*/ 472745 w 521231"/>
                  <a:gd name="connsiteY462" fmla="*/ 479563 h 512291"/>
                  <a:gd name="connsiteX463" fmla="*/ 473048 w 521231"/>
                  <a:gd name="connsiteY463" fmla="*/ 480927 h 512291"/>
                  <a:gd name="connsiteX464" fmla="*/ 473199 w 521231"/>
                  <a:gd name="connsiteY464" fmla="*/ 482896 h 512291"/>
                  <a:gd name="connsiteX465" fmla="*/ 472593 w 521231"/>
                  <a:gd name="connsiteY465" fmla="*/ 483805 h 512291"/>
                  <a:gd name="connsiteX466" fmla="*/ 471078 w 521231"/>
                  <a:gd name="connsiteY466" fmla="*/ 484109 h 512291"/>
                  <a:gd name="connsiteX467" fmla="*/ 468805 w 521231"/>
                  <a:gd name="connsiteY467" fmla="*/ 483351 h 512291"/>
                  <a:gd name="connsiteX468" fmla="*/ 464563 w 521231"/>
                  <a:gd name="connsiteY468" fmla="*/ 482442 h 512291"/>
                  <a:gd name="connsiteX469" fmla="*/ 461078 w 521231"/>
                  <a:gd name="connsiteY469" fmla="*/ 481836 h 512291"/>
                  <a:gd name="connsiteX470" fmla="*/ 458653 w 521231"/>
                  <a:gd name="connsiteY470" fmla="*/ 479260 h 512291"/>
                  <a:gd name="connsiteX471" fmla="*/ 455168 w 521231"/>
                  <a:gd name="connsiteY471" fmla="*/ 475472 h 512291"/>
                  <a:gd name="connsiteX472" fmla="*/ 453047 w 521231"/>
                  <a:gd name="connsiteY472" fmla="*/ 473654 h 512291"/>
                  <a:gd name="connsiteX473" fmla="*/ 447744 w 521231"/>
                  <a:gd name="connsiteY473" fmla="*/ 469714 h 512291"/>
                  <a:gd name="connsiteX474" fmla="*/ 446835 w 521231"/>
                  <a:gd name="connsiteY474" fmla="*/ 468805 h 512291"/>
                  <a:gd name="connsiteX475" fmla="*/ 445168 w 521231"/>
                  <a:gd name="connsiteY475" fmla="*/ 466987 h 512291"/>
                  <a:gd name="connsiteX476" fmla="*/ 443804 w 521231"/>
                  <a:gd name="connsiteY476" fmla="*/ 463805 h 512291"/>
                  <a:gd name="connsiteX477" fmla="*/ 443198 w 521231"/>
                  <a:gd name="connsiteY477" fmla="*/ 461835 h 512291"/>
                  <a:gd name="connsiteX478" fmla="*/ 442440 w 521231"/>
                  <a:gd name="connsiteY478" fmla="*/ 460320 h 512291"/>
                  <a:gd name="connsiteX479" fmla="*/ 441835 w 521231"/>
                  <a:gd name="connsiteY479" fmla="*/ 457896 h 512291"/>
                  <a:gd name="connsiteX480" fmla="*/ 443047 w 521231"/>
                  <a:gd name="connsiteY480" fmla="*/ 454411 h 512291"/>
                  <a:gd name="connsiteX481" fmla="*/ 444865 w 521231"/>
                  <a:gd name="connsiteY481" fmla="*/ 447592 h 512291"/>
                  <a:gd name="connsiteX482" fmla="*/ 446228 w 521231"/>
                  <a:gd name="connsiteY482" fmla="*/ 442743 h 512291"/>
                  <a:gd name="connsiteX483" fmla="*/ 446835 w 521231"/>
                  <a:gd name="connsiteY483" fmla="*/ 439259 h 512291"/>
                  <a:gd name="connsiteX484" fmla="*/ 449411 w 521231"/>
                  <a:gd name="connsiteY484" fmla="*/ 435622 h 512291"/>
                  <a:gd name="connsiteX485" fmla="*/ 449714 w 521231"/>
                  <a:gd name="connsiteY485" fmla="*/ 432288 h 512291"/>
                  <a:gd name="connsiteX486" fmla="*/ 448653 w 521231"/>
                  <a:gd name="connsiteY486" fmla="*/ 428046 h 512291"/>
                  <a:gd name="connsiteX487" fmla="*/ 448804 w 521231"/>
                  <a:gd name="connsiteY487" fmla="*/ 425773 h 512291"/>
                  <a:gd name="connsiteX488" fmla="*/ 449107 w 521231"/>
                  <a:gd name="connsiteY488" fmla="*/ 419864 h 512291"/>
                  <a:gd name="connsiteX489" fmla="*/ 449259 w 521231"/>
                  <a:gd name="connsiteY489" fmla="*/ 414864 h 512291"/>
                  <a:gd name="connsiteX490" fmla="*/ 449259 w 521231"/>
                  <a:gd name="connsiteY490" fmla="*/ 412591 h 512291"/>
                  <a:gd name="connsiteX491" fmla="*/ 448501 w 521231"/>
                  <a:gd name="connsiteY491" fmla="*/ 408348 h 512291"/>
                  <a:gd name="connsiteX492" fmla="*/ 446835 w 521231"/>
                  <a:gd name="connsiteY492" fmla="*/ 403651 h 512291"/>
                  <a:gd name="connsiteX493" fmla="*/ 442895 w 521231"/>
                  <a:gd name="connsiteY493" fmla="*/ 397287 h 512291"/>
                  <a:gd name="connsiteX494" fmla="*/ 442895 w 521231"/>
                  <a:gd name="connsiteY494" fmla="*/ 395924 h 512291"/>
                  <a:gd name="connsiteX495" fmla="*/ 445168 w 521231"/>
                  <a:gd name="connsiteY495" fmla="*/ 394408 h 512291"/>
                  <a:gd name="connsiteX496" fmla="*/ 448804 w 521231"/>
                  <a:gd name="connsiteY496" fmla="*/ 391681 h 512291"/>
                  <a:gd name="connsiteX497" fmla="*/ 450623 w 521231"/>
                  <a:gd name="connsiteY497" fmla="*/ 390166 h 512291"/>
                  <a:gd name="connsiteX498" fmla="*/ 452744 w 521231"/>
                  <a:gd name="connsiteY498" fmla="*/ 387893 h 512291"/>
                  <a:gd name="connsiteX499" fmla="*/ 453653 w 521231"/>
                  <a:gd name="connsiteY499" fmla="*/ 386681 h 512291"/>
                  <a:gd name="connsiteX500" fmla="*/ 455774 w 521231"/>
                  <a:gd name="connsiteY500" fmla="*/ 383802 h 512291"/>
                  <a:gd name="connsiteX501" fmla="*/ 457138 w 521231"/>
                  <a:gd name="connsiteY501" fmla="*/ 381529 h 512291"/>
                  <a:gd name="connsiteX502" fmla="*/ 457592 w 521231"/>
                  <a:gd name="connsiteY502" fmla="*/ 378499 h 512291"/>
                  <a:gd name="connsiteX503" fmla="*/ 456532 w 521231"/>
                  <a:gd name="connsiteY503" fmla="*/ 375620 h 512291"/>
                  <a:gd name="connsiteX504" fmla="*/ 458653 w 521231"/>
                  <a:gd name="connsiteY504" fmla="*/ 375014 h 512291"/>
                  <a:gd name="connsiteX505" fmla="*/ 465320 w 521231"/>
                  <a:gd name="connsiteY505" fmla="*/ 374105 h 512291"/>
                  <a:gd name="connsiteX506" fmla="*/ 472593 w 521231"/>
                  <a:gd name="connsiteY506" fmla="*/ 372892 h 512291"/>
                  <a:gd name="connsiteX507" fmla="*/ 480321 w 521231"/>
                  <a:gd name="connsiteY507" fmla="*/ 371832 h 512291"/>
                  <a:gd name="connsiteX508" fmla="*/ 488048 w 521231"/>
                  <a:gd name="connsiteY508" fmla="*/ 370619 h 512291"/>
                  <a:gd name="connsiteX509" fmla="*/ 495624 w 521231"/>
                  <a:gd name="connsiteY509" fmla="*/ 369407 h 512291"/>
                  <a:gd name="connsiteX510" fmla="*/ 502443 w 521231"/>
                  <a:gd name="connsiteY510" fmla="*/ 368347 h 512291"/>
                  <a:gd name="connsiteX511" fmla="*/ 502594 w 521231"/>
                  <a:gd name="connsiteY511" fmla="*/ 367286 h 512291"/>
                  <a:gd name="connsiteX512" fmla="*/ 502291 w 521231"/>
                  <a:gd name="connsiteY512" fmla="*/ 365468 h 512291"/>
                  <a:gd name="connsiteX513" fmla="*/ 501231 w 521231"/>
                  <a:gd name="connsiteY513" fmla="*/ 364104 h 512291"/>
                  <a:gd name="connsiteX514" fmla="*/ 500321 w 521231"/>
                  <a:gd name="connsiteY514" fmla="*/ 363195 h 512291"/>
                  <a:gd name="connsiteX515" fmla="*/ 499564 w 521231"/>
                  <a:gd name="connsiteY515" fmla="*/ 362892 h 512291"/>
                  <a:gd name="connsiteX516" fmla="*/ 498806 w 521231"/>
                  <a:gd name="connsiteY516" fmla="*/ 362286 h 512291"/>
                  <a:gd name="connsiteX517" fmla="*/ 497594 w 521231"/>
                  <a:gd name="connsiteY517" fmla="*/ 360468 h 512291"/>
                  <a:gd name="connsiteX518" fmla="*/ 496836 w 521231"/>
                  <a:gd name="connsiteY518" fmla="*/ 359710 h 512291"/>
                  <a:gd name="connsiteX519" fmla="*/ 494715 w 521231"/>
                  <a:gd name="connsiteY519" fmla="*/ 358953 h 512291"/>
                  <a:gd name="connsiteX520" fmla="*/ 494261 w 521231"/>
                  <a:gd name="connsiteY520" fmla="*/ 358195 h 512291"/>
                  <a:gd name="connsiteX521" fmla="*/ 493957 w 521231"/>
                  <a:gd name="connsiteY521" fmla="*/ 356074 h 512291"/>
                  <a:gd name="connsiteX522" fmla="*/ 492745 w 521231"/>
                  <a:gd name="connsiteY522" fmla="*/ 353346 h 512291"/>
                  <a:gd name="connsiteX523" fmla="*/ 492291 w 521231"/>
                  <a:gd name="connsiteY523" fmla="*/ 351073 h 512291"/>
                  <a:gd name="connsiteX524" fmla="*/ 492594 w 521231"/>
                  <a:gd name="connsiteY524" fmla="*/ 350316 h 512291"/>
                  <a:gd name="connsiteX525" fmla="*/ 492443 w 521231"/>
                  <a:gd name="connsiteY525" fmla="*/ 348043 h 512291"/>
                  <a:gd name="connsiteX526" fmla="*/ 490776 w 521231"/>
                  <a:gd name="connsiteY526" fmla="*/ 343194 h 512291"/>
                  <a:gd name="connsiteX527" fmla="*/ 489109 w 521231"/>
                  <a:gd name="connsiteY527" fmla="*/ 340922 h 512291"/>
                  <a:gd name="connsiteX528" fmla="*/ 487139 w 521231"/>
                  <a:gd name="connsiteY528" fmla="*/ 338952 h 512291"/>
                  <a:gd name="connsiteX529" fmla="*/ 484715 w 521231"/>
                  <a:gd name="connsiteY529" fmla="*/ 337588 h 512291"/>
                  <a:gd name="connsiteX530" fmla="*/ 482290 w 521231"/>
                  <a:gd name="connsiteY530" fmla="*/ 336830 h 512291"/>
                  <a:gd name="connsiteX531" fmla="*/ 479866 w 521231"/>
                  <a:gd name="connsiteY531" fmla="*/ 334861 h 512291"/>
                  <a:gd name="connsiteX532" fmla="*/ 476230 w 521231"/>
                  <a:gd name="connsiteY532" fmla="*/ 330163 h 512291"/>
                  <a:gd name="connsiteX533" fmla="*/ 473957 w 521231"/>
                  <a:gd name="connsiteY533" fmla="*/ 328345 h 512291"/>
                  <a:gd name="connsiteX534" fmla="*/ 473351 w 521231"/>
                  <a:gd name="connsiteY534" fmla="*/ 327436 h 512291"/>
                  <a:gd name="connsiteX535" fmla="*/ 472442 w 521231"/>
                  <a:gd name="connsiteY535" fmla="*/ 325012 h 512291"/>
                  <a:gd name="connsiteX536" fmla="*/ 472593 w 521231"/>
                  <a:gd name="connsiteY536" fmla="*/ 322436 h 512291"/>
                  <a:gd name="connsiteX537" fmla="*/ 472442 w 521231"/>
                  <a:gd name="connsiteY537" fmla="*/ 321830 h 512291"/>
                  <a:gd name="connsiteX538" fmla="*/ 471835 w 521231"/>
                  <a:gd name="connsiteY538" fmla="*/ 321830 h 512291"/>
                  <a:gd name="connsiteX539" fmla="*/ 471229 w 521231"/>
                  <a:gd name="connsiteY539" fmla="*/ 321678 h 512291"/>
                  <a:gd name="connsiteX540" fmla="*/ 470926 w 521231"/>
                  <a:gd name="connsiteY540" fmla="*/ 321072 h 512291"/>
                  <a:gd name="connsiteX541" fmla="*/ 467896 w 521231"/>
                  <a:gd name="connsiteY541" fmla="*/ 312890 h 512291"/>
                  <a:gd name="connsiteX542" fmla="*/ 467290 w 521231"/>
                  <a:gd name="connsiteY542" fmla="*/ 312587 h 512291"/>
                  <a:gd name="connsiteX543" fmla="*/ 466684 w 521231"/>
                  <a:gd name="connsiteY543" fmla="*/ 311375 h 512291"/>
                  <a:gd name="connsiteX544" fmla="*/ 466229 w 521231"/>
                  <a:gd name="connsiteY544" fmla="*/ 310769 h 512291"/>
                  <a:gd name="connsiteX545" fmla="*/ 465168 w 521231"/>
                  <a:gd name="connsiteY545" fmla="*/ 310163 h 512291"/>
                  <a:gd name="connsiteX546" fmla="*/ 464563 w 521231"/>
                  <a:gd name="connsiteY546" fmla="*/ 308799 h 512291"/>
                  <a:gd name="connsiteX547" fmla="*/ 464411 w 521231"/>
                  <a:gd name="connsiteY547" fmla="*/ 306526 h 512291"/>
                  <a:gd name="connsiteX548" fmla="*/ 464563 w 521231"/>
                  <a:gd name="connsiteY548" fmla="*/ 305466 h 512291"/>
                  <a:gd name="connsiteX549" fmla="*/ 465168 w 521231"/>
                  <a:gd name="connsiteY549" fmla="*/ 304860 h 512291"/>
                  <a:gd name="connsiteX550" fmla="*/ 468351 w 521231"/>
                  <a:gd name="connsiteY550" fmla="*/ 302284 h 512291"/>
                  <a:gd name="connsiteX551" fmla="*/ 468654 w 521231"/>
                  <a:gd name="connsiteY551" fmla="*/ 301375 h 512291"/>
                  <a:gd name="connsiteX552" fmla="*/ 468654 w 521231"/>
                  <a:gd name="connsiteY552" fmla="*/ 300768 h 512291"/>
                  <a:gd name="connsiteX553" fmla="*/ 468502 w 521231"/>
                  <a:gd name="connsiteY553" fmla="*/ 298496 h 512291"/>
                  <a:gd name="connsiteX554" fmla="*/ 468654 w 521231"/>
                  <a:gd name="connsiteY554" fmla="*/ 297738 h 512291"/>
                  <a:gd name="connsiteX555" fmla="*/ 469563 w 521231"/>
                  <a:gd name="connsiteY555" fmla="*/ 297587 h 512291"/>
                  <a:gd name="connsiteX556" fmla="*/ 469563 w 521231"/>
                  <a:gd name="connsiteY556" fmla="*/ 297284 h 512291"/>
                  <a:gd name="connsiteX557" fmla="*/ 465472 w 521231"/>
                  <a:gd name="connsiteY557" fmla="*/ 290617 h 512291"/>
                  <a:gd name="connsiteX558" fmla="*/ 463653 w 521231"/>
                  <a:gd name="connsiteY558" fmla="*/ 286980 h 512291"/>
                  <a:gd name="connsiteX559" fmla="*/ 462593 w 521231"/>
                  <a:gd name="connsiteY559" fmla="*/ 283798 h 512291"/>
                  <a:gd name="connsiteX560" fmla="*/ 462138 w 521231"/>
                  <a:gd name="connsiteY560" fmla="*/ 281980 h 512291"/>
                  <a:gd name="connsiteX561" fmla="*/ 462441 w 521231"/>
                  <a:gd name="connsiteY561" fmla="*/ 281222 h 512291"/>
                  <a:gd name="connsiteX562" fmla="*/ 462441 w 521231"/>
                  <a:gd name="connsiteY562" fmla="*/ 272737 h 512291"/>
                  <a:gd name="connsiteX563" fmla="*/ 462744 w 521231"/>
                  <a:gd name="connsiteY563" fmla="*/ 269252 h 512291"/>
                  <a:gd name="connsiteX564" fmla="*/ 463350 w 521231"/>
                  <a:gd name="connsiteY564" fmla="*/ 267586 h 512291"/>
                  <a:gd name="connsiteX565" fmla="*/ 463957 w 521231"/>
                  <a:gd name="connsiteY565" fmla="*/ 266979 h 512291"/>
                  <a:gd name="connsiteX566" fmla="*/ 464866 w 521231"/>
                  <a:gd name="connsiteY566" fmla="*/ 267131 h 512291"/>
                  <a:gd name="connsiteX567" fmla="*/ 464866 w 521231"/>
                  <a:gd name="connsiteY567" fmla="*/ 265161 h 512291"/>
                  <a:gd name="connsiteX568" fmla="*/ 466381 w 521231"/>
                  <a:gd name="connsiteY568" fmla="*/ 256070 h 512291"/>
                  <a:gd name="connsiteX569" fmla="*/ 466078 w 521231"/>
                  <a:gd name="connsiteY569" fmla="*/ 255009 h 512291"/>
                  <a:gd name="connsiteX570" fmla="*/ 465623 w 521231"/>
                  <a:gd name="connsiteY570" fmla="*/ 255161 h 512291"/>
                  <a:gd name="connsiteX571" fmla="*/ 465320 w 521231"/>
                  <a:gd name="connsiteY571" fmla="*/ 256524 h 512291"/>
                  <a:gd name="connsiteX572" fmla="*/ 463350 w 521231"/>
                  <a:gd name="connsiteY572" fmla="*/ 262434 h 512291"/>
                  <a:gd name="connsiteX573" fmla="*/ 463047 w 521231"/>
                  <a:gd name="connsiteY573" fmla="*/ 262585 h 512291"/>
                  <a:gd name="connsiteX574" fmla="*/ 461078 w 521231"/>
                  <a:gd name="connsiteY574" fmla="*/ 261828 h 512291"/>
                  <a:gd name="connsiteX575" fmla="*/ 460926 w 521231"/>
                  <a:gd name="connsiteY575" fmla="*/ 261070 h 512291"/>
                  <a:gd name="connsiteX576" fmla="*/ 461835 w 521231"/>
                  <a:gd name="connsiteY576" fmla="*/ 259858 h 512291"/>
                  <a:gd name="connsiteX577" fmla="*/ 462138 w 521231"/>
                  <a:gd name="connsiteY577" fmla="*/ 258797 h 512291"/>
                  <a:gd name="connsiteX578" fmla="*/ 461835 w 521231"/>
                  <a:gd name="connsiteY578" fmla="*/ 257888 h 512291"/>
                  <a:gd name="connsiteX579" fmla="*/ 461684 w 521231"/>
                  <a:gd name="connsiteY579" fmla="*/ 255767 h 512291"/>
                  <a:gd name="connsiteX580" fmla="*/ 462138 w 521231"/>
                  <a:gd name="connsiteY580" fmla="*/ 250464 h 512291"/>
                  <a:gd name="connsiteX581" fmla="*/ 462593 w 521231"/>
                  <a:gd name="connsiteY581" fmla="*/ 249251 h 512291"/>
                  <a:gd name="connsiteX582" fmla="*/ 462593 w 521231"/>
                  <a:gd name="connsiteY582" fmla="*/ 248191 h 512291"/>
                  <a:gd name="connsiteX583" fmla="*/ 462138 w 521231"/>
                  <a:gd name="connsiteY583" fmla="*/ 247433 h 512291"/>
                  <a:gd name="connsiteX584" fmla="*/ 462290 w 521231"/>
                  <a:gd name="connsiteY584" fmla="*/ 246373 h 512291"/>
                  <a:gd name="connsiteX585" fmla="*/ 463047 w 521231"/>
                  <a:gd name="connsiteY585" fmla="*/ 245160 h 512291"/>
                  <a:gd name="connsiteX586" fmla="*/ 463350 w 521231"/>
                  <a:gd name="connsiteY586" fmla="*/ 242888 h 512291"/>
                  <a:gd name="connsiteX587" fmla="*/ 463199 w 521231"/>
                  <a:gd name="connsiteY587" fmla="*/ 239403 h 512291"/>
                  <a:gd name="connsiteX588" fmla="*/ 463199 w 521231"/>
                  <a:gd name="connsiteY588" fmla="*/ 237130 h 512291"/>
                  <a:gd name="connsiteX589" fmla="*/ 463653 w 521231"/>
                  <a:gd name="connsiteY589" fmla="*/ 236069 h 512291"/>
                  <a:gd name="connsiteX590" fmla="*/ 464108 w 521231"/>
                  <a:gd name="connsiteY590" fmla="*/ 235463 h 512291"/>
                  <a:gd name="connsiteX591" fmla="*/ 464714 w 521231"/>
                  <a:gd name="connsiteY591" fmla="*/ 235312 h 512291"/>
                  <a:gd name="connsiteX592" fmla="*/ 465168 w 521231"/>
                  <a:gd name="connsiteY592" fmla="*/ 235312 h 512291"/>
                  <a:gd name="connsiteX593" fmla="*/ 465168 w 521231"/>
                  <a:gd name="connsiteY593" fmla="*/ 233645 h 512291"/>
                  <a:gd name="connsiteX594" fmla="*/ 465472 w 521231"/>
                  <a:gd name="connsiteY594" fmla="*/ 229857 h 512291"/>
                  <a:gd name="connsiteX595" fmla="*/ 465472 w 521231"/>
                  <a:gd name="connsiteY595" fmla="*/ 227432 h 512291"/>
                  <a:gd name="connsiteX596" fmla="*/ 463502 w 521231"/>
                  <a:gd name="connsiteY596" fmla="*/ 224857 h 512291"/>
                  <a:gd name="connsiteX597" fmla="*/ 461078 w 521231"/>
                  <a:gd name="connsiteY597" fmla="*/ 221978 h 512291"/>
                  <a:gd name="connsiteX598" fmla="*/ 459865 w 521231"/>
                  <a:gd name="connsiteY598" fmla="*/ 220614 h 512291"/>
                  <a:gd name="connsiteX599" fmla="*/ 459714 w 521231"/>
                  <a:gd name="connsiteY599" fmla="*/ 219402 h 512291"/>
                  <a:gd name="connsiteX600" fmla="*/ 459714 w 521231"/>
                  <a:gd name="connsiteY600" fmla="*/ 218493 h 512291"/>
                  <a:gd name="connsiteX601" fmla="*/ 457138 w 521231"/>
                  <a:gd name="connsiteY601" fmla="*/ 217432 h 512291"/>
                  <a:gd name="connsiteX602" fmla="*/ 456380 w 521231"/>
                  <a:gd name="connsiteY602" fmla="*/ 216068 h 512291"/>
                  <a:gd name="connsiteX603" fmla="*/ 456380 w 521231"/>
                  <a:gd name="connsiteY603" fmla="*/ 213947 h 512291"/>
                  <a:gd name="connsiteX604" fmla="*/ 455471 w 521231"/>
                  <a:gd name="connsiteY604" fmla="*/ 210917 h 512291"/>
                  <a:gd name="connsiteX605" fmla="*/ 455471 w 521231"/>
                  <a:gd name="connsiteY605" fmla="*/ 210917 h 512291"/>
                  <a:gd name="connsiteX606" fmla="*/ 455320 w 521231"/>
                  <a:gd name="connsiteY606" fmla="*/ 211068 h 512291"/>
                  <a:gd name="connsiteX607" fmla="*/ 455471 w 521231"/>
                  <a:gd name="connsiteY607" fmla="*/ 208947 h 512291"/>
                  <a:gd name="connsiteX608" fmla="*/ 457138 w 521231"/>
                  <a:gd name="connsiteY608" fmla="*/ 206674 h 512291"/>
                  <a:gd name="connsiteX609" fmla="*/ 456683 w 521231"/>
                  <a:gd name="connsiteY609" fmla="*/ 205311 h 512291"/>
                  <a:gd name="connsiteX610" fmla="*/ 455926 w 521231"/>
                  <a:gd name="connsiteY610" fmla="*/ 205007 h 512291"/>
                  <a:gd name="connsiteX611" fmla="*/ 455926 w 521231"/>
                  <a:gd name="connsiteY611" fmla="*/ 203947 h 512291"/>
                  <a:gd name="connsiteX612" fmla="*/ 456077 w 521231"/>
                  <a:gd name="connsiteY612" fmla="*/ 203038 h 512291"/>
                  <a:gd name="connsiteX613" fmla="*/ 456987 w 521231"/>
                  <a:gd name="connsiteY613" fmla="*/ 201068 h 512291"/>
                  <a:gd name="connsiteX614" fmla="*/ 456835 w 521231"/>
                  <a:gd name="connsiteY614" fmla="*/ 199098 h 512291"/>
                  <a:gd name="connsiteX615" fmla="*/ 458956 w 521231"/>
                  <a:gd name="connsiteY615" fmla="*/ 194401 h 512291"/>
                  <a:gd name="connsiteX616" fmla="*/ 460320 w 521231"/>
                  <a:gd name="connsiteY616" fmla="*/ 189249 h 512291"/>
                  <a:gd name="connsiteX617" fmla="*/ 461229 w 521231"/>
                  <a:gd name="connsiteY617" fmla="*/ 188037 h 512291"/>
                  <a:gd name="connsiteX618" fmla="*/ 464714 w 521231"/>
                  <a:gd name="connsiteY618" fmla="*/ 189098 h 512291"/>
                  <a:gd name="connsiteX619" fmla="*/ 465472 w 521231"/>
                  <a:gd name="connsiteY619" fmla="*/ 190310 h 512291"/>
                  <a:gd name="connsiteX620" fmla="*/ 466684 w 521231"/>
                  <a:gd name="connsiteY620" fmla="*/ 188492 h 512291"/>
                  <a:gd name="connsiteX621" fmla="*/ 468957 w 521231"/>
                  <a:gd name="connsiteY621" fmla="*/ 185764 h 512291"/>
                  <a:gd name="connsiteX622" fmla="*/ 470320 w 521231"/>
                  <a:gd name="connsiteY622" fmla="*/ 185461 h 512291"/>
                  <a:gd name="connsiteX623" fmla="*/ 472139 w 521231"/>
                  <a:gd name="connsiteY623" fmla="*/ 184401 h 512291"/>
                  <a:gd name="connsiteX624" fmla="*/ 474108 w 521231"/>
                  <a:gd name="connsiteY624" fmla="*/ 182734 h 512291"/>
                  <a:gd name="connsiteX625" fmla="*/ 475169 w 521231"/>
                  <a:gd name="connsiteY625" fmla="*/ 182128 h 512291"/>
                  <a:gd name="connsiteX626" fmla="*/ 475169 w 521231"/>
                  <a:gd name="connsiteY626" fmla="*/ 181370 h 512291"/>
                  <a:gd name="connsiteX627" fmla="*/ 474714 w 521231"/>
                  <a:gd name="connsiteY627" fmla="*/ 175006 h 512291"/>
                  <a:gd name="connsiteX628" fmla="*/ 474714 w 521231"/>
                  <a:gd name="connsiteY628" fmla="*/ 171067 h 512291"/>
                  <a:gd name="connsiteX629" fmla="*/ 475472 w 521231"/>
                  <a:gd name="connsiteY629" fmla="*/ 168643 h 512291"/>
                  <a:gd name="connsiteX630" fmla="*/ 475927 w 521231"/>
                  <a:gd name="connsiteY630" fmla="*/ 165764 h 512291"/>
                  <a:gd name="connsiteX631" fmla="*/ 475927 w 521231"/>
                  <a:gd name="connsiteY631" fmla="*/ 163339 h 512291"/>
                  <a:gd name="connsiteX632" fmla="*/ 477139 w 521231"/>
                  <a:gd name="connsiteY632" fmla="*/ 159097 h 512291"/>
                  <a:gd name="connsiteX633" fmla="*/ 476987 w 521231"/>
                  <a:gd name="connsiteY633" fmla="*/ 158188 h 512291"/>
                  <a:gd name="connsiteX634" fmla="*/ 476987 w 521231"/>
                  <a:gd name="connsiteY634" fmla="*/ 158339 h 512291"/>
                  <a:gd name="connsiteX635" fmla="*/ 473351 w 521231"/>
                  <a:gd name="connsiteY635" fmla="*/ 161067 h 512291"/>
                  <a:gd name="connsiteX636" fmla="*/ 471684 w 521231"/>
                  <a:gd name="connsiteY636" fmla="*/ 160915 h 512291"/>
                  <a:gd name="connsiteX637" fmla="*/ 470775 w 521231"/>
                  <a:gd name="connsiteY637" fmla="*/ 161521 h 512291"/>
                  <a:gd name="connsiteX638" fmla="*/ 469411 w 521231"/>
                  <a:gd name="connsiteY638" fmla="*/ 161824 h 512291"/>
                  <a:gd name="connsiteX639" fmla="*/ 468502 w 521231"/>
                  <a:gd name="connsiteY639" fmla="*/ 160157 h 512291"/>
                  <a:gd name="connsiteX640" fmla="*/ 468351 w 521231"/>
                  <a:gd name="connsiteY640" fmla="*/ 158945 h 512291"/>
                  <a:gd name="connsiteX641" fmla="*/ 469260 w 521231"/>
                  <a:gd name="connsiteY641" fmla="*/ 156824 h 512291"/>
                  <a:gd name="connsiteX642" fmla="*/ 470775 w 521231"/>
                  <a:gd name="connsiteY642" fmla="*/ 153642 h 512291"/>
                  <a:gd name="connsiteX643" fmla="*/ 472896 w 521231"/>
                  <a:gd name="connsiteY643" fmla="*/ 149399 h 512291"/>
                  <a:gd name="connsiteX644" fmla="*/ 475623 w 521231"/>
                  <a:gd name="connsiteY644" fmla="*/ 148187 h 512291"/>
                  <a:gd name="connsiteX645" fmla="*/ 476987 w 521231"/>
                  <a:gd name="connsiteY645" fmla="*/ 147733 h 512291"/>
                  <a:gd name="connsiteX646" fmla="*/ 478048 w 521231"/>
                  <a:gd name="connsiteY646" fmla="*/ 147733 h 512291"/>
                  <a:gd name="connsiteX647" fmla="*/ 478048 w 521231"/>
                  <a:gd name="connsiteY647" fmla="*/ 147581 h 512291"/>
                  <a:gd name="connsiteX648" fmla="*/ 478502 w 521231"/>
                  <a:gd name="connsiteY648" fmla="*/ 146066 h 512291"/>
                  <a:gd name="connsiteX649" fmla="*/ 478957 w 521231"/>
                  <a:gd name="connsiteY649" fmla="*/ 141823 h 512291"/>
                  <a:gd name="connsiteX650" fmla="*/ 479866 w 521231"/>
                  <a:gd name="connsiteY650" fmla="*/ 140460 h 512291"/>
                  <a:gd name="connsiteX651" fmla="*/ 480624 w 521231"/>
                  <a:gd name="connsiteY651" fmla="*/ 140005 h 512291"/>
                  <a:gd name="connsiteX652" fmla="*/ 481684 w 521231"/>
                  <a:gd name="connsiteY652" fmla="*/ 137278 h 512291"/>
                  <a:gd name="connsiteX653" fmla="*/ 483503 w 521231"/>
                  <a:gd name="connsiteY653" fmla="*/ 133035 h 512291"/>
                  <a:gd name="connsiteX654" fmla="*/ 484866 w 521231"/>
                  <a:gd name="connsiteY654" fmla="*/ 130914 h 512291"/>
                  <a:gd name="connsiteX655" fmla="*/ 484563 w 521231"/>
                  <a:gd name="connsiteY655" fmla="*/ 126217 h 512291"/>
                  <a:gd name="connsiteX656" fmla="*/ 484866 w 521231"/>
                  <a:gd name="connsiteY656" fmla="*/ 122883 h 512291"/>
                  <a:gd name="connsiteX657" fmla="*/ 485169 w 521231"/>
                  <a:gd name="connsiteY657" fmla="*/ 122277 h 512291"/>
                  <a:gd name="connsiteX658" fmla="*/ 488048 w 521231"/>
                  <a:gd name="connsiteY658" fmla="*/ 121065 h 512291"/>
                  <a:gd name="connsiteX659" fmla="*/ 491685 w 521231"/>
                  <a:gd name="connsiteY659" fmla="*/ 118035 h 512291"/>
                  <a:gd name="connsiteX660" fmla="*/ 493352 w 521231"/>
                  <a:gd name="connsiteY660" fmla="*/ 114550 h 512291"/>
                  <a:gd name="connsiteX661" fmla="*/ 495473 w 521231"/>
                  <a:gd name="connsiteY661" fmla="*/ 112277 h 512291"/>
                  <a:gd name="connsiteX662" fmla="*/ 499715 w 521231"/>
                  <a:gd name="connsiteY662" fmla="*/ 110762 h 512291"/>
                  <a:gd name="connsiteX663" fmla="*/ 499564 w 521231"/>
                  <a:gd name="connsiteY663" fmla="*/ 110307 h 512291"/>
                  <a:gd name="connsiteX664" fmla="*/ 498958 w 521231"/>
                  <a:gd name="connsiteY664" fmla="*/ 110307 h 512291"/>
                  <a:gd name="connsiteX665" fmla="*/ 498049 w 521231"/>
                  <a:gd name="connsiteY665" fmla="*/ 110307 h 512291"/>
                  <a:gd name="connsiteX666" fmla="*/ 497594 w 521231"/>
                  <a:gd name="connsiteY666" fmla="*/ 110307 h 512291"/>
                  <a:gd name="connsiteX667" fmla="*/ 497291 w 521231"/>
                  <a:gd name="connsiteY667" fmla="*/ 109246 h 512291"/>
                  <a:gd name="connsiteX668" fmla="*/ 498806 w 521231"/>
                  <a:gd name="connsiteY668" fmla="*/ 106974 h 512291"/>
                  <a:gd name="connsiteX669" fmla="*/ 499867 w 521231"/>
                  <a:gd name="connsiteY669" fmla="*/ 104549 h 512291"/>
                  <a:gd name="connsiteX670" fmla="*/ 501231 w 521231"/>
                  <a:gd name="connsiteY670" fmla="*/ 102882 h 512291"/>
                  <a:gd name="connsiteX671" fmla="*/ 502897 w 521231"/>
                  <a:gd name="connsiteY671" fmla="*/ 101519 h 512291"/>
                  <a:gd name="connsiteX672" fmla="*/ 505170 w 521231"/>
                  <a:gd name="connsiteY672" fmla="*/ 98943 h 512291"/>
                  <a:gd name="connsiteX673" fmla="*/ 506231 w 521231"/>
                  <a:gd name="connsiteY673" fmla="*/ 98185 h 512291"/>
                  <a:gd name="connsiteX674" fmla="*/ 510474 w 521231"/>
                  <a:gd name="connsiteY674" fmla="*/ 93943 h 512291"/>
                  <a:gd name="connsiteX675" fmla="*/ 512292 w 521231"/>
                  <a:gd name="connsiteY675" fmla="*/ 92427 h 512291"/>
                  <a:gd name="connsiteX676" fmla="*/ 513504 w 521231"/>
                  <a:gd name="connsiteY676" fmla="*/ 91973 h 512291"/>
                  <a:gd name="connsiteX677" fmla="*/ 518959 w 521231"/>
                  <a:gd name="connsiteY677" fmla="*/ 88185 h 512291"/>
                  <a:gd name="connsiteX678" fmla="*/ 521080 w 521231"/>
                  <a:gd name="connsiteY678" fmla="*/ 85912 h 512291"/>
                  <a:gd name="connsiteX679" fmla="*/ 521231 w 521231"/>
                  <a:gd name="connsiteY679" fmla="*/ 85761 h 512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21231" h="512291">
                    <a:moveTo>
                      <a:pt x="520473" y="84851"/>
                    </a:moveTo>
                    <a:lnTo>
                      <a:pt x="519262" y="83791"/>
                    </a:lnTo>
                    <a:lnTo>
                      <a:pt x="518959" y="82730"/>
                    </a:lnTo>
                    <a:lnTo>
                      <a:pt x="517898" y="82276"/>
                    </a:lnTo>
                    <a:lnTo>
                      <a:pt x="516383" y="82276"/>
                    </a:lnTo>
                    <a:lnTo>
                      <a:pt x="515322" y="81518"/>
                    </a:lnTo>
                    <a:lnTo>
                      <a:pt x="514110" y="80003"/>
                    </a:lnTo>
                    <a:lnTo>
                      <a:pt x="513049" y="79094"/>
                    </a:lnTo>
                    <a:lnTo>
                      <a:pt x="509413" y="79245"/>
                    </a:lnTo>
                    <a:lnTo>
                      <a:pt x="506686" y="77730"/>
                    </a:lnTo>
                    <a:lnTo>
                      <a:pt x="506686" y="75760"/>
                    </a:lnTo>
                    <a:lnTo>
                      <a:pt x="507746" y="71669"/>
                    </a:lnTo>
                    <a:lnTo>
                      <a:pt x="509867" y="67124"/>
                    </a:lnTo>
                    <a:lnTo>
                      <a:pt x="510019" y="65760"/>
                    </a:lnTo>
                    <a:lnTo>
                      <a:pt x="509716" y="64699"/>
                    </a:lnTo>
                    <a:lnTo>
                      <a:pt x="509109" y="63790"/>
                    </a:lnTo>
                    <a:lnTo>
                      <a:pt x="508200" y="62881"/>
                    </a:lnTo>
                    <a:lnTo>
                      <a:pt x="507291" y="61820"/>
                    </a:lnTo>
                    <a:lnTo>
                      <a:pt x="508049" y="58487"/>
                    </a:lnTo>
                    <a:lnTo>
                      <a:pt x="509413" y="55305"/>
                    </a:lnTo>
                    <a:lnTo>
                      <a:pt x="510474" y="53638"/>
                    </a:lnTo>
                    <a:lnTo>
                      <a:pt x="511534" y="51820"/>
                    </a:lnTo>
                    <a:lnTo>
                      <a:pt x="511231" y="50305"/>
                    </a:lnTo>
                    <a:lnTo>
                      <a:pt x="509716" y="49547"/>
                    </a:lnTo>
                    <a:lnTo>
                      <a:pt x="509109" y="48487"/>
                    </a:lnTo>
                    <a:lnTo>
                      <a:pt x="508504" y="47274"/>
                    </a:lnTo>
                    <a:lnTo>
                      <a:pt x="507443" y="45911"/>
                    </a:lnTo>
                    <a:lnTo>
                      <a:pt x="505928" y="45456"/>
                    </a:lnTo>
                    <a:lnTo>
                      <a:pt x="504412" y="45608"/>
                    </a:lnTo>
                    <a:lnTo>
                      <a:pt x="502746" y="45911"/>
                    </a:lnTo>
                    <a:lnTo>
                      <a:pt x="501988" y="45153"/>
                    </a:lnTo>
                    <a:lnTo>
                      <a:pt x="501837" y="43183"/>
                    </a:lnTo>
                    <a:lnTo>
                      <a:pt x="501382" y="41517"/>
                    </a:lnTo>
                    <a:lnTo>
                      <a:pt x="500624" y="40153"/>
                    </a:lnTo>
                    <a:lnTo>
                      <a:pt x="498200" y="38941"/>
                    </a:lnTo>
                    <a:lnTo>
                      <a:pt x="491988" y="36213"/>
                    </a:lnTo>
                    <a:lnTo>
                      <a:pt x="487291" y="30910"/>
                    </a:lnTo>
                    <a:lnTo>
                      <a:pt x="484866" y="28334"/>
                    </a:lnTo>
                    <a:lnTo>
                      <a:pt x="483200" y="26819"/>
                    </a:lnTo>
                    <a:lnTo>
                      <a:pt x="480624" y="22577"/>
                    </a:lnTo>
                    <a:lnTo>
                      <a:pt x="477896" y="19698"/>
                    </a:lnTo>
                    <a:lnTo>
                      <a:pt x="474412" y="18334"/>
                    </a:lnTo>
                    <a:lnTo>
                      <a:pt x="472139" y="19092"/>
                    </a:lnTo>
                    <a:lnTo>
                      <a:pt x="469866" y="22122"/>
                    </a:lnTo>
                    <a:lnTo>
                      <a:pt x="465472" y="25001"/>
                    </a:lnTo>
                    <a:lnTo>
                      <a:pt x="463502" y="25152"/>
                    </a:lnTo>
                    <a:lnTo>
                      <a:pt x="460926" y="23637"/>
                    </a:lnTo>
                    <a:lnTo>
                      <a:pt x="457744" y="22425"/>
                    </a:lnTo>
                    <a:lnTo>
                      <a:pt x="451835" y="21970"/>
                    </a:lnTo>
                    <a:lnTo>
                      <a:pt x="449411" y="23334"/>
                    </a:lnTo>
                    <a:lnTo>
                      <a:pt x="446380" y="25607"/>
                    </a:lnTo>
                    <a:lnTo>
                      <a:pt x="443653" y="26819"/>
                    </a:lnTo>
                    <a:lnTo>
                      <a:pt x="441986" y="26971"/>
                    </a:lnTo>
                    <a:lnTo>
                      <a:pt x="440471" y="26516"/>
                    </a:lnTo>
                    <a:lnTo>
                      <a:pt x="438804" y="26213"/>
                    </a:lnTo>
                    <a:lnTo>
                      <a:pt x="437289" y="26213"/>
                    </a:lnTo>
                    <a:lnTo>
                      <a:pt x="434107" y="24092"/>
                    </a:lnTo>
                    <a:lnTo>
                      <a:pt x="432592" y="22728"/>
                    </a:lnTo>
                    <a:lnTo>
                      <a:pt x="431531" y="21213"/>
                    </a:lnTo>
                    <a:lnTo>
                      <a:pt x="429713" y="20304"/>
                    </a:lnTo>
                    <a:lnTo>
                      <a:pt x="427592" y="19395"/>
                    </a:lnTo>
                    <a:lnTo>
                      <a:pt x="426228" y="18182"/>
                    </a:lnTo>
                    <a:lnTo>
                      <a:pt x="425470" y="16516"/>
                    </a:lnTo>
                    <a:lnTo>
                      <a:pt x="424258" y="14546"/>
                    </a:lnTo>
                    <a:lnTo>
                      <a:pt x="422743" y="12728"/>
                    </a:lnTo>
                    <a:lnTo>
                      <a:pt x="418046" y="9394"/>
                    </a:lnTo>
                    <a:lnTo>
                      <a:pt x="416682" y="7425"/>
                    </a:lnTo>
                    <a:lnTo>
                      <a:pt x="415621" y="5455"/>
                    </a:lnTo>
                    <a:lnTo>
                      <a:pt x="407742" y="3030"/>
                    </a:lnTo>
                    <a:lnTo>
                      <a:pt x="406530" y="3030"/>
                    </a:lnTo>
                    <a:lnTo>
                      <a:pt x="405166" y="3485"/>
                    </a:lnTo>
                    <a:lnTo>
                      <a:pt x="401076" y="6364"/>
                    </a:lnTo>
                    <a:lnTo>
                      <a:pt x="399712" y="6818"/>
                    </a:lnTo>
                    <a:lnTo>
                      <a:pt x="398197" y="6515"/>
                    </a:lnTo>
                    <a:lnTo>
                      <a:pt x="394560" y="6212"/>
                    </a:lnTo>
                    <a:lnTo>
                      <a:pt x="381984" y="3788"/>
                    </a:lnTo>
                    <a:lnTo>
                      <a:pt x="372286" y="1515"/>
                    </a:lnTo>
                    <a:lnTo>
                      <a:pt x="369408" y="758"/>
                    </a:lnTo>
                    <a:lnTo>
                      <a:pt x="364256" y="0"/>
                    </a:lnTo>
                    <a:lnTo>
                      <a:pt x="360922" y="1515"/>
                    </a:lnTo>
                    <a:lnTo>
                      <a:pt x="357589" y="6818"/>
                    </a:lnTo>
                    <a:lnTo>
                      <a:pt x="356680" y="7879"/>
                    </a:lnTo>
                    <a:lnTo>
                      <a:pt x="351680" y="9394"/>
                    </a:lnTo>
                    <a:lnTo>
                      <a:pt x="349255" y="8940"/>
                    </a:lnTo>
                    <a:lnTo>
                      <a:pt x="343497" y="10455"/>
                    </a:lnTo>
                    <a:lnTo>
                      <a:pt x="334558" y="8182"/>
                    </a:lnTo>
                    <a:lnTo>
                      <a:pt x="331224" y="8637"/>
                    </a:lnTo>
                    <a:lnTo>
                      <a:pt x="328800" y="9697"/>
                    </a:lnTo>
                    <a:lnTo>
                      <a:pt x="322285" y="12122"/>
                    </a:lnTo>
                    <a:lnTo>
                      <a:pt x="318345" y="13485"/>
                    </a:lnTo>
                    <a:lnTo>
                      <a:pt x="313799" y="14698"/>
                    </a:lnTo>
                    <a:lnTo>
                      <a:pt x="309557" y="16667"/>
                    </a:lnTo>
                    <a:lnTo>
                      <a:pt x="306526" y="17728"/>
                    </a:lnTo>
                    <a:lnTo>
                      <a:pt x="303799" y="17576"/>
                    </a:lnTo>
                    <a:lnTo>
                      <a:pt x="301223" y="16516"/>
                    </a:lnTo>
                    <a:lnTo>
                      <a:pt x="298344" y="15607"/>
                    </a:lnTo>
                    <a:lnTo>
                      <a:pt x="295011" y="15455"/>
                    </a:lnTo>
                    <a:lnTo>
                      <a:pt x="291526" y="16061"/>
                    </a:lnTo>
                    <a:lnTo>
                      <a:pt x="288495" y="18031"/>
                    </a:lnTo>
                    <a:lnTo>
                      <a:pt x="287283" y="19546"/>
                    </a:lnTo>
                    <a:lnTo>
                      <a:pt x="284707" y="23637"/>
                    </a:lnTo>
                    <a:lnTo>
                      <a:pt x="281677" y="30001"/>
                    </a:lnTo>
                    <a:lnTo>
                      <a:pt x="280465" y="31365"/>
                    </a:lnTo>
                    <a:lnTo>
                      <a:pt x="280162" y="31516"/>
                    </a:lnTo>
                    <a:lnTo>
                      <a:pt x="279404" y="31971"/>
                    </a:lnTo>
                    <a:lnTo>
                      <a:pt x="265313" y="28789"/>
                    </a:lnTo>
                    <a:lnTo>
                      <a:pt x="259252" y="28031"/>
                    </a:lnTo>
                    <a:lnTo>
                      <a:pt x="255161" y="29092"/>
                    </a:lnTo>
                    <a:lnTo>
                      <a:pt x="250009" y="27274"/>
                    </a:lnTo>
                    <a:lnTo>
                      <a:pt x="247736" y="26971"/>
                    </a:lnTo>
                    <a:lnTo>
                      <a:pt x="246676" y="27425"/>
                    </a:lnTo>
                    <a:lnTo>
                      <a:pt x="243948" y="26668"/>
                    </a:lnTo>
                    <a:lnTo>
                      <a:pt x="239251" y="24395"/>
                    </a:lnTo>
                    <a:lnTo>
                      <a:pt x="234857" y="23486"/>
                    </a:lnTo>
                    <a:lnTo>
                      <a:pt x="230766" y="23789"/>
                    </a:lnTo>
                    <a:lnTo>
                      <a:pt x="228341" y="23183"/>
                    </a:lnTo>
                    <a:lnTo>
                      <a:pt x="226372" y="20910"/>
                    </a:lnTo>
                    <a:lnTo>
                      <a:pt x="223796" y="16970"/>
                    </a:lnTo>
                    <a:lnTo>
                      <a:pt x="219251" y="13182"/>
                    </a:lnTo>
                    <a:lnTo>
                      <a:pt x="213189" y="10000"/>
                    </a:lnTo>
                    <a:lnTo>
                      <a:pt x="209401" y="7576"/>
                    </a:lnTo>
                    <a:lnTo>
                      <a:pt x="207735" y="6061"/>
                    </a:lnTo>
                    <a:lnTo>
                      <a:pt x="204553" y="5152"/>
                    </a:lnTo>
                    <a:lnTo>
                      <a:pt x="199401" y="5000"/>
                    </a:lnTo>
                    <a:lnTo>
                      <a:pt x="194553" y="6515"/>
                    </a:lnTo>
                    <a:lnTo>
                      <a:pt x="187583" y="11364"/>
                    </a:lnTo>
                    <a:lnTo>
                      <a:pt x="181067" y="21516"/>
                    </a:lnTo>
                    <a:lnTo>
                      <a:pt x="177582" y="25304"/>
                    </a:lnTo>
                    <a:lnTo>
                      <a:pt x="174703" y="26213"/>
                    </a:lnTo>
                    <a:lnTo>
                      <a:pt x="173946" y="28637"/>
                    </a:lnTo>
                    <a:lnTo>
                      <a:pt x="175309" y="32577"/>
                    </a:lnTo>
                    <a:lnTo>
                      <a:pt x="175764" y="36971"/>
                    </a:lnTo>
                    <a:lnTo>
                      <a:pt x="174703" y="44395"/>
                    </a:lnTo>
                    <a:lnTo>
                      <a:pt x="175006" y="49850"/>
                    </a:lnTo>
                    <a:lnTo>
                      <a:pt x="175461" y="54699"/>
                    </a:lnTo>
                    <a:lnTo>
                      <a:pt x="173340" y="60608"/>
                    </a:lnTo>
                    <a:lnTo>
                      <a:pt x="171825" y="65002"/>
                    </a:lnTo>
                    <a:lnTo>
                      <a:pt x="167733" y="72275"/>
                    </a:lnTo>
                    <a:lnTo>
                      <a:pt x="164097" y="78791"/>
                    </a:lnTo>
                    <a:lnTo>
                      <a:pt x="160309" y="89700"/>
                    </a:lnTo>
                    <a:lnTo>
                      <a:pt x="160309" y="97731"/>
                    </a:lnTo>
                    <a:lnTo>
                      <a:pt x="160006" y="102731"/>
                    </a:lnTo>
                    <a:lnTo>
                      <a:pt x="158642" y="105761"/>
                    </a:lnTo>
                    <a:lnTo>
                      <a:pt x="155763" y="114095"/>
                    </a:lnTo>
                    <a:lnTo>
                      <a:pt x="155309" y="121217"/>
                    </a:lnTo>
                    <a:lnTo>
                      <a:pt x="156369" y="129853"/>
                    </a:lnTo>
                    <a:lnTo>
                      <a:pt x="155309" y="138187"/>
                    </a:lnTo>
                    <a:lnTo>
                      <a:pt x="152127" y="145914"/>
                    </a:lnTo>
                    <a:lnTo>
                      <a:pt x="150763" y="151975"/>
                    </a:lnTo>
                    <a:lnTo>
                      <a:pt x="151672" y="159400"/>
                    </a:lnTo>
                    <a:lnTo>
                      <a:pt x="145915" y="165612"/>
                    </a:lnTo>
                    <a:lnTo>
                      <a:pt x="138641" y="171673"/>
                    </a:lnTo>
                    <a:lnTo>
                      <a:pt x="133944" y="173340"/>
                    </a:lnTo>
                    <a:lnTo>
                      <a:pt x="130307" y="175461"/>
                    </a:lnTo>
                    <a:lnTo>
                      <a:pt x="127732" y="177734"/>
                    </a:lnTo>
                    <a:lnTo>
                      <a:pt x="126823" y="179097"/>
                    </a:lnTo>
                    <a:lnTo>
                      <a:pt x="125005" y="181825"/>
                    </a:lnTo>
                    <a:lnTo>
                      <a:pt x="120762" y="190613"/>
                    </a:lnTo>
                    <a:lnTo>
                      <a:pt x="118489" y="194553"/>
                    </a:lnTo>
                    <a:lnTo>
                      <a:pt x="115459" y="197735"/>
                    </a:lnTo>
                    <a:lnTo>
                      <a:pt x="111216" y="201825"/>
                    </a:lnTo>
                    <a:lnTo>
                      <a:pt x="109549" y="203644"/>
                    </a:lnTo>
                    <a:lnTo>
                      <a:pt x="108943" y="206371"/>
                    </a:lnTo>
                    <a:lnTo>
                      <a:pt x="109246" y="211523"/>
                    </a:lnTo>
                    <a:lnTo>
                      <a:pt x="109549" y="226826"/>
                    </a:lnTo>
                    <a:lnTo>
                      <a:pt x="108943" y="231372"/>
                    </a:lnTo>
                    <a:lnTo>
                      <a:pt x="107731" y="238645"/>
                    </a:lnTo>
                    <a:lnTo>
                      <a:pt x="103337" y="246827"/>
                    </a:lnTo>
                    <a:lnTo>
                      <a:pt x="100155" y="251524"/>
                    </a:lnTo>
                    <a:lnTo>
                      <a:pt x="96973" y="252888"/>
                    </a:lnTo>
                    <a:lnTo>
                      <a:pt x="92731" y="254100"/>
                    </a:lnTo>
                    <a:lnTo>
                      <a:pt x="90761" y="255615"/>
                    </a:lnTo>
                    <a:lnTo>
                      <a:pt x="89397" y="257888"/>
                    </a:lnTo>
                    <a:lnTo>
                      <a:pt x="87124" y="259858"/>
                    </a:lnTo>
                    <a:lnTo>
                      <a:pt x="83639" y="261676"/>
                    </a:lnTo>
                    <a:lnTo>
                      <a:pt x="79245" y="265767"/>
                    </a:lnTo>
                    <a:lnTo>
                      <a:pt x="73942" y="272434"/>
                    </a:lnTo>
                    <a:lnTo>
                      <a:pt x="70305" y="276222"/>
                    </a:lnTo>
                    <a:lnTo>
                      <a:pt x="68336" y="277283"/>
                    </a:lnTo>
                    <a:lnTo>
                      <a:pt x="66215" y="277283"/>
                    </a:lnTo>
                    <a:lnTo>
                      <a:pt x="64245" y="276525"/>
                    </a:lnTo>
                    <a:lnTo>
                      <a:pt x="62426" y="276374"/>
                    </a:lnTo>
                    <a:lnTo>
                      <a:pt x="61517" y="276828"/>
                    </a:lnTo>
                    <a:lnTo>
                      <a:pt x="61063" y="276525"/>
                    </a:lnTo>
                    <a:lnTo>
                      <a:pt x="60154" y="275919"/>
                    </a:lnTo>
                    <a:lnTo>
                      <a:pt x="60154" y="274404"/>
                    </a:lnTo>
                    <a:lnTo>
                      <a:pt x="60002" y="271828"/>
                    </a:lnTo>
                    <a:lnTo>
                      <a:pt x="58941" y="269252"/>
                    </a:lnTo>
                    <a:lnTo>
                      <a:pt x="60154" y="267131"/>
                    </a:lnTo>
                    <a:lnTo>
                      <a:pt x="61214" y="265464"/>
                    </a:lnTo>
                    <a:lnTo>
                      <a:pt x="61063" y="264707"/>
                    </a:lnTo>
                    <a:lnTo>
                      <a:pt x="60002" y="263343"/>
                    </a:lnTo>
                    <a:lnTo>
                      <a:pt x="58790" y="261373"/>
                    </a:lnTo>
                    <a:lnTo>
                      <a:pt x="57578" y="261525"/>
                    </a:lnTo>
                    <a:lnTo>
                      <a:pt x="55153" y="263040"/>
                    </a:lnTo>
                    <a:lnTo>
                      <a:pt x="52578" y="264100"/>
                    </a:lnTo>
                    <a:lnTo>
                      <a:pt x="50153" y="264555"/>
                    </a:lnTo>
                    <a:lnTo>
                      <a:pt x="48335" y="265767"/>
                    </a:lnTo>
                    <a:lnTo>
                      <a:pt x="47274" y="266373"/>
                    </a:lnTo>
                    <a:lnTo>
                      <a:pt x="45759" y="266373"/>
                    </a:lnTo>
                    <a:lnTo>
                      <a:pt x="44850" y="265767"/>
                    </a:lnTo>
                    <a:lnTo>
                      <a:pt x="42880" y="265010"/>
                    </a:lnTo>
                    <a:lnTo>
                      <a:pt x="41819" y="265313"/>
                    </a:lnTo>
                    <a:lnTo>
                      <a:pt x="41214" y="265616"/>
                    </a:lnTo>
                    <a:lnTo>
                      <a:pt x="40910" y="268040"/>
                    </a:lnTo>
                    <a:lnTo>
                      <a:pt x="40759" y="270010"/>
                    </a:lnTo>
                    <a:lnTo>
                      <a:pt x="40305" y="271980"/>
                    </a:lnTo>
                    <a:lnTo>
                      <a:pt x="39547" y="272889"/>
                    </a:lnTo>
                    <a:lnTo>
                      <a:pt x="36668" y="273798"/>
                    </a:lnTo>
                    <a:lnTo>
                      <a:pt x="34698" y="275162"/>
                    </a:lnTo>
                    <a:lnTo>
                      <a:pt x="32880" y="276071"/>
                    </a:lnTo>
                    <a:lnTo>
                      <a:pt x="31819" y="275768"/>
                    </a:lnTo>
                    <a:lnTo>
                      <a:pt x="29698" y="274101"/>
                    </a:lnTo>
                    <a:lnTo>
                      <a:pt x="27576" y="272434"/>
                    </a:lnTo>
                    <a:lnTo>
                      <a:pt x="26364" y="271070"/>
                    </a:lnTo>
                    <a:lnTo>
                      <a:pt x="25758" y="270161"/>
                    </a:lnTo>
                    <a:lnTo>
                      <a:pt x="25304" y="269707"/>
                    </a:lnTo>
                    <a:lnTo>
                      <a:pt x="23940" y="269707"/>
                    </a:lnTo>
                    <a:lnTo>
                      <a:pt x="23637" y="270464"/>
                    </a:lnTo>
                    <a:lnTo>
                      <a:pt x="23183" y="270919"/>
                    </a:lnTo>
                    <a:lnTo>
                      <a:pt x="20152" y="272131"/>
                    </a:lnTo>
                    <a:lnTo>
                      <a:pt x="16970" y="273343"/>
                    </a:lnTo>
                    <a:lnTo>
                      <a:pt x="12728" y="277889"/>
                    </a:lnTo>
                    <a:lnTo>
                      <a:pt x="10455" y="279859"/>
                    </a:lnTo>
                    <a:lnTo>
                      <a:pt x="9849" y="280313"/>
                    </a:lnTo>
                    <a:lnTo>
                      <a:pt x="8031" y="281525"/>
                    </a:lnTo>
                    <a:lnTo>
                      <a:pt x="6515" y="282435"/>
                    </a:lnTo>
                    <a:lnTo>
                      <a:pt x="6667" y="282889"/>
                    </a:lnTo>
                    <a:lnTo>
                      <a:pt x="7576" y="283495"/>
                    </a:lnTo>
                    <a:lnTo>
                      <a:pt x="8485" y="284556"/>
                    </a:lnTo>
                    <a:lnTo>
                      <a:pt x="8485" y="291980"/>
                    </a:lnTo>
                    <a:lnTo>
                      <a:pt x="8031" y="299405"/>
                    </a:lnTo>
                    <a:lnTo>
                      <a:pt x="7424" y="300011"/>
                    </a:lnTo>
                    <a:lnTo>
                      <a:pt x="4848" y="300314"/>
                    </a:lnTo>
                    <a:lnTo>
                      <a:pt x="1212" y="300768"/>
                    </a:lnTo>
                    <a:lnTo>
                      <a:pt x="0" y="301223"/>
                    </a:lnTo>
                    <a:lnTo>
                      <a:pt x="757" y="302435"/>
                    </a:lnTo>
                    <a:lnTo>
                      <a:pt x="2879" y="304860"/>
                    </a:lnTo>
                    <a:lnTo>
                      <a:pt x="5455" y="307435"/>
                    </a:lnTo>
                    <a:lnTo>
                      <a:pt x="6667" y="307738"/>
                    </a:lnTo>
                    <a:lnTo>
                      <a:pt x="8333" y="307890"/>
                    </a:lnTo>
                    <a:lnTo>
                      <a:pt x="12879" y="306678"/>
                    </a:lnTo>
                    <a:lnTo>
                      <a:pt x="15909" y="304405"/>
                    </a:lnTo>
                    <a:lnTo>
                      <a:pt x="17728" y="303799"/>
                    </a:lnTo>
                    <a:lnTo>
                      <a:pt x="21667" y="303344"/>
                    </a:lnTo>
                    <a:lnTo>
                      <a:pt x="23486" y="304102"/>
                    </a:lnTo>
                    <a:lnTo>
                      <a:pt x="26667" y="303799"/>
                    </a:lnTo>
                    <a:lnTo>
                      <a:pt x="29850" y="304556"/>
                    </a:lnTo>
                    <a:lnTo>
                      <a:pt x="31062" y="303950"/>
                    </a:lnTo>
                    <a:lnTo>
                      <a:pt x="31668" y="303950"/>
                    </a:lnTo>
                    <a:lnTo>
                      <a:pt x="39395" y="303950"/>
                    </a:lnTo>
                    <a:lnTo>
                      <a:pt x="42426" y="303799"/>
                    </a:lnTo>
                    <a:lnTo>
                      <a:pt x="48335" y="303799"/>
                    </a:lnTo>
                    <a:lnTo>
                      <a:pt x="52123" y="304102"/>
                    </a:lnTo>
                    <a:lnTo>
                      <a:pt x="54093" y="304405"/>
                    </a:lnTo>
                    <a:lnTo>
                      <a:pt x="59850" y="304860"/>
                    </a:lnTo>
                    <a:lnTo>
                      <a:pt x="66972" y="304708"/>
                    </a:lnTo>
                    <a:lnTo>
                      <a:pt x="69396" y="304405"/>
                    </a:lnTo>
                    <a:lnTo>
                      <a:pt x="78791" y="304254"/>
                    </a:lnTo>
                    <a:lnTo>
                      <a:pt x="87882" y="304102"/>
                    </a:lnTo>
                    <a:lnTo>
                      <a:pt x="96215" y="304102"/>
                    </a:lnTo>
                    <a:lnTo>
                      <a:pt x="105307" y="304102"/>
                    </a:lnTo>
                    <a:lnTo>
                      <a:pt x="112277" y="304102"/>
                    </a:lnTo>
                    <a:lnTo>
                      <a:pt x="115459" y="305011"/>
                    </a:lnTo>
                    <a:lnTo>
                      <a:pt x="118338" y="306829"/>
                    </a:lnTo>
                    <a:lnTo>
                      <a:pt x="119701" y="308496"/>
                    </a:lnTo>
                    <a:lnTo>
                      <a:pt x="120308" y="309102"/>
                    </a:lnTo>
                    <a:lnTo>
                      <a:pt x="121217" y="310921"/>
                    </a:lnTo>
                    <a:lnTo>
                      <a:pt x="122731" y="312284"/>
                    </a:lnTo>
                    <a:lnTo>
                      <a:pt x="123338" y="314254"/>
                    </a:lnTo>
                    <a:lnTo>
                      <a:pt x="122883" y="317133"/>
                    </a:lnTo>
                    <a:lnTo>
                      <a:pt x="123035" y="320618"/>
                    </a:lnTo>
                    <a:lnTo>
                      <a:pt x="123944" y="324557"/>
                    </a:lnTo>
                    <a:lnTo>
                      <a:pt x="125914" y="328800"/>
                    </a:lnTo>
                    <a:lnTo>
                      <a:pt x="128793" y="333194"/>
                    </a:lnTo>
                    <a:lnTo>
                      <a:pt x="130156" y="336679"/>
                    </a:lnTo>
                    <a:lnTo>
                      <a:pt x="129702" y="339255"/>
                    </a:lnTo>
                    <a:lnTo>
                      <a:pt x="130611" y="342134"/>
                    </a:lnTo>
                    <a:lnTo>
                      <a:pt x="132732" y="345013"/>
                    </a:lnTo>
                    <a:lnTo>
                      <a:pt x="134399" y="346528"/>
                    </a:lnTo>
                    <a:lnTo>
                      <a:pt x="135308" y="347588"/>
                    </a:lnTo>
                    <a:lnTo>
                      <a:pt x="137732" y="352134"/>
                    </a:lnTo>
                    <a:lnTo>
                      <a:pt x="142278" y="359104"/>
                    </a:lnTo>
                    <a:lnTo>
                      <a:pt x="145611" y="364407"/>
                    </a:lnTo>
                    <a:lnTo>
                      <a:pt x="146824" y="365013"/>
                    </a:lnTo>
                    <a:lnTo>
                      <a:pt x="148642" y="364862"/>
                    </a:lnTo>
                    <a:lnTo>
                      <a:pt x="152278" y="364256"/>
                    </a:lnTo>
                    <a:lnTo>
                      <a:pt x="156066" y="364256"/>
                    </a:lnTo>
                    <a:lnTo>
                      <a:pt x="158642" y="365316"/>
                    </a:lnTo>
                    <a:lnTo>
                      <a:pt x="159703" y="365165"/>
                    </a:lnTo>
                    <a:lnTo>
                      <a:pt x="163642" y="363043"/>
                    </a:lnTo>
                    <a:lnTo>
                      <a:pt x="167582" y="362437"/>
                    </a:lnTo>
                    <a:lnTo>
                      <a:pt x="171673" y="361528"/>
                    </a:lnTo>
                    <a:lnTo>
                      <a:pt x="173794" y="360619"/>
                    </a:lnTo>
                    <a:lnTo>
                      <a:pt x="176219" y="360619"/>
                    </a:lnTo>
                    <a:lnTo>
                      <a:pt x="182885" y="362286"/>
                    </a:lnTo>
                    <a:lnTo>
                      <a:pt x="184249" y="362437"/>
                    </a:lnTo>
                    <a:lnTo>
                      <a:pt x="189704" y="362437"/>
                    </a:lnTo>
                    <a:lnTo>
                      <a:pt x="195007" y="361377"/>
                    </a:lnTo>
                    <a:lnTo>
                      <a:pt x="195916" y="354407"/>
                    </a:lnTo>
                    <a:lnTo>
                      <a:pt x="195916" y="352892"/>
                    </a:lnTo>
                    <a:lnTo>
                      <a:pt x="197280" y="350316"/>
                    </a:lnTo>
                    <a:lnTo>
                      <a:pt x="198795" y="347891"/>
                    </a:lnTo>
                    <a:lnTo>
                      <a:pt x="199098" y="345770"/>
                    </a:lnTo>
                    <a:lnTo>
                      <a:pt x="198947" y="342740"/>
                    </a:lnTo>
                    <a:lnTo>
                      <a:pt x="200159" y="338952"/>
                    </a:lnTo>
                    <a:lnTo>
                      <a:pt x="203795" y="336073"/>
                    </a:lnTo>
                    <a:lnTo>
                      <a:pt x="209705" y="334709"/>
                    </a:lnTo>
                    <a:lnTo>
                      <a:pt x="213038" y="334406"/>
                    </a:lnTo>
                    <a:lnTo>
                      <a:pt x="218341" y="333497"/>
                    </a:lnTo>
                    <a:lnTo>
                      <a:pt x="226220" y="332739"/>
                    </a:lnTo>
                    <a:lnTo>
                      <a:pt x="229251" y="332891"/>
                    </a:lnTo>
                    <a:lnTo>
                      <a:pt x="229554" y="333194"/>
                    </a:lnTo>
                    <a:lnTo>
                      <a:pt x="227736" y="338346"/>
                    </a:lnTo>
                    <a:lnTo>
                      <a:pt x="227736" y="340012"/>
                    </a:lnTo>
                    <a:lnTo>
                      <a:pt x="228341" y="341679"/>
                    </a:lnTo>
                    <a:lnTo>
                      <a:pt x="229706" y="342588"/>
                    </a:lnTo>
                    <a:lnTo>
                      <a:pt x="238039" y="342740"/>
                    </a:lnTo>
                    <a:lnTo>
                      <a:pt x="245615" y="342891"/>
                    </a:lnTo>
                    <a:lnTo>
                      <a:pt x="254403" y="343194"/>
                    </a:lnTo>
                    <a:lnTo>
                      <a:pt x="261070" y="343346"/>
                    </a:lnTo>
                    <a:lnTo>
                      <a:pt x="261828" y="343649"/>
                    </a:lnTo>
                    <a:lnTo>
                      <a:pt x="262585" y="343952"/>
                    </a:lnTo>
                    <a:lnTo>
                      <a:pt x="263494" y="346528"/>
                    </a:lnTo>
                    <a:lnTo>
                      <a:pt x="263343" y="351528"/>
                    </a:lnTo>
                    <a:lnTo>
                      <a:pt x="261828" y="358649"/>
                    </a:lnTo>
                    <a:lnTo>
                      <a:pt x="262434" y="365468"/>
                    </a:lnTo>
                    <a:lnTo>
                      <a:pt x="265010" y="371680"/>
                    </a:lnTo>
                    <a:lnTo>
                      <a:pt x="265161" y="381378"/>
                    </a:lnTo>
                    <a:lnTo>
                      <a:pt x="264252" y="387135"/>
                    </a:lnTo>
                    <a:lnTo>
                      <a:pt x="263192" y="394408"/>
                    </a:lnTo>
                    <a:lnTo>
                      <a:pt x="262737" y="402590"/>
                    </a:lnTo>
                    <a:lnTo>
                      <a:pt x="263949" y="406075"/>
                    </a:lnTo>
                    <a:lnTo>
                      <a:pt x="266373" y="409712"/>
                    </a:lnTo>
                    <a:lnTo>
                      <a:pt x="270313" y="413348"/>
                    </a:lnTo>
                    <a:lnTo>
                      <a:pt x="273192" y="418349"/>
                    </a:lnTo>
                    <a:lnTo>
                      <a:pt x="275313" y="424258"/>
                    </a:lnTo>
                    <a:lnTo>
                      <a:pt x="276071" y="428046"/>
                    </a:lnTo>
                    <a:lnTo>
                      <a:pt x="275465" y="429561"/>
                    </a:lnTo>
                    <a:lnTo>
                      <a:pt x="275616" y="432288"/>
                    </a:lnTo>
                    <a:lnTo>
                      <a:pt x="276222" y="436228"/>
                    </a:lnTo>
                    <a:lnTo>
                      <a:pt x="275465" y="438652"/>
                    </a:lnTo>
                    <a:lnTo>
                      <a:pt x="273343" y="440016"/>
                    </a:lnTo>
                    <a:lnTo>
                      <a:pt x="272737" y="441683"/>
                    </a:lnTo>
                    <a:lnTo>
                      <a:pt x="273798" y="445016"/>
                    </a:lnTo>
                    <a:lnTo>
                      <a:pt x="273949" y="448047"/>
                    </a:lnTo>
                    <a:lnTo>
                      <a:pt x="274858" y="449107"/>
                    </a:lnTo>
                    <a:lnTo>
                      <a:pt x="275465" y="450016"/>
                    </a:lnTo>
                    <a:lnTo>
                      <a:pt x="276374" y="450168"/>
                    </a:lnTo>
                    <a:lnTo>
                      <a:pt x="278646" y="449107"/>
                    </a:lnTo>
                    <a:lnTo>
                      <a:pt x="281071" y="446986"/>
                    </a:lnTo>
                    <a:lnTo>
                      <a:pt x="283192" y="446228"/>
                    </a:lnTo>
                    <a:lnTo>
                      <a:pt x="286071" y="446228"/>
                    </a:lnTo>
                    <a:lnTo>
                      <a:pt x="290162" y="446835"/>
                    </a:lnTo>
                    <a:lnTo>
                      <a:pt x="297284" y="447137"/>
                    </a:lnTo>
                    <a:lnTo>
                      <a:pt x="299405" y="446683"/>
                    </a:lnTo>
                    <a:lnTo>
                      <a:pt x="306072" y="443956"/>
                    </a:lnTo>
                    <a:lnTo>
                      <a:pt x="307890" y="443804"/>
                    </a:lnTo>
                    <a:lnTo>
                      <a:pt x="310466" y="444107"/>
                    </a:lnTo>
                    <a:lnTo>
                      <a:pt x="314254" y="444865"/>
                    </a:lnTo>
                    <a:lnTo>
                      <a:pt x="318042" y="445016"/>
                    </a:lnTo>
                    <a:lnTo>
                      <a:pt x="319860" y="444259"/>
                    </a:lnTo>
                    <a:lnTo>
                      <a:pt x="320012" y="443047"/>
                    </a:lnTo>
                    <a:lnTo>
                      <a:pt x="320618" y="441683"/>
                    </a:lnTo>
                    <a:lnTo>
                      <a:pt x="321678" y="441077"/>
                    </a:lnTo>
                    <a:lnTo>
                      <a:pt x="322587" y="441380"/>
                    </a:lnTo>
                    <a:lnTo>
                      <a:pt x="324709" y="441683"/>
                    </a:lnTo>
                    <a:lnTo>
                      <a:pt x="325770" y="443501"/>
                    </a:lnTo>
                    <a:lnTo>
                      <a:pt x="326224" y="445319"/>
                    </a:lnTo>
                    <a:lnTo>
                      <a:pt x="327740" y="445471"/>
                    </a:lnTo>
                    <a:lnTo>
                      <a:pt x="331224" y="446683"/>
                    </a:lnTo>
                    <a:lnTo>
                      <a:pt x="332588" y="448198"/>
                    </a:lnTo>
                    <a:lnTo>
                      <a:pt x="333346" y="451683"/>
                    </a:lnTo>
                    <a:lnTo>
                      <a:pt x="332891" y="453501"/>
                    </a:lnTo>
                    <a:lnTo>
                      <a:pt x="331679" y="454865"/>
                    </a:lnTo>
                    <a:lnTo>
                      <a:pt x="332891" y="456077"/>
                    </a:lnTo>
                    <a:lnTo>
                      <a:pt x="335316" y="456986"/>
                    </a:lnTo>
                    <a:lnTo>
                      <a:pt x="336679" y="456683"/>
                    </a:lnTo>
                    <a:lnTo>
                      <a:pt x="340770" y="454411"/>
                    </a:lnTo>
                    <a:lnTo>
                      <a:pt x="342437" y="453956"/>
                    </a:lnTo>
                    <a:lnTo>
                      <a:pt x="344558" y="453501"/>
                    </a:lnTo>
                    <a:lnTo>
                      <a:pt x="346528" y="452895"/>
                    </a:lnTo>
                    <a:lnTo>
                      <a:pt x="351982" y="451835"/>
                    </a:lnTo>
                    <a:lnTo>
                      <a:pt x="355013" y="451380"/>
                    </a:lnTo>
                    <a:lnTo>
                      <a:pt x="356680" y="450471"/>
                    </a:lnTo>
                    <a:lnTo>
                      <a:pt x="357740" y="450471"/>
                    </a:lnTo>
                    <a:lnTo>
                      <a:pt x="358649" y="451229"/>
                    </a:lnTo>
                    <a:lnTo>
                      <a:pt x="357892" y="453653"/>
                    </a:lnTo>
                    <a:lnTo>
                      <a:pt x="357589" y="455774"/>
                    </a:lnTo>
                    <a:lnTo>
                      <a:pt x="358649" y="459865"/>
                    </a:lnTo>
                    <a:lnTo>
                      <a:pt x="359407" y="461835"/>
                    </a:lnTo>
                    <a:lnTo>
                      <a:pt x="361225" y="463199"/>
                    </a:lnTo>
                    <a:lnTo>
                      <a:pt x="362437" y="463956"/>
                    </a:lnTo>
                    <a:lnTo>
                      <a:pt x="363953" y="465320"/>
                    </a:lnTo>
                    <a:lnTo>
                      <a:pt x="366832" y="465168"/>
                    </a:lnTo>
                    <a:lnTo>
                      <a:pt x="373347" y="467290"/>
                    </a:lnTo>
                    <a:lnTo>
                      <a:pt x="375317" y="468199"/>
                    </a:lnTo>
                    <a:lnTo>
                      <a:pt x="378044" y="469108"/>
                    </a:lnTo>
                    <a:lnTo>
                      <a:pt x="379862" y="469563"/>
                    </a:lnTo>
                    <a:lnTo>
                      <a:pt x="386529" y="470320"/>
                    </a:lnTo>
                    <a:lnTo>
                      <a:pt x="388954" y="470775"/>
                    </a:lnTo>
                    <a:lnTo>
                      <a:pt x="393651" y="471381"/>
                    </a:lnTo>
                    <a:lnTo>
                      <a:pt x="397287" y="471532"/>
                    </a:lnTo>
                    <a:lnTo>
                      <a:pt x="399863" y="471229"/>
                    </a:lnTo>
                    <a:lnTo>
                      <a:pt x="401681" y="470623"/>
                    </a:lnTo>
                    <a:lnTo>
                      <a:pt x="402742" y="470017"/>
                    </a:lnTo>
                    <a:lnTo>
                      <a:pt x="403197" y="469411"/>
                    </a:lnTo>
                    <a:lnTo>
                      <a:pt x="403954" y="467290"/>
                    </a:lnTo>
                    <a:lnTo>
                      <a:pt x="405318" y="462896"/>
                    </a:lnTo>
                    <a:lnTo>
                      <a:pt x="405924" y="461532"/>
                    </a:lnTo>
                    <a:lnTo>
                      <a:pt x="407288" y="460926"/>
                    </a:lnTo>
                    <a:lnTo>
                      <a:pt x="408954" y="460623"/>
                    </a:lnTo>
                    <a:lnTo>
                      <a:pt x="410015" y="461380"/>
                    </a:lnTo>
                    <a:lnTo>
                      <a:pt x="411076" y="466229"/>
                    </a:lnTo>
                    <a:lnTo>
                      <a:pt x="416228" y="470623"/>
                    </a:lnTo>
                    <a:lnTo>
                      <a:pt x="417894" y="474411"/>
                    </a:lnTo>
                    <a:lnTo>
                      <a:pt x="419258" y="477593"/>
                    </a:lnTo>
                    <a:lnTo>
                      <a:pt x="420318" y="478502"/>
                    </a:lnTo>
                    <a:lnTo>
                      <a:pt x="422288" y="479563"/>
                    </a:lnTo>
                    <a:lnTo>
                      <a:pt x="425318" y="479866"/>
                    </a:lnTo>
                    <a:lnTo>
                      <a:pt x="428046" y="480017"/>
                    </a:lnTo>
                    <a:lnTo>
                      <a:pt x="433804" y="482290"/>
                    </a:lnTo>
                    <a:lnTo>
                      <a:pt x="438501" y="484109"/>
                    </a:lnTo>
                    <a:lnTo>
                      <a:pt x="441835" y="485472"/>
                    </a:lnTo>
                    <a:lnTo>
                      <a:pt x="443349" y="486533"/>
                    </a:lnTo>
                    <a:lnTo>
                      <a:pt x="444410" y="488200"/>
                    </a:lnTo>
                    <a:lnTo>
                      <a:pt x="445016" y="489412"/>
                    </a:lnTo>
                    <a:lnTo>
                      <a:pt x="445926" y="492745"/>
                    </a:lnTo>
                    <a:lnTo>
                      <a:pt x="446986" y="495321"/>
                    </a:lnTo>
                    <a:lnTo>
                      <a:pt x="448804" y="495776"/>
                    </a:lnTo>
                    <a:lnTo>
                      <a:pt x="450471" y="495927"/>
                    </a:lnTo>
                    <a:lnTo>
                      <a:pt x="451986" y="497745"/>
                    </a:lnTo>
                    <a:lnTo>
                      <a:pt x="453199" y="499261"/>
                    </a:lnTo>
                    <a:lnTo>
                      <a:pt x="455471" y="503049"/>
                    </a:lnTo>
                    <a:lnTo>
                      <a:pt x="457138" y="505776"/>
                    </a:lnTo>
                    <a:lnTo>
                      <a:pt x="457744" y="508352"/>
                    </a:lnTo>
                    <a:lnTo>
                      <a:pt x="459714" y="510019"/>
                    </a:lnTo>
                    <a:lnTo>
                      <a:pt x="462441" y="510776"/>
                    </a:lnTo>
                    <a:lnTo>
                      <a:pt x="464866" y="510776"/>
                    </a:lnTo>
                    <a:lnTo>
                      <a:pt x="466229" y="510019"/>
                    </a:lnTo>
                    <a:lnTo>
                      <a:pt x="469866" y="508655"/>
                    </a:lnTo>
                    <a:lnTo>
                      <a:pt x="472593" y="507140"/>
                    </a:lnTo>
                    <a:lnTo>
                      <a:pt x="474563" y="506685"/>
                    </a:lnTo>
                    <a:lnTo>
                      <a:pt x="475623" y="506988"/>
                    </a:lnTo>
                    <a:lnTo>
                      <a:pt x="476533" y="508049"/>
                    </a:lnTo>
                    <a:lnTo>
                      <a:pt x="477139" y="510170"/>
                    </a:lnTo>
                    <a:lnTo>
                      <a:pt x="477139" y="511231"/>
                    </a:lnTo>
                    <a:lnTo>
                      <a:pt x="479109" y="512291"/>
                    </a:lnTo>
                    <a:lnTo>
                      <a:pt x="480624" y="511988"/>
                    </a:lnTo>
                    <a:lnTo>
                      <a:pt x="481078" y="510625"/>
                    </a:lnTo>
                    <a:lnTo>
                      <a:pt x="481078" y="510019"/>
                    </a:lnTo>
                    <a:lnTo>
                      <a:pt x="481078" y="504412"/>
                    </a:lnTo>
                    <a:lnTo>
                      <a:pt x="481078" y="499564"/>
                    </a:lnTo>
                    <a:lnTo>
                      <a:pt x="481078" y="495018"/>
                    </a:lnTo>
                    <a:lnTo>
                      <a:pt x="481078" y="489412"/>
                    </a:lnTo>
                    <a:lnTo>
                      <a:pt x="481078" y="484563"/>
                    </a:lnTo>
                    <a:lnTo>
                      <a:pt x="481078" y="480624"/>
                    </a:lnTo>
                    <a:lnTo>
                      <a:pt x="481078" y="476532"/>
                    </a:lnTo>
                    <a:lnTo>
                      <a:pt x="479866" y="476684"/>
                    </a:lnTo>
                    <a:lnTo>
                      <a:pt x="478351" y="477593"/>
                    </a:lnTo>
                    <a:lnTo>
                      <a:pt x="474714" y="477745"/>
                    </a:lnTo>
                    <a:lnTo>
                      <a:pt x="473199" y="478502"/>
                    </a:lnTo>
                    <a:lnTo>
                      <a:pt x="472745" y="479563"/>
                    </a:lnTo>
                    <a:lnTo>
                      <a:pt x="473048" y="480927"/>
                    </a:lnTo>
                    <a:lnTo>
                      <a:pt x="473199" y="482896"/>
                    </a:lnTo>
                    <a:lnTo>
                      <a:pt x="472593" y="483805"/>
                    </a:lnTo>
                    <a:lnTo>
                      <a:pt x="471078" y="484109"/>
                    </a:lnTo>
                    <a:lnTo>
                      <a:pt x="468805" y="483351"/>
                    </a:lnTo>
                    <a:lnTo>
                      <a:pt x="464563" y="482442"/>
                    </a:lnTo>
                    <a:lnTo>
                      <a:pt x="461078" y="481836"/>
                    </a:lnTo>
                    <a:lnTo>
                      <a:pt x="458653" y="479260"/>
                    </a:lnTo>
                    <a:lnTo>
                      <a:pt x="455168" y="475472"/>
                    </a:lnTo>
                    <a:lnTo>
                      <a:pt x="453047" y="473654"/>
                    </a:lnTo>
                    <a:lnTo>
                      <a:pt x="447744" y="469714"/>
                    </a:lnTo>
                    <a:lnTo>
                      <a:pt x="446835" y="468805"/>
                    </a:lnTo>
                    <a:lnTo>
                      <a:pt x="445168" y="466987"/>
                    </a:lnTo>
                    <a:lnTo>
                      <a:pt x="443804" y="463805"/>
                    </a:lnTo>
                    <a:lnTo>
                      <a:pt x="443198" y="461835"/>
                    </a:lnTo>
                    <a:lnTo>
                      <a:pt x="442440" y="460320"/>
                    </a:lnTo>
                    <a:lnTo>
                      <a:pt x="441835" y="457896"/>
                    </a:lnTo>
                    <a:lnTo>
                      <a:pt x="443047" y="454411"/>
                    </a:lnTo>
                    <a:lnTo>
                      <a:pt x="444865" y="447592"/>
                    </a:lnTo>
                    <a:lnTo>
                      <a:pt x="446228" y="442743"/>
                    </a:lnTo>
                    <a:lnTo>
                      <a:pt x="446835" y="439259"/>
                    </a:lnTo>
                    <a:lnTo>
                      <a:pt x="449411" y="435622"/>
                    </a:lnTo>
                    <a:lnTo>
                      <a:pt x="449714" y="432288"/>
                    </a:lnTo>
                    <a:lnTo>
                      <a:pt x="448653" y="428046"/>
                    </a:lnTo>
                    <a:lnTo>
                      <a:pt x="448804" y="425773"/>
                    </a:lnTo>
                    <a:lnTo>
                      <a:pt x="449107" y="419864"/>
                    </a:lnTo>
                    <a:lnTo>
                      <a:pt x="449259" y="414864"/>
                    </a:lnTo>
                    <a:lnTo>
                      <a:pt x="449259" y="412591"/>
                    </a:lnTo>
                    <a:lnTo>
                      <a:pt x="448501" y="408348"/>
                    </a:lnTo>
                    <a:lnTo>
                      <a:pt x="446835" y="403651"/>
                    </a:lnTo>
                    <a:lnTo>
                      <a:pt x="442895" y="397287"/>
                    </a:lnTo>
                    <a:lnTo>
                      <a:pt x="442895" y="395924"/>
                    </a:lnTo>
                    <a:lnTo>
                      <a:pt x="445168" y="394408"/>
                    </a:lnTo>
                    <a:lnTo>
                      <a:pt x="448804" y="391681"/>
                    </a:lnTo>
                    <a:lnTo>
                      <a:pt x="450623" y="390166"/>
                    </a:lnTo>
                    <a:lnTo>
                      <a:pt x="452744" y="387893"/>
                    </a:lnTo>
                    <a:lnTo>
                      <a:pt x="453653" y="386681"/>
                    </a:lnTo>
                    <a:lnTo>
                      <a:pt x="455774" y="383802"/>
                    </a:lnTo>
                    <a:lnTo>
                      <a:pt x="457138" y="381529"/>
                    </a:lnTo>
                    <a:lnTo>
                      <a:pt x="457592" y="378499"/>
                    </a:lnTo>
                    <a:lnTo>
                      <a:pt x="456532" y="375620"/>
                    </a:lnTo>
                    <a:lnTo>
                      <a:pt x="458653" y="375014"/>
                    </a:lnTo>
                    <a:lnTo>
                      <a:pt x="465320" y="374105"/>
                    </a:lnTo>
                    <a:lnTo>
                      <a:pt x="472593" y="372892"/>
                    </a:lnTo>
                    <a:lnTo>
                      <a:pt x="480321" y="371832"/>
                    </a:lnTo>
                    <a:lnTo>
                      <a:pt x="488048" y="370619"/>
                    </a:lnTo>
                    <a:lnTo>
                      <a:pt x="495624" y="369407"/>
                    </a:lnTo>
                    <a:lnTo>
                      <a:pt x="502443" y="368347"/>
                    </a:lnTo>
                    <a:lnTo>
                      <a:pt x="502594" y="367286"/>
                    </a:lnTo>
                    <a:lnTo>
                      <a:pt x="502291" y="365468"/>
                    </a:lnTo>
                    <a:lnTo>
                      <a:pt x="501231" y="364104"/>
                    </a:lnTo>
                    <a:lnTo>
                      <a:pt x="500321" y="363195"/>
                    </a:lnTo>
                    <a:lnTo>
                      <a:pt x="499564" y="362892"/>
                    </a:lnTo>
                    <a:lnTo>
                      <a:pt x="498806" y="362286"/>
                    </a:lnTo>
                    <a:lnTo>
                      <a:pt x="497594" y="360468"/>
                    </a:lnTo>
                    <a:lnTo>
                      <a:pt x="496836" y="359710"/>
                    </a:lnTo>
                    <a:lnTo>
                      <a:pt x="494715" y="358953"/>
                    </a:lnTo>
                    <a:lnTo>
                      <a:pt x="494261" y="358195"/>
                    </a:lnTo>
                    <a:lnTo>
                      <a:pt x="493957" y="356074"/>
                    </a:lnTo>
                    <a:lnTo>
                      <a:pt x="492745" y="353346"/>
                    </a:lnTo>
                    <a:lnTo>
                      <a:pt x="492291" y="351073"/>
                    </a:lnTo>
                    <a:lnTo>
                      <a:pt x="492594" y="350316"/>
                    </a:lnTo>
                    <a:lnTo>
                      <a:pt x="492443" y="348043"/>
                    </a:lnTo>
                    <a:lnTo>
                      <a:pt x="490776" y="343194"/>
                    </a:lnTo>
                    <a:lnTo>
                      <a:pt x="489109" y="340922"/>
                    </a:lnTo>
                    <a:lnTo>
                      <a:pt x="487139" y="338952"/>
                    </a:lnTo>
                    <a:lnTo>
                      <a:pt x="484715" y="337588"/>
                    </a:lnTo>
                    <a:lnTo>
                      <a:pt x="482290" y="336830"/>
                    </a:lnTo>
                    <a:lnTo>
                      <a:pt x="479866" y="334861"/>
                    </a:lnTo>
                    <a:lnTo>
                      <a:pt x="476230" y="330163"/>
                    </a:lnTo>
                    <a:lnTo>
                      <a:pt x="473957" y="328345"/>
                    </a:lnTo>
                    <a:lnTo>
                      <a:pt x="473351" y="327436"/>
                    </a:lnTo>
                    <a:lnTo>
                      <a:pt x="472442" y="325012"/>
                    </a:lnTo>
                    <a:lnTo>
                      <a:pt x="472593" y="322436"/>
                    </a:lnTo>
                    <a:lnTo>
                      <a:pt x="472442" y="321830"/>
                    </a:lnTo>
                    <a:lnTo>
                      <a:pt x="471835" y="321830"/>
                    </a:lnTo>
                    <a:lnTo>
                      <a:pt x="471229" y="321678"/>
                    </a:lnTo>
                    <a:lnTo>
                      <a:pt x="470926" y="321072"/>
                    </a:lnTo>
                    <a:lnTo>
                      <a:pt x="467896" y="312890"/>
                    </a:lnTo>
                    <a:lnTo>
                      <a:pt x="467290" y="312587"/>
                    </a:lnTo>
                    <a:lnTo>
                      <a:pt x="466684" y="311375"/>
                    </a:lnTo>
                    <a:lnTo>
                      <a:pt x="466229" y="310769"/>
                    </a:lnTo>
                    <a:lnTo>
                      <a:pt x="465168" y="310163"/>
                    </a:lnTo>
                    <a:lnTo>
                      <a:pt x="464563" y="308799"/>
                    </a:lnTo>
                    <a:lnTo>
                      <a:pt x="464411" y="306526"/>
                    </a:lnTo>
                    <a:lnTo>
                      <a:pt x="464563" y="305466"/>
                    </a:lnTo>
                    <a:lnTo>
                      <a:pt x="465168" y="304860"/>
                    </a:lnTo>
                    <a:lnTo>
                      <a:pt x="468351" y="302284"/>
                    </a:lnTo>
                    <a:lnTo>
                      <a:pt x="468654" y="301375"/>
                    </a:lnTo>
                    <a:lnTo>
                      <a:pt x="468654" y="300768"/>
                    </a:lnTo>
                    <a:lnTo>
                      <a:pt x="468502" y="298496"/>
                    </a:lnTo>
                    <a:lnTo>
                      <a:pt x="468654" y="297738"/>
                    </a:lnTo>
                    <a:lnTo>
                      <a:pt x="469563" y="297587"/>
                    </a:lnTo>
                    <a:lnTo>
                      <a:pt x="469563" y="297284"/>
                    </a:lnTo>
                    <a:lnTo>
                      <a:pt x="465472" y="290617"/>
                    </a:lnTo>
                    <a:lnTo>
                      <a:pt x="463653" y="286980"/>
                    </a:lnTo>
                    <a:lnTo>
                      <a:pt x="462593" y="283798"/>
                    </a:lnTo>
                    <a:lnTo>
                      <a:pt x="462138" y="281980"/>
                    </a:lnTo>
                    <a:lnTo>
                      <a:pt x="462441" y="281222"/>
                    </a:lnTo>
                    <a:lnTo>
                      <a:pt x="462441" y="272737"/>
                    </a:lnTo>
                    <a:lnTo>
                      <a:pt x="462744" y="269252"/>
                    </a:lnTo>
                    <a:lnTo>
                      <a:pt x="463350" y="267586"/>
                    </a:lnTo>
                    <a:lnTo>
                      <a:pt x="463957" y="266979"/>
                    </a:lnTo>
                    <a:lnTo>
                      <a:pt x="464866" y="267131"/>
                    </a:lnTo>
                    <a:lnTo>
                      <a:pt x="464866" y="265161"/>
                    </a:lnTo>
                    <a:lnTo>
                      <a:pt x="466381" y="256070"/>
                    </a:lnTo>
                    <a:lnTo>
                      <a:pt x="466078" y="255009"/>
                    </a:lnTo>
                    <a:lnTo>
                      <a:pt x="465623" y="255161"/>
                    </a:lnTo>
                    <a:lnTo>
                      <a:pt x="465320" y="256524"/>
                    </a:lnTo>
                    <a:lnTo>
                      <a:pt x="463350" y="262434"/>
                    </a:lnTo>
                    <a:lnTo>
                      <a:pt x="463047" y="262585"/>
                    </a:lnTo>
                    <a:lnTo>
                      <a:pt x="461078" y="261828"/>
                    </a:lnTo>
                    <a:lnTo>
                      <a:pt x="460926" y="261070"/>
                    </a:lnTo>
                    <a:lnTo>
                      <a:pt x="461835" y="259858"/>
                    </a:lnTo>
                    <a:lnTo>
                      <a:pt x="462138" y="258797"/>
                    </a:lnTo>
                    <a:lnTo>
                      <a:pt x="461835" y="257888"/>
                    </a:lnTo>
                    <a:lnTo>
                      <a:pt x="461684" y="255767"/>
                    </a:lnTo>
                    <a:lnTo>
                      <a:pt x="462138" y="250464"/>
                    </a:lnTo>
                    <a:lnTo>
                      <a:pt x="462593" y="249251"/>
                    </a:lnTo>
                    <a:lnTo>
                      <a:pt x="462593" y="248191"/>
                    </a:lnTo>
                    <a:lnTo>
                      <a:pt x="462138" y="247433"/>
                    </a:lnTo>
                    <a:lnTo>
                      <a:pt x="462290" y="246373"/>
                    </a:lnTo>
                    <a:lnTo>
                      <a:pt x="463047" y="245160"/>
                    </a:lnTo>
                    <a:lnTo>
                      <a:pt x="463350" y="242888"/>
                    </a:lnTo>
                    <a:lnTo>
                      <a:pt x="463199" y="239403"/>
                    </a:lnTo>
                    <a:lnTo>
                      <a:pt x="463199" y="237130"/>
                    </a:lnTo>
                    <a:lnTo>
                      <a:pt x="463653" y="236069"/>
                    </a:lnTo>
                    <a:lnTo>
                      <a:pt x="464108" y="235463"/>
                    </a:lnTo>
                    <a:lnTo>
                      <a:pt x="464714" y="235312"/>
                    </a:lnTo>
                    <a:lnTo>
                      <a:pt x="465168" y="235312"/>
                    </a:lnTo>
                    <a:lnTo>
                      <a:pt x="465168" y="233645"/>
                    </a:lnTo>
                    <a:lnTo>
                      <a:pt x="465472" y="229857"/>
                    </a:lnTo>
                    <a:lnTo>
                      <a:pt x="465472" y="227432"/>
                    </a:lnTo>
                    <a:lnTo>
                      <a:pt x="463502" y="224857"/>
                    </a:lnTo>
                    <a:lnTo>
                      <a:pt x="461078" y="221978"/>
                    </a:lnTo>
                    <a:lnTo>
                      <a:pt x="459865" y="220614"/>
                    </a:lnTo>
                    <a:lnTo>
                      <a:pt x="459714" y="219402"/>
                    </a:lnTo>
                    <a:lnTo>
                      <a:pt x="459714" y="218493"/>
                    </a:lnTo>
                    <a:lnTo>
                      <a:pt x="457138" y="217432"/>
                    </a:lnTo>
                    <a:lnTo>
                      <a:pt x="456380" y="216068"/>
                    </a:lnTo>
                    <a:lnTo>
                      <a:pt x="456380" y="213947"/>
                    </a:lnTo>
                    <a:lnTo>
                      <a:pt x="455471" y="210917"/>
                    </a:lnTo>
                    <a:lnTo>
                      <a:pt x="455471" y="210917"/>
                    </a:lnTo>
                    <a:lnTo>
                      <a:pt x="455320" y="211068"/>
                    </a:lnTo>
                    <a:lnTo>
                      <a:pt x="455471" y="208947"/>
                    </a:lnTo>
                    <a:lnTo>
                      <a:pt x="457138" y="206674"/>
                    </a:lnTo>
                    <a:lnTo>
                      <a:pt x="456683" y="205311"/>
                    </a:lnTo>
                    <a:lnTo>
                      <a:pt x="455926" y="205007"/>
                    </a:lnTo>
                    <a:lnTo>
                      <a:pt x="455926" y="203947"/>
                    </a:lnTo>
                    <a:lnTo>
                      <a:pt x="456077" y="203038"/>
                    </a:lnTo>
                    <a:lnTo>
                      <a:pt x="456987" y="201068"/>
                    </a:lnTo>
                    <a:lnTo>
                      <a:pt x="456835" y="199098"/>
                    </a:lnTo>
                    <a:lnTo>
                      <a:pt x="458956" y="194401"/>
                    </a:lnTo>
                    <a:lnTo>
                      <a:pt x="460320" y="189249"/>
                    </a:lnTo>
                    <a:lnTo>
                      <a:pt x="461229" y="188037"/>
                    </a:lnTo>
                    <a:lnTo>
                      <a:pt x="464714" y="189098"/>
                    </a:lnTo>
                    <a:lnTo>
                      <a:pt x="465472" y="190310"/>
                    </a:lnTo>
                    <a:lnTo>
                      <a:pt x="466684" y="188492"/>
                    </a:lnTo>
                    <a:lnTo>
                      <a:pt x="468957" y="185764"/>
                    </a:lnTo>
                    <a:lnTo>
                      <a:pt x="470320" y="185461"/>
                    </a:lnTo>
                    <a:lnTo>
                      <a:pt x="472139" y="184401"/>
                    </a:lnTo>
                    <a:lnTo>
                      <a:pt x="474108" y="182734"/>
                    </a:lnTo>
                    <a:lnTo>
                      <a:pt x="475169" y="182128"/>
                    </a:lnTo>
                    <a:lnTo>
                      <a:pt x="475169" y="181370"/>
                    </a:lnTo>
                    <a:lnTo>
                      <a:pt x="474714" y="175006"/>
                    </a:lnTo>
                    <a:lnTo>
                      <a:pt x="474714" y="171067"/>
                    </a:lnTo>
                    <a:lnTo>
                      <a:pt x="475472" y="168643"/>
                    </a:lnTo>
                    <a:lnTo>
                      <a:pt x="475927" y="165764"/>
                    </a:lnTo>
                    <a:lnTo>
                      <a:pt x="475927" y="163339"/>
                    </a:lnTo>
                    <a:lnTo>
                      <a:pt x="477139" y="159097"/>
                    </a:lnTo>
                    <a:lnTo>
                      <a:pt x="476987" y="158188"/>
                    </a:lnTo>
                    <a:lnTo>
                      <a:pt x="476987" y="158339"/>
                    </a:lnTo>
                    <a:lnTo>
                      <a:pt x="473351" y="161067"/>
                    </a:lnTo>
                    <a:lnTo>
                      <a:pt x="471684" y="160915"/>
                    </a:lnTo>
                    <a:lnTo>
                      <a:pt x="470775" y="161521"/>
                    </a:lnTo>
                    <a:lnTo>
                      <a:pt x="469411" y="161824"/>
                    </a:lnTo>
                    <a:lnTo>
                      <a:pt x="468502" y="160157"/>
                    </a:lnTo>
                    <a:lnTo>
                      <a:pt x="468351" y="158945"/>
                    </a:lnTo>
                    <a:lnTo>
                      <a:pt x="469260" y="156824"/>
                    </a:lnTo>
                    <a:lnTo>
                      <a:pt x="470775" y="153642"/>
                    </a:lnTo>
                    <a:lnTo>
                      <a:pt x="472896" y="149399"/>
                    </a:lnTo>
                    <a:lnTo>
                      <a:pt x="475623" y="148187"/>
                    </a:lnTo>
                    <a:lnTo>
                      <a:pt x="476987" y="147733"/>
                    </a:lnTo>
                    <a:lnTo>
                      <a:pt x="478048" y="147733"/>
                    </a:lnTo>
                    <a:lnTo>
                      <a:pt x="478048" y="147581"/>
                    </a:lnTo>
                    <a:lnTo>
                      <a:pt x="478502" y="146066"/>
                    </a:lnTo>
                    <a:lnTo>
                      <a:pt x="478957" y="141823"/>
                    </a:lnTo>
                    <a:lnTo>
                      <a:pt x="479866" y="140460"/>
                    </a:lnTo>
                    <a:lnTo>
                      <a:pt x="480624" y="140005"/>
                    </a:lnTo>
                    <a:lnTo>
                      <a:pt x="481684" y="137278"/>
                    </a:lnTo>
                    <a:lnTo>
                      <a:pt x="483503" y="133035"/>
                    </a:lnTo>
                    <a:lnTo>
                      <a:pt x="484866" y="130914"/>
                    </a:lnTo>
                    <a:lnTo>
                      <a:pt x="484563" y="126217"/>
                    </a:lnTo>
                    <a:lnTo>
                      <a:pt x="484866" y="122883"/>
                    </a:lnTo>
                    <a:lnTo>
                      <a:pt x="485169" y="122277"/>
                    </a:lnTo>
                    <a:lnTo>
                      <a:pt x="488048" y="121065"/>
                    </a:lnTo>
                    <a:lnTo>
                      <a:pt x="491685" y="118035"/>
                    </a:lnTo>
                    <a:lnTo>
                      <a:pt x="493352" y="114550"/>
                    </a:lnTo>
                    <a:lnTo>
                      <a:pt x="495473" y="112277"/>
                    </a:lnTo>
                    <a:lnTo>
                      <a:pt x="499715" y="110762"/>
                    </a:lnTo>
                    <a:lnTo>
                      <a:pt x="499564" y="110307"/>
                    </a:lnTo>
                    <a:lnTo>
                      <a:pt x="498958" y="110307"/>
                    </a:lnTo>
                    <a:lnTo>
                      <a:pt x="498049" y="110307"/>
                    </a:lnTo>
                    <a:lnTo>
                      <a:pt x="497594" y="110307"/>
                    </a:lnTo>
                    <a:lnTo>
                      <a:pt x="497291" y="109246"/>
                    </a:lnTo>
                    <a:lnTo>
                      <a:pt x="498806" y="106974"/>
                    </a:lnTo>
                    <a:lnTo>
                      <a:pt x="499867" y="104549"/>
                    </a:lnTo>
                    <a:lnTo>
                      <a:pt x="501231" y="102882"/>
                    </a:lnTo>
                    <a:lnTo>
                      <a:pt x="502897" y="101519"/>
                    </a:lnTo>
                    <a:lnTo>
                      <a:pt x="505170" y="98943"/>
                    </a:lnTo>
                    <a:lnTo>
                      <a:pt x="506231" y="98185"/>
                    </a:lnTo>
                    <a:lnTo>
                      <a:pt x="510474" y="93943"/>
                    </a:lnTo>
                    <a:lnTo>
                      <a:pt x="512292" y="92427"/>
                    </a:lnTo>
                    <a:lnTo>
                      <a:pt x="513504" y="91973"/>
                    </a:lnTo>
                    <a:lnTo>
                      <a:pt x="518959" y="88185"/>
                    </a:lnTo>
                    <a:lnTo>
                      <a:pt x="521080" y="85912"/>
                    </a:lnTo>
                    <a:lnTo>
                      <a:pt x="521231" y="857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1" name="Freeform: Shape 3320">
                <a:extLst>
                  <a:ext uri="{FF2B5EF4-FFF2-40B4-BE49-F238E27FC236}">
                    <a16:creationId xmlns:a16="http://schemas.microsoft.com/office/drawing/2014/main" id="{A35B5129-DB24-41F5-8D12-D92076EF31CC}"/>
                  </a:ext>
                </a:extLst>
              </p:cNvPr>
              <p:cNvSpPr/>
              <p:nvPr/>
            </p:nvSpPr>
            <p:spPr>
              <a:xfrm>
                <a:off x="1919178" y="1488851"/>
                <a:ext cx="2417513" cy="1867037"/>
              </a:xfrm>
              <a:custGeom>
                <a:avLst/>
                <a:gdLst>
                  <a:gd name="connsiteX0" fmla="*/ 1239743 w 2417513"/>
                  <a:gd name="connsiteY0" fmla="*/ 786847 h 1867037"/>
                  <a:gd name="connsiteX1" fmla="*/ 1238834 w 2417513"/>
                  <a:gd name="connsiteY1" fmla="*/ 788817 h 1867037"/>
                  <a:gd name="connsiteX2" fmla="*/ 1240046 w 2417513"/>
                  <a:gd name="connsiteY2" fmla="*/ 789423 h 1867037"/>
                  <a:gd name="connsiteX3" fmla="*/ 1242925 w 2417513"/>
                  <a:gd name="connsiteY3" fmla="*/ 789423 h 1867037"/>
                  <a:gd name="connsiteX4" fmla="*/ 1245198 w 2417513"/>
                  <a:gd name="connsiteY4" fmla="*/ 788665 h 1867037"/>
                  <a:gd name="connsiteX5" fmla="*/ 1246865 w 2417513"/>
                  <a:gd name="connsiteY5" fmla="*/ 787301 h 1867037"/>
                  <a:gd name="connsiteX6" fmla="*/ 1247925 w 2417513"/>
                  <a:gd name="connsiteY6" fmla="*/ 785332 h 1867037"/>
                  <a:gd name="connsiteX7" fmla="*/ 1248380 w 2417513"/>
                  <a:gd name="connsiteY7" fmla="*/ 782756 h 1867037"/>
                  <a:gd name="connsiteX8" fmla="*/ 1248380 w 2417513"/>
                  <a:gd name="connsiteY8" fmla="*/ 781241 h 1867037"/>
                  <a:gd name="connsiteX9" fmla="*/ 1244743 w 2417513"/>
                  <a:gd name="connsiteY9" fmla="*/ 778059 h 1867037"/>
                  <a:gd name="connsiteX10" fmla="*/ 1242319 w 2417513"/>
                  <a:gd name="connsiteY10" fmla="*/ 776695 h 1867037"/>
                  <a:gd name="connsiteX11" fmla="*/ 1239440 w 2417513"/>
                  <a:gd name="connsiteY11" fmla="*/ 775634 h 1867037"/>
                  <a:gd name="connsiteX12" fmla="*/ 1237016 w 2417513"/>
                  <a:gd name="connsiteY12" fmla="*/ 775634 h 1867037"/>
                  <a:gd name="connsiteX13" fmla="*/ 1234894 w 2417513"/>
                  <a:gd name="connsiteY13" fmla="*/ 776544 h 1867037"/>
                  <a:gd name="connsiteX14" fmla="*/ 1233228 w 2417513"/>
                  <a:gd name="connsiteY14" fmla="*/ 778513 h 1867037"/>
                  <a:gd name="connsiteX15" fmla="*/ 1232015 w 2417513"/>
                  <a:gd name="connsiteY15" fmla="*/ 781392 h 1867037"/>
                  <a:gd name="connsiteX16" fmla="*/ 1231561 w 2417513"/>
                  <a:gd name="connsiteY16" fmla="*/ 783362 h 1867037"/>
                  <a:gd name="connsiteX17" fmla="*/ 1232015 w 2417513"/>
                  <a:gd name="connsiteY17" fmla="*/ 785180 h 1867037"/>
                  <a:gd name="connsiteX18" fmla="*/ 1231864 w 2417513"/>
                  <a:gd name="connsiteY18" fmla="*/ 787150 h 1867037"/>
                  <a:gd name="connsiteX19" fmla="*/ 1232622 w 2417513"/>
                  <a:gd name="connsiteY19" fmla="*/ 788362 h 1867037"/>
                  <a:gd name="connsiteX20" fmla="*/ 1234288 w 2417513"/>
                  <a:gd name="connsiteY20" fmla="*/ 789120 h 1867037"/>
                  <a:gd name="connsiteX21" fmla="*/ 1235197 w 2417513"/>
                  <a:gd name="connsiteY21" fmla="*/ 787605 h 1867037"/>
                  <a:gd name="connsiteX22" fmla="*/ 1236410 w 2417513"/>
                  <a:gd name="connsiteY22" fmla="*/ 784423 h 1867037"/>
                  <a:gd name="connsiteX23" fmla="*/ 1236713 w 2417513"/>
                  <a:gd name="connsiteY23" fmla="*/ 781847 h 1867037"/>
                  <a:gd name="connsiteX24" fmla="*/ 1236106 w 2417513"/>
                  <a:gd name="connsiteY24" fmla="*/ 779877 h 1867037"/>
                  <a:gd name="connsiteX25" fmla="*/ 1236410 w 2417513"/>
                  <a:gd name="connsiteY25" fmla="*/ 778968 h 1867037"/>
                  <a:gd name="connsiteX26" fmla="*/ 1237622 w 2417513"/>
                  <a:gd name="connsiteY26" fmla="*/ 778968 h 1867037"/>
                  <a:gd name="connsiteX27" fmla="*/ 1239289 w 2417513"/>
                  <a:gd name="connsiteY27" fmla="*/ 780028 h 1867037"/>
                  <a:gd name="connsiteX28" fmla="*/ 1239894 w 2417513"/>
                  <a:gd name="connsiteY28" fmla="*/ 781847 h 1867037"/>
                  <a:gd name="connsiteX29" fmla="*/ 1240349 w 2417513"/>
                  <a:gd name="connsiteY29" fmla="*/ 784877 h 1867037"/>
                  <a:gd name="connsiteX30" fmla="*/ 1240198 w 2417513"/>
                  <a:gd name="connsiteY30" fmla="*/ 786695 h 1867037"/>
                  <a:gd name="connsiteX31" fmla="*/ 1239743 w 2417513"/>
                  <a:gd name="connsiteY31" fmla="*/ 786847 h 1867037"/>
                  <a:gd name="connsiteX32" fmla="*/ 1226409 w 2417513"/>
                  <a:gd name="connsiteY32" fmla="*/ 793211 h 1867037"/>
                  <a:gd name="connsiteX33" fmla="*/ 1223227 w 2417513"/>
                  <a:gd name="connsiteY33" fmla="*/ 789120 h 1867037"/>
                  <a:gd name="connsiteX34" fmla="*/ 1212469 w 2417513"/>
                  <a:gd name="connsiteY34" fmla="*/ 782907 h 1867037"/>
                  <a:gd name="connsiteX35" fmla="*/ 1207469 w 2417513"/>
                  <a:gd name="connsiteY35" fmla="*/ 781089 h 1867037"/>
                  <a:gd name="connsiteX36" fmla="*/ 1204287 w 2417513"/>
                  <a:gd name="connsiteY36" fmla="*/ 778968 h 1867037"/>
                  <a:gd name="connsiteX37" fmla="*/ 1201408 w 2417513"/>
                  <a:gd name="connsiteY37" fmla="*/ 775937 h 1867037"/>
                  <a:gd name="connsiteX38" fmla="*/ 1197620 w 2417513"/>
                  <a:gd name="connsiteY38" fmla="*/ 773059 h 1867037"/>
                  <a:gd name="connsiteX39" fmla="*/ 1196408 w 2417513"/>
                  <a:gd name="connsiteY39" fmla="*/ 772755 h 1867037"/>
                  <a:gd name="connsiteX40" fmla="*/ 1195650 w 2417513"/>
                  <a:gd name="connsiteY40" fmla="*/ 773059 h 1867037"/>
                  <a:gd name="connsiteX41" fmla="*/ 1194438 w 2417513"/>
                  <a:gd name="connsiteY41" fmla="*/ 774574 h 1867037"/>
                  <a:gd name="connsiteX42" fmla="*/ 1192923 w 2417513"/>
                  <a:gd name="connsiteY42" fmla="*/ 775028 h 1867037"/>
                  <a:gd name="connsiteX43" fmla="*/ 1192014 w 2417513"/>
                  <a:gd name="connsiteY43" fmla="*/ 774422 h 1867037"/>
                  <a:gd name="connsiteX44" fmla="*/ 1191256 w 2417513"/>
                  <a:gd name="connsiteY44" fmla="*/ 773210 h 1867037"/>
                  <a:gd name="connsiteX45" fmla="*/ 1191559 w 2417513"/>
                  <a:gd name="connsiteY45" fmla="*/ 772452 h 1867037"/>
                  <a:gd name="connsiteX46" fmla="*/ 1193529 w 2417513"/>
                  <a:gd name="connsiteY46" fmla="*/ 771543 h 1867037"/>
                  <a:gd name="connsiteX47" fmla="*/ 1193681 w 2417513"/>
                  <a:gd name="connsiteY47" fmla="*/ 770937 h 1867037"/>
                  <a:gd name="connsiteX48" fmla="*/ 1192923 w 2417513"/>
                  <a:gd name="connsiteY48" fmla="*/ 769725 h 1867037"/>
                  <a:gd name="connsiteX49" fmla="*/ 1187620 w 2417513"/>
                  <a:gd name="connsiteY49" fmla="*/ 766543 h 1867037"/>
                  <a:gd name="connsiteX50" fmla="*/ 1185195 w 2417513"/>
                  <a:gd name="connsiteY50" fmla="*/ 764573 h 1867037"/>
                  <a:gd name="connsiteX51" fmla="*/ 1182468 w 2417513"/>
                  <a:gd name="connsiteY51" fmla="*/ 763513 h 1867037"/>
                  <a:gd name="connsiteX52" fmla="*/ 1179741 w 2417513"/>
                  <a:gd name="connsiteY52" fmla="*/ 763664 h 1867037"/>
                  <a:gd name="connsiteX53" fmla="*/ 1174438 w 2417513"/>
                  <a:gd name="connsiteY53" fmla="*/ 764876 h 1867037"/>
                  <a:gd name="connsiteX54" fmla="*/ 1171104 w 2417513"/>
                  <a:gd name="connsiteY54" fmla="*/ 766695 h 1867037"/>
                  <a:gd name="connsiteX55" fmla="*/ 1170043 w 2417513"/>
                  <a:gd name="connsiteY55" fmla="*/ 767452 h 1867037"/>
                  <a:gd name="connsiteX56" fmla="*/ 1169286 w 2417513"/>
                  <a:gd name="connsiteY56" fmla="*/ 768664 h 1867037"/>
                  <a:gd name="connsiteX57" fmla="*/ 1168377 w 2417513"/>
                  <a:gd name="connsiteY57" fmla="*/ 771695 h 1867037"/>
                  <a:gd name="connsiteX58" fmla="*/ 1168225 w 2417513"/>
                  <a:gd name="connsiteY58" fmla="*/ 772755 h 1867037"/>
                  <a:gd name="connsiteX59" fmla="*/ 1168680 w 2417513"/>
                  <a:gd name="connsiteY59" fmla="*/ 774725 h 1867037"/>
                  <a:gd name="connsiteX60" fmla="*/ 1172165 w 2417513"/>
                  <a:gd name="connsiteY60" fmla="*/ 780332 h 1867037"/>
                  <a:gd name="connsiteX61" fmla="*/ 1175498 w 2417513"/>
                  <a:gd name="connsiteY61" fmla="*/ 783059 h 1867037"/>
                  <a:gd name="connsiteX62" fmla="*/ 1172316 w 2417513"/>
                  <a:gd name="connsiteY62" fmla="*/ 782453 h 1867037"/>
                  <a:gd name="connsiteX63" fmla="*/ 1170498 w 2417513"/>
                  <a:gd name="connsiteY63" fmla="*/ 781695 h 1867037"/>
                  <a:gd name="connsiteX64" fmla="*/ 1165952 w 2417513"/>
                  <a:gd name="connsiteY64" fmla="*/ 777756 h 1867037"/>
                  <a:gd name="connsiteX65" fmla="*/ 1163528 w 2417513"/>
                  <a:gd name="connsiteY65" fmla="*/ 777150 h 1867037"/>
                  <a:gd name="connsiteX66" fmla="*/ 1161558 w 2417513"/>
                  <a:gd name="connsiteY66" fmla="*/ 777453 h 1867037"/>
                  <a:gd name="connsiteX67" fmla="*/ 1161558 w 2417513"/>
                  <a:gd name="connsiteY67" fmla="*/ 778816 h 1867037"/>
                  <a:gd name="connsiteX68" fmla="*/ 1162013 w 2417513"/>
                  <a:gd name="connsiteY68" fmla="*/ 779725 h 1867037"/>
                  <a:gd name="connsiteX69" fmla="*/ 1163073 w 2417513"/>
                  <a:gd name="connsiteY69" fmla="*/ 781089 h 1867037"/>
                  <a:gd name="connsiteX70" fmla="*/ 1164286 w 2417513"/>
                  <a:gd name="connsiteY70" fmla="*/ 781998 h 1867037"/>
                  <a:gd name="connsiteX71" fmla="*/ 1161861 w 2417513"/>
                  <a:gd name="connsiteY71" fmla="*/ 781998 h 1867037"/>
                  <a:gd name="connsiteX72" fmla="*/ 1161255 w 2417513"/>
                  <a:gd name="connsiteY72" fmla="*/ 782756 h 1867037"/>
                  <a:gd name="connsiteX73" fmla="*/ 1161861 w 2417513"/>
                  <a:gd name="connsiteY73" fmla="*/ 784423 h 1867037"/>
                  <a:gd name="connsiteX74" fmla="*/ 1163680 w 2417513"/>
                  <a:gd name="connsiteY74" fmla="*/ 786847 h 1867037"/>
                  <a:gd name="connsiteX75" fmla="*/ 1164134 w 2417513"/>
                  <a:gd name="connsiteY75" fmla="*/ 787908 h 1867037"/>
                  <a:gd name="connsiteX76" fmla="*/ 1163983 w 2417513"/>
                  <a:gd name="connsiteY76" fmla="*/ 788817 h 1867037"/>
                  <a:gd name="connsiteX77" fmla="*/ 1162619 w 2417513"/>
                  <a:gd name="connsiteY77" fmla="*/ 790029 h 1867037"/>
                  <a:gd name="connsiteX78" fmla="*/ 1156558 w 2417513"/>
                  <a:gd name="connsiteY78" fmla="*/ 794271 h 1867037"/>
                  <a:gd name="connsiteX79" fmla="*/ 1151406 w 2417513"/>
                  <a:gd name="connsiteY79" fmla="*/ 796696 h 1867037"/>
                  <a:gd name="connsiteX80" fmla="*/ 1146709 w 2417513"/>
                  <a:gd name="connsiteY80" fmla="*/ 797605 h 1867037"/>
                  <a:gd name="connsiteX81" fmla="*/ 1136557 w 2417513"/>
                  <a:gd name="connsiteY81" fmla="*/ 798514 h 1867037"/>
                  <a:gd name="connsiteX82" fmla="*/ 1135042 w 2417513"/>
                  <a:gd name="connsiteY82" fmla="*/ 800029 h 1867037"/>
                  <a:gd name="connsiteX83" fmla="*/ 1133830 w 2417513"/>
                  <a:gd name="connsiteY83" fmla="*/ 802150 h 1867037"/>
                  <a:gd name="connsiteX84" fmla="*/ 1133679 w 2417513"/>
                  <a:gd name="connsiteY84" fmla="*/ 803060 h 1867037"/>
                  <a:gd name="connsiteX85" fmla="*/ 1135648 w 2417513"/>
                  <a:gd name="connsiteY85" fmla="*/ 806696 h 1867037"/>
                  <a:gd name="connsiteX86" fmla="*/ 1137163 w 2417513"/>
                  <a:gd name="connsiteY86" fmla="*/ 808666 h 1867037"/>
                  <a:gd name="connsiteX87" fmla="*/ 1140497 w 2417513"/>
                  <a:gd name="connsiteY87" fmla="*/ 810636 h 1867037"/>
                  <a:gd name="connsiteX88" fmla="*/ 1142315 w 2417513"/>
                  <a:gd name="connsiteY88" fmla="*/ 811242 h 1867037"/>
                  <a:gd name="connsiteX89" fmla="*/ 1146861 w 2417513"/>
                  <a:gd name="connsiteY89" fmla="*/ 811242 h 1867037"/>
                  <a:gd name="connsiteX90" fmla="*/ 1147315 w 2417513"/>
                  <a:gd name="connsiteY90" fmla="*/ 810636 h 1867037"/>
                  <a:gd name="connsiteX91" fmla="*/ 1146709 w 2417513"/>
                  <a:gd name="connsiteY91" fmla="*/ 809575 h 1867037"/>
                  <a:gd name="connsiteX92" fmla="*/ 1147770 w 2417513"/>
                  <a:gd name="connsiteY92" fmla="*/ 808666 h 1867037"/>
                  <a:gd name="connsiteX93" fmla="*/ 1150346 w 2417513"/>
                  <a:gd name="connsiteY93" fmla="*/ 807908 h 1867037"/>
                  <a:gd name="connsiteX94" fmla="*/ 1152013 w 2417513"/>
                  <a:gd name="connsiteY94" fmla="*/ 807908 h 1867037"/>
                  <a:gd name="connsiteX95" fmla="*/ 1152770 w 2417513"/>
                  <a:gd name="connsiteY95" fmla="*/ 808666 h 1867037"/>
                  <a:gd name="connsiteX96" fmla="*/ 1153225 w 2417513"/>
                  <a:gd name="connsiteY96" fmla="*/ 809727 h 1867037"/>
                  <a:gd name="connsiteX97" fmla="*/ 1153376 w 2417513"/>
                  <a:gd name="connsiteY97" fmla="*/ 811090 h 1867037"/>
                  <a:gd name="connsiteX98" fmla="*/ 1154134 w 2417513"/>
                  <a:gd name="connsiteY98" fmla="*/ 812302 h 1867037"/>
                  <a:gd name="connsiteX99" fmla="*/ 1155649 w 2417513"/>
                  <a:gd name="connsiteY99" fmla="*/ 813363 h 1867037"/>
                  <a:gd name="connsiteX100" fmla="*/ 1157619 w 2417513"/>
                  <a:gd name="connsiteY100" fmla="*/ 813969 h 1867037"/>
                  <a:gd name="connsiteX101" fmla="*/ 1162164 w 2417513"/>
                  <a:gd name="connsiteY101" fmla="*/ 814121 h 1867037"/>
                  <a:gd name="connsiteX102" fmla="*/ 1165043 w 2417513"/>
                  <a:gd name="connsiteY102" fmla="*/ 813211 h 1867037"/>
                  <a:gd name="connsiteX103" fmla="*/ 1166558 w 2417513"/>
                  <a:gd name="connsiteY103" fmla="*/ 812151 h 1867037"/>
                  <a:gd name="connsiteX104" fmla="*/ 1168074 w 2417513"/>
                  <a:gd name="connsiteY104" fmla="*/ 812151 h 1867037"/>
                  <a:gd name="connsiteX105" fmla="*/ 1168680 w 2417513"/>
                  <a:gd name="connsiteY105" fmla="*/ 812757 h 1867037"/>
                  <a:gd name="connsiteX106" fmla="*/ 1169134 w 2417513"/>
                  <a:gd name="connsiteY106" fmla="*/ 813818 h 1867037"/>
                  <a:gd name="connsiteX107" fmla="*/ 1169286 w 2417513"/>
                  <a:gd name="connsiteY107" fmla="*/ 815484 h 1867037"/>
                  <a:gd name="connsiteX108" fmla="*/ 1169740 w 2417513"/>
                  <a:gd name="connsiteY108" fmla="*/ 816545 h 1867037"/>
                  <a:gd name="connsiteX109" fmla="*/ 1170347 w 2417513"/>
                  <a:gd name="connsiteY109" fmla="*/ 817000 h 1867037"/>
                  <a:gd name="connsiteX110" fmla="*/ 1179892 w 2417513"/>
                  <a:gd name="connsiteY110" fmla="*/ 820181 h 1867037"/>
                  <a:gd name="connsiteX111" fmla="*/ 1184892 w 2417513"/>
                  <a:gd name="connsiteY111" fmla="*/ 822454 h 1867037"/>
                  <a:gd name="connsiteX112" fmla="*/ 1191256 w 2417513"/>
                  <a:gd name="connsiteY112" fmla="*/ 826394 h 1867037"/>
                  <a:gd name="connsiteX113" fmla="*/ 1197014 w 2417513"/>
                  <a:gd name="connsiteY113" fmla="*/ 827151 h 1867037"/>
                  <a:gd name="connsiteX114" fmla="*/ 1203984 w 2417513"/>
                  <a:gd name="connsiteY114" fmla="*/ 826697 h 1867037"/>
                  <a:gd name="connsiteX115" fmla="*/ 1215197 w 2417513"/>
                  <a:gd name="connsiteY115" fmla="*/ 830333 h 1867037"/>
                  <a:gd name="connsiteX116" fmla="*/ 1220651 w 2417513"/>
                  <a:gd name="connsiteY116" fmla="*/ 829879 h 1867037"/>
                  <a:gd name="connsiteX117" fmla="*/ 1224288 w 2417513"/>
                  <a:gd name="connsiteY117" fmla="*/ 828061 h 1867037"/>
                  <a:gd name="connsiteX118" fmla="*/ 1230955 w 2417513"/>
                  <a:gd name="connsiteY118" fmla="*/ 823363 h 1867037"/>
                  <a:gd name="connsiteX119" fmla="*/ 1234440 w 2417513"/>
                  <a:gd name="connsiteY119" fmla="*/ 822454 h 1867037"/>
                  <a:gd name="connsiteX120" fmla="*/ 1237016 w 2417513"/>
                  <a:gd name="connsiteY120" fmla="*/ 819575 h 1867037"/>
                  <a:gd name="connsiteX121" fmla="*/ 1240198 w 2417513"/>
                  <a:gd name="connsiteY121" fmla="*/ 817151 h 1867037"/>
                  <a:gd name="connsiteX122" fmla="*/ 1242167 w 2417513"/>
                  <a:gd name="connsiteY122" fmla="*/ 816696 h 1867037"/>
                  <a:gd name="connsiteX123" fmla="*/ 1246258 w 2417513"/>
                  <a:gd name="connsiteY123" fmla="*/ 816545 h 1867037"/>
                  <a:gd name="connsiteX124" fmla="*/ 1249137 w 2417513"/>
                  <a:gd name="connsiteY124" fmla="*/ 815030 h 1867037"/>
                  <a:gd name="connsiteX125" fmla="*/ 1250955 w 2417513"/>
                  <a:gd name="connsiteY125" fmla="*/ 813818 h 1867037"/>
                  <a:gd name="connsiteX126" fmla="*/ 1251713 w 2417513"/>
                  <a:gd name="connsiteY126" fmla="*/ 812757 h 1867037"/>
                  <a:gd name="connsiteX127" fmla="*/ 1250349 w 2417513"/>
                  <a:gd name="connsiteY127" fmla="*/ 810484 h 1867037"/>
                  <a:gd name="connsiteX128" fmla="*/ 1248834 w 2417513"/>
                  <a:gd name="connsiteY128" fmla="*/ 809575 h 1867037"/>
                  <a:gd name="connsiteX129" fmla="*/ 1247167 w 2417513"/>
                  <a:gd name="connsiteY129" fmla="*/ 810181 h 1867037"/>
                  <a:gd name="connsiteX130" fmla="*/ 1243077 w 2417513"/>
                  <a:gd name="connsiteY130" fmla="*/ 812302 h 1867037"/>
                  <a:gd name="connsiteX131" fmla="*/ 1238531 w 2417513"/>
                  <a:gd name="connsiteY131" fmla="*/ 809272 h 1867037"/>
                  <a:gd name="connsiteX132" fmla="*/ 1235652 w 2417513"/>
                  <a:gd name="connsiteY132" fmla="*/ 806545 h 1867037"/>
                  <a:gd name="connsiteX133" fmla="*/ 1233076 w 2417513"/>
                  <a:gd name="connsiteY133" fmla="*/ 803211 h 1867037"/>
                  <a:gd name="connsiteX134" fmla="*/ 1230046 w 2417513"/>
                  <a:gd name="connsiteY134" fmla="*/ 798362 h 1867037"/>
                  <a:gd name="connsiteX135" fmla="*/ 1226409 w 2417513"/>
                  <a:gd name="connsiteY135" fmla="*/ 793211 h 1867037"/>
                  <a:gd name="connsiteX136" fmla="*/ 1114435 w 2417513"/>
                  <a:gd name="connsiteY136" fmla="*/ 727754 h 1867037"/>
                  <a:gd name="connsiteX137" fmla="*/ 1110193 w 2417513"/>
                  <a:gd name="connsiteY137" fmla="*/ 725026 h 1867037"/>
                  <a:gd name="connsiteX138" fmla="*/ 1107314 w 2417513"/>
                  <a:gd name="connsiteY138" fmla="*/ 724117 h 1867037"/>
                  <a:gd name="connsiteX139" fmla="*/ 1104586 w 2417513"/>
                  <a:gd name="connsiteY139" fmla="*/ 723966 h 1867037"/>
                  <a:gd name="connsiteX140" fmla="*/ 1103374 w 2417513"/>
                  <a:gd name="connsiteY140" fmla="*/ 725178 h 1867037"/>
                  <a:gd name="connsiteX141" fmla="*/ 1103677 w 2417513"/>
                  <a:gd name="connsiteY141" fmla="*/ 727602 h 1867037"/>
                  <a:gd name="connsiteX142" fmla="*/ 1104132 w 2417513"/>
                  <a:gd name="connsiteY142" fmla="*/ 729269 h 1867037"/>
                  <a:gd name="connsiteX143" fmla="*/ 1104890 w 2417513"/>
                  <a:gd name="connsiteY143" fmla="*/ 730027 h 1867037"/>
                  <a:gd name="connsiteX144" fmla="*/ 1107162 w 2417513"/>
                  <a:gd name="connsiteY144" fmla="*/ 731087 h 1867037"/>
                  <a:gd name="connsiteX145" fmla="*/ 1113072 w 2417513"/>
                  <a:gd name="connsiteY145" fmla="*/ 732906 h 1867037"/>
                  <a:gd name="connsiteX146" fmla="*/ 1113375 w 2417513"/>
                  <a:gd name="connsiteY146" fmla="*/ 732451 h 1867037"/>
                  <a:gd name="connsiteX147" fmla="*/ 1113526 w 2417513"/>
                  <a:gd name="connsiteY147" fmla="*/ 731845 h 1867037"/>
                  <a:gd name="connsiteX148" fmla="*/ 1113072 w 2417513"/>
                  <a:gd name="connsiteY148" fmla="*/ 730178 h 1867037"/>
                  <a:gd name="connsiteX149" fmla="*/ 1113072 w 2417513"/>
                  <a:gd name="connsiteY149" fmla="*/ 728360 h 1867037"/>
                  <a:gd name="connsiteX150" fmla="*/ 1114435 w 2417513"/>
                  <a:gd name="connsiteY150" fmla="*/ 727754 h 1867037"/>
                  <a:gd name="connsiteX151" fmla="*/ 1213985 w 2417513"/>
                  <a:gd name="connsiteY151" fmla="*/ 639266 h 1867037"/>
                  <a:gd name="connsiteX152" fmla="*/ 1217166 w 2417513"/>
                  <a:gd name="connsiteY152" fmla="*/ 636690 h 1867037"/>
                  <a:gd name="connsiteX153" fmla="*/ 1218379 w 2417513"/>
                  <a:gd name="connsiteY153" fmla="*/ 634569 h 1867037"/>
                  <a:gd name="connsiteX154" fmla="*/ 1219288 w 2417513"/>
                  <a:gd name="connsiteY154" fmla="*/ 631841 h 1867037"/>
                  <a:gd name="connsiteX155" fmla="*/ 1219136 w 2417513"/>
                  <a:gd name="connsiteY155" fmla="*/ 628508 h 1867037"/>
                  <a:gd name="connsiteX156" fmla="*/ 1217924 w 2417513"/>
                  <a:gd name="connsiteY156" fmla="*/ 624417 h 1867037"/>
                  <a:gd name="connsiteX157" fmla="*/ 1216409 w 2417513"/>
                  <a:gd name="connsiteY157" fmla="*/ 620780 h 1867037"/>
                  <a:gd name="connsiteX158" fmla="*/ 1215045 w 2417513"/>
                  <a:gd name="connsiteY158" fmla="*/ 620174 h 1867037"/>
                  <a:gd name="connsiteX159" fmla="*/ 1212924 w 2417513"/>
                  <a:gd name="connsiteY159" fmla="*/ 620023 h 1867037"/>
                  <a:gd name="connsiteX160" fmla="*/ 1207469 w 2417513"/>
                  <a:gd name="connsiteY160" fmla="*/ 621386 h 1867037"/>
                  <a:gd name="connsiteX161" fmla="*/ 1202469 w 2417513"/>
                  <a:gd name="connsiteY161" fmla="*/ 623962 h 1867037"/>
                  <a:gd name="connsiteX162" fmla="*/ 1200348 w 2417513"/>
                  <a:gd name="connsiteY162" fmla="*/ 624417 h 1867037"/>
                  <a:gd name="connsiteX163" fmla="*/ 1199438 w 2417513"/>
                  <a:gd name="connsiteY163" fmla="*/ 623659 h 1867037"/>
                  <a:gd name="connsiteX164" fmla="*/ 1199893 w 2417513"/>
                  <a:gd name="connsiteY164" fmla="*/ 622144 h 1867037"/>
                  <a:gd name="connsiteX165" fmla="*/ 1201711 w 2417513"/>
                  <a:gd name="connsiteY165" fmla="*/ 619871 h 1867037"/>
                  <a:gd name="connsiteX166" fmla="*/ 1201408 w 2417513"/>
                  <a:gd name="connsiteY166" fmla="*/ 617447 h 1867037"/>
                  <a:gd name="connsiteX167" fmla="*/ 1197166 w 2417513"/>
                  <a:gd name="connsiteY167" fmla="*/ 613507 h 1867037"/>
                  <a:gd name="connsiteX168" fmla="*/ 1193378 w 2417513"/>
                  <a:gd name="connsiteY168" fmla="*/ 612144 h 1867037"/>
                  <a:gd name="connsiteX169" fmla="*/ 1193529 w 2417513"/>
                  <a:gd name="connsiteY169" fmla="*/ 611386 h 1867037"/>
                  <a:gd name="connsiteX170" fmla="*/ 1195196 w 2417513"/>
                  <a:gd name="connsiteY170" fmla="*/ 610325 h 1867037"/>
                  <a:gd name="connsiteX171" fmla="*/ 1195650 w 2417513"/>
                  <a:gd name="connsiteY171" fmla="*/ 609265 h 1867037"/>
                  <a:gd name="connsiteX172" fmla="*/ 1194741 w 2417513"/>
                  <a:gd name="connsiteY172" fmla="*/ 608204 h 1867037"/>
                  <a:gd name="connsiteX173" fmla="*/ 1190650 w 2417513"/>
                  <a:gd name="connsiteY173" fmla="*/ 605325 h 1867037"/>
                  <a:gd name="connsiteX174" fmla="*/ 1186256 w 2417513"/>
                  <a:gd name="connsiteY174" fmla="*/ 603507 h 1867037"/>
                  <a:gd name="connsiteX175" fmla="*/ 1183832 w 2417513"/>
                  <a:gd name="connsiteY175" fmla="*/ 603052 h 1867037"/>
                  <a:gd name="connsiteX176" fmla="*/ 1177923 w 2417513"/>
                  <a:gd name="connsiteY176" fmla="*/ 603052 h 1867037"/>
                  <a:gd name="connsiteX177" fmla="*/ 1174589 w 2417513"/>
                  <a:gd name="connsiteY177" fmla="*/ 603810 h 1867037"/>
                  <a:gd name="connsiteX178" fmla="*/ 1171256 w 2417513"/>
                  <a:gd name="connsiteY178" fmla="*/ 605174 h 1867037"/>
                  <a:gd name="connsiteX179" fmla="*/ 1166104 w 2417513"/>
                  <a:gd name="connsiteY179" fmla="*/ 608204 h 1867037"/>
                  <a:gd name="connsiteX180" fmla="*/ 1164589 w 2417513"/>
                  <a:gd name="connsiteY180" fmla="*/ 607901 h 1867037"/>
                  <a:gd name="connsiteX181" fmla="*/ 1164286 w 2417513"/>
                  <a:gd name="connsiteY181" fmla="*/ 606992 h 1867037"/>
                  <a:gd name="connsiteX182" fmla="*/ 1164134 w 2417513"/>
                  <a:gd name="connsiteY182" fmla="*/ 604719 h 1867037"/>
                  <a:gd name="connsiteX183" fmla="*/ 1164740 w 2417513"/>
                  <a:gd name="connsiteY183" fmla="*/ 603507 h 1867037"/>
                  <a:gd name="connsiteX184" fmla="*/ 1165801 w 2417513"/>
                  <a:gd name="connsiteY184" fmla="*/ 602295 h 1867037"/>
                  <a:gd name="connsiteX185" fmla="*/ 1171256 w 2417513"/>
                  <a:gd name="connsiteY185" fmla="*/ 598507 h 1867037"/>
                  <a:gd name="connsiteX186" fmla="*/ 1181711 w 2417513"/>
                  <a:gd name="connsiteY186" fmla="*/ 589567 h 1867037"/>
                  <a:gd name="connsiteX187" fmla="*/ 1190196 w 2417513"/>
                  <a:gd name="connsiteY187" fmla="*/ 586688 h 1867037"/>
                  <a:gd name="connsiteX188" fmla="*/ 1195954 w 2417513"/>
                  <a:gd name="connsiteY188" fmla="*/ 584112 h 1867037"/>
                  <a:gd name="connsiteX189" fmla="*/ 1197166 w 2417513"/>
                  <a:gd name="connsiteY189" fmla="*/ 582294 h 1867037"/>
                  <a:gd name="connsiteX190" fmla="*/ 1195650 w 2417513"/>
                  <a:gd name="connsiteY190" fmla="*/ 580324 h 1867037"/>
                  <a:gd name="connsiteX191" fmla="*/ 1193984 w 2417513"/>
                  <a:gd name="connsiteY191" fmla="*/ 579112 h 1867037"/>
                  <a:gd name="connsiteX192" fmla="*/ 1190650 w 2417513"/>
                  <a:gd name="connsiteY192" fmla="*/ 578657 h 1867037"/>
                  <a:gd name="connsiteX193" fmla="*/ 1188983 w 2417513"/>
                  <a:gd name="connsiteY193" fmla="*/ 579415 h 1867037"/>
                  <a:gd name="connsiteX194" fmla="*/ 1187468 w 2417513"/>
                  <a:gd name="connsiteY194" fmla="*/ 579567 h 1867037"/>
                  <a:gd name="connsiteX195" fmla="*/ 1186711 w 2417513"/>
                  <a:gd name="connsiteY195" fmla="*/ 578961 h 1867037"/>
                  <a:gd name="connsiteX196" fmla="*/ 1186408 w 2417513"/>
                  <a:gd name="connsiteY196" fmla="*/ 577900 h 1867037"/>
                  <a:gd name="connsiteX197" fmla="*/ 1187165 w 2417513"/>
                  <a:gd name="connsiteY197" fmla="*/ 576082 h 1867037"/>
                  <a:gd name="connsiteX198" fmla="*/ 1190044 w 2417513"/>
                  <a:gd name="connsiteY198" fmla="*/ 576688 h 1867037"/>
                  <a:gd name="connsiteX199" fmla="*/ 1192620 w 2417513"/>
                  <a:gd name="connsiteY199" fmla="*/ 574718 h 1867037"/>
                  <a:gd name="connsiteX200" fmla="*/ 1195650 w 2417513"/>
                  <a:gd name="connsiteY200" fmla="*/ 574415 h 1867037"/>
                  <a:gd name="connsiteX201" fmla="*/ 1199135 w 2417513"/>
                  <a:gd name="connsiteY201" fmla="*/ 573203 h 1867037"/>
                  <a:gd name="connsiteX202" fmla="*/ 1200802 w 2417513"/>
                  <a:gd name="connsiteY202" fmla="*/ 571991 h 1867037"/>
                  <a:gd name="connsiteX203" fmla="*/ 1203378 w 2417513"/>
                  <a:gd name="connsiteY203" fmla="*/ 569263 h 1867037"/>
                  <a:gd name="connsiteX204" fmla="*/ 1203530 w 2417513"/>
                  <a:gd name="connsiteY204" fmla="*/ 568809 h 1867037"/>
                  <a:gd name="connsiteX205" fmla="*/ 1203075 w 2417513"/>
                  <a:gd name="connsiteY205" fmla="*/ 567142 h 1867037"/>
                  <a:gd name="connsiteX206" fmla="*/ 1200348 w 2417513"/>
                  <a:gd name="connsiteY206" fmla="*/ 562596 h 1867037"/>
                  <a:gd name="connsiteX207" fmla="*/ 1198681 w 2417513"/>
                  <a:gd name="connsiteY207" fmla="*/ 560778 h 1867037"/>
                  <a:gd name="connsiteX208" fmla="*/ 1197166 w 2417513"/>
                  <a:gd name="connsiteY208" fmla="*/ 559717 h 1867037"/>
                  <a:gd name="connsiteX209" fmla="*/ 1194438 w 2417513"/>
                  <a:gd name="connsiteY209" fmla="*/ 558808 h 1867037"/>
                  <a:gd name="connsiteX210" fmla="*/ 1187468 w 2417513"/>
                  <a:gd name="connsiteY210" fmla="*/ 557445 h 1867037"/>
                  <a:gd name="connsiteX211" fmla="*/ 1185044 w 2417513"/>
                  <a:gd name="connsiteY211" fmla="*/ 557445 h 1867037"/>
                  <a:gd name="connsiteX212" fmla="*/ 1180650 w 2417513"/>
                  <a:gd name="connsiteY212" fmla="*/ 557899 h 1867037"/>
                  <a:gd name="connsiteX213" fmla="*/ 1178074 w 2417513"/>
                  <a:gd name="connsiteY213" fmla="*/ 558657 h 1867037"/>
                  <a:gd name="connsiteX214" fmla="*/ 1172013 w 2417513"/>
                  <a:gd name="connsiteY214" fmla="*/ 561233 h 1867037"/>
                  <a:gd name="connsiteX215" fmla="*/ 1162013 w 2417513"/>
                  <a:gd name="connsiteY215" fmla="*/ 562596 h 1867037"/>
                  <a:gd name="connsiteX216" fmla="*/ 1154740 w 2417513"/>
                  <a:gd name="connsiteY216" fmla="*/ 564263 h 1867037"/>
                  <a:gd name="connsiteX217" fmla="*/ 1147770 w 2417513"/>
                  <a:gd name="connsiteY217" fmla="*/ 564869 h 1867037"/>
                  <a:gd name="connsiteX218" fmla="*/ 1144588 w 2417513"/>
                  <a:gd name="connsiteY218" fmla="*/ 565778 h 1867037"/>
                  <a:gd name="connsiteX219" fmla="*/ 1121557 w 2417513"/>
                  <a:gd name="connsiteY219" fmla="*/ 554263 h 1867037"/>
                  <a:gd name="connsiteX220" fmla="*/ 1117769 w 2417513"/>
                  <a:gd name="connsiteY220" fmla="*/ 555172 h 1867037"/>
                  <a:gd name="connsiteX221" fmla="*/ 1115344 w 2417513"/>
                  <a:gd name="connsiteY221" fmla="*/ 557293 h 1867037"/>
                  <a:gd name="connsiteX222" fmla="*/ 1115344 w 2417513"/>
                  <a:gd name="connsiteY222" fmla="*/ 558202 h 1867037"/>
                  <a:gd name="connsiteX223" fmla="*/ 1117314 w 2417513"/>
                  <a:gd name="connsiteY223" fmla="*/ 559717 h 1867037"/>
                  <a:gd name="connsiteX224" fmla="*/ 1120496 w 2417513"/>
                  <a:gd name="connsiteY224" fmla="*/ 559717 h 1867037"/>
                  <a:gd name="connsiteX225" fmla="*/ 1123224 w 2417513"/>
                  <a:gd name="connsiteY225" fmla="*/ 558960 h 1867037"/>
                  <a:gd name="connsiteX226" fmla="*/ 1123981 w 2417513"/>
                  <a:gd name="connsiteY226" fmla="*/ 559566 h 1867037"/>
                  <a:gd name="connsiteX227" fmla="*/ 1121860 w 2417513"/>
                  <a:gd name="connsiteY227" fmla="*/ 562293 h 1867037"/>
                  <a:gd name="connsiteX228" fmla="*/ 1116557 w 2417513"/>
                  <a:gd name="connsiteY228" fmla="*/ 561990 h 1867037"/>
                  <a:gd name="connsiteX229" fmla="*/ 1108374 w 2417513"/>
                  <a:gd name="connsiteY229" fmla="*/ 559717 h 1867037"/>
                  <a:gd name="connsiteX230" fmla="*/ 1096556 w 2417513"/>
                  <a:gd name="connsiteY230" fmla="*/ 561687 h 1867037"/>
                  <a:gd name="connsiteX231" fmla="*/ 1095192 w 2417513"/>
                  <a:gd name="connsiteY231" fmla="*/ 562445 h 1867037"/>
                  <a:gd name="connsiteX232" fmla="*/ 1094586 w 2417513"/>
                  <a:gd name="connsiteY232" fmla="*/ 563808 h 1867037"/>
                  <a:gd name="connsiteX233" fmla="*/ 1094738 w 2417513"/>
                  <a:gd name="connsiteY233" fmla="*/ 565778 h 1867037"/>
                  <a:gd name="connsiteX234" fmla="*/ 1095495 w 2417513"/>
                  <a:gd name="connsiteY234" fmla="*/ 567748 h 1867037"/>
                  <a:gd name="connsiteX235" fmla="*/ 1097010 w 2417513"/>
                  <a:gd name="connsiteY235" fmla="*/ 569566 h 1867037"/>
                  <a:gd name="connsiteX236" fmla="*/ 1100192 w 2417513"/>
                  <a:gd name="connsiteY236" fmla="*/ 571991 h 1867037"/>
                  <a:gd name="connsiteX237" fmla="*/ 1103677 w 2417513"/>
                  <a:gd name="connsiteY237" fmla="*/ 573051 h 1867037"/>
                  <a:gd name="connsiteX238" fmla="*/ 1105041 w 2417513"/>
                  <a:gd name="connsiteY238" fmla="*/ 573960 h 1867037"/>
                  <a:gd name="connsiteX239" fmla="*/ 1107011 w 2417513"/>
                  <a:gd name="connsiteY239" fmla="*/ 577445 h 1867037"/>
                  <a:gd name="connsiteX240" fmla="*/ 1107768 w 2417513"/>
                  <a:gd name="connsiteY240" fmla="*/ 579718 h 1867037"/>
                  <a:gd name="connsiteX241" fmla="*/ 1107465 w 2417513"/>
                  <a:gd name="connsiteY241" fmla="*/ 580627 h 1867037"/>
                  <a:gd name="connsiteX242" fmla="*/ 1103223 w 2417513"/>
                  <a:gd name="connsiteY242" fmla="*/ 578203 h 1867037"/>
                  <a:gd name="connsiteX243" fmla="*/ 1098374 w 2417513"/>
                  <a:gd name="connsiteY243" fmla="*/ 574112 h 1867037"/>
                  <a:gd name="connsiteX244" fmla="*/ 1095041 w 2417513"/>
                  <a:gd name="connsiteY244" fmla="*/ 572597 h 1867037"/>
                  <a:gd name="connsiteX245" fmla="*/ 1091253 w 2417513"/>
                  <a:gd name="connsiteY245" fmla="*/ 572748 h 1867037"/>
                  <a:gd name="connsiteX246" fmla="*/ 1085798 w 2417513"/>
                  <a:gd name="connsiteY246" fmla="*/ 574869 h 1867037"/>
                  <a:gd name="connsiteX247" fmla="*/ 1082010 w 2417513"/>
                  <a:gd name="connsiteY247" fmla="*/ 576839 h 1867037"/>
                  <a:gd name="connsiteX248" fmla="*/ 1080495 w 2417513"/>
                  <a:gd name="connsiteY248" fmla="*/ 578354 h 1867037"/>
                  <a:gd name="connsiteX249" fmla="*/ 1080343 w 2417513"/>
                  <a:gd name="connsiteY249" fmla="*/ 579415 h 1867037"/>
                  <a:gd name="connsiteX250" fmla="*/ 1081404 w 2417513"/>
                  <a:gd name="connsiteY250" fmla="*/ 581536 h 1867037"/>
                  <a:gd name="connsiteX251" fmla="*/ 1082313 w 2417513"/>
                  <a:gd name="connsiteY251" fmla="*/ 582294 h 1867037"/>
                  <a:gd name="connsiteX252" fmla="*/ 1097616 w 2417513"/>
                  <a:gd name="connsiteY252" fmla="*/ 590476 h 1867037"/>
                  <a:gd name="connsiteX253" fmla="*/ 1101253 w 2417513"/>
                  <a:gd name="connsiteY253" fmla="*/ 590325 h 1867037"/>
                  <a:gd name="connsiteX254" fmla="*/ 1105799 w 2417513"/>
                  <a:gd name="connsiteY254" fmla="*/ 589264 h 1867037"/>
                  <a:gd name="connsiteX255" fmla="*/ 1108223 w 2417513"/>
                  <a:gd name="connsiteY255" fmla="*/ 588355 h 1867037"/>
                  <a:gd name="connsiteX256" fmla="*/ 1111859 w 2417513"/>
                  <a:gd name="connsiteY256" fmla="*/ 586082 h 1867037"/>
                  <a:gd name="connsiteX257" fmla="*/ 1114890 w 2417513"/>
                  <a:gd name="connsiteY257" fmla="*/ 587143 h 1867037"/>
                  <a:gd name="connsiteX258" fmla="*/ 1121860 w 2417513"/>
                  <a:gd name="connsiteY258" fmla="*/ 592446 h 1867037"/>
                  <a:gd name="connsiteX259" fmla="*/ 1126860 w 2417513"/>
                  <a:gd name="connsiteY259" fmla="*/ 593810 h 1867037"/>
                  <a:gd name="connsiteX260" fmla="*/ 1122920 w 2417513"/>
                  <a:gd name="connsiteY260" fmla="*/ 594416 h 1867037"/>
                  <a:gd name="connsiteX261" fmla="*/ 1120193 w 2417513"/>
                  <a:gd name="connsiteY261" fmla="*/ 593961 h 1867037"/>
                  <a:gd name="connsiteX262" fmla="*/ 1115799 w 2417513"/>
                  <a:gd name="connsiteY262" fmla="*/ 591688 h 1867037"/>
                  <a:gd name="connsiteX263" fmla="*/ 1112617 w 2417513"/>
                  <a:gd name="connsiteY263" fmla="*/ 591082 h 1867037"/>
                  <a:gd name="connsiteX264" fmla="*/ 1109890 w 2417513"/>
                  <a:gd name="connsiteY264" fmla="*/ 591688 h 1867037"/>
                  <a:gd name="connsiteX265" fmla="*/ 1108526 w 2417513"/>
                  <a:gd name="connsiteY265" fmla="*/ 592749 h 1867037"/>
                  <a:gd name="connsiteX266" fmla="*/ 1107314 w 2417513"/>
                  <a:gd name="connsiteY266" fmla="*/ 594719 h 1867037"/>
                  <a:gd name="connsiteX267" fmla="*/ 1107011 w 2417513"/>
                  <a:gd name="connsiteY267" fmla="*/ 596537 h 1867037"/>
                  <a:gd name="connsiteX268" fmla="*/ 1107465 w 2417513"/>
                  <a:gd name="connsiteY268" fmla="*/ 597901 h 1867037"/>
                  <a:gd name="connsiteX269" fmla="*/ 1109738 w 2417513"/>
                  <a:gd name="connsiteY269" fmla="*/ 598810 h 1867037"/>
                  <a:gd name="connsiteX270" fmla="*/ 1112769 w 2417513"/>
                  <a:gd name="connsiteY270" fmla="*/ 598355 h 1867037"/>
                  <a:gd name="connsiteX271" fmla="*/ 1114132 w 2417513"/>
                  <a:gd name="connsiteY271" fmla="*/ 598810 h 1867037"/>
                  <a:gd name="connsiteX272" fmla="*/ 1115344 w 2417513"/>
                  <a:gd name="connsiteY272" fmla="*/ 600173 h 1867037"/>
                  <a:gd name="connsiteX273" fmla="*/ 1116708 w 2417513"/>
                  <a:gd name="connsiteY273" fmla="*/ 602295 h 1867037"/>
                  <a:gd name="connsiteX274" fmla="*/ 1119132 w 2417513"/>
                  <a:gd name="connsiteY274" fmla="*/ 607143 h 1867037"/>
                  <a:gd name="connsiteX275" fmla="*/ 1119284 w 2417513"/>
                  <a:gd name="connsiteY275" fmla="*/ 608052 h 1867037"/>
                  <a:gd name="connsiteX276" fmla="*/ 1118375 w 2417513"/>
                  <a:gd name="connsiteY276" fmla="*/ 610022 h 1867037"/>
                  <a:gd name="connsiteX277" fmla="*/ 1116708 w 2417513"/>
                  <a:gd name="connsiteY277" fmla="*/ 610931 h 1867037"/>
                  <a:gd name="connsiteX278" fmla="*/ 1115648 w 2417513"/>
                  <a:gd name="connsiteY278" fmla="*/ 610477 h 1867037"/>
                  <a:gd name="connsiteX279" fmla="*/ 1111859 w 2417513"/>
                  <a:gd name="connsiteY279" fmla="*/ 606386 h 1867037"/>
                  <a:gd name="connsiteX280" fmla="*/ 1111102 w 2417513"/>
                  <a:gd name="connsiteY280" fmla="*/ 606386 h 1867037"/>
                  <a:gd name="connsiteX281" fmla="*/ 1109890 w 2417513"/>
                  <a:gd name="connsiteY281" fmla="*/ 615326 h 1867037"/>
                  <a:gd name="connsiteX282" fmla="*/ 1109132 w 2417513"/>
                  <a:gd name="connsiteY282" fmla="*/ 616841 h 1867037"/>
                  <a:gd name="connsiteX283" fmla="*/ 1108678 w 2417513"/>
                  <a:gd name="connsiteY283" fmla="*/ 617144 h 1867037"/>
                  <a:gd name="connsiteX284" fmla="*/ 1097465 w 2417513"/>
                  <a:gd name="connsiteY284" fmla="*/ 619568 h 1867037"/>
                  <a:gd name="connsiteX285" fmla="*/ 1092162 w 2417513"/>
                  <a:gd name="connsiteY285" fmla="*/ 620174 h 1867037"/>
                  <a:gd name="connsiteX286" fmla="*/ 1087010 w 2417513"/>
                  <a:gd name="connsiteY286" fmla="*/ 619720 h 1867037"/>
                  <a:gd name="connsiteX287" fmla="*/ 1084889 w 2417513"/>
                  <a:gd name="connsiteY287" fmla="*/ 618507 h 1867037"/>
                  <a:gd name="connsiteX288" fmla="*/ 1082616 w 2417513"/>
                  <a:gd name="connsiteY288" fmla="*/ 614568 h 1867037"/>
                  <a:gd name="connsiteX289" fmla="*/ 1079585 w 2417513"/>
                  <a:gd name="connsiteY289" fmla="*/ 611386 h 1867037"/>
                  <a:gd name="connsiteX290" fmla="*/ 1077616 w 2417513"/>
                  <a:gd name="connsiteY290" fmla="*/ 610022 h 1867037"/>
                  <a:gd name="connsiteX291" fmla="*/ 1073828 w 2417513"/>
                  <a:gd name="connsiteY291" fmla="*/ 608356 h 1867037"/>
                  <a:gd name="connsiteX292" fmla="*/ 1072616 w 2417513"/>
                  <a:gd name="connsiteY292" fmla="*/ 606840 h 1867037"/>
                  <a:gd name="connsiteX293" fmla="*/ 1071555 w 2417513"/>
                  <a:gd name="connsiteY293" fmla="*/ 604416 h 1867037"/>
                  <a:gd name="connsiteX294" fmla="*/ 1069131 w 2417513"/>
                  <a:gd name="connsiteY294" fmla="*/ 602446 h 1867037"/>
                  <a:gd name="connsiteX295" fmla="*/ 1066403 w 2417513"/>
                  <a:gd name="connsiteY295" fmla="*/ 601840 h 1867037"/>
                  <a:gd name="connsiteX296" fmla="*/ 1061403 w 2417513"/>
                  <a:gd name="connsiteY296" fmla="*/ 601386 h 1867037"/>
                  <a:gd name="connsiteX297" fmla="*/ 1058070 w 2417513"/>
                  <a:gd name="connsiteY297" fmla="*/ 601689 h 1867037"/>
                  <a:gd name="connsiteX298" fmla="*/ 1053524 w 2417513"/>
                  <a:gd name="connsiteY298" fmla="*/ 604719 h 1867037"/>
                  <a:gd name="connsiteX299" fmla="*/ 1052160 w 2417513"/>
                  <a:gd name="connsiteY299" fmla="*/ 606234 h 1867037"/>
                  <a:gd name="connsiteX300" fmla="*/ 1050039 w 2417513"/>
                  <a:gd name="connsiteY300" fmla="*/ 609719 h 1867037"/>
                  <a:gd name="connsiteX301" fmla="*/ 1048372 w 2417513"/>
                  <a:gd name="connsiteY301" fmla="*/ 613204 h 1867037"/>
                  <a:gd name="connsiteX302" fmla="*/ 1047615 w 2417513"/>
                  <a:gd name="connsiteY302" fmla="*/ 616386 h 1867037"/>
                  <a:gd name="connsiteX303" fmla="*/ 1047766 w 2417513"/>
                  <a:gd name="connsiteY303" fmla="*/ 617295 h 1867037"/>
                  <a:gd name="connsiteX304" fmla="*/ 1049130 w 2417513"/>
                  <a:gd name="connsiteY304" fmla="*/ 619568 h 1867037"/>
                  <a:gd name="connsiteX305" fmla="*/ 1056100 w 2417513"/>
                  <a:gd name="connsiteY305" fmla="*/ 626083 h 1867037"/>
                  <a:gd name="connsiteX306" fmla="*/ 1067767 w 2417513"/>
                  <a:gd name="connsiteY306" fmla="*/ 631690 h 1867037"/>
                  <a:gd name="connsiteX307" fmla="*/ 1069585 w 2417513"/>
                  <a:gd name="connsiteY307" fmla="*/ 634569 h 1867037"/>
                  <a:gd name="connsiteX308" fmla="*/ 1071706 w 2417513"/>
                  <a:gd name="connsiteY308" fmla="*/ 635629 h 1867037"/>
                  <a:gd name="connsiteX309" fmla="*/ 1072464 w 2417513"/>
                  <a:gd name="connsiteY309" fmla="*/ 636841 h 1867037"/>
                  <a:gd name="connsiteX310" fmla="*/ 1073222 w 2417513"/>
                  <a:gd name="connsiteY310" fmla="*/ 639114 h 1867037"/>
                  <a:gd name="connsiteX311" fmla="*/ 1074585 w 2417513"/>
                  <a:gd name="connsiteY311" fmla="*/ 640478 h 1867037"/>
                  <a:gd name="connsiteX312" fmla="*/ 1080798 w 2417513"/>
                  <a:gd name="connsiteY312" fmla="*/ 642448 h 1867037"/>
                  <a:gd name="connsiteX313" fmla="*/ 1085646 w 2417513"/>
                  <a:gd name="connsiteY313" fmla="*/ 640629 h 1867037"/>
                  <a:gd name="connsiteX314" fmla="*/ 1087465 w 2417513"/>
                  <a:gd name="connsiteY314" fmla="*/ 640175 h 1867037"/>
                  <a:gd name="connsiteX315" fmla="*/ 1088677 w 2417513"/>
                  <a:gd name="connsiteY315" fmla="*/ 640478 h 1867037"/>
                  <a:gd name="connsiteX316" fmla="*/ 1091859 w 2417513"/>
                  <a:gd name="connsiteY316" fmla="*/ 642448 h 1867037"/>
                  <a:gd name="connsiteX317" fmla="*/ 1093677 w 2417513"/>
                  <a:gd name="connsiteY317" fmla="*/ 645024 h 1867037"/>
                  <a:gd name="connsiteX318" fmla="*/ 1094889 w 2417513"/>
                  <a:gd name="connsiteY318" fmla="*/ 645933 h 1867037"/>
                  <a:gd name="connsiteX319" fmla="*/ 1099889 w 2417513"/>
                  <a:gd name="connsiteY319" fmla="*/ 646539 h 1867037"/>
                  <a:gd name="connsiteX320" fmla="*/ 1102465 w 2417513"/>
                  <a:gd name="connsiteY320" fmla="*/ 647296 h 1867037"/>
                  <a:gd name="connsiteX321" fmla="*/ 1105496 w 2417513"/>
                  <a:gd name="connsiteY321" fmla="*/ 648963 h 1867037"/>
                  <a:gd name="connsiteX322" fmla="*/ 1112920 w 2417513"/>
                  <a:gd name="connsiteY322" fmla="*/ 656539 h 1867037"/>
                  <a:gd name="connsiteX323" fmla="*/ 1118375 w 2417513"/>
                  <a:gd name="connsiteY323" fmla="*/ 661236 h 1867037"/>
                  <a:gd name="connsiteX324" fmla="*/ 1128981 w 2417513"/>
                  <a:gd name="connsiteY324" fmla="*/ 669115 h 1867037"/>
                  <a:gd name="connsiteX325" fmla="*/ 1133224 w 2417513"/>
                  <a:gd name="connsiteY325" fmla="*/ 674419 h 1867037"/>
                  <a:gd name="connsiteX326" fmla="*/ 1138073 w 2417513"/>
                  <a:gd name="connsiteY326" fmla="*/ 679267 h 1867037"/>
                  <a:gd name="connsiteX327" fmla="*/ 1141558 w 2417513"/>
                  <a:gd name="connsiteY327" fmla="*/ 685934 h 1867037"/>
                  <a:gd name="connsiteX328" fmla="*/ 1142921 w 2417513"/>
                  <a:gd name="connsiteY328" fmla="*/ 687752 h 1867037"/>
                  <a:gd name="connsiteX329" fmla="*/ 1144436 w 2417513"/>
                  <a:gd name="connsiteY329" fmla="*/ 688813 h 1867037"/>
                  <a:gd name="connsiteX330" fmla="*/ 1149437 w 2417513"/>
                  <a:gd name="connsiteY330" fmla="*/ 688662 h 1867037"/>
                  <a:gd name="connsiteX331" fmla="*/ 1151861 w 2417513"/>
                  <a:gd name="connsiteY331" fmla="*/ 689571 h 1867037"/>
                  <a:gd name="connsiteX332" fmla="*/ 1155043 w 2417513"/>
                  <a:gd name="connsiteY332" fmla="*/ 691540 h 1867037"/>
                  <a:gd name="connsiteX333" fmla="*/ 1158376 w 2417513"/>
                  <a:gd name="connsiteY333" fmla="*/ 692147 h 1867037"/>
                  <a:gd name="connsiteX334" fmla="*/ 1161861 w 2417513"/>
                  <a:gd name="connsiteY334" fmla="*/ 691389 h 1867037"/>
                  <a:gd name="connsiteX335" fmla="*/ 1165195 w 2417513"/>
                  <a:gd name="connsiteY335" fmla="*/ 689874 h 1867037"/>
                  <a:gd name="connsiteX336" fmla="*/ 1171104 w 2417513"/>
                  <a:gd name="connsiteY336" fmla="*/ 685177 h 1867037"/>
                  <a:gd name="connsiteX337" fmla="*/ 1171407 w 2417513"/>
                  <a:gd name="connsiteY337" fmla="*/ 684116 h 1867037"/>
                  <a:gd name="connsiteX338" fmla="*/ 1171256 w 2417513"/>
                  <a:gd name="connsiteY338" fmla="*/ 682601 h 1867037"/>
                  <a:gd name="connsiteX339" fmla="*/ 1170195 w 2417513"/>
                  <a:gd name="connsiteY339" fmla="*/ 679116 h 1867037"/>
                  <a:gd name="connsiteX340" fmla="*/ 1165043 w 2417513"/>
                  <a:gd name="connsiteY340" fmla="*/ 671085 h 1867037"/>
                  <a:gd name="connsiteX341" fmla="*/ 1163983 w 2417513"/>
                  <a:gd name="connsiteY341" fmla="*/ 668206 h 1867037"/>
                  <a:gd name="connsiteX342" fmla="*/ 1165952 w 2417513"/>
                  <a:gd name="connsiteY342" fmla="*/ 665630 h 1867037"/>
                  <a:gd name="connsiteX343" fmla="*/ 1167771 w 2417513"/>
                  <a:gd name="connsiteY343" fmla="*/ 664267 h 1867037"/>
                  <a:gd name="connsiteX344" fmla="*/ 1168225 w 2417513"/>
                  <a:gd name="connsiteY344" fmla="*/ 664570 h 1867037"/>
                  <a:gd name="connsiteX345" fmla="*/ 1168377 w 2417513"/>
                  <a:gd name="connsiteY345" fmla="*/ 665479 h 1867037"/>
                  <a:gd name="connsiteX346" fmla="*/ 1168074 w 2417513"/>
                  <a:gd name="connsiteY346" fmla="*/ 666843 h 1867037"/>
                  <a:gd name="connsiteX347" fmla="*/ 1168225 w 2417513"/>
                  <a:gd name="connsiteY347" fmla="*/ 668812 h 1867037"/>
                  <a:gd name="connsiteX348" fmla="*/ 1168831 w 2417513"/>
                  <a:gd name="connsiteY348" fmla="*/ 671237 h 1867037"/>
                  <a:gd name="connsiteX349" fmla="*/ 1170043 w 2417513"/>
                  <a:gd name="connsiteY349" fmla="*/ 672903 h 1867037"/>
                  <a:gd name="connsiteX350" fmla="*/ 1171710 w 2417513"/>
                  <a:gd name="connsiteY350" fmla="*/ 673812 h 1867037"/>
                  <a:gd name="connsiteX351" fmla="*/ 1188074 w 2417513"/>
                  <a:gd name="connsiteY351" fmla="*/ 675479 h 1867037"/>
                  <a:gd name="connsiteX352" fmla="*/ 1191408 w 2417513"/>
                  <a:gd name="connsiteY352" fmla="*/ 675176 h 1867037"/>
                  <a:gd name="connsiteX353" fmla="*/ 1197923 w 2417513"/>
                  <a:gd name="connsiteY353" fmla="*/ 673206 h 1867037"/>
                  <a:gd name="connsiteX354" fmla="*/ 1200802 w 2417513"/>
                  <a:gd name="connsiteY354" fmla="*/ 671237 h 1867037"/>
                  <a:gd name="connsiteX355" fmla="*/ 1203378 w 2417513"/>
                  <a:gd name="connsiteY355" fmla="*/ 668661 h 1867037"/>
                  <a:gd name="connsiteX356" fmla="*/ 1205499 w 2417513"/>
                  <a:gd name="connsiteY356" fmla="*/ 667146 h 1867037"/>
                  <a:gd name="connsiteX357" fmla="*/ 1214591 w 2417513"/>
                  <a:gd name="connsiteY357" fmla="*/ 665024 h 1867037"/>
                  <a:gd name="connsiteX358" fmla="*/ 1214287 w 2417513"/>
                  <a:gd name="connsiteY358" fmla="*/ 658206 h 1867037"/>
                  <a:gd name="connsiteX359" fmla="*/ 1211712 w 2417513"/>
                  <a:gd name="connsiteY359" fmla="*/ 655327 h 1867037"/>
                  <a:gd name="connsiteX360" fmla="*/ 1210651 w 2417513"/>
                  <a:gd name="connsiteY360" fmla="*/ 655024 h 1867037"/>
                  <a:gd name="connsiteX361" fmla="*/ 1210499 w 2417513"/>
                  <a:gd name="connsiteY361" fmla="*/ 654266 h 1867037"/>
                  <a:gd name="connsiteX362" fmla="*/ 1214591 w 2417513"/>
                  <a:gd name="connsiteY362" fmla="*/ 649115 h 1867037"/>
                  <a:gd name="connsiteX363" fmla="*/ 1215045 w 2417513"/>
                  <a:gd name="connsiteY363" fmla="*/ 647751 h 1867037"/>
                  <a:gd name="connsiteX364" fmla="*/ 1215197 w 2417513"/>
                  <a:gd name="connsiteY364" fmla="*/ 646084 h 1867037"/>
                  <a:gd name="connsiteX365" fmla="*/ 1214591 w 2417513"/>
                  <a:gd name="connsiteY365" fmla="*/ 644417 h 1867037"/>
                  <a:gd name="connsiteX366" fmla="*/ 1213075 w 2417513"/>
                  <a:gd name="connsiteY366" fmla="*/ 642599 h 1867037"/>
                  <a:gd name="connsiteX367" fmla="*/ 1209590 w 2417513"/>
                  <a:gd name="connsiteY367" fmla="*/ 640478 h 1867037"/>
                  <a:gd name="connsiteX368" fmla="*/ 1209439 w 2417513"/>
                  <a:gd name="connsiteY368" fmla="*/ 640023 h 1867037"/>
                  <a:gd name="connsiteX369" fmla="*/ 1210954 w 2417513"/>
                  <a:gd name="connsiteY369" fmla="*/ 640023 h 1867037"/>
                  <a:gd name="connsiteX370" fmla="*/ 1213985 w 2417513"/>
                  <a:gd name="connsiteY370" fmla="*/ 639266 h 1867037"/>
                  <a:gd name="connsiteX371" fmla="*/ 1361414 w 2417513"/>
                  <a:gd name="connsiteY371" fmla="*/ 589112 h 1867037"/>
                  <a:gd name="connsiteX372" fmla="*/ 1366414 w 2417513"/>
                  <a:gd name="connsiteY372" fmla="*/ 583203 h 1867037"/>
                  <a:gd name="connsiteX373" fmla="*/ 1368233 w 2417513"/>
                  <a:gd name="connsiteY373" fmla="*/ 580476 h 1867037"/>
                  <a:gd name="connsiteX374" fmla="*/ 1368990 w 2417513"/>
                  <a:gd name="connsiteY374" fmla="*/ 578657 h 1867037"/>
                  <a:gd name="connsiteX375" fmla="*/ 1370202 w 2417513"/>
                  <a:gd name="connsiteY375" fmla="*/ 577294 h 1867037"/>
                  <a:gd name="connsiteX376" fmla="*/ 1374900 w 2417513"/>
                  <a:gd name="connsiteY376" fmla="*/ 574415 h 1867037"/>
                  <a:gd name="connsiteX377" fmla="*/ 1380354 w 2417513"/>
                  <a:gd name="connsiteY377" fmla="*/ 568809 h 1867037"/>
                  <a:gd name="connsiteX378" fmla="*/ 1383082 w 2417513"/>
                  <a:gd name="connsiteY378" fmla="*/ 565172 h 1867037"/>
                  <a:gd name="connsiteX379" fmla="*/ 1385355 w 2417513"/>
                  <a:gd name="connsiteY379" fmla="*/ 561384 h 1867037"/>
                  <a:gd name="connsiteX380" fmla="*/ 1386112 w 2417513"/>
                  <a:gd name="connsiteY380" fmla="*/ 559111 h 1867037"/>
                  <a:gd name="connsiteX381" fmla="*/ 1383233 w 2417513"/>
                  <a:gd name="connsiteY381" fmla="*/ 556990 h 1867037"/>
                  <a:gd name="connsiteX382" fmla="*/ 1378536 w 2417513"/>
                  <a:gd name="connsiteY382" fmla="*/ 554717 h 1867037"/>
                  <a:gd name="connsiteX383" fmla="*/ 1365960 w 2417513"/>
                  <a:gd name="connsiteY383" fmla="*/ 551687 h 1867037"/>
                  <a:gd name="connsiteX384" fmla="*/ 1351111 w 2417513"/>
                  <a:gd name="connsiteY384" fmla="*/ 550626 h 1867037"/>
                  <a:gd name="connsiteX385" fmla="*/ 1344444 w 2417513"/>
                  <a:gd name="connsiteY385" fmla="*/ 551384 h 1867037"/>
                  <a:gd name="connsiteX386" fmla="*/ 1334898 w 2417513"/>
                  <a:gd name="connsiteY386" fmla="*/ 553505 h 1867037"/>
                  <a:gd name="connsiteX387" fmla="*/ 1332474 w 2417513"/>
                  <a:gd name="connsiteY387" fmla="*/ 552444 h 1867037"/>
                  <a:gd name="connsiteX388" fmla="*/ 1327625 w 2417513"/>
                  <a:gd name="connsiteY388" fmla="*/ 548656 h 1867037"/>
                  <a:gd name="connsiteX389" fmla="*/ 1325049 w 2417513"/>
                  <a:gd name="connsiteY389" fmla="*/ 547596 h 1867037"/>
                  <a:gd name="connsiteX390" fmla="*/ 1319746 w 2417513"/>
                  <a:gd name="connsiteY390" fmla="*/ 545929 h 1867037"/>
                  <a:gd name="connsiteX391" fmla="*/ 1308988 w 2417513"/>
                  <a:gd name="connsiteY391" fmla="*/ 543353 h 1867037"/>
                  <a:gd name="connsiteX392" fmla="*/ 1302473 w 2417513"/>
                  <a:gd name="connsiteY392" fmla="*/ 542444 h 1867037"/>
                  <a:gd name="connsiteX393" fmla="*/ 1298685 w 2417513"/>
                  <a:gd name="connsiteY393" fmla="*/ 543050 h 1867037"/>
                  <a:gd name="connsiteX394" fmla="*/ 1292169 w 2417513"/>
                  <a:gd name="connsiteY394" fmla="*/ 545626 h 1867037"/>
                  <a:gd name="connsiteX395" fmla="*/ 1287927 w 2417513"/>
                  <a:gd name="connsiteY395" fmla="*/ 544868 h 1867037"/>
                  <a:gd name="connsiteX396" fmla="*/ 1273078 w 2417513"/>
                  <a:gd name="connsiteY396" fmla="*/ 545929 h 1867037"/>
                  <a:gd name="connsiteX397" fmla="*/ 1266411 w 2417513"/>
                  <a:gd name="connsiteY397" fmla="*/ 547444 h 1867037"/>
                  <a:gd name="connsiteX398" fmla="*/ 1259744 w 2417513"/>
                  <a:gd name="connsiteY398" fmla="*/ 549869 h 1867037"/>
                  <a:gd name="connsiteX399" fmla="*/ 1257925 w 2417513"/>
                  <a:gd name="connsiteY399" fmla="*/ 550778 h 1867037"/>
                  <a:gd name="connsiteX400" fmla="*/ 1255653 w 2417513"/>
                  <a:gd name="connsiteY400" fmla="*/ 552899 h 1867037"/>
                  <a:gd name="connsiteX401" fmla="*/ 1255047 w 2417513"/>
                  <a:gd name="connsiteY401" fmla="*/ 554263 h 1867037"/>
                  <a:gd name="connsiteX402" fmla="*/ 1254895 w 2417513"/>
                  <a:gd name="connsiteY402" fmla="*/ 555778 h 1867037"/>
                  <a:gd name="connsiteX403" fmla="*/ 1255047 w 2417513"/>
                  <a:gd name="connsiteY403" fmla="*/ 557142 h 1867037"/>
                  <a:gd name="connsiteX404" fmla="*/ 1255501 w 2417513"/>
                  <a:gd name="connsiteY404" fmla="*/ 558505 h 1867037"/>
                  <a:gd name="connsiteX405" fmla="*/ 1257471 w 2417513"/>
                  <a:gd name="connsiteY405" fmla="*/ 562596 h 1867037"/>
                  <a:gd name="connsiteX406" fmla="*/ 1261865 w 2417513"/>
                  <a:gd name="connsiteY406" fmla="*/ 567293 h 1867037"/>
                  <a:gd name="connsiteX407" fmla="*/ 1264592 w 2417513"/>
                  <a:gd name="connsiteY407" fmla="*/ 568960 h 1867037"/>
                  <a:gd name="connsiteX408" fmla="*/ 1267471 w 2417513"/>
                  <a:gd name="connsiteY408" fmla="*/ 569718 h 1867037"/>
                  <a:gd name="connsiteX409" fmla="*/ 1267320 w 2417513"/>
                  <a:gd name="connsiteY409" fmla="*/ 570172 h 1867037"/>
                  <a:gd name="connsiteX410" fmla="*/ 1263986 w 2417513"/>
                  <a:gd name="connsiteY410" fmla="*/ 570172 h 1867037"/>
                  <a:gd name="connsiteX411" fmla="*/ 1259138 w 2417513"/>
                  <a:gd name="connsiteY411" fmla="*/ 568960 h 1867037"/>
                  <a:gd name="connsiteX412" fmla="*/ 1248531 w 2417513"/>
                  <a:gd name="connsiteY412" fmla="*/ 565324 h 1867037"/>
                  <a:gd name="connsiteX413" fmla="*/ 1246865 w 2417513"/>
                  <a:gd name="connsiteY413" fmla="*/ 565475 h 1867037"/>
                  <a:gd name="connsiteX414" fmla="*/ 1243531 w 2417513"/>
                  <a:gd name="connsiteY414" fmla="*/ 566687 h 1867037"/>
                  <a:gd name="connsiteX415" fmla="*/ 1241864 w 2417513"/>
                  <a:gd name="connsiteY415" fmla="*/ 568354 h 1867037"/>
                  <a:gd name="connsiteX416" fmla="*/ 1241561 w 2417513"/>
                  <a:gd name="connsiteY416" fmla="*/ 569718 h 1867037"/>
                  <a:gd name="connsiteX417" fmla="*/ 1241561 w 2417513"/>
                  <a:gd name="connsiteY417" fmla="*/ 571385 h 1867037"/>
                  <a:gd name="connsiteX418" fmla="*/ 1241713 w 2417513"/>
                  <a:gd name="connsiteY418" fmla="*/ 575627 h 1867037"/>
                  <a:gd name="connsiteX419" fmla="*/ 1242773 w 2417513"/>
                  <a:gd name="connsiteY419" fmla="*/ 587749 h 1867037"/>
                  <a:gd name="connsiteX420" fmla="*/ 1243228 w 2417513"/>
                  <a:gd name="connsiteY420" fmla="*/ 595779 h 1867037"/>
                  <a:gd name="connsiteX421" fmla="*/ 1243228 w 2417513"/>
                  <a:gd name="connsiteY421" fmla="*/ 598810 h 1867037"/>
                  <a:gd name="connsiteX422" fmla="*/ 1242622 w 2417513"/>
                  <a:gd name="connsiteY422" fmla="*/ 604871 h 1867037"/>
                  <a:gd name="connsiteX423" fmla="*/ 1242622 w 2417513"/>
                  <a:gd name="connsiteY423" fmla="*/ 607901 h 1867037"/>
                  <a:gd name="connsiteX424" fmla="*/ 1242925 w 2417513"/>
                  <a:gd name="connsiteY424" fmla="*/ 610931 h 1867037"/>
                  <a:gd name="connsiteX425" fmla="*/ 1243531 w 2417513"/>
                  <a:gd name="connsiteY425" fmla="*/ 613659 h 1867037"/>
                  <a:gd name="connsiteX426" fmla="*/ 1244440 w 2417513"/>
                  <a:gd name="connsiteY426" fmla="*/ 616235 h 1867037"/>
                  <a:gd name="connsiteX427" fmla="*/ 1252622 w 2417513"/>
                  <a:gd name="connsiteY427" fmla="*/ 630781 h 1867037"/>
                  <a:gd name="connsiteX428" fmla="*/ 1254289 w 2417513"/>
                  <a:gd name="connsiteY428" fmla="*/ 638963 h 1867037"/>
                  <a:gd name="connsiteX429" fmla="*/ 1255047 w 2417513"/>
                  <a:gd name="connsiteY429" fmla="*/ 647448 h 1867037"/>
                  <a:gd name="connsiteX430" fmla="*/ 1254289 w 2417513"/>
                  <a:gd name="connsiteY430" fmla="*/ 655327 h 1867037"/>
                  <a:gd name="connsiteX431" fmla="*/ 1259289 w 2417513"/>
                  <a:gd name="connsiteY431" fmla="*/ 656085 h 1867037"/>
                  <a:gd name="connsiteX432" fmla="*/ 1270199 w 2417513"/>
                  <a:gd name="connsiteY432" fmla="*/ 654569 h 1867037"/>
                  <a:gd name="connsiteX433" fmla="*/ 1273381 w 2417513"/>
                  <a:gd name="connsiteY433" fmla="*/ 654569 h 1867037"/>
                  <a:gd name="connsiteX434" fmla="*/ 1283078 w 2417513"/>
                  <a:gd name="connsiteY434" fmla="*/ 656691 h 1867037"/>
                  <a:gd name="connsiteX435" fmla="*/ 1285957 w 2417513"/>
                  <a:gd name="connsiteY435" fmla="*/ 655327 h 1867037"/>
                  <a:gd name="connsiteX436" fmla="*/ 1287775 w 2417513"/>
                  <a:gd name="connsiteY436" fmla="*/ 650175 h 1867037"/>
                  <a:gd name="connsiteX437" fmla="*/ 1290502 w 2417513"/>
                  <a:gd name="connsiteY437" fmla="*/ 643811 h 1867037"/>
                  <a:gd name="connsiteX438" fmla="*/ 1299139 w 2417513"/>
                  <a:gd name="connsiteY438" fmla="*/ 635175 h 1867037"/>
                  <a:gd name="connsiteX439" fmla="*/ 1299442 w 2417513"/>
                  <a:gd name="connsiteY439" fmla="*/ 634417 h 1867037"/>
                  <a:gd name="connsiteX440" fmla="*/ 1299594 w 2417513"/>
                  <a:gd name="connsiteY440" fmla="*/ 631235 h 1867037"/>
                  <a:gd name="connsiteX441" fmla="*/ 1299291 w 2417513"/>
                  <a:gd name="connsiteY441" fmla="*/ 629568 h 1867037"/>
                  <a:gd name="connsiteX442" fmla="*/ 1298533 w 2417513"/>
                  <a:gd name="connsiteY442" fmla="*/ 628205 h 1867037"/>
                  <a:gd name="connsiteX443" fmla="*/ 1293078 w 2417513"/>
                  <a:gd name="connsiteY443" fmla="*/ 622447 h 1867037"/>
                  <a:gd name="connsiteX444" fmla="*/ 1288987 w 2417513"/>
                  <a:gd name="connsiteY444" fmla="*/ 620629 h 1867037"/>
                  <a:gd name="connsiteX445" fmla="*/ 1282623 w 2417513"/>
                  <a:gd name="connsiteY445" fmla="*/ 618962 h 1867037"/>
                  <a:gd name="connsiteX446" fmla="*/ 1280957 w 2417513"/>
                  <a:gd name="connsiteY446" fmla="*/ 617901 h 1867037"/>
                  <a:gd name="connsiteX447" fmla="*/ 1298230 w 2417513"/>
                  <a:gd name="connsiteY447" fmla="*/ 615629 h 1867037"/>
                  <a:gd name="connsiteX448" fmla="*/ 1304745 w 2417513"/>
                  <a:gd name="connsiteY448" fmla="*/ 615629 h 1867037"/>
                  <a:gd name="connsiteX449" fmla="*/ 1330656 w 2417513"/>
                  <a:gd name="connsiteY449" fmla="*/ 620023 h 1867037"/>
                  <a:gd name="connsiteX450" fmla="*/ 1334898 w 2417513"/>
                  <a:gd name="connsiteY450" fmla="*/ 619568 h 1867037"/>
                  <a:gd name="connsiteX451" fmla="*/ 1338080 w 2417513"/>
                  <a:gd name="connsiteY451" fmla="*/ 618204 h 1867037"/>
                  <a:gd name="connsiteX452" fmla="*/ 1343838 w 2417513"/>
                  <a:gd name="connsiteY452" fmla="*/ 613204 h 1867037"/>
                  <a:gd name="connsiteX453" fmla="*/ 1347020 w 2417513"/>
                  <a:gd name="connsiteY453" fmla="*/ 609719 h 1867037"/>
                  <a:gd name="connsiteX454" fmla="*/ 1351565 w 2417513"/>
                  <a:gd name="connsiteY454" fmla="*/ 603961 h 1867037"/>
                  <a:gd name="connsiteX455" fmla="*/ 1355959 w 2417513"/>
                  <a:gd name="connsiteY455" fmla="*/ 597749 h 1867037"/>
                  <a:gd name="connsiteX456" fmla="*/ 1356869 w 2417513"/>
                  <a:gd name="connsiteY456" fmla="*/ 595173 h 1867037"/>
                  <a:gd name="connsiteX457" fmla="*/ 1355808 w 2417513"/>
                  <a:gd name="connsiteY457" fmla="*/ 594113 h 1867037"/>
                  <a:gd name="connsiteX458" fmla="*/ 1353384 w 2417513"/>
                  <a:gd name="connsiteY458" fmla="*/ 592900 h 1867037"/>
                  <a:gd name="connsiteX459" fmla="*/ 1360353 w 2417513"/>
                  <a:gd name="connsiteY459" fmla="*/ 590325 h 1867037"/>
                  <a:gd name="connsiteX460" fmla="*/ 1361414 w 2417513"/>
                  <a:gd name="connsiteY460" fmla="*/ 589112 h 1867037"/>
                  <a:gd name="connsiteX461" fmla="*/ 1096404 w 2417513"/>
                  <a:gd name="connsiteY461" fmla="*/ 771089 h 1867037"/>
                  <a:gd name="connsiteX462" fmla="*/ 1097162 w 2417513"/>
                  <a:gd name="connsiteY462" fmla="*/ 766392 h 1867037"/>
                  <a:gd name="connsiteX463" fmla="*/ 1097010 w 2417513"/>
                  <a:gd name="connsiteY463" fmla="*/ 763513 h 1867037"/>
                  <a:gd name="connsiteX464" fmla="*/ 1095192 w 2417513"/>
                  <a:gd name="connsiteY464" fmla="*/ 755634 h 1867037"/>
                  <a:gd name="connsiteX465" fmla="*/ 1093222 w 2417513"/>
                  <a:gd name="connsiteY465" fmla="*/ 751694 h 1867037"/>
                  <a:gd name="connsiteX466" fmla="*/ 1091859 w 2417513"/>
                  <a:gd name="connsiteY466" fmla="*/ 750482 h 1867037"/>
                  <a:gd name="connsiteX467" fmla="*/ 1090344 w 2417513"/>
                  <a:gd name="connsiteY467" fmla="*/ 749876 h 1867037"/>
                  <a:gd name="connsiteX468" fmla="*/ 1087919 w 2417513"/>
                  <a:gd name="connsiteY468" fmla="*/ 749724 h 1867037"/>
                  <a:gd name="connsiteX469" fmla="*/ 1079131 w 2417513"/>
                  <a:gd name="connsiteY469" fmla="*/ 750482 h 1867037"/>
                  <a:gd name="connsiteX470" fmla="*/ 1077616 w 2417513"/>
                  <a:gd name="connsiteY470" fmla="*/ 748664 h 1867037"/>
                  <a:gd name="connsiteX471" fmla="*/ 1077313 w 2417513"/>
                  <a:gd name="connsiteY471" fmla="*/ 744876 h 1867037"/>
                  <a:gd name="connsiteX472" fmla="*/ 1076858 w 2417513"/>
                  <a:gd name="connsiteY472" fmla="*/ 743967 h 1867037"/>
                  <a:gd name="connsiteX473" fmla="*/ 1075949 w 2417513"/>
                  <a:gd name="connsiteY473" fmla="*/ 743360 h 1867037"/>
                  <a:gd name="connsiteX474" fmla="*/ 1074434 w 2417513"/>
                  <a:gd name="connsiteY474" fmla="*/ 742906 h 1867037"/>
                  <a:gd name="connsiteX475" fmla="*/ 1068828 w 2417513"/>
                  <a:gd name="connsiteY475" fmla="*/ 743512 h 1867037"/>
                  <a:gd name="connsiteX476" fmla="*/ 1067312 w 2417513"/>
                  <a:gd name="connsiteY476" fmla="*/ 743057 h 1867037"/>
                  <a:gd name="connsiteX477" fmla="*/ 1057009 w 2417513"/>
                  <a:gd name="connsiteY477" fmla="*/ 736694 h 1867037"/>
                  <a:gd name="connsiteX478" fmla="*/ 1050948 w 2417513"/>
                  <a:gd name="connsiteY478" fmla="*/ 733966 h 1867037"/>
                  <a:gd name="connsiteX479" fmla="*/ 1046554 w 2417513"/>
                  <a:gd name="connsiteY479" fmla="*/ 731390 h 1867037"/>
                  <a:gd name="connsiteX480" fmla="*/ 1038372 w 2417513"/>
                  <a:gd name="connsiteY480" fmla="*/ 724723 h 1867037"/>
                  <a:gd name="connsiteX481" fmla="*/ 1037311 w 2417513"/>
                  <a:gd name="connsiteY481" fmla="*/ 725026 h 1867037"/>
                  <a:gd name="connsiteX482" fmla="*/ 1037463 w 2417513"/>
                  <a:gd name="connsiteY482" fmla="*/ 726542 h 1867037"/>
                  <a:gd name="connsiteX483" fmla="*/ 1039736 w 2417513"/>
                  <a:gd name="connsiteY483" fmla="*/ 730481 h 1867037"/>
                  <a:gd name="connsiteX484" fmla="*/ 1039584 w 2417513"/>
                  <a:gd name="connsiteY484" fmla="*/ 731239 h 1867037"/>
                  <a:gd name="connsiteX485" fmla="*/ 1039129 w 2417513"/>
                  <a:gd name="connsiteY485" fmla="*/ 731693 h 1867037"/>
                  <a:gd name="connsiteX486" fmla="*/ 1037614 w 2417513"/>
                  <a:gd name="connsiteY486" fmla="*/ 731996 h 1867037"/>
                  <a:gd name="connsiteX487" fmla="*/ 1036857 w 2417513"/>
                  <a:gd name="connsiteY487" fmla="*/ 731996 h 1867037"/>
                  <a:gd name="connsiteX488" fmla="*/ 1034281 w 2417513"/>
                  <a:gd name="connsiteY488" fmla="*/ 730178 h 1867037"/>
                  <a:gd name="connsiteX489" fmla="*/ 1031553 w 2417513"/>
                  <a:gd name="connsiteY489" fmla="*/ 728966 h 1867037"/>
                  <a:gd name="connsiteX490" fmla="*/ 1023674 w 2417513"/>
                  <a:gd name="connsiteY490" fmla="*/ 726087 h 1867037"/>
                  <a:gd name="connsiteX491" fmla="*/ 1016250 w 2417513"/>
                  <a:gd name="connsiteY491" fmla="*/ 720935 h 1867037"/>
                  <a:gd name="connsiteX492" fmla="*/ 1013523 w 2417513"/>
                  <a:gd name="connsiteY492" fmla="*/ 719572 h 1867037"/>
                  <a:gd name="connsiteX493" fmla="*/ 1007613 w 2417513"/>
                  <a:gd name="connsiteY493" fmla="*/ 711390 h 1867037"/>
                  <a:gd name="connsiteX494" fmla="*/ 998067 w 2417513"/>
                  <a:gd name="connsiteY494" fmla="*/ 704571 h 1867037"/>
                  <a:gd name="connsiteX495" fmla="*/ 996552 w 2417513"/>
                  <a:gd name="connsiteY495" fmla="*/ 702601 h 1867037"/>
                  <a:gd name="connsiteX496" fmla="*/ 996704 w 2417513"/>
                  <a:gd name="connsiteY496" fmla="*/ 701238 h 1867037"/>
                  <a:gd name="connsiteX497" fmla="*/ 998825 w 2417513"/>
                  <a:gd name="connsiteY497" fmla="*/ 695480 h 1867037"/>
                  <a:gd name="connsiteX498" fmla="*/ 1000189 w 2417513"/>
                  <a:gd name="connsiteY498" fmla="*/ 692904 h 1867037"/>
                  <a:gd name="connsiteX499" fmla="*/ 1001552 w 2417513"/>
                  <a:gd name="connsiteY499" fmla="*/ 691086 h 1867037"/>
                  <a:gd name="connsiteX500" fmla="*/ 1002310 w 2417513"/>
                  <a:gd name="connsiteY500" fmla="*/ 688813 h 1867037"/>
                  <a:gd name="connsiteX501" fmla="*/ 1002461 w 2417513"/>
                  <a:gd name="connsiteY501" fmla="*/ 686237 h 1867037"/>
                  <a:gd name="connsiteX502" fmla="*/ 1002310 w 2417513"/>
                  <a:gd name="connsiteY502" fmla="*/ 684267 h 1867037"/>
                  <a:gd name="connsiteX503" fmla="*/ 1001855 w 2417513"/>
                  <a:gd name="connsiteY503" fmla="*/ 683055 h 1867037"/>
                  <a:gd name="connsiteX504" fmla="*/ 1001552 w 2417513"/>
                  <a:gd name="connsiteY504" fmla="*/ 678964 h 1867037"/>
                  <a:gd name="connsiteX505" fmla="*/ 997916 w 2417513"/>
                  <a:gd name="connsiteY505" fmla="*/ 672752 h 1867037"/>
                  <a:gd name="connsiteX506" fmla="*/ 991097 w 2417513"/>
                  <a:gd name="connsiteY506" fmla="*/ 664115 h 1867037"/>
                  <a:gd name="connsiteX507" fmla="*/ 989885 w 2417513"/>
                  <a:gd name="connsiteY507" fmla="*/ 662297 h 1867037"/>
                  <a:gd name="connsiteX508" fmla="*/ 988067 w 2417513"/>
                  <a:gd name="connsiteY508" fmla="*/ 658357 h 1867037"/>
                  <a:gd name="connsiteX509" fmla="*/ 978370 w 2417513"/>
                  <a:gd name="connsiteY509" fmla="*/ 635932 h 1867037"/>
                  <a:gd name="connsiteX510" fmla="*/ 978067 w 2417513"/>
                  <a:gd name="connsiteY510" fmla="*/ 633356 h 1867037"/>
                  <a:gd name="connsiteX511" fmla="*/ 976703 w 2417513"/>
                  <a:gd name="connsiteY511" fmla="*/ 628356 h 1867037"/>
                  <a:gd name="connsiteX512" fmla="*/ 975945 w 2417513"/>
                  <a:gd name="connsiteY512" fmla="*/ 624568 h 1867037"/>
                  <a:gd name="connsiteX513" fmla="*/ 975036 w 2417513"/>
                  <a:gd name="connsiteY513" fmla="*/ 622750 h 1867037"/>
                  <a:gd name="connsiteX514" fmla="*/ 973521 w 2417513"/>
                  <a:gd name="connsiteY514" fmla="*/ 620780 h 1867037"/>
                  <a:gd name="connsiteX515" fmla="*/ 973066 w 2417513"/>
                  <a:gd name="connsiteY515" fmla="*/ 619114 h 1867037"/>
                  <a:gd name="connsiteX516" fmla="*/ 973521 w 2417513"/>
                  <a:gd name="connsiteY516" fmla="*/ 617901 h 1867037"/>
                  <a:gd name="connsiteX517" fmla="*/ 973369 w 2417513"/>
                  <a:gd name="connsiteY517" fmla="*/ 616689 h 1867037"/>
                  <a:gd name="connsiteX518" fmla="*/ 971097 w 2417513"/>
                  <a:gd name="connsiteY518" fmla="*/ 613507 h 1867037"/>
                  <a:gd name="connsiteX519" fmla="*/ 967612 w 2417513"/>
                  <a:gd name="connsiteY519" fmla="*/ 609416 h 1867037"/>
                  <a:gd name="connsiteX520" fmla="*/ 962460 w 2417513"/>
                  <a:gd name="connsiteY520" fmla="*/ 605022 h 1867037"/>
                  <a:gd name="connsiteX521" fmla="*/ 955035 w 2417513"/>
                  <a:gd name="connsiteY521" fmla="*/ 601840 h 1867037"/>
                  <a:gd name="connsiteX522" fmla="*/ 944126 w 2417513"/>
                  <a:gd name="connsiteY522" fmla="*/ 595325 h 1867037"/>
                  <a:gd name="connsiteX523" fmla="*/ 934580 w 2417513"/>
                  <a:gd name="connsiteY523" fmla="*/ 591688 h 1867037"/>
                  <a:gd name="connsiteX524" fmla="*/ 931247 w 2417513"/>
                  <a:gd name="connsiteY524" fmla="*/ 591082 h 1867037"/>
                  <a:gd name="connsiteX525" fmla="*/ 928974 w 2417513"/>
                  <a:gd name="connsiteY525" fmla="*/ 592749 h 1867037"/>
                  <a:gd name="connsiteX526" fmla="*/ 927762 w 2417513"/>
                  <a:gd name="connsiteY526" fmla="*/ 595325 h 1867037"/>
                  <a:gd name="connsiteX527" fmla="*/ 926701 w 2417513"/>
                  <a:gd name="connsiteY527" fmla="*/ 595628 h 1867037"/>
                  <a:gd name="connsiteX528" fmla="*/ 916246 w 2417513"/>
                  <a:gd name="connsiteY528" fmla="*/ 590628 h 1867037"/>
                  <a:gd name="connsiteX529" fmla="*/ 910185 w 2417513"/>
                  <a:gd name="connsiteY529" fmla="*/ 588506 h 1867037"/>
                  <a:gd name="connsiteX530" fmla="*/ 901700 w 2417513"/>
                  <a:gd name="connsiteY530" fmla="*/ 587446 h 1867037"/>
                  <a:gd name="connsiteX531" fmla="*/ 900033 w 2417513"/>
                  <a:gd name="connsiteY531" fmla="*/ 589870 h 1867037"/>
                  <a:gd name="connsiteX532" fmla="*/ 900336 w 2417513"/>
                  <a:gd name="connsiteY532" fmla="*/ 591082 h 1867037"/>
                  <a:gd name="connsiteX533" fmla="*/ 902761 w 2417513"/>
                  <a:gd name="connsiteY533" fmla="*/ 593658 h 1867037"/>
                  <a:gd name="connsiteX534" fmla="*/ 904124 w 2417513"/>
                  <a:gd name="connsiteY534" fmla="*/ 594567 h 1867037"/>
                  <a:gd name="connsiteX535" fmla="*/ 902912 w 2417513"/>
                  <a:gd name="connsiteY535" fmla="*/ 595173 h 1867037"/>
                  <a:gd name="connsiteX536" fmla="*/ 899124 w 2417513"/>
                  <a:gd name="connsiteY536" fmla="*/ 595476 h 1867037"/>
                  <a:gd name="connsiteX537" fmla="*/ 896851 w 2417513"/>
                  <a:gd name="connsiteY537" fmla="*/ 596537 h 1867037"/>
                  <a:gd name="connsiteX538" fmla="*/ 895942 w 2417513"/>
                  <a:gd name="connsiteY538" fmla="*/ 598355 h 1867037"/>
                  <a:gd name="connsiteX539" fmla="*/ 895942 w 2417513"/>
                  <a:gd name="connsiteY539" fmla="*/ 600628 h 1867037"/>
                  <a:gd name="connsiteX540" fmla="*/ 902609 w 2417513"/>
                  <a:gd name="connsiteY540" fmla="*/ 624265 h 1867037"/>
                  <a:gd name="connsiteX541" fmla="*/ 904276 w 2417513"/>
                  <a:gd name="connsiteY541" fmla="*/ 627599 h 1867037"/>
                  <a:gd name="connsiteX542" fmla="*/ 904579 w 2417513"/>
                  <a:gd name="connsiteY542" fmla="*/ 629265 h 1867037"/>
                  <a:gd name="connsiteX543" fmla="*/ 904276 w 2417513"/>
                  <a:gd name="connsiteY543" fmla="*/ 631084 h 1867037"/>
                  <a:gd name="connsiteX544" fmla="*/ 904882 w 2417513"/>
                  <a:gd name="connsiteY544" fmla="*/ 632599 h 1867037"/>
                  <a:gd name="connsiteX545" fmla="*/ 906397 w 2417513"/>
                  <a:gd name="connsiteY545" fmla="*/ 633811 h 1867037"/>
                  <a:gd name="connsiteX546" fmla="*/ 907306 w 2417513"/>
                  <a:gd name="connsiteY546" fmla="*/ 635175 h 1867037"/>
                  <a:gd name="connsiteX547" fmla="*/ 907761 w 2417513"/>
                  <a:gd name="connsiteY547" fmla="*/ 640175 h 1867037"/>
                  <a:gd name="connsiteX548" fmla="*/ 908216 w 2417513"/>
                  <a:gd name="connsiteY548" fmla="*/ 642448 h 1867037"/>
                  <a:gd name="connsiteX549" fmla="*/ 910943 w 2417513"/>
                  <a:gd name="connsiteY549" fmla="*/ 650327 h 1867037"/>
                  <a:gd name="connsiteX550" fmla="*/ 915185 w 2417513"/>
                  <a:gd name="connsiteY550" fmla="*/ 656691 h 1867037"/>
                  <a:gd name="connsiteX551" fmla="*/ 921701 w 2417513"/>
                  <a:gd name="connsiteY551" fmla="*/ 663358 h 1867037"/>
                  <a:gd name="connsiteX552" fmla="*/ 919731 w 2417513"/>
                  <a:gd name="connsiteY552" fmla="*/ 663812 h 1867037"/>
                  <a:gd name="connsiteX553" fmla="*/ 919580 w 2417513"/>
                  <a:gd name="connsiteY553" fmla="*/ 664418 h 1867037"/>
                  <a:gd name="connsiteX554" fmla="*/ 919883 w 2417513"/>
                  <a:gd name="connsiteY554" fmla="*/ 665176 h 1867037"/>
                  <a:gd name="connsiteX555" fmla="*/ 920943 w 2417513"/>
                  <a:gd name="connsiteY555" fmla="*/ 666388 h 1867037"/>
                  <a:gd name="connsiteX556" fmla="*/ 920489 w 2417513"/>
                  <a:gd name="connsiteY556" fmla="*/ 667146 h 1867037"/>
                  <a:gd name="connsiteX557" fmla="*/ 911246 w 2417513"/>
                  <a:gd name="connsiteY557" fmla="*/ 672449 h 1867037"/>
                  <a:gd name="connsiteX558" fmla="*/ 909276 w 2417513"/>
                  <a:gd name="connsiteY558" fmla="*/ 675176 h 1867037"/>
                  <a:gd name="connsiteX559" fmla="*/ 908519 w 2417513"/>
                  <a:gd name="connsiteY559" fmla="*/ 676843 h 1867037"/>
                  <a:gd name="connsiteX560" fmla="*/ 907761 w 2417513"/>
                  <a:gd name="connsiteY560" fmla="*/ 676994 h 1867037"/>
                  <a:gd name="connsiteX561" fmla="*/ 904731 w 2417513"/>
                  <a:gd name="connsiteY561" fmla="*/ 676388 h 1867037"/>
                  <a:gd name="connsiteX562" fmla="*/ 902155 w 2417513"/>
                  <a:gd name="connsiteY562" fmla="*/ 674419 h 1867037"/>
                  <a:gd name="connsiteX563" fmla="*/ 898821 w 2417513"/>
                  <a:gd name="connsiteY563" fmla="*/ 673055 h 1867037"/>
                  <a:gd name="connsiteX564" fmla="*/ 897609 w 2417513"/>
                  <a:gd name="connsiteY564" fmla="*/ 672146 h 1867037"/>
                  <a:gd name="connsiteX565" fmla="*/ 897003 w 2417513"/>
                  <a:gd name="connsiteY565" fmla="*/ 670782 h 1867037"/>
                  <a:gd name="connsiteX566" fmla="*/ 895185 w 2417513"/>
                  <a:gd name="connsiteY566" fmla="*/ 663206 h 1867037"/>
                  <a:gd name="connsiteX567" fmla="*/ 889882 w 2417513"/>
                  <a:gd name="connsiteY567" fmla="*/ 650933 h 1867037"/>
                  <a:gd name="connsiteX568" fmla="*/ 887306 w 2417513"/>
                  <a:gd name="connsiteY568" fmla="*/ 641690 h 1867037"/>
                  <a:gd name="connsiteX569" fmla="*/ 885639 w 2417513"/>
                  <a:gd name="connsiteY569" fmla="*/ 636841 h 1867037"/>
                  <a:gd name="connsiteX570" fmla="*/ 883669 w 2417513"/>
                  <a:gd name="connsiteY570" fmla="*/ 632296 h 1867037"/>
                  <a:gd name="connsiteX571" fmla="*/ 882154 w 2417513"/>
                  <a:gd name="connsiteY571" fmla="*/ 629568 h 1867037"/>
                  <a:gd name="connsiteX572" fmla="*/ 880942 w 2417513"/>
                  <a:gd name="connsiteY572" fmla="*/ 628659 h 1867037"/>
                  <a:gd name="connsiteX573" fmla="*/ 876699 w 2417513"/>
                  <a:gd name="connsiteY573" fmla="*/ 627902 h 1867037"/>
                  <a:gd name="connsiteX574" fmla="*/ 875487 w 2417513"/>
                  <a:gd name="connsiteY574" fmla="*/ 627144 h 1867037"/>
                  <a:gd name="connsiteX575" fmla="*/ 875790 w 2417513"/>
                  <a:gd name="connsiteY575" fmla="*/ 625023 h 1867037"/>
                  <a:gd name="connsiteX576" fmla="*/ 876245 w 2417513"/>
                  <a:gd name="connsiteY576" fmla="*/ 624114 h 1867037"/>
                  <a:gd name="connsiteX577" fmla="*/ 875790 w 2417513"/>
                  <a:gd name="connsiteY577" fmla="*/ 623205 h 1867037"/>
                  <a:gd name="connsiteX578" fmla="*/ 874275 w 2417513"/>
                  <a:gd name="connsiteY578" fmla="*/ 622295 h 1867037"/>
                  <a:gd name="connsiteX579" fmla="*/ 872154 w 2417513"/>
                  <a:gd name="connsiteY579" fmla="*/ 620174 h 1867037"/>
                  <a:gd name="connsiteX580" fmla="*/ 865941 w 2417513"/>
                  <a:gd name="connsiteY580" fmla="*/ 616841 h 1867037"/>
                  <a:gd name="connsiteX581" fmla="*/ 862911 w 2417513"/>
                  <a:gd name="connsiteY581" fmla="*/ 615174 h 1867037"/>
                  <a:gd name="connsiteX582" fmla="*/ 859123 w 2417513"/>
                  <a:gd name="connsiteY582" fmla="*/ 611689 h 1867037"/>
                  <a:gd name="connsiteX583" fmla="*/ 848213 w 2417513"/>
                  <a:gd name="connsiteY583" fmla="*/ 606083 h 1867037"/>
                  <a:gd name="connsiteX584" fmla="*/ 845789 w 2417513"/>
                  <a:gd name="connsiteY584" fmla="*/ 605628 h 1867037"/>
                  <a:gd name="connsiteX585" fmla="*/ 834425 w 2417513"/>
                  <a:gd name="connsiteY585" fmla="*/ 605325 h 1867037"/>
                  <a:gd name="connsiteX586" fmla="*/ 830334 w 2417513"/>
                  <a:gd name="connsiteY586" fmla="*/ 604871 h 1867037"/>
                  <a:gd name="connsiteX587" fmla="*/ 829576 w 2417513"/>
                  <a:gd name="connsiteY587" fmla="*/ 608204 h 1867037"/>
                  <a:gd name="connsiteX588" fmla="*/ 833364 w 2417513"/>
                  <a:gd name="connsiteY588" fmla="*/ 612598 h 1867037"/>
                  <a:gd name="connsiteX589" fmla="*/ 840940 w 2417513"/>
                  <a:gd name="connsiteY589" fmla="*/ 616235 h 1867037"/>
                  <a:gd name="connsiteX590" fmla="*/ 843213 w 2417513"/>
                  <a:gd name="connsiteY590" fmla="*/ 617901 h 1867037"/>
                  <a:gd name="connsiteX591" fmla="*/ 842910 w 2417513"/>
                  <a:gd name="connsiteY591" fmla="*/ 621992 h 1867037"/>
                  <a:gd name="connsiteX592" fmla="*/ 843062 w 2417513"/>
                  <a:gd name="connsiteY592" fmla="*/ 623053 h 1867037"/>
                  <a:gd name="connsiteX593" fmla="*/ 836698 w 2417513"/>
                  <a:gd name="connsiteY593" fmla="*/ 624568 h 1867037"/>
                  <a:gd name="connsiteX594" fmla="*/ 834728 w 2417513"/>
                  <a:gd name="connsiteY594" fmla="*/ 626387 h 1867037"/>
                  <a:gd name="connsiteX595" fmla="*/ 827303 w 2417513"/>
                  <a:gd name="connsiteY595" fmla="*/ 629871 h 1867037"/>
                  <a:gd name="connsiteX596" fmla="*/ 822455 w 2417513"/>
                  <a:gd name="connsiteY596" fmla="*/ 635175 h 1867037"/>
                  <a:gd name="connsiteX597" fmla="*/ 817455 w 2417513"/>
                  <a:gd name="connsiteY597" fmla="*/ 638660 h 1867037"/>
                  <a:gd name="connsiteX598" fmla="*/ 816242 w 2417513"/>
                  <a:gd name="connsiteY598" fmla="*/ 639114 h 1867037"/>
                  <a:gd name="connsiteX599" fmla="*/ 813970 w 2417513"/>
                  <a:gd name="connsiteY599" fmla="*/ 638811 h 1867037"/>
                  <a:gd name="connsiteX600" fmla="*/ 813515 w 2417513"/>
                  <a:gd name="connsiteY600" fmla="*/ 638054 h 1867037"/>
                  <a:gd name="connsiteX601" fmla="*/ 813060 w 2417513"/>
                  <a:gd name="connsiteY601" fmla="*/ 636235 h 1867037"/>
                  <a:gd name="connsiteX602" fmla="*/ 813363 w 2417513"/>
                  <a:gd name="connsiteY602" fmla="*/ 635023 h 1867037"/>
                  <a:gd name="connsiteX603" fmla="*/ 813970 w 2417513"/>
                  <a:gd name="connsiteY603" fmla="*/ 633811 h 1867037"/>
                  <a:gd name="connsiteX604" fmla="*/ 813667 w 2417513"/>
                  <a:gd name="connsiteY604" fmla="*/ 633356 h 1867037"/>
                  <a:gd name="connsiteX605" fmla="*/ 812454 w 2417513"/>
                  <a:gd name="connsiteY605" fmla="*/ 633508 h 1867037"/>
                  <a:gd name="connsiteX606" fmla="*/ 808666 w 2417513"/>
                  <a:gd name="connsiteY606" fmla="*/ 635932 h 1867037"/>
                  <a:gd name="connsiteX607" fmla="*/ 806091 w 2417513"/>
                  <a:gd name="connsiteY607" fmla="*/ 638811 h 1867037"/>
                  <a:gd name="connsiteX608" fmla="*/ 802454 w 2417513"/>
                  <a:gd name="connsiteY608" fmla="*/ 641387 h 1867037"/>
                  <a:gd name="connsiteX609" fmla="*/ 800030 w 2417513"/>
                  <a:gd name="connsiteY609" fmla="*/ 639569 h 1867037"/>
                  <a:gd name="connsiteX610" fmla="*/ 796393 w 2417513"/>
                  <a:gd name="connsiteY610" fmla="*/ 638508 h 1867037"/>
                  <a:gd name="connsiteX611" fmla="*/ 798514 w 2417513"/>
                  <a:gd name="connsiteY611" fmla="*/ 636993 h 1867037"/>
                  <a:gd name="connsiteX612" fmla="*/ 804121 w 2417513"/>
                  <a:gd name="connsiteY612" fmla="*/ 634417 h 1867037"/>
                  <a:gd name="connsiteX613" fmla="*/ 811091 w 2417513"/>
                  <a:gd name="connsiteY613" fmla="*/ 627296 h 1867037"/>
                  <a:gd name="connsiteX614" fmla="*/ 813970 w 2417513"/>
                  <a:gd name="connsiteY614" fmla="*/ 622295 h 1867037"/>
                  <a:gd name="connsiteX615" fmla="*/ 813515 w 2417513"/>
                  <a:gd name="connsiteY615" fmla="*/ 619871 h 1867037"/>
                  <a:gd name="connsiteX616" fmla="*/ 808363 w 2417513"/>
                  <a:gd name="connsiteY616" fmla="*/ 617144 h 1867037"/>
                  <a:gd name="connsiteX617" fmla="*/ 792151 w 2417513"/>
                  <a:gd name="connsiteY617" fmla="*/ 610780 h 1867037"/>
                  <a:gd name="connsiteX618" fmla="*/ 781090 w 2417513"/>
                  <a:gd name="connsiteY618" fmla="*/ 608204 h 1867037"/>
                  <a:gd name="connsiteX619" fmla="*/ 772907 w 2417513"/>
                  <a:gd name="connsiteY619" fmla="*/ 605628 h 1867037"/>
                  <a:gd name="connsiteX620" fmla="*/ 764119 w 2417513"/>
                  <a:gd name="connsiteY620" fmla="*/ 605174 h 1867037"/>
                  <a:gd name="connsiteX621" fmla="*/ 760483 w 2417513"/>
                  <a:gd name="connsiteY621" fmla="*/ 605931 h 1867037"/>
                  <a:gd name="connsiteX622" fmla="*/ 758210 w 2417513"/>
                  <a:gd name="connsiteY622" fmla="*/ 607598 h 1867037"/>
                  <a:gd name="connsiteX623" fmla="*/ 753967 w 2417513"/>
                  <a:gd name="connsiteY623" fmla="*/ 612144 h 1867037"/>
                  <a:gd name="connsiteX624" fmla="*/ 752755 w 2417513"/>
                  <a:gd name="connsiteY624" fmla="*/ 614265 h 1867037"/>
                  <a:gd name="connsiteX625" fmla="*/ 752604 w 2417513"/>
                  <a:gd name="connsiteY625" fmla="*/ 617901 h 1867037"/>
                  <a:gd name="connsiteX626" fmla="*/ 752907 w 2417513"/>
                  <a:gd name="connsiteY626" fmla="*/ 619568 h 1867037"/>
                  <a:gd name="connsiteX627" fmla="*/ 752452 w 2417513"/>
                  <a:gd name="connsiteY627" fmla="*/ 621083 h 1867037"/>
                  <a:gd name="connsiteX628" fmla="*/ 750331 w 2417513"/>
                  <a:gd name="connsiteY628" fmla="*/ 623356 h 1867037"/>
                  <a:gd name="connsiteX629" fmla="*/ 749119 w 2417513"/>
                  <a:gd name="connsiteY629" fmla="*/ 623659 h 1867037"/>
                  <a:gd name="connsiteX630" fmla="*/ 747149 w 2417513"/>
                  <a:gd name="connsiteY630" fmla="*/ 622295 h 1867037"/>
                  <a:gd name="connsiteX631" fmla="*/ 739876 w 2417513"/>
                  <a:gd name="connsiteY631" fmla="*/ 623356 h 1867037"/>
                  <a:gd name="connsiteX632" fmla="*/ 733967 w 2417513"/>
                  <a:gd name="connsiteY632" fmla="*/ 624720 h 1867037"/>
                  <a:gd name="connsiteX633" fmla="*/ 729421 w 2417513"/>
                  <a:gd name="connsiteY633" fmla="*/ 626387 h 1867037"/>
                  <a:gd name="connsiteX634" fmla="*/ 726239 w 2417513"/>
                  <a:gd name="connsiteY634" fmla="*/ 626993 h 1867037"/>
                  <a:gd name="connsiteX635" fmla="*/ 724572 w 2417513"/>
                  <a:gd name="connsiteY635" fmla="*/ 626387 h 1867037"/>
                  <a:gd name="connsiteX636" fmla="*/ 725178 w 2417513"/>
                  <a:gd name="connsiteY636" fmla="*/ 624720 h 1867037"/>
                  <a:gd name="connsiteX637" fmla="*/ 731088 w 2417513"/>
                  <a:gd name="connsiteY637" fmla="*/ 618810 h 1867037"/>
                  <a:gd name="connsiteX638" fmla="*/ 733967 w 2417513"/>
                  <a:gd name="connsiteY638" fmla="*/ 615326 h 1867037"/>
                  <a:gd name="connsiteX639" fmla="*/ 735785 w 2417513"/>
                  <a:gd name="connsiteY639" fmla="*/ 612447 h 1867037"/>
                  <a:gd name="connsiteX640" fmla="*/ 736694 w 2417513"/>
                  <a:gd name="connsiteY640" fmla="*/ 610022 h 1867037"/>
                  <a:gd name="connsiteX641" fmla="*/ 737300 w 2417513"/>
                  <a:gd name="connsiteY641" fmla="*/ 607295 h 1867037"/>
                  <a:gd name="connsiteX642" fmla="*/ 737452 w 2417513"/>
                  <a:gd name="connsiteY642" fmla="*/ 604264 h 1867037"/>
                  <a:gd name="connsiteX643" fmla="*/ 737300 w 2417513"/>
                  <a:gd name="connsiteY643" fmla="*/ 601234 h 1867037"/>
                  <a:gd name="connsiteX644" fmla="*/ 736088 w 2417513"/>
                  <a:gd name="connsiteY644" fmla="*/ 595476 h 1867037"/>
                  <a:gd name="connsiteX645" fmla="*/ 735179 w 2417513"/>
                  <a:gd name="connsiteY645" fmla="*/ 592749 h 1867037"/>
                  <a:gd name="connsiteX646" fmla="*/ 734118 w 2417513"/>
                  <a:gd name="connsiteY646" fmla="*/ 590628 h 1867037"/>
                  <a:gd name="connsiteX647" fmla="*/ 732906 w 2417513"/>
                  <a:gd name="connsiteY647" fmla="*/ 589112 h 1867037"/>
                  <a:gd name="connsiteX648" fmla="*/ 730330 w 2417513"/>
                  <a:gd name="connsiteY648" fmla="*/ 587446 h 1867037"/>
                  <a:gd name="connsiteX649" fmla="*/ 721087 w 2417513"/>
                  <a:gd name="connsiteY649" fmla="*/ 585173 h 1867037"/>
                  <a:gd name="connsiteX650" fmla="*/ 696086 w 2417513"/>
                  <a:gd name="connsiteY650" fmla="*/ 593507 h 1867037"/>
                  <a:gd name="connsiteX651" fmla="*/ 668207 w 2417513"/>
                  <a:gd name="connsiteY651" fmla="*/ 601840 h 1867037"/>
                  <a:gd name="connsiteX652" fmla="*/ 657297 w 2417513"/>
                  <a:gd name="connsiteY652" fmla="*/ 606840 h 1867037"/>
                  <a:gd name="connsiteX653" fmla="*/ 649570 w 2417513"/>
                  <a:gd name="connsiteY653" fmla="*/ 609265 h 1867037"/>
                  <a:gd name="connsiteX654" fmla="*/ 641539 w 2417513"/>
                  <a:gd name="connsiteY654" fmla="*/ 613659 h 1867037"/>
                  <a:gd name="connsiteX655" fmla="*/ 625629 w 2417513"/>
                  <a:gd name="connsiteY655" fmla="*/ 623962 h 1867037"/>
                  <a:gd name="connsiteX656" fmla="*/ 618962 w 2417513"/>
                  <a:gd name="connsiteY656" fmla="*/ 629114 h 1867037"/>
                  <a:gd name="connsiteX657" fmla="*/ 616690 w 2417513"/>
                  <a:gd name="connsiteY657" fmla="*/ 632296 h 1867037"/>
                  <a:gd name="connsiteX658" fmla="*/ 616083 w 2417513"/>
                  <a:gd name="connsiteY658" fmla="*/ 634569 h 1867037"/>
                  <a:gd name="connsiteX659" fmla="*/ 616993 w 2417513"/>
                  <a:gd name="connsiteY659" fmla="*/ 636084 h 1867037"/>
                  <a:gd name="connsiteX660" fmla="*/ 618508 w 2417513"/>
                  <a:gd name="connsiteY660" fmla="*/ 637599 h 1867037"/>
                  <a:gd name="connsiteX661" fmla="*/ 622447 w 2417513"/>
                  <a:gd name="connsiteY661" fmla="*/ 640629 h 1867037"/>
                  <a:gd name="connsiteX662" fmla="*/ 623508 w 2417513"/>
                  <a:gd name="connsiteY662" fmla="*/ 641842 h 1867037"/>
                  <a:gd name="connsiteX663" fmla="*/ 623357 w 2417513"/>
                  <a:gd name="connsiteY663" fmla="*/ 643054 h 1867037"/>
                  <a:gd name="connsiteX664" fmla="*/ 619114 w 2417513"/>
                  <a:gd name="connsiteY664" fmla="*/ 646084 h 1867037"/>
                  <a:gd name="connsiteX665" fmla="*/ 613053 w 2417513"/>
                  <a:gd name="connsiteY665" fmla="*/ 648054 h 1867037"/>
                  <a:gd name="connsiteX666" fmla="*/ 603356 w 2417513"/>
                  <a:gd name="connsiteY666" fmla="*/ 657448 h 1867037"/>
                  <a:gd name="connsiteX667" fmla="*/ 602901 w 2417513"/>
                  <a:gd name="connsiteY667" fmla="*/ 658206 h 1867037"/>
                  <a:gd name="connsiteX668" fmla="*/ 602295 w 2417513"/>
                  <a:gd name="connsiteY668" fmla="*/ 661236 h 1867037"/>
                  <a:gd name="connsiteX669" fmla="*/ 601992 w 2417513"/>
                  <a:gd name="connsiteY669" fmla="*/ 666843 h 1867037"/>
                  <a:gd name="connsiteX670" fmla="*/ 602144 w 2417513"/>
                  <a:gd name="connsiteY670" fmla="*/ 668812 h 1867037"/>
                  <a:gd name="connsiteX671" fmla="*/ 603053 w 2417513"/>
                  <a:gd name="connsiteY671" fmla="*/ 670479 h 1867037"/>
                  <a:gd name="connsiteX672" fmla="*/ 605326 w 2417513"/>
                  <a:gd name="connsiteY672" fmla="*/ 672752 h 1867037"/>
                  <a:gd name="connsiteX673" fmla="*/ 613205 w 2417513"/>
                  <a:gd name="connsiteY673" fmla="*/ 674722 h 1867037"/>
                  <a:gd name="connsiteX674" fmla="*/ 618962 w 2417513"/>
                  <a:gd name="connsiteY674" fmla="*/ 675176 h 1867037"/>
                  <a:gd name="connsiteX675" fmla="*/ 632145 w 2417513"/>
                  <a:gd name="connsiteY675" fmla="*/ 674116 h 1867037"/>
                  <a:gd name="connsiteX676" fmla="*/ 636084 w 2417513"/>
                  <a:gd name="connsiteY676" fmla="*/ 674267 h 1867037"/>
                  <a:gd name="connsiteX677" fmla="*/ 632296 w 2417513"/>
                  <a:gd name="connsiteY677" fmla="*/ 679267 h 1867037"/>
                  <a:gd name="connsiteX678" fmla="*/ 624872 w 2417513"/>
                  <a:gd name="connsiteY678" fmla="*/ 681086 h 1867037"/>
                  <a:gd name="connsiteX679" fmla="*/ 622750 w 2417513"/>
                  <a:gd name="connsiteY679" fmla="*/ 684116 h 1867037"/>
                  <a:gd name="connsiteX680" fmla="*/ 622902 w 2417513"/>
                  <a:gd name="connsiteY680" fmla="*/ 685025 h 1867037"/>
                  <a:gd name="connsiteX681" fmla="*/ 623811 w 2417513"/>
                  <a:gd name="connsiteY681" fmla="*/ 685631 h 1867037"/>
                  <a:gd name="connsiteX682" fmla="*/ 631236 w 2417513"/>
                  <a:gd name="connsiteY682" fmla="*/ 687752 h 1867037"/>
                  <a:gd name="connsiteX683" fmla="*/ 636993 w 2417513"/>
                  <a:gd name="connsiteY683" fmla="*/ 687752 h 1867037"/>
                  <a:gd name="connsiteX684" fmla="*/ 647600 w 2417513"/>
                  <a:gd name="connsiteY684" fmla="*/ 685480 h 1867037"/>
                  <a:gd name="connsiteX685" fmla="*/ 662903 w 2417513"/>
                  <a:gd name="connsiteY685" fmla="*/ 685025 h 1867037"/>
                  <a:gd name="connsiteX686" fmla="*/ 695632 w 2417513"/>
                  <a:gd name="connsiteY686" fmla="*/ 679873 h 1867037"/>
                  <a:gd name="connsiteX687" fmla="*/ 702450 w 2417513"/>
                  <a:gd name="connsiteY687" fmla="*/ 681692 h 1867037"/>
                  <a:gd name="connsiteX688" fmla="*/ 703359 w 2417513"/>
                  <a:gd name="connsiteY688" fmla="*/ 682601 h 1867037"/>
                  <a:gd name="connsiteX689" fmla="*/ 702299 w 2417513"/>
                  <a:gd name="connsiteY689" fmla="*/ 683661 h 1867037"/>
                  <a:gd name="connsiteX690" fmla="*/ 698662 w 2417513"/>
                  <a:gd name="connsiteY690" fmla="*/ 683964 h 1867037"/>
                  <a:gd name="connsiteX691" fmla="*/ 691541 w 2417513"/>
                  <a:gd name="connsiteY691" fmla="*/ 683055 h 1867037"/>
                  <a:gd name="connsiteX692" fmla="*/ 684722 w 2417513"/>
                  <a:gd name="connsiteY692" fmla="*/ 683813 h 1867037"/>
                  <a:gd name="connsiteX693" fmla="*/ 683056 w 2417513"/>
                  <a:gd name="connsiteY693" fmla="*/ 684570 h 1867037"/>
                  <a:gd name="connsiteX694" fmla="*/ 683056 w 2417513"/>
                  <a:gd name="connsiteY694" fmla="*/ 686086 h 1867037"/>
                  <a:gd name="connsiteX695" fmla="*/ 686389 w 2417513"/>
                  <a:gd name="connsiteY695" fmla="*/ 687146 h 1867037"/>
                  <a:gd name="connsiteX696" fmla="*/ 687298 w 2417513"/>
                  <a:gd name="connsiteY696" fmla="*/ 688055 h 1867037"/>
                  <a:gd name="connsiteX697" fmla="*/ 683207 w 2417513"/>
                  <a:gd name="connsiteY697" fmla="*/ 689116 h 1867037"/>
                  <a:gd name="connsiteX698" fmla="*/ 678055 w 2417513"/>
                  <a:gd name="connsiteY698" fmla="*/ 689268 h 1867037"/>
                  <a:gd name="connsiteX699" fmla="*/ 672752 w 2417513"/>
                  <a:gd name="connsiteY699" fmla="*/ 690328 h 1867037"/>
                  <a:gd name="connsiteX700" fmla="*/ 661994 w 2417513"/>
                  <a:gd name="connsiteY700" fmla="*/ 693359 h 1867037"/>
                  <a:gd name="connsiteX701" fmla="*/ 648357 w 2417513"/>
                  <a:gd name="connsiteY701" fmla="*/ 696692 h 1867037"/>
                  <a:gd name="connsiteX702" fmla="*/ 634721 w 2417513"/>
                  <a:gd name="connsiteY702" fmla="*/ 699419 h 1867037"/>
                  <a:gd name="connsiteX703" fmla="*/ 631236 w 2417513"/>
                  <a:gd name="connsiteY703" fmla="*/ 700783 h 1867037"/>
                  <a:gd name="connsiteX704" fmla="*/ 621993 w 2417513"/>
                  <a:gd name="connsiteY704" fmla="*/ 705783 h 1867037"/>
                  <a:gd name="connsiteX705" fmla="*/ 619720 w 2417513"/>
                  <a:gd name="connsiteY705" fmla="*/ 707450 h 1867037"/>
                  <a:gd name="connsiteX706" fmla="*/ 619114 w 2417513"/>
                  <a:gd name="connsiteY706" fmla="*/ 709117 h 1867037"/>
                  <a:gd name="connsiteX707" fmla="*/ 622144 w 2417513"/>
                  <a:gd name="connsiteY707" fmla="*/ 713056 h 1867037"/>
                  <a:gd name="connsiteX708" fmla="*/ 640630 w 2417513"/>
                  <a:gd name="connsiteY708" fmla="*/ 725936 h 1867037"/>
                  <a:gd name="connsiteX709" fmla="*/ 656843 w 2417513"/>
                  <a:gd name="connsiteY709" fmla="*/ 727148 h 1867037"/>
                  <a:gd name="connsiteX710" fmla="*/ 675025 w 2417513"/>
                  <a:gd name="connsiteY710" fmla="*/ 726087 h 1867037"/>
                  <a:gd name="connsiteX711" fmla="*/ 677752 w 2417513"/>
                  <a:gd name="connsiteY711" fmla="*/ 726390 h 1867037"/>
                  <a:gd name="connsiteX712" fmla="*/ 681540 w 2417513"/>
                  <a:gd name="connsiteY712" fmla="*/ 727602 h 1867037"/>
                  <a:gd name="connsiteX713" fmla="*/ 684116 w 2417513"/>
                  <a:gd name="connsiteY713" fmla="*/ 727754 h 1867037"/>
                  <a:gd name="connsiteX714" fmla="*/ 702753 w 2417513"/>
                  <a:gd name="connsiteY714" fmla="*/ 726996 h 1867037"/>
                  <a:gd name="connsiteX715" fmla="*/ 715633 w 2417513"/>
                  <a:gd name="connsiteY715" fmla="*/ 725936 h 1867037"/>
                  <a:gd name="connsiteX716" fmla="*/ 722451 w 2417513"/>
                  <a:gd name="connsiteY716" fmla="*/ 724875 h 1867037"/>
                  <a:gd name="connsiteX717" fmla="*/ 729573 w 2417513"/>
                  <a:gd name="connsiteY717" fmla="*/ 723208 h 1867037"/>
                  <a:gd name="connsiteX718" fmla="*/ 732300 w 2417513"/>
                  <a:gd name="connsiteY718" fmla="*/ 723208 h 1867037"/>
                  <a:gd name="connsiteX719" fmla="*/ 739573 w 2417513"/>
                  <a:gd name="connsiteY719" fmla="*/ 722148 h 1867037"/>
                  <a:gd name="connsiteX720" fmla="*/ 745482 w 2417513"/>
                  <a:gd name="connsiteY720" fmla="*/ 722905 h 1867037"/>
                  <a:gd name="connsiteX721" fmla="*/ 755331 w 2417513"/>
                  <a:gd name="connsiteY721" fmla="*/ 724875 h 1867037"/>
                  <a:gd name="connsiteX722" fmla="*/ 762149 w 2417513"/>
                  <a:gd name="connsiteY722" fmla="*/ 726693 h 1867037"/>
                  <a:gd name="connsiteX723" fmla="*/ 790332 w 2417513"/>
                  <a:gd name="connsiteY723" fmla="*/ 735027 h 1867037"/>
                  <a:gd name="connsiteX724" fmla="*/ 800939 w 2417513"/>
                  <a:gd name="connsiteY724" fmla="*/ 739724 h 1867037"/>
                  <a:gd name="connsiteX725" fmla="*/ 803515 w 2417513"/>
                  <a:gd name="connsiteY725" fmla="*/ 741845 h 1867037"/>
                  <a:gd name="connsiteX726" fmla="*/ 801545 w 2417513"/>
                  <a:gd name="connsiteY726" fmla="*/ 743057 h 1867037"/>
                  <a:gd name="connsiteX727" fmla="*/ 799424 w 2417513"/>
                  <a:gd name="connsiteY727" fmla="*/ 743663 h 1867037"/>
                  <a:gd name="connsiteX728" fmla="*/ 788363 w 2417513"/>
                  <a:gd name="connsiteY728" fmla="*/ 743512 h 1867037"/>
                  <a:gd name="connsiteX729" fmla="*/ 786241 w 2417513"/>
                  <a:gd name="connsiteY729" fmla="*/ 744573 h 1867037"/>
                  <a:gd name="connsiteX730" fmla="*/ 779271 w 2417513"/>
                  <a:gd name="connsiteY730" fmla="*/ 745785 h 1867037"/>
                  <a:gd name="connsiteX731" fmla="*/ 776089 w 2417513"/>
                  <a:gd name="connsiteY731" fmla="*/ 745936 h 1867037"/>
                  <a:gd name="connsiteX732" fmla="*/ 760483 w 2417513"/>
                  <a:gd name="connsiteY732" fmla="*/ 743967 h 1867037"/>
                  <a:gd name="connsiteX733" fmla="*/ 748058 w 2417513"/>
                  <a:gd name="connsiteY733" fmla="*/ 743663 h 1867037"/>
                  <a:gd name="connsiteX734" fmla="*/ 741240 w 2417513"/>
                  <a:gd name="connsiteY734" fmla="*/ 743057 h 1867037"/>
                  <a:gd name="connsiteX735" fmla="*/ 734421 w 2417513"/>
                  <a:gd name="connsiteY735" fmla="*/ 741845 h 1867037"/>
                  <a:gd name="connsiteX736" fmla="*/ 722754 w 2417513"/>
                  <a:gd name="connsiteY736" fmla="*/ 741542 h 1867037"/>
                  <a:gd name="connsiteX737" fmla="*/ 697147 w 2417513"/>
                  <a:gd name="connsiteY737" fmla="*/ 744270 h 1867037"/>
                  <a:gd name="connsiteX738" fmla="*/ 669116 w 2417513"/>
                  <a:gd name="connsiteY738" fmla="*/ 748361 h 1867037"/>
                  <a:gd name="connsiteX739" fmla="*/ 653206 w 2417513"/>
                  <a:gd name="connsiteY739" fmla="*/ 751997 h 1867037"/>
                  <a:gd name="connsiteX740" fmla="*/ 652448 w 2417513"/>
                  <a:gd name="connsiteY740" fmla="*/ 752300 h 1867037"/>
                  <a:gd name="connsiteX741" fmla="*/ 651539 w 2417513"/>
                  <a:gd name="connsiteY741" fmla="*/ 754118 h 1867037"/>
                  <a:gd name="connsiteX742" fmla="*/ 651842 w 2417513"/>
                  <a:gd name="connsiteY742" fmla="*/ 757149 h 1867037"/>
                  <a:gd name="connsiteX743" fmla="*/ 652751 w 2417513"/>
                  <a:gd name="connsiteY743" fmla="*/ 762149 h 1867037"/>
                  <a:gd name="connsiteX744" fmla="*/ 653509 w 2417513"/>
                  <a:gd name="connsiteY744" fmla="*/ 765179 h 1867037"/>
                  <a:gd name="connsiteX745" fmla="*/ 653964 w 2417513"/>
                  <a:gd name="connsiteY745" fmla="*/ 766240 h 1867037"/>
                  <a:gd name="connsiteX746" fmla="*/ 656994 w 2417513"/>
                  <a:gd name="connsiteY746" fmla="*/ 770331 h 1867037"/>
                  <a:gd name="connsiteX747" fmla="*/ 664722 w 2417513"/>
                  <a:gd name="connsiteY747" fmla="*/ 777301 h 1867037"/>
                  <a:gd name="connsiteX748" fmla="*/ 667601 w 2417513"/>
                  <a:gd name="connsiteY748" fmla="*/ 780483 h 1867037"/>
                  <a:gd name="connsiteX749" fmla="*/ 668661 w 2417513"/>
                  <a:gd name="connsiteY749" fmla="*/ 782907 h 1867037"/>
                  <a:gd name="connsiteX750" fmla="*/ 669570 w 2417513"/>
                  <a:gd name="connsiteY750" fmla="*/ 784271 h 1867037"/>
                  <a:gd name="connsiteX751" fmla="*/ 670176 w 2417513"/>
                  <a:gd name="connsiteY751" fmla="*/ 784726 h 1867037"/>
                  <a:gd name="connsiteX752" fmla="*/ 681389 w 2417513"/>
                  <a:gd name="connsiteY752" fmla="*/ 788968 h 1867037"/>
                  <a:gd name="connsiteX753" fmla="*/ 687904 w 2417513"/>
                  <a:gd name="connsiteY753" fmla="*/ 790635 h 1867037"/>
                  <a:gd name="connsiteX754" fmla="*/ 694571 w 2417513"/>
                  <a:gd name="connsiteY754" fmla="*/ 791696 h 1867037"/>
                  <a:gd name="connsiteX755" fmla="*/ 707147 w 2417513"/>
                  <a:gd name="connsiteY755" fmla="*/ 792605 h 1867037"/>
                  <a:gd name="connsiteX756" fmla="*/ 719724 w 2417513"/>
                  <a:gd name="connsiteY756" fmla="*/ 792150 h 1867037"/>
                  <a:gd name="connsiteX757" fmla="*/ 730027 w 2417513"/>
                  <a:gd name="connsiteY757" fmla="*/ 792302 h 1867037"/>
                  <a:gd name="connsiteX758" fmla="*/ 736846 w 2417513"/>
                  <a:gd name="connsiteY758" fmla="*/ 793211 h 1867037"/>
                  <a:gd name="connsiteX759" fmla="*/ 747149 w 2417513"/>
                  <a:gd name="connsiteY759" fmla="*/ 795938 h 1867037"/>
                  <a:gd name="connsiteX760" fmla="*/ 747452 w 2417513"/>
                  <a:gd name="connsiteY760" fmla="*/ 796544 h 1867037"/>
                  <a:gd name="connsiteX761" fmla="*/ 749422 w 2417513"/>
                  <a:gd name="connsiteY761" fmla="*/ 803817 h 1867037"/>
                  <a:gd name="connsiteX762" fmla="*/ 749876 w 2417513"/>
                  <a:gd name="connsiteY762" fmla="*/ 807151 h 1867037"/>
                  <a:gd name="connsiteX763" fmla="*/ 749270 w 2417513"/>
                  <a:gd name="connsiteY763" fmla="*/ 812908 h 1867037"/>
                  <a:gd name="connsiteX764" fmla="*/ 750937 w 2417513"/>
                  <a:gd name="connsiteY764" fmla="*/ 816242 h 1867037"/>
                  <a:gd name="connsiteX765" fmla="*/ 756846 w 2417513"/>
                  <a:gd name="connsiteY765" fmla="*/ 824272 h 1867037"/>
                  <a:gd name="connsiteX766" fmla="*/ 759725 w 2417513"/>
                  <a:gd name="connsiteY766" fmla="*/ 827303 h 1867037"/>
                  <a:gd name="connsiteX767" fmla="*/ 762604 w 2417513"/>
                  <a:gd name="connsiteY767" fmla="*/ 829273 h 1867037"/>
                  <a:gd name="connsiteX768" fmla="*/ 765635 w 2417513"/>
                  <a:gd name="connsiteY768" fmla="*/ 829879 h 1867037"/>
                  <a:gd name="connsiteX769" fmla="*/ 769877 w 2417513"/>
                  <a:gd name="connsiteY769" fmla="*/ 830030 h 1867037"/>
                  <a:gd name="connsiteX770" fmla="*/ 775332 w 2417513"/>
                  <a:gd name="connsiteY770" fmla="*/ 829576 h 1867037"/>
                  <a:gd name="connsiteX771" fmla="*/ 785181 w 2417513"/>
                  <a:gd name="connsiteY771" fmla="*/ 828061 h 1867037"/>
                  <a:gd name="connsiteX772" fmla="*/ 806697 w 2417513"/>
                  <a:gd name="connsiteY772" fmla="*/ 827303 h 1867037"/>
                  <a:gd name="connsiteX773" fmla="*/ 812303 w 2417513"/>
                  <a:gd name="connsiteY773" fmla="*/ 826848 h 1867037"/>
                  <a:gd name="connsiteX774" fmla="*/ 817303 w 2417513"/>
                  <a:gd name="connsiteY774" fmla="*/ 824576 h 1867037"/>
                  <a:gd name="connsiteX775" fmla="*/ 822000 w 2417513"/>
                  <a:gd name="connsiteY775" fmla="*/ 824272 h 1867037"/>
                  <a:gd name="connsiteX776" fmla="*/ 825031 w 2417513"/>
                  <a:gd name="connsiteY776" fmla="*/ 825030 h 1867037"/>
                  <a:gd name="connsiteX777" fmla="*/ 835486 w 2417513"/>
                  <a:gd name="connsiteY777" fmla="*/ 823515 h 1867037"/>
                  <a:gd name="connsiteX778" fmla="*/ 849425 w 2417513"/>
                  <a:gd name="connsiteY778" fmla="*/ 822606 h 1867037"/>
                  <a:gd name="connsiteX779" fmla="*/ 862759 w 2417513"/>
                  <a:gd name="connsiteY779" fmla="*/ 820333 h 1867037"/>
                  <a:gd name="connsiteX780" fmla="*/ 877154 w 2417513"/>
                  <a:gd name="connsiteY780" fmla="*/ 816393 h 1867037"/>
                  <a:gd name="connsiteX781" fmla="*/ 883063 w 2417513"/>
                  <a:gd name="connsiteY781" fmla="*/ 813211 h 1867037"/>
                  <a:gd name="connsiteX782" fmla="*/ 887912 w 2417513"/>
                  <a:gd name="connsiteY782" fmla="*/ 809878 h 1867037"/>
                  <a:gd name="connsiteX783" fmla="*/ 893063 w 2417513"/>
                  <a:gd name="connsiteY783" fmla="*/ 808060 h 1867037"/>
                  <a:gd name="connsiteX784" fmla="*/ 906852 w 2417513"/>
                  <a:gd name="connsiteY784" fmla="*/ 807151 h 1867037"/>
                  <a:gd name="connsiteX785" fmla="*/ 918367 w 2417513"/>
                  <a:gd name="connsiteY785" fmla="*/ 804878 h 1867037"/>
                  <a:gd name="connsiteX786" fmla="*/ 920792 w 2417513"/>
                  <a:gd name="connsiteY786" fmla="*/ 803514 h 1867037"/>
                  <a:gd name="connsiteX787" fmla="*/ 927156 w 2417513"/>
                  <a:gd name="connsiteY787" fmla="*/ 797756 h 1867037"/>
                  <a:gd name="connsiteX788" fmla="*/ 929580 w 2417513"/>
                  <a:gd name="connsiteY788" fmla="*/ 796393 h 1867037"/>
                  <a:gd name="connsiteX789" fmla="*/ 934429 w 2417513"/>
                  <a:gd name="connsiteY789" fmla="*/ 788362 h 1867037"/>
                  <a:gd name="connsiteX790" fmla="*/ 937004 w 2417513"/>
                  <a:gd name="connsiteY790" fmla="*/ 785483 h 1867037"/>
                  <a:gd name="connsiteX791" fmla="*/ 939732 w 2417513"/>
                  <a:gd name="connsiteY791" fmla="*/ 783968 h 1867037"/>
                  <a:gd name="connsiteX792" fmla="*/ 943065 w 2417513"/>
                  <a:gd name="connsiteY792" fmla="*/ 783817 h 1867037"/>
                  <a:gd name="connsiteX793" fmla="*/ 946399 w 2417513"/>
                  <a:gd name="connsiteY793" fmla="*/ 785180 h 1867037"/>
                  <a:gd name="connsiteX794" fmla="*/ 948066 w 2417513"/>
                  <a:gd name="connsiteY794" fmla="*/ 786695 h 1867037"/>
                  <a:gd name="connsiteX795" fmla="*/ 948520 w 2417513"/>
                  <a:gd name="connsiteY795" fmla="*/ 788665 h 1867037"/>
                  <a:gd name="connsiteX796" fmla="*/ 948217 w 2417513"/>
                  <a:gd name="connsiteY796" fmla="*/ 791544 h 1867037"/>
                  <a:gd name="connsiteX797" fmla="*/ 948217 w 2417513"/>
                  <a:gd name="connsiteY797" fmla="*/ 792908 h 1867037"/>
                  <a:gd name="connsiteX798" fmla="*/ 948520 w 2417513"/>
                  <a:gd name="connsiteY798" fmla="*/ 794271 h 1867037"/>
                  <a:gd name="connsiteX799" fmla="*/ 950490 w 2417513"/>
                  <a:gd name="connsiteY799" fmla="*/ 795635 h 1867037"/>
                  <a:gd name="connsiteX800" fmla="*/ 953975 w 2417513"/>
                  <a:gd name="connsiteY800" fmla="*/ 797150 h 1867037"/>
                  <a:gd name="connsiteX801" fmla="*/ 957611 w 2417513"/>
                  <a:gd name="connsiteY801" fmla="*/ 797908 h 1867037"/>
                  <a:gd name="connsiteX802" fmla="*/ 963218 w 2417513"/>
                  <a:gd name="connsiteY802" fmla="*/ 797605 h 1867037"/>
                  <a:gd name="connsiteX803" fmla="*/ 970642 w 2417513"/>
                  <a:gd name="connsiteY803" fmla="*/ 798514 h 1867037"/>
                  <a:gd name="connsiteX804" fmla="*/ 978067 w 2417513"/>
                  <a:gd name="connsiteY804" fmla="*/ 800484 h 1867037"/>
                  <a:gd name="connsiteX805" fmla="*/ 984734 w 2417513"/>
                  <a:gd name="connsiteY805" fmla="*/ 801090 h 1867037"/>
                  <a:gd name="connsiteX806" fmla="*/ 984885 w 2417513"/>
                  <a:gd name="connsiteY806" fmla="*/ 801696 h 1867037"/>
                  <a:gd name="connsiteX807" fmla="*/ 984734 w 2417513"/>
                  <a:gd name="connsiteY807" fmla="*/ 802454 h 1867037"/>
                  <a:gd name="connsiteX808" fmla="*/ 981249 w 2417513"/>
                  <a:gd name="connsiteY808" fmla="*/ 806090 h 1867037"/>
                  <a:gd name="connsiteX809" fmla="*/ 980642 w 2417513"/>
                  <a:gd name="connsiteY809" fmla="*/ 807151 h 1867037"/>
                  <a:gd name="connsiteX810" fmla="*/ 982309 w 2417513"/>
                  <a:gd name="connsiteY810" fmla="*/ 808817 h 1867037"/>
                  <a:gd name="connsiteX811" fmla="*/ 997007 w 2417513"/>
                  <a:gd name="connsiteY811" fmla="*/ 811090 h 1867037"/>
                  <a:gd name="connsiteX812" fmla="*/ 1000037 w 2417513"/>
                  <a:gd name="connsiteY812" fmla="*/ 809120 h 1867037"/>
                  <a:gd name="connsiteX813" fmla="*/ 1002916 w 2417513"/>
                  <a:gd name="connsiteY813" fmla="*/ 808363 h 1867037"/>
                  <a:gd name="connsiteX814" fmla="*/ 1010795 w 2417513"/>
                  <a:gd name="connsiteY814" fmla="*/ 811393 h 1867037"/>
                  <a:gd name="connsiteX815" fmla="*/ 1017614 w 2417513"/>
                  <a:gd name="connsiteY815" fmla="*/ 812302 h 1867037"/>
                  <a:gd name="connsiteX816" fmla="*/ 1027311 w 2417513"/>
                  <a:gd name="connsiteY816" fmla="*/ 814121 h 1867037"/>
                  <a:gd name="connsiteX817" fmla="*/ 1035645 w 2417513"/>
                  <a:gd name="connsiteY817" fmla="*/ 813211 h 1867037"/>
                  <a:gd name="connsiteX818" fmla="*/ 1042917 w 2417513"/>
                  <a:gd name="connsiteY818" fmla="*/ 813515 h 1867037"/>
                  <a:gd name="connsiteX819" fmla="*/ 1044584 w 2417513"/>
                  <a:gd name="connsiteY819" fmla="*/ 813060 h 1867037"/>
                  <a:gd name="connsiteX820" fmla="*/ 1047160 w 2417513"/>
                  <a:gd name="connsiteY820" fmla="*/ 811545 h 1867037"/>
                  <a:gd name="connsiteX821" fmla="*/ 1053979 w 2417513"/>
                  <a:gd name="connsiteY821" fmla="*/ 810333 h 1867037"/>
                  <a:gd name="connsiteX822" fmla="*/ 1057463 w 2417513"/>
                  <a:gd name="connsiteY822" fmla="*/ 808666 h 1867037"/>
                  <a:gd name="connsiteX823" fmla="*/ 1067767 w 2417513"/>
                  <a:gd name="connsiteY823" fmla="*/ 805484 h 1867037"/>
                  <a:gd name="connsiteX824" fmla="*/ 1071100 w 2417513"/>
                  <a:gd name="connsiteY824" fmla="*/ 803817 h 1867037"/>
                  <a:gd name="connsiteX825" fmla="*/ 1073070 w 2417513"/>
                  <a:gd name="connsiteY825" fmla="*/ 798666 h 1867037"/>
                  <a:gd name="connsiteX826" fmla="*/ 1073070 w 2417513"/>
                  <a:gd name="connsiteY826" fmla="*/ 796241 h 1867037"/>
                  <a:gd name="connsiteX827" fmla="*/ 1072161 w 2417513"/>
                  <a:gd name="connsiteY827" fmla="*/ 794574 h 1867037"/>
                  <a:gd name="connsiteX828" fmla="*/ 1070646 w 2417513"/>
                  <a:gd name="connsiteY828" fmla="*/ 794120 h 1867037"/>
                  <a:gd name="connsiteX829" fmla="*/ 1069888 w 2417513"/>
                  <a:gd name="connsiteY829" fmla="*/ 793817 h 1867037"/>
                  <a:gd name="connsiteX830" fmla="*/ 1067312 w 2417513"/>
                  <a:gd name="connsiteY830" fmla="*/ 794271 h 1867037"/>
                  <a:gd name="connsiteX831" fmla="*/ 1065797 w 2417513"/>
                  <a:gd name="connsiteY831" fmla="*/ 793211 h 1867037"/>
                  <a:gd name="connsiteX832" fmla="*/ 1065343 w 2417513"/>
                  <a:gd name="connsiteY832" fmla="*/ 792150 h 1867037"/>
                  <a:gd name="connsiteX833" fmla="*/ 1065191 w 2417513"/>
                  <a:gd name="connsiteY833" fmla="*/ 790938 h 1867037"/>
                  <a:gd name="connsiteX834" fmla="*/ 1065343 w 2417513"/>
                  <a:gd name="connsiteY834" fmla="*/ 789574 h 1867037"/>
                  <a:gd name="connsiteX835" fmla="*/ 1065797 w 2417513"/>
                  <a:gd name="connsiteY835" fmla="*/ 788514 h 1867037"/>
                  <a:gd name="connsiteX836" fmla="*/ 1067918 w 2417513"/>
                  <a:gd name="connsiteY836" fmla="*/ 786241 h 1867037"/>
                  <a:gd name="connsiteX837" fmla="*/ 1067918 w 2417513"/>
                  <a:gd name="connsiteY837" fmla="*/ 785332 h 1867037"/>
                  <a:gd name="connsiteX838" fmla="*/ 1066100 w 2417513"/>
                  <a:gd name="connsiteY838" fmla="*/ 783362 h 1867037"/>
                  <a:gd name="connsiteX839" fmla="*/ 1063221 w 2417513"/>
                  <a:gd name="connsiteY839" fmla="*/ 782301 h 1867037"/>
                  <a:gd name="connsiteX840" fmla="*/ 1055191 w 2417513"/>
                  <a:gd name="connsiteY840" fmla="*/ 782907 h 1867037"/>
                  <a:gd name="connsiteX841" fmla="*/ 1052463 w 2417513"/>
                  <a:gd name="connsiteY841" fmla="*/ 784877 h 1867037"/>
                  <a:gd name="connsiteX842" fmla="*/ 1046099 w 2417513"/>
                  <a:gd name="connsiteY842" fmla="*/ 787605 h 1867037"/>
                  <a:gd name="connsiteX843" fmla="*/ 1043221 w 2417513"/>
                  <a:gd name="connsiteY843" fmla="*/ 789423 h 1867037"/>
                  <a:gd name="connsiteX844" fmla="*/ 1037614 w 2417513"/>
                  <a:gd name="connsiteY844" fmla="*/ 795635 h 1867037"/>
                  <a:gd name="connsiteX845" fmla="*/ 1036857 w 2417513"/>
                  <a:gd name="connsiteY845" fmla="*/ 795938 h 1867037"/>
                  <a:gd name="connsiteX846" fmla="*/ 1037008 w 2417513"/>
                  <a:gd name="connsiteY846" fmla="*/ 794423 h 1867037"/>
                  <a:gd name="connsiteX847" fmla="*/ 1038978 w 2417513"/>
                  <a:gd name="connsiteY847" fmla="*/ 788059 h 1867037"/>
                  <a:gd name="connsiteX848" fmla="*/ 1039129 w 2417513"/>
                  <a:gd name="connsiteY848" fmla="*/ 784877 h 1867037"/>
                  <a:gd name="connsiteX849" fmla="*/ 1038675 w 2417513"/>
                  <a:gd name="connsiteY849" fmla="*/ 783059 h 1867037"/>
                  <a:gd name="connsiteX850" fmla="*/ 1038372 w 2417513"/>
                  <a:gd name="connsiteY850" fmla="*/ 782453 h 1867037"/>
                  <a:gd name="connsiteX851" fmla="*/ 1037311 w 2417513"/>
                  <a:gd name="connsiteY851" fmla="*/ 782604 h 1867037"/>
                  <a:gd name="connsiteX852" fmla="*/ 1036251 w 2417513"/>
                  <a:gd name="connsiteY852" fmla="*/ 781998 h 1867037"/>
                  <a:gd name="connsiteX853" fmla="*/ 1032159 w 2417513"/>
                  <a:gd name="connsiteY853" fmla="*/ 778513 h 1867037"/>
                  <a:gd name="connsiteX854" fmla="*/ 1028826 w 2417513"/>
                  <a:gd name="connsiteY854" fmla="*/ 776392 h 1867037"/>
                  <a:gd name="connsiteX855" fmla="*/ 1027614 w 2417513"/>
                  <a:gd name="connsiteY855" fmla="*/ 774725 h 1867037"/>
                  <a:gd name="connsiteX856" fmla="*/ 1028371 w 2417513"/>
                  <a:gd name="connsiteY856" fmla="*/ 773665 h 1867037"/>
                  <a:gd name="connsiteX857" fmla="*/ 1030493 w 2417513"/>
                  <a:gd name="connsiteY857" fmla="*/ 772755 h 1867037"/>
                  <a:gd name="connsiteX858" fmla="*/ 1032008 w 2417513"/>
                  <a:gd name="connsiteY858" fmla="*/ 773362 h 1867037"/>
                  <a:gd name="connsiteX859" fmla="*/ 1038675 w 2417513"/>
                  <a:gd name="connsiteY859" fmla="*/ 777301 h 1867037"/>
                  <a:gd name="connsiteX860" fmla="*/ 1042463 w 2417513"/>
                  <a:gd name="connsiteY860" fmla="*/ 778816 h 1867037"/>
                  <a:gd name="connsiteX861" fmla="*/ 1047312 w 2417513"/>
                  <a:gd name="connsiteY861" fmla="*/ 779574 h 1867037"/>
                  <a:gd name="connsiteX862" fmla="*/ 1050645 w 2417513"/>
                  <a:gd name="connsiteY862" fmla="*/ 779422 h 1867037"/>
                  <a:gd name="connsiteX863" fmla="*/ 1052160 w 2417513"/>
                  <a:gd name="connsiteY863" fmla="*/ 778362 h 1867037"/>
                  <a:gd name="connsiteX864" fmla="*/ 1052766 w 2417513"/>
                  <a:gd name="connsiteY864" fmla="*/ 777453 h 1867037"/>
                  <a:gd name="connsiteX865" fmla="*/ 1052918 w 2417513"/>
                  <a:gd name="connsiteY865" fmla="*/ 776089 h 1867037"/>
                  <a:gd name="connsiteX866" fmla="*/ 1052615 w 2417513"/>
                  <a:gd name="connsiteY866" fmla="*/ 774119 h 1867037"/>
                  <a:gd name="connsiteX867" fmla="*/ 1052009 w 2417513"/>
                  <a:gd name="connsiteY867" fmla="*/ 772604 h 1867037"/>
                  <a:gd name="connsiteX868" fmla="*/ 1051100 w 2417513"/>
                  <a:gd name="connsiteY868" fmla="*/ 771392 h 1867037"/>
                  <a:gd name="connsiteX869" fmla="*/ 1053069 w 2417513"/>
                  <a:gd name="connsiteY869" fmla="*/ 769422 h 1867037"/>
                  <a:gd name="connsiteX870" fmla="*/ 1057918 w 2417513"/>
                  <a:gd name="connsiteY870" fmla="*/ 766695 h 1867037"/>
                  <a:gd name="connsiteX871" fmla="*/ 1061100 w 2417513"/>
                  <a:gd name="connsiteY871" fmla="*/ 765331 h 1867037"/>
                  <a:gd name="connsiteX872" fmla="*/ 1062464 w 2417513"/>
                  <a:gd name="connsiteY872" fmla="*/ 765179 h 1867037"/>
                  <a:gd name="connsiteX873" fmla="*/ 1064737 w 2417513"/>
                  <a:gd name="connsiteY873" fmla="*/ 766240 h 1867037"/>
                  <a:gd name="connsiteX874" fmla="*/ 1071252 w 2417513"/>
                  <a:gd name="connsiteY874" fmla="*/ 770483 h 1867037"/>
                  <a:gd name="connsiteX875" fmla="*/ 1074737 w 2417513"/>
                  <a:gd name="connsiteY875" fmla="*/ 772149 h 1867037"/>
                  <a:gd name="connsiteX876" fmla="*/ 1077161 w 2417513"/>
                  <a:gd name="connsiteY876" fmla="*/ 772452 h 1867037"/>
                  <a:gd name="connsiteX877" fmla="*/ 1078373 w 2417513"/>
                  <a:gd name="connsiteY877" fmla="*/ 771392 h 1867037"/>
                  <a:gd name="connsiteX878" fmla="*/ 1079434 w 2417513"/>
                  <a:gd name="connsiteY878" fmla="*/ 769725 h 1867037"/>
                  <a:gd name="connsiteX879" fmla="*/ 1080949 w 2417513"/>
                  <a:gd name="connsiteY879" fmla="*/ 765937 h 1867037"/>
                  <a:gd name="connsiteX880" fmla="*/ 1081555 w 2417513"/>
                  <a:gd name="connsiteY880" fmla="*/ 765179 h 1867037"/>
                  <a:gd name="connsiteX881" fmla="*/ 1082313 w 2417513"/>
                  <a:gd name="connsiteY881" fmla="*/ 765937 h 1867037"/>
                  <a:gd name="connsiteX882" fmla="*/ 1083828 w 2417513"/>
                  <a:gd name="connsiteY882" fmla="*/ 770028 h 1867037"/>
                  <a:gd name="connsiteX883" fmla="*/ 1085495 w 2417513"/>
                  <a:gd name="connsiteY883" fmla="*/ 771998 h 1867037"/>
                  <a:gd name="connsiteX884" fmla="*/ 1088828 w 2417513"/>
                  <a:gd name="connsiteY884" fmla="*/ 773513 h 1867037"/>
                  <a:gd name="connsiteX885" fmla="*/ 1093525 w 2417513"/>
                  <a:gd name="connsiteY885" fmla="*/ 774119 h 1867037"/>
                  <a:gd name="connsiteX886" fmla="*/ 1095192 w 2417513"/>
                  <a:gd name="connsiteY886" fmla="*/ 773513 h 1867037"/>
                  <a:gd name="connsiteX887" fmla="*/ 1096404 w 2417513"/>
                  <a:gd name="connsiteY887" fmla="*/ 771089 h 1867037"/>
                  <a:gd name="connsiteX888" fmla="*/ 1087616 w 2417513"/>
                  <a:gd name="connsiteY888" fmla="*/ 786847 h 1867037"/>
                  <a:gd name="connsiteX889" fmla="*/ 1089889 w 2417513"/>
                  <a:gd name="connsiteY889" fmla="*/ 786392 h 1867037"/>
                  <a:gd name="connsiteX890" fmla="*/ 1091101 w 2417513"/>
                  <a:gd name="connsiteY890" fmla="*/ 785483 h 1867037"/>
                  <a:gd name="connsiteX891" fmla="*/ 1092162 w 2417513"/>
                  <a:gd name="connsiteY891" fmla="*/ 784120 h 1867037"/>
                  <a:gd name="connsiteX892" fmla="*/ 1093222 w 2417513"/>
                  <a:gd name="connsiteY892" fmla="*/ 783513 h 1867037"/>
                  <a:gd name="connsiteX893" fmla="*/ 1094586 w 2417513"/>
                  <a:gd name="connsiteY893" fmla="*/ 783210 h 1867037"/>
                  <a:gd name="connsiteX894" fmla="*/ 1093677 w 2417513"/>
                  <a:gd name="connsiteY894" fmla="*/ 781544 h 1867037"/>
                  <a:gd name="connsiteX895" fmla="*/ 1091859 w 2417513"/>
                  <a:gd name="connsiteY895" fmla="*/ 779271 h 1867037"/>
                  <a:gd name="connsiteX896" fmla="*/ 1087919 w 2417513"/>
                  <a:gd name="connsiteY896" fmla="*/ 777604 h 1867037"/>
                  <a:gd name="connsiteX897" fmla="*/ 1086101 w 2417513"/>
                  <a:gd name="connsiteY897" fmla="*/ 777453 h 1867037"/>
                  <a:gd name="connsiteX898" fmla="*/ 1085040 w 2417513"/>
                  <a:gd name="connsiteY898" fmla="*/ 778210 h 1867037"/>
                  <a:gd name="connsiteX899" fmla="*/ 1084889 w 2417513"/>
                  <a:gd name="connsiteY899" fmla="*/ 779119 h 1867037"/>
                  <a:gd name="connsiteX900" fmla="*/ 1085646 w 2417513"/>
                  <a:gd name="connsiteY900" fmla="*/ 780180 h 1867037"/>
                  <a:gd name="connsiteX901" fmla="*/ 1088374 w 2417513"/>
                  <a:gd name="connsiteY901" fmla="*/ 781392 h 1867037"/>
                  <a:gd name="connsiteX902" fmla="*/ 1088980 w 2417513"/>
                  <a:gd name="connsiteY902" fmla="*/ 781998 h 1867037"/>
                  <a:gd name="connsiteX903" fmla="*/ 1088677 w 2417513"/>
                  <a:gd name="connsiteY903" fmla="*/ 782756 h 1867037"/>
                  <a:gd name="connsiteX904" fmla="*/ 1086707 w 2417513"/>
                  <a:gd name="connsiteY904" fmla="*/ 783817 h 1867037"/>
                  <a:gd name="connsiteX905" fmla="*/ 1087313 w 2417513"/>
                  <a:gd name="connsiteY905" fmla="*/ 784271 h 1867037"/>
                  <a:gd name="connsiteX906" fmla="*/ 1087465 w 2417513"/>
                  <a:gd name="connsiteY906" fmla="*/ 784877 h 1867037"/>
                  <a:gd name="connsiteX907" fmla="*/ 1087313 w 2417513"/>
                  <a:gd name="connsiteY907" fmla="*/ 786241 h 1867037"/>
                  <a:gd name="connsiteX908" fmla="*/ 1087616 w 2417513"/>
                  <a:gd name="connsiteY908" fmla="*/ 786847 h 1867037"/>
                  <a:gd name="connsiteX909" fmla="*/ 1121405 w 2417513"/>
                  <a:gd name="connsiteY909" fmla="*/ 807908 h 1867037"/>
                  <a:gd name="connsiteX910" fmla="*/ 1122011 w 2417513"/>
                  <a:gd name="connsiteY910" fmla="*/ 805029 h 1867037"/>
                  <a:gd name="connsiteX911" fmla="*/ 1121708 w 2417513"/>
                  <a:gd name="connsiteY911" fmla="*/ 803363 h 1867037"/>
                  <a:gd name="connsiteX912" fmla="*/ 1120951 w 2417513"/>
                  <a:gd name="connsiteY912" fmla="*/ 801393 h 1867037"/>
                  <a:gd name="connsiteX913" fmla="*/ 1119890 w 2417513"/>
                  <a:gd name="connsiteY913" fmla="*/ 800181 h 1867037"/>
                  <a:gd name="connsiteX914" fmla="*/ 1117617 w 2417513"/>
                  <a:gd name="connsiteY914" fmla="*/ 799272 h 1867037"/>
                  <a:gd name="connsiteX915" fmla="*/ 1116708 w 2417513"/>
                  <a:gd name="connsiteY915" fmla="*/ 800029 h 1867037"/>
                  <a:gd name="connsiteX916" fmla="*/ 1115344 w 2417513"/>
                  <a:gd name="connsiteY916" fmla="*/ 802150 h 1867037"/>
                  <a:gd name="connsiteX917" fmla="*/ 1115041 w 2417513"/>
                  <a:gd name="connsiteY917" fmla="*/ 803060 h 1867037"/>
                  <a:gd name="connsiteX918" fmla="*/ 1115193 w 2417513"/>
                  <a:gd name="connsiteY918" fmla="*/ 803666 h 1867037"/>
                  <a:gd name="connsiteX919" fmla="*/ 1116405 w 2417513"/>
                  <a:gd name="connsiteY919" fmla="*/ 806090 h 1867037"/>
                  <a:gd name="connsiteX920" fmla="*/ 1117920 w 2417513"/>
                  <a:gd name="connsiteY920" fmla="*/ 807151 h 1867037"/>
                  <a:gd name="connsiteX921" fmla="*/ 1121405 w 2417513"/>
                  <a:gd name="connsiteY921" fmla="*/ 807908 h 1867037"/>
                  <a:gd name="connsiteX922" fmla="*/ 1105647 w 2417513"/>
                  <a:gd name="connsiteY922" fmla="*/ 816848 h 1867037"/>
                  <a:gd name="connsiteX923" fmla="*/ 1106253 w 2417513"/>
                  <a:gd name="connsiteY923" fmla="*/ 816848 h 1867037"/>
                  <a:gd name="connsiteX924" fmla="*/ 1107617 w 2417513"/>
                  <a:gd name="connsiteY924" fmla="*/ 815636 h 1867037"/>
                  <a:gd name="connsiteX925" fmla="*/ 1108223 w 2417513"/>
                  <a:gd name="connsiteY925" fmla="*/ 815636 h 1867037"/>
                  <a:gd name="connsiteX926" fmla="*/ 1108678 w 2417513"/>
                  <a:gd name="connsiteY926" fmla="*/ 815939 h 1867037"/>
                  <a:gd name="connsiteX927" fmla="*/ 1109738 w 2417513"/>
                  <a:gd name="connsiteY927" fmla="*/ 817757 h 1867037"/>
                  <a:gd name="connsiteX928" fmla="*/ 1110950 w 2417513"/>
                  <a:gd name="connsiteY928" fmla="*/ 818818 h 1867037"/>
                  <a:gd name="connsiteX929" fmla="*/ 1111859 w 2417513"/>
                  <a:gd name="connsiteY929" fmla="*/ 818515 h 1867037"/>
                  <a:gd name="connsiteX930" fmla="*/ 1113981 w 2417513"/>
                  <a:gd name="connsiteY930" fmla="*/ 816696 h 1867037"/>
                  <a:gd name="connsiteX931" fmla="*/ 1115041 w 2417513"/>
                  <a:gd name="connsiteY931" fmla="*/ 816242 h 1867037"/>
                  <a:gd name="connsiteX932" fmla="*/ 1115950 w 2417513"/>
                  <a:gd name="connsiteY932" fmla="*/ 814727 h 1867037"/>
                  <a:gd name="connsiteX933" fmla="*/ 1117011 w 2417513"/>
                  <a:gd name="connsiteY933" fmla="*/ 810030 h 1867037"/>
                  <a:gd name="connsiteX934" fmla="*/ 1116254 w 2417513"/>
                  <a:gd name="connsiteY934" fmla="*/ 808969 h 1867037"/>
                  <a:gd name="connsiteX935" fmla="*/ 1113981 w 2417513"/>
                  <a:gd name="connsiteY935" fmla="*/ 807454 h 1867037"/>
                  <a:gd name="connsiteX936" fmla="*/ 1112920 w 2417513"/>
                  <a:gd name="connsiteY936" fmla="*/ 805484 h 1867037"/>
                  <a:gd name="connsiteX937" fmla="*/ 1110647 w 2417513"/>
                  <a:gd name="connsiteY937" fmla="*/ 803969 h 1867037"/>
                  <a:gd name="connsiteX938" fmla="*/ 1107768 w 2417513"/>
                  <a:gd name="connsiteY938" fmla="*/ 803666 h 1867037"/>
                  <a:gd name="connsiteX939" fmla="*/ 1106556 w 2417513"/>
                  <a:gd name="connsiteY939" fmla="*/ 804120 h 1867037"/>
                  <a:gd name="connsiteX940" fmla="*/ 1105647 w 2417513"/>
                  <a:gd name="connsiteY940" fmla="*/ 805029 h 1867037"/>
                  <a:gd name="connsiteX941" fmla="*/ 1105344 w 2417513"/>
                  <a:gd name="connsiteY941" fmla="*/ 805939 h 1867037"/>
                  <a:gd name="connsiteX942" fmla="*/ 1105647 w 2417513"/>
                  <a:gd name="connsiteY942" fmla="*/ 806999 h 1867037"/>
                  <a:gd name="connsiteX943" fmla="*/ 1105647 w 2417513"/>
                  <a:gd name="connsiteY943" fmla="*/ 808363 h 1867037"/>
                  <a:gd name="connsiteX944" fmla="*/ 1105041 w 2417513"/>
                  <a:gd name="connsiteY944" fmla="*/ 811999 h 1867037"/>
                  <a:gd name="connsiteX945" fmla="*/ 1105041 w 2417513"/>
                  <a:gd name="connsiteY945" fmla="*/ 814424 h 1867037"/>
                  <a:gd name="connsiteX946" fmla="*/ 1105344 w 2417513"/>
                  <a:gd name="connsiteY946" fmla="*/ 815939 h 1867037"/>
                  <a:gd name="connsiteX947" fmla="*/ 1105647 w 2417513"/>
                  <a:gd name="connsiteY947" fmla="*/ 816848 h 1867037"/>
                  <a:gd name="connsiteX948" fmla="*/ 1380809 w 2417513"/>
                  <a:gd name="connsiteY948" fmla="*/ 790029 h 1867037"/>
                  <a:gd name="connsiteX949" fmla="*/ 1379142 w 2417513"/>
                  <a:gd name="connsiteY949" fmla="*/ 787908 h 1867037"/>
                  <a:gd name="connsiteX950" fmla="*/ 1377475 w 2417513"/>
                  <a:gd name="connsiteY950" fmla="*/ 787605 h 1867037"/>
                  <a:gd name="connsiteX951" fmla="*/ 1375354 w 2417513"/>
                  <a:gd name="connsiteY951" fmla="*/ 788362 h 1867037"/>
                  <a:gd name="connsiteX952" fmla="*/ 1374748 w 2417513"/>
                  <a:gd name="connsiteY952" fmla="*/ 789423 h 1867037"/>
                  <a:gd name="connsiteX953" fmla="*/ 1374596 w 2417513"/>
                  <a:gd name="connsiteY953" fmla="*/ 791544 h 1867037"/>
                  <a:gd name="connsiteX954" fmla="*/ 1376869 w 2417513"/>
                  <a:gd name="connsiteY954" fmla="*/ 791847 h 1867037"/>
                  <a:gd name="connsiteX955" fmla="*/ 1377324 w 2417513"/>
                  <a:gd name="connsiteY955" fmla="*/ 793211 h 1867037"/>
                  <a:gd name="connsiteX956" fmla="*/ 1378536 w 2417513"/>
                  <a:gd name="connsiteY956" fmla="*/ 793665 h 1867037"/>
                  <a:gd name="connsiteX957" fmla="*/ 1379900 w 2417513"/>
                  <a:gd name="connsiteY957" fmla="*/ 795635 h 1867037"/>
                  <a:gd name="connsiteX958" fmla="*/ 1382172 w 2417513"/>
                  <a:gd name="connsiteY958" fmla="*/ 795029 h 1867037"/>
                  <a:gd name="connsiteX959" fmla="*/ 1382324 w 2417513"/>
                  <a:gd name="connsiteY959" fmla="*/ 793817 h 1867037"/>
                  <a:gd name="connsiteX960" fmla="*/ 1381566 w 2417513"/>
                  <a:gd name="connsiteY960" fmla="*/ 791696 h 1867037"/>
                  <a:gd name="connsiteX961" fmla="*/ 1380809 w 2417513"/>
                  <a:gd name="connsiteY961" fmla="*/ 790029 h 1867037"/>
                  <a:gd name="connsiteX962" fmla="*/ 1782187 w 2417513"/>
                  <a:gd name="connsiteY962" fmla="*/ 837303 h 1867037"/>
                  <a:gd name="connsiteX963" fmla="*/ 1779005 w 2417513"/>
                  <a:gd name="connsiteY963" fmla="*/ 837455 h 1867037"/>
                  <a:gd name="connsiteX964" fmla="*/ 1776126 w 2417513"/>
                  <a:gd name="connsiteY964" fmla="*/ 838364 h 1867037"/>
                  <a:gd name="connsiteX965" fmla="*/ 1773854 w 2417513"/>
                  <a:gd name="connsiteY965" fmla="*/ 838667 h 1867037"/>
                  <a:gd name="connsiteX966" fmla="*/ 1768550 w 2417513"/>
                  <a:gd name="connsiteY966" fmla="*/ 838212 h 1867037"/>
                  <a:gd name="connsiteX967" fmla="*/ 1762187 w 2417513"/>
                  <a:gd name="connsiteY967" fmla="*/ 840031 h 1867037"/>
                  <a:gd name="connsiteX968" fmla="*/ 1759611 w 2417513"/>
                  <a:gd name="connsiteY968" fmla="*/ 841243 h 1867037"/>
                  <a:gd name="connsiteX969" fmla="*/ 1758247 w 2417513"/>
                  <a:gd name="connsiteY969" fmla="*/ 842303 h 1867037"/>
                  <a:gd name="connsiteX970" fmla="*/ 1752641 w 2417513"/>
                  <a:gd name="connsiteY970" fmla="*/ 848970 h 1867037"/>
                  <a:gd name="connsiteX971" fmla="*/ 1747641 w 2417513"/>
                  <a:gd name="connsiteY971" fmla="*/ 855789 h 1867037"/>
                  <a:gd name="connsiteX972" fmla="*/ 1744762 w 2417513"/>
                  <a:gd name="connsiteY972" fmla="*/ 860334 h 1867037"/>
                  <a:gd name="connsiteX973" fmla="*/ 1742641 w 2417513"/>
                  <a:gd name="connsiteY973" fmla="*/ 867153 h 1867037"/>
                  <a:gd name="connsiteX974" fmla="*/ 1742641 w 2417513"/>
                  <a:gd name="connsiteY974" fmla="*/ 868062 h 1867037"/>
                  <a:gd name="connsiteX975" fmla="*/ 1744762 w 2417513"/>
                  <a:gd name="connsiteY975" fmla="*/ 876396 h 1867037"/>
                  <a:gd name="connsiteX976" fmla="*/ 1746580 w 2417513"/>
                  <a:gd name="connsiteY976" fmla="*/ 881093 h 1867037"/>
                  <a:gd name="connsiteX977" fmla="*/ 1748853 w 2417513"/>
                  <a:gd name="connsiteY977" fmla="*/ 885184 h 1867037"/>
                  <a:gd name="connsiteX978" fmla="*/ 1750823 w 2417513"/>
                  <a:gd name="connsiteY978" fmla="*/ 887608 h 1867037"/>
                  <a:gd name="connsiteX979" fmla="*/ 1752489 w 2417513"/>
                  <a:gd name="connsiteY979" fmla="*/ 888366 h 1867037"/>
                  <a:gd name="connsiteX980" fmla="*/ 1754762 w 2417513"/>
                  <a:gd name="connsiteY980" fmla="*/ 888820 h 1867037"/>
                  <a:gd name="connsiteX981" fmla="*/ 1759308 w 2417513"/>
                  <a:gd name="connsiteY981" fmla="*/ 888972 h 1867037"/>
                  <a:gd name="connsiteX982" fmla="*/ 1769157 w 2417513"/>
                  <a:gd name="connsiteY982" fmla="*/ 887911 h 1867037"/>
                  <a:gd name="connsiteX983" fmla="*/ 1776884 w 2417513"/>
                  <a:gd name="connsiteY983" fmla="*/ 887760 h 1867037"/>
                  <a:gd name="connsiteX984" fmla="*/ 1784309 w 2417513"/>
                  <a:gd name="connsiteY984" fmla="*/ 886699 h 1867037"/>
                  <a:gd name="connsiteX985" fmla="*/ 1794763 w 2417513"/>
                  <a:gd name="connsiteY985" fmla="*/ 882759 h 1867037"/>
                  <a:gd name="connsiteX986" fmla="*/ 1797036 w 2417513"/>
                  <a:gd name="connsiteY986" fmla="*/ 881244 h 1867037"/>
                  <a:gd name="connsiteX987" fmla="*/ 1800067 w 2417513"/>
                  <a:gd name="connsiteY987" fmla="*/ 878517 h 1867037"/>
                  <a:gd name="connsiteX988" fmla="*/ 1802037 w 2417513"/>
                  <a:gd name="connsiteY988" fmla="*/ 874880 h 1867037"/>
                  <a:gd name="connsiteX989" fmla="*/ 1803097 w 2417513"/>
                  <a:gd name="connsiteY989" fmla="*/ 870335 h 1867037"/>
                  <a:gd name="connsiteX990" fmla="*/ 1803249 w 2417513"/>
                  <a:gd name="connsiteY990" fmla="*/ 864880 h 1867037"/>
                  <a:gd name="connsiteX991" fmla="*/ 1802188 w 2417513"/>
                  <a:gd name="connsiteY991" fmla="*/ 854880 h 1867037"/>
                  <a:gd name="connsiteX992" fmla="*/ 1802340 w 2417513"/>
                  <a:gd name="connsiteY992" fmla="*/ 853971 h 1867037"/>
                  <a:gd name="connsiteX993" fmla="*/ 1803703 w 2417513"/>
                  <a:gd name="connsiteY993" fmla="*/ 850940 h 1867037"/>
                  <a:gd name="connsiteX994" fmla="*/ 1804006 w 2417513"/>
                  <a:gd name="connsiteY994" fmla="*/ 849728 h 1867037"/>
                  <a:gd name="connsiteX995" fmla="*/ 1804006 w 2417513"/>
                  <a:gd name="connsiteY995" fmla="*/ 846546 h 1867037"/>
                  <a:gd name="connsiteX996" fmla="*/ 1803552 w 2417513"/>
                  <a:gd name="connsiteY996" fmla="*/ 845031 h 1867037"/>
                  <a:gd name="connsiteX997" fmla="*/ 1802794 w 2417513"/>
                  <a:gd name="connsiteY997" fmla="*/ 843667 h 1867037"/>
                  <a:gd name="connsiteX998" fmla="*/ 1801430 w 2417513"/>
                  <a:gd name="connsiteY998" fmla="*/ 842152 h 1867037"/>
                  <a:gd name="connsiteX999" fmla="*/ 1787187 w 2417513"/>
                  <a:gd name="connsiteY999" fmla="*/ 837909 h 1867037"/>
                  <a:gd name="connsiteX1000" fmla="*/ 1782187 w 2417513"/>
                  <a:gd name="connsiteY1000" fmla="*/ 837303 h 1867037"/>
                  <a:gd name="connsiteX1001" fmla="*/ 1725519 w 2417513"/>
                  <a:gd name="connsiteY1001" fmla="*/ 1073070 h 1867037"/>
                  <a:gd name="connsiteX1002" fmla="*/ 1729610 w 2417513"/>
                  <a:gd name="connsiteY1002" fmla="*/ 1072463 h 1867037"/>
                  <a:gd name="connsiteX1003" fmla="*/ 1733246 w 2417513"/>
                  <a:gd name="connsiteY1003" fmla="*/ 1070948 h 1867037"/>
                  <a:gd name="connsiteX1004" fmla="*/ 1735064 w 2417513"/>
                  <a:gd name="connsiteY1004" fmla="*/ 1069888 h 1867037"/>
                  <a:gd name="connsiteX1005" fmla="*/ 1736731 w 2417513"/>
                  <a:gd name="connsiteY1005" fmla="*/ 1067918 h 1867037"/>
                  <a:gd name="connsiteX1006" fmla="*/ 1736883 w 2417513"/>
                  <a:gd name="connsiteY1006" fmla="*/ 1066403 h 1867037"/>
                  <a:gd name="connsiteX1007" fmla="*/ 1736580 w 2417513"/>
                  <a:gd name="connsiteY1007" fmla="*/ 1065645 h 1867037"/>
                  <a:gd name="connsiteX1008" fmla="*/ 1733398 w 2417513"/>
                  <a:gd name="connsiteY1008" fmla="*/ 1060948 h 1867037"/>
                  <a:gd name="connsiteX1009" fmla="*/ 1732034 w 2417513"/>
                  <a:gd name="connsiteY1009" fmla="*/ 1059433 h 1867037"/>
                  <a:gd name="connsiteX1010" fmla="*/ 1729610 w 2417513"/>
                  <a:gd name="connsiteY1010" fmla="*/ 1059584 h 1867037"/>
                  <a:gd name="connsiteX1011" fmla="*/ 1727337 w 2417513"/>
                  <a:gd name="connsiteY1011" fmla="*/ 1057766 h 1867037"/>
                  <a:gd name="connsiteX1012" fmla="*/ 1725822 w 2417513"/>
                  <a:gd name="connsiteY1012" fmla="*/ 1057463 h 1867037"/>
                  <a:gd name="connsiteX1013" fmla="*/ 1717639 w 2417513"/>
                  <a:gd name="connsiteY1013" fmla="*/ 1057008 h 1867037"/>
                  <a:gd name="connsiteX1014" fmla="*/ 1712639 w 2417513"/>
                  <a:gd name="connsiteY1014" fmla="*/ 1057917 h 1867037"/>
                  <a:gd name="connsiteX1015" fmla="*/ 1710215 w 2417513"/>
                  <a:gd name="connsiteY1015" fmla="*/ 1058675 h 1867037"/>
                  <a:gd name="connsiteX1016" fmla="*/ 1709457 w 2417513"/>
                  <a:gd name="connsiteY1016" fmla="*/ 1059887 h 1867037"/>
                  <a:gd name="connsiteX1017" fmla="*/ 1711276 w 2417513"/>
                  <a:gd name="connsiteY1017" fmla="*/ 1062766 h 1867037"/>
                  <a:gd name="connsiteX1018" fmla="*/ 1717033 w 2417513"/>
                  <a:gd name="connsiteY1018" fmla="*/ 1067918 h 1867037"/>
                  <a:gd name="connsiteX1019" fmla="*/ 1723397 w 2417513"/>
                  <a:gd name="connsiteY1019" fmla="*/ 1072312 h 1867037"/>
                  <a:gd name="connsiteX1020" fmla="*/ 1725519 w 2417513"/>
                  <a:gd name="connsiteY1020" fmla="*/ 1073070 h 1867037"/>
                  <a:gd name="connsiteX1021" fmla="*/ 1731731 w 2417513"/>
                  <a:gd name="connsiteY1021" fmla="*/ 1037008 h 1867037"/>
                  <a:gd name="connsiteX1022" fmla="*/ 1733701 w 2417513"/>
                  <a:gd name="connsiteY1022" fmla="*/ 1035038 h 1867037"/>
                  <a:gd name="connsiteX1023" fmla="*/ 1735822 w 2417513"/>
                  <a:gd name="connsiteY1023" fmla="*/ 1033674 h 1867037"/>
                  <a:gd name="connsiteX1024" fmla="*/ 1735670 w 2417513"/>
                  <a:gd name="connsiteY1024" fmla="*/ 1033371 h 1867037"/>
                  <a:gd name="connsiteX1025" fmla="*/ 1734307 w 2417513"/>
                  <a:gd name="connsiteY1025" fmla="*/ 1033068 h 1867037"/>
                  <a:gd name="connsiteX1026" fmla="*/ 1731731 w 2417513"/>
                  <a:gd name="connsiteY1026" fmla="*/ 1033068 h 1867037"/>
                  <a:gd name="connsiteX1027" fmla="*/ 1725670 w 2417513"/>
                  <a:gd name="connsiteY1027" fmla="*/ 1033977 h 1867037"/>
                  <a:gd name="connsiteX1028" fmla="*/ 1724761 w 2417513"/>
                  <a:gd name="connsiteY1028" fmla="*/ 1034886 h 1867037"/>
                  <a:gd name="connsiteX1029" fmla="*/ 1724912 w 2417513"/>
                  <a:gd name="connsiteY1029" fmla="*/ 1035644 h 1867037"/>
                  <a:gd name="connsiteX1030" fmla="*/ 1725670 w 2417513"/>
                  <a:gd name="connsiteY1030" fmla="*/ 1036250 h 1867037"/>
                  <a:gd name="connsiteX1031" fmla="*/ 1731731 w 2417513"/>
                  <a:gd name="connsiteY1031" fmla="*/ 1037008 h 1867037"/>
                  <a:gd name="connsiteX1032" fmla="*/ 1758247 w 2417513"/>
                  <a:gd name="connsiteY1032" fmla="*/ 786089 h 1867037"/>
                  <a:gd name="connsiteX1033" fmla="*/ 1751429 w 2417513"/>
                  <a:gd name="connsiteY1033" fmla="*/ 785786 h 1867037"/>
                  <a:gd name="connsiteX1034" fmla="*/ 1748247 w 2417513"/>
                  <a:gd name="connsiteY1034" fmla="*/ 784574 h 1867037"/>
                  <a:gd name="connsiteX1035" fmla="*/ 1746125 w 2417513"/>
                  <a:gd name="connsiteY1035" fmla="*/ 784423 h 1867037"/>
                  <a:gd name="connsiteX1036" fmla="*/ 1742489 w 2417513"/>
                  <a:gd name="connsiteY1036" fmla="*/ 785635 h 1867037"/>
                  <a:gd name="connsiteX1037" fmla="*/ 1741883 w 2417513"/>
                  <a:gd name="connsiteY1037" fmla="*/ 786241 h 1867037"/>
                  <a:gd name="connsiteX1038" fmla="*/ 1741580 w 2417513"/>
                  <a:gd name="connsiteY1038" fmla="*/ 787453 h 1867037"/>
                  <a:gd name="connsiteX1039" fmla="*/ 1741428 w 2417513"/>
                  <a:gd name="connsiteY1039" fmla="*/ 790635 h 1867037"/>
                  <a:gd name="connsiteX1040" fmla="*/ 1740822 w 2417513"/>
                  <a:gd name="connsiteY1040" fmla="*/ 792453 h 1867037"/>
                  <a:gd name="connsiteX1041" fmla="*/ 1742337 w 2417513"/>
                  <a:gd name="connsiteY1041" fmla="*/ 796393 h 1867037"/>
                  <a:gd name="connsiteX1042" fmla="*/ 1743550 w 2417513"/>
                  <a:gd name="connsiteY1042" fmla="*/ 797908 h 1867037"/>
                  <a:gd name="connsiteX1043" fmla="*/ 1745216 w 2417513"/>
                  <a:gd name="connsiteY1043" fmla="*/ 799120 h 1867037"/>
                  <a:gd name="connsiteX1044" fmla="*/ 1747792 w 2417513"/>
                  <a:gd name="connsiteY1044" fmla="*/ 799423 h 1867037"/>
                  <a:gd name="connsiteX1045" fmla="*/ 1751277 w 2417513"/>
                  <a:gd name="connsiteY1045" fmla="*/ 798817 h 1867037"/>
                  <a:gd name="connsiteX1046" fmla="*/ 1753550 w 2417513"/>
                  <a:gd name="connsiteY1046" fmla="*/ 797302 h 1867037"/>
                  <a:gd name="connsiteX1047" fmla="*/ 1754762 w 2417513"/>
                  <a:gd name="connsiteY1047" fmla="*/ 794878 h 1867037"/>
                  <a:gd name="connsiteX1048" fmla="*/ 1756429 w 2417513"/>
                  <a:gd name="connsiteY1048" fmla="*/ 792908 h 1867037"/>
                  <a:gd name="connsiteX1049" fmla="*/ 1759762 w 2417513"/>
                  <a:gd name="connsiteY1049" fmla="*/ 790029 h 1867037"/>
                  <a:gd name="connsiteX1050" fmla="*/ 1760217 w 2417513"/>
                  <a:gd name="connsiteY1050" fmla="*/ 788968 h 1867037"/>
                  <a:gd name="connsiteX1051" fmla="*/ 1760217 w 2417513"/>
                  <a:gd name="connsiteY1051" fmla="*/ 788059 h 1867037"/>
                  <a:gd name="connsiteX1052" fmla="*/ 1759762 w 2417513"/>
                  <a:gd name="connsiteY1052" fmla="*/ 787301 h 1867037"/>
                  <a:gd name="connsiteX1053" fmla="*/ 1758247 w 2417513"/>
                  <a:gd name="connsiteY1053" fmla="*/ 786089 h 1867037"/>
                  <a:gd name="connsiteX1054" fmla="*/ 1817643 w 2417513"/>
                  <a:gd name="connsiteY1054" fmla="*/ 861244 h 1867037"/>
                  <a:gd name="connsiteX1055" fmla="*/ 1820219 w 2417513"/>
                  <a:gd name="connsiteY1055" fmla="*/ 862304 h 1867037"/>
                  <a:gd name="connsiteX1056" fmla="*/ 1823098 w 2417513"/>
                  <a:gd name="connsiteY1056" fmla="*/ 863062 h 1867037"/>
                  <a:gd name="connsiteX1057" fmla="*/ 1830371 w 2417513"/>
                  <a:gd name="connsiteY1057" fmla="*/ 863365 h 1867037"/>
                  <a:gd name="connsiteX1058" fmla="*/ 1843705 w 2417513"/>
                  <a:gd name="connsiteY1058" fmla="*/ 863365 h 1867037"/>
                  <a:gd name="connsiteX1059" fmla="*/ 1849614 w 2417513"/>
                  <a:gd name="connsiteY1059" fmla="*/ 862910 h 1867037"/>
                  <a:gd name="connsiteX1060" fmla="*/ 1849917 w 2417513"/>
                  <a:gd name="connsiteY1060" fmla="*/ 861244 h 1867037"/>
                  <a:gd name="connsiteX1061" fmla="*/ 1849766 w 2417513"/>
                  <a:gd name="connsiteY1061" fmla="*/ 858971 h 1867037"/>
                  <a:gd name="connsiteX1062" fmla="*/ 1848856 w 2417513"/>
                  <a:gd name="connsiteY1062" fmla="*/ 854728 h 1867037"/>
                  <a:gd name="connsiteX1063" fmla="*/ 1848251 w 2417513"/>
                  <a:gd name="connsiteY1063" fmla="*/ 853819 h 1867037"/>
                  <a:gd name="connsiteX1064" fmla="*/ 1847341 w 2417513"/>
                  <a:gd name="connsiteY1064" fmla="*/ 853364 h 1867037"/>
                  <a:gd name="connsiteX1065" fmla="*/ 1844917 w 2417513"/>
                  <a:gd name="connsiteY1065" fmla="*/ 852607 h 1867037"/>
                  <a:gd name="connsiteX1066" fmla="*/ 1836735 w 2417513"/>
                  <a:gd name="connsiteY1066" fmla="*/ 852304 h 1867037"/>
                  <a:gd name="connsiteX1067" fmla="*/ 1830371 w 2417513"/>
                  <a:gd name="connsiteY1067" fmla="*/ 850486 h 1867037"/>
                  <a:gd name="connsiteX1068" fmla="*/ 1823098 w 2417513"/>
                  <a:gd name="connsiteY1068" fmla="*/ 848970 h 1867037"/>
                  <a:gd name="connsiteX1069" fmla="*/ 1814158 w 2417513"/>
                  <a:gd name="connsiteY1069" fmla="*/ 850183 h 1867037"/>
                  <a:gd name="connsiteX1070" fmla="*/ 1813552 w 2417513"/>
                  <a:gd name="connsiteY1070" fmla="*/ 851092 h 1867037"/>
                  <a:gd name="connsiteX1071" fmla="*/ 1813098 w 2417513"/>
                  <a:gd name="connsiteY1071" fmla="*/ 852455 h 1867037"/>
                  <a:gd name="connsiteX1072" fmla="*/ 1813249 w 2417513"/>
                  <a:gd name="connsiteY1072" fmla="*/ 853971 h 1867037"/>
                  <a:gd name="connsiteX1073" fmla="*/ 1815067 w 2417513"/>
                  <a:gd name="connsiteY1073" fmla="*/ 857759 h 1867037"/>
                  <a:gd name="connsiteX1074" fmla="*/ 1817643 w 2417513"/>
                  <a:gd name="connsiteY1074" fmla="*/ 861244 h 1867037"/>
                  <a:gd name="connsiteX1075" fmla="*/ 1484904 w 2417513"/>
                  <a:gd name="connsiteY1075" fmla="*/ 758210 h 1867037"/>
                  <a:gd name="connsiteX1076" fmla="*/ 1489752 w 2417513"/>
                  <a:gd name="connsiteY1076" fmla="*/ 757300 h 1867037"/>
                  <a:gd name="connsiteX1077" fmla="*/ 1490965 w 2417513"/>
                  <a:gd name="connsiteY1077" fmla="*/ 756240 h 1867037"/>
                  <a:gd name="connsiteX1078" fmla="*/ 1490510 w 2417513"/>
                  <a:gd name="connsiteY1078" fmla="*/ 754725 h 1867037"/>
                  <a:gd name="connsiteX1079" fmla="*/ 1489601 w 2417513"/>
                  <a:gd name="connsiteY1079" fmla="*/ 753209 h 1867037"/>
                  <a:gd name="connsiteX1080" fmla="*/ 1488237 w 2417513"/>
                  <a:gd name="connsiteY1080" fmla="*/ 751846 h 1867037"/>
                  <a:gd name="connsiteX1081" fmla="*/ 1486116 w 2417513"/>
                  <a:gd name="connsiteY1081" fmla="*/ 751391 h 1867037"/>
                  <a:gd name="connsiteX1082" fmla="*/ 1483237 w 2417513"/>
                  <a:gd name="connsiteY1082" fmla="*/ 751846 h 1867037"/>
                  <a:gd name="connsiteX1083" fmla="*/ 1480055 w 2417513"/>
                  <a:gd name="connsiteY1083" fmla="*/ 751391 h 1867037"/>
                  <a:gd name="connsiteX1084" fmla="*/ 1474752 w 2417513"/>
                  <a:gd name="connsiteY1084" fmla="*/ 749724 h 1867037"/>
                  <a:gd name="connsiteX1085" fmla="*/ 1473085 w 2417513"/>
                  <a:gd name="connsiteY1085" fmla="*/ 750633 h 1867037"/>
                  <a:gd name="connsiteX1086" fmla="*/ 1468842 w 2417513"/>
                  <a:gd name="connsiteY1086" fmla="*/ 751846 h 1867037"/>
                  <a:gd name="connsiteX1087" fmla="*/ 1468842 w 2417513"/>
                  <a:gd name="connsiteY1087" fmla="*/ 752906 h 1867037"/>
                  <a:gd name="connsiteX1088" fmla="*/ 1470509 w 2417513"/>
                  <a:gd name="connsiteY1088" fmla="*/ 754725 h 1867037"/>
                  <a:gd name="connsiteX1089" fmla="*/ 1472479 w 2417513"/>
                  <a:gd name="connsiteY1089" fmla="*/ 755937 h 1867037"/>
                  <a:gd name="connsiteX1090" fmla="*/ 1476570 w 2417513"/>
                  <a:gd name="connsiteY1090" fmla="*/ 756846 h 1867037"/>
                  <a:gd name="connsiteX1091" fmla="*/ 1478237 w 2417513"/>
                  <a:gd name="connsiteY1091" fmla="*/ 756240 h 1867037"/>
                  <a:gd name="connsiteX1092" fmla="*/ 1481722 w 2417513"/>
                  <a:gd name="connsiteY1092" fmla="*/ 757452 h 1867037"/>
                  <a:gd name="connsiteX1093" fmla="*/ 1484904 w 2417513"/>
                  <a:gd name="connsiteY1093" fmla="*/ 758210 h 1867037"/>
                  <a:gd name="connsiteX1094" fmla="*/ 1385657 w 2417513"/>
                  <a:gd name="connsiteY1094" fmla="*/ 793059 h 1867037"/>
                  <a:gd name="connsiteX1095" fmla="*/ 1386567 w 2417513"/>
                  <a:gd name="connsiteY1095" fmla="*/ 793514 h 1867037"/>
                  <a:gd name="connsiteX1096" fmla="*/ 1387476 w 2417513"/>
                  <a:gd name="connsiteY1096" fmla="*/ 793211 h 1867037"/>
                  <a:gd name="connsiteX1097" fmla="*/ 1388233 w 2417513"/>
                  <a:gd name="connsiteY1097" fmla="*/ 792453 h 1867037"/>
                  <a:gd name="connsiteX1098" fmla="*/ 1390658 w 2417513"/>
                  <a:gd name="connsiteY1098" fmla="*/ 788362 h 1867037"/>
                  <a:gd name="connsiteX1099" fmla="*/ 1390052 w 2417513"/>
                  <a:gd name="connsiteY1099" fmla="*/ 785332 h 1867037"/>
                  <a:gd name="connsiteX1100" fmla="*/ 1389294 w 2417513"/>
                  <a:gd name="connsiteY1100" fmla="*/ 784574 h 1867037"/>
                  <a:gd name="connsiteX1101" fmla="*/ 1388688 w 2417513"/>
                  <a:gd name="connsiteY1101" fmla="*/ 785483 h 1867037"/>
                  <a:gd name="connsiteX1102" fmla="*/ 1386718 w 2417513"/>
                  <a:gd name="connsiteY1102" fmla="*/ 785029 h 1867037"/>
                  <a:gd name="connsiteX1103" fmla="*/ 1385203 w 2417513"/>
                  <a:gd name="connsiteY1103" fmla="*/ 785635 h 1867037"/>
                  <a:gd name="connsiteX1104" fmla="*/ 1383082 w 2417513"/>
                  <a:gd name="connsiteY1104" fmla="*/ 786847 h 1867037"/>
                  <a:gd name="connsiteX1105" fmla="*/ 1382021 w 2417513"/>
                  <a:gd name="connsiteY1105" fmla="*/ 787908 h 1867037"/>
                  <a:gd name="connsiteX1106" fmla="*/ 1382779 w 2417513"/>
                  <a:gd name="connsiteY1106" fmla="*/ 789877 h 1867037"/>
                  <a:gd name="connsiteX1107" fmla="*/ 1385657 w 2417513"/>
                  <a:gd name="connsiteY1107" fmla="*/ 793059 h 1867037"/>
                  <a:gd name="connsiteX1108" fmla="*/ 1480055 w 2417513"/>
                  <a:gd name="connsiteY1108" fmla="*/ 857910 h 1867037"/>
                  <a:gd name="connsiteX1109" fmla="*/ 1480055 w 2417513"/>
                  <a:gd name="connsiteY1109" fmla="*/ 859577 h 1867037"/>
                  <a:gd name="connsiteX1110" fmla="*/ 1480510 w 2417513"/>
                  <a:gd name="connsiteY1110" fmla="*/ 860941 h 1867037"/>
                  <a:gd name="connsiteX1111" fmla="*/ 1481419 w 2417513"/>
                  <a:gd name="connsiteY1111" fmla="*/ 862153 h 1867037"/>
                  <a:gd name="connsiteX1112" fmla="*/ 1485661 w 2417513"/>
                  <a:gd name="connsiteY1112" fmla="*/ 865032 h 1867037"/>
                  <a:gd name="connsiteX1113" fmla="*/ 1487479 w 2417513"/>
                  <a:gd name="connsiteY1113" fmla="*/ 865789 h 1867037"/>
                  <a:gd name="connsiteX1114" fmla="*/ 1488692 w 2417513"/>
                  <a:gd name="connsiteY1114" fmla="*/ 865789 h 1867037"/>
                  <a:gd name="connsiteX1115" fmla="*/ 1490055 w 2417513"/>
                  <a:gd name="connsiteY1115" fmla="*/ 865032 h 1867037"/>
                  <a:gd name="connsiteX1116" fmla="*/ 1491570 w 2417513"/>
                  <a:gd name="connsiteY1116" fmla="*/ 863516 h 1867037"/>
                  <a:gd name="connsiteX1117" fmla="*/ 1492783 w 2417513"/>
                  <a:gd name="connsiteY1117" fmla="*/ 862001 h 1867037"/>
                  <a:gd name="connsiteX1118" fmla="*/ 1494146 w 2417513"/>
                  <a:gd name="connsiteY1118" fmla="*/ 858668 h 1867037"/>
                  <a:gd name="connsiteX1119" fmla="*/ 1494601 w 2417513"/>
                  <a:gd name="connsiteY1119" fmla="*/ 856849 h 1867037"/>
                  <a:gd name="connsiteX1120" fmla="*/ 1494449 w 2417513"/>
                  <a:gd name="connsiteY1120" fmla="*/ 853971 h 1867037"/>
                  <a:gd name="connsiteX1121" fmla="*/ 1493692 w 2417513"/>
                  <a:gd name="connsiteY1121" fmla="*/ 850031 h 1867037"/>
                  <a:gd name="connsiteX1122" fmla="*/ 1493389 w 2417513"/>
                  <a:gd name="connsiteY1122" fmla="*/ 847001 h 1867037"/>
                  <a:gd name="connsiteX1123" fmla="*/ 1493692 w 2417513"/>
                  <a:gd name="connsiteY1123" fmla="*/ 844879 h 1867037"/>
                  <a:gd name="connsiteX1124" fmla="*/ 1492783 w 2417513"/>
                  <a:gd name="connsiteY1124" fmla="*/ 842910 h 1867037"/>
                  <a:gd name="connsiteX1125" fmla="*/ 1489601 w 2417513"/>
                  <a:gd name="connsiteY1125" fmla="*/ 840031 h 1867037"/>
                  <a:gd name="connsiteX1126" fmla="*/ 1485964 w 2417513"/>
                  <a:gd name="connsiteY1126" fmla="*/ 839122 h 1867037"/>
                  <a:gd name="connsiteX1127" fmla="*/ 1482328 w 2417513"/>
                  <a:gd name="connsiteY1127" fmla="*/ 842758 h 1867037"/>
                  <a:gd name="connsiteX1128" fmla="*/ 1480964 w 2417513"/>
                  <a:gd name="connsiteY1128" fmla="*/ 844576 h 1867037"/>
                  <a:gd name="connsiteX1129" fmla="*/ 1480661 w 2417513"/>
                  <a:gd name="connsiteY1129" fmla="*/ 845940 h 1867037"/>
                  <a:gd name="connsiteX1130" fmla="*/ 1479297 w 2417513"/>
                  <a:gd name="connsiteY1130" fmla="*/ 848061 h 1867037"/>
                  <a:gd name="connsiteX1131" fmla="*/ 1478994 w 2417513"/>
                  <a:gd name="connsiteY1131" fmla="*/ 848970 h 1867037"/>
                  <a:gd name="connsiteX1132" fmla="*/ 1479600 w 2417513"/>
                  <a:gd name="connsiteY1132" fmla="*/ 850486 h 1867037"/>
                  <a:gd name="connsiteX1133" fmla="*/ 1482025 w 2417513"/>
                  <a:gd name="connsiteY1133" fmla="*/ 853213 h 1867037"/>
                  <a:gd name="connsiteX1134" fmla="*/ 1480661 w 2417513"/>
                  <a:gd name="connsiteY1134" fmla="*/ 856546 h 1867037"/>
                  <a:gd name="connsiteX1135" fmla="*/ 1480055 w 2417513"/>
                  <a:gd name="connsiteY1135" fmla="*/ 857910 h 1867037"/>
                  <a:gd name="connsiteX1136" fmla="*/ 1071858 w 2417513"/>
                  <a:gd name="connsiteY1136" fmla="*/ 815333 h 1867037"/>
                  <a:gd name="connsiteX1137" fmla="*/ 1066858 w 2417513"/>
                  <a:gd name="connsiteY1137" fmla="*/ 814121 h 1867037"/>
                  <a:gd name="connsiteX1138" fmla="*/ 1065191 w 2417513"/>
                  <a:gd name="connsiteY1138" fmla="*/ 816545 h 1867037"/>
                  <a:gd name="connsiteX1139" fmla="*/ 1063070 w 2417513"/>
                  <a:gd name="connsiteY1139" fmla="*/ 818212 h 1867037"/>
                  <a:gd name="connsiteX1140" fmla="*/ 1059888 w 2417513"/>
                  <a:gd name="connsiteY1140" fmla="*/ 819727 h 1867037"/>
                  <a:gd name="connsiteX1141" fmla="*/ 1058827 w 2417513"/>
                  <a:gd name="connsiteY1141" fmla="*/ 820939 h 1867037"/>
                  <a:gd name="connsiteX1142" fmla="*/ 1060039 w 2417513"/>
                  <a:gd name="connsiteY1142" fmla="*/ 821848 h 1867037"/>
                  <a:gd name="connsiteX1143" fmla="*/ 1068828 w 2417513"/>
                  <a:gd name="connsiteY1143" fmla="*/ 824727 h 1867037"/>
                  <a:gd name="connsiteX1144" fmla="*/ 1070343 w 2417513"/>
                  <a:gd name="connsiteY1144" fmla="*/ 825636 h 1867037"/>
                  <a:gd name="connsiteX1145" fmla="*/ 1071403 w 2417513"/>
                  <a:gd name="connsiteY1145" fmla="*/ 825636 h 1867037"/>
                  <a:gd name="connsiteX1146" fmla="*/ 1072767 w 2417513"/>
                  <a:gd name="connsiteY1146" fmla="*/ 823212 h 1867037"/>
                  <a:gd name="connsiteX1147" fmla="*/ 1074434 w 2417513"/>
                  <a:gd name="connsiteY1147" fmla="*/ 822454 h 1867037"/>
                  <a:gd name="connsiteX1148" fmla="*/ 1074737 w 2417513"/>
                  <a:gd name="connsiteY1148" fmla="*/ 818969 h 1867037"/>
                  <a:gd name="connsiteX1149" fmla="*/ 1074434 w 2417513"/>
                  <a:gd name="connsiteY1149" fmla="*/ 817606 h 1867037"/>
                  <a:gd name="connsiteX1150" fmla="*/ 1073676 w 2417513"/>
                  <a:gd name="connsiteY1150" fmla="*/ 816545 h 1867037"/>
                  <a:gd name="connsiteX1151" fmla="*/ 1071858 w 2417513"/>
                  <a:gd name="connsiteY1151" fmla="*/ 815333 h 1867037"/>
                  <a:gd name="connsiteX1152" fmla="*/ 1810976 w 2417513"/>
                  <a:gd name="connsiteY1152" fmla="*/ 829879 h 1867037"/>
                  <a:gd name="connsiteX1153" fmla="*/ 1809158 w 2417513"/>
                  <a:gd name="connsiteY1153" fmla="*/ 827454 h 1867037"/>
                  <a:gd name="connsiteX1154" fmla="*/ 1806431 w 2417513"/>
                  <a:gd name="connsiteY1154" fmla="*/ 822606 h 1867037"/>
                  <a:gd name="connsiteX1155" fmla="*/ 1804006 w 2417513"/>
                  <a:gd name="connsiteY1155" fmla="*/ 820788 h 1867037"/>
                  <a:gd name="connsiteX1156" fmla="*/ 1800521 w 2417513"/>
                  <a:gd name="connsiteY1156" fmla="*/ 820181 h 1867037"/>
                  <a:gd name="connsiteX1157" fmla="*/ 1798097 w 2417513"/>
                  <a:gd name="connsiteY1157" fmla="*/ 820636 h 1867037"/>
                  <a:gd name="connsiteX1158" fmla="*/ 1795824 w 2417513"/>
                  <a:gd name="connsiteY1158" fmla="*/ 823060 h 1867037"/>
                  <a:gd name="connsiteX1159" fmla="*/ 1795067 w 2417513"/>
                  <a:gd name="connsiteY1159" fmla="*/ 825333 h 1867037"/>
                  <a:gd name="connsiteX1160" fmla="*/ 1794915 w 2417513"/>
                  <a:gd name="connsiteY1160" fmla="*/ 827151 h 1867037"/>
                  <a:gd name="connsiteX1161" fmla="*/ 1795067 w 2417513"/>
                  <a:gd name="connsiteY1161" fmla="*/ 828364 h 1867037"/>
                  <a:gd name="connsiteX1162" fmla="*/ 1797491 w 2417513"/>
                  <a:gd name="connsiteY1162" fmla="*/ 830788 h 1867037"/>
                  <a:gd name="connsiteX1163" fmla="*/ 1804006 w 2417513"/>
                  <a:gd name="connsiteY1163" fmla="*/ 834121 h 1867037"/>
                  <a:gd name="connsiteX1164" fmla="*/ 1807037 w 2417513"/>
                  <a:gd name="connsiteY1164" fmla="*/ 837000 h 1867037"/>
                  <a:gd name="connsiteX1165" fmla="*/ 1809158 w 2417513"/>
                  <a:gd name="connsiteY1165" fmla="*/ 836697 h 1867037"/>
                  <a:gd name="connsiteX1166" fmla="*/ 1810067 w 2417513"/>
                  <a:gd name="connsiteY1166" fmla="*/ 835940 h 1867037"/>
                  <a:gd name="connsiteX1167" fmla="*/ 1810825 w 2417513"/>
                  <a:gd name="connsiteY1167" fmla="*/ 834576 h 1867037"/>
                  <a:gd name="connsiteX1168" fmla="*/ 1810976 w 2417513"/>
                  <a:gd name="connsiteY1168" fmla="*/ 833667 h 1867037"/>
                  <a:gd name="connsiteX1169" fmla="*/ 1810522 w 2417513"/>
                  <a:gd name="connsiteY1169" fmla="*/ 833212 h 1867037"/>
                  <a:gd name="connsiteX1170" fmla="*/ 1810370 w 2417513"/>
                  <a:gd name="connsiteY1170" fmla="*/ 832455 h 1867037"/>
                  <a:gd name="connsiteX1171" fmla="*/ 1811279 w 2417513"/>
                  <a:gd name="connsiteY1171" fmla="*/ 831697 h 1867037"/>
                  <a:gd name="connsiteX1172" fmla="*/ 1810976 w 2417513"/>
                  <a:gd name="connsiteY1172" fmla="*/ 829879 h 1867037"/>
                  <a:gd name="connsiteX1173" fmla="*/ 995946 w 2417513"/>
                  <a:gd name="connsiteY1173" fmla="*/ 826697 h 1867037"/>
                  <a:gd name="connsiteX1174" fmla="*/ 993219 w 2417513"/>
                  <a:gd name="connsiteY1174" fmla="*/ 825939 h 1867037"/>
                  <a:gd name="connsiteX1175" fmla="*/ 987612 w 2417513"/>
                  <a:gd name="connsiteY1175" fmla="*/ 825636 h 1867037"/>
                  <a:gd name="connsiteX1176" fmla="*/ 985188 w 2417513"/>
                  <a:gd name="connsiteY1176" fmla="*/ 825939 h 1867037"/>
                  <a:gd name="connsiteX1177" fmla="*/ 983673 w 2417513"/>
                  <a:gd name="connsiteY1177" fmla="*/ 826697 h 1867037"/>
                  <a:gd name="connsiteX1178" fmla="*/ 983976 w 2417513"/>
                  <a:gd name="connsiteY1178" fmla="*/ 828061 h 1867037"/>
                  <a:gd name="connsiteX1179" fmla="*/ 986097 w 2417513"/>
                  <a:gd name="connsiteY1179" fmla="*/ 829879 h 1867037"/>
                  <a:gd name="connsiteX1180" fmla="*/ 989279 w 2417513"/>
                  <a:gd name="connsiteY1180" fmla="*/ 831697 h 1867037"/>
                  <a:gd name="connsiteX1181" fmla="*/ 993370 w 2417513"/>
                  <a:gd name="connsiteY1181" fmla="*/ 833364 h 1867037"/>
                  <a:gd name="connsiteX1182" fmla="*/ 996249 w 2417513"/>
                  <a:gd name="connsiteY1182" fmla="*/ 834121 h 1867037"/>
                  <a:gd name="connsiteX1183" fmla="*/ 997764 w 2417513"/>
                  <a:gd name="connsiteY1183" fmla="*/ 833970 h 1867037"/>
                  <a:gd name="connsiteX1184" fmla="*/ 1000037 w 2417513"/>
                  <a:gd name="connsiteY1184" fmla="*/ 832758 h 1867037"/>
                  <a:gd name="connsiteX1185" fmla="*/ 1000492 w 2417513"/>
                  <a:gd name="connsiteY1185" fmla="*/ 831849 h 1867037"/>
                  <a:gd name="connsiteX1186" fmla="*/ 1000340 w 2417513"/>
                  <a:gd name="connsiteY1186" fmla="*/ 830788 h 1867037"/>
                  <a:gd name="connsiteX1187" fmla="*/ 999583 w 2417513"/>
                  <a:gd name="connsiteY1187" fmla="*/ 829273 h 1867037"/>
                  <a:gd name="connsiteX1188" fmla="*/ 995946 w 2417513"/>
                  <a:gd name="connsiteY1188" fmla="*/ 826697 h 1867037"/>
                  <a:gd name="connsiteX1189" fmla="*/ 1222015 w 2417513"/>
                  <a:gd name="connsiteY1189" fmla="*/ 469866 h 1867037"/>
                  <a:gd name="connsiteX1190" fmla="*/ 1224894 w 2417513"/>
                  <a:gd name="connsiteY1190" fmla="*/ 471532 h 1867037"/>
                  <a:gd name="connsiteX1191" fmla="*/ 1227015 w 2417513"/>
                  <a:gd name="connsiteY1191" fmla="*/ 471381 h 1867037"/>
                  <a:gd name="connsiteX1192" fmla="*/ 1229137 w 2417513"/>
                  <a:gd name="connsiteY1192" fmla="*/ 469563 h 1867037"/>
                  <a:gd name="connsiteX1193" fmla="*/ 1232167 w 2417513"/>
                  <a:gd name="connsiteY1193" fmla="*/ 467744 h 1867037"/>
                  <a:gd name="connsiteX1194" fmla="*/ 1232470 w 2417513"/>
                  <a:gd name="connsiteY1194" fmla="*/ 466987 h 1867037"/>
                  <a:gd name="connsiteX1195" fmla="*/ 1230349 w 2417513"/>
                  <a:gd name="connsiteY1195" fmla="*/ 465169 h 1867037"/>
                  <a:gd name="connsiteX1196" fmla="*/ 1227470 w 2417513"/>
                  <a:gd name="connsiteY1196" fmla="*/ 463653 h 1867037"/>
                  <a:gd name="connsiteX1197" fmla="*/ 1221409 w 2417513"/>
                  <a:gd name="connsiteY1197" fmla="*/ 461381 h 1867037"/>
                  <a:gd name="connsiteX1198" fmla="*/ 1220651 w 2417513"/>
                  <a:gd name="connsiteY1198" fmla="*/ 461835 h 1867037"/>
                  <a:gd name="connsiteX1199" fmla="*/ 1220045 w 2417513"/>
                  <a:gd name="connsiteY1199" fmla="*/ 462744 h 1867037"/>
                  <a:gd name="connsiteX1200" fmla="*/ 1219742 w 2417513"/>
                  <a:gd name="connsiteY1200" fmla="*/ 464108 h 1867037"/>
                  <a:gd name="connsiteX1201" fmla="*/ 1217166 w 2417513"/>
                  <a:gd name="connsiteY1201" fmla="*/ 465320 h 1867037"/>
                  <a:gd name="connsiteX1202" fmla="*/ 1208075 w 2417513"/>
                  <a:gd name="connsiteY1202" fmla="*/ 467896 h 1867037"/>
                  <a:gd name="connsiteX1203" fmla="*/ 1204590 w 2417513"/>
                  <a:gd name="connsiteY1203" fmla="*/ 469411 h 1867037"/>
                  <a:gd name="connsiteX1204" fmla="*/ 1203530 w 2417513"/>
                  <a:gd name="connsiteY1204" fmla="*/ 471684 h 1867037"/>
                  <a:gd name="connsiteX1205" fmla="*/ 1204893 w 2417513"/>
                  <a:gd name="connsiteY1205" fmla="*/ 474714 h 1867037"/>
                  <a:gd name="connsiteX1206" fmla="*/ 1206409 w 2417513"/>
                  <a:gd name="connsiteY1206" fmla="*/ 476533 h 1867037"/>
                  <a:gd name="connsiteX1207" fmla="*/ 1207924 w 2417513"/>
                  <a:gd name="connsiteY1207" fmla="*/ 477139 h 1867037"/>
                  <a:gd name="connsiteX1208" fmla="*/ 1211560 w 2417513"/>
                  <a:gd name="connsiteY1208" fmla="*/ 476533 h 1867037"/>
                  <a:gd name="connsiteX1209" fmla="*/ 1212772 w 2417513"/>
                  <a:gd name="connsiteY1209" fmla="*/ 475775 h 1867037"/>
                  <a:gd name="connsiteX1210" fmla="*/ 1214287 w 2417513"/>
                  <a:gd name="connsiteY1210" fmla="*/ 473654 h 1867037"/>
                  <a:gd name="connsiteX1211" fmla="*/ 1218682 w 2417513"/>
                  <a:gd name="connsiteY1211" fmla="*/ 470169 h 1867037"/>
                  <a:gd name="connsiteX1212" fmla="*/ 1222015 w 2417513"/>
                  <a:gd name="connsiteY1212" fmla="*/ 469866 h 1867037"/>
                  <a:gd name="connsiteX1213" fmla="*/ 976400 w 2417513"/>
                  <a:gd name="connsiteY1213" fmla="*/ 564566 h 1867037"/>
                  <a:gd name="connsiteX1214" fmla="*/ 971097 w 2417513"/>
                  <a:gd name="connsiteY1214" fmla="*/ 564566 h 1867037"/>
                  <a:gd name="connsiteX1215" fmla="*/ 947914 w 2417513"/>
                  <a:gd name="connsiteY1215" fmla="*/ 567142 h 1867037"/>
                  <a:gd name="connsiteX1216" fmla="*/ 941095 w 2417513"/>
                  <a:gd name="connsiteY1216" fmla="*/ 568354 h 1867037"/>
                  <a:gd name="connsiteX1217" fmla="*/ 938823 w 2417513"/>
                  <a:gd name="connsiteY1217" fmla="*/ 569718 h 1867037"/>
                  <a:gd name="connsiteX1218" fmla="*/ 935035 w 2417513"/>
                  <a:gd name="connsiteY1218" fmla="*/ 573506 h 1867037"/>
                  <a:gd name="connsiteX1219" fmla="*/ 931853 w 2417513"/>
                  <a:gd name="connsiteY1219" fmla="*/ 578203 h 1867037"/>
                  <a:gd name="connsiteX1220" fmla="*/ 932610 w 2417513"/>
                  <a:gd name="connsiteY1220" fmla="*/ 579870 h 1867037"/>
                  <a:gd name="connsiteX1221" fmla="*/ 937307 w 2417513"/>
                  <a:gd name="connsiteY1221" fmla="*/ 581082 h 1867037"/>
                  <a:gd name="connsiteX1222" fmla="*/ 943520 w 2417513"/>
                  <a:gd name="connsiteY1222" fmla="*/ 583355 h 1867037"/>
                  <a:gd name="connsiteX1223" fmla="*/ 952914 w 2417513"/>
                  <a:gd name="connsiteY1223" fmla="*/ 589112 h 1867037"/>
                  <a:gd name="connsiteX1224" fmla="*/ 954732 w 2417513"/>
                  <a:gd name="connsiteY1224" fmla="*/ 591537 h 1867037"/>
                  <a:gd name="connsiteX1225" fmla="*/ 955945 w 2417513"/>
                  <a:gd name="connsiteY1225" fmla="*/ 594719 h 1867037"/>
                  <a:gd name="connsiteX1226" fmla="*/ 963369 w 2417513"/>
                  <a:gd name="connsiteY1226" fmla="*/ 600173 h 1867037"/>
                  <a:gd name="connsiteX1227" fmla="*/ 969581 w 2417513"/>
                  <a:gd name="connsiteY1227" fmla="*/ 605628 h 1867037"/>
                  <a:gd name="connsiteX1228" fmla="*/ 973369 w 2417513"/>
                  <a:gd name="connsiteY1228" fmla="*/ 608356 h 1867037"/>
                  <a:gd name="connsiteX1229" fmla="*/ 975945 w 2417513"/>
                  <a:gd name="connsiteY1229" fmla="*/ 609568 h 1867037"/>
                  <a:gd name="connsiteX1230" fmla="*/ 977309 w 2417513"/>
                  <a:gd name="connsiteY1230" fmla="*/ 609265 h 1867037"/>
                  <a:gd name="connsiteX1231" fmla="*/ 979733 w 2417513"/>
                  <a:gd name="connsiteY1231" fmla="*/ 607901 h 1867037"/>
                  <a:gd name="connsiteX1232" fmla="*/ 983218 w 2417513"/>
                  <a:gd name="connsiteY1232" fmla="*/ 605325 h 1867037"/>
                  <a:gd name="connsiteX1233" fmla="*/ 985188 w 2417513"/>
                  <a:gd name="connsiteY1233" fmla="*/ 603204 h 1867037"/>
                  <a:gd name="connsiteX1234" fmla="*/ 986097 w 2417513"/>
                  <a:gd name="connsiteY1234" fmla="*/ 600476 h 1867037"/>
                  <a:gd name="connsiteX1235" fmla="*/ 990946 w 2417513"/>
                  <a:gd name="connsiteY1235" fmla="*/ 596385 h 1867037"/>
                  <a:gd name="connsiteX1236" fmla="*/ 995643 w 2417513"/>
                  <a:gd name="connsiteY1236" fmla="*/ 588809 h 1867037"/>
                  <a:gd name="connsiteX1237" fmla="*/ 996704 w 2417513"/>
                  <a:gd name="connsiteY1237" fmla="*/ 586537 h 1867037"/>
                  <a:gd name="connsiteX1238" fmla="*/ 997613 w 2417513"/>
                  <a:gd name="connsiteY1238" fmla="*/ 580627 h 1867037"/>
                  <a:gd name="connsiteX1239" fmla="*/ 997461 w 2417513"/>
                  <a:gd name="connsiteY1239" fmla="*/ 576688 h 1867037"/>
                  <a:gd name="connsiteX1240" fmla="*/ 996552 w 2417513"/>
                  <a:gd name="connsiteY1240" fmla="*/ 574718 h 1867037"/>
                  <a:gd name="connsiteX1241" fmla="*/ 994885 w 2417513"/>
                  <a:gd name="connsiteY1241" fmla="*/ 572748 h 1867037"/>
                  <a:gd name="connsiteX1242" fmla="*/ 992916 w 2417513"/>
                  <a:gd name="connsiteY1242" fmla="*/ 571536 h 1867037"/>
                  <a:gd name="connsiteX1243" fmla="*/ 989734 w 2417513"/>
                  <a:gd name="connsiteY1243" fmla="*/ 570930 h 1867037"/>
                  <a:gd name="connsiteX1244" fmla="*/ 982006 w 2417513"/>
                  <a:gd name="connsiteY1244" fmla="*/ 565778 h 1867037"/>
                  <a:gd name="connsiteX1245" fmla="*/ 976400 w 2417513"/>
                  <a:gd name="connsiteY1245" fmla="*/ 564566 h 1867037"/>
                  <a:gd name="connsiteX1246" fmla="*/ 1175044 w 2417513"/>
                  <a:gd name="connsiteY1246" fmla="*/ 546535 h 1867037"/>
                  <a:gd name="connsiteX1247" fmla="*/ 1160649 w 2417513"/>
                  <a:gd name="connsiteY1247" fmla="*/ 550323 h 1867037"/>
                  <a:gd name="connsiteX1248" fmla="*/ 1154285 w 2417513"/>
                  <a:gd name="connsiteY1248" fmla="*/ 551081 h 1867037"/>
                  <a:gd name="connsiteX1249" fmla="*/ 1151861 w 2417513"/>
                  <a:gd name="connsiteY1249" fmla="*/ 551838 h 1867037"/>
                  <a:gd name="connsiteX1250" fmla="*/ 1150194 w 2417513"/>
                  <a:gd name="connsiteY1250" fmla="*/ 552899 h 1867037"/>
                  <a:gd name="connsiteX1251" fmla="*/ 1149134 w 2417513"/>
                  <a:gd name="connsiteY1251" fmla="*/ 554111 h 1867037"/>
                  <a:gd name="connsiteX1252" fmla="*/ 1146558 w 2417513"/>
                  <a:gd name="connsiteY1252" fmla="*/ 555020 h 1867037"/>
                  <a:gd name="connsiteX1253" fmla="*/ 1139739 w 2417513"/>
                  <a:gd name="connsiteY1253" fmla="*/ 556232 h 1867037"/>
                  <a:gd name="connsiteX1254" fmla="*/ 1138073 w 2417513"/>
                  <a:gd name="connsiteY1254" fmla="*/ 556990 h 1867037"/>
                  <a:gd name="connsiteX1255" fmla="*/ 1137770 w 2417513"/>
                  <a:gd name="connsiteY1255" fmla="*/ 557748 h 1867037"/>
                  <a:gd name="connsiteX1256" fmla="*/ 1138679 w 2417513"/>
                  <a:gd name="connsiteY1256" fmla="*/ 558657 h 1867037"/>
                  <a:gd name="connsiteX1257" fmla="*/ 1141103 w 2417513"/>
                  <a:gd name="connsiteY1257" fmla="*/ 559566 h 1867037"/>
                  <a:gd name="connsiteX1258" fmla="*/ 1150043 w 2417513"/>
                  <a:gd name="connsiteY1258" fmla="*/ 562293 h 1867037"/>
                  <a:gd name="connsiteX1259" fmla="*/ 1154285 w 2417513"/>
                  <a:gd name="connsiteY1259" fmla="*/ 561990 h 1867037"/>
                  <a:gd name="connsiteX1260" fmla="*/ 1155801 w 2417513"/>
                  <a:gd name="connsiteY1260" fmla="*/ 561384 h 1867037"/>
                  <a:gd name="connsiteX1261" fmla="*/ 1157770 w 2417513"/>
                  <a:gd name="connsiteY1261" fmla="*/ 559869 h 1867037"/>
                  <a:gd name="connsiteX1262" fmla="*/ 1161407 w 2417513"/>
                  <a:gd name="connsiteY1262" fmla="*/ 560324 h 1867037"/>
                  <a:gd name="connsiteX1263" fmla="*/ 1169286 w 2417513"/>
                  <a:gd name="connsiteY1263" fmla="*/ 559263 h 1867037"/>
                  <a:gd name="connsiteX1264" fmla="*/ 1172619 w 2417513"/>
                  <a:gd name="connsiteY1264" fmla="*/ 558202 h 1867037"/>
                  <a:gd name="connsiteX1265" fmla="*/ 1180498 w 2417513"/>
                  <a:gd name="connsiteY1265" fmla="*/ 553960 h 1867037"/>
                  <a:gd name="connsiteX1266" fmla="*/ 1183377 w 2417513"/>
                  <a:gd name="connsiteY1266" fmla="*/ 551990 h 1867037"/>
                  <a:gd name="connsiteX1267" fmla="*/ 1185650 w 2417513"/>
                  <a:gd name="connsiteY1267" fmla="*/ 549414 h 1867037"/>
                  <a:gd name="connsiteX1268" fmla="*/ 1186105 w 2417513"/>
                  <a:gd name="connsiteY1268" fmla="*/ 548353 h 1867037"/>
                  <a:gd name="connsiteX1269" fmla="*/ 1185953 w 2417513"/>
                  <a:gd name="connsiteY1269" fmla="*/ 547293 h 1867037"/>
                  <a:gd name="connsiteX1270" fmla="*/ 1185044 w 2417513"/>
                  <a:gd name="connsiteY1270" fmla="*/ 546232 h 1867037"/>
                  <a:gd name="connsiteX1271" fmla="*/ 1182317 w 2417513"/>
                  <a:gd name="connsiteY1271" fmla="*/ 545929 h 1867037"/>
                  <a:gd name="connsiteX1272" fmla="*/ 1175044 w 2417513"/>
                  <a:gd name="connsiteY1272" fmla="*/ 546535 h 1867037"/>
                  <a:gd name="connsiteX1273" fmla="*/ 1194287 w 2417513"/>
                  <a:gd name="connsiteY1273" fmla="*/ 523655 h 1867037"/>
                  <a:gd name="connsiteX1274" fmla="*/ 1195650 w 2417513"/>
                  <a:gd name="connsiteY1274" fmla="*/ 521837 h 1867037"/>
                  <a:gd name="connsiteX1275" fmla="*/ 1195954 w 2417513"/>
                  <a:gd name="connsiteY1275" fmla="*/ 520928 h 1867037"/>
                  <a:gd name="connsiteX1276" fmla="*/ 1195196 w 2417513"/>
                  <a:gd name="connsiteY1276" fmla="*/ 519716 h 1867037"/>
                  <a:gd name="connsiteX1277" fmla="*/ 1192468 w 2417513"/>
                  <a:gd name="connsiteY1277" fmla="*/ 518201 h 1867037"/>
                  <a:gd name="connsiteX1278" fmla="*/ 1189741 w 2417513"/>
                  <a:gd name="connsiteY1278" fmla="*/ 519564 h 1867037"/>
                  <a:gd name="connsiteX1279" fmla="*/ 1183377 w 2417513"/>
                  <a:gd name="connsiteY1279" fmla="*/ 524565 h 1867037"/>
                  <a:gd name="connsiteX1280" fmla="*/ 1184135 w 2417513"/>
                  <a:gd name="connsiteY1280" fmla="*/ 525777 h 1867037"/>
                  <a:gd name="connsiteX1281" fmla="*/ 1185953 w 2417513"/>
                  <a:gd name="connsiteY1281" fmla="*/ 526989 h 1867037"/>
                  <a:gd name="connsiteX1282" fmla="*/ 1194287 w 2417513"/>
                  <a:gd name="connsiteY1282" fmla="*/ 523655 h 1867037"/>
                  <a:gd name="connsiteX1283" fmla="*/ 1222015 w 2417513"/>
                  <a:gd name="connsiteY1283" fmla="*/ 498806 h 1867037"/>
                  <a:gd name="connsiteX1284" fmla="*/ 1222621 w 2417513"/>
                  <a:gd name="connsiteY1284" fmla="*/ 500624 h 1867037"/>
                  <a:gd name="connsiteX1285" fmla="*/ 1223227 w 2417513"/>
                  <a:gd name="connsiteY1285" fmla="*/ 501685 h 1867037"/>
                  <a:gd name="connsiteX1286" fmla="*/ 1223833 w 2417513"/>
                  <a:gd name="connsiteY1286" fmla="*/ 501988 h 1867037"/>
                  <a:gd name="connsiteX1287" fmla="*/ 1226258 w 2417513"/>
                  <a:gd name="connsiteY1287" fmla="*/ 500321 h 1867037"/>
                  <a:gd name="connsiteX1288" fmla="*/ 1228682 w 2417513"/>
                  <a:gd name="connsiteY1288" fmla="*/ 501382 h 1867037"/>
                  <a:gd name="connsiteX1289" fmla="*/ 1234894 w 2417513"/>
                  <a:gd name="connsiteY1289" fmla="*/ 506988 h 1867037"/>
                  <a:gd name="connsiteX1290" fmla="*/ 1246258 w 2417513"/>
                  <a:gd name="connsiteY1290" fmla="*/ 508806 h 1867037"/>
                  <a:gd name="connsiteX1291" fmla="*/ 1250804 w 2417513"/>
                  <a:gd name="connsiteY1291" fmla="*/ 508958 h 1867037"/>
                  <a:gd name="connsiteX1292" fmla="*/ 1259744 w 2417513"/>
                  <a:gd name="connsiteY1292" fmla="*/ 514110 h 1867037"/>
                  <a:gd name="connsiteX1293" fmla="*/ 1263986 w 2417513"/>
                  <a:gd name="connsiteY1293" fmla="*/ 516231 h 1867037"/>
                  <a:gd name="connsiteX1294" fmla="*/ 1266865 w 2417513"/>
                  <a:gd name="connsiteY1294" fmla="*/ 517140 h 1867037"/>
                  <a:gd name="connsiteX1295" fmla="*/ 1271259 w 2417513"/>
                  <a:gd name="connsiteY1295" fmla="*/ 517443 h 1867037"/>
                  <a:gd name="connsiteX1296" fmla="*/ 1280199 w 2417513"/>
                  <a:gd name="connsiteY1296" fmla="*/ 516837 h 1867037"/>
                  <a:gd name="connsiteX1297" fmla="*/ 1286260 w 2417513"/>
                  <a:gd name="connsiteY1297" fmla="*/ 516989 h 1867037"/>
                  <a:gd name="connsiteX1298" fmla="*/ 1296109 w 2417513"/>
                  <a:gd name="connsiteY1298" fmla="*/ 516079 h 1867037"/>
                  <a:gd name="connsiteX1299" fmla="*/ 1297624 w 2417513"/>
                  <a:gd name="connsiteY1299" fmla="*/ 515625 h 1867037"/>
                  <a:gd name="connsiteX1300" fmla="*/ 1298382 w 2417513"/>
                  <a:gd name="connsiteY1300" fmla="*/ 514413 h 1867037"/>
                  <a:gd name="connsiteX1301" fmla="*/ 1298382 w 2417513"/>
                  <a:gd name="connsiteY1301" fmla="*/ 512443 h 1867037"/>
                  <a:gd name="connsiteX1302" fmla="*/ 1298685 w 2417513"/>
                  <a:gd name="connsiteY1302" fmla="*/ 511231 h 1867037"/>
                  <a:gd name="connsiteX1303" fmla="*/ 1299442 w 2417513"/>
                  <a:gd name="connsiteY1303" fmla="*/ 510776 h 1867037"/>
                  <a:gd name="connsiteX1304" fmla="*/ 1299897 w 2417513"/>
                  <a:gd name="connsiteY1304" fmla="*/ 509867 h 1867037"/>
                  <a:gd name="connsiteX1305" fmla="*/ 1300654 w 2417513"/>
                  <a:gd name="connsiteY1305" fmla="*/ 505321 h 1867037"/>
                  <a:gd name="connsiteX1306" fmla="*/ 1300503 w 2417513"/>
                  <a:gd name="connsiteY1306" fmla="*/ 501836 h 1867037"/>
                  <a:gd name="connsiteX1307" fmla="*/ 1300200 w 2417513"/>
                  <a:gd name="connsiteY1307" fmla="*/ 500170 h 1867037"/>
                  <a:gd name="connsiteX1308" fmla="*/ 1298382 w 2417513"/>
                  <a:gd name="connsiteY1308" fmla="*/ 495927 h 1867037"/>
                  <a:gd name="connsiteX1309" fmla="*/ 1298078 w 2417513"/>
                  <a:gd name="connsiteY1309" fmla="*/ 494715 h 1867037"/>
                  <a:gd name="connsiteX1310" fmla="*/ 1298685 w 2417513"/>
                  <a:gd name="connsiteY1310" fmla="*/ 491988 h 1867037"/>
                  <a:gd name="connsiteX1311" fmla="*/ 1299594 w 2417513"/>
                  <a:gd name="connsiteY1311" fmla="*/ 490018 h 1867037"/>
                  <a:gd name="connsiteX1312" fmla="*/ 1297018 w 2417513"/>
                  <a:gd name="connsiteY1312" fmla="*/ 484866 h 1867037"/>
                  <a:gd name="connsiteX1313" fmla="*/ 1294897 w 2417513"/>
                  <a:gd name="connsiteY1313" fmla="*/ 482442 h 1867037"/>
                  <a:gd name="connsiteX1314" fmla="*/ 1292624 w 2417513"/>
                  <a:gd name="connsiteY1314" fmla="*/ 478199 h 1867037"/>
                  <a:gd name="connsiteX1315" fmla="*/ 1288230 w 2417513"/>
                  <a:gd name="connsiteY1315" fmla="*/ 474108 h 1867037"/>
                  <a:gd name="connsiteX1316" fmla="*/ 1278684 w 2417513"/>
                  <a:gd name="connsiteY1316" fmla="*/ 467290 h 1867037"/>
                  <a:gd name="connsiteX1317" fmla="*/ 1273987 w 2417513"/>
                  <a:gd name="connsiteY1317" fmla="*/ 464562 h 1867037"/>
                  <a:gd name="connsiteX1318" fmla="*/ 1267926 w 2417513"/>
                  <a:gd name="connsiteY1318" fmla="*/ 462896 h 1867037"/>
                  <a:gd name="connsiteX1319" fmla="*/ 1261714 w 2417513"/>
                  <a:gd name="connsiteY1319" fmla="*/ 462441 h 1867037"/>
                  <a:gd name="connsiteX1320" fmla="*/ 1257016 w 2417513"/>
                  <a:gd name="connsiteY1320" fmla="*/ 462896 h 1867037"/>
                  <a:gd name="connsiteX1321" fmla="*/ 1240046 w 2417513"/>
                  <a:gd name="connsiteY1321" fmla="*/ 468047 h 1867037"/>
                  <a:gd name="connsiteX1322" fmla="*/ 1235046 w 2417513"/>
                  <a:gd name="connsiteY1322" fmla="*/ 471381 h 1867037"/>
                  <a:gd name="connsiteX1323" fmla="*/ 1232318 w 2417513"/>
                  <a:gd name="connsiteY1323" fmla="*/ 472745 h 1867037"/>
                  <a:gd name="connsiteX1324" fmla="*/ 1227621 w 2417513"/>
                  <a:gd name="connsiteY1324" fmla="*/ 477442 h 1867037"/>
                  <a:gd name="connsiteX1325" fmla="*/ 1227773 w 2417513"/>
                  <a:gd name="connsiteY1325" fmla="*/ 480624 h 1867037"/>
                  <a:gd name="connsiteX1326" fmla="*/ 1226106 w 2417513"/>
                  <a:gd name="connsiteY1326" fmla="*/ 483957 h 1867037"/>
                  <a:gd name="connsiteX1327" fmla="*/ 1223076 w 2417513"/>
                  <a:gd name="connsiteY1327" fmla="*/ 485169 h 1867037"/>
                  <a:gd name="connsiteX1328" fmla="*/ 1220651 w 2417513"/>
                  <a:gd name="connsiteY1328" fmla="*/ 485624 h 1867037"/>
                  <a:gd name="connsiteX1329" fmla="*/ 1215651 w 2417513"/>
                  <a:gd name="connsiteY1329" fmla="*/ 491836 h 1867037"/>
                  <a:gd name="connsiteX1330" fmla="*/ 1214742 w 2417513"/>
                  <a:gd name="connsiteY1330" fmla="*/ 494109 h 1867037"/>
                  <a:gd name="connsiteX1331" fmla="*/ 1214742 w 2417513"/>
                  <a:gd name="connsiteY1331" fmla="*/ 495473 h 1867037"/>
                  <a:gd name="connsiteX1332" fmla="*/ 1215045 w 2417513"/>
                  <a:gd name="connsiteY1332" fmla="*/ 497139 h 1867037"/>
                  <a:gd name="connsiteX1333" fmla="*/ 1215954 w 2417513"/>
                  <a:gd name="connsiteY1333" fmla="*/ 497745 h 1867037"/>
                  <a:gd name="connsiteX1334" fmla="*/ 1220651 w 2417513"/>
                  <a:gd name="connsiteY1334" fmla="*/ 497291 h 1867037"/>
                  <a:gd name="connsiteX1335" fmla="*/ 1222015 w 2417513"/>
                  <a:gd name="connsiteY1335" fmla="*/ 498806 h 1867037"/>
                  <a:gd name="connsiteX1336" fmla="*/ 1237470 w 2417513"/>
                  <a:gd name="connsiteY1336" fmla="*/ 522292 h 1867037"/>
                  <a:gd name="connsiteX1337" fmla="*/ 1246713 w 2417513"/>
                  <a:gd name="connsiteY1337" fmla="*/ 524716 h 1867037"/>
                  <a:gd name="connsiteX1338" fmla="*/ 1249137 w 2417513"/>
                  <a:gd name="connsiteY1338" fmla="*/ 525019 h 1867037"/>
                  <a:gd name="connsiteX1339" fmla="*/ 1250349 w 2417513"/>
                  <a:gd name="connsiteY1339" fmla="*/ 524716 h 1867037"/>
                  <a:gd name="connsiteX1340" fmla="*/ 1251259 w 2417513"/>
                  <a:gd name="connsiteY1340" fmla="*/ 523959 h 1867037"/>
                  <a:gd name="connsiteX1341" fmla="*/ 1251107 w 2417513"/>
                  <a:gd name="connsiteY1341" fmla="*/ 522898 h 1867037"/>
                  <a:gd name="connsiteX1342" fmla="*/ 1249137 w 2417513"/>
                  <a:gd name="connsiteY1342" fmla="*/ 520322 h 1867037"/>
                  <a:gd name="connsiteX1343" fmla="*/ 1244895 w 2417513"/>
                  <a:gd name="connsiteY1343" fmla="*/ 517595 h 1867037"/>
                  <a:gd name="connsiteX1344" fmla="*/ 1240804 w 2417513"/>
                  <a:gd name="connsiteY1344" fmla="*/ 517595 h 1867037"/>
                  <a:gd name="connsiteX1345" fmla="*/ 1238531 w 2417513"/>
                  <a:gd name="connsiteY1345" fmla="*/ 518807 h 1867037"/>
                  <a:gd name="connsiteX1346" fmla="*/ 1237773 w 2417513"/>
                  <a:gd name="connsiteY1346" fmla="*/ 519716 h 1867037"/>
                  <a:gd name="connsiteX1347" fmla="*/ 1235652 w 2417513"/>
                  <a:gd name="connsiteY1347" fmla="*/ 520625 h 1867037"/>
                  <a:gd name="connsiteX1348" fmla="*/ 1236106 w 2417513"/>
                  <a:gd name="connsiteY1348" fmla="*/ 521383 h 1867037"/>
                  <a:gd name="connsiteX1349" fmla="*/ 1237470 w 2417513"/>
                  <a:gd name="connsiteY1349" fmla="*/ 522292 h 1867037"/>
                  <a:gd name="connsiteX1350" fmla="*/ 1399749 w 2417513"/>
                  <a:gd name="connsiteY1350" fmla="*/ 522443 h 1867037"/>
                  <a:gd name="connsiteX1351" fmla="*/ 1407628 w 2417513"/>
                  <a:gd name="connsiteY1351" fmla="*/ 522140 h 1867037"/>
                  <a:gd name="connsiteX1352" fmla="*/ 1410658 w 2417513"/>
                  <a:gd name="connsiteY1352" fmla="*/ 521383 h 1867037"/>
                  <a:gd name="connsiteX1353" fmla="*/ 1415810 w 2417513"/>
                  <a:gd name="connsiteY1353" fmla="*/ 519110 h 1867037"/>
                  <a:gd name="connsiteX1354" fmla="*/ 1417628 w 2417513"/>
                  <a:gd name="connsiteY1354" fmla="*/ 517595 h 1867037"/>
                  <a:gd name="connsiteX1355" fmla="*/ 1417780 w 2417513"/>
                  <a:gd name="connsiteY1355" fmla="*/ 515928 h 1867037"/>
                  <a:gd name="connsiteX1356" fmla="*/ 1417628 w 2417513"/>
                  <a:gd name="connsiteY1356" fmla="*/ 514261 h 1867037"/>
                  <a:gd name="connsiteX1357" fmla="*/ 1417022 w 2417513"/>
                  <a:gd name="connsiteY1357" fmla="*/ 512443 h 1867037"/>
                  <a:gd name="connsiteX1358" fmla="*/ 1417780 w 2417513"/>
                  <a:gd name="connsiteY1358" fmla="*/ 511685 h 1867037"/>
                  <a:gd name="connsiteX1359" fmla="*/ 1419901 w 2417513"/>
                  <a:gd name="connsiteY1359" fmla="*/ 512140 h 1867037"/>
                  <a:gd name="connsiteX1360" fmla="*/ 1421416 w 2417513"/>
                  <a:gd name="connsiteY1360" fmla="*/ 511685 h 1867037"/>
                  <a:gd name="connsiteX1361" fmla="*/ 1422477 w 2417513"/>
                  <a:gd name="connsiteY1361" fmla="*/ 510170 h 1867037"/>
                  <a:gd name="connsiteX1362" fmla="*/ 1423538 w 2417513"/>
                  <a:gd name="connsiteY1362" fmla="*/ 509413 h 1867037"/>
                  <a:gd name="connsiteX1363" fmla="*/ 1424598 w 2417513"/>
                  <a:gd name="connsiteY1363" fmla="*/ 509261 h 1867037"/>
                  <a:gd name="connsiteX1364" fmla="*/ 1425507 w 2417513"/>
                  <a:gd name="connsiteY1364" fmla="*/ 510625 h 1867037"/>
                  <a:gd name="connsiteX1365" fmla="*/ 1426114 w 2417513"/>
                  <a:gd name="connsiteY1365" fmla="*/ 513504 h 1867037"/>
                  <a:gd name="connsiteX1366" fmla="*/ 1427023 w 2417513"/>
                  <a:gd name="connsiteY1366" fmla="*/ 514716 h 1867037"/>
                  <a:gd name="connsiteX1367" fmla="*/ 1428992 w 2417513"/>
                  <a:gd name="connsiteY1367" fmla="*/ 513352 h 1867037"/>
                  <a:gd name="connsiteX1368" fmla="*/ 1431568 w 2417513"/>
                  <a:gd name="connsiteY1368" fmla="*/ 508655 h 1867037"/>
                  <a:gd name="connsiteX1369" fmla="*/ 1435659 w 2417513"/>
                  <a:gd name="connsiteY1369" fmla="*/ 506988 h 1867037"/>
                  <a:gd name="connsiteX1370" fmla="*/ 1436871 w 2417513"/>
                  <a:gd name="connsiteY1370" fmla="*/ 507140 h 1867037"/>
                  <a:gd name="connsiteX1371" fmla="*/ 1438387 w 2417513"/>
                  <a:gd name="connsiteY1371" fmla="*/ 508503 h 1867037"/>
                  <a:gd name="connsiteX1372" fmla="*/ 1440963 w 2417513"/>
                  <a:gd name="connsiteY1372" fmla="*/ 509564 h 1867037"/>
                  <a:gd name="connsiteX1373" fmla="*/ 1440054 w 2417513"/>
                  <a:gd name="connsiteY1373" fmla="*/ 511837 h 1867037"/>
                  <a:gd name="connsiteX1374" fmla="*/ 1437326 w 2417513"/>
                  <a:gd name="connsiteY1374" fmla="*/ 516079 h 1867037"/>
                  <a:gd name="connsiteX1375" fmla="*/ 1435659 w 2417513"/>
                  <a:gd name="connsiteY1375" fmla="*/ 519261 h 1867037"/>
                  <a:gd name="connsiteX1376" fmla="*/ 1435053 w 2417513"/>
                  <a:gd name="connsiteY1376" fmla="*/ 521383 h 1867037"/>
                  <a:gd name="connsiteX1377" fmla="*/ 1435053 w 2417513"/>
                  <a:gd name="connsiteY1377" fmla="*/ 522898 h 1867037"/>
                  <a:gd name="connsiteX1378" fmla="*/ 1436568 w 2417513"/>
                  <a:gd name="connsiteY1378" fmla="*/ 524565 h 1867037"/>
                  <a:gd name="connsiteX1379" fmla="*/ 1438690 w 2417513"/>
                  <a:gd name="connsiteY1379" fmla="*/ 525474 h 1867037"/>
                  <a:gd name="connsiteX1380" fmla="*/ 1450054 w 2417513"/>
                  <a:gd name="connsiteY1380" fmla="*/ 525777 h 1867037"/>
                  <a:gd name="connsiteX1381" fmla="*/ 1461418 w 2417513"/>
                  <a:gd name="connsiteY1381" fmla="*/ 526837 h 1867037"/>
                  <a:gd name="connsiteX1382" fmla="*/ 1467630 w 2417513"/>
                  <a:gd name="connsiteY1382" fmla="*/ 525171 h 1867037"/>
                  <a:gd name="connsiteX1383" fmla="*/ 1477782 w 2417513"/>
                  <a:gd name="connsiteY1383" fmla="*/ 526383 h 1867037"/>
                  <a:gd name="connsiteX1384" fmla="*/ 1483994 w 2417513"/>
                  <a:gd name="connsiteY1384" fmla="*/ 526534 h 1867037"/>
                  <a:gd name="connsiteX1385" fmla="*/ 1486873 w 2417513"/>
                  <a:gd name="connsiteY1385" fmla="*/ 525928 h 1867037"/>
                  <a:gd name="connsiteX1386" fmla="*/ 1485055 w 2417513"/>
                  <a:gd name="connsiteY1386" fmla="*/ 522292 h 1867037"/>
                  <a:gd name="connsiteX1387" fmla="*/ 1487176 w 2417513"/>
                  <a:gd name="connsiteY1387" fmla="*/ 522443 h 1867037"/>
                  <a:gd name="connsiteX1388" fmla="*/ 1495813 w 2417513"/>
                  <a:gd name="connsiteY1388" fmla="*/ 524716 h 1867037"/>
                  <a:gd name="connsiteX1389" fmla="*/ 1499298 w 2417513"/>
                  <a:gd name="connsiteY1389" fmla="*/ 523504 h 1867037"/>
                  <a:gd name="connsiteX1390" fmla="*/ 1502025 w 2417513"/>
                  <a:gd name="connsiteY1390" fmla="*/ 523352 h 1867037"/>
                  <a:gd name="connsiteX1391" fmla="*/ 1506268 w 2417513"/>
                  <a:gd name="connsiteY1391" fmla="*/ 525625 h 1867037"/>
                  <a:gd name="connsiteX1392" fmla="*/ 1510359 w 2417513"/>
                  <a:gd name="connsiteY1392" fmla="*/ 525625 h 1867037"/>
                  <a:gd name="connsiteX1393" fmla="*/ 1517632 w 2417513"/>
                  <a:gd name="connsiteY1393" fmla="*/ 523655 h 1867037"/>
                  <a:gd name="connsiteX1394" fmla="*/ 1518541 w 2417513"/>
                  <a:gd name="connsiteY1394" fmla="*/ 523049 h 1867037"/>
                  <a:gd name="connsiteX1395" fmla="*/ 1519147 w 2417513"/>
                  <a:gd name="connsiteY1395" fmla="*/ 521837 h 1867037"/>
                  <a:gd name="connsiteX1396" fmla="*/ 1519602 w 2417513"/>
                  <a:gd name="connsiteY1396" fmla="*/ 520019 h 1867037"/>
                  <a:gd name="connsiteX1397" fmla="*/ 1520511 w 2417513"/>
                  <a:gd name="connsiteY1397" fmla="*/ 520019 h 1867037"/>
                  <a:gd name="connsiteX1398" fmla="*/ 1523390 w 2417513"/>
                  <a:gd name="connsiteY1398" fmla="*/ 523201 h 1867037"/>
                  <a:gd name="connsiteX1399" fmla="*/ 1526875 w 2417513"/>
                  <a:gd name="connsiteY1399" fmla="*/ 524565 h 1867037"/>
                  <a:gd name="connsiteX1400" fmla="*/ 1529148 w 2417513"/>
                  <a:gd name="connsiteY1400" fmla="*/ 524565 h 1867037"/>
                  <a:gd name="connsiteX1401" fmla="*/ 1530360 w 2417513"/>
                  <a:gd name="connsiteY1401" fmla="*/ 523959 h 1867037"/>
                  <a:gd name="connsiteX1402" fmla="*/ 1531117 w 2417513"/>
                  <a:gd name="connsiteY1402" fmla="*/ 519716 h 1867037"/>
                  <a:gd name="connsiteX1403" fmla="*/ 1532481 w 2417513"/>
                  <a:gd name="connsiteY1403" fmla="*/ 519867 h 1867037"/>
                  <a:gd name="connsiteX1404" fmla="*/ 1535057 w 2417513"/>
                  <a:gd name="connsiteY1404" fmla="*/ 521837 h 1867037"/>
                  <a:gd name="connsiteX1405" fmla="*/ 1537784 w 2417513"/>
                  <a:gd name="connsiteY1405" fmla="*/ 523201 h 1867037"/>
                  <a:gd name="connsiteX1406" fmla="*/ 1541876 w 2417513"/>
                  <a:gd name="connsiteY1406" fmla="*/ 524413 h 1867037"/>
                  <a:gd name="connsiteX1407" fmla="*/ 1548542 w 2417513"/>
                  <a:gd name="connsiteY1407" fmla="*/ 525019 h 1867037"/>
                  <a:gd name="connsiteX1408" fmla="*/ 1553542 w 2417513"/>
                  <a:gd name="connsiteY1408" fmla="*/ 524565 h 1867037"/>
                  <a:gd name="connsiteX1409" fmla="*/ 1563846 w 2417513"/>
                  <a:gd name="connsiteY1409" fmla="*/ 521837 h 1867037"/>
                  <a:gd name="connsiteX1410" fmla="*/ 1570513 w 2417513"/>
                  <a:gd name="connsiteY1410" fmla="*/ 521686 h 1867037"/>
                  <a:gd name="connsiteX1411" fmla="*/ 1572937 w 2417513"/>
                  <a:gd name="connsiteY1411" fmla="*/ 520625 h 1867037"/>
                  <a:gd name="connsiteX1412" fmla="*/ 1576271 w 2417513"/>
                  <a:gd name="connsiteY1412" fmla="*/ 516837 h 1867037"/>
                  <a:gd name="connsiteX1413" fmla="*/ 1576725 w 2417513"/>
                  <a:gd name="connsiteY1413" fmla="*/ 516079 h 1867037"/>
                  <a:gd name="connsiteX1414" fmla="*/ 1578089 w 2417513"/>
                  <a:gd name="connsiteY1414" fmla="*/ 510928 h 1867037"/>
                  <a:gd name="connsiteX1415" fmla="*/ 1577483 w 2417513"/>
                  <a:gd name="connsiteY1415" fmla="*/ 508958 h 1867037"/>
                  <a:gd name="connsiteX1416" fmla="*/ 1574149 w 2417513"/>
                  <a:gd name="connsiteY1416" fmla="*/ 507140 h 1867037"/>
                  <a:gd name="connsiteX1417" fmla="*/ 1573543 w 2417513"/>
                  <a:gd name="connsiteY1417" fmla="*/ 506382 h 1867037"/>
                  <a:gd name="connsiteX1418" fmla="*/ 1572634 w 2417513"/>
                  <a:gd name="connsiteY1418" fmla="*/ 503958 h 1867037"/>
                  <a:gd name="connsiteX1419" fmla="*/ 1573240 w 2417513"/>
                  <a:gd name="connsiteY1419" fmla="*/ 503503 h 1867037"/>
                  <a:gd name="connsiteX1420" fmla="*/ 1576422 w 2417513"/>
                  <a:gd name="connsiteY1420" fmla="*/ 504412 h 1867037"/>
                  <a:gd name="connsiteX1421" fmla="*/ 1581574 w 2417513"/>
                  <a:gd name="connsiteY1421" fmla="*/ 507443 h 1867037"/>
                  <a:gd name="connsiteX1422" fmla="*/ 1583241 w 2417513"/>
                  <a:gd name="connsiteY1422" fmla="*/ 508049 h 1867037"/>
                  <a:gd name="connsiteX1423" fmla="*/ 1584756 w 2417513"/>
                  <a:gd name="connsiteY1423" fmla="*/ 508049 h 1867037"/>
                  <a:gd name="connsiteX1424" fmla="*/ 1585210 w 2417513"/>
                  <a:gd name="connsiteY1424" fmla="*/ 509564 h 1867037"/>
                  <a:gd name="connsiteX1425" fmla="*/ 1584453 w 2417513"/>
                  <a:gd name="connsiteY1425" fmla="*/ 512594 h 1867037"/>
                  <a:gd name="connsiteX1426" fmla="*/ 1584301 w 2417513"/>
                  <a:gd name="connsiteY1426" fmla="*/ 514716 h 1867037"/>
                  <a:gd name="connsiteX1427" fmla="*/ 1585968 w 2417513"/>
                  <a:gd name="connsiteY1427" fmla="*/ 518201 h 1867037"/>
                  <a:gd name="connsiteX1428" fmla="*/ 1588089 w 2417513"/>
                  <a:gd name="connsiteY1428" fmla="*/ 520777 h 1867037"/>
                  <a:gd name="connsiteX1429" fmla="*/ 1589453 w 2417513"/>
                  <a:gd name="connsiteY1429" fmla="*/ 521686 h 1867037"/>
                  <a:gd name="connsiteX1430" fmla="*/ 1594756 w 2417513"/>
                  <a:gd name="connsiteY1430" fmla="*/ 523655 h 1867037"/>
                  <a:gd name="connsiteX1431" fmla="*/ 1597180 w 2417513"/>
                  <a:gd name="connsiteY1431" fmla="*/ 523959 h 1867037"/>
                  <a:gd name="connsiteX1432" fmla="*/ 1603544 w 2417513"/>
                  <a:gd name="connsiteY1432" fmla="*/ 523352 h 1867037"/>
                  <a:gd name="connsiteX1433" fmla="*/ 1613090 w 2417513"/>
                  <a:gd name="connsiteY1433" fmla="*/ 526231 h 1867037"/>
                  <a:gd name="connsiteX1434" fmla="*/ 1616575 w 2417513"/>
                  <a:gd name="connsiteY1434" fmla="*/ 526686 h 1867037"/>
                  <a:gd name="connsiteX1435" fmla="*/ 1620212 w 2417513"/>
                  <a:gd name="connsiteY1435" fmla="*/ 526534 h 1867037"/>
                  <a:gd name="connsiteX1436" fmla="*/ 1625666 w 2417513"/>
                  <a:gd name="connsiteY1436" fmla="*/ 525171 h 1867037"/>
                  <a:gd name="connsiteX1437" fmla="*/ 1632939 w 2417513"/>
                  <a:gd name="connsiteY1437" fmla="*/ 522443 h 1867037"/>
                  <a:gd name="connsiteX1438" fmla="*/ 1636121 w 2417513"/>
                  <a:gd name="connsiteY1438" fmla="*/ 521686 h 1867037"/>
                  <a:gd name="connsiteX1439" fmla="*/ 1662031 w 2417513"/>
                  <a:gd name="connsiteY1439" fmla="*/ 520928 h 1867037"/>
                  <a:gd name="connsiteX1440" fmla="*/ 1662486 w 2417513"/>
                  <a:gd name="connsiteY1440" fmla="*/ 520777 h 1867037"/>
                  <a:gd name="connsiteX1441" fmla="*/ 1663698 w 2417513"/>
                  <a:gd name="connsiteY1441" fmla="*/ 516837 h 1867037"/>
                  <a:gd name="connsiteX1442" fmla="*/ 1664001 w 2417513"/>
                  <a:gd name="connsiteY1442" fmla="*/ 514261 h 1867037"/>
                  <a:gd name="connsiteX1443" fmla="*/ 1664001 w 2417513"/>
                  <a:gd name="connsiteY1443" fmla="*/ 511685 h 1867037"/>
                  <a:gd name="connsiteX1444" fmla="*/ 1664607 w 2417513"/>
                  <a:gd name="connsiteY1444" fmla="*/ 510019 h 1867037"/>
                  <a:gd name="connsiteX1445" fmla="*/ 1665819 w 2417513"/>
                  <a:gd name="connsiteY1445" fmla="*/ 509109 h 1867037"/>
                  <a:gd name="connsiteX1446" fmla="*/ 1664759 w 2417513"/>
                  <a:gd name="connsiteY1446" fmla="*/ 507291 h 1867037"/>
                  <a:gd name="connsiteX1447" fmla="*/ 1661274 w 2417513"/>
                  <a:gd name="connsiteY1447" fmla="*/ 504564 h 1867037"/>
                  <a:gd name="connsiteX1448" fmla="*/ 1660365 w 2417513"/>
                  <a:gd name="connsiteY1448" fmla="*/ 503049 h 1867037"/>
                  <a:gd name="connsiteX1449" fmla="*/ 1662031 w 2417513"/>
                  <a:gd name="connsiteY1449" fmla="*/ 502746 h 1867037"/>
                  <a:gd name="connsiteX1450" fmla="*/ 1664456 w 2417513"/>
                  <a:gd name="connsiteY1450" fmla="*/ 503503 h 1867037"/>
                  <a:gd name="connsiteX1451" fmla="*/ 1671577 w 2417513"/>
                  <a:gd name="connsiteY1451" fmla="*/ 506837 h 1867037"/>
                  <a:gd name="connsiteX1452" fmla="*/ 1683547 w 2417513"/>
                  <a:gd name="connsiteY1452" fmla="*/ 504261 h 1867037"/>
                  <a:gd name="connsiteX1453" fmla="*/ 1686426 w 2417513"/>
                  <a:gd name="connsiteY1453" fmla="*/ 502140 h 1867037"/>
                  <a:gd name="connsiteX1454" fmla="*/ 1684759 w 2417513"/>
                  <a:gd name="connsiteY1454" fmla="*/ 499867 h 1867037"/>
                  <a:gd name="connsiteX1455" fmla="*/ 1682941 w 2417513"/>
                  <a:gd name="connsiteY1455" fmla="*/ 498200 h 1867037"/>
                  <a:gd name="connsiteX1456" fmla="*/ 1679153 w 2417513"/>
                  <a:gd name="connsiteY1456" fmla="*/ 496533 h 1867037"/>
                  <a:gd name="connsiteX1457" fmla="*/ 1677335 w 2417513"/>
                  <a:gd name="connsiteY1457" fmla="*/ 496533 h 1867037"/>
                  <a:gd name="connsiteX1458" fmla="*/ 1669001 w 2417513"/>
                  <a:gd name="connsiteY1458" fmla="*/ 498200 h 1867037"/>
                  <a:gd name="connsiteX1459" fmla="*/ 1666274 w 2417513"/>
                  <a:gd name="connsiteY1459" fmla="*/ 498352 h 1867037"/>
                  <a:gd name="connsiteX1460" fmla="*/ 1662789 w 2417513"/>
                  <a:gd name="connsiteY1460" fmla="*/ 497594 h 1867037"/>
                  <a:gd name="connsiteX1461" fmla="*/ 1659456 w 2417513"/>
                  <a:gd name="connsiteY1461" fmla="*/ 495776 h 1867037"/>
                  <a:gd name="connsiteX1462" fmla="*/ 1660062 w 2417513"/>
                  <a:gd name="connsiteY1462" fmla="*/ 494867 h 1867037"/>
                  <a:gd name="connsiteX1463" fmla="*/ 1670516 w 2417513"/>
                  <a:gd name="connsiteY1463" fmla="*/ 491230 h 1867037"/>
                  <a:gd name="connsiteX1464" fmla="*/ 1679911 w 2417513"/>
                  <a:gd name="connsiteY1464" fmla="*/ 486836 h 1867037"/>
                  <a:gd name="connsiteX1465" fmla="*/ 1683396 w 2417513"/>
                  <a:gd name="connsiteY1465" fmla="*/ 483503 h 1867037"/>
                  <a:gd name="connsiteX1466" fmla="*/ 1683396 w 2417513"/>
                  <a:gd name="connsiteY1466" fmla="*/ 481533 h 1867037"/>
                  <a:gd name="connsiteX1467" fmla="*/ 1681275 w 2417513"/>
                  <a:gd name="connsiteY1467" fmla="*/ 476533 h 1867037"/>
                  <a:gd name="connsiteX1468" fmla="*/ 1679305 w 2417513"/>
                  <a:gd name="connsiteY1468" fmla="*/ 472896 h 1867037"/>
                  <a:gd name="connsiteX1469" fmla="*/ 1677183 w 2417513"/>
                  <a:gd name="connsiteY1469" fmla="*/ 472290 h 1867037"/>
                  <a:gd name="connsiteX1470" fmla="*/ 1667335 w 2417513"/>
                  <a:gd name="connsiteY1470" fmla="*/ 471987 h 1867037"/>
                  <a:gd name="connsiteX1471" fmla="*/ 1662940 w 2417513"/>
                  <a:gd name="connsiteY1471" fmla="*/ 471381 h 1867037"/>
                  <a:gd name="connsiteX1472" fmla="*/ 1662183 w 2417513"/>
                  <a:gd name="connsiteY1472" fmla="*/ 470775 h 1867037"/>
                  <a:gd name="connsiteX1473" fmla="*/ 1666577 w 2417513"/>
                  <a:gd name="connsiteY1473" fmla="*/ 467896 h 1867037"/>
                  <a:gd name="connsiteX1474" fmla="*/ 1666728 w 2417513"/>
                  <a:gd name="connsiteY1474" fmla="*/ 466835 h 1867037"/>
                  <a:gd name="connsiteX1475" fmla="*/ 1665668 w 2417513"/>
                  <a:gd name="connsiteY1475" fmla="*/ 465775 h 1867037"/>
                  <a:gd name="connsiteX1476" fmla="*/ 1661122 w 2417513"/>
                  <a:gd name="connsiteY1476" fmla="*/ 463047 h 1867037"/>
                  <a:gd name="connsiteX1477" fmla="*/ 1655516 w 2417513"/>
                  <a:gd name="connsiteY1477" fmla="*/ 462290 h 1867037"/>
                  <a:gd name="connsiteX1478" fmla="*/ 1642637 w 2417513"/>
                  <a:gd name="connsiteY1478" fmla="*/ 462290 h 1867037"/>
                  <a:gd name="connsiteX1479" fmla="*/ 1639303 w 2417513"/>
                  <a:gd name="connsiteY1479" fmla="*/ 461381 h 1867037"/>
                  <a:gd name="connsiteX1480" fmla="*/ 1637940 w 2417513"/>
                  <a:gd name="connsiteY1480" fmla="*/ 460774 h 1867037"/>
                  <a:gd name="connsiteX1481" fmla="*/ 1637485 w 2417513"/>
                  <a:gd name="connsiteY1481" fmla="*/ 459865 h 1867037"/>
                  <a:gd name="connsiteX1482" fmla="*/ 1638697 w 2417513"/>
                  <a:gd name="connsiteY1482" fmla="*/ 456986 h 1867037"/>
                  <a:gd name="connsiteX1483" fmla="*/ 1635515 w 2417513"/>
                  <a:gd name="connsiteY1483" fmla="*/ 455774 h 1867037"/>
                  <a:gd name="connsiteX1484" fmla="*/ 1625212 w 2417513"/>
                  <a:gd name="connsiteY1484" fmla="*/ 453653 h 1867037"/>
                  <a:gd name="connsiteX1485" fmla="*/ 1611423 w 2417513"/>
                  <a:gd name="connsiteY1485" fmla="*/ 451683 h 1867037"/>
                  <a:gd name="connsiteX1486" fmla="*/ 1605969 w 2417513"/>
                  <a:gd name="connsiteY1486" fmla="*/ 451532 h 1867037"/>
                  <a:gd name="connsiteX1487" fmla="*/ 1600514 w 2417513"/>
                  <a:gd name="connsiteY1487" fmla="*/ 452441 h 1867037"/>
                  <a:gd name="connsiteX1488" fmla="*/ 1585816 w 2417513"/>
                  <a:gd name="connsiteY1488" fmla="*/ 455926 h 1867037"/>
                  <a:gd name="connsiteX1489" fmla="*/ 1581877 w 2417513"/>
                  <a:gd name="connsiteY1489" fmla="*/ 456229 h 1867037"/>
                  <a:gd name="connsiteX1490" fmla="*/ 1567937 w 2417513"/>
                  <a:gd name="connsiteY1490" fmla="*/ 452744 h 1867037"/>
                  <a:gd name="connsiteX1491" fmla="*/ 1562785 w 2417513"/>
                  <a:gd name="connsiteY1491" fmla="*/ 452441 h 1867037"/>
                  <a:gd name="connsiteX1492" fmla="*/ 1560512 w 2417513"/>
                  <a:gd name="connsiteY1492" fmla="*/ 454562 h 1867037"/>
                  <a:gd name="connsiteX1493" fmla="*/ 1557482 w 2417513"/>
                  <a:gd name="connsiteY1493" fmla="*/ 455471 h 1867037"/>
                  <a:gd name="connsiteX1494" fmla="*/ 1544451 w 2417513"/>
                  <a:gd name="connsiteY1494" fmla="*/ 461532 h 1867037"/>
                  <a:gd name="connsiteX1495" fmla="*/ 1540512 w 2417513"/>
                  <a:gd name="connsiteY1495" fmla="*/ 461532 h 1867037"/>
                  <a:gd name="connsiteX1496" fmla="*/ 1533996 w 2417513"/>
                  <a:gd name="connsiteY1496" fmla="*/ 462138 h 1867037"/>
                  <a:gd name="connsiteX1497" fmla="*/ 1523390 w 2417513"/>
                  <a:gd name="connsiteY1497" fmla="*/ 466229 h 1867037"/>
                  <a:gd name="connsiteX1498" fmla="*/ 1517632 w 2417513"/>
                  <a:gd name="connsiteY1498" fmla="*/ 465775 h 1867037"/>
                  <a:gd name="connsiteX1499" fmla="*/ 1506874 w 2417513"/>
                  <a:gd name="connsiteY1499" fmla="*/ 468653 h 1867037"/>
                  <a:gd name="connsiteX1500" fmla="*/ 1504298 w 2417513"/>
                  <a:gd name="connsiteY1500" fmla="*/ 470169 h 1867037"/>
                  <a:gd name="connsiteX1501" fmla="*/ 1508844 w 2417513"/>
                  <a:gd name="connsiteY1501" fmla="*/ 473502 h 1867037"/>
                  <a:gd name="connsiteX1502" fmla="*/ 1507632 w 2417513"/>
                  <a:gd name="connsiteY1502" fmla="*/ 476078 h 1867037"/>
                  <a:gd name="connsiteX1503" fmla="*/ 1499904 w 2417513"/>
                  <a:gd name="connsiteY1503" fmla="*/ 475472 h 1867037"/>
                  <a:gd name="connsiteX1504" fmla="*/ 1494449 w 2417513"/>
                  <a:gd name="connsiteY1504" fmla="*/ 473805 h 1867037"/>
                  <a:gd name="connsiteX1505" fmla="*/ 1491419 w 2417513"/>
                  <a:gd name="connsiteY1505" fmla="*/ 472290 h 1867037"/>
                  <a:gd name="connsiteX1506" fmla="*/ 1483994 w 2417513"/>
                  <a:gd name="connsiteY1506" fmla="*/ 470775 h 1867037"/>
                  <a:gd name="connsiteX1507" fmla="*/ 1471873 w 2417513"/>
                  <a:gd name="connsiteY1507" fmla="*/ 463805 h 1867037"/>
                  <a:gd name="connsiteX1508" fmla="*/ 1468994 w 2417513"/>
                  <a:gd name="connsiteY1508" fmla="*/ 465320 h 1867037"/>
                  <a:gd name="connsiteX1509" fmla="*/ 1464145 w 2417513"/>
                  <a:gd name="connsiteY1509" fmla="*/ 471229 h 1867037"/>
                  <a:gd name="connsiteX1510" fmla="*/ 1463236 w 2417513"/>
                  <a:gd name="connsiteY1510" fmla="*/ 470775 h 1867037"/>
                  <a:gd name="connsiteX1511" fmla="*/ 1461266 w 2417513"/>
                  <a:gd name="connsiteY1511" fmla="*/ 467744 h 1867037"/>
                  <a:gd name="connsiteX1512" fmla="*/ 1458842 w 2417513"/>
                  <a:gd name="connsiteY1512" fmla="*/ 466229 h 1867037"/>
                  <a:gd name="connsiteX1513" fmla="*/ 1445963 w 2417513"/>
                  <a:gd name="connsiteY1513" fmla="*/ 469714 h 1867037"/>
                  <a:gd name="connsiteX1514" fmla="*/ 1435962 w 2417513"/>
                  <a:gd name="connsiteY1514" fmla="*/ 462290 h 1867037"/>
                  <a:gd name="connsiteX1515" fmla="*/ 1433841 w 2417513"/>
                  <a:gd name="connsiteY1515" fmla="*/ 461532 h 1867037"/>
                  <a:gd name="connsiteX1516" fmla="*/ 1431871 w 2417513"/>
                  <a:gd name="connsiteY1516" fmla="*/ 461532 h 1867037"/>
                  <a:gd name="connsiteX1517" fmla="*/ 1430053 w 2417513"/>
                  <a:gd name="connsiteY1517" fmla="*/ 462138 h 1867037"/>
                  <a:gd name="connsiteX1518" fmla="*/ 1428235 w 2417513"/>
                  <a:gd name="connsiteY1518" fmla="*/ 463350 h 1867037"/>
                  <a:gd name="connsiteX1519" fmla="*/ 1426568 w 2417513"/>
                  <a:gd name="connsiteY1519" fmla="*/ 465320 h 1867037"/>
                  <a:gd name="connsiteX1520" fmla="*/ 1427780 w 2417513"/>
                  <a:gd name="connsiteY1520" fmla="*/ 468047 h 1867037"/>
                  <a:gd name="connsiteX1521" fmla="*/ 1428235 w 2417513"/>
                  <a:gd name="connsiteY1521" fmla="*/ 470017 h 1867037"/>
                  <a:gd name="connsiteX1522" fmla="*/ 1427326 w 2417513"/>
                  <a:gd name="connsiteY1522" fmla="*/ 472138 h 1867037"/>
                  <a:gd name="connsiteX1523" fmla="*/ 1426568 w 2417513"/>
                  <a:gd name="connsiteY1523" fmla="*/ 472745 h 1867037"/>
                  <a:gd name="connsiteX1524" fmla="*/ 1425204 w 2417513"/>
                  <a:gd name="connsiteY1524" fmla="*/ 472593 h 1867037"/>
                  <a:gd name="connsiteX1525" fmla="*/ 1415204 w 2417513"/>
                  <a:gd name="connsiteY1525" fmla="*/ 466532 h 1867037"/>
                  <a:gd name="connsiteX1526" fmla="*/ 1413689 w 2417513"/>
                  <a:gd name="connsiteY1526" fmla="*/ 466078 h 1867037"/>
                  <a:gd name="connsiteX1527" fmla="*/ 1405204 w 2417513"/>
                  <a:gd name="connsiteY1527" fmla="*/ 466532 h 1867037"/>
                  <a:gd name="connsiteX1528" fmla="*/ 1405810 w 2417513"/>
                  <a:gd name="connsiteY1528" fmla="*/ 465472 h 1867037"/>
                  <a:gd name="connsiteX1529" fmla="*/ 1413083 w 2417513"/>
                  <a:gd name="connsiteY1529" fmla="*/ 461987 h 1867037"/>
                  <a:gd name="connsiteX1530" fmla="*/ 1415962 w 2417513"/>
                  <a:gd name="connsiteY1530" fmla="*/ 459108 h 1867037"/>
                  <a:gd name="connsiteX1531" fmla="*/ 1417325 w 2417513"/>
                  <a:gd name="connsiteY1531" fmla="*/ 456986 h 1867037"/>
                  <a:gd name="connsiteX1532" fmla="*/ 1417325 w 2417513"/>
                  <a:gd name="connsiteY1532" fmla="*/ 455623 h 1867037"/>
                  <a:gd name="connsiteX1533" fmla="*/ 1415356 w 2417513"/>
                  <a:gd name="connsiteY1533" fmla="*/ 453804 h 1867037"/>
                  <a:gd name="connsiteX1534" fmla="*/ 1408992 w 2417513"/>
                  <a:gd name="connsiteY1534" fmla="*/ 450319 h 1867037"/>
                  <a:gd name="connsiteX1535" fmla="*/ 1405204 w 2417513"/>
                  <a:gd name="connsiteY1535" fmla="*/ 451077 h 1867037"/>
                  <a:gd name="connsiteX1536" fmla="*/ 1403992 w 2417513"/>
                  <a:gd name="connsiteY1536" fmla="*/ 450471 h 1867037"/>
                  <a:gd name="connsiteX1537" fmla="*/ 1401264 w 2417513"/>
                  <a:gd name="connsiteY1537" fmla="*/ 446531 h 1867037"/>
                  <a:gd name="connsiteX1538" fmla="*/ 1397931 w 2417513"/>
                  <a:gd name="connsiteY1538" fmla="*/ 444259 h 1867037"/>
                  <a:gd name="connsiteX1539" fmla="*/ 1394597 w 2417513"/>
                  <a:gd name="connsiteY1539" fmla="*/ 443956 h 1867037"/>
                  <a:gd name="connsiteX1540" fmla="*/ 1390658 w 2417513"/>
                  <a:gd name="connsiteY1540" fmla="*/ 440622 h 1867037"/>
                  <a:gd name="connsiteX1541" fmla="*/ 1388536 w 2417513"/>
                  <a:gd name="connsiteY1541" fmla="*/ 439258 h 1867037"/>
                  <a:gd name="connsiteX1542" fmla="*/ 1375960 w 2417513"/>
                  <a:gd name="connsiteY1542" fmla="*/ 438046 h 1867037"/>
                  <a:gd name="connsiteX1543" fmla="*/ 1373536 w 2417513"/>
                  <a:gd name="connsiteY1543" fmla="*/ 436380 h 1867037"/>
                  <a:gd name="connsiteX1544" fmla="*/ 1367627 w 2417513"/>
                  <a:gd name="connsiteY1544" fmla="*/ 434410 h 1867037"/>
                  <a:gd name="connsiteX1545" fmla="*/ 1360505 w 2417513"/>
                  <a:gd name="connsiteY1545" fmla="*/ 433349 h 1867037"/>
                  <a:gd name="connsiteX1546" fmla="*/ 1357020 w 2417513"/>
                  <a:gd name="connsiteY1546" fmla="*/ 430016 h 1867037"/>
                  <a:gd name="connsiteX1547" fmla="*/ 1361111 w 2417513"/>
                  <a:gd name="connsiteY1547" fmla="*/ 429410 h 1867037"/>
                  <a:gd name="connsiteX1548" fmla="*/ 1372930 w 2417513"/>
                  <a:gd name="connsiteY1548" fmla="*/ 431985 h 1867037"/>
                  <a:gd name="connsiteX1549" fmla="*/ 1387021 w 2417513"/>
                  <a:gd name="connsiteY1549" fmla="*/ 433501 h 1867037"/>
                  <a:gd name="connsiteX1550" fmla="*/ 1411871 w 2417513"/>
                  <a:gd name="connsiteY1550" fmla="*/ 431682 h 1867037"/>
                  <a:gd name="connsiteX1551" fmla="*/ 1415052 w 2417513"/>
                  <a:gd name="connsiteY1551" fmla="*/ 430016 h 1867037"/>
                  <a:gd name="connsiteX1552" fmla="*/ 1416568 w 2417513"/>
                  <a:gd name="connsiteY1552" fmla="*/ 428804 h 1867037"/>
                  <a:gd name="connsiteX1553" fmla="*/ 1417022 w 2417513"/>
                  <a:gd name="connsiteY1553" fmla="*/ 427743 h 1867037"/>
                  <a:gd name="connsiteX1554" fmla="*/ 1415204 w 2417513"/>
                  <a:gd name="connsiteY1554" fmla="*/ 425319 h 1867037"/>
                  <a:gd name="connsiteX1555" fmla="*/ 1372172 w 2417513"/>
                  <a:gd name="connsiteY1555" fmla="*/ 417591 h 1867037"/>
                  <a:gd name="connsiteX1556" fmla="*/ 1358990 w 2417513"/>
                  <a:gd name="connsiteY1556" fmla="*/ 417136 h 1867037"/>
                  <a:gd name="connsiteX1557" fmla="*/ 1356717 w 2417513"/>
                  <a:gd name="connsiteY1557" fmla="*/ 416530 h 1867037"/>
                  <a:gd name="connsiteX1558" fmla="*/ 1355959 w 2417513"/>
                  <a:gd name="connsiteY1558" fmla="*/ 414106 h 1867037"/>
                  <a:gd name="connsiteX1559" fmla="*/ 1357172 w 2417513"/>
                  <a:gd name="connsiteY1559" fmla="*/ 413500 h 1867037"/>
                  <a:gd name="connsiteX1560" fmla="*/ 1358838 w 2417513"/>
                  <a:gd name="connsiteY1560" fmla="*/ 413500 h 1867037"/>
                  <a:gd name="connsiteX1561" fmla="*/ 1360808 w 2417513"/>
                  <a:gd name="connsiteY1561" fmla="*/ 414106 h 1867037"/>
                  <a:gd name="connsiteX1562" fmla="*/ 1371718 w 2417513"/>
                  <a:gd name="connsiteY1562" fmla="*/ 415015 h 1867037"/>
                  <a:gd name="connsiteX1563" fmla="*/ 1378384 w 2417513"/>
                  <a:gd name="connsiteY1563" fmla="*/ 416076 h 1867037"/>
                  <a:gd name="connsiteX1564" fmla="*/ 1380506 w 2417513"/>
                  <a:gd name="connsiteY1564" fmla="*/ 414258 h 1867037"/>
                  <a:gd name="connsiteX1565" fmla="*/ 1380203 w 2417513"/>
                  <a:gd name="connsiteY1565" fmla="*/ 413045 h 1867037"/>
                  <a:gd name="connsiteX1566" fmla="*/ 1378839 w 2417513"/>
                  <a:gd name="connsiteY1566" fmla="*/ 411530 h 1867037"/>
                  <a:gd name="connsiteX1567" fmla="*/ 1375203 w 2417513"/>
                  <a:gd name="connsiteY1567" fmla="*/ 409409 h 1867037"/>
                  <a:gd name="connsiteX1568" fmla="*/ 1364596 w 2417513"/>
                  <a:gd name="connsiteY1568" fmla="*/ 404863 h 1867037"/>
                  <a:gd name="connsiteX1569" fmla="*/ 1359596 w 2417513"/>
                  <a:gd name="connsiteY1569" fmla="*/ 403803 h 1867037"/>
                  <a:gd name="connsiteX1570" fmla="*/ 1352929 w 2417513"/>
                  <a:gd name="connsiteY1570" fmla="*/ 403500 h 1867037"/>
                  <a:gd name="connsiteX1571" fmla="*/ 1346262 w 2417513"/>
                  <a:gd name="connsiteY1571" fmla="*/ 404106 h 1867037"/>
                  <a:gd name="connsiteX1572" fmla="*/ 1332322 w 2417513"/>
                  <a:gd name="connsiteY1572" fmla="*/ 407591 h 1867037"/>
                  <a:gd name="connsiteX1573" fmla="*/ 1320807 w 2417513"/>
                  <a:gd name="connsiteY1573" fmla="*/ 408348 h 1867037"/>
                  <a:gd name="connsiteX1574" fmla="*/ 1313230 w 2417513"/>
                  <a:gd name="connsiteY1574" fmla="*/ 407288 h 1867037"/>
                  <a:gd name="connsiteX1575" fmla="*/ 1301564 w 2417513"/>
                  <a:gd name="connsiteY1575" fmla="*/ 415621 h 1867037"/>
                  <a:gd name="connsiteX1576" fmla="*/ 1298533 w 2417513"/>
                  <a:gd name="connsiteY1576" fmla="*/ 417136 h 1867037"/>
                  <a:gd name="connsiteX1577" fmla="*/ 1299897 w 2417513"/>
                  <a:gd name="connsiteY1577" fmla="*/ 414561 h 1867037"/>
                  <a:gd name="connsiteX1578" fmla="*/ 1301564 w 2417513"/>
                  <a:gd name="connsiteY1578" fmla="*/ 412591 h 1867037"/>
                  <a:gd name="connsiteX1579" fmla="*/ 1304594 w 2417513"/>
                  <a:gd name="connsiteY1579" fmla="*/ 409863 h 1867037"/>
                  <a:gd name="connsiteX1580" fmla="*/ 1306109 w 2417513"/>
                  <a:gd name="connsiteY1580" fmla="*/ 406833 h 1867037"/>
                  <a:gd name="connsiteX1581" fmla="*/ 1307776 w 2417513"/>
                  <a:gd name="connsiteY1581" fmla="*/ 404409 h 1867037"/>
                  <a:gd name="connsiteX1582" fmla="*/ 1308079 w 2417513"/>
                  <a:gd name="connsiteY1582" fmla="*/ 403348 h 1867037"/>
                  <a:gd name="connsiteX1583" fmla="*/ 1308079 w 2417513"/>
                  <a:gd name="connsiteY1583" fmla="*/ 402136 h 1867037"/>
                  <a:gd name="connsiteX1584" fmla="*/ 1307473 w 2417513"/>
                  <a:gd name="connsiteY1584" fmla="*/ 399409 h 1867037"/>
                  <a:gd name="connsiteX1585" fmla="*/ 1307018 w 2417513"/>
                  <a:gd name="connsiteY1585" fmla="*/ 398499 h 1867037"/>
                  <a:gd name="connsiteX1586" fmla="*/ 1305806 w 2417513"/>
                  <a:gd name="connsiteY1586" fmla="*/ 397742 h 1867037"/>
                  <a:gd name="connsiteX1587" fmla="*/ 1301866 w 2417513"/>
                  <a:gd name="connsiteY1587" fmla="*/ 396075 h 1867037"/>
                  <a:gd name="connsiteX1588" fmla="*/ 1296715 w 2417513"/>
                  <a:gd name="connsiteY1588" fmla="*/ 392590 h 1867037"/>
                  <a:gd name="connsiteX1589" fmla="*/ 1291109 w 2417513"/>
                  <a:gd name="connsiteY1589" fmla="*/ 390317 h 1867037"/>
                  <a:gd name="connsiteX1590" fmla="*/ 1287321 w 2417513"/>
                  <a:gd name="connsiteY1590" fmla="*/ 390166 h 1867037"/>
                  <a:gd name="connsiteX1591" fmla="*/ 1282926 w 2417513"/>
                  <a:gd name="connsiteY1591" fmla="*/ 390923 h 1867037"/>
                  <a:gd name="connsiteX1592" fmla="*/ 1277775 w 2417513"/>
                  <a:gd name="connsiteY1592" fmla="*/ 390469 h 1867037"/>
                  <a:gd name="connsiteX1593" fmla="*/ 1268986 w 2417513"/>
                  <a:gd name="connsiteY1593" fmla="*/ 387893 h 1867037"/>
                  <a:gd name="connsiteX1594" fmla="*/ 1255047 w 2417513"/>
                  <a:gd name="connsiteY1594" fmla="*/ 384559 h 1867037"/>
                  <a:gd name="connsiteX1595" fmla="*/ 1241107 w 2417513"/>
                  <a:gd name="connsiteY1595" fmla="*/ 381832 h 1867037"/>
                  <a:gd name="connsiteX1596" fmla="*/ 1235349 w 2417513"/>
                  <a:gd name="connsiteY1596" fmla="*/ 381681 h 1867037"/>
                  <a:gd name="connsiteX1597" fmla="*/ 1229591 w 2417513"/>
                  <a:gd name="connsiteY1597" fmla="*/ 382590 h 1867037"/>
                  <a:gd name="connsiteX1598" fmla="*/ 1220954 w 2417513"/>
                  <a:gd name="connsiteY1598" fmla="*/ 385166 h 1867037"/>
                  <a:gd name="connsiteX1599" fmla="*/ 1216257 w 2417513"/>
                  <a:gd name="connsiteY1599" fmla="*/ 386075 h 1867037"/>
                  <a:gd name="connsiteX1600" fmla="*/ 1212621 w 2417513"/>
                  <a:gd name="connsiteY1600" fmla="*/ 386226 h 1867037"/>
                  <a:gd name="connsiteX1601" fmla="*/ 1210651 w 2417513"/>
                  <a:gd name="connsiteY1601" fmla="*/ 386984 h 1867037"/>
                  <a:gd name="connsiteX1602" fmla="*/ 1210348 w 2417513"/>
                  <a:gd name="connsiteY1602" fmla="*/ 388348 h 1867037"/>
                  <a:gd name="connsiteX1603" fmla="*/ 1209136 w 2417513"/>
                  <a:gd name="connsiteY1603" fmla="*/ 390317 h 1867037"/>
                  <a:gd name="connsiteX1604" fmla="*/ 1210348 w 2417513"/>
                  <a:gd name="connsiteY1604" fmla="*/ 391681 h 1867037"/>
                  <a:gd name="connsiteX1605" fmla="*/ 1213378 w 2417513"/>
                  <a:gd name="connsiteY1605" fmla="*/ 393651 h 1867037"/>
                  <a:gd name="connsiteX1606" fmla="*/ 1219591 w 2417513"/>
                  <a:gd name="connsiteY1606" fmla="*/ 396227 h 1867037"/>
                  <a:gd name="connsiteX1607" fmla="*/ 1220500 w 2417513"/>
                  <a:gd name="connsiteY1607" fmla="*/ 396984 h 1867037"/>
                  <a:gd name="connsiteX1608" fmla="*/ 1219136 w 2417513"/>
                  <a:gd name="connsiteY1608" fmla="*/ 398348 h 1867037"/>
                  <a:gd name="connsiteX1609" fmla="*/ 1215348 w 2417513"/>
                  <a:gd name="connsiteY1609" fmla="*/ 398954 h 1867037"/>
                  <a:gd name="connsiteX1610" fmla="*/ 1212924 w 2417513"/>
                  <a:gd name="connsiteY1610" fmla="*/ 398802 h 1867037"/>
                  <a:gd name="connsiteX1611" fmla="*/ 1207469 w 2417513"/>
                  <a:gd name="connsiteY1611" fmla="*/ 396681 h 1867037"/>
                  <a:gd name="connsiteX1612" fmla="*/ 1206863 w 2417513"/>
                  <a:gd name="connsiteY1612" fmla="*/ 398348 h 1867037"/>
                  <a:gd name="connsiteX1613" fmla="*/ 1206863 w 2417513"/>
                  <a:gd name="connsiteY1613" fmla="*/ 399409 h 1867037"/>
                  <a:gd name="connsiteX1614" fmla="*/ 1207318 w 2417513"/>
                  <a:gd name="connsiteY1614" fmla="*/ 400318 h 1867037"/>
                  <a:gd name="connsiteX1615" fmla="*/ 1208227 w 2417513"/>
                  <a:gd name="connsiteY1615" fmla="*/ 401075 h 1867037"/>
                  <a:gd name="connsiteX1616" fmla="*/ 1213833 w 2417513"/>
                  <a:gd name="connsiteY1616" fmla="*/ 402439 h 1867037"/>
                  <a:gd name="connsiteX1617" fmla="*/ 1232167 w 2417513"/>
                  <a:gd name="connsiteY1617" fmla="*/ 410015 h 1867037"/>
                  <a:gd name="connsiteX1618" fmla="*/ 1234894 w 2417513"/>
                  <a:gd name="connsiteY1618" fmla="*/ 410166 h 1867037"/>
                  <a:gd name="connsiteX1619" fmla="*/ 1240955 w 2417513"/>
                  <a:gd name="connsiteY1619" fmla="*/ 409106 h 1867037"/>
                  <a:gd name="connsiteX1620" fmla="*/ 1239743 w 2417513"/>
                  <a:gd name="connsiteY1620" fmla="*/ 410318 h 1867037"/>
                  <a:gd name="connsiteX1621" fmla="*/ 1237167 w 2417513"/>
                  <a:gd name="connsiteY1621" fmla="*/ 411833 h 1867037"/>
                  <a:gd name="connsiteX1622" fmla="*/ 1231106 w 2417513"/>
                  <a:gd name="connsiteY1622" fmla="*/ 413197 h 1867037"/>
                  <a:gd name="connsiteX1623" fmla="*/ 1230349 w 2417513"/>
                  <a:gd name="connsiteY1623" fmla="*/ 414712 h 1867037"/>
                  <a:gd name="connsiteX1624" fmla="*/ 1232622 w 2417513"/>
                  <a:gd name="connsiteY1624" fmla="*/ 416985 h 1867037"/>
                  <a:gd name="connsiteX1625" fmla="*/ 1235803 w 2417513"/>
                  <a:gd name="connsiteY1625" fmla="*/ 418652 h 1867037"/>
                  <a:gd name="connsiteX1626" fmla="*/ 1246561 w 2417513"/>
                  <a:gd name="connsiteY1626" fmla="*/ 421682 h 1867037"/>
                  <a:gd name="connsiteX1627" fmla="*/ 1251259 w 2417513"/>
                  <a:gd name="connsiteY1627" fmla="*/ 427288 h 1867037"/>
                  <a:gd name="connsiteX1628" fmla="*/ 1258835 w 2417513"/>
                  <a:gd name="connsiteY1628" fmla="*/ 427743 h 1867037"/>
                  <a:gd name="connsiteX1629" fmla="*/ 1265956 w 2417513"/>
                  <a:gd name="connsiteY1629" fmla="*/ 425773 h 1867037"/>
                  <a:gd name="connsiteX1630" fmla="*/ 1270047 w 2417513"/>
                  <a:gd name="connsiteY1630" fmla="*/ 425622 h 1867037"/>
                  <a:gd name="connsiteX1631" fmla="*/ 1275653 w 2417513"/>
                  <a:gd name="connsiteY1631" fmla="*/ 426531 h 1867037"/>
                  <a:gd name="connsiteX1632" fmla="*/ 1290199 w 2417513"/>
                  <a:gd name="connsiteY1632" fmla="*/ 427288 h 1867037"/>
                  <a:gd name="connsiteX1633" fmla="*/ 1295351 w 2417513"/>
                  <a:gd name="connsiteY1633" fmla="*/ 427137 h 1867037"/>
                  <a:gd name="connsiteX1634" fmla="*/ 1295957 w 2417513"/>
                  <a:gd name="connsiteY1634" fmla="*/ 426228 h 1867037"/>
                  <a:gd name="connsiteX1635" fmla="*/ 1298230 w 2417513"/>
                  <a:gd name="connsiteY1635" fmla="*/ 424864 h 1867037"/>
                  <a:gd name="connsiteX1636" fmla="*/ 1305048 w 2417513"/>
                  <a:gd name="connsiteY1636" fmla="*/ 422137 h 1867037"/>
                  <a:gd name="connsiteX1637" fmla="*/ 1308230 w 2417513"/>
                  <a:gd name="connsiteY1637" fmla="*/ 421834 h 1867037"/>
                  <a:gd name="connsiteX1638" fmla="*/ 1310958 w 2417513"/>
                  <a:gd name="connsiteY1638" fmla="*/ 422591 h 1867037"/>
                  <a:gd name="connsiteX1639" fmla="*/ 1316716 w 2417513"/>
                  <a:gd name="connsiteY1639" fmla="*/ 430470 h 1867037"/>
                  <a:gd name="connsiteX1640" fmla="*/ 1321413 w 2417513"/>
                  <a:gd name="connsiteY1640" fmla="*/ 436077 h 1867037"/>
                  <a:gd name="connsiteX1641" fmla="*/ 1327777 w 2417513"/>
                  <a:gd name="connsiteY1641" fmla="*/ 443350 h 1867037"/>
                  <a:gd name="connsiteX1642" fmla="*/ 1332322 w 2417513"/>
                  <a:gd name="connsiteY1642" fmla="*/ 447289 h 1867037"/>
                  <a:gd name="connsiteX1643" fmla="*/ 1335656 w 2417513"/>
                  <a:gd name="connsiteY1643" fmla="*/ 451077 h 1867037"/>
                  <a:gd name="connsiteX1644" fmla="*/ 1336868 w 2417513"/>
                  <a:gd name="connsiteY1644" fmla="*/ 453804 h 1867037"/>
                  <a:gd name="connsiteX1645" fmla="*/ 1338080 w 2417513"/>
                  <a:gd name="connsiteY1645" fmla="*/ 457744 h 1867037"/>
                  <a:gd name="connsiteX1646" fmla="*/ 1338838 w 2417513"/>
                  <a:gd name="connsiteY1646" fmla="*/ 461683 h 1867037"/>
                  <a:gd name="connsiteX1647" fmla="*/ 1338534 w 2417513"/>
                  <a:gd name="connsiteY1647" fmla="*/ 463047 h 1867037"/>
                  <a:gd name="connsiteX1648" fmla="*/ 1337777 w 2417513"/>
                  <a:gd name="connsiteY1648" fmla="*/ 464411 h 1867037"/>
                  <a:gd name="connsiteX1649" fmla="*/ 1331716 w 2417513"/>
                  <a:gd name="connsiteY1649" fmla="*/ 471684 h 1867037"/>
                  <a:gd name="connsiteX1650" fmla="*/ 1329443 w 2417513"/>
                  <a:gd name="connsiteY1650" fmla="*/ 475775 h 1867037"/>
                  <a:gd name="connsiteX1651" fmla="*/ 1328989 w 2417513"/>
                  <a:gd name="connsiteY1651" fmla="*/ 477139 h 1867037"/>
                  <a:gd name="connsiteX1652" fmla="*/ 1328989 w 2417513"/>
                  <a:gd name="connsiteY1652" fmla="*/ 479108 h 1867037"/>
                  <a:gd name="connsiteX1653" fmla="*/ 1329443 w 2417513"/>
                  <a:gd name="connsiteY1653" fmla="*/ 481836 h 1867037"/>
                  <a:gd name="connsiteX1654" fmla="*/ 1329898 w 2417513"/>
                  <a:gd name="connsiteY1654" fmla="*/ 483654 h 1867037"/>
                  <a:gd name="connsiteX1655" fmla="*/ 1331110 w 2417513"/>
                  <a:gd name="connsiteY1655" fmla="*/ 485472 h 1867037"/>
                  <a:gd name="connsiteX1656" fmla="*/ 1334898 w 2417513"/>
                  <a:gd name="connsiteY1656" fmla="*/ 488200 h 1867037"/>
                  <a:gd name="connsiteX1657" fmla="*/ 1338534 w 2417513"/>
                  <a:gd name="connsiteY1657" fmla="*/ 491382 h 1867037"/>
                  <a:gd name="connsiteX1658" fmla="*/ 1338989 w 2417513"/>
                  <a:gd name="connsiteY1658" fmla="*/ 492594 h 1867037"/>
                  <a:gd name="connsiteX1659" fmla="*/ 1336110 w 2417513"/>
                  <a:gd name="connsiteY1659" fmla="*/ 494260 h 1867037"/>
                  <a:gd name="connsiteX1660" fmla="*/ 1335807 w 2417513"/>
                  <a:gd name="connsiteY1660" fmla="*/ 495473 h 1867037"/>
                  <a:gd name="connsiteX1661" fmla="*/ 1337777 w 2417513"/>
                  <a:gd name="connsiteY1661" fmla="*/ 501079 h 1867037"/>
                  <a:gd name="connsiteX1662" fmla="*/ 1341565 w 2417513"/>
                  <a:gd name="connsiteY1662" fmla="*/ 509564 h 1867037"/>
                  <a:gd name="connsiteX1663" fmla="*/ 1343989 w 2417513"/>
                  <a:gd name="connsiteY1663" fmla="*/ 512291 h 1867037"/>
                  <a:gd name="connsiteX1664" fmla="*/ 1349596 w 2417513"/>
                  <a:gd name="connsiteY1664" fmla="*/ 514716 h 1867037"/>
                  <a:gd name="connsiteX1665" fmla="*/ 1352777 w 2417513"/>
                  <a:gd name="connsiteY1665" fmla="*/ 517140 h 1867037"/>
                  <a:gd name="connsiteX1666" fmla="*/ 1353838 w 2417513"/>
                  <a:gd name="connsiteY1666" fmla="*/ 517443 h 1867037"/>
                  <a:gd name="connsiteX1667" fmla="*/ 1358384 w 2417513"/>
                  <a:gd name="connsiteY1667" fmla="*/ 516534 h 1867037"/>
                  <a:gd name="connsiteX1668" fmla="*/ 1363081 w 2417513"/>
                  <a:gd name="connsiteY1668" fmla="*/ 517746 h 1867037"/>
                  <a:gd name="connsiteX1669" fmla="*/ 1363990 w 2417513"/>
                  <a:gd name="connsiteY1669" fmla="*/ 517443 h 1867037"/>
                  <a:gd name="connsiteX1670" fmla="*/ 1363232 w 2417513"/>
                  <a:gd name="connsiteY1670" fmla="*/ 514110 h 1867037"/>
                  <a:gd name="connsiteX1671" fmla="*/ 1364141 w 2417513"/>
                  <a:gd name="connsiteY1671" fmla="*/ 512746 h 1867037"/>
                  <a:gd name="connsiteX1672" fmla="*/ 1370960 w 2417513"/>
                  <a:gd name="connsiteY1672" fmla="*/ 508352 h 1867037"/>
                  <a:gd name="connsiteX1673" fmla="*/ 1370960 w 2417513"/>
                  <a:gd name="connsiteY1673" fmla="*/ 509261 h 1867037"/>
                  <a:gd name="connsiteX1674" fmla="*/ 1368839 w 2417513"/>
                  <a:gd name="connsiteY1674" fmla="*/ 512291 h 1867037"/>
                  <a:gd name="connsiteX1675" fmla="*/ 1368536 w 2417513"/>
                  <a:gd name="connsiteY1675" fmla="*/ 513958 h 1867037"/>
                  <a:gd name="connsiteX1676" fmla="*/ 1373536 w 2417513"/>
                  <a:gd name="connsiteY1676" fmla="*/ 515019 h 1867037"/>
                  <a:gd name="connsiteX1677" fmla="*/ 1379900 w 2417513"/>
                  <a:gd name="connsiteY1677" fmla="*/ 519564 h 1867037"/>
                  <a:gd name="connsiteX1678" fmla="*/ 1385203 w 2417513"/>
                  <a:gd name="connsiteY1678" fmla="*/ 519716 h 1867037"/>
                  <a:gd name="connsiteX1679" fmla="*/ 1394749 w 2417513"/>
                  <a:gd name="connsiteY1679" fmla="*/ 522443 h 1867037"/>
                  <a:gd name="connsiteX1680" fmla="*/ 1399749 w 2417513"/>
                  <a:gd name="connsiteY1680" fmla="*/ 522443 h 1867037"/>
                  <a:gd name="connsiteX1681" fmla="*/ 1263229 w 2417513"/>
                  <a:gd name="connsiteY1681" fmla="*/ 450168 h 1867037"/>
                  <a:gd name="connsiteX1682" fmla="*/ 1263683 w 2417513"/>
                  <a:gd name="connsiteY1682" fmla="*/ 452289 h 1867037"/>
                  <a:gd name="connsiteX1683" fmla="*/ 1264441 w 2417513"/>
                  <a:gd name="connsiteY1683" fmla="*/ 453956 h 1867037"/>
                  <a:gd name="connsiteX1684" fmla="*/ 1265350 w 2417513"/>
                  <a:gd name="connsiteY1684" fmla="*/ 455168 h 1867037"/>
                  <a:gd name="connsiteX1685" fmla="*/ 1268835 w 2417513"/>
                  <a:gd name="connsiteY1685" fmla="*/ 456380 h 1867037"/>
                  <a:gd name="connsiteX1686" fmla="*/ 1271562 w 2417513"/>
                  <a:gd name="connsiteY1686" fmla="*/ 456380 h 1867037"/>
                  <a:gd name="connsiteX1687" fmla="*/ 1277017 w 2417513"/>
                  <a:gd name="connsiteY1687" fmla="*/ 455471 h 1867037"/>
                  <a:gd name="connsiteX1688" fmla="*/ 1277775 w 2417513"/>
                  <a:gd name="connsiteY1688" fmla="*/ 454865 h 1867037"/>
                  <a:gd name="connsiteX1689" fmla="*/ 1277926 w 2417513"/>
                  <a:gd name="connsiteY1689" fmla="*/ 454259 h 1867037"/>
                  <a:gd name="connsiteX1690" fmla="*/ 1277017 w 2417513"/>
                  <a:gd name="connsiteY1690" fmla="*/ 452138 h 1867037"/>
                  <a:gd name="connsiteX1691" fmla="*/ 1274744 w 2417513"/>
                  <a:gd name="connsiteY1691" fmla="*/ 448804 h 1867037"/>
                  <a:gd name="connsiteX1692" fmla="*/ 1273987 w 2417513"/>
                  <a:gd name="connsiteY1692" fmla="*/ 446986 h 1867037"/>
                  <a:gd name="connsiteX1693" fmla="*/ 1273229 w 2417513"/>
                  <a:gd name="connsiteY1693" fmla="*/ 443956 h 1867037"/>
                  <a:gd name="connsiteX1694" fmla="*/ 1272472 w 2417513"/>
                  <a:gd name="connsiteY1694" fmla="*/ 442743 h 1867037"/>
                  <a:gd name="connsiteX1695" fmla="*/ 1271411 w 2417513"/>
                  <a:gd name="connsiteY1695" fmla="*/ 442440 h 1867037"/>
                  <a:gd name="connsiteX1696" fmla="*/ 1265805 w 2417513"/>
                  <a:gd name="connsiteY1696" fmla="*/ 444713 h 1867037"/>
                  <a:gd name="connsiteX1697" fmla="*/ 1263229 w 2417513"/>
                  <a:gd name="connsiteY1697" fmla="*/ 444865 h 1867037"/>
                  <a:gd name="connsiteX1698" fmla="*/ 1262017 w 2417513"/>
                  <a:gd name="connsiteY1698" fmla="*/ 445319 h 1867037"/>
                  <a:gd name="connsiteX1699" fmla="*/ 1261410 w 2417513"/>
                  <a:gd name="connsiteY1699" fmla="*/ 446228 h 1867037"/>
                  <a:gd name="connsiteX1700" fmla="*/ 1261562 w 2417513"/>
                  <a:gd name="connsiteY1700" fmla="*/ 447289 h 1867037"/>
                  <a:gd name="connsiteX1701" fmla="*/ 1262471 w 2417513"/>
                  <a:gd name="connsiteY1701" fmla="*/ 448501 h 1867037"/>
                  <a:gd name="connsiteX1702" fmla="*/ 1263229 w 2417513"/>
                  <a:gd name="connsiteY1702" fmla="*/ 450168 h 1867037"/>
                  <a:gd name="connsiteX1703" fmla="*/ 1210348 w 2417513"/>
                  <a:gd name="connsiteY1703" fmla="*/ 597901 h 1867037"/>
                  <a:gd name="connsiteX1704" fmla="*/ 1209590 w 2417513"/>
                  <a:gd name="connsiteY1704" fmla="*/ 596385 h 1867037"/>
                  <a:gd name="connsiteX1705" fmla="*/ 1207620 w 2417513"/>
                  <a:gd name="connsiteY1705" fmla="*/ 595173 h 1867037"/>
                  <a:gd name="connsiteX1706" fmla="*/ 1203378 w 2417513"/>
                  <a:gd name="connsiteY1706" fmla="*/ 596840 h 1867037"/>
                  <a:gd name="connsiteX1707" fmla="*/ 1201863 w 2417513"/>
                  <a:gd name="connsiteY1707" fmla="*/ 598204 h 1867037"/>
                  <a:gd name="connsiteX1708" fmla="*/ 1201408 w 2417513"/>
                  <a:gd name="connsiteY1708" fmla="*/ 599870 h 1867037"/>
                  <a:gd name="connsiteX1709" fmla="*/ 1201105 w 2417513"/>
                  <a:gd name="connsiteY1709" fmla="*/ 601689 h 1867037"/>
                  <a:gd name="connsiteX1710" fmla="*/ 1201257 w 2417513"/>
                  <a:gd name="connsiteY1710" fmla="*/ 605174 h 1867037"/>
                  <a:gd name="connsiteX1711" fmla="*/ 1205348 w 2417513"/>
                  <a:gd name="connsiteY1711" fmla="*/ 608810 h 1867037"/>
                  <a:gd name="connsiteX1712" fmla="*/ 1209742 w 2417513"/>
                  <a:gd name="connsiteY1712" fmla="*/ 608356 h 1867037"/>
                  <a:gd name="connsiteX1713" fmla="*/ 1211712 w 2417513"/>
                  <a:gd name="connsiteY1713" fmla="*/ 607749 h 1867037"/>
                  <a:gd name="connsiteX1714" fmla="*/ 1212772 w 2417513"/>
                  <a:gd name="connsiteY1714" fmla="*/ 606992 h 1867037"/>
                  <a:gd name="connsiteX1715" fmla="*/ 1213681 w 2417513"/>
                  <a:gd name="connsiteY1715" fmla="*/ 605325 h 1867037"/>
                  <a:gd name="connsiteX1716" fmla="*/ 1214591 w 2417513"/>
                  <a:gd name="connsiteY1716" fmla="*/ 602749 h 1867037"/>
                  <a:gd name="connsiteX1717" fmla="*/ 1214742 w 2417513"/>
                  <a:gd name="connsiteY1717" fmla="*/ 601083 h 1867037"/>
                  <a:gd name="connsiteX1718" fmla="*/ 1213378 w 2417513"/>
                  <a:gd name="connsiteY1718" fmla="*/ 599567 h 1867037"/>
                  <a:gd name="connsiteX1719" fmla="*/ 1210651 w 2417513"/>
                  <a:gd name="connsiteY1719" fmla="*/ 598355 h 1867037"/>
                  <a:gd name="connsiteX1720" fmla="*/ 1210348 w 2417513"/>
                  <a:gd name="connsiteY1720" fmla="*/ 597901 h 1867037"/>
                  <a:gd name="connsiteX1721" fmla="*/ 1093374 w 2417513"/>
                  <a:gd name="connsiteY1721" fmla="*/ 339861 h 1867037"/>
                  <a:gd name="connsiteX1722" fmla="*/ 1091101 w 2417513"/>
                  <a:gd name="connsiteY1722" fmla="*/ 337740 h 1867037"/>
                  <a:gd name="connsiteX1723" fmla="*/ 1089283 w 2417513"/>
                  <a:gd name="connsiteY1723" fmla="*/ 336679 h 1867037"/>
                  <a:gd name="connsiteX1724" fmla="*/ 1085798 w 2417513"/>
                  <a:gd name="connsiteY1724" fmla="*/ 335315 h 1867037"/>
                  <a:gd name="connsiteX1725" fmla="*/ 1077161 w 2417513"/>
                  <a:gd name="connsiteY1725" fmla="*/ 333042 h 1867037"/>
                  <a:gd name="connsiteX1726" fmla="*/ 1069585 w 2417513"/>
                  <a:gd name="connsiteY1726" fmla="*/ 332588 h 1867037"/>
                  <a:gd name="connsiteX1727" fmla="*/ 1060191 w 2417513"/>
                  <a:gd name="connsiteY1727" fmla="*/ 333194 h 1867037"/>
                  <a:gd name="connsiteX1728" fmla="*/ 1055191 w 2417513"/>
                  <a:gd name="connsiteY1728" fmla="*/ 333649 h 1867037"/>
                  <a:gd name="connsiteX1729" fmla="*/ 1054585 w 2417513"/>
                  <a:gd name="connsiteY1729" fmla="*/ 334103 h 1867037"/>
                  <a:gd name="connsiteX1730" fmla="*/ 1054433 w 2417513"/>
                  <a:gd name="connsiteY1730" fmla="*/ 336224 h 1867037"/>
                  <a:gd name="connsiteX1731" fmla="*/ 1054888 w 2417513"/>
                  <a:gd name="connsiteY1731" fmla="*/ 340164 h 1867037"/>
                  <a:gd name="connsiteX1732" fmla="*/ 1057160 w 2417513"/>
                  <a:gd name="connsiteY1732" fmla="*/ 342588 h 1867037"/>
                  <a:gd name="connsiteX1733" fmla="*/ 1065343 w 2417513"/>
                  <a:gd name="connsiteY1733" fmla="*/ 344710 h 1867037"/>
                  <a:gd name="connsiteX1734" fmla="*/ 1072161 w 2417513"/>
                  <a:gd name="connsiteY1734" fmla="*/ 345013 h 1867037"/>
                  <a:gd name="connsiteX1735" fmla="*/ 1075949 w 2417513"/>
                  <a:gd name="connsiteY1735" fmla="*/ 344407 h 1867037"/>
                  <a:gd name="connsiteX1736" fmla="*/ 1078980 w 2417513"/>
                  <a:gd name="connsiteY1736" fmla="*/ 343194 h 1867037"/>
                  <a:gd name="connsiteX1737" fmla="*/ 1084131 w 2417513"/>
                  <a:gd name="connsiteY1737" fmla="*/ 342588 h 1867037"/>
                  <a:gd name="connsiteX1738" fmla="*/ 1094889 w 2417513"/>
                  <a:gd name="connsiteY1738" fmla="*/ 342285 h 1867037"/>
                  <a:gd name="connsiteX1739" fmla="*/ 1094435 w 2417513"/>
                  <a:gd name="connsiteY1739" fmla="*/ 340619 h 1867037"/>
                  <a:gd name="connsiteX1740" fmla="*/ 1093374 w 2417513"/>
                  <a:gd name="connsiteY1740" fmla="*/ 339861 h 1867037"/>
                  <a:gd name="connsiteX1741" fmla="*/ 862911 w 2417513"/>
                  <a:gd name="connsiteY1741" fmla="*/ 848667 h 1867037"/>
                  <a:gd name="connsiteX1742" fmla="*/ 862153 w 2417513"/>
                  <a:gd name="connsiteY1742" fmla="*/ 851092 h 1867037"/>
                  <a:gd name="connsiteX1743" fmla="*/ 865941 w 2417513"/>
                  <a:gd name="connsiteY1743" fmla="*/ 853819 h 1867037"/>
                  <a:gd name="connsiteX1744" fmla="*/ 867002 w 2417513"/>
                  <a:gd name="connsiteY1744" fmla="*/ 853668 h 1867037"/>
                  <a:gd name="connsiteX1745" fmla="*/ 867002 w 2417513"/>
                  <a:gd name="connsiteY1745" fmla="*/ 852607 h 1867037"/>
                  <a:gd name="connsiteX1746" fmla="*/ 866547 w 2417513"/>
                  <a:gd name="connsiteY1746" fmla="*/ 851092 h 1867037"/>
                  <a:gd name="connsiteX1747" fmla="*/ 862911 w 2417513"/>
                  <a:gd name="connsiteY1747" fmla="*/ 848667 h 1867037"/>
                  <a:gd name="connsiteX1748" fmla="*/ 1013674 w 2417513"/>
                  <a:gd name="connsiteY1748" fmla="*/ 405924 h 1867037"/>
                  <a:gd name="connsiteX1749" fmla="*/ 1012765 w 2417513"/>
                  <a:gd name="connsiteY1749" fmla="*/ 404863 h 1867037"/>
                  <a:gd name="connsiteX1750" fmla="*/ 1010492 w 2417513"/>
                  <a:gd name="connsiteY1750" fmla="*/ 404409 h 1867037"/>
                  <a:gd name="connsiteX1751" fmla="*/ 1006856 w 2417513"/>
                  <a:gd name="connsiteY1751" fmla="*/ 404409 h 1867037"/>
                  <a:gd name="connsiteX1752" fmla="*/ 998825 w 2417513"/>
                  <a:gd name="connsiteY1752" fmla="*/ 406378 h 1867037"/>
                  <a:gd name="connsiteX1753" fmla="*/ 996552 w 2417513"/>
                  <a:gd name="connsiteY1753" fmla="*/ 407742 h 1867037"/>
                  <a:gd name="connsiteX1754" fmla="*/ 996098 w 2417513"/>
                  <a:gd name="connsiteY1754" fmla="*/ 409106 h 1867037"/>
                  <a:gd name="connsiteX1755" fmla="*/ 996855 w 2417513"/>
                  <a:gd name="connsiteY1755" fmla="*/ 411530 h 1867037"/>
                  <a:gd name="connsiteX1756" fmla="*/ 998825 w 2417513"/>
                  <a:gd name="connsiteY1756" fmla="*/ 415015 h 1867037"/>
                  <a:gd name="connsiteX1757" fmla="*/ 1001552 w 2417513"/>
                  <a:gd name="connsiteY1757" fmla="*/ 421531 h 1867037"/>
                  <a:gd name="connsiteX1758" fmla="*/ 1002916 w 2417513"/>
                  <a:gd name="connsiteY1758" fmla="*/ 423197 h 1867037"/>
                  <a:gd name="connsiteX1759" fmla="*/ 1005340 w 2417513"/>
                  <a:gd name="connsiteY1759" fmla="*/ 423652 h 1867037"/>
                  <a:gd name="connsiteX1760" fmla="*/ 1027159 w 2417513"/>
                  <a:gd name="connsiteY1760" fmla="*/ 423500 h 1867037"/>
                  <a:gd name="connsiteX1761" fmla="*/ 1031553 w 2417513"/>
                  <a:gd name="connsiteY1761" fmla="*/ 422440 h 1867037"/>
                  <a:gd name="connsiteX1762" fmla="*/ 1034584 w 2417513"/>
                  <a:gd name="connsiteY1762" fmla="*/ 421076 h 1867037"/>
                  <a:gd name="connsiteX1763" fmla="*/ 1037766 w 2417513"/>
                  <a:gd name="connsiteY1763" fmla="*/ 419106 h 1867037"/>
                  <a:gd name="connsiteX1764" fmla="*/ 1039129 w 2417513"/>
                  <a:gd name="connsiteY1764" fmla="*/ 417591 h 1867037"/>
                  <a:gd name="connsiteX1765" fmla="*/ 1038675 w 2417513"/>
                  <a:gd name="connsiteY1765" fmla="*/ 416530 h 1867037"/>
                  <a:gd name="connsiteX1766" fmla="*/ 1034887 w 2417513"/>
                  <a:gd name="connsiteY1766" fmla="*/ 415015 h 1867037"/>
                  <a:gd name="connsiteX1767" fmla="*/ 1024129 w 2417513"/>
                  <a:gd name="connsiteY1767" fmla="*/ 411530 h 1867037"/>
                  <a:gd name="connsiteX1768" fmla="*/ 1023371 w 2417513"/>
                  <a:gd name="connsiteY1768" fmla="*/ 410166 h 1867037"/>
                  <a:gd name="connsiteX1769" fmla="*/ 1020341 w 2417513"/>
                  <a:gd name="connsiteY1769" fmla="*/ 408045 h 1867037"/>
                  <a:gd name="connsiteX1770" fmla="*/ 1017614 w 2417513"/>
                  <a:gd name="connsiteY1770" fmla="*/ 408197 h 1867037"/>
                  <a:gd name="connsiteX1771" fmla="*/ 1013371 w 2417513"/>
                  <a:gd name="connsiteY1771" fmla="*/ 409409 h 1867037"/>
                  <a:gd name="connsiteX1772" fmla="*/ 1012007 w 2417513"/>
                  <a:gd name="connsiteY1772" fmla="*/ 409106 h 1867037"/>
                  <a:gd name="connsiteX1773" fmla="*/ 1013523 w 2417513"/>
                  <a:gd name="connsiteY1773" fmla="*/ 407288 h 1867037"/>
                  <a:gd name="connsiteX1774" fmla="*/ 1013674 w 2417513"/>
                  <a:gd name="connsiteY1774" fmla="*/ 405924 h 1867037"/>
                  <a:gd name="connsiteX1775" fmla="*/ 874275 w 2417513"/>
                  <a:gd name="connsiteY1775" fmla="*/ 854577 h 1867037"/>
                  <a:gd name="connsiteX1776" fmla="*/ 871244 w 2417513"/>
                  <a:gd name="connsiteY1776" fmla="*/ 854122 h 1867037"/>
                  <a:gd name="connsiteX1777" fmla="*/ 870790 w 2417513"/>
                  <a:gd name="connsiteY1777" fmla="*/ 854425 h 1867037"/>
                  <a:gd name="connsiteX1778" fmla="*/ 871396 w 2417513"/>
                  <a:gd name="connsiteY1778" fmla="*/ 855486 h 1867037"/>
                  <a:gd name="connsiteX1779" fmla="*/ 873214 w 2417513"/>
                  <a:gd name="connsiteY1779" fmla="*/ 856849 h 1867037"/>
                  <a:gd name="connsiteX1780" fmla="*/ 878063 w 2417513"/>
                  <a:gd name="connsiteY1780" fmla="*/ 858971 h 1867037"/>
                  <a:gd name="connsiteX1781" fmla="*/ 878820 w 2417513"/>
                  <a:gd name="connsiteY1781" fmla="*/ 858668 h 1867037"/>
                  <a:gd name="connsiteX1782" fmla="*/ 878972 w 2417513"/>
                  <a:gd name="connsiteY1782" fmla="*/ 858062 h 1867037"/>
                  <a:gd name="connsiteX1783" fmla="*/ 878366 w 2417513"/>
                  <a:gd name="connsiteY1783" fmla="*/ 856092 h 1867037"/>
                  <a:gd name="connsiteX1784" fmla="*/ 876699 w 2417513"/>
                  <a:gd name="connsiteY1784" fmla="*/ 854122 h 1867037"/>
                  <a:gd name="connsiteX1785" fmla="*/ 874275 w 2417513"/>
                  <a:gd name="connsiteY1785" fmla="*/ 854577 h 1867037"/>
                  <a:gd name="connsiteX1786" fmla="*/ 993673 w 2417513"/>
                  <a:gd name="connsiteY1786" fmla="*/ 480169 h 1867037"/>
                  <a:gd name="connsiteX1787" fmla="*/ 990643 w 2417513"/>
                  <a:gd name="connsiteY1787" fmla="*/ 486230 h 1867037"/>
                  <a:gd name="connsiteX1788" fmla="*/ 989431 w 2417513"/>
                  <a:gd name="connsiteY1788" fmla="*/ 488351 h 1867037"/>
                  <a:gd name="connsiteX1789" fmla="*/ 988522 w 2417513"/>
                  <a:gd name="connsiteY1789" fmla="*/ 489109 h 1867037"/>
                  <a:gd name="connsiteX1790" fmla="*/ 988370 w 2417513"/>
                  <a:gd name="connsiteY1790" fmla="*/ 489866 h 1867037"/>
                  <a:gd name="connsiteX1791" fmla="*/ 990037 w 2417513"/>
                  <a:gd name="connsiteY1791" fmla="*/ 491382 h 1867037"/>
                  <a:gd name="connsiteX1792" fmla="*/ 995340 w 2417513"/>
                  <a:gd name="connsiteY1792" fmla="*/ 494564 h 1867037"/>
                  <a:gd name="connsiteX1793" fmla="*/ 1004280 w 2417513"/>
                  <a:gd name="connsiteY1793" fmla="*/ 496230 h 1867037"/>
                  <a:gd name="connsiteX1794" fmla="*/ 1009431 w 2417513"/>
                  <a:gd name="connsiteY1794" fmla="*/ 495927 h 1867037"/>
                  <a:gd name="connsiteX1795" fmla="*/ 1017765 w 2417513"/>
                  <a:gd name="connsiteY1795" fmla="*/ 493503 h 1867037"/>
                  <a:gd name="connsiteX1796" fmla="*/ 1020644 w 2417513"/>
                  <a:gd name="connsiteY1796" fmla="*/ 491533 h 1867037"/>
                  <a:gd name="connsiteX1797" fmla="*/ 1021856 w 2417513"/>
                  <a:gd name="connsiteY1797" fmla="*/ 490169 h 1867037"/>
                  <a:gd name="connsiteX1798" fmla="*/ 1022462 w 2417513"/>
                  <a:gd name="connsiteY1798" fmla="*/ 488806 h 1867037"/>
                  <a:gd name="connsiteX1799" fmla="*/ 1022462 w 2417513"/>
                  <a:gd name="connsiteY1799" fmla="*/ 487442 h 1867037"/>
                  <a:gd name="connsiteX1800" fmla="*/ 1021856 w 2417513"/>
                  <a:gd name="connsiteY1800" fmla="*/ 486078 h 1867037"/>
                  <a:gd name="connsiteX1801" fmla="*/ 1019735 w 2417513"/>
                  <a:gd name="connsiteY1801" fmla="*/ 483806 h 1867037"/>
                  <a:gd name="connsiteX1802" fmla="*/ 1019432 w 2417513"/>
                  <a:gd name="connsiteY1802" fmla="*/ 481836 h 1867037"/>
                  <a:gd name="connsiteX1803" fmla="*/ 1018220 w 2417513"/>
                  <a:gd name="connsiteY1803" fmla="*/ 478654 h 1867037"/>
                  <a:gd name="connsiteX1804" fmla="*/ 1017007 w 2417513"/>
                  <a:gd name="connsiteY1804" fmla="*/ 477290 h 1867037"/>
                  <a:gd name="connsiteX1805" fmla="*/ 1015189 w 2417513"/>
                  <a:gd name="connsiteY1805" fmla="*/ 476078 h 1867037"/>
                  <a:gd name="connsiteX1806" fmla="*/ 1010947 w 2417513"/>
                  <a:gd name="connsiteY1806" fmla="*/ 474260 h 1867037"/>
                  <a:gd name="connsiteX1807" fmla="*/ 1003522 w 2417513"/>
                  <a:gd name="connsiteY1807" fmla="*/ 473957 h 1867037"/>
                  <a:gd name="connsiteX1808" fmla="*/ 1000037 w 2417513"/>
                  <a:gd name="connsiteY1808" fmla="*/ 474866 h 1867037"/>
                  <a:gd name="connsiteX1809" fmla="*/ 995188 w 2417513"/>
                  <a:gd name="connsiteY1809" fmla="*/ 478351 h 1867037"/>
                  <a:gd name="connsiteX1810" fmla="*/ 993673 w 2417513"/>
                  <a:gd name="connsiteY1810" fmla="*/ 480169 h 1867037"/>
                  <a:gd name="connsiteX1811" fmla="*/ 1042766 w 2417513"/>
                  <a:gd name="connsiteY1811" fmla="*/ 310617 h 1867037"/>
                  <a:gd name="connsiteX1812" fmla="*/ 1040493 w 2417513"/>
                  <a:gd name="connsiteY1812" fmla="*/ 310920 h 1867037"/>
                  <a:gd name="connsiteX1813" fmla="*/ 1036705 w 2417513"/>
                  <a:gd name="connsiteY1813" fmla="*/ 312133 h 1867037"/>
                  <a:gd name="connsiteX1814" fmla="*/ 1032614 w 2417513"/>
                  <a:gd name="connsiteY1814" fmla="*/ 315921 h 1867037"/>
                  <a:gd name="connsiteX1815" fmla="*/ 1032311 w 2417513"/>
                  <a:gd name="connsiteY1815" fmla="*/ 316981 h 1867037"/>
                  <a:gd name="connsiteX1816" fmla="*/ 1032311 w 2417513"/>
                  <a:gd name="connsiteY1816" fmla="*/ 317890 h 1867037"/>
                  <a:gd name="connsiteX1817" fmla="*/ 1032766 w 2417513"/>
                  <a:gd name="connsiteY1817" fmla="*/ 318648 h 1867037"/>
                  <a:gd name="connsiteX1818" fmla="*/ 1036402 w 2417513"/>
                  <a:gd name="connsiteY1818" fmla="*/ 319406 h 1867037"/>
                  <a:gd name="connsiteX1819" fmla="*/ 1039584 w 2417513"/>
                  <a:gd name="connsiteY1819" fmla="*/ 318193 h 1867037"/>
                  <a:gd name="connsiteX1820" fmla="*/ 1045493 w 2417513"/>
                  <a:gd name="connsiteY1820" fmla="*/ 313951 h 1867037"/>
                  <a:gd name="connsiteX1821" fmla="*/ 1044433 w 2417513"/>
                  <a:gd name="connsiteY1821" fmla="*/ 311981 h 1867037"/>
                  <a:gd name="connsiteX1822" fmla="*/ 1042766 w 2417513"/>
                  <a:gd name="connsiteY1822" fmla="*/ 310617 h 1867037"/>
                  <a:gd name="connsiteX1823" fmla="*/ 1052615 w 2417513"/>
                  <a:gd name="connsiteY1823" fmla="*/ 431076 h 1867037"/>
                  <a:gd name="connsiteX1824" fmla="*/ 1051251 w 2417513"/>
                  <a:gd name="connsiteY1824" fmla="*/ 426228 h 1867037"/>
                  <a:gd name="connsiteX1825" fmla="*/ 1047312 w 2417513"/>
                  <a:gd name="connsiteY1825" fmla="*/ 424712 h 1867037"/>
                  <a:gd name="connsiteX1826" fmla="*/ 1037160 w 2417513"/>
                  <a:gd name="connsiteY1826" fmla="*/ 424409 h 1867037"/>
                  <a:gd name="connsiteX1827" fmla="*/ 1024280 w 2417513"/>
                  <a:gd name="connsiteY1827" fmla="*/ 427440 h 1867037"/>
                  <a:gd name="connsiteX1828" fmla="*/ 1012159 w 2417513"/>
                  <a:gd name="connsiteY1828" fmla="*/ 429410 h 1867037"/>
                  <a:gd name="connsiteX1829" fmla="*/ 1002916 w 2417513"/>
                  <a:gd name="connsiteY1829" fmla="*/ 431682 h 1867037"/>
                  <a:gd name="connsiteX1830" fmla="*/ 1001401 w 2417513"/>
                  <a:gd name="connsiteY1830" fmla="*/ 435925 h 1867037"/>
                  <a:gd name="connsiteX1831" fmla="*/ 1005946 w 2417513"/>
                  <a:gd name="connsiteY1831" fmla="*/ 439410 h 1867037"/>
                  <a:gd name="connsiteX1832" fmla="*/ 1013068 w 2417513"/>
                  <a:gd name="connsiteY1832" fmla="*/ 439410 h 1867037"/>
                  <a:gd name="connsiteX1833" fmla="*/ 1018068 w 2417513"/>
                  <a:gd name="connsiteY1833" fmla="*/ 440016 h 1867037"/>
                  <a:gd name="connsiteX1834" fmla="*/ 1013068 w 2417513"/>
                  <a:gd name="connsiteY1834" fmla="*/ 445925 h 1867037"/>
                  <a:gd name="connsiteX1835" fmla="*/ 1018977 w 2417513"/>
                  <a:gd name="connsiteY1835" fmla="*/ 448198 h 1867037"/>
                  <a:gd name="connsiteX1836" fmla="*/ 1034584 w 2417513"/>
                  <a:gd name="connsiteY1836" fmla="*/ 444410 h 1867037"/>
                  <a:gd name="connsiteX1837" fmla="*/ 1038978 w 2417513"/>
                  <a:gd name="connsiteY1837" fmla="*/ 446683 h 1867037"/>
                  <a:gd name="connsiteX1838" fmla="*/ 1033372 w 2417513"/>
                  <a:gd name="connsiteY1838" fmla="*/ 452138 h 1867037"/>
                  <a:gd name="connsiteX1839" fmla="*/ 1031402 w 2417513"/>
                  <a:gd name="connsiteY1839" fmla="*/ 455471 h 1867037"/>
                  <a:gd name="connsiteX1840" fmla="*/ 1041554 w 2417513"/>
                  <a:gd name="connsiteY1840" fmla="*/ 455471 h 1867037"/>
                  <a:gd name="connsiteX1841" fmla="*/ 1051554 w 2417513"/>
                  <a:gd name="connsiteY1841" fmla="*/ 454562 h 1867037"/>
                  <a:gd name="connsiteX1842" fmla="*/ 1053372 w 2417513"/>
                  <a:gd name="connsiteY1842" fmla="*/ 453047 h 1867037"/>
                  <a:gd name="connsiteX1843" fmla="*/ 1055797 w 2417513"/>
                  <a:gd name="connsiteY1843" fmla="*/ 449713 h 1867037"/>
                  <a:gd name="connsiteX1844" fmla="*/ 1058676 w 2417513"/>
                  <a:gd name="connsiteY1844" fmla="*/ 448198 h 1867037"/>
                  <a:gd name="connsiteX1845" fmla="*/ 1066100 w 2417513"/>
                  <a:gd name="connsiteY1845" fmla="*/ 446380 h 1867037"/>
                  <a:gd name="connsiteX1846" fmla="*/ 1067161 w 2417513"/>
                  <a:gd name="connsiteY1846" fmla="*/ 445774 h 1867037"/>
                  <a:gd name="connsiteX1847" fmla="*/ 1066858 w 2417513"/>
                  <a:gd name="connsiteY1847" fmla="*/ 445016 h 1867037"/>
                  <a:gd name="connsiteX1848" fmla="*/ 1061100 w 2417513"/>
                  <a:gd name="connsiteY1848" fmla="*/ 441531 h 1867037"/>
                  <a:gd name="connsiteX1849" fmla="*/ 1055494 w 2417513"/>
                  <a:gd name="connsiteY1849" fmla="*/ 437289 h 1867037"/>
                  <a:gd name="connsiteX1850" fmla="*/ 1053675 w 2417513"/>
                  <a:gd name="connsiteY1850" fmla="*/ 436834 h 1867037"/>
                  <a:gd name="connsiteX1851" fmla="*/ 1052615 w 2417513"/>
                  <a:gd name="connsiteY1851" fmla="*/ 431076 h 1867037"/>
                  <a:gd name="connsiteX1852" fmla="*/ 1077767 w 2417513"/>
                  <a:gd name="connsiteY1852" fmla="*/ 407894 h 1867037"/>
                  <a:gd name="connsiteX1853" fmla="*/ 1077919 w 2417513"/>
                  <a:gd name="connsiteY1853" fmla="*/ 408954 h 1867037"/>
                  <a:gd name="connsiteX1854" fmla="*/ 1081252 w 2417513"/>
                  <a:gd name="connsiteY1854" fmla="*/ 409712 h 1867037"/>
                  <a:gd name="connsiteX1855" fmla="*/ 1088374 w 2417513"/>
                  <a:gd name="connsiteY1855" fmla="*/ 409409 h 1867037"/>
                  <a:gd name="connsiteX1856" fmla="*/ 1101556 w 2417513"/>
                  <a:gd name="connsiteY1856" fmla="*/ 405469 h 1867037"/>
                  <a:gd name="connsiteX1857" fmla="*/ 1114587 w 2417513"/>
                  <a:gd name="connsiteY1857" fmla="*/ 400621 h 1867037"/>
                  <a:gd name="connsiteX1858" fmla="*/ 1109132 w 2417513"/>
                  <a:gd name="connsiteY1858" fmla="*/ 399712 h 1867037"/>
                  <a:gd name="connsiteX1859" fmla="*/ 1104890 w 2417513"/>
                  <a:gd name="connsiteY1859" fmla="*/ 399560 h 1867037"/>
                  <a:gd name="connsiteX1860" fmla="*/ 1097616 w 2417513"/>
                  <a:gd name="connsiteY1860" fmla="*/ 400166 h 1867037"/>
                  <a:gd name="connsiteX1861" fmla="*/ 1095495 w 2417513"/>
                  <a:gd name="connsiteY1861" fmla="*/ 400621 h 1867037"/>
                  <a:gd name="connsiteX1862" fmla="*/ 1089889 w 2417513"/>
                  <a:gd name="connsiteY1862" fmla="*/ 404560 h 1867037"/>
                  <a:gd name="connsiteX1863" fmla="*/ 1080495 w 2417513"/>
                  <a:gd name="connsiteY1863" fmla="*/ 406682 h 1867037"/>
                  <a:gd name="connsiteX1864" fmla="*/ 1077767 w 2417513"/>
                  <a:gd name="connsiteY1864" fmla="*/ 407894 h 1867037"/>
                  <a:gd name="connsiteX1865" fmla="*/ 1684759 w 2417513"/>
                  <a:gd name="connsiteY1865" fmla="*/ 767452 h 1867037"/>
                  <a:gd name="connsiteX1866" fmla="*/ 1680365 w 2417513"/>
                  <a:gd name="connsiteY1866" fmla="*/ 766392 h 1867037"/>
                  <a:gd name="connsiteX1867" fmla="*/ 1677032 w 2417513"/>
                  <a:gd name="connsiteY1867" fmla="*/ 767149 h 1867037"/>
                  <a:gd name="connsiteX1868" fmla="*/ 1672789 w 2417513"/>
                  <a:gd name="connsiteY1868" fmla="*/ 769119 h 1867037"/>
                  <a:gd name="connsiteX1869" fmla="*/ 1670062 w 2417513"/>
                  <a:gd name="connsiteY1869" fmla="*/ 769877 h 1867037"/>
                  <a:gd name="connsiteX1870" fmla="*/ 1667638 w 2417513"/>
                  <a:gd name="connsiteY1870" fmla="*/ 769574 h 1867037"/>
                  <a:gd name="connsiteX1871" fmla="*/ 1665971 w 2417513"/>
                  <a:gd name="connsiteY1871" fmla="*/ 770028 h 1867037"/>
                  <a:gd name="connsiteX1872" fmla="*/ 1664759 w 2417513"/>
                  <a:gd name="connsiteY1872" fmla="*/ 767755 h 1867037"/>
                  <a:gd name="connsiteX1873" fmla="*/ 1663547 w 2417513"/>
                  <a:gd name="connsiteY1873" fmla="*/ 766846 h 1867037"/>
                  <a:gd name="connsiteX1874" fmla="*/ 1661274 w 2417513"/>
                  <a:gd name="connsiteY1874" fmla="*/ 767301 h 1867037"/>
                  <a:gd name="connsiteX1875" fmla="*/ 1657789 w 2417513"/>
                  <a:gd name="connsiteY1875" fmla="*/ 767149 h 1867037"/>
                  <a:gd name="connsiteX1876" fmla="*/ 1657334 w 2417513"/>
                  <a:gd name="connsiteY1876" fmla="*/ 767907 h 1867037"/>
                  <a:gd name="connsiteX1877" fmla="*/ 1657031 w 2417513"/>
                  <a:gd name="connsiteY1877" fmla="*/ 769725 h 1867037"/>
                  <a:gd name="connsiteX1878" fmla="*/ 1656577 w 2417513"/>
                  <a:gd name="connsiteY1878" fmla="*/ 770028 h 1867037"/>
                  <a:gd name="connsiteX1879" fmla="*/ 1651425 w 2417513"/>
                  <a:gd name="connsiteY1879" fmla="*/ 769422 h 1867037"/>
                  <a:gd name="connsiteX1880" fmla="*/ 1649455 w 2417513"/>
                  <a:gd name="connsiteY1880" fmla="*/ 769877 h 1867037"/>
                  <a:gd name="connsiteX1881" fmla="*/ 1648091 w 2417513"/>
                  <a:gd name="connsiteY1881" fmla="*/ 771392 h 1867037"/>
                  <a:gd name="connsiteX1882" fmla="*/ 1647637 w 2417513"/>
                  <a:gd name="connsiteY1882" fmla="*/ 772452 h 1867037"/>
                  <a:gd name="connsiteX1883" fmla="*/ 1648091 w 2417513"/>
                  <a:gd name="connsiteY1883" fmla="*/ 773059 h 1867037"/>
                  <a:gd name="connsiteX1884" fmla="*/ 1657183 w 2417513"/>
                  <a:gd name="connsiteY1884" fmla="*/ 774422 h 1867037"/>
                  <a:gd name="connsiteX1885" fmla="*/ 1658546 w 2417513"/>
                  <a:gd name="connsiteY1885" fmla="*/ 775180 h 1867037"/>
                  <a:gd name="connsiteX1886" fmla="*/ 1660365 w 2417513"/>
                  <a:gd name="connsiteY1886" fmla="*/ 777453 h 1867037"/>
                  <a:gd name="connsiteX1887" fmla="*/ 1661122 w 2417513"/>
                  <a:gd name="connsiteY1887" fmla="*/ 777604 h 1867037"/>
                  <a:gd name="connsiteX1888" fmla="*/ 1662031 w 2417513"/>
                  <a:gd name="connsiteY1888" fmla="*/ 776695 h 1867037"/>
                  <a:gd name="connsiteX1889" fmla="*/ 1662638 w 2417513"/>
                  <a:gd name="connsiteY1889" fmla="*/ 776998 h 1867037"/>
                  <a:gd name="connsiteX1890" fmla="*/ 1663092 w 2417513"/>
                  <a:gd name="connsiteY1890" fmla="*/ 778513 h 1867037"/>
                  <a:gd name="connsiteX1891" fmla="*/ 1664910 w 2417513"/>
                  <a:gd name="connsiteY1891" fmla="*/ 779725 h 1867037"/>
                  <a:gd name="connsiteX1892" fmla="*/ 1668092 w 2417513"/>
                  <a:gd name="connsiteY1892" fmla="*/ 780786 h 1867037"/>
                  <a:gd name="connsiteX1893" fmla="*/ 1669911 w 2417513"/>
                  <a:gd name="connsiteY1893" fmla="*/ 780938 h 1867037"/>
                  <a:gd name="connsiteX1894" fmla="*/ 1670516 w 2417513"/>
                  <a:gd name="connsiteY1894" fmla="*/ 780332 h 1867037"/>
                  <a:gd name="connsiteX1895" fmla="*/ 1670062 w 2417513"/>
                  <a:gd name="connsiteY1895" fmla="*/ 778665 h 1867037"/>
                  <a:gd name="connsiteX1896" fmla="*/ 1667941 w 2417513"/>
                  <a:gd name="connsiteY1896" fmla="*/ 774877 h 1867037"/>
                  <a:gd name="connsiteX1897" fmla="*/ 1672486 w 2417513"/>
                  <a:gd name="connsiteY1897" fmla="*/ 776089 h 1867037"/>
                  <a:gd name="connsiteX1898" fmla="*/ 1681426 w 2417513"/>
                  <a:gd name="connsiteY1898" fmla="*/ 775028 h 1867037"/>
                  <a:gd name="connsiteX1899" fmla="*/ 1685517 w 2417513"/>
                  <a:gd name="connsiteY1899" fmla="*/ 772452 h 1867037"/>
                  <a:gd name="connsiteX1900" fmla="*/ 1686578 w 2417513"/>
                  <a:gd name="connsiteY1900" fmla="*/ 771089 h 1867037"/>
                  <a:gd name="connsiteX1901" fmla="*/ 1685820 w 2417513"/>
                  <a:gd name="connsiteY1901" fmla="*/ 770180 h 1867037"/>
                  <a:gd name="connsiteX1902" fmla="*/ 1684759 w 2417513"/>
                  <a:gd name="connsiteY1902" fmla="*/ 767452 h 1867037"/>
                  <a:gd name="connsiteX1903" fmla="*/ 2080077 w 2417513"/>
                  <a:gd name="connsiteY1903" fmla="*/ 1125647 h 1867037"/>
                  <a:gd name="connsiteX1904" fmla="*/ 2079320 w 2417513"/>
                  <a:gd name="connsiteY1904" fmla="*/ 1126102 h 1867037"/>
                  <a:gd name="connsiteX1905" fmla="*/ 2078713 w 2417513"/>
                  <a:gd name="connsiteY1905" fmla="*/ 1125799 h 1867037"/>
                  <a:gd name="connsiteX1906" fmla="*/ 2077653 w 2417513"/>
                  <a:gd name="connsiteY1906" fmla="*/ 1123829 h 1867037"/>
                  <a:gd name="connsiteX1907" fmla="*/ 2076138 w 2417513"/>
                  <a:gd name="connsiteY1907" fmla="*/ 1123071 h 1867037"/>
                  <a:gd name="connsiteX1908" fmla="*/ 2074774 w 2417513"/>
                  <a:gd name="connsiteY1908" fmla="*/ 1123071 h 1867037"/>
                  <a:gd name="connsiteX1909" fmla="*/ 2073713 w 2417513"/>
                  <a:gd name="connsiteY1909" fmla="*/ 1123677 h 1867037"/>
                  <a:gd name="connsiteX1910" fmla="*/ 2073107 w 2417513"/>
                  <a:gd name="connsiteY1910" fmla="*/ 1125041 h 1867037"/>
                  <a:gd name="connsiteX1911" fmla="*/ 2073259 w 2417513"/>
                  <a:gd name="connsiteY1911" fmla="*/ 1126405 h 1867037"/>
                  <a:gd name="connsiteX1912" fmla="*/ 2075077 w 2417513"/>
                  <a:gd name="connsiteY1912" fmla="*/ 1129132 h 1867037"/>
                  <a:gd name="connsiteX1913" fmla="*/ 2081592 w 2417513"/>
                  <a:gd name="connsiteY1913" fmla="*/ 1131859 h 1867037"/>
                  <a:gd name="connsiteX1914" fmla="*/ 2082501 w 2417513"/>
                  <a:gd name="connsiteY1914" fmla="*/ 1131859 h 1867037"/>
                  <a:gd name="connsiteX1915" fmla="*/ 2083865 w 2417513"/>
                  <a:gd name="connsiteY1915" fmla="*/ 1130647 h 1867037"/>
                  <a:gd name="connsiteX1916" fmla="*/ 2083865 w 2417513"/>
                  <a:gd name="connsiteY1916" fmla="*/ 1129890 h 1867037"/>
                  <a:gd name="connsiteX1917" fmla="*/ 2083259 w 2417513"/>
                  <a:gd name="connsiteY1917" fmla="*/ 1129132 h 1867037"/>
                  <a:gd name="connsiteX1918" fmla="*/ 2081592 w 2417513"/>
                  <a:gd name="connsiteY1918" fmla="*/ 1128071 h 1867037"/>
                  <a:gd name="connsiteX1919" fmla="*/ 2080986 w 2417513"/>
                  <a:gd name="connsiteY1919" fmla="*/ 1127314 h 1867037"/>
                  <a:gd name="connsiteX1920" fmla="*/ 2080532 w 2417513"/>
                  <a:gd name="connsiteY1920" fmla="*/ 1126102 h 1867037"/>
                  <a:gd name="connsiteX1921" fmla="*/ 2080077 w 2417513"/>
                  <a:gd name="connsiteY1921" fmla="*/ 1125647 h 1867037"/>
                  <a:gd name="connsiteX1922" fmla="*/ 2084774 w 2417513"/>
                  <a:gd name="connsiteY1922" fmla="*/ 1187013 h 1867037"/>
                  <a:gd name="connsiteX1923" fmla="*/ 2086744 w 2417513"/>
                  <a:gd name="connsiteY1923" fmla="*/ 1188377 h 1867037"/>
                  <a:gd name="connsiteX1924" fmla="*/ 2091593 w 2417513"/>
                  <a:gd name="connsiteY1924" fmla="*/ 1190498 h 1867037"/>
                  <a:gd name="connsiteX1925" fmla="*/ 2094775 w 2417513"/>
                  <a:gd name="connsiteY1925" fmla="*/ 1191559 h 1867037"/>
                  <a:gd name="connsiteX1926" fmla="*/ 2095684 w 2417513"/>
                  <a:gd name="connsiteY1926" fmla="*/ 1188680 h 1867037"/>
                  <a:gd name="connsiteX1927" fmla="*/ 2093108 w 2417513"/>
                  <a:gd name="connsiteY1927" fmla="*/ 1186104 h 1867037"/>
                  <a:gd name="connsiteX1928" fmla="*/ 2092199 w 2417513"/>
                  <a:gd name="connsiteY1928" fmla="*/ 1185649 h 1867037"/>
                  <a:gd name="connsiteX1929" fmla="*/ 2089017 w 2417513"/>
                  <a:gd name="connsiteY1929" fmla="*/ 1182619 h 1867037"/>
                  <a:gd name="connsiteX1930" fmla="*/ 2085229 w 2417513"/>
                  <a:gd name="connsiteY1930" fmla="*/ 1182770 h 1867037"/>
                  <a:gd name="connsiteX1931" fmla="*/ 2083714 w 2417513"/>
                  <a:gd name="connsiteY1931" fmla="*/ 1183074 h 1867037"/>
                  <a:gd name="connsiteX1932" fmla="*/ 2083714 w 2417513"/>
                  <a:gd name="connsiteY1932" fmla="*/ 1185195 h 1867037"/>
                  <a:gd name="connsiteX1933" fmla="*/ 2084774 w 2417513"/>
                  <a:gd name="connsiteY1933" fmla="*/ 1187013 h 1867037"/>
                  <a:gd name="connsiteX1934" fmla="*/ 1618848 w 2417513"/>
                  <a:gd name="connsiteY1934" fmla="*/ 1477478 h 1867037"/>
                  <a:gd name="connsiteX1935" fmla="*/ 1632182 w 2417513"/>
                  <a:gd name="connsiteY1935" fmla="*/ 1481418 h 1867037"/>
                  <a:gd name="connsiteX1936" fmla="*/ 1639152 w 2417513"/>
                  <a:gd name="connsiteY1936" fmla="*/ 1484145 h 1867037"/>
                  <a:gd name="connsiteX1937" fmla="*/ 1641576 w 2417513"/>
                  <a:gd name="connsiteY1937" fmla="*/ 1484903 h 1867037"/>
                  <a:gd name="connsiteX1938" fmla="*/ 1647182 w 2417513"/>
                  <a:gd name="connsiteY1938" fmla="*/ 1485963 h 1867037"/>
                  <a:gd name="connsiteX1939" fmla="*/ 1649152 w 2417513"/>
                  <a:gd name="connsiteY1939" fmla="*/ 1485509 h 1867037"/>
                  <a:gd name="connsiteX1940" fmla="*/ 1649758 w 2417513"/>
                  <a:gd name="connsiteY1940" fmla="*/ 1483994 h 1867037"/>
                  <a:gd name="connsiteX1941" fmla="*/ 1649758 w 2417513"/>
                  <a:gd name="connsiteY1941" fmla="*/ 1482327 h 1867037"/>
                  <a:gd name="connsiteX1942" fmla="*/ 1648243 w 2417513"/>
                  <a:gd name="connsiteY1942" fmla="*/ 1478993 h 1867037"/>
                  <a:gd name="connsiteX1943" fmla="*/ 1644607 w 2417513"/>
                  <a:gd name="connsiteY1943" fmla="*/ 1474751 h 1867037"/>
                  <a:gd name="connsiteX1944" fmla="*/ 1638243 w 2417513"/>
                  <a:gd name="connsiteY1944" fmla="*/ 1468538 h 1867037"/>
                  <a:gd name="connsiteX1945" fmla="*/ 1632788 w 2417513"/>
                  <a:gd name="connsiteY1945" fmla="*/ 1467781 h 1867037"/>
                  <a:gd name="connsiteX1946" fmla="*/ 1618848 w 2417513"/>
                  <a:gd name="connsiteY1946" fmla="*/ 1469145 h 1867037"/>
                  <a:gd name="connsiteX1947" fmla="*/ 1617333 w 2417513"/>
                  <a:gd name="connsiteY1947" fmla="*/ 1469902 h 1867037"/>
                  <a:gd name="connsiteX1948" fmla="*/ 1615969 w 2417513"/>
                  <a:gd name="connsiteY1948" fmla="*/ 1471114 h 1867037"/>
                  <a:gd name="connsiteX1949" fmla="*/ 1613545 w 2417513"/>
                  <a:gd name="connsiteY1949" fmla="*/ 1474145 h 1867037"/>
                  <a:gd name="connsiteX1950" fmla="*/ 1614454 w 2417513"/>
                  <a:gd name="connsiteY1950" fmla="*/ 1475660 h 1867037"/>
                  <a:gd name="connsiteX1951" fmla="*/ 1618848 w 2417513"/>
                  <a:gd name="connsiteY1951" fmla="*/ 1477478 h 1867037"/>
                  <a:gd name="connsiteX1952" fmla="*/ 1960527 w 2417513"/>
                  <a:gd name="connsiteY1952" fmla="*/ 1245955 h 1867037"/>
                  <a:gd name="connsiteX1953" fmla="*/ 1961133 w 2417513"/>
                  <a:gd name="connsiteY1953" fmla="*/ 1245955 h 1867037"/>
                  <a:gd name="connsiteX1954" fmla="*/ 1961891 w 2417513"/>
                  <a:gd name="connsiteY1954" fmla="*/ 1245349 h 1867037"/>
                  <a:gd name="connsiteX1955" fmla="*/ 1964164 w 2417513"/>
                  <a:gd name="connsiteY1955" fmla="*/ 1245652 h 1867037"/>
                  <a:gd name="connsiteX1956" fmla="*/ 1965831 w 2417513"/>
                  <a:gd name="connsiteY1956" fmla="*/ 1242773 h 1867037"/>
                  <a:gd name="connsiteX1957" fmla="*/ 1965982 w 2417513"/>
                  <a:gd name="connsiteY1957" fmla="*/ 1241864 h 1867037"/>
                  <a:gd name="connsiteX1958" fmla="*/ 1965224 w 2417513"/>
                  <a:gd name="connsiteY1958" fmla="*/ 1241561 h 1867037"/>
                  <a:gd name="connsiteX1959" fmla="*/ 1964921 w 2417513"/>
                  <a:gd name="connsiteY1959" fmla="*/ 1240803 h 1867037"/>
                  <a:gd name="connsiteX1960" fmla="*/ 1964921 w 2417513"/>
                  <a:gd name="connsiteY1960" fmla="*/ 1238682 h 1867037"/>
                  <a:gd name="connsiteX1961" fmla="*/ 1961891 w 2417513"/>
                  <a:gd name="connsiteY1961" fmla="*/ 1238682 h 1867037"/>
                  <a:gd name="connsiteX1962" fmla="*/ 1961133 w 2417513"/>
                  <a:gd name="connsiteY1962" fmla="*/ 1239591 h 1867037"/>
                  <a:gd name="connsiteX1963" fmla="*/ 1961588 w 2417513"/>
                  <a:gd name="connsiteY1963" fmla="*/ 1241409 h 1867037"/>
                  <a:gd name="connsiteX1964" fmla="*/ 1961436 w 2417513"/>
                  <a:gd name="connsiteY1964" fmla="*/ 1243227 h 1867037"/>
                  <a:gd name="connsiteX1965" fmla="*/ 1960527 w 2417513"/>
                  <a:gd name="connsiteY1965" fmla="*/ 1245955 h 1867037"/>
                  <a:gd name="connsiteX1966" fmla="*/ 1998105 w 2417513"/>
                  <a:gd name="connsiteY1966" fmla="*/ 1180346 h 1867037"/>
                  <a:gd name="connsiteX1967" fmla="*/ 1995074 w 2417513"/>
                  <a:gd name="connsiteY1967" fmla="*/ 1179589 h 1867037"/>
                  <a:gd name="connsiteX1968" fmla="*/ 1993559 w 2417513"/>
                  <a:gd name="connsiteY1968" fmla="*/ 1180649 h 1867037"/>
                  <a:gd name="connsiteX1969" fmla="*/ 1990983 w 2417513"/>
                  <a:gd name="connsiteY1969" fmla="*/ 1185043 h 1867037"/>
                  <a:gd name="connsiteX1970" fmla="*/ 1988104 w 2417513"/>
                  <a:gd name="connsiteY1970" fmla="*/ 1188983 h 1867037"/>
                  <a:gd name="connsiteX1971" fmla="*/ 1987346 w 2417513"/>
                  <a:gd name="connsiteY1971" fmla="*/ 1190801 h 1867037"/>
                  <a:gd name="connsiteX1972" fmla="*/ 1987346 w 2417513"/>
                  <a:gd name="connsiteY1972" fmla="*/ 1193225 h 1867037"/>
                  <a:gd name="connsiteX1973" fmla="*/ 1988407 w 2417513"/>
                  <a:gd name="connsiteY1973" fmla="*/ 1194134 h 1867037"/>
                  <a:gd name="connsiteX1974" fmla="*/ 1990831 w 2417513"/>
                  <a:gd name="connsiteY1974" fmla="*/ 1193832 h 1867037"/>
                  <a:gd name="connsiteX1975" fmla="*/ 1996892 w 2417513"/>
                  <a:gd name="connsiteY1975" fmla="*/ 1191256 h 1867037"/>
                  <a:gd name="connsiteX1976" fmla="*/ 1999317 w 2417513"/>
                  <a:gd name="connsiteY1976" fmla="*/ 1189740 h 1867037"/>
                  <a:gd name="connsiteX1977" fmla="*/ 2001438 w 2417513"/>
                  <a:gd name="connsiteY1977" fmla="*/ 1187619 h 1867037"/>
                  <a:gd name="connsiteX1978" fmla="*/ 2002195 w 2417513"/>
                  <a:gd name="connsiteY1978" fmla="*/ 1185195 h 1867037"/>
                  <a:gd name="connsiteX1979" fmla="*/ 2001438 w 2417513"/>
                  <a:gd name="connsiteY1979" fmla="*/ 1183528 h 1867037"/>
                  <a:gd name="connsiteX1980" fmla="*/ 1999620 w 2417513"/>
                  <a:gd name="connsiteY1980" fmla="*/ 1181407 h 1867037"/>
                  <a:gd name="connsiteX1981" fmla="*/ 1998105 w 2417513"/>
                  <a:gd name="connsiteY1981" fmla="*/ 1180346 h 1867037"/>
                  <a:gd name="connsiteX1982" fmla="*/ 1747641 w 2417513"/>
                  <a:gd name="connsiteY1982" fmla="*/ 1048523 h 1867037"/>
                  <a:gd name="connsiteX1983" fmla="*/ 1741277 w 2417513"/>
                  <a:gd name="connsiteY1983" fmla="*/ 1052614 h 1867037"/>
                  <a:gd name="connsiteX1984" fmla="*/ 1749762 w 2417513"/>
                  <a:gd name="connsiteY1984" fmla="*/ 1058675 h 1867037"/>
                  <a:gd name="connsiteX1985" fmla="*/ 1753398 w 2417513"/>
                  <a:gd name="connsiteY1985" fmla="*/ 1060493 h 1867037"/>
                  <a:gd name="connsiteX1986" fmla="*/ 1757186 w 2417513"/>
                  <a:gd name="connsiteY1986" fmla="*/ 1061402 h 1867037"/>
                  <a:gd name="connsiteX1987" fmla="*/ 1760065 w 2417513"/>
                  <a:gd name="connsiteY1987" fmla="*/ 1060948 h 1867037"/>
                  <a:gd name="connsiteX1988" fmla="*/ 1760823 w 2417513"/>
                  <a:gd name="connsiteY1988" fmla="*/ 1056251 h 1867037"/>
                  <a:gd name="connsiteX1989" fmla="*/ 1757793 w 2417513"/>
                  <a:gd name="connsiteY1989" fmla="*/ 1053220 h 1867037"/>
                  <a:gd name="connsiteX1990" fmla="*/ 1747641 w 2417513"/>
                  <a:gd name="connsiteY1990" fmla="*/ 1048523 h 1867037"/>
                  <a:gd name="connsiteX1991" fmla="*/ 1930678 w 2417513"/>
                  <a:gd name="connsiteY1991" fmla="*/ 1089434 h 1867037"/>
                  <a:gd name="connsiteX1992" fmla="*/ 1924314 w 2417513"/>
                  <a:gd name="connsiteY1992" fmla="*/ 1086252 h 1867037"/>
                  <a:gd name="connsiteX1993" fmla="*/ 1919920 w 2417513"/>
                  <a:gd name="connsiteY1993" fmla="*/ 1084888 h 1867037"/>
                  <a:gd name="connsiteX1994" fmla="*/ 1915071 w 2417513"/>
                  <a:gd name="connsiteY1994" fmla="*/ 1083827 h 1867037"/>
                  <a:gd name="connsiteX1995" fmla="*/ 1911738 w 2417513"/>
                  <a:gd name="connsiteY1995" fmla="*/ 1083221 h 1867037"/>
                  <a:gd name="connsiteX1996" fmla="*/ 1909465 w 2417513"/>
                  <a:gd name="connsiteY1996" fmla="*/ 1083373 h 1867037"/>
                  <a:gd name="connsiteX1997" fmla="*/ 1911738 w 2417513"/>
                  <a:gd name="connsiteY1997" fmla="*/ 1085797 h 1867037"/>
                  <a:gd name="connsiteX1998" fmla="*/ 1915829 w 2417513"/>
                  <a:gd name="connsiteY1998" fmla="*/ 1087009 h 1867037"/>
                  <a:gd name="connsiteX1999" fmla="*/ 1919465 w 2417513"/>
                  <a:gd name="connsiteY1999" fmla="*/ 1090646 h 1867037"/>
                  <a:gd name="connsiteX2000" fmla="*/ 1919768 w 2417513"/>
                  <a:gd name="connsiteY2000" fmla="*/ 1093070 h 1867037"/>
                  <a:gd name="connsiteX2001" fmla="*/ 1921738 w 2417513"/>
                  <a:gd name="connsiteY2001" fmla="*/ 1095192 h 1867037"/>
                  <a:gd name="connsiteX2002" fmla="*/ 1923859 w 2417513"/>
                  <a:gd name="connsiteY2002" fmla="*/ 1096252 h 1867037"/>
                  <a:gd name="connsiteX2003" fmla="*/ 1927799 w 2417513"/>
                  <a:gd name="connsiteY2003" fmla="*/ 1097161 h 1867037"/>
                  <a:gd name="connsiteX2004" fmla="*/ 1931435 w 2417513"/>
                  <a:gd name="connsiteY2004" fmla="*/ 1097464 h 1867037"/>
                  <a:gd name="connsiteX2005" fmla="*/ 1933405 w 2417513"/>
                  <a:gd name="connsiteY2005" fmla="*/ 1097313 h 1867037"/>
                  <a:gd name="connsiteX2006" fmla="*/ 1934769 w 2417513"/>
                  <a:gd name="connsiteY2006" fmla="*/ 1096707 h 1867037"/>
                  <a:gd name="connsiteX2007" fmla="*/ 1935375 w 2417513"/>
                  <a:gd name="connsiteY2007" fmla="*/ 1095949 h 1867037"/>
                  <a:gd name="connsiteX2008" fmla="*/ 1934769 w 2417513"/>
                  <a:gd name="connsiteY2008" fmla="*/ 1094282 h 1867037"/>
                  <a:gd name="connsiteX2009" fmla="*/ 1932647 w 2417513"/>
                  <a:gd name="connsiteY2009" fmla="*/ 1092161 h 1867037"/>
                  <a:gd name="connsiteX2010" fmla="*/ 1930678 w 2417513"/>
                  <a:gd name="connsiteY2010" fmla="*/ 1089434 h 1867037"/>
                  <a:gd name="connsiteX2011" fmla="*/ 1689002 w 2417513"/>
                  <a:gd name="connsiteY2011" fmla="*/ 1365656 h 1867037"/>
                  <a:gd name="connsiteX2012" fmla="*/ 1690214 w 2417513"/>
                  <a:gd name="connsiteY2012" fmla="*/ 1367323 h 1867037"/>
                  <a:gd name="connsiteX2013" fmla="*/ 1691578 w 2417513"/>
                  <a:gd name="connsiteY2013" fmla="*/ 1367020 h 1867037"/>
                  <a:gd name="connsiteX2014" fmla="*/ 1694154 w 2417513"/>
                  <a:gd name="connsiteY2014" fmla="*/ 1359898 h 1867037"/>
                  <a:gd name="connsiteX2015" fmla="*/ 1695972 w 2417513"/>
                  <a:gd name="connsiteY2015" fmla="*/ 1356110 h 1867037"/>
                  <a:gd name="connsiteX2016" fmla="*/ 1698245 w 2417513"/>
                  <a:gd name="connsiteY2016" fmla="*/ 1352171 h 1867037"/>
                  <a:gd name="connsiteX2017" fmla="*/ 1699002 w 2417513"/>
                  <a:gd name="connsiteY2017" fmla="*/ 1350049 h 1867037"/>
                  <a:gd name="connsiteX2018" fmla="*/ 1698396 w 2417513"/>
                  <a:gd name="connsiteY2018" fmla="*/ 1349746 h 1867037"/>
                  <a:gd name="connsiteX2019" fmla="*/ 1698093 w 2417513"/>
                  <a:gd name="connsiteY2019" fmla="*/ 1349140 h 1867037"/>
                  <a:gd name="connsiteX2020" fmla="*/ 1698093 w 2417513"/>
                  <a:gd name="connsiteY2020" fmla="*/ 1348080 h 1867037"/>
                  <a:gd name="connsiteX2021" fmla="*/ 1697487 w 2417513"/>
                  <a:gd name="connsiteY2021" fmla="*/ 1346110 h 1867037"/>
                  <a:gd name="connsiteX2022" fmla="*/ 1696578 w 2417513"/>
                  <a:gd name="connsiteY2022" fmla="*/ 1345504 h 1867037"/>
                  <a:gd name="connsiteX2023" fmla="*/ 1694305 w 2417513"/>
                  <a:gd name="connsiteY2023" fmla="*/ 1344898 h 1867037"/>
                  <a:gd name="connsiteX2024" fmla="*/ 1693699 w 2417513"/>
                  <a:gd name="connsiteY2024" fmla="*/ 1344140 h 1867037"/>
                  <a:gd name="connsiteX2025" fmla="*/ 1693093 w 2417513"/>
                  <a:gd name="connsiteY2025" fmla="*/ 1342322 h 1867037"/>
                  <a:gd name="connsiteX2026" fmla="*/ 1692184 w 2417513"/>
                  <a:gd name="connsiteY2026" fmla="*/ 1341564 h 1867037"/>
                  <a:gd name="connsiteX2027" fmla="*/ 1690669 w 2417513"/>
                  <a:gd name="connsiteY2027" fmla="*/ 1341110 h 1867037"/>
                  <a:gd name="connsiteX2028" fmla="*/ 1689760 w 2417513"/>
                  <a:gd name="connsiteY2028" fmla="*/ 1340352 h 1867037"/>
                  <a:gd name="connsiteX2029" fmla="*/ 1689305 w 2417513"/>
                  <a:gd name="connsiteY2029" fmla="*/ 1339291 h 1867037"/>
                  <a:gd name="connsiteX2030" fmla="*/ 1689002 w 2417513"/>
                  <a:gd name="connsiteY2030" fmla="*/ 1339140 h 1867037"/>
                  <a:gd name="connsiteX2031" fmla="*/ 1688093 w 2417513"/>
                  <a:gd name="connsiteY2031" fmla="*/ 1344443 h 1867037"/>
                  <a:gd name="connsiteX2032" fmla="*/ 1687184 w 2417513"/>
                  <a:gd name="connsiteY2032" fmla="*/ 1347776 h 1867037"/>
                  <a:gd name="connsiteX2033" fmla="*/ 1685669 w 2417513"/>
                  <a:gd name="connsiteY2033" fmla="*/ 1351716 h 1867037"/>
                  <a:gd name="connsiteX2034" fmla="*/ 1683850 w 2417513"/>
                  <a:gd name="connsiteY2034" fmla="*/ 1354292 h 1867037"/>
                  <a:gd name="connsiteX2035" fmla="*/ 1681729 w 2417513"/>
                  <a:gd name="connsiteY2035" fmla="*/ 1355504 h 1867037"/>
                  <a:gd name="connsiteX2036" fmla="*/ 1681275 w 2417513"/>
                  <a:gd name="connsiteY2036" fmla="*/ 1355049 h 1867037"/>
                  <a:gd name="connsiteX2037" fmla="*/ 1682487 w 2417513"/>
                  <a:gd name="connsiteY2037" fmla="*/ 1352928 h 1867037"/>
                  <a:gd name="connsiteX2038" fmla="*/ 1683396 w 2417513"/>
                  <a:gd name="connsiteY2038" fmla="*/ 1350352 h 1867037"/>
                  <a:gd name="connsiteX2039" fmla="*/ 1684608 w 2417513"/>
                  <a:gd name="connsiteY2039" fmla="*/ 1345201 h 1867037"/>
                  <a:gd name="connsiteX2040" fmla="*/ 1684456 w 2417513"/>
                  <a:gd name="connsiteY2040" fmla="*/ 1342625 h 1867037"/>
                  <a:gd name="connsiteX2041" fmla="*/ 1684153 w 2417513"/>
                  <a:gd name="connsiteY2041" fmla="*/ 1341716 h 1867037"/>
                  <a:gd name="connsiteX2042" fmla="*/ 1683850 w 2417513"/>
                  <a:gd name="connsiteY2042" fmla="*/ 1341564 h 1867037"/>
                  <a:gd name="connsiteX2043" fmla="*/ 1683547 w 2417513"/>
                  <a:gd name="connsiteY2043" fmla="*/ 1342170 h 1867037"/>
                  <a:gd name="connsiteX2044" fmla="*/ 1683547 w 2417513"/>
                  <a:gd name="connsiteY2044" fmla="*/ 1344595 h 1867037"/>
                  <a:gd name="connsiteX2045" fmla="*/ 1683093 w 2417513"/>
                  <a:gd name="connsiteY2045" fmla="*/ 1346716 h 1867037"/>
                  <a:gd name="connsiteX2046" fmla="*/ 1682184 w 2417513"/>
                  <a:gd name="connsiteY2046" fmla="*/ 1349746 h 1867037"/>
                  <a:gd name="connsiteX2047" fmla="*/ 1679911 w 2417513"/>
                  <a:gd name="connsiteY2047" fmla="*/ 1352928 h 1867037"/>
                  <a:gd name="connsiteX2048" fmla="*/ 1674608 w 2417513"/>
                  <a:gd name="connsiteY2048" fmla="*/ 1357928 h 1867037"/>
                  <a:gd name="connsiteX2049" fmla="*/ 1668850 w 2417513"/>
                  <a:gd name="connsiteY2049" fmla="*/ 1364898 h 1867037"/>
                  <a:gd name="connsiteX2050" fmla="*/ 1668698 w 2417513"/>
                  <a:gd name="connsiteY2050" fmla="*/ 1365656 h 1867037"/>
                  <a:gd name="connsiteX2051" fmla="*/ 1669304 w 2417513"/>
                  <a:gd name="connsiteY2051" fmla="*/ 1366414 h 1867037"/>
                  <a:gd name="connsiteX2052" fmla="*/ 1671577 w 2417513"/>
                  <a:gd name="connsiteY2052" fmla="*/ 1367171 h 1867037"/>
                  <a:gd name="connsiteX2053" fmla="*/ 1674911 w 2417513"/>
                  <a:gd name="connsiteY2053" fmla="*/ 1364444 h 1867037"/>
                  <a:gd name="connsiteX2054" fmla="*/ 1680820 w 2417513"/>
                  <a:gd name="connsiteY2054" fmla="*/ 1357474 h 1867037"/>
                  <a:gd name="connsiteX2055" fmla="*/ 1681426 w 2417513"/>
                  <a:gd name="connsiteY2055" fmla="*/ 1357171 h 1867037"/>
                  <a:gd name="connsiteX2056" fmla="*/ 1682790 w 2417513"/>
                  <a:gd name="connsiteY2056" fmla="*/ 1357625 h 1867037"/>
                  <a:gd name="connsiteX2057" fmla="*/ 1682638 w 2417513"/>
                  <a:gd name="connsiteY2057" fmla="*/ 1358534 h 1867037"/>
                  <a:gd name="connsiteX2058" fmla="*/ 1675365 w 2417513"/>
                  <a:gd name="connsiteY2058" fmla="*/ 1369595 h 1867037"/>
                  <a:gd name="connsiteX2059" fmla="*/ 1679759 w 2417513"/>
                  <a:gd name="connsiteY2059" fmla="*/ 1367020 h 1867037"/>
                  <a:gd name="connsiteX2060" fmla="*/ 1681881 w 2417513"/>
                  <a:gd name="connsiteY2060" fmla="*/ 1367171 h 1867037"/>
                  <a:gd name="connsiteX2061" fmla="*/ 1682790 w 2417513"/>
                  <a:gd name="connsiteY2061" fmla="*/ 1367020 h 1867037"/>
                  <a:gd name="connsiteX2062" fmla="*/ 1683850 w 2417513"/>
                  <a:gd name="connsiteY2062" fmla="*/ 1366262 h 1867037"/>
                  <a:gd name="connsiteX2063" fmla="*/ 1685214 w 2417513"/>
                  <a:gd name="connsiteY2063" fmla="*/ 1364747 h 1867037"/>
                  <a:gd name="connsiteX2064" fmla="*/ 1690366 w 2417513"/>
                  <a:gd name="connsiteY2064" fmla="*/ 1355504 h 1867037"/>
                  <a:gd name="connsiteX2065" fmla="*/ 1691426 w 2417513"/>
                  <a:gd name="connsiteY2065" fmla="*/ 1354140 h 1867037"/>
                  <a:gd name="connsiteX2066" fmla="*/ 1692487 w 2417513"/>
                  <a:gd name="connsiteY2066" fmla="*/ 1355352 h 1867037"/>
                  <a:gd name="connsiteX2067" fmla="*/ 1692639 w 2417513"/>
                  <a:gd name="connsiteY2067" fmla="*/ 1356110 h 1867037"/>
                  <a:gd name="connsiteX2068" fmla="*/ 1692487 w 2417513"/>
                  <a:gd name="connsiteY2068" fmla="*/ 1357019 h 1867037"/>
                  <a:gd name="connsiteX2069" fmla="*/ 1689002 w 2417513"/>
                  <a:gd name="connsiteY2069" fmla="*/ 1365656 h 1867037"/>
                  <a:gd name="connsiteX2070" fmla="*/ 1822492 w 2417513"/>
                  <a:gd name="connsiteY2070" fmla="*/ 1091101 h 1867037"/>
                  <a:gd name="connsiteX2071" fmla="*/ 1819613 w 2417513"/>
                  <a:gd name="connsiteY2071" fmla="*/ 1089737 h 1867037"/>
                  <a:gd name="connsiteX2072" fmla="*/ 1817946 w 2417513"/>
                  <a:gd name="connsiteY2072" fmla="*/ 1089434 h 1867037"/>
                  <a:gd name="connsiteX2073" fmla="*/ 1816431 w 2417513"/>
                  <a:gd name="connsiteY2073" fmla="*/ 1089737 h 1867037"/>
                  <a:gd name="connsiteX2074" fmla="*/ 1816280 w 2417513"/>
                  <a:gd name="connsiteY2074" fmla="*/ 1090343 h 1867037"/>
                  <a:gd name="connsiteX2075" fmla="*/ 1819765 w 2417513"/>
                  <a:gd name="connsiteY2075" fmla="*/ 1092161 h 1867037"/>
                  <a:gd name="connsiteX2076" fmla="*/ 1826431 w 2417513"/>
                  <a:gd name="connsiteY2076" fmla="*/ 1094131 h 1867037"/>
                  <a:gd name="connsiteX2077" fmla="*/ 1831886 w 2417513"/>
                  <a:gd name="connsiteY2077" fmla="*/ 1094585 h 1867037"/>
                  <a:gd name="connsiteX2078" fmla="*/ 1833401 w 2417513"/>
                  <a:gd name="connsiteY2078" fmla="*/ 1094282 h 1867037"/>
                  <a:gd name="connsiteX2079" fmla="*/ 1833704 w 2417513"/>
                  <a:gd name="connsiteY2079" fmla="*/ 1093525 h 1867037"/>
                  <a:gd name="connsiteX2080" fmla="*/ 1832947 w 2417513"/>
                  <a:gd name="connsiteY2080" fmla="*/ 1092313 h 1867037"/>
                  <a:gd name="connsiteX2081" fmla="*/ 1830371 w 2417513"/>
                  <a:gd name="connsiteY2081" fmla="*/ 1091555 h 1867037"/>
                  <a:gd name="connsiteX2082" fmla="*/ 1822492 w 2417513"/>
                  <a:gd name="connsiteY2082" fmla="*/ 1091101 h 1867037"/>
                  <a:gd name="connsiteX2083" fmla="*/ 2067804 w 2417513"/>
                  <a:gd name="connsiteY2083" fmla="*/ 1135496 h 1867037"/>
                  <a:gd name="connsiteX2084" fmla="*/ 2067956 w 2417513"/>
                  <a:gd name="connsiteY2084" fmla="*/ 1137163 h 1867037"/>
                  <a:gd name="connsiteX2085" fmla="*/ 2068865 w 2417513"/>
                  <a:gd name="connsiteY2085" fmla="*/ 1139133 h 1867037"/>
                  <a:gd name="connsiteX2086" fmla="*/ 2077198 w 2417513"/>
                  <a:gd name="connsiteY2086" fmla="*/ 1143678 h 1867037"/>
                  <a:gd name="connsiteX2087" fmla="*/ 2078259 w 2417513"/>
                  <a:gd name="connsiteY2087" fmla="*/ 1144587 h 1867037"/>
                  <a:gd name="connsiteX2088" fmla="*/ 2080986 w 2417513"/>
                  <a:gd name="connsiteY2088" fmla="*/ 1145496 h 1867037"/>
                  <a:gd name="connsiteX2089" fmla="*/ 2082956 w 2417513"/>
                  <a:gd name="connsiteY2089" fmla="*/ 1147769 h 1867037"/>
                  <a:gd name="connsiteX2090" fmla="*/ 2083562 w 2417513"/>
                  <a:gd name="connsiteY2090" fmla="*/ 1147921 h 1867037"/>
                  <a:gd name="connsiteX2091" fmla="*/ 2084168 w 2417513"/>
                  <a:gd name="connsiteY2091" fmla="*/ 1147466 h 1867037"/>
                  <a:gd name="connsiteX2092" fmla="*/ 2085380 w 2417513"/>
                  <a:gd name="connsiteY2092" fmla="*/ 1145496 h 1867037"/>
                  <a:gd name="connsiteX2093" fmla="*/ 2086896 w 2417513"/>
                  <a:gd name="connsiteY2093" fmla="*/ 1144436 h 1867037"/>
                  <a:gd name="connsiteX2094" fmla="*/ 2087805 w 2417513"/>
                  <a:gd name="connsiteY2094" fmla="*/ 1143072 h 1867037"/>
                  <a:gd name="connsiteX2095" fmla="*/ 2087956 w 2417513"/>
                  <a:gd name="connsiteY2095" fmla="*/ 1140193 h 1867037"/>
                  <a:gd name="connsiteX2096" fmla="*/ 2088562 w 2417513"/>
                  <a:gd name="connsiteY2096" fmla="*/ 1137920 h 1867037"/>
                  <a:gd name="connsiteX2097" fmla="*/ 2086138 w 2417513"/>
                  <a:gd name="connsiteY2097" fmla="*/ 1136102 h 1867037"/>
                  <a:gd name="connsiteX2098" fmla="*/ 2085229 w 2417513"/>
                  <a:gd name="connsiteY2098" fmla="*/ 1135041 h 1867037"/>
                  <a:gd name="connsiteX2099" fmla="*/ 2080683 w 2417513"/>
                  <a:gd name="connsiteY2099" fmla="*/ 1134132 h 1867037"/>
                  <a:gd name="connsiteX2100" fmla="*/ 2075835 w 2417513"/>
                  <a:gd name="connsiteY2100" fmla="*/ 1134132 h 1867037"/>
                  <a:gd name="connsiteX2101" fmla="*/ 2070380 w 2417513"/>
                  <a:gd name="connsiteY2101" fmla="*/ 1134890 h 1867037"/>
                  <a:gd name="connsiteX2102" fmla="*/ 2067804 w 2417513"/>
                  <a:gd name="connsiteY2102" fmla="*/ 1135496 h 1867037"/>
                  <a:gd name="connsiteX2103" fmla="*/ 2081441 w 2417513"/>
                  <a:gd name="connsiteY2103" fmla="*/ 1100040 h 1867037"/>
                  <a:gd name="connsiteX2104" fmla="*/ 2080683 w 2417513"/>
                  <a:gd name="connsiteY2104" fmla="*/ 1101101 h 1867037"/>
                  <a:gd name="connsiteX2105" fmla="*/ 2082198 w 2417513"/>
                  <a:gd name="connsiteY2105" fmla="*/ 1102616 h 1867037"/>
                  <a:gd name="connsiteX2106" fmla="*/ 2084017 w 2417513"/>
                  <a:gd name="connsiteY2106" fmla="*/ 1103222 h 1867037"/>
                  <a:gd name="connsiteX2107" fmla="*/ 2088865 w 2417513"/>
                  <a:gd name="connsiteY2107" fmla="*/ 1104131 h 1867037"/>
                  <a:gd name="connsiteX2108" fmla="*/ 2091896 w 2417513"/>
                  <a:gd name="connsiteY2108" fmla="*/ 1103828 h 1867037"/>
                  <a:gd name="connsiteX2109" fmla="*/ 2093714 w 2417513"/>
                  <a:gd name="connsiteY2109" fmla="*/ 1102768 h 1867037"/>
                  <a:gd name="connsiteX2110" fmla="*/ 2095381 w 2417513"/>
                  <a:gd name="connsiteY2110" fmla="*/ 1099737 h 1867037"/>
                  <a:gd name="connsiteX2111" fmla="*/ 2094169 w 2417513"/>
                  <a:gd name="connsiteY2111" fmla="*/ 1097616 h 1867037"/>
                  <a:gd name="connsiteX2112" fmla="*/ 2092805 w 2417513"/>
                  <a:gd name="connsiteY2112" fmla="*/ 1097010 h 1867037"/>
                  <a:gd name="connsiteX2113" fmla="*/ 2089623 w 2417513"/>
                  <a:gd name="connsiteY2113" fmla="*/ 1097161 h 1867037"/>
                  <a:gd name="connsiteX2114" fmla="*/ 2084320 w 2417513"/>
                  <a:gd name="connsiteY2114" fmla="*/ 1096707 h 1867037"/>
                  <a:gd name="connsiteX2115" fmla="*/ 2083562 w 2417513"/>
                  <a:gd name="connsiteY2115" fmla="*/ 1097313 h 1867037"/>
                  <a:gd name="connsiteX2116" fmla="*/ 2083562 w 2417513"/>
                  <a:gd name="connsiteY2116" fmla="*/ 1098070 h 1867037"/>
                  <a:gd name="connsiteX2117" fmla="*/ 2084168 w 2417513"/>
                  <a:gd name="connsiteY2117" fmla="*/ 1098980 h 1867037"/>
                  <a:gd name="connsiteX2118" fmla="*/ 2083714 w 2417513"/>
                  <a:gd name="connsiteY2118" fmla="*/ 1099434 h 1867037"/>
                  <a:gd name="connsiteX2119" fmla="*/ 2081441 w 2417513"/>
                  <a:gd name="connsiteY2119" fmla="*/ 1100040 h 1867037"/>
                  <a:gd name="connsiteX2120" fmla="*/ 2185233 w 2417513"/>
                  <a:gd name="connsiteY2120" fmla="*/ 1361413 h 1867037"/>
                  <a:gd name="connsiteX2121" fmla="*/ 2189475 w 2417513"/>
                  <a:gd name="connsiteY2121" fmla="*/ 1362019 h 1867037"/>
                  <a:gd name="connsiteX2122" fmla="*/ 2189172 w 2417513"/>
                  <a:gd name="connsiteY2122" fmla="*/ 1361110 h 1867037"/>
                  <a:gd name="connsiteX2123" fmla="*/ 2190233 w 2417513"/>
                  <a:gd name="connsiteY2123" fmla="*/ 1359595 h 1867037"/>
                  <a:gd name="connsiteX2124" fmla="*/ 2189930 w 2417513"/>
                  <a:gd name="connsiteY2124" fmla="*/ 1358838 h 1867037"/>
                  <a:gd name="connsiteX2125" fmla="*/ 2187657 w 2417513"/>
                  <a:gd name="connsiteY2125" fmla="*/ 1357625 h 1867037"/>
                  <a:gd name="connsiteX2126" fmla="*/ 2186596 w 2417513"/>
                  <a:gd name="connsiteY2126" fmla="*/ 1357171 h 1867037"/>
                  <a:gd name="connsiteX2127" fmla="*/ 2184627 w 2417513"/>
                  <a:gd name="connsiteY2127" fmla="*/ 1358080 h 1867037"/>
                  <a:gd name="connsiteX2128" fmla="*/ 2183718 w 2417513"/>
                  <a:gd name="connsiteY2128" fmla="*/ 1359141 h 1867037"/>
                  <a:gd name="connsiteX2129" fmla="*/ 2183566 w 2417513"/>
                  <a:gd name="connsiteY2129" fmla="*/ 1360050 h 1867037"/>
                  <a:gd name="connsiteX2130" fmla="*/ 2183718 w 2417513"/>
                  <a:gd name="connsiteY2130" fmla="*/ 1360656 h 1867037"/>
                  <a:gd name="connsiteX2131" fmla="*/ 2185233 w 2417513"/>
                  <a:gd name="connsiteY2131" fmla="*/ 1361413 h 1867037"/>
                  <a:gd name="connsiteX2132" fmla="*/ 2343269 w 2417513"/>
                  <a:gd name="connsiteY2132" fmla="*/ 1516874 h 1867037"/>
                  <a:gd name="connsiteX2133" fmla="*/ 2345087 w 2417513"/>
                  <a:gd name="connsiteY2133" fmla="*/ 1515358 h 1867037"/>
                  <a:gd name="connsiteX2134" fmla="*/ 2345693 w 2417513"/>
                  <a:gd name="connsiteY2134" fmla="*/ 1512934 h 1867037"/>
                  <a:gd name="connsiteX2135" fmla="*/ 2343723 w 2417513"/>
                  <a:gd name="connsiteY2135" fmla="*/ 1513389 h 1867037"/>
                  <a:gd name="connsiteX2136" fmla="*/ 2342208 w 2417513"/>
                  <a:gd name="connsiteY2136" fmla="*/ 1515055 h 1867037"/>
                  <a:gd name="connsiteX2137" fmla="*/ 2341602 w 2417513"/>
                  <a:gd name="connsiteY2137" fmla="*/ 1516419 h 1867037"/>
                  <a:gd name="connsiteX2138" fmla="*/ 2341905 w 2417513"/>
                  <a:gd name="connsiteY2138" fmla="*/ 1516874 h 1867037"/>
                  <a:gd name="connsiteX2139" fmla="*/ 2343269 w 2417513"/>
                  <a:gd name="connsiteY2139" fmla="*/ 1516874 h 1867037"/>
                  <a:gd name="connsiteX2140" fmla="*/ 2373119 w 2417513"/>
                  <a:gd name="connsiteY2140" fmla="*/ 1599755 h 1867037"/>
                  <a:gd name="connsiteX2141" fmla="*/ 2374028 w 2417513"/>
                  <a:gd name="connsiteY2141" fmla="*/ 1599604 h 1867037"/>
                  <a:gd name="connsiteX2142" fmla="*/ 2381149 w 2417513"/>
                  <a:gd name="connsiteY2142" fmla="*/ 1597179 h 1867037"/>
                  <a:gd name="connsiteX2143" fmla="*/ 2380088 w 2417513"/>
                  <a:gd name="connsiteY2143" fmla="*/ 1596573 h 1867037"/>
                  <a:gd name="connsiteX2144" fmla="*/ 2378118 w 2417513"/>
                  <a:gd name="connsiteY2144" fmla="*/ 1594301 h 1867037"/>
                  <a:gd name="connsiteX2145" fmla="*/ 2376907 w 2417513"/>
                  <a:gd name="connsiteY2145" fmla="*/ 1593998 h 1867037"/>
                  <a:gd name="connsiteX2146" fmla="*/ 2375240 w 2417513"/>
                  <a:gd name="connsiteY2146" fmla="*/ 1596270 h 1867037"/>
                  <a:gd name="connsiteX2147" fmla="*/ 2373573 w 2417513"/>
                  <a:gd name="connsiteY2147" fmla="*/ 1595210 h 1867037"/>
                  <a:gd name="connsiteX2148" fmla="*/ 2373119 w 2417513"/>
                  <a:gd name="connsiteY2148" fmla="*/ 1595513 h 1867037"/>
                  <a:gd name="connsiteX2149" fmla="*/ 2372815 w 2417513"/>
                  <a:gd name="connsiteY2149" fmla="*/ 1597331 h 1867037"/>
                  <a:gd name="connsiteX2150" fmla="*/ 2372815 w 2417513"/>
                  <a:gd name="connsiteY2150" fmla="*/ 1599604 h 1867037"/>
                  <a:gd name="connsiteX2151" fmla="*/ 2373119 w 2417513"/>
                  <a:gd name="connsiteY2151" fmla="*/ 1599755 h 1867037"/>
                  <a:gd name="connsiteX2152" fmla="*/ 2359027 w 2417513"/>
                  <a:gd name="connsiteY2152" fmla="*/ 1602937 h 1867037"/>
                  <a:gd name="connsiteX2153" fmla="*/ 2360239 w 2417513"/>
                  <a:gd name="connsiteY2153" fmla="*/ 1602483 h 1867037"/>
                  <a:gd name="connsiteX2154" fmla="*/ 2361148 w 2417513"/>
                  <a:gd name="connsiteY2154" fmla="*/ 1601725 h 1867037"/>
                  <a:gd name="connsiteX2155" fmla="*/ 2365391 w 2417513"/>
                  <a:gd name="connsiteY2155" fmla="*/ 1599604 h 1867037"/>
                  <a:gd name="connsiteX2156" fmla="*/ 2365845 w 2417513"/>
                  <a:gd name="connsiteY2156" fmla="*/ 1598543 h 1867037"/>
                  <a:gd name="connsiteX2157" fmla="*/ 2365239 w 2417513"/>
                  <a:gd name="connsiteY2157" fmla="*/ 1598089 h 1867037"/>
                  <a:gd name="connsiteX2158" fmla="*/ 2363573 w 2417513"/>
                  <a:gd name="connsiteY2158" fmla="*/ 1598392 h 1867037"/>
                  <a:gd name="connsiteX2159" fmla="*/ 2360391 w 2417513"/>
                  <a:gd name="connsiteY2159" fmla="*/ 1600513 h 1867037"/>
                  <a:gd name="connsiteX2160" fmla="*/ 2359482 w 2417513"/>
                  <a:gd name="connsiteY2160" fmla="*/ 1600513 h 1867037"/>
                  <a:gd name="connsiteX2161" fmla="*/ 2359027 w 2417513"/>
                  <a:gd name="connsiteY2161" fmla="*/ 1600210 h 1867037"/>
                  <a:gd name="connsiteX2162" fmla="*/ 2358876 w 2417513"/>
                  <a:gd name="connsiteY2162" fmla="*/ 1599604 h 1867037"/>
                  <a:gd name="connsiteX2163" fmla="*/ 2358269 w 2417513"/>
                  <a:gd name="connsiteY2163" fmla="*/ 1599301 h 1867037"/>
                  <a:gd name="connsiteX2164" fmla="*/ 2357057 w 2417513"/>
                  <a:gd name="connsiteY2164" fmla="*/ 1599452 h 1867037"/>
                  <a:gd name="connsiteX2165" fmla="*/ 2356906 w 2417513"/>
                  <a:gd name="connsiteY2165" fmla="*/ 1600210 h 1867037"/>
                  <a:gd name="connsiteX2166" fmla="*/ 2358118 w 2417513"/>
                  <a:gd name="connsiteY2166" fmla="*/ 1602331 h 1867037"/>
                  <a:gd name="connsiteX2167" fmla="*/ 2359027 w 2417513"/>
                  <a:gd name="connsiteY2167" fmla="*/ 1602937 h 1867037"/>
                  <a:gd name="connsiteX2168" fmla="*/ 2165838 w 2417513"/>
                  <a:gd name="connsiteY2168" fmla="*/ 1301108 h 1867037"/>
                  <a:gd name="connsiteX2169" fmla="*/ 2164626 w 2417513"/>
                  <a:gd name="connsiteY2169" fmla="*/ 1301411 h 1867037"/>
                  <a:gd name="connsiteX2170" fmla="*/ 2163414 w 2417513"/>
                  <a:gd name="connsiteY2170" fmla="*/ 1302169 h 1867037"/>
                  <a:gd name="connsiteX2171" fmla="*/ 2162201 w 2417513"/>
                  <a:gd name="connsiteY2171" fmla="*/ 1301714 h 1867037"/>
                  <a:gd name="connsiteX2172" fmla="*/ 2161595 w 2417513"/>
                  <a:gd name="connsiteY2172" fmla="*/ 1302017 h 1867037"/>
                  <a:gd name="connsiteX2173" fmla="*/ 2161444 w 2417513"/>
                  <a:gd name="connsiteY2173" fmla="*/ 1302320 h 1867037"/>
                  <a:gd name="connsiteX2174" fmla="*/ 2162353 w 2417513"/>
                  <a:gd name="connsiteY2174" fmla="*/ 1304442 h 1867037"/>
                  <a:gd name="connsiteX2175" fmla="*/ 2167353 w 2417513"/>
                  <a:gd name="connsiteY2175" fmla="*/ 1307320 h 1867037"/>
                  <a:gd name="connsiteX2176" fmla="*/ 2171596 w 2417513"/>
                  <a:gd name="connsiteY2176" fmla="*/ 1307623 h 1867037"/>
                  <a:gd name="connsiteX2177" fmla="*/ 2170990 w 2417513"/>
                  <a:gd name="connsiteY2177" fmla="*/ 1303381 h 1867037"/>
                  <a:gd name="connsiteX2178" fmla="*/ 2168717 w 2417513"/>
                  <a:gd name="connsiteY2178" fmla="*/ 1302169 h 1867037"/>
                  <a:gd name="connsiteX2179" fmla="*/ 2165838 w 2417513"/>
                  <a:gd name="connsiteY2179" fmla="*/ 1301108 h 1867037"/>
                  <a:gd name="connsiteX2180" fmla="*/ 2164323 w 2417513"/>
                  <a:gd name="connsiteY2180" fmla="*/ 914730 h 1867037"/>
                  <a:gd name="connsiteX2181" fmla="*/ 2169323 w 2417513"/>
                  <a:gd name="connsiteY2181" fmla="*/ 916549 h 1867037"/>
                  <a:gd name="connsiteX2182" fmla="*/ 2174626 w 2417513"/>
                  <a:gd name="connsiteY2182" fmla="*/ 920185 h 1867037"/>
                  <a:gd name="connsiteX2183" fmla="*/ 2176596 w 2417513"/>
                  <a:gd name="connsiteY2183" fmla="*/ 919731 h 1867037"/>
                  <a:gd name="connsiteX2184" fmla="*/ 2180536 w 2417513"/>
                  <a:gd name="connsiteY2184" fmla="*/ 917761 h 1867037"/>
                  <a:gd name="connsiteX2185" fmla="*/ 2180687 w 2417513"/>
                  <a:gd name="connsiteY2185" fmla="*/ 915943 h 1867037"/>
                  <a:gd name="connsiteX2186" fmla="*/ 2179172 w 2417513"/>
                  <a:gd name="connsiteY2186" fmla="*/ 914124 h 1867037"/>
                  <a:gd name="connsiteX2187" fmla="*/ 2174778 w 2417513"/>
                  <a:gd name="connsiteY2187" fmla="*/ 910033 h 1867037"/>
                  <a:gd name="connsiteX2188" fmla="*/ 2166293 w 2417513"/>
                  <a:gd name="connsiteY2188" fmla="*/ 902912 h 1867037"/>
                  <a:gd name="connsiteX2189" fmla="*/ 2162353 w 2417513"/>
                  <a:gd name="connsiteY2189" fmla="*/ 898821 h 1867037"/>
                  <a:gd name="connsiteX2190" fmla="*/ 2158111 w 2417513"/>
                  <a:gd name="connsiteY2190" fmla="*/ 897609 h 1867037"/>
                  <a:gd name="connsiteX2191" fmla="*/ 2151140 w 2417513"/>
                  <a:gd name="connsiteY2191" fmla="*/ 904124 h 1867037"/>
                  <a:gd name="connsiteX2192" fmla="*/ 2145080 w 2417513"/>
                  <a:gd name="connsiteY2192" fmla="*/ 903063 h 1867037"/>
                  <a:gd name="connsiteX2193" fmla="*/ 2142201 w 2417513"/>
                  <a:gd name="connsiteY2193" fmla="*/ 901851 h 1867037"/>
                  <a:gd name="connsiteX2194" fmla="*/ 2140685 w 2417513"/>
                  <a:gd name="connsiteY2194" fmla="*/ 902912 h 1867037"/>
                  <a:gd name="connsiteX2195" fmla="*/ 2138867 w 2417513"/>
                  <a:gd name="connsiteY2195" fmla="*/ 902912 h 1867037"/>
                  <a:gd name="connsiteX2196" fmla="*/ 2135382 w 2417513"/>
                  <a:gd name="connsiteY2196" fmla="*/ 902154 h 1867037"/>
                  <a:gd name="connsiteX2197" fmla="*/ 2130382 w 2417513"/>
                  <a:gd name="connsiteY2197" fmla="*/ 903366 h 1867037"/>
                  <a:gd name="connsiteX2198" fmla="*/ 2121443 w 2417513"/>
                  <a:gd name="connsiteY2198" fmla="*/ 906245 h 1867037"/>
                  <a:gd name="connsiteX2199" fmla="*/ 2116897 w 2417513"/>
                  <a:gd name="connsiteY2199" fmla="*/ 908215 h 1867037"/>
                  <a:gd name="connsiteX2200" fmla="*/ 2115078 w 2417513"/>
                  <a:gd name="connsiteY2200" fmla="*/ 908215 h 1867037"/>
                  <a:gd name="connsiteX2201" fmla="*/ 2125837 w 2417513"/>
                  <a:gd name="connsiteY2201" fmla="*/ 900336 h 1867037"/>
                  <a:gd name="connsiteX2202" fmla="*/ 2127200 w 2417513"/>
                  <a:gd name="connsiteY2202" fmla="*/ 898972 h 1867037"/>
                  <a:gd name="connsiteX2203" fmla="*/ 2127806 w 2417513"/>
                  <a:gd name="connsiteY2203" fmla="*/ 897002 h 1867037"/>
                  <a:gd name="connsiteX2204" fmla="*/ 2128867 w 2417513"/>
                  <a:gd name="connsiteY2204" fmla="*/ 894730 h 1867037"/>
                  <a:gd name="connsiteX2205" fmla="*/ 2129776 w 2417513"/>
                  <a:gd name="connsiteY2205" fmla="*/ 892002 h 1867037"/>
                  <a:gd name="connsiteX2206" fmla="*/ 2133109 w 2417513"/>
                  <a:gd name="connsiteY2206" fmla="*/ 889123 h 1867037"/>
                  <a:gd name="connsiteX2207" fmla="*/ 2125533 w 2417513"/>
                  <a:gd name="connsiteY2207" fmla="*/ 884426 h 1867037"/>
                  <a:gd name="connsiteX2208" fmla="*/ 2119927 w 2417513"/>
                  <a:gd name="connsiteY2208" fmla="*/ 883366 h 1867037"/>
                  <a:gd name="connsiteX2209" fmla="*/ 2117957 w 2417513"/>
                  <a:gd name="connsiteY2209" fmla="*/ 882456 h 1867037"/>
                  <a:gd name="connsiteX2210" fmla="*/ 2115685 w 2417513"/>
                  <a:gd name="connsiteY2210" fmla="*/ 883972 h 1867037"/>
                  <a:gd name="connsiteX2211" fmla="*/ 2111594 w 2417513"/>
                  <a:gd name="connsiteY2211" fmla="*/ 885335 h 1867037"/>
                  <a:gd name="connsiteX2212" fmla="*/ 2111290 w 2417513"/>
                  <a:gd name="connsiteY2212" fmla="*/ 887760 h 1867037"/>
                  <a:gd name="connsiteX2213" fmla="*/ 2105078 w 2417513"/>
                  <a:gd name="connsiteY2213" fmla="*/ 887608 h 1867037"/>
                  <a:gd name="connsiteX2214" fmla="*/ 2101593 w 2417513"/>
                  <a:gd name="connsiteY2214" fmla="*/ 888063 h 1867037"/>
                  <a:gd name="connsiteX2215" fmla="*/ 2097048 w 2417513"/>
                  <a:gd name="connsiteY2215" fmla="*/ 888063 h 1867037"/>
                  <a:gd name="connsiteX2216" fmla="*/ 2096441 w 2417513"/>
                  <a:gd name="connsiteY2216" fmla="*/ 885941 h 1867037"/>
                  <a:gd name="connsiteX2217" fmla="*/ 2090532 w 2417513"/>
                  <a:gd name="connsiteY2217" fmla="*/ 885335 h 1867037"/>
                  <a:gd name="connsiteX2218" fmla="*/ 2087502 w 2417513"/>
                  <a:gd name="connsiteY2218" fmla="*/ 883669 h 1867037"/>
                  <a:gd name="connsiteX2219" fmla="*/ 2090835 w 2417513"/>
                  <a:gd name="connsiteY2219" fmla="*/ 883517 h 1867037"/>
                  <a:gd name="connsiteX2220" fmla="*/ 2093866 w 2417513"/>
                  <a:gd name="connsiteY2220" fmla="*/ 884123 h 1867037"/>
                  <a:gd name="connsiteX2221" fmla="*/ 2098411 w 2417513"/>
                  <a:gd name="connsiteY2221" fmla="*/ 883517 h 1867037"/>
                  <a:gd name="connsiteX2222" fmla="*/ 2106442 w 2417513"/>
                  <a:gd name="connsiteY2222" fmla="*/ 883820 h 1867037"/>
                  <a:gd name="connsiteX2223" fmla="*/ 2104472 w 2417513"/>
                  <a:gd name="connsiteY2223" fmla="*/ 876850 h 1867037"/>
                  <a:gd name="connsiteX2224" fmla="*/ 2110684 w 2417513"/>
                  <a:gd name="connsiteY2224" fmla="*/ 873517 h 1867037"/>
                  <a:gd name="connsiteX2225" fmla="*/ 2105987 w 2417513"/>
                  <a:gd name="connsiteY2225" fmla="*/ 869426 h 1867037"/>
                  <a:gd name="connsiteX2226" fmla="*/ 2102199 w 2417513"/>
                  <a:gd name="connsiteY2226" fmla="*/ 870941 h 1867037"/>
                  <a:gd name="connsiteX2227" fmla="*/ 2095684 w 2417513"/>
                  <a:gd name="connsiteY2227" fmla="*/ 865486 h 1867037"/>
                  <a:gd name="connsiteX2228" fmla="*/ 2092047 w 2417513"/>
                  <a:gd name="connsiteY2228" fmla="*/ 862001 h 1867037"/>
                  <a:gd name="connsiteX2229" fmla="*/ 2089017 w 2417513"/>
                  <a:gd name="connsiteY2229" fmla="*/ 860637 h 1867037"/>
                  <a:gd name="connsiteX2230" fmla="*/ 2083714 w 2417513"/>
                  <a:gd name="connsiteY2230" fmla="*/ 863213 h 1867037"/>
                  <a:gd name="connsiteX2231" fmla="*/ 2078410 w 2417513"/>
                  <a:gd name="connsiteY2231" fmla="*/ 863062 h 1867037"/>
                  <a:gd name="connsiteX2232" fmla="*/ 2077047 w 2417513"/>
                  <a:gd name="connsiteY2232" fmla="*/ 861395 h 1867037"/>
                  <a:gd name="connsiteX2233" fmla="*/ 2078259 w 2417513"/>
                  <a:gd name="connsiteY2233" fmla="*/ 858213 h 1867037"/>
                  <a:gd name="connsiteX2234" fmla="*/ 2080229 w 2417513"/>
                  <a:gd name="connsiteY2234" fmla="*/ 855940 h 1867037"/>
                  <a:gd name="connsiteX2235" fmla="*/ 2082805 w 2417513"/>
                  <a:gd name="connsiteY2235" fmla="*/ 854728 h 1867037"/>
                  <a:gd name="connsiteX2236" fmla="*/ 2083562 w 2417513"/>
                  <a:gd name="connsiteY2236" fmla="*/ 853516 h 1867037"/>
                  <a:gd name="connsiteX2237" fmla="*/ 2081138 w 2417513"/>
                  <a:gd name="connsiteY2237" fmla="*/ 851546 h 1867037"/>
                  <a:gd name="connsiteX2238" fmla="*/ 2079623 w 2417513"/>
                  <a:gd name="connsiteY2238" fmla="*/ 850940 h 1867037"/>
                  <a:gd name="connsiteX2239" fmla="*/ 2077198 w 2417513"/>
                  <a:gd name="connsiteY2239" fmla="*/ 851698 h 1867037"/>
                  <a:gd name="connsiteX2240" fmla="*/ 2070683 w 2417513"/>
                  <a:gd name="connsiteY2240" fmla="*/ 855789 h 1867037"/>
                  <a:gd name="connsiteX2241" fmla="*/ 2067501 w 2417513"/>
                  <a:gd name="connsiteY2241" fmla="*/ 858668 h 1867037"/>
                  <a:gd name="connsiteX2242" fmla="*/ 2066743 w 2417513"/>
                  <a:gd name="connsiteY2242" fmla="*/ 860941 h 1867037"/>
                  <a:gd name="connsiteX2243" fmla="*/ 2067501 w 2417513"/>
                  <a:gd name="connsiteY2243" fmla="*/ 866092 h 1867037"/>
                  <a:gd name="connsiteX2244" fmla="*/ 2068259 w 2417513"/>
                  <a:gd name="connsiteY2244" fmla="*/ 868214 h 1867037"/>
                  <a:gd name="connsiteX2245" fmla="*/ 2067804 w 2417513"/>
                  <a:gd name="connsiteY2245" fmla="*/ 868517 h 1867037"/>
                  <a:gd name="connsiteX2246" fmla="*/ 2064016 w 2417513"/>
                  <a:gd name="connsiteY2246" fmla="*/ 864274 h 1867037"/>
                  <a:gd name="connsiteX2247" fmla="*/ 2063713 w 2417513"/>
                  <a:gd name="connsiteY2247" fmla="*/ 862759 h 1867037"/>
                  <a:gd name="connsiteX2248" fmla="*/ 2065380 w 2417513"/>
                  <a:gd name="connsiteY2248" fmla="*/ 856395 h 1867037"/>
                  <a:gd name="connsiteX2249" fmla="*/ 2064925 w 2417513"/>
                  <a:gd name="connsiteY2249" fmla="*/ 854880 h 1867037"/>
                  <a:gd name="connsiteX2250" fmla="*/ 2063258 w 2417513"/>
                  <a:gd name="connsiteY2250" fmla="*/ 854274 h 1867037"/>
                  <a:gd name="connsiteX2251" fmla="*/ 2059622 w 2417513"/>
                  <a:gd name="connsiteY2251" fmla="*/ 854122 h 1867037"/>
                  <a:gd name="connsiteX2252" fmla="*/ 2058107 w 2417513"/>
                  <a:gd name="connsiteY2252" fmla="*/ 855486 h 1867037"/>
                  <a:gd name="connsiteX2253" fmla="*/ 2055228 w 2417513"/>
                  <a:gd name="connsiteY2253" fmla="*/ 857153 h 1867037"/>
                  <a:gd name="connsiteX2254" fmla="*/ 2052197 w 2417513"/>
                  <a:gd name="connsiteY2254" fmla="*/ 855486 h 1867037"/>
                  <a:gd name="connsiteX2255" fmla="*/ 2053106 w 2417513"/>
                  <a:gd name="connsiteY2255" fmla="*/ 852001 h 1867037"/>
                  <a:gd name="connsiteX2256" fmla="*/ 2053106 w 2417513"/>
                  <a:gd name="connsiteY2256" fmla="*/ 850183 h 1867037"/>
                  <a:gd name="connsiteX2257" fmla="*/ 2051894 w 2417513"/>
                  <a:gd name="connsiteY2257" fmla="*/ 850334 h 1867037"/>
                  <a:gd name="connsiteX2258" fmla="*/ 2045379 w 2417513"/>
                  <a:gd name="connsiteY2258" fmla="*/ 855486 h 1867037"/>
                  <a:gd name="connsiteX2259" fmla="*/ 2042197 w 2417513"/>
                  <a:gd name="connsiteY2259" fmla="*/ 860486 h 1867037"/>
                  <a:gd name="connsiteX2260" fmla="*/ 2040833 w 2417513"/>
                  <a:gd name="connsiteY2260" fmla="*/ 861547 h 1867037"/>
                  <a:gd name="connsiteX2261" fmla="*/ 2039470 w 2417513"/>
                  <a:gd name="connsiteY2261" fmla="*/ 861395 h 1867037"/>
                  <a:gd name="connsiteX2262" fmla="*/ 2037197 w 2417513"/>
                  <a:gd name="connsiteY2262" fmla="*/ 860637 h 1867037"/>
                  <a:gd name="connsiteX2263" fmla="*/ 2037045 w 2417513"/>
                  <a:gd name="connsiteY2263" fmla="*/ 860183 h 1867037"/>
                  <a:gd name="connsiteX2264" fmla="*/ 2040227 w 2417513"/>
                  <a:gd name="connsiteY2264" fmla="*/ 858062 h 1867037"/>
                  <a:gd name="connsiteX2265" fmla="*/ 2044015 w 2417513"/>
                  <a:gd name="connsiteY2265" fmla="*/ 851698 h 1867037"/>
                  <a:gd name="connsiteX2266" fmla="*/ 2044318 w 2417513"/>
                  <a:gd name="connsiteY2266" fmla="*/ 847758 h 1867037"/>
                  <a:gd name="connsiteX2267" fmla="*/ 2045833 w 2417513"/>
                  <a:gd name="connsiteY2267" fmla="*/ 840334 h 1867037"/>
                  <a:gd name="connsiteX2268" fmla="*/ 2037197 w 2417513"/>
                  <a:gd name="connsiteY2268" fmla="*/ 841697 h 1867037"/>
                  <a:gd name="connsiteX2269" fmla="*/ 2034469 w 2417513"/>
                  <a:gd name="connsiteY2269" fmla="*/ 843516 h 1867037"/>
                  <a:gd name="connsiteX2270" fmla="*/ 2035227 w 2417513"/>
                  <a:gd name="connsiteY2270" fmla="*/ 848213 h 1867037"/>
                  <a:gd name="connsiteX2271" fmla="*/ 2033712 w 2417513"/>
                  <a:gd name="connsiteY2271" fmla="*/ 851849 h 1867037"/>
                  <a:gd name="connsiteX2272" fmla="*/ 2033106 w 2417513"/>
                  <a:gd name="connsiteY2272" fmla="*/ 852152 h 1867037"/>
                  <a:gd name="connsiteX2273" fmla="*/ 2032651 w 2417513"/>
                  <a:gd name="connsiteY2273" fmla="*/ 847910 h 1867037"/>
                  <a:gd name="connsiteX2274" fmla="*/ 2031894 w 2417513"/>
                  <a:gd name="connsiteY2274" fmla="*/ 847455 h 1867037"/>
                  <a:gd name="connsiteX2275" fmla="*/ 2027197 w 2417513"/>
                  <a:gd name="connsiteY2275" fmla="*/ 850637 h 1867037"/>
                  <a:gd name="connsiteX2276" fmla="*/ 2026590 w 2417513"/>
                  <a:gd name="connsiteY2276" fmla="*/ 850486 h 1867037"/>
                  <a:gd name="connsiteX2277" fmla="*/ 2027045 w 2417513"/>
                  <a:gd name="connsiteY2277" fmla="*/ 848970 h 1867037"/>
                  <a:gd name="connsiteX2278" fmla="*/ 2029015 w 2417513"/>
                  <a:gd name="connsiteY2278" fmla="*/ 845182 h 1867037"/>
                  <a:gd name="connsiteX2279" fmla="*/ 2029166 w 2417513"/>
                  <a:gd name="connsiteY2279" fmla="*/ 843516 h 1867037"/>
                  <a:gd name="connsiteX2280" fmla="*/ 2027197 w 2417513"/>
                  <a:gd name="connsiteY2280" fmla="*/ 841243 h 1867037"/>
                  <a:gd name="connsiteX2281" fmla="*/ 2023560 w 2417513"/>
                  <a:gd name="connsiteY2281" fmla="*/ 838212 h 1867037"/>
                  <a:gd name="connsiteX2282" fmla="*/ 2024469 w 2417513"/>
                  <a:gd name="connsiteY2282" fmla="*/ 835940 h 1867037"/>
                  <a:gd name="connsiteX2283" fmla="*/ 2030833 w 2417513"/>
                  <a:gd name="connsiteY2283" fmla="*/ 833515 h 1867037"/>
                  <a:gd name="connsiteX2284" fmla="*/ 2032197 w 2417513"/>
                  <a:gd name="connsiteY2284" fmla="*/ 832455 h 1867037"/>
                  <a:gd name="connsiteX2285" fmla="*/ 2031439 w 2417513"/>
                  <a:gd name="connsiteY2285" fmla="*/ 831849 h 1867037"/>
                  <a:gd name="connsiteX2286" fmla="*/ 2028409 w 2417513"/>
                  <a:gd name="connsiteY2286" fmla="*/ 831242 h 1867037"/>
                  <a:gd name="connsiteX2287" fmla="*/ 2021439 w 2417513"/>
                  <a:gd name="connsiteY2287" fmla="*/ 831697 h 1867037"/>
                  <a:gd name="connsiteX2288" fmla="*/ 2019014 w 2417513"/>
                  <a:gd name="connsiteY2288" fmla="*/ 831545 h 1867037"/>
                  <a:gd name="connsiteX2289" fmla="*/ 2015832 w 2417513"/>
                  <a:gd name="connsiteY2289" fmla="*/ 830485 h 1867037"/>
                  <a:gd name="connsiteX2290" fmla="*/ 2012196 w 2417513"/>
                  <a:gd name="connsiteY2290" fmla="*/ 830030 h 1867037"/>
                  <a:gd name="connsiteX2291" fmla="*/ 2009165 w 2417513"/>
                  <a:gd name="connsiteY2291" fmla="*/ 828364 h 1867037"/>
                  <a:gd name="connsiteX2292" fmla="*/ 2006741 w 2417513"/>
                  <a:gd name="connsiteY2292" fmla="*/ 827606 h 1867037"/>
                  <a:gd name="connsiteX2293" fmla="*/ 2003711 w 2417513"/>
                  <a:gd name="connsiteY2293" fmla="*/ 827757 h 1867037"/>
                  <a:gd name="connsiteX2294" fmla="*/ 2000680 w 2417513"/>
                  <a:gd name="connsiteY2294" fmla="*/ 828970 h 1867037"/>
                  <a:gd name="connsiteX2295" fmla="*/ 1999014 w 2417513"/>
                  <a:gd name="connsiteY2295" fmla="*/ 828970 h 1867037"/>
                  <a:gd name="connsiteX2296" fmla="*/ 1996286 w 2417513"/>
                  <a:gd name="connsiteY2296" fmla="*/ 827757 h 1867037"/>
                  <a:gd name="connsiteX2297" fmla="*/ 1993256 w 2417513"/>
                  <a:gd name="connsiteY2297" fmla="*/ 824576 h 1867037"/>
                  <a:gd name="connsiteX2298" fmla="*/ 1993104 w 2417513"/>
                  <a:gd name="connsiteY2298" fmla="*/ 821545 h 1867037"/>
                  <a:gd name="connsiteX2299" fmla="*/ 1991589 w 2417513"/>
                  <a:gd name="connsiteY2299" fmla="*/ 820484 h 1867037"/>
                  <a:gd name="connsiteX2300" fmla="*/ 1988256 w 2417513"/>
                  <a:gd name="connsiteY2300" fmla="*/ 819121 h 1867037"/>
                  <a:gd name="connsiteX2301" fmla="*/ 1982649 w 2417513"/>
                  <a:gd name="connsiteY2301" fmla="*/ 818363 h 1867037"/>
                  <a:gd name="connsiteX2302" fmla="*/ 1973558 w 2417513"/>
                  <a:gd name="connsiteY2302" fmla="*/ 817909 h 1867037"/>
                  <a:gd name="connsiteX2303" fmla="*/ 1961285 w 2417513"/>
                  <a:gd name="connsiteY2303" fmla="*/ 813211 h 1867037"/>
                  <a:gd name="connsiteX2304" fmla="*/ 1960679 w 2417513"/>
                  <a:gd name="connsiteY2304" fmla="*/ 812605 h 1867037"/>
                  <a:gd name="connsiteX2305" fmla="*/ 1960982 w 2417513"/>
                  <a:gd name="connsiteY2305" fmla="*/ 812302 h 1867037"/>
                  <a:gd name="connsiteX2306" fmla="*/ 1964012 w 2417513"/>
                  <a:gd name="connsiteY2306" fmla="*/ 812454 h 1867037"/>
                  <a:gd name="connsiteX2307" fmla="*/ 1977498 w 2417513"/>
                  <a:gd name="connsiteY2307" fmla="*/ 815484 h 1867037"/>
                  <a:gd name="connsiteX2308" fmla="*/ 1979164 w 2417513"/>
                  <a:gd name="connsiteY2308" fmla="*/ 815484 h 1867037"/>
                  <a:gd name="connsiteX2309" fmla="*/ 1982498 w 2417513"/>
                  <a:gd name="connsiteY2309" fmla="*/ 813969 h 1867037"/>
                  <a:gd name="connsiteX2310" fmla="*/ 1985074 w 2417513"/>
                  <a:gd name="connsiteY2310" fmla="*/ 813515 h 1867037"/>
                  <a:gd name="connsiteX2311" fmla="*/ 1988559 w 2417513"/>
                  <a:gd name="connsiteY2311" fmla="*/ 813818 h 1867037"/>
                  <a:gd name="connsiteX2312" fmla="*/ 1997044 w 2417513"/>
                  <a:gd name="connsiteY2312" fmla="*/ 816242 h 1867037"/>
                  <a:gd name="connsiteX2313" fmla="*/ 2000680 w 2417513"/>
                  <a:gd name="connsiteY2313" fmla="*/ 816696 h 1867037"/>
                  <a:gd name="connsiteX2314" fmla="*/ 2003105 w 2417513"/>
                  <a:gd name="connsiteY2314" fmla="*/ 812908 h 1867037"/>
                  <a:gd name="connsiteX2315" fmla="*/ 2004317 w 2417513"/>
                  <a:gd name="connsiteY2315" fmla="*/ 809575 h 1867037"/>
                  <a:gd name="connsiteX2316" fmla="*/ 2004317 w 2417513"/>
                  <a:gd name="connsiteY2316" fmla="*/ 804575 h 1867037"/>
                  <a:gd name="connsiteX2317" fmla="*/ 2002044 w 2417513"/>
                  <a:gd name="connsiteY2317" fmla="*/ 803211 h 1867037"/>
                  <a:gd name="connsiteX2318" fmla="*/ 1994165 w 2417513"/>
                  <a:gd name="connsiteY2318" fmla="*/ 800029 h 1867037"/>
                  <a:gd name="connsiteX2319" fmla="*/ 1989165 w 2417513"/>
                  <a:gd name="connsiteY2319" fmla="*/ 798362 h 1867037"/>
                  <a:gd name="connsiteX2320" fmla="*/ 1986134 w 2417513"/>
                  <a:gd name="connsiteY2320" fmla="*/ 798059 h 1867037"/>
                  <a:gd name="connsiteX2321" fmla="*/ 1970376 w 2417513"/>
                  <a:gd name="connsiteY2321" fmla="*/ 802454 h 1867037"/>
                  <a:gd name="connsiteX2322" fmla="*/ 1969012 w 2417513"/>
                  <a:gd name="connsiteY2322" fmla="*/ 801544 h 1867037"/>
                  <a:gd name="connsiteX2323" fmla="*/ 1980528 w 2417513"/>
                  <a:gd name="connsiteY2323" fmla="*/ 796393 h 1867037"/>
                  <a:gd name="connsiteX2324" fmla="*/ 1986286 w 2417513"/>
                  <a:gd name="connsiteY2324" fmla="*/ 795181 h 1867037"/>
                  <a:gd name="connsiteX2325" fmla="*/ 1992044 w 2417513"/>
                  <a:gd name="connsiteY2325" fmla="*/ 796544 h 1867037"/>
                  <a:gd name="connsiteX2326" fmla="*/ 1999165 w 2417513"/>
                  <a:gd name="connsiteY2326" fmla="*/ 794423 h 1867037"/>
                  <a:gd name="connsiteX2327" fmla="*/ 2003862 w 2417513"/>
                  <a:gd name="connsiteY2327" fmla="*/ 796696 h 1867037"/>
                  <a:gd name="connsiteX2328" fmla="*/ 2008105 w 2417513"/>
                  <a:gd name="connsiteY2328" fmla="*/ 798059 h 1867037"/>
                  <a:gd name="connsiteX2329" fmla="*/ 2011438 w 2417513"/>
                  <a:gd name="connsiteY2329" fmla="*/ 798362 h 1867037"/>
                  <a:gd name="connsiteX2330" fmla="*/ 2015529 w 2417513"/>
                  <a:gd name="connsiteY2330" fmla="*/ 797453 h 1867037"/>
                  <a:gd name="connsiteX2331" fmla="*/ 2018863 w 2417513"/>
                  <a:gd name="connsiteY2331" fmla="*/ 798059 h 1867037"/>
                  <a:gd name="connsiteX2332" fmla="*/ 2029924 w 2417513"/>
                  <a:gd name="connsiteY2332" fmla="*/ 798969 h 1867037"/>
                  <a:gd name="connsiteX2333" fmla="*/ 2032500 w 2417513"/>
                  <a:gd name="connsiteY2333" fmla="*/ 798211 h 1867037"/>
                  <a:gd name="connsiteX2334" fmla="*/ 2033257 w 2417513"/>
                  <a:gd name="connsiteY2334" fmla="*/ 797150 h 1867037"/>
                  <a:gd name="connsiteX2335" fmla="*/ 2033409 w 2417513"/>
                  <a:gd name="connsiteY2335" fmla="*/ 793968 h 1867037"/>
                  <a:gd name="connsiteX2336" fmla="*/ 2033106 w 2417513"/>
                  <a:gd name="connsiteY2336" fmla="*/ 792605 h 1867037"/>
                  <a:gd name="connsiteX2337" fmla="*/ 2032197 w 2417513"/>
                  <a:gd name="connsiteY2337" fmla="*/ 791393 h 1867037"/>
                  <a:gd name="connsiteX2338" fmla="*/ 2030681 w 2417513"/>
                  <a:gd name="connsiteY2338" fmla="*/ 790180 h 1867037"/>
                  <a:gd name="connsiteX2339" fmla="*/ 2022954 w 2417513"/>
                  <a:gd name="connsiteY2339" fmla="*/ 786089 h 1867037"/>
                  <a:gd name="connsiteX2340" fmla="*/ 2017954 w 2417513"/>
                  <a:gd name="connsiteY2340" fmla="*/ 784271 h 1867037"/>
                  <a:gd name="connsiteX2341" fmla="*/ 2014620 w 2417513"/>
                  <a:gd name="connsiteY2341" fmla="*/ 783665 h 1867037"/>
                  <a:gd name="connsiteX2342" fmla="*/ 2004620 w 2417513"/>
                  <a:gd name="connsiteY2342" fmla="*/ 783362 h 1867037"/>
                  <a:gd name="connsiteX2343" fmla="*/ 2001893 w 2417513"/>
                  <a:gd name="connsiteY2343" fmla="*/ 783513 h 1867037"/>
                  <a:gd name="connsiteX2344" fmla="*/ 1999620 w 2417513"/>
                  <a:gd name="connsiteY2344" fmla="*/ 784271 h 1867037"/>
                  <a:gd name="connsiteX2345" fmla="*/ 1995528 w 2417513"/>
                  <a:gd name="connsiteY2345" fmla="*/ 783513 h 1867037"/>
                  <a:gd name="connsiteX2346" fmla="*/ 1983104 w 2417513"/>
                  <a:gd name="connsiteY2346" fmla="*/ 778513 h 1867037"/>
                  <a:gd name="connsiteX2347" fmla="*/ 1975679 w 2417513"/>
                  <a:gd name="connsiteY2347" fmla="*/ 779119 h 1867037"/>
                  <a:gd name="connsiteX2348" fmla="*/ 1967800 w 2417513"/>
                  <a:gd name="connsiteY2348" fmla="*/ 781392 h 1867037"/>
                  <a:gd name="connsiteX2349" fmla="*/ 1962952 w 2417513"/>
                  <a:gd name="connsiteY2349" fmla="*/ 781695 h 1867037"/>
                  <a:gd name="connsiteX2350" fmla="*/ 1963558 w 2417513"/>
                  <a:gd name="connsiteY2350" fmla="*/ 780028 h 1867037"/>
                  <a:gd name="connsiteX2351" fmla="*/ 1966437 w 2417513"/>
                  <a:gd name="connsiteY2351" fmla="*/ 778665 h 1867037"/>
                  <a:gd name="connsiteX2352" fmla="*/ 1974316 w 2417513"/>
                  <a:gd name="connsiteY2352" fmla="*/ 776240 h 1867037"/>
                  <a:gd name="connsiteX2353" fmla="*/ 1978861 w 2417513"/>
                  <a:gd name="connsiteY2353" fmla="*/ 775331 h 1867037"/>
                  <a:gd name="connsiteX2354" fmla="*/ 1987043 w 2417513"/>
                  <a:gd name="connsiteY2354" fmla="*/ 775331 h 1867037"/>
                  <a:gd name="connsiteX2355" fmla="*/ 1989316 w 2417513"/>
                  <a:gd name="connsiteY2355" fmla="*/ 774271 h 1867037"/>
                  <a:gd name="connsiteX2356" fmla="*/ 1990529 w 2417513"/>
                  <a:gd name="connsiteY2356" fmla="*/ 772452 h 1867037"/>
                  <a:gd name="connsiteX2357" fmla="*/ 1992195 w 2417513"/>
                  <a:gd name="connsiteY2357" fmla="*/ 770937 h 1867037"/>
                  <a:gd name="connsiteX2358" fmla="*/ 1994317 w 2417513"/>
                  <a:gd name="connsiteY2358" fmla="*/ 769725 h 1867037"/>
                  <a:gd name="connsiteX2359" fmla="*/ 1996892 w 2417513"/>
                  <a:gd name="connsiteY2359" fmla="*/ 768967 h 1867037"/>
                  <a:gd name="connsiteX2360" fmla="*/ 2002802 w 2417513"/>
                  <a:gd name="connsiteY2360" fmla="*/ 768664 h 1867037"/>
                  <a:gd name="connsiteX2361" fmla="*/ 2015681 w 2417513"/>
                  <a:gd name="connsiteY2361" fmla="*/ 771392 h 1867037"/>
                  <a:gd name="connsiteX2362" fmla="*/ 2017802 w 2417513"/>
                  <a:gd name="connsiteY2362" fmla="*/ 771392 h 1867037"/>
                  <a:gd name="connsiteX2363" fmla="*/ 2018863 w 2417513"/>
                  <a:gd name="connsiteY2363" fmla="*/ 770937 h 1867037"/>
                  <a:gd name="connsiteX2364" fmla="*/ 2019620 w 2417513"/>
                  <a:gd name="connsiteY2364" fmla="*/ 769725 h 1867037"/>
                  <a:gd name="connsiteX2365" fmla="*/ 2020226 w 2417513"/>
                  <a:gd name="connsiteY2365" fmla="*/ 767604 h 1867037"/>
                  <a:gd name="connsiteX2366" fmla="*/ 2019620 w 2417513"/>
                  <a:gd name="connsiteY2366" fmla="*/ 764573 h 1867037"/>
                  <a:gd name="connsiteX2367" fmla="*/ 2016287 w 2417513"/>
                  <a:gd name="connsiteY2367" fmla="*/ 757755 h 1867037"/>
                  <a:gd name="connsiteX2368" fmla="*/ 2015075 w 2417513"/>
                  <a:gd name="connsiteY2368" fmla="*/ 755937 h 1867037"/>
                  <a:gd name="connsiteX2369" fmla="*/ 2005377 w 2417513"/>
                  <a:gd name="connsiteY2369" fmla="*/ 746845 h 1867037"/>
                  <a:gd name="connsiteX2370" fmla="*/ 2001589 w 2417513"/>
                  <a:gd name="connsiteY2370" fmla="*/ 743815 h 1867037"/>
                  <a:gd name="connsiteX2371" fmla="*/ 1995983 w 2417513"/>
                  <a:gd name="connsiteY2371" fmla="*/ 741997 h 1867037"/>
                  <a:gd name="connsiteX2372" fmla="*/ 1994317 w 2417513"/>
                  <a:gd name="connsiteY2372" fmla="*/ 742148 h 1867037"/>
                  <a:gd name="connsiteX2373" fmla="*/ 1992044 w 2417513"/>
                  <a:gd name="connsiteY2373" fmla="*/ 743815 h 1867037"/>
                  <a:gd name="connsiteX2374" fmla="*/ 1989922 w 2417513"/>
                  <a:gd name="connsiteY2374" fmla="*/ 746391 h 1867037"/>
                  <a:gd name="connsiteX2375" fmla="*/ 1988710 w 2417513"/>
                  <a:gd name="connsiteY2375" fmla="*/ 748815 h 1867037"/>
                  <a:gd name="connsiteX2376" fmla="*/ 1989013 w 2417513"/>
                  <a:gd name="connsiteY2376" fmla="*/ 749724 h 1867037"/>
                  <a:gd name="connsiteX2377" fmla="*/ 1992044 w 2417513"/>
                  <a:gd name="connsiteY2377" fmla="*/ 751240 h 1867037"/>
                  <a:gd name="connsiteX2378" fmla="*/ 1991438 w 2417513"/>
                  <a:gd name="connsiteY2378" fmla="*/ 751997 h 1867037"/>
                  <a:gd name="connsiteX2379" fmla="*/ 1989468 w 2417513"/>
                  <a:gd name="connsiteY2379" fmla="*/ 753209 h 1867037"/>
                  <a:gd name="connsiteX2380" fmla="*/ 1987043 w 2417513"/>
                  <a:gd name="connsiteY2380" fmla="*/ 753967 h 1867037"/>
                  <a:gd name="connsiteX2381" fmla="*/ 1984316 w 2417513"/>
                  <a:gd name="connsiteY2381" fmla="*/ 754270 h 1867037"/>
                  <a:gd name="connsiteX2382" fmla="*/ 1981892 w 2417513"/>
                  <a:gd name="connsiteY2382" fmla="*/ 755937 h 1867037"/>
                  <a:gd name="connsiteX2383" fmla="*/ 1979770 w 2417513"/>
                  <a:gd name="connsiteY2383" fmla="*/ 758967 h 1867037"/>
                  <a:gd name="connsiteX2384" fmla="*/ 1977346 w 2417513"/>
                  <a:gd name="connsiteY2384" fmla="*/ 760331 h 1867037"/>
                  <a:gd name="connsiteX2385" fmla="*/ 1973103 w 2417513"/>
                  <a:gd name="connsiteY2385" fmla="*/ 759725 h 1867037"/>
                  <a:gd name="connsiteX2386" fmla="*/ 1970073 w 2417513"/>
                  <a:gd name="connsiteY2386" fmla="*/ 758513 h 1867037"/>
                  <a:gd name="connsiteX2387" fmla="*/ 1974770 w 2417513"/>
                  <a:gd name="connsiteY2387" fmla="*/ 753512 h 1867037"/>
                  <a:gd name="connsiteX2388" fmla="*/ 1976437 w 2417513"/>
                  <a:gd name="connsiteY2388" fmla="*/ 752452 h 1867037"/>
                  <a:gd name="connsiteX2389" fmla="*/ 1977952 w 2417513"/>
                  <a:gd name="connsiteY2389" fmla="*/ 750330 h 1867037"/>
                  <a:gd name="connsiteX2390" fmla="*/ 1977649 w 2417513"/>
                  <a:gd name="connsiteY2390" fmla="*/ 748664 h 1867037"/>
                  <a:gd name="connsiteX2391" fmla="*/ 1977195 w 2417513"/>
                  <a:gd name="connsiteY2391" fmla="*/ 747755 h 1867037"/>
                  <a:gd name="connsiteX2392" fmla="*/ 1976437 w 2417513"/>
                  <a:gd name="connsiteY2392" fmla="*/ 747603 h 1867037"/>
                  <a:gd name="connsiteX2393" fmla="*/ 1972649 w 2417513"/>
                  <a:gd name="connsiteY2393" fmla="*/ 747452 h 1867037"/>
                  <a:gd name="connsiteX2394" fmla="*/ 1963709 w 2417513"/>
                  <a:gd name="connsiteY2394" fmla="*/ 748512 h 1867037"/>
                  <a:gd name="connsiteX2395" fmla="*/ 1957194 w 2417513"/>
                  <a:gd name="connsiteY2395" fmla="*/ 749724 h 1867037"/>
                  <a:gd name="connsiteX2396" fmla="*/ 1953103 w 2417513"/>
                  <a:gd name="connsiteY2396" fmla="*/ 751240 h 1867037"/>
                  <a:gd name="connsiteX2397" fmla="*/ 1948709 w 2417513"/>
                  <a:gd name="connsiteY2397" fmla="*/ 755331 h 1867037"/>
                  <a:gd name="connsiteX2398" fmla="*/ 1945527 w 2417513"/>
                  <a:gd name="connsiteY2398" fmla="*/ 756240 h 1867037"/>
                  <a:gd name="connsiteX2399" fmla="*/ 1941587 w 2417513"/>
                  <a:gd name="connsiteY2399" fmla="*/ 755634 h 1867037"/>
                  <a:gd name="connsiteX2400" fmla="*/ 1941436 w 2417513"/>
                  <a:gd name="connsiteY2400" fmla="*/ 754270 h 1867037"/>
                  <a:gd name="connsiteX2401" fmla="*/ 1951284 w 2417513"/>
                  <a:gd name="connsiteY2401" fmla="*/ 748512 h 1867037"/>
                  <a:gd name="connsiteX2402" fmla="*/ 1958558 w 2417513"/>
                  <a:gd name="connsiteY2402" fmla="*/ 745330 h 1867037"/>
                  <a:gd name="connsiteX2403" fmla="*/ 1962346 w 2417513"/>
                  <a:gd name="connsiteY2403" fmla="*/ 744118 h 1867037"/>
                  <a:gd name="connsiteX2404" fmla="*/ 1968406 w 2417513"/>
                  <a:gd name="connsiteY2404" fmla="*/ 743512 h 1867037"/>
                  <a:gd name="connsiteX2405" fmla="*/ 1974922 w 2417513"/>
                  <a:gd name="connsiteY2405" fmla="*/ 742300 h 1867037"/>
                  <a:gd name="connsiteX2406" fmla="*/ 1976286 w 2417513"/>
                  <a:gd name="connsiteY2406" fmla="*/ 741845 h 1867037"/>
                  <a:gd name="connsiteX2407" fmla="*/ 1980376 w 2417513"/>
                  <a:gd name="connsiteY2407" fmla="*/ 738966 h 1867037"/>
                  <a:gd name="connsiteX2408" fmla="*/ 1982649 w 2417513"/>
                  <a:gd name="connsiteY2408" fmla="*/ 737906 h 1867037"/>
                  <a:gd name="connsiteX2409" fmla="*/ 1984771 w 2417513"/>
                  <a:gd name="connsiteY2409" fmla="*/ 737451 h 1867037"/>
                  <a:gd name="connsiteX2410" fmla="*/ 1986589 w 2417513"/>
                  <a:gd name="connsiteY2410" fmla="*/ 736239 h 1867037"/>
                  <a:gd name="connsiteX2411" fmla="*/ 1988104 w 2417513"/>
                  <a:gd name="connsiteY2411" fmla="*/ 734269 h 1867037"/>
                  <a:gd name="connsiteX2412" fmla="*/ 1988256 w 2417513"/>
                  <a:gd name="connsiteY2412" fmla="*/ 732148 h 1867037"/>
                  <a:gd name="connsiteX2413" fmla="*/ 1987043 w 2417513"/>
                  <a:gd name="connsiteY2413" fmla="*/ 730027 h 1867037"/>
                  <a:gd name="connsiteX2414" fmla="*/ 1985831 w 2417513"/>
                  <a:gd name="connsiteY2414" fmla="*/ 728511 h 1867037"/>
                  <a:gd name="connsiteX2415" fmla="*/ 1984468 w 2417513"/>
                  <a:gd name="connsiteY2415" fmla="*/ 727754 h 1867037"/>
                  <a:gd name="connsiteX2416" fmla="*/ 1973710 w 2417513"/>
                  <a:gd name="connsiteY2416" fmla="*/ 723966 h 1867037"/>
                  <a:gd name="connsiteX2417" fmla="*/ 1968861 w 2417513"/>
                  <a:gd name="connsiteY2417" fmla="*/ 721996 h 1867037"/>
                  <a:gd name="connsiteX2418" fmla="*/ 1965982 w 2417513"/>
                  <a:gd name="connsiteY2418" fmla="*/ 720178 h 1867037"/>
                  <a:gd name="connsiteX2419" fmla="*/ 1962649 w 2417513"/>
                  <a:gd name="connsiteY2419" fmla="*/ 719269 h 1867037"/>
                  <a:gd name="connsiteX2420" fmla="*/ 1959770 w 2417513"/>
                  <a:gd name="connsiteY2420" fmla="*/ 718966 h 1867037"/>
                  <a:gd name="connsiteX2421" fmla="*/ 1955224 w 2417513"/>
                  <a:gd name="connsiteY2421" fmla="*/ 719572 h 1867037"/>
                  <a:gd name="connsiteX2422" fmla="*/ 1951588 w 2417513"/>
                  <a:gd name="connsiteY2422" fmla="*/ 719117 h 1867037"/>
                  <a:gd name="connsiteX2423" fmla="*/ 1948860 w 2417513"/>
                  <a:gd name="connsiteY2423" fmla="*/ 716693 h 1867037"/>
                  <a:gd name="connsiteX2424" fmla="*/ 1944618 w 2417513"/>
                  <a:gd name="connsiteY2424" fmla="*/ 716238 h 1867037"/>
                  <a:gd name="connsiteX2425" fmla="*/ 1940981 w 2417513"/>
                  <a:gd name="connsiteY2425" fmla="*/ 716996 h 1867037"/>
                  <a:gd name="connsiteX2426" fmla="*/ 1934011 w 2417513"/>
                  <a:gd name="connsiteY2426" fmla="*/ 719117 h 1867037"/>
                  <a:gd name="connsiteX2427" fmla="*/ 1927950 w 2417513"/>
                  <a:gd name="connsiteY2427" fmla="*/ 721541 h 1867037"/>
                  <a:gd name="connsiteX2428" fmla="*/ 1920071 w 2417513"/>
                  <a:gd name="connsiteY2428" fmla="*/ 726239 h 1867037"/>
                  <a:gd name="connsiteX2429" fmla="*/ 1916586 w 2417513"/>
                  <a:gd name="connsiteY2429" fmla="*/ 729421 h 1867037"/>
                  <a:gd name="connsiteX2430" fmla="*/ 1914768 w 2417513"/>
                  <a:gd name="connsiteY2430" fmla="*/ 732451 h 1867037"/>
                  <a:gd name="connsiteX2431" fmla="*/ 1907495 w 2417513"/>
                  <a:gd name="connsiteY2431" fmla="*/ 747755 h 1867037"/>
                  <a:gd name="connsiteX2432" fmla="*/ 1904919 w 2417513"/>
                  <a:gd name="connsiteY2432" fmla="*/ 751694 h 1867037"/>
                  <a:gd name="connsiteX2433" fmla="*/ 1904313 w 2417513"/>
                  <a:gd name="connsiteY2433" fmla="*/ 751694 h 1867037"/>
                  <a:gd name="connsiteX2434" fmla="*/ 1908404 w 2417513"/>
                  <a:gd name="connsiteY2434" fmla="*/ 736997 h 1867037"/>
                  <a:gd name="connsiteX2435" fmla="*/ 1908556 w 2417513"/>
                  <a:gd name="connsiteY2435" fmla="*/ 733209 h 1867037"/>
                  <a:gd name="connsiteX2436" fmla="*/ 1907192 w 2417513"/>
                  <a:gd name="connsiteY2436" fmla="*/ 731693 h 1867037"/>
                  <a:gd name="connsiteX2437" fmla="*/ 1905828 w 2417513"/>
                  <a:gd name="connsiteY2437" fmla="*/ 730784 h 1867037"/>
                  <a:gd name="connsiteX2438" fmla="*/ 1904465 w 2417513"/>
                  <a:gd name="connsiteY2438" fmla="*/ 730633 h 1867037"/>
                  <a:gd name="connsiteX2439" fmla="*/ 1903101 w 2417513"/>
                  <a:gd name="connsiteY2439" fmla="*/ 731087 h 1867037"/>
                  <a:gd name="connsiteX2440" fmla="*/ 1900677 w 2417513"/>
                  <a:gd name="connsiteY2440" fmla="*/ 733057 h 1867037"/>
                  <a:gd name="connsiteX2441" fmla="*/ 1897495 w 2417513"/>
                  <a:gd name="connsiteY2441" fmla="*/ 737451 h 1867037"/>
                  <a:gd name="connsiteX2442" fmla="*/ 1896283 w 2417513"/>
                  <a:gd name="connsiteY2442" fmla="*/ 738512 h 1867037"/>
                  <a:gd name="connsiteX2443" fmla="*/ 1895070 w 2417513"/>
                  <a:gd name="connsiteY2443" fmla="*/ 738512 h 1867037"/>
                  <a:gd name="connsiteX2444" fmla="*/ 1891888 w 2417513"/>
                  <a:gd name="connsiteY2444" fmla="*/ 736694 h 1867037"/>
                  <a:gd name="connsiteX2445" fmla="*/ 1894313 w 2417513"/>
                  <a:gd name="connsiteY2445" fmla="*/ 735481 h 1867037"/>
                  <a:gd name="connsiteX2446" fmla="*/ 1896283 w 2417513"/>
                  <a:gd name="connsiteY2446" fmla="*/ 733966 h 1867037"/>
                  <a:gd name="connsiteX2447" fmla="*/ 1898252 w 2417513"/>
                  <a:gd name="connsiteY2447" fmla="*/ 731693 h 1867037"/>
                  <a:gd name="connsiteX2448" fmla="*/ 1900222 w 2417513"/>
                  <a:gd name="connsiteY2448" fmla="*/ 730027 h 1867037"/>
                  <a:gd name="connsiteX2449" fmla="*/ 1905828 w 2417513"/>
                  <a:gd name="connsiteY2449" fmla="*/ 728057 h 1867037"/>
                  <a:gd name="connsiteX2450" fmla="*/ 1910980 w 2417513"/>
                  <a:gd name="connsiteY2450" fmla="*/ 726845 h 1867037"/>
                  <a:gd name="connsiteX2451" fmla="*/ 1915677 w 2417513"/>
                  <a:gd name="connsiteY2451" fmla="*/ 724572 h 1867037"/>
                  <a:gd name="connsiteX2452" fmla="*/ 1922799 w 2417513"/>
                  <a:gd name="connsiteY2452" fmla="*/ 718663 h 1867037"/>
                  <a:gd name="connsiteX2453" fmla="*/ 1925677 w 2417513"/>
                  <a:gd name="connsiteY2453" fmla="*/ 714723 h 1867037"/>
                  <a:gd name="connsiteX2454" fmla="*/ 1926132 w 2417513"/>
                  <a:gd name="connsiteY2454" fmla="*/ 713208 h 1867037"/>
                  <a:gd name="connsiteX2455" fmla="*/ 1926132 w 2417513"/>
                  <a:gd name="connsiteY2455" fmla="*/ 708056 h 1867037"/>
                  <a:gd name="connsiteX2456" fmla="*/ 1925071 w 2417513"/>
                  <a:gd name="connsiteY2456" fmla="*/ 705783 h 1867037"/>
                  <a:gd name="connsiteX2457" fmla="*/ 1921738 w 2417513"/>
                  <a:gd name="connsiteY2457" fmla="*/ 703208 h 1867037"/>
                  <a:gd name="connsiteX2458" fmla="*/ 1920829 w 2417513"/>
                  <a:gd name="connsiteY2458" fmla="*/ 702904 h 1867037"/>
                  <a:gd name="connsiteX2459" fmla="*/ 1919162 w 2417513"/>
                  <a:gd name="connsiteY2459" fmla="*/ 703359 h 1867037"/>
                  <a:gd name="connsiteX2460" fmla="*/ 1914920 w 2417513"/>
                  <a:gd name="connsiteY2460" fmla="*/ 705783 h 1867037"/>
                  <a:gd name="connsiteX2461" fmla="*/ 1911132 w 2417513"/>
                  <a:gd name="connsiteY2461" fmla="*/ 709420 h 1867037"/>
                  <a:gd name="connsiteX2462" fmla="*/ 1906131 w 2417513"/>
                  <a:gd name="connsiteY2462" fmla="*/ 709571 h 1867037"/>
                  <a:gd name="connsiteX2463" fmla="*/ 1895979 w 2417513"/>
                  <a:gd name="connsiteY2463" fmla="*/ 705935 h 1867037"/>
                  <a:gd name="connsiteX2464" fmla="*/ 1888707 w 2417513"/>
                  <a:gd name="connsiteY2464" fmla="*/ 707602 h 1867037"/>
                  <a:gd name="connsiteX2465" fmla="*/ 1884919 w 2417513"/>
                  <a:gd name="connsiteY2465" fmla="*/ 711238 h 1867037"/>
                  <a:gd name="connsiteX2466" fmla="*/ 1882949 w 2417513"/>
                  <a:gd name="connsiteY2466" fmla="*/ 714723 h 1867037"/>
                  <a:gd name="connsiteX2467" fmla="*/ 1880524 w 2417513"/>
                  <a:gd name="connsiteY2467" fmla="*/ 716541 h 1867037"/>
                  <a:gd name="connsiteX2468" fmla="*/ 1871736 w 2417513"/>
                  <a:gd name="connsiteY2468" fmla="*/ 716693 h 1867037"/>
                  <a:gd name="connsiteX2469" fmla="*/ 1872645 w 2417513"/>
                  <a:gd name="connsiteY2469" fmla="*/ 715784 h 1867037"/>
                  <a:gd name="connsiteX2470" fmla="*/ 1876736 w 2417513"/>
                  <a:gd name="connsiteY2470" fmla="*/ 714117 h 1867037"/>
                  <a:gd name="connsiteX2471" fmla="*/ 1880827 w 2417513"/>
                  <a:gd name="connsiteY2471" fmla="*/ 711390 h 1867037"/>
                  <a:gd name="connsiteX2472" fmla="*/ 1888252 w 2417513"/>
                  <a:gd name="connsiteY2472" fmla="*/ 705026 h 1867037"/>
                  <a:gd name="connsiteX2473" fmla="*/ 1890676 w 2417513"/>
                  <a:gd name="connsiteY2473" fmla="*/ 703511 h 1867037"/>
                  <a:gd name="connsiteX2474" fmla="*/ 1892949 w 2417513"/>
                  <a:gd name="connsiteY2474" fmla="*/ 703056 h 1867037"/>
                  <a:gd name="connsiteX2475" fmla="*/ 1900222 w 2417513"/>
                  <a:gd name="connsiteY2475" fmla="*/ 703965 h 1867037"/>
                  <a:gd name="connsiteX2476" fmla="*/ 1902949 w 2417513"/>
                  <a:gd name="connsiteY2476" fmla="*/ 703056 h 1867037"/>
                  <a:gd name="connsiteX2477" fmla="*/ 1905677 w 2417513"/>
                  <a:gd name="connsiteY2477" fmla="*/ 700935 h 1867037"/>
                  <a:gd name="connsiteX2478" fmla="*/ 1910525 w 2417513"/>
                  <a:gd name="connsiteY2478" fmla="*/ 696238 h 1867037"/>
                  <a:gd name="connsiteX2479" fmla="*/ 1911435 w 2417513"/>
                  <a:gd name="connsiteY2479" fmla="*/ 694268 h 1867037"/>
                  <a:gd name="connsiteX2480" fmla="*/ 1910222 w 2417513"/>
                  <a:gd name="connsiteY2480" fmla="*/ 691237 h 1867037"/>
                  <a:gd name="connsiteX2481" fmla="*/ 1909465 w 2417513"/>
                  <a:gd name="connsiteY2481" fmla="*/ 690025 h 1867037"/>
                  <a:gd name="connsiteX2482" fmla="*/ 1907344 w 2417513"/>
                  <a:gd name="connsiteY2482" fmla="*/ 687904 h 1867037"/>
                  <a:gd name="connsiteX2483" fmla="*/ 1903859 w 2417513"/>
                  <a:gd name="connsiteY2483" fmla="*/ 684874 h 1867037"/>
                  <a:gd name="connsiteX2484" fmla="*/ 1898858 w 2417513"/>
                  <a:gd name="connsiteY2484" fmla="*/ 682146 h 1867037"/>
                  <a:gd name="connsiteX2485" fmla="*/ 1892495 w 2417513"/>
                  <a:gd name="connsiteY2485" fmla="*/ 679873 h 1867037"/>
                  <a:gd name="connsiteX2486" fmla="*/ 1885828 w 2417513"/>
                  <a:gd name="connsiteY2486" fmla="*/ 678207 h 1867037"/>
                  <a:gd name="connsiteX2487" fmla="*/ 1879009 w 2417513"/>
                  <a:gd name="connsiteY2487" fmla="*/ 677297 h 1867037"/>
                  <a:gd name="connsiteX2488" fmla="*/ 1874767 w 2417513"/>
                  <a:gd name="connsiteY2488" fmla="*/ 676994 h 1867037"/>
                  <a:gd name="connsiteX2489" fmla="*/ 1873100 w 2417513"/>
                  <a:gd name="connsiteY2489" fmla="*/ 677449 h 1867037"/>
                  <a:gd name="connsiteX2490" fmla="*/ 1869766 w 2417513"/>
                  <a:gd name="connsiteY2490" fmla="*/ 675782 h 1867037"/>
                  <a:gd name="connsiteX2491" fmla="*/ 1864312 w 2417513"/>
                  <a:gd name="connsiteY2491" fmla="*/ 673812 h 1867037"/>
                  <a:gd name="connsiteX2492" fmla="*/ 1856584 w 2417513"/>
                  <a:gd name="connsiteY2492" fmla="*/ 679570 h 1867037"/>
                  <a:gd name="connsiteX2493" fmla="*/ 1854008 w 2417513"/>
                  <a:gd name="connsiteY2493" fmla="*/ 680934 h 1867037"/>
                  <a:gd name="connsiteX2494" fmla="*/ 1853099 w 2417513"/>
                  <a:gd name="connsiteY2494" fmla="*/ 683661 h 1867037"/>
                  <a:gd name="connsiteX2495" fmla="*/ 1856281 w 2417513"/>
                  <a:gd name="connsiteY2495" fmla="*/ 690480 h 1867037"/>
                  <a:gd name="connsiteX2496" fmla="*/ 1856584 w 2417513"/>
                  <a:gd name="connsiteY2496" fmla="*/ 693813 h 1867037"/>
                  <a:gd name="connsiteX2497" fmla="*/ 1854311 w 2417513"/>
                  <a:gd name="connsiteY2497" fmla="*/ 691843 h 1867037"/>
                  <a:gd name="connsiteX2498" fmla="*/ 1850675 w 2417513"/>
                  <a:gd name="connsiteY2498" fmla="*/ 689268 h 1867037"/>
                  <a:gd name="connsiteX2499" fmla="*/ 1848402 w 2417513"/>
                  <a:gd name="connsiteY2499" fmla="*/ 683964 h 1867037"/>
                  <a:gd name="connsiteX2500" fmla="*/ 1844614 w 2417513"/>
                  <a:gd name="connsiteY2500" fmla="*/ 681692 h 1867037"/>
                  <a:gd name="connsiteX2501" fmla="*/ 1842190 w 2417513"/>
                  <a:gd name="connsiteY2501" fmla="*/ 678510 h 1867037"/>
                  <a:gd name="connsiteX2502" fmla="*/ 1838402 w 2417513"/>
                  <a:gd name="connsiteY2502" fmla="*/ 681995 h 1867037"/>
                  <a:gd name="connsiteX2503" fmla="*/ 1835068 w 2417513"/>
                  <a:gd name="connsiteY2503" fmla="*/ 684267 h 1867037"/>
                  <a:gd name="connsiteX2504" fmla="*/ 1832644 w 2417513"/>
                  <a:gd name="connsiteY2504" fmla="*/ 686540 h 1867037"/>
                  <a:gd name="connsiteX2505" fmla="*/ 1829007 w 2417513"/>
                  <a:gd name="connsiteY2505" fmla="*/ 687601 h 1867037"/>
                  <a:gd name="connsiteX2506" fmla="*/ 1837947 w 2417513"/>
                  <a:gd name="connsiteY2506" fmla="*/ 677752 h 1867037"/>
                  <a:gd name="connsiteX2507" fmla="*/ 1842190 w 2417513"/>
                  <a:gd name="connsiteY2507" fmla="*/ 671691 h 1867037"/>
                  <a:gd name="connsiteX2508" fmla="*/ 1842341 w 2417513"/>
                  <a:gd name="connsiteY2508" fmla="*/ 670327 h 1867037"/>
                  <a:gd name="connsiteX2509" fmla="*/ 1839462 w 2417513"/>
                  <a:gd name="connsiteY2509" fmla="*/ 669115 h 1867037"/>
                  <a:gd name="connsiteX2510" fmla="*/ 1838098 w 2417513"/>
                  <a:gd name="connsiteY2510" fmla="*/ 669115 h 1867037"/>
                  <a:gd name="connsiteX2511" fmla="*/ 1834614 w 2417513"/>
                  <a:gd name="connsiteY2511" fmla="*/ 670176 h 1867037"/>
                  <a:gd name="connsiteX2512" fmla="*/ 1830522 w 2417513"/>
                  <a:gd name="connsiteY2512" fmla="*/ 673661 h 1867037"/>
                  <a:gd name="connsiteX2513" fmla="*/ 1823249 w 2417513"/>
                  <a:gd name="connsiteY2513" fmla="*/ 674116 h 1867037"/>
                  <a:gd name="connsiteX2514" fmla="*/ 1820977 w 2417513"/>
                  <a:gd name="connsiteY2514" fmla="*/ 675328 h 1867037"/>
                  <a:gd name="connsiteX2515" fmla="*/ 1817946 w 2417513"/>
                  <a:gd name="connsiteY2515" fmla="*/ 678510 h 1867037"/>
                  <a:gd name="connsiteX2516" fmla="*/ 1815370 w 2417513"/>
                  <a:gd name="connsiteY2516" fmla="*/ 684419 h 1867037"/>
                  <a:gd name="connsiteX2517" fmla="*/ 1813704 w 2417513"/>
                  <a:gd name="connsiteY2517" fmla="*/ 691086 h 1867037"/>
                  <a:gd name="connsiteX2518" fmla="*/ 1807188 w 2417513"/>
                  <a:gd name="connsiteY2518" fmla="*/ 697147 h 1867037"/>
                  <a:gd name="connsiteX2519" fmla="*/ 1806128 w 2417513"/>
                  <a:gd name="connsiteY2519" fmla="*/ 696541 h 1867037"/>
                  <a:gd name="connsiteX2520" fmla="*/ 1809006 w 2417513"/>
                  <a:gd name="connsiteY2520" fmla="*/ 692298 h 1867037"/>
                  <a:gd name="connsiteX2521" fmla="*/ 1811431 w 2417513"/>
                  <a:gd name="connsiteY2521" fmla="*/ 687601 h 1867037"/>
                  <a:gd name="connsiteX2522" fmla="*/ 1811582 w 2417513"/>
                  <a:gd name="connsiteY2522" fmla="*/ 685328 h 1867037"/>
                  <a:gd name="connsiteX2523" fmla="*/ 1810673 w 2417513"/>
                  <a:gd name="connsiteY2523" fmla="*/ 682601 h 1867037"/>
                  <a:gd name="connsiteX2524" fmla="*/ 1811734 w 2417513"/>
                  <a:gd name="connsiteY2524" fmla="*/ 679267 h 1867037"/>
                  <a:gd name="connsiteX2525" fmla="*/ 1815067 w 2417513"/>
                  <a:gd name="connsiteY2525" fmla="*/ 675479 h 1867037"/>
                  <a:gd name="connsiteX2526" fmla="*/ 1815219 w 2417513"/>
                  <a:gd name="connsiteY2526" fmla="*/ 673964 h 1867037"/>
                  <a:gd name="connsiteX2527" fmla="*/ 1808097 w 2417513"/>
                  <a:gd name="connsiteY2527" fmla="*/ 674419 h 1867037"/>
                  <a:gd name="connsiteX2528" fmla="*/ 1801734 w 2417513"/>
                  <a:gd name="connsiteY2528" fmla="*/ 673206 h 1867037"/>
                  <a:gd name="connsiteX2529" fmla="*/ 1801430 w 2417513"/>
                  <a:gd name="connsiteY2529" fmla="*/ 672297 h 1867037"/>
                  <a:gd name="connsiteX2530" fmla="*/ 1809916 w 2417513"/>
                  <a:gd name="connsiteY2530" fmla="*/ 671388 h 1867037"/>
                  <a:gd name="connsiteX2531" fmla="*/ 1812794 w 2417513"/>
                  <a:gd name="connsiteY2531" fmla="*/ 670479 h 1867037"/>
                  <a:gd name="connsiteX2532" fmla="*/ 1817340 w 2417513"/>
                  <a:gd name="connsiteY2532" fmla="*/ 668206 h 1867037"/>
                  <a:gd name="connsiteX2533" fmla="*/ 1825674 w 2417513"/>
                  <a:gd name="connsiteY2533" fmla="*/ 665327 h 1867037"/>
                  <a:gd name="connsiteX2534" fmla="*/ 1827492 w 2417513"/>
                  <a:gd name="connsiteY2534" fmla="*/ 662751 h 1867037"/>
                  <a:gd name="connsiteX2535" fmla="*/ 1828401 w 2417513"/>
                  <a:gd name="connsiteY2535" fmla="*/ 660479 h 1867037"/>
                  <a:gd name="connsiteX2536" fmla="*/ 1828553 w 2417513"/>
                  <a:gd name="connsiteY2536" fmla="*/ 658357 h 1867037"/>
                  <a:gd name="connsiteX2537" fmla="*/ 1827037 w 2417513"/>
                  <a:gd name="connsiteY2537" fmla="*/ 655327 h 1867037"/>
                  <a:gd name="connsiteX2538" fmla="*/ 1826280 w 2417513"/>
                  <a:gd name="connsiteY2538" fmla="*/ 654721 h 1867037"/>
                  <a:gd name="connsiteX2539" fmla="*/ 1824007 w 2417513"/>
                  <a:gd name="connsiteY2539" fmla="*/ 653963 h 1867037"/>
                  <a:gd name="connsiteX2540" fmla="*/ 1820068 w 2417513"/>
                  <a:gd name="connsiteY2540" fmla="*/ 653054 h 1867037"/>
                  <a:gd name="connsiteX2541" fmla="*/ 1815219 w 2417513"/>
                  <a:gd name="connsiteY2541" fmla="*/ 652448 h 1867037"/>
                  <a:gd name="connsiteX2542" fmla="*/ 1809461 w 2417513"/>
                  <a:gd name="connsiteY2542" fmla="*/ 652297 h 1867037"/>
                  <a:gd name="connsiteX2543" fmla="*/ 1802794 w 2417513"/>
                  <a:gd name="connsiteY2543" fmla="*/ 654266 h 1867037"/>
                  <a:gd name="connsiteX2544" fmla="*/ 1795067 w 2417513"/>
                  <a:gd name="connsiteY2544" fmla="*/ 658357 h 1867037"/>
                  <a:gd name="connsiteX2545" fmla="*/ 1790369 w 2417513"/>
                  <a:gd name="connsiteY2545" fmla="*/ 661691 h 1867037"/>
                  <a:gd name="connsiteX2546" fmla="*/ 1787794 w 2417513"/>
                  <a:gd name="connsiteY2546" fmla="*/ 665782 h 1867037"/>
                  <a:gd name="connsiteX2547" fmla="*/ 1784309 w 2417513"/>
                  <a:gd name="connsiteY2547" fmla="*/ 670479 h 1867037"/>
                  <a:gd name="connsiteX2548" fmla="*/ 1782187 w 2417513"/>
                  <a:gd name="connsiteY2548" fmla="*/ 672146 h 1867037"/>
                  <a:gd name="connsiteX2549" fmla="*/ 1781430 w 2417513"/>
                  <a:gd name="connsiteY2549" fmla="*/ 671994 h 1867037"/>
                  <a:gd name="connsiteX2550" fmla="*/ 1781733 w 2417513"/>
                  <a:gd name="connsiteY2550" fmla="*/ 671237 h 1867037"/>
                  <a:gd name="connsiteX2551" fmla="*/ 1785066 w 2417513"/>
                  <a:gd name="connsiteY2551" fmla="*/ 667600 h 1867037"/>
                  <a:gd name="connsiteX2552" fmla="*/ 1789006 w 2417513"/>
                  <a:gd name="connsiteY2552" fmla="*/ 660782 h 1867037"/>
                  <a:gd name="connsiteX2553" fmla="*/ 1791733 w 2417513"/>
                  <a:gd name="connsiteY2553" fmla="*/ 657145 h 1867037"/>
                  <a:gd name="connsiteX2554" fmla="*/ 1795824 w 2417513"/>
                  <a:gd name="connsiteY2554" fmla="*/ 655478 h 1867037"/>
                  <a:gd name="connsiteX2555" fmla="*/ 1805218 w 2417513"/>
                  <a:gd name="connsiteY2555" fmla="*/ 645933 h 1867037"/>
                  <a:gd name="connsiteX2556" fmla="*/ 1805522 w 2417513"/>
                  <a:gd name="connsiteY2556" fmla="*/ 643660 h 1867037"/>
                  <a:gd name="connsiteX2557" fmla="*/ 1804612 w 2417513"/>
                  <a:gd name="connsiteY2557" fmla="*/ 640932 h 1867037"/>
                  <a:gd name="connsiteX2558" fmla="*/ 1803249 w 2417513"/>
                  <a:gd name="connsiteY2558" fmla="*/ 638054 h 1867037"/>
                  <a:gd name="connsiteX2559" fmla="*/ 1801430 w 2417513"/>
                  <a:gd name="connsiteY2559" fmla="*/ 635175 h 1867037"/>
                  <a:gd name="connsiteX2560" fmla="*/ 1798400 w 2417513"/>
                  <a:gd name="connsiteY2560" fmla="*/ 632750 h 1867037"/>
                  <a:gd name="connsiteX2561" fmla="*/ 1787187 w 2417513"/>
                  <a:gd name="connsiteY2561" fmla="*/ 628053 h 1867037"/>
                  <a:gd name="connsiteX2562" fmla="*/ 1783703 w 2417513"/>
                  <a:gd name="connsiteY2562" fmla="*/ 627750 h 1867037"/>
                  <a:gd name="connsiteX2563" fmla="*/ 1780066 w 2417513"/>
                  <a:gd name="connsiteY2563" fmla="*/ 628508 h 1867037"/>
                  <a:gd name="connsiteX2564" fmla="*/ 1776884 w 2417513"/>
                  <a:gd name="connsiteY2564" fmla="*/ 628508 h 1867037"/>
                  <a:gd name="connsiteX2565" fmla="*/ 1774157 w 2417513"/>
                  <a:gd name="connsiteY2565" fmla="*/ 627902 h 1867037"/>
                  <a:gd name="connsiteX2566" fmla="*/ 1766429 w 2417513"/>
                  <a:gd name="connsiteY2566" fmla="*/ 624720 h 1867037"/>
                  <a:gd name="connsiteX2567" fmla="*/ 1760217 w 2417513"/>
                  <a:gd name="connsiteY2567" fmla="*/ 621538 h 1867037"/>
                  <a:gd name="connsiteX2568" fmla="*/ 1754914 w 2417513"/>
                  <a:gd name="connsiteY2568" fmla="*/ 620174 h 1867037"/>
                  <a:gd name="connsiteX2569" fmla="*/ 1745065 w 2417513"/>
                  <a:gd name="connsiteY2569" fmla="*/ 619417 h 1867037"/>
                  <a:gd name="connsiteX2570" fmla="*/ 1736580 w 2417513"/>
                  <a:gd name="connsiteY2570" fmla="*/ 619417 h 1867037"/>
                  <a:gd name="connsiteX2571" fmla="*/ 1731428 w 2417513"/>
                  <a:gd name="connsiteY2571" fmla="*/ 620023 h 1867037"/>
                  <a:gd name="connsiteX2572" fmla="*/ 1724610 w 2417513"/>
                  <a:gd name="connsiteY2572" fmla="*/ 621992 h 1867037"/>
                  <a:gd name="connsiteX2573" fmla="*/ 1715064 w 2417513"/>
                  <a:gd name="connsiteY2573" fmla="*/ 626538 h 1867037"/>
                  <a:gd name="connsiteX2574" fmla="*/ 1713094 w 2417513"/>
                  <a:gd name="connsiteY2574" fmla="*/ 628053 h 1867037"/>
                  <a:gd name="connsiteX2575" fmla="*/ 1712033 w 2417513"/>
                  <a:gd name="connsiteY2575" fmla="*/ 629568 h 1867037"/>
                  <a:gd name="connsiteX2576" fmla="*/ 1711427 w 2417513"/>
                  <a:gd name="connsiteY2576" fmla="*/ 631235 h 1867037"/>
                  <a:gd name="connsiteX2577" fmla="*/ 1711276 w 2417513"/>
                  <a:gd name="connsiteY2577" fmla="*/ 633205 h 1867037"/>
                  <a:gd name="connsiteX2578" fmla="*/ 1712185 w 2417513"/>
                  <a:gd name="connsiteY2578" fmla="*/ 635023 h 1867037"/>
                  <a:gd name="connsiteX2579" fmla="*/ 1716730 w 2417513"/>
                  <a:gd name="connsiteY2579" fmla="*/ 638963 h 1867037"/>
                  <a:gd name="connsiteX2580" fmla="*/ 1726579 w 2417513"/>
                  <a:gd name="connsiteY2580" fmla="*/ 642296 h 1867037"/>
                  <a:gd name="connsiteX2581" fmla="*/ 1732943 w 2417513"/>
                  <a:gd name="connsiteY2581" fmla="*/ 645175 h 1867037"/>
                  <a:gd name="connsiteX2582" fmla="*/ 1737337 w 2417513"/>
                  <a:gd name="connsiteY2582" fmla="*/ 646236 h 1867037"/>
                  <a:gd name="connsiteX2583" fmla="*/ 1737792 w 2417513"/>
                  <a:gd name="connsiteY2583" fmla="*/ 648357 h 1867037"/>
                  <a:gd name="connsiteX2584" fmla="*/ 1732034 w 2417513"/>
                  <a:gd name="connsiteY2584" fmla="*/ 648205 h 1867037"/>
                  <a:gd name="connsiteX2585" fmla="*/ 1721427 w 2417513"/>
                  <a:gd name="connsiteY2585" fmla="*/ 643054 h 1867037"/>
                  <a:gd name="connsiteX2586" fmla="*/ 1716124 w 2417513"/>
                  <a:gd name="connsiteY2586" fmla="*/ 643357 h 1867037"/>
                  <a:gd name="connsiteX2587" fmla="*/ 1712791 w 2417513"/>
                  <a:gd name="connsiteY2587" fmla="*/ 643054 h 1867037"/>
                  <a:gd name="connsiteX2588" fmla="*/ 1708548 w 2417513"/>
                  <a:gd name="connsiteY2588" fmla="*/ 640478 h 1867037"/>
                  <a:gd name="connsiteX2589" fmla="*/ 1705366 w 2417513"/>
                  <a:gd name="connsiteY2589" fmla="*/ 639266 h 1867037"/>
                  <a:gd name="connsiteX2590" fmla="*/ 1702033 w 2417513"/>
                  <a:gd name="connsiteY2590" fmla="*/ 643660 h 1867037"/>
                  <a:gd name="connsiteX2591" fmla="*/ 1700821 w 2417513"/>
                  <a:gd name="connsiteY2591" fmla="*/ 652145 h 1867037"/>
                  <a:gd name="connsiteX2592" fmla="*/ 1702790 w 2417513"/>
                  <a:gd name="connsiteY2592" fmla="*/ 655782 h 1867037"/>
                  <a:gd name="connsiteX2593" fmla="*/ 1704912 w 2417513"/>
                  <a:gd name="connsiteY2593" fmla="*/ 658812 h 1867037"/>
                  <a:gd name="connsiteX2594" fmla="*/ 1707336 w 2417513"/>
                  <a:gd name="connsiteY2594" fmla="*/ 660782 h 1867037"/>
                  <a:gd name="connsiteX2595" fmla="*/ 1708245 w 2417513"/>
                  <a:gd name="connsiteY2595" fmla="*/ 662751 h 1867037"/>
                  <a:gd name="connsiteX2596" fmla="*/ 1708397 w 2417513"/>
                  <a:gd name="connsiteY2596" fmla="*/ 663661 h 1867037"/>
                  <a:gd name="connsiteX2597" fmla="*/ 1707639 w 2417513"/>
                  <a:gd name="connsiteY2597" fmla="*/ 663661 h 1867037"/>
                  <a:gd name="connsiteX2598" fmla="*/ 1703245 w 2417513"/>
                  <a:gd name="connsiteY2598" fmla="*/ 661085 h 1867037"/>
                  <a:gd name="connsiteX2599" fmla="*/ 1696881 w 2417513"/>
                  <a:gd name="connsiteY2599" fmla="*/ 655327 h 1867037"/>
                  <a:gd name="connsiteX2600" fmla="*/ 1696578 w 2417513"/>
                  <a:gd name="connsiteY2600" fmla="*/ 652145 h 1867037"/>
                  <a:gd name="connsiteX2601" fmla="*/ 1696578 w 2417513"/>
                  <a:gd name="connsiteY2601" fmla="*/ 647902 h 1867037"/>
                  <a:gd name="connsiteX2602" fmla="*/ 1697033 w 2417513"/>
                  <a:gd name="connsiteY2602" fmla="*/ 643660 h 1867037"/>
                  <a:gd name="connsiteX2603" fmla="*/ 1691730 w 2417513"/>
                  <a:gd name="connsiteY2603" fmla="*/ 639417 h 1867037"/>
                  <a:gd name="connsiteX2604" fmla="*/ 1688244 w 2417513"/>
                  <a:gd name="connsiteY2604" fmla="*/ 637599 h 1867037"/>
                  <a:gd name="connsiteX2605" fmla="*/ 1685366 w 2417513"/>
                  <a:gd name="connsiteY2605" fmla="*/ 640326 h 1867037"/>
                  <a:gd name="connsiteX2606" fmla="*/ 1681123 w 2417513"/>
                  <a:gd name="connsiteY2606" fmla="*/ 641539 h 1867037"/>
                  <a:gd name="connsiteX2607" fmla="*/ 1679153 w 2417513"/>
                  <a:gd name="connsiteY2607" fmla="*/ 640629 h 1867037"/>
                  <a:gd name="connsiteX2608" fmla="*/ 1678093 w 2417513"/>
                  <a:gd name="connsiteY2608" fmla="*/ 638357 h 1867037"/>
                  <a:gd name="connsiteX2609" fmla="*/ 1675820 w 2417513"/>
                  <a:gd name="connsiteY2609" fmla="*/ 635175 h 1867037"/>
                  <a:gd name="connsiteX2610" fmla="*/ 1674305 w 2417513"/>
                  <a:gd name="connsiteY2610" fmla="*/ 634720 h 1867037"/>
                  <a:gd name="connsiteX2611" fmla="*/ 1671729 w 2417513"/>
                  <a:gd name="connsiteY2611" fmla="*/ 635629 h 1867037"/>
                  <a:gd name="connsiteX2612" fmla="*/ 1668547 w 2417513"/>
                  <a:gd name="connsiteY2612" fmla="*/ 637448 h 1867037"/>
                  <a:gd name="connsiteX2613" fmla="*/ 1667789 w 2417513"/>
                  <a:gd name="connsiteY2613" fmla="*/ 638205 h 1867037"/>
                  <a:gd name="connsiteX2614" fmla="*/ 1666577 w 2417513"/>
                  <a:gd name="connsiteY2614" fmla="*/ 640629 h 1867037"/>
                  <a:gd name="connsiteX2615" fmla="*/ 1667032 w 2417513"/>
                  <a:gd name="connsiteY2615" fmla="*/ 642296 h 1867037"/>
                  <a:gd name="connsiteX2616" fmla="*/ 1672638 w 2417513"/>
                  <a:gd name="connsiteY2616" fmla="*/ 648660 h 1867037"/>
                  <a:gd name="connsiteX2617" fmla="*/ 1671426 w 2417513"/>
                  <a:gd name="connsiteY2617" fmla="*/ 648812 h 1867037"/>
                  <a:gd name="connsiteX2618" fmla="*/ 1666274 w 2417513"/>
                  <a:gd name="connsiteY2618" fmla="*/ 646842 h 1867037"/>
                  <a:gd name="connsiteX2619" fmla="*/ 1664456 w 2417513"/>
                  <a:gd name="connsiteY2619" fmla="*/ 647145 h 1867037"/>
                  <a:gd name="connsiteX2620" fmla="*/ 1658850 w 2417513"/>
                  <a:gd name="connsiteY2620" fmla="*/ 650175 h 1867037"/>
                  <a:gd name="connsiteX2621" fmla="*/ 1650061 w 2417513"/>
                  <a:gd name="connsiteY2621" fmla="*/ 658357 h 1867037"/>
                  <a:gd name="connsiteX2622" fmla="*/ 1647485 w 2417513"/>
                  <a:gd name="connsiteY2622" fmla="*/ 661388 h 1867037"/>
                  <a:gd name="connsiteX2623" fmla="*/ 1645970 w 2417513"/>
                  <a:gd name="connsiteY2623" fmla="*/ 662297 h 1867037"/>
                  <a:gd name="connsiteX2624" fmla="*/ 1644152 w 2417513"/>
                  <a:gd name="connsiteY2624" fmla="*/ 662448 h 1867037"/>
                  <a:gd name="connsiteX2625" fmla="*/ 1643546 w 2417513"/>
                  <a:gd name="connsiteY2625" fmla="*/ 661994 h 1867037"/>
                  <a:gd name="connsiteX2626" fmla="*/ 1644152 w 2417513"/>
                  <a:gd name="connsiteY2626" fmla="*/ 660933 h 1867037"/>
                  <a:gd name="connsiteX2627" fmla="*/ 1644152 w 2417513"/>
                  <a:gd name="connsiteY2627" fmla="*/ 659266 h 1867037"/>
                  <a:gd name="connsiteX2628" fmla="*/ 1643697 w 2417513"/>
                  <a:gd name="connsiteY2628" fmla="*/ 656994 h 1867037"/>
                  <a:gd name="connsiteX2629" fmla="*/ 1643697 w 2417513"/>
                  <a:gd name="connsiteY2629" fmla="*/ 655327 h 1867037"/>
                  <a:gd name="connsiteX2630" fmla="*/ 1644303 w 2417513"/>
                  <a:gd name="connsiteY2630" fmla="*/ 654115 h 1867037"/>
                  <a:gd name="connsiteX2631" fmla="*/ 1645213 w 2417513"/>
                  <a:gd name="connsiteY2631" fmla="*/ 653357 h 1867037"/>
                  <a:gd name="connsiteX2632" fmla="*/ 1646425 w 2417513"/>
                  <a:gd name="connsiteY2632" fmla="*/ 652903 h 1867037"/>
                  <a:gd name="connsiteX2633" fmla="*/ 1649455 w 2417513"/>
                  <a:gd name="connsiteY2633" fmla="*/ 653206 h 1867037"/>
                  <a:gd name="connsiteX2634" fmla="*/ 1650667 w 2417513"/>
                  <a:gd name="connsiteY2634" fmla="*/ 652448 h 1867037"/>
                  <a:gd name="connsiteX2635" fmla="*/ 1644455 w 2417513"/>
                  <a:gd name="connsiteY2635" fmla="*/ 647902 h 1867037"/>
                  <a:gd name="connsiteX2636" fmla="*/ 1643849 w 2417513"/>
                  <a:gd name="connsiteY2636" fmla="*/ 646993 h 1867037"/>
                  <a:gd name="connsiteX2637" fmla="*/ 1647182 w 2417513"/>
                  <a:gd name="connsiteY2637" fmla="*/ 644417 h 1867037"/>
                  <a:gd name="connsiteX2638" fmla="*/ 1650364 w 2417513"/>
                  <a:gd name="connsiteY2638" fmla="*/ 640326 h 1867037"/>
                  <a:gd name="connsiteX2639" fmla="*/ 1653092 w 2417513"/>
                  <a:gd name="connsiteY2639" fmla="*/ 635781 h 1867037"/>
                  <a:gd name="connsiteX2640" fmla="*/ 1652940 w 2417513"/>
                  <a:gd name="connsiteY2640" fmla="*/ 634417 h 1867037"/>
                  <a:gd name="connsiteX2641" fmla="*/ 1648849 w 2417513"/>
                  <a:gd name="connsiteY2641" fmla="*/ 634114 h 1867037"/>
                  <a:gd name="connsiteX2642" fmla="*/ 1635667 w 2417513"/>
                  <a:gd name="connsiteY2642" fmla="*/ 643357 h 1867037"/>
                  <a:gd name="connsiteX2643" fmla="*/ 1635970 w 2417513"/>
                  <a:gd name="connsiteY2643" fmla="*/ 641690 h 1867037"/>
                  <a:gd name="connsiteX2644" fmla="*/ 1642334 w 2417513"/>
                  <a:gd name="connsiteY2644" fmla="*/ 635781 h 1867037"/>
                  <a:gd name="connsiteX2645" fmla="*/ 1651122 w 2417513"/>
                  <a:gd name="connsiteY2645" fmla="*/ 628962 h 1867037"/>
                  <a:gd name="connsiteX2646" fmla="*/ 1657940 w 2417513"/>
                  <a:gd name="connsiteY2646" fmla="*/ 622750 h 1867037"/>
                  <a:gd name="connsiteX2647" fmla="*/ 1660668 w 2417513"/>
                  <a:gd name="connsiteY2647" fmla="*/ 620780 h 1867037"/>
                  <a:gd name="connsiteX2648" fmla="*/ 1662031 w 2417513"/>
                  <a:gd name="connsiteY2648" fmla="*/ 619265 h 1867037"/>
                  <a:gd name="connsiteX2649" fmla="*/ 1662031 w 2417513"/>
                  <a:gd name="connsiteY2649" fmla="*/ 618053 h 1867037"/>
                  <a:gd name="connsiteX2650" fmla="*/ 1657789 w 2417513"/>
                  <a:gd name="connsiteY2650" fmla="*/ 615629 h 1867037"/>
                  <a:gd name="connsiteX2651" fmla="*/ 1655819 w 2417513"/>
                  <a:gd name="connsiteY2651" fmla="*/ 613507 h 1867037"/>
                  <a:gd name="connsiteX2652" fmla="*/ 1653395 w 2417513"/>
                  <a:gd name="connsiteY2652" fmla="*/ 609719 h 1867037"/>
                  <a:gd name="connsiteX2653" fmla="*/ 1652637 w 2417513"/>
                  <a:gd name="connsiteY2653" fmla="*/ 606083 h 1867037"/>
                  <a:gd name="connsiteX2654" fmla="*/ 1653698 w 2417513"/>
                  <a:gd name="connsiteY2654" fmla="*/ 602598 h 1867037"/>
                  <a:gd name="connsiteX2655" fmla="*/ 1653092 w 2417513"/>
                  <a:gd name="connsiteY2655" fmla="*/ 599719 h 1867037"/>
                  <a:gd name="connsiteX2656" fmla="*/ 1650970 w 2417513"/>
                  <a:gd name="connsiteY2656" fmla="*/ 597446 h 1867037"/>
                  <a:gd name="connsiteX2657" fmla="*/ 1647182 w 2417513"/>
                  <a:gd name="connsiteY2657" fmla="*/ 595325 h 1867037"/>
                  <a:gd name="connsiteX2658" fmla="*/ 1641576 w 2417513"/>
                  <a:gd name="connsiteY2658" fmla="*/ 593355 h 1867037"/>
                  <a:gd name="connsiteX2659" fmla="*/ 1638091 w 2417513"/>
                  <a:gd name="connsiteY2659" fmla="*/ 589718 h 1867037"/>
                  <a:gd name="connsiteX2660" fmla="*/ 1635667 w 2417513"/>
                  <a:gd name="connsiteY2660" fmla="*/ 580930 h 1867037"/>
                  <a:gd name="connsiteX2661" fmla="*/ 1632788 w 2417513"/>
                  <a:gd name="connsiteY2661" fmla="*/ 574718 h 1867037"/>
                  <a:gd name="connsiteX2662" fmla="*/ 1631121 w 2417513"/>
                  <a:gd name="connsiteY2662" fmla="*/ 572748 h 1867037"/>
                  <a:gd name="connsiteX2663" fmla="*/ 1625666 w 2417513"/>
                  <a:gd name="connsiteY2663" fmla="*/ 569415 h 1867037"/>
                  <a:gd name="connsiteX2664" fmla="*/ 1616272 w 2417513"/>
                  <a:gd name="connsiteY2664" fmla="*/ 567596 h 1867037"/>
                  <a:gd name="connsiteX2665" fmla="*/ 1609302 w 2417513"/>
                  <a:gd name="connsiteY2665" fmla="*/ 567293 h 1867037"/>
                  <a:gd name="connsiteX2666" fmla="*/ 1596877 w 2417513"/>
                  <a:gd name="connsiteY2666" fmla="*/ 567596 h 1867037"/>
                  <a:gd name="connsiteX2667" fmla="*/ 1591877 w 2417513"/>
                  <a:gd name="connsiteY2667" fmla="*/ 568354 h 1867037"/>
                  <a:gd name="connsiteX2668" fmla="*/ 1589150 w 2417513"/>
                  <a:gd name="connsiteY2668" fmla="*/ 569263 h 1867037"/>
                  <a:gd name="connsiteX2669" fmla="*/ 1587029 w 2417513"/>
                  <a:gd name="connsiteY2669" fmla="*/ 570475 h 1867037"/>
                  <a:gd name="connsiteX2670" fmla="*/ 1576422 w 2417513"/>
                  <a:gd name="connsiteY2670" fmla="*/ 572900 h 1867037"/>
                  <a:gd name="connsiteX2671" fmla="*/ 1567634 w 2417513"/>
                  <a:gd name="connsiteY2671" fmla="*/ 575930 h 1867037"/>
                  <a:gd name="connsiteX2672" fmla="*/ 1562937 w 2417513"/>
                  <a:gd name="connsiteY2672" fmla="*/ 578506 h 1867037"/>
                  <a:gd name="connsiteX2673" fmla="*/ 1562634 w 2417513"/>
                  <a:gd name="connsiteY2673" fmla="*/ 579567 h 1867037"/>
                  <a:gd name="connsiteX2674" fmla="*/ 1566422 w 2417513"/>
                  <a:gd name="connsiteY2674" fmla="*/ 583809 h 1867037"/>
                  <a:gd name="connsiteX2675" fmla="*/ 1566270 w 2417513"/>
                  <a:gd name="connsiteY2675" fmla="*/ 584415 h 1867037"/>
                  <a:gd name="connsiteX2676" fmla="*/ 1557937 w 2417513"/>
                  <a:gd name="connsiteY2676" fmla="*/ 582142 h 1867037"/>
                  <a:gd name="connsiteX2677" fmla="*/ 1548997 w 2417513"/>
                  <a:gd name="connsiteY2677" fmla="*/ 582294 h 1867037"/>
                  <a:gd name="connsiteX2678" fmla="*/ 1543542 w 2417513"/>
                  <a:gd name="connsiteY2678" fmla="*/ 585779 h 1867037"/>
                  <a:gd name="connsiteX2679" fmla="*/ 1532481 w 2417513"/>
                  <a:gd name="connsiteY2679" fmla="*/ 588658 h 1867037"/>
                  <a:gd name="connsiteX2680" fmla="*/ 1520511 w 2417513"/>
                  <a:gd name="connsiteY2680" fmla="*/ 600779 h 1867037"/>
                  <a:gd name="connsiteX2681" fmla="*/ 1522481 w 2417513"/>
                  <a:gd name="connsiteY2681" fmla="*/ 603961 h 1867037"/>
                  <a:gd name="connsiteX2682" fmla="*/ 1530360 w 2417513"/>
                  <a:gd name="connsiteY2682" fmla="*/ 606234 h 1867037"/>
                  <a:gd name="connsiteX2683" fmla="*/ 1552785 w 2417513"/>
                  <a:gd name="connsiteY2683" fmla="*/ 614871 h 1867037"/>
                  <a:gd name="connsiteX2684" fmla="*/ 1553240 w 2417513"/>
                  <a:gd name="connsiteY2684" fmla="*/ 616992 h 1867037"/>
                  <a:gd name="connsiteX2685" fmla="*/ 1533239 w 2417513"/>
                  <a:gd name="connsiteY2685" fmla="*/ 610628 h 1867037"/>
                  <a:gd name="connsiteX2686" fmla="*/ 1525208 w 2417513"/>
                  <a:gd name="connsiteY2686" fmla="*/ 607446 h 1867037"/>
                  <a:gd name="connsiteX2687" fmla="*/ 1521723 w 2417513"/>
                  <a:gd name="connsiteY2687" fmla="*/ 607901 h 1867037"/>
                  <a:gd name="connsiteX2688" fmla="*/ 1519905 w 2417513"/>
                  <a:gd name="connsiteY2688" fmla="*/ 608962 h 1867037"/>
                  <a:gd name="connsiteX2689" fmla="*/ 1516571 w 2417513"/>
                  <a:gd name="connsiteY2689" fmla="*/ 612598 h 1867037"/>
                  <a:gd name="connsiteX2690" fmla="*/ 1515359 w 2417513"/>
                  <a:gd name="connsiteY2690" fmla="*/ 614568 h 1867037"/>
                  <a:gd name="connsiteX2691" fmla="*/ 1514753 w 2417513"/>
                  <a:gd name="connsiteY2691" fmla="*/ 616841 h 1867037"/>
                  <a:gd name="connsiteX2692" fmla="*/ 1514602 w 2417513"/>
                  <a:gd name="connsiteY2692" fmla="*/ 619568 h 1867037"/>
                  <a:gd name="connsiteX2693" fmla="*/ 1514905 w 2417513"/>
                  <a:gd name="connsiteY2693" fmla="*/ 624265 h 1867037"/>
                  <a:gd name="connsiteX2694" fmla="*/ 1515511 w 2417513"/>
                  <a:gd name="connsiteY2694" fmla="*/ 625780 h 1867037"/>
                  <a:gd name="connsiteX2695" fmla="*/ 1517178 w 2417513"/>
                  <a:gd name="connsiteY2695" fmla="*/ 627599 h 1867037"/>
                  <a:gd name="connsiteX2696" fmla="*/ 1518693 w 2417513"/>
                  <a:gd name="connsiteY2696" fmla="*/ 630629 h 1867037"/>
                  <a:gd name="connsiteX2697" fmla="*/ 1521572 w 2417513"/>
                  <a:gd name="connsiteY2697" fmla="*/ 634114 h 1867037"/>
                  <a:gd name="connsiteX2698" fmla="*/ 1522935 w 2417513"/>
                  <a:gd name="connsiteY2698" fmla="*/ 635326 h 1867037"/>
                  <a:gd name="connsiteX2699" fmla="*/ 1527935 w 2417513"/>
                  <a:gd name="connsiteY2699" fmla="*/ 637296 h 1867037"/>
                  <a:gd name="connsiteX2700" fmla="*/ 1530663 w 2417513"/>
                  <a:gd name="connsiteY2700" fmla="*/ 637144 h 1867037"/>
                  <a:gd name="connsiteX2701" fmla="*/ 1533239 w 2417513"/>
                  <a:gd name="connsiteY2701" fmla="*/ 636084 h 1867037"/>
                  <a:gd name="connsiteX2702" fmla="*/ 1536421 w 2417513"/>
                  <a:gd name="connsiteY2702" fmla="*/ 636084 h 1867037"/>
                  <a:gd name="connsiteX2703" fmla="*/ 1542633 w 2417513"/>
                  <a:gd name="connsiteY2703" fmla="*/ 637599 h 1867037"/>
                  <a:gd name="connsiteX2704" fmla="*/ 1542027 w 2417513"/>
                  <a:gd name="connsiteY2704" fmla="*/ 638963 h 1867037"/>
                  <a:gd name="connsiteX2705" fmla="*/ 1537481 w 2417513"/>
                  <a:gd name="connsiteY2705" fmla="*/ 640023 h 1867037"/>
                  <a:gd name="connsiteX2706" fmla="*/ 1536572 w 2417513"/>
                  <a:gd name="connsiteY2706" fmla="*/ 641084 h 1867037"/>
                  <a:gd name="connsiteX2707" fmla="*/ 1538390 w 2417513"/>
                  <a:gd name="connsiteY2707" fmla="*/ 643660 h 1867037"/>
                  <a:gd name="connsiteX2708" fmla="*/ 1542027 w 2417513"/>
                  <a:gd name="connsiteY2708" fmla="*/ 647296 h 1867037"/>
                  <a:gd name="connsiteX2709" fmla="*/ 1550058 w 2417513"/>
                  <a:gd name="connsiteY2709" fmla="*/ 652145 h 1867037"/>
                  <a:gd name="connsiteX2710" fmla="*/ 1551876 w 2417513"/>
                  <a:gd name="connsiteY2710" fmla="*/ 653963 h 1867037"/>
                  <a:gd name="connsiteX2711" fmla="*/ 1551876 w 2417513"/>
                  <a:gd name="connsiteY2711" fmla="*/ 654721 h 1867037"/>
                  <a:gd name="connsiteX2712" fmla="*/ 1550058 w 2417513"/>
                  <a:gd name="connsiteY2712" fmla="*/ 654266 h 1867037"/>
                  <a:gd name="connsiteX2713" fmla="*/ 1543087 w 2417513"/>
                  <a:gd name="connsiteY2713" fmla="*/ 650327 h 1867037"/>
                  <a:gd name="connsiteX2714" fmla="*/ 1531875 w 2417513"/>
                  <a:gd name="connsiteY2714" fmla="*/ 645781 h 1867037"/>
                  <a:gd name="connsiteX2715" fmla="*/ 1523541 w 2417513"/>
                  <a:gd name="connsiteY2715" fmla="*/ 645024 h 1867037"/>
                  <a:gd name="connsiteX2716" fmla="*/ 1521269 w 2417513"/>
                  <a:gd name="connsiteY2716" fmla="*/ 645933 h 1867037"/>
                  <a:gd name="connsiteX2717" fmla="*/ 1517481 w 2417513"/>
                  <a:gd name="connsiteY2717" fmla="*/ 651690 h 1867037"/>
                  <a:gd name="connsiteX2718" fmla="*/ 1514299 w 2417513"/>
                  <a:gd name="connsiteY2718" fmla="*/ 653660 h 1867037"/>
                  <a:gd name="connsiteX2719" fmla="*/ 1508844 w 2417513"/>
                  <a:gd name="connsiteY2719" fmla="*/ 655782 h 1867037"/>
                  <a:gd name="connsiteX2720" fmla="*/ 1507480 w 2417513"/>
                  <a:gd name="connsiteY2720" fmla="*/ 657600 h 1867037"/>
                  <a:gd name="connsiteX2721" fmla="*/ 1510207 w 2417513"/>
                  <a:gd name="connsiteY2721" fmla="*/ 659115 h 1867037"/>
                  <a:gd name="connsiteX2722" fmla="*/ 1516117 w 2417513"/>
                  <a:gd name="connsiteY2722" fmla="*/ 663661 h 1867037"/>
                  <a:gd name="connsiteX2723" fmla="*/ 1518390 w 2417513"/>
                  <a:gd name="connsiteY2723" fmla="*/ 666236 h 1867037"/>
                  <a:gd name="connsiteX2724" fmla="*/ 1521572 w 2417513"/>
                  <a:gd name="connsiteY2724" fmla="*/ 670782 h 1867037"/>
                  <a:gd name="connsiteX2725" fmla="*/ 1523087 w 2417513"/>
                  <a:gd name="connsiteY2725" fmla="*/ 672297 h 1867037"/>
                  <a:gd name="connsiteX2726" fmla="*/ 1525511 w 2417513"/>
                  <a:gd name="connsiteY2726" fmla="*/ 673358 h 1867037"/>
                  <a:gd name="connsiteX2727" fmla="*/ 1528845 w 2417513"/>
                  <a:gd name="connsiteY2727" fmla="*/ 674116 h 1867037"/>
                  <a:gd name="connsiteX2728" fmla="*/ 1531572 w 2417513"/>
                  <a:gd name="connsiteY2728" fmla="*/ 674419 h 1867037"/>
                  <a:gd name="connsiteX2729" fmla="*/ 1536875 w 2417513"/>
                  <a:gd name="connsiteY2729" fmla="*/ 674116 h 1867037"/>
                  <a:gd name="connsiteX2730" fmla="*/ 1540663 w 2417513"/>
                  <a:gd name="connsiteY2730" fmla="*/ 675479 h 1867037"/>
                  <a:gd name="connsiteX2731" fmla="*/ 1541724 w 2417513"/>
                  <a:gd name="connsiteY2731" fmla="*/ 677752 h 1867037"/>
                  <a:gd name="connsiteX2732" fmla="*/ 1541724 w 2417513"/>
                  <a:gd name="connsiteY2732" fmla="*/ 681388 h 1867037"/>
                  <a:gd name="connsiteX2733" fmla="*/ 1541269 w 2417513"/>
                  <a:gd name="connsiteY2733" fmla="*/ 685177 h 1867037"/>
                  <a:gd name="connsiteX2734" fmla="*/ 1540360 w 2417513"/>
                  <a:gd name="connsiteY2734" fmla="*/ 689419 h 1867037"/>
                  <a:gd name="connsiteX2735" fmla="*/ 1538087 w 2417513"/>
                  <a:gd name="connsiteY2735" fmla="*/ 702753 h 1867037"/>
                  <a:gd name="connsiteX2736" fmla="*/ 1537178 w 2417513"/>
                  <a:gd name="connsiteY2736" fmla="*/ 705935 h 1867037"/>
                  <a:gd name="connsiteX2737" fmla="*/ 1535966 w 2417513"/>
                  <a:gd name="connsiteY2737" fmla="*/ 707299 h 1867037"/>
                  <a:gd name="connsiteX2738" fmla="*/ 1532784 w 2417513"/>
                  <a:gd name="connsiteY2738" fmla="*/ 705783 h 1867037"/>
                  <a:gd name="connsiteX2739" fmla="*/ 1531117 w 2417513"/>
                  <a:gd name="connsiteY2739" fmla="*/ 704420 h 1867037"/>
                  <a:gd name="connsiteX2740" fmla="*/ 1530663 w 2417513"/>
                  <a:gd name="connsiteY2740" fmla="*/ 703359 h 1867037"/>
                  <a:gd name="connsiteX2741" fmla="*/ 1531269 w 2417513"/>
                  <a:gd name="connsiteY2741" fmla="*/ 702753 h 1867037"/>
                  <a:gd name="connsiteX2742" fmla="*/ 1532330 w 2417513"/>
                  <a:gd name="connsiteY2742" fmla="*/ 700480 h 1867037"/>
                  <a:gd name="connsiteX2743" fmla="*/ 1529754 w 2417513"/>
                  <a:gd name="connsiteY2743" fmla="*/ 699723 h 1867037"/>
                  <a:gd name="connsiteX2744" fmla="*/ 1514753 w 2417513"/>
                  <a:gd name="connsiteY2744" fmla="*/ 699723 h 1867037"/>
                  <a:gd name="connsiteX2745" fmla="*/ 1509753 w 2417513"/>
                  <a:gd name="connsiteY2745" fmla="*/ 701086 h 1867037"/>
                  <a:gd name="connsiteX2746" fmla="*/ 1501419 w 2417513"/>
                  <a:gd name="connsiteY2746" fmla="*/ 704874 h 1867037"/>
                  <a:gd name="connsiteX2747" fmla="*/ 1496116 w 2417513"/>
                  <a:gd name="connsiteY2747" fmla="*/ 706541 h 1867037"/>
                  <a:gd name="connsiteX2748" fmla="*/ 1489904 w 2417513"/>
                  <a:gd name="connsiteY2748" fmla="*/ 707905 h 1867037"/>
                  <a:gd name="connsiteX2749" fmla="*/ 1488843 w 2417513"/>
                  <a:gd name="connsiteY2749" fmla="*/ 706844 h 1867037"/>
                  <a:gd name="connsiteX2750" fmla="*/ 1492025 w 2417513"/>
                  <a:gd name="connsiteY2750" fmla="*/ 705177 h 1867037"/>
                  <a:gd name="connsiteX2751" fmla="*/ 1500056 w 2417513"/>
                  <a:gd name="connsiteY2751" fmla="*/ 702450 h 1867037"/>
                  <a:gd name="connsiteX2752" fmla="*/ 1506419 w 2417513"/>
                  <a:gd name="connsiteY2752" fmla="*/ 699116 h 1867037"/>
                  <a:gd name="connsiteX2753" fmla="*/ 1511571 w 2417513"/>
                  <a:gd name="connsiteY2753" fmla="*/ 697601 h 1867037"/>
                  <a:gd name="connsiteX2754" fmla="*/ 1521269 w 2417513"/>
                  <a:gd name="connsiteY2754" fmla="*/ 695935 h 1867037"/>
                  <a:gd name="connsiteX2755" fmla="*/ 1528542 w 2417513"/>
                  <a:gd name="connsiteY2755" fmla="*/ 692147 h 1867037"/>
                  <a:gd name="connsiteX2756" fmla="*/ 1531723 w 2417513"/>
                  <a:gd name="connsiteY2756" fmla="*/ 689571 h 1867037"/>
                  <a:gd name="connsiteX2757" fmla="*/ 1530208 w 2417513"/>
                  <a:gd name="connsiteY2757" fmla="*/ 687298 h 1867037"/>
                  <a:gd name="connsiteX2758" fmla="*/ 1523390 w 2417513"/>
                  <a:gd name="connsiteY2758" fmla="*/ 682601 h 1867037"/>
                  <a:gd name="connsiteX2759" fmla="*/ 1517632 w 2417513"/>
                  <a:gd name="connsiteY2759" fmla="*/ 679419 h 1867037"/>
                  <a:gd name="connsiteX2760" fmla="*/ 1511874 w 2417513"/>
                  <a:gd name="connsiteY2760" fmla="*/ 675025 h 1867037"/>
                  <a:gd name="connsiteX2761" fmla="*/ 1503995 w 2417513"/>
                  <a:gd name="connsiteY2761" fmla="*/ 668358 h 1867037"/>
                  <a:gd name="connsiteX2762" fmla="*/ 1498995 w 2417513"/>
                  <a:gd name="connsiteY2762" fmla="*/ 661842 h 1867037"/>
                  <a:gd name="connsiteX2763" fmla="*/ 1496874 w 2417513"/>
                  <a:gd name="connsiteY2763" fmla="*/ 655327 h 1867037"/>
                  <a:gd name="connsiteX2764" fmla="*/ 1495662 w 2417513"/>
                  <a:gd name="connsiteY2764" fmla="*/ 650327 h 1867037"/>
                  <a:gd name="connsiteX2765" fmla="*/ 1495359 w 2417513"/>
                  <a:gd name="connsiteY2765" fmla="*/ 646842 h 1867037"/>
                  <a:gd name="connsiteX2766" fmla="*/ 1495510 w 2417513"/>
                  <a:gd name="connsiteY2766" fmla="*/ 643205 h 1867037"/>
                  <a:gd name="connsiteX2767" fmla="*/ 1496116 w 2417513"/>
                  <a:gd name="connsiteY2767" fmla="*/ 635932 h 1867037"/>
                  <a:gd name="connsiteX2768" fmla="*/ 1496116 w 2417513"/>
                  <a:gd name="connsiteY2768" fmla="*/ 632902 h 1867037"/>
                  <a:gd name="connsiteX2769" fmla="*/ 1494601 w 2417513"/>
                  <a:gd name="connsiteY2769" fmla="*/ 629568 h 1867037"/>
                  <a:gd name="connsiteX2770" fmla="*/ 1488692 w 2417513"/>
                  <a:gd name="connsiteY2770" fmla="*/ 622447 h 1867037"/>
                  <a:gd name="connsiteX2771" fmla="*/ 1487025 w 2417513"/>
                  <a:gd name="connsiteY2771" fmla="*/ 619114 h 1867037"/>
                  <a:gd name="connsiteX2772" fmla="*/ 1486722 w 2417513"/>
                  <a:gd name="connsiteY2772" fmla="*/ 617144 h 1867037"/>
                  <a:gd name="connsiteX2773" fmla="*/ 1487782 w 2417513"/>
                  <a:gd name="connsiteY2773" fmla="*/ 611538 h 1867037"/>
                  <a:gd name="connsiteX2774" fmla="*/ 1489298 w 2417513"/>
                  <a:gd name="connsiteY2774" fmla="*/ 609416 h 1867037"/>
                  <a:gd name="connsiteX2775" fmla="*/ 1491874 w 2417513"/>
                  <a:gd name="connsiteY2775" fmla="*/ 606840 h 1867037"/>
                  <a:gd name="connsiteX2776" fmla="*/ 1502631 w 2417513"/>
                  <a:gd name="connsiteY2776" fmla="*/ 591082 h 1867037"/>
                  <a:gd name="connsiteX2777" fmla="*/ 1505056 w 2417513"/>
                  <a:gd name="connsiteY2777" fmla="*/ 588355 h 1867037"/>
                  <a:gd name="connsiteX2778" fmla="*/ 1513844 w 2417513"/>
                  <a:gd name="connsiteY2778" fmla="*/ 580476 h 1867037"/>
                  <a:gd name="connsiteX2779" fmla="*/ 1518996 w 2417513"/>
                  <a:gd name="connsiteY2779" fmla="*/ 576991 h 1867037"/>
                  <a:gd name="connsiteX2780" fmla="*/ 1526875 w 2417513"/>
                  <a:gd name="connsiteY2780" fmla="*/ 572900 h 1867037"/>
                  <a:gd name="connsiteX2781" fmla="*/ 1533087 w 2417513"/>
                  <a:gd name="connsiteY2781" fmla="*/ 568051 h 1867037"/>
                  <a:gd name="connsiteX2782" fmla="*/ 1533845 w 2417513"/>
                  <a:gd name="connsiteY2782" fmla="*/ 566687 h 1867037"/>
                  <a:gd name="connsiteX2783" fmla="*/ 1532784 w 2417513"/>
                  <a:gd name="connsiteY2783" fmla="*/ 564415 h 1867037"/>
                  <a:gd name="connsiteX2784" fmla="*/ 1532027 w 2417513"/>
                  <a:gd name="connsiteY2784" fmla="*/ 563657 h 1867037"/>
                  <a:gd name="connsiteX2785" fmla="*/ 1529299 w 2417513"/>
                  <a:gd name="connsiteY2785" fmla="*/ 562142 h 1867037"/>
                  <a:gd name="connsiteX2786" fmla="*/ 1506268 w 2417513"/>
                  <a:gd name="connsiteY2786" fmla="*/ 559869 h 1867037"/>
                  <a:gd name="connsiteX2787" fmla="*/ 1493843 w 2417513"/>
                  <a:gd name="connsiteY2787" fmla="*/ 559566 h 1867037"/>
                  <a:gd name="connsiteX2788" fmla="*/ 1483994 w 2417513"/>
                  <a:gd name="connsiteY2788" fmla="*/ 560627 h 1867037"/>
                  <a:gd name="connsiteX2789" fmla="*/ 1464751 w 2417513"/>
                  <a:gd name="connsiteY2789" fmla="*/ 564566 h 1867037"/>
                  <a:gd name="connsiteX2790" fmla="*/ 1457933 w 2417513"/>
                  <a:gd name="connsiteY2790" fmla="*/ 566536 h 1867037"/>
                  <a:gd name="connsiteX2791" fmla="*/ 1452327 w 2417513"/>
                  <a:gd name="connsiteY2791" fmla="*/ 569112 h 1867037"/>
                  <a:gd name="connsiteX2792" fmla="*/ 1445660 w 2417513"/>
                  <a:gd name="connsiteY2792" fmla="*/ 573203 h 1867037"/>
                  <a:gd name="connsiteX2793" fmla="*/ 1430962 w 2417513"/>
                  <a:gd name="connsiteY2793" fmla="*/ 583355 h 1867037"/>
                  <a:gd name="connsiteX2794" fmla="*/ 1430356 w 2417513"/>
                  <a:gd name="connsiteY2794" fmla="*/ 584112 h 1867037"/>
                  <a:gd name="connsiteX2795" fmla="*/ 1430053 w 2417513"/>
                  <a:gd name="connsiteY2795" fmla="*/ 585324 h 1867037"/>
                  <a:gd name="connsiteX2796" fmla="*/ 1429902 w 2417513"/>
                  <a:gd name="connsiteY2796" fmla="*/ 586991 h 1867037"/>
                  <a:gd name="connsiteX2797" fmla="*/ 1429447 w 2417513"/>
                  <a:gd name="connsiteY2797" fmla="*/ 588203 h 1867037"/>
                  <a:gd name="connsiteX2798" fmla="*/ 1423538 w 2417513"/>
                  <a:gd name="connsiteY2798" fmla="*/ 591385 h 1867037"/>
                  <a:gd name="connsiteX2799" fmla="*/ 1419750 w 2417513"/>
                  <a:gd name="connsiteY2799" fmla="*/ 595022 h 1867037"/>
                  <a:gd name="connsiteX2800" fmla="*/ 1416719 w 2417513"/>
                  <a:gd name="connsiteY2800" fmla="*/ 598961 h 1867037"/>
                  <a:gd name="connsiteX2801" fmla="*/ 1415659 w 2417513"/>
                  <a:gd name="connsiteY2801" fmla="*/ 601083 h 1867037"/>
                  <a:gd name="connsiteX2802" fmla="*/ 1415052 w 2417513"/>
                  <a:gd name="connsiteY2802" fmla="*/ 603810 h 1867037"/>
                  <a:gd name="connsiteX2803" fmla="*/ 1414446 w 2417513"/>
                  <a:gd name="connsiteY2803" fmla="*/ 607749 h 1867037"/>
                  <a:gd name="connsiteX2804" fmla="*/ 1413992 w 2417513"/>
                  <a:gd name="connsiteY2804" fmla="*/ 613053 h 1867037"/>
                  <a:gd name="connsiteX2805" fmla="*/ 1413083 w 2417513"/>
                  <a:gd name="connsiteY2805" fmla="*/ 615022 h 1867037"/>
                  <a:gd name="connsiteX2806" fmla="*/ 1408234 w 2417513"/>
                  <a:gd name="connsiteY2806" fmla="*/ 620932 h 1867037"/>
                  <a:gd name="connsiteX2807" fmla="*/ 1403688 w 2417513"/>
                  <a:gd name="connsiteY2807" fmla="*/ 627296 h 1867037"/>
                  <a:gd name="connsiteX2808" fmla="*/ 1400507 w 2417513"/>
                  <a:gd name="connsiteY2808" fmla="*/ 632447 h 1867037"/>
                  <a:gd name="connsiteX2809" fmla="*/ 1399294 w 2417513"/>
                  <a:gd name="connsiteY2809" fmla="*/ 635326 h 1867037"/>
                  <a:gd name="connsiteX2810" fmla="*/ 1398991 w 2417513"/>
                  <a:gd name="connsiteY2810" fmla="*/ 637599 h 1867037"/>
                  <a:gd name="connsiteX2811" fmla="*/ 1398991 w 2417513"/>
                  <a:gd name="connsiteY2811" fmla="*/ 640478 h 1867037"/>
                  <a:gd name="connsiteX2812" fmla="*/ 1399446 w 2417513"/>
                  <a:gd name="connsiteY2812" fmla="*/ 643811 h 1867037"/>
                  <a:gd name="connsiteX2813" fmla="*/ 1400355 w 2417513"/>
                  <a:gd name="connsiteY2813" fmla="*/ 645933 h 1867037"/>
                  <a:gd name="connsiteX2814" fmla="*/ 1403386 w 2417513"/>
                  <a:gd name="connsiteY2814" fmla="*/ 647296 h 1867037"/>
                  <a:gd name="connsiteX2815" fmla="*/ 1404901 w 2417513"/>
                  <a:gd name="connsiteY2815" fmla="*/ 647599 h 1867037"/>
                  <a:gd name="connsiteX2816" fmla="*/ 1404749 w 2417513"/>
                  <a:gd name="connsiteY2816" fmla="*/ 648509 h 1867037"/>
                  <a:gd name="connsiteX2817" fmla="*/ 1397476 w 2417513"/>
                  <a:gd name="connsiteY2817" fmla="*/ 654115 h 1867037"/>
                  <a:gd name="connsiteX2818" fmla="*/ 1394900 w 2417513"/>
                  <a:gd name="connsiteY2818" fmla="*/ 659266 h 1867037"/>
                  <a:gd name="connsiteX2819" fmla="*/ 1395052 w 2417513"/>
                  <a:gd name="connsiteY2819" fmla="*/ 661691 h 1867037"/>
                  <a:gd name="connsiteX2820" fmla="*/ 1396264 w 2417513"/>
                  <a:gd name="connsiteY2820" fmla="*/ 664418 h 1867037"/>
                  <a:gd name="connsiteX2821" fmla="*/ 1397476 w 2417513"/>
                  <a:gd name="connsiteY2821" fmla="*/ 669721 h 1867037"/>
                  <a:gd name="connsiteX2822" fmla="*/ 1398688 w 2417513"/>
                  <a:gd name="connsiteY2822" fmla="*/ 677752 h 1867037"/>
                  <a:gd name="connsiteX2823" fmla="*/ 1399900 w 2417513"/>
                  <a:gd name="connsiteY2823" fmla="*/ 682449 h 1867037"/>
                  <a:gd name="connsiteX2824" fmla="*/ 1400961 w 2417513"/>
                  <a:gd name="connsiteY2824" fmla="*/ 683964 h 1867037"/>
                  <a:gd name="connsiteX2825" fmla="*/ 1403992 w 2417513"/>
                  <a:gd name="connsiteY2825" fmla="*/ 685934 h 1867037"/>
                  <a:gd name="connsiteX2826" fmla="*/ 1411568 w 2417513"/>
                  <a:gd name="connsiteY2826" fmla="*/ 689571 h 1867037"/>
                  <a:gd name="connsiteX2827" fmla="*/ 1420810 w 2417513"/>
                  <a:gd name="connsiteY2827" fmla="*/ 692753 h 1867037"/>
                  <a:gd name="connsiteX2828" fmla="*/ 1434144 w 2417513"/>
                  <a:gd name="connsiteY2828" fmla="*/ 695177 h 1867037"/>
                  <a:gd name="connsiteX2829" fmla="*/ 1448539 w 2417513"/>
                  <a:gd name="connsiteY2829" fmla="*/ 695783 h 1867037"/>
                  <a:gd name="connsiteX2830" fmla="*/ 1453690 w 2417513"/>
                  <a:gd name="connsiteY2830" fmla="*/ 696692 h 1867037"/>
                  <a:gd name="connsiteX2831" fmla="*/ 1456721 w 2417513"/>
                  <a:gd name="connsiteY2831" fmla="*/ 698207 h 1867037"/>
                  <a:gd name="connsiteX2832" fmla="*/ 1461873 w 2417513"/>
                  <a:gd name="connsiteY2832" fmla="*/ 701844 h 1867037"/>
                  <a:gd name="connsiteX2833" fmla="*/ 1467479 w 2417513"/>
                  <a:gd name="connsiteY2833" fmla="*/ 704571 h 1867037"/>
                  <a:gd name="connsiteX2834" fmla="*/ 1473691 w 2417513"/>
                  <a:gd name="connsiteY2834" fmla="*/ 706692 h 1867037"/>
                  <a:gd name="connsiteX2835" fmla="*/ 1472630 w 2417513"/>
                  <a:gd name="connsiteY2835" fmla="*/ 707905 h 1867037"/>
                  <a:gd name="connsiteX2836" fmla="*/ 1462933 w 2417513"/>
                  <a:gd name="connsiteY2836" fmla="*/ 709420 h 1867037"/>
                  <a:gd name="connsiteX2837" fmla="*/ 1454448 w 2417513"/>
                  <a:gd name="connsiteY2837" fmla="*/ 710026 h 1867037"/>
                  <a:gd name="connsiteX2838" fmla="*/ 1449145 w 2417513"/>
                  <a:gd name="connsiteY2838" fmla="*/ 709723 h 1867037"/>
                  <a:gd name="connsiteX2839" fmla="*/ 1441720 w 2417513"/>
                  <a:gd name="connsiteY2839" fmla="*/ 708056 h 1867037"/>
                  <a:gd name="connsiteX2840" fmla="*/ 1436114 w 2417513"/>
                  <a:gd name="connsiteY2840" fmla="*/ 705783 h 1867037"/>
                  <a:gd name="connsiteX2841" fmla="*/ 1431265 w 2417513"/>
                  <a:gd name="connsiteY2841" fmla="*/ 705026 h 1867037"/>
                  <a:gd name="connsiteX2842" fmla="*/ 1422326 w 2417513"/>
                  <a:gd name="connsiteY2842" fmla="*/ 705026 h 1867037"/>
                  <a:gd name="connsiteX2843" fmla="*/ 1413083 w 2417513"/>
                  <a:gd name="connsiteY2843" fmla="*/ 703965 h 1867037"/>
                  <a:gd name="connsiteX2844" fmla="*/ 1410658 w 2417513"/>
                  <a:gd name="connsiteY2844" fmla="*/ 704268 h 1867037"/>
                  <a:gd name="connsiteX2845" fmla="*/ 1411871 w 2417513"/>
                  <a:gd name="connsiteY2845" fmla="*/ 705632 h 1867037"/>
                  <a:gd name="connsiteX2846" fmla="*/ 1412931 w 2417513"/>
                  <a:gd name="connsiteY2846" fmla="*/ 707602 h 1867037"/>
                  <a:gd name="connsiteX2847" fmla="*/ 1416113 w 2417513"/>
                  <a:gd name="connsiteY2847" fmla="*/ 716844 h 1867037"/>
                  <a:gd name="connsiteX2848" fmla="*/ 1417477 w 2417513"/>
                  <a:gd name="connsiteY2848" fmla="*/ 719420 h 1867037"/>
                  <a:gd name="connsiteX2849" fmla="*/ 1427326 w 2417513"/>
                  <a:gd name="connsiteY2849" fmla="*/ 731239 h 1867037"/>
                  <a:gd name="connsiteX2850" fmla="*/ 1429144 w 2417513"/>
                  <a:gd name="connsiteY2850" fmla="*/ 732602 h 1867037"/>
                  <a:gd name="connsiteX2851" fmla="*/ 1432477 w 2417513"/>
                  <a:gd name="connsiteY2851" fmla="*/ 733815 h 1867037"/>
                  <a:gd name="connsiteX2852" fmla="*/ 1439599 w 2417513"/>
                  <a:gd name="connsiteY2852" fmla="*/ 735178 h 1867037"/>
                  <a:gd name="connsiteX2853" fmla="*/ 1445660 w 2417513"/>
                  <a:gd name="connsiteY2853" fmla="*/ 738815 h 1867037"/>
                  <a:gd name="connsiteX2854" fmla="*/ 1453236 w 2417513"/>
                  <a:gd name="connsiteY2854" fmla="*/ 744573 h 1867037"/>
                  <a:gd name="connsiteX2855" fmla="*/ 1454902 w 2417513"/>
                  <a:gd name="connsiteY2855" fmla="*/ 744876 h 1867037"/>
                  <a:gd name="connsiteX2856" fmla="*/ 1456266 w 2417513"/>
                  <a:gd name="connsiteY2856" fmla="*/ 744270 h 1867037"/>
                  <a:gd name="connsiteX2857" fmla="*/ 1459600 w 2417513"/>
                  <a:gd name="connsiteY2857" fmla="*/ 741694 h 1867037"/>
                  <a:gd name="connsiteX2858" fmla="*/ 1460963 w 2417513"/>
                  <a:gd name="connsiteY2858" fmla="*/ 741239 h 1867037"/>
                  <a:gd name="connsiteX2859" fmla="*/ 1464145 w 2417513"/>
                  <a:gd name="connsiteY2859" fmla="*/ 740936 h 1867037"/>
                  <a:gd name="connsiteX2860" fmla="*/ 1471418 w 2417513"/>
                  <a:gd name="connsiteY2860" fmla="*/ 741694 h 1867037"/>
                  <a:gd name="connsiteX2861" fmla="*/ 1476267 w 2417513"/>
                  <a:gd name="connsiteY2861" fmla="*/ 740936 h 1867037"/>
                  <a:gd name="connsiteX2862" fmla="*/ 1475964 w 2417513"/>
                  <a:gd name="connsiteY2862" fmla="*/ 740027 h 1867037"/>
                  <a:gd name="connsiteX2863" fmla="*/ 1473691 w 2417513"/>
                  <a:gd name="connsiteY2863" fmla="*/ 738360 h 1867037"/>
                  <a:gd name="connsiteX2864" fmla="*/ 1473237 w 2417513"/>
                  <a:gd name="connsiteY2864" fmla="*/ 737300 h 1867037"/>
                  <a:gd name="connsiteX2865" fmla="*/ 1474600 w 2417513"/>
                  <a:gd name="connsiteY2865" fmla="*/ 736694 h 1867037"/>
                  <a:gd name="connsiteX2866" fmla="*/ 1483237 w 2417513"/>
                  <a:gd name="connsiteY2866" fmla="*/ 737906 h 1867037"/>
                  <a:gd name="connsiteX2867" fmla="*/ 1486116 w 2417513"/>
                  <a:gd name="connsiteY2867" fmla="*/ 737754 h 1867037"/>
                  <a:gd name="connsiteX2868" fmla="*/ 1488237 w 2417513"/>
                  <a:gd name="connsiteY2868" fmla="*/ 737300 h 1867037"/>
                  <a:gd name="connsiteX2869" fmla="*/ 1494449 w 2417513"/>
                  <a:gd name="connsiteY2869" fmla="*/ 734118 h 1867037"/>
                  <a:gd name="connsiteX2870" fmla="*/ 1493540 w 2417513"/>
                  <a:gd name="connsiteY2870" fmla="*/ 735178 h 1867037"/>
                  <a:gd name="connsiteX2871" fmla="*/ 1492631 w 2417513"/>
                  <a:gd name="connsiteY2871" fmla="*/ 737148 h 1867037"/>
                  <a:gd name="connsiteX2872" fmla="*/ 1491722 w 2417513"/>
                  <a:gd name="connsiteY2872" fmla="*/ 739875 h 1867037"/>
                  <a:gd name="connsiteX2873" fmla="*/ 1492177 w 2417513"/>
                  <a:gd name="connsiteY2873" fmla="*/ 742906 h 1867037"/>
                  <a:gd name="connsiteX2874" fmla="*/ 1495510 w 2417513"/>
                  <a:gd name="connsiteY2874" fmla="*/ 748664 h 1867037"/>
                  <a:gd name="connsiteX2875" fmla="*/ 1496571 w 2417513"/>
                  <a:gd name="connsiteY2875" fmla="*/ 750027 h 1867037"/>
                  <a:gd name="connsiteX2876" fmla="*/ 1499904 w 2417513"/>
                  <a:gd name="connsiteY2876" fmla="*/ 751997 h 1867037"/>
                  <a:gd name="connsiteX2877" fmla="*/ 1511420 w 2417513"/>
                  <a:gd name="connsiteY2877" fmla="*/ 755331 h 1867037"/>
                  <a:gd name="connsiteX2878" fmla="*/ 1520966 w 2417513"/>
                  <a:gd name="connsiteY2878" fmla="*/ 751694 h 1867037"/>
                  <a:gd name="connsiteX2879" fmla="*/ 1531421 w 2417513"/>
                  <a:gd name="connsiteY2879" fmla="*/ 753361 h 1867037"/>
                  <a:gd name="connsiteX2880" fmla="*/ 1535360 w 2417513"/>
                  <a:gd name="connsiteY2880" fmla="*/ 753361 h 1867037"/>
                  <a:gd name="connsiteX2881" fmla="*/ 1537481 w 2417513"/>
                  <a:gd name="connsiteY2881" fmla="*/ 754118 h 1867037"/>
                  <a:gd name="connsiteX2882" fmla="*/ 1539299 w 2417513"/>
                  <a:gd name="connsiteY2882" fmla="*/ 755634 h 1867037"/>
                  <a:gd name="connsiteX2883" fmla="*/ 1545966 w 2417513"/>
                  <a:gd name="connsiteY2883" fmla="*/ 756997 h 1867037"/>
                  <a:gd name="connsiteX2884" fmla="*/ 1564149 w 2417513"/>
                  <a:gd name="connsiteY2884" fmla="*/ 759119 h 1867037"/>
                  <a:gd name="connsiteX2885" fmla="*/ 1573089 w 2417513"/>
                  <a:gd name="connsiteY2885" fmla="*/ 758967 h 1867037"/>
                  <a:gd name="connsiteX2886" fmla="*/ 1583544 w 2417513"/>
                  <a:gd name="connsiteY2886" fmla="*/ 756846 h 1867037"/>
                  <a:gd name="connsiteX2887" fmla="*/ 1585210 w 2417513"/>
                  <a:gd name="connsiteY2887" fmla="*/ 757149 h 1867037"/>
                  <a:gd name="connsiteX2888" fmla="*/ 1589756 w 2417513"/>
                  <a:gd name="connsiteY2888" fmla="*/ 758967 h 1867037"/>
                  <a:gd name="connsiteX2889" fmla="*/ 1601726 w 2417513"/>
                  <a:gd name="connsiteY2889" fmla="*/ 763967 h 1867037"/>
                  <a:gd name="connsiteX2890" fmla="*/ 1607029 w 2417513"/>
                  <a:gd name="connsiteY2890" fmla="*/ 765331 h 1867037"/>
                  <a:gd name="connsiteX2891" fmla="*/ 1611272 w 2417513"/>
                  <a:gd name="connsiteY2891" fmla="*/ 765179 h 1867037"/>
                  <a:gd name="connsiteX2892" fmla="*/ 1616272 w 2417513"/>
                  <a:gd name="connsiteY2892" fmla="*/ 763816 h 1867037"/>
                  <a:gd name="connsiteX2893" fmla="*/ 1627030 w 2417513"/>
                  <a:gd name="connsiteY2893" fmla="*/ 760179 h 1867037"/>
                  <a:gd name="connsiteX2894" fmla="*/ 1644607 w 2417513"/>
                  <a:gd name="connsiteY2894" fmla="*/ 770483 h 1867037"/>
                  <a:gd name="connsiteX2895" fmla="*/ 1646879 w 2417513"/>
                  <a:gd name="connsiteY2895" fmla="*/ 768513 h 1867037"/>
                  <a:gd name="connsiteX2896" fmla="*/ 1646879 w 2417513"/>
                  <a:gd name="connsiteY2896" fmla="*/ 767452 h 1867037"/>
                  <a:gd name="connsiteX2897" fmla="*/ 1644607 w 2417513"/>
                  <a:gd name="connsiteY2897" fmla="*/ 764573 h 1867037"/>
                  <a:gd name="connsiteX2898" fmla="*/ 1641879 w 2417513"/>
                  <a:gd name="connsiteY2898" fmla="*/ 762149 h 1867037"/>
                  <a:gd name="connsiteX2899" fmla="*/ 1637182 w 2417513"/>
                  <a:gd name="connsiteY2899" fmla="*/ 758058 h 1867037"/>
                  <a:gd name="connsiteX2900" fmla="*/ 1633545 w 2417513"/>
                  <a:gd name="connsiteY2900" fmla="*/ 756088 h 1867037"/>
                  <a:gd name="connsiteX2901" fmla="*/ 1630970 w 2417513"/>
                  <a:gd name="connsiteY2901" fmla="*/ 756088 h 1867037"/>
                  <a:gd name="connsiteX2902" fmla="*/ 1628091 w 2417513"/>
                  <a:gd name="connsiteY2902" fmla="*/ 754876 h 1867037"/>
                  <a:gd name="connsiteX2903" fmla="*/ 1624757 w 2417513"/>
                  <a:gd name="connsiteY2903" fmla="*/ 752603 h 1867037"/>
                  <a:gd name="connsiteX2904" fmla="*/ 1627333 w 2417513"/>
                  <a:gd name="connsiteY2904" fmla="*/ 751846 h 1867037"/>
                  <a:gd name="connsiteX2905" fmla="*/ 1639909 w 2417513"/>
                  <a:gd name="connsiteY2905" fmla="*/ 752906 h 1867037"/>
                  <a:gd name="connsiteX2906" fmla="*/ 1647334 w 2417513"/>
                  <a:gd name="connsiteY2906" fmla="*/ 754573 h 1867037"/>
                  <a:gd name="connsiteX2907" fmla="*/ 1651576 w 2417513"/>
                  <a:gd name="connsiteY2907" fmla="*/ 754725 h 1867037"/>
                  <a:gd name="connsiteX2908" fmla="*/ 1659304 w 2417513"/>
                  <a:gd name="connsiteY2908" fmla="*/ 756694 h 1867037"/>
                  <a:gd name="connsiteX2909" fmla="*/ 1662789 w 2417513"/>
                  <a:gd name="connsiteY2909" fmla="*/ 757300 h 1867037"/>
                  <a:gd name="connsiteX2910" fmla="*/ 1665516 w 2417513"/>
                  <a:gd name="connsiteY2910" fmla="*/ 757300 h 1867037"/>
                  <a:gd name="connsiteX2911" fmla="*/ 1680517 w 2417513"/>
                  <a:gd name="connsiteY2911" fmla="*/ 762301 h 1867037"/>
                  <a:gd name="connsiteX2912" fmla="*/ 1683244 w 2417513"/>
                  <a:gd name="connsiteY2912" fmla="*/ 762604 h 1867037"/>
                  <a:gd name="connsiteX2913" fmla="*/ 1689002 w 2417513"/>
                  <a:gd name="connsiteY2913" fmla="*/ 762301 h 1867037"/>
                  <a:gd name="connsiteX2914" fmla="*/ 1694760 w 2417513"/>
                  <a:gd name="connsiteY2914" fmla="*/ 760785 h 1867037"/>
                  <a:gd name="connsiteX2915" fmla="*/ 1700366 w 2417513"/>
                  <a:gd name="connsiteY2915" fmla="*/ 758210 h 1867037"/>
                  <a:gd name="connsiteX2916" fmla="*/ 1702336 w 2417513"/>
                  <a:gd name="connsiteY2916" fmla="*/ 756543 h 1867037"/>
                  <a:gd name="connsiteX2917" fmla="*/ 1703396 w 2417513"/>
                  <a:gd name="connsiteY2917" fmla="*/ 754725 h 1867037"/>
                  <a:gd name="connsiteX2918" fmla="*/ 1703548 w 2417513"/>
                  <a:gd name="connsiteY2918" fmla="*/ 751997 h 1867037"/>
                  <a:gd name="connsiteX2919" fmla="*/ 1702639 w 2417513"/>
                  <a:gd name="connsiteY2919" fmla="*/ 748361 h 1867037"/>
                  <a:gd name="connsiteX2920" fmla="*/ 1701124 w 2417513"/>
                  <a:gd name="connsiteY2920" fmla="*/ 745179 h 1867037"/>
                  <a:gd name="connsiteX2921" fmla="*/ 1699154 w 2417513"/>
                  <a:gd name="connsiteY2921" fmla="*/ 742603 h 1867037"/>
                  <a:gd name="connsiteX2922" fmla="*/ 1696881 w 2417513"/>
                  <a:gd name="connsiteY2922" fmla="*/ 741088 h 1867037"/>
                  <a:gd name="connsiteX2923" fmla="*/ 1687790 w 2417513"/>
                  <a:gd name="connsiteY2923" fmla="*/ 738815 h 1867037"/>
                  <a:gd name="connsiteX2924" fmla="*/ 1686275 w 2417513"/>
                  <a:gd name="connsiteY2924" fmla="*/ 737451 h 1867037"/>
                  <a:gd name="connsiteX2925" fmla="*/ 1686426 w 2417513"/>
                  <a:gd name="connsiteY2925" fmla="*/ 735633 h 1867037"/>
                  <a:gd name="connsiteX2926" fmla="*/ 1687790 w 2417513"/>
                  <a:gd name="connsiteY2926" fmla="*/ 733360 h 1867037"/>
                  <a:gd name="connsiteX2927" fmla="*/ 1690366 w 2417513"/>
                  <a:gd name="connsiteY2927" fmla="*/ 730784 h 1867037"/>
                  <a:gd name="connsiteX2928" fmla="*/ 1692942 w 2417513"/>
                  <a:gd name="connsiteY2928" fmla="*/ 728814 h 1867037"/>
                  <a:gd name="connsiteX2929" fmla="*/ 1695518 w 2417513"/>
                  <a:gd name="connsiteY2929" fmla="*/ 727451 h 1867037"/>
                  <a:gd name="connsiteX2930" fmla="*/ 1697942 w 2417513"/>
                  <a:gd name="connsiteY2930" fmla="*/ 728511 h 1867037"/>
                  <a:gd name="connsiteX2931" fmla="*/ 1700063 w 2417513"/>
                  <a:gd name="connsiteY2931" fmla="*/ 732148 h 1867037"/>
                  <a:gd name="connsiteX2932" fmla="*/ 1701881 w 2417513"/>
                  <a:gd name="connsiteY2932" fmla="*/ 734421 h 1867037"/>
                  <a:gd name="connsiteX2933" fmla="*/ 1703548 w 2417513"/>
                  <a:gd name="connsiteY2933" fmla="*/ 735330 h 1867037"/>
                  <a:gd name="connsiteX2934" fmla="*/ 1707639 w 2417513"/>
                  <a:gd name="connsiteY2934" fmla="*/ 739875 h 1867037"/>
                  <a:gd name="connsiteX2935" fmla="*/ 1708851 w 2417513"/>
                  <a:gd name="connsiteY2935" fmla="*/ 740179 h 1867037"/>
                  <a:gd name="connsiteX2936" fmla="*/ 1711124 w 2417513"/>
                  <a:gd name="connsiteY2936" fmla="*/ 741694 h 1867037"/>
                  <a:gd name="connsiteX2937" fmla="*/ 1716882 w 2417513"/>
                  <a:gd name="connsiteY2937" fmla="*/ 745936 h 1867037"/>
                  <a:gd name="connsiteX2938" fmla="*/ 1718246 w 2417513"/>
                  <a:gd name="connsiteY2938" fmla="*/ 746391 h 1867037"/>
                  <a:gd name="connsiteX2939" fmla="*/ 1720215 w 2417513"/>
                  <a:gd name="connsiteY2939" fmla="*/ 746391 h 1867037"/>
                  <a:gd name="connsiteX2940" fmla="*/ 1728852 w 2417513"/>
                  <a:gd name="connsiteY2940" fmla="*/ 745027 h 1867037"/>
                  <a:gd name="connsiteX2941" fmla="*/ 1730670 w 2417513"/>
                  <a:gd name="connsiteY2941" fmla="*/ 745482 h 1867037"/>
                  <a:gd name="connsiteX2942" fmla="*/ 1732034 w 2417513"/>
                  <a:gd name="connsiteY2942" fmla="*/ 748815 h 1867037"/>
                  <a:gd name="connsiteX2943" fmla="*/ 1733398 w 2417513"/>
                  <a:gd name="connsiteY2943" fmla="*/ 755179 h 1867037"/>
                  <a:gd name="connsiteX2944" fmla="*/ 1733701 w 2417513"/>
                  <a:gd name="connsiteY2944" fmla="*/ 758967 h 1867037"/>
                  <a:gd name="connsiteX2945" fmla="*/ 1734458 w 2417513"/>
                  <a:gd name="connsiteY2945" fmla="*/ 762149 h 1867037"/>
                  <a:gd name="connsiteX2946" fmla="*/ 1735670 w 2417513"/>
                  <a:gd name="connsiteY2946" fmla="*/ 764876 h 1867037"/>
                  <a:gd name="connsiteX2947" fmla="*/ 1738398 w 2417513"/>
                  <a:gd name="connsiteY2947" fmla="*/ 765331 h 1867037"/>
                  <a:gd name="connsiteX2948" fmla="*/ 1745519 w 2417513"/>
                  <a:gd name="connsiteY2948" fmla="*/ 764422 h 1867037"/>
                  <a:gd name="connsiteX2949" fmla="*/ 1751429 w 2417513"/>
                  <a:gd name="connsiteY2949" fmla="*/ 765331 h 1867037"/>
                  <a:gd name="connsiteX2950" fmla="*/ 1752944 w 2417513"/>
                  <a:gd name="connsiteY2950" fmla="*/ 765937 h 1867037"/>
                  <a:gd name="connsiteX2951" fmla="*/ 1755823 w 2417513"/>
                  <a:gd name="connsiteY2951" fmla="*/ 768361 h 1867037"/>
                  <a:gd name="connsiteX2952" fmla="*/ 1755520 w 2417513"/>
                  <a:gd name="connsiteY2952" fmla="*/ 769877 h 1867037"/>
                  <a:gd name="connsiteX2953" fmla="*/ 1751429 w 2417513"/>
                  <a:gd name="connsiteY2953" fmla="*/ 772604 h 1867037"/>
                  <a:gd name="connsiteX2954" fmla="*/ 1749004 w 2417513"/>
                  <a:gd name="connsiteY2954" fmla="*/ 773513 h 1867037"/>
                  <a:gd name="connsiteX2955" fmla="*/ 1748398 w 2417513"/>
                  <a:gd name="connsiteY2955" fmla="*/ 774422 h 1867037"/>
                  <a:gd name="connsiteX2956" fmla="*/ 1749459 w 2417513"/>
                  <a:gd name="connsiteY2956" fmla="*/ 775331 h 1867037"/>
                  <a:gd name="connsiteX2957" fmla="*/ 1751429 w 2417513"/>
                  <a:gd name="connsiteY2957" fmla="*/ 776240 h 1867037"/>
                  <a:gd name="connsiteX2958" fmla="*/ 1754307 w 2417513"/>
                  <a:gd name="connsiteY2958" fmla="*/ 776544 h 1867037"/>
                  <a:gd name="connsiteX2959" fmla="*/ 1759005 w 2417513"/>
                  <a:gd name="connsiteY2959" fmla="*/ 778362 h 1867037"/>
                  <a:gd name="connsiteX2960" fmla="*/ 1760520 w 2417513"/>
                  <a:gd name="connsiteY2960" fmla="*/ 777453 h 1867037"/>
                  <a:gd name="connsiteX2961" fmla="*/ 1763096 w 2417513"/>
                  <a:gd name="connsiteY2961" fmla="*/ 774271 h 1867037"/>
                  <a:gd name="connsiteX2962" fmla="*/ 1765217 w 2417513"/>
                  <a:gd name="connsiteY2962" fmla="*/ 772907 h 1867037"/>
                  <a:gd name="connsiteX2963" fmla="*/ 1767641 w 2417513"/>
                  <a:gd name="connsiteY2963" fmla="*/ 772755 h 1867037"/>
                  <a:gd name="connsiteX2964" fmla="*/ 1772793 w 2417513"/>
                  <a:gd name="connsiteY2964" fmla="*/ 773968 h 1867037"/>
                  <a:gd name="connsiteX2965" fmla="*/ 1772945 w 2417513"/>
                  <a:gd name="connsiteY2965" fmla="*/ 774422 h 1867037"/>
                  <a:gd name="connsiteX2966" fmla="*/ 1766581 w 2417513"/>
                  <a:gd name="connsiteY2966" fmla="*/ 776089 h 1867037"/>
                  <a:gd name="connsiteX2967" fmla="*/ 1765066 w 2417513"/>
                  <a:gd name="connsiteY2967" fmla="*/ 777453 h 1867037"/>
                  <a:gd name="connsiteX2968" fmla="*/ 1764762 w 2417513"/>
                  <a:gd name="connsiteY2968" fmla="*/ 779574 h 1867037"/>
                  <a:gd name="connsiteX2969" fmla="*/ 1764914 w 2417513"/>
                  <a:gd name="connsiteY2969" fmla="*/ 781089 h 1867037"/>
                  <a:gd name="connsiteX2970" fmla="*/ 1766429 w 2417513"/>
                  <a:gd name="connsiteY2970" fmla="*/ 783362 h 1867037"/>
                  <a:gd name="connsiteX2971" fmla="*/ 1767944 w 2417513"/>
                  <a:gd name="connsiteY2971" fmla="*/ 784726 h 1867037"/>
                  <a:gd name="connsiteX2972" fmla="*/ 1770520 w 2417513"/>
                  <a:gd name="connsiteY2972" fmla="*/ 785635 h 1867037"/>
                  <a:gd name="connsiteX2973" fmla="*/ 1774005 w 2417513"/>
                  <a:gd name="connsiteY2973" fmla="*/ 786089 h 1867037"/>
                  <a:gd name="connsiteX2974" fmla="*/ 1777945 w 2417513"/>
                  <a:gd name="connsiteY2974" fmla="*/ 787301 h 1867037"/>
                  <a:gd name="connsiteX2975" fmla="*/ 1785066 w 2417513"/>
                  <a:gd name="connsiteY2975" fmla="*/ 790635 h 1867037"/>
                  <a:gd name="connsiteX2976" fmla="*/ 1786127 w 2417513"/>
                  <a:gd name="connsiteY2976" fmla="*/ 791544 h 1867037"/>
                  <a:gd name="connsiteX2977" fmla="*/ 1788854 w 2417513"/>
                  <a:gd name="connsiteY2977" fmla="*/ 795787 h 1867037"/>
                  <a:gd name="connsiteX2978" fmla="*/ 1788248 w 2417513"/>
                  <a:gd name="connsiteY2978" fmla="*/ 798362 h 1867037"/>
                  <a:gd name="connsiteX2979" fmla="*/ 1785672 w 2417513"/>
                  <a:gd name="connsiteY2979" fmla="*/ 801090 h 1867037"/>
                  <a:gd name="connsiteX2980" fmla="*/ 1783097 w 2417513"/>
                  <a:gd name="connsiteY2980" fmla="*/ 803211 h 1867037"/>
                  <a:gd name="connsiteX2981" fmla="*/ 1780521 w 2417513"/>
                  <a:gd name="connsiteY2981" fmla="*/ 804575 h 1867037"/>
                  <a:gd name="connsiteX2982" fmla="*/ 1776884 w 2417513"/>
                  <a:gd name="connsiteY2982" fmla="*/ 804726 h 1867037"/>
                  <a:gd name="connsiteX2983" fmla="*/ 1768854 w 2417513"/>
                  <a:gd name="connsiteY2983" fmla="*/ 803514 h 1867037"/>
                  <a:gd name="connsiteX2984" fmla="*/ 1765672 w 2417513"/>
                  <a:gd name="connsiteY2984" fmla="*/ 804575 h 1867037"/>
                  <a:gd name="connsiteX2985" fmla="*/ 1764005 w 2417513"/>
                  <a:gd name="connsiteY2985" fmla="*/ 805635 h 1867037"/>
                  <a:gd name="connsiteX2986" fmla="*/ 1763096 w 2417513"/>
                  <a:gd name="connsiteY2986" fmla="*/ 807302 h 1867037"/>
                  <a:gd name="connsiteX2987" fmla="*/ 1763399 w 2417513"/>
                  <a:gd name="connsiteY2987" fmla="*/ 813363 h 1867037"/>
                  <a:gd name="connsiteX2988" fmla="*/ 1763247 w 2417513"/>
                  <a:gd name="connsiteY2988" fmla="*/ 814878 h 1867037"/>
                  <a:gd name="connsiteX2989" fmla="*/ 1762641 w 2417513"/>
                  <a:gd name="connsiteY2989" fmla="*/ 816090 h 1867037"/>
                  <a:gd name="connsiteX2990" fmla="*/ 1762338 w 2417513"/>
                  <a:gd name="connsiteY2990" fmla="*/ 817606 h 1867037"/>
                  <a:gd name="connsiteX2991" fmla="*/ 1762187 w 2417513"/>
                  <a:gd name="connsiteY2991" fmla="*/ 819424 h 1867037"/>
                  <a:gd name="connsiteX2992" fmla="*/ 1763096 w 2417513"/>
                  <a:gd name="connsiteY2992" fmla="*/ 820484 h 1867037"/>
                  <a:gd name="connsiteX2993" fmla="*/ 1768096 w 2417513"/>
                  <a:gd name="connsiteY2993" fmla="*/ 820788 h 1867037"/>
                  <a:gd name="connsiteX2994" fmla="*/ 1772642 w 2417513"/>
                  <a:gd name="connsiteY2994" fmla="*/ 819121 h 1867037"/>
                  <a:gd name="connsiteX2995" fmla="*/ 1783399 w 2417513"/>
                  <a:gd name="connsiteY2995" fmla="*/ 813818 h 1867037"/>
                  <a:gd name="connsiteX2996" fmla="*/ 1789460 w 2417513"/>
                  <a:gd name="connsiteY2996" fmla="*/ 811545 h 1867037"/>
                  <a:gd name="connsiteX2997" fmla="*/ 1792188 w 2417513"/>
                  <a:gd name="connsiteY2997" fmla="*/ 808363 h 1867037"/>
                  <a:gd name="connsiteX2998" fmla="*/ 1794006 w 2417513"/>
                  <a:gd name="connsiteY2998" fmla="*/ 807908 h 1867037"/>
                  <a:gd name="connsiteX2999" fmla="*/ 1796582 w 2417513"/>
                  <a:gd name="connsiteY2999" fmla="*/ 808514 h 1867037"/>
                  <a:gd name="connsiteX3000" fmla="*/ 1800673 w 2417513"/>
                  <a:gd name="connsiteY3000" fmla="*/ 810333 h 1867037"/>
                  <a:gd name="connsiteX3001" fmla="*/ 1803703 w 2417513"/>
                  <a:gd name="connsiteY3001" fmla="*/ 808817 h 1867037"/>
                  <a:gd name="connsiteX3002" fmla="*/ 1807794 w 2417513"/>
                  <a:gd name="connsiteY3002" fmla="*/ 804726 h 1867037"/>
                  <a:gd name="connsiteX3003" fmla="*/ 1810522 w 2417513"/>
                  <a:gd name="connsiteY3003" fmla="*/ 802757 h 1867037"/>
                  <a:gd name="connsiteX3004" fmla="*/ 1811885 w 2417513"/>
                  <a:gd name="connsiteY3004" fmla="*/ 802908 h 1867037"/>
                  <a:gd name="connsiteX3005" fmla="*/ 1814310 w 2417513"/>
                  <a:gd name="connsiteY3005" fmla="*/ 803817 h 1867037"/>
                  <a:gd name="connsiteX3006" fmla="*/ 1812794 w 2417513"/>
                  <a:gd name="connsiteY3006" fmla="*/ 805029 h 1867037"/>
                  <a:gd name="connsiteX3007" fmla="*/ 1808704 w 2417513"/>
                  <a:gd name="connsiteY3007" fmla="*/ 806848 h 1867037"/>
                  <a:gd name="connsiteX3008" fmla="*/ 1807643 w 2417513"/>
                  <a:gd name="connsiteY3008" fmla="*/ 807908 h 1867037"/>
                  <a:gd name="connsiteX3009" fmla="*/ 1808400 w 2417513"/>
                  <a:gd name="connsiteY3009" fmla="*/ 808817 h 1867037"/>
                  <a:gd name="connsiteX3010" fmla="*/ 1811431 w 2417513"/>
                  <a:gd name="connsiteY3010" fmla="*/ 808969 h 1867037"/>
                  <a:gd name="connsiteX3011" fmla="*/ 1813401 w 2417513"/>
                  <a:gd name="connsiteY3011" fmla="*/ 810030 h 1867037"/>
                  <a:gd name="connsiteX3012" fmla="*/ 1813098 w 2417513"/>
                  <a:gd name="connsiteY3012" fmla="*/ 811090 h 1867037"/>
                  <a:gd name="connsiteX3013" fmla="*/ 1808704 w 2417513"/>
                  <a:gd name="connsiteY3013" fmla="*/ 814424 h 1867037"/>
                  <a:gd name="connsiteX3014" fmla="*/ 1809158 w 2417513"/>
                  <a:gd name="connsiteY3014" fmla="*/ 815181 h 1867037"/>
                  <a:gd name="connsiteX3015" fmla="*/ 1811431 w 2417513"/>
                  <a:gd name="connsiteY3015" fmla="*/ 815787 h 1867037"/>
                  <a:gd name="connsiteX3016" fmla="*/ 1813098 w 2417513"/>
                  <a:gd name="connsiteY3016" fmla="*/ 815787 h 1867037"/>
                  <a:gd name="connsiteX3017" fmla="*/ 1814310 w 2417513"/>
                  <a:gd name="connsiteY3017" fmla="*/ 815181 h 1867037"/>
                  <a:gd name="connsiteX3018" fmla="*/ 1814916 w 2417513"/>
                  <a:gd name="connsiteY3018" fmla="*/ 816090 h 1867037"/>
                  <a:gd name="connsiteX3019" fmla="*/ 1814461 w 2417513"/>
                  <a:gd name="connsiteY3019" fmla="*/ 817757 h 1867037"/>
                  <a:gd name="connsiteX3020" fmla="*/ 1815825 w 2417513"/>
                  <a:gd name="connsiteY3020" fmla="*/ 820030 h 1867037"/>
                  <a:gd name="connsiteX3021" fmla="*/ 1822037 w 2417513"/>
                  <a:gd name="connsiteY3021" fmla="*/ 826091 h 1867037"/>
                  <a:gd name="connsiteX3022" fmla="*/ 1824007 w 2417513"/>
                  <a:gd name="connsiteY3022" fmla="*/ 827303 h 1867037"/>
                  <a:gd name="connsiteX3023" fmla="*/ 1826128 w 2417513"/>
                  <a:gd name="connsiteY3023" fmla="*/ 828061 h 1867037"/>
                  <a:gd name="connsiteX3024" fmla="*/ 1828553 w 2417513"/>
                  <a:gd name="connsiteY3024" fmla="*/ 828364 h 1867037"/>
                  <a:gd name="connsiteX3025" fmla="*/ 1833856 w 2417513"/>
                  <a:gd name="connsiteY3025" fmla="*/ 827757 h 1867037"/>
                  <a:gd name="connsiteX3026" fmla="*/ 1834462 w 2417513"/>
                  <a:gd name="connsiteY3026" fmla="*/ 826394 h 1867037"/>
                  <a:gd name="connsiteX3027" fmla="*/ 1830371 w 2417513"/>
                  <a:gd name="connsiteY3027" fmla="*/ 820636 h 1867037"/>
                  <a:gd name="connsiteX3028" fmla="*/ 1831583 w 2417513"/>
                  <a:gd name="connsiteY3028" fmla="*/ 820030 h 1867037"/>
                  <a:gd name="connsiteX3029" fmla="*/ 1835371 w 2417513"/>
                  <a:gd name="connsiteY3029" fmla="*/ 820181 h 1867037"/>
                  <a:gd name="connsiteX3030" fmla="*/ 1837644 w 2417513"/>
                  <a:gd name="connsiteY3030" fmla="*/ 820636 h 1867037"/>
                  <a:gd name="connsiteX3031" fmla="*/ 1838402 w 2417513"/>
                  <a:gd name="connsiteY3031" fmla="*/ 821394 h 1867037"/>
                  <a:gd name="connsiteX3032" fmla="*/ 1839008 w 2417513"/>
                  <a:gd name="connsiteY3032" fmla="*/ 822757 h 1867037"/>
                  <a:gd name="connsiteX3033" fmla="*/ 1839462 w 2417513"/>
                  <a:gd name="connsiteY3033" fmla="*/ 824576 h 1867037"/>
                  <a:gd name="connsiteX3034" fmla="*/ 1839462 w 2417513"/>
                  <a:gd name="connsiteY3034" fmla="*/ 826545 h 1867037"/>
                  <a:gd name="connsiteX3035" fmla="*/ 1838098 w 2417513"/>
                  <a:gd name="connsiteY3035" fmla="*/ 830333 h 1867037"/>
                  <a:gd name="connsiteX3036" fmla="*/ 1837038 w 2417513"/>
                  <a:gd name="connsiteY3036" fmla="*/ 831849 h 1867037"/>
                  <a:gd name="connsiteX3037" fmla="*/ 1836886 w 2417513"/>
                  <a:gd name="connsiteY3037" fmla="*/ 833515 h 1867037"/>
                  <a:gd name="connsiteX3038" fmla="*/ 1838553 w 2417513"/>
                  <a:gd name="connsiteY3038" fmla="*/ 836697 h 1867037"/>
                  <a:gd name="connsiteX3039" fmla="*/ 1840523 w 2417513"/>
                  <a:gd name="connsiteY3039" fmla="*/ 838515 h 1867037"/>
                  <a:gd name="connsiteX3040" fmla="*/ 1843402 w 2417513"/>
                  <a:gd name="connsiteY3040" fmla="*/ 840031 h 1867037"/>
                  <a:gd name="connsiteX3041" fmla="*/ 1845220 w 2417513"/>
                  <a:gd name="connsiteY3041" fmla="*/ 839879 h 1867037"/>
                  <a:gd name="connsiteX3042" fmla="*/ 1852645 w 2417513"/>
                  <a:gd name="connsiteY3042" fmla="*/ 836546 h 1867037"/>
                  <a:gd name="connsiteX3043" fmla="*/ 1853250 w 2417513"/>
                  <a:gd name="connsiteY3043" fmla="*/ 837000 h 1867037"/>
                  <a:gd name="connsiteX3044" fmla="*/ 1852039 w 2417513"/>
                  <a:gd name="connsiteY3044" fmla="*/ 839273 h 1867037"/>
                  <a:gd name="connsiteX3045" fmla="*/ 1852190 w 2417513"/>
                  <a:gd name="connsiteY3045" fmla="*/ 841243 h 1867037"/>
                  <a:gd name="connsiteX3046" fmla="*/ 1859463 w 2417513"/>
                  <a:gd name="connsiteY3046" fmla="*/ 848819 h 1867037"/>
                  <a:gd name="connsiteX3047" fmla="*/ 1863857 w 2417513"/>
                  <a:gd name="connsiteY3047" fmla="*/ 856395 h 1867037"/>
                  <a:gd name="connsiteX3048" fmla="*/ 1868706 w 2417513"/>
                  <a:gd name="connsiteY3048" fmla="*/ 862607 h 1867037"/>
                  <a:gd name="connsiteX3049" fmla="*/ 1872797 w 2417513"/>
                  <a:gd name="connsiteY3049" fmla="*/ 869729 h 1867037"/>
                  <a:gd name="connsiteX3050" fmla="*/ 1878858 w 2417513"/>
                  <a:gd name="connsiteY3050" fmla="*/ 884578 h 1867037"/>
                  <a:gd name="connsiteX3051" fmla="*/ 1880221 w 2417513"/>
                  <a:gd name="connsiteY3051" fmla="*/ 886244 h 1867037"/>
                  <a:gd name="connsiteX3052" fmla="*/ 1882040 w 2417513"/>
                  <a:gd name="connsiteY3052" fmla="*/ 887305 h 1867037"/>
                  <a:gd name="connsiteX3053" fmla="*/ 1882494 w 2417513"/>
                  <a:gd name="connsiteY3053" fmla="*/ 888669 h 1867037"/>
                  <a:gd name="connsiteX3054" fmla="*/ 1878555 w 2417513"/>
                  <a:gd name="connsiteY3054" fmla="*/ 894275 h 1867037"/>
                  <a:gd name="connsiteX3055" fmla="*/ 1875221 w 2417513"/>
                  <a:gd name="connsiteY3055" fmla="*/ 895942 h 1867037"/>
                  <a:gd name="connsiteX3056" fmla="*/ 1870221 w 2417513"/>
                  <a:gd name="connsiteY3056" fmla="*/ 897154 h 1867037"/>
                  <a:gd name="connsiteX3057" fmla="*/ 1866888 w 2417513"/>
                  <a:gd name="connsiteY3057" fmla="*/ 898972 h 1867037"/>
                  <a:gd name="connsiteX3058" fmla="*/ 1862493 w 2417513"/>
                  <a:gd name="connsiteY3058" fmla="*/ 905791 h 1867037"/>
                  <a:gd name="connsiteX3059" fmla="*/ 1861736 w 2417513"/>
                  <a:gd name="connsiteY3059" fmla="*/ 908367 h 1867037"/>
                  <a:gd name="connsiteX3060" fmla="*/ 1861433 w 2417513"/>
                  <a:gd name="connsiteY3060" fmla="*/ 911245 h 1867037"/>
                  <a:gd name="connsiteX3061" fmla="*/ 1860069 w 2417513"/>
                  <a:gd name="connsiteY3061" fmla="*/ 912912 h 1867037"/>
                  <a:gd name="connsiteX3062" fmla="*/ 1855523 w 2417513"/>
                  <a:gd name="connsiteY3062" fmla="*/ 914276 h 1867037"/>
                  <a:gd name="connsiteX3063" fmla="*/ 1853402 w 2417513"/>
                  <a:gd name="connsiteY3063" fmla="*/ 915336 h 1867037"/>
                  <a:gd name="connsiteX3064" fmla="*/ 1851281 w 2417513"/>
                  <a:gd name="connsiteY3064" fmla="*/ 917155 h 1867037"/>
                  <a:gd name="connsiteX3065" fmla="*/ 1849311 w 2417513"/>
                  <a:gd name="connsiteY3065" fmla="*/ 919579 h 1867037"/>
                  <a:gd name="connsiteX3066" fmla="*/ 1845068 w 2417513"/>
                  <a:gd name="connsiteY3066" fmla="*/ 923064 h 1867037"/>
                  <a:gd name="connsiteX3067" fmla="*/ 1835523 w 2417513"/>
                  <a:gd name="connsiteY3067" fmla="*/ 929882 h 1867037"/>
                  <a:gd name="connsiteX3068" fmla="*/ 1823401 w 2417513"/>
                  <a:gd name="connsiteY3068" fmla="*/ 936701 h 1867037"/>
                  <a:gd name="connsiteX3069" fmla="*/ 1822189 w 2417513"/>
                  <a:gd name="connsiteY3069" fmla="*/ 938519 h 1867037"/>
                  <a:gd name="connsiteX3070" fmla="*/ 1821734 w 2417513"/>
                  <a:gd name="connsiteY3070" fmla="*/ 939731 h 1867037"/>
                  <a:gd name="connsiteX3071" fmla="*/ 1822643 w 2417513"/>
                  <a:gd name="connsiteY3071" fmla="*/ 941701 h 1867037"/>
                  <a:gd name="connsiteX3072" fmla="*/ 1826128 w 2417513"/>
                  <a:gd name="connsiteY3072" fmla="*/ 945489 h 1867037"/>
                  <a:gd name="connsiteX3073" fmla="*/ 1832795 w 2417513"/>
                  <a:gd name="connsiteY3073" fmla="*/ 951701 h 1867037"/>
                  <a:gd name="connsiteX3074" fmla="*/ 1838402 w 2417513"/>
                  <a:gd name="connsiteY3074" fmla="*/ 954883 h 1867037"/>
                  <a:gd name="connsiteX3075" fmla="*/ 1840523 w 2417513"/>
                  <a:gd name="connsiteY3075" fmla="*/ 956550 h 1867037"/>
                  <a:gd name="connsiteX3076" fmla="*/ 1843402 w 2417513"/>
                  <a:gd name="connsiteY3076" fmla="*/ 961702 h 1867037"/>
                  <a:gd name="connsiteX3077" fmla="*/ 1845674 w 2417513"/>
                  <a:gd name="connsiteY3077" fmla="*/ 966702 h 1867037"/>
                  <a:gd name="connsiteX3078" fmla="*/ 1845978 w 2417513"/>
                  <a:gd name="connsiteY3078" fmla="*/ 969278 h 1867037"/>
                  <a:gd name="connsiteX3079" fmla="*/ 1842644 w 2417513"/>
                  <a:gd name="connsiteY3079" fmla="*/ 969278 h 1867037"/>
                  <a:gd name="connsiteX3080" fmla="*/ 1837038 w 2417513"/>
                  <a:gd name="connsiteY3080" fmla="*/ 967763 h 1867037"/>
                  <a:gd name="connsiteX3081" fmla="*/ 1834008 w 2417513"/>
                  <a:gd name="connsiteY3081" fmla="*/ 967914 h 1867037"/>
                  <a:gd name="connsiteX3082" fmla="*/ 1829916 w 2417513"/>
                  <a:gd name="connsiteY3082" fmla="*/ 968520 h 1867037"/>
                  <a:gd name="connsiteX3083" fmla="*/ 1827189 w 2417513"/>
                  <a:gd name="connsiteY3083" fmla="*/ 969429 h 1867037"/>
                  <a:gd name="connsiteX3084" fmla="*/ 1822946 w 2417513"/>
                  <a:gd name="connsiteY3084" fmla="*/ 973369 h 1867037"/>
                  <a:gd name="connsiteX3085" fmla="*/ 1820068 w 2417513"/>
                  <a:gd name="connsiteY3085" fmla="*/ 974581 h 1867037"/>
                  <a:gd name="connsiteX3086" fmla="*/ 1817946 w 2417513"/>
                  <a:gd name="connsiteY3086" fmla="*/ 974884 h 1867037"/>
                  <a:gd name="connsiteX3087" fmla="*/ 1815522 w 2417513"/>
                  <a:gd name="connsiteY3087" fmla="*/ 974733 h 1867037"/>
                  <a:gd name="connsiteX3088" fmla="*/ 1810522 w 2417513"/>
                  <a:gd name="connsiteY3088" fmla="*/ 973672 h 1867037"/>
                  <a:gd name="connsiteX3089" fmla="*/ 1806885 w 2417513"/>
                  <a:gd name="connsiteY3089" fmla="*/ 973975 h 1867037"/>
                  <a:gd name="connsiteX3090" fmla="*/ 1805067 w 2417513"/>
                  <a:gd name="connsiteY3090" fmla="*/ 974733 h 1867037"/>
                  <a:gd name="connsiteX3091" fmla="*/ 1803400 w 2417513"/>
                  <a:gd name="connsiteY3091" fmla="*/ 976248 h 1867037"/>
                  <a:gd name="connsiteX3092" fmla="*/ 1801885 w 2417513"/>
                  <a:gd name="connsiteY3092" fmla="*/ 978369 h 1867037"/>
                  <a:gd name="connsiteX3093" fmla="*/ 1797794 w 2417513"/>
                  <a:gd name="connsiteY3093" fmla="*/ 978824 h 1867037"/>
                  <a:gd name="connsiteX3094" fmla="*/ 1787036 w 2417513"/>
                  <a:gd name="connsiteY3094" fmla="*/ 977005 h 1867037"/>
                  <a:gd name="connsiteX3095" fmla="*/ 1784612 w 2417513"/>
                  <a:gd name="connsiteY3095" fmla="*/ 977763 h 1867037"/>
                  <a:gd name="connsiteX3096" fmla="*/ 1785369 w 2417513"/>
                  <a:gd name="connsiteY3096" fmla="*/ 979581 h 1867037"/>
                  <a:gd name="connsiteX3097" fmla="*/ 1792642 w 2417513"/>
                  <a:gd name="connsiteY3097" fmla="*/ 985036 h 1867037"/>
                  <a:gd name="connsiteX3098" fmla="*/ 1794309 w 2417513"/>
                  <a:gd name="connsiteY3098" fmla="*/ 986551 h 1867037"/>
                  <a:gd name="connsiteX3099" fmla="*/ 1795673 w 2417513"/>
                  <a:gd name="connsiteY3099" fmla="*/ 988369 h 1867037"/>
                  <a:gd name="connsiteX3100" fmla="*/ 1796733 w 2417513"/>
                  <a:gd name="connsiteY3100" fmla="*/ 990491 h 1867037"/>
                  <a:gd name="connsiteX3101" fmla="*/ 1796582 w 2417513"/>
                  <a:gd name="connsiteY3101" fmla="*/ 992309 h 1867037"/>
                  <a:gd name="connsiteX3102" fmla="*/ 1795218 w 2417513"/>
                  <a:gd name="connsiteY3102" fmla="*/ 993673 h 1867037"/>
                  <a:gd name="connsiteX3103" fmla="*/ 1794612 w 2417513"/>
                  <a:gd name="connsiteY3103" fmla="*/ 995339 h 1867037"/>
                  <a:gd name="connsiteX3104" fmla="*/ 1794763 w 2417513"/>
                  <a:gd name="connsiteY3104" fmla="*/ 997309 h 1867037"/>
                  <a:gd name="connsiteX3105" fmla="*/ 1794006 w 2417513"/>
                  <a:gd name="connsiteY3105" fmla="*/ 997915 h 1867037"/>
                  <a:gd name="connsiteX3106" fmla="*/ 1791127 w 2417513"/>
                  <a:gd name="connsiteY3106" fmla="*/ 996248 h 1867037"/>
                  <a:gd name="connsiteX3107" fmla="*/ 1790218 w 2417513"/>
                  <a:gd name="connsiteY3107" fmla="*/ 995036 h 1867037"/>
                  <a:gd name="connsiteX3108" fmla="*/ 1790218 w 2417513"/>
                  <a:gd name="connsiteY3108" fmla="*/ 993976 h 1867037"/>
                  <a:gd name="connsiteX3109" fmla="*/ 1790975 w 2417513"/>
                  <a:gd name="connsiteY3109" fmla="*/ 993067 h 1867037"/>
                  <a:gd name="connsiteX3110" fmla="*/ 1792642 w 2417513"/>
                  <a:gd name="connsiteY3110" fmla="*/ 990188 h 1867037"/>
                  <a:gd name="connsiteX3111" fmla="*/ 1792188 w 2417513"/>
                  <a:gd name="connsiteY3111" fmla="*/ 988218 h 1867037"/>
                  <a:gd name="connsiteX3112" fmla="*/ 1788703 w 2417513"/>
                  <a:gd name="connsiteY3112" fmla="*/ 984430 h 1867037"/>
                  <a:gd name="connsiteX3113" fmla="*/ 1783248 w 2417513"/>
                  <a:gd name="connsiteY3113" fmla="*/ 980490 h 1867037"/>
                  <a:gd name="connsiteX3114" fmla="*/ 1776733 w 2417513"/>
                  <a:gd name="connsiteY3114" fmla="*/ 977915 h 1867037"/>
                  <a:gd name="connsiteX3115" fmla="*/ 1765369 w 2417513"/>
                  <a:gd name="connsiteY3115" fmla="*/ 974126 h 1867037"/>
                  <a:gd name="connsiteX3116" fmla="*/ 1757186 w 2417513"/>
                  <a:gd name="connsiteY3116" fmla="*/ 972157 h 1867037"/>
                  <a:gd name="connsiteX3117" fmla="*/ 1752338 w 2417513"/>
                  <a:gd name="connsiteY3117" fmla="*/ 972005 h 1867037"/>
                  <a:gd name="connsiteX3118" fmla="*/ 1748701 w 2417513"/>
                  <a:gd name="connsiteY3118" fmla="*/ 971399 h 1867037"/>
                  <a:gd name="connsiteX3119" fmla="*/ 1744459 w 2417513"/>
                  <a:gd name="connsiteY3119" fmla="*/ 970035 h 1867037"/>
                  <a:gd name="connsiteX3120" fmla="*/ 1742337 w 2417513"/>
                  <a:gd name="connsiteY3120" fmla="*/ 970490 h 1867037"/>
                  <a:gd name="connsiteX3121" fmla="*/ 1741428 w 2417513"/>
                  <a:gd name="connsiteY3121" fmla="*/ 971248 h 1867037"/>
                  <a:gd name="connsiteX3122" fmla="*/ 1739458 w 2417513"/>
                  <a:gd name="connsiteY3122" fmla="*/ 974126 h 1867037"/>
                  <a:gd name="connsiteX3123" fmla="*/ 1738549 w 2417513"/>
                  <a:gd name="connsiteY3123" fmla="*/ 974884 h 1867037"/>
                  <a:gd name="connsiteX3124" fmla="*/ 1738549 w 2417513"/>
                  <a:gd name="connsiteY3124" fmla="*/ 976096 h 1867037"/>
                  <a:gd name="connsiteX3125" fmla="*/ 1741277 w 2417513"/>
                  <a:gd name="connsiteY3125" fmla="*/ 980945 h 1867037"/>
                  <a:gd name="connsiteX3126" fmla="*/ 1741428 w 2417513"/>
                  <a:gd name="connsiteY3126" fmla="*/ 982006 h 1867037"/>
                  <a:gd name="connsiteX3127" fmla="*/ 1739004 w 2417513"/>
                  <a:gd name="connsiteY3127" fmla="*/ 983521 h 1867037"/>
                  <a:gd name="connsiteX3128" fmla="*/ 1727337 w 2417513"/>
                  <a:gd name="connsiteY3128" fmla="*/ 987460 h 1867037"/>
                  <a:gd name="connsiteX3129" fmla="*/ 1724155 w 2417513"/>
                  <a:gd name="connsiteY3129" fmla="*/ 989733 h 1867037"/>
                  <a:gd name="connsiteX3130" fmla="*/ 1722488 w 2417513"/>
                  <a:gd name="connsiteY3130" fmla="*/ 991551 h 1867037"/>
                  <a:gd name="connsiteX3131" fmla="*/ 1721427 w 2417513"/>
                  <a:gd name="connsiteY3131" fmla="*/ 993521 h 1867037"/>
                  <a:gd name="connsiteX3132" fmla="*/ 1720064 w 2417513"/>
                  <a:gd name="connsiteY3132" fmla="*/ 999430 h 1867037"/>
                  <a:gd name="connsiteX3133" fmla="*/ 1718852 w 2417513"/>
                  <a:gd name="connsiteY3133" fmla="*/ 1001855 h 1867037"/>
                  <a:gd name="connsiteX3134" fmla="*/ 1718549 w 2417513"/>
                  <a:gd name="connsiteY3134" fmla="*/ 1003521 h 1867037"/>
                  <a:gd name="connsiteX3135" fmla="*/ 1718700 w 2417513"/>
                  <a:gd name="connsiteY3135" fmla="*/ 1005794 h 1867037"/>
                  <a:gd name="connsiteX3136" fmla="*/ 1719306 w 2417513"/>
                  <a:gd name="connsiteY3136" fmla="*/ 1007916 h 1867037"/>
                  <a:gd name="connsiteX3137" fmla="*/ 1722791 w 2417513"/>
                  <a:gd name="connsiteY3137" fmla="*/ 1013219 h 1867037"/>
                  <a:gd name="connsiteX3138" fmla="*/ 1724458 w 2417513"/>
                  <a:gd name="connsiteY3138" fmla="*/ 1014885 h 1867037"/>
                  <a:gd name="connsiteX3139" fmla="*/ 1729761 w 2417513"/>
                  <a:gd name="connsiteY3139" fmla="*/ 1018977 h 1867037"/>
                  <a:gd name="connsiteX3140" fmla="*/ 1730670 w 2417513"/>
                  <a:gd name="connsiteY3140" fmla="*/ 1019280 h 1867037"/>
                  <a:gd name="connsiteX3141" fmla="*/ 1734307 w 2417513"/>
                  <a:gd name="connsiteY3141" fmla="*/ 1019128 h 1867037"/>
                  <a:gd name="connsiteX3142" fmla="*/ 1737034 w 2417513"/>
                  <a:gd name="connsiteY3142" fmla="*/ 1020037 h 1867037"/>
                  <a:gd name="connsiteX3143" fmla="*/ 1740368 w 2417513"/>
                  <a:gd name="connsiteY3143" fmla="*/ 1022007 h 1867037"/>
                  <a:gd name="connsiteX3144" fmla="*/ 1743701 w 2417513"/>
                  <a:gd name="connsiteY3144" fmla="*/ 1022916 h 1867037"/>
                  <a:gd name="connsiteX3145" fmla="*/ 1746883 w 2417513"/>
                  <a:gd name="connsiteY3145" fmla="*/ 1022765 h 1867037"/>
                  <a:gd name="connsiteX3146" fmla="*/ 1750823 w 2417513"/>
                  <a:gd name="connsiteY3146" fmla="*/ 1023371 h 1867037"/>
                  <a:gd name="connsiteX3147" fmla="*/ 1755368 w 2417513"/>
                  <a:gd name="connsiteY3147" fmla="*/ 1024886 h 1867037"/>
                  <a:gd name="connsiteX3148" fmla="*/ 1759005 w 2417513"/>
                  <a:gd name="connsiteY3148" fmla="*/ 1024734 h 1867037"/>
                  <a:gd name="connsiteX3149" fmla="*/ 1761732 w 2417513"/>
                  <a:gd name="connsiteY3149" fmla="*/ 1022916 h 1867037"/>
                  <a:gd name="connsiteX3150" fmla="*/ 1763550 w 2417513"/>
                  <a:gd name="connsiteY3150" fmla="*/ 1022159 h 1867037"/>
                  <a:gd name="connsiteX3151" fmla="*/ 1765369 w 2417513"/>
                  <a:gd name="connsiteY3151" fmla="*/ 1022613 h 1867037"/>
                  <a:gd name="connsiteX3152" fmla="*/ 1767793 w 2417513"/>
                  <a:gd name="connsiteY3152" fmla="*/ 1022159 h 1867037"/>
                  <a:gd name="connsiteX3153" fmla="*/ 1775672 w 2417513"/>
                  <a:gd name="connsiteY3153" fmla="*/ 1018977 h 1867037"/>
                  <a:gd name="connsiteX3154" fmla="*/ 1778096 w 2417513"/>
                  <a:gd name="connsiteY3154" fmla="*/ 1018522 h 1867037"/>
                  <a:gd name="connsiteX3155" fmla="*/ 1784006 w 2417513"/>
                  <a:gd name="connsiteY3155" fmla="*/ 1018673 h 1867037"/>
                  <a:gd name="connsiteX3156" fmla="*/ 1785369 w 2417513"/>
                  <a:gd name="connsiteY3156" fmla="*/ 1018371 h 1867037"/>
                  <a:gd name="connsiteX3157" fmla="*/ 1786733 w 2417513"/>
                  <a:gd name="connsiteY3157" fmla="*/ 1012461 h 1867037"/>
                  <a:gd name="connsiteX3158" fmla="*/ 1792945 w 2417513"/>
                  <a:gd name="connsiteY3158" fmla="*/ 1011704 h 1867037"/>
                  <a:gd name="connsiteX3159" fmla="*/ 1797340 w 2417513"/>
                  <a:gd name="connsiteY3159" fmla="*/ 1013976 h 1867037"/>
                  <a:gd name="connsiteX3160" fmla="*/ 1800370 w 2417513"/>
                  <a:gd name="connsiteY3160" fmla="*/ 1014885 h 1867037"/>
                  <a:gd name="connsiteX3161" fmla="*/ 1804461 w 2417513"/>
                  <a:gd name="connsiteY3161" fmla="*/ 1015492 h 1867037"/>
                  <a:gd name="connsiteX3162" fmla="*/ 1809158 w 2417513"/>
                  <a:gd name="connsiteY3162" fmla="*/ 1015037 h 1867037"/>
                  <a:gd name="connsiteX3163" fmla="*/ 1814613 w 2417513"/>
                  <a:gd name="connsiteY3163" fmla="*/ 1013673 h 1867037"/>
                  <a:gd name="connsiteX3164" fmla="*/ 1816128 w 2417513"/>
                  <a:gd name="connsiteY3164" fmla="*/ 1010946 h 1867037"/>
                  <a:gd name="connsiteX3165" fmla="*/ 1813704 w 2417513"/>
                  <a:gd name="connsiteY3165" fmla="*/ 1007006 h 1867037"/>
                  <a:gd name="connsiteX3166" fmla="*/ 1811128 w 2417513"/>
                  <a:gd name="connsiteY3166" fmla="*/ 1003976 h 1867037"/>
                  <a:gd name="connsiteX3167" fmla="*/ 1808552 w 2417513"/>
                  <a:gd name="connsiteY3167" fmla="*/ 1001855 h 1867037"/>
                  <a:gd name="connsiteX3168" fmla="*/ 1808704 w 2417513"/>
                  <a:gd name="connsiteY3168" fmla="*/ 1000643 h 1867037"/>
                  <a:gd name="connsiteX3169" fmla="*/ 1811582 w 2417513"/>
                  <a:gd name="connsiteY3169" fmla="*/ 1000491 h 1867037"/>
                  <a:gd name="connsiteX3170" fmla="*/ 1813401 w 2417513"/>
                  <a:gd name="connsiteY3170" fmla="*/ 1000037 h 1867037"/>
                  <a:gd name="connsiteX3171" fmla="*/ 1814158 w 2417513"/>
                  <a:gd name="connsiteY3171" fmla="*/ 999279 h 1867037"/>
                  <a:gd name="connsiteX3172" fmla="*/ 1815219 w 2417513"/>
                  <a:gd name="connsiteY3172" fmla="*/ 998976 h 1867037"/>
                  <a:gd name="connsiteX3173" fmla="*/ 1816582 w 2417513"/>
                  <a:gd name="connsiteY3173" fmla="*/ 999279 h 1867037"/>
                  <a:gd name="connsiteX3174" fmla="*/ 1817795 w 2417513"/>
                  <a:gd name="connsiteY3174" fmla="*/ 1000946 h 1867037"/>
                  <a:gd name="connsiteX3175" fmla="*/ 1818855 w 2417513"/>
                  <a:gd name="connsiteY3175" fmla="*/ 1003976 h 1867037"/>
                  <a:gd name="connsiteX3176" fmla="*/ 1820068 w 2417513"/>
                  <a:gd name="connsiteY3176" fmla="*/ 1006097 h 1867037"/>
                  <a:gd name="connsiteX3177" fmla="*/ 1821431 w 2417513"/>
                  <a:gd name="connsiteY3177" fmla="*/ 1007158 h 1867037"/>
                  <a:gd name="connsiteX3178" fmla="*/ 1822643 w 2417513"/>
                  <a:gd name="connsiteY3178" fmla="*/ 1007613 h 1867037"/>
                  <a:gd name="connsiteX3179" fmla="*/ 1828401 w 2417513"/>
                  <a:gd name="connsiteY3179" fmla="*/ 1007916 h 1867037"/>
                  <a:gd name="connsiteX3180" fmla="*/ 1830371 w 2417513"/>
                  <a:gd name="connsiteY3180" fmla="*/ 1008825 h 1867037"/>
                  <a:gd name="connsiteX3181" fmla="*/ 1831280 w 2417513"/>
                  <a:gd name="connsiteY3181" fmla="*/ 1014885 h 1867037"/>
                  <a:gd name="connsiteX3182" fmla="*/ 1831280 w 2417513"/>
                  <a:gd name="connsiteY3182" fmla="*/ 1016098 h 1867037"/>
                  <a:gd name="connsiteX3183" fmla="*/ 1832189 w 2417513"/>
                  <a:gd name="connsiteY3183" fmla="*/ 1017007 h 1867037"/>
                  <a:gd name="connsiteX3184" fmla="*/ 1833250 w 2417513"/>
                  <a:gd name="connsiteY3184" fmla="*/ 1017158 h 1867037"/>
                  <a:gd name="connsiteX3185" fmla="*/ 1834462 w 2417513"/>
                  <a:gd name="connsiteY3185" fmla="*/ 1016552 h 1867037"/>
                  <a:gd name="connsiteX3186" fmla="*/ 1835371 w 2417513"/>
                  <a:gd name="connsiteY3186" fmla="*/ 1015340 h 1867037"/>
                  <a:gd name="connsiteX3187" fmla="*/ 1836432 w 2417513"/>
                  <a:gd name="connsiteY3187" fmla="*/ 1010340 h 1867037"/>
                  <a:gd name="connsiteX3188" fmla="*/ 1837644 w 2417513"/>
                  <a:gd name="connsiteY3188" fmla="*/ 1010037 h 1867037"/>
                  <a:gd name="connsiteX3189" fmla="*/ 1839765 w 2417513"/>
                  <a:gd name="connsiteY3189" fmla="*/ 1010946 h 1867037"/>
                  <a:gd name="connsiteX3190" fmla="*/ 1841584 w 2417513"/>
                  <a:gd name="connsiteY3190" fmla="*/ 1010794 h 1867037"/>
                  <a:gd name="connsiteX3191" fmla="*/ 1844311 w 2417513"/>
                  <a:gd name="connsiteY3191" fmla="*/ 1009279 h 1867037"/>
                  <a:gd name="connsiteX3192" fmla="*/ 1850220 w 2417513"/>
                  <a:gd name="connsiteY3192" fmla="*/ 1010491 h 1867037"/>
                  <a:gd name="connsiteX3193" fmla="*/ 1854160 w 2417513"/>
                  <a:gd name="connsiteY3193" fmla="*/ 1010188 h 1867037"/>
                  <a:gd name="connsiteX3194" fmla="*/ 1854008 w 2417513"/>
                  <a:gd name="connsiteY3194" fmla="*/ 1011097 h 1867037"/>
                  <a:gd name="connsiteX3195" fmla="*/ 1849462 w 2417513"/>
                  <a:gd name="connsiteY3195" fmla="*/ 1017158 h 1867037"/>
                  <a:gd name="connsiteX3196" fmla="*/ 1849160 w 2417513"/>
                  <a:gd name="connsiteY3196" fmla="*/ 1018219 h 1867037"/>
                  <a:gd name="connsiteX3197" fmla="*/ 1851281 w 2417513"/>
                  <a:gd name="connsiteY3197" fmla="*/ 1019128 h 1867037"/>
                  <a:gd name="connsiteX3198" fmla="*/ 1854160 w 2417513"/>
                  <a:gd name="connsiteY3198" fmla="*/ 1021098 h 1867037"/>
                  <a:gd name="connsiteX3199" fmla="*/ 1856736 w 2417513"/>
                  <a:gd name="connsiteY3199" fmla="*/ 1023371 h 1867037"/>
                  <a:gd name="connsiteX3200" fmla="*/ 1863857 w 2417513"/>
                  <a:gd name="connsiteY3200" fmla="*/ 1030644 h 1867037"/>
                  <a:gd name="connsiteX3201" fmla="*/ 1868857 w 2417513"/>
                  <a:gd name="connsiteY3201" fmla="*/ 1034432 h 1867037"/>
                  <a:gd name="connsiteX3202" fmla="*/ 1870221 w 2417513"/>
                  <a:gd name="connsiteY3202" fmla="*/ 1034886 h 1867037"/>
                  <a:gd name="connsiteX3203" fmla="*/ 1871282 w 2417513"/>
                  <a:gd name="connsiteY3203" fmla="*/ 1036250 h 1867037"/>
                  <a:gd name="connsiteX3204" fmla="*/ 1872797 w 2417513"/>
                  <a:gd name="connsiteY3204" fmla="*/ 1040038 h 1867037"/>
                  <a:gd name="connsiteX3205" fmla="*/ 1875221 w 2417513"/>
                  <a:gd name="connsiteY3205" fmla="*/ 1043371 h 1867037"/>
                  <a:gd name="connsiteX3206" fmla="*/ 1876585 w 2417513"/>
                  <a:gd name="connsiteY3206" fmla="*/ 1043674 h 1867037"/>
                  <a:gd name="connsiteX3207" fmla="*/ 1882646 w 2417513"/>
                  <a:gd name="connsiteY3207" fmla="*/ 1040493 h 1867037"/>
                  <a:gd name="connsiteX3208" fmla="*/ 1884009 w 2417513"/>
                  <a:gd name="connsiteY3208" fmla="*/ 1040341 h 1867037"/>
                  <a:gd name="connsiteX3209" fmla="*/ 1884464 w 2417513"/>
                  <a:gd name="connsiteY3209" fmla="*/ 1040493 h 1867037"/>
                  <a:gd name="connsiteX3210" fmla="*/ 1884161 w 2417513"/>
                  <a:gd name="connsiteY3210" fmla="*/ 1041250 h 1867037"/>
                  <a:gd name="connsiteX3211" fmla="*/ 1883100 w 2417513"/>
                  <a:gd name="connsiteY3211" fmla="*/ 1042614 h 1867037"/>
                  <a:gd name="connsiteX3212" fmla="*/ 1880979 w 2417513"/>
                  <a:gd name="connsiteY3212" fmla="*/ 1046250 h 1867037"/>
                  <a:gd name="connsiteX3213" fmla="*/ 1880979 w 2417513"/>
                  <a:gd name="connsiteY3213" fmla="*/ 1047462 h 1867037"/>
                  <a:gd name="connsiteX3214" fmla="*/ 1882797 w 2417513"/>
                  <a:gd name="connsiteY3214" fmla="*/ 1048220 h 1867037"/>
                  <a:gd name="connsiteX3215" fmla="*/ 1893404 w 2417513"/>
                  <a:gd name="connsiteY3215" fmla="*/ 1047462 h 1867037"/>
                  <a:gd name="connsiteX3216" fmla="*/ 1896434 w 2417513"/>
                  <a:gd name="connsiteY3216" fmla="*/ 1048220 h 1867037"/>
                  <a:gd name="connsiteX3217" fmla="*/ 1899161 w 2417513"/>
                  <a:gd name="connsiteY3217" fmla="*/ 1050038 h 1867037"/>
                  <a:gd name="connsiteX3218" fmla="*/ 1900828 w 2417513"/>
                  <a:gd name="connsiteY3218" fmla="*/ 1051554 h 1867037"/>
                  <a:gd name="connsiteX3219" fmla="*/ 1901434 w 2417513"/>
                  <a:gd name="connsiteY3219" fmla="*/ 1052766 h 1867037"/>
                  <a:gd name="connsiteX3220" fmla="*/ 1902192 w 2417513"/>
                  <a:gd name="connsiteY3220" fmla="*/ 1053372 h 1867037"/>
                  <a:gd name="connsiteX3221" fmla="*/ 1905828 w 2417513"/>
                  <a:gd name="connsiteY3221" fmla="*/ 1053675 h 1867037"/>
                  <a:gd name="connsiteX3222" fmla="*/ 1905677 w 2417513"/>
                  <a:gd name="connsiteY3222" fmla="*/ 1054736 h 1867037"/>
                  <a:gd name="connsiteX3223" fmla="*/ 1903859 w 2417513"/>
                  <a:gd name="connsiteY3223" fmla="*/ 1056554 h 1867037"/>
                  <a:gd name="connsiteX3224" fmla="*/ 1899464 w 2417513"/>
                  <a:gd name="connsiteY3224" fmla="*/ 1059433 h 1867037"/>
                  <a:gd name="connsiteX3225" fmla="*/ 1897192 w 2417513"/>
                  <a:gd name="connsiteY3225" fmla="*/ 1060039 h 1867037"/>
                  <a:gd name="connsiteX3226" fmla="*/ 1893858 w 2417513"/>
                  <a:gd name="connsiteY3226" fmla="*/ 1059887 h 1867037"/>
                  <a:gd name="connsiteX3227" fmla="*/ 1889616 w 2417513"/>
                  <a:gd name="connsiteY3227" fmla="*/ 1060190 h 1867037"/>
                  <a:gd name="connsiteX3228" fmla="*/ 1889161 w 2417513"/>
                  <a:gd name="connsiteY3228" fmla="*/ 1060796 h 1867037"/>
                  <a:gd name="connsiteX3229" fmla="*/ 1892949 w 2417513"/>
                  <a:gd name="connsiteY3229" fmla="*/ 1063372 h 1867037"/>
                  <a:gd name="connsiteX3230" fmla="*/ 1899464 w 2417513"/>
                  <a:gd name="connsiteY3230" fmla="*/ 1070645 h 1867037"/>
                  <a:gd name="connsiteX3231" fmla="*/ 1902646 w 2417513"/>
                  <a:gd name="connsiteY3231" fmla="*/ 1073221 h 1867037"/>
                  <a:gd name="connsiteX3232" fmla="*/ 1906889 w 2417513"/>
                  <a:gd name="connsiteY3232" fmla="*/ 1075797 h 1867037"/>
                  <a:gd name="connsiteX3233" fmla="*/ 1909465 w 2417513"/>
                  <a:gd name="connsiteY3233" fmla="*/ 1076858 h 1867037"/>
                  <a:gd name="connsiteX3234" fmla="*/ 1916586 w 2417513"/>
                  <a:gd name="connsiteY3234" fmla="*/ 1073524 h 1867037"/>
                  <a:gd name="connsiteX3235" fmla="*/ 1917798 w 2417513"/>
                  <a:gd name="connsiteY3235" fmla="*/ 1073524 h 1867037"/>
                  <a:gd name="connsiteX3236" fmla="*/ 1913707 w 2417513"/>
                  <a:gd name="connsiteY3236" fmla="*/ 1077918 h 1867037"/>
                  <a:gd name="connsiteX3237" fmla="*/ 1913404 w 2417513"/>
                  <a:gd name="connsiteY3237" fmla="*/ 1078676 h 1867037"/>
                  <a:gd name="connsiteX3238" fmla="*/ 1916283 w 2417513"/>
                  <a:gd name="connsiteY3238" fmla="*/ 1079736 h 1867037"/>
                  <a:gd name="connsiteX3239" fmla="*/ 1921738 w 2417513"/>
                  <a:gd name="connsiteY3239" fmla="*/ 1082615 h 1867037"/>
                  <a:gd name="connsiteX3240" fmla="*/ 1928102 w 2417513"/>
                  <a:gd name="connsiteY3240" fmla="*/ 1084434 h 1867037"/>
                  <a:gd name="connsiteX3241" fmla="*/ 1934314 w 2417513"/>
                  <a:gd name="connsiteY3241" fmla="*/ 1087767 h 1867037"/>
                  <a:gd name="connsiteX3242" fmla="*/ 1937193 w 2417513"/>
                  <a:gd name="connsiteY3242" fmla="*/ 1088979 h 1867037"/>
                  <a:gd name="connsiteX3243" fmla="*/ 1941739 w 2417513"/>
                  <a:gd name="connsiteY3243" fmla="*/ 1089282 h 1867037"/>
                  <a:gd name="connsiteX3244" fmla="*/ 1944769 w 2417513"/>
                  <a:gd name="connsiteY3244" fmla="*/ 1088525 h 1867037"/>
                  <a:gd name="connsiteX3245" fmla="*/ 1949163 w 2417513"/>
                  <a:gd name="connsiteY3245" fmla="*/ 1087918 h 1867037"/>
                  <a:gd name="connsiteX3246" fmla="*/ 1954466 w 2417513"/>
                  <a:gd name="connsiteY3246" fmla="*/ 1088828 h 1867037"/>
                  <a:gd name="connsiteX3247" fmla="*/ 1956133 w 2417513"/>
                  <a:gd name="connsiteY3247" fmla="*/ 1089888 h 1867037"/>
                  <a:gd name="connsiteX3248" fmla="*/ 1960982 w 2417513"/>
                  <a:gd name="connsiteY3248" fmla="*/ 1097313 h 1867037"/>
                  <a:gd name="connsiteX3249" fmla="*/ 1967497 w 2417513"/>
                  <a:gd name="connsiteY3249" fmla="*/ 1103677 h 1867037"/>
                  <a:gd name="connsiteX3250" fmla="*/ 1968709 w 2417513"/>
                  <a:gd name="connsiteY3250" fmla="*/ 1104434 h 1867037"/>
                  <a:gd name="connsiteX3251" fmla="*/ 1978558 w 2417513"/>
                  <a:gd name="connsiteY3251" fmla="*/ 1108071 h 1867037"/>
                  <a:gd name="connsiteX3252" fmla="*/ 1980983 w 2417513"/>
                  <a:gd name="connsiteY3252" fmla="*/ 1109737 h 1867037"/>
                  <a:gd name="connsiteX3253" fmla="*/ 1983710 w 2417513"/>
                  <a:gd name="connsiteY3253" fmla="*/ 1110798 h 1867037"/>
                  <a:gd name="connsiteX3254" fmla="*/ 1987952 w 2417513"/>
                  <a:gd name="connsiteY3254" fmla="*/ 1111707 h 1867037"/>
                  <a:gd name="connsiteX3255" fmla="*/ 2013559 w 2417513"/>
                  <a:gd name="connsiteY3255" fmla="*/ 1115192 h 1867037"/>
                  <a:gd name="connsiteX3256" fmla="*/ 2015529 w 2417513"/>
                  <a:gd name="connsiteY3256" fmla="*/ 1115950 h 1867037"/>
                  <a:gd name="connsiteX3257" fmla="*/ 2016742 w 2417513"/>
                  <a:gd name="connsiteY3257" fmla="*/ 1117162 h 1867037"/>
                  <a:gd name="connsiteX3258" fmla="*/ 2020530 w 2417513"/>
                  <a:gd name="connsiteY3258" fmla="*/ 1118526 h 1867037"/>
                  <a:gd name="connsiteX3259" fmla="*/ 2030833 w 2417513"/>
                  <a:gd name="connsiteY3259" fmla="*/ 1121102 h 1867037"/>
                  <a:gd name="connsiteX3260" fmla="*/ 2037651 w 2417513"/>
                  <a:gd name="connsiteY3260" fmla="*/ 1124738 h 1867037"/>
                  <a:gd name="connsiteX3261" fmla="*/ 2041136 w 2417513"/>
                  <a:gd name="connsiteY3261" fmla="*/ 1126253 h 1867037"/>
                  <a:gd name="connsiteX3262" fmla="*/ 2043864 w 2417513"/>
                  <a:gd name="connsiteY3262" fmla="*/ 1127162 h 1867037"/>
                  <a:gd name="connsiteX3263" fmla="*/ 2045682 w 2417513"/>
                  <a:gd name="connsiteY3263" fmla="*/ 1127314 h 1867037"/>
                  <a:gd name="connsiteX3264" fmla="*/ 2049318 w 2417513"/>
                  <a:gd name="connsiteY3264" fmla="*/ 1126253 h 1867037"/>
                  <a:gd name="connsiteX3265" fmla="*/ 2051137 w 2417513"/>
                  <a:gd name="connsiteY3265" fmla="*/ 1125344 h 1867037"/>
                  <a:gd name="connsiteX3266" fmla="*/ 2051137 w 2417513"/>
                  <a:gd name="connsiteY3266" fmla="*/ 1123071 h 1867037"/>
                  <a:gd name="connsiteX3267" fmla="*/ 2049470 w 2417513"/>
                  <a:gd name="connsiteY3267" fmla="*/ 1119435 h 1867037"/>
                  <a:gd name="connsiteX3268" fmla="*/ 2049016 w 2417513"/>
                  <a:gd name="connsiteY3268" fmla="*/ 1117314 h 1867037"/>
                  <a:gd name="connsiteX3269" fmla="*/ 2051894 w 2417513"/>
                  <a:gd name="connsiteY3269" fmla="*/ 1115798 h 1867037"/>
                  <a:gd name="connsiteX3270" fmla="*/ 2052500 w 2417513"/>
                  <a:gd name="connsiteY3270" fmla="*/ 1114889 h 1867037"/>
                  <a:gd name="connsiteX3271" fmla="*/ 2053106 w 2417513"/>
                  <a:gd name="connsiteY3271" fmla="*/ 1112768 h 1867037"/>
                  <a:gd name="connsiteX3272" fmla="*/ 2052197 w 2417513"/>
                  <a:gd name="connsiteY3272" fmla="*/ 1111859 h 1867037"/>
                  <a:gd name="connsiteX3273" fmla="*/ 2050076 w 2417513"/>
                  <a:gd name="connsiteY3273" fmla="*/ 1111101 h 1867037"/>
                  <a:gd name="connsiteX3274" fmla="*/ 2044924 w 2417513"/>
                  <a:gd name="connsiteY3274" fmla="*/ 1108677 h 1867037"/>
                  <a:gd name="connsiteX3275" fmla="*/ 2042803 w 2417513"/>
                  <a:gd name="connsiteY3275" fmla="*/ 1106556 h 1867037"/>
                  <a:gd name="connsiteX3276" fmla="*/ 2040076 w 2417513"/>
                  <a:gd name="connsiteY3276" fmla="*/ 1101858 h 1867037"/>
                  <a:gd name="connsiteX3277" fmla="*/ 2038106 w 2417513"/>
                  <a:gd name="connsiteY3277" fmla="*/ 1099889 h 1867037"/>
                  <a:gd name="connsiteX3278" fmla="*/ 2034924 w 2417513"/>
                  <a:gd name="connsiteY3278" fmla="*/ 1095949 h 1867037"/>
                  <a:gd name="connsiteX3279" fmla="*/ 2033106 w 2417513"/>
                  <a:gd name="connsiteY3279" fmla="*/ 1094737 h 1867037"/>
                  <a:gd name="connsiteX3280" fmla="*/ 2027499 w 2417513"/>
                  <a:gd name="connsiteY3280" fmla="*/ 1092767 h 1867037"/>
                  <a:gd name="connsiteX3281" fmla="*/ 2025984 w 2417513"/>
                  <a:gd name="connsiteY3281" fmla="*/ 1091858 h 1867037"/>
                  <a:gd name="connsiteX3282" fmla="*/ 2019620 w 2417513"/>
                  <a:gd name="connsiteY3282" fmla="*/ 1085797 h 1867037"/>
                  <a:gd name="connsiteX3283" fmla="*/ 2018105 w 2417513"/>
                  <a:gd name="connsiteY3283" fmla="*/ 1085191 h 1867037"/>
                  <a:gd name="connsiteX3284" fmla="*/ 2015378 w 2417513"/>
                  <a:gd name="connsiteY3284" fmla="*/ 1082767 h 1867037"/>
                  <a:gd name="connsiteX3285" fmla="*/ 2012650 w 2417513"/>
                  <a:gd name="connsiteY3285" fmla="*/ 1081252 h 1867037"/>
                  <a:gd name="connsiteX3286" fmla="*/ 2005226 w 2417513"/>
                  <a:gd name="connsiteY3286" fmla="*/ 1078676 h 1867037"/>
                  <a:gd name="connsiteX3287" fmla="*/ 2005529 w 2417513"/>
                  <a:gd name="connsiteY3287" fmla="*/ 1077615 h 1867037"/>
                  <a:gd name="connsiteX3288" fmla="*/ 2007196 w 2417513"/>
                  <a:gd name="connsiteY3288" fmla="*/ 1075948 h 1867037"/>
                  <a:gd name="connsiteX3289" fmla="*/ 2006893 w 2417513"/>
                  <a:gd name="connsiteY3289" fmla="*/ 1075039 h 1867037"/>
                  <a:gd name="connsiteX3290" fmla="*/ 2003559 w 2417513"/>
                  <a:gd name="connsiteY3290" fmla="*/ 1074888 h 1867037"/>
                  <a:gd name="connsiteX3291" fmla="*/ 2000377 w 2417513"/>
                  <a:gd name="connsiteY3291" fmla="*/ 1074282 h 1867037"/>
                  <a:gd name="connsiteX3292" fmla="*/ 1994165 w 2417513"/>
                  <a:gd name="connsiteY3292" fmla="*/ 1071706 h 1867037"/>
                  <a:gd name="connsiteX3293" fmla="*/ 1992347 w 2417513"/>
                  <a:gd name="connsiteY3293" fmla="*/ 1069888 h 1867037"/>
                  <a:gd name="connsiteX3294" fmla="*/ 1987801 w 2417513"/>
                  <a:gd name="connsiteY3294" fmla="*/ 1063978 h 1867037"/>
                  <a:gd name="connsiteX3295" fmla="*/ 1982801 w 2417513"/>
                  <a:gd name="connsiteY3295" fmla="*/ 1059433 h 1867037"/>
                  <a:gd name="connsiteX3296" fmla="*/ 1979619 w 2417513"/>
                  <a:gd name="connsiteY3296" fmla="*/ 1057008 h 1867037"/>
                  <a:gd name="connsiteX3297" fmla="*/ 1976437 w 2417513"/>
                  <a:gd name="connsiteY3297" fmla="*/ 1053523 h 1867037"/>
                  <a:gd name="connsiteX3298" fmla="*/ 1973103 w 2417513"/>
                  <a:gd name="connsiteY3298" fmla="*/ 1048826 h 1867037"/>
                  <a:gd name="connsiteX3299" fmla="*/ 1974467 w 2417513"/>
                  <a:gd name="connsiteY3299" fmla="*/ 1046705 h 1867037"/>
                  <a:gd name="connsiteX3300" fmla="*/ 1980680 w 2417513"/>
                  <a:gd name="connsiteY3300" fmla="*/ 1047159 h 1867037"/>
                  <a:gd name="connsiteX3301" fmla="*/ 1984468 w 2417513"/>
                  <a:gd name="connsiteY3301" fmla="*/ 1047766 h 1867037"/>
                  <a:gd name="connsiteX3302" fmla="*/ 1991286 w 2417513"/>
                  <a:gd name="connsiteY3302" fmla="*/ 1051554 h 1867037"/>
                  <a:gd name="connsiteX3303" fmla="*/ 2002347 w 2417513"/>
                  <a:gd name="connsiteY3303" fmla="*/ 1059736 h 1867037"/>
                  <a:gd name="connsiteX3304" fmla="*/ 2004468 w 2417513"/>
                  <a:gd name="connsiteY3304" fmla="*/ 1060948 h 1867037"/>
                  <a:gd name="connsiteX3305" fmla="*/ 2005529 w 2417513"/>
                  <a:gd name="connsiteY3305" fmla="*/ 1060796 h 1867037"/>
                  <a:gd name="connsiteX3306" fmla="*/ 2004923 w 2417513"/>
                  <a:gd name="connsiteY3306" fmla="*/ 1057917 h 1867037"/>
                  <a:gd name="connsiteX3307" fmla="*/ 2002802 w 2417513"/>
                  <a:gd name="connsiteY3307" fmla="*/ 1051554 h 1867037"/>
                  <a:gd name="connsiteX3308" fmla="*/ 2000832 w 2417513"/>
                  <a:gd name="connsiteY3308" fmla="*/ 1047311 h 1867037"/>
                  <a:gd name="connsiteX3309" fmla="*/ 2002195 w 2417513"/>
                  <a:gd name="connsiteY3309" fmla="*/ 1048220 h 1867037"/>
                  <a:gd name="connsiteX3310" fmla="*/ 2005832 w 2417513"/>
                  <a:gd name="connsiteY3310" fmla="*/ 1051705 h 1867037"/>
                  <a:gd name="connsiteX3311" fmla="*/ 2011741 w 2417513"/>
                  <a:gd name="connsiteY3311" fmla="*/ 1058372 h 1867037"/>
                  <a:gd name="connsiteX3312" fmla="*/ 2018105 w 2417513"/>
                  <a:gd name="connsiteY3312" fmla="*/ 1064433 h 1867037"/>
                  <a:gd name="connsiteX3313" fmla="*/ 2020378 w 2417513"/>
                  <a:gd name="connsiteY3313" fmla="*/ 1065948 h 1867037"/>
                  <a:gd name="connsiteX3314" fmla="*/ 2024772 w 2417513"/>
                  <a:gd name="connsiteY3314" fmla="*/ 1065493 h 1867037"/>
                  <a:gd name="connsiteX3315" fmla="*/ 2025227 w 2417513"/>
                  <a:gd name="connsiteY3315" fmla="*/ 1065948 h 1867037"/>
                  <a:gd name="connsiteX3316" fmla="*/ 2025984 w 2417513"/>
                  <a:gd name="connsiteY3316" fmla="*/ 1068069 h 1867037"/>
                  <a:gd name="connsiteX3317" fmla="*/ 2027348 w 2417513"/>
                  <a:gd name="connsiteY3317" fmla="*/ 1069281 h 1867037"/>
                  <a:gd name="connsiteX3318" fmla="*/ 2029924 w 2417513"/>
                  <a:gd name="connsiteY3318" fmla="*/ 1070494 h 1867037"/>
                  <a:gd name="connsiteX3319" fmla="*/ 2031591 w 2417513"/>
                  <a:gd name="connsiteY3319" fmla="*/ 1072160 h 1867037"/>
                  <a:gd name="connsiteX3320" fmla="*/ 2032197 w 2417513"/>
                  <a:gd name="connsiteY3320" fmla="*/ 1074433 h 1867037"/>
                  <a:gd name="connsiteX3321" fmla="*/ 2032954 w 2417513"/>
                  <a:gd name="connsiteY3321" fmla="*/ 1075797 h 1867037"/>
                  <a:gd name="connsiteX3322" fmla="*/ 2033712 w 2417513"/>
                  <a:gd name="connsiteY3322" fmla="*/ 1076251 h 1867037"/>
                  <a:gd name="connsiteX3323" fmla="*/ 2035379 w 2417513"/>
                  <a:gd name="connsiteY3323" fmla="*/ 1075797 h 1867037"/>
                  <a:gd name="connsiteX3324" fmla="*/ 2035530 w 2417513"/>
                  <a:gd name="connsiteY3324" fmla="*/ 1074130 h 1867037"/>
                  <a:gd name="connsiteX3325" fmla="*/ 2034773 w 2417513"/>
                  <a:gd name="connsiteY3325" fmla="*/ 1069130 h 1867037"/>
                  <a:gd name="connsiteX3326" fmla="*/ 2034924 w 2417513"/>
                  <a:gd name="connsiteY3326" fmla="*/ 1067918 h 1867037"/>
                  <a:gd name="connsiteX3327" fmla="*/ 2036439 w 2417513"/>
                  <a:gd name="connsiteY3327" fmla="*/ 1069888 h 1867037"/>
                  <a:gd name="connsiteX3328" fmla="*/ 2039318 w 2417513"/>
                  <a:gd name="connsiteY3328" fmla="*/ 1075191 h 1867037"/>
                  <a:gd name="connsiteX3329" fmla="*/ 2041591 w 2417513"/>
                  <a:gd name="connsiteY3329" fmla="*/ 1078221 h 1867037"/>
                  <a:gd name="connsiteX3330" fmla="*/ 2044924 w 2417513"/>
                  <a:gd name="connsiteY3330" fmla="*/ 1079585 h 1867037"/>
                  <a:gd name="connsiteX3331" fmla="*/ 2046743 w 2417513"/>
                  <a:gd name="connsiteY3331" fmla="*/ 1079888 h 1867037"/>
                  <a:gd name="connsiteX3332" fmla="*/ 2047500 w 2417513"/>
                  <a:gd name="connsiteY3332" fmla="*/ 1079282 h 1867037"/>
                  <a:gd name="connsiteX3333" fmla="*/ 2046743 w 2417513"/>
                  <a:gd name="connsiteY3333" fmla="*/ 1076251 h 1867037"/>
                  <a:gd name="connsiteX3334" fmla="*/ 2046137 w 2417513"/>
                  <a:gd name="connsiteY3334" fmla="*/ 1074888 h 1867037"/>
                  <a:gd name="connsiteX3335" fmla="*/ 2046894 w 2417513"/>
                  <a:gd name="connsiteY3335" fmla="*/ 1074888 h 1867037"/>
                  <a:gd name="connsiteX3336" fmla="*/ 2053561 w 2417513"/>
                  <a:gd name="connsiteY3336" fmla="*/ 1079433 h 1867037"/>
                  <a:gd name="connsiteX3337" fmla="*/ 2055228 w 2417513"/>
                  <a:gd name="connsiteY3337" fmla="*/ 1080797 h 1867037"/>
                  <a:gd name="connsiteX3338" fmla="*/ 2056743 w 2417513"/>
                  <a:gd name="connsiteY3338" fmla="*/ 1082767 h 1867037"/>
                  <a:gd name="connsiteX3339" fmla="*/ 2057501 w 2417513"/>
                  <a:gd name="connsiteY3339" fmla="*/ 1083373 h 1867037"/>
                  <a:gd name="connsiteX3340" fmla="*/ 2058258 w 2417513"/>
                  <a:gd name="connsiteY3340" fmla="*/ 1083221 h 1867037"/>
                  <a:gd name="connsiteX3341" fmla="*/ 2059016 w 2417513"/>
                  <a:gd name="connsiteY3341" fmla="*/ 1082464 h 1867037"/>
                  <a:gd name="connsiteX3342" fmla="*/ 2060076 w 2417513"/>
                  <a:gd name="connsiteY3342" fmla="*/ 1082464 h 1867037"/>
                  <a:gd name="connsiteX3343" fmla="*/ 2064622 w 2417513"/>
                  <a:gd name="connsiteY3343" fmla="*/ 1085191 h 1867037"/>
                  <a:gd name="connsiteX3344" fmla="*/ 2069471 w 2417513"/>
                  <a:gd name="connsiteY3344" fmla="*/ 1088676 h 1867037"/>
                  <a:gd name="connsiteX3345" fmla="*/ 2073107 w 2417513"/>
                  <a:gd name="connsiteY3345" fmla="*/ 1091858 h 1867037"/>
                  <a:gd name="connsiteX3346" fmla="*/ 2075380 w 2417513"/>
                  <a:gd name="connsiteY3346" fmla="*/ 1094737 h 1867037"/>
                  <a:gd name="connsiteX3347" fmla="*/ 2077350 w 2417513"/>
                  <a:gd name="connsiteY3347" fmla="*/ 1095646 h 1867037"/>
                  <a:gd name="connsiteX3348" fmla="*/ 2079017 w 2417513"/>
                  <a:gd name="connsiteY3348" fmla="*/ 1094737 h 1867037"/>
                  <a:gd name="connsiteX3349" fmla="*/ 2079168 w 2417513"/>
                  <a:gd name="connsiteY3349" fmla="*/ 1092313 h 1867037"/>
                  <a:gd name="connsiteX3350" fmla="*/ 2075986 w 2417513"/>
                  <a:gd name="connsiteY3350" fmla="*/ 1082464 h 1867037"/>
                  <a:gd name="connsiteX3351" fmla="*/ 2076744 w 2417513"/>
                  <a:gd name="connsiteY3351" fmla="*/ 1081555 h 1867037"/>
                  <a:gd name="connsiteX3352" fmla="*/ 2082501 w 2417513"/>
                  <a:gd name="connsiteY3352" fmla="*/ 1084282 h 1867037"/>
                  <a:gd name="connsiteX3353" fmla="*/ 2084017 w 2417513"/>
                  <a:gd name="connsiteY3353" fmla="*/ 1084737 h 1867037"/>
                  <a:gd name="connsiteX3354" fmla="*/ 2087199 w 2417513"/>
                  <a:gd name="connsiteY3354" fmla="*/ 1084434 h 1867037"/>
                  <a:gd name="connsiteX3355" fmla="*/ 2089017 w 2417513"/>
                  <a:gd name="connsiteY3355" fmla="*/ 1083827 h 1867037"/>
                  <a:gd name="connsiteX3356" fmla="*/ 2089320 w 2417513"/>
                  <a:gd name="connsiteY3356" fmla="*/ 1082918 h 1867037"/>
                  <a:gd name="connsiteX3357" fmla="*/ 2088108 w 2417513"/>
                  <a:gd name="connsiteY3357" fmla="*/ 1081858 h 1867037"/>
                  <a:gd name="connsiteX3358" fmla="*/ 2086744 w 2417513"/>
                  <a:gd name="connsiteY3358" fmla="*/ 1079888 h 1867037"/>
                  <a:gd name="connsiteX3359" fmla="*/ 2085229 w 2417513"/>
                  <a:gd name="connsiteY3359" fmla="*/ 1077009 h 1867037"/>
                  <a:gd name="connsiteX3360" fmla="*/ 2083259 w 2417513"/>
                  <a:gd name="connsiteY3360" fmla="*/ 1074130 h 1867037"/>
                  <a:gd name="connsiteX3361" fmla="*/ 2079017 w 2417513"/>
                  <a:gd name="connsiteY3361" fmla="*/ 1069433 h 1867037"/>
                  <a:gd name="connsiteX3362" fmla="*/ 2078410 w 2417513"/>
                  <a:gd name="connsiteY3362" fmla="*/ 1068221 h 1867037"/>
                  <a:gd name="connsiteX3363" fmla="*/ 2078713 w 2417513"/>
                  <a:gd name="connsiteY3363" fmla="*/ 1067312 h 1867037"/>
                  <a:gd name="connsiteX3364" fmla="*/ 2079774 w 2417513"/>
                  <a:gd name="connsiteY3364" fmla="*/ 1066857 h 1867037"/>
                  <a:gd name="connsiteX3365" fmla="*/ 2080077 w 2417513"/>
                  <a:gd name="connsiteY3365" fmla="*/ 1065039 h 1867037"/>
                  <a:gd name="connsiteX3366" fmla="*/ 2079320 w 2417513"/>
                  <a:gd name="connsiteY3366" fmla="*/ 1060493 h 1867037"/>
                  <a:gd name="connsiteX3367" fmla="*/ 2077804 w 2417513"/>
                  <a:gd name="connsiteY3367" fmla="*/ 1053372 h 1867037"/>
                  <a:gd name="connsiteX3368" fmla="*/ 2076592 w 2417513"/>
                  <a:gd name="connsiteY3368" fmla="*/ 1049735 h 1867037"/>
                  <a:gd name="connsiteX3369" fmla="*/ 2075229 w 2417513"/>
                  <a:gd name="connsiteY3369" fmla="*/ 1047311 h 1867037"/>
                  <a:gd name="connsiteX3370" fmla="*/ 2075077 w 2417513"/>
                  <a:gd name="connsiteY3370" fmla="*/ 1046402 h 1867037"/>
                  <a:gd name="connsiteX3371" fmla="*/ 2080532 w 2417513"/>
                  <a:gd name="connsiteY3371" fmla="*/ 1051705 h 1867037"/>
                  <a:gd name="connsiteX3372" fmla="*/ 2082047 w 2417513"/>
                  <a:gd name="connsiteY3372" fmla="*/ 1053675 h 1867037"/>
                  <a:gd name="connsiteX3373" fmla="*/ 2083259 w 2417513"/>
                  <a:gd name="connsiteY3373" fmla="*/ 1055796 h 1867037"/>
                  <a:gd name="connsiteX3374" fmla="*/ 2088411 w 2417513"/>
                  <a:gd name="connsiteY3374" fmla="*/ 1067918 h 1867037"/>
                  <a:gd name="connsiteX3375" fmla="*/ 2089320 w 2417513"/>
                  <a:gd name="connsiteY3375" fmla="*/ 1068978 h 1867037"/>
                  <a:gd name="connsiteX3376" fmla="*/ 2091441 w 2417513"/>
                  <a:gd name="connsiteY3376" fmla="*/ 1069130 h 1867037"/>
                  <a:gd name="connsiteX3377" fmla="*/ 2093411 w 2417513"/>
                  <a:gd name="connsiteY3377" fmla="*/ 1068221 h 1867037"/>
                  <a:gd name="connsiteX3378" fmla="*/ 2093866 w 2417513"/>
                  <a:gd name="connsiteY3378" fmla="*/ 1064130 h 1867037"/>
                  <a:gd name="connsiteX3379" fmla="*/ 2093866 w 2417513"/>
                  <a:gd name="connsiteY3379" fmla="*/ 1059584 h 1867037"/>
                  <a:gd name="connsiteX3380" fmla="*/ 2092502 w 2417513"/>
                  <a:gd name="connsiteY3380" fmla="*/ 1054887 h 1867037"/>
                  <a:gd name="connsiteX3381" fmla="*/ 2092199 w 2417513"/>
                  <a:gd name="connsiteY3381" fmla="*/ 1050190 h 1867037"/>
                  <a:gd name="connsiteX3382" fmla="*/ 2094320 w 2417513"/>
                  <a:gd name="connsiteY3382" fmla="*/ 1049887 h 1867037"/>
                  <a:gd name="connsiteX3383" fmla="*/ 2096290 w 2417513"/>
                  <a:gd name="connsiteY3383" fmla="*/ 1048978 h 1867037"/>
                  <a:gd name="connsiteX3384" fmla="*/ 2093866 w 2417513"/>
                  <a:gd name="connsiteY3384" fmla="*/ 1045341 h 1867037"/>
                  <a:gd name="connsiteX3385" fmla="*/ 2091744 w 2417513"/>
                  <a:gd name="connsiteY3385" fmla="*/ 1040644 h 1867037"/>
                  <a:gd name="connsiteX3386" fmla="*/ 2090078 w 2417513"/>
                  <a:gd name="connsiteY3386" fmla="*/ 1039735 h 1867037"/>
                  <a:gd name="connsiteX3387" fmla="*/ 2085835 w 2417513"/>
                  <a:gd name="connsiteY3387" fmla="*/ 1038826 h 1867037"/>
                  <a:gd name="connsiteX3388" fmla="*/ 2085077 w 2417513"/>
                  <a:gd name="connsiteY3388" fmla="*/ 1038371 h 1867037"/>
                  <a:gd name="connsiteX3389" fmla="*/ 2088108 w 2417513"/>
                  <a:gd name="connsiteY3389" fmla="*/ 1036401 h 1867037"/>
                  <a:gd name="connsiteX3390" fmla="*/ 2088562 w 2417513"/>
                  <a:gd name="connsiteY3390" fmla="*/ 1034280 h 1867037"/>
                  <a:gd name="connsiteX3391" fmla="*/ 2088259 w 2417513"/>
                  <a:gd name="connsiteY3391" fmla="*/ 1033523 h 1867037"/>
                  <a:gd name="connsiteX3392" fmla="*/ 2085229 w 2417513"/>
                  <a:gd name="connsiteY3392" fmla="*/ 1033371 h 1867037"/>
                  <a:gd name="connsiteX3393" fmla="*/ 2081896 w 2417513"/>
                  <a:gd name="connsiteY3393" fmla="*/ 1033674 h 1867037"/>
                  <a:gd name="connsiteX3394" fmla="*/ 2079168 w 2417513"/>
                  <a:gd name="connsiteY3394" fmla="*/ 1034432 h 1867037"/>
                  <a:gd name="connsiteX3395" fmla="*/ 2074774 w 2417513"/>
                  <a:gd name="connsiteY3395" fmla="*/ 1033523 h 1867037"/>
                  <a:gd name="connsiteX3396" fmla="*/ 2074319 w 2417513"/>
                  <a:gd name="connsiteY3396" fmla="*/ 1033068 h 1867037"/>
                  <a:gd name="connsiteX3397" fmla="*/ 2075380 w 2417513"/>
                  <a:gd name="connsiteY3397" fmla="*/ 1031704 h 1867037"/>
                  <a:gd name="connsiteX3398" fmla="*/ 2075380 w 2417513"/>
                  <a:gd name="connsiteY3398" fmla="*/ 1030795 h 1867037"/>
                  <a:gd name="connsiteX3399" fmla="*/ 2074168 w 2417513"/>
                  <a:gd name="connsiteY3399" fmla="*/ 1028977 h 1867037"/>
                  <a:gd name="connsiteX3400" fmla="*/ 2071744 w 2417513"/>
                  <a:gd name="connsiteY3400" fmla="*/ 1026704 h 1867037"/>
                  <a:gd name="connsiteX3401" fmla="*/ 2069925 w 2417513"/>
                  <a:gd name="connsiteY3401" fmla="*/ 1024431 h 1867037"/>
                  <a:gd name="connsiteX3402" fmla="*/ 2063561 w 2417513"/>
                  <a:gd name="connsiteY3402" fmla="*/ 1021704 h 1867037"/>
                  <a:gd name="connsiteX3403" fmla="*/ 2063258 w 2417513"/>
                  <a:gd name="connsiteY3403" fmla="*/ 1020946 h 1867037"/>
                  <a:gd name="connsiteX3404" fmla="*/ 2065683 w 2417513"/>
                  <a:gd name="connsiteY3404" fmla="*/ 1020643 h 1867037"/>
                  <a:gd name="connsiteX3405" fmla="*/ 2070228 w 2417513"/>
                  <a:gd name="connsiteY3405" fmla="*/ 1020795 h 1867037"/>
                  <a:gd name="connsiteX3406" fmla="*/ 2073713 w 2417513"/>
                  <a:gd name="connsiteY3406" fmla="*/ 1021249 h 1867037"/>
                  <a:gd name="connsiteX3407" fmla="*/ 2077501 w 2417513"/>
                  <a:gd name="connsiteY3407" fmla="*/ 1015340 h 1867037"/>
                  <a:gd name="connsiteX3408" fmla="*/ 2076895 w 2417513"/>
                  <a:gd name="connsiteY3408" fmla="*/ 1013219 h 1867037"/>
                  <a:gd name="connsiteX3409" fmla="*/ 2074622 w 2417513"/>
                  <a:gd name="connsiteY3409" fmla="*/ 1012158 h 1867037"/>
                  <a:gd name="connsiteX3410" fmla="*/ 2066137 w 2417513"/>
                  <a:gd name="connsiteY3410" fmla="*/ 1012158 h 1867037"/>
                  <a:gd name="connsiteX3411" fmla="*/ 2065077 w 2417513"/>
                  <a:gd name="connsiteY3411" fmla="*/ 1012310 h 1867037"/>
                  <a:gd name="connsiteX3412" fmla="*/ 2065531 w 2417513"/>
                  <a:gd name="connsiteY3412" fmla="*/ 1011401 h 1867037"/>
                  <a:gd name="connsiteX3413" fmla="*/ 2070077 w 2417513"/>
                  <a:gd name="connsiteY3413" fmla="*/ 1008673 h 1867037"/>
                  <a:gd name="connsiteX3414" fmla="*/ 2072047 w 2417513"/>
                  <a:gd name="connsiteY3414" fmla="*/ 1006703 h 1867037"/>
                  <a:gd name="connsiteX3415" fmla="*/ 2067804 w 2417513"/>
                  <a:gd name="connsiteY3415" fmla="*/ 1002461 h 1867037"/>
                  <a:gd name="connsiteX3416" fmla="*/ 2065531 w 2417513"/>
                  <a:gd name="connsiteY3416" fmla="*/ 1003370 h 1867037"/>
                  <a:gd name="connsiteX3417" fmla="*/ 2062955 w 2417513"/>
                  <a:gd name="connsiteY3417" fmla="*/ 1001855 h 1867037"/>
                  <a:gd name="connsiteX3418" fmla="*/ 2062349 w 2417513"/>
                  <a:gd name="connsiteY3418" fmla="*/ 1000643 h 1867037"/>
                  <a:gd name="connsiteX3419" fmla="*/ 2058410 w 2417513"/>
                  <a:gd name="connsiteY3419" fmla="*/ 997006 h 1867037"/>
                  <a:gd name="connsiteX3420" fmla="*/ 2053864 w 2417513"/>
                  <a:gd name="connsiteY3420" fmla="*/ 995642 h 1867037"/>
                  <a:gd name="connsiteX3421" fmla="*/ 2051288 w 2417513"/>
                  <a:gd name="connsiteY3421" fmla="*/ 997309 h 1867037"/>
                  <a:gd name="connsiteX3422" fmla="*/ 2049167 w 2417513"/>
                  <a:gd name="connsiteY3422" fmla="*/ 999733 h 1867037"/>
                  <a:gd name="connsiteX3423" fmla="*/ 2047955 w 2417513"/>
                  <a:gd name="connsiteY3423" fmla="*/ 1002158 h 1867037"/>
                  <a:gd name="connsiteX3424" fmla="*/ 2046288 w 2417513"/>
                  <a:gd name="connsiteY3424" fmla="*/ 1002764 h 1867037"/>
                  <a:gd name="connsiteX3425" fmla="*/ 2044470 w 2417513"/>
                  <a:gd name="connsiteY3425" fmla="*/ 1001249 h 1867037"/>
                  <a:gd name="connsiteX3426" fmla="*/ 2044015 w 2417513"/>
                  <a:gd name="connsiteY3426" fmla="*/ 1000188 h 1867037"/>
                  <a:gd name="connsiteX3427" fmla="*/ 2046591 w 2417513"/>
                  <a:gd name="connsiteY3427" fmla="*/ 997915 h 1867037"/>
                  <a:gd name="connsiteX3428" fmla="*/ 2046137 w 2417513"/>
                  <a:gd name="connsiteY3428" fmla="*/ 996703 h 1867037"/>
                  <a:gd name="connsiteX3429" fmla="*/ 2042803 w 2417513"/>
                  <a:gd name="connsiteY3429" fmla="*/ 994279 h 1867037"/>
                  <a:gd name="connsiteX3430" fmla="*/ 2038106 w 2417513"/>
                  <a:gd name="connsiteY3430" fmla="*/ 991551 h 1867037"/>
                  <a:gd name="connsiteX3431" fmla="*/ 2034924 w 2417513"/>
                  <a:gd name="connsiteY3431" fmla="*/ 990339 h 1867037"/>
                  <a:gd name="connsiteX3432" fmla="*/ 2034015 w 2417513"/>
                  <a:gd name="connsiteY3432" fmla="*/ 991551 h 1867037"/>
                  <a:gd name="connsiteX3433" fmla="*/ 2033712 w 2417513"/>
                  <a:gd name="connsiteY3433" fmla="*/ 998673 h 1867037"/>
                  <a:gd name="connsiteX3434" fmla="*/ 2033106 w 2417513"/>
                  <a:gd name="connsiteY3434" fmla="*/ 998673 h 1867037"/>
                  <a:gd name="connsiteX3435" fmla="*/ 2032197 w 2417513"/>
                  <a:gd name="connsiteY3435" fmla="*/ 996703 h 1867037"/>
                  <a:gd name="connsiteX3436" fmla="*/ 2030378 w 2417513"/>
                  <a:gd name="connsiteY3436" fmla="*/ 989582 h 1867037"/>
                  <a:gd name="connsiteX3437" fmla="*/ 2029469 w 2417513"/>
                  <a:gd name="connsiteY3437" fmla="*/ 987157 h 1867037"/>
                  <a:gd name="connsiteX3438" fmla="*/ 2028712 w 2417513"/>
                  <a:gd name="connsiteY3438" fmla="*/ 986400 h 1867037"/>
                  <a:gd name="connsiteX3439" fmla="*/ 2027954 w 2417513"/>
                  <a:gd name="connsiteY3439" fmla="*/ 986248 h 1867037"/>
                  <a:gd name="connsiteX3440" fmla="*/ 2027348 w 2417513"/>
                  <a:gd name="connsiteY3440" fmla="*/ 986854 h 1867037"/>
                  <a:gd name="connsiteX3441" fmla="*/ 2025681 w 2417513"/>
                  <a:gd name="connsiteY3441" fmla="*/ 986703 h 1867037"/>
                  <a:gd name="connsiteX3442" fmla="*/ 2025227 w 2417513"/>
                  <a:gd name="connsiteY3442" fmla="*/ 985945 h 1867037"/>
                  <a:gd name="connsiteX3443" fmla="*/ 2025227 w 2417513"/>
                  <a:gd name="connsiteY3443" fmla="*/ 984430 h 1867037"/>
                  <a:gd name="connsiteX3444" fmla="*/ 2024924 w 2417513"/>
                  <a:gd name="connsiteY3444" fmla="*/ 982915 h 1867037"/>
                  <a:gd name="connsiteX3445" fmla="*/ 2023105 w 2417513"/>
                  <a:gd name="connsiteY3445" fmla="*/ 979733 h 1867037"/>
                  <a:gd name="connsiteX3446" fmla="*/ 2020075 w 2417513"/>
                  <a:gd name="connsiteY3446" fmla="*/ 977005 h 1867037"/>
                  <a:gd name="connsiteX3447" fmla="*/ 2016742 w 2417513"/>
                  <a:gd name="connsiteY3447" fmla="*/ 975339 h 1867037"/>
                  <a:gd name="connsiteX3448" fmla="*/ 2015681 w 2417513"/>
                  <a:gd name="connsiteY3448" fmla="*/ 975187 h 1867037"/>
                  <a:gd name="connsiteX3449" fmla="*/ 2015984 w 2417513"/>
                  <a:gd name="connsiteY3449" fmla="*/ 974733 h 1867037"/>
                  <a:gd name="connsiteX3450" fmla="*/ 2021287 w 2417513"/>
                  <a:gd name="connsiteY3450" fmla="*/ 971854 h 1867037"/>
                  <a:gd name="connsiteX3451" fmla="*/ 2021742 w 2417513"/>
                  <a:gd name="connsiteY3451" fmla="*/ 970945 h 1867037"/>
                  <a:gd name="connsiteX3452" fmla="*/ 2016742 w 2417513"/>
                  <a:gd name="connsiteY3452" fmla="*/ 968975 h 1867037"/>
                  <a:gd name="connsiteX3453" fmla="*/ 2015984 w 2417513"/>
                  <a:gd name="connsiteY3453" fmla="*/ 967763 h 1867037"/>
                  <a:gd name="connsiteX3454" fmla="*/ 2015529 w 2417513"/>
                  <a:gd name="connsiteY3454" fmla="*/ 965944 h 1867037"/>
                  <a:gd name="connsiteX3455" fmla="*/ 2014014 w 2417513"/>
                  <a:gd name="connsiteY3455" fmla="*/ 964126 h 1867037"/>
                  <a:gd name="connsiteX3456" fmla="*/ 2011590 w 2417513"/>
                  <a:gd name="connsiteY3456" fmla="*/ 962459 h 1867037"/>
                  <a:gd name="connsiteX3457" fmla="*/ 2009469 w 2417513"/>
                  <a:gd name="connsiteY3457" fmla="*/ 961702 h 1867037"/>
                  <a:gd name="connsiteX3458" fmla="*/ 2007650 w 2417513"/>
                  <a:gd name="connsiteY3458" fmla="*/ 961853 h 1867037"/>
                  <a:gd name="connsiteX3459" fmla="*/ 2005529 w 2417513"/>
                  <a:gd name="connsiteY3459" fmla="*/ 962459 h 1867037"/>
                  <a:gd name="connsiteX3460" fmla="*/ 2000074 w 2417513"/>
                  <a:gd name="connsiteY3460" fmla="*/ 965338 h 1867037"/>
                  <a:gd name="connsiteX3461" fmla="*/ 1999165 w 2417513"/>
                  <a:gd name="connsiteY3461" fmla="*/ 965338 h 1867037"/>
                  <a:gd name="connsiteX3462" fmla="*/ 1998407 w 2417513"/>
                  <a:gd name="connsiteY3462" fmla="*/ 964581 h 1867037"/>
                  <a:gd name="connsiteX3463" fmla="*/ 1998559 w 2417513"/>
                  <a:gd name="connsiteY3463" fmla="*/ 962762 h 1867037"/>
                  <a:gd name="connsiteX3464" fmla="*/ 2000983 w 2417513"/>
                  <a:gd name="connsiteY3464" fmla="*/ 955944 h 1867037"/>
                  <a:gd name="connsiteX3465" fmla="*/ 2000226 w 2417513"/>
                  <a:gd name="connsiteY3465" fmla="*/ 955035 h 1867037"/>
                  <a:gd name="connsiteX3466" fmla="*/ 1998256 w 2417513"/>
                  <a:gd name="connsiteY3466" fmla="*/ 954883 h 1867037"/>
                  <a:gd name="connsiteX3467" fmla="*/ 1994165 w 2417513"/>
                  <a:gd name="connsiteY3467" fmla="*/ 953520 h 1867037"/>
                  <a:gd name="connsiteX3468" fmla="*/ 1992195 w 2417513"/>
                  <a:gd name="connsiteY3468" fmla="*/ 951550 h 1867037"/>
                  <a:gd name="connsiteX3469" fmla="*/ 1990225 w 2417513"/>
                  <a:gd name="connsiteY3469" fmla="*/ 948519 h 1867037"/>
                  <a:gd name="connsiteX3470" fmla="*/ 1990074 w 2417513"/>
                  <a:gd name="connsiteY3470" fmla="*/ 945944 h 1867037"/>
                  <a:gd name="connsiteX3471" fmla="*/ 1991740 w 2417513"/>
                  <a:gd name="connsiteY3471" fmla="*/ 943974 h 1867037"/>
                  <a:gd name="connsiteX3472" fmla="*/ 1991286 w 2417513"/>
                  <a:gd name="connsiteY3472" fmla="*/ 942156 h 1867037"/>
                  <a:gd name="connsiteX3473" fmla="*/ 1984468 w 2417513"/>
                  <a:gd name="connsiteY3473" fmla="*/ 937913 h 1867037"/>
                  <a:gd name="connsiteX3474" fmla="*/ 1981589 w 2417513"/>
                  <a:gd name="connsiteY3474" fmla="*/ 937155 h 1867037"/>
                  <a:gd name="connsiteX3475" fmla="*/ 1977649 w 2417513"/>
                  <a:gd name="connsiteY3475" fmla="*/ 937004 h 1867037"/>
                  <a:gd name="connsiteX3476" fmla="*/ 1976740 w 2417513"/>
                  <a:gd name="connsiteY3476" fmla="*/ 936701 h 1867037"/>
                  <a:gd name="connsiteX3477" fmla="*/ 1982801 w 2417513"/>
                  <a:gd name="connsiteY3477" fmla="*/ 934428 h 1867037"/>
                  <a:gd name="connsiteX3478" fmla="*/ 1984619 w 2417513"/>
                  <a:gd name="connsiteY3478" fmla="*/ 934428 h 1867037"/>
                  <a:gd name="connsiteX3479" fmla="*/ 1993104 w 2417513"/>
                  <a:gd name="connsiteY3479" fmla="*/ 939883 h 1867037"/>
                  <a:gd name="connsiteX3480" fmla="*/ 1998256 w 2417513"/>
                  <a:gd name="connsiteY3480" fmla="*/ 945186 h 1867037"/>
                  <a:gd name="connsiteX3481" fmla="*/ 2001893 w 2417513"/>
                  <a:gd name="connsiteY3481" fmla="*/ 947459 h 1867037"/>
                  <a:gd name="connsiteX3482" fmla="*/ 2009469 w 2417513"/>
                  <a:gd name="connsiteY3482" fmla="*/ 949429 h 1867037"/>
                  <a:gd name="connsiteX3483" fmla="*/ 2013559 w 2417513"/>
                  <a:gd name="connsiteY3483" fmla="*/ 949429 h 1867037"/>
                  <a:gd name="connsiteX3484" fmla="*/ 2014923 w 2417513"/>
                  <a:gd name="connsiteY3484" fmla="*/ 949126 h 1867037"/>
                  <a:gd name="connsiteX3485" fmla="*/ 2017045 w 2417513"/>
                  <a:gd name="connsiteY3485" fmla="*/ 947913 h 1867037"/>
                  <a:gd name="connsiteX3486" fmla="*/ 2019469 w 2417513"/>
                  <a:gd name="connsiteY3486" fmla="*/ 944277 h 1867037"/>
                  <a:gd name="connsiteX3487" fmla="*/ 2016287 w 2417513"/>
                  <a:gd name="connsiteY3487" fmla="*/ 941701 h 1867037"/>
                  <a:gd name="connsiteX3488" fmla="*/ 2009469 w 2417513"/>
                  <a:gd name="connsiteY3488" fmla="*/ 937307 h 1867037"/>
                  <a:gd name="connsiteX3489" fmla="*/ 2005226 w 2417513"/>
                  <a:gd name="connsiteY3489" fmla="*/ 933670 h 1867037"/>
                  <a:gd name="connsiteX3490" fmla="*/ 2002650 w 2417513"/>
                  <a:gd name="connsiteY3490" fmla="*/ 929125 h 1867037"/>
                  <a:gd name="connsiteX3491" fmla="*/ 2000377 w 2417513"/>
                  <a:gd name="connsiteY3491" fmla="*/ 924579 h 1867037"/>
                  <a:gd name="connsiteX3492" fmla="*/ 2000832 w 2417513"/>
                  <a:gd name="connsiteY3492" fmla="*/ 923519 h 1867037"/>
                  <a:gd name="connsiteX3493" fmla="*/ 2004317 w 2417513"/>
                  <a:gd name="connsiteY3493" fmla="*/ 925034 h 1867037"/>
                  <a:gd name="connsiteX3494" fmla="*/ 2009317 w 2417513"/>
                  <a:gd name="connsiteY3494" fmla="*/ 927610 h 1867037"/>
                  <a:gd name="connsiteX3495" fmla="*/ 2014469 w 2417513"/>
                  <a:gd name="connsiteY3495" fmla="*/ 931398 h 1867037"/>
                  <a:gd name="connsiteX3496" fmla="*/ 2015984 w 2417513"/>
                  <a:gd name="connsiteY3496" fmla="*/ 932004 h 1867037"/>
                  <a:gd name="connsiteX3497" fmla="*/ 2018408 w 2417513"/>
                  <a:gd name="connsiteY3497" fmla="*/ 931701 h 1867037"/>
                  <a:gd name="connsiteX3498" fmla="*/ 2019317 w 2417513"/>
                  <a:gd name="connsiteY3498" fmla="*/ 931246 h 1867037"/>
                  <a:gd name="connsiteX3499" fmla="*/ 2019317 w 2417513"/>
                  <a:gd name="connsiteY3499" fmla="*/ 926246 h 1867037"/>
                  <a:gd name="connsiteX3500" fmla="*/ 2015832 w 2417513"/>
                  <a:gd name="connsiteY3500" fmla="*/ 922306 h 1867037"/>
                  <a:gd name="connsiteX3501" fmla="*/ 2016135 w 2417513"/>
                  <a:gd name="connsiteY3501" fmla="*/ 920034 h 1867037"/>
                  <a:gd name="connsiteX3502" fmla="*/ 2019317 w 2417513"/>
                  <a:gd name="connsiteY3502" fmla="*/ 921700 h 1867037"/>
                  <a:gd name="connsiteX3503" fmla="*/ 2022348 w 2417513"/>
                  <a:gd name="connsiteY3503" fmla="*/ 922003 h 1867037"/>
                  <a:gd name="connsiteX3504" fmla="*/ 2025227 w 2417513"/>
                  <a:gd name="connsiteY3504" fmla="*/ 920943 h 1867037"/>
                  <a:gd name="connsiteX3505" fmla="*/ 2025227 w 2417513"/>
                  <a:gd name="connsiteY3505" fmla="*/ 919428 h 1867037"/>
                  <a:gd name="connsiteX3506" fmla="*/ 2024014 w 2417513"/>
                  <a:gd name="connsiteY3506" fmla="*/ 917609 h 1867037"/>
                  <a:gd name="connsiteX3507" fmla="*/ 2024772 w 2417513"/>
                  <a:gd name="connsiteY3507" fmla="*/ 917306 h 1867037"/>
                  <a:gd name="connsiteX3508" fmla="*/ 2028106 w 2417513"/>
                  <a:gd name="connsiteY3508" fmla="*/ 918821 h 1867037"/>
                  <a:gd name="connsiteX3509" fmla="*/ 2030227 w 2417513"/>
                  <a:gd name="connsiteY3509" fmla="*/ 920640 h 1867037"/>
                  <a:gd name="connsiteX3510" fmla="*/ 2030985 w 2417513"/>
                  <a:gd name="connsiteY3510" fmla="*/ 922761 h 1867037"/>
                  <a:gd name="connsiteX3511" fmla="*/ 2032348 w 2417513"/>
                  <a:gd name="connsiteY3511" fmla="*/ 925034 h 1867037"/>
                  <a:gd name="connsiteX3512" fmla="*/ 2038712 w 2417513"/>
                  <a:gd name="connsiteY3512" fmla="*/ 933216 h 1867037"/>
                  <a:gd name="connsiteX3513" fmla="*/ 2040227 w 2417513"/>
                  <a:gd name="connsiteY3513" fmla="*/ 934428 h 1867037"/>
                  <a:gd name="connsiteX3514" fmla="*/ 2044167 w 2417513"/>
                  <a:gd name="connsiteY3514" fmla="*/ 935640 h 1867037"/>
                  <a:gd name="connsiteX3515" fmla="*/ 2045985 w 2417513"/>
                  <a:gd name="connsiteY3515" fmla="*/ 936701 h 1867037"/>
                  <a:gd name="connsiteX3516" fmla="*/ 2049925 w 2417513"/>
                  <a:gd name="connsiteY3516" fmla="*/ 940034 h 1867037"/>
                  <a:gd name="connsiteX3517" fmla="*/ 2053258 w 2417513"/>
                  <a:gd name="connsiteY3517" fmla="*/ 940337 h 1867037"/>
                  <a:gd name="connsiteX3518" fmla="*/ 2055531 w 2417513"/>
                  <a:gd name="connsiteY3518" fmla="*/ 939731 h 1867037"/>
                  <a:gd name="connsiteX3519" fmla="*/ 2058258 w 2417513"/>
                  <a:gd name="connsiteY3519" fmla="*/ 938368 h 1867037"/>
                  <a:gd name="connsiteX3520" fmla="*/ 2060228 w 2417513"/>
                  <a:gd name="connsiteY3520" fmla="*/ 936398 h 1867037"/>
                  <a:gd name="connsiteX3521" fmla="*/ 2061137 w 2417513"/>
                  <a:gd name="connsiteY3521" fmla="*/ 936852 h 1867037"/>
                  <a:gd name="connsiteX3522" fmla="*/ 2055682 w 2417513"/>
                  <a:gd name="connsiteY3522" fmla="*/ 942156 h 1867037"/>
                  <a:gd name="connsiteX3523" fmla="*/ 2054773 w 2417513"/>
                  <a:gd name="connsiteY3523" fmla="*/ 945186 h 1867037"/>
                  <a:gd name="connsiteX3524" fmla="*/ 2056592 w 2417513"/>
                  <a:gd name="connsiteY3524" fmla="*/ 946247 h 1867037"/>
                  <a:gd name="connsiteX3525" fmla="*/ 2064319 w 2417513"/>
                  <a:gd name="connsiteY3525" fmla="*/ 946701 h 1867037"/>
                  <a:gd name="connsiteX3526" fmla="*/ 2067804 w 2417513"/>
                  <a:gd name="connsiteY3526" fmla="*/ 946398 h 1867037"/>
                  <a:gd name="connsiteX3527" fmla="*/ 2070834 w 2417513"/>
                  <a:gd name="connsiteY3527" fmla="*/ 945792 h 1867037"/>
                  <a:gd name="connsiteX3528" fmla="*/ 2079017 w 2417513"/>
                  <a:gd name="connsiteY3528" fmla="*/ 942610 h 1867037"/>
                  <a:gd name="connsiteX3529" fmla="*/ 2082198 w 2417513"/>
                  <a:gd name="connsiteY3529" fmla="*/ 939883 h 1867037"/>
                  <a:gd name="connsiteX3530" fmla="*/ 2085684 w 2417513"/>
                  <a:gd name="connsiteY3530" fmla="*/ 935640 h 1867037"/>
                  <a:gd name="connsiteX3531" fmla="*/ 2088562 w 2417513"/>
                  <a:gd name="connsiteY3531" fmla="*/ 933064 h 1867037"/>
                  <a:gd name="connsiteX3532" fmla="*/ 2092653 w 2417513"/>
                  <a:gd name="connsiteY3532" fmla="*/ 931246 h 1867037"/>
                  <a:gd name="connsiteX3533" fmla="*/ 2094320 w 2417513"/>
                  <a:gd name="connsiteY3533" fmla="*/ 931701 h 1867037"/>
                  <a:gd name="connsiteX3534" fmla="*/ 2091138 w 2417513"/>
                  <a:gd name="connsiteY3534" fmla="*/ 933822 h 1867037"/>
                  <a:gd name="connsiteX3535" fmla="*/ 2088108 w 2417513"/>
                  <a:gd name="connsiteY3535" fmla="*/ 937459 h 1867037"/>
                  <a:gd name="connsiteX3536" fmla="*/ 2085835 w 2417513"/>
                  <a:gd name="connsiteY3536" fmla="*/ 942004 h 1867037"/>
                  <a:gd name="connsiteX3537" fmla="*/ 2083562 w 2417513"/>
                  <a:gd name="connsiteY3537" fmla="*/ 944883 h 1867037"/>
                  <a:gd name="connsiteX3538" fmla="*/ 2078713 w 2417513"/>
                  <a:gd name="connsiteY3538" fmla="*/ 946095 h 1867037"/>
                  <a:gd name="connsiteX3539" fmla="*/ 2074471 w 2417513"/>
                  <a:gd name="connsiteY3539" fmla="*/ 948368 h 1867037"/>
                  <a:gd name="connsiteX3540" fmla="*/ 2071895 w 2417513"/>
                  <a:gd name="connsiteY3540" fmla="*/ 950641 h 1867037"/>
                  <a:gd name="connsiteX3541" fmla="*/ 2069168 w 2417513"/>
                  <a:gd name="connsiteY3541" fmla="*/ 953671 h 1867037"/>
                  <a:gd name="connsiteX3542" fmla="*/ 2068562 w 2417513"/>
                  <a:gd name="connsiteY3542" fmla="*/ 956247 h 1867037"/>
                  <a:gd name="connsiteX3543" fmla="*/ 2070380 w 2417513"/>
                  <a:gd name="connsiteY3543" fmla="*/ 958671 h 1867037"/>
                  <a:gd name="connsiteX3544" fmla="*/ 2071137 w 2417513"/>
                  <a:gd name="connsiteY3544" fmla="*/ 958974 h 1867037"/>
                  <a:gd name="connsiteX3545" fmla="*/ 2071895 w 2417513"/>
                  <a:gd name="connsiteY3545" fmla="*/ 960035 h 1867037"/>
                  <a:gd name="connsiteX3546" fmla="*/ 2074016 w 2417513"/>
                  <a:gd name="connsiteY3546" fmla="*/ 963975 h 1867037"/>
                  <a:gd name="connsiteX3547" fmla="*/ 2074925 w 2417513"/>
                  <a:gd name="connsiteY3547" fmla="*/ 964884 h 1867037"/>
                  <a:gd name="connsiteX3548" fmla="*/ 2076744 w 2417513"/>
                  <a:gd name="connsiteY3548" fmla="*/ 969581 h 1867037"/>
                  <a:gd name="connsiteX3549" fmla="*/ 2080229 w 2417513"/>
                  <a:gd name="connsiteY3549" fmla="*/ 973520 h 1867037"/>
                  <a:gd name="connsiteX3550" fmla="*/ 2083865 w 2417513"/>
                  <a:gd name="connsiteY3550" fmla="*/ 976854 h 1867037"/>
                  <a:gd name="connsiteX3551" fmla="*/ 2086138 w 2417513"/>
                  <a:gd name="connsiteY3551" fmla="*/ 979733 h 1867037"/>
                  <a:gd name="connsiteX3552" fmla="*/ 2088865 w 2417513"/>
                  <a:gd name="connsiteY3552" fmla="*/ 982612 h 1867037"/>
                  <a:gd name="connsiteX3553" fmla="*/ 2091896 w 2417513"/>
                  <a:gd name="connsiteY3553" fmla="*/ 984884 h 1867037"/>
                  <a:gd name="connsiteX3554" fmla="*/ 2094169 w 2417513"/>
                  <a:gd name="connsiteY3554" fmla="*/ 978824 h 1867037"/>
                  <a:gd name="connsiteX3555" fmla="*/ 2097654 w 2417513"/>
                  <a:gd name="connsiteY3555" fmla="*/ 973823 h 1867037"/>
                  <a:gd name="connsiteX3556" fmla="*/ 2099169 w 2417513"/>
                  <a:gd name="connsiteY3556" fmla="*/ 972157 h 1867037"/>
                  <a:gd name="connsiteX3557" fmla="*/ 2099623 w 2417513"/>
                  <a:gd name="connsiteY3557" fmla="*/ 972157 h 1867037"/>
                  <a:gd name="connsiteX3558" fmla="*/ 2098563 w 2417513"/>
                  <a:gd name="connsiteY3558" fmla="*/ 975642 h 1867037"/>
                  <a:gd name="connsiteX3559" fmla="*/ 2097654 w 2417513"/>
                  <a:gd name="connsiteY3559" fmla="*/ 982460 h 1867037"/>
                  <a:gd name="connsiteX3560" fmla="*/ 2100229 w 2417513"/>
                  <a:gd name="connsiteY3560" fmla="*/ 985036 h 1867037"/>
                  <a:gd name="connsiteX3561" fmla="*/ 2102957 w 2417513"/>
                  <a:gd name="connsiteY3561" fmla="*/ 987157 h 1867037"/>
                  <a:gd name="connsiteX3562" fmla="*/ 2105381 w 2417513"/>
                  <a:gd name="connsiteY3562" fmla="*/ 984733 h 1867037"/>
                  <a:gd name="connsiteX3563" fmla="*/ 2107654 w 2417513"/>
                  <a:gd name="connsiteY3563" fmla="*/ 984733 h 1867037"/>
                  <a:gd name="connsiteX3564" fmla="*/ 2109927 w 2417513"/>
                  <a:gd name="connsiteY3564" fmla="*/ 985339 h 1867037"/>
                  <a:gd name="connsiteX3565" fmla="*/ 2111594 w 2417513"/>
                  <a:gd name="connsiteY3565" fmla="*/ 986551 h 1867037"/>
                  <a:gd name="connsiteX3566" fmla="*/ 2112806 w 2417513"/>
                  <a:gd name="connsiteY3566" fmla="*/ 987915 h 1867037"/>
                  <a:gd name="connsiteX3567" fmla="*/ 2114169 w 2417513"/>
                  <a:gd name="connsiteY3567" fmla="*/ 990642 h 1867037"/>
                  <a:gd name="connsiteX3568" fmla="*/ 2117806 w 2417513"/>
                  <a:gd name="connsiteY3568" fmla="*/ 993370 h 1867037"/>
                  <a:gd name="connsiteX3569" fmla="*/ 2121139 w 2417513"/>
                  <a:gd name="connsiteY3569" fmla="*/ 989279 h 1867037"/>
                  <a:gd name="connsiteX3570" fmla="*/ 2123412 w 2417513"/>
                  <a:gd name="connsiteY3570" fmla="*/ 984884 h 1867037"/>
                  <a:gd name="connsiteX3571" fmla="*/ 2124473 w 2417513"/>
                  <a:gd name="connsiteY3571" fmla="*/ 979884 h 1867037"/>
                  <a:gd name="connsiteX3572" fmla="*/ 2124473 w 2417513"/>
                  <a:gd name="connsiteY3572" fmla="*/ 965793 h 1867037"/>
                  <a:gd name="connsiteX3573" fmla="*/ 2125231 w 2417513"/>
                  <a:gd name="connsiteY3573" fmla="*/ 962459 h 1867037"/>
                  <a:gd name="connsiteX3574" fmla="*/ 2120533 w 2417513"/>
                  <a:gd name="connsiteY3574" fmla="*/ 961550 h 1867037"/>
                  <a:gd name="connsiteX3575" fmla="*/ 2116594 w 2417513"/>
                  <a:gd name="connsiteY3575" fmla="*/ 960490 h 1867037"/>
                  <a:gd name="connsiteX3576" fmla="*/ 2116594 w 2417513"/>
                  <a:gd name="connsiteY3576" fmla="*/ 959884 h 1867037"/>
                  <a:gd name="connsiteX3577" fmla="*/ 2122958 w 2417513"/>
                  <a:gd name="connsiteY3577" fmla="*/ 958368 h 1867037"/>
                  <a:gd name="connsiteX3578" fmla="*/ 2123261 w 2417513"/>
                  <a:gd name="connsiteY3578" fmla="*/ 956247 h 1867037"/>
                  <a:gd name="connsiteX3579" fmla="*/ 2121745 w 2417513"/>
                  <a:gd name="connsiteY3579" fmla="*/ 952611 h 1867037"/>
                  <a:gd name="connsiteX3580" fmla="*/ 2121897 w 2417513"/>
                  <a:gd name="connsiteY3580" fmla="*/ 951853 h 1867037"/>
                  <a:gd name="connsiteX3581" fmla="*/ 2127806 w 2417513"/>
                  <a:gd name="connsiteY3581" fmla="*/ 958974 h 1867037"/>
                  <a:gd name="connsiteX3582" fmla="*/ 2129776 w 2417513"/>
                  <a:gd name="connsiteY3582" fmla="*/ 960641 h 1867037"/>
                  <a:gd name="connsiteX3583" fmla="*/ 2135231 w 2417513"/>
                  <a:gd name="connsiteY3583" fmla="*/ 962156 h 1867037"/>
                  <a:gd name="connsiteX3584" fmla="*/ 2139322 w 2417513"/>
                  <a:gd name="connsiteY3584" fmla="*/ 960944 h 1867037"/>
                  <a:gd name="connsiteX3585" fmla="*/ 2140534 w 2417513"/>
                  <a:gd name="connsiteY3585" fmla="*/ 961702 h 1867037"/>
                  <a:gd name="connsiteX3586" fmla="*/ 2143564 w 2417513"/>
                  <a:gd name="connsiteY3586" fmla="*/ 961399 h 1867037"/>
                  <a:gd name="connsiteX3587" fmla="*/ 2144928 w 2417513"/>
                  <a:gd name="connsiteY3587" fmla="*/ 957611 h 1867037"/>
                  <a:gd name="connsiteX3588" fmla="*/ 2148413 w 2417513"/>
                  <a:gd name="connsiteY3588" fmla="*/ 953974 h 1867037"/>
                  <a:gd name="connsiteX3589" fmla="*/ 2151292 w 2417513"/>
                  <a:gd name="connsiteY3589" fmla="*/ 952611 h 1867037"/>
                  <a:gd name="connsiteX3590" fmla="*/ 2151140 w 2417513"/>
                  <a:gd name="connsiteY3590" fmla="*/ 951095 h 1867037"/>
                  <a:gd name="connsiteX3591" fmla="*/ 2150534 w 2417513"/>
                  <a:gd name="connsiteY3591" fmla="*/ 949429 h 1867037"/>
                  <a:gd name="connsiteX3592" fmla="*/ 2149474 w 2417513"/>
                  <a:gd name="connsiteY3592" fmla="*/ 947610 h 1867037"/>
                  <a:gd name="connsiteX3593" fmla="*/ 2148110 w 2417513"/>
                  <a:gd name="connsiteY3593" fmla="*/ 946247 h 1867037"/>
                  <a:gd name="connsiteX3594" fmla="*/ 2144625 w 2417513"/>
                  <a:gd name="connsiteY3594" fmla="*/ 944277 h 1867037"/>
                  <a:gd name="connsiteX3595" fmla="*/ 2145534 w 2417513"/>
                  <a:gd name="connsiteY3595" fmla="*/ 943519 h 1867037"/>
                  <a:gd name="connsiteX3596" fmla="*/ 2148868 w 2417513"/>
                  <a:gd name="connsiteY3596" fmla="*/ 944277 h 1867037"/>
                  <a:gd name="connsiteX3597" fmla="*/ 2154928 w 2417513"/>
                  <a:gd name="connsiteY3597" fmla="*/ 944731 h 1867037"/>
                  <a:gd name="connsiteX3598" fmla="*/ 2157807 w 2417513"/>
                  <a:gd name="connsiteY3598" fmla="*/ 944428 h 1867037"/>
                  <a:gd name="connsiteX3599" fmla="*/ 2161899 w 2417513"/>
                  <a:gd name="connsiteY3599" fmla="*/ 943368 h 1867037"/>
                  <a:gd name="connsiteX3600" fmla="*/ 2160989 w 2417513"/>
                  <a:gd name="connsiteY3600" fmla="*/ 941853 h 1867037"/>
                  <a:gd name="connsiteX3601" fmla="*/ 2155080 w 2417513"/>
                  <a:gd name="connsiteY3601" fmla="*/ 938216 h 1867037"/>
                  <a:gd name="connsiteX3602" fmla="*/ 2147049 w 2417513"/>
                  <a:gd name="connsiteY3602" fmla="*/ 934580 h 1867037"/>
                  <a:gd name="connsiteX3603" fmla="*/ 2148110 w 2417513"/>
                  <a:gd name="connsiteY3603" fmla="*/ 932610 h 1867037"/>
                  <a:gd name="connsiteX3604" fmla="*/ 2150231 w 2417513"/>
                  <a:gd name="connsiteY3604" fmla="*/ 931852 h 1867037"/>
                  <a:gd name="connsiteX3605" fmla="*/ 2150686 w 2417513"/>
                  <a:gd name="connsiteY3605" fmla="*/ 930640 h 1867037"/>
                  <a:gd name="connsiteX3606" fmla="*/ 2146443 w 2417513"/>
                  <a:gd name="connsiteY3606" fmla="*/ 927155 h 1867037"/>
                  <a:gd name="connsiteX3607" fmla="*/ 2147656 w 2417513"/>
                  <a:gd name="connsiteY3607" fmla="*/ 926701 h 1867037"/>
                  <a:gd name="connsiteX3608" fmla="*/ 2151292 w 2417513"/>
                  <a:gd name="connsiteY3608" fmla="*/ 927004 h 1867037"/>
                  <a:gd name="connsiteX3609" fmla="*/ 2154019 w 2417513"/>
                  <a:gd name="connsiteY3609" fmla="*/ 927913 h 1867037"/>
                  <a:gd name="connsiteX3610" fmla="*/ 2157201 w 2417513"/>
                  <a:gd name="connsiteY3610" fmla="*/ 930337 h 1867037"/>
                  <a:gd name="connsiteX3611" fmla="*/ 2162656 w 2417513"/>
                  <a:gd name="connsiteY3611" fmla="*/ 931701 h 1867037"/>
                  <a:gd name="connsiteX3612" fmla="*/ 2165232 w 2417513"/>
                  <a:gd name="connsiteY3612" fmla="*/ 931549 h 1867037"/>
                  <a:gd name="connsiteX3613" fmla="*/ 2173263 w 2417513"/>
                  <a:gd name="connsiteY3613" fmla="*/ 928822 h 1867037"/>
                  <a:gd name="connsiteX3614" fmla="*/ 2173111 w 2417513"/>
                  <a:gd name="connsiteY3614" fmla="*/ 927004 h 1867037"/>
                  <a:gd name="connsiteX3615" fmla="*/ 2170990 w 2417513"/>
                  <a:gd name="connsiteY3615" fmla="*/ 922912 h 1867037"/>
                  <a:gd name="connsiteX3616" fmla="*/ 2159020 w 2417513"/>
                  <a:gd name="connsiteY3616" fmla="*/ 917306 h 1867037"/>
                  <a:gd name="connsiteX3617" fmla="*/ 2158111 w 2417513"/>
                  <a:gd name="connsiteY3617" fmla="*/ 916549 h 1867037"/>
                  <a:gd name="connsiteX3618" fmla="*/ 2161141 w 2417513"/>
                  <a:gd name="connsiteY3618" fmla="*/ 915185 h 1867037"/>
                  <a:gd name="connsiteX3619" fmla="*/ 2164323 w 2417513"/>
                  <a:gd name="connsiteY3619" fmla="*/ 914730 h 1867037"/>
                  <a:gd name="connsiteX3620" fmla="*/ 1360202 w 2417513"/>
                  <a:gd name="connsiteY3620" fmla="*/ 103943 h 1867037"/>
                  <a:gd name="connsiteX3621" fmla="*/ 1365354 w 2417513"/>
                  <a:gd name="connsiteY3621" fmla="*/ 102580 h 1867037"/>
                  <a:gd name="connsiteX3622" fmla="*/ 1372778 w 2417513"/>
                  <a:gd name="connsiteY3622" fmla="*/ 99398 h 1867037"/>
                  <a:gd name="connsiteX3623" fmla="*/ 1378384 w 2417513"/>
                  <a:gd name="connsiteY3623" fmla="*/ 98337 h 1867037"/>
                  <a:gd name="connsiteX3624" fmla="*/ 1382324 w 2417513"/>
                  <a:gd name="connsiteY3624" fmla="*/ 99549 h 1867037"/>
                  <a:gd name="connsiteX3625" fmla="*/ 1386415 w 2417513"/>
                  <a:gd name="connsiteY3625" fmla="*/ 100004 h 1867037"/>
                  <a:gd name="connsiteX3626" fmla="*/ 1400355 w 2417513"/>
                  <a:gd name="connsiteY3626" fmla="*/ 99852 h 1867037"/>
                  <a:gd name="connsiteX3627" fmla="*/ 1399749 w 2417513"/>
                  <a:gd name="connsiteY3627" fmla="*/ 101367 h 1867037"/>
                  <a:gd name="connsiteX3628" fmla="*/ 1380354 w 2417513"/>
                  <a:gd name="connsiteY3628" fmla="*/ 111065 h 1867037"/>
                  <a:gd name="connsiteX3629" fmla="*/ 1378839 w 2417513"/>
                  <a:gd name="connsiteY3629" fmla="*/ 113337 h 1867037"/>
                  <a:gd name="connsiteX3630" fmla="*/ 1384142 w 2417513"/>
                  <a:gd name="connsiteY3630" fmla="*/ 114853 h 1867037"/>
                  <a:gd name="connsiteX3631" fmla="*/ 1387173 w 2417513"/>
                  <a:gd name="connsiteY3631" fmla="*/ 115156 h 1867037"/>
                  <a:gd name="connsiteX3632" fmla="*/ 1423386 w 2417513"/>
                  <a:gd name="connsiteY3632" fmla="*/ 105913 h 1867037"/>
                  <a:gd name="connsiteX3633" fmla="*/ 1437023 w 2417513"/>
                  <a:gd name="connsiteY3633" fmla="*/ 104398 h 1867037"/>
                  <a:gd name="connsiteX3634" fmla="*/ 1447326 w 2417513"/>
                  <a:gd name="connsiteY3634" fmla="*/ 104852 h 1867037"/>
                  <a:gd name="connsiteX3635" fmla="*/ 1461115 w 2417513"/>
                  <a:gd name="connsiteY3635" fmla="*/ 106974 h 1867037"/>
                  <a:gd name="connsiteX3636" fmla="*/ 1460509 w 2417513"/>
                  <a:gd name="connsiteY3636" fmla="*/ 108034 h 1867037"/>
                  <a:gd name="connsiteX3637" fmla="*/ 1446569 w 2417513"/>
                  <a:gd name="connsiteY3637" fmla="*/ 107428 h 1867037"/>
                  <a:gd name="connsiteX3638" fmla="*/ 1433083 w 2417513"/>
                  <a:gd name="connsiteY3638" fmla="*/ 108640 h 1867037"/>
                  <a:gd name="connsiteX3639" fmla="*/ 1425659 w 2417513"/>
                  <a:gd name="connsiteY3639" fmla="*/ 110459 h 1867037"/>
                  <a:gd name="connsiteX3640" fmla="*/ 1410962 w 2417513"/>
                  <a:gd name="connsiteY3640" fmla="*/ 116065 h 1867037"/>
                  <a:gd name="connsiteX3641" fmla="*/ 1404143 w 2417513"/>
                  <a:gd name="connsiteY3641" fmla="*/ 119853 h 1867037"/>
                  <a:gd name="connsiteX3642" fmla="*/ 1405204 w 2417513"/>
                  <a:gd name="connsiteY3642" fmla="*/ 121520 h 1867037"/>
                  <a:gd name="connsiteX3643" fmla="*/ 1416871 w 2417513"/>
                  <a:gd name="connsiteY3643" fmla="*/ 124853 h 1867037"/>
                  <a:gd name="connsiteX3644" fmla="*/ 1415356 w 2417513"/>
                  <a:gd name="connsiteY3644" fmla="*/ 125611 h 1867037"/>
                  <a:gd name="connsiteX3645" fmla="*/ 1407174 w 2417513"/>
                  <a:gd name="connsiteY3645" fmla="*/ 126368 h 1867037"/>
                  <a:gd name="connsiteX3646" fmla="*/ 1396719 w 2417513"/>
                  <a:gd name="connsiteY3646" fmla="*/ 129853 h 1867037"/>
                  <a:gd name="connsiteX3647" fmla="*/ 1395809 w 2417513"/>
                  <a:gd name="connsiteY3647" fmla="*/ 133035 h 1867037"/>
                  <a:gd name="connsiteX3648" fmla="*/ 1400961 w 2417513"/>
                  <a:gd name="connsiteY3648" fmla="*/ 136975 h 1867037"/>
                  <a:gd name="connsiteX3649" fmla="*/ 1405658 w 2417513"/>
                  <a:gd name="connsiteY3649" fmla="*/ 139096 h 1867037"/>
                  <a:gd name="connsiteX3650" fmla="*/ 1411871 w 2417513"/>
                  <a:gd name="connsiteY3650" fmla="*/ 139551 h 1867037"/>
                  <a:gd name="connsiteX3651" fmla="*/ 1425811 w 2417513"/>
                  <a:gd name="connsiteY3651" fmla="*/ 137429 h 1867037"/>
                  <a:gd name="connsiteX3652" fmla="*/ 1469903 w 2417513"/>
                  <a:gd name="connsiteY3652" fmla="*/ 135914 h 1867037"/>
                  <a:gd name="connsiteX3653" fmla="*/ 1487782 w 2417513"/>
                  <a:gd name="connsiteY3653" fmla="*/ 133187 h 1867037"/>
                  <a:gd name="connsiteX3654" fmla="*/ 1508238 w 2417513"/>
                  <a:gd name="connsiteY3654" fmla="*/ 125459 h 1867037"/>
                  <a:gd name="connsiteX3655" fmla="*/ 1521117 w 2417513"/>
                  <a:gd name="connsiteY3655" fmla="*/ 122580 h 1867037"/>
                  <a:gd name="connsiteX3656" fmla="*/ 1526420 w 2417513"/>
                  <a:gd name="connsiteY3656" fmla="*/ 121974 h 1867037"/>
                  <a:gd name="connsiteX3657" fmla="*/ 1533693 w 2417513"/>
                  <a:gd name="connsiteY3657" fmla="*/ 122580 h 1867037"/>
                  <a:gd name="connsiteX3658" fmla="*/ 1529754 w 2417513"/>
                  <a:gd name="connsiteY3658" fmla="*/ 125156 h 1867037"/>
                  <a:gd name="connsiteX3659" fmla="*/ 1509905 w 2417513"/>
                  <a:gd name="connsiteY3659" fmla="*/ 133187 h 1867037"/>
                  <a:gd name="connsiteX3660" fmla="*/ 1491722 w 2417513"/>
                  <a:gd name="connsiteY3660" fmla="*/ 138944 h 1867037"/>
                  <a:gd name="connsiteX3661" fmla="*/ 1479297 w 2417513"/>
                  <a:gd name="connsiteY3661" fmla="*/ 141217 h 1867037"/>
                  <a:gd name="connsiteX3662" fmla="*/ 1466721 w 2417513"/>
                  <a:gd name="connsiteY3662" fmla="*/ 141975 h 1867037"/>
                  <a:gd name="connsiteX3663" fmla="*/ 1438690 w 2417513"/>
                  <a:gd name="connsiteY3663" fmla="*/ 141217 h 1867037"/>
                  <a:gd name="connsiteX3664" fmla="*/ 1418083 w 2417513"/>
                  <a:gd name="connsiteY3664" fmla="*/ 145005 h 1867037"/>
                  <a:gd name="connsiteX3665" fmla="*/ 1415507 w 2417513"/>
                  <a:gd name="connsiteY3665" fmla="*/ 146672 h 1867037"/>
                  <a:gd name="connsiteX3666" fmla="*/ 1416871 w 2417513"/>
                  <a:gd name="connsiteY3666" fmla="*/ 148793 h 1867037"/>
                  <a:gd name="connsiteX3667" fmla="*/ 1418689 w 2417513"/>
                  <a:gd name="connsiteY3667" fmla="*/ 150612 h 1867037"/>
                  <a:gd name="connsiteX3668" fmla="*/ 1420962 w 2417513"/>
                  <a:gd name="connsiteY3668" fmla="*/ 152127 h 1867037"/>
                  <a:gd name="connsiteX3669" fmla="*/ 1424750 w 2417513"/>
                  <a:gd name="connsiteY3669" fmla="*/ 153642 h 1867037"/>
                  <a:gd name="connsiteX3670" fmla="*/ 1432932 w 2417513"/>
                  <a:gd name="connsiteY3670" fmla="*/ 155915 h 1867037"/>
                  <a:gd name="connsiteX3671" fmla="*/ 1443690 w 2417513"/>
                  <a:gd name="connsiteY3671" fmla="*/ 160157 h 1867037"/>
                  <a:gd name="connsiteX3672" fmla="*/ 1449902 w 2417513"/>
                  <a:gd name="connsiteY3672" fmla="*/ 161976 h 1867037"/>
                  <a:gd name="connsiteX3673" fmla="*/ 1457933 w 2417513"/>
                  <a:gd name="connsiteY3673" fmla="*/ 163188 h 1867037"/>
                  <a:gd name="connsiteX3674" fmla="*/ 1468388 w 2417513"/>
                  <a:gd name="connsiteY3674" fmla="*/ 162279 h 1867037"/>
                  <a:gd name="connsiteX3675" fmla="*/ 1475206 w 2417513"/>
                  <a:gd name="connsiteY3675" fmla="*/ 158642 h 1867037"/>
                  <a:gd name="connsiteX3676" fmla="*/ 1498389 w 2417513"/>
                  <a:gd name="connsiteY3676" fmla="*/ 144248 h 1867037"/>
                  <a:gd name="connsiteX3677" fmla="*/ 1505662 w 2417513"/>
                  <a:gd name="connsiteY3677" fmla="*/ 140308 h 1867037"/>
                  <a:gd name="connsiteX3678" fmla="*/ 1510814 w 2417513"/>
                  <a:gd name="connsiteY3678" fmla="*/ 138793 h 1867037"/>
                  <a:gd name="connsiteX3679" fmla="*/ 1542178 w 2417513"/>
                  <a:gd name="connsiteY3679" fmla="*/ 134702 h 1867037"/>
                  <a:gd name="connsiteX3680" fmla="*/ 1578998 w 2417513"/>
                  <a:gd name="connsiteY3680" fmla="*/ 131520 h 1867037"/>
                  <a:gd name="connsiteX3681" fmla="*/ 1577331 w 2417513"/>
                  <a:gd name="connsiteY3681" fmla="*/ 134399 h 1867037"/>
                  <a:gd name="connsiteX3682" fmla="*/ 1540966 w 2417513"/>
                  <a:gd name="connsiteY3682" fmla="*/ 138338 h 1867037"/>
                  <a:gd name="connsiteX3683" fmla="*/ 1525511 w 2417513"/>
                  <a:gd name="connsiteY3683" fmla="*/ 141823 h 1867037"/>
                  <a:gd name="connsiteX3684" fmla="*/ 1514753 w 2417513"/>
                  <a:gd name="connsiteY3684" fmla="*/ 145914 h 1867037"/>
                  <a:gd name="connsiteX3685" fmla="*/ 1497934 w 2417513"/>
                  <a:gd name="connsiteY3685" fmla="*/ 154551 h 1867037"/>
                  <a:gd name="connsiteX3686" fmla="*/ 1492783 w 2417513"/>
                  <a:gd name="connsiteY3686" fmla="*/ 158491 h 1867037"/>
                  <a:gd name="connsiteX3687" fmla="*/ 1488389 w 2417513"/>
                  <a:gd name="connsiteY3687" fmla="*/ 162582 h 1867037"/>
                  <a:gd name="connsiteX3688" fmla="*/ 1488086 w 2417513"/>
                  <a:gd name="connsiteY3688" fmla="*/ 164703 h 1867037"/>
                  <a:gd name="connsiteX3689" fmla="*/ 1490358 w 2417513"/>
                  <a:gd name="connsiteY3689" fmla="*/ 166370 h 1867037"/>
                  <a:gd name="connsiteX3690" fmla="*/ 1498086 w 2417513"/>
                  <a:gd name="connsiteY3690" fmla="*/ 168794 h 1867037"/>
                  <a:gd name="connsiteX3691" fmla="*/ 1502329 w 2417513"/>
                  <a:gd name="connsiteY3691" fmla="*/ 169097 h 1867037"/>
                  <a:gd name="connsiteX3692" fmla="*/ 1512480 w 2417513"/>
                  <a:gd name="connsiteY3692" fmla="*/ 167885 h 1867037"/>
                  <a:gd name="connsiteX3693" fmla="*/ 1523996 w 2417513"/>
                  <a:gd name="connsiteY3693" fmla="*/ 171370 h 1867037"/>
                  <a:gd name="connsiteX3694" fmla="*/ 1528390 w 2417513"/>
                  <a:gd name="connsiteY3694" fmla="*/ 171673 h 1867037"/>
                  <a:gd name="connsiteX3695" fmla="*/ 1548239 w 2417513"/>
                  <a:gd name="connsiteY3695" fmla="*/ 171370 h 1867037"/>
                  <a:gd name="connsiteX3696" fmla="*/ 1553694 w 2417513"/>
                  <a:gd name="connsiteY3696" fmla="*/ 170612 h 1867037"/>
                  <a:gd name="connsiteX3697" fmla="*/ 1557634 w 2417513"/>
                  <a:gd name="connsiteY3697" fmla="*/ 169400 h 1867037"/>
                  <a:gd name="connsiteX3698" fmla="*/ 1562785 w 2417513"/>
                  <a:gd name="connsiteY3698" fmla="*/ 166521 h 1867037"/>
                  <a:gd name="connsiteX3699" fmla="*/ 1569301 w 2417513"/>
                  <a:gd name="connsiteY3699" fmla="*/ 161976 h 1867037"/>
                  <a:gd name="connsiteX3700" fmla="*/ 1575968 w 2417513"/>
                  <a:gd name="connsiteY3700" fmla="*/ 159400 h 1867037"/>
                  <a:gd name="connsiteX3701" fmla="*/ 1592938 w 2417513"/>
                  <a:gd name="connsiteY3701" fmla="*/ 158036 h 1867037"/>
                  <a:gd name="connsiteX3702" fmla="*/ 1600665 w 2417513"/>
                  <a:gd name="connsiteY3702" fmla="*/ 156369 h 1867037"/>
                  <a:gd name="connsiteX3703" fmla="*/ 1608241 w 2417513"/>
                  <a:gd name="connsiteY3703" fmla="*/ 155763 h 1867037"/>
                  <a:gd name="connsiteX3704" fmla="*/ 1605060 w 2417513"/>
                  <a:gd name="connsiteY3704" fmla="*/ 158491 h 1867037"/>
                  <a:gd name="connsiteX3705" fmla="*/ 1593241 w 2417513"/>
                  <a:gd name="connsiteY3705" fmla="*/ 164703 h 1867037"/>
                  <a:gd name="connsiteX3706" fmla="*/ 1590059 w 2417513"/>
                  <a:gd name="connsiteY3706" fmla="*/ 168036 h 1867037"/>
                  <a:gd name="connsiteX3707" fmla="*/ 1597484 w 2417513"/>
                  <a:gd name="connsiteY3707" fmla="*/ 169249 h 1867037"/>
                  <a:gd name="connsiteX3708" fmla="*/ 1604151 w 2417513"/>
                  <a:gd name="connsiteY3708" fmla="*/ 169097 h 1867037"/>
                  <a:gd name="connsiteX3709" fmla="*/ 1626424 w 2417513"/>
                  <a:gd name="connsiteY3709" fmla="*/ 165158 h 1867037"/>
                  <a:gd name="connsiteX3710" fmla="*/ 1633243 w 2417513"/>
                  <a:gd name="connsiteY3710" fmla="*/ 164855 h 1867037"/>
                  <a:gd name="connsiteX3711" fmla="*/ 1641273 w 2417513"/>
                  <a:gd name="connsiteY3711" fmla="*/ 163036 h 1867037"/>
                  <a:gd name="connsiteX3712" fmla="*/ 1665213 w 2417513"/>
                  <a:gd name="connsiteY3712" fmla="*/ 156066 h 1867037"/>
                  <a:gd name="connsiteX3713" fmla="*/ 1675365 w 2417513"/>
                  <a:gd name="connsiteY3713" fmla="*/ 151066 h 1867037"/>
                  <a:gd name="connsiteX3714" fmla="*/ 1679608 w 2417513"/>
                  <a:gd name="connsiteY3714" fmla="*/ 148490 h 1867037"/>
                  <a:gd name="connsiteX3715" fmla="*/ 1681275 w 2417513"/>
                  <a:gd name="connsiteY3715" fmla="*/ 146672 h 1867037"/>
                  <a:gd name="connsiteX3716" fmla="*/ 1683093 w 2417513"/>
                  <a:gd name="connsiteY3716" fmla="*/ 143339 h 1867037"/>
                  <a:gd name="connsiteX3717" fmla="*/ 1685214 w 2417513"/>
                  <a:gd name="connsiteY3717" fmla="*/ 138490 h 1867037"/>
                  <a:gd name="connsiteX3718" fmla="*/ 1687790 w 2417513"/>
                  <a:gd name="connsiteY3718" fmla="*/ 135156 h 1867037"/>
                  <a:gd name="connsiteX3719" fmla="*/ 1690820 w 2417513"/>
                  <a:gd name="connsiteY3719" fmla="*/ 133338 h 1867037"/>
                  <a:gd name="connsiteX3720" fmla="*/ 1694305 w 2417513"/>
                  <a:gd name="connsiteY3720" fmla="*/ 132732 h 1867037"/>
                  <a:gd name="connsiteX3721" fmla="*/ 1698093 w 2417513"/>
                  <a:gd name="connsiteY3721" fmla="*/ 133338 h 1867037"/>
                  <a:gd name="connsiteX3722" fmla="*/ 1703548 w 2417513"/>
                  <a:gd name="connsiteY3722" fmla="*/ 131217 h 1867037"/>
                  <a:gd name="connsiteX3723" fmla="*/ 1714003 w 2417513"/>
                  <a:gd name="connsiteY3723" fmla="*/ 124247 h 1867037"/>
                  <a:gd name="connsiteX3724" fmla="*/ 1724458 w 2417513"/>
                  <a:gd name="connsiteY3724" fmla="*/ 119550 h 1867037"/>
                  <a:gd name="connsiteX3725" fmla="*/ 1754156 w 2417513"/>
                  <a:gd name="connsiteY3725" fmla="*/ 113034 h 1867037"/>
                  <a:gd name="connsiteX3726" fmla="*/ 1750217 w 2417513"/>
                  <a:gd name="connsiteY3726" fmla="*/ 115913 h 1867037"/>
                  <a:gd name="connsiteX3727" fmla="*/ 1736428 w 2417513"/>
                  <a:gd name="connsiteY3727" fmla="*/ 120156 h 1867037"/>
                  <a:gd name="connsiteX3728" fmla="*/ 1715821 w 2417513"/>
                  <a:gd name="connsiteY3728" fmla="*/ 130156 h 1867037"/>
                  <a:gd name="connsiteX3729" fmla="*/ 1710973 w 2417513"/>
                  <a:gd name="connsiteY3729" fmla="*/ 133641 h 1867037"/>
                  <a:gd name="connsiteX3730" fmla="*/ 1706427 w 2417513"/>
                  <a:gd name="connsiteY3730" fmla="*/ 138187 h 1867037"/>
                  <a:gd name="connsiteX3731" fmla="*/ 1704912 w 2417513"/>
                  <a:gd name="connsiteY3731" fmla="*/ 140914 h 1867037"/>
                  <a:gd name="connsiteX3732" fmla="*/ 1704003 w 2417513"/>
                  <a:gd name="connsiteY3732" fmla="*/ 144096 h 1867037"/>
                  <a:gd name="connsiteX3733" fmla="*/ 1708548 w 2417513"/>
                  <a:gd name="connsiteY3733" fmla="*/ 146066 h 1867037"/>
                  <a:gd name="connsiteX3734" fmla="*/ 1723549 w 2417513"/>
                  <a:gd name="connsiteY3734" fmla="*/ 147127 h 1867037"/>
                  <a:gd name="connsiteX3735" fmla="*/ 1740368 w 2417513"/>
                  <a:gd name="connsiteY3735" fmla="*/ 147127 h 1867037"/>
                  <a:gd name="connsiteX3736" fmla="*/ 1747792 w 2417513"/>
                  <a:gd name="connsiteY3736" fmla="*/ 147733 h 1867037"/>
                  <a:gd name="connsiteX3737" fmla="*/ 1755065 w 2417513"/>
                  <a:gd name="connsiteY3737" fmla="*/ 148945 h 1867037"/>
                  <a:gd name="connsiteX3738" fmla="*/ 1754762 w 2417513"/>
                  <a:gd name="connsiteY3738" fmla="*/ 149854 h 1867037"/>
                  <a:gd name="connsiteX3739" fmla="*/ 1746429 w 2417513"/>
                  <a:gd name="connsiteY3739" fmla="*/ 151218 h 1867037"/>
                  <a:gd name="connsiteX3740" fmla="*/ 1737337 w 2417513"/>
                  <a:gd name="connsiteY3740" fmla="*/ 151824 h 1867037"/>
                  <a:gd name="connsiteX3741" fmla="*/ 1713245 w 2417513"/>
                  <a:gd name="connsiteY3741" fmla="*/ 155006 h 1867037"/>
                  <a:gd name="connsiteX3742" fmla="*/ 1679305 w 2417513"/>
                  <a:gd name="connsiteY3742" fmla="*/ 163794 h 1867037"/>
                  <a:gd name="connsiteX3743" fmla="*/ 1678093 w 2417513"/>
                  <a:gd name="connsiteY3743" fmla="*/ 165309 h 1867037"/>
                  <a:gd name="connsiteX3744" fmla="*/ 1667789 w 2417513"/>
                  <a:gd name="connsiteY3744" fmla="*/ 171521 h 1867037"/>
                  <a:gd name="connsiteX3745" fmla="*/ 1642334 w 2417513"/>
                  <a:gd name="connsiteY3745" fmla="*/ 176825 h 1867037"/>
                  <a:gd name="connsiteX3746" fmla="*/ 1599756 w 2417513"/>
                  <a:gd name="connsiteY3746" fmla="*/ 181219 h 1867037"/>
                  <a:gd name="connsiteX3747" fmla="*/ 1592938 w 2417513"/>
                  <a:gd name="connsiteY3747" fmla="*/ 182582 h 1867037"/>
                  <a:gd name="connsiteX3748" fmla="*/ 1587332 w 2417513"/>
                  <a:gd name="connsiteY3748" fmla="*/ 184552 h 1867037"/>
                  <a:gd name="connsiteX3749" fmla="*/ 1588089 w 2417513"/>
                  <a:gd name="connsiteY3749" fmla="*/ 187431 h 1867037"/>
                  <a:gd name="connsiteX3750" fmla="*/ 1595817 w 2417513"/>
                  <a:gd name="connsiteY3750" fmla="*/ 193946 h 1867037"/>
                  <a:gd name="connsiteX3751" fmla="*/ 1605363 w 2417513"/>
                  <a:gd name="connsiteY3751" fmla="*/ 200765 h 1867037"/>
                  <a:gd name="connsiteX3752" fmla="*/ 1618242 w 2417513"/>
                  <a:gd name="connsiteY3752" fmla="*/ 207583 h 1867037"/>
                  <a:gd name="connsiteX3753" fmla="*/ 1624151 w 2417513"/>
                  <a:gd name="connsiteY3753" fmla="*/ 211826 h 1867037"/>
                  <a:gd name="connsiteX3754" fmla="*/ 1632030 w 2417513"/>
                  <a:gd name="connsiteY3754" fmla="*/ 218190 h 1867037"/>
                  <a:gd name="connsiteX3755" fmla="*/ 1636879 w 2417513"/>
                  <a:gd name="connsiteY3755" fmla="*/ 221523 h 1867037"/>
                  <a:gd name="connsiteX3756" fmla="*/ 1641425 w 2417513"/>
                  <a:gd name="connsiteY3756" fmla="*/ 224099 h 1867037"/>
                  <a:gd name="connsiteX3757" fmla="*/ 1649455 w 2417513"/>
                  <a:gd name="connsiteY3757" fmla="*/ 225160 h 1867037"/>
                  <a:gd name="connsiteX3758" fmla="*/ 1661122 w 2417513"/>
                  <a:gd name="connsiteY3758" fmla="*/ 224857 h 1867037"/>
                  <a:gd name="connsiteX3759" fmla="*/ 1665516 w 2417513"/>
                  <a:gd name="connsiteY3759" fmla="*/ 225463 h 1867037"/>
                  <a:gd name="connsiteX3760" fmla="*/ 1661577 w 2417513"/>
                  <a:gd name="connsiteY3760" fmla="*/ 227584 h 1867037"/>
                  <a:gd name="connsiteX3761" fmla="*/ 1655971 w 2417513"/>
                  <a:gd name="connsiteY3761" fmla="*/ 229402 h 1867037"/>
                  <a:gd name="connsiteX3762" fmla="*/ 1650667 w 2417513"/>
                  <a:gd name="connsiteY3762" fmla="*/ 229705 h 1867037"/>
                  <a:gd name="connsiteX3763" fmla="*/ 1640515 w 2417513"/>
                  <a:gd name="connsiteY3763" fmla="*/ 228948 h 1867037"/>
                  <a:gd name="connsiteX3764" fmla="*/ 1628848 w 2417513"/>
                  <a:gd name="connsiteY3764" fmla="*/ 226523 h 1867037"/>
                  <a:gd name="connsiteX3765" fmla="*/ 1622636 w 2417513"/>
                  <a:gd name="connsiteY3765" fmla="*/ 224554 h 1867037"/>
                  <a:gd name="connsiteX3766" fmla="*/ 1618090 w 2417513"/>
                  <a:gd name="connsiteY3766" fmla="*/ 222281 h 1867037"/>
                  <a:gd name="connsiteX3767" fmla="*/ 1612787 w 2417513"/>
                  <a:gd name="connsiteY3767" fmla="*/ 218493 h 1867037"/>
                  <a:gd name="connsiteX3768" fmla="*/ 1603847 w 2417513"/>
                  <a:gd name="connsiteY3768" fmla="*/ 210614 h 1867037"/>
                  <a:gd name="connsiteX3769" fmla="*/ 1595665 w 2417513"/>
                  <a:gd name="connsiteY3769" fmla="*/ 205311 h 1867037"/>
                  <a:gd name="connsiteX3770" fmla="*/ 1586726 w 2417513"/>
                  <a:gd name="connsiteY3770" fmla="*/ 201371 h 1867037"/>
                  <a:gd name="connsiteX3771" fmla="*/ 1577483 w 2417513"/>
                  <a:gd name="connsiteY3771" fmla="*/ 195613 h 1867037"/>
                  <a:gd name="connsiteX3772" fmla="*/ 1567028 w 2417513"/>
                  <a:gd name="connsiteY3772" fmla="*/ 190461 h 1867037"/>
                  <a:gd name="connsiteX3773" fmla="*/ 1557937 w 2417513"/>
                  <a:gd name="connsiteY3773" fmla="*/ 188340 h 1867037"/>
                  <a:gd name="connsiteX3774" fmla="*/ 1540966 w 2417513"/>
                  <a:gd name="connsiteY3774" fmla="*/ 187280 h 1867037"/>
                  <a:gd name="connsiteX3775" fmla="*/ 1527784 w 2417513"/>
                  <a:gd name="connsiteY3775" fmla="*/ 187734 h 1867037"/>
                  <a:gd name="connsiteX3776" fmla="*/ 1496419 w 2417513"/>
                  <a:gd name="connsiteY3776" fmla="*/ 184704 h 1867037"/>
                  <a:gd name="connsiteX3777" fmla="*/ 1491116 w 2417513"/>
                  <a:gd name="connsiteY3777" fmla="*/ 188492 h 1867037"/>
                  <a:gd name="connsiteX3778" fmla="*/ 1487934 w 2417513"/>
                  <a:gd name="connsiteY3778" fmla="*/ 196977 h 1867037"/>
                  <a:gd name="connsiteX3779" fmla="*/ 1491267 w 2417513"/>
                  <a:gd name="connsiteY3779" fmla="*/ 203644 h 1867037"/>
                  <a:gd name="connsiteX3780" fmla="*/ 1493237 w 2417513"/>
                  <a:gd name="connsiteY3780" fmla="*/ 214402 h 1867037"/>
                  <a:gd name="connsiteX3781" fmla="*/ 1500662 w 2417513"/>
                  <a:gd name="connsiteY3781" fmla="*/ 220766 h 1867037"/>
                  <a:gd name="connsiteX3782" fmla="*/ 1503844 w 2417513"/>
                  <a:gd name="connsiteY3782" fmla="*/ 222129 h 1867037"/>
                  <a:gd name="connsiteX3783" fmla="*/ 1519602 w 2417513"/>
                  <a:gd name="connsiteY3783" fmla="*/ 224099 h 1867037"/>
                  <a:gd name="connsiteX3784" fmla="*/ 1524754 w 2417513"/>
                  <a:gd name="connsiteY3784" fmla="*/ 225766 h 1867037"/>
                  <a:gd name="connsiteX3785" fmla="*/ 1529602 w 2417513"/>
                  <a:gd name="connsiteY3785" fmla="*/ 228948 h 1867037"/>
                  <a:gd name="connsiteX3786" fmla="*/ 1536572 w 2417513"/>
                  <a:gd name="connsiteY3786" fmla="*/ 236221 h 1867037"/>
                  <a:gd name="connsiteX3787" fmla="*/ 1545209 w 2417513"/>
                  <a:gd name="connsiteY3787" fmla="*/ 243494 h 1867037"/>
                  <a:gd name="connsiteX3788" fmla="*/ 1549148 w 2417513"/>
                  <a:gd name="connsiteY3788" fmla="*/ 248191 h 1867037"/>
                  <a:gd name="connsiteX3789" fmla="*/ 1554149 w 2417513"/>
                  <a:gd name="connsiteY3789" fmla="*/ 252888 h 1867037"/>
                  <a:gd name="connsiteX3790" fmla="*/ 1560209 w 2417513"/>
                  <a:gd name="connsiteY3790" fmla="*/ 256676 h 1867037"/>
                  <a:gd name="connsiteX3791" fmla="*/ 1568846 w 2417513"/>
                  <a:gd name="connsiteY3791" fmla="*/ 261070 h 1867037"/>
                  <a:gd name="connsiteX3792" fmla="*/ 1571270 w 2417513"/>
                  <a:gd name="connsiteY3792" fmla="*/ 263343 h 1867037"/>
                  <a:gd name="connsiteX3793" fmla="*/ 1564452 w 2417513"/>
                  <a:gd name="connsiteY3793" fmla="*/ 263040 h 1867037"/>
                  <a:gd name="connsiteX3794" fmla="*/ 1558240 w 2417513"/>
                  <a:gd name="connsiteY3794" fmla="*/ 260616 h 1867037"/>
                  <a:gd name="connsiteX3795" fmla="*/ 1552633 w 2417513"/>
                  <a:gd name="connsiteY3795" fmla="*/ 259252 h 1867037"/>
                  <a:gd name="connsiteX3796" fmla="*/ 1549148 w 2417513"/>
                  <a:gd name="connsiteY3796" fmla="*/ 259403 h 1867037"/>
                  <a:gd name="connsiteX3797" fmla="*/ 1545209 w 2417513"/>
                  <a:gd name="connsiteY3797" fmla="*/ 260464 h 1867037"/>
                  <a:gd name="connsiteX3798" fmla="*/ 1544148 w 2417513"/>
                  <a:gd name="connsiteY3798" fmla="*/ 262282 h 1867037"/>
                  <a:gd name="connsiteX3799" fmla="*/ 1546118 w 2417513"/>
                  <a:gd name="connsiteY3799" fmla="*/ 264858 h 1867037"/>
                  <a:gd name="connsiteX3800" fmla="*/ 1548391 w 2417513"/>
                  <a:gd name="connsiteY3800" fmla="*/ 266828 h 1867037"/>
                  <a:gd name="connsiteX3801" fmla="*/ 1550967 w 2417513"/>
                  <a:gd name="connsiteY3801" fmla="*/ 268192 h 1867037"/>
                  <a:gd name="connsiteX3802" fmla="*/ 1555664 w 2417513"/>
                  <a:gd name="connsiteY3802" fmla="*/ 269101 h 1867037"/>
                  <a:gd name="connsiteX3803" fmla="*/ 1565664 w 2417513"/>
                  <a:gd name="connsiteY3803" fmla="*/ 270010 h 1867037"/>
                  <a:gd name="connsiteX3804" fmla="*/ 1585362 w 2417513"/>
                  <a:gd name="connsiteY3804" fmla="*/ 270313 h 1867037"/>
                  <a:gd name="connsiteX3805" fmla="*/ 1596726 w 2417513"/>
                  <a:gd name="connsiteY3805" fmla="*/ 272283 h 1867037"/>
                  <a:gd name="connsiteX3806" fmla="*/ 1602332 w 2417513"/>
                  <a:gd name="connsiteY3806" fmla="*/ 272586 h 1867037"/>
                  <a:gd name="connsiteX3807" fmla="*/ 1607787 w 2417513"/>
                  <a:gd name="connsiteY3807" fmla="*/ 271374 h 1867037"/>
                  <a:gd name="connsiteX3808" fmla="*/ 1613545 w 2417513"/>
                  <a:gd name="connsiteY3808" fmla="*/ 269101 h 1867037"/>
                  <a:gd name="connsiteX3809" fmla="*/ 1617333 w 2417513"/>
                  <a:gd name="connsiteY3809" fmla="*/ 268343 h 1867037"/>
                  <a:gd name="connsiteX3810" fmla="*/ 1621121 w 2417513"/>
                  <a:gd name="connsiteY3810" fmla="*/ 268343 h 1867037"/>
                  <a:gd name="connsiteX3811" fmla="*/ 1620212 w 2417513"/>
                  <a:gd name="connsiteY3811" fmla="*/ 269858 h 1867037"/>
                  <a:gd name="connsiteX3812" fmla="*/ 1614757 w 2417513"/>
                  <a:gd name="connsiteY3812" fmla="*/ 273040 h 1867037"/>
                  <a:gd name="connsiteX3813" fmla="*/ 1610060 w 2417513"/>
                  <a:gd name="connsiteY3813" fmla="*/ 275162 h 1867037"/>
                  <a:gd name="connsiteX3814" fmla="*/ 1606272 w 2417513"/>
                  <a:gd name="connsiteY3814" fmla="*/ 276222 h 1867037"/>
                  <a:gd name="connsiteX3815" fmla="*/ 1602181 w 2417513"/>
                  <a:gd name="connsiteY3815" fmla="*/ 276677 h 1867037"/>
                  <a:gd name="connsiteX3816" fmla="*/ 1587180 w 2417513"/>
                  <a:gd name="connsiteY3816" fmla="*/ 276525 h 1867037"/>
                  <a:gd name="connsiteX3817" fmla="*/ 1582937 w 2417513"/>
                  <a:gd name="connsiteY3817" fmla="*/ 278798 h 1867037"/>
                  <a:gd name="connsiteX3818" fmla="*/ 1579604 w 2417513"/>
                  <a:gd name="connsiteY3818" fmla="*/ 281071 h 1867037"/>
                  <a:gd name="connsiteX3819" fmla="*/ 1576422 w 2417513"/>
                  <a:gd name="connsiteY3819" fmla="*/ 280465 h 1867037"/>
                  <a:gd name="connsiteX3820" fmla="*/ 1572028 w 2417513"/>
                  <a:gd name="connsiteY3820" fmla="*/ 278950 h 1867037"/>
                  <a:gd name="connsiteX3821" fmla="*/ 1562179 w 2417513"/>
                  <a:gd name="connsiteY3821" fmla="*/ 276828 h 1867037"/>
                  <a:gd name="connsiteX3822" fmla="*/ 1538087 w 2417513"/>
                  <a:gd name="connsiteY3822" fmla="*/ 274101 h 1867037"/>
                  <a:gd name="connsiteX3823" fmla="*/ 1532178 w 2417513"/>
                  <a:gd name="connsiteY3823" fmla="*/ 272434 h 1867037"/>
                  <a:gd name="connsiteX3824" fmla="*/ 1525966 w 2417513"/>
                  <a:gd name="connsiteY3824" fmla="*/ 273040 h 1867037"/>
                  <a:gd name="connsiteX3825" fmla="*/ 1513390 w 2417513"/>
                  <a:gd name="connsiteY3825" fmla="*/ 276525 h 1867037"/>
                  <a:gd name="connsiteX3826" fmla="*/ 1498389 w 2417513"/>
                  <a:gd name="connsiteY3826" fmla="*/ 277737 h 1867037"/>
                  <a:gd name="connsiteX3827" fmla="*/ 1482934 w 2417513"/>
                  <a:gd name="connsiteY3827" fmla="*/ 280768 h 1867037"/>
                  <a:gd name="connsiteX3828" fmla="*/ 1478994 w 2417513"/>
                  <a:gd name="connsiteY3828" fmla="*/ 287435 h 1867037"/>
                  <a:gd name="connsiteX3829" fmla="*/ 1473237 w 2417513"/>
                  <a:gd name="connsiteY3829" fmla="*/ 293799 h 1867037"/>
                  <a:gd name="connsiteX3830" fmla="*/ 1467782 w 2417513"/>
                  <a:gd name="connsiteY3830" fmla="*/ 298496 h 1867037"/>
                  <a:gd name="connsiteX3831" fmla="*/ 1464297 w 2417513"/>
                  <a:gd name="connsiteY3831" fmla="*/ 302132 h 1867037"/>
                  <a:gd name="connsiteX3832" fmla="*/ 1464297 w 2417513"/>
                  <a:gd name="connsiteY3832" fmla="*/ 310011 h 1867037"/>
                  <a:gd name="connsiteX3833" fmla="*/ 1462630 w 2417513"/>
                  <a:gd name="connsiteY3833" fmla="*/ 316375 h 1867037"/>
                  <a:gd name="connsiteX3834" fmla="*/ 1468388 w 2417513"/>
                  <a:gd name="connsiteY3834" fmla="*/ 318951 h 1867037"/>
                  <a:gd name="connsiteX3835" fmla="*/ 1480055 w 2417513"/>
                  <a:gd name="connsiteY3835" fmla="*/ 319254 h 1867037"/>
                  <a:gd name="connsiteX3836" fmla="*/ 1486116 w 2417513"/>
                  <a:gd name="connsiteY3836" fmla="*/ 317739 h 1867037"/>
                  <a:gd name="connsiteX3837" fmla="*/ 1493389 w 2417513"/>
                  <a:gd name="connsiteY3837" fmla="*/ 315012 h 1867037"/>
                  <a:gd name="connsiteX3838" fmla="*/ 1503086 w 2417513"/>
                  <a:gd name="connsiteY3838" fmla="*/ 309708 h 1867037"/>
                  <a:gd name="connsiteX3839" fmla="*/ 1507177 w 2417513"/>
                  <a:gd name="connsiteY3839" fmla="*/ 306223 h 1867037"/>
                  <a:gd name="connsiteX3840" fmla="*/ 1503238 w 2417513"/>
                  <a:gd name="connsiteY3840" fmla="*/ 315466 h 1867037"/>
                  <a:gd name="connsiteX3841" fmla="*/ 1498995 w 2417513"/>
                  <a:gd name="connsiteY3841" fmla="*/ 321830 h 1867037"/>
                  <a:gd name="connsiteX3842" fmla="*/ 1516268 w 2417513"/>
                  <a:gd name="connsiteY3842" fmla="*/ 320163 h 1867037"/>
                  <a:gd name="connsiteX3843" fmla="*/ 1520814 w 2417513"/>
                  <a:gd name="connsiteY3843" fmla="*/ 318193 h 1867037"/>
                  <a:gd name="connsiteX3844" fmla="*/ 1524905 w 2417513"/>
                  <a:gd name="connsiteY3844" fmla="*/ 314860 h 1867037"/>
                  <a:gd name="connsiteX3845" fmla="*/ 1531572 w 2417513"/>
                  <a:gd name="connsiteY3845" fmla="*/ 308193 h 1867037"/>
                  <a:gd name="connsiteX3846" fmla="*/ 1538239 w 2417513"/>
                  <a:gd name="connsiteY3846" fmla="*/ 295314 h 1867037"/>
                  <a:gd name="connsiteX3847" fmla="*/ 1534754 w 2417513"/>
                  <a:gd name="connsiteY3847" fmla="*/ 312587 h 1867037"/>
                  <a:gd name="connsiteX3848" fmla="*/ 1544603 w 2417513"/>
                  <a:gd name="connsiteY3848" fmla="*/ 311830 h 1867037"/>
                  <a:gd name="connsiteX3849" fmla="*/ 1548997 w 2417513"/>
                  <a:gd name="connsiteY3849" fmla="*/ 314557 h 1867037"/>
                  <a:gd name="connsiteX3850" fmla="*/ 1553542 w 2417513"/>
                  <a:gd name="connsiteY3850" fmla="*/ 316375 h 1867037"/>
                  <a:gd name="connsiteX3851" fmla="*/ 1545360 w 2417513"/>
                  <a:gd name="connsiteY3851" fmla="*/ 315163 h 1867037"/>
                  <a:gd name="connsiteX3852" fmla="*/ 1542936 w 2417513"/>
                  <a:gd name="connsiteY3852" fmla="*/ 315315 h 1867037"/>
                  <a:gd name="connsiteX3853" fmla="*/ 1531572 w 2417513"/>
                  <a:gd name="connsiteY3853" fmla="*/ 323345 h 1867037"/>
                  <a:gd name="connsiteX3854" fmla="*/ 1525208 w 2417513"/>
                  <a:gd name="connsiteY3854" fmla="*/ 326376 h 1867037"/>
                  <a:gd name="connsiteX3855" fmla="*/ 1517481 w 2417513"/>
                  <a:gd name="connsiteY3855" fmla="*/ 331224 h 1867037"/>
                  <a:gd name="connsiteX3856" fmla="*/ 1524450 w 2417513"/>
                  <a:gd name="connsiteY3856" fmla="*/ 340922 h 1867037"/>
                  <a:gd name="connsiteX3857" fmla="*/ 1524450 w 2417513"/>
                  <a:gd name="connsiteY3857" fmla="*/ 352892 h 1867037"/>
                  <a:gd name="connsiteX3858" fmla="*/ 1529905 w 2417513"/>
                  <a:gd name="connsiteY3858" fmla="*/ 355468 h 1867037"/>
                  <a:gd name="connsiteX3859" fmla="*/ 1536118 w 2417513"/>
                  <a:gd name="connsiteY3859" fmla="*/ 356377 h 1867037"/>
                  <a:gd name="connsiteX3860" fmla="*/ 1546421 w 2417513"/>
                  <a:gd name="connsiteY3860" fmla="*/ 352740 h 1867037"/>
                  <a:gd name="connsiteX3861" fmla="*/ 1555058 w 2417513"/>
                  <a:gd name="connsiteY3861" fmla="*/ 355013 h 1867037"/>
                  <a:gd name="connsiteX3862" fmla="*/ 1561573 w 2417513"/>
                  <a:gd name="connsiteY3862" fmla="*/ 355316 h 1867037"/>
                  <a:gd name="connsiteX3863" fmla="*/ 1565664 w 2417513"/>
                  <a:gd name="connsiteY3863" fmla="*/ 354407 h 1867037"/>
                  <a:gd name="connsiteX3864" fmla="*/ 1575210 w 2417513"/>
                  <a:gd name="connsiteY3864" fmla="*/ 349255 h 1867037"/>
                  <a:gd name="connsiteX3865" fmla="*/ 1578543 w 2417513"/>
                  <a:gd name="connsiteY3865" fmla="*/ 346225 h 1867037"/>
                  <a:gd name="connsiteX3866" fmla="*/ 1594908 w 2417513"/>
                  <a:gd name="connsiteY3866" fmla="*/ 329254 h 1867037"/>
                  <a:gd name="connsiteX3867" fmla="*/ 1597938 w 2417513"/>
                  <a:gd name="connsiteY3867" fmla="*/ 327436 h 1867037"/>
                  <a:gd name="connsiteX3868" fmla="*/ 1597029 w 2417513"/>
                  <a:gd name="connsiteY3868" fmla="*/ 330770 h 1867037"/>
                  <a:gd name="connsiteX3869" fmla="*/ 1595968 w 2417513"/>
                  <a:gd name="connsiteY3869" fmla="*/ 333649 h 1867037"/>
                  <a:gd name="connsiteX3870" fmla="*/ 1594756 w 2417513"/>
                  <a:gd name="connsiteY3870" fmla="*/ 335921 h 1867037"/>
                  <a:gd name="connsiteX3871" fmla="*/ 1589453 w 2417513"/>
                  <a:gd name="connsiteY3871" fmla="*/ 342740 h 1867037"/>
                  <a:gd name="connsiteX3872" fmla="*/ 1579907 w 2417513"/>
                  <a:gd name="connsiteY3872" fmla="*/ 351376 h 1867037"/>
                  <a:gd name="connsiteX3873" fmla="*/ 1573695 w 2417513"/>
                  <a:gd name="connsiteY3873" fmla="*/ 355619 h 1867037"/>
                  <a:gd name="connsiteX3874" fmla="*/ 1571725 w 2417513"/>
                  <a:gd name="connsiteY3874" fmla="*/ 357437 h 1867037"/>
                  <a:gd name="connsiteX3875" fmla="*/ 1570058 w 2417513"/>
                  <a:gd name="connsiteY3875" fmla="*/ 359862 h 1867037"/>
                  <a:gd name="connsiteX3876" fmla="*/ 1567028 w 2417513"/>
                  <a:gd name="connsiteY3876" fmla="*/ 361528 h 1867037"/>
                  <a:gd name="connsiteX3877" fmla="*/ 1560058 w 2417513"/>
                  <a:gd name="connsiteY3877" fmla="*/ 362892 h 1867037"/>
                  <a:gd name="connsiteX3878" fmla="*/ 1545966 w 2417513"/>
                  <a:gd name="connsiteY3878" fmla="*/ 364256 h 1867037"/>
                  <a:gd name="connsiteX3879" fmla="*/ 1539148 w 2417513"/>
                  <a:gd name="connsiteY3879" fmla="*/ 364710 h 1867037"/>
                  <a:gd name="connsiteX3880" fmla="*/ 1533390 w 2417513"/>
                  <a:gd name="connsiteY3880" fmla="*/ 363953 h 1867037"/>
                  <a:gd name="connsiteX3881" fmla="*/ 1515965 w 2417513"/>
                  <a:gd name="connsiteY3881" fmla="*/ 358952 h 1867037"/>
                  <a:gd name="connsiteX3882" fmla="*/ 1512026 w 2417513"/>
                  <a:gd name="connsiteY3882" fmla="*/ 356225 h 1867037"/>
                  <a:gd name="connsiteX3883" fmla="*/ 1507177 w 2417513"/>
                  <a:gd name="connsiteY3883" fmla="*/ 350013 h 1867037"/>
                  <a:gd name="connsiteX3884" fmla="*/ 1499904 w 2417513"/>
                  <a:gd name="connsiteY3884" fmla="*/ 342285 h 1867037"/>
                  <a:gd name="connsiteX3885" fmla="*/ 1494146 w 2417513"/>
                  <a:gd name="connsiteY3885" fmla="*/ 338649 h 1867037"/>
                  <a:gd name="connsiteX3886" fmla="*/ 1483994 w 2417513"/>
                  <a:gd name="connsiteY3886" fmla="*/ 335467 h 1867037"/>
                  <a:gd name="connsiteX3887" fmla="*/ 1476873 w 2417513"/>
                  <a:gd name="connsiteY3887" fmla="*/ 333800 h 1867037"/>
                  <a:gd name="connsiteX3888" fmla="*/ 1470964 w 2417513"/>
                  <a:gd name="connsiteY3888" fmla="*/ 333800 h 1867037"/>
                  <a:gd name="connsiteX3889" fmla="*/ 1463842 w 2417513"/>
                  <a:gd name="connsiteY3889" fmla="*/ 335012 h 1867037"/>
                  <a:gd name="connsiteX3890" fmla="*/ 1456721 w 2417513"/>
                  <a:gd name="connsiteY3890" fmla="*/ 337134 h 1867037"/>
                  <a:gd name="connsiteX3891" fmla="*/ 1449599 w 2417513"/>
                  <a:gd name="connsiteY3891" fmla="*/ 340164 h 1867037"/>
                  <a:gd name="connsiteX3892" fmla="*/ 1447478 w 2417513"/>
                  <a:gd name="connsiteY3892" fmla="*/ 343952 h 1867037"/>
                  <a:gd name="connsiteX3893" fmla="*/ 1451720 w 2417513"/>
                  <a:gd name="connsiteY3893" fmla="*/ 350922 h 1867037"/>
                  <a:gd name="connsiteX3894" fmla="*/ 1455963 w 2417513"/>
                  <a:gd name="connsiteY3894" fmla="*/ 357134 h 1867037"/>
                  <a:gd name="connsiteX3895" fmla="*/ 1458691 w 2417513"/>
                  <a:gd name="connsiteY3895" fmla="*/ 360468 h 1867037"/>
                  <a:gd name="connsiteX3896" fmla="*/ 1461266 w 2417513"/>
                  <a:gd name="connsiteY3896" fmla="*/ 362892 h 1867037"/>
                  <a:gd name="connsiteX3897" fmla="*/ 1465661 w 2417513"/>
                  <a:gd name="connsiteY3897" fmla="*/ 365619 h 1867037"/>
                  <a:gd name="connsiteX3898" fmla="*/ 1470206 w 2417513"/>
                  <a:gd name="connsiteY3898" fmla="*/ 365922 h 1867037"/>
                  <a:gd name="connsiteX3899" fmla="*/ 1472479 w 2417513"/>
                  <a:gd name="connsiteY3899" fmla="*/ 366529 h 1867037"/>
                  <a:gd name="connsiteX3900" fmla="*/ 1474752 w 2417513"/>
                  <a:gd name="connsiteY3900" fmla="*/ 367892 h 1867037"/>
                  <a:gd name="connsiteX3901" fmla="*/ 1480964 w 2417513"/>
                  <a:gd name="connsiteY3901" fmla="*/ 374105 h 1867037"/>
                  <a:gd name="connsiteX3902" fmla="*/ 1482631 w 2417513"/>
                  <a:gd name="connsiteY3902" fmla="*/ 375014 h 1867037"/>
                  <a:gd name="connsiteX3903" fmla="*/ 1481570 w 2417513"/>
                  <a:gd name="connsiteY3903" fmla="*/ 375620 h 1867037"/>
                  <a:gd name="connsiteX3904" fmla="*/ 1475812 w 2417513"/>
                  <a:gd name="connsiteY3904" fmla="*/ 376074 h 1867037"/>
                  <a:gd name="connsiteX3905" fmla="*/ 1467630 w 2417513"/>
                  <a:gd name="connsiteY3905" fmla="*/ 377741 h 1867037"/>
                  <a:gd name="connsiteX3906" fmla="*/ 1460812 w 2417513"/>
                  <a:gd name="connsiteY3906" fmla="*/ 378347 h 1867037"/>
                  <a:gd name="connsiteX3907" fmla="*/ 1454902 w 2417513"/>
                  <a:gd name="connsiteY3907" fmla="*/ 377741 h 1867037"/>
                  <a:gd name="connsiteX3908" fmla="*/ 1446114 w 2417513"/>
                  <a:gd name="connsiteY3908" fmla="*/ 378499 h 1867037"/>
                  <a:gd name="connsiteX3909" fmla="*/ 1439296 w 2417513"/>
                  <a:gd name="connsiteY3909" fmla="*/ 379711 h 1867037"/>
                  <a:gd name="connsiteX3910" fmla="*/ 1434902 w 2417513"/>
                  <a:gd name="connsiteY3910" fmla="*/ 381529 h 1867037"/>
                  <a:gd name="connsiteX3911" fmla="*/ 1428992 w 2417513"/>
                  <a:gd name="connsiteY3911" fmla="*/ 386075 h 1867037"/>
                  <a:gd name="connsiteX3912" fmla="*/ 1408992 w 2417513"/>
                  <a:gd name="connsiteY3912" fmla="*/ 395620 h 1867037"/>
                  <a:gd name="connsiteX3913" fmla="*/ 1407780 w 2417513"/>
                  <a:gd name="connsiteY3913" fmla="*/ 405166 h 1867037"/>
                  <a:gd name="connsiteX3914" fmla="*/ 1407022 w 2417513"/>
                  <a:gd name="connsiteY3914" fmla="*/ 414712 h 1867037"/>
                  <a:gd name="connsiteX3915" fmla="*/ 1412477 w 2417513"/>
                  <a:gd name="connsiteY3915" fmla="*/ 415773 h 1867037"/>
                  <a:gd name="connsiteX3916" fmla="*/ 1427932 w 2417513"/>
                  <a:gd name="connsiteY3916" fmla="*/ 416833 h 1867037"/>
                  <a:gd name="connsiteX3917" fmla="*/ 1435053 w 2417513"/>
                  <a:gd name="connsiteY3917" fmla="*/ 418803 h 1867037"/>
                  <a:gd name="connsiteX3918" fmla="*/ 1434599 w 2417513"/>
                  <a:gd name="connsiteY3918" fmla="*/ 411530 h 1867037"/>
                  <a:gd name="connsiteX3919" fmla="*/ 1433235 w 2417513"/>
                  <a:gd name="connsiteY3919" fmla="*/ 405621 h 1867037"/>
                  <a:gd name="connsiteX3920" fmla="*/ 1436417 w 2417513"/>
                  <a:gd name="connsiteY3920" fmla="*/ 398651 h 1867037"/>
                  <a:gd name="connsiteX3921" fmla="*/ 1436871 w 2417513"/>
                  <a:gd name="connsiteY3921" fmla="*/ 409712 h 1867037"/>
                  <a:gd name="connsiteX3922" fmla="*/ 1439144 w 2417513"/>
                  <a:gd name="connsiteY3922" fmla="*/ 419712 h 1867037"/>
                  <a:gd name="connsiteX3923" fmla="*/ 1447175 w 2417513"/>
                  <a:gd name="connsiteY3923" fmla="*/ 419258 h 1867037"/>
                  <a:gd name="connsiteX3924" fmla="*/ 1463842 w 2417513"/>
                  <a:gd name="connsiteY3924" fmla="*/ 420773 h 1867037"/>
                  <a:gd name="connsiteX3925" fmla="*/ 1463994 w 2417513"/>
                  <a:gd name="connsiteY3925" fmla="*/ 409409 h 1867037"/>
                  <a:gd name="connsiteX3926" fmla="*/ 1467630 w 2417513"/>
                  <a:gd name="connsiteY3926" fmla="*/ 417288 h 1867037"/>
                  <a:gd name="connsiteX3927" fmla="*/ 1477934 w 2417513"/>
                  <a:gd name="connsiteY3927" fmla="*/ 419258 h 1867037"/>
                  <a:gd name="connsiteX3928" fmla="*/ 1486116 w 2417513"/>
                  <a:gd name="connsiteY3928" fmla="*/ 421379 h 1867037"/>
                  <a:gd name="connsiteX3929" fmla="*/ 1489298 w 2417513"/>
                  <a:gd name="connsiteY3929" fmla="*/ 413348 h 1867037"/>
                  <a:gd name="connsiteX3930" fmla="*/ 1492328 w 2417513"/>
                  <a:gd name="connsiteY3930" fmla="*/ 409409 h 1867037"/>
                  <a:gd name="connsiteX3931" fmla="*/ 1493237 w 2417513"/>
                  <a:gd name="connsiteY3931" fmla="*/ 409712 h 1867037"/>
                  <a:gd name="connsiteX3932" fmla="*/ 1494601 w 2417513"/>
                  <a:gd name="connsiteY3932" fmla="*/ 411530 h 1867037"/>
                  <a:gd name="connsiteX3933" fmla="*/ 1496571 w 2417513"/>
                  <a:gd name="connsiteY3933" fmla="*/ 414712 h 1867037"/>
                  <a:gd name="connsiteX3934" fmla="*/ 1501571 w 2417513"/>
                  <a:gd name="connsiteY3934" fmla="*/ 417894 h 1867037"/>
                  <a:gd name="connsiteX3935" fmla="*/ 1513541 w 2417513"/>
                  <a:gd name="connsiteY3935" fmla="*/ 422743 h 1867037"/>
                  <a:gd name="connsiteX3936" fmla="*/ 1522784 w 2417513"/>
                  <a:gd name="connsiteY3936" fmla="*/ 424712 h 1867037"/>
                  <a:gd name="connsiteX3937" fmla="*/ 1528390 w 2417513"/>
                  <a:gd name="connsiteY3937" fmla="*/ 425167 h 1867037"/>
                  <a:gd name="connsiteX3938" fmla="*/ 1552027 w 2417513"/>
                  <a:gd name="connsiteY3938" fmla="*/ 422288 h 1867037"/>
                  <a:gd name="connsiteX3939" fmla="*/ 1553391 w 2417513"/>
                  <a:gd name="connsiteY3939" fmla="*/ 404106 h 1867037"/>
                  <a:gd name="connsiteX3940" fmla="*/ 1559906 w 2417513"/>
                  <a:gd name="connsiteY3940" fmla="*/ 414409 h 1867037"/>
                  <a:gd name="connsiteX3941" fmla="*/ 1562634 w 2417513"/>
                  <a:gd name="connsiteY3941" fmla="*/ 416833 h 1867037"/>
                  <a:gd name="connsiteX3942" fmla="*/ 1576271 w 2417513"/>
                  <a:gd name="connsiteY3942" fmla="*/ 417591 h 1867037"/>
                  <a:gd name="connsiteX3943" fmla="*/ 1607939 w 2417513"/>
                  <a:gd name="connsiteY3943" fmla="*/ 416076 h 1867037"/>
                  <a:gd name="connsiteX3944" fmla="*/ 1608545 w 2417513"/>
                  <a:gd name="connsiteY3944" fmla="*/ 413348 h 1867037"/>
                  <a:gd name="connsiteX3945" fmla="*/ 1607029 w 2417513"/>
                  <a:gd name="connsiteY3945" fmla="*/ 409863 h 1867037"/>
                  <a:gd name="connsiteX3946" fmla="*/ 1604453 w 2417513"/>
                  <a:gd name="connsiteY3946" fmla="*/ 406378 h 1867037"/>
                  <a:gd name="connsiteX3947" fmla="*/ 1600969 w 2417513"/>
                  <a:gd name="connsiteY3947" fmla="*/ 402590 h 1867037"/>
                  <a:gd name="connsiteX3948" fmla="*/ 1599908 w 2417513"/>
                  <a:gd name="connsiteY3948" fmla="*/ 401075 h 1867037"/>
                  <a:gd name="connsiteX3949" fmla="*/ 1603696 w 2417513"/>
                  <a:gd name="connsiteY3949" fmla="*/ 403045 h 1867037"/>
                  <a:gd name="connsiteX3950" fmla="*/ 1605969 w 2417513"/>
                  <a:gd name="connsiteY3950" fmla="*/ 405015 h 1867037"/>
                  <a:gd name="connsiteX3951" fmla="*/ 1608545 w 2417513"/>
                  <a:gd name="connsiteY3951" fmla="*/ 405924 h 1867037"/>
                  <a:gd name="connsiteX3952" fmla="*/ 1611423 w 2417513"/>
                  <a:gd name="connsiteY3952" fmla="*/ 405772 h 1867037"/>
                  <a:gd name="connsiteX3953" fmla="*/ 1613545 w 2417513"/>
                  <a:gd name="connsiteY3953" fmla="*/ 406530 h 1867037"/>
                  <a:gd name="connsiteX3954" fmla="*/ 1619303 w 2417513"/>
                  <a:gd name="connsiteY3954" fmla="*/ 412742 h 1867037"/>
                  <a:gd name="connsiteX3955" fmla="*/ 1622181 w 2417513"/>
                  <a:gd name="connsiteY3955" fmla="*/ 414258 h 1867037"/>
                  <a:gd name="connsiteX3956" fmla="*/ 1625666 w 2417513"/>
                  <a:gd name="connsiteY3956" fmla="*/ 414864 h 1867037"/>
                  <a:gd name="connsiteX3957" fmla="*/ 1628848 w 2417513"/>
                  <a:gd name="connsiteY3957" fmla="*/ 414712 h 1867037"/>
                  <a:gd name="connsiteX3958" fmla="*/ 1631879 w 2417513"/>
                  <a:gd name="connsiteY3958" fmla="*/ 413803 h 1867037"/>
                  <a:gd name="connsiteX3959" fmla="*/ 1637182 w 2417513"/>
                  <a:gd name="connsiteY3959" fmla="*/ 413348 h 1867037"/>
                  <a:gd name="connsiteX3960" fmla="*/ 1639758 w 2417513"/>
                  <a:gd name="connsiteY3960" fmla="*/ 414106 h 1867037"/>
                  <a:gd name="connsiteX3961" fmla="*/ 1642485 w 2417513"/>
                  <a:gd name="connsiteY3961" fmla="*/ 415773 h 1867037"/>
                  <a:gd name="connsiteX3962" fmla="*/ 1646425 w 2417513"/>
                  <a:gd name="connsiteY3962" fmla="*/ 419258 h 1867037"/>
                  <a:gd name="connsiteX3963" fmla="*/ 1646425 w 2417513"/>
                  <a:gd name="connsiteY3963" fmla="*/ 421531 h 1867037"/>
                  <a:gd name="connsiteX3964" fmla="*/ 1644607 w 2417513"/>
                  <a:gd name="connsiteY3964" fmla="*/ 424258 h 1867037"/>
                  <a:gd name="connsiteX3965" fmla="*/ 1643091 w 2417513"/>
                  <a:gd name="connsiteY3965" fmla="*/ 427137 h 1867037"/>
                  <a:gd name="connsiteX3966" fmla="*/ 1642031 w 2417513"/>
                  <a:gd name="connsiteY3966" fmla="*/ 430319 h 1867037"/>
                  <a:gd name="connsiteX3967" fmla="*/ 1642940 w 2417513"/>
                  <a:gd name="connsiteY3967" fmla="*/ 432137 h 1867037"/>
                  <a:gd name="connsiteX3968" fmla="*/ 1647334 w 2417513"/>
                  <a:gd name="connsiteY3968" fmla="*/ 432743 h 1867037"/>
                  <a:gd name="connsiteX3969" fmla="*/ 1650364 w 2417513"/>
                  <a:gd name="connsiteY3969" fmla="*/ 432592 h 1867037"/>
                  <a:gd name="connsiteX3970" fmla="*/ 1664153 w 2417513"/>
                  <a:gd name="connsiteY3970" fmla="*/ 428955 h 1867037"/>
                  <a:gd name="connsiteX3971" fmla="*/ 1670516 w 2417513"/>
                  <a:gd name="connsiteY3971" fmla="*/ 428349 h 1867037"/>
                  <a:gd name="connsiteX3972" fmla="*/ 1682638 w 2417513"/>
                  <a:gd name="connsiteY3972" fmla="*/ 425016 h 1867037"/>
                  <a:gd name="connsiteX3973" fmla="*/ 1688851 w 2417513"/>
                  <a:gd name="connsiteY3973" fmla="*/ 422440 h 1867037"/>
                  <a:gd name="connsiteX3974" fmla="*/ 1693093 w 2417513"/>
                  <a:gd name="connsiteY3974" fmla="*/ 419712 h 1867037"/>
                  <a:gd name="connsiteX3975" fmla="*/ 1698396 w 2417513"/>
                  <a:gd name="connsiteY3975" fmla="*/ 416985 h 1867037"/>
                  <a:gd name="connsiteX3976" fmla="*/ 1716124 w 2417513"/>
                  <a:gd name="connsiteY3976" fmla="*/ 410166 h 1867037"/>
                  <a:gd name="connsiteX3977" fmla="*/ 1720670 w 2417513"/>
                  <a:gd name="connsiteY3977" fmla="*/ 406075 h 1867037"/>
                  <a:gd name="connsiteX3978" fmla="*/ 1724306 w 2417513"/>
                  <a:gd name="connsiteY3978" fmla="*/ 399712 h 1867037"/>
                  <a:gd name="connsiteX3979" fmla="*/ 1723852 w 2417513"/>
                  <a:gd name="connsiteY3979" fmla="*/ 394105 h 1867037"/>
                  <a:gd name="connsiteX3980" fmla="*/ 1719306 w 2417513"/>
                  <a:gd name="connsiteY3980" fmla="*/ 389257 h 1867037"/>
                  <a:gd name="connsiteX3981" fmla="*/ 1715973 w 2417513"/>
                  <a:gd name="connsiteY3981" fmla="*/ 386832 h 1867037"/>
                  <a:gd name="connsiteX3982" fmla="*/ 1713700 w 2417513"/>
                  <a:gd name="connsiteY3982" fmla="*/ 386681 h 1867037"/>
                  <a:gd name="connsiteX3983" fmla="*/ 1711276 w 2417513"/>
                  <a:gd name="connsiteY3983" fmla="*/ 387438 h 1867037"/>
                  <a:gd name="connsiteX3984" fmla="*/ 1705669 w 2417513"/>
                  <a:gd name="connsiteY3984" fmla="*/ 390923 h 1867037"/>
                  <a:gd name="connsiteX3985" fmla="*/ 1702033 w 2417513"/>
                  <a:gd name="connsiteY3985" fmla="*/ 392287 h 1867037"/>
                  <a:gd name="connsiteX3986" fmla="*/ 1696881 w 2417513"/>
                  <a:gd name="connsiteY3986" fmla="*/ 391681 h 1867037"/>
                  <a:gd name="connsiteX3987" fmla="*/ 1690214 w 2417513"/>
                  <a:gd name="connsiteY3987" fmla="*/ 389257 h 1867037"/>
                  <a:gd name="connsiteX3988" fmla="*/ 1687487 w 2417513"/>
                  <a:gd name="connsiteY3988" fmla="*/ 386681 h 1867037"/>
                  <a:gd name="connsiteX3989" fmla="*/ 1688699 w 2417513"/>
                  <a:gd name="connsiteY3989" fmla="*/ 384105 h 1867037"/>
                  <a:gd name="connsiteX3990" fmla="*/ 1688547 w 2417513"/>
                  <a:gd name="connsiteY3990" fmla="*/ 380620 h 1867037"/>
                  <a:gd name="connsiteX3991" fmla="*/ 1686881 w 2417513"/>
                  <a:gd name="connsiteY3991" fmla="*/ 376377 h 1867037"/>
                  <a:gd name="connsiteX3992" fmla="*/ 1682638 w 2417513"/>
                  <a:gd name="connsiteY3992" fmla="*/ 374256 h 1867037"/>
                  <a:gd name="connsiteX3993" fmla="*/ 1670971 w 2417513"/>
                  <a:gd name="connsiteY3993" fmla="*/ 374408 h 1867037"/>
                  <a:gd name="connsiteX3994" fmla="*/ 1662940 w 2417513"/>
                  <a:gd name="connsiteY3994" fmla="*/ 377135 h 1867037"/>
                  <a:gd name="connsiteX3995" fmla="*/ 1661425 w 2417513"/>
                  <a:gd name="connsiteY3995" fmla="*/ 376832 h 1867037"/>
                  <a:gd name="connsiteX3996" fmla="*/ 1650516 w 2417513"/>
                  <a:gd name="connsiteY3996" fmla="*/ 371377 h 1867037"/>
                  <a:gd name="connsiteX3997" fmla="*/ 1647031 w 2417513"/>
                  <a:gd name="connsiteY3997" fmla="*/ 370468 h 1867037"/>
                  <a:gd name="connsiteX3998" fmla="*/ 1638243 w 2417513"/>
                  <a:gd name="connsiteY3998" fmla="*/ 369862 h 1867037"/>
                  <a:gd name="connsiteX3999" fmla="*/ 1633848 w 2417513"/>
                  <a:gd name="connsiteY3999" fmla="*/ 370620 h 1867037"/>
                  <a:gd name="connsiteX4000" fmla="*/ 1626879 w 2417513"/>
                  <a:gd name="connsiteY4000" fmla="*/ 373044 h 1867037"/>
                  <a:gd name="connsiteX4001" fmla="*/ 1620818 w 2417513"/>
                  <a:gd name="connsiteY4001" fmla="*/ 373650 h 1867037"/>
                  <a:gd name="connsiteX4002" fmla="*/ 1618545 w 2417513"/>
                  <a:gd name="connsiteY4002" fmla="*/ 373044 h 1867037"/>
                  <a:gd name="connsiteX4003" fmla="*/ 1615060 w 2417513"/>
                  <a:gd name="connsiteY4003" fmla="*/ 371074 h 1867037"/>
                  <a:gd name="connsiteX4004" fmla="*/ 1612333 w 2417513"/>
                  <a:gd name="connsiteY4004" fmla="*/ 368953 h 1867037"/>
                  <a:gd name="connsiteX4005" fmla="*/ 1612636 w 2417513"/>
                  <a:gd name="connsiteY4005" fmla="*/ 368195 h 1867037"/>
                  <a:gd name="connsiteX4006" fmla="*/ 1620515 w 2417513"/>
                  <a:gd name="connsiteY4006" fmla="*/ 368195 h 1867037"/>
                  <a:gd name="connsiteX4007" fmla="*/ 1627182 w 2417513"/>
                  <a:gd name="connsiteY4007" fmla="*/ 367286 h 1867037"/>
                  <a:gd name="connsiteX4008" fmla="*/ 1633243 w 2417513"/>
                  <a:gd name="connsiteY4008" fmla="*/ 365316 h 1867037"/>
                  <a:gd name="connsiteX4009" fmla="*/ 1633848 w 2417513"/>
                  <a:gd name="connsiteY4009" fmla="*/ 364104 h 1867037"/>
                  <a:gd name="connsiteX4010" fmla="*/ 1631121 w 2417513"/>
                  <a:gd name="connsiteY4010" fmla="*/ 362892 h 1867037"/>
                  <a:gd name="connsiteX4011" fmla="*/ 1627636 w 2417513"/>
                  <a:gd name="connsiteY4011" fmla="*/ 360316 h 1867037"/>
                  <a:gd name="connsiteX4012" fmla="*/ 1623545 w 2417513"/>
                  <a:gd name="connsiteY4012" fmla="*/ 356225 h 1867037"/>
                  <a:gd name="connsiteX4013" fmla="*/ 1623394 w 2417513"/>
                  <a:gd name="connsiteY4013" fmla="*/ 354710 h 1867037"/>
                  <a:gd name="connsiteX4014" fmla="*/ 1627182 w 2417513"/>
                  <a:gd name="connsiteY4014" fmla="*/ 355619 h 1867037"/>
                  <a:gd name="connsiteX4015" fmla="*/ 1631121 w 2417513"/>
                  <a:gd name="connsiteY4015" fmla="*/ 357286 h 1867037"/>
                  <a:gd name="connsiteX4016" fmla="*/ 1644909 w 2417513"/>
                  <a:gd name="connsiteY4016" fmla="*/ 364559 h 1867037"/>
                  <a:gd name="connsiteX4017" fmla="*/ 1653092 w 2417513"/>
                  <a:gd name="connsiteY4017" fmla="*/ 367135 h 1867037"/>
                  <a:gd name="connsiteX4018" fmla="*/ 1661122 w 2417513"/>
                  <a:gd name="connsiteY4018" fmla="*/ 367892 h 1867037"/>
                  <a:gd name="connsiteX4019" fmla="*/ 1671426 w 2417513"/>
                  <a:gd name="connsiteY4019" fmla="*/ 368044 h 1867037"/>
                  <a:gd name="connsiteX4020" fmla="*/ 1692487 w 2417513"/>
                  <a:gd name="connsiteY4020" fmla="*/ 366225 h 1867037"/>
                  <a:gd name="connsiteX4021" fmla="*/ 1699760 w 2417513"/>
                  <a:gd name="connsiteY4021" fmla="*/ 366074 h 1867037"/>
                  <a:gd name="connsiteX4022" fmla="*/ 1704154 w 2417513"/>
                  <a:gd name="connsiteY4022" fmla="*/ 365468 h 1867037"/>
                  <a:gd name="connsiteX4023" fmla="*/ 1710063 w 2417513"/>
                  <a:gd name="connsiteY4023" fmla="*/ 363953 h 1867037"/>
                  <a:gd name="connsiteX4024" fmla="*/ 1715821 w 2417513"/>
                  <a:gd name="connsiteY4024" fmla="*/ 361377 h 1867037"/>
                  <a:gd name="connsiteX4025" fmla="*/ 1719003 w 2417513"/>
                  <a:gd name="connsiteY4025" fmla="*/ 358801 h 1867037"/>
                  <a:gd name="connsiteX4026" fmla="*/ 1721579 w 2417513"/>
                  <a:gd name="connsiteY4026" fmla="*/ 355164 h 1867037"/>
                  <a:gd name="connsiteX4027" fmla="*/ 1722337 w 2417513"/>
                  <a:gd name="connsiteY4027" fmla="*/ 349558 h 1867037"/>
                  <a:gd name="connsiteX4028" fmla="*/ 1721427 w 2417513"/>
                  <a:gd name="connsiteY4028" fmla="*/ 341831 h 1867037"/>
                  <a:gd name="connsiteX4029" fmla="*/ 1721276 w 2417513"/>
                  <a:gd name="connsiteY4029" fmla="*/ 336073 h 1867037"/>
                  <a:gd name="connsiteX4030" fmla="*/ 1722034 w 2417513"/>
                  <a:gd name="connsiteY4030" fmla="*/ 332133 h 1867037"/>
                  <a:gd name="connsiteX4031" fmla="*/ 1723246 w 2417513"/>
                  <a:gd name="connsiteY4031" fmla="*/ 330164 h 1867037"/>
                  <a:gd name="connsiteX4032" fmla="*/ 1738549 w 2417513"/>
                  <a:gd name="connsiteY4032" fmla="*/ 330164 h 1867037"/>
                  <a:gd name="connsiteX4033" fmla="*/ 1751732 w 2417513"/>
                  <a:gd name="connsiteY4033" fmla="*/ 331376 h 1867037"/>
                  <a:gd name="connsiteX4034" fmla="*/ 1759005 w 2417513"/>
                  <a:gd name="connsiteY4034" fmla="*/ 330770 h 1867037"/>
                  <a:gd name="connsiteX4035" fmla="*/ 1768702 w 2417513"/>
                  <a:gd name="connsiteY4035" fmla="*/ 327588 h 1867037"/>
                  <a:gd name="connsiteX4036" fmla="*/ 1776278 w 2417513"/>
                  <a:gd name="connsiteY4036" fmla="*/ 327739 h 1867037"/>
                  <a:gd name="connsiteX4037" fmla="*/ 1779157 w 2417513"/>
                  <a:gd name="connsiteY4037" fmla="*/ 327436 h 1867037"/>
                  <a:gd name="connsiteX4038" fmla="*/ 1782036 w 2417513"/>
                  <a:gd name="connsiteY4038" fmla="*/ 326376 h 1867037"/>
                  <a:gd name="connsiteX4039" fmla="*/ 1790673 w 2417513"/>
                  <a:gd name="connsiteY4039" fmla="*/ 313799 h 1867037"/>
                  <a:gd name="connsiteX4040" fmla="*/ 1800521 w 2417513"/>
                  <a:gd name="connsiteY4040" fmla="*/ 307435 h 1867037"/>
                  <a:gd name="connsiteX4041" fmla="*/ 1799309 w 2417513"/>
                  <a:gd name="connsiteY4041" fmla="*/ 305769 h 1867037"/>
                  <a:gd name="connsiteX4042" fmla="*/ 1792491 w 2417513"/>
                  <a:gd name="connsiteY4042" fmla="*/ 302890 h 1867037"/>
                  <a:gd name="connsiteX4043" fmla="*/ 1774763 w 2417513"/>
                  <a:gd name="connsiteY4043" fmla="*/ 297587 h 1867037"/>
                  <a:gd name="connsiteX4044" fmla="*/ 1767187 w 2417513"/>
                  <a:gd name="connsiteY4044" fmla="*/ 296374 h 1867037"/>
                  <a:gd name="connsiteX4045" fmla="*/ 1768399 w 2417513"/>
                  <a:gd name="connsiteY4045" fmla="*/ 295768 h 1867037"/>
                  <a:gd name="connsiteX4046" fmla="*/ 1779611 w 2417513"/>
                  <a:gd name="connsiteY4046" fmla="*/ 295314 h 1867037"/>
                  <a:gd name="connsiteX4047" fmla="*/ 1795218 w 2417513"/>
                  <a:gd name="connsiteY4047" fmla="*/ 295768 h 1867037"/>
                  <a:gd name="connsiteX4048" fmla="*/ 1809461 w 2417513"/>
                  <a:gd name="connsiteY4048" fmla="*/ 294405 h 1867037"/>
                  <a:gd name="connsiteX4049" fmla="*/ 1818552 w 2417513"/>
                  <a:gd name="connsiteY4049" fmla="*/ 289859 h 1867037"/>
                  <a:gd name="connsiteX4050" fmla="*/ 1818855 w 2417513"/>
                  <a:gd name="connsiteY4050" fmla="*/ 287435 h 1867037"/>
                  <a:gd name="connsiteX4051" fmla="*/ 1821583 w 2417513"/>
                  <a:gd name="connsiteY4051" fmla="*/ 283495 h 1867037"/>
                  <a:gd name="connsiteX4052" fmla="*/ 1820068 w 2417513"/>
                  <a:gd name="connsiteY4052" fmla="*/ 281980 h 1867037"/>
                  <a:gd name="connsiteX4053" fmla="*/ 1816431 w 2417513"/>
                  <a:gd name="connsiteY4053" fmla="*/ 281525 h 1867037"/>
                  <a:gd name="connsiteX4054" fmla="*/ 1803249 w 2417513"/>
                  <a:gd name="connsiteY4054" fmla="*/ 275465 h 1867037"/>
                  <a:gd name="connsiteX4055" fmla="*/ 1795067 w 2417513"/>
                  <a:gd name="connsiteY4055" fmla="*/ 274101 h 1867037"/>
                  <a:gd name="connsiteX4056" fmla="*/ 1784309 w 2417513"/>
                  <a:gd name="connsiteY4056" fmla="*/ 273646 h 1867037"/>
                  <a:gd name="connsiteX4057" fmla="*/ 1780066 w 2417513"/>
                  <a:gd name="connsiteY4057" fmla="*/ 269404 h 1867037"/>
                  <a:gd name="connsiteX4058" fmla="*/ 1776581 w 2417513"/>
                  <a:gd name="connsiteY4058" fmla="*/ 267737 h 1867037"/>
                  <a:gd name="connsiteX4059" fmla="*/ 1771732 w 2417513"/>
                  <a:gd name="connsiteY4059" fmla="*/ 266373 h 1867037"/>
                  <a:gd name="connsiteX4060" fmla="*/ 1764459 w 2417513"/>
                  <a:gd name="connsiteY4060" fmla="*/ 265313 h 1867037"/>
                  <a:gd name="connsiteX4061" fmla="*/ 1756277 w 2417513"/>
                  <a:gd name="connsiteY4061" fmla="*/ 265767 h 1867037"/>
                  <a:gd name="connsiteX4062" fmla="*/ 1737337 w 2417513"/>
                  <a:gd name="connsiteY4062" fmla="*/ 267889 h 1867037"/>
                  <a:gd name="connsiteX4063" fmla="*/ 1732186 w 2417513"/>
                  <a:gd name="connsiteY4063" fmla="*/ 269404 h 1867037"/>
                  <a:gd name="connsiteX4064" fmla="*/ 1727185 w 2417513"/>
                  <a:gd name="connsiteY4064" fmla="*/ 270161 h 1867037"/>
                  <a:gd name="connsiteX4065" fmla="*/ 1722943 w 2417513"/>
                  <a:gd name="connsiteY4065" fmla="*/ 268798 h 1867037"/>
                  <a:gd name="connsiteX4066" fmla="*/ 1717943 w 2417513"/>
                  <a:gd name="connsiteY4066" fmla="*/ 265616 h 1867037"/>
                  <a:gd name="connsiteX4067" fmla="*/ 1712488 w 2417513"/>
                  <a:gd name="connsiteY4067" fmla="*/ 263646 h 1867037"/>
                  <a:gd name="connsiteX4068" fmla="*/ 1708700 w 2417513"/>
                  <a:gd name="connsiteY4068" fmla="*/ 263343 h 1867037"/>
                  <a:gd name="connsiteX4069" fmla="*/ 1708094 w 2417513"/>
                  <a:gd name="connsiteY4069" fmla="*/ 262131 h 1867037"/>
                  <a:gd name="connsiteX4070" fmla="*/ 1716882 w 2417513"/>
                  <a:gd name="connsiteY4070" fmla="*/ 261676 h 1867037"/>
                  <a:gd name="connsiteX4071" fmla="*/ 1724610 w 2417513"/>
                  <a:gd name="connsiteY4071" fmla="*/ 261979 h 1867037"/>
                  <a:gd name="connsiteX4072" fmla="*/ 1731276 w 2417513"/>
                  <a:gd name="connsiteY4072" fmla="*/ 263191 h 1867037"/>
                  <a:gd name="connsiteX4073" fmla="*/ 1740368 w 2417513"/>
                  <a:gd name="connsiteY4073" fmla="*/ 263191 h 1867037"/>
                  <a:gd name="connsiteX4074" fmla="*/ 1757489 w 2417513"/>
                  <a:gd name="connsiteY4074" fmla="*/ 261373 h 1867037"/>
                  <a:gd name="connsiteX4075" fmla="*/ 1764005 w 2417513"/>
                  <a:gd name="connsiteY4075" fmla="*/ 261373 h 1867037"/>
                  <a:gd name="connsiteX4076" fmla="*/ 1768096 w 2417513"/>
                  <a:gd name="connsiteY4076" fmla="*/ 260313 h 1867037"/>
                  <a:gd name="connsiteX4077" fmla="*/ 1774157 w 2417513"/>
                  <a:gd name="connsiteY4077" fmla="*/ 260616 h 1867037"/>
                  <a:gd name="connsiteX4078" fmla="*/ 1780824 w 2417513"/>
                  <a:gd name="connsiteY4078" fmla="*/ 259555 h 1867037"/>
                  <a:gd name="connsiteX4079" fmla="*/ 1788248 w 2417513"/>
                  <a:gd name="connsiteY4079" fmla="*/ 261373 h 1867037"/>
                  <a:gd name="connsiteX4080" fmla="*/ 1791582 w 2417513"/>
                  <a:gd name="connsiteY4080" fmla="*/ 263040 h 1867037"/>
                  <a:gd name="connsiteX4081" fmla="*/ 1799309 w 2417513"/>
                  <a:gd name="connsiteY4081" fmla="*/ 264555 h 1867037"/>
                  <a:gd name="connsiteX4082" fmla="*/ 1815522 w 2417513"/>
                  <a:gd name="connsiteY4082" fmla="*/ 264555 h 1867037"/>
                  <a:gd name="connsiteX4083" fmla="*/ 1818552 w 2417513"/>
                  <a:gd name="connsiteY4083" fmla="*/ 263494 h 1867037"/>
                  <a:gd name="connsiteX4084" fmla="*/ 1819916 w 2417513"/>
                  <a:gd name="connsiteY4084" fmla="*/ 252736 h 1867037"/>
                  <a:gd name="connsiteX4085" fmla="*/ 1813249 w 2417513"/>
                  <a:gd name="connsiteY4085" fmla="*/ 252433 h 1867037"/>
                  <a:gd name="connsiteX4086" fmla="*/ 1803249 w 2417513"/>
                  <a:gd name="connsiteY4086" fmla="*/ 254403 h 1867037"/>
                  <a:gd name="connsiteX4087" fmla="*/ 1796127 w 2417513"/>
                  <a:gd name="connsiteY4087" fmla="*/ 252888 h 1867037"/>
                  <a:gd name="connsiteX4088" fmla="*/ 1789309 w 2417513"/>
                  <a:gd name="connsiteY4088" fmla="*/ 252130 h 1867037"/>
                  <a:gd name="connsiteX4089" fmla="*/ 1779914 w 2417513"/>
                  <a:gd name="connsiteY4089" fmla="*/ 247736 h 1867037"/>
                  <a:gd name="connsiteX4090" fmla="*/ 1775369 w 2417513"/>
                  <a:gd name="connsiteY4090" fmla="*/ 246827 h 1867037"/>
                  <a:gd name="connsiteX4091" fmla="*/ 1770520 w 2417513"/>
                  <a:gd name="connsiteY4091" fmla="*/ 241372 h 1867037"/>
                  <a:gd name="connsiteX4092" fmla="*/ 1760217 w 2417513"/>
                  <a:gd name="connsiteY4092" fmla="*/ 237433 h 1867037"/>
                  <a:gd name="connsiteX4093" fmla="*/ 1755217 w 2417513"/>
                  <a:gd name="connsiteY4093" fmla="*/ 236827 h 1867037"/>
                  <a:gd name="connsiteX4094" fmla="*/ 1754005 w 2417513"/>
                  <a:gd name="connsiteY4094" fmla="*/ 235312 h 1867037"/>
                  <a:gd name="connsiteX4095" fmla="*/ 1768247 w 2417513"/>
                  <a:gd name="connsiteY4095" fmla="*/ 236372 h 1867037"/>
                  <a:gd name="connsiteX4096" fmla="*/ 1776733 w 2417513"/>
                  <a:gd name="connsiteY4096" fmla="*/ 237736 h 1867037"/>
                  <a:gd name="connsiteX4097" fmla="*/ 1784763 w 2417513"/>
                  <a:gd name="connsiteY4097" fmla="*/ 240312 h 1867037"/>
                  <a:gd name="connsiteX4098" fmla="*/ 1792188 w 2417513"/>
                  <a:gd name="connsiteY4098" fmla="*/ 241372 h 1867037"/>
                  <a:gd name="connsiteX4099" fmla="*/ 1798855 w 2417513"/>
                  <a:gd name="connsiteY4099" fmla="*/ 240918 h 1867037"/>
                  <a:gd name="connsiteX4100" fmla="*/ 1811431 w 2417513"/>
                  <a:gd name="connsiteY4100" fmla="*/ 238645 h 1867037"/>
                  <a:gd name="connsiteX4101" fmla="*/ 1822189 w 2417513"/>
                  <a:gd name="connsiteY4101" fmla="*/ 238948 h 1867037"/>
                  <a:gd name="connsiteX4102" fmla="*/ 1828098 w 2417513"/>
                  <a:gd name="connsiteY4102" fmla="*/ 238191 h 1867037"/>
                  <a:gd name="connsiteX4103" fmla="*/ 1832795 w 2417513"/>
                  <a:gd name="connsiteY4103" fmla="*/ 236524 h 1867037"/>
                  <a:gd name="connsiteX4104" fmla="*/ 1836886 w 2417513"/>
                  <a:gd name="connsiteY4104" fmla="*/ 235918 h 1867037"/>
                  <a:gd name="connsiteX4105" fmla="*/ 1847796 w 2417513"/>
                  <a:gd name="connsiteY4105" fmla="*/ 236372 h 1867037"/>
                  <a:gd name="connsiteX4106" fmla="*/ 1850675 w 2417513"/>
                  <a:gd name="connsiteY4106" fmla="*/ 235766 h 1867037"/>
                  <a:gd name="connsiteX4107" fmla="*/ 1852493 w 2417513"/>
                  <a:gd name="connsiteY4107" fmla="*/ 234706 h 1867037"/>
                  <a:gd name="connsiteX4108" fmla="*/ 1854008 w 2417513"/>
                  <a:gd name="connsiteY4108" fmla="*/ 232736 h 1867037"/>
                  <a:gd name="connsiteX4109" fmla="*/ 1855069 w 2417513"/>
                  <a:gd name="connsiteY4109" fmla="*/ 230008 h 1867037"/>
                  <a:gd name="connsiteX4110" fmla="*/ 1854311 w 2417513"/>
                  <a:gd name="connsiteY4110" fmla="*/ 227130 h 1867037"/>
                  <a:gd name="connsiteX4111" fmla="*/ 1849462 w 2417513"/>
                  <a:gd name="connsiteY4111" fmla="*/ 221675 h 1867037"/>
                  <a:gd name="connsiteX4112" fmla="*/ 1847644 w 2417513"/>
                  <a:gd name="connsiteY4112" fmla="*/ 220160 h 1867037"/>
                  <a:gd name="connsiteX4113" fmla="*/ 1842947 w 2417513"/>
                  <a:gd name="connsiteY4113" fmla="*/ 219250 h 1867037"/>
                  <a:gd name="connsiteX4114" fmla="*/ 1831735 w 2417513"/>
                  <a:gd name="connsiteY4114" fmla="*/ 218796 h 1867037"/>
                  <a:gd name="connsiteX4115" fmla="*/ 1818401 w 2417513"/>
                  <a:gd name="connsiteY4115" fmla="*/ 216523 h 1867037"/>
                  <a:gd name="connsiteX4116" fmla="*/ 1815067 w 2417513"/>
                  <a:gd name="connsiteY4116" fmla="*/ 215311 h 1867037"/>
                  <a:gd name="connsiteX4117" fmla="*/ 1822340 w 2417513"/>
                  <a:gd name="connsiteY4117" fmla="*/ 212887 h 1867037"/>
                  <a:gd name="connsiteX4118" fmla="*/ 1829159 w 2417513"/>
                  <a:gd name="connsiteY4118" fmla="*/ 212584 h 1867037"/>
                  <a:gd name="connsiteX4119" fmla="*/ 1838402 w 2417513"/>
                  <a:gd name="connsiteY4119" fmla="*/ 214705 h 1867037"/>
                  <a:gd name="connsiteX4120" fmla="*/ 1848099 w 2417513"/>
                  <a:gd name="connsiteY4120" fmla="*/ 215917 h 1867037"/>
                  <a:gd name="connsiteX4121" fmla="*/ 1875827 w 2417513"/>
                  <a:gd name="connsiteY4121" fmla="*/ 224251 h 1867037"/>
                  <a:gd name="connsiteX4122" fmla="*/ 1881888 w 2417513"/>
                  <a:gd name="connsiteY4122" fmla="*/ 224705 h 1867037"/>
                  <a:gd name="connsiteX4123" fmla="*/ 1888707 w 2417513"/>
                  <a:gd name="connsiteY4123" fmla="*/ 223796 h 1867037"/>
                  <a:gd name="connsiteX4124" fmla="*/ 1904465 w 2417513"/>
                  <a:gd name="connsiteY4124" fmla="*/ 220008 h 1867037"/>
                  <a:gd name="connsiteX4125" fmla="*/ 1906889 w 2417513"/>
                  <a:gd name="connsiteY4125" fmla="*/ 218644 h 1867037"/>
                  <a:gd name="connsiteX4126" fmla="*/ 1912041 w 2417513"/>
                  <a:gd name="connsiteY4126" fmla="*/ 214553 h 1867037"/>
                  <a:gd name="connsiteX4127" fmla="*/ 1912192 w 2417513"/>
                  <a:gd name="connsiteY4127" fmla="*/ 212887 h 1867037"/>
                  <a:gd name="connsiteX4128" fmla="*/ 1907495 w 2417513"/>
                  <a:gd name="connsiteY4128" fmla="*/ 210917 h 1867037"/>
                  <a:gd name="connsiteX4129" fmla="*/ 1905374 w 2417513"/>
                  <a:gd name="connsiteY4129" fmla="*/ 210614 h 1867037"/>
                  <a:gd name="connsiteX4130" fmla="*/ 1921738 w 2417513"/>
                  <a:gd name="connsiteY4130" fmla="*/ 205159 h 1867037"/>
                  <a:gd name="connsiteX4131" fmla="*/ 1927193 w 2417513"/>
                  <a:gd name="connsiteY4131" fmla="*/ 200613 h 1867037"/>
                  <a:gd name="connsiteX4132" fmla="*/ 1926890 w 2417513"/>
                  <a:gd name="connsiteY4132" fmla="*/ 199250 h 1867037"/>
                  <a:gd name="connsiteX4133" fmla="*/ 1921738 w 2417513"/>
                  <a:gd name="connsiteY4133" fmla="*/ 197734 h 1867037"/>
                  <a:gd name="connsiteX4134" fmla="*/ 1918556 w 2417513"/>
                  <a:gd name="connsiteY4134" fmla="*/ 197431 h 1867037"/>
                  <a:gd name="connsiteX4135" fmla="*/ 1898404 w 2417513"/>
                  <a:gd name="connsiteY4135" fmla="*/ 200613 h 1867037"/>
                  <a:gd name="connsiteX4136" fmla="*/ 1889313 w 2417513"/>
                  <a:gd name="connsiteY4136" fmla="*/ 199704 h 1867037"/>
                  <a:gd name="connsiteX4137" fmla="*/ 1886131 w 2417513"/>
                  <a:gd name="connsiteY4137" fmla="*/ 198492 h 1867037"/>
                  <a:gd name="connsiteX4138" fmla="*/ 1886282 w 2417513"/>
                  <a:gd name="connsiteY4138" fmla="*/ 197431 h 1867037"/>
                  <a:gd name="connsiteX4139" fmla="*/ 1889767 w 2417513"/>
                  <a:gd name="connsiteY4139" fmla="*/ 196371 h 1867037"/>
                  <a:gd name="connsiteX4140" fmla="*/ 1893404 w 2417513"/>
                  <a:gd name="connsiteY4140" fmla="*/ 196068 h 1867037"/>
                  <a:gd name="connsiteX4141" fmla="*/ 1897040 w 2417513"/>
                  <a:gd name="connsiteY4141" fmla="*/ 196522 h 1867037"/>
                  <a:gd name="connsiteX4142" fmla="*/ 1902192 w 2417513"/>
                  <a:gd name="connsiteY4142" fmla="*/ 195916 h 1867037"/>
                  <a:gd name="connsiteX4143" fmla="*/ 1912344 w 2417513"/>
                  <a:gd name="connsiteY4143" fmla="*/ 193340 h 1867037"/>
                  <a:gd name="connsiteX4144" fmla="*/ 1935223 w 2417513"/>
                  <a:gd name="connsiteY4144" fmla="*/ 190461 h 1867037"/>
                  <a:gd name="connsiteX4145" fmla="*/ 1936587 w 2417513"/>
                  <a:gd name="connsiteY4145" fmla="*/ 187734 h 1867037"/>
                  <a:gd name="connsiteX4146" fmla="*/ 1924162 w 2417513"/>
                  <a:gd name="connsiteY4146" fmla="*/ 173340 h 1867037"/>
                  <a:gd name="connsiteX4147" fmla="*/ 1922950 w 2417513"/>
                  <a:gd name="connsiteY4147" fmla="*/ 171218 h 1867037"/>
                  <a:gd name="connsiteX4148" fmla="*/ 1924920 w 2417513"/>
                  <a:gd name="connsiteY4148" fmla="*/ 171976 h 1867037"/>
                  <a:gd name="connsiteX4149" fmla="*/ 1931435 w 2417513"/>
                  <a:gd name="connsiteY4149" fmla="*/ 176370 h 1867037"/>
                  <a:gd name="connsiteX4150" fmla="*/ 1938557 w 2417513"/>
                  <a:gd name="connsiteY4150" fmla="*/ 180310 h 1867037"/>
                  <a:gd name="connsiteX4151" fmla="*/ 1943860 w 2417513"/>
                  <a:gd name="connsiteY4151" fmla="*/ 181825 h 1867037"/>
                  <a:gd name="connsiteX4152" fmla="*/ 1949769 w 2417513"/>
                  <a:gd name="connsiteY4152" fmla="*/ 182279 h 1867037"/>
                  <a:gd name="connsiteX4153" fmla="*/ 1954770 w 2417513"/>
                  <a:gd name="connsiteY4153" fmla="*/ 181219 h 1867037"/>
                  <a:gd name="connsiteX4154" fmla="*/ 1958860 w 2417513"/>
                  <a:gd name="connsiteY4154" fmla="*/ 178643 h 1867037"/>
                  <a:gd name="connsiteX4155" fmla="*/ 1970982 w 2417513"/>
                  <a:gd name="connsiteY4155" fmla="*/ 168188 h 1867037"/>
                  <a:gd name="connsiteX4156" fmla="*/ 1979922 w 2417513"/>
                  <a:gd name="connsiteY4156" fmla="*/ 162279 h 1867037"/>
                  <a:gd name="connsiteX4157" fmla="*/ 2003408 w 2417513"/>
                  <a:gd name="connsiteY4157" fmla="*/ 150763 h 1867037"/>
                  <a:gd name="connsiteX4158" fmla="*/ 2032045 w 2417513"/>
                  <a:gd name="connsiteY4158" fmla="*/ 139096 h 1867037"/>
                  <a:gd name="connsiteX4159" fmla="*/ 2043409 w 2417513"/>
                  <a:gd name="connsiteY4159" fmla="*/ 132278 h 1867037"/>
                  <a:gd name="connsiteX4160" fmla="*/ 2066137 w 2417513"/>
                  <a:gd name="connsiteY4160" fmla="*/ 123338 h 1867037"/>
                  <a:gd name="connsiteX4161" fmla="*/ 2084017 w 2417513"/>
                  <a:gd name="connsiteY4161" fmla="*/ 113337 h 1867037"/>
                  <a:gd name="connsiteX4162" fmla="*/ 2085532 w 2417513"/>
                  <a:gd name="connsiteY4162" fmla="*/ 109852 h 1867037"/>
                  <a:gd name="connsiteX4163" fmla="*/ 2072956 w 2417513"/>
                  <a:gd name="connsiteY4163" fmla="*/ 108792 h 1867037"/>
                  <a:gd name="connsiteX4164" fmla="*/ 2059319 w 2417513"/>
                  <a:gd name="connsiteY4164" fmla="*/ 109852 h 1867037"/>
                  <a:gd name="connsiteX4165" fmla="*/ 1988710 w 2417513"/>
                  <a:gd name="connsiteY4165" fmla="*/ 125005 h 1867037"/>
                  <a:gd name="connsiteX4166" fmla="*/ 1982498 w 2417513"/>
                  <a:gd name="connsiteY4166" fmla="*/ 125914 h 1867037"/>
                  <a:gd name="connsiteX4167" fmla="*/ 1977649 w 2417513"/>
                  <a:gd name="connsiteY4167" fmla="*/ 125005 h 1867037"/>
                  <a:gd name="connsiteX4168" fmla="*/ 1978558 w 2417513"/>
                  <a:gd name="connsiteY4168" fmla="*/ 122883 h 1867037"/>
                  <a:gd name="connsiteX4169" fmla="*/ 2027045 w 2417513"/>
                  <a:gd name="connsiteY4169" fmla="*/ 110307 h 1867037"/>
                  <a:gd name="connsiteX4170" fmla="*/ 2028560 w 2417513"/>
                  <a:gd name="connsiteY4170" fmla="*/ 109398 h 1867037"/>
                  <a:gd name="connsiteX4171" fmla="*/ 2030227 w 2417513"/>
                  <a:gd name="connsiteY4171" fmla="*/ 107580 h 1867037"/>
                  <a:gd name="connsiteX4172" fmla="*/ 2031136 w 2417513"/>
                  <a:gd name="connsiteY4172" fmla="*/ 105155 h 1867037"/>
                  <a:gd name="connsiteX4173" fmla="*/ 2034924 w 2417513"/>
                  <a:gd name="connsiteY4173" fmla="*/ 101670 h 1867037"/>
                  <a:gd name="connsiteX4174" fmla="*/ 2051894 w 2417513"/>
                  <a:gd name="connsiteY4174" fmla="*/ 100761 h 1867037"/>
                  <a:gd name="connsiteX4175" fmla="*/ 2060228 w 2417513"/>
                  <a:gd name="connsiteY4175" fmla="*/ 99701 h 1867037"/>
                  <a:gd name="connsiteX4176" fmla="*/ 2065834 w 2417513"/>
                  <a:gd name="connsiteY4176" fmla="*/ 98185 h 1867037"/>
                  <a:gd name="connsiteX4177" fmla="*/ 2068410 w 2417513"/>
                  <a:gd name="connsiteY4177" fmla="*/ 95003 h 1867037"/>
                  <a:gd name="connsiteX4178" fmla="*/ 2073107 w 2417513"/>
                  <a:gd name="connsiteY4178" fmla="*/ 93185 h 1867037"/>
                  <a:gd name="connsiteX4179" fmla="*/ 2090987 w 2417513"/>
                  <a:gd name="connsiteY4179" fmla="*/ 93791 h 1867037"/>
                  <a:gd name="connsiteX4180" fmla="*/ 2094775 w 2417513"/>
                  <a:gd name="connsiteY4180" fmla="*/ 93185 h 1867037"/>
                  <a:gd name="connsiteX4181" fmla="*/ 2103260 w 2417513"/>
                  <a:gd name="connsiteY4181" fmla="*/ 89852 h 1867037"/>
                  <a:gd name="connsiteX4182" fmla="*/ 2117957 w 2417513"/>
                  <a:gd name="connsiteY4182" fmla="*/ 86367 h 1867037"/>
                  <a:gd name="connsiteX4183" fmla="*/ 2147959 w 2417513"/>
                  <a:gd name="connsiteY4183" fmla="*/ 75609 h 1867037"/>
                  <a:gd name="connsiteX4184" fmla="*/ 2156747 w 2417513"/>
                  <a:gd name="connsiteY4184" fmla="*/ 73184 h 1867037"/>
                  <a:gd name="connsiteX4185" fmla="*/ 2162505 w 2417513"/>
                  <a:gd name="connsiteY4185" fmla="*/ 68790 h 1867037"/>
                  <a:gd name="connsiteX4186" fmla="*/ 2172202 w 2417513"/>
                  <a:gd name="connsiteY4186" fmla="*/ 63790 h 1867037"/>
                  <a:gd name="connsiteX4187" fmla="*/ 2181596 w 2417513"/>
                  <a:gd name="connsiteY4187" fmla="*/ 57426 h 1867037"/>
                  <a:gd name="connsiteX4188" fmla="*/ 2183414 w 2417513"/>
                  <a:gd name="connsiteY4188" fmla="*/ 53335 h 1867037"/>
                  <a:gd name="connsiteX4189" fmla="*/ 2180839 w 2417513"/>
                  <a:gd name="connsiteY4189" fmla="*/ 49396 h 1867037"/>
                  <a:gd name="connsiteX4190" fmla="*/ 2178414 w 2417513"/>
                  <a:gd name="connsiteY4190" fmla="*/ 46517 h 1867037"/>
                  <a:gd name="connsiteX4191" fmla="*/ 2176142 w 2417513"/>
                  <a:gd name="connsiteY4191" fmla="*/ 44850 h 1867037"/>
                  <a:gd name="connsiteX4192" fmla="*/ 2170081 w 2417513"/>
                  <a:gd name="connsiteY4192" fmla="*/ 43486 h 1867037"/>
                  <a:gd name="connsiteX4193" fmla="*/ 2148868 w 2417513"/>
                  <a:gd name="connsiteY4193" fmla="*/ 41365 h 1867037"/>
                  <a:gd name="connsiteX4194" fmla="*/ 2127806 w 2417513"/>
                  <a:gd name="connsiteY4194" fmla="*/ 46062 h 1867037"/>
                  <a:gd name="connsiteX4195" fmla="*/ 2127655 w 2417513"/>
                  <a:gd name="connsiteY4195" fmla="*/ 45002 h 1867037"/>
                  <a:gd name="connsiteX4196" fmla="*/ 2132200 w 2417513"/>
                  <a:gd name="connsiteY4196" fmla="*/ 40608 h 1867037"/>
                  <a:gd name="connsiteX4197" fmla="*/ 2132200 w 2417513"/>
                  <a:gd name="connsiteY4197" fmla="*/ 38486 h 1867037"/>
                  <a:gd name="connsiteX4198" fmla="*/ 2124018 w 2417513"/>
                  <a:gd name="connsiteY4198" fmla="*/ 32425 h 1867037"/>
                  <a:gd name="connsiteX4199" fmla="*/ 2118412 w 2417513"/>
                  <a:gd name="connsiteY4199" fmla="*/ 29698 h 1867037"/>
                  <a:gd name="connsiteX4200" fmla="*/ 2117048 w 2417513"/>
                  <a:gd name="connsiteY4200" fmla="*/ 28334 h 1867037"/>
                  <a:gd name="connsiteX4201" fmla="*/ 2117654 w 2417513"/>
                  <a:gd name="connsiteY4201" fmla="*/ 27274 h 1867037"/>
                  <a:gd name="connsiteX4202" fmla="*/ 2119170 w 2417513"/>
                  <a:gd name="connsiteY4202" fmla="*/ 25910 h 1867037"/>
                  <a:gd name="connsiteX4203" fmla="*/ 2121594 w 2417513"/>
                  <a:gd name="connsiteY4203" fmla="*/ 24395 h 1867037"/>
                  <a:gd name="connsiteX4204" fmla="*/ 2120836 w 2417513"/>
                  <a:gd name="connsiteY4204" fmla="*/ 22880 h 1867037"/>
                  <a:gd name="connsiteX4205" fmla="*/ 2116897 w 2417513"/>
                  <a:gd name="connsiteY4205" fmla="*/ 21516 h 1867037"/>
                  <a:gd name="connsiteX4206" fmla="*/ 2107502 w 2417513"/>
                  <a:gd name="connsiteY4206" fmla="*/ 20455 h 1867037"/>
                  <a:gd name="connsiteX4207" fmla="*/ 2103411 w 2417513"/>
                  <a:gd name="connsiteY4207" fmla="*/ 20910 h 1867037"/>
                  <a:gd name="connsiteX4208" fmla="*/ 2095229 w 2417513"/>
                  <a:gd name="connsiteY4208" fmla="*/ 23940 h 1867037"/>
                  <a:gd name="connsiteX4209" fmla="*/ 2093260 w 2417513"/>
                  <a:gd name="connsiteY4209" fmla="*/ 23940 h 1867037"/>
                  <a:gd name="connsiteX4210" fmla="*/ 2089623 w 2417513"/>
                  <a:gd name="connsiteY4210" fmla="*/ 21213 h 1867037"/>
                  <a:gd name="connsiteX4211" fmla="*/ 2085684 w 2417513"/>
                  <a:gd name="connsiteY4211" fmla="*/ 17273 h 1867037"/>
                  <a:gd name="connsiteX4212" fmla="*/ 2082198 w 2417513"/>
                  <a:gd name="connsiteY4212" fmla="*/ 15607 h 1867037"/>
                  <a:gd name="connsiteX4213" fmla="*/ 2080077 w 2417513"/>
                  <a:gd name="connsiteY4213" fmla="*/ 15455 h 1867037"/>
                  <a:gd name="connsiteX4214" fmla="*/ 2076592 w 2417513"/>
                  <a:gd name="connsiteY4214" fmla="*/ 16364 h 1867037"/>
                  <a:gd name="connsiteX4215" fmla="*/ 2075229 w 2417513"/>
                  <a:gd name="connsiteY4215" fmla="*/ 17576 h 1867037"/>
                  <a:gd name="connsiteX4216" fmla="*/ 2072956 w 2417513"/>
                  <a:gd name="connsiteY4216" fmla="*/ 21061 h 1867037"/>
                  <a:gd name="connsiteX4217" fmla="*/ 2071592 w 2417513"/>
                  <a:gd name="connsiteY4217" fmla="*/ 22425 h 1867037"/>
                  <a:gd name="connsiteX4218" fmla="*/ 2068865 w 2417513"/>
                  <a:gd name="connsiteY4218" fmla="*/ 22274 h 1867037"/>
                  <a:gd name="connsiteX4219" fmla="*/ 2064774 w 2417513"/>
                  <a:gd name="connsiteY4219" fmla="*/ 20607 h 1867037"/>
                  <a:gd name="connsiteX4220" fmla="*/ 2059925 w 2417513"/>
                  <a:gd name="connsiteY4220" fmla="*/ 19546 h 1867037"/>
                  <a:gd name="connsiteX4221" fmla="*/ 2049167 w 2417513"/>
                  <a:gd name="connsiteY4221" fmla="*/ 21970 h 1867037"/>
                  <a:gd name="connsiteX4222" fmla="*/ 2035682 w 2417513"/>
                  <a:gd name="connsiteY4222" fmla="*/ 26365 h 1867037"/>
                  <a:gd name="connsiteX4223" fmla="*/ 2028712 w 2417513"/>
                  <a:gd name="connsiteY4223" fmla="*/ 27880 h 1867037"/>
                  <a:gd name="connsiteX4224" fmla="*/ 2025075 w 2417513"/>
                  <a:gd name="connsiteY4224" fmla="*/ 28031 h 1867037"/>
                  <a:gd name="connsiteX4225" fmla="*/ 2014166 w 2417513"/>
                  <a:gd name="connsiteY4225" fmla="*/ 31365 h 1867037"/>
                  <a:gd name="connsiteX4226" fmla="*/ 2004923 w 2417513"/>
                  <a:gd name="connsiteY4226" fmla="*/ 32425 h 1867037"/>
                  <a:gd name="connsiteX4227" fmla="*/ 1992953 w 2417513"/>
                  <a:gd name="connsiteY4227" fmla="*/ 32880 h 1867037"/>
                  <a:gd name="connsiteX4228" fmla="*/ 1984771 w 2417513"/>
                  <a:gd name="connsiteY4228" fmla="*/ 32425 h 1867037"/>
                  <a:gd name="connsiteX4229" fmla="*/ 1987801 w 2417513"/>
                  <a:gd name="connsiteY4229" fmla="*/ 30759 h 1867037"/>
                  <a:gd name="connsiteX4230" fmla="*/ 2029469 w 2417513"/>
                  <a:gd name="connsiteY4230" fmla="*/ 21213 h 1867037"/>
                  <a:gd name="connsiteX4231" fmla="*/ 2035985 w 2417513"/>
                  <a:gd name="connsiteY4231" fmla="*/ 18182 h 1867037"/>
                  <a:gd name="connsiteX4232" fmla="*/ 2040833 w 2417513"/>
                  <a:gd name="connsiteY4232" fmla="*/ 15152 h 1867037"/>
                  <a:gd name="connsiteX4233" fmla="*/ 2040833 w 2417513"/>
                  <a:gd name="connsiteY4233" fmla="*/ 13788 h 1867037"/>
                  <a:gd name="connsiteX4234" fmla="*/ 2036136 w 2417513"/>
                  <a:gd name="connsiteY4234" fmla="*/ 12576 h 1867037"/>
                  <a:gd name="connsiteX4235" fmla="*/ 2013863 w 2417513"/>
                  <a:gd name="connsiteY4235" fmla="*/ 11970 h 1867037"/>
                  <a:gd name="connsiteX4236" fmla="*/ 2007802 w 2417513"/>
                  <a:gd name="connsiteY4236" fmla="*/ 11213 h 1867037"/>
                  <a:gd name="connsiteX4237" fmla="*/ 1999620 w 2417513"/>
                  <a:gd name="connsiteY4237" fmla="*/ 11819 h 1867037"/>
                  <a:gd name="connsiteX4238" fmla="*/ 1994619 w 2417513"/>
                  <a:gd name="connsiteY4238" fmla="*/ 10758 h 1867037"/>
                  <a:gd name="connsiteX4239" fmla="*/ 1986286 w 2417513"/>
                  <a:gd name="connsiteY4239" fmla="*/ 7728 h 1867037"/>
                  <a:gd name="connsiteX4240" fmla="*/ 1979013 w 2417513"/>
                  <a:gd name="connsiteY4240" fmla="*/ 8182 h 1867037"/>
                  <a:gd name="connsiteX4241" fmla="*/ 1956739 w 2417513"/>
                  <a:gd name="connsiteY4241" fmla="*/ 6970 h 1867037"/>
                  <a:gd name="connsiteX4242" fmla="*/ 1954466 w 2417513"/>
                  <a:gd name="connsiteY4242" fmla="*/ 6364 h 1867037"/>
                  <a:gd name="connsiteX4243" fmla="*/ 1948709 w 2417513"/>
                  <a:gd name="connsiteY4243" fmla="*/ 1667 h 1867037"/>
                  <a:gd name="connsiteX4244" fmla="*/ 1946436 w 2417513"/>
                  <a:gd name="connsiteY4244" fmla="*/ 455 h 1867037"/>
                  <a:gd name="connsiteX4245" fmla="*/ 1943708 w 2417513"/>
                  <a:gd name="connsiteY4245" fmla="*/ 0 h 1867037"/>
                  <a:gd name="connsiteX4246" fmla="*/ 1919011 w 2417513"/>
                  <a:gd name="connsiteY4246" fmla="*/ 1212 h 1867037"/>
                  <a:gd name="connsiteX4247" fmla="*/ 1913101 w 2417513"/>
                  <a:gd name="connsiteY4247" fmla="*/ 2273 h 1867037"/>
                  <a:gd name="connsiteX4248" fmla="*/ 1903859 w 2417513"/>
                  <a:gd name="connsiteY4248" fmla="*/ 6515 h 1867037"/>
                  <a:gd name="connsiteX4249" fmla="*/ 1904465 w 2417513"/>
                  <a:gd name="connsiteY4249" fmla="*/ 7879 h 1867037"/>
                  <a:gd name="connsiteX4250" fmla="*/ 1910071 w 2417513"/>
                  <a:gd name="connsiteY4250" fmla="*/ 10000 h 1867037"/>
                  <a:gd name="connsiteX4251" fmla="*/ 1917344 w 2417513"/>
                  <a:gd name="connsiteY4251" fmla="*/ 13940 h 1867037"/>
                  <a:gd name="connsiteX4252" fmla="*/ 1917192 w 2417513"/>
                  <a:gd name="connsiteY4252" fmla="*/ 14546 h 1867037"/>
                  <a:gd name="connsiteX4253" fmla="*/ 1911889 w 2417513"/>
                  <a:gd name="connsiteY4253" fmla="*/ 13182 h 1867037"/>
                  <a:gd name="connsiteX4254" fmla="*/ 1904465 w 2417513"/>
                  <a:gd name="connsiteY4254" fmla="*/ 9697 h 1867037"/>
                  <a:gd name="connsiteX4255" fmla="*/ 1888707 w 2417513"/>
                  <a:gd name="connsiteY4255" fmla="*/ 1061 h 1867037"/>
                  <a:gd name="connsiteX4256" fmla="*/ 1886282 w 2417513"/>
                  <a:gd name="connsiteY4256" fmla="*/ 758 h 1867037"/>
                  <a:gd name="connsiteX4257" fmla="*/ 1865978 w 2417513"/>
                  <a:gd name="connsiteY4257" fmla="*/ 2424 h 1867037"/>
                  <a:gd name="connsiteX4258" fmla="*/ 1851735 w 2417513"/>
                  <a:gd name="connsiteY4258" fmla="*/ 8031 h 1867037"/>
                  <a:gd name="connsiteX4259" fmla="*/ 1849766 w 2417513"/>
                  <a:gd name="connsiteY4259" fmla="*/ 9546 h 1867037"/>
                  <a:gd name="connsiteX4260" fmla="*/ 1848705 w 2417513"/>
                  <a:gd name="connsiteY4260" fmla="*/ 11667 h 1867037"/>
                  <a:gd name="connsiteX4261" fmla="*/ 1848705 w 2417513"/>
                  <a:gd name="connsiteY4261" fmla="*/ 14546 h 1867037"/>
                  <a:gd name="connsiteX4262" fmla="*/ 1854311 w 2417513"/>
                  <a:gd name="connsiteY4262" fmla="*/ 18637 h 1867037"/>
                  <a:gd name="connsiteX4263" fmla="*/ 1866888 w 2417513"/>
                  <a:gd name="connsiteY4263" fmla="*/ 24698 h 1867037"/>
                  <a:gd name="connsiteX4264" fmla="*/ 1870069 w 2417513"/>
                  <a:gd name="connsiteY4264" fmla="*/ 26971 h 1867037"/>
                  <a:gd name="connsiteX4265" fmla="*/ 1853250 w 2417513"/>
                  <a:gd name="connsiteY4265" fmla="*/ 23637 h 1867037"/>
                  <a:gd name="connsiteX4266" fmla="*/ 1841432 w 2417513"/>
                  <a:gd name="connsiteY4266" fmla="*/ 18182 h 1867037"/>
                  <a:gd name="connsiteX4267" fmla="*/ 1835523 w 2417513"/>
                  <a:gd name="connsiteY4267" fmla="*/ 14546 h 1867037"/>
                  <a:gd name="connsiteX4268" fmla="*/ 1831735 w 2417513"/>
                  <a:gd name="connsiteY4268" fmla="*/ 11061 h 1867037"/>
                  <a:gd name="connsiteX4269" fmla="*/ 1827795 w 2417513"/>
                  <a:gd name="connsiteY4269" fmla="*/ 8788 h 1867037"/>
                  <a:gd name="connsiteX4270" fmla="*/ 1821886 w 2417513"/>
                  <a:gd name="connsiteY4270" fmla="*/ 7121 h 1867037"/>
                  <a:gd name="connsiteX4271" fmla="*/ 1785521 w 2417513"/>
                  <a:gd name="connsiteY4271" fmla="*/ 4849 h 1867037"/>
                  <a:gd name="connsiteX4272" fmla="*/ 1747792 w 2417513"/>
                  <a:gd name="connsiteY4272" fmla="*/ 7576 h 1867037"/>
                  <a:gd name="connsiteX4273" fmla="*/ 1750065 w 2417513"/>
                  <a:gd name="connsiteY4273" fmla="*/ 10455 h 1867037"/>
                  <a:gd name="connsiteX4274" fmla="*/ 1753701 w 2417513"/>
                  <a:gd name="connsiteY4274" fmla="*/ 13788 h 1867037"/>
                  <a:gd name="connsiteX4275" fmla="*/ 1767338 w 2417513"/>
                  <a:gd name="connsiteY4275" fmla="*/ 20910 h 1867037"/>
                  <a:gd name="connsiteX4276" fmla="*/ 1773399 w 2417513"/>
                  <a:gd name="connsiteY4276" fmla="*/ 24849 h 1867037"/>
                  <a:gd name="connsiteX4277" fmla="*/ 1776126 w 2417513"/>
                  <a:gd name="connsiteY4277" fmla="*/ 27122 h 1867037"/>
                  <a:gd name="connsiteX4278" fmla="*/ 1788248 w 2417513"/>
                  <a:gd name="connsiteY4278" fmla="*/ 32577 h 1867037"/>
                  <a:gd name="connsiteX4279" fmla="*/ 1790369 w 2417513"/>
                  <a:gd name="connsiteY4279" fmla="*/ 35001 h 1867037"/>
                  <a:gd name="connsiteX4280" fmla="*/ 1785521 w 2417513"/>
                  <a:gd name="connsiteY4280" fmla="*/ 37426 h 1867037"/>
                  <a:gd name="connsiteX4281" fmla="*/ 1778248 w 2417513"/>
                  <a:gd name="connsiteY4281" fmla="*/ 40001 h 1867037"/>
                  <a:gd name="connsiteX4282" fmla="*/ 1774460 w 2417513"/>
                  <a:gd name="connsiteY4282" fmla="*/ 38941 h 1867037"/>
                  <a:gd name="connsiteX4283" fmla="*/ 1771732 w 2417513"/>
                  <a:gd name="connsiteY4283" fmla="*/ 35304 h 1867037"/>
                  <a:gd name="connsiteX4284" fmla="*/ 1769157 w 2417513"/>
                  <a:gd name="connsiteY4284" fmla="*/ 32577 h 1867037"/>
                  <a:gd name="connsiteX4285" fmla="*/ 1766884 w 2417513"/>
                  <a:gd name="connsiteY4285" fmla="*/ 30759 h 1867037"/>
                  <a:gd name="connsiteX4286" fmla="*/ 1744913 w 2417513"/>
                  <a:gd name="connsiteY4286" fmla="*/ 19395 h 1867037"/>
                  <a:gd name="connsiteX4287" fmla="*/ 1737943 w 2417513"/>
                  <a:gd name="connsiteY4287" fmla="*/ 16213 h 1867037"/>
                  <a:gd name="connsiteX4288" fmla="*/ 1734155 w 2417513"/>
                  <a:gd name="connsiteY4288" fmla="*/ 15304 h 1867037"/>
                  <a:gd name="connsiteX4289" fmla="*/ 1724610 w 2417513"/>
                  <a:gd name="connsiteY4289" fmla="*/ 14546 h 1867037"/>
                  <a:gd name="connsiteX4290" fmla="*/ 1709457 w 2417513"/>
                  <a:gd name="connsiteY4290" fmla="*/ 15607 h 1867037"/>
                  <a:gd name="connsiteX4291" fmla="*/ 1691578 w 2417513"/>
                  <a:gd name="connsiteY4291" fmla="*/ 12728 h 1867037"/>
                  <a:gd name="connsiteX4292" fmla="*/ 1672335 w 2417513"/>
                  <a:gd name="connsiteY4292" fmla="*/ 12425 h 1867037"/>
                  <a:gd name="connsiteX4293" fmla="*/ 1664910 w 2417513"/>
                  <a:gd name="connsiteY4293" fmla="*/ 14243 h 1867037"/>
                  <a:gd name="connsiteX4294" fmla="*/ 1665213 w 2417513"/>
                  <a:gd name="connsiteY4294" fmla="*/ 15455 h 1867037"/>
                  <a:gd name="connsiteX4295" fmla="*/ 1669759 w 2417513"/>
                  <a:gd name="connsiteY4295" fmla="*/ 17879 h 1867037"/>
                  <a:gd name="connsiteX4296" fmla="*/ 1673547 w 2417513"/>
                  <a:gd name="connsiteY4296" fmla="*/ 20758 h 1867037"/>
                  <a:gd name="connsiteX4297" fmla="*/ 1678850 w 2417513"/>
                  <a:gd name="connsiteY4297" fmla="*/ 22880 h 1867037"/>
                  <a:gd name="connsiteX4298" fmla="*/ 1690820 w 2417513"/>
                  <a:gd name="connsiteY4298" fmla="*/ 26365 h 1867037"/>
                  <a:gd name="connsiteX4299" fmla="*/ 1702184 w 2417513"/>
                  <a:gd name="connsiteY4299" fmla="*/ 28940 h 1867037"/>
                  <a:gd name="connsiteX4300" fmla="*/ 1703396 w 2417513"/>
                  <a:gd name="connsiteY4300" fmla="*/ 30001 h 1867037"/>
                  <a:gd name="connsiteX4301" fmla="*/ 1695518 w 2417513"/>
                  <a:gd name="connsiteY4301" fmla="*/ 30304 h 1867037"/>
                  <a:gd name="connsiteX4302" fmla="*/ 1667032 w 2417513"/>
                  <a:gd name="connsiteY4302" fmla="*/ 28183 h 1867037"/>
                  <a:gd name="connsiteX4303" fmla="*/ 1651122 w 2417513"/>
                  <a:gd name="connsiteY4303" fmla="*/ 23940 h 1867037"/>
                  <a:gd name="connsiteX4304" fmla="*/ 1641425 w 2417513"/>
                  <a:gd name="connsiteY4304" fmla="*/ 23334 h 1867037"/>
                  <a:gd name="connsiteX4305" fmla="*/ 1638243 w 2417513"/>
                  <a:gd name="connsiteY4305" fmla="*/ 24546 h 1867037"/>
                  <a:gd name="connsiteX4306" fmla="*/ 1636879 w 2417513"/>
                  <a:gd name="connsiteY4306" fmla="*/ 25759 h 1867037"/>
                  <a:gd name="connsiteX4307" fmla="*/ 1637788 w 2417513"/>
                  <a:gd name="connsiteY4307" fmla="*/ 27728 h 1867037"/>
                  <a:gd name="connsiteX4308" fmla="*/ 1647031 w 2417513"/>
                  <a:gd name="connsiteY4308" fmla="*/ 36516 h 1867037"/>
                  <a:gd name="connsiteX4309" fmla="*/ 1645516 w 2417513"/>
                  <a:gd name="connsiteY4309" fmla="*/ 37577 h 1867037"/>
                  <a:gd name="connsiteX4310" fmla="*/ 1636576 w 2417513"/>
                  <a:gd name="connsiteY4310" fmla="*/ 36062 h 1867037"/>
                  <a:gd name="connsiteX4311" fmla="*/ 1625818 w 2417513"/>
                  <a:gd name="connsiteY4311" fmla="*/ 32728 h 1867037"/>
                  <a:gd name="connsiteX4312" fmla="*/ 1620212 w 2417513"/>
                  <a:gd name="connsiteY4312" fmla="*/ 32274 h 1867037"/>
                  <a:gd name="connsiteX4313" fmla="*/ 1611120 w 2417513"/>
                  <a:gd name="connsiteY4313" fmla="*/ 33638 h 1867037"/>
                  <a:gd name="connsiteX4314" fmla="*/ 1610969 w 2417513"/>
                  <a:gd name="connsiteY4314" fmla="*/ 35456 h 1867037"/>
                  <a:gd name="connsiteX4315" fmla="*/ 1615515 w 2417513"/>
                  <a:gd name="connsiteY4315" fmla="*/ 38032 h 1867037"/>
                  <a:gd name="connsiteX4316" fmla="*/ 1623091 w 2417513"/>
                  <a:gd name="connsiteY4316" fmla="*/ 41062 h 1867037"/>
                  <a:gd name="connsiteX4317" fmla="*/ 1622030 w 2417513"/>
                  <a:gd name="connsiteY4317" fmla="*/ 41971 h 1867037"/>
                  <a:gd name="connsiteX4318" fmla="*/ 1613696 w 2417513"/>
                  <a:gd name="connsiteY4318" fmla="*/ 42729 h 1867037"/>
                  <a:gd name="connsiteX4319" fmla="*/ 1607029 w 2417513"/>
                  <a:gd name="connsiteY4319" fmla="*/ 44699 h 1867037"/>
                  <a:gd name="connsiteX4320" fmla="*/ 1602029 w 2417513"/>
                  <a:gd name="connsiteY4320" fmla="*/ 47274 h 1867037"/>
                  <a:gd name="connsiteX4321" fmla="*/ 1602181 w 2417513"/>
                  <a:gd name="connsiteY4321" fmla="*/ 49396 h 1867037"/>
                  <a:gd name="connsiteX4322" fmla="*/ 1607484 w 2417513"/>
                  <a:gd name="connsiteY4322" fmla="*/ 53335 h 1867037"/>
                  <a:gd name="connsiteX4323" fmla="*/ 1614454 w 2417513"/>
                  <a:gd name="connsiteY4323" fmla="*/ 57275 h 1867037"/>
                  <a:gd name="connsiteX4324" fmla="*/ 1629000 w 2417513"/>
                  <a:gd name="connsiteY4324" fmla="*/ 63033 h 1867037"/>
                  <a:gd name="connsiteX4325" fmla="*/ 1665668 w 2417513"/>
                  <a:gd name="connsiteY4325" fmla="*/ 73942 h 1867037"/>
                  <a:gd name="connsiteX4326" fmla="*/ 1679305 w 2417513"/>
                  <a:gd name="connsiteY4326" fmla="*/ 80306 h 1867037"/>
                  <a:gd name="connsiteX4327" fmla="*/ 1684911 w 2417513"/>
                  <a:gd name="connsiteY4327" fmla="*/ 85458 h 1867037"/>
                  <a:gd name="connsiteX4328" fmla="*/ 1683850 w 2417513"/>
                  <a:gd name="connsiteY4328" fmla="*/ 85609 h 1867037"/>
                  <a:gd name="connsiteX4329" fmla="*/ 1677790 w 2417513"/>
                  <a:gd name="connsiteY4329" fmla="*/ 83336 h 1867037"/>
                  <a:gd name="connsiteX4330" fmla="*/ 1671729 w 2417513"/>
                  <a:gd name="connsiteY4330" fmla="*/ 80003 h 1867037"/>
                  <a:gd name="connsiteX4331" fmla="*/ 1665062 w 2417513"/>
                  <a:gd name="connsiteY4331" fmla="*/ 77276 h 1867037"/>
                  <a:gd name="connsiteX4332" fmla="*/ 1654152 w 2417513"/>
                  <a:gd name="connsiteY4332" fmla="*/ 75457 h 1867037"/>
                  <a:gd name="connsiteX4333" fmla="*/ 1625818 w 2417513"/>
                  <a:gd name="connsiteY4333" fmla="*/ 67730 h 1867037"/>
                  <a:gd name="connsiteX4334" fmla="*/ 1606878 w 2417513"/>
                  <a:gd name="connsiteY4334" fmla="*/ 61214 h 1867037"/>
                  <a:gd name="connsiteX4335" fmla="*/ 1599756 w 2417513"/>
                  <a:gd name="connsiteY4335" fmla="*/ 59245 h 1867037"/>
                  <a:gd name="connsiteX4336" fmla="*/ 1597029 w 2417513"/>
                  <a:gd name="connsiteY4336" fmla="*/ 59396 h 1867037"/>
                  <a:gd name="connsiteX4337" fmla="*/ 1595059 w 2417513"/>
                  <a:gd name="connsiteY4337" fmla="*/ 60608 h 1867037"/>
                  <a:gd name="connsiteX4338" fmla="*/ 1593998 w 2417513"/>
                  <a:gd name="connsiteY4338" fmla="*/ 62730 h 1867037"/>
                  <a:gd name="connsiteX4339" fmla="*/ 1596423 w 2417513"/>
                  <a:gd name="connsiteY4339" fmla="*/ 65305 h 1867037"/>
                  <a:gd name="connsiteX4340" fmla="*/ 1605514 w 2417513"/>
                  <a:gd name="connsiteY4340" fmla="*/ 69700 h 1867037"/>
                  <a:gd name="connsiteX4341" fmla="*/ 1604757 w 2417513"/>
                  <a:gd name="connsiteY4341" fmla="*/ 71518 h 1867037"/>
                  <a:gd name="connsiteX4342" fmla="*/ 1597180 w 2417513"/>
                  <a:gd name="connsiteY4342" fmla="*/ 70760 h 1867037"/>
                  <a:gd name="connsiteX4343" fmla="*/ 1593392 w 2417513"/>
                  <a:gd name="connsiteY4343" fmla="*/ 69548 h 1867037"/>
                  <a:gd name="connsiteX4344" fmla="*/ 1586877 w 2417513"/>
                  <a:gd name="connsiteY4344" fmla="*/ 66366 h 1867037"/>
                  <a:gd name="connsiteX4345" fmla="*/ 1582332 w 2417513"/>
                  <a:gd name="connsiteY4345" fmla="*/ 63336 h 1867037"/>
                  <a:gd name="connsiteX4346" fmla="*/ 1570967 w 2417513"/>
                  <a:gd name="connsiteY4346" fmla="*/ 53941 h 1867037"/>
                  <a:gd name="connsiteX4347" fmla="*/ 1564604 w 2417513"/>
                  <a:gd name="connsiteY4347" fmla="*/ 52275 h 1867037"/>
                  <a:gd name="connsiteX4348" fmla="*/ 1549754 w 2417513"/>
                  <a:gd name="connsiteY4348" fmla="*/ 50759 h 1867037"/>
                  <a:gd name="connsiteX4349" fmla="*/ 1544754 w 2417513"/>
                  <a:gd name="connsiteY4349" fmla="*/ 49093 h 1867037"/>
                  <a:gd name="connsiteX4350" fmla="*/ 1539451 w 2417513"/>
                  <a:gd name="connsiteY4350" fmla="*/ 46517 h 1867037"/>
                  <a:gd name="connsiteX4351" fmla="*/ 1535360 w 2417513"/>
                  <a:gd name="connsiteY4351" fmla="*/ 45759 h 1867037"/>
                  <a:gd name="connsiteX4352" fmla="*/ 1525057 w 2417513"/>
                  <a:gd name="connsiteY4352" fmla="*/ 48790 h 1867037"/>
                  <a:gd name="connsiteX4353" fmla="*/ 1519450 w 2417513"/>
                  <a:gd name="connsiteY4353" fmla="*/ 51366 h 1867037"/>
                  <a:gd name="connsiteX4354" fmla="*/ 1510814 w 2417513"/>
                  <a:gd name="connsiteY4354" fmla="*/ 56366 h 1867037"/>
                  <a:gd name="connsiteX4355" fmla="*/ 1507329 w 2417513"/>
                  <a:gd name="connsiteY4355" fmla="*/ 56972 h 1867037"/>
                  <a:gd name="connsiteX4356" fmla="*/ 1500056 w 2417513"/>
                  <a:gd name="connsiteY4356" fmla="*/ 59396 h 1867037"/>
                  <a:gd name="connsiteX4357" fmla="*/ 1488389 w 2417513"/>
                  <a:gd name="connsiteY4357" fmla="*/ 61366 h 1867037"/>
                  <a:gd name="connsiteX4358" fmla="*/ 1489298 w 2417513"/>
                  <a:gd name="connsiteY4358" fmla="*/ 63487 h 1867037"/>
                  <a:gd name="connsiteX4359" fmla="*/ 1523996 w 2417513"/>
                  <a:gd name="connsiteY4359" fmla="*/ 73033 h 1867037"/>
                  <a:gd name="connsiteX4360" fmla="*/ 1527935 w 2417513"/>
                  <a:gd name="connsiteY4360" fmla="*/ 74397 h 1867037"/>
                  <a:gd name="connsiteX4361" fmla="*/ 1531117 w 2417513"/>
                  <a:gd name="connsiteY4361" fmla="*/ 76366 h 1867037"/>
                  <a:gd name="connsiteX4362" fmla="*/ 1531269 w 2417513"/>
                  <a:gd name="connsiteY4362" fmla="*/ 77124 h 1867037"/>
                  <a:gd name="connsiteX4363" fmla="*/ 1521420 w 2417513"/>
                  <a:gd name="connsiteY4363" fmla="*/ 77124 h 1867037"/>
                  <a:gd name="connsiteX4364" fmla="*/ 1517784 w 2417513"/>
                  <a:gd name="connsiteY4364" fmla="*/ 78942 h 1867037"/>
                  <a:gd name="connsiteX4365" fmla="*/ 1514905 w 2417513"/>
                  <a:gd name="connsiteY4365" fmla="*/ 79094 h 1867037"/>
                  <a:gd name="connsiteX4366" fmla="*/ 1508692 w 2417513"/>
                  <a:gd name="connsiteY4366" fmla="*/ 77579 h 1867037"/>
                  <a:gd name="connsiteX4367" fmla="*/ 1500965 w 2417513"/>
                  <a:gd name="connsiteY4367" fmla="*/ 74245 h 1867037"/>
                  <a:gd name="connsiteX4368" fmla="*/ 1494904 w 2417513"/>
                  <a:gd name="connsiteY4368" fmla="*/ 72881 h 1867037"/>
                  <a:gd name="connsiteX4369" fmla="*/ 1488086 w 2417513"/>
                  <a:gd name="connsiteY4369" fmla="*/ 72427 h 1867037"/>
                  <a:gd name="connsiteX4370" fmla="*/ 1482479 w 2417513"/>
                  <a:gd name="connsiteY4370" fmla="*/ 73639 h 1867037"/>
                  <a:gd name="connsiteX4371" fmla="*/ 1477934 w 2417513"/>
                  <a:gd name="connsiteY4371" fmla="*/ 76366 h 1867037"/>
                  <a:gd name="connsiteX4372" fmla="*/ 1477479 w 2417513"/>
                  <a:gd name="connsiteY4372" fmla="*/ 78639 h 1867037"/>
                  <a:gd name="connsiteX4373" fmla="*/ 1472024 w 2417513"/>
                  <a:gd name="connsiteY4373" fmla="*/ 75912 h 1867037"/>
                  <a:gd name="connsiteX4374" fmla="*/ 1466873 w 2417513"/>
                  <a:gd name="connsiteY4374" fmla="*/ 72275 h 1867037"/>
                  <a:gd name="connsiteX4375" fmla="*/ 1460509 w 2417513"/>
                  <a:gd name="connsiteY4375" fmla="*/ 70154 h 1867037"/>
                  <a:gd name="connsiteX4376" fmla="*/ 1448842 w 2417513"/>
                  <a:gd name="connsiteY4376" fmla="*/ 69396 h 1867037"/>
                  <a:gd name="connsiteX4377" fmla="*/ 1435053 w 2417513"/>
                  <a:gd name="connsiteY4377" fmla="*/ 71821 h 1867037"/>
                  <a:gd name="connsiteX4378" fmla="*/ 1426568 w 2417513"/>
                  <a:gd name="connsiteY4378" fmla="*/ 74700 h 1867037"/>
                  <a:gd name="connsiteX4379" fmla="*/ 1418840 w 2417513"/>
                  <a:gd name="connsiteY4379" fmla="*/ 78791 h 1867037"/>
                  <a:gd name="connsiteX4380" fmla="*/ 1412628 w 2417513"/>
                  <a:gd name="connsiteY4380" fmla="*/ 81367 h 1867037"/>
                  <a:gd name="connsiteX4381" fmla="*/ 1405658 w 2417513"/>
                  <a:gd name="connsiteY4381" fmla="*/ 82882 h 1867037"/>
                  <a:gd name="connsiteX4382" fmla="*/ 1391112 w 2417513"/>
                  <a:gd name="connsiteY4382" fmla="*/ 82882 h 1867037"/>
                  <a:gd name="connsiteX4383" fmla="*/ 1382172 w 2417513"/>
                  <a:gd name="connsiteY4383" fmla="*/ 83942 h 1867037"/>
                  <a:gd name="connsiteX4384" fmla="*/ 1369748 w 2417513"/>
                  <a:gd name="connsiteY4384" fmla="*/ 87276 h 1867037"/>
                  <a:gd name="connsiteX4385" fmla="*/ 1362172 w 2417513"/>
                  <a:gd name="connsiteY4385" fmla="*/ 89852 h 1867037"/>
                  <a:gd name="connsiteX4386" fmla="*/ 1356565 w 2417513"/>
                  <a:gd name="connsiteY4386" fmla="*/ 92731 h 1867037"/>
                  <a:gd name="connsiteX4387" fmla="*/ 1350505 w 2417513"/>
                  <a:gd name="connsiteY4387" fmla="*/ 96670 h 1867037"/>
                  <a:gd name="connsiteX4388" fmla="*/ 1349444 w 2417513"/>
                  <a:gd name="connsiteY4388" fmla="*/ 99852 h 1867037"/>
                  <a:gd name="connsiteX4389" fmla="*/ 1357172 w 2417513"/>
                  <a:gd name="connsiteY4389" fmla="*/ 103640 h 1867037"/>
                  <a:gd name="connsiteX4390" fmla="*/ 1360202 w 2417513"/>
                  <a:gd name="connsiteY4390" fmla="*/ 103943 h 1867037"/>
                  <a:gd name="connsiteX4391" fmla="*/ 1698396 w 2417513"/>
                  <a:gd name="connsiteY4391" fmla="*/ 799726 h 1867037"/>
                  <a:gd name="connsiteX4392" fmla="*/ 1692487 w 2417513"/>
                  <a:gd name="connsiteY4392" fmla="*/ 801393 h 1867037"/>
                  <a:gd name="connsiteX4393" fmla="*/ 1689760 w 2417513"/>
                  <a:gd name="connsiteY4393" fmla="*/ 803211 h 1867037"/>
                  <a:gd name="connsiteX4394" fmla="*/ 1688093 w 2417513"/>
                  <a:gd name="connsiteY4394" fmla="*/ 805939 h 1867037"/>
                  <a:gd name="connsiteX4395" fmla="*/ 1686729 w 2417513"/>
                  <a:gd name="connsiteY4395" fmla="*/ 807757 h 1867037"/>
                  <a:gd name="connsiteX4396" fmla="*/ 1685669 w 2417513"/>
                  <a:gd name="connsiteY4396" fmla="*/ 808514 h 1867037"/>
                  <a:gd name="connsiteX4397" fmla="*/ 1685214 w 2417513"/>
                  <a:gd name="connsiteY4397" fmla="*/ 809272 h 1867037"/>
                  <a:gd name="connsiteX4398" fmla="*/ 1685669 w 2417513"/>
                  <a:gd name="connsiteY4398" fmla="*/ 810787 h 1867037"/>
                  <a:gd name="connsiteX4399" fmla="*/ 1686426 w 2417513"/>
                  <a:gd name="connsiteY4399" fmla="*/ 812302 h 1867037"/>
                  <a:gd name="connsiteX4400" fmla="*/ 1688699 w 2417513"/>
                  <a:gd name="connsiteY4400" fmla="*/ 813211 h 1867037"/>
                  <a:gd name="connsiteX4401" fmla="*/ 1690517 w 2417513"/>
                  <a:gd name="connsiteY4401" fmla="*/ 812908 h 1867037"/>
                  <a:gd name="connsiteX4402" fmla="*/ 1694760 w 2417513"/>
                  <a:gd name="connsiteY4402" fmla="*/ 811090 h 1867037"/>
                  <a:gd name="connsiteX4403" fmla="*/ 1700215 w 2417513"/>
                  <a:gd name="connsiteY4403" fmla="*/ 809575 h 1867037"/>
                  <a:gd name="connsiteX4404" fmla="*/ 1702184 w 2417513"/>
                  <a:gd name="connsiteY4404" fmla="*/ 807908 h 1867037"/>
                  <a:gd name="connsiteX4405" fmla="*/ 1704154 w 2417513"/>
                  <a:gd name="connsiteY4405" fmla="*/ 804878 h 1867037"/>
                  <a:gd name="connsiteX4406" fmla="*/ 1707184 w 2417513"/>
                  <a:gd name="connsiteY4406" fmla="*/ 801696 h 1867037"/>
                  <a:gd name="connsiteX4407" fmla="*/ 1708094 w 2417513"/>
                  <a:gd name="connsiteY4407" fmla="*/ 800332 h 1867037"/>
                  <a:gd name="connsiteX4408" fmla="*/ 1708397 w 2417513"/>
                  <a:gd name="connsiteY4408" fmla="*/ 799272 h 1867037"/>
                  <a:gd name="connsiteX4409" fmla="*/ 1708851 w 2417513"/>
                  <a:gd name="connsiteY4409" fmla="*/ 798362 h 1867037"/>
                  <a:gd name="connsiteX4410" fmla="*/ 1711427 w 2417513"/>
                  <a:gd name="connsiteY4410" fmla="*/ 795787 h 1867037"/>
                  <a:gd name="connsiteX4411" fmla="*/ 1715518 w 2417513"/>
                  <a:gd name="connsiteY4411" fmla="*/ 792756 h 1867037"/>
                  <a:gd name="connsiteX4412" fmla="*/ 1717033 w 2417513"/>
                  <a:gd name="connsiteY4412" fmla="*/ 790786 h 1867037"/>
                  <a:gd name="connsiteX4413" fmla="*/ 1716882 w 2417513"/>
                  <a:gd name="connsiteY4413" fmla="*/ 790332 h 1867037"/>
                  <a:gd name="connsiteX4414" fmla="*/ 1715821 w 2417513"/>
                  <a:gd name="connsiteY4414" fmla="*/ 788059 h 1867037"/>
                  <a:gd name="connsiteX4415" fmla="*/ 1715064 w 2417513"/>
                  <a:gd name="connsiteY4415" fmla="*/ 787150 h 1867037"/>
                  <a:gd name="connsiteX4416" fmla="*/ 1714155 w 2417513"/>
                  <a:gd name="connsiteY4416" fmla="*/ 786847 h 1867037"/>
                  <a:gd name="connsiteX4417" fmla="*/ 1710670 w 2417513"/>
                  <a:gd name="connsiteY4417" fmla="*/ 786695 h 1867037"/>
                  <a:gd name="connsiteX4418" fmla="*/ 1706882 w 2417513"/>
                  <a:gd name="connsiteY4418" fmla="*/ 787605 h 1867037"/>
                  <a:gd name="connsiteX4419" fmla="*/ 1705366 w 2417513"/>
                  <a:gd name="connsiteY4419" fmla="*/ 788514 h 1867037"/>
                  <a:gd name="connsiteX4420" fmla="*/ 1704306 w 2417513"/>
                  <a:gd name="connsiteY4420" fmla="*/ 789726 h 1867037"/>
                  <a:gd name="connsiteX4421" fmla="*/ 1704306 w 2417513"/>
                  <a:gd name="connsiteY4421" fmla="*/ 790938 h 1867037"/>
                  <a:gd name="connsiteX4422" fmla="*/ 1705366 w 2417513"/>
                  <a:gd name="connsiteY4422" fmla="*/ 792150 h 1867037"/>
                  <a:gd name="connsiteX4423" fmla="*/ 1705063 w 2417513"/>
                  <a:gd name="connsiteY4423" fmla="*/ 792756 h 1867037"/>
                  <a:gd name="connsiteX4424" fmla="*/ 1702033 w 2417513"/>
                  <a:gd name="connsiteY4424" fmla="*/ 793211 h 1867037"/>
                  <a:gd name="connsiteX4425" fmla="*/ 1701124 w 2417513"/>
                  <a:gd name="connsiteY4425" fmla="*/ 793968 h 1867037"/>
                  <a:gd name="connsiteX4426" fmla="*/ 1698548 w 2417513"/>
                  <a:gd name="connsiteY4426" fmla="*/ 798817 h 1867037"/>
                  <a:gd name="connsiteX4427" fmla="*/ 1698396 w 2417513"/>
                  <a:gd name="connsiteY4427" fmla="*/ 799726 h 1867037"/>
                  <a:gd name="connsiteX4428" fmla="*/ 1674911 w 2417513"/>
                  <a:gd name="connsiteY4428" fmla="*/ 1306260 h 1867037"/>
                  <a:gd name="connsiteX4429" fmla="*/ 1675365 w 2417513"/>
                  <a:gd name="connsiteY4429" fmla="*/ 1303684 h 1867037"/>
                  <a:gd name="connsiteX4430" fmla="*/ 1676577 w 2417513"/>
                  <a:gd name="connsiteY4430" fmla="*/ 1303987 h 1867037"/>
                  <a:gd name="connsiteX4431" fmla="*/ 1677032 w 2417513"/>
                  <a:gd name="connsiteY4431" fmla="*/ 1303684 h 1867037"/>
                  <a:gd name="connsiteX4432" fmla="*/ 1677183 w 2417513"/>
                  <a:gd name="connsiteY4432" fmla="*/ 1302169 h 1867037"/>
                  <a:gd name="connsiteX4433" fmla="*/ 1676880 w 2417513"/>
                  <a:gd name="connsiteY4433" fmla="*/ 1300199 h 1867037"/>
                  <a:gd name="connsiteX4434" fmla="*/ 1676426 w 2417513"/>
                  <a:gd name="connsiteY4434" fmla="*/ 1300047 h 1867037"/>
                  <a:gd name="connsiteX4435" fmla="*/ 1675668 w 2417513"/>
                  <a:gd name="connsiteY4435" fmla="*/ 1300351 h 1867037"/>
                  <a:gd name="connsiteX4436" fmla="*/ 1674456 w 2417513"/>
                  <a:gd name="connsiteY4436" fmla="*/ 1301866 h 1867037"/>
                  <a:gd name="connsiteX4437" fmla="*/ 1674153 w 2417513"/>
                  <a:gd name="connsiteY4437" fmla="*/ 1302623 h 1867037"/>
                  <a:gd name="connsiteX4438" fmla="*/ 1674305 w 2417513"/>
                  <a:gd name="connsiteY4438" fmla="*/ 1303532 h 1867037"/>
                  <a:gd name="connsiteX4439" fmla="*/ 1673699 w 2417513"/>
                  <a:gd name="connsiteY4439" fmla="*/ 1304896 h 1867037"/>
                  <a:gd name="connsiteX4440" fmla="*/ 1674456 w 2417513"/>
                  <a:gd name="connsiteY4440" fmla="*/ 1306563 h 1867037"/>
                  <a:gd name="connsiteX4441" fmla="*/ 1674911 w 2417513"/>
                  <a:gd name="connsiteY4441" fmla="*/ 1306260 h 1867037"/>
                  <a:gd name="connsiteX4442" fmla="*/ 1671880 w 2417513"/>
                  <a:gd name="connsiteY4442" fmla="*/ 1329139 h 1867037"/>
                  <a:gd name="connsiteX4443" fmla="*/ 1670516 w 2417513"/>
                  <a:gd name="connsiteY4443" fmla="*/ 1330655 h 1867037"/>
                  <a:gd name="connsiteX4444" fmla="*/ 1670516 w 2417513"/>
                  <a:gd name="connsiteY4444" fmla="*/ 1332624 h 1867037"/>
                  <a:gd name="connsiteX4445" fmla="*/ 1671880 w 2417513"/>
                  <a:gd name="connsiteY4445" fmla="*/ 1333382 h 1867037"/>
                  <a:gd name="connsiteX4446" fmla="*/ 1672638 w 2417513"/>
                  <a:gd name="connsiteY4446" fmla="*/ 1332776 h 1867037"/>
                  <a:gd name="connsiteX4447" fmla="*/ 1673547 w 2417513"/>
                  <a:gd name="connsiteY4447" fmla="*/ 1331109 h 1867037"/>
                  <a:gd name="connsiteX4448" fmla="*/ 1673850 w 2417513"/>
                  <a:gd name="connsiteY4448" fmla="*/ 1330049 h 1867037"/>
                  <a:gd name="connsiteX4449" fmla="*/ 1672941 w 2417513"/>
                  <a:gd name="connsiteY4449" fmla="*/ 1329291 h 1867037"/>
                  <a:gd name="connsiteX4450" fmla="*/ 1671880 w 2417513"/>
                  <a:gd name="connsiteY4450" fmla="*/ 1329139 h 1867037"/>
                  <a:gd name="connsiteX4451" fmla="*/ 1681426 w 2417513"/>
                  <a:gd name="connsiteY4451" fmla="*/ 1337776 h 1867037"/>
                  <a:gd name="connsiteX4452" fmla="*/ 1682335 w 2417513"/>
                  <a:gd name="connsiteY4452" fmla="*/ 1337322 h 1867037"/>
                  <a:gd name="connsiteX4453" fmla="*/ 1682941 w 2417513"/>
                  <a:gd name="connsiteY4453" fmla="*/ 1336867 h 1867037"/>
                  <a:gd name="connsiteX4454" fmla="*/ 1683244 w 2417513"/>
                  <a:gd name="connsiteY4454" fmla="*/ 1336109 h 1867037"/>
                  <a:gd name="connsiteX4455" fmla="*/ 1683244 w 2417513"/>
                  <a:gd name="connsiteY4455" fmla="*/ 1335049 h 1867037"/>
                  <a:gd name="connsiteX4456" fmla="*/ 1682941 w 2417513"/>
                  <a:gd name="connsiteY4456" fmla="*/ 1333988 h 1867037"/>
                  <a:gd name="connsiteX4457" fmla="*/ 1682335 w 2417513"/>
                  <a:gd name="connsiteY4457" fmla="*/ 1332927 h 1867037"/>
                  <a:gd name="connsiteX4458" fmla="*/ 1681123 w 2417513"/>
                  <a:gd name="connsiteY4458" fmla="*/ 1331867 h 1867037"/>
                  <a:gd name="connsiteX4459" fmla="*/ 1680668 w 2417513"/>
                  <a:gd name="connsiteY4459" fmla="*/ 1332018 h 1867037"/>
                  <a:gd name="connsiteX4460" fmla="*/ 1680365 w 2417513"/>
                  <a:gd name="connsiteY4460" fmla="*/ 1332624 h 1867037"/>
                  <a:gd name="connsiteX4461" fmla="*/ 1680365 w 2417513"/>
                  <a:gd name="connsiteY4461" fmla="*/ 1333230 h 1867037"/>
                  <a:gd name="connsiteX4462" fmla="*/ 1681275 w 2417513"/>
                  <a:gd name="connsiteY4462" fmla="*/ 1334443 h 1867037"/>
                  <a:gd name="connsiteX4463" fmla="*/ 1680517 w 2417513"/>
                  <a:gd name="connsiteY4463" fmla="*/ 1337928 h 1867037"/>
                  <a:gd name="connsiteX4464" fmla="*/ 1681426 w 2417513"/>
                  <a:gd name="connsiteY4464" fmla="*/ 1337776 h 1867037"/>
                  <a:gd name="connsiteX4465" fmla="*/ 1669001 w 2417513"/>
                  <a:gd name="connsiteY4465" fmla="*/ 1133223 h 1867037"/>
                  <a:gd name="connsiteX4466" fmla="*/ 1671880 w 2417513"/>
                  <a:gd name="connsiteY4466" fmla="*/ 1136254 h 1867037"/>
                  <a:gd name="connsiteX4467" fmla="*/ 1674002 w 2417513"/>
                  <a:gd name="connsiteY4467" fmla="*/ 1137769 h 1867037"/>
                  <a:gd name="connsiteX4468" fmla="*/ 1675517 w 2417513"/>
                  <a:gd name="connsiteY4468" fmla="*/ 1137769 h 1867037"/>
                  <a:gd name="connsiteX4469" fmla="*/ 1676880 w 2417513"/>
                  <a:gd name="connsiteY4469" fmla="*/ 1137011 h 1867037"/>
                  <a:gd name="connsiteX4470" fmla="*/ 1678093 w 2417513"/>
                  <a:gd name="connsiteY4470" fmla="*/ 1135648 h 1867037"/>
                  <a:gd name="connsiteX4471" fmla="*/ 1679608 w 2417513"/>
                  <a:gd name="connsiteY4471" fmla="*/ 1132920 h 1867037"/>
                  <a:gd name="connsiteX4472" fmla="*/ 1681578 w 2417513"/>
                  <a:gd name="connsiteY4472" fmla="*/ 1128829 h 1867037"/>
                  <a:gd name="connsiteX4473" fmla="*/ 1683699 w 2417513"/>
                  <a:gd name="connsiteY4473" fmla="*/ 1125193 h 1867037"/>
                  <a:gd name="connsiteX4474" fmla="*/ 1686123 w 2417513"/>
                  <a:gd name="connsiteY4474" fmla="*/ 1122011 h 1867037"/>
                  <a:gd name="connsiteX4475" fmla="*/ 1687487 w 2417513"/>
                  <a:gd name="connsiteY4475" fmla="*/ 1119586 h 1867037"/>
                  <a:gd name="connsiteX4476" fmla="*/ 1687942 w 2417513"/>
                  <a:gd name="connsiteY4476" fmla="*/ 1116253 h 1867037"/>
                  <a:gd name="connsiteX4477" fmla="*/ 1688851 w 2417513"/>
                  <a:gd name="connsiteY4477" fmla="*/ 1112768 h 1867037"/>
                  <a:gd name="connsiteX4478" fmla="*/ 1688396 w 2417513"/>
                  <a:gd name="connsiteY4478" fmla="*/ 1110192 h 1867037"/>
                  <a:gd name="connsiteX4479" fmla="*/ 1687032 w 2417513"/>
                  <a:gd name="connsiteY4479" fmla="*/ 1108222 h 1867037"/>
                  <a:gd name="connsiteX4480" fmla="*/ 1683396 w 2417513"/>
                  <a:gd name="connsiteY4480" fmla="*/ 1104434 h 1867037"/>
                  <a:gd name="connsiteX4481" fmla="*/ 1681275 w 2417513"/>
                  <a:gd name="connsiteY4481" fmla="*/ 1103222 h 1867037"/>
                  <a:gd name="connsiteX4482" fmla="*/ 1679911 w 2417513"/>
                  <a:gd name="connsiteY4482" fmla="*/ 1103222 h 1867037"/>
                  <a:gd name="connsiteX4483" fmla="*/ 1678547 w 2417513"/>
                  <a:gd name="connsiteY4483" fmla="*/ 1103828 h 1867037"/>
                  <a:gd name="connsiteX4484" fmla="*/ 1676880 w 2417513"/>
                  <a:gd name="connsiteY4484" fmla="*/ 1103980 h 1867037"/>
                  <a:gd name="connsiteX4485" fmla="*/ 1672638 w 2417513"/>
                  <a:gd name="connsiteY4485" fmla="*/ 1103525 h 1867037"/>
                  <a:gd name="connsiteX4486" fmla="*/ 1670971 w 2417513"/>
                  <a:gd name="connsiteY4486" fmla="*/ 1103980 h 1867037"/>
                  <a:gd name="connsiteX4487" fmla="*/ 1668395 w 2417513"/>
                  <a:gd name="connsiteY4487" fmla="*/ 1106101 h 1867037"/>
                  <a:gd name="connsiteX4488" fmla="*/ 1664153 w 2417513"/>
                  <a:gd name="connsiteY4488" fmla="*/ 1111556 h 1867037"/>
                  <a:gd name="connsiteX4489" fmla="*/ 1662638 w 2417513"/>
                  <a:gd name="connsiteY4489" fmla="*/ 1114132 h 1867037"/>
                  <a:gd name="connsiteX4490" fmla="*/ 1661880 w 2417513"/>
                  <a:gd name="connsiteY4490" fmla="*/ 1115950 h 1867037"/>
                  <a:gd name="connsiteX4491" fmla="*/ 1661577 w 2417513"/>
                  <a:gd name="connsiteY4491" fmla="*/ 1118374 h 1867037"/>
                  <a:gd name="connsiteX4492" fmla="*/ 1661425 w 2417513"/>
                  <a:gd name="connsiteY4492" fmla="*/ 1121102 h 1867037"/>
                  <a:gd name="connsiteX4493" fmla="*/ 1661577 w 2417513"/>
                  <a:gd name="connsiteY4493" fmla="*/ 1126556 h 1867037"/>
                  <a:gd name="connsiteX4494" fmla="*/ 1661880 w 2417513"/>
                  <a:gd name="connsiteY4494" fmla="*/ 1128223 h 1867037"/>
                  <a:gd name="connsiteX4495" fmla="*/ 1663547 w 2417513"/>
                  <a:gd name="connsiteY4495" fmla="*/ 1129890 h 1867037"/>
                  <a:gd name="connsiteX4496" fmla="*/ 1666577 w 2417513"/>
                  <a:gd name="connsiteY4496" fmla="*/ 1131102 h 1867037"/>
                  <a:gd name="connsiteX4497" fmla="*/ 1669001 w 2417513"/>
                  <a:gd name="connsiteY4497" fmla="*/ 1133223 h 1867037"/>
                  <a:gd name="connsiteX4498" fmla="*/ 1668092 w 2417513"/>
                  <a:gd name="connsiteY4498" fmla="*/ 1464902 h 1867037"/>
                  <a:gd name="connsiteX4499" fmla="*/ 1669001 w 2417513"/>
                  <a:gd name="connsiteY4499" fmla="*/ 1465508 h 1867037"/>
                  <a:gd name="connsiteX4500" fmla="*/ 1670820 w 2417513"/>
                  <a:gd name="connsiteY4500" fmla="*/ 1465660 h 1867037"/>
                  <a:gd name="connsiteX4501" fmla="*/ 1670820 w 2417513"/>
                  <a:gd name="connsiteY4501" fmla="*/ 1464599 h 1867037"/>
                  <a:gd name="connsiteX4502" fmla="*/ 1669759 w 2417513"/>
                  <a:gd name="connsiteY4502" fmla="*/ 1462781 h 1867037"/>
                  <a:gd name="connsiteX4503" fmla="*/ 1667638 w 2417513"/>
                  <a:gd name="connsiteY4503" fmla="*/ 1462326 h 1867037"/>
                  <a:gd name="connsiteX4504" fmla="*/ 1667032 w 2417513"/>
                  <a:gd name="connsiteY4504" fmla="*/ 1463084 h 1867037"/>
                  <a:gd name="connsiteX4505" fmla="*/ 1667183 w 2417513"/>
                  <a:gd name="connsiteY4505" fmla="*/ 1463841 h 1867037"/>
                  <a:gd name="connsiteX4506" fmla="*/ 1668092 w 2417513"/>
                  <a:gd name="connsiteY4506" fmla="*/ 1464902 h 1867037"/>
                  <a:gd name="connsiteX4507" fmla="*/ 1701275 w 2417513"/>
                  <a:gd name="connsiteY4507" fmla="*/ 1357019 h 1867037"/>
                  <a:gd name="connsiteX4508" fmla="*/ 1703094 w 2417513"/>
                  <a:gd name="connsiteY4508" fmla="*/ 1355959 h 1867037"/>
                  <a:gd name="connsiteX4509" fmla="*/ 1704457 w 2417513"/>
                  <a:gd name="connsiteY4509" fmla="*/ 1354443 h 1867037"/>
                  <a:gd name="connsiteX4510" fmla="*/ 1705518 w 2417513"/>
                  <a:gd name="connsiteY4510" fmla="*/ 1352625 h 1867037"/>
                  <a:gd name="connsiteX4511" fmla="*/ 1705972 w 2417513"/>
                  <a:gd name="connsiteY4511" fmla="*/ 1350352 h 1867037"/>
                  <a:gd name="connsiteX4512" fmla="*/ 1705669 w 2417513"/>
                  <a:gd name="connsiteY4512" fmla="*/ 1345655 h 1867037"/>
                  <a:gd name="connsiteX4513" fmla="*/ 1704154 w 2417513"/>
                  <a:gd name="connsiteY4513" fmla="*/ 1345655 h 1867037"/>
                  <a:gd name="connsiteX4514" fmla="*/ 1703094 w 2417513"/>
                  <a:gd name="connsiteY4514" fmla="*/ 1346413 h 1867037"/>
                  <a:gd name="connsiteX4515" fmla="*/ 1702033 w 2417513"/>
                  <a:gd name="connsiteY4515" fmla="*/ 1347928 h 1867037"/>
                  <a:gd name="connsiteX4516" fmla="*/ 1701427 w 2417513"/>
                  <a:gd name="connsiteY4516" fmla="*/ 1349595 h 1867037"/>
                  <a:gd name="connsiteX4517" fmla="*/ 1701275 w 2417513"/>
                  <a:gd name="connsiteY4517" fmla="*/ 1351564 h 1867037"/>
                  <a:gd name="connsiteX4518" fmla="*/ 1700518 w 2417513"/>
                  <a:gd name="connsiteY4518" fmla="*/ 1353837 h 1867037"/>
                  <a:gd name="connsiteX4519" fmla="*/ 1699154 w 2417513"/>
                  <a:gd name="connsiteY4519" fmla="*/ 1356413 h 1867037"/>
                  <a:gd name="connsiteX4520" fmla="*/ 1699002 w 2417513"/>
                  <a:gd name="connsiteY4520" fmla="*/ 1357777 h 1867037"/>
                  <a:gd name="connsiteX4521" fmla="*/ 1700063 w 2417513"/>
                  <a:gd name="connsiteY4521" fmla="*/ 1357777 h 1867037"/>
                  <a:gd name="connsiteX4522" fmla="*/ 1701275 w 2417513"/>
                  <a:gd name="connsiteY4522" fmla="*/ 1357019 h 1867037"/>
                  <a:gd name="connsiteX4523" fmla="*/ 1661274 w 2417513"/>
                  <a:gd name="connsiteY4523" fmla="*/ 1219135 h 1867037"/>
                  <a:gd name="connsiteX4524" fmla="*/ 1662486 w 2417513"/>
                  <a:gd name="connsiteY4524" fmla="*/ 1218226 h 1867037"/>
                  <a:gd name="connsiteX4525" fmla="*/ 1664001 w 2417513"/>
                  <a:gd name="connsiteY4525" fmla="*/ 1216711 h 1867037"/>
                  <a:gd name="connsiteX4526" fmla="*/ 1664456 w 2417513"/>
                  <a:gd name="connsiteY4526" fmla="*/ 1215650 h 1867037"/>
                  <a:gd name="connsiteX4527" fmla="*/ 1663244 w 2417513"/>
                  <a:gd name="connsiteY4527" fmla="*/ 1215044 h 1867037"/>
                  <a:gd name="connsiteX4528" fmla="*/ 1662031 w 2417513"/>
                  <a:gd name="connsiteY4528" fmla="*/ 1216863 h 1867037"/>
                  <a:gd name="connsiteX4529" fmla="*/ 1660819 w 2417513"/>
                  <a:gd name="connsiteY4529" fmla="*/ 1217014 h 1867037"/>
                  <a:gd name="connsiteX4530" fmla="*/ 1660062 w 2417513"/>
                  <a:gd name="connsiteY4530" fmla="*/ 1218681 h 1867037"/>
                  <a:gd name="connsiteX4531" fmla="*/ 1660213 w 2417513"/>
                  <a:gd name="connsiteY4531" fmla="*/ 1219135 h 1867037"/>
                  <a:gd name="connsiteX4532" fmla="*/ 1661274 w 2417513"/>
                  <a:gd name="connsiteY4532" fmla="*/ 1219135 h 1867037"/>
                  <a:gd name="connsiteX4533" fmla="*/ 1669759 w 2417513"/>
                  <a:gd name="connsiteY4533" fmla="*/ 1354595 h 1867037"/>
                  <a:gd name="connsiteX4534" fmla="*/ 1677638 w 2417513"/>
                  <a:gd name="connsiteY4534" fmla="*/ 1349898 h 1867037"/>
                  <a:gd name="connsiteX4535" fmla="*/ 1679153 w 2417513"/>
                  <a:gd name="connsiteY4535" fmla="*/ 1347625 h 1867037"/>
                  <a:gd name="connsiteX4536" fmla="*/ 1680668 w 2417513"/>
                  <a:gd name="connsiteY4536" fmla="*/ 1344595 h 1867037"/>
                  <a:gd name="connsiteX4537" fmla="*/ 1679911 w 2417513"/>
                  <a:gd name="connsiteY4537" fmla="*/ 1344898 h 1867037"/>
                  <a:gd name="connsiteX4538" fmla="*/ 1677790 w 2417513"/>
                  <a:gd name="connsiteY4538" fmla="*/ 1347019 h 1867037"/>
                  <a:gd name="connsiteX4539" fmla="*/ 1675971 w 2417513"/>
                  <a:gd name="connsiteY4539" fmla="*/ 1348080 h 1867037"/>
                  <a:gd name="connsiteX4540" fmla="*/ 1674305 w 2417513"/>
                  <a:gd name="connsiteY4540" fmla="*/ 1348080 h 1867037"/>
                  <a:gd name="connsiteX4541" fmla="*/ 1673092 w 2417513"/>
                  <a:gd name="connsiteY4541" fmla="*/ 1348383 h 1867037"/>
                  <a:gd name="connsiteX4542" fmla="*/ 1672486 w 2417513"/>
                  <a:gd name="connsiteY4542" fmla="*/ 1349140 h 1867037"/>
                  <a:gd name="connsiteX4543" fmla="*/ 1668850 w 2417513"/>
                  <a:gd name="connsiteY4543" fmla="*/ 1350352 h 1867037"/>
                  <a:gd name="connsiteX4544" fmla="*/ 1667486 w 2417513"/>
                  <a:gd name="connsiteY4544" fmla="*/ 1351564 h 1867037"/>
                  <a:gd name="connsiteX4545" fmla="*/ 1666577 w 2417513"/>
                  <a:gd name="connsiteY4545" fmla="*/ 1354443 h 1867037"/>
                  <a:gd name="connsiteX4546" fmla="*/ 1668244 w 2417513"/>
                  <a:gd name="connsiteY4546" fmla="*/ 1355049 h 1867037"/>
                  <a:gd name="connsiteX4547" fmla="*/ 1669759 w 2417513"/>
                  <a:gd name="connsiteY4547" fmla="*/ 1354595 h 1867037"/>
                  <a:gd name="connsiteX4548" fmla="*/ 1670516 w 2417513"/>
                  <a:gd name="connsiteY4548" fmla="*/ 1211559 h 1867037"/>
                  <a:gd name="connsiteX4549" fmla="*/ 1671880 w 2417513"/>
                  <a:gd name="connsiteY4549" fmla="*/ 1209741 h 1867037"/>
                  <a:gd name="connsiteX4550" fmla="*/ 1670365 w 2417513"/>
                  <a:gd name="connsiteY4550" fmla="*/ 1208832 h 1867037"/>
                  <a:gd name="connsiteX4551" fmla="*/ 1668092 w 2417513"/>
                  <a:gd name="connsiteY4551" fmla="*/ 1209135 h 1867037"/>
                  <a:gd name="connsiteX4552" fmla="*/ 1666880 w 2417513"/>
                  <a:gd name="connsiteY4552" fmla="*/ 1209893 h 1867037"/>
                  <a:gd name="connsiteX4553" fmla="*/ 1665819 w 2417513"/>
                  <a:gd name="connsiteY4553" fmla="*/ 1211105 h 1867037"/>
                  <a:gd name="connsiteX4554" fmla="*/ 1664607 w 2417513"/>
                  <a:gd name="connsiteY4554" fmla="*/ 1213529 h 1867037"/>
                  <a:gd name="connsiteX4555" fmla="*/ 1667486 w 2417513"/>
                  <a:gd name="connsiteY4555" fmla="*/ 1213226 h 1867037"/>
                  <a:gd name="connsiteX4556" fmla="*/ 1670516 w 2417513"/>
                  <a:gd name="connsiteY4556" fmla="*/ 1211559 h 1867037"/>
                  <a:gd name="connsiteX4557" fmla="*/ 1713700 w 2417513"/>
                  <a:gd name="connsiteY4557" fmla="*/ 1172619 h 1867037"/>
                  <a:gd name="connsiteX4558" fmla="*/ 1716276 w 2417513"/>
                  <a:gd name="connsiteY4558" fmla="*/ 1171406 h 1867037"/>
                  <a:gd name="connsiteX4559" fmla="*/ 1717336 w 2417513"/>
                  <a:gd name="connsiteY4559" fmla="*/ 1169891 h 1867037"/>
                  <a:gd name="connsiteX4560" fmla="*/ 1712942 w 2417513"/>
                  <a:gd name="connsiteY4560" fmla="*/ 1170346 h 1867037"/>
                  <a:gd name="connsiteX4561" fmla="*/ 1707184 w 2417513"/>
                  <a:gd name="connsiteY4561" fmla="*/ 1171861 h 1867037"/>
                  <a:gd name="connsiteX4562" fmla="*/ 1705669 w 2417513"/>
                  <a:gd name="connsiteY4562" fmla="*/ 1173528 h 1867037"/>
                  <a:gd name="connsiteX4563" fmla="*/ 1705669 w 2417513"/>
                  <a:gd name="connsiteY4563" fmla="*/ 1174134 h 1867037"/>
                  <a:gd name="connsiteX4564" fmla="*/ 1709457 w 2417513"/>
                  <a:gd name="connsiteY4564" fmla="*/ 1173679 h 1867037"/>
                  <a:gd name="connsiteX4565" fmla="*/ 1713700 w 2417513"/>
                  <a:gd name="connsiteY4565" fmla="*/ 1172619 h 1867037"/>
                  <a:gd name="connsiteX4566" fmla="*/ 1528693 w 2417513"/>
                  <a:gd name="connsiteY4566" fmla="*/ 953823 h 1867037"/>
                  <a:gd name="connsiteX4567" fmla="*/ 1529754 w 2417513"/>
                  <a:gd name="connsiteY4567" fmla="*/ 956702 h 1867037"/>
                  <a:gd name="connsiteX4568" fmla="*/ 1530360 w 2417513"/>
                  <a:gd name="connsiteY4568" fmla="*/ 957611 h 1867037"/>
                  <a:gd name="connsiteX4569" fmla="*/ 1534148 w 2417513"/>
                  <a:gd name="connsiteY4569" fmla="*/ 959732 h 1867037"/>
                  <a:gd name="connsiteX4570" fmla="*/ 1535815 w 2417513"/>
                  <a:gd name="connsiteY4570" fmla="*/ 961399 h 1867037"/>
                  <a:gd name="connsiteX4571" fmla="*/ 1536875 w 2417513"/>
                  <a:gd name="connsiteY4571" fmla="*/ 963672 h 1867037"/>
                  <a:gd name="connsiteX4572" fmla="*/ 1538239 w 2417513"/>
                  <a:gd name="connsiteY4572" fmla="*/ 965035 h 1867037"/>
                  <a:gd name="connsiteX4573" fmla="*/ 1539754 w 2417513"/>
                  <a:gd name="connsiteY4573" fmla="*/ 965338 h 1867037"/>
                  <a:gd name="connsiteX4574" fmla="*/ 1541118 w 2417513"/>
                  <a:gd name="connsiteY4574" fmla="*/ 964884 h 1867037"/>
                  <a:gd name="connsiteX4575" fmla="*/ 1542481 w 2417513"/>
                  <a:gd name="connsiteY4575" fmla="*/ 963520 h 1867037"/>
                  <a:gd name="connsiteX4576" fmla="*/ 1543087 w 2417513"/>
                  <a:gd name="connsiteY4576" fmla="*/ 962308 h 1867037"/>
                  <a:gd name="connsiteX4577" fmla="*/ 1543087 w 2417513"/>
                  <a:gd name="connsiteY4577" fmla="*/ 961096 h 1867037"/>
                  <a:gd name="connsiteX4578" fmla="*/ 1540663 w 2417513"/>
                  <a:gd name="connsiteY4578" fmla="*/ 955035 h 1867037"/>
                  <a:gd name="connsiteX4579" fmla="*/ 1538845 w 2417513"/>
                  <a:gd name="connsiteY4579" fmla="*/ 952004 h 1867037"/>
                  <a:gd name="connsiteX4580" fmla="*/ 1535815 w 2417513"/>
                  <a:gd name="connsiteY4580" fmla="*/ 948216 h 1867037"/>
                  <a:gd name="connsiteX4581" fmla="*/ 1535209 w 2417513"/>
                  <a:gd name="connsiteY4581" fmla="*/ 946853 h 1867037"/>
                  <a:gd name="connsiteX4582" fmla="*/ 1534451 w 2417513"/>
                  <a:gd name="connsiteY4582" fmla="*/ 945792 h 1867037"/>
                  <a:gd name="connsiteX4583" fmla="*/ 1533996 w 2417513"/>
                  <a:gd name="connsiteY4583" fmla="*/ 945338 h 1867037"/>
                  <a:gd name="connsiteX4584" fmla="*/ 1531421 w 2417513"/>
                  <a:gd name="connsiteY4584" fmla="*/ 944580 h 1867037"/>
                  <a:gd name="connsiteX4585" fmla="*/ 1528238 w 2417513"/>
                  <a:gd name="connsiteY4585" fmla="*/ 945035 h 1867037"/>
                  <a:gd name="connsiteX4586" fmla="*/ 1527481 w 2417513"/>
                  <a:gd name="connsiteY4586" fmla="*/ 947004 h 1867037"/>
                  <a:gd name="connsiteX4587" fmla="*/ 1527481 w 2417513"/>
                  <a:gd name="connsiteY4587" fmla="*/ 948368 h 1867037"/>
                  <a:gd name="connsiteX4588" fmla="*/ 1528238 w 2417513"/>
                  <a:gd name="connsiteY4588" fmla="*/ 950944 h 1867037"/>
                  <a:gd name="connsiteX4589" fmla="*/ 1528693 w 2417513"/>
                  <a:gd name="connsiteY4589" fmla="*/ 953823 h 1867037"/>
                  <a:gd name="connsiteX4590" fmla="*/ 1568089 w 2417513"/>
                  <a:gd name="connsiteY4590" fmla="*/ 950641 h 1867037"/>
                  <a:gd name="connsiteX4591" fmla="*/ 1567937 w 2417513"/>
                  <a:gd name="connsiteY4591" fmla="*/ 949277 h 1867037"/>
                  <a:gd name="connsiteX4592" fmla="*/ 1565664 w 2417513"/>
                  <a:gd name="connsiteY4592" fmla="*/ 947156 h 1867037"/>
                  <a:gd name="connsiteX4593" fmla="*/ 1561118 w 2417513"/>
                  <a:gd name="connsiteY4593" fmla="*/ 944428 h 1867037"/>
                  <a:gd name="connsiteX4594" fmla="*/ 1556421 w 2417513"/>
                  <a:gd name="connsiteY4594" fmla="*/ 942156 h 1867037"/>
                  <a:gd name="connsiteX4595" fmla="*/ 1548694 w 2417513"/>
                  <a:gd name="connsiteY4595" fmla="*/ 939731 h 1867037"/>
                  <a:gd name="connsiteX4596" fmla="*/ 1547330 w 2417513"/>
                  <a:gd name="connsiteY4596" fmla="*/ 940792 h 1867037"/>
                  <a:gd name="connsiteX4597" fmla="*/ 1547027 w 2417513"/>
                  <a:gd name="connsiteY4597" fmla="*/ 941550 h 1867037"/>
                  <a:gd name="connsiteX4598" fmla="*/ 1547482 w 2417513"/>
                  <a:gd name="connsiteY4598" fmla="*/ 942610 h 1867037"/>
                  <a:gd name="connsiteX4599" fmla="*/ 1549754 w 2417513"/>
                  <a:gd name="connsiteY4599" fmla="*/ 945035 h 1867037"/>
                  <a:gd name="connsiteX4600" fmla="*/ 1552482 w 2417513"/>
                  <a:gd name="connsiteY4600" fmla="*/ 945944 h 1867037"/>
                  <a:gd name="connsiteX4601" fmla="*/ 1553846 w 2417513"/>
                  <a:gd name="connsiteY4601" fmla="*/ 946853 h 1867037"/>
                  <a:gd name="connsiteX4602" fmla="*/ 1554603 w 2417513"/>
                  <a:gd name="connsiteY4602" fmla="*/ 948065 h 1867037"/>
                  <a:gd name="connsiteX4603" fmla="*/ 1555967 w 2417513"/>
                  <a:gd name="connsiteY4603" fmla="*/ 949277 h 1867037"/>
                  <a:gd name="connsiteX4604" fmla="*/ 1556270 w 2417513"/>
                  <a:gd name="connsiteY4604" fmla="*/ 951095 h 1867037"/>
                  <a:gd name="connsiteX4605" fmla="*/ 1556573 w 2417513"/>
                  <a:gd name="connsiteY4605" fmla="*/ 955944 h 1867037"/>
                  <a:gd name="connsiteX4606" fmla="*/ 1559603 w 2417513"/>
                  <a:gd name="connsiteY4606" fmla="*/ 956853 h 1867037"/>
                  <a:gd name="connsiteX4607" fmla="*/ 1561573 w 2417513"/>
                  <a:gd name="connsiteY4607" fmla="*/ 956550 h 1867037"/>
                  <a:gd name="connsiteX4608" fmla="*/ 1565058 w 2417513"/>
                  <a:gd name="connsiteY4608" fmla="*/ 955186 h 1867037"/>
                  <a:gd name="connsiteX4609" fmla="*/ 1565816 w 2417513"/>
                  <a:gd name="connsiteY4609" fmla="*/ 955944 h 1867037"/>
                  <a:gd name="connsiteX4610" fmla="*/ 1568089 w 2417513"/>
                  <a:gd name="connsiteY4610" fmla="*/ 956550 h 1867037"/>
                  <a:gd name="connsiteX4611" fmla="*/ 1565513 w 2417513"/>
                  <a:gd name="connsiteY4611" fmla="*/ 958671 h 1867037"/>
                  <a:gd name="connsiteX4612" fmla="*/ 1565210 w 2417513"/>
                  <a:gd name="connsiteY4612" fmla="*/ 960035 h 1867037"/>
                  <a:gd name="connsiteX4613" fmla="*/ 1565816 w 2417513"/>
                  <a:gd name="connsiteY4613" fmla="*/ 960490 h 1867037"/>
                  <a:gd name="connsiteX4614" fmla="*/ 1569604 w 2417513"/>
                  <a:gd name="connsiteY4614" fmla="*/ 960944 h 1867037"/>
                  <a:gd name="connsiteX4615" fmla="*/ 1570058 w 2417513"/>
                  <a:gd name="connsiteY4615" fmla="*/ 960793 h 1867037"/>
                  <a:gd name="connsiteX4616" fmla="*/ 1569755 w 2417513"/>
                  <a:gd name="connsiteY4616" fmla="*/ 960035 h 1867037"/>
                  <a:gd name="connsiteX4617" fmla="*/ 1569907 w 2417513"/>
                  <a:gd name="connsiteY4617" fmla="*/ 959429 h 1867037"/>
                  <a:gd name="connsiteX4618" fmla="*/ 1570664 w 2417513"/>
                  <a:gd name="connsiteY4618" fmla="*/ 958974 h 1867037"/>
                  <a:gd name="connsiteX4619" fmla="*/ 1571270 w 2417513"/>
                  <a:gd name="connsiteY4619" fmla="*/ 959126 h 1867037"/>
                  <a:gd name="connsiteX4620" fmla="*/ 1572483 w 2417513"/>
                  <a:gd name="connsiteY4620" fmla="*/ 960490 h 1867037"/>
                  <a:gd name="connsiteX4621" fmla="*/ 1573695 w 2417513"/>
                  <a:gd name="connsiteY4621" fmla="*/ 961096 h 1867037"/>
                  <a:gd name="connsiteX4622" fmla="*/ 1576877 w 2417513"/>
                  <a:gd name="connsiteY4622" fmla="*/ 962308 h 1867037"/>
                  <a:gd name="connsiteX4623" fmla="*/ 1578240 w 2417513"/>
                  <a:gd name="connsiteY4623" fmla="*/ 962308 h 1867037"/>
                  <a:gd name="connsiteX4624" fmla="*/ 1580059 w 2417513"/>
                  <a:gd name="connsiteY4624" fmla="*/ 960641 h 1867037"/>
                  <a:gd name="connsiteX4625" fmla="*/ 1580816 w 2417513"/>
                  <a:gd name="connsiteY4625" fmla="*/ 959277 h 1867037"/>
                  <a:gd name="connsiteX4626" fmla="*/ 1580816 w 2417513"/>
                  <a:gd name="connsiteY4626" fmla="*/ 958520 h 1867037"/>
                  <a:gd name="connsiteX4627" fmla="*/ 1580059 w 2417513"/>
                  <a:gd name="connsiteY4627" fmla="*/ 958217 h 1867037"/>
                  <a:gd name="connsiteX4628" fmla="*/ 1574452 w 2417513"/>
                  <a:gd name="connsiteY4628" fmla="*/ 957611 h 1867037"/>
                  <a:gd name="connsiteX4629" fmla="*/ 1570664 w 2417513"/>
                  <a:gd name="connsiteY4629" fmla="*/ 956550 h 1867037"/>
                  <a:gd name="connsiteX4630" fmla="*/ 1567179 w 2417513"/>
                  <a:gd name="connsiteY4630" fmla="*/ 954732 h 1867037"/>
                  <a:gd name="connsiteX4631" fmla="*/ 1566119 w 2417513"/>
                  <a:gd name="connsiteY4631" fmla="*/ 953217 h 1867037"/>
                  <a:gd name="connsiteX4632" fmla="*/ 1567482 w 2417513"/>
                  <a:gd name="connsiteY4632" fmla="*/ 951853 h 1867037"/>
                  <a:gd name="connsiteX4633" fmla="*/ 1568089 w 2417513"/>
                  <a:gd name="connsiteY4633" fmla="*/ 950641 h 1867037"/>
                  <a:gd name="connsiteX4634" fmla="*/ 1660819 w 2417513"/>
                  <a:gd name="connsiteY4634" fmla="*/ 1045038 h 1867037"/>
                  <a:gd name="connsiteX4635" fmla="*/ 1661880 w 2417513"/>
                  <a:gd name="connsiteY4635" fmla="*/ 1043371 h 1867037"/>
                  <a:gd name="connsiteX4636" fmla="*/ 1656728 w 2417513"/>
                  <a:gd name="connsiteY4636" fmla="*/ 1040644 h 1867037"/>
                  <a:gd name="connsiteX4637" fmla="*/ 1650819 w 2417513"/>
                  <a:gd name="connsiteY4637" fmla="*/ 1038977 h 1867037"/>
                  <a:gd name="connsiteX4638" fmla="*/ 1653243 w 2417513"/>
                  <a:gd name="connsiteY4638" fmla="*/ 1038674 h 1867037"/>
                  <a:gd name="connsiteX4639" fmla="*/ 1653546 w 2417513"/>
                  <a:gd name="connsiteY4639" fmla="*/ 1037614 h 1867037"/>
                  <a:gd name="connsiteX4640" fmla="*/ 1652485 w 2417513"/>
                  <a:gd name="connsiteY4640" fmla="*/ 1035795 h 1867037"/>
                  <a:gd name="connsiteX4641" fmla="*/ 1650061 w 2417513"/>
                  <a:gd name="connsiteY4641" fmla="*/ 1033523 h 1867037"/>
                  <a:gd name="connsiteX4642" fmla="*/ 1646425 w 2417513"/>
                  <a:gd name="connsiteY4642" fmla="*/ 1030795 h 1867037"/>
                  <a:gd name="connsiteX4643" fmla="*/ 1643849 w 2417513"/>
                  <a:gd name="connsiteY4643" fmla="*/ 1030341 h 1867037"/>
                  <a:gd name="connsiteX4644" fmla="*/ 1641576 w 2417513"/>
                  <a:gd name="connsiteY4644" fmla="*/ 1033220 h 1867037"/>
                  <a:gd name="connsiteX4645" fmla="*/ 1641121 w 2417513"/>
                  <a:gd name="connsiteY4645" fmla="*/ 1033371 h 1867037"/>
                  <a:gd name="connsiteX4646" fmla="*/ 1638849 w 2417513"/>
                  <a:gd name="connsiteY4646" fmla="*/ 1033068 h 1867037"/>
                  <a:gd name="connsiteX4647" fmla="*/ 1632485 w 2417513"/>
                  <a:gd name="connsiteY4647" fmla="*/ 1031401 h 1867037"/>
                  <a:gd name="connsiteX4648" fmla="*/ 1622030 w 2417513"/>
                  <a:gd name="connsiteY4648" fmla="*/ 1033826 h 1867037"/>
                  <a:gd name="connsiteX4649" fmla="*/ 1617333 w 2417513"/>
                  <a:gd name="connsiteY4649" fmla="*/ 1034129 h 1867037"/>
                  <a:gd name="connsiteX4650" fmla="*/ 1616878 w 2417513"/>
                  <a:gd name="connsiteY4650" fmla="*/ 1033523 h 1867037"/>
                  <a:gd name="connsiteX4651" fmla="*/ 1621878 w 2417513"/>
                  <a:gd name="connsiteY4651" fmla="*/ 1029735 h 1867037"/>
                  <a:gd name="connsiteX4652" fmla="*/ 1622939 w 2417513"/>
                  <a:gd name="connsiteY4652" fmla="*/ 1028522 h 1867037"/>
                  <a:gd name="connsiteX4653" fmla="*/ 1623242 w 2417513"/>
                  <a:gd name="connsiteY4653" fmla="*/ 1027462 h 1867037"/>
                  <a:gd name="connsiteX4654" fmla="*/ 1622939 w 2417513"/>
                  <a:gd name="connsiteY4654" fmla="*/ 1025644 h 1867037"/>
                  <a:gd name="connsiteX4655" fmla="*/ 1619909 w 2417513"/>
                  <a:gd name="connsiteY4655" fmla="*/ 1016249 h 1867037"/>
                  <a:gd name="connsiteX4656" fmla="*/ 1615969 w 2417513"/>
                  <a:gd name="connsiteY4656" fmla="*/ 1010340 h 1867037"/>
                  <a:gd name="connsiteX4657" fmla="*/ 1612636 w 2417513"/>
                  <a:gd name="connsiteY4657" fmla="*/ 1006552 h 1867037"/>
                  <a:gd name="connsiteX4658" fmla="*/ 1609605 w 2417513"/>
                  <a:gd name="connsiteY4658" fmla="*/ 1004431 h 1867037"/>
                  <a:gd name="connsiteX4659" fmla="*/ 1606575 w 2417513"/>
                  <a:gd name="connsiteY4659" fmla="*/ 1003067 h 1867037"/>
                  <a:gd name="connsiteX4660" fmla="*/ 1597938 w 2417513"/>
                  <a:gd name="connsiteY4660" fmla="*/ 1001249 h 1867037"/>
                  <a:gd name="connsiteX4661" fmla="*/ 1595665 w 2417513"/>
                  <a:gd name="connsiteY4661" fmla="*/ 1000491 h 1867037"/>
                  <a:gd name="connsiteX4662" fmla="*/ 1586877 w 2417513"/>
                  <a:gd name="connsiteY4662" fmla="*/ 995036 h 1867037"/>
                  <a:gd name="connsiteX4663" fmla="*/ 1581119 w 2417513"/>
                  <a:gd name="connsiteY4663" fmla="*/ 992612 h 1867037"/>
                  <a:gd name="connsiteX4664" fmla="*/ 1580513 w 2417513"/>
                  <a:gd name="connsiteY4664" fmla="*/ 992309 h 1867037"/>
                  <a:gd name="connsiteX4665" fmla="*/ 1575513 w 2417513"/>
                  <a:gd name="connsiteY4665" fmla="*/ 986248 h 1867037"/>
                  <a:gd name="connsiteX4666" fmla="*/ 1573240 w 2417513"/>
                  <a:gd name="connsiteY4666" fmla="*/ 985036 h 1867037"/>
                  <a:gd name="connsiteX4667" fmla="*/ 1566876 w 2417513"/>
                  <a:gd name="connsiteY4667" fmla="*/ 983369 h 1867037"/>
                  <a:gd name="connsiteX4668" fmla="*/ 1562028 w 2417513"/>
                  <a:gd name="connsiteY4668" fmla="*/ 982763 h 1867037"/>
                  <a:gd name="connsiteX4669" fmla="*/ 1557028 w 2417513"/>
                  <a:gd name="connsiteY4669" fmla="*/ 981096 h 1867037"/>
                  <a:gd name="connsiteX4670" fmla="*/ 1555664 w 2417513"/>
                  <a:gd name="connsiteY4670" fmla="*/ 979884 h 1867037"/>
                  <a:gd name="connsiteX4671" fmla="*/ 1554452 w 2417513"/>
                  <a:gd name="connsiteY4671" fmla="*/ 976702 h 1867037"/>
                  <a:gd name="connsiteX4672" fmla="*/ 1552027 w 2417513"/>
                  <a:gd name="connsiteY4672" fmla="*/ 974429 h 1867037"/>
                  <a:gd name="connsiteX4673" fmla="*/ 1545664 w 2417513"/>
                  <a:gd name="connsiteY4673" fmla="*/ 970338 h 1867037"/>
                  <a:gd name="connsiteX4674" fmla="*/ 1543845 w 2417513"/>
                  <a:gd name="connsiteY4674" fmla="*/ 970187 h 1867037"/>
                  <a:gd name="connsiteX4675" fmla="*/ 1542633 w 2417513"/>
                  <a:gd name="connsiteY4675" fmla="*/ 970793 h 1867037"/>
                  <a:gd name="connsiteX4676" fmla="*/ 1538239 w 2417513"/>
                  <a:gd name="connsiteY4676" fmla="*/ 977157 h 1867037"/>
                  <a:gd name="connsiteX4677" fmla="*/ 1536269 w 2417513"/>
                  <a:gd name="connsiteY4677" fmla="*/ 979430 h 1867037"/>
                  <a:gd name="connsiteX4678" fmla="*/ 1535057 w 2417513"/>
                  <a:gd name="connsiteY4678" fmla="*/ 979733 h 1867037"/>
                  <a:gd name="connsiteX4679" fmla="*/ 1534148 w 2417513"/>
                  <a:gd name="connsiteY4679" fmla="*/ 979127 h 1867037"/>
                  <a:gd name="connsiteX4680" fmla="*/ 1530360 w 2417513"/>
                  <a:gd name="connsiteY4680" fmla="*/ 971248 h 1867037"/>
                  <a:gd name="connsiteX4681" fmla="*/ 1525360 w 2417513"/>
                  <a:gd name="connsiteY4681" fmla="*/ 967914 h 1867037"/>
                  <a:gd name="connsiteX4682" fmla="*/ 1525208 w 2417513"/>
                  <a:gd name="connsiteY4682" fmla="*/ 967157 h 1867037"/>
                  <a:gd name="connsiteX4683" fmla="*/ 1525663 w 2417513"/>
                  <a:gd name="connsiteY4683" fmla="*/ 966247 h 1867037"/>
                  <a:gd name="connsiteX4684" fmla="*/ 1528238 w 2417513"/>
                  <a:gd name="connsiteY4684" fmla="*/ 964126 h 1867037"/>
                  <a:gd name="connsiteX4685" fmla="*/ 1528996 w 2417513"/>
                  <a:gd name="connsiteY4685" fmla="*/ 962762 h 1867037"/>
                  <a:gd name="connsiteX4686" fmla="*/ 1528238 w 2417513"/>
                  <a:gd name="connsiteY4686" fmla="*/ 959581 h 1867037"/>
                  <a:gd name="connsiteX4687" fmla="*/ 1527026 w 2417513"/>
                  <a:gd name="connsiteY4687" fmla="*/ 957156 h 1867037"/>
                  <a:gd name="connsiteX4688" fmla="*/ 1525208 w 2417513"/>
                  <a:gd name="connsiteY4688" fmla="*/ 955035 h 1867037"/>
                  <a:gd name="connsiteX4689" fmla="*/ 1519753 w 2417513"/>
                  <a:gd name="connsiteY4689" fmla="*/ 952762 h 1867037"/>
                  <a:gd name="connsiteX4690" fmla="*/ 1518238 w 2417513"/>
                  <a:gd name="connsiteY4690" fmla="*/ 950338 h 1867037"/>
                  <a:gd name="connsiteX4691" fmla="*/ 1517481 w 2417513"/>
                  <a:gd name="connsiteY4691" fmla="*/ 949732 h 1867037"/>
                  <a:gd name="connsiteX4692" fmla="*/ 1516571 w 2417513"/>
                  <a:gd name="connsiteY4692" fmla="*/ 949580 h 1867037"/>
                  <a:gd name="connsiteX4693" fmla="*/ 1512632 w 2417513"/>
                  <a:gd name="connsiteY4693" fmla="*/ 951247 h 1867037"/>
                  <a:gd name="connsiteX4694" fmla="*/ 1510056 w 2417513"/>
                  <a:gd name="connsiteY4694" fmla="*/ 953217 h 1867037"/>
                  <a:gd name="connsiteX4695" fmla="*/ 1505965 w 2417513"/>
                  <a:gd name="connsiteY4695" fmla="*/ 958974 h 1867037"/>
                  <a:gd name="connsiteX4696" fmla="*/ 1504450 w 2417513"/>
                  <a:gd name="connsiteY4696" fmla="*/ 961853 h 1867037"/>
                  <a:gd name="connsiteX4697" fmla="*/ 1502935 w 2417513"/>
                  <a:gd name="connsiteY4697" fmla="*/ 966702 h 1867037"/>
                  <a:gd name="connsiteX4698" fmla="*/ 1501874 w 2417513"/>
                  <a:gd name="connsiteY4698" fmla="*/ 972005 h 1867037"/>
                  <a:gd name="connsiteX4699" fmla="*/ 1499904 w 2417513"/>
                  <a:gd name="connsiteY4699" fmla="*/ 990188 h 1867037"/>
                  <a:gd name="connsiteX4700" fmla="*/ 1498843 w 2417513"/>
                  <a:gd name="connsiteY4700" fmla="*/ 995188 h 1867037"/>
                  <a:gd name="connsiteX4701" fmla="*/ 1495662 w 2417513"/>
                  <a:gd name="connsiteY4701" fmla="*/ 1005491 h 1867037"/>
                  <a:gd name="connsiteX4702" fmla="*/ 1494904 w 2417513"/>
                  <a:gd name="connsiteY4702" fmla="*/ 1009734 h 1867037"/>
                  <a:gd name="connsiteX4703" fmla="*/ 1494904 w 2417513"/>
                  <a:gd name="connsiteY4703" fmla="*/ 1012461 h 1867037"/>
                  <a:gd name="connsiteX4704" fmla="*/ 1495510 w 2417513"/>
                  <a:gd name="connsiteY4704" fmla="*/ 1018068 h 1867037"/>
                  <a:gd name="connsiteX4705" fmla="*/ 1497783 w 2417513"/>
                  <a:gd name="connsiteY4705" fmla="*/ 1024128 h 1867037"/>
                  <a:gd name="connsiteX4706" fmla="*/ 1498389 w 2417513"/>
                  <a:gd name="connsiteY4706" fmla="*/ 1026553 h 1867037"/>
                  <a:gd name="connsiteX4707" fmla="*/ 1498389 w 2417513"/>
                  <a:gd name="connsiteY4707" fmla="*/ 1028522 h 1867037"/>
                  <a:gd name="connsiteX4708" fmla="*/ 1496874 w 2417513"/>
                  <a:gd name="connsiteY4708" fmla="*/ 1030341 h 1867037"/>
                  <a:gd name="connsiteX4709" fmla="*/ 1493843 w 2417513"/>
                  <a:gd name="connsiteY4709" fmla="*/ 1032159 h 1867037"/>
                  <a:gd name="connsiteX4710" fmla="*/ 1481116 w 2417513"/>
                  <a:gd name="connsiteY4710" fmla="*/ 1037765 h 1867037"/>
                  <a:gd name="connsiteX4711" fmla="*/ 1479903 w 2417513"/>
                  <a:gd name="connsiteY4711" fmla="*/ 1038674 h 1867037"/>
                  <a:gd name="connsiteX4712" fmla="*/ 1477176 w 2417513"/>
                  <a:gd name="connsiteY4712" fmla="*/ 1041856 h 1867037"/>
                  <a:gd name="connsiteX4713" fmla="*/ 1473843 w 2417513"/>
                  <a:gd name="connsiteY4713" fmla="*/ 1046856 h 1867037"/>
                  <a:gd name="connsiteX4714" fmla="*/ 1472934 w 2417513"/>
                  <a:gd name="connsiteY4714" fmla="*/ 1048675 h 1867037"/>
                  <a:gd name="connsiteX4715" fmla="*/ 1472782 w 2417513"/>
                  <a:gd name="connsiteY4715" fmla="*/ 1050341 h 1867037"/>
                  <a:gd name="connsiteX4716" fmla="*/ 1473237 w 2417513"/>
                  <a:gd name="connsiteY4716" fmla="*/ 1052008 h 1867037"/>
                  <a:gd name="connsiteX4717" fmla="*/ 1473994 w 2417513"/>
                  <a:gd name="connsiteY4717" fmla="*/ 1052463 h 1867037"/>
                  <a:gd name="connsiteX4718" fmla="*/ 1476722 w 2417513"/>
                  <a:gd name="connsiteY4718" fmla="*/ 1053069 h 1867037"/>
                  <a:gd name="connsiteX4719" fmla="*/ 1480510 w 2417513"/>
                  <a:gd name="connsiteY4719" fmla="*/ 1053220 h 1867037"/>
                  <a:gd name="connsiteX4720" fmla="*/ 1482328 w 2417513"/>
                  <a:gd name="connsiteY4720" fmla="*/ 1052917 h 1867037"/>
                  <a:gd name="connsiteX4721" fmla="*/ 1489752 w 2417513"/>
                  <a:gd name="connsiteY4721" fmla="*/ 1049129 h 1867037"/>
                  <a:gd name="connsiteX4722" fmla="*/ 1497177 w 2417513"/>
                  <a:gd name="connsiteY4722" fmla="*/ 1049432 h 1867037"/>
                  <a:gd name="connsiteX4723" fmla="*/ 1510814 w 2417513"/>
                  <a:gd name="connsiteY4723" fmla="*/ 1047311 h 1867037"/>
                  <a:gd name="connsiteX4724" fmla="*/ 1511723 w 2417513"/>
                  <a:gd name="connsiteY4724" fmla="*/ 1047614 h 1867037"/>
                  <a:gd name="connsiteX4725" fmla="*/ 1512480 w 2417513"/>
                  <a:gd name="connsiteY4725" fmla="*/ 1048372 h 1867037"/>
                  <a:gd name="connsiteX4726" fmla="*/ 1513086 w 2417513"/>
                  <a:gd name="connsiteY4726" fmla="*/ 1049584 h 1867037"/>
                  <a:gd name="connsiteX4727" fmla="*/ 1517178 w 2417513"/>
                  <a:gd name="connsiteY4727" fmla="*/ 1066403 h 1867037"/>
                  <a:gd name="connsiteX4728" fmla="*/ 1519147 w 2417513"/>
                  <a:gd name="connsiteY4728" fmla="*/ 1072160 h 1867037"/>
                  <a:gd name="connsiteX4729" fmla="*/ 1522026 w 2417513"/>
                  <a:gd name="connsiteY4729" fmla="*/ 1073070 h 1867037"/>
                  <a:gd name="connsiteX4730" fmla="*/ 1526269 w 2417513"/>
                  <a:gd name="connsiteY4730" fmla="*/ 1072160 h 1867037"/>
                  <a:gd name="connsiteX4731" fmla="*/ 1533845 w 2417513"/>
                  <a:gd name="connsiteY4731" fmla="*/ 1069736 h 1867037"/>
                  <a:gd name="connsiteX4732" fmla="*/ 1538390 w 2417513"/>
                  <a:gd name="connsiteY4732" fmla="*/ 1067615 h 1867037"/>
                  <a:gd name="connsiteX4733" fmla="*/ 1542785 w 2417513"/>
                  <a:gd name="connsiteY4733" fmla="*/ 1064887 h 1867037"/>
                  <a:gd name="connsiteX4734" fmla="*/ 1544906 w 2417513"/>
                  <a:gd name="connsiteY4734" fmla="*/ 1063069 h 1867037"/>
                  <a:gd name="connsiteX4735" fmla="*/ 1546270 w 2417513"/>
                  <a:gd name="connsiteY4735" fmla="*/ 1061402 h 1867037"/>
                  <a:gd name="connsiteX4736" fmla="*/ 1549452 w 2417513"/>
                  <a:gd name="connsiteY4736" fmla="*/ 1055342 h 1867037"/>
                  <a:gd name="connsiteX4737" fmla="*/ 1551573 w 2417513"/>
                  <a:gd name="connsiteY4737" fmla="*/ 1052917 h 1867037"/>
                  <a:gd name="connsiteX4738" fmla="*/ 1552936 w 2417513"/>
                  <a:gd name="connsiteY4738" fmla="*/ 1052311 h 1867037"/>
                  <a:gd name="connsiteX4739" fmla="*/ 1556118 w 2417513"/>
                  <a:gd name="connsiteY4739" fmla="*/ 1051705 h 1867037"/>
                  <a:gd name="connsiteX4740" fmla="*/ 1559452 w 2417513"/>
                  <a:gd name="connsiteY4740" fmla="*/ 1049735 h 1867037"/>
                  <a:gd name="connsiteX4741" fmla="*/ 1567482 w 2417513"/>
                  <a:gd name="connsiteY4741" fmla="*/ 1043068 h 1867037"/>
                  <a:gd name="connsiteX4742" fmla="*/ 1569301 w 2417513"/>
                  <a:gd name="connsiteY4742" fmla="*/ 1040493 h 1867037"/>
                  <a:gd name="connsiteX4743" fmla="*/ 1569907 w 2417513"/>
                  <a:gd name="connsiteY4743" fmla="*/ 1038523 h 1867037"/>
                  <a:gd name="connsiteX4744" fmla="*/ 1570513 w 2417513"/>
                  <a:gd name="connsiteY4744" fmla="*/ 1034280 h 1867037"/>
                  <a:gd name="connsiteX4745" fmla="*/ 1571422 w 2417513"/>
                  <a:gd name="connsiteY4745" fmla="*/ 1032310 h 1867037"/>
                  <a:gd name="connsiteX4746" fmla="*/ 1573846 w 2417513"/>
                  <a:gd name="connsiteY4746" fmla="*/ 1030492 h 1867037"/>
                  <a:gd name="connsiteX4747" fmla="*/ 1578998 w 2417513"/>
                  <a:gd name="connsiteY4747" fmla="*/ 1028522 h 1867037"/>
                  <a:gd name="connsiteX4748" fmla="*/ 1582180 w 2417513"/>
                  <a:gd name="connsiteY4748" fmla="*/ 1027916 h 1867037"/>
                  <a:gd name="connsiteX4749" fmla="*/ 1585513 w 2417513"/>
                  <a:gd name="connsiteY4749" fmla="*/ 1027916 h 1867037"/>
                  <a:gd name="connsiteX4750" fmla="*/ 1586877 w 2417513"/>
                  <a:gd name="connsiteY4750" fmla="*/ 1029280 h 1867037"/>
                  <a:gd name="connsiteX4751" fmla="*/ 1586271 w 2417513"/>
                  <a:gd name="connsiteY4751" fmla="*/ 1032159 h 1867037"/>
                  <a:gd name="connsiteX4752" fmla="*/ 1586422 w 2417513"/>
                  <a:gd name="connsiteY4752" fmla="*/ 1033826 h 1867037"/>
                  <a:gd name="connsiteX4753" fmla="*/ 1589301 w 2417513"/>
                  <a:gd name="connsiteY4753" fmla="*/ 1034886 h 1867037"/>
                  <a:gd name="connsiteX4754" fmla="*/ 1599150 w 2417513"/>
                  <a:gd name="connsiteY4754" fmla="*/ 1036553 h 1867037"/>
                  <a:gd name="connsiteX4755" fmla="*/ 1602029 w 2417513"/>
                  <a:gd name="connsiteY4755" fmla="*/ 1038068 h 1867037"/>
                  <a:gd name="connsiteX4756" fmla="*/ 1603544 w 2417513"/>
                  <a:gd name="connsiteY4756" fmla="*/ 1046402 h 1867037"/>
                  <a:gd name="connsiteX4757" fmla="*/ 1604453 w 2417513"/>
                  <a:gd name="connsiteY4757" fmla="*/ 1047766 h 1867037"/>
                  <a:gd name="connsiteX4758" fmla="*/ 1610817 w 2417513"/>
                  <a:gd name="connsiteY4758" fmla="*/ 1048372 h 1867037"/>
                  <a:gd name="connsiteX4759" fmla="*/ 1615817 w 2417513"/>
                  <a:gd name="connsiteY4759" fmla="*/ 1049584 h 1867037"/>
                  <a:gd name="connsiteX4760" fmla="*/ 1632030 w 2417513"/>
                  <a:gd name="connsiteY4760" fmla="*/ 1055039 h 1867037"/>
                  <a:gd name="connsiteX4761" fmla="*/ 1637333 w 2417513"/>
                  <a:gd name="connsiteY4761" fmla="*/ 1057463 h 1867037"/>
                  <a:gd name="connsiteX4762" fmla="*/ 1640970 w 2417513"/>
                  <a:gd name="connsiteY4762" fmla="*/ 1058372 h 1867037"/>
                  <a:gd name="connsiteX4763" fmla="*/ 1641879 w 2417513"/>
                  <a:gd name="connsiteY4763" fmla="*/ 1058372 h 1867037"/>
                  <a:gd name="connsiteX4764" fmla="*/ 1643546 w 2417513"/>
                  <a:gd name="connsiteY4764" fmla="*/ 1057614 h 1867037"/>
                  <a:gd name="connsiteX4765" fmla="*/ 1650213 w 2417513"/>
                  <a:gd name="connsiteY4765" fmla="*/ 1052614 h 1867037"/>
                  <a:gd name="connsiteX4766" fmla="*/ 1655971 w 2417513"/>
                  <a:gd name="connsiteY4766" fmla="*/ 1049281 h 1867037"/>
                  <a:gd name="connsiteX4767" fmla="*/ 1660819 w 2417513"/>
                  <a:gd name="connsiteY4767" fmla="*/ 1045038 h 1867037"/>
                  <a:gd name="connsiteX4768" fmla="*/ 1581271 w 2417513"/>
                  <a:gd name="connsiteY4768" fmla="*/ 933064 h 1867037"/>
                  <a:gd name="connsiteX4769" fmla="*/ 1583089 w 2417513"/>
                  <a:gd name="connsiteY4769" fmla="*/ 935034 h 1867037"/>
                  <a:gd name="connsiteX4770" fmla="*/ 1585513 w 2417513"/>
                  <a:gd name="connsiteY4770" fmla="*/ 936701 h 1867037"/>
                  <a:gd name="connsiteX4771" fmla="*/ 1586877 w 2417513"/>
                  <a:gd name="connsiteY4771" fmla="*/ 936246 h 1867037"/>
                  <a:gd name="connsiteX4772" fmla="*/ 1588998 w 2417513"/>
                  <a:gd name="connsiteY4772" fmla="*/ 933973 h 1867037"/>
                  <a:gd name="connsiteX4773" fmla="*/ 1588544 w 2417513"/>
                  <a:gd name="connsiteY4773" fmla="*/ 933367 h 1867037"/>
                  <a:gd name="connsiteX4774" fmla="*/ 1586422 w 2417513"/>
                  <a:gd name="connsiteY4774" fmla="*/ 933367 h 1867037"/>
                  <a:gd name="connsiteX4775" fmla="*/ 1583695 w 2417513"/>
                  <a:gd name="connsiteY4775" fmla="*/ 932761 h 1867037"/>
                  <a:gd name="connsiteX4776" fmla="*/ 1580968 w 2417513"/>
                  <a:gd name="connsiteY4776" fmla="*/ 930337 h 1867037"/>
                  <a:gd name="connsiteX4777" fmla="*/ 1580513 w 2417513"/>
                  <a:gd name="connsiteY4777" fmla="*/ 930489 h 1867037"/>
                  <a:gd name="connsiteX4778" fmla="*/ 1580665 w 2417513"/>
                  <a:gd name="connsiteY4778" fmla="*/ 931852 h 1867037"/>
                  <a:gd name="connsiteX4779" fmla="*/ 1581271 w 2417513"/>
                  <a:gd name="connsiteY4779" fmla="*/ 933064 h 1867037"/>
                  <a:gd name="connsiteX4780" fmla="*/ 1697790 w 2417513"/>
                  <a:gd name="connsiteY4780" fmla="*/ 836546 h 1867037"/>
                  <a:gd name="connsiteX4781" fmla="*/ 1692336 w 2417513"/>
                  <a:gd name="connsiteY4781" fmla="*/ 837455 h 1867037"/>
                  <a:gd name="connsiteX4782" fmla="*/ 1691730 w 2417513"/>
                  <a:gd name="connsiteY4782" fmla="*/ 840788 h 1867037"/>
                  <a:gd name="connsiteX4783" fmla="*/ 1691730 w 2417513"/>
                  <a:gd name="connsiteY4783" fmla="*/ 842152 h 1867037"/>
                  <a:gd name="connsiteX4784" fmla="*/ 1694760 w 2417513"/>
                  <a:gd name="connsiteY4784" fmla="*/ 844728 h 1867037"/>
                  <a:gd name="connsiteX4785" fmla="*/ 1697033 w 2417513"/>
                  <a:gd name="connsiteY4785" fmla="*/ 844273 h 1867037"/>
                  <a:gd name="connsiteX4786" fmla="*/ 1701275 w 2417513"/>
                  <a:gd name="connsiteY4786" fmla="*/ 840637 h 1867037"/>
                  <a:gd name="connsiteX4787" fmla="*/ 1700215 w 2417513"/>
                  <a:gd name="connsiteY4787" fmla="*/ 838667 h 1867037"/>
                  <a:gd name="connsiteX4788" fmla="*/ 1697790 w 2417513"/>
                  <a:gd name="connsiteY4788" fmla="*/ 836546 h 1867037"/>
                  <a:gd name="connsiteX4789" fmla="*/ 1231712 w 2417513"/>
                  <a:gd name="connsiteY4789" fmla="*/ 357134 h 1867037"/>
                  <a:gd name="connsiteX4790" fmla="*/ 1274896 w 2417513"/>
                  <a:gd name="connsiteY4790" fmla="*/ 357740 h 1867037"/>
                  <a:gd name="connsiteX4791" fmla="*/ 1290502 w 2417513"/>
                  <a:gd name="connsiteY4791" fmla="*/ 358952 h 1867037"/>
                  <a:gd name="connsiteX4792" fmla="*/ 1293078 w 2417513"/>
                  <a:gd name="connsiteY4792" fmla="*/ 358195 h 1867037"/>
                  <a:gd name="connsiteX4793" fmla="*/ 1298382 w 2417513"/>
                  <a:gd name="connsiteY4793" fmla="*/ 358043 h 1867037"/>
                  <a:gd name="connsiteX4794" fmla="*/ 1298988 w 2417513"/>
                  <a:gd name="connsiteY4794" fmla="*/ 357589 h 1867037"/>
                  <a:gd name="connsiteX4795" fmla="*/ 1303988 w 2417513"/>
                  <a:gd name="connsiteY4795" fmla="*/ 348498 h 1867037"/>
                  <a:gd name="connsiteX4796" fmla="*/ 1309746 w 2417513"/>
                  <a:gd name="connsiteY4796" fmla="*/ 346679 h 1867037"/>
                  <a:gd name="connsiteX4797" fmla="*/ 1307473 w 2417513"/>
                  <a:gd name="connsiteY4797" fmla="*/ 343800 h 1867037"/>
                  <a:gd name="connsiteX4798" fmla="*/ 1305048 w 2417513"/>
                  <a:gd name="connsiteY4798" fmla="*/ 342134 h 1867037"/>
                  <a:gd name="connsiteX4799" fmla="*/ 1300351 w 2417513"/>
                  <a:gd name="connsiteY4799" fmla="*/ 340619 h 1867037"/>
                  <a:gd name="connsiteX4800" fmla="*/ 1297321 w 2417513"/>
                  <a:gd name="connsiteY4800" fmla="*/ 340164 h 1867037"/>
                  <a:gd name="connsiteX4801" fmla="*/ 1285502 w 2417513"/>
                  <a:gd name="connsiteY4801" fmla="*/ 340770 h 1867037"/>
                  <a:gd name="connsiteX4802" fmla="*/ 1267623 w 2417513"/>
                  <a:gd name="connsiteY4802" fmla="*/ 339861 h 1867037"/>
                  <a:gd name="connsiteX4803" fmla="*/ 1259592 w 2417513"/>
                  <a:gd name="connsiteY4803" fmla="*/ 340012 h 1867037"/>
                  <a:gd name="connsiteX4804" fmla="*/ 1252168 w 2417513"/>
                  <a:gd name="connsiteY4804" fmla="*/ 341225 h 1867037"/>
                  <a:gd name="connsiteX4805" fmla="*/ 1245349 w 2417513"/>
                  <a:gd name="connsiteY4805" fmla="*/ 338952 h 1867037"/>
                  <a:gd name="connsiteX4806" fmla="*/ 1239894 w 2417513"/>
                  <a:gd name="connsiteY4806" fmla="*/ 339558 h 1867037"/>
                  <a:gd name="connsiteX4807" fmla="*/ 1227318 w 2417513"/>
                  <a:gd name="connsiteY4807" fmla="*/ 343497 h 1867037"/>
                  <a:gd name="connsiteX4808" fmla="*/ 1225955 w 2417513"/>
                  <a:gd name="connsiteY4808" fmla="*/ 344255 h 1867037"/>
                  <a:gd name="connsiteX4809" fmla="*/ 1224742 w 2417513"/>
                  <a:gd name="connsiteY4809" fmla="*/ 345922 h 1867037"/>
                  <a:gd name="connsiteX4810" fmla="*/ 1223682 w 2417513"/>
                  <a:gd name="connsiteY4810" fmla="*/ 348346 h 1867037"/>
                  <a:gd name="connsiteX4811" fmla="*/ 1223985 w 2417513"/>
                  <a:gd name="connsiteY4811" fmla="*/ 350467 h 1867037"/>
                  <a:gd name="connsiteX4812" fmla="*/ 1229743 w 2417513"/>
                  <a:gd name="connsiteY4812" fmla="*/ 355771 h 1867037"/>
                  <a:gd name="connsiteX4813" fmla="*/ 1231712 w 2417513"/>
                  <a:gd name="connsiteY4813" fmla="*/ 357134 h 1867037"/>
                  <a:gd name="connsiteX4814" fmla="*/ 1615363 w 2417513"/>
                  <a:gd name="connsiteY4814" fmla="*/ 1085494 h 1867037"/>
                  <a:gd name="connsiteX4815" fmla="*/ 1615817 w 2417513"/>
                  <a:gd name="connsiteY4815" fmla="*/ 1083070 h 1867037"/>
                  <a:gd name="connsiteX4816" fmla="*/ 1615515 w 2417513"/>
                  <a:gd name="connsiteY4816" fmla="*/ 1081252 h 1867037"/>
                  <a:gd name="connsiteX4817" fmla="*/ 1614454 w 2417513"/>
                  <a:gd name="connsiteY4817" fmla="*/ 1080039 h 1867037"/>
                  <a:gd name="connsiteX4818" fmla="*/ 1613090 w 2417513"/>
                  <a:gd name="connsiteY4818" fmla="*/ 1079282 h 1867037"/>
                  <a:gd name="connsiteX4819" fmla="*/ 1610817 w 2417513"/>
                  <a:gd name="connsiteY4819" fmla="*/ 1078979 h 1867037"/>
                  <a:gd name="connsiteX4820" fmla="*/ 1607939 w 2417513"/>
                  <a:gd name="connsiteY4820" fmla="*/ 1078979 h 1867037"/>
                  <a:gd name="connsiteX4821" fmla="*/ 1601726 w 2417513"/>
                  <a:gd name="connsiteY4821" fmla="*/ 1080797 h 1867037"/>
                  <a:gd name="connsiteX4822" fmla="*/ 1594908 w 2417513"/>
                  <a:gd name="connsiteY4822" fmla="*/ 1080494 h 1867037"/>
                  <a:gd name="connsiteX4823" fmla="*/ 1587786 w 2417513"/>
                  <a:gd name="connsiteY4823" fmla="*/ 1083524 h 1867037"/>
                  <a:gd name="connsiteX4824" fmla="*/ 1586120 w 2417513"/>
                  <a:gd name="connsiteY4824" fmla="*/ 1083676 h 1867037"/>
                  <a:gd name="connsiteX4825" fmla="*/ 1583847 w 2417513"/>
                  <a:gd name="connsiteY4825" fmla="*/ 1083221 h 1867037"/>
                  <a:gd name="connsiteX4826" fmla="*/ 1578998 w 2417513"/>
                  <a:gd name="connsiteY4826" fmla="*/ 1081555 h 1867037"/>
                  <a:gd name="connsiteX4827" fmla="*/ 1576574 w 2417513"/>
                  <a:gd name="connsiteY4827" fmla="*/ 1082312 h 1867037"/>
                  <a:gd name="connsiteX4828" fmla="*/ 1566725 w 2417513"/>
                  <a:gd name="connsiteY4828" fmla="*/ 1096707 h 1867037"/>
                  <a:gd name="connsiteX4829" fmla="*/ 1562331 w 2417513"/>
                  <a:gd name="connsiteY4829" fmla="*/ 1100646 h 1867037"/>
                  <a:gd name="connsiteX4830" fmla="*/ 1562028 w 2417513"/>
                  <a:gd name="connsiteY4830" fmla="*/ 1101555 h 1867037"/>
                  <a:gd name="connsiteX4831" fmla="*/ 1562028 w 2417513"/>
                  <a:gd name="connsiteY4831" fmla="*/ 1102768 h 1867037"/>
                  <a:gd name="connsiteX4832" fmla="*/ 1562331 w 2417513"/>
                  <a:gd name="connsiteY4832" fmla="*/ 1103677 h 1867037"/>
                  <a:gd name="connsiteX4833" fmla="*/ 1566270 w 2417513"/>
                  <a:gd name="connsiteY4833" fmla="*/ 1107919 h 1867037"/>
                  <a:gd name="connsiteX4834" fmla="*/ 1567179 w 2417513"/>
                  <a:gd name="connsiteY4834" fmla="*/ 1109889 h 1867037"/>
                  <a:gd name="connsiteX4835" fmla="*/ 1567634 w 2417513"/>
                  <a:gd name="connsiteY4835" fmla="*/ 1113374 h 1867037"/>
                  <a:gd name="connsiteX4836" fmla="*/ 1568089 w 2417513"/>
                  <a:gd name="connsiteY4836" fmla="*/ 1113980 h 1867037"/>
                  <a:gd name="connsiteX4837" fmla="*/ 1576877 w 2417513"/>
                  <a:gd name="connsiteY4837" fmla="*/ 1110647 h 1867037"/>
                  <a:gd name="connsiteX4838" fmla="*/ 1580210 w 2417513"/>
                  <a:gd name="connsiteY4838" fmla="*/ 1110798 h 1867037"/>
                  <a:gd name="connsiteX4839" fmla="*/ 1583544 w 2417513"/>
                  <a:gd name="connsiteY4839" fmla="*/ 1112010 h 1867037"/>
                  <a:gd name="connsiteX4840" fmla="*/ 1585210 w 2417513"/>
                  <a:gd name="connsiteY4840" fmla="*/ 1112162 h 1867037"/>
                  <a:gd name="connsiteX4841" fmla="*/ 1586726 w 2417513"/>
                  <a:gd name="connsiteY4841" fmla="*/ 1111707 h 1867037"/>
                  <a:gd name="connsiteX4842" fmla="*/ 1598999 w 2417513"/>
                  <a:gd name="connsiteY4842" fmla="*/ 1103525 h 1867037"/>
                  <a:gd name="connsiteX4843" fmla="*/ 1600969 w 2417513"/>
                  <a:gd name="connsiteY4843" fmla="*/ 1101707 h 1867037"/>
                  <a:gd name="connsiteX4844" fmla="*/ 1603847 w 2417513"/>
                  <a:gd name="connsiteY4844" fmla="*/ 1098677 h 1867037"/>
                  <a:gd name="connsiteX4845" fmla="*/ 1611423 w 2417513"/>
                  <a:gd name="connsiteY4845" fmla="*/ 1093070 h 1867037"/>
                  <a:gd name="connsiteX4846" fmla="*/ 1613848 w 2417513"/>
                  <a:gd name="connsiteY4846" fmla="*/ 1089737 h 1867037"/>
                  <a:gd name="connsiteX4847" fmla="*/ 1614757 w 2417513"/>
                  <a:gd name="connsiteY4847" fmla="*/ 1087767 h 1867037"/>
                  <a:gd name="connsiteX4848" fmla="*/ 1615363 w 2417513"/>
                  <a:gd name="connsiteY4848" fmla="*/ 1085494 h 1867037"/>
                  <a:gd name="connsiteX4849" fmla="*/ 1705821 w 2417513"/>
                  <a:gd name="connsiteY4849" fmla="*/ 781392 h 1867037"/>
                  <a:gd name="connsiteX4850" fmla="*/ 1708851 w 2417513"/>
                  <a:gd name="connsiteY4850" fmla="*/ 781998 h 1867037"/>
                  <a:gd name="connsiteX4851" fmla="*/ 1711124 w 2417513"/>
                  <a:gd name="connsiteY4851" fmla="*/ 781392 h 1867037"/>
                  <a:gd name="connsiteX4852" fmla="*/ 1715518 w 2417513"/>
                  <a:gd name="connsiteY4852" fmla="*/ 778968 h 1867037"/>
                  <a:gd name="connsiteX4853" fmla="*/ 1722791 w 2417513"/>
                  <a:gd name="connsiteY4853" fmla="*/ 776240 h 1867037"/>
                  <a:gd name="connsiteX4854" fmla="*/ 1724761 w 2417513"/>
                  <a:gd name="connsiteY4854" fmla="*/ 774725 h 1867037"/>
                  <a:gd name="connsiteX4855" fmla="*/ 1724458 w 2417513"/>
                  <a:gd name="connsiteY4855" fmla="*/ 773513 h 1867037"/>
                  <a:gd name="connsiteX4856" fmla="*/ 1723094 w 2417513"/>
                  <a:gd name="connsiteY4856" fmla="*/ 771089 h 1867037"/>
                  <a:gd name="connsiteX4857" fmla="*/ 1719912 w 2417513"/>
                  <a:gd name="connsiteY4857" fmla="*/ 769877 h 1867037"/>
                  <a:gd name="connsiteX4858" fmla="*/ 1718397 w 2417513"/>
                  <a:gd name="connsiteY4858" fmla="*/ 769877 h 1867037"/>
                  <a:gd name="connsiteX4859" fmla="*/ 1716730 w 2417513"/>
                  <a:gd name="connsiteY4859" fmla="*/ 770937 h 1867037"/>
                  <a:gd name="connsiteX4860" fmla="*/ 1716579 w 2417513"/>
                  <a:gd name="connsiteY4860" fmla="*/ 772452 h 1867037"/>
                  <a:gd name="connsiteX4861" fmla="*/ 1715821 w 2417513"/>
                  <a:gd name="connsiteY4861" fmla="*/ 773362 h 1867037"/>
                  <a:gd name="connsiteX4862" fmla="*/ 1714458 w 2417513"/>
                  <a:gd name="connsiteY4862" fmla="*/ 773059 h 1867037"/>
                  <a:gd name="connsiteX4863" fmla="*/ 1712942 w 2417513"/>
                  <a:gd name="connsiteY4863" fmla="*/ 774271 h 1867037"/>
                  <a:gd name="connsiteX4864" fmla="*/ 1708094 w 2417513"/>
                  <a:gd name="connsiteY4864" fmla="*/ 774877 h 1867037"/>
                  <a:gd name="connsiteX4865" fmla="*/ 1702336 w 2417513"/>
                  <a:gd name="connsiteY4865" fmla="*/ 780483 h 1867037"/>
                  <a:gd name="connsiteX4866" fmla="*/ 1700669 w 2417513"/>
                  <a:gd name="connsiteY4866" fmla="*/ 782453 h 1867037"/>
                  <a:gd name="connsiteX4867" fmla="*/ 1702184 w 2417513"/>
                  <a:gd name="connsiteY4867" fmla="*/ 782604 h 1867037"/>
                  <a:gd name="connsiteX4868" fmla="*/ 1705821 w 2417513"/>
                  <a:gd name="connsiteY4868" fmla="*/ 781392 h 1867037"/>
                  <a:gd name="connsiteX4869" fmla="*/ 1841584 w 2417513"/>
                  <a:gd name="connsiteY4869" fmla="*/ 1738548 h 1867037"/>
                  <a:gd name="connsiteX4870" fmla="*/ 1844917 w 2417513"/>
                  <a:gd name="connsiteY4870" fmla="*/ 1734912 h 1867037"/>
                  <a:gd name="connsiteX4871" fmla="*/ 1840674 w 2417513"/>
                  <a:gd name="connsiteY4871" fmla="*/ 1735669 h 1867037"/>
                  <a:gd name="connsiteX4872" fmla="*/ 1837038 w 2417513"/>
                  <a:gd name="connsiteY4872" fmla="*/ 1739003 h 1867037"/>
                  <a:gd name="connsiteX4873" fmla="*/ 1838250 w 2417513"/>
                  <a:gd name="connsiteY4873" fmla="*/ 1739306 h 1867037"/>
                  <a:gd name="connsiteX4874" fmla="*/ 1841584 w 2417513"/>
                  <a:gd name="connsiteY4874" fmla="*/ 1738548 h 1867037"/>
                  <a:gd name="connsiteX4875" fmla="*/ 1596575 w 2417513"/>
                  <a:gd name="connsiteY4875" fmla="*/ 1863856 h 1867037"/>
                  <a:gd name="connsiteX4876" fmla="*/ 1595968 w 2417513"/>
                  <a:gd name="connsiteY4876" fmla="*/ 1864613 h 1867037"/>
                  <a:gd name="connsiteX4877" fmla="*/ 1595665 w 2417513"/>
                  <a:gd name="connsiteY4877" fmla="*/ 1866280 h 1867037"/>
                  <a:gd name="connsiteX4878" fmla="*/ 1595665 w 2417513"/>
                  <a:gd name="connsiteY4878" fmla="*/ 1867038 h 1867037"/>
                  <a:gd name="connsiteX4879" fmla="*/ 1596877 w 2417513"/>
                  <a:gd name="connsiteY4879" fmla="*/ 1866735 h 1867037"/>
                  <a:gd name="connsiteX4880" fmla="*/ 1597180 w 2417513"/>
                  <a:gd name="connsiteY4880" fmla="*/ 1865977 h 1867037"/>
                  <a:gd name="connsiteX4881" fmla="*/ 1596726 w 2417513"/>
                  <a:gd name="connsiteY4881" fmla="*/ 1864462 h 1867037"/>
                  <a:gd name="connsiteX4882" fmla="*/ 1596575 w 2417513"/>
                  <a:gd name="connsiteY4882" fmla="*/ 1863856 h 1867037"/>
                  <a:gd name="connsiteX4883" fmla="*/ 1618848 w 2417513"/>
                  <a:gd name="connsiteY4883" fmla="*/ 1742033 h 1867037"/>
                  <a:gd name="connsiteX4884" fmla="*/ 1619000 w 2417513"/>
                  <a:gd name="connsiteY4884" fmla="*/ 1742488 h 1867037"/>
                  <a:gd name="connsiteX4885" fmla="*/ 1619454 w 2417513"/>
                  <a:gd name="connsiteY4885" fmla="*/ 1742791 h 1867037"/>
                  <a:gd name="connsiteX4886" fmla="*/ 1620212 w 2417513"/>
                  <a:gd name="connsiteY4886" fmla="*/ 1742639 h 1867037"/>
                  <a:gd name="connsiteX4887" fmla="*/ 1621878 w 2417513"/>
                  <a:gd name="connsiteY4887" fmla="*/ 1741427 h 1867037"/>
                  <a:gd name="connsiteX4888" fmla="*/ 1622333 w 2417513"/>
                  <a:gd name="connsiteY4888" fmla="*/ 1740518 h 1867037"/>
                  <a:gd name="connsiteX4889" fmla="*/ 1621727 w 2417513"/>
                  <a:gd name="connsiteY4889" fmla="*/ 1740367 h 1867037"/>
                  <a:gd name="connsiteX4890" fmla="*/ 1619151 w 2417513"/>
                  <a:gd name="connsiteY4890" fmla="*/ 1741427 h 1867037"/>
                  <a:gd name="connsiteX4891" fmla="*/ 1618848 w 2417513"/>
                  <a:gd name="connsiteY4891" fmla="*/ 1742033 h 1867037"/>
                  <a:gd name="connsiteX4892" fmla="*/ 1588847 w 2417513"/>
                  <a:gd name="connsiteY4892" fmla="*/ 1730972 h 1867037"/>
                  <a:gd name="connsiteX4893" fmla="*/ 1594302 w 2417513"/>
                  <a:gd name="connsiteY4893" fmla="*/ 1731427 h 1867037"/>
                  <a:gd name="connsiteX4894" fmla="*/ 1597332 w 2417513"/>
                  <a:gd name="connsiteY4894" fmla="*/ 1732336 h 1867037"/>
                  <a:gd name="connsiteX4895" fmla="*/ 1600514 w 2417513"/>
                  <a:gd name="connsiteY4895" fmla="*/ 1733851 h 1867037"/>
                  <a:gd name="connsiteX4896" fmla="*/ 1603241 w 2417513"/>
                  <a:gd name="connsiteY4896" fmla="*/ 1734912 h 1867037"/>
                  <a:gd name="connsiteX4897" fmla="*/ 1605666 w 2417513"/>
                  <a:gd name="connsiteY4897" fmla="*/ 1735366 h 1867037"/>
                  <a:gd name="connsiteX4898" fmla="*/ 1607484 w 2417513"/>
                  <a:gd name="connsiteY4898" fmla="*/ 1736124 h 1867037"/>
                  <a:gd name="connsiteX4899" fmla="*/ 1608848 w 2417513"/>
                  <a:gd name="connsiteY4899" fmla="*/ 1737185 h 1867037"/>
                  <a:gd name="connsiteX4900" fmla="*/ 1612029 w 2417513"/>
                  <a:gd name="connsiteY4900" fmla="*/ 1738397 h 1867037"/>
                  <a:gd name="connsiteX4901" fmla="*/ 1612484 w 2417513"/>
                  <a:gd name="connsiteY4901" fmla="*/ 1739154 h 1867037"/>
                  <a:gd name="connsiteX4902" fmla="*/ 1613090 w 2417513"/>
                  <a:gd name="connsiteY4902" fmla="*/ 1739457 h 1867037"/>
                  <a:gd name="connsiteX4903" fmla="*/ 1613848 w 2417513"/>
                  <a:gd name="connsiteY4903" fmla="*/ 1739306 h 1867037"/>
                  <a:gd name="connsiteX4904" fmla="*/ 1619605 w 2417513"/>
                  <a:gd name="connsiteY4904" fmla="*/ 1735063 h 1867037"/>
                  <a:gd name="connsiteX4905" fmla="*/ 1621272 w 2417513"/>
                  <a:gd name="connsiteY4905" fmla="*/ 1734912 h 1867037"/>
                  <a:gd name="connsiteX4906" fmla="*/ 1621272 w 2417513"/>
                  <a:gd name="connsiteY4906" fmla="*/ 1735366 h 1867037"/>
                  <a:gd name="connsiteX4907" fmla="*/ 1618393 w 2417513"/>
                  <a:gd name="connsiteY4907" fmla="*/ 1737942 h 1867037"/>
                  <a:gd name="connsiteX4908" fmla="*/ 1617333 w 2417513"/>
                  <a:gd name="connsiteY4908" fmla="*/ 1738245 h 1867037"/>
                  <a:gd name="connsiteX4909" fmla="*/ 1616727 w 2417513"/>
                  <a:gd name="connsiteY4909" fmla="*/ 1738245 h 1867037"/>
                  <a:gd name="connsiteX4910" fmla="*/ 1615211 w 2417513"/>
                  <a:gd name="connsiteY4910" fmla="*/ 1739457 h 1867037"/>
                  <a:gd name="connsiteX4911" fmla="*/ 1615211 w 2417513"/>
                  <a:gd name="connsiteY4911" fmla="*/ 1739760 h 1867037"/>
                  <a:gd name="connsiteX4912" fmla="*/ 1616121 w 2417513"/>
                  <a:gd name="connsiteY4912" fmla="*/ 1739609 h 1867037"/>
                  <a:gd name="connsiteX4913" fmla="*/ 1617030 w 2417513"/>
                  <a:gd name="connsiteY4913" fmla="*/ 1739912 h 1867037"/>
                  <a:gd name="connsiteX4914" fmla="*/ 1617939 w 2417513"/>
                  <a:gd name="connsiteY4914" fmla="*/ 1740670 h 1867037"/>
                  <a:gd name="connsiteX4915" fmla="*/ 1619454 w 2417513"/>
                  <a:gd name="connsiteY4915" fmla="*/ 1740215 h 1867037"/>
                  <a:gd name="connsiteX4916" fmla="*/ 1621424 w 2417513"/>
                  <a:gd name="connsiteY4916" fmla="*/ 1738700 h 1867037"/>
                  <a:gd name="connsiteX4917" fmla="*/ 1623242 w 2417513"/>
                  <a:gd name="connsiteY4917" fmla="*/ 1736427 h 1867037"/>
                  <a:gd name="connsiteX4918" fmla="*/ 1625818 w 2417513"/>
                  <a:gd name="connsiteY4918" fmla="*/ 1731881 h 1867037"/>
                  <a:gd name="connsiteX4919" fmla="*/ 1625515 w 2417513"/>
                  <a:gd name="connsiteY4919" fmla="*/ 1731578 h 1867037"/>
                  <a:gd name="connsiteX4920" fmla="*/ 1623242 w 2417513"/>
                  <a:gd name="connsiteY4920" fmla="*/ 1731578 h 1867037"/>
                  <a:gd name="connsiteX4921" fmla="*/ 1622939 w 2417513"/>
                  <a:gd name="connsiteY4921" fmla="*/ 1731124 h 1867037"/>
                  <a:gd name="connsiteX4922" fmla="*/ 1623697 w 2417513"/>
                  <a:gd name="connsiteY4922" fmla="*/ 1730063 h 1867037"/>
                  <a:gd name="connsiteX4923" fmla="*/ 1623848 w 2417513"/>
                  <a:gd name="connsiteY4923" fmla="*/ 1729154 h 1867037"/>
                  <a:gd name="connsiteX4924" fmla="*/ 1623545 w 2417513"/>
                  <a:gd name="connsiteY4924" fmla="*/ 1728245 h 1867037"/>
                  <a:gd name="connsiteX4925" fmla="*/ 1622939 w 2417513"/>
                  <a:gd name="connsiteY4925" fmla="*/ 1728396 h 1867037"/>
                  <a:gd name="connsiteX4926" fmla="*/ 1621878 w 2417513"/>
                  <a:gd name="connsiteY4926" fmla="*/ 1729457 h 1867037"/>
                  <a:gd name="connsiteX4927" fmla="*/ 1621121 w 2417513"/>
                  <a:gd name="connsiteY4927" fmla="*/ 1730972 h 1867037"/>
                  <a:gd name="connsiteX4928" fmla="*/ 1620212 w 2417513"/>
                  <a:gd name="connsiteY4928" fmla="*/ 1733700 h 1867037"/>
                  <a:gd name="connsiteX4929" fmla="*/ 1620060 w 2417513"/>
                  <a:gd name="connsiteY4929" fmla="*/ 1733548 h 1867037"/>
                  <a:gd name="connsiteX4930" fmla="*/ 1619151 w 2417513"/>
                  <a:gd name="connsiteY4930" fmla="*/ 1732033 h 1867037"/>
                  <a:gd name="connsiteX4931" fmla="*/ 1619000 w 2417513"/>
                  <a:gd name="connsiteY4931" fmla="*/ 1730821 h 1867037"/>
                  <a:gd name="connsiteX4932" fmla="*/ 1619303 w 2417513"/>
                  <a:gd name="connsiteY4932" fmla="*/ 1729457 h 1867037"/>
                  <a:gd name="connsiteX4933" fmla="*/ 1619000 w 2417513"/>
                  <a:gd name="connsiteY4933" fmla="*/ 1728699 h 1867037"/>
                  <a:gd name="connsiteX4934" fmla="*/ 1617939 w 2417513"/>
                  <a:gd name="connsiteY4934" fmla="*/ 1728396 h 1867037"/>
                  <a:gd name="connsiteX4935" fmla="*/ 1617484 w 2417513"/>
                  <a:gd name="connsiteY4935" fmla="*/ 1727790 h 1867037"/>
                  <a:gd name="connsiteX4936" fmla="*/ 1617484 w 2417513"/>
                  <a:gd name="connsiteY4936" fmla="*/ 1726881 h 1867037"/>
                  <a:gd name="connsiteX4937" fmla="*/ 1617030 w 2417513"/>
                  <a:gd name="connsiteY4937" fmla="*/ 1726124 h 1867037"/>
                  <a:gd name="connsiteX4938" fmla="*/ 1616272 w 2417513"/>
                  <a:gd name="connsiteY4938" fmla="*/ 1725518 h 1867037"/>
                  <a:gd name="connsiteX4939" fmla="*/ 1614908 w 2417513"/>
                  <a:gd name="connsiteY4939" fmla="*/ 1725518 h 1867037"/>
                  <a:gd name="connsiteX4940" fmla="*/ 1613090 w 2417513"/>
                  <a:gd name="connsiteY4940" fmla="*/ 1726275 h 1867037"/>
                  <a:gd name="connsiteX4941" fmla="*/ 1611727 w 2417513"/>
                  <a:gd name="connsiteY4941" fmla="*/ 1727487 h 1867037"/>
                  <a:gd name="connsiteX4942" fmla="*/ 1610666 w 2417513"/>
                  <a:gd name="connsiteY4942" fmla="*/ 1729154 h 1867037"/>
                  <a:gd name="connsiteX4943" fmla="*/ 1609757 w 2417513"/>
                  <a:gd name="connsiteY4943" fmla="*/ 1729154 h 1867037"/>
                  <a:gd name="connsiteX4944" fmla="*/ 1608999 w 2417513"/>
                  <a:gd name="connsiteY4944" fmla="*/ 1727336 h 1867037"/>
                  <a:gd name="connsiteX4945" fmla="*/ 1608090 w 2417513"/>
                  <a:gd name="connsiteY4945" fmla="*/ 1726578 h 1867037"/>
                  <a:gd name="connsiteX4946" fmla="*/ 1607181 w 2417513"/>
                  <a:gd name="connsiteY4946" fmla="*/ 1726881 h 1867037"/>
                  <a:gd name="connsiteX4947" fmla="*/ 1606575 w 2417513"/>
                  <a:gd name="connsiteY4947" fmla="*/ 1726578 h 1867037"/>
                  <a:gd name="connsiteX4948" fmla="*/ 1606423 w 2417513"/>
                  <a:gd name="connsiteY4948" fmla="*/ 1725669 h 1867037"/>
                  <a:gd name="connsiteX4949" fmla="*/ 1605363 w 2417513"/>
                  <a:gd name="connsiteY4949" fmla="*/ 1725366 h 1867037"/>
                  <a:gd name="connsiteX4950" fmla="*/ 1603544 w 2417513"/>
                  <a:gd name="connsiteY4950" fmla="*/ 1725821 h 1867037"/>
                  <a:gd name="connsiteX4951" fmla="*/ 1602332 w 2417513"/>
                  <a:gd name="connsiteY4951" fmla="*/ 1726427 h 1867037"/>
                  <a:gd name="connsiteX4952" fmla="*/ 1601878 w 2417513"/>
                  <a:gd name="connsiteY4952" fmla="*/ 1727184 h 1867037"/>
                  <a:gd name="connsiteX4953" fmla="*/ 1601423 w 2417513"/>
                  <a:gd name="connsiteY4953" fmla="*/ 1727336 h 1867037"/>
                  <a:gd name="connsiteX4954" fmla="*/ 1600969 w 2417513"/>
                  <a:gd name="connsiteY4954" fmla="*/ 1726881 h 1867037"/>
                  <a:gd name="connsiteX4955" fmla="*/ 1600211 w 2417513"/>
                  <a:gd name="connsiteY4955" fmla="*/ 1727033 h 1867037"/>
                  <a:gd name="connsiteX4956" fmla="*/ 1599150 w 2417513"/>
                  <a:gd name="connsiteY4956" fmla="*/ 1727790 h 1867037"/>
                  <a:gd name="connsiteX4957" fmla="*/ 1598847 w 2417513"/>
                  <a:gd name="connsiteY4957" fmla="*/ 1728396 h 1867037"/>
                  <a:gd name="connsiteX4958" fmla="*/ 1599453 w 2417513"/>
                  <a:gd name="connsiteY4958" fmla="*/ 1729306 h 1867037"/>
                  <a:gd name="connsiteX4959" fmla="*/ 1599302 w 2417513"/>
                  <a:gd name="connsiteY4959" fmla="*/ 1729609 h 1867037"/>
                  <a:gd name="connsiteX4960" fmla="*/ 1600363 w 2417513"/>
                  <a:gd name="connsiteY4960" fmla="*/ 1729912 h 1867037"/>
                  <a:gd name="connsiteX4961" fmla="*/ 1600514 w 2417513"/>
                  <a:gd name="connsiteY4961" fmla="*/ 1730518 h 1867037"/>
                  <a:gd name="connsiteX4962" fmla="*/ 1600059 w 2417513"/>
                  <a:gd name="connsiteY4962" fmla="*/ 1731427 h 1867037"/>
                  <a:gd name="connsiteX4963" fmla="*/ 1599453 w 2417513"/>
                  <a:gd name="connsiteY4963" fmla="*/ 1731427 h 1867037"/>
                  <a:gd name="connsiteX4964" fmla="*/ 1598696 w 2417513"/>
                  <a:gd name="connsiteY4964" fmla="*/ 1730366 h 1867037"/>
                  <a:gd name="connsiteX4965" fmla="*/ 1598090 w 2417513"/>
                  <a:gd name="connsiteY4965" fmla="*/ 1730063 h 1867037"/>
                  <a:gd name="connsiteX4966" fmla="*/ 1597484 w 2417513"/>
                  <a:gd name="connsiteY4966" fmla="*/ 1730366 h 1867037"/>
                  <a:gd name="connsiteX4967" fmla="*/ 1597029 w 2417513"/>
                  <a:gd name="connsiteY4967" fmla="*/ 1730215 h 1867037"/>
                  <a:gd name="connsiteX4968" fmla="*/ 1596575 w 2417513"/>
                  <a:gd name="connsiteY4968" fmla="*/ 1729609 h 1867037"/>
                  <a:gd name="connsiteX4969" fmla="*/ 1595665 w 2417513"/>
                  <a:gd name="connsiteY4969" fmla="*/ 1729457 h 1867037"/>
                  <a:gd name="connsiteX4970" fmla="*/ 1594453 w 2417513"/>
                  <a:gd name="connsiteY4970" fmla="*/ 1729760 h 1867037"/>
                  <a:gd name="connsiteX4971" fmla="*/ 1593696 w 2417513"/>
                  <a:gd name="connsiteY4971" fmla="*/ 1729609 h 1867037"/>
                  <a:gd name="connsiteX4972" fmla="*/ 1593392 w 2417513"/>
                  <a:gd name="connsiteY4972" fmla="*/ 1728851 h 1867037"/>
                  <a:gd name="connsiteX4973" fmla="*/ 1592786 w 2417513"/>
                  <a:gd name="connsiteY4973" fmla="*/ 1728245 h 1867037"/>
                  <a:gd name="connsiteX4974" fmla="*/ 1592029 w 2417513"/>
                  <a:gd name="connsiteY4974" fmla="*/ 1727790 h 1867037"/>
                  <a:gd name="connsiteX4975" fmla="*/ 1591726 w 2417513"/>
                  <a:gd name="connsiteY4975" fmla="*/ 1726881 h 1867037"/>
                  <a:gd name="connsiteX4976" fmla="*/ 1592029 w 2417513"/>
                  <a:gd name="connsiteY4976" fmla="*/ 1725518 h 1867037"/>
                  <a:gd name="connsiteX4977" fmla="*/ 1591423 w 2417513"/>
                  <a:gd name="connsiteY4977" fmla="*/ 1725063 h 1867037"/>
                  <a:gd name="connsiteX4978" fmla="*/ 1589756 w 2417513"/>
                  <a:gd name="connsiteY4978" fmla="*/ 1725518 h 1867037"/>
                  <a:gd name="connsiteX4979" fmla="*/ 1588695 w 2417513"/>
                  <a:gd name="connsiteY4979" fmla="*/ 1725972 h 1867037"/>
                  <a:gd name="connsiteX4980" fmla="*/ 1588089 w 2417513"/>
                  <a:gd name="connsiteY4980" fmla="*/ 1726578 h 1867037"/>
                  <a:gd name="connsiteX4981" fmla="*/ 1587332 w 2417513"/>
                  <a:gd name="connsiteY4981" fmla="*/ 1726578 h 1867037"/>
                  <a:gd name="connsiteX4982" fmla="*/ 1586271 w 2417513"/>
                  <a:gd name="connsiteY4982" fmla="*/ 1726124 h 1867037"/>
                  <a:gd name="connsiteX4983" fmla="*/ 1585362 w 2417513"/>
                  <a:gd name="connsiteY4983" fmla="*/ 1726275 h 1867037"/>
                  <a:gd name="connsiteX4984" fmla="*/ 1584604 w 2417513"/>
                  <a:gd name="connsiteY4984" fmla="*/ 1726881 h 1867037"/>
                  <a:gd name="connsiteX4985" fmla="*/ 1583847 w 2417513"/>
                  <a:gd name="connsiteY4985" fmla="*/ 1726730 h 1867037"/>
                  <a:gd name="connsiteX4986" fmla="*/ 1583089 w 2417513"/>
                  <a:gd name="connsiteY4986" fmla="*/ 1725821 h 1867037"/>
                  <a:gd name="connsiteX4987" fmla="*/ 1582332 w 2417513"/>
                  <a:gd name="connsiteY4987" fmla="*/ 1725669 h 1867037"/>
                  <a:gd name="connsiteX4988" fmla="*/ 1581725 w 2417513"/>
                  <a:gd name="connsiteY4988" fmla="*/ 1726124 h 1867037"/>
                  <a:gd name="connsiteX4989" fmla="*/ 1581271 w 2417513"/>
                  <a:gd name="connsiteY4989" fmla="*/ 1726881 h 1867037"/>
                  <a:gd name="connsiteX4990" fmla="*/ 1581119 w 2417513"/>
                  <a:gd name="connsiteY4990" fmla="*/ 1727942 h 1867037"/>
                  <a:gd name="connsiteX4991" fmla="*/ 1582786 w 2417513"/>
                  <a:gd name="connsiteY4991" fmla="*/ 1728851 h 1867037"/>
                  <a:gd name="connsiteX4992" fmla="*/ 1588241 w 2417513"/>
                  <a:gd name="connsiteY4992" fmla="*/ 1730215 h 1867037"/>
                  <a:gd name="connsiteX4993" fmla="*/ 1588847 w 2417513"/>
                  <a:gd name="connsiteY4993" fmla="*/ 1730972 h 1867037"/>
                  <a:gd name="connsiteX4994" fmla="*/ 1578998 w 2417513"/>
                  <a:gd name="connsiteY4994" fmla="*/ 1725366 h 1867037"/>
                  <a:gd name="connsiteX4995" fmla="*/ 1577634 w 2417513"/>
                  <a:gd name="connsiteY4995" fmla="*/ 1724760 h 1867037"/>
                  <a:gd name="connsiteX4996" fmla="*/ 1576422 w 2417513"/>
                  <a:gd name="connsiteY4996" fmla="*/ 1724911 h 1867037"/>
                  <a:gd name="connsiteX4997" fmla="*/ 1575210 w 2417513"/>
                  <a:gd name="connsiteY4997" fmla="*/ 1725821 h 1867037"/>
                  <a:gd name="connsiteX4998" fmla="*/ 1574452 w 2417513"/>
                  <a:gd name="connsiteY4998" fmla="*/ 1726730 h 1867037"/>
                  <a:gd name="connsiteX4999" fmla="*/ 1574149 w 2417513"/>
                  <a:gd name="connsiteY4999" fmla="*/ 1727790 h 1867037"/>
                  <a:gd name="connsiteX5000" fmla="*/ 1574907 w 2417513"/>
                  <a:gd name="connsiteY5000" fmla="*/ 1728548 h 1867037"/>
                  <a:gd name="connsiteX5001" fmla="*/ 1576725 w 2417513"/>
                  <a:gd name="connsiteY5001" fmla="*/ 1729154 h 1867037"/>
                  <a:gd name="connsiteX5002" fmla="*/ 1578240 w 2417513"/>
                  <a:gd name="connsiteY5002" fmla="*/ 1728699 h 1867037"/>
                  <a:gd name="connsiteX5003" fmla="*/ 1579907 w 2417513"/>
                  <a:gd name="connsiteY5003" fmla="*/ 1726427 h 1867037"/>
                  <a:gd name="connsiteX5004" fmla="*/ 1579907 w 2417513"/>
                  <a:gd name="connsiteY5004" fmla="*/ 1725972 h 1867037"/>
                  <a:gd name="connsiteX5005" fmla="*/ 1578998 w 2417513"/>
                  <a:gd name="connsiteY5005" fmla="*/ 1725366 h 1867037"/>
                  <a:gd name="connsiteX5006" fmla="*/ 1757793 w 2417513"/>
                  <a:gd name="connsiteY5006" fmla="*/ 1786277 h 1867037"/>
                  <a:gd name="connsiteX5007" fmla="*/ 1756732 w 2417513"/>
                  <a:gd name="connsiteY5007" fmla="*/ 1786883 h 1867037"/>
                  <a:gd name="connsiteX5008" fmla="*/ 1756429 w 2417513"/>
                  <a:gd name="connsiteY5008" fmla="*/ 1787338 h 1867037"/>
                  <a:gd name="connsiteX5009" fmla="*/ 1757035 w 2417513"/>
                  <a:gd name="connsiteY5009" fmla="*/ 1787641 h 1867037"/>
                  <a:gd name="connsiteX5010" fmla="*/ 1758550 w 2417513"/>
                  <a:gd name="connsiteY5010" fmla="*/ 1787793 h 1867037"/>
                  <a:gd name="connsiteX5011" fmla="*/ 1759762 w 2417513"/>
                  <a:gd name="connsiteY5011" fmla="*/ 1787490 h 1867037"/>
                  <a:gd name="connsiteX5012" fmla="*/ 1761126 w 2417513"/>
                  <a:gd name="connsiteY5012" fmla="*/ 1785974 h 1867037"/>
                  <a:gd name="connsiteX5013" fmla="*/ 1760974 w 2417513"/>
                  <a:gd name="connsiteY5013" fmla="*/ 1785368 h 1867037"/>
                  <a:gd name="connsiteX5014" fmla="*/ 1757793 w 2417513"/>
                  <a:gd name="connsiteY5014" fmla="*/ 1786277 h 1867037"/>
                  <a:gd name="connsiteX5015" fmla="*/ 432592 w 2417513"/>
                  <a:gd name="connsiteY5015" fmla="*/ 1583391 h 1867037"/>
                  <a:gd name="connsiteX5016" fmla="*/ 432895 w 2417513"/>
                  <a:gd name="connsiteY5016" fmla="*/ 1581573 h 1867037"/>
                  <a:gd name="connsiteX5017" fmla="*/ 434865 w 2417513"/>
                  <a:gd name="connsiteY5017" fmla="*/ 1579149 h 1867037"/>
                  <a:gd name="connsiteX5018" fmla="*/ 435925 w 2417513"/>
                  <a:gd name="connsiteY5018" fmla="*/ 1577179 h 1867037"/>
                  <a:gd name="connsiteX5019" fmla="*/ 435471 w 2417513"/>
                  <a:gd name="connsiteY5019" fmla="*/ 1575512 h 1867037"/>
                  <a:gd name="connsiteX5020" fmla="*/ 434562 w 2417513"/>
                  <a:gd name="connsiteY5020" fmla="*/ 1573694 h 1867037"/>
                  <a:gd name="connsiteX5021" fmla="*/ 434259 w 2417513"/>
                  <a:gd name="connsiteY5021" fmla="*/ 1572936 h 1867037"/>
                  <a:gd name="connsiteX5022" fmla="*/ 432743 w 2417513"/>
                  <a:gd name="connsiteY5022" fmla="*/ 1571118 h 1867037"/>
                  <a:gd name="connsiteX5023" fmla="*/ 430925 w 2417513"/>
                  <a:gd name="connsiteY5023" fmla="*/ 1570057 h 1867037"/>
                  <a:gd name="connsiteX5024" fmla="*/ 429864 w 2417513"/>
                  <a:gd name="connsiteY5024" fmla="*/ 1570209 h 1867037"/>
                  <a:gd name="connsiteX5025" fmla="*/ 428652 w 2417513"/>
                  <a:gd name="connsiteY5025" fmla="*/ 1572330 h 1867037"/>
                  <a:gd name="connsiteX5026" fmla="*/ 428349 w 2417513"/>
                  <a:gd name="connsiteY5026" fmla="*/ 1573845 h 1867037"/>
                  <a:gd name="connsiteX5027" fmla="*/ 431077 w 2417513"/>
                  <a:gd name="connsiteY5027" fmla="*/ 1580361 h 1867037"/>
                  <a:gd name="connsiteX5028" fmla="*/ 432592 w 2417513"/>
                  <a:gd name="connsiteY5028" fmla="*/ 1583391 h 1867037"/>
                  <a:gd name="connsiteX5029" fmla="*/ 2043712 w 2417513"/>
                  <a:gd name="connsiteY5029" fmla="*/ 1782186 h 1867037"/>
                  <a:gd name="connsiteX5030" fmla="*/ 2043409 w 2417513"/>
                  <a:gd name="connsiteY5030" fmla="*/ 1783398 h 1867037"/>
                  <a:gd name="connsiteX5031" fmla="*/ 2044773 w 2417513"/>
                  <a:gd name="connsiteY5031" fmla="*/ 1782186 h 1867037"/>
                  <a:gd name="connsiteX5032" fmla="*/ 2046439 w 2417513"/>
                  <a:gd name="connsiteY5032" fmla="*/ 1778853 h 1867037"/>
                  <a:gd name="connsiteX5033" fmla="*/ 2045379 w 2417513"/>
                  <a:gd name="connsiteY5033" fmla="*/ 1779307 h 1867037"/>
                  <a:gd name="connsiteX5034" fmla="*/ 2043712 w 2417513"/>
                  <a:gd name="connsiteY5034" fmla="*/ 1782186 h 1867037"/>
                  <a:gd name="connsiteX5035" fmla="*/ 1769611 w 2417513"/>
                  <a:gd name="connsiteY5035" fmla="*/ 1784004 h 1867037"/>
                  <a:gd name="connsiteX5036" fmla="*/ 1766884 w 2417513"/>
                  <a:gd name="connsiteY5036" fmla="*/ 1784459 h 1867037"/>
                  <a:gd name="connsiteX5037" fmla="*/ 1766278 w 2417513"/>
                  <a:gd name="connsiteY5037" fmla="*/ 1785217 h 1867037"/>
                  <a:gd name="connsiteX5038" fmla="*/ 1765369 w 2417513"/>
                  <a:gd name="connsiteY5038" fmla="*/ 1785974 h 1867037"/>
                  <a:gd name="connsiteX5039" fmla="*/ 1765066 w 2417513"/>
                  <a:gd name="connsiteY5039" fmla="*/ 1786580 h 1867037"/>
                  <a:gd name="connsiteX5040" fmla="*/ 1765520 w 2417513"/>
                  <a:gd name="connsiteY5040" fmla="*/ 1786883 h 1867037"/>
                  <a:gd name="connsiteX5041" fmla="*/ 1765520 w 2417513"/>
                  <a:gd name="connsiteY5041" fmla="*/ 1787338 h 1867037"/>
                  <a:gd name="connsiteX5042" fmla="*/ 1765217 w 2417513"/>
                  <a:gd name="connsiteY5042" fmla="*/ 1787793 h 1867037"/>
                  <a:gd name="connsiteX5043" fmla="*/ 1765672 w 2417513"/>
                  <a:gd name="connsiteY5043" fmla="*/ 1787944 h 1867037"/>
                  <a:gd name="connsiteX5044" fmla="*/ 1766884 w 2417513"/>
                  <a:gd name="connsiteY5044" fmla="*/ 1788096 h 1867037"/>
                  <a:gd name="connsiteX5045" fmla="*/ 1768399 w 2417513"/>
                  <a:gd name="connsiteY5045" fmla="*/ 1786883 h 1867037"/>
                  <a:gd name="connsiteX5046" fmla="*/ 1768702 w 2417513"/>
                  <a:gd name="connsiteY5046" fmla="*/ 1786277 h 1867037"/>
                  <a:gd name="connsiteX5047" fmla="*/ 1769308 w 2417513"/>
                  <a:gd name="connsiteY5047" fmla="*/ 1785217 h 1867037"/>
                  <a:gd name="connsiteX5048" fmla="*/ 1771884 w 2417513"/>
                  <a:gd name="connsiteY5048" fmla="*/ 1784459 h 1867037"/>
                  <a:gd name="connsiteX5049" fmla="*/ 1772187 w 2417513"/>
                  <a:gd name="connsiteY5049" fmla="*/ 1783702 h 1867037"/>
                  <a:gd name="connsiteX5050" fmla="*/ 1770823 w 2417513"/>
                  <a:gd name="connsiteY5050" fmla="*/ 1784004 h 1867037"/>
                  <a:gd name="connsiteX5051" fmla="*/ 1769611 w 2417513"/>
                  <a:gd name="connsiteY5051" fmla="*/ 1784004 h 1867037"/>
                  <a:gd name="connsiteX5052" fmla="*/ 2029015 w 2417513"/>
                  <a:gd name="connsiteY5052" fmla="*/ 1766428 h 1867037"/>
                  <a:gd name="connsiteX5053" fmla="*/ 2027651 w 2417513"/>
                  <a:gd name="connsiteY5053" fmla="*/ 1770974 h 1867037"/>
                  <a:gd name="connsiteX5054" fmla="*/ 2031287 w 2417513"/>
                  <a:gd name="connsiteY5054" fmla="*/ 1769156 h 1867037"/>
                  <a:gd name="connsiteX5055" fmla="*/ 2031591 w 2417513"/>
                  <a:gd name="connsiteY5055" fmla="*/ 1768246 h 1867037"/>
                  <a:gd name="connsiteX5056" fmla="*/ 2031742 w 2417513"/>
                  <a:gd name="connsiteY5056" fmla="*/ 1765519 h 1867037"/>
                  <a:gd name="connsiteX5057" fmla="*/ 2030227 w 2417513"/>
                  <a:gd name="connsiteY5057" fmla="*/ 1765064 h 1867037"/>
                  <a:gd name="connsiteX5058" fmla="*/ 2029015 w 2417513"/>
                  <a:gd name="connsiteY5058" fmla="*/ 1766428 h 1867037"/>
                  <a:gd name="connsiteX5059" fmla="*/ 437137 w 2417513"/>
                  <a:gd name="connsiteY5059" fmla="*/ 1580209 h 1867037"/>
                  <a:gd name="connsiteX5060" fmla="*/ 437744 w 2417513"/>
                  <a:gd name="connsiteY5060" fmla="*/ 1584300 h 1867037"/>
                  <a:gd name="connsiteX5061" fmla="*/ 438350 w 2417513"/>
                  <a:gd name="connsiteY5061" fmla="*/ 1583997 h 1867037"/>
                  <a:gd name="connsiteX5062" fmla="*/ 440319 w 2417513"/>
                  <a:gd name="connsiteY5062" fmla="*/ 1582482 h 1867037"/>
                  <a:gd name="connsiteX5063" fmla="*/ 440319 w 2417513"/>
                  <a:gd name="connsiteY5063" fmla="*/ 1582027 h 1867037"/>
                  <a:gd name="connsiteX5064" fmla="*/ 440016 w 2417513"/>
                  <a:gd name="connsiteY5064" fmla="*/ 1580361 h 1867037"/>
                  <a:gd name="connsiteX5065" fmla="*/ 439410 w 2417513"/>
                  <a:gd name="connsiteY5065" fmla="*/ 1579149 h 1867037"/>
                  <a:gd name="connsiteX5066" fmla="*/ 437895 w 2417513"/>
                  <a:gd name="connsiteY5066" fmla="*/ 1577330 h 1867037"/>
                  <a:gd name="connsiteX5067" fmla="*/ 438047 w 2417513"/>
                  <a:gd name="connsiteY5067" fmla="*/ 1578088 h 1867037"/>
                  <a:gd name="connsiteX5068" fmla="*/ 437744 w 2417513"/>
                  <a:gd name="connsiteY5068" fmla="*/ 1578845 h 1867037"/>
                  <a:gd name="connsiteX5069" fmla="*/ 437137 w 2417513"/>
                  <a:gd name="connsiteY5069" fmla="*/ 1580209 h 1867037"/>
                  <a:gd name="connsiteX5070" fmla="*/ 482442 w 2417513"/>
                  <a:gd name="connsiteY5070" fmla="*/ 1624453 h 1867037"/>
                  <a:gd name="connsiteX5071" fmla="*/ 482291 w 2417513"/>
                  <a:gd name="connsiteY5071" fmla="*/ 1623696 h 1867037"/>
                  <a:gd name="connsiteX5072" fmla="*/ 479412 w 2417513"/>
                  <a:gd name="connsiteY5072" fmla="*/ 1622029 h 1867037"/>
                  <a:gd name="connsiteX5073" fmla="*/ 473805 w 2417513"/>
                  <a:gd name="connsiteY5073" fmla="*/ 1617029 h 1867037"/>
                  <a:gd name="connsiteX5074" fmla="*/ 475018 w 2417513"/>
                  <a:gd name="connsiteY5074" fmla="*/ 1618998 h 1867037"/>
                  <a:gd name="connsiteX5075" fmla="*/ 477896 w 2417513"/>
                  <a:gd name="connsiteY5075" fmla="*/ 1622332 h 1867037"/>
                  <a:gd name="connsiteX5076" fmla="*/ 482139 w 2417513"/>
                  <a:gd name="connsiteY5076" fmla="*/ 1624756 h 1867037"/>
                  <a:gd name="connsiteX5077" fmla="*/ 482442 w 2417513"/>
                  <a:gd name="connsiteY5077" fmla="*/ 1624453 h 1867037"/>
                  <a:gd name="connsiteX5078" fmla="*/ 1562634 w 2417513"/>
                  <a:gd name="connsiteY5078" fmla="*/ 1714760 h 1867037"/>
                  <a:gd name="connsiteX5079" fmla="*/ 1560512 w 2417513"/>
                  <a:gd name="connsiteY5079" fmla="*/ 1714153 h 1867037"/>
                  <a:gd name="connsiteX5080" fmla="*/ 1558088 w 2417513"/>
                  <a:gd name="connsiteY5080" fmla="*/ 1713850 h 1867037"/>
                  <a:gd name="connsiteX5081" fmla="*/ 1557179 w 2417513"/>
                  <a:gd name="connsiteY5081" fmla="*/ 1714608 h 1867037"/>
                  <a:gd name="connsiteX5082" fmla="*/ 1557634 w 2417513"/>
                  <a:gd name="connsiteY5082" fmla="*/ 1716426 h 1867037"/>
                  <a:gd name="connsiteX5083" fmla="*/ 1558694 w 2417513"/>
                  <a:gd name="connsiteY5083" fmla="*/ 1718396 h 1867037"/>
                  <a:gd name="connsiteX5084" fmla="*/ 1560361 w 2417513"/>
                  <a:gd name="connsiteY5084" fmla="*/ 1720669 h 1867037"/>
                  <a:gd name="connsiteX5085" fmla="*/ 1561725 w 2417513"/>
                  <a:gd name="connsiteY5085" fmla="*/ 1721275 h 1867037"/>
                  <a:gd name="connsiteX5086" fmla="*/ 1562331 w 2417513"/>
                  <a:gd name="connsiteY5086" fmla="*/ 1721123 h 1867037"/>
                  <a:gd name="connsiteX5087" fmla="*/ 1562937 w 2417513"/>
                  <a:gd name="connsiteY5087" fmla="*/ 1720366 h 1867037"/>
                  <a:gd name="connsiteX5088" fmla="*/ 1563240 w 2417513"/>
                  <a:gd name="connsiteY5088" fmla="*/ 1719305 h 1867037"/>
                  <a:gd name="connsiteX5089" fmla="*/ 1563846 w 2417513"/>
                  <a:gd name="connsiteY5089" fmla="*/ 1719002 h 1867037"/>
                  <a:gd name="connsiteX5090" fmla="*/ 1564604 w 2417513"/>
                  <a:gd name="connsiteY5090" fmla="*/ 1719305 h 1867037"/>
                  <a:gd name="connsiteX5091" fmla="*/ 1565210 w 2417513"/>
                  <a:gd name="connsiteY5091" fmla="*/ 1718699 h 1867037"/>
                  <a:gd name="connsiteX5092" fmla="*/ 1565513 w 2417513"/>
                  <a:gd name="connsiteY5092" fmla="*/ 1717032 h 1867037"/>
                  <a:gd name="connsiteX5093" fmla="*/ 1564755 w 2417513"/>
                  <a:gd name="connsiteY5093" fmla="*/ 1715669 h 1867037"/>
                  <a:gd name="connsiteX5094" fmla="*/ 1562634 w 2417513"/>
                  <a:gd name="connsiteY5094" fmla="*/ 1714760 h 1867037"/>
                  <a:gd name="connsiteX5095" fmla="*/ 451077 w 2417513"/>
                  <a:gd name="connsiteY5095" fmla="*/ 1596119 h 1867037"/>
                  <a:gd name="connsiteX5096" fmla="*/ 451683 w 2417513"/>
                  <a:gd name="connsiteY5096" fmla="*/ 1596725 h 1867037"/>
                  <a:gd name="connsiteX5097" fmla="*/ 452744 w 2417513"/>
                  <a:gd name="connsiteY5097" fmla="*/ 1597937 h 1867037"/>
                  <a:gd name="connsiteX5098" fmla="*/ 455320 w 2417513"/>
                  <a:gd name="connsiteY5098" fmla="*/ 1599604 h 1867037"/>
                  <a:gd name="connsiteX5099" fmla="*/ 461381 w 2417513"/>
                  <a:gd name="connsiteY5099" fmla="*/ 1602331 h 1867037"/>
                  <a:gd name="connsiteX5100" fmla="*/ 461078 w 2417513"/>
                  <a:gd name="connsiteY5100" fmla="*/ 1601725 h 1867037"/>
                  <a:gd name="connsiteX5101" fmla="*/ 456835 w 2417513"/>
                  <a:gd name="connsiteY5101" fmla="*/ 1596876 h 1867037"/>
                  <a:gd name="connsiteX5102" fmla="*/ 453805 w 2417513"/>
                  <a:gd name="connsiteY5102" fmla="*/ 1594755 h 1867037"/>
                  <a:gd name="connsiteX5103" fmla="*/ 450320 w 2417513"/>
                  <a:gd name="connsiteY5103" fmla="*/ 1593391 h 1867037"/>
                  <a:gd name="connsiteX5104" fmla="*/ 448198 w 2417513"/>
                  <a:gd name="connsiteY5104" fmla="*/ 1593088 h 1867037"/>
                  <a:gd name="connsiteX5105" fmla="*/ 447441 w 2417513"/>
                  <a:gd name="connsiteY5105" fmla="*/ 1593695 h 1867037"/>
                  <a:gd name="connsiteX5106" fmla="*/ 447895 w 2417513"/>
                  <a:gd name="connsiteY5106" fmla="*/ 1594452 h 1867037"/>
                  <a:gd name="connsiteX5107" fmla="*/ 451077 w 2417513"/>
                  <a:gd name="connsiteY5107" fmla="*/ 1596119 h 1867037"/>
                  <a:gd name="connsiteX5108" fmla="*/ 2215991 w 2417513"/>
                  <a:gd name="connsiteY5108" fmla="*/ 1728548 h 1867037"/>
                  <a:gd name="connsiteX5109" fmla="*/ 2220688 w 2417513"/>
                  <a:gd name="connsiteY5109" fmla="*/ 1726427 h 1867037"/>
                  <a:gd name="connsiteX5110" fmla="*/ 2221143 w 2417513"/>
                  <a:gd name="connsiteY5110" fmla="*/ 1725669 h 1867037"/>
                  <a:gd name="connsiteX5111" fmla="*/ 2218264 w 2417513"/>
                  <a:gd name="connsiteY5111" fmla="*/ 1723851 h 1867037"/>
                  <a:gd name="connsiteX5112" fmla="*/ 2219779 w 2417513"/>
                  <a:gd name="connsiteY5112" fmla="*/ 1722336 h 1867037"/>
                  <a:gd name="connsiteX5113" fmla="*/ 2220688 w 2417513"/>
                  <a:gd name="connsiteY5113" fmla="*/ 1720517 h 1867037"/>
                  <a:gd name="connsiteX5114" fmla="*/ 2220688 w 2417513"/>
                  <a:gd name="connsiteY5114" fmla="*/ 1719608 h 1867037"/>
                  <a:gd name="connsiteX5115" fmla="*/ 2220234 w 2417513"/>
                  <a:gd name="connsiteY5115" fmla="*/ 1719002 h 1867037"/>
                  <a:gd name="connsiteX5116" fmla="*/ 2217658 w 2417513"/>
                  <a:gd name="connsiteY5116" fmla="*/ 1717941 h 1867037"/>
                  <a:gd name="connsiteX5117" fmla="*/ 2214022 w 2417513"/>
                  <a:gd name="connsiteY5117" fmla="*/ 1717487 h 1867037"/>
                  <a:gd name="connsiteX5118" fmla="*/ 2210385 w 2417513"/>
                  <a:gd name="connsiteY5118" fmla="*/ 1717790 h 1867037"/>
                  <a:gd name="connsiteX5119" fmla="*/ 2209931 w 2417513"/>
                  <a:gd name="connsiteY5119" fmla="*/ 1715214 h 1867037"/>
                  <a:gd name="connsiteX5120" fmla="*/ 2208415 w 2417513"/>
                  <a:gd name="connsiteY5120" fmla="*/ 1713850 h 1867037"/>
                  <a:gd name="connsiteX5121" fmla="*/ 2206294 w 2417513"/>
                  <a:gd name="connsiteY5121" fmla="*/ 1714760 h 1867037"/>
                  <a:gd name="connsiteX5122" fmla="*/ 2204779 w 2417513"/>
                  <a:gd name="connsiteY5122" fmla="*/ 1715820 h 1867037"/>
                  <a:gd name="connsiteX5123" fmla="*/ 2202809 w 2417513"/>
                  <a:gd name="connsiteY5123" fmla="*/ 1717638 h 1867037"/>
                  <a:gd name="connsiteX5124" fmla="*/ 2200536 w 2417513"/>
                  <a:gd name="connsiteY5124" fmla="*/ 1720669 h 1867037"/>
                  <a:gd name="connsiteX5125" fmla="*/ 2200839 w 2417513"/>
                  <a:gd name="connsiteY5125" fmla="*/ 1722487 h 1867037"/>
                  <a:gd name="connsiteX5126" fmla="*/ 2196445 w 2417513"/>
                  <a:gd name="connsiteY5126" fmla="*/ 1726124 h 1867037"/>
                  <a:gd name="connsiteX5127" fmla="*/ 2197203 w 2417513"/>
                  <a:gd name="connsiteY5127" fmla="*/ 1726881 h 1867037"/>
                  <a:gd name="connsiteX5128" fmla="*/ 2203870 w 2417513"/>
                  <a:gd name="connsiteY5128" fmla="*/ 1725669 h 1867037"/>
                  <a:gd name="connsiteX5129" fmla="*/ 2203567 w 2417513"/>
                  <a:gd name="connsiteY5129" fmla="*/ 1726427 h 1867037"/>
                  <a:gd name="connsiteX5130" fmla="*/ 2197354 w 2417513"/>
                  <a:gd name="connsiteY5130" fmla="*/ 1732336 h 1867037"/>
                  <a:gd name="connsiteX5131" fmla="*/ 2196294 w 2417513"/>
                  <a:gd name="connsiteY5131" fmla="*/ 1733094 h 1867037"/>
                  <a:gd name="connsiteX5132" fmla="*/ 2194475 w 2417513"/>
                  <a:gd name="connsiteY5132" fmla="*/ 1733548 h 1867037"/>
                  <a:gd name="connsiteX5133" fmla="*/ 2192506 w 2417513"/>
                  <a:gd name="connsiteY5133" fmla="*/ 1733245 h 1867037"/>
                  <a:gd name="connsiteX5134" fmla="*/ 2190990 w 2417513"/>
                  <a:gd name="connsiteY5134" fmla="*/ 1733245 h 1867037"/>
                  <a:gd name="connsiteX5135" fmla="*/ 2187506 w 2417513"/>
                  <a:gd name="connsiteY5135" fmla="*/ 1734760 h 1867037"/>
                  <a:gd name="connsiteX5136" fmla="*/ 2186596 w 2417513"/>
                  <a:gd name="connsiteY5136" fmla="*/ 1733245 h 1867037"/>
                  <a:gd name="connsiteX5137" fmla="*/ 2187657 w 2417513"/>
                  <a:gd name="connsiteY5137" fmla="*/ 1731730 h 1867037"/>
                  <a:gd name="connsiteX5138" fmla="*/ 2189930 w 2417513"/>
                  <a:gd name="connsiteY5138" fmla="*/ 1730215 h 1867037"/>
                  <a:gd name="connsiteX5139" fmla="*/ 2189930 w 2417513"/>
                  <a:gd name="connsiteY5139" fmla="*/ 1729609 h 1867037"/>
                  <a:gd name="connsiteX5140" fmla="*/ 2188112 w 2417513"/>
                  <a:gd name="connsiteY5140" fmla="*/ 1728699 h 1867037"/>
                  <a:gd name="connsiteX5141" fmla="*/ 2189627 w 2417513"/>
                  <a:gd name="connsiteY5141" fmla="*/ 1727790 h 1867037"/>
                  <a:gd name="connsiteX5142" fmla="*/ 2192809 w 2417513"/>
                  <a:gd name="connsiteY5142" fmla="*/ 1726427 h 1867037"/>
                  <a:gd name="connsiteX5143" fmla="*/ 2192960 w 2417513"/>
                  <a:gd name="connsiteY5143" fmla="*/ 1725215 h 1867037"/>
                  <a:gd name="connsiteX5144" fmla="*/ 2190990 w 2417513"/>
                  <a:gd name="connsiteY5144" fmla="*/ 1725215 h 1867037"/>
                  <a:gd name="connsiteX5145" fmla="*/ 2187354 w 2417513"/>
                  <a:gd name="connsiteY5145" fmla="*/ 1726881 h 1867037"/>
                  <a:gd name="connsiteX5146" fmla="*/ 2186445 w 2417513"/>
                  <a:gd name="connsiteY5146" fmla="*/ 1726578 h 1867037"/>
                  <a:gd name="connsiteX5147" fmla="*/ 2191748 w 2417513"/>
                  <a:gd name="connsiteY5147" fmla="*/ 1723245 h 1867037"/>
                  <a:gd name="connsiteX5148" fmla="*/ 2194021 w 2417513"/>
                  <a:gd name="connsiteY5148" fmla="*/ 1722184 h 1867037"/>
                  <a:gd name="connsiteX5149" fmla="*/ 2196294 w 2417513"/>
                  <a:gd name="connsiteY5149" fmla="*/ 1721578 h 1867037"/>
                  <a:gd name="connsiteX5150" fmla="*/ 2200839 w 2417513"/>
                  <a:gd name="connsiteY5150" fmla="*/ 1718851 h 1867037"/>
                  <a:gd name="connsiteX5151" fmla="*/ 2202051 w 2417513"/>
                  <a:gd name="connsiteY5151" fmla="*/ 1717335 h 1867037"/>
                  <a:gd name="connsiteX5152" fmla="*/ 2203112 w 2417513"/>
                  <a:gd name="connsiteY5152" fmla="*/ 1715366 h 1867037"/>
                  <a:gd name="connsiteX5153" fmla="*/ 2202809 w 2417513"/>
                  <a:gd name="connsiteY5153" fmla="*/ 1714305 h 1867037"/>
                  <a:gd name="connsiteX5154" fmla="*/ 2203567 w 2417513"/>
                  <a:gd name="connsiteY5154" fmla="*/ 1710517 h 1867037"/>
                  <a:gd name="connsiteX5155" fmla="*/ 2206294 w 2417513"/>
                  <a:gd name="connsiteY5155" fmla="*/ 1703699 h 1867037"/>
                  <a:gd name="connsiteX5156" fmla="*/ 2207658 w 2417513"/>
                  <a:gd name="connsiteY5156" fmla="*/ 1699456 h 1867037"/>
                  <a:gd name="connsiteX5157" fmla="*/ 2207658 w 2417513"/>
                  <a:gd name="connsiteY5157" fmla="*/ 1698395 h 1867037"/>
                  <a:gd name="connsiteX5158" fmla="*/ 2205082 w 2417513"/>
                  <a:gd name="connsiteY5158" fmla="*/ 1693092 h 1867037"/>
                  <a:gd name="connsiteX5159" fmla="*/ 2204930 w 2417513"/>
                  <a:gd name="connsiteY5159" fmla="*/ 1691728 h 1867037"/>
                  <a:gd name="connsiteX5160" fmla="*/ 2205536 w 2417513"/>
                  <a:gd name="connsiteY5160" fmla="*/ 1690365 h 1867037"/>
                  <a:gd name="connsiteX5161" fmla="*/ 2203264 w 2417513"/>
                  <a:gd name="connsiteY5161" fmla="*/ 1690213 h 1867037"/>
                  <a:gd name="connsiteX5162" fmla="*/ 2200991 w 2417513"/>
                  <a:gd name="connsiteY5162" fmla="*/ 1690516 h 1867037"/>
                  <a:gd name="connsiteX5163" fmla="*/ 2199779 w 2417513"/>
                  <a:gd name="connsiteY5163" fmla="*/ 1691274 h 1867037"/>
                  <a:gd name="connsiteX5164" fmla="*/ 2195839 w 2417513"/>
                  <a:gd name="connsiteY5164" fmla="*/ 1695213 h 1867037"/>
                  <a:gd name="connsiteX5165" fmla="*/ 2192809 w 2417513"/>
                  <a:gd name="connsiteY5165" fmla="*/ 1697486 h 1867037"/>
                  <a:gd name="connsiteX5166" fmla="*/ 2191142 w 2417513"/>
                  <a:gd name="connsiteY5166" fmla="*/ 1699759 h 1867037"/>
                  <a:gd name="connsiteX5167" fmla="*/ 2189778 w 2417513"/>
                  <a:gd name="connsiteY5167" fmla="*/ 1702486 h 1867037"/>
                  <a:gd name="connsiteX5168" fmla="*/ 2182657 w 2417513"/>
                  <a:gd name="connsiteY5168" fmla="*/ 1714457 h 1867037"/>
                  <a:gd name="connsiteX5169" fmla="*/ 2180990 w 2417513"/>
                  <a:gd name="connsiteY5169" fmla="*/ 1716426 h 1867037"/>
                  <a:gd name="connsiteX5170" fmla="*/ 2178111 w 2417513"/>
                  <a:gd name="connsiteY5170" fmla="*/ 1719002 h 1867037"/>
                  <a:gd name="connsiteX5171" fmla="*/ 2176142 w 2417513"/>
                  <a:gd name="connsiteY5171" fmla="*/ 1722790 h 1867037"/>
                  <a:gd name="connsiteX5172" fmla="*/ 2175687 w 2417513"/>
                  <a:gd name="connsiteY5172" fmla="*/ 1726881 h 1867037"/>
                  <a:gd name="connsiteX5173" fmla="*/ 2176899 w 2417513"/>
                  <a:gd name="connsiteY5173" fmla="*/ 1734609 h 1867037"/>
                  <a:gd name="connsiteX5174" fmla="*/ 2177960 w 2417513"/>
                  <a:gd name="connsiteY5174" fmla="*/ 1736275 h 1867037"/>
                  <a:gd name="connsiteX5175" fmla="*/ 2180232 w 2417513"/>
                  <a:gd name="connsiteY5175" fmla="*/ 1738700 h 1867037"/>
                  <a:gd name="connsiteX5176" fmla="*/ 2181293 w 2417513"/>
                  <a:gd name="connsiteY5176" fmla="*/ 1739609 h 1867037"/>
                  <a:gd name="connsiteX5177" fmla="*/ 2182657 w 2417513"/>
                  <a:gd name="connsiteY5177" fmla="*/ 1739609 h 1867037"/>
                  <a:gd name="connsiteX5178" fmla="*/ 2184020 w 2417513"/>
                  <a:gd name="connsiteY5178" fmla="*/ 1739154 h 1867037"/>
                  <a:gd name="connsiteX5179" fmla="*/ 2186899 w 2417513"/>
                  <a:gd name="connsiteY5179" fmla="*/ 1739306 h 1867037"/>
                  <a:gd name="connsiteX5180" fmla="*/ 2189778 w 2417513"/>
                  <a:gd name="connsiteY5180" fmla="*/ 1738548 h 1867037"/>
                  <a:gd name="connsiteX5181" fmla="*/ 2192657 w 2417513"/>
                  <a:gd name="connsiteY5181" fmla="*/ 1738397 h 1867037"/>
                  <a:gd name="connsiteX5182" fmla="*/ 2195536 w 2417513"/>
                  <a:gd name="connsiteY5182" fmla="*/ 1739003 h 1867037"/>
                  <a:gd name="connsiteX5183" fmla="*/ 2197960 w 2417513"/>
                  <a:gd name="connsiteY5183" fmla="*/ 1739003 h 1867037"/>
                  <a:gd name="connsiteX5184" fmla="*/ 2205839 w 2417513"/>
                  <a:gd name="connsiteY5184" fmla="*/ 1736882 h 1867037"/>
                  <a:gd name="connsiteX5185" fmla="*/ 2210840 w 2417513"/>
                  <a:gd name="connsiteY5185" fmla="*/ 1733851 h 1867037"/>
                  <a:gd name="connsiteX5186" fmla="*/ 2213264 w 2417513"/>
                  <a:gd name="connsiteY5186" fmla="*/ 1731275 h 1867037"/>
                  <a:gd name="connsiteX5187" fmla="*/ 2215991 w 2417513"/>
                  <a:gd name="connsiteY5187" fmla="*/ 1728548 h 1867037"/>
                  <a:gd name="connsiteX5188" fmla="*/ 477442 w 2417513"/>
                  <a:gd name="connsiteY5188" fmla="*/ 1623241 h 1867037"/>
                  <a:gd name="connsiteX5189" fmla="*/ 476684 w 2417513"/>
                  <a:gd name="connsiteY5189" fmla="*/ 1623090 h 1867037"/>
                  <a:gd name="connsiteX5190" fmla="*/ 478503 w 2417513"/>
                  <a:gd name="connsiteY5190" fmla="*/ 1629302 h 1867037"/>
                  <a:gd name="connsiteX5191" fmla="*/ 478957 w 2417513"/>
                  <a:gd name="connsiteY5191" fmla="*/ 1629908 h 1867037"/>
                  <a:gd name="connsiteX5192" fmla="*/ 479563 w 2417513"/>
                  <a:gd name="connsiteY5192" fmla="*/ 1630060 h 1867037"/>
                  <a:gd name="connsiteX5193" fmla="*/ 480775 w 2417513"/>
                  <a:gd name="connsiteY5193" fmla="*/ 1629150 h 1867037"/>
                  <a:gd name="connsiteX5194" fmla="*/ 481533 w 2417513"/>
                  <a:gd name="connsiteY5194" fmla="*/ 1629150 h 1867037"/>
                  <a:gd name="connsiteX5195" fmla="*/ 481078 w 2417513"/>
                  <a:gd name="connsiteY5195" fmla="*/ 1627787 h 1867037"/>
                  <a:gd name="connsiteX5196" fmla="*/ 479260 w 2417513"/>
                  <a:gd name="connsiteY5196" fmla="*/ 1625968 h 1867037"/>
                  <a:gd name="connsiteX5197" fmla="*/ 479866 w 2417513"/>
                  <a:gd name="connsiteY5197" fmla="*/ 1625211 h 1867037"/>
                  <a:gd name="connsiteX5198" fmla="*/ 477442 w 2417513"/>
                  <a:gd name="connsiteY5198" fmla="*/ 1623241 h 1867037"/>
                  <a:gd name="connsiteX5199" fmla="*/ 1511420 w 2417513"/>
                  <a:gd name="connsiteY5199" fmla="*/ 1662333 h 1867037"/>
                  <a:gd name="connsiteX5200" fmla="*/ 1509753 w 2417513"/>
                  <a:gd name="connsiteY5200" fmla="*/ 1662485 h 1867037"/>
                  <a:gd name="connsiteX5201" fmla="*/ 1508238 w 2417513"/>
                  <a:gd name="connsiteY5201" fmla="*/ 1662940 h 1867037"/>
                  <a:gd name="connsiteX5202" fmla="*/ 1506874 w 2417513"/>
                  <a:gd name="connsiteY5202" fmla="*/ 1663849 h 1867037"/>
                  <a:gd name="connsiteX5203" fmla="*/ 1506268 w 2417513"/>
                  <a:gd name="connsiteY5203" fmla="*/ 1664455 h 1867037"/>
                  <a:gd name="connsiteX5204" fmla="*/ 1506571 w 2417513"/>
                  <a:gd name="connsiteY5204" fmla="*/ 1664909 h 1867037"/>
                  <a:gd name="connsiteX5205" fmla="*/ 1508844 w 2417513"/>
                  <a:gd name="connsiteY5205" fmla="*/ 1665364 h 1867037"/>
                  <a:gd name="connsiteX5206" fmla="*/ 1514147 w 2417513"/>
                  <a:gd name="connsiteY5206" fmla="*/ 1664909 h 1867037"/>
                  <a:gd name="connsiteX5207" fmla="*/ 1515814 w 2417513"/>
                  <a:gd name="connsiteY5207" fmla="*/ 1664606 h 1867037"/>
                  <a:gd name="connsiteX5208" fmla="*/ 1516117 w 2417513"/>
                  <a:gd name="connsiteY5208" fmla="*/ 1664152 h 1867037"/>
                  <a:gd name="connsiteX5209" fmla="*/ 1514905 w 2417513"/>
                  <a:gd name="connsiteY5209" fmla="*/ 1663242 h 1867037"/>
                  <a:gd name="connsiteX5210" fmla="*/ 1511420 w 2417513"/>
                  <a:gd name="connsiteY5210" fmla="*/ 1662333 h 1867037"/>
                  <a:gd name="connsiteX5211" fmla="*/ 1459448 w 2417513"/>
                  <a:gd name="connsiteY5211" fmla="*/ 1626726 h 1867037"/>
                  <a:gd name="connsiteX5212" fmla="*/ 1458539 w 2417513"/>
                  <a:gd name="connsiteY5212" fmla="*/ 1625968 h 1867037"/>
                  <a:gd name="connsiteX5213" fmla="*/ 1457781 w 2417513"/>
                  <a:gd name="connsiteY5213" fmla="*/ 1625968 h 1867037"/>
                  <a:gd name="connsiteX5214" fmla="*/ 1457327 w 2417513"/>
                  <a:gd name="connsiteY5214" fmla="*/ 1626120 h 1867037"/>
                  <a:gd name="connsiteX5215" fmla="*/ 1457175 w 2417513"/>
                  <a:gd name="connsiteY5215" fmla="*/ 1626423 h 1867037"/>
                  <a:gd name="connsiteX5216" fmla="*/ 1457781 w 2417513"/>
                  <a:gd name="connsiteY5216" fmla="*/ 1627484 h 1867037"/>
                  <a:gd name="connsiteX5217" fmla="*/ 1457781 w 2417513"/>
                  <a:gd name="connsiteY5217" fmla="*/ 1628090 h 1867037"/>
                  <a:gd name="connsiteX5218" fmla="*/ 1457478 w 2417513"/>
                  <a:gd name="connsiteY5218" fmla="*/ 1628544 h 1867037"/>
                  <a:gd name="connsiteX5219" fmla="*/ 1457781 w 2417513"/>
                  <a:gd name="connsiteY5219" fmla="*/ 1628847 h 1867037"/>
                  <a:gd name="connsiteX5220" fmla="*/ 1458842 w 2417513"/>
                  <a:gd name="connsiteY5220" fmla="*/ 1628999 h 1867037"/>
                  <a:gd name="connsiteX5221" fmla="*/ 1460660 w 2417513"/>
                  <a:gd name="connsiteY5221" fmla="*/ 1628696 h 1867037"/>
                  <a:gd name="connsiteX5222" fmla="*/ 1460509 w 2417513"/>
                  <a:gd name="connsiteY5222" fmla="*/ 1627938 h 1867037"/>
                  <a:gd name="connsiteX5223" fmla="*/ 1459448 w 2417513"/>
                  <a:gd name="connsiteY5223" fmla="*/ 1626726 h 1867037"/>
                  <a:gd name="connsiteX5224" fmla="*/ 1452630 w 2417513"/>
                  <a:gd name="connsiteY5224" fmla="*/ 1625211 h 1867037"/>
                  <a:gd name="connsiteX5225" fmla="*/ 1450357 w 2417513"/>
                  <a:gd name="connsiteY5225" fmla="*/ 1625514 h 1867037"/>
                  <a:gd name="connsiteX5226" fmla="*/ 1448690 w 2417513"/>
                  <a:gd name="connsiteY5226" fmla="*/ 1626272 h 1867037"/>
                  <a:gd name="connsiteX5227" fmla="*/ 1447932 w 2417513"/>
                  <a:gd name="connsiteY5227" fmla="*/ 1627332 h 1867037"/>
                  <a:gd name="connsiteX5228" fmla="*/ 1448236 w 2417513"/>
                  <a:gd name="connsiteY5228" fmla="*/ 1629756 h 1867037"/>
                  <a:gd name="connsiteX5229" fmla="*/ 1448690 w 2417513"/>
                  <a:gd name="connsiteY5229" fmla="*/ 1630666 h 1867037"/>
                  <a:gd name="connsiteX5230" fmla="*/ 1449448 w 2417513"/>
                  <a:gd name="connsiteY5230" fmla="*/ 1630666 h 1867037"/>
                  <a:gd name="connsiteX5231" fmla="*/ 1450357 w 2417513"/>
                  <a:gd name="connsiteY5231" fmla="*/ 1629756 h 1867037"/>
                  <a:gd name="connsiteX5232" fmla="*/ 1451872 w 2417513"/>
                  <a:gd name="connsiteY5232" fmla="*/ 1629302 h 1867037"/>
                  <a:gd name="connsiteX5233" fmla="*/ 1454145 w 2417513"/>
                  <a:gd name="connsiteY5233" fmla="*/ 1629302 h 1867037"/>
                  <a:gd name="connsiteX5234" fmla="*/ 1455357 w 2417513"/>
                  <a:gd name="connsiteY5234" fmla="*/ 1628999 h 1867037"/>
                  <a:gd name="connsiteX5235" fmla="*/ 1455508 w 2417513"/>
                  <a:gd name="connsiteY5235" fmla="*/ 1628393 h 1867037"/>
                  <a:gd name="connsiteX5236" fmla="*/ 1456266 w 2417513"/>
                  <a:gd name="connsiteY5236" fmla="*/ 1628090 h 1867037"/>
                  <a:gd name="connsiteX5237" fmla="*/ 1456569 w 2417513"/>
                  <a:gd name="connsiteY5237" fmla="*/ 1627484 h 1867037"/>
                  <a:gd name="connsiteX5238" fmla="*/ 1456721 w 2417513"/>
                  <a:gd name="connsiteY5238" fmla="*/ 1626423 h 1867037"/>
                  <a:gd name="connsiteX5239" fmla="*/ 1455357 w 2417513"/>
                  <a:gd name="connsiteY5239" fmla="*/ 1625817 h 1867037"/>
                  <a:gd name="connsiteX5240" fmla="*/ 1452630 w 2417513"/>
                  <a:gd name="connsiteY5240" fmla="*/ 1625211 h 1867037"/>
                  <a:gd name="connsiteX5241" fmla="*/ 2186748 w 2417513"/>
                  <a:gd name="connsiteY5241" fmla="*/ 1739609 h 1867037"/>
                  <a:gd name="connsiteX5242" fmla="*/ 2186899 w 2417513"/>
                  <a:gd name="connsiteY5242" fmla="*/ 1740367 h 1867037"/>
                  <a:gd name="connsiteX5243" fmla="*/ 2188566 w 2417513"/>
                  <a:gd name="connsiteY5243" fmla="*/ 1741730 h 1867037"/>
                  <a:gd name="connsiteX5244" fmla="*/ 2188869 w 2417513"/>
                  <a:gd name="connsiteY5244" fmla="*/ 1742185 h 1867037"/>
                  <a:gd name="connsiteX5245" fmla="*/ 2189930 w 2417513"/>
                  <a:gd name="connsiteY5245" fmla="*/ 1741882 h 1867037"/>
                  <a:gd name="connsiteX5246" fmla="*/ 2190233 w 2417513"/>
                  <a:gd name="connsiteY5246" fmla="*/ 1740973 h 1867037"/>
                  <a:gd name="connsiteX5247" fmla="*/ 2191294 w 2417513"/>
                  <a:gd name="connsiteY5247" fmla="*/ 1739154 h 1867037"/>
                  <a:gd name="connsiteX5248" fmla="*/ 2188112 w 2417513"/>
                  <a:gd name="connsiteY5248" fmla="*/ 1738851 h 1867037"/>
                  <a:gd name="connsiteX5249" fmla="*/ 2186748 w 2417513"/>
                  <a:gd name="connsiteY5249" fmla="*/ 1739609 h 1867037"/>
                  <a:gd name="connsiteX5250" fmla="*/ 900488 w 2417513"/>
                  <a:gd name="connsiteY5250" fmla="*/ 899578 h 1867037"/>
                  <a:gd name="connsiteX5251" fmla="*/ 901397 w 2417513"/>
                  <a:gd name="connsiteY5251" fmla="*/ 902306 h 1867037"/>
                  <a:gd name="connsiteX5252" fmla="*/ 903973 w 2417513"/>
                  <a:gd name="connsiteY5252" fmla="*/ 905185 h 1867037"/>
                  <a:gd name="connsiteX5253" fmla="*/ 904579 w 2417513"/>
                  <a:gd name="connsiteY5253" fmla="*/ 906397 h 1867037"/>
                  <a:gd name="connsiteX5254" fmla="*/ 905943 w 2417513"/>
                  <a:gd name="connsiteY5254" fmla="*/ 905791 h 1867037"/>
                  <a:gd name="connsiteX5255" fmla="*/ 907609 w 2417513"/>
                  <a:gd name="connsiteY5255" fmla="*/ 903518 h 1867037"/>
                  <a:gd name="connsiteX5256" fmla="*/ 908367 w 2417513"/>
                  <a:gd name="connsiteY5256" fmla="*/ 899881 h 1867037"/>
                  <a:gd name="connsiteX5257" fmla="*/ 903973 w 2417513"/>
                  <a:gd name="connsiteY5257" fmla="*/ 899881 h 1867037"/>
                  <a:gd name="connsiteX5258" fmla="*/ 900488 w 2417513"/>
                  <a:gd name="connsiteY5258" fmla="*/ 899578 h 1867037"/>
                  <a:gd name="connsiteX5259" fmla="*/ 898821 w 2417513"/>
                  <a:gd name="connsiteY5259" fmla="*/ 879881 h 1867037"/>
                  <a:gd name="connsiteX5260" fmla="*/ 900943 w 2417513"/>
                  <a:gd name="connsiteY5260" fmla="*/ 882002 h 1867037"/>
                  <a:gd name="connsiteX5261" fmla="*/ 902912 w 2417513"/>
                  <a:gd name="connsiteY5261" fmla="*/ 882911 h 1867037"/>
                  <a:gd name="connsiteX5262" fmla="*/ 903821 w 2417513"/>
                  <a:gd name="connsiteY5262" fmla="*/ 884729 h 1867037"/>
                  <a:gd name="connsiteX5263" fmla="*/ 904276 w 2417513"/>
                  <a:gd name="connsiteY5263" fmla="*/ 885032 h 1867037"/>
                  <a:gd name="connsiteX5264" fmla="*/ 905640 w 2417513"/>
                  <a:gd name="connsiteY5264" fmla="*/ 881093 h 1867037"/>
                  <a:gd name="connsiteX5265" fmla="*/ 905943 w 2417513"/>
                  <a:gd name="connsiteY5265" fmla="*/ 879426 h 1867037"/>
                  <a:gd name="connsiteX5266" fmla="*/ 905488 w 2417513"/>
                  <a:gd name="connsiteY5266" fmla="*/ 878062 h 1867037"/>
                  <a:gd name="connsiteX5267" fmla="*/ 904731 w 2417513"/>
                  <a:gd name="connsiteY5267" fmla="*/ 877608 h 1867037"/>
                  <a:gd name="connsiteX5268" fmla="*/ 903215 w 2417513"/>
                  <a:gd name="connsiteY5268" fmla="*/ 875941 h 1867037"/>
                  <a:gd name="connsiteX5269" fmla="*/ 903670 w 2417513"/>
                  <a:gd name="connsiteY5269" fmla="*/ 874274 h 1867037"/>
                  <a:gd name="connsiteX5270" fmla="*/ 903215 w 2417513"/>
                  <a:gd name="connsiteY5270" fmla="*/ 870941 h 1867037"/>
                  <a:gd name="connsiteX5271" fmla="*/ 901700 w 2417513"/>
                  <a:gd name="connsiteY5271" fmla="*/ 868971 h 1867037"/>
                  <a:gd name="connsiteX5272" fmla="*/ 899579 w 2417513"/>
                  <a:gd name="connsiteY5272" fmla="*/ 870638 h 1867037"/>
                  <a:gd name="connsiteX5273" fmla="*/ 899730 w 2417513"/>
                  <a:gd name="connsiteY5273" fmla="*/ 873517 h 1867037"/>
                  <a:gd name="connsiteX5274" fmla="*/ 898973 w 2417513"/>
                  <a:gd name="connsiteY5274" fmla="*/ 875486 h 1867037"/>
                  <a:gd name="connsiteX5275" fmla="*/ 898821 w 2417513"/>
                  <a:gd name="connsiteY5275" fmla="*/ 879881 h 1867037"/>
                  <a:gd name="connsiteX5276" fmla="*/ 1308079 w 2417513"/>
                  <a:gd name="connsiteY5276" fmla="*/ 1124132 h 1867037"/>
                  <a:gd name="connsiteX5277" fmla="*/ 1308685 w 2417513"/>
                  <a:gd name="connsiteY5277" fmla="*/ 1125193 h 1867037"/>
                  <a:gd name="connsiteX5278" fmla="*/ 1311261 w 2417513"/>
                  <a:gd name="connsiteY5278" fmla="*/ 1127314 h 1867037"/>
                  <a:gd name="connsiteX5279" fmla="*/ 1312321 w 2417513"/>
                  <a:gd name="connsiteY5279" fmla="*/ 1127162 h 1867037"/>
                  <a:gd name="connsiteX5280" fmla="*/ 1313534 w 2417513"/>
                  <a:gd name="connsiteY5280" fmla="*/ 1126102 h 1867037"/>
                  <a:gd name="connsiteX5281" fmla="*/ 1313685 w 2417513"/>
                  <a:gd name="connsiteY5281" fmla="*/ 1125193 h 1867037"/>
                  <a:gd name="connsiteX5282" fmla="*/ 1311412 w 2417513"/>
                  <a:gd name="connsiteY5282" fmla="*/ 1123223 h 1867037"/>
                  <a:gd name="connsiteX5283" fmla="*/ 1308079 w 2417513"/>
                  <a:gd name="connsiteY5283" fmla="*/ 1124132 h 1867037"/>
                  <a:gd name="connsiteX5284" fmla="*/ 1664456 w 2417513"/>
                  <a:gd name="connsiteY5284" fmla="*/ 1762943 h 1867037"/>
                  <a:gd name="connsiteX5285" fmla="*/ 1663244 w 2417513"/>
                  <a:gd name="connsiteY5285" fmla="*/ 1762640 h 1867037"/>
                  <a:gd name="connsiteX5286" fmla="*/ 1662638 w 2417513"/>
                  <a:gd name="connsiteY5286" fmla="*/ 1762943 h 1867037"/>
                  <a:gd name="connsiteX5287" fmla="*/ 1662789 w 2417513"/>
                  <a:gd name="connsiteY5287" fmla="*/ 1763701 h 1867037"/>
                  <a:gd name="connsiteX5288" fmla="*/ 1663244 w 2417513"/>
                  <a:gd name="connsiteY5288" fmla="*/ 1764458 h 1867037"/>
                  <a:gd name="connsiteX5289" fmla="*/ 1664456 w 2417513"/>
                  <a:gd name="connsiteY5289" fmla="*/ 1765368 h 1867037"/>
                  <a:gd name="connsiteX5290" fmla="*/ 1664456 w 2417513"/>
                  <a:gd name="connsiteY5290" fmla="*/ 1764913 h 1867037"/>
                  <a:gd name="connsiteX5291" fmla="*/ 1664910 w 2417513"/>
                  <a:gd name="connsiteY5291" fmla="*/ 1763549 h 1867037"/>
                  <a:gd name="connsiteX5292" fmla="*/ 1664456 w 2417513"/>
                  <a:gd name="connsiteY5292" fmla="*/ 1762943 h 1867037"/>
                  <a:gd name="connsiteX5293" fmla="*/ 2093714 w 2417513"/>
                  <a:gd name="connsiteY5293" fmla="*/ 1655363 h 1867037"/>
                  <a:gd name="connsiteX5294" fmla="*/ 2093260 w 2417513"/>
                  <a:gd name="connsiteY5294" fmla="*/ 1655060 h 1867037"/>
                  <a:gd name="connsiteX5295" fmla="*/ 2092653 w 2417513"/>
                  <a:gd name="connsiteY5295" fmla="*/ 1655363 h 1867037"/>
                  <a:gd name="connsiteX5296" fmla="*/ 2092047 w 2417513"/>
                  <a:gd name="connsiteY5296" fmla="*/ 1656121 h 1867037"/>
                  <a:gd name="connsiteX5297" fmla="*/ 2090684 w 2417513"/>
                  <a:gd name="connsiteY5297" fmla="*/ 1658848 h 1867037"/>
                  <a:gd name="connsiteX5298" fmla="*/ 2093866 w 2417513"/>
                  <a:gd name="connsiteY5298" fmla="*/ 1657030 h 1867037"/>
                  <a:gd name="connsiteX5299" fmla="*/ 2093714 w 2417513"/>
                  <a:gd name="connsiteY5299" fmla="*/ 1655363 h 1867037"/>
                  <a:gd name="connsiteX5300" fmla="*/ 2335844 w 2417513"/>
                  <a:gd name="connsiteY5300" fmla="*/ 1558542 h 1867037"/>
                  <a:gd name="connsiteX5301" fmla="*/ 2335996 w 2417513"/>
                  <a:gd name="connsiteY5301" fmla="*/ 1559299 h 1867037"/>
                  <a:gd name="connsiteX5302" fmla="*/ 2336753 w 2417513"/>
                  <a:gd name="connsiteY5302" fmla="*/ 1559754 h 1867037"/>
                  <a:gd name="connsiteX5303" fmla="*/ 2337662 w 2417513"/>
                  <a:gd name="connsiteY5303" fmla="*/ 1559754 h 1867037"/>
                  <a:gd name="connsiteX5304" fmla="*/ 2338572 w 2417513"/>
                  <a:gd name="connsiteY5304" fmla="*/ 1559299 h 1867037"/>
                  <a:gd name="connsiteX5305" fmla="*/ 2339481 w 2417513"/>
                  <a:gd name="connsiteY5305" fmla="*/ 1558542 h 1867037"/>
                  <a:gd name="connsiteX5306" fmla="*/ 2340390 w 2417513"/>
                  <a:gd name="connsiteY5306" fmla="*/ 1557330 h 1867037"/>
                  <a:gd name="connsiteX5307" fmla="*/ 2340541 w 2417513"/>
                  <a:gd name="connsiteY5307" fmla="*/ 1556572 h 1867037"/>
                  <a:gd name="connsiteX5308" fmla="*/ 2339026 w 2417513"/>
                  <a:gd name="connsiteY5308" fmla="*/ 1556420 h 1867037"/>
                  <a:gd name="connsiteX5309" fmla="*/ 2336905 w 2417513"/>
                  <a:gd name="connsiteY5309" fmla="*/ 1557178 h 1867037"/>
                  <a:gd name="connsiteX5310" fmla="*/ 2335844 w 2417513"/>
                  <a:gd name="connsiteY5310" fmla="*/ 1558542 h 1867037"/>
                  <a:gd name="connsiteX5311" fmla="*/ 2416908 w 2417513"/>
                  <a:gd name="connsiteY5311" fmla="*/ 1668697 h 1867037"/>
                  <a:gd name="connsiteX5312" fmla="*/ 2415999 w 2417513"/>
                  <a:gd name="connsiteY5312" fmla="*/ 1666273 h 1867037"/>
                  <a:gd name="connsiteX5313" fmla="*/ 2415847 w 2417513"/>
                  <a:gd name="connsiteY5313" fmla="*/ 1664455 h 1867037"/>
                  <a:gd name="connsiteX5314" fmla="*/ 2414938 w 2417513"/>
                  <a:gd name="connsiteY5314" fmla="*/ 1663697 h 1867037"/>
                  <a:gd name="connsiteX5315" fmla="*/ 2413877 w 2417513"/>
                  <a:gd name="connsiteY5315" fmla="*/ 1663697 h 1867037"/>
                  <a:gd name="connsiteX5316" fmla="*/ 2412968 w 2417513"/>
                  <a:gd name="connsiteY5316" fmla="*/ 1665212 h 1867037"/>
                  <a:gd name="connsiteX5317" fmla="*/ 2411453 w 2417513"/>
                  <a:gd name="connsiteY5317" fmla="*/ 1669000 h 1867037"/>
                  <a:gd name="connsiteX5318" fmla="*/ 2409483 w 2417513"/>
                  <a:gd name="connsiteY5318" fmla="*/ 1671273 h 1867037"/>
                  <a:gd name="connsiteX5319" fmla="*/ 2406453 w 2417513"/>
                  <a:gd name="connsiteY5319" fmla="*/ 1673697 h 1867037"/>
                  <a:gd name="connsiteX5320" fmla="*/ 2404635 w 2417513"/>
                  <a:gd name="connsiteY5320" fmla="*/ 1674607 h 1867037"/>
                  <a:gd name="connsiteX5321" fmla="*/ 2403726 w 2417513"/>
                  <a:gd name="connsiteY5321" fmla="*/ 1673546 h 1867037"/>
                  <a:gd name="connsiteX5322" fmla="*/ 2403423 w 2417513"/>
                  <a:gd name="connsiteY5322" fmla="*/ 1672637 h 1867037"/>
                  <a:gd name="connsiteX5323" fmla="*/ 2403271 w 2417513"/>
                  <a:gd name="connsiteY5323" fmla="*/ 1667788 h 1867037"/>
                  <a:gd name="connsiteX5324" fmla="*/ 2403877 w 2417513"/>
                  <a:gd name="connsiteY5324" fmla="*/ 1664909 h 1867037"/>
                  <a:gd name="connsiteX5325" fmla="*/ 2405089 w 2417513"/>
                  <a:gd name="connsiteY5325" fmla="*/ 1662182 h 1867037"/>
                  <a:gd name="connsiteX5326" fmla="*/ 2408120 w 2417513"/>
                  <a:gd name="connsiteY5326" fmla="*/ 1656424 h 1867037"/>
                  <a:gd name="connsiteX5327" fmla="*/ 2409332 w 2417513"/>
                  <a:gd name="connsiteY5327" fmla="*/ 1654606 h 1867037"/>
                  <a:gd name="connsiteX5328" fmla="*/ 2411605 w 2417513"/>
                  <a:gd name="connsiteY5328" fmla="*/ 1652333 h 1867037"/>
                  <a:gd name="connsiteX5329" fmla="*/ 2411756 w 2417513"/>
                  <a:gd name="connsiteY5329" fmla="*/ 1651727 h 1867037"/>
                  <a:gd name="connsiteX5330" fmla="*/ 2411302 w 2417513"/>
                  <a:gd name="connsiteY5330" fmla="*/ 1651121 h 1867037"/>
                  <a:gd name="connsiteX5331" fmla="*/ 2410241 w 2417513"/>
                  <a:gd name="connsiteY5331" fmla="*/ 1650515 h 1867037"/>
                  <a:gd name="connsiteX5332" fmla="*/ 2405695 w 2417513"/>
                  <a:gd name="connsiteY5332" fmla="*/ 1653242 h 1867037"/>
                  <a:gd name="connsiteX5333" fmla="*/ 2400241 w 2417513"/>
                  <a:gd name="connsiteY5333" fmla="*/ 1655666 h 1867037"/>
                  <a:gd name="connsiteX5334" fmla="*/ 2394180 w 2417513"/>
                  <a:gd name="connsiteY5334" fmla="*/ 1664455 h 1867037"/>
                  <a:gd name="connsiteX5335" fmla="*/ 2391452 w 2417513"/>
                  <a:gd name="connsiteY5335" fmla="*/ 1667334 h 1867037"/>
                  <a:gd name="connsiteX5336" fmla="*/ 2389634 w 2417513"/>
                  <a:gd name="connsiteY5336" fmla="*/ 1667788 h 1867037"/>
                  <a:gd name="connsiteX5337" fmla="*/ 2387058 w 2417513"/>
                  <a:gd name="connsiteY5337" fmla="*/ 1667788 h 1867037"/>
                  <a:gd name="connsiteX5338" fmla="*/ 2385998 w 2417513"/>
                  <a:gd name="connsiteY5338" fmla="*/ 1666728 h 1867037"/>
                  <a:gd name="connsiteX5339" fmla="*/ 2385089 w 2417513"/>
                  <a:gd name="connsiteY5339" fmla="*/ 1665212 h 1867037"/>
                  <a:gd name="connsiteX5340" fmla="*/ 2384331 w 2417513"/>
                  <a:gd name="connsiteY5340" fmla="*/ 1663091 h 1867037"/>
                  <a:gd name="connsiteX5341" fmla="*/ 2384331 w 2417513"/>
                  <a:gd name="connsiteY5341" fmla="*/ 1662636 h 1867037"/>
                  <a:gd name="connsiteX5342" fmla="*/ 2388877 w 2417513"/>
                  <a:gd name="connsiteY5342" fmla="*/ 1658394 h 1867037"/>
                  <a:gd name="connsiteX5343" fmla="*/ 2389937 w 2417513"/>
                  <a:gd name="connsiteY5343" fmla="*/ 1656727 h 1867037"/>
                  <a:gd name="connsiteX5344" fmla="*/ 2390543 w 2417513"/>
                  <a:gd name="connsiteY5344" fmla="*/ 1655060 h 1867037"/>
                  <a:gd name="connsiteX5345" fmla="*/ 2390089 w 2417513"/>
                  <a:gd name="connsiteY5345" fmla="*/ 1654606 h 1867037"/>
                  <a:gd name="connsiteX5346" fmla="*/ 2386301 w 2417513"/>
                  <a:gd name="connsiteY5346" fmla="*/ 1655212 h 1867037"/>
                  <a:gd name="connsiteX5347" fmla="*/ 2384179 w 2417513"/>
                  <a:gd name="connsiteY5347" fmla="*/ 1654909 h 1867037"/>
                  <a:gd name="connsiteX5348" fmla="*/ 2387210 w 2417513"/>
                  <a:gd name="connsiteY5348" fmla="*/ 1654151 h 1867037"/>
                  <a:gd name="connsiteX5349" fmla="*/ 2388573 w 2417513"/>
                  <a:gd name="connsiteY5349" fmla="*/ 1653697 h 1867037"/>
                  <a:gd name="connsiteX5350" fmla="*/ 2388725 w 2417513"/>
                  <a:gd name="connsiteY5350" fmla="*/ 1653242 h 1867037"/>
                  <a:gd name="connsiteX5351" fmla="*/ 2392361 w 2417513"/>
                  <a:gd name="connsiteY5351" fmla="*/ 1652485 h 1867037"/>
                  <a:gd name="connsiteX5352" fmla="*/ 2393119 w 2417513"/>
                  <a:gd name="connsiteY5352" fmla="*/ 1651727 h 1867037"/>
                  <a:gd name="connsiteX5353" fmla="*/ 2392665 w 2417513"/>
                  <a:gd name="connsiteY5353" fmla="*/ 1649454 h 1867037"/>
                  <a:gd name="connsiteX5354" fmla="*/ 2391301 w 2417513"/>
                  <a:gd name="connsiteY5354" fmla="*/ 1648242 h 1867037"/>
                  <a:gd name="connsiteX5355" fmla="*/ 2393422 w 2417513"/>
                  <a:gd name="connsiteY5355" fmla="*/ 1647333 h 1867037"/>
                  <a:gd name="connsiteX5356" fmla="*/ 2396907 w 2417513"/>
                  <a:gd name="connsiteY5356" fmla="*/ 1645212 h 1867037"/>
                  <a:gd name="connsiteX5357" fmla="*/ 2398877 w 2417513"/>
                  <a:gd name="connsiteY5357" fmla="*/ 1643090 h 1867037"/>
                  <a:gd name="connsiteX5358" fmla="*/ 2399786 w 2417513"/>
                  <a:gd name="connsiteY5358" fmla="*/ 1642636 h 1867037"/>
                  <a:gd name="connsiteX5359" fmla="*/ 2401907 w 2417513"/>
                  <a:gd name="connsiteY5359" fmla="*/ 1642787 h 1867037"/>
                  <a:gd name="connsiteX5360" fmla="*/ 2403120 w 2417513"/>
                  <a:gd name="connsiteY5360" fmla="*/ 1642484 h 1867037"/>
                  <a:gd name="connsiteX5361" fmla="*/ 2404332 w 2417513"/>
                  <a:gd name="connsiteY5361" fmla="*/ 1641575 h 1867037"/>
                  <a:gd name="connsiteX5362" fmla="*/ 2406453 w 2417513"/>
                  <a:gd name="connsiteY5362" fmla="*/ 1638848 h 1867037"/>
                  <a:gd name="connsiteX5363" fmla="*/ 2407059 w 2417513"/>
                  <a:gd name="connsiteY5363" fmla="*/ 1637636 h 1867037"/>
                  <a:gd name="connsiteX5364" fmla="*/ 2407514 w 2417513"/>
                  <a:gd name="connsiteY5364" fmla="*/ 1635666 h 1867037"/>
                  <a:gd name="connsiteX5365" fmla="*/ 2407362 w 2417513"/>
                  <a:gd name="connsiteY5365" fmla="*/ 1633393 h 1867037"/>
                  <a:gd name="connsiteX5366" fmla="*/ 2406908 w 2417513"/>
                  <a:gd name="connsiteY5366" fmla="*/ 1632635 h 1867037"/>
                  <a:gd name="connsiteX5367" fmla="*/ 2406453 w 2417513"/>
                  <a:gd name="connsiteY5367" fmla="*/ 1632484 h 1867037"/>
                  <a:gd name="connsiteX5368" fmla="*/ 2404483 w 2417513"/>
                  <a:gd name="connsiteY5368" fmla="*/ 1633393 h 1867037"/>
                  <a:gd name="connsiteX5369" fmla="*/ 2401907 w 2417513"/>
                  <a:gd name="connsiteY5369" fmla="*/ 1635363 h 1867037"/>
                  <a:gd name="connsiteX5370" fmla="*/ 2400392 w 2417513"/>
                  <a:gd name="connsiteY5370" fmla="*/ 1635817 h 1867037"/>
                  <a:gd name="connsiteX5371" fmla="*/ 2398119 w 2417513"/>
                  <a:gd name="connsiteY5371" fmla="*/ 1635514 h 1867037"/>
                  <a:gd name="connsiteX5372" fmla="*/ 2396756 w 2417513"/>
                  <a:gd name="connsiteY5372" fmla="*/ 1635817 h 1867037"/>
                  <a:gd name="connsiteX5373" fmla="*/ 2392968 w 2417513"/>
                  <a:gd name="connsiteY5373" fmla="*/ 1638696 h 1867037"/>
                  <a:gd name="connsiteX5374" fmla="*/ 2390392 w 2417513"/>
                  <a:gd name="connsiteY5374" fmla="*/ 1637636 h 1867037"/>
                  <a:gd name="connsiteX5375" fmla="*/ 2387816 w 2417513"/>
                  <a:gd name="connsiteY5375" fmla="*/ 1638242 h 1867037"/>
                  <a:gd name="connsiteX5376" fmla="*/ 2386149 w 2417513"/>
                  <a:gd name="connsiteY5376" fmla="*/ 1639908 h 1867037"/>
                  <a:gd name="connsiteX5377" fmla="*/ 2384634 w 2417513"/>
                  <a:gd name="connsiteY5377" fmla="*/ 1639908 h 1867037"/>
                  <a:gd name="connsiteX5378" fmla="*/ 2382361 w 2417513"/>
                  <a:gd name="connsiteY5378" fmla="*/ 1640363 h 1867037"/>
                  <a:gd name="connsiteX5379" fmla="*/ 2377816 w 2417513"/>
                  <a:gd name="connsiteY5379" fmla="*/ 1642030 h 1867037"/>
                  <a:gd name="connsiteX5380" fmla="*/ 2377513 w 2417513"/>
                  <a:gd name="connsiteY5380" fmla="*/ 1641878 h 1867037"/>
                  <a:gd name="connsiteX5381" fmla="*/ 2378725 w 2417513"/>
                  <a:gd name="connsiteY5381" fmla="*/ 1640969 h 1867037"/>
                  <a:gd name="connsiteX5382" fmla="*/ 2383725 w 2417513"/>
                  <a:gd name="connsiteY5382" fmla="*/ 1638696 h 1867037"/>
                  <a:gd name="connsiteX5383" fmla="*/ 2386149 w 2417513"/>
                  <a:gd name="connsiteY5383" fmla="*/ 1637181 h 1867037"/>
                  <a:gd name="connsiteX5384" fmla="*/ 2386755 w 2417513"/>
                  <a:gd name="connsiteY5384" fmla="*/ 1635363 h 1867037"/>
                  <a:gd name="connsiteX5385" fmla="*/ 2388573 w 2417513"/>
                  <a:gd name="connsiteY5385" fmla="*/ 1632635 h 1867037"/>
                  <a:gd name="connsiteX5386" fmla="*/ 2388725 w 2417513"/>
                  <a:gd name="connsiteY5386" fmla="*/ 1631726 h 1867037"/>
                  <a:gd name="connsiteX5387" fmla="*/ 2386301 w 2417513"/>
                  <a:gd name="connsiteY5387" fmla="*/ 1631120 h 1867037"/>
                  <a:gd name="connsiteX5388" fmla="*/ 2383573 w 2417513"/>
                  <a:gd name="connsiteY5388" fmla="*/ 1631423 h 1867037"/>
                  <a:gd name="connsiteX5389" fmla="*/ 2381452 w 2417513"/>
                  <a:gd name="connsiteY5389" fmla="*/ 1630666 h 1867037"/>
                  <a:gd name="connsiteX5390" fmla="*/ 2381301 w 2417513"/>
                  <a:gd name="connsiteY5390" fmla="*/ 1630060 h 1867037"/>
                  <a:gd name="connsiteX5391" fmla="*/ 2381452 w 2417513"/>
                  <a:gd name="connsiteY5391" fmla="*/ 1629605 h 1867037"/>
                  <a:gd name="connsiteX5392" fmla="*/ 2383422 w 2417513"/>
                  <a:gd name="connsiteY5392" fmla="*/ 1628544 h 1867037"/>
                  <a:gd name="connsiteX5393" fmla="*/ 2384483 w 2417513"/>
                  <a:gd name="connsiteY5393" fmla="*/ 1627484 h 1867037"/>
                  <a:gd name="connsiteX5394" fmla="*/ 2384331 w 2417513"/>
                  <a:gd name="connsiteY5394" fmla="*/ 1627029 h 1867037"/>
                  <a:gd name="connsiteX5395" fmla="*/ 2381604 w 2417513"/>
                  <a:gd name="connsiteY5395" fmla="*/ 1627181 h 1867037"/>
                  <a:gd name="connsiteX5396" fmla="*/ 2377513 w 2417513"/>
                  <a:gd name="connsiteY5396" fmla="*/ 1627938 h 1867037"/>
                  <a:gd name="connsiteX5397" fmla="*/ 2375846 w 2417513"/>
                  <a:gd name="connsiteY5397" fmla="*/ 1627787 h 1867037"/>
                  <a:gd name="connsiteX5398" fmla="*/ 2382967 w 2417513"/>
                  <a:gd name="connsiteY5398" fmla="*/ 1624150 h 1867037"/>
                  <a:gd name="connsiteX5399" fmla="*/ 2384483 w 2417513"/>
                  <a:gd name="connsiteY5399" fmla="*/ 1622938 h 1867037"/>
                  <a:gd name="connsiteX5400" fmla="*/ 2385089 w 2417513"/>
                  <a:gd name="connsiteY5400" fmla="*/ 1622029 h 1867037"/>
                  <a:gd name="connsiteX5401" fmla="*/ 2385543 w 2417513"/>
                  <a:gd name="connsiteY5401" fmla="*/ 1620514 h 1867037"/>
                  <a:gd name="connsiteX5402" fmla="*/ 2386907 w 2417513"/>
                  <a:gd name="connsiteY5402" fmla="*/ 1618998 h 1867037"/>
                  <a:gd name="connsiteX5403" fmla="*/ 2389331 w 2417513"/>
                  <a:gd name="connsiteY5403" fmla="*/ 1617483 h 1867037"/>
                  <a:gd name="connsiteX5404" fmla="*/ 2392059 w 2417513"/>
                  <a:gd name="connsiteY5404" fmla="*/ 1615210 h 1867037"/>
                  <a:gd name="connsiteX5405" fmla="*/ 2392361 w 2417513"/>
                  <a:gd name="connsiteY5405" fmla="*/ 1613392 h 1867037"/>
                  <a:gd name="connsiteX5406" fmla="*/ 2392059 w 2417513"/>
                  <a:gd name="connsiteY5406" fmla="*/ 1610816 h 1867037"/>
                  <a:gd name="connsiteX5407" fmla="*/ 2390695 w 2417513"/>
                  <a:gd name="connsiteY5407" fmla="*/ 1608847 h 1867037"/>
                  <a:gd name="connsiteX5408" fmla="*/ 2387058 w 2417513"/>
                  <a:gd name="connsiteY5408" fmla="*/ 1606574 h 1867037"/>
                  <a:gd name="connsiteX5409" fmla="*/ 2384179 w 2417513"/>
                  <a:gd name="connsiteY5409" fmla="*/ 1605059 h 1867037"/>
                  <a:gd name="connsiteX5410" fmla="*/ 2381604 w 2417513"/>
                  <a:gd name="connsiteY5410" fmla="*/ 1604453 h 1867037"/>
                  <a:gd name="connsiteX5411" fmla="*/ 2372967 w 2417513"/>
                  <a:gd name="connsiteY5411" fmla="*/ 1605210 h 1867037"/>
                  <a:gd name="connsiteX5412" fmla="*/ 2371755 w 2417513"/>
                  <a:gd name="connsiteY5412" fmla="*/ 1605059 h 1867037"/>
                  <a:gd name="connsiteX5413" fmla="*/ 2370694 w 2417513"/>
                  <a:gd name="connsiteY5413" fmla="*/ 1605362 h 1867037"/>
                  <a:gd name="connsiteX5414" fmla="*/ 2369785 w 2417513"/>
                  <a:gd name="connsiteY5414" fmla="*/ 1606119 h 1867037"/>
                  <a:gd name="connsiteX5415" fmla="*/ 2368118 w 2417513"/>
                  <a:gd name="connsiteY5415" fmla="*/ 1608392 h 1867037"/>
                  <a:gd name="connsiteX5416" fmla="*/ 2367664 w 2417513"/>
                  <a:gd name="connsiteY5416" fmla="*/ 1607938 h 1867037"/>
                  <a:gd name="connsiteX5417" fmla="*/ 2367664 w 2417513"/>
                  <a:gd name="connsiteY5417" fmla="*/ 1605816 h 1867037"/>
                  <a:gd name="connsiteX5418" fmla="*/ 2367209 w 2417513"/>
                  <a:gd name="connsiteY5418" fmla="*/ 1603392 h 1867037"/>
                  <a:gd name="connsiteX5419" fmla="*/ 2367512 w 2417513"/>
                  <a:gd name="connsiteY5419" fmla="*/ 1601271 h 1867037"/>
                  <a:gd name="connsiteX5420" fmla="*/ 2366603 w 2417513"/>
                  <a:gd name="connsiteY5420" fmla="*/ 1601422 h 1867037"/>
                  <a:gd name="connsiteX5421" fmla="*/ 2364482 w 2417513"/>
                  <a:gd name="connsiteY5421" fmla="*/ 1602786 h 1867037"/>
                  <a:gd name="connsiteX5422" fmla="*/ 2362512 w 2417513"/>
                  <a:gd name="connsiteY5422" fmla="*/ 1604453 h 1867037"/>
                  <a:gd name="connsiteX5423" fmla="*/ 2360694 w 2417513"/>
                  <a:gd name="connsiteY5423" fmla="*/ 1606422 h 1867037"/>
                  <a:gd name="connsiteX5424" fmla="*/ 2358876 w 2417513"/>
                  <a:gd name="connsiteY5424" fmla="*/ 1607634 h 1867037"/>
                  <a:gd name="connsiteX5425" fmla="*/ 2357209 w 2417513"/>
                  <a:gd name="connsiteY5425" fmla="*/ 1607938 h 1867037"/>
                  <a:gd name="connsiteX5426" fmla="*/ 2355390 w 2417513"/>
                  <a:gd name="connsiteY5426" fmla="*/ 1608998 h 1867037"/>
                  <a:gd name="connsiteX5427" fmla="*/ 2353421 w 2417513"/>
                  <a:gd name="connsiteY5427" fmla="*/ 1610665 h 1867037"/>
                  <a:gd name="connsiteX5428" fmla="*/ 2352512 w 2417513"/>
                  <a:gd name="connsiteY5428" fmla="*/ 1610968 h 1867037"/>
                  <a:gd name="connsiteX5429" fmla="*/ 2352663 w 2417513"/>
                  <a:gd name="connsiteY5429" fmla="*/ 1609756 h 1867037"/>
                  <a:gd name="connsiteX5430" fmla="*/ 2352209 w 2417513"/>
                  <a:gd name="connsiteY5430" fmla="*/ 1609301 h 1867037"/>
                  <a:gd name="connsiteX5431" fmla="*/ 2351148 w 2417513"/>
                  <a:gd name="connsiteY5431" fmla="*/ 1609604 h 1867037"/>
                  <a:gd name="connsiteX5432" fmla="*/ 2348117 w 2417513"/>
                  <a:gd name="connsiteY5432" fmla="*/ 1611422 h 1867037"/>
                  <a:gd name="connsiteX5433" fmla="*/ 2346299 w 2417513"/>
                  <a:gd name="connsiteY5433" fmla="*/ 1612938 h 1867037"/>
                  <a:gd name="connsiteX5434" fmla="*/ 2345996 w 2417513"/>
                  <a:gd name="connsiteY5434" fmla="*/ 1613695 h 1867037"/>
                  <a:gd name="connsiteX5435" fmla="*/ 2346148 w 2417513"/>
                  <a:gd name="connsiteY5435" fmla="*/ 1615210 h 1867037"/>
                  <a:gd name="connsiteX5436" fmla="*/ 2345996 w 2417513"/>
                  <a:gd name="connsiteY5436" fmla="*/ 1615817 h 1867037"/>
                  <a:gd name="connsiteX5437" fmla="*/ 2343723 w 2417513"/>
                  <a:gd name="connsiteY5437" fmla="*/ 1617332 h 1867037"/>
                  <a:gd name="connsiteX5438" fmla="*/ 2343269 w 2417513"/>
                  <a:gd name="connsiteY5438" fmla="*/ 1617332 h 1867037"/>
                  <a:gd name="connsiteX5439" fmla="*/ 2343875 w 2417513"/>
                  <a:gd name="connsiteY5439" fmla="*/ 1615665 h 1867037"/>
                  <a:gd name="connsiteX5440" fmla="*/ 2343572 w 2417513"/>
                  <a:gd name="connsiteY5440" fmla="*/ 1614150 h 1867037"/>
                  <a:gd name="connsiteX5441" fmla="*/ 2345845 w 2417513"/>
                  <a:gd name="connsiteY5441" fmla="*/ 1610665 h 1867037"/>
                  <a:gd name="connsiteX5442" fmla="*/ 2346754 w 2417513"/>
                  <a:gd name="connsiteY5442" fmla="*/ 1608241 h 1867037"/>
                  <a:gd name="connsiteX5443" fmla="*/ 2347360 w 2417513"/>
                  <a:gd name="connsiteY5443" fmla="*/ 1605665 h 1867037"/>
                  <a:gd name="connsiteX5444" fmla="*/ 2347208 w 2417513"/>
                  <a:gd name="connsiteY5444" fmla="*/ 1603089 h 1867037"/>
                  <a:gd name="connsiteX5445" fmla="*/ 2346602 w 2417513"/>
                  <a:gd name="connsiteY5445" fmla="*/ 1602180 h 1867037"/>
                  <a:gd name="connsiteX5446" fmla="*/ 2345542 w 2417513"/>
                  <a:gd name="connsiteY5446" fmla="*/ 1601574 h 1867037"/>
                  <a:gd name="connsiteX5447" fmla="*/ 2345087 w 2417513"/>
                  <a:gd name="connsiteY5447" fmla="*/ 1601877 h 1867037"/>
                  <a:gd name="connsiteX5448" fmla="*/ 2345239 w 2417513"/>
                  <a:gd name="connsiteY5448" fmla="*/ 1605513 h 1867037"/>
                  <a:gd name="connsiteX5449" fmla="*/ 2344936 w 2417513"/>
                  <a:gd name="connsiteY5449" fmla="*/ 1606271 h 1867037"/>
                  <a:gd name="connsiteX5450" fmla="*/ 2343420 w 2417513"/>
                  <a:gd name="connsiteY5450" fmla="*/ 1606877 h 1867037"/>
                  <a:gd name="connsiteX5451" fmla="*/ 2343117 w 2417513"/>
                  <a:gd name="connsiteY5451" fmla="*/ 1606574 h 1867037"/>
                  <a:gd name="connsiteX5452" fmla="*/ 2343117 w 2417513"/>
                  <a:gd name="connsiteY5452" fmla="*/ 1604604 h 1867037"/>
                  <a:gd name="connsiteX5453" fmla="*/ 2342511 w 2417513"/>
                  <a:gd name="connsiteY5453" fmla="*/ 1603392 h 1867037"/>
                  <a:gd name="connsiteX5454" fmla="*/ 2342663 w 2417513"/>
                  <a:gd name="connsiteY5454" fmla="*/ 1602786 h 1867037"/>
                  <a:gd name="connsiteX5455" fmla="*/ 2339481 w 2417513"/>
                  <a:gd name="connsiteY5455" fmla="*/ 1603695 h 1867037"/>
                  <a:gd name="connsiteX5456" fmla="*/ 2334329 w 2417513"/>
                  <a:gd name="connsiteY5456" fmla="*/ 1604756 h 1867037"/>
                  <a:gd name="connsiteX5457" fmla="*/ 2330541 w 2417513"/>
                  <a:gd name="connsiteY5457" fmla="*/ 1601877 h 1867037"/>
                  <a:gd name="connsiteX5458" fmla="*/ 2324329 w 2417513"/>
                  <a:gd name="connsiteY5458" fmla="*/ 1603998 h 1867037"/>
                  <a:gd name="connsiteX5459" fmla="*/ 2323117 w 2417513"/>
                  <a:gd name="connsiteY5459" fmla="*/ 1604150 h 1867037"/>
                  <a:gd name="connsiteX5460" fmla="*/ 2328420 w 2417513"/>
                  <a:gd name="connsiteY5460" fmla="*/ 1599604 h 1867037"/>
                  <a:gd name="connsiteX5461" fmla="*/ 2328723 w 2417513"/>
                  <a:gd name="connsiteY5461" fmla="*/ 1597331 h 1867037"/>
                  <a:gd name="connsiteX5462" fmla="*/ 2329026 w 2417513"/>
                  <a:gd name="connsiteY5462" fmla="*/ 1596422 h 1867037"/>
                  <a:gd name="connsiteX5463" fmla="*/ 2328117 w 2417513"/>
                  <a:gd name="connsiteY5463" fmla="*/ 1595967 h 1867037"/>
                  <a:gd name="connsiteX5464" fmla="*/ 2325996 w 2417513"/>
                  <a:gd name="connsiteY5464" fmla="*/ 1596119 h 1867037"/>
                  <a:gd name="connsiteX5465" fmla="*/ 2324026 w 2417513"/>
                  <a:gd name="connsiteY5465" fmla="*/ 1596876 h 1867037"/>
                  <a:gd name="connsiteX5466" fmla="*/ 2322056 w 2417513"/>
                  <a:gd name="connsiteY5466" fmla="*/ 1598240 h 1867037"/>
                  <a:gd name="connsiteX5467" fmla="*/ 2321601 w 2417513"/>
                  <a:gd name="connsiteY5467" fmla="*/ 1598392 h 1867037"/>
                  <a:gd name="connsiteX5468" fmla="*/ 2324329 w 2417513"/>
                  <a:gd name="connsiteY5468" fmla="*/ 1595361 h 1867037"/>
                  <a:gd name="connsiteX5469" fmla="*/ 2333117 w 2417513"/>
                  <a:gd name="connsiteY5469" fmla="*/ 1590967 h 1867037"/>
                  <a:gd name="connsiteX5470" fmla="*/ 2336753 w 2417513"/>
                  <a:gd name="connsiteY5470" fmla="*/ 1588694 h 1867037"/>
                  <a:gd name="connsiteX5471" fmla="*/ 2338269 w 2417513"/>
                  <a:gd name="connsiteY5471" fmla="*/ 1587179 h 1867037"/>
                  <a:gd name="connsiteX5472" fmla="*/ 2338875 w 2417513"/>
                  <a:gd name="connsiteY5472" fmla="*/ 1585512 h 1867037"/>
                  <a:gd name="connsiteX5473" fmla="*/ 2338117 w 2417513"/>
                  <a:gd name="connsiteY5473" fmla="*/ 1585058 h 1867037"/>
                  <a:gd name="connsiteX5474" fmla="*/ 2334178 w 2417513"/>
                  <a:gd name="connsiteY5474" fmla="*/ 1586119 h 1867037"/>
                  <a:gd name="connsiteX5475" fmla="*/ 2331753 w 2417513"/>
                  <a:gd name="connsiteY5475" fmla="*/ 1586270 h 1867037"/>
                  <a:gd name="connsiteX5476" fmla="*/ 2328723 w 2417513"/>
                  <a:gd name="connsiteY5476" fmla="*/ 1584452 h 1867037"/>
                  <a:gd name="connsiteX5477" fmla="*/ 2327208 w 2417513"/>
                  <a:gd name="connsiteY5477" fmla="*/ 1584300 h 1867037"/>
                  <a:gd name="connsiteX5478" fmla="*/ 2323117 w 2417513"/>
                  <a:gd name="connsiteY5478" fmla="*/ 1585512 h 1867037"/>
                  <a:gd name="connsiteX5479" fmla="*/ 2320692 w 2417513"/>
                  <a:gd name="connsiteY5479" fmla="*/ 1587028 h 1867037"/>
                  <a:gd name="connsiteX5480" fmla="*/ 2320541 w 2417513"/>
                  <a:gd name="connsiteY5480" fmla="*/ 1586422 h 1867037"/>
                  <a:gd name="connsiteX5481" fmla="*/ 2321601 w 2417513"/>
                  <a:gd name="connsiteY5481" fmla="*/ 1584300 h 1867037"/>
                  <a:gd name="connsiteX5482" fmla="*/ 2321753 w 2417513"/>
                  <a:gd name="connsiteY5482" fmla="*/ 1582634 h 1867037"/>
                  <a:gd name="connsiteX5483" fmla="*/ 2320995 w 2417513"/>
                  <a:gd name="connsiteY5483" fmla="*/ 1581270 h 1867037"/>
                  <a:gd name="connsiteX5484" fmla="*/ 2320086 w 2417513"/>
                  <a:gd name="connsiteY5484" fmla="*/ 1580815 h 1867037"/>
                  <a:gd name="connsiteX5485" fmla="*/ 2318268 w 2417513"/>
                  <a:gd name="connsiteY5485" fmla="*/ 1581724 h 1867037"/>
                  <a:gd name="connsiteX5486" fmla="*/ 2316298 w 2417513"/>
                  <a:gd name="connsiteY5486" fmla="*/ 1584452 h 1867037"/>
                  <a:gd name="connsiteX5487" fmla="*/ 2314783 w 2417513"/>
                  <a:gd name="connsiteY5487" fmla="*/ 1587331 h 1867037"/>
                  <a:gd name="connsiteX5488" fmla="*/ 2313419 w 2417513"/>
                  <a:gd name="connsiteY5488" fmla="*/ 1588694 h 1867037"/>
                  <a:gd name="connsiteX5489" fmla="*/ 2311449 w 2417513"/>
                  <a:gd name="connsiteY5489" fmla="*/ 1589755 h 1867037"/>
                  <a:gd name="connsiteX5490" fmla="*/ 2308419 w 2417513"/>
                  <a:gd name="connsiteY5490" fmla="*/ 1592634 h 1867037"/>
                  <a:gd name="connsiteX5491" fmla="*/ 2304479 w 2417513"/>
                  <a:gd name="connsiteY5491" fmla="*/ 1597483 h 1867037"/>
                  <a:gd name="connsiteX5492" fmla="*/ 2302661 w 2417513"/>
                  <a:gd name="connsiteY5492" fmla="*/ 1598846 h 1867037"/>
                  <a:gd name="connsiteX5493" fmla="*/ 2303116 w 2417513"/>
                  <a:gd name="connsiteY5493" fmla="*/ 1596725 h 1867037"/>
                  <a:gd name="connsiteX5494" fmla="*/ 2303116 w 2417513"/>
                  <a:gd name="connsiteY5494" fmla="*/ 1595361 h 1867037"/>
                  <a:gd name="connsiteX5495" fmla="*/ 2302510 w 2417513"/>
                  <a:gd name="connsiteY5495" fmla="*/ 1594907 h 1867037"/>
                  <a:gd name="connsiteX5496" fmla="*/ 2301904 w 2417513"/>
                  <a:gd name="connsiteY5496" fmla="*/ 1593391 h 1867037"/>
                  <a:gd name="connsiteX5497" fmla="*/ 2302207 w 2417513"/>
                  <a:gd name="connsiteY5497" fmla="*/ 1592634 h 1867037"/>
                  <a:gd name="connsiteX5498" fmla="*/ 2303570 w 2417513"/>
                  <a:gd name="connsiteY5498" fmla="*/ 1590967 h 1867037"/>
                  <a:gd name="connsiteX5499" fmla="*/ 2304479 w 2417513"/>
                  <a:gd name="connsiteY5499" fmla="*/ 1589149 h 1867037"/>
                  <a:gd name="connsiteX5500" fmla="*/ 2304631 w 2417513"/>
                  <a:gd name="connsiteY5500" fmla="*/ 1588240 h 1867037"/>
                  <a:gd name="connsiteX5501" fmla="*/ 2304631 w 2417513"/>
                  <a:gd name="connsiteY5501" fmla="*/ 1586119 h 1867037"/>
                  <a:gd name="connsiteX5502" fmla="*/ 2305086 w 2417513"/>
                  <a:gd name="connsiteY5502" fmla="*/ 1584603 h 1867037"/>
                  <a:gd name="connsiteX5503" fmla="*/ 2306146 w 2417513"/>
                  <a:gd name="connsiteY5503" fmla="*/ 1582785 h 1867037"/>
                  <a:gd name="connsiteX5504" fmla="*/ 2310389 w 2417513"/>
                  <a:gd name="connsiteY5504" fmla="*/ 1577482 h 1867037"/>
                  <a:gd name="connsiteX5505" fmla="*/ 2311904 w 2417513"/>
                  <a:gd name="connsiteY5505" fmla="*/ 1575209 h 1867037"/>
                  <a:gd name="connsiteX5506" fmla="*/ 2312662 w 2417513"/>
                  <a:gd name="connsiteY5506" fmla="*/ 1572330 h 1867037"/>
                  <a:gd name="connsiteX5507" fmla="*/ 2312662 w 2417513"/>
                  <a:gd name="connsiteY5507" fmla="*/ 1571269 h 1867037"/>
                  <a:gd name="connsiteX5508" fmla="*/ 2314631 w 2417513"/>
                  <a:gd name="connsiteY5508" fmla="*/ 1569906 h 1867037"/>
                  <a:gd name="connsiteX5509" fmla="*/ 2319783 w 2417513"/>
                  <a:gd name="connsiteY5509" fmla="*/ 1563845 h 1867037"/>
                  <a:gd name="connsiteX5510" fmla="*/ 2321450 w 2417513"/>
                  <a:gd name="connsiteY5510" fmla="*/ 1561421 h 1867037"/>
                  <a:gd name="connsiteX5511" fmla="*/ 2321904 w 2417513"/>
                  <a:gd name="connsiteY5511" fmla="*/ 1558390 h 1867037"/>
                  <a:gd name="connsiteX5512" fmla="*/ 2322359 w 2417513"/>
                  <a:gd name="connsiteY5512" fmla="*/ 1557481 h 1867037"/>
                  <a:gd name="connsiteX5513" fmla="*/ 2323117 w 2417513"/>
                  <a:gd name="connsiteY5513" fmla="*/ 1556723 h 1867037"/>
                  <a:gd name="connsiteX5514" fmla="*/ 2326298 w 2417513"/>
                  <a:gd name="connsiteY5514" fmla="*/ 1554754 h 1867037"/>
                  <a:gd name="connsiteX5515" fmla="*/ 2328723 w 2417513"/>
                  <a:gd name="connsiteY5515" fmla="*/ 1552178 h 1867037"/>
                  <a:gd name="connsiteX5516" fmla="*/ 2330693 w 2417513"/>
                  <a:gd name="connsiteY5516" fmla="*/ 1547632 h 1867037"/>
                  <a:gd name="connsiteX5517" fmla="*/ 2331147 w 2417513"/>
                  <a:gd name="connsiteY5517" fmla="*/ 1545663 h 1867037"/>
                  <a:gd name="connsiteX5518" fmla="*/ 2331147 w 2417513"/>
                  <a:gd name="connsiteY5518" fmla="*/ 1543996 h 1867037"/>
                  <a:gd name="connsiteX5519" fmla="*/ 2330844 w 2417513"/>
                  <a:gd name="connsiteY5519" fmla="*/ 1542784 h 1867037"/>
                  <a:gd name="connsiteX5520" fmla="*/ 2330238 w 2417513"/>
                  <a:gd name="connsiteY5520" fmla="*/ 1541875 h 1867037"/>
                  <a:gd name="connsiteX5521" fmla="*/ 2329480 w 2417513"/>
                  <a:gd name="connsiteY5521" fmla="*/ 1541420 h 1867037"/>
                  <a:gd name="connsiteX5522" fmla="*/ 2328571 w 2417513"/>
                  <a:gd name="connsiteY5522" fmla="*/ 1541268 h 1867037"/>
                  <a:gd name="connsiteX5523" fmla="*/ 2326147 w 2417513"/>
                  <a:gd name="connsiteY5523" fmla="*/ 1541875 h 1867037"/>
                  <a:gd name="connsiteX5524" fmla="*/ 2325086 w 2417513"/>
                  <a:gd name="connsiteY5524" fmla="*/ 1541571 h 1867037"/>
                  <a:gd name="connsiteX5525" fmla="*/ 2324177 w 2417513"/>
                  <a:gd name="connsiteY5525" fmla="*/ 1540511 h 1867037"/>
                  <a:gd name="connsiteX5526" fmla="*/ 2323874 w 2417513"/>
                  <a:gd name="connsiteY5526" fmla="*/ 1539299 h 1867037"/>
                  <a:gd name="connsiteX5527" fmla="*/ 2324177 w 2417513"/>
                  <a:gd name="connsiteY5527" fmla="*/ 1536874 h 1867037"/>
                  <a:gd name="connsiteX5528" fmla="*/ 2326602 w 2417513"/>
                  <a:gd name="connsiteY5528" fmla="*/ 1536268 h 1867037"/>
                  <a:gd name="connsiteX5529" fmla="*/ 2332359 w 2417513"/>
                  <a:gd name="connsiteY5529" fmla="*/ 1535662 h 1867037"/>
                  <a:gd name="connsiteX5530" fmla="*/ 2335087 w 2417513"/>
                  <a:gd name="connsiteY5530" fmla="*/ 1535208 h 1867037"/>
                  <a:gd name="connsiteX5531" fmla="*/ 2336450 w 2417513"/>
                  <a:gd name="connsiteY5531" fmla="*/ 1534601 h 1867037"/>
                  <a:gd name="connsiteX5532" fmla="*/ 2337814 w 2417513"/>
                  <a:gd name="connsiteY5532" fmla="*/ 1532783 h 1867037"/>
                  <a:gd name="connsiteX5533" fmla="*/ 2339784 w 2417513"/>
                  <a:gd name="connsiteY5533" fmla="*/ 1529147 h 1867037"/>
                  <a:gd name="connsiteX5534" fmla="*/ 2339935 w 2417513"/>
                  <a:gd name="connsiteY5534" fmla="*/ 1528238 h 1867037"/>
                  <a:gd name="connsiteX5535" fmla="*/ 2338723 w 2417513"/>
                  <a:gd name="connsiteY5535" fmla="*/ 1527177 h 1867037"/>
                  <a:gd name="connsiteX5536" fmla="*/ 2337966 w 2417513"/>
                  <a:gd name="connsiteY5536" fmla="*/ 1526874 h 1867037"/>
                  <a:gd name="connsiteX5537" fmla="*/ 2334026 w 2417513"/>
                  <a:gd name="connsiteY5537" fmla="*/ 1527480 h 1867037"/>
                  <a:gd name="connsiteX5538" fmla="*/ 2333117 w 2417513"/>
                  <a:gd name="connsiteY5538" fmla="*/ 1528238 h 1867037"/>
                  <a:gd name="connsiteX5539" fmla="*/ 2334178 w 2417513"/>
                  <a:gd name="connsiteY5539" fmla="*/ 1530056 h 1867037"/>
                  <a:gd name="connsiteX5540" fmla="*/ 2333268 w 2417513"/>
                  <a:gd name="connsiteY5540" fmla="*/ 1531571 h 1867037"/>
                  <a:gd name="connsiteX5541" fmla="*/ 2328420 w 2417513"/>
                  <a:gd name="connsiteY5541" fmla="*/ 1530207 h 1867037"/>
                  <a:gd name="connsiteX5542" fmla="*/ 2327359 w 2417513"/>
                  <a:gd name="connsiteY5542" fmla="*/ 1528238 h 1867037"/>
                  <a:gd name="connsiteX5543" fmla="*/ 2324026 w 2417513"/>
                  <a:gd name="connsiteY5543" fmla="*/ 1528086 h 1867037"/>
                  <a:gd name="connsiteX5544" fmla="*/ 2319025 w 2417513"/>
                  <a:gd name="connsiteY5544" fmla="*/ 1530965 h 1867037"/>
                  <a:gd name="connsiteX5545" fmla="*/ 2310540 w 2417513"/>
                  <a:gd name="connsiteY5545" fmla="*/ 1534147 h 1867037"/>
                  <a:gd name="connsiteX5546" fmla="*/ 2307813 w 2417513"/>
                  <a:gd name="connsiteY5546" fmla="*/ 1535511 h 1867037"/>
                  <a:gd name="connsiteX5547" fmla="*/ 2306146 w 2417513"/>
                  <a:gd name="connsiteY5547" fmla="*/ 1536571 h 1867037"/>
                  <a:gd name="connsiteX5548" fmla="*/ 2304328 w 2417513"/>
                  <a:gd name="connsiteY5548" fmla="*/ 1538692 h 1867037"/>
                  <a:gd name="connsiteX5549" fmla="*/ 2302813 w 2417513"/>
                  <a:gd name="connsiteY5549" fmla="*/ 1543390 h 1867037"/>
                  <a:gd name="connsiteX5550" fmla="*/ 2302207 w 2417513"/>
                  <a:gd name="connsiteY5550" fmla="*/ 1543996 h 1867037"/>
                  <a:gd name="connsiteX5551" fmla="*/ 2298116 w 2417513"/>
                  <a:gd name="connsiteY5551" fmla="*/ 1547481 h 1867037"/>
                  <a:gd name="connsiteX5552" fmla="*/ 2296449 w 2417513"/>
                  <a:gd name="connsiteY5552" fmla="*/ 1548087 h 1867037"/>
                  <a:gd name="connsiteX5553" fmla="*/ 2296449 w 2417513"/>
                  <a:gd name="connsiteY5553" fmla="*/ 1548693 h 1867037"/>
                  <a:gd name="connsiteX5554" fmla="*/ 2297055 w 2417513"/>
                  <a:gd name="connsiteY5554" fmla="*/ 1549754 h 1867037"/>
                  <a:gd name="connsiteX5555" fmla="*/ 2297206 w 2417513"/>
                  <a:gd name="connsiteY5555" fmla="*/ 1550814 h 1867037"/>
                  <a:gd name="connsiteX5556" fmla="*/ 2295843 w 2417513"/>
                  <a:gd name="connsiteY5556" fmla="*/ 1553845 h 1867037"/>
                  <a:gd name="connsiteX5557" fmla="*/ 2293722 w 2417513"/>
                  <a:gd name="connsiteY5557" fmla="*/ 1556420 h 1867037"/>
                  <a:gd name="connsiteX5558" fmla="*/ 2290691 w 2417513"/>
                  <a:gd name="connsiteY5558" fmla="*/ 1557936 h 1867037"/>
                  <a:gd name="connsiteX5559" fmla="*/ 2289782 w 2417513"/>
                  <a:gd name="connsiteY5559" fmla="*/ 1558693 h 1867037"/>
                  <a:gd name="connsiteX5560" fmla="*/ 2289176 w 2417513"/>
                  <a:gd name="connsiteY5560" fmla="*/ 1559602 h 1867037"/>
                  <a:gd name="connsiteX5561" fmla="*/ 2289327 w 2417513"/>
                  <a:gd name="connsiteY5561" fmla="*/ 1560511 h 1867037"/>
                  <a:gd name="connsiteX5562" fmla="*/ 2290085 w 2417513"/>
                  <a:gd name="connsiteY5562" fmla="*/ 1561421 h 1867037"/>
                  <a:gd name="connsiteX5563" fmla="*/ 2292358 w 2417513"/>
                  <a:gd name="connsiteY5563" fmla="*/ 1562633 h 1867037"/>
                  <a:gd name="connsiteX5564" fmla="*/ 2290843 w 2417513"/>
                  <a:gd name="connsiteY5564" fmla="*/ 1562936 h 1867037"/>
                  <a:gd name="connsiteX5565" fmla="*/ 2288267 w 2417513"/>
                  <a:gd name="connsiteY5565" fmla="*/ 1562936 h 1867037"/>
                  <a:gd name="connsiteX5566" fmla="*/ 2287509 w 2417513"/>
                  <a:gd name="connsiteY5566" fmla="*/ 1563693 h 1867037"/>
                  <a:gd name="connsiteX5567" fmla="*/ 2285539 w 2417513"/>
                  <a:gd name="connsiteY5567" fmla="*/ 1566572 h 1867037"/>
                  <a:gd name="connsiteX5568" fmla="*/ 2284630 w 2417513"/>
                  <a:gd name="connsiteY5568" fmla="*/ 1568088 h 1867037"/>
                  <a:gd name="connsiteX5569" fmla="*/ 2280691 w 2417513"/>
                  <a:gd name="connsiteY5569" fmla="*/ 1577633 h 1867037"/>
                  <a:gd name="connsiteX5570" fmla="*/ 2277812 w 2417513"/>
                  <a:gd name="connsiteY5570" fmla="*/ 1583846 h 1867037"/>
                  <a:gd name="connsiteX5571" fmla="*/ 2271903 w 2417513"/>
                  <a:gd name="connsiteY5571" fmla="*/ 1595361 h 1867037"/>
                  <a:gd name="connsiteX5572" fmla="*/ 2271751 w 2417513"/>
                  <a:gd name="connsiteY5572" fmla="*/ 1596573 h 1867037"/>
                  <a:gd name="connsiteX5573" fmla="*/ 2272660 w 2417513"/>
                  <a:gd name="connsiteY5573" fmla="*/ 1598998 h 1867037"/>
                  <a:gd name="connsiteX5574" fmla="*/ 2275387 w 2417513"/>
                  <a:gd name="connsiteY5574" fmla="*/ 1602331 h 1867037"/>
                  <a:gd name="connsiteX5575" fmla="*/ 2275539 w 2417513"/>
                  <a:gd name="connsiteY5575" fmla="*/ 1602937 h 1867037"/>
                  <a:gd name="connsiteX5576" fmla="*/ 2273721 w 2417513"/>
                  <a:gd name="connsiteY5576" fmla="*/ 1603543 h 1867037"/>
                  <a:gd name="connsiteX5577" fmla="*/ 2272206 w 2417513"/>
                  <a:gd name="connsiteY5577" fmla="*/ 1601725 h 1867037"/>
                  <a:gd name="connsiteX5578" fmla="*/ 2270690 w 2417513"/>
                  <a:gd name="connsiteY5578" fmla="*/ 1601271 h 1867037"/>
                  <a:gd name="connsiteX5579" fmla="*/ 2268114 w 2417513"/>
                  <a:gd name="connsiteY5579" fmla="*/ 1602786 h 1867037"/>
                  <a:gd name="connsiteX5580" fmla="*/ 2265993 w 2417513"/>
                  <a:gd name="connsiteY5580" fmla="*/ 1605059 h 1867037"/>
                  <a:gd name="connsiteX5581" fmla="*/ 2265084 w 2417513"/>
                  <a:gd name="connsiteY5581" fmla="*/ 1606725 h 1867037"/>
                  <a:gd name="connsiteX5582" fmla="*/ 2264933 w 2417513"/>
                  <a:gd name="connsiteY5582" fmla="*/ 1609604 h 1867037"/>
                  <a:gd name="connsiteX5583" fmla="*/ 2265690 w 2417513"/>
                  <a:gd name="connsiteY5583" fmla="*/ 1611271 h 1867037"/>
                  <a:gd name="connsiteX5584" fmla="*/ 2268266 w 2417513"/>
                  <a:gd name="connsiteY5584" fmla="*/ 1612332 h 1867037"/>
                  <a:gd name="connsiteX5585" fmla="*/ 2271448 w 2417513"/>
                  <a:gd name="connsiteY5585" fmla="*/ 1612332 h 1867037"/>
                  <a:gd name="connsiteX5586" fmla="*/ 2271145 w 2417513"/>
                  <a:gd name="connsiteY5586" fmla="*/ 1613089 h 1867037"/>
                  <a:gd name="connsiteX5587" fmla="*/ 2269478 w 2417513"/>
                  <a:gd name="connsiteY5587" fmla="*/ 1614150 h 1867037"/>
                  <a:gd name="connsiteX5588" fmla="*/ 2268114 w 2417513"/>
                  <a:gd name="connsiteY5588" fmla="*/ 1617786 h 1867037"/>
                  <a:gd name="connsiteX5589" fmla="*/ 2268569 w 2417513"/>
                  <a:gd name="connsiteY5589" fmla="*/ 1618998 h 1867037"/>
                  <a:gd name="connsiteX5590" fmla="*/ 2269630 w 2417513"/>
                  <a:gd name="connsiteY5590" fmla="*/ 1620211 h 1867037"/>
                  <a:gd name="connsiteX5591" fmla="*/ 2270993 w 2417513"/>
                  <a:gd name="connsiteY5591" fmla="*/ 1620968 h 1867037"/>
                  <a:gd name="connsiteX5592" fmla="*/ 2270539 w 2417513"/>
                  <a:gd name="connsiteY5592" fmla="*/ 1621271 h 1867037"/>
                  <a:gd name="connsiteX5593" fmla="*/ 2269327 w 2417513"/>
                  <a:gd name="connsiteY5593" fmla="*/ 1621120 h 1867037"/>
                  <a:gd name="connsiteX5594" fmla="*/ 2265539 w 2417513"/>
                  <a:gd name="connsiteY5594" fmla="*/ 1618544 h 1867037"/>
                  <a:gd name="connsiteX5595" fmla="*/ 2261902 w 2417513"/>
                  <a:gd name="connsiteY5595" fmla="*/ 1617786 h 1867037"/>
                  <a:gd name="connsiteX5596" fmla="*/ 2260842 w 2417513"/>
                  <a:gd name="connsiteY5596" fmla="*/ 1617180 h 1867037"/>
                  <a:gd name="connsiteX5597" fmla="*/ 2259629 w 2417513"/>
                  <a:gd name="connsiteY5597" fmla="*/ 1617635 h 1867037"/>
                  <a:gd name="connsiteX5598" fmla="*/ 2257205 w 2417513"/>
                  <a:gd name="connsiteY5598" fmla="*/ 1620514 h 1867037"/>
                  <a:gd name="connsiteX5599" fmla="*/ 2255841 w 2417513"/>
                  <a:gd name="connsiteY5599" fmla="*/ 1624302 h 1867037"/>
                  <a:gd name="connsiteX5600" fmla="*/ 2253266 w 2417513"/>
                  <a:gd name="connsiteY5600" fmla="*/ 1629453 h 1867037"/>
                  <a:gd name="connsiteX5601" fmla="*/ 2252053 w 2417513"/>
                  <a:gd name="connsiteY5601" fmla="*/ 1633999 h 1867037"/>
                  <a:gd name="connsiteX5602" fmla="*/ 2251296 w 2417513"/>
                  <a:gd name="connsiteY5602" fmla="*/ 1634908 h 1867037"/>
                  <a:gd name="connsiteX5603" fmla="*/ 2247811 w 2417513"/>
                  <a:gd name="connsiteY5603" fmla="*/ 1634605 h 1867037"/>
                  <a:gd name="connsiteX5604" fmla="*/ 2246902 w 2417513"/>
                  <a:gd name="connsiteY5604" fmla="*/ 1633999 h 1867037"/>
                  <a:gd name="connsiteX5605" fmla="*/ 2246144 w 2417513"/>
                  <a:gd name="connsiteY5605" fmla="*/ 1633090 h 1867037"/>
                  <a:gd name="connsiteX5606" fmla="*/ 2246599 w 2417513"/>
                  <a:gd name="connsiteY5606" fmla="*/ 1631575 h 1867037"/>
                  <a:gd name="connsiteX5607" fmla="*/ 2248417 w 2417513"/>
                  <a:gd name="connsiteY5607" fmla="*/ 1629605 h 1867037"/>
                  <a:gd name="connsiteX5608" fmla="*/ 2247811 w 2417513"/>
                  <a:gd name="connsiteY5608" fmla="*/ 1629605 h 1867037"/>
                  <a:gd name="connsiteX5609" fmla="*/ 2241750 w 2417513"/>
                  <a:gd name="connsiteY5609" fmla="*/ 1633848 h 1867037"/>
                  <a:gd name="connsiteX5610" fmla="*/ 2238871 w 2417513"/>
                  <a:gd name="connsiteY5610" fmla="*/ 1636272 h 1867037"/>
                  <a:gd name="connsiteX5611" fmla="*/ 2238871 w 2417513"/>
                  <a:gd name="connsiteY5611" fmla="*/ 1637636 h 1867037"/>
                  <a:gd name="connsiteX5612" fmla="*/ 2244932 w 2417513"/>
                  <a:gd name="connsiteY5612" fmla="*/ 1637636 h 1867037"/>
                  <a:gd name="connsiteX5613" fmla="*/ 2250993 w 2417513"/>
                  <a:gd name="connsiteY5613" fmla="*/ 1637029 h 1867037"/>
                  <a:gd name="connsiteX5614" fmla="*/ 2254175 w 2417513"/>
                  <a:gd name="connsiteY5614" fmla="*/ 1637332 h 1867037"/>
                  <a:gd name="connsiteX5615" fmla="*/ 2257357 w 2417513"/>
                  <a:gd name="connsiteY5615" fmla="*/ 1638090 h 1867037"/>
                  <a:gd name="connsiteX5616" fmla="*/ 2261751 w 2417513"/>
                  <a:gd name="connsiteY5616" fmla="*/ 1637787 h 1867037"/>
                  <a:gd name="connsiteX5617" fmla="*/ 2261599 w 2417513"/>
                  <a:gd name="connsiteY5617" fmla="*/ 1638090 h 1867037"/>
                  <a:gd name="connsiteX5618" fmla="*/ 2257054 w 2417513"/>
                  <a:gd name="connsiteY5618" fmla="*/ 1640666 h 1867037"/>
                  <a:gd name="connsiteX5619" fmla="*/ 2254326 w 2417513"/>
                  <a:gd name="connsiteY5619" fmla="*/ 1641727 h 1867037"/>
                  <a:gd name="connsiteX5620" fmla="*/ 2251447 w 2417513"/>
                  <a:gd name="connsiteY5620" fmla="*/ 1644757 h 1867037"/>
                  <a:gd name="connsiteX5621" fmla="*/ 2244629 w 2417513"/>
                  <a:gd name="connsiteY5621" fmla="*/ 1650515 h 1867037"/>
                  <a:gd name="connsiteX5622" fmla="*/ 2236144 w 2417513"/>
                  <a:gd name="connsiteY5622" fmla="*/ 1656273 h 1867037"/>
                  <a:gd name="connsiteX5623" fmla="*/ 2234325 w 2417513"/>
                  <a:gd name="connsiteY5623" fmla="*/ 1658394 h 1867037"/>
                  <a:gd name="connsiteX5624" fmla="*/ 2233719 w 2417513"/>
                  <a:gd name="connsiteY5624" fmla="*/ 1659909 h 1867037"/>
                  <a:gd name="connsiteX5625" fmla="*/ 2233719 w 2417513"/>
                  <a:gd name="connsiteY5625" fmla="*/ 1660667 h 1867037"/>
                  <a:gd name="connsiteX5626" fmla="*/ 2234931 w 2417513"/>
                  <a:gd name="connsiteY5626" fmla="*/ 1665212 h 1867037"/>
                  <a:gd name="connsiteX5627" fmla="*/ 2236598 w 2417513"/>
                  <a:gd name="connsiteY5627" fmla="*/ 1668849 h 1867037"/>
                  <a:gd name="connsiteX5628" fmla="*/ 2237659 w 2417513"/>
                  <a:gd name="connsiteY5628" fmla="*/ 1669909 h 1867037"/>
                  <a:gd name="connsiteX5629" fmla="*/ 2240386 w 2417513"/>
                  <a:gd name="connsiteY5629" fmla="*/ 1670970 h 1867037"/>
                  <a:gd name="connsiteX5630" fmla="*/ 2245235 w 2417513"/>
                  <a:gd name="connsiteY5630" fmla="*/ 1670667 h 1867037"/>
                  <a:gd name="connsiteX5631" fmla="*/ 2254175 w 2417513"/>
                  <a:gd name="connsiteY5631" fmla="*/ 1669152 h 1867037"/>
                  <a:gd name="connsiteX5632" fmla="*/ 2257054 w 2417513"/>
                  <a:gd name="connsiteY5632" fmla="*/ 1668243 h 1867037"/>
                  <a:gd name="connsiteX5633" fmla="*/ 2259326 w 2417513"/>
                  <a:gd name="connsiteY5633" fmla="*/ 1667182 h 1867037"/>
                  <a:gd name="connsiteX5634" fmla="*/ 2261751 w 2417513"/>
                  <a:gd name="connsiteY5634" fmla="*/ 1665515 h 1867037"/>
                  <a:gd name="connsiteX5635" fmla="*/ 2262054 w 2417513"/>
                  <a:gd name="connsiteY5635" fmla="*/ 1665970 h 1867037"/>
                  <a:gd name="connsiteX5636" fmla="*/ 2261902 w 2417513"/>
                  <a:gd name="connsiteY5636" fmla="*/ 1667485 h 1867037"/>
                  <a:gd name="connsiteX5637" fmla="*/ 2264478 w 2417513"/>
                  <a:gd name="connsiteY5637" fmla="*/ 1667788 h 1867037"/>
                  <a:gd name="connsiteX5638" fmla="*/ 2273115 w 2417513"/>
                  <a:gd name="connsiteY5638" fmla="*/ 1667637 h 1867037"/>
                  <a:gd name="connsiteX5639" fmla="*/ 2274175 w 2417513"/>
                  <a:gd name="connsiteY5639" fmla="*/ 1668091 h 1867037"/>
                  <a:gd name="connsiteX5640" fmla="*/ 2280236 w 2417513"/>
                  <a:gd name="connsiteY5640" fmla="*/ 1669303 h 1867037"/>
                  <a:gd name="connsiteX5641" fmla="*/ 2285388 w 2417513"/>
                  <a:gd name="connsiteY5641" fmla="*/ 1669152 h 1867037"/>
                  <a:gd name="connsiteX5642" fmla="*/ 2299631 w 2417513"/>
                  <a:gd name="connsiteY5642" fmla="*/ 1671122 h 1867037"/>
                  <a:gd name="connsiteX5643" fmla="*/ 2304479 w 2417513"/>
                  <a:gd name="connsiteY5643" fmla="*/ 1671425 h 1867037"/>
                  <a:gd name="connsiteX5644" fmla="*/ 2305843 w 2417513"/>
                  <a:gd name="connsiteY5644" fmla="*/ 1670516 h 1867037"/>
                  <a:gd name="connsiteX5645" fmla="*/ 2312965 w 2417513"/>
                  <a:gd name="connsiteY5645" fmla="*/ 1669606 h 1867037"/>
                  <a:gd name="connsiteX5646" fmla="*/ 2316601 w 2417513"/>
                  <a:gd name="connsiteY5646" fmla="*/ 1668243 h 1867037"/>
                  <a:gd name="connsiteX5647" fmla="*/ 2318268 w 2417513"/>
                  <a:gd name="connsiteY5647" fmla="*/ 1668091 h 1867037"/>
                  <a:gd name="connsiteX5648" fmla="*/ 2319480 w 2417513"/>
                  <a:gd name="connsiteY5648" fmla="*/ 1667637 h 1867037"/>
                  <a:gd name="connsiteX5649" fmla="*/ 2321450 w 2417513"/>
                  <a:gd name="connsiteY5649" fmla="*/ 1664000 h 1867037"/>
                  <a:gd name="connsiteX5650" fmla="*/ 2322208 w 2417513"/>
                  <a:gd name="connsiteY5650" fmla="*/ 1663546 h 1867037"/>
                  <a:gd name="connsiteX5651" fmla="*/ 2323117 w 2417513"/>
                  <a:gd name="connsiteY5651" fmla="*/ 1664152 h 1867037"/>
                  <a:gd name="connsiteX5652" fmla="*/ 2325086 w 2417513"/>
                  <a:gd name="connsiteY5652" fmla="*/ 1664455 h 1867037"/>
                  <a:gd name="connsiteX5653" fmla="*/ 2327814 w 2417513"/>
                  <a:gd name="connsiteY5653" fmla="*/ 1663546 h 1867037"/>
                  <a:gd name="connsiteX5654" fmla="*/ 2329480 w 2417513"/>
                  <a:gd name="connsiteY5654" fmla="*/ 1662636 h 1867037"/>
                  <a:gd name="connsiteX5655" fmla="*/ 2329784 w 2417513"/>
                  <a:gd name="connsiteY5655" fmla="*/ 1663697 h 1867037"/>
                  <a:gd name="connsiteX5656" fmla="*/ 2329177 w 2417513"/>
                  <a:gd name="connsiteY5656" fmla="*/ 1670516 h 1867037"/>
                  <a:gd name="connsiteX5657" fmla="*/ 2323268 w 2417513"/>
                  <a:gd name="connsiteY5657" fmla="*/ 1672940 h 1867037"/>
                  <a:gd name="connsiteX5658" fmla="*/ 2322056 w 2417513"/>
                  <a:gd name="connsiteY5658" fmla="*/ 1673697 h 1867037"/>
                  <a:gd name="connsiteX5659" fmla="*/ 2323268 w 2417513"/>
                  <a:gd name="connsiteY5659" fmla="*/ 1673849 h 1867037"/>
                  <a:gd name="connsiteX5660" fmla="*/ 2329329 w 2417513"/>
                  <a:gd name="connsiteY5660" fmla="*/ 1672788 h 1867037"/>
                  <a:gd name="connsiteX5661" fmla="*/ 2330693 w 2417513"/>
                  <a:gd name="connsiteY5661" fmla="*/ 1673243 h 1867037"/>
                  <a:gd name="connsiteX5662" fmla="*/ 2331753 w 2417513"/>
                  <a:gd name="connsiteY5662" fmla="*/ 1673849 h 1867037"/>
                  <a:gd name="connsiteX5663" fmla="*/ 2337208 w 2417513"/>
                  <a:gd name="connsiteY5663" fmla="*/ 1675061 h 1867037"/>
                  <a:gd name="connsiteX5664" fmla="*/ 2339329 w 2417513"/>
                  <a:gd name="connsiteY5664" fmla="*/ 1674758 h 1867037"/>
                  <a:gd name="connsiteX5665" fmla="*/ 2340390 w 2417513"/>
                  <a:gd name="connsiteY5665" fmla="*/ 1674455 h 1867037"/>
                  <a:gd name="connsiteX5666" fmla="*/ 2341148 w 2417513"/>
                  <a:gd name="connsiteY5666" fmla="*/ 1673849 h 1867037"/>
                  <a:gd name="connsiteX5667" fmla="*/ 2341754 w 2417513"/>
                  <a:gd name="connsiteY5667" fmla="*/ 1672182 h 1867037"/>
                  <a:gd name="connsiteX5668" fmla="*/ 2342360 w 2417513"/>
                  <a:gd name="connsiteY5668" fmla="*/ 1669000 h 1867037"/>
                  <a:gd name="connsiteX5669" fmla="*/ 2342966 w 2417513"/>
                  <a:gd name="connsiteY5669" fmla="*/ 1668394 h 1867037"/>
                  <a:gd name="connsiteX5670" fmla="*/ 2347663 w 2417513"/>
                  <a:gd name="connsiteY5670" fmla="*/ 1668849 h 1867037"/>
                  <a:gd name="connsiteX5671" fmla="*/ 2350996 w 2417513"/>
                  <a:gd name="connsiteY5671" fmla="*/ 1668546 h 1867037"/>
                  <a:gd name="connsiteX5672" fmla="*/ 2352057 w 2417513"/>
                  <a:gd name="connsiteY5672" fmla="*/ 1669303 h 1867037"/>
                  <a:gd name="connsiteX5673" fmla="*/ 2354481 w 2417513"/>
                  <a:gd name="connsiteY5673" fmla="*/ 1669758 h 1867037"/>
                  <a:gd name="connsiteX5674" fmla="*/ 2355997 w 2417513"/>
                  <a:gd name="connsiteY5674" fmla="*/ 1669455 h 1867037"/>
                  <a:gd name="connsiteX5675" fmla="*/ 2358876 w 2417513"/>
                  <a:gd name="connsiteY5675" fmla="*/ 1668243 h 1867037"/>
                  <a:gd name="connsiteX5676" fmla="*/ 2358572 w 2417513"/>
                  <a:gd name="connsiteY5676" fmla="*/ 1669152 h 1867037"/>
                  <a:gd name="connsiteX5677" fmla="*/ 2356603 w 2417513"/>
                  <a:gd name="connsiteY5677" fmla="*/ 1671576 h 1867037"/>
                  <a:gd name="connsiteX5678" fmla="*/ 2353724 w 2417513"/>
                  <a:gd name="connsiteY5678" fmla="*/ 1673546 h 1867037"/>
                  <a:gd name="connsiteX5679" fmla="*/ 2347814 w 2417513"/>
                  <a:gd name="connsiteY5679" fmla="*/ 1675819 h 1867037"/>
                  <a:gd name="connsiteX5680" fmla="*/ 2343117 w 2417513"/>
                  <a:gd name="connsiteY5680" fmla="*/ 1682334 h 1867037"/>
                  <a:gd name="connsiteX5681" fmla="*/ 2342057 w 2417513"/>
                  <a:gd name="connsiteY5681" fmla="*/ 1683546 h 1867037"/>
                  <a:gd name="connsiteX5682" fmla="*/ 2339632 w 2417513"/>
                  <a:gd name="connsiteY5682" fmla="*/ 1685668 h 1867037"/>
                  <a:gd name="connsiteX5683" fmla="*/ 2336450 w 2417513"/>
                  <a:gd name="connsiteY5683" fmla="*/ 1687031 h 1867037"/>
                  <a:gd name="connsiteX5684" fmla="*/ 2332056 w 2417513"/>
                  <a:gd name="connsiteY5684" fmla="*/ 1687940 h 1867037"/>
                  <a:gd name="connsiteX5685" fmla="*/ 2330238 w 2417513"/>
                  <a:gd name="connsiteY5685" fmla="*/ 1688698 h 1867037"/>
                  <a:gd name="connsiteX5686" fmla="*/ 2327965 w 2417513"/>
                  <a:gd name="connsiteY5686" fmla="*/ 1690516 h 1867037"/>
                  <a:gd name="connsiteX5687" fmla="*/ 2327056 w 2417513"/>
                  <a:gd name="connsiteY5687" fmla="*/ 1692031 h 1867037"/>
                  <a:gd name="connsiteX5688" fmla="*/ 2326905 w 2417513"/>
                  <a:gd name="connsiteY5688" fmla="*/ 1692638 h 1867037"/>
                  <a:gd name="connsiteX5689" fmla="*/ 2327208 w 2417513"/>
                  <a:gd name="connsiteY5689" fmla="*/ 1693698 h 1867037"/>
                  <a:gd name="connsiteX5690" fmla="*/ 2329177 w 2417513"/>
                  <a:gd name="connsiteY5690" fmla="*/ 1695062 h 1867037"/>
                  <a:gd name="connsiteX5691" fmla="*/ 2330086 w 2417513"/>
                  <a:gd name="connsiteY5691" fmla="*/ 1695516 h 1867037"/>
                  <a:gd name="connsiteX5692" fmla="*/ 2331602 w 2417513"/>
                  <a:gd name="connsiteY5692" fmla="*/ 1695668 h 1867037"/>
                  <a:gd name="connsiteX5693" fmla="*/ 2335390 w 2417513"/>
                  <a:gd name="connsiteY5693" fmla="*/ 1695213 h 1867037"/>
                  <a:gd name="connsiteX5694" fmla="*/ 2338723 w 2417513"/>
                  <a:gd name="connsiteY5694" fmla="*/ 1694153 h 1867037"/>
                  <a:gd name="connsiteX5695" fmla="*/ 2340087 w 2417513"/>
                  <a:gd name="connsiteY5695" fmla="*/ 1694001 h 1867037"/>
                  <a:gd name="connsiteX5696" fmla="*/ 2342208 w 2417513"/>
                  <a:gd name="connsiteY5696" fmla="*/ 1694607 h 1867037"/>
                  <a:gd name="connsiteX5697" fmla="*/ 2344481 w 2417513"/>
                  <a:gd name="connsiteY5697" fmla="*/ 1694456 h 1867037"/>
                  <a:gd name="connsiteX5698" fmla="*/ 2346148 w 2417513"/>
                  <a:gd name="connsiteY5698" fmla="*/ 1693244 h 1867037"/>
                  <a:gd name="connsiteX5699" fmla="*/ 2349330 w 2417513"/>
                  <a:gd name="connsiteY5699" fmla="*/ 1689607 h 1867037"/>
                  <a:gd name="connsiteX5700" fmla="*/ 2350390 w 2417513"/>
                  <a:gd name="connsiteY5700" fmla="*/ 1687637 h 1867037"/>
                  <a:gd name="connsiteX5701" fmla="*/ 2350693 w 2417513"/>
                  <a:gd name="connsiteY5701" fmla="*/ 1685213 h 1867037"/>
                  <a:gd name="connsiteX5702" fmla="*/ 2357057 w 2417513"/>
                  <a:gd name="connsiteY5702" fmla="*/ 1677940 h 1867037"/>
                  <a:gd name="connsiteX5703" fmla="*/ 2358572 w 2417513"/>
                  <a:gd name="connsiteY5703" fmla="*/ 1677485 h 1867037"/>
                  <a:gd name="connsiteX5704" fmla="*/ 2360088 w 2417513"/>
                  <a:gd name="connsiteY5704" fmla="*/ 1677637 h 1867037"/>
                  <a:gd name="connsiteX5705" fmla="*/ 2362664 w 2417513"/>
                  <a:gd name="connsiteY5705" fmla="*/ 1677182 h 1867037"/>
                  <a:gd name="connsiteX5706" fmla="*/ 2364785 w 2417513"/>
                  <a:gd name="connsiteY5706" fmla="*/ 1675516 h 1867037"/>
                  <a:gd name="connsiteX5707" fmla="*/ 2367512 w 2417513"/>
                  <a:gd name="connsiteY5707" fmla="*/ 1672485 h 1867037"/>
                  <a:gd name="connsiteX5708" fmla="*/ 2367815 w 2417513"/>
                  <a:gd name="connsiteY5708" fmla="*/ 1672788 h 1867037"/>
                  <a:gd name="connsiteX5709" fmla="*/ 2365694 w 2417513"/>
                  <a:gd name="connsiteY5709" fmla="*/ 1676576 h 1867037"/>
                  <a:gd name="connsiteX5710" fmla="*/ 2365088 w 2417513"/>
                  <a:gd name="connsiteY5710" fmla="*/ 1678243 h 1867037"/>
                  <a:gd name="connsiteX5711" fmla="*/ 2367058 w 2417513"/>
                  <a:gd name="connsiteY5711" fmla="*/ 1677182 h 1867037"/>
                  <a:gd name="connsiteX5712" fmla="*/ 2367967 w 2417513"/>
                  <a:gd name="connsiteY5712" fmla="*/ 1676425 h 1867037"/>
                  <a:gd name="connsiteX5713" fmla="*/ 2368573 w 2417513"/>
                  <a:gd name="connsiteY5713" fmla="*/ 1675213 h 1867037"/>
                  <a:gd name="connsiteX5714" fmla="*/ 2369330 w 2417513"/>
                  <a:gd name="connsiteY5714" fmla="*/ 1672031 h 1867037"/>
                  <a:gd name="connsiteX5715" fmla="*/ 2374028 w 2417513"/>
                  <a:gd name="connsiteY5715" fmla="*/ 1664606 h 1867037"/>
                  <a:gd name="connsiteX5716" fmla="*/ 2374482 w 2417513"/>
                  <a:gd name="connsiteY5716" fmla="*/ 1662030 h 1867037"/>
                  <a:gd name="connsiteX5717" fmla="*/ 2375240 w 2417513"/>
                  <a:gd name="connsiteY5717" fmla="*/ 1661576 h 1867037"/>
                  <a:gd name="connsiteX5718" fmla="*/ 2379179 w 2417513"/>
                  <a:gd name="connsiteY5718" fmla="*/ 1663394 h 1867037"/>
                  <a:gd name="connsiteX5719" fmla="*/ 2380846 w 2417513"/>
                  <a:gd name="connsiteY5719" fmla="*/ 1665061 h 1867037"/>
                  <a:gd name="connsiteX5720" fmla="*/ 2382210 w 2417513"/>
                  <a:gd name="connsiteY5720" fmla="*/ 1669000 h 1867037"/>
                  <a:gd name="connsiteX5721" fmla="*/ 2383270 w 2417513"/>
                  <a:gd name="connsiteY5721" fmla="*/ 1673697 h 1867037"/>
                  <a:gd name="connsiteX5722" fmla="*/ 2383876 w 2417513"/>
                  <a:gd name="connsiteY5722" fmla="*/ 1675213 h 1867037"/>
                  <a:gd name="connsiteX5723" fmla="*/ 2384634 w 2417513"/>
                  <a:gd name="connsiteY5723" fmla="*/ 1675970 h 1867037"/>
                  <a:gd name="connsiteX5724" fmla="*/ 2384028 w 2417513"/>
                  <a:gd name="connsiteY5724" fmla="*/ 1677788 h 1867037"/>
                  <a:gd name="connsiteX5725" fmla="*/ 2381301 w 2417513"/>
                  <a:gd name="connsiteY5725" fmla="*/ 1682183 h 1867037"/>
                  <a:gd name="connsiteX5726" fmla="*/ 2377967 w 2417513"/>
                  <a:gd name="connsiteY5726" fmla="*/ 1688243 h 1867037"/>
                  <a:gd name="connsiteX5727" fmla="*/ 2376300 w 2417513"/>
                  <a:gd name="connsiteY5727" fmla="*/ 1692335 h 1867037"/>
                  <a:gd name="connsiteX5728" fmla="*/ 2375846 w 2417513"/>
                  <a:gd name="connsiteY5728" fmla="*/ 1694001 h 1867037"/>
                  <a:gd name="connsiteX5729" fmla="*/ 2375846 w 2417513"/>
                  <a:gd name="connsiteY5729" fmla="*/ 1695213 h 1867037"/>
                  <a:gd name="connsiteX5730" fmla="*/ 2376907 w 2417513"/>
                  <a:gd name="connsiteY5730" fmla="*/ 1696577 h 1867037"/>
                  <a:gd name="connsiteX5731" fmla="*/ 2377664 w 2417513"/>
                  <a:gd name="connsiteY5731" fmla="*/ 1697032 h 1867037"/>
                  <a:gd name="connsiteX5732" fmla="*/ 2378422 w 2417513"/>
                  <a:gd name="connsiteY5732" fmla="*/ 1697183 h 1867037"/>
                  <a:gd name="connsiteX5733" fmla="*/ 2380240 w 2417513"/>
                  <a:gd name="connsiteY5733" fmla="*/ 1696577 h 1867037"/>
                  <a:gd name="connsiteX5734" fmla="*/ 2384331 w 2417513"/>
                  <a:gd name="connsiteY5734" fmla="*/ 1693092 h 1867037"/>
                  <a:gd name="connsiteX5735" fmla="*/ 2386604 w 2417513"/>
                  <a:gd name="connsiteY5735" fmla="*/ 1690668 h 1867037"/>
                  <a:gd name="connsiteX5736" fmla="*/ 2388725 w 2417513"/>
                  <a:gd name="connsiteY5736" fmla="*/ 1687940 h 1867037"/>
                  <a:gd name="connsiteX5737" fmla="*/ 2390392 w 2417513"/>
                  <a:gd name="connsiteY5737" fmla="*/ 1686425 h 1867037"/>
                  <a:gd name="connsiteX5738" fmla="*/ 2391452 w 2417513"/>
                  <a:gd name="connsiteY5738" fmla="*/ 1686122 h 1867037"/>
                  <a:gd name="connsiteX5739" fmla="*/ 2391907 w 2417513"/>
                  <a:gd name="connsiteY5739" fmla="*/ 1686577 h 1867037"/>
                  <a:gd name="connsiteX5740" fmla="*/ 2391907 w 2417513"/>
                  <a:gd name="connsiteY5740" fmla="*/ 1687789 h 1867037"/>
                  <a:gd name="connsiteX5741" fmla="*/ 2390998 w 2417513"/>
                  <a:gd name="connsiteY5741" fmla="*/ 1690819 h 1867037"/>
                  <a:gd name="connsiteX5742" fmla="*/ 2391907 w 2417513"/>
                  <a:gd name="connsiteY5742" fmla="*/ 1692638 h 1867037"/>
                  <a:gd name="connsiteX5743" fmla="*/ 2391604 w 2417513"/>
                  <a:gd name="connsiteY5743" fmla="*/ 1695062 h 1867037"/>
                  <a:gd name="connsiteX5744" fmla="*/ 2390998 w 2417513"/>
                  <a:gd name="connsiteY5744" fmla="*/ 1702183 h 1867037"/>
                  <a:gd name="connsiteX5745" fmla="*/ 2391756 w 2417513"/>
                  <a:gd name="connsiteY5745" fmla="*/ 1703547 h 1867037"/>
                  <a:gd name="connsiteX5746" fmla="*/ 2392361 w 2417513"/>
                  <a:gd name="connsiteY5746" fmla="*/ 1703850 h 1867037"/>
                  <a:gd name="connsiteX5747" fmla="*/ 2393271 w 2417513"/>
                  <a:gd name="connsiteY5747" fmla="*/ 1703699 h 1867037"/>
                  <a:gd name="connsiteX5748" fmla="*/ 2397513 w 2417513"/>
                  <a:gd name="connsiteY5748" fmla="*/ 1700971 h 1867037"/>
                  <a:gd name="connsiteX5749" fmla="*/ 2399180 w 2417513"/>
                  <a:gd name="connsiteY5749" fmla="*/ 1700668 h 1867037"/>
                  <a:gd name="connsiteX5750" fmla="*/ 2400089 w 2417513"/>
                  <a:gd name="connsiteY5750" fmla="*/ 1700668 h 1867037"/>
                  <a:gd name="connsiteX5751" fmla="*/ 2401150 w 2417513"/>
                  <a:gd name="connsiteY5751" fmla="*/ 1701274 h 1867037"/>
                  <a:gd name="connsiteX5752" fmla="*/ 2402210 w 2417513"/>
                  <a:gd name="connsiteY5752" fmla="*/ 1702486 h 1867037"/>
                  <a:gd name="connsiteX5753" fmla="*/ 2403423 w 2417513"/>
                  <a:gd name="connsiteY5753" fmla="*/ 1702941 h 1867037"/>
                  <a:gd name="connsiteX5754" fmla="*/ 2404786 w 2417513"/>
                  <a:gd name="connsiteY5754" fmla="*/ 1702638 h 1867037"/>
                  <a:gd name="connsiteX5755" fmla="*/ 2405998 w 2417513"/>
                  <a:gd name="connsiteY5755" fmla="*/ 1701729 h 1867037"/>
                  <a:gd name="connsiteX5756" fmla="*/ 2407059 w 2417513"/>
                  <a:gd name="connsiteY5756" fmla="*/ 1700365 h 1867037"/>
                  <a:gd name="connsiteX5757" fmla="*/ 2409029 w 2417513"/>
                  <a:gd name="connsiteY5757" fmla="*/ 1697032 h 1867037"/>
                  <a:gd name="connsiteX5758" fmla="*/ 2410999 w 2417513"/>
                  <a:gd name="connsiteY5758" fmla="*/ 1691728 h 1867037"/>
                  <a:gd name="connsiteX5759" fmla="*/ 2411150 w 2417513"/>
                  <a:gd name="connsiteY5759" fmla="*/ 1690516 h 1867037"/>
                  <a:gd name="connsiteX5760" fmla="*/ 2410999 w 2417513"/>
                  <a:gd name="connsiteY5760" fmla="*/ 1689304 h 1867037"/>
                  <a:gd name="connsiteX5761" fmla="*/ 2410392 w 2417513"/>
                  <a:gd name="connsiteY5761" fmla="*/ 1687334 h 1867037"/>
                  <a:gd name="connsiteX5762" fmla="*/ 2416605 w 2417513"/>
                  <a:gd name="connsiteY5762" fmla="*/ 1676122 h 1867037"/>
                  <a:gd name="connsiteX5763" fmla="*/ 2417059 w 2417513"/>
                  <a:gd name="connsiteY5763" fmla="*/ 1674607 h 1867037"/>
                  <a:gd name="connsiteX5764" fmla="*/ 2417514 w 2417513"/>
                  <a:gd name="connsiteY5764" fmla="*/ 1671879 h 1867037"/>
                  <a:gd name="connsiteX5765" fmla="*/ 2416908 w 2417513"/>
                  <a:gd name="connsiteY5765" fmla="*/ 1668697 h 1867037"/>
                  <a:gd name="connsiteX5766" fmla="*/ 2377058 w 2417513"/>
                  <a:gd name="connsiteY5766" fmla="*/ 1667788 h 1867037"/>
                  <a:gd name="connsiteX5767" fmla="*/ 2375997 w 2417513"/>
                  <a:gd name="connsiteY5767" fmla="*/ 1669152 h 1867037"/>
                  <a:gd name="connsiteX5768" fmla="*/ 2374785 w 2417513"/>
                  <a:gd name="connsiteY5768" fmla="*/ 1669909 h 1867037"/>
                  <a:gd name="connsiteX5769" fmla="*/ 2374482 w 2417513"/>
                  <a:gd name="connsiteY5769" fmla="*/ 1670516 h 1867037"/>
                  <a:gd name="connsiteX5770" fmla="*/ 2374482 w 2417513"/>
                  <a:gd name="connsiteY5770" fmla="*/ 1671425 h 1867037"/>
                  <a:gd name="connsiteX5771" fmla="*/ 2373573 w 2417513"/>
                  <a:gd name="connsiteY5771" fmla="*/ 1672940 h 1867037"/>
                  <a:gd name="connsiteX5772" fmla="*/ 2371906 w 2417513"/>
                  <a:gd name="connsiteY5772" fmla="*/ 1675061 h 1867037"/>
                  <a:gd name="connsiteX5773" fmla="*/ 2371755 w 2417513"/>
                  <a:gd name="connsiteY5773" fmla="*/ 1676122 h 1867037"/>
                  <a:gd name="connsiteX5774" fmla="*/ 2373119 w 2417513"/>
                  <a:gd name="connsiteY5774" fmla="*/ 1676122 h 1867037"/>
                  <a:gd name="connsiteX5775" fmla="*/ 2374482 w 2417513"/>
                  <a:gd name="connsiteY5775" fmla="*/ 1674910 h 1867037"/>
                  <a:gd name="connsiteX5776" fmla="*/ 2376603 w 2417513"/>
                  <a:gd name="connsiteY5776" fmla="*/ 1670364 h 1867037"/>
                  <a:gd name="connsiteX5777" fmla="*/ 2377058 w 2417513"/>
                  <a:gd name="connsiteY5777" fmla="*/ 1667788 h 1867037"/>
                  <a:gd name="connsiteX5778" fmla="*/ 1682335 w 2417513"/>
                  <a:gd name="connsiteY5778" fmla="*/ 1514449 h 1867037"/>
                  <a:gd name="connsiteX5779" fmla="*/ 1684911 w 2417513"/>
                  <a:gd name="connsiteY5779" fmla="*/ 1514752 h 1867037"/>
                  <a:gd name="connsiteX5780" fmla="*/ 1685972 w 2417513"/>
                  <a:gd name="connsiteY5780" fmla="*/ 1514449 h 1867037"/>
                  <a:gd name="connsiteX5781" fmla="*/ 1686881 w 2417513"/>
                  <a:gd name="connsiteY5781" fmla="*/ 1513843 h 1867037"/>
                  <a:gd name="connsiteX5782" fmla="*/ 1687487 w 2417513"/>
                  <a:gd name="connsiteY5782" fmla="*/ 1512934 h 1867037"/>
                  <a:gd name="connsiteX5783" fmla="*/ 1687790 w 2417513"/>
                  <a:gd name="connsiteY5783" fmla="*/ 1511722 h 1867037"/>
                  <a:gd name="connsiteX5784" fmla="*/ 1689002 w 2417513"/>
                  <a:gd name="connsiteY5784" fmla="*/ 1510055 h 1867037"/>
                  <a:gd name="connsiteX5785" fmla="*/ 1689002 w 2417513"/>
                  <a:gd name="connsiteY5785" fmla="*/ 1509449 h 1867037"/>
                  <a:gd name="connsiteX5786" fmla="*/ 1687335 w 2417513"/>
                  <a:gd name="connsiteY5786" fmla="*/ 1508994 h 1867037"/>
                  <a:gd name="connsiteX5787" fmla="*/ 1678850 w 2417513"/>
                  <a:gd name="connsiteY5787" fmla="*/ 1512176 h 1867037"/>
                  <a:gd name="connsiteX5788" fmla="*/ 1680062 w 2417513"/>
                  <a:gd name="connsiteY5788" fmla="*/ 1513389 h 1867037"/>
                  <a:gd name="connsiteX5789" fmla="*/ 1682335 w 2417513"/>
                  <a:gd name="connsiteY5789" fmla="*/ 1514449 h 1867037"/>
                  <a:gd name="connsiteX5790" fmla="*/ 2088714 w 2417513"/>
                  <a:gd name="connsiteY5790" fmla="*/ 1664303 h 1867037"/>
                  <a:gd name="connsiteX5791" fmla="*/ 2089926 w 2417513"/>
                  <a:gd name="connsiteY5791" fmla="*/ 1664152 h 1867037"/>
                  <a:gd name="connsiteX5792" fmla="*/ 2092350 w 2417513"/>
                  <a:gd name="connsiteY5792" fmla="*/ 1662030 h 1867037"/>
                  <a:gd name="connsiteX5793" fmla="*/ 2093108 w 2417513"/>
                  <a:gd name="connsiteY5793" fmla="*/ 1659454 h 1867037"/>
                  <a:gd name="connsiteX5794" fmla="*/ 2091593 w 2417513"/>
                  <a:gd name="connsiteY5794" fmla="*/ 1660212 h 1867037"/>
                  <a:gd name="connsiteX5795" fmla="*/ 2090835 w 2417513"/>
                  <a:gd name="connsiteY5795" fmla="*/ 1660061 h 1867037"/>
                  <a:gd name="connsiteX5796" fmla="*/ 2088865 w 2417513"/>
                  <a:gd name="connsiteY5796" fmla="*/ 1660364 h 1867037"/>
                  <a:gd name="connsiteX5797" fmla="*/ 2089017 w 2417513"/>
                  <a:gd name="connsiteY5797" fmla="*/ 1662788 h 1867037"/>
                  <a:gd name="connsiteX5798" fmla="*/ 2088411 w 2417513"/>
                  <a:gd name="connsiteY5798" fmla="*/ 1664152 h 1867037"/>
                  <a:gd name="connsiteX5799" fmla="*/ 2088714 w 2417513"/>
                  <a:gd name="connsiteY5799" fmla="*/ 1664303 h 1867037"/>
                  <a:gd name="connsiteX5800" fmla="*/ 2168565 w 2417513"/>
                  <a:gd name="connsiteY5800" fmla="*/ 1616726 h 1867037"/>
                  <a:gd name="connsiteX5801" fmla="*/ 2169929 w 2417513"/>
                  <a:gd name="connsiteY5801" fmla="*/ 1615514 h 1867037"/>
                  <a:gd name="connsiteX5802" fmla="*/ 2168868 w 2417513"/>
                  <a:gd name="connsiteY5802" fmla="*/ 1613241 h 1867037"/>
                  <a:gd name="connsiteX5803" fmla="*/ 2166596 w 2417513"/>
                  <a:gd name="connsiteY5803" fmla="*/ 1610362 h 1867037"/>
                  <a:gd name="connsiteX5804" fmla="*/ 2160383 w 2417513"/>
                  <a:gd name="connsiteY5804" fmla="*/ 1606574 h 1867037"/>
                  <a:gd name="connsiteX5805" fmla="*/ 2157959 w 2417513"/>
                  <a:gd name="connsiteY5805" fmla="*/ 1605968 h 1867037"/>
                  <a:gd name="connsiteX5806" fmla="*/ 2144322 w 2417513"/>
                  <a:gd name="connsiteY5806" fmla="*/ 1598240 h 1867037"/>
                  <a:gd name="connsiteX5807" fmla="*/ 2138110 w 2417513"/>
                  <a:gd name="connsiteY5807" fmla="*/ 1595361 h 1867037"/>
                  <a:gd name="connsiteX5808" fmla="*/ 2131746 w 2417513"/>
                  <a:gd name="connsiteY5808" fmla="*/ 1592937 h 1867037"/>
                  <a:gd name="connsiteX5809" fmla="*/ 2126140 w 2417513"/>
                  <a:gd name="connsiteY5809" fmla="*/ 1591422 h 1867037"/>
                  <a:gd name="connsiteX5810" fmla="*/ 2113260 w 2417513"/>
                  <a:gd name="connsiteY5810" fmla="*/ 1589300 h 1867037"/>
                  <a:gd name="connsiteX5811" fmla="*/ 2103108 w 2417513"/>
                  <a:gd name="connsiteY5811" fmla="*/ 1586876 h 1867037"/>
                  <a:gd name="connsiteX5812" fmla="*/ 2100078 w 2417513"/>
                  <a:gd name="connsiteY5812" fmla="*/ 1586725 h 1867037"/>
                  <a:gd name="connsiteX5813" fmla="*/ 2096593 w 2417513"/>
                  <a:gd name="connsiteY5813" fmla="*/ 1587331 h 1867037"/>
                  <a:gd name="connsiteX5814" fmla="*/ 2093562 w 2417513"/>
                  <a:gd name="connsiteY5814" fmla="*/ 1588694 h 1867037"/>
                  <a:gd name="connsiteX5815" fmla="*/ 2094775 w 2417513"/>
                  <a:gd name="connsiteY5815" fmla="*/ 1590816 h 1867037"/>
                  <a:gd name="connsiteX5816" fmla="*/ 2109927 w 2417513"/>
                  <a:gd name="connsiteY5816" fmla="*/ 1596876 h 1867037"/>
                  <a:gd name="connsiteX5817" fmla="*/ 2112957 w 2417513"/>
                  <a:gd name="connsiteY5817" fmla="*/ 1598846 h 1867037"/>
                  <a:gd name="connsiteX5818" fmla="*/ 2115685 w 2417513"/>
                  <a:gd name="connsiteY5818" fmla="*/ 1601271 h 1867037"/>
                  <a:gd name="connsiteX5819" fmla="*/ 2117048 w 2417513"/>
                  <a:gd name="connsiteY5819" fmla="*/ 1603846 h 1867037"/>
                  <a:gd name="connsiteX5820" fmla="*/ 2118715 w 2417513"/>
                  <a:gd name="connsiteY5820" fmla="*/ 1605968 h 1867037"/>
                  <a:gd name="connsiteX5821" fmla="*/ 2133109 w 2417513"/>
                  <a:gd name="connsiteY5821" fmla="*/ 1612180 h 1867037"/>
                  <a:gd name="connsiteX5822" fmla="*/ 2139776 w 2417513"/>
                  <a:gd name="connsiteY5822" fmla="*/ 1614150 h 1867037"/>
                  <a:gd name="connsiteX5823" fmla="*/ 2146595 w 2417513"/>
                  <a:gd name="connsiteY5823" fmla="*/ 1615210 h 1867037"/>
                  <a:gd name="connsiteX5824" fmla="*/ 2155686 w 2417513"/>
                  <a:gd name="connsiteY5824" fmla="*/ 1617332 h 1867037"/>
                  <a:gd name="connsiteX5825" fmla="*/ 2167202 w 2417513"/>
                  <a:gd name="connsiteY5825" fmla="*/ 1616877 h 1867037"/>
                  <a:gd name="connsiteX5826" fmla="*/ 2168565 w 2417513"/>
                  <a:gd name="connsiteY5826" fmla="*/ 1616726 h 1867037"/>
                  <a:gd name="connsiteX5827" fmla="*/ 2218113 w 2417513"/>
                  <a:gd name="connsiteY5827" fmla="*/ 1794005 h 1867037"/>
                  <a:gd name="connsiteX5828" fmla="*/ 2213112 w 2417513"/>
                  <a:gd name="connsiteY5828" fmla="*/ 1793550 h 1867037"/>
                  <a:gd name="connsiteX5829" fmla="*/ 2213264 w 2417513"/>
                  <a:gd name="connsiteY5829" fmla="*/ 1794005 h 1867037"/>
                  <a:gd name="connsiteX5830" fmla="*/ 2215385 w 2417513"/>
                  <a:gd name="connsiteY5830" fmla="*/ 1795066 h 1867037"/>
                  <a:gd name="connsiteX5831" fmla="*/ 2218567 w 2417513"/>
                  <a:gd name="connsiteY5831" fmla="*/ 1795217 h 1867037"/>
                  <a:gd name="connsiteX5832" fmla="*/ 2222204 w 2417513"/>
                  <a:gd name="connsiteY5832" fmla="*/ 1794005 h 1867037"/>
                  <a:gd name="connsiteX5833" fmla="*/ 2223870 w 2417513"/>
                  <a:gd name="connsiteY5833" fmla="*/ 1791884 h 1867037"/>
                  <a:gd name="connsiteX5834" fmla="*/ 2220082 w 2417513"/>
                  <a:gd name="connsiteY5834" fmla="*/ 1793702 h 1867037"/>
                  <a:gd name="connsiteX5835" fmla="*/ 2218113 w 2417513"/>
                  <a:gd name="connsiteY5835" fmla="*/ 1794005 h 1867037"/>
                  <a:gd name="connsiteX5836" fmla="*/ 1821583 w 2417513"/>
                  <a:gd name="connsiteY5836" fmla="*/ 1758246 h 1867037"/>
                  <a:gd name="connsiteX5837" fmla="*/ 1844311 w 2417513"/>
                  <a:gd name="connsiteY5837" fmla="*/ 1758246 h 1867037"/>
                  <a:gd name="connsiteX5838" fmla="*/ 1855675 w 2417513"/>
                  <a:gd name="connsiteY5838" fmla="*/ 1758246 h 1867037"/>
                  <a:gd name="connsiteX5839" fmla="*/ 1867039 w 2417513"/>
                  <a:gd name="connsiteY5839" fmla="*/ 1758246 h 1867037"/>
                  <a:gd name="connsiteX5840" fmla="*/ 1878403 w 2417513"/>
                  <a:gd name="connsiteY5840" fmla="*/ 1758246 h 1867037"/>
                  <a:gd name="connsiteX5841" fmla="*/ 1889767 w 2417513"/>
                  <a:gd name="connsiteY5841" fmla="*/ 1758246 h 1867037"/>
                  <a:gd name="connsiteX5842" fmla="*/ 1901131 w 2417513"/>
                  <a:gd name="connsiteY5842" fmla="*/ 1758246 h 1867037"/>
                  <a:gd name="connsiteX5843" fmla="*/ 1903859 w 2417513"/>
                  <a:gd name="connsiteY5843" fmla="*/ 1751731 h 1867037"/>
                  <a:gd name="connsiteX5844" fmla="*/ 1906434 w 2417513"/>
                  <a:gd name="connsiteY5844" fmla="*/ 1748700 h 1867037"/>
                  <a:gd name="connsiteX5845" fmla="*/ 1909919 w 2417513"/>
                  <a:gd name="connsiteY5845" fmla="*/ 1749761 h 1867037"/>
                  <a:gd name="connsiteX5846" fmla="*/ 1911738 w 2417513"/>
                  <a:gd name="connsiteY5846" fmla="*/ 1749609 h 1867037"/>
                  <a:gd name="connsiteX5847" fmla="*/ 1913707 w 2417513"/>
                  <a:gd name="connsiteY5847" fmla="*/ 1748094 h 1867037"/>
                  <a:gd name="connsiteX5848" fmla="*/ 1915374 w 2417513"/>
                  <a:gd name="connsiteY5848" fmla="*/ 1747185 h 1867037"/>
                  <a:gd name="connsiteX5849" fmla="*/ 1916435 w 2417513"/>
                  <a:gd name="connsiteY5849" fmla="*/ 1747337 h 1867037"/>
                  <a:gd name="connsiteX5850" fmla="*/ 1917344 w 2417513"/>
                  <a:gd name="connsiteY5850" fmla="*/ 1748700 h 1867037"/>
                  <a:gd name="connsiteX5851" fmla="*/ 1918101 w 2417513"/>
                  <a:gd name="connsiteY5851" fmla="*/ 1749609 h 1867037"/>
                  <a:gd name="connsiteX5852" fmla="*/ 1919011 w 2417513"/>
                  <a:gd name="connsiteY5852" fmla="*/ 1749306 h 1867037"/>
                  <a:gd name="connsiteX5853" fmla="*/ 1919768 w 2417513"/>
                  <a:gd name="connsiteY5853" fmla="*/ 1747943 h 1867037"/>
                  <a:gd name="connsiteX5854" fmla="*/ 1919768 w 2417513"/>
                  <a:gd name="connsiteY5854" fmla="*/ 1746124 h 1867037"/>
                  <a:gd name="connsiteX5855" fmla="*/ 1920829 w 2417513"/>
                  <a:gd name="connsiteY5855" fmla="*/ 1744761 h 1867037"/>
                  <a:gd name="connsiteX5856" fmla="*/ 1922041 w 2417513"/>
                  <a:gd name="connsiteY5856" fmla="*/ 1744609 h 1867037"/>
                  <a:gd name="connsiteX5857" fmla="*/ 1923253 w 2417513"/>
                  <a:gd name="connsiteY5857" fmla="*/ 1744609 h 1867037"/>
                  <a:gd name="connsiteX5858" fmla="*/ 1923859 w 2417513"/>
                  <a:gd name="connsiteY5858" fmla="*/ 1744003 h 1867037"/>
                  <a:gd name="connsiteX5859" fmla="*/ 1923859 w 2417513"/>
                  <a:gd name="connsiteY5859" fmla="*/ 1743094 h 1867037"/>
                  <a:gd name="connsiteX5860" fmla="*/ 1923405 w 2417513"/>
                  <a:gd name="connsiteY5860" fmla="*/ 1741579 h 1867037"/>
                  <a:gd name="connsiteX5861" fmla="*/ 1923556 w 2417513"/>
                  <a:gd name="connsiteY5861" fmla="*/ 1739760 h 1867037"/>
                  <a:gd name="connsiteX5862" fmla="*/ 1926435 w 2417513"/>
                  <a:gd name="connsiteY5862" fmla="*/ 1736579 h 1867037"/>
                  <a:gd name="connsiteX5863" fmla="*/ 1929920 w 2417513"/>
                  <a:gd name="connsiteY5863" fmla="*/ 1734457 h 1867037"/>
                  <a:gd name="connsiteX5864" fmla="*/ 1931132 w 2417513"/>
                  <a:gd name="connsiteY5864" fmla="*/ 1733397 h 1867037"/>
                  <a:gd name="connsiteX5865" fmla="*/ 1931435 w 2417513"/>
                  <a:gd name="connsiteY5865" fmla="*/ 1731275 h 1867037"/>
                  <a:gd name="connsiteX5866" fmla="*/ 1933405 w 2417513"/>
                  <a:gd name="connsiteY5866" fmla="*/ 1729003 h 1867037"/>
                  <a:gd name="connsiteX5867" fmla="*/ 1934466 w 2417513"/>
                  <a:gd name="connsiteY5867" fmla="*/ 1727639 h 1867037"/>
                  <a:gd name="connsiteX5868" fmla="*/ 1934769 w 2417513"/>
                  <a:gd name="connsiteY5868" fmla="*/ 1726578 h 1867037"/>
                  <a:gd name="connsiteX5869" fmla="*/ 1934314 w 2417513"/>
                  <a:gd name="connsiteY5869" fmla="*/ 1725215 h 1867037"/>
                  <a:gd name="connsiteX5870" fmla="*/ 1934314 w 2417513"/>
                  <a:gd name="connsiteY5870" fmla="*/ 1722639 h 1867037"/>
                  <a:gd name="connsiteX5871" fmla="*/ 1935072 w 2417513"/>
                  <a:gd name="connsiteY5871" fmla="*/ 1719457 h 1867037"/>
                  <a:gd name="connsiteX5872" fmla="*/ 1935981 w 2417513"/>
                  <a:gd name="connsiteY5872" fmla="*/ 1715972 h 1867037"/>
                  <a:gd name="connsiteX5873" fmla="*/ 1937799 w 2417513"/>
                  <a:gd name="connsiteY5873" fmla="*/ 1712790 h 1867037"/>
                  <a:gd name="connsiteX5874" fmla="*/ 1940829 w 2417513"/>
                  <a:gd name="connsiteY5874" fmla="*/ 1709456 h 1867037"/>
                  <a:gd name="connsiteX5875" fmla="*/ 1941587 w 2417513"/>
                  <a:gd name="connsiteY5875" fmla="*/ 1704911 h 1867037"/>
                  <a:gd name="connsiteX5876" fmla="*/ 1942496 w 2417513"/>
                  <a:gd name="connsiteY5876" fmla="*/ 1700214 h 1867037"/>
                  <a:gd name="connsiteX5877" fmla="*/ 1946284 w 2417513"/>
                  <a:gd name="connsiteY5877" fmla="*/ 1695668 h 1867037"/>
                  <a:gd name="connsiteX5878" fmla="*/ 1950527 w 2417513"/>
                  <a:gd name="connsiteY5878" fmla="*/ 1690365 h 1867037"/>
                  <a:gd name="connsiteX5879" fmla="*/ 1952951 w 2417513"/>
                  <a:gd name="connsiteY5879" fmla="*/ 1687334 h 1867037"/>
                  <a:gd name="connsiteX5880" fmla="*/ 1957345 w 2417513"/>
                  <a:gd name="connsiteY5880" fmla="*/ 1681880 h 1867037"/>
                  <a:gd name="connsiteX5881" fmla="*/ 1960376 w 2417513"/>
                  <a:gd name="connsiteY5881" fmla="*/ 1677940 h 1867037"/>
                  <a:gd name="connsiteX5882" fmla="*/ 1961891 w 2417513"/>
                  <a:gd name="connsiteY5882" fmla="*/ 1676122 h 1867037"/>
                  <a:gd name="connsiteX5883" fmla="*/ 1963558 w 2417513"/>
                  <a:gd name="connsiteY5883" fmla="*/ 1674000 h 1867037"/>
                  <a:gd name="connsiteX5884" fmla="*/ 1966134 w 2417513"/>
                  <a:gd name="connsiteY5884" fmla="*/ 1674607 h 1867037"/>
                  <a:gd name="connsiteX5885" fmla="*/ 1968709 w 2417513"/>
                  <a:gd name="connsiteY5885" fmla="*/ 1675213 h 1867037"/>
                  <a:gd name="connsiteX5886" fmla="*/ 1968255 w 2417513"/>
                  <a:gd name="connsiteY5886" fmla="*/ 1678243 h 1867037"/>
                  <a:gd name="connsiteX5887" fmla="*/ 1968709 w 2417513"/>
                  <a:gd name="connsiteY5887" fmla="*/ 1680516 h 1867037"/>
                  <a:gd name="connsiteX5888" fmla="*/ 1969922 w 2417513"/>
                  <a:gd name="connsiteY5888" fmla="*/ 1681728 h 1867037"/>
                  <a:gd name="connsiteX5889" fmla="*/ 1971740 w 2417513"/>
                  <a:gd name="connsiteY5889" fmla="*/ 1682637 h 1867037"/>
                  <a:gd name="connsiteX5890" fmla="*/ 1973103 w 2417513"/>
                  <a:gd name="connsiteY5890" fmla="*/ 1682940 h 1867037"/>
                  <a:gd name="connsiteX5891" fmla="*/ 1974770 w 2417513"/>
                  <a:gd name="connsiteY5891" fmla="*/ 1682940 h 1867037"/>
                  <a:gd name="connsiteX5892" fmla="*/ 1979164 w 2417513"/>
                  <a:gd name="connsiteY5892" fmla="*/ 1681273 h 1867037"/>
                  <a:gd name="connsiteX5893" fmla="*/ 1984316 w 2417513"/>
                  <a:gd name="connsiteY5893" fmla="*/ 1680213 h 1867037"/>
                  <a:gd name="connsiteX5894" fmla="*/ 1987195 w 2417513"/>
                  <a:gd name="connsiteY5894" fmla="*/ 1679152 h 1867037"/>
                  <a:gd name="connsiteX5895" fmla="*/ 1987650 w 2417513"/>
                  <a:gd name="connsiteY5895" fmla="*/ 1678243 h 1867037"/>
                  <a:gd name="connsiteX5896" fmla="*/ 1989013 w 2417513"/>
                  <a:gd name="connsiteY5896" fmla="*/ 1677940 h 1867037"/>
                  <a:gd name="connsiteX5897" fmla="*/ 1991134 w 2417513"/>
                  <a:gd name="connsiteY5897" fmla="*/ 1678243 h 1867037"/>
                  <a:gd name="connsiteX5898" fmla="*/ 1994923 w 2417513"/>
                  <a:gd name="connsiteY5898" fmla="*/ 1680667 h 1867037"/>
                  <a:gd name="connsiteX5899" fmla="*/ 1999317 w 2417513"/>
                  <a:gd name="connsiteY5899" fmla="*/ 1684304 h 1867037"/>
                  <a:gd name="connsiteX5900" fmla="*/ 2002802 w 2417513"/>
                  <a:gd name="connsiteY5900" fmla="*/ 1687183 h 1867037"/>
                  <a:gd name="connsiteX5901" fmla="*/ 2002953 w 2417513"/>
                  <a:gd name="connsiteY5901" fmla="*/ 1692183 h 1867037"/>
                  <a:gd name="connsiteX5902" fmla="*/ 2002953 w 2417513"/>
                  <a:gd name="connsiteY5902" fmla="*/ 1697486 h 1867037"/>
                  <a:gd name="connsiteX5903" fmla="*/ 2002953 w 2417513"/>
                  <a:gd name="connsiteY5903" fmla="*/ 1703093 h 1867037"/>
                  <a:gd name="connsiteX5904" fmla="*/ 2002953 w 2417513"/>
                  <a:gd name="connsiteY5904" fmla="*/ 1707184 h 1867037"/>
                  <a:gd name="connsiteX5905" fmla="*/ 2003105 w 2417513"/>
                  <a:gd name="connsiteY5905" fmla="*/ 1712638 h 1867037"/>
                  <a:gd name="connsiteX5906" fmla="*/ 2003105 w 2417513"/>
                  <a:gd name="connsiteY5906" fmla="*/ 1717032 h 1867037"/>
                  <a:gd name="connsiteX5907" fmla="*/ 2003256 w 2417513"/>
                  <a:gd name="connsiteY5907" fmla="*/ 1722790 h 1867037"/>
                  <a:gd name="connsiteX5908" fmla="*/ 2003256 w 2417513"/>
                  <a:gd name="connsiteY5908" fmla="*/ 1725821 h 1867037"/>
                  <a:gd name="connsiteX5909" fmla="*/ 2003711 w 2417513"/>
                  <a:gd name="connsiteY5909" fmla="*/ 1726730 h 1867037"/>
                  <a:gd name="connsiteX5910" fmla="*/ 2003408 w 2417513"/>
                  <a:gd name="connsiteY5910" fmla="*/ 1727942 h 1867037"/>
                  <a:gd name="connsiteX5911" fmla="*/ 2003256 w 2417513"/>
                  <a:gd name="connsiteY5911" fmla="*/ 1728548 h 1867037"/>
                  <a:gd name="connsiteX5912" fmla="*/ 2003256 w 2417513"/>
                  <a:gd name="connsiteY5912" fmla="*/ 1729003 h 1867037"/>
                  <a:gd name="connsiteX5913" fmla="*/ 2003408 w 2417513"/>
                  <a:gd name="connsiteY5913" fmla="*/ 1729609 h 1867037"/>
                  <a:gd name="connsiteX5914" fmla="*/ 2003408 w 2417513"/>
                  <a:gd name="connsiteY5914" fmla="*/ 1730518 h 1867037"/>
                  <a:gd name="connsiteX5915" fmla="*/ 2002953 w 2417513"/>
                  <a:gd name="connsiteY5915" fmla="*/ 1731275 h 1867037"/>
                  <a:gd name="connsiteX5916" fmla="*/ 2002802 w 2417513"/>
                  <a:gd name="connsiteY5916" fmla="*/ 1732184 h 1867037"/>
                  <a:gd name="connsiteX5917" fmla="*/ 2002802 w 2417513"/>
                  <a:gd name="connsiteY5917" fmla="*/ 1732639 h 1867037"/>
                  <a:gd name="connsiteX5918" fmla="*/ 2003105 w 2417513"/>
                  <a:gd name="connsiteY5918" fmla="*/ 1732487 h 1867037"/>
                  <a:gd name="connsiteX5919" fmla="*/ 2005226 w 2417513"/>
                  <a:gd name="connsiteY5919" fmla="*/ 1734760 h 1867037"/>
                  <a:gd name="connsiteX5920" fmla="*/ 2008105 w 2417513"/>
                  <a:gd name="connsiteY5920" fmla="*/ 1736579 h 1867037"/>
                  <a:gd name="connsiteX5921" fmla="*/ 2009923 w 2417513"/>
                  <a:gd name="connsiteY5921" fmla="*/ 1736427 h 1867037"/>
                  <a:gd name="connsiteX5922" fmla="*/ 2011438 w 2417513"/>
                  <a:gd name="connsiteY5922" fmla="*/ 1735063 h 1867037"/>
                  <a:gd name="connsiteX5923" fmla="*/ 2011893 w 2417513"/>
                  <a:gd name="connsiteY5923" fmla="*/ 1736427 h 1867037"/>
                  <a:gd name="connsiteX5924" fmla="*/ 2012196 w 2417513"/>
                  <a:gd name="connsiteY5924" fmla="*/ 1737639 h 1867037"/>
                  <a:gd name="connsiteX5925" fmla="*/ 2012650 w 2417513"/>
                  <a:gd name="connsiteY5925" fmla="*/ 1737791 h 1867037"/>
                  <a:gd name="connsiteX5926" fmla="*/ 2013105 w 2417513"/>
                  <a:gd name="connsiteY5926" fmla="*/ 1739003 h 1867037"/>
                  <a:gd name="connsiteX5927" fmla="*/ 2012802 w 2417513"/>
                  <a:gd name="connsiteY5927" fmla="*/ 1740215 h 1867037"/>
                  <a:gd name="connsiteX5928" fmla="*/ 2011893 w 2417513"/>
                  <a:gd name="connsiteY5928" fmla="*/ 1740821 h 1867037"/>
                  <a:gd name="connsiteX5929" fmla="*/ 2010984 w 2417513"/>
                  <a:gd name="connsiteY5929" fmla="*/ 1741276 h 1867037"/>
                  <a:gd name="connsiteX5930" fmla="*/ 2010832 w 2417513"/>
                  <a:gd name="connsiteY5930" fmla="*/ 1742185 h 1867037"/>
                  <a:gd name="connsiteX5931" fmla="*/ 2011287 w 2417513"/>
                  <a:gd name="connsiteY5931" fmla="*/ 1743094 h 1867037"/>
                  <a:gd name="connsiteX5932" fmla="*/ 2011893 w 2417513"/>
                  <a:gd name="connsiteY5932" fmla="*/ 1744003 h 1867037"/>
                  <a:gd name="connsiteX5933" fmla="*/ 2012650 w 2417513"/>
                  <a:gd name="connsiteY5933" fmla="*/ 1745518 h 1867037"/>
                  <a:gd name="connsiteX5934" fmla="*/ 2012347 w 2417513"/>
                  <a:gd name="connsiteY5934" fmla="*/ 1746730 h 1867037"/>
                  <a:gd name="connsiteX5935" fmla="*/ 2011741 w 2417513"/>
                  <a:gd name="connsiteY5935" fmla="*/ 1747791 h 1867037"/>
                  <a:gd name="connsiteX5936" fmla="*/ 2011438 w 2417513"/>
                  <a:gd name="connsiteY5936" fmla="*/ 1748852 h 1867037"/>
                  <a:gd name="connsiteX5937" fmla="*/ 2012044 w 2417513"/>
                  <a:gd name="connsiteY5937" fmla="*/ 1749761 h 1867037"/>
                  <a:gd name="connsiteX5938" fmla="*/ 2013559 w 2417513"/>
                  <a:gd name="connsiteY5938" fmla="*/ 1750973 h 1867037"/>
                  <a:gd name="connsiteX5939" fmla="*/ 2014469 w 2417513"/>
                  <a:gd name="connsiteY5939" fmla="*/ 1752185 h 1867037"/>
                  <a:gd name="connsiteX5940" fmla="*/ 2015832 w 2417513"/>
                  <a:gd name="connsiteY5940" fmla="*/ 1752791 h 1867037"/>
                  <a:gd name="connsiteX5941" fmla="*/ 2016438 w 2417513"/>
                  <a:gd name="connsiteY5941" fmla="*/ 1752337 h 1867037"/>
                  <a:gd name="connsiteX5942" fmla="*/ 2017045 w 2417513"/>
                  <a:gd name="connsiteY5942" fmla="*/ 1751731 h 1867037"/>
                  <a:gd name="connsiteX5943" fmla="*/ 2017651 w 2417513"/>
                  <a:gd name="connsiteY5943" fmla="*/ 1751276 h 1867037"/>
                  <a:gd name="connsiteX5944" fmla="*/ 2018711 w 2417513"/>
                  <a:gd name="connsiteY5944" fmla="*/ 1751579 h 1867037"/>
                  <a:gd name="connsiteX5945" fmla="*/ 2019923 w 2417513"/>
                  <a:gd name="connsiteY5945" fmla="*/ 1751882 h 1867037"/>
                  <a:gd name="connsiteX5946" fmla="*/ 2021136 w 2417513"/>
                  <a:gd name="connsiteY5946" fmla="*/ 1752337 h 1867037"/>
                  <a:gd name="connsiteX5947" fmla="*/ 2022196 w 2417513"/>
                  <a:gd name="connsiteY5947" fmla="*/ 1753246 h 1867037"/>
                  <a:gd name="connsiteX5948" fmla="*/ 2025075 w 2417513"/>
                  <a:gd name="connsiteY5948" fmla="*/ 1752791 h 1867037"/>
                  <a:gd name="connsiteX5949" fmla="*/ 2026590 w 2417513"/>
                  <a:gd name="connsiteY5949" fmla="*/ 1753246 h 1867037"/>
                  <a:gd name="connsiteX5950" fmla="*/ 2026893 w 2417513"/>
                  <a:gd name="connsiteY5950" fmla="*/ 1754913 h 1867037"/>
                  <a:gd name="connsiteX5951" fmla="*/ 2027802 w 2417513"/>
                  <a:gd name="connsiteY5951" fmla="*/ 1755973 h 1867037"/>
                  <a:gd name="connsiteX5952" fmla="*/ 2032348 w 2417513"/>
                  <a:gd name="connsiteY5952" fmla="*/ 1755367 h 1867037"/>
                  <a:gd name="connsiteX5953" fmla="*/ 2037651 w 2417513"/>
                  <a:gd name="connsiteY5953" fmla="*/ 1753397 h 1867037"/>
                  <a:gd name="connsiteX5954" fmla="*/ 2039621 w 2417513"/>
                  <a:gd name="connsiteY5954" fmla="*/ 1755064 h 1867037"/>
                  <a:gd name="connsiteX5955" fmla="*/ 2042045 w 2417513"/>
                  <a:gd name="connsiteY5955" fmla="*/ 1753852 h 1867037"/>
                  <a:gd name="connsiteX5956" fmla="*/ 2044773 w 2417513"/>
                  <a:gd name="connsiteY5956" fmla="*/ 1752034 h 1867037"/>
                  <a:gd name="connsiteX5957" fmla="*/ 2047652 w 2417513"/>
                  <a:gd name="connsiteY5957" fmla="*/ 1750670 h 1867037"/>
                  <a:gd name="connsiteX5958" fmla="*/ 2048712 w 2417513"/>
                  <a:gd name="connsiteY5958" fmla="*/ 1749609 h 1867037"/>
                  <a:gd name="connsiteX5959" fmla="*/ 2046591 w 2417513"/>
                  <a:gd name="connsiteY5959" fmla="*/ 1747033 h 1867037"/>
                  <a:gd name="connsiteX5960" fmla="*/ 2049167 w 2417513"/>
                  <a:gd name="connsiteY5960" fmla="*/ 1745670 h 1867037"/>
                  <a:gd name="connsiteX5961" fmla="*/ 2049773 w 2417513"/>
                  <a:gd name="connsiteY5961" fmla="*/ 1744761 h 1867037"/>
                  <a:gd name="connsiteX5962" fmla="*/ 2050834 w 2417513"/>
                  <a:gd name="connsiteY5962" fmla="*/ 1744155 h 1867037"/>
                  <a:gd name="connsiteX5963" fmla="*/ 2049773 w 2417513"/>
                  <a:gd name="connsiteY5963" fmla="*/ 1746124 h 1867037"/>
                  <a:gd name="connsiteX5964" fmla="*/ 2048561 w 2417513"/>
                  <a:gd name="connsiteY5964" fmla="*/ 1747640 h 1867037"/>
                  <a:gd name="connsiteX5965" fmla="*/ 2052804 w 2417513"/>
                  <a:gd name="connsiteY5965" fmla="*/ 1750821 h 1867037"/>
                  <a:gd name="connsiteX5966" fmla="*/ 2054773 w 2417513"/>
                  <a:gd name="connsiteY5966" fmla="*/ 1750821 h 1867037"/>
                  <a:gd name="connsiteX5967" fmla="*/ 2064016 w 2417513"/>
                  <a:gd name="connsiteY5967" fmla="*/ 1746882 h 1867037"/>
                  <a:gd name="connsiteX5968" fmla="*/ 2071137 w 2417513"/>
                  <a:gd name="connsiteY5968" fmla="*/ 1742336 h 1867037"/>
                  <a:gd name="connsiteX5969" fmla="*/ 2077350 w 2417513"/>
                  <a:gd name="connsiteY5969" fmla="*/ 1739912 h 1867037"/>
                  <a:gd name="connsiteX5970" fmla="*/ 2081744 w 2417513"/>
                  <a:gd name="connsiteY5970" fmla="*/ 1737185 h 1867037"/>
                  <a:gd name="connsiteX5971" fmla="*/ 2085077 w 2417513"/>
                  <a:gd name="connsiteY5971" fmla="*/ 1736730 h 1867037"/>
                  <a:gd name="connsiteX5972" fmla="*/ 2090078 w 2417513"/>
                  <a:gd name="connsiteY5972" fmla="*/ 1730821 h 1867037"/>
                  <a:gd name="connsiteX5973" fmla="*/ 2088714 w 2417513"/>
                  <a:gd name="connsiteY5973" fmla="*/ 1727487 h 1867037"/>
                  <a:gd name="connsiteX5974" fmla="*/ 2089017 w 2417513"/>
                  <a:gd name="connsiteY5974" fmla="*/ 1726427 h 1867037"/>
                  <a:gd name="connsiteX5975" fmla="*/ 2091593 w 2417513"/>
                  <a:gd name="connsiteY5975" fmla="*/ 1729154 h 1867037"/>
                  <a:gd name="connsiteX5976" fmla="*/ 2093108 w 2417513"/>
                  <a:gd name="connsiteY5976" fmla="*/ 1731275 h 1867037"/>
                  <a:gd name="connsiteX5977" fmla="*/ 2095229 w 2417513"/>
                  <a:gd name="connsiteY5977" fmla="*/ 1730518 h 1867037"/>
                  <a:gd name="connsiteX5978" fmla="*/ 2097654 w 2417513"/>
                  <a:gd name="connsiteY5978" fmla="*/ 1730215 h 1867037"/>
                  <a:gd name="connsiteX5979" fmla="*/ 2096593 w 2417513"/>
                  <a:gd name="connsiteY5979" fmla="*/ 1732033 h 1867037"/>
                  <a:gd name="connsiteX5980" fmla="*/ 2095381 w 2417513"/>
                  <a:gd name="connsiteY5980" fmla="*/ 1732942 h 1867037"/>
                  <a:gd name="connsiteX5981" fmla="*/ 2090987 w 2417513"/>
                  <a:gd name="connsiteY5981" fmla="*/ 1737336 h 1867037"/>
                  <a:gd name="connsiteX5982" fmla="*/ 2083714 w 2417513"/>
                  <a:gd name="connsiteY5982" fmla="*/ 1742488 h 1867037"/>
                  <a:gd name="connsiteX5983" fmla="*/ 2081441 w 2417513"/>
                  <a:gd name="connsiteY5983" fmla="*/ 1745973 h 1867037"/>
                  <a:gd name="connsiteX5984" fmla="*/ 2082501 w 2417513"/>
                  <a:gd name="connsiteY5984" fmla="*/ 1746730 h 1867037"/>
                  <a:gd name="connsiteX5985" fmla="*/ 2083562 w 2417513"/>
                  <a:gd name="connsiteY5985" fmla="*/ 1746882 h 1867037"/>
                  <a:gd name="connsiteX5986" fmla="*/ 2085835 w 2417513"/>
                  <a:gd name="connsiteY5986" fmla="*/ 1747791 h 1867037"/>
                  <a:gd name="connsiteX5987" fmla="*/ 2087653 w 2417513"/>
                  <a:gd name="connsiteY5987" fmla="*/ 1745821 h 1867037"/>
                  <a:gd name="connsiteX5988" fmla="*/ 2089926 w 2417513"/>
                  <a:gd name="connsiteY5988" fmla="*/ 1744912 h 1867037"/>
                  <a:gd name="connsiteX5989" fmla="*/ 2097199 w 2417513"/>
                  <a:gd name="connsiteY5989" fmla="*/ 1745670 h 1867037"/>
                  <a:gd name="connsiteX5990" fmla="*/ 2104017 w 2417513"/>
                  <a:gd name="connsiteY5990" fmla="*/ 1744912 h 1867037"/>
                  <a:gd name="connsiteX5991" fmla="*/ 2109018 w 2417513"/>
                  <a:gd name="connsiteY5991" fmla="*/ 1745973 h 1867037"/>
                  <a:gd name="connsiteX5992" fmla="*/ 2117048 w 2417513"/>
                  <a:gd name="connsiteY5992" fmla="*/ 1745367 h 1867037"/>
                  <a:gd name="connsiteX5993" fmla="*/ 2123715 w 2417513"/>
                  <a:gd name="connsiteY5993" fmla="*/ 1746427 h 1867037"/>
                  <a:gd name="connsiteX5994" fmla="*/ 2121139 w 2417513"/>
                  <a:gd name="connsiteY5994" fmla="*/ 1747943 h 1867037"/>
                  <a:gd name="connsiteX5995" fmla="*/ 2113260 w 2417513"/>
                  <a:gd name="connsiteY5995" fmla="*/ 1748246 h 1867037"/>
                  <a:gd name="connsiteX5996" fmla="*/ 2103866 w 2417513"/>
                  <a:gd name="connsiteY5996" fmla="*/ 1751428 h 1867037"/>
                  <a:gd name="connsiteX5997" fmla="*/ 2101442 w 2417513"/>
                  <a:gd name="connsiteY5997" fmla="*/ 1753852 h 1867037"/>
                  <a:gd name="connsiteX5998" fmla="*/ 2102805 w 2417513"/>
                  <a:gd name="connsiteY5998" fmla="*/ 1758094 h 1867037"/>
                  <a:gd name="connsiteX5999" fmla="*/ 2100078 w 2417513"/>
                  <a:gd name="connsiteY5999" fmla="*/ 1755064 h 1867037"/>
                  <a:gd name="connsiteX6000" fmla="*/ 2096744 w 2417513"/>
                  <a:gd name="connsiteY6000" fmla="*/ 1754306 h 1867037"/>
                  <a:gd name="connsiteX6001" fmla="*/ 2096441 w 2417513"/>
                  <a:gd name="connsiteY6001" fmla="*/ 1752640 h 1867037"/>
                  <a:gd name="connsiteX6002" fmla="*/ 2096593 w 2417513"/>
                  <a:gd name="connsiteY6002" fmla="*/ 1750973 h 1867037"/>
                  <a:gd name="connsiteX6003" fmla="*/ 2097048 w 2417513"/>
                  <a:gd name="connsiteY6003" fmla="*/ 1749912 h 1867037"/>
                  <a:gd name="connsiteX6004" fmla="*/ 2097351 w 2417513"/>
                  <a:gd name="connsiteY6004" fmla="*/ 1748549 h 1867037"/>
                  <a:gd name="connsiteX6005" fmla="*/ 2094169 w 2417513"/>
                  <a:gd name="connsiteY6005" fmla="*/ 1747640 h 1867037"/>
                  <a:gd name="connsiteX6006" fmla="*/ 2095229 w 2417513"/>
                  <a:gd name="connsiteY6006" fmla="*/ 1748700 h 1867037"/>
                  <a:gd name="connsiteX6007" fmla="*/ 2094017 w 2417513"/>
                  <a:gd name="connsiteY6007" fmla="*/ 1750367 h 1867037"/>
                  <a:gd name="connsiteX6008" fmla="*/ 2085684 w 2417513"/>
                  <a:gd name="connsiteY6008" fmla="*/ 1752943 h 1867037"/>
                  <a:gd name="connsiteX6009" fmla="*/ 2081592 w 2417513"/>
                  <a:gd name="connsiteY6009" fmla="*/ 1754913 h 1867037"/>
                  <a:gd name="connsiteX6010" fmla="*/ 2060986 w 2417513"/>
                  <a:gd name="connsiteY6010" fmla="*/ 1767034 h 1867037"/>
                  <a:gd name="connsiteX6011" fmla="*/ 2060076 w 2417513"/>
                  <a:gd name="connsiteY6011" fmla="*/ 1767792 h 1867037"/>
                  <a:gd name="connsiteX6012" fmla="*/ 2059016 w 2417513"/>
                  <a:gd name="connsiteY6012" fmla="*/ 1769156 h 1867037"/>
                  <a:gd name="connsiteX6013" fmla="*/ 2062804 w 2417513"/>
                  <a:gd name="connsiteY6013" fmla="*/ 1768095 h 1867037"/>
                  <a:gd name="connsiteX6014" fmla="*/ 2065077 w 2417513"/>
                  <a:gd name="connsiteY6014" fmla="*/ 1767034 h 1867037"/>
                  <a:gd name="connsiteX6015" fmla="*/ 2064622 w 2417513"/>
                  <a:gd name="connsiteY6015" fmla="*/ 1767943 h 1867037"/>
                  <a:gd name="connsiteX6016" fmla="*/ 2062046 w 2417513"/>
                  <a:gd name="connsiteY6016" fmla="*/ 1769762 h 1867037"/>
                  <a:gd name="connsiteX6017" fmla="*/ 2060228 w 2417513"/>
                  <a:gd name="connsiteY6017" fmla="*/ 1770822 h 1867037"/>
                  <a:gd name="connsiteX6018" fmla="*/ 2057652 w 2417513"/>
                  <a:gd name="connsiteY6018" fmla="*/ 1770974 h 1867037"/>
                  <a:gd name="connsiteX6019" fmla="*/ 2053864 w 2417513"/>
                  <a:gd name="connsiteY6019" fmla="*/ 1772034 h 1867037"/>
                  <a:gd name="connsiteX6020" fmla="*/ 2050985 w 2417513"/>
                  <a:gd name="connsiteY6020" fmla="*/ 1773853 h 1867037"/>
                  <a:gd name="connsiteX6021" fmla="*/ 2049167 w 2417513"/>
                  <a:gd name="connsiteY6021" fmla="*/ 1775822 h 1867037"/>
                  <a:gd name="connsiteX6022" fmla="*/ 2048258 w 2417513"/>
                  <a:gd name="connsiteY6022" fmla="*/ 1777035 h 1867037"/>
                  <a:gd name="connsiteX6023" fmla="*/ 2047652 w 2417513"/>
                  <a:gd name="connsiteY6023" fmla="*/ 1778095 h 1867037"/>
                  <a:gd name="connsiteX6024" fmla="*/ 2053258 w 2417513"/>
                  <a:gd name="connsiteY6024" fmla="*/ 1773398 h 1867037"/>
                  <a:gd name="connsiteX6025" fmla="*/ 2055228 w 2417513"/>
                  <a:gd name="connsiteY6025" fmla="*/ 1773550 h 1867037"/>
                  <a:gd name="connsiteX6026" fmla="*/ 2048864 w 2417513"/>
                  <a:gd name="connsiteY6026" fmla="*/ 1780368 h 1867037"/>
                  <a:gd name="connsiteX6027" fmla="*/ 2046288 w 2417513"/>
                  <a:gd name="connsiteY6027" fmla="*/ 1787793 h 1867037"/>
                  <a:gd name="connsiteX6028" fmla="*/ 2046288 w 2417513"/>
                  <a:gd name="connsiteY6028" fmla="*/ 1789914 h 1867037"/>
                  <a:gd name="connsiteX6029" fmla="*/ 2048106 w 2417513"/>
                  <a:gd name="connsiteY6029" fmla="*/ 1798854 h 1867037"/>
                  <a:gd name="connsiteX6030" fmla="*/ 2050531 w 2417513"/>
                  <a:gd name="connsiteY6030" fmla="*/ 1801278 h 1867037"/>
                  <a:gd name="connsiteX6031" fmla="*/ 2051440 w 2417513"/>
                  <a:gd name="connsiteY6031" fmla="*/ 1800066 h 1867037"/>
                  <a:gd name="connsiteX6032" fmla="*/ 2052046 w 2417513"/>
                  <a:gd name="connsiteY6032" fmla="*/ 1798854 h 1867037"/>
                  <a:gd name="connsiteX6033" fmla="*/ 2054622 w 2417513"/>
                  <a:gd name="connsiteY6033" fmla="*/ 1799460 h 1867037"/>
                  <a:gd name="connsiteX6034" fmla="*/ 2055985 w 2417513"/>
                  <a:gd name="connsiteY6034" fmla="*/ 1801429 h 1867037"/>
                  <a:gd name="connsiteX6035" fmla="*/ 2058713 w 2417513"/>
                  <a:gd name="connsiteY6035" fmla="*/ 1807187 h 1867037"/>
                  <a:gd name="connsiteX6036" fmla="*/ 2060834 w 2417513"/>
                  <a:gd name="connsiteY6036" fmla="*/ 1808096 h 1867037"/>
                  <a:gd name="connsiteX6037" fmla="*/ 2063561 w 2417513"/>
                  <a:gd name="connsiteY6037" fmla="*/ 1807490 h 1867037"/>
                  <a:gd name="connsiteX6038" fmla="*/ 2065834 w 2417513"/>
                  <a:gd name="connsiteY6038" fmla="*/ 1808702 h 1867037"/>
                  <a:gd name="connsiteX6039" fmla="*/ 2066743 w 2417513"/>
                  <a:gd name="connsiteY6039" fmla="*/ 1808551 h 1867037"/>
                  <a:gd name="connsiteX6040" fmla="*/ 2067349 w 2417513"/>
                  <a:gd name="connsiteY6040" fmla="*/ 1807339 h 1867037"/>
                  <a:gd name="connsiteX6041" fmla="*/ 2068562 w 2417513"/>
                  <a:gd name="connsiteY6041" fmla="*/ 1807187 h 1867037"/>
                  <a:gd name="connsiteX6042" fmla="*/ 2069774 w 2417513"/>
                  <a:gd name="connsiteY6042" fmla="*/ 1807642 h 1867037"/>
                  <a:gd name="connsiteX6043" fmla="*/ 2070228 w 2417513"/>
                  <a:gd name="connsiteY6043" fmla="*/ 1803702 h 1867037"/>
                  <a:gd name="connsiteX6044" fmla="*/ 2072804 w 2417513"/>
                  <a:gd name="connsiteY6044" fmla="*/ 1801732 h 1867037"/>
                  <a:gd name="connsiteX6045" fmla="*/ 2074471 w 2417513"/>
                  <a:gd name="connsiteY6045" fmla="*/ 1801581 h 1867037"/>
                  <a:gd name="connsiteX6046" fmla="*/ 2076744 w 2417513"/>
                  <a:gd name="connsiteY6046" fmla="*/ 1801732 h 1867037"/>
                  <a:gd name="connsiteX6047" fmla="*/ 2082956 w 2417513"/>
                  <a:gd name="connsiteY6047" fmla="*/ 1797035 h 1867037"/>
                  <a:gd name="connsiteX6048" fmla="*/ 2084017 w 2417513"/>
                  <a:gd name="connsiteY6048" fmla="*/ 1794914 h 1867037"/>
                  <a:gd name="connsiteX6049" fmla="*/ 2087653 w 2417513"/>
                  <a:gd name="connsiteY6049" fmla="*/ 1791884 h 1867037"/>
                  <a:gd name="connsiteX6050" fmla="*/ 2090684 w 2417513"/>
                  <a:gd name="connsiteY6050" fmla="*/ 1787793 h 1867037"/>
                  <a:gd name="connsiteX6051" fmla="*/ 2093714 w 2417513"/>
                  <a:gd name="connsiteY6051" fmla="*/ 1786277 h 1867037"/>
                  <a:gd name="connsiteX6052" fmla="*/ 2096138 w 2417513"/>
                  <a:gd name="connsiteY6052" fmla="*/ 1782338 h 1867037"/>
                  <a:gd name="connsiteX6053" fmla="*/ 2097351 w 2417513"/>
                  <a:gd name="connsiteY6053" fmla="*/ 1782792 h 1867037"/>
                  <a:gd name="connsiteX6054" fmla="*/ 2099017 w 2417513"/>
                  <a:gd name="connsiteY6054" fmla="*/ 1781429 h 1867037"/>
                  <a:gd name="connsiteX6055" fmla="*/ 2097957 w 2417513"/>
                  <a:gd name="connsiteY6055" fmla="*/ 1778701 h 1867037"/>
                  <a:gd name="connsiteX6056" fmla="*/ 2097199 w 2417513"/>
                  <a:gd name="connsiteY6056" fmla="*/ 1777641 h 1867037"/>
                  <a:gd name="connsiteX6057" fmla="*/ 2098563 w 2417513"/>
                  <a:gd name="connsiteY6057" fmla="*/ 1774156 h 1867037"/>
                  <a:gd name="connsiteX6058" fmla="*/ 2101896 w 2417513"/>
                  <a:gd name="connsiteY6058" fmla="*/ 1772944 h 1867037"/>
                  <a:gd name="connsiteX6059" fmla="*/ 2103714 w 2417513"/>
                  <a:gd name="connsiteY6059" fmla="*/ 1776277 h 1867037"/>
                  <a:gd name="connsiteX6060" fmla="*/ 2105230 w 2417513"/>
                  <a:gd name="connsiteY6060" fmla="*/ 1774307 h 1867037"/>
                  <a:gd name="connsiteX6061" fmla="*/ 2105230 w 2417513"/>
                  <a:gd name="connsiteY6061" fmla="*/ 1772944 h 1867037"/>
                  <a:gd name="connsiteX6062" fmla="*/ 2106442 w 2417513"/>
                  <a:gd name="connsiteY6062" fmla="*/ 1770974 h 1867037"/>
                  <a:gd name="connsiteX6063" fmla="*/ 2108563 w 2417513"/>
                  <a:gd name="connsiteY6063" fmla="*/ 1772337 h 1867037"/>
                  <a:gd name="connsiteX6064" fmla="*/ 2109472 w 2417513"/>
                  <a:gd name="connsiteY6064" fmla="*/ 1774307 h 1867037"/>
                  <a:gd name="connsiteX6065" fmla="*/ 2111442 w 2417513"/>
                  <a:gd name="connsiteY6065" fmla="*/ 1775519 h 1867037"/>
                  <a:gd name="connsiteX6066" fmla="*/ 2113109 w 2417513"/>
                  <a:gd name="connsiteY6066" fmla="*/ 1776277 h 1867037"/>
                  <a:gd name="connsiteX6067" fmla="*/ 2117200 w 2417513"/>
                  <a:gd name="connsiteY6067" fmla="*/ 1776428 h 1867037"/>
                  <a:gd name="connsiteX6068" fmla="*/ 2118412 w 2417513"/>
                  <a:gd name="connsiteY6068" fmla="*/ 1775216 h 1867037"/>
                  <a:gd name="connsiteX6069" fmla="*/ 2119018 w 2417513"/>
                  <a:gd name="connsiteY6069" fmla="*/ 1774307 h 1867037"/>
                  <a:gd name="connsiteX6070" fmla="*/ 2118715 w 2417513"/>
                  <a:gd name="connsiteY6070" fmla="*/ 1772034 h 1867037"/>
                  <a:gd name="connsiteX6071" fmla="*/ 2117503 w 2417513"/>
                  <a:gd name="connsiteY6071" fmla="*/ 1769610 h 1867037"/>
                  <a:gd name="connsiteX6072" fmla="*/ 2119170 w 2417513"/>
                  <a:gd name="connsiteY6072" fmla="*/ 1770519 h 1867037"/>
                  <a:gd name="connsiteX6073" fmla="*/ 2121594 w 2417513"/>
                  <a:gd name="connsiteY6073" fmla="*/ 1770974 h 1867037"/>
                  <a:gd name="connsiteX6074" fmla="*/ 2123715 w 2417513"/>
                  <a:gd name="connsiteY6074" fmla="*/ 1770519 h 1867037"/>
                  <a:gd name="connsiteX6075" fmla="*/ 2125685 w 2417513"/>
                  <a:gd name="connsiteY6075" fmla="*/ 1770822 h 1867037"/>
                  <a:gd name="connsiteX6076" fmla="*/ 2129776 w 2417513"/>
                  <a:gd name="connsiteY6076" fmla="*/ 1768549 h 1867037"/>
                  <a:gd name="connsiteX6077" fmla="*/ 2131594 w 2417513"/>
                  <a:gd name="connsiteY6077" fmla="*/ 1768701 h 1867037"/>
                  <a:gd name="connsiteX6078" fmla="*/ 2133109 w 2417513"/>
                  <a:gd name="connsiteY6078" fmla="*/ 1768549 h 1867037"/>
                  <a:gd name="connsiteX6079" fmla="*/ 2140383 w 2417513"/>
                  <a:gd name="connsiteY6079" fmla="*/ 1766125 h 1867037"/>
                  <a:gd name="connsiteX6080" fmla="*/ 2147352 w 2417513"/>
                  <a:gd name="connsiteY6080" fmla="*/ 1764155 h 1867037"/>
                  <a:gd name="connsiteX6081" fmla="*/ 2154171 w 2417513"/>
                  <a:gd name="connsiteY6081" fmla="*/ 1760973 h 1867037"/>
                  <a:gd name="connsiteX6082" fmla="*/ 2160686 w 2417513"/>
                  <a:gd name="connsiteY6082" fmla="*/ 1759004 h 1867037"/>
                  <a:gd name="connsiteX6083" fmla="*/ 2167050 w 2417513"/>
                  <a:gd name="connsiteY6083" fmla="*/ 1755973 h 1867037"/>
                  <a:gd name="connsiteX6084" fmla="*/ 2169020 w 2417513"/>
                  <a:gd name="connsiteY6084" fmla="*/ 1755670 h 1867037"/>
                  <a:gd name="connsiteX6085" fmla="*/ 2170990 w 2417513"/>
                  <a:gd name="connsiteY6085" fmla="*/ 1754458 h 1867037"/>
                  <a:gd name="connsiteX6086" fmla="*/ 2173111 w 2417513"/>
                  <a:gd name="connsiteY6086" fmla="*/ 1753700 h 1867037"/>
                  <a:gd name="connsiteX6087" fmla="*/ 2175081 w 2417513"/>
                  <a:gd name="connsiteY6087" fmla="*/ 1753549 h 1867037"/>
                  <a:gd name="connsiteX6088" fmla="*/ 2178111 w 2417513"/>
                  <a:gd name="connsiteY6088" fmla="*/ 1752640 h 1867037"/>
                  <a:gd name="connsiteX6089" fmla="*/ 2180990 w 2417513"/>
                  <a:gd name="connsiteY6089" fmla="*/ 1750973 h 1867037"/>
                  <a:gd name="connsiteX6090" fmla="*/ 2184172 w 2417513"/>
                  <a:gd name="connsiteY6090" fmla="*/ 1750215 h 1867037"/>
                  <a:gd name="connsiteX6091" fmla="*/ 2185990 w 2417513"/>
                  <a:gd name="connsiteY6091" fmla="*/ 1750973 h 1867037"/>
                  <a:gd name="connsiteX6092" fmla="*/ 2186899 w 2417513"/>
                  <a:gd name="connsiteY6092" fmla="*/ 1750367 h 1867037"/>
                  <a:gd name="connsiteX6093" fmla="*/ 2187960 w 2417513"/>
                  <a:gd name="connsiteY6093" fmla="*/ 1749003 h 1867037"/>
                  <a:gd name="connsiteX6094" fmla="*/ 2186899 w 2417513"/>
                  <a:gd name="connsiteY6094" fmla="*/ 1747640 h 1867037"/>
                  <a:gd name="connsiteX6095" fmla="*/ 2185990 w 2417513"/>
                  <a:gd name="connsiteY6095" fmla="*/ 1747033 h 1867037"/>
                  <a:gd name="connsiteX6096" fmla="*/ 2176293 w 2417513"/>
                  <a:gd name="connsiteY6096" fmla="*/ 1746427 h 1867037"/>
                  <a:gd name="connsiteX6097" fmla="*/ 2178566 w 2417513"/>
                  <a:gd name="connsiteY6097" fmla="*/ 1744912 h 1867037"/>
                  <a:gd name="connsiteX6098" fmla="*/ 2181141 w 2417513"/>
                  <a:gd name="connsiteY6098" fmla="*/ 1743851 h 1867037"/>
                  <a:gd name="connsiteX6099" fmla="*/ 2181293 w 2417513"/>
                  <a:gd name="connsiteY6099" fmla="*/ 1742639 h 1867037"/>
                  <a:gd name="connsiteX6100" fmla="*/ 2179323 w 2417513"/>
                  <a:gd name="connsiteY6100" fmla="*/ 1739306 h 1867037"/>
                  <a:gd name="connsiteX6101" fmla="*/ 2177202 w 2417513"/>
                  <a:gd name="connsiteY6101" fmla="*/ 1736730 h 1867037"/>
                  <a:gd name="connsiteX6102" fmla="*/ 2175384 w 2417513"/>
                  <a:gd name="connsiteY6102" fmla="*/ 1735366 h 1867037"/>
                  <a:gd name="connsiteX6103" fmla="*/ 2170838 w 2417513"/>
                  <a:gd name="connsiteY6103" fmla="*/ 1736882 h 1867037"/>
                  <a:gd name="connsiteX6104" fmla="*/ 2167505 w 2417513"/>
                  <a:gd name="connsiteY6104" fmla="*/ 1736427 h 1867037"/>
                  <a:gd name="connsiteX6105" fmla="*/ 2164777 w 2417513"/>
                  <a:gd name="connsiteY6105" fmla="*/ 1734457 h 1867037"/>
                  <a:gd name="connsiteX6106" fmla="*/ 2163868 w 2417513"/>
                  <a:gd name="connsiteY6106" fmla="*/ 1731578 h 1867037"/>
                  <a:gd name="connsiteX6107" fmla="*/ 2163565 w 2417513"/>
                  <a:gd name="connsiteY6107" fmla="*/ 1729760 h 1867037"/>
                  <a:gd name="connsiteX6108" fmla="*/ 2162656 w 2417513"/>
                  <a:gd name="connsiteY6108" fmla="*/ 1729154 h 1867037"/>
                  <a:gd name="connsiteX6109" fmla="*/ 2155535 w 2417513"/>
                  <a:gd name="connsiteY6109" fmla="*/ 1733851 h 1867037"/>
                  <a:gd name="connsiteX6110" fmla="*/ 2149928 w 2417513"/>
                  <a:gd name="connsiteY6110" fmla="*/ 1736124 h 1867037"/>
                  <a:gd name="connsiteX6111" fmla="*/ 2149171 w 2417513"/>
                  <a:gd name="connsiteY6111" fmla="*/ 1736882 h 1867037"/>
                  <a:gd name="connsiteX6112" fmla="*/ 2148262 w 2417513"/>
                  <a:gd name="connsiteY6112" fmla="*/ 1737488 h 1867037"/>
                  <a:gd name="connsiteX6113" fmla="*/ 2145383 w 2417513"/>
                  <a:gd name="connsiteY6113" fmla="*/ 1736124 h 1867037"/>
                  <a:gd name="connsiteX6114" fmla="*/ 2140837 w 2417513"/>
                  <a:gd name="connsiteY6114" fmla="*/ 1736579 h 1867037"/>
                  <a:gd name="connsiteX6115" fmla="*/ 2141746 w 2417513"/>
                  <a:gd name="connsiteY6115" fmla="*/ 1735366 h 1867037"/>
                  <a:gd name="connsiteX6116" fmla="*/ 2142201 w 2417513"/>
                  <a:gd name="connsiteY6116" fmla="*/ 1733548 h 1867037"/>
                  <a:gd name="connsiteX6117" fmla="*/ 2136443 w 2417513"/>
                  <a:gd name="connsiteY6117" fmla="*/ 1732336 h 1867037"/>
                  <a:gd name="connsiteX6118" fmla="*/ 2130988 w 2417513"/>
                  <a:gd name="connsiteY6118" fmla="*/ 1732184 h 1867037"/>
                  <a:gd name="connsiteX6119" fmla="*/ 2127958 w 2417513"/>
                  <a:gd name="connsiteY6119" fmla="*/ 1732942 h 1867037"/>
                  <a:gd name="connsiteX6120" fmla="*/ 2125837 w 2417513"/>
                  <a:gd name="connsiteY6120" fmla="*/ 1733094 h 1867037"/>
                  <a:gd name="connsiteX6121" fmla="*/ 2125231 w 2417513"/>
                  <a:gd name="connsiteY6121" fmla="*/ 1732184 h 1867037"/>
                  <a:gd name="connsiteX6122" fmla="*/ 2124018 w 2417513"/>
                  <a:gd name="connsiteY6122" fmla="*/ 1731124 h 1867037"/>
                  <a:gd name="connsiteX6123" fmla="*/ 2119927 w 2417513"/>
                  <a:gd name="connsiteY6123" fmla="*/ 1729003 h 1867037"/>
                  <a:gd name="connsiteX6124" fmla="*/ 2118260 w 2417513"/>
                  <a:gd name="connsiteY6124" fmla="*/ 1728851 h 1867037"/>
                  <a:gd name="connsiteX6125" fmla="*/ 2114624 w 2417513"/>
                  <a:gd name="connsiteY6125" fmla="*/ 1729457 h 1867037"/>
                  <a:gd name="connsiteX6126" fmla="*/ 2109927 w 2417513"/>
                  <a:gd name="connsiteY6126" fmla="*/ 1725972 h 1867037"/>
                  <a:gd name="connsiteX6127" fmla="*/ 2104927 w 2417513"/>
                  <a:gd name="connsiteY6127" fmla="*/ 1723851 h 1867037"/>
                  <a:gd name="connsiteX6128" fmla="*/ 2111139 w 2417513"/>
                  <a:gd name="connsiteY6128" fmla="*/ 1720972 h 1867037"/>
                  <a:gd name="connsiteX6129" fmla="*/ 2110078 w 2417513"/>
                  <a:gd name="connsiteY6129" fmla="*/ 1719608 h 1867037"/>
                  <a:gd name="connsiteX6130" fmla="*/ 2108866 w 2417513"/>
                  <a:gd name="connsiteY6130" fmla="*/ 1719002 h 1867037"/>
                  <a:gd name="connsiteX6131" fmla="*/ 2102654 w 2417513"/>
                  <a:gd name="connsiteY6131" fmla="*/ 1718093 h 1867037"/>
                  <a:gd name="connsiteX6132" fmla="*/ 2100836 w 2417513"/>
                  <a:gd name="connsiteY6132" fmla="*/ 1717184 h 1867037"/>
                  <a:gd name="connsiteX6133" fmla="*/ 2091744 w 2417513"/>
                  <a:gd name="connsiteY6133" fmla="*/ 1716426 h 1867037"/>
                  <a:gd name="connsiteX6134" fmla="*/ 2091290 w 2417513"/>
                  <a:gd name="connsiteY6134" fmla="*/ 1714002 h 1867037"/>
                  <a:gd name="connsiteX6135" fmla="*/ 2088865 w 2417513"/>
                  <a:gd name="connsiteY6135" fmla="*/ 1712487 h 1867037"/>
                  <a:gd name="connsiteX6136" fmla="*/ 2089017 w 2417513"/>
                  <a:gd name="connsiteY6136" fmla="*/ 1710062 h 1867037"/>
                  <a:gd name="connsiteX6137" fmla="*/ 2087653 w 2417513"/>
                  <a:gd name="connsiteY6137" fmla="*/ 1707032 h 1867037"/>
                  <a:gd name="connsiteX6138" fmla="*/ 2086593 w 2417513"/>
                  <a:gd name="connsiteY6138" fmla="*/ 1701577 h 1867037"/>
                  <a:gd name="connsiteX6139" fmla="*/ 2084168 w 2417513"/>
                  <a:gd name="connsiteY6139" fmla="*/ 1700668 h 1867037"/>
                  <a:gd name="connsiteX6140" fmla="*/ 2082350 w 2417513"/>
                  <a:gd name="connsiteY6140" fmla="*/ 1696426 h 1867037"/>
                  <a:gd name="connsiteX6141" fmla="*/ 2081744 w 2417513"/>
                  <a:gd name="connsiteY6141" fmla="*/ 1694153 h 1867037"/>
                  <a:gd name="connsiteX6142" fmla="*/ 2082805 w 2417513"/>
                  <a:gd name="connsiteY6142" fmla="*/ 1691728 h 1867037"/>
                  <a:gd name="connsiteX6143" fmla="*/ 2083714 w 2417513"/>
                  <a:gd name="connsiteY6143" fmla="*/ 1688243 h 1867037"/>
                  <a:gd name="connsiteX6144" fmla="*/ 2080683 w 2417513"/>
                  <a:gd name="connsiteY6144" fmla="*/ 1687334 h 1867037"/>
                  <a:gd name="connsiteX6145" fmla="*/ 2077956 w 2417513"/>
                  <a:gd name="connsiteY6145" fmla="*/ 1687183 h 1867037"/>
                  <a:gd name="connsiteX6146" fmla="*/ 2073865 w 2417513"/>
                  <a:gd name="connsiteY6146" fmla="*/ 1688547 h 1867037"/>
                  <a:gd name="connsiteX6147" fmla="*/ 2072047 w 2417513"/>
                  <a:gd name="connsiteY6147" fmla="*/ 1687940 h 1867037"/>
                  <a:gd name="connsiteX6148" fmla="*/ 2070380 w 2417513"/>
                  <a:gd name="connsiteY6148" fmla="*/ 1686880 h 1867037"/>
                  <a:gd name="connsiteX6149" fmla="*/ 2076744 w 2417513"/>
                  <a:gd name="connsiteY6149" fmla="*/ 1682334 h 1867037"/>
                  <a:gd name="connsiteX6150" fmla="*/ 2081441 w 2417513"/>
                  <a:gd name="connsiteY6150" fmla="*/ 1677637 h 1867037"/>
                  <a:gd name="connsiteX6151" fmla="*/ 2083108 w 2417513"/>
                  <a:gd name="connsiteY6151" fmla="*/ 1670667 h 1867037"/>
                  <a:gd name="connsiteX6152" fmla="*/ 2085532 w 2417513"/>
                  <a:gd name="connsiteY6152" fmla="*/ 1667031 h 1867037"/>
                  <a:gd name="connsiteX6153" fmla="*/ 2087199 w 2417513"/>
                  <a:gd name="connsiteY6153" fmla="*/ 1665212 h 1867037"/>
                  <a:gd name="connsiteX6154" fmla="*/ 2082501 w 2417513"/>
                  <a:gd name="connsiteY6154" fmla="*/ 1662636 h 1867037"/>
                  <a:gd name="connsiteX6155" fmla="*/ 2077804 w 2417513"/>
                  <a:gd name="connsiteY6155" fmla="*/ 1662788 h 1867037"/>
                  <a:gd name="connsiteX6156" fmla="*/ 2079017 w 2417513"/>
                  <a:gd name="connsiteY6156" fmla="*/ 1660970 h 1867037"/>
                  <a:gd name="connsiteX6157" fmla="*/ 2072804 w 2417513"/>
                  <a:gd name="connsiteY6157" fmla="*/ 1662182 h 1867037"/>
                  <a:gd name="connsiteX6158" fmla="*/ 2069622 w 2417513"/>
                  <a:gd name="connsiteY6158" fmla="*/ 1663697 h 1867037"/>
                  <a:gd name="connsiteX6159" fmla="*/ 2065834 w 2417513"/>
                  <a:gd name="connsiteY6159" fmla="*/ 1666576 h 1867037"/>
                  <a:gd name="connsiteX6160" fmla="*/ 2062501 w 2417513"/>
                  <a:gd name="connsiteY6160" fmla="*/ 1667182 h 1867037"/>
                  <a:gd name="connsiteX6161" fmla="*/ 2060834 w 2417513"/>
                  <a:gd name="connsiteY6161" fmla="*/ 1666273 h 1867037"/>
                  <a:gd name="connsiteX6162" fmla="*/ 2058410 w 2417513"/>
                  <a:gd name="connsiteY6162" fmla="*/ 1660515 h 1867037"/>
                  <a:gd name="connsiteX6163" fmla="*/ 2055834 w 2417513"/>
                  <a:gd name="connsiteY6163" fmla="*/ 1658697 h 1867037"/>
                  <a:gd name="connsiteX6164" fmla="*/ 2045985 w 2417513"/>
                  <a:gd name="connsiteY6164" fmla="*/ 1655970 h 1867037"/>
                  <a:gd name="connsiteX6165" fmla="*/ 2041894 w 2417513"/>
                  <a:gd name="connsiteY6165" fmla="*/ 1653394 h 1867037"/>
                  <a:gd name="connsiteX6166" fmla="*/ 2040076 w 2417513"/>
                  <a:gd name="connsiteY6166" fmla="*/ 1653242 h 1867037"/>
                  <a:gd name="connsiteX6167" fmla="*/ 2034469 w 2417513"/>
                  <a:gd name="connsiteY6167" fmla="*/ 1655212 h 1867037"/>
                  <a:gd name="connsiteX6168" fmla="*/ 2032500 w 2417513"/>
                  <a:gd name="connsiteY6168" fmla="*/ 1654757 h 1867037"/>
                  <a:gd name="connsiteX6169" fmla="*/ 2039470 w 2417513"/>
                  <a:gd name="connsiteY6169" fmla="*/ 1651424 h 1867037"/>
                  <a:gd name="connsiteX6170" fmla="*/ 2042955 w 2417513"/>
                  <a:gd name="connsiteY6170" fmla="*/ 1652182 h 1867037"/>
                  <a:gd name="connsiteX6171" fmla="*/ 2045076 w 2417513"/>
                  <a:gd name="connsiteY6171" fmla="*/ 1651575 h 1867037"/>
                  <a:gd name="connsiteX6172" fmla="*/ 2049622 w 2417513"/>
                  <a:gd name="connsiteY6172" fmla="*/ 1652030 h 1867037"/>
                  <a:gd name="connsiteX6173" fmla="*/ 2051591 w 2417513"/>
                  <a:gd name="connsiteY6173" fmla="*/ 1650515 h 1867037"/>
                  <a:gd name="connsiteX6174" fmla="*/ 2053864 w 2417513"/>
                  <a:gd name="connsiteY6174" fmla="*/ 1649000 h 1867037"/>
                  <a:gd name="connsiteX6175" fmla="*/ 2058561 w 2417513"/>
                  <a:gd name="connsiteY6175" fmla="*/ 1651727 h 1867037"/>
                  <a:gd name="connsiteX6176" fmla="*/ 2066137 w 2417513"/>
                  <a:gd name="connsiteY6176" fmla="*/ 1654454 h 1867037"/>
                  <a:gd name="connsiteX6177" fmla="*/ 2069319 w 2417513"/>
                  <a:gd name="connsiteY6177" fmla="*/ 1655212 h 1867037"/>
                  <a:gd name="connsiteX6178" fmla="*/ 2072047 w 2417513"/>
                  <a:gd name="connsiteY6178" fmla="*/ 1654909 h 1867037"/>
                  <a:gd name="connsiteX6179" fmla="*/ 2078107 w 2417513"/>
                  <a:gd name="connsiteY6179" fmla="*/ 1651878 h 1867037"/>
                  <a:gd name="connsiteX6180" fmla="*/ 2080229 w 2417513"/>
                  <a:gd name="connsiteY6180" fmla="*/ 1650060 h 1867037"/>
                  <a:gd name="connsiteX6181" fmla="*/ 2084017 w 2417513"/>
                  <a:gd name="connsiteY6181" fmla="*/ 1648848 h 1867037"/>
                  <a:gd name="connsiteX6182" fmla="*/ 2085532 w 2417513"/>
                  <a:gd name="connsiteY6182" fmla="*/ 1647787 h 1867037"/>
                  <a:gd name="connsiteX6183" fmla="*/ 2087199 w 2417513"/>
                  <a:gd name="connsiteY6183" fmla="*/ 1644909 h 1867037"/>
                  <a:gd name="connsiteX6184" fmla="*/ 2089168 w 2417513"/>
                  <a:gd name="connsiteY6184" fmla="*/ 1643090 h 1867037"/>
                  <a:gd name="connsiteX6185" fmla="*/ 2096896 w 2417513"/>
                  <a:gd name="connsiteY6185" fmla="*/ 1640969 h 1867037"/>
                  <a:gd name="connsiteX6186" fmla="*/ 2099472 w 2417513"/>
                  <a:gd name="connsiteY6186" fmla="*/ 1636575 h 1867037"/>
                  <a:gd name="connsiteX6187" fmla="*/ 2099623 w 2417513"/>
                  <a:gd name="connsiteY6187" fmla="*/ 1631575 h 1867037"/>
                  <a:gd name="connsiteX6188" fmla="*/ 2095078 w 2417513"/>
                  <a:gd name="connsiteY6188" fmla="*/ 1627635 h 1867037"/>
                  <a:gd name="connsiteX6189" fmla="*/ 2092350 w 2417513"/>
                  <a:gd name="connsiteY6189" fmla="*/ 1626272 h 1867037"/>
                  <a:gd name="connsiteX6190" fmla="*/ 2096290 w 2417513"/>
                  <a:gd name="connsiteY6190" fmla="*/ 1626272 h 1867037"/>
                  <a:gd name="connsiteX6191" fmla="*/ 2100684 w 2417513"/>
                  <a:gd name="connsiteY6191" fmla="*/ 1627484 h 1867037"/>
                  <a:gd name="connsiteX6192" fmla="*/ 2100533 w 2417513"/>
                  <a:gd name="connsiteY6192" fmla="*/ 1625059 h 1867037"/>
                  <a:gd name="connsiteX6193" fmla="*/ 2099320 w 2417513"/>
                  <a:gd name="connsiteY6193" fmla="*/ 1623393 h 1867037"/>
                  <a:gd name="connsiteX6194" fmla="*/ 2090987 w 2417513"/>
                  <a:gd name="connsiteY6194" fmla="*/ 1616877 h 1867037"/>
                  <a:gd name="connsiteX6195" fmla="*/ 2083562 w 2417513"/>
                  <a:gd name="connsiteY6195" fmla="*/ 1613847 h 1867037"/>
                  <a:gd name="connsiteX6196" fmla="*/ 2068259 w 2417513"/>
                  <a:gd name="connsiteY6196" fmla="*/ 1611422 h 1867037"/>
                  <a:gd name="connsiteX6197" fmla="*/ 2064774 w 2417513"/>
                  <a:gd name="connsiteY6197" fmla="*/ 1611271 h 1867037"/>
                  <a:gd name="connsiteX6198" fmla="*/ 2054925 w 2417513"/>
                  <a:gd name="connsiteY6198" fmla="*/ 1612635 h 1867037"/>
                  <a:gd name="connsiteX6199" fmla="*/ 2046894 w 2417513"/>
                  <a:gd name="connsiteY6199" fmla="*/ 1613089 h 1867037"/>
                  <a:gd name="connsiteX6200" fmla="*/ 2035379 w 2417513"/>
                  <a:gd name="connsiteY6200" fmla="*/ 1616120 h 1867037"/>
                  <a:gd name="connsiteX6201" fmla="*/ 2021136 w 2417513"/>
                  <a:gd name="connsiteY6201" fmla="*/ 1621877 h 1867037"/>
                  <a:gd name="connsiteX6202" fmla="*/ 2009014 w 2417513"/>
                  <a:gd name="connsiteY6202" fmla="*/ 1625665 h 1867037"/>
                  <a:gd name="connsiteX6203" fmla="*/ 2000074 w 2417513"/>
                  <a:gd name="connsiteY6203" fmla="*/ 1630060 h 1867037"/>
                  <a:gd name="connsiteX6204" fmla="*/ 1990529 w 2417513"/>
                  <a:gd name="connsiteY6204" fmla="*/ 1633696 h 1867037"/>
                  <a:gd name="connsiteX6205" fmla="*/ 1985225 w 2417513"/>
                  <a:gd name="connsiteY6205" fmla="*/ 1636726 h 1867037"/>
                  <a:gd name="connsiteX6206" fmla="*/ 1981892 w 2417513"/>
                  <a:gd name="connsiteY6206" fmla="*/ 1639757 h 1867037"/>
                  <a:gd name="connsiteX6207" fmla="*/ 1976588 w 2417513"/>
                  <a:gd name="connsiteY6207" fmla="*/ 1642636 h 1867037"/>
                  <a:gd name="connsiteX6208" fmla="*/ 1974619 w 2417513"/>
                  <a:gd name="connsiteY6208" fmla="*/ 1642939 h 1867037"/>
                  <a:gd name="connsiteX6209" fmla="*/ 1969922 w 2417513"/>
                  <a:gd name="connsiteY6209" fmla="*/ 1646121 h 1867037"/>
                  <a:gd name="connsiteX6210" fmla="*/ 1961133 w 2417513"/>
                  <a:gd name="connsiteY6210" fmla="*/ 1654151 h 1867037"/>
                  <a:gd name="connsiteX6211" fmla="*/ 1956588 w 2417513"/>
                  <a:gd name="connsiteY6211" fmla="*/ 1656879 h 1867037"/>
                  <a:gd name="connsiteX6212" fmla="*/ 1953557 w 2417513"/>
                  <a:gd name="connsiteY6212" fmla="*/ 1661879 h 1867037"/>
                  <a:gd name="connsiteX6213" fmla="*/ 1947496 w 2417513"/>
                  <a:gd name="connsiteY6213" fmla="*/ 1668849 h 1867037"/>
                  <a:gd name="connsiteX6214" fmla="*/ 1941587 w 2417513"/>
                  <a:gd name="connsiteY6214" fmla="*/ 1674152 h 1867037"/>
                  <a:gd name="connsiteX6215" fmla="*/ 1940224 w 2417513"/>
                  <a:gd name="connsiteY6215" fmla="*/ 1677334 h 1867037"/>
                  <a:gd name="connsiteX6216" fmla="*/ 1936132 w 2417513"/>
                  <a:gd name="connsiteY6216" fmla="*/ 1680364 h 1867037"/>
                  <a:gd name="connsiteX6217" fmla="*/ 1931435 w 2417513"/>
                  <a:gd name="connsiteY6217" fmla="*/ 1686274 h 1867037"/>
                  <a:gd name="connsiteX6218" fmla="*/ 1927799 w 2417513"/>
                  <a:gd name="connsiteY6218" fmla="*/ 1689153 h 1867037"/>
                  <a:gd name="connsiteX6219" fmla="*/ 1914768 w 2417513"/>
                  <a:gd name="connsiteY6219" fmla="*/ 1695365 h 1867037"/>
                  <a:gd name="connsiteX6220" fmla="*/ 1910374 w 2417513"/>
                  <a:gd name="connsiteY6220" fmla="*/ 1696577 h 1867037"/>
                  <a:gd name="connsiteX6221" fmla="*/ 1907344 w 2417513"/>
                  <a:gd name="connsiteY6221" fmla="*/ 1698698 h 1867037"/>
                  <a:gd name="connsiteX6222" fmla="*/ 1902495 w 2417513"/>
                  <a:gd name="connsiteY6222" fmla="*/ 1699911 h 1867037"/>
                  <a:gd name="connsiteX6223" fmla="*/ 1896131 w 2417513"/>
                  <a:gd name="connsiteY6223" fmla="*/ 1702183 h 1867037"/>
                  <a:gd name="connsiteX6224" fmla="*/ 1889919 w 2417513"/>
                  <a:gd name="connsiteY6224" fmla="*/ 1702941 h 1867037"/>
                  <a:gd name="connsiteX6225" fmla="*/ 1884161 w 2417513"/>
                  <a:gd name="connsiteY6225" fmla="*/ 1705668 h 1867037"/>
                  <a:gd name="connsiteX6226" fmla="*/ 1882040 w 2417513"/>
                  <a:gd name="connsiteY6226" fmla="*/ 1707032 h 1867037"/>
                  <a:gd name="connsiteX6227" fmla="*/ 1880524 w 2417513"/>
                  <a:gd name="connsiteY6227" fmla="*/ 1709456 h 1867037"/>
                  <a:gd name="connsiteX6228" fmla="*/ 1877039 w 2417513"/>
                  <a:gd name="connsiteY6228" fmla="*/ 1710669 h 1867037"/>
                  <a:gd name="connsiteX6229" fmla="*/ 1873554 w 2417513"/>
                  <a:gd name="connsiteY6229" fmla="*/ 1712487 h 1867037"/>
                  <a:gd name="connsiteX6230" fmla="*/ 1867039 w 2417513"/>
                  <a:gd name="connsiteY6230" fmla="*/ 1718396 h 1867037"/>
                  <a:gd name="connsiteX6231" fmla="*/ 1860069 w 2417513"/>
                  <a:gd name="connsiteY6231" fmla="*/ 1721123 h 1867037"/>
                  <a:gd name="connsiteX6232" fmla="*/ 1855372 w 2417513"/>
                  <a:gd name="connsiteY6232" fmla="*/ 1724305 h 1867037"/>
                  <a:gd name="connsiteX6233" fmla="*/ 1852796 w 2417513"/>
                  <a:gd name="connsiteY6233" fmla="*/ 1729306 h 1867037"/>
                  <a:gd name="connsiteX6234" fmla="*/ 1849614 w 2417513"/>
                  <a:gd name="connsiteY6234" fmla="*/ 1732942 h 1867037"/>
                  <a:gd name="connsiteX6235" fmla="*/ 1847038 w 2417513"/>
                  <a:gd name="connsiteY6235" fmla="*/ 1737185 h 1867037"/>
                  <a:gd name="connsiteX6236" fmla="*/ 1846584 w 2417513"/>
                  <a:gd name="connsiteY6236" fmla="*/ 1738700 h 1867037"/>
                  <a:gd name="connsiteX6237" fmla="*/ 1845674 w 2417513"/>
                  <a:gd name="connsiteY6237" fmla="*/ 1743094 h 1867037"/>
                  <a:gd name="connsiteX6238" fmla="*/ 1844614 w 2417513"/>
                  <a:gd name="connsiteY6238" fmla="*/ 1744306 h 1867037"/>
                  <a:gd name="connsiteX6239" fmla="*/ 1839008 w 2417513"/>
                  <a:gd name="connsiteY6239" fmla="*/ 1745367 h 1867037"/>
                  <a:gd name="connsiteX6240" fmla="*/ 1831280 w 2417513"/>
                  <a:gd name="connsiteY6240" fmla="*/ 1750518 h 1867037"/>
                  <a:gd name="connsiteX6241" fmla="*/ 1825219 w 2417513"/>
                  <a:gd name="connsiteY6241" fmla="*/ 1752337 h 1867037"/>
                  <a:gd name="connsiteX6242" fmla="*/ 1817037 w 2417513"/>
                  <a:gd name="connsiteY6242" fmla="*/ 1757337 h 1867037"/>
                  <a:gd name="connsiteX6243" fmla="*/ 1813098 w 2417513"/>
                  <a:gd name="connsiteY6243" fmla="*/ 1758549 h 1867037"/>
                  <a:gd name="connsiteX6244" fmla="*/ 1814310 w 2417513"/>
                  <a:gd name="connsiteY6244" fmla="*/ 1758549 h 1867037"/>
                  <a:gd name="connsiteX6245" fmla="*/ 1821583 w 2417513"/>
                  <a:gd name="connsiteY6245" fmla="*/ 1758246 h 1867037"/>
                  <a:gd name="connsiteX6246" fmla="*/ 2152959 w 2417513"/>
                  <a:gd name="connsiteY6246" fmla="*/ 1715063 h 1867037"/>
                  <a:gd name="connsiteX6247" fmla="*/ 2157050 w 2417513"/>
                  <a:gd name="connsiteY6247" fmla="*/ 1712487 h 1867037"/>
                  <a:gd name="connsiteX6248" fmla="*/ 2161141 w 2417513"/>
                  <a:gd name="connsiteY6248" fmla="*/ 1710214 h 1867037"/>
                  <a:gd name="connsiteX6249" fmla="*/ 2160686 w 2417513"/>
                  <a:gd name="connsiteY6249" fmla="*/ 1709456 h 1867037"/>
                  <a:gd name="connsiteX6250" fmla="*/ 2159777 w 2417513"/>
                  <a:gd name="connsiteY6250" fmla="*/ 1708699 h 1867037"/>
                  <a:gd name="connsiteX6251" fmla="*/ 2157353 w 2417513"/>
                  <a:gd name="connsiteY6251" fmla="*/ 1707941 h 1867037"/>
                  <a:gd name="connsiteX6252" fmla="*/ 2150231 w 2417513"/>
                  <a:gd name="connsiteY6252" fmla="*/ 1708244 h 1867037"/>
                  <a:gd name="connsiteX6253" fmla="*/ 2143110 w 2417513"/>
                  <a:gd name="connsiteY6253" fmla="*/ 1708850 h 1867037"/>
                  <a:gd name="connsiteX6254" fmla="*/ 2142352 w 2417513"/>
                  <a:gd name="connsiteY6254" fmla="*/ 1709153 h 1867037"/>
                  <a:gd name="connsiteX6255" fmla="*/ 2135382 w 2417513"/>
                  <a:gd name="connsiteY6255" fmla="*/ 1709911 h 1867037"/>
                  <a:gd name="connsiteX6256" fmla="*/ 2130837 w 2417513"/>
                  <a:gd name="connsiteY6256" fmla="*/ 1710062 h 1867037"/>
                  <a:gd name="connsiteX6257" fmla="*/ 2126594 w 2417513"/>
                  <a:gd name="connsiteY6257" fmla="*/ 1708699 h 1867037"/>
                  <a:gd name="connsiteX6258" fmla="*/ 2124321 w 2417513"/>
                  <a:gd name="connsiteY6258" fmla="*/ 1707032 h 1867037"/>
                  <a:gd name="connsiteX6259" fmla="*/ 2123109 w 2417513"/>
                  <a:gd name="connsiteY6259" fmla="*/ 1706881 h 1867037"/>
                  <a:gd name="connsiteX6260" fmla="*/ 2121897 w 2417513"/>
                  <a:gd name="connsiteY6260" fmla="*/ 1707184 h 1867037"/>
                  <a:gd name="connsiteX6261" fmla="*/ 2119776 w 2417513"/>
                  <a:gd name="connsiteY6261" fmla="*/ 1705971 h 1867037"/>
                  <a:gd name="connsiteX6262" fmla="*/ 2115685 w 2417513"/>
                  <a:gd name="connsiteY6262" fmla="*/ 1705214 h 1867037"/>
                  <a:gd name="connsiteX6263" fmla="*/ 2114169 w 2417513"/>
                  <a:gd name="connsiteY6263" fmla="*/ 1707941 h 1867037"/>
                  <a:gd name="connsiteX6264" fmla="*/ 2112806 w 2417513"/>
                  <a:gd name="connsiteY6264" fmla="*/ 1708850 h 1867037"/>
                  <a:gd name="connsiteX6265" fmla="*/ 2112048 w 2417513"/>
                  <a:gd name="connsiteY6265" fmla="*/ 1708396 h 1867037"/>
                  <a:gd name="connsiteX6266" fmla="*/ 2111442 w 2417513"/>
                  <a:gd name="connsiteY6266" fmla="*/ 1707487 h 1867037"/>
                  <a:gd name="connsiteX6267" fmla="*/ 2109472 w 2417513"/>
                  <a:gd name="connsiteY6267" fmla="*/ 1707032 h 1867037"/>
                  <a:gd name="connsiteX6268" fmla="*/ 2110230 w 2417513"/>
                  <a:gd name="connsiteY6268" fmla="*/ 1705971 h 1867037"/>
                  <a:gd name="connsiteX6269" fmla="*/ 2110533 w 2417513"/>
                  <a:gd name="connsiteY6269" fmla="*/ 1704759 h 1867037"/>
                  <a:gd name="connsiteX6270" fmla="*/ 2110078 w 2417513"/>
                  <a:gd name="connsiteY6270" fmla="*/ 1703547 h 1867037"/>
                  <a:gd name="connsiteX6271" fmla="*/ 2109472 w 2417513"/>
                  <a:gd name="connsiteY6271" fmla="*/ 1702486 h 1867037"/>
                  <a:gd name="connsiteX6272" fmla="*/ 2104472 w 2417513"/>
                  <a:gd name="connsiteY6272" fmla="*/ 1697789 h 1867037"/>
                  <a:gd name="connsiteX6273" fmla="*/ 2107351 w 2417513"/>
                  <a:gd name="connsiteY6273" fmla="*/ 1693092 h 1867037"/>
                  <a:gd name="connsiteX6274" fmla="*/ 2106896 w 2417513"/>
                  <a:gd name="connsiteY6274" fmla="*/ 1690668 h 1867037"/>
                  <a:gd name="connsiteX6275" fmla="*/ 2107048 w 2417513"/>
                  <a:gd name="connsiteY6275" fmla="*/ 1687940 h 1867037"/>
                  <a:gd name="connsiteX6276" fmla="*/ 2102502 w 2417513"/>
                  <a:gd name="connsiteY6276" fmla="*/ 1691577 h 1867037"/>
                  <a:gd name="connsiteX6277" fmla="*/ 2100684 w 2417513"/>
                  <a:gd name="connsiteY6277" fmla="*/ 1693395 h 1867037"/>
                  <a:gd name="connsiteX6278" fmla="*/ 2099169 w 2417513"/>
                  <a:gd name="connsiteY6278" fmla="*/ 1695668 h 1867037"/>
                  <a:gd name="connsiteX6279" fmla="*/ 2097199 w 2417513"/>
                  <a:gd name="connsiteY6279" fmla="*/ 1697941 h 1867037"/>
                  <a:gd name="connsiteX6280" fmla="*/ 2095835 w 2417513"/>
                  <a:gd name="connsiteY6280" fmla="*/ 1700668 h 1867037"/>
                  <a:gd name="connsiteX6281" fmla="*/ 2096290 w 2417513"/>
                  <a:gd name="connsiteY6281" fmla="*/ 1702335 h 1867037"/>
                  <a:gd name="connsiteX6282" fmla="*/ 2100533 w 2417513"/>
                  <a:gd name="connsiteY6282" fmla="*/ 1702638 h 1867037"/>
                  <a:gd name="connsiteX6283" fmla="*/ 2103260 w 2417513"/>
                  <a:gd name="connsiteY6283" fmla="*/ 1703699 h 1867037"/>
                  <a:gd name="connsiteX6284" fmla="*/ 2104017 w 2417513"/>
                  <a:gd name="connsiteY6284" fmla="*/ 1705062 h 1867037"/>
                  <a:gd name="connsiteX6285" fmla="*/ 2103866 w 2417513"/>
                  <a:gd name="connsiteY6285" fmla="*/ 1709759 h 1867037"/>
                  <a:gd name="connsiteX6286" fmla="*/ 2106290 w 2417513"/>
                  <a:gd name="connsiteY6286" fmla="*/ 1710517 h 1867037"/>
                  <a:gd name="connsiteX6287" fmla="*/ 2110684 w 2417513"/>
                  <a:gd name="connsiteY6287" fmla="*/ 1710365 h 1867037"/>
                  <a:gd name="connsiteX6288" fmla="*/ 2113412 w 2417513"/>
                  <a:gd name="connsiteY6288" fmla="*/ 1710669 h 1867037"/>
                  <a:gd name="connsiteX6289" fmla="*/ 2113563 w 2417513"/>
                  <a:gd name="connsiteY6289" fmla="*/ 1711123 h 1867037"/>
                  <a:gd name="connsiteX6290" fmla="*/ 2113260 w 2417513"/>
                  <a:gd name="connsiteY6290" fmla="*/ 1711578 h 1867037"/>
                  <a:gd name="connsiteX6291" fmla="*/ 2112200 w 2417513"/>
                  <a:gd name="connsiteY6291" fmla="*/ 1711729 h 1867037"/>
                  <a:gd name="connsiteX6292" fmla="*/ 2114018 w 2417513"/>
                  <a:gd name="connsiteY6292" fmla="*/ 1714457 h 1867037"/>
                  <a:gd name="connsiteX6293" fmla="*/ 2116442 w 2417513"/>
                  <a:gd name="connsiteY6293" fmla="*/ 1716426 h 1867037"/>
                  <a:gd name="connsiteX6294" fmla="*/ 2118412 w 2417513"/>
                  <a:gd name="connsiteY6294" fmla="*/ 1717184 h 1867037"/>
                  <a:gd name="connsiteX6295" fmla="*/ 2126442 w 2417513"/>
                  <a:gd name="connsiteY6295" fmla="*/ 1719154 h 1867037"/>
                  <a:gd name="connsiteX6296" fmla="*/ 2128109 w 2417513"/>
                  <a:gd name="connsiteY6296" fmla="*/ 1719002 h 1867037"/>
                  <a:gd name="connsiteX6297" fmla="*/ 2129776 w 2417513"/>
                  <a:gd name="connsiteY6297" fmla="*/ 1718093 h 1867037"/>
                  <a:gd name="connsiteX6298" fmla="*/ 2126594 w 2417513"/>
                  <a:gd name="connsiteY6298" fmla="*/ 1717638 h 1867037"/>
                  <a:gd name="connsiteX6299" fmla="*/ 2128715 w 2417513"/>
                  <a:gd name="connsiteY6299" fmla="*/ 1716426 h 1867037"/>
                  <a:gd name="connsiteX6300" fmla="*/ 2130837 w 2417513"/>
                  <a:gd name="connsiteY6300" fmla="*/ 1715820 h 1867037"/>
                  <a:gd name="connsiteX6301" fmla="*/ 2132503 w 2417513"/>
                  <a:gd name="connsiteY6301" fmla="*/ 1714305 h 1867037"/>
                  <a:gd name="connsiteX6302" fmla="*/ 2134625 w 2417513"/>
                  <a:gd name="connsiteY6302" fmla="*/ 1713547 h 1867037"/>
                  <a:gd name="connsiteX6303" fmla="*/ 2134170 w 2417513"/>
                  <a:gd name="connsiteY6303" fmla="*/ 1714305 h 1867037"/>
                  <a:gd name="connsiteX6304" fmla="*/ 2132655 w 2417513"/>
                  <a:gd name="connsiteY6304" fmla="*/ 1715063 h 1867037"/>
                  <a:gd name="connsiteX6305" fmla="*/ 2132503 w 2417513"/>
                  <a:gd name="connsiteY6305" fmla="*/ 1716578 h 1867037"/>
                  <a:gd name="connsiteX6306" fmla="*/ 2133564 w 2417513"/>
                  <a:gd name="connsiteY6306" fmla="*/ 1717790 h 1867037"/>
                  <a:gd name="connsiteX6307" fmla="*/ 2135231 w 2417513"/>
                  <a:gd name="connsiteY6307" fmla="*/ 1717638 h 1867037"/>
                  <a:gd name="connsiteX6308" fmla="*/ 2136746 w 2417513"/>
                  <a:gd name="connsiteY6308" fmla="*/ 1720063 h 1867037"/>
                  <a:gd name="connsiteX6309" fmla="*/ 2133261 w 2417513"/>
                  <a:gd name="connsiteY6309" fmla="*/ 1722033 h 1867037"/>
                  <a:gd name="connsiteX6310" fmla="*/ 2134019 w 2417513"/>
                  <a:gd name="connsiteY6310" fmla="*/ 1722336 h 1867037"/>
                  <a:gd name="connsiteX6311" fmla="*/ 2136443 w 2417513"/>
                  <a:gd name="connsiteY6311" fmla="*/ 1722033 h 1867037"/>
                  <a:gd name="connsiteX6312" fmla="*/ 2137201 w 2417513"/>
                  <a:gd name="connsiteY6312" fmla="*/ 1724305 h 1867037"/>
                  <a:gd name="connsiteX6313" fmla="*/ 2139170 w 2417513"/>
                  <a:gd name="connsiteY6313" fmla="*/ 1725215 h 1867037"/>
                  <a:gd name="connsiteX6314" fmla="*/ 2140837 w 2417513"/>
                  <a:gd name="connsiteY6314" fmla="*/ 1725366 h 1867037"/>
                  <a:gd name="connsiteX6315" fmla="*/ 2146595 w 2417513"/>
                  <a:gd name="connsiteY6315" fmla="*/ 1725063 h 1867037"/>
                  <a:gd name="connsiteX6316" fmla="*/ 2148110 w 2417513"/>
                  <a:gd name="connsiteY6316" fmla="*/ 1724305 h 1867037"/>
                  <a:gd name="connsiteX6317" fmla="*/ 2147504 w 2417513"/>
                  <a:gd name="connsiteY6317" fmla="*/ 1723548 h 1867037"/>
                  <a:gd name="connsiteX6318" fmla="*/ 2146443 w 2417513"/>
                  <a:gd name="connsiteY6318" fmla="*/ 1723396 h 1867037"/>
                  <a:gd name="connsiteX6319" fmla="*/ 2146595 w 2417513"/>
                  <a:gd name="connsiteY6319" fmla="*/ 1720972 h 1867037"/>
                  <a:gd name="connsiteX6320" fmla="*/ 2146292 w 2417513"/>
                  <a:gd name="connsiteY6320" fmla="*/ 1718699 h 1867037"/>
                  <a:gd name="connsiteX6321" fmla="*/ 2147049 w 2417513"/>
                  <a:gd name="connsiteY6321" fmla="*/ 1717487 h 1867037"/>
                  <a:gd name="connsiteX6322" fmla="*/ 2152959 w 2417513"/>
                  <a:gd name="connsiteY6322" fmla="*/ 1715063 h 1867037"/>
                  <a:gd name="connsiteX6323" fmla="*/ 1835523 w 2417513"/>
                  <a:gd name="connsiteY6323" fmla="*/ 1743549 h 1867037"/>
                  <a:gd name="connsiteX6324" fmla="*/ 1839462 w 2417513"/>
                  <a:gd name="connsiteY6324" fmla="*/ 1742639 h 1867037"/>
                  <a:gd name="connsiteX6325" fmla="*/ 1843099 w 2417513"/>
                  <a:gd name="connsiteY6325" fmla="*/ 1743245 h 1867037"/>
                  <a:gd name="connsiteX6326" fmla="*/ 1845220 w 2417513"/>
                  <a:gd name="connsiteY6326" fmla="*/ 1742639 h 1867037"/>
                  <a:gd name="connsiteX6327" fmla="*/ 1845674 w 2417513"/>
                  <a:gd name="connsiteY6327" fmla="*/ 1741882 h 1867037"/>
                  <a:gd name="connsiteX6328" fmla="*/ 1845978 w 2417513"/>
                  <a:gd name="connsiteY6328" fmla="*/ 1739912 h 1867037"/>
                  <a:gd name="connsiteX6329" fmla="*/ 1847644 w 2417513"/>
                  <a:gd name="connsiteY6329" fmla="*/ 1734609 h 1867037"/>
                  <a:gd name="connsiteX6330" fmla="*/ 1846432 w 2417513"/>
                  <a:gd name="connsiteY6330" fmla="*/ 1734760 h 1867037"/>
                  <a:gd name="connsiteX6331" fmla="*/ 1841886 w 2417513"/>
                  <a:gd name="connsiteY6331" fmla="*/ 1739457 h 1867037"/>
                  <a:gd name="connsiteX6332" fmla="*/ 1837341 w 2417513"/>
                  <a:gd name="connsiteY6332" fmla="*/ 1740973 h 1867037"/>
                  <a:gd name="connsiteX6333" fmla="*/ 1834462 w 2417513"/>
                  <a:gd name="connsiteY6333" fmla="*/ 1743549 h 1867037"/>
                  <a:gd name="connsiteX6334" fmla="*/ 1835523 w 2417513"/>
                  <a:gd name="connsiteY6334" fmla="*/ 1743549 h 1867037"/>
                  <a:gd name="connsiteX6335" fmla="*/ 2166293 w 2417513"/>
                  <a:gd name="connsiteY6335" fmla="*/ 1676728 h 1867037"/>
                  <a:gd name="connsiteX6336" fmla="*/ 2168565 w 2417513"/>
                  <a:gd name="connsiteY6336" fmla="*/ 1675364 h 1867037"/>
                  <a:gd name="connsiteX6337" fmla="*/ 2170384 w 2417513"/>
                  <a:gd name="connsiteY6337" fmla="*/ 1672940 h 1867037"/>
                  <a:gd name="connsiteX6338" fmla="*/ 2173111 w 2417513"/>
                  <a:gd name="connsiteY6338" fmla="*/ 1670819 h 1867037"/>
                  <a:gd name="connsiteX6339" fmla="*/ 2175990 w 2417513"/>
                  <a:gd name="connsiteY6339" fmla="*/ 1670667 h 1867037"/>
                  <a:gd name="connsiteX6340" fmla="*/ 2178111 w 2417513"/>
                  <a:gd name="connsiteY6340" fmla="*/ 1668091 h 1867037"/>
                  <a:gd name="connsiteX6341" fmla="*/ 2175990 w 2417513"/>
                  <a:gd name="connsiteY6341" fmla="*/ 1667788 h 1867037"/>
                  <a:gd name="connsiteX6342" fmla="*/ 2174020 w 2417513"/>
                  <a:gd name="connsiteY6342" fmla="*/ 1668243 h 1867037"/>
                  <a:gd name="connsiteX6343" fmla="*/ 2171899 w 2417513"/>
                  <a:gd name="connsiteY6343" fmla="*/ 1669606 h 1867037"/>
                  <a:gd name="connsiteX6344" fmla="*/ 2166444 w 2417513"/>
                  <a:gd name="connsiteY6344" fmla="*/ 1674000 h 1867037"/>
                  <a:gd name="connsiteX6345" fmla="*/ 2163717 w 2417513"/>
                  <a:gd name="connsiteY6345" fmla="*/ 1675516 h 1867037"/>
                  <a:gd name="connsiteX6346" fmla="*/ 2161444 w 2417513"/>
                  <a:gd name="connsiteY6346" fmla="*/ 1682183 h 1867037"/>
                  <a:gd name="connsiteX6347" fmla="*/ 2162959 w 2417513"/>
                  <a:gd name="connsiteY6347" fmla="*/ 1682637 h 1867037"/>
                  <a:gd name="connsiteX6348" fmla="*/ 2166141 w 2417513"/>
                  <a:gd name="connsiteY6348" fmla="*/ 1682486 h 1867037"/>
                  <a:gd name="connsiteX6349" fmla="*/ 2167808 w 2417513"/>
                  <a:gd name="connsiteY6349" fmla="*/ 1681273 h 1867037"/>
                  <a:gd name="connsiteX6350" fmla="*/ 2166596 w 2417513"/>
                  <a:gd name="connsiteY6350" fmla="*/ 1680971 h 1867037"/>
                  <a:gd name="connsiteX6351" fmla="*/ 2164929 w 2417513"/>
                  <a:gd name="connsiteY6351" fmla="*/ 1680971 h 1867037"/>
                  <a:gd name="connsiteX6352" fmla="*/ 2164020 w 2417513"/>
                  <a:gd name="connsiteY6352" fmla="*/ 1680364 h 1867037"/>
                  <a:gd name="connsiteX6353" fmla="*/ 2164777 w 2417513"/>
                  <a:gd name="connsiteY6353" fmla="*/ 1678243 h 1867037"/>
                  <a:gd name="connsiteX6354" fmla="*/ 2166293 w 2417513"/>
                  <a:gd name="connsiteY6354" fmla="*/ 1676728 h 1867037"/>
                  <a:gd name="connsiteX6355" fmla="*/ 1912798 w 2417513"/>
                  <a:gd name="connsiteY6355" fmla="*/ 1693698 h 1867037"/>
                  <a:gd name="connsiteX6356" fmla="*/ 1912192 w 2417513"/>
                  <a:gd name="connsiteY6356" fmla="*/ 1694910 h 1867037"/>
                  <a:gd name="connsiteX6357" fmla="*/ 1914616 w 2417513"/>
                  <a:gd name="connsiteY6357" fmla="*/ 1694607 h 1867037"/>
                  <a:gd name="connsiteX6358" fmla="*/ 1917647 w 2417513"/>
                  <a:gd name="connsiteY6358" fmla="*/ 1692941 h 1867037"/>
                  <a:gd name="connsiteX6359" fmla="*/ 1920071 w 2417513"/>
                  <a:gd name="connsiteY6359" fmla="*/ 1690365 h 1867037"/>
                  <a:gd name="connsiteX6360" fmla="*/ 1918556 w 2417513"/>
                  <a:gd name="connsiteY6360" fmla="*/ 1690365 h 1867037"/>
                  <a:gd name="connsiteX6361" fmla="*/ 1916132 w 2417513"/>
                  <a:gd name="connsiteY6361" fmla="*/ 1691577 h 1867037"/>
                  <a:gd name="connsiteX6362" fmla="*/ 1912798 w 2417513"/>
                  <a:gd name="connsiteY6362" fmla="*/ 1693698 h 1867037"/>
                  <a:gd name="connsiteX6363" fmla="*/ 2242205 w 2417513"/>
                  <a:gd name="connsiteY6363" fmla="*/ 1553542 h 1867037"/>
                  <a:gd name="connsiteX6364" fmla="*/ 2253569 w 2417513"/>
                  <a:gd name="connsiteY6364" fmla="*/ 1542935 h 1867037"/>
                  <a:gd name="connsiteX6365" fmla="*/ 2254175 w 2417513"/>
                  <a:gd name="connsiteY6365" fmla="*/ 1540511 h 1867037"/>
                  <a:gd name="connsiteX6366" fmla="*/ 2254781 w 2417513"/>
                  <a:gd name="connsiteY6366" fmla="*/ 1539753 h 1867037"/>
                  <a:gd name="connsiteX6367" fmla="*/ 2257054 w 2417513"/>
                  <a:gd name="connsiteY6367" fmla="*/ 1538389 h 1867037"/>
                  <a:gd name="connsiteX6368" fmla="*/ 2258872 w 2417513"/>
                  <a:gd name="connsiteY6368" fmla="*/ 1537935 h 1867037"/>
                  <a:gd name="connsiteX6369" fmla="*/ 2263569 w 2417513"/>
                  <a:gd name="connsiteY6369" fmla="*/ 1538389 h 1867037"/>
                  <a:gd name="connsiteX6370" fmla="*/ 2268569 w 2417513"/>
                  <a:gd name="connsiteY6370" fmla="*/ 1537783 h 1867037"/>
                  <a:gd name="connsiteX6371" fmla="*/ 2270387 w 2417513"/>
                  <a:gd name="connsiteY6371" fmla="*/ 1537329 h 1867037"/>
                  <a:gd name="connsiteX6372" fmla="*/ 2274933 w 2417513"/>
                  <a:gd name="connsiteY6372" fmla="*/ 1534450 h 1867037"/>
                  <a:gd name="connsiteX6373" fmla="*/ 2277206 w 2417513"/>
                  <a:gd name="connsiteY6373" fmla="*/ 1533541 h 1867037"/>
                  <a:gd name="connsiteX6374" fmla="*/ 2285691 w 2417513"/>
                  <a:gd name="connsiteY6374" fmla="*/ 1532026 h 1867037"/>
                  <a:gd name="connsiteX6375" fmla="*/ 2290085 w 2417513"/>
                  <a:gd name="connsiteY6375" fmla="*/ 1531723 h 1867037"/>
                  <a:gd name="connsiteX6376" fmla="*/ 2295691 w 2417513"/>
                  <a:gd name="connsiteY6376" fmla="*/ 1533086 h 1867037"/>
                  <a:gd name="connsiteX6377" fmla="*/ 2297813 w 2417513"/>
                  <a:gd name="connsiteY6377" fmla="*/ 1532935 h 1867037"/>
                  <a:gd name="connsiteX6378" fmla="*/ 2299025 w 2417513"/>
                  <a:gd name="connsiteY6378" fmla="*/ 1532480 h 1867037"/>
                  <a:gd name="connsiteX6379" fmla="*/ 2310692 w 2417513"/>
                  <a:gd name="connsiteY6379" fmla="*/ 1524298 h 1867037"/>
                  <a:gd name="connsiteX6380" fmla="*/ 2317965 w 2417513"/>
                  <a:gd name="connsiteY6380" fmla="*/ 1520056 h 1867037"/>
                  <a:gd name="connsiteX6381" fmla="*/ 2325238 w 2417513"/>
                  <a:gd name="connsiteY6381" fmla="*/ 1515207 h 1867037"/>
                  <a:gd name="connsiteX6382" fmla="*/ 2334026 w 2417513"/>
                  <a:gd name="connsiteY6382" fmla="*/ 1507631 h 1867037"/>
                  <a:gd name="connsiteX6383" fmla="*/ 2334632 w 2417513"/>
                  <a:gd name="connsiteY6383" fmla="*/ 1505661 h 1867037"/>
                  <a:gd name="connsiteX6384" fmla="*/ 2334178 w 2417513"/>
                  <a:gd name="connsiteY6384" fmla="*/ 1503843 h 1867037"/>
                  <a:gd name="connsiteX6385" fmla="*/ 2331602 w 2417513"/>
                  <a:gd name="connsiteY6385" fmla="*/ 1502479 h 1867037"/>
                  <a:gd name="connsiteX6386" fmla="*/ 2330238 w 2417513"/>
                  <a:gd name="connsiteY6386" fmla="*/ 1501418 h 1867037"/>
                  <a:gd name="connsiteX6387" fmla="*/ 2325541 w 2417513"/>
                  <a:gd name="connsiteY6387" fmla="*/ 1499146 h 1867037"/>
                  <a:gd name="connsiteX6388" fmla="*/ 2325389 w 2417513"/>
                  <a:gd name="connsiteY6388" fmla="*/ 1498236 h 1867037"/>
                  <a:gd name="connsiteX6389" fmla="*/ 2328571 w 2417513"/>
                  <a:gd name="connsiteY6389" fmla="*/ 1499146 h 1867037"/>
                  <a:gd name="connsiteX6390" fmla="*/ 2331905 w 2417513"/>
                  <a:gd name="connsiteY6390" fmla="*/ 1499297 h 1867037"/>
                  <a:gd name="connsiteX6391" fmla="*/ 2333572 w 2417513"/>
                  <a:gd name="connsiteY6391" fmla="*/ 1498236 h 1867037"/>
                  <a:gd name="connsiteX6392" fmla="*/ 2333874 w 2417513"/>
                  <a:gd name="connsiteY6392" fmla="*/ 1496873 h 1867037"/>
                  <a:gd name="connsiteX6393" fmla="*/ 2332814 w 2417513"/>
                  <a:gd name="connsiteY6393" fmla="*/ 1495206 h 1867037"/>
                  <a:gd name="connsiteX6394" fmla="*/ 2330238 w 2417513"/>
                  <a:gd name="connsiteY6394" fmla="*/ 1493994 h 1867037"/>
                  <a:gd name="connsiteX6395" fmla="*/ 2324480 w 2417513"/>
                  <a:gd name="connsiteY6395" fmla="*/ 1492933 h 1867037"/>
                  <a:gd name="connsiteX6396" fmla="*/ 2319631 w 2417513"/>
                  <a:gd name="connsiteY6396" fmla="*/ 1492933 h 1867037"/>
                  <a:gd name="connsiteX6397" fmla="*/ 2317056 w 2417513"/>
                  <a:gd name="connsiteY6397" fmla="*/ 1492630 h 1867037"/>
                  <a:gd name="connsiteX6398" fmla="*/ 2317965 w 2417513"/>
                  <a:gd name="connsiteY6398" fmla="*/ 1491570 h 1867037"/>
                  <a:gd name="connsiteX6399" fmla="*/ 2321450 w 2417513"/>
                  <a:gd name="connsiteY6399" fmla="*/ 1491570 h 1867037"/>
                  <a:gd name="connsiteX6400" fmla="*/ 2330238 w 2417513"/>
                  <a:gd name="connsiteY6400" fmla="*/ 1489751 h 1867037"/>
                  <a:gd name="connsiteX6401" fmla="*/ 2331450 w 2417513"/>
                  <a:gd name="connsiteY6401" fmla="*/ 1488994 h 1867037"/>
                  <a:gd name="connsiteX6402" fmla="*/ 2330996 w 2417513"/>
                  <a:gd name="connsiteY6402" fmla="*/ 1487782 h 1867037"/>
                  <a:gd name="connsiteX6403" fmla="*/ 2329480 w 2417513"/>
                  <a:gd name="connsiteY6403" fmla="*/ 1485660 h 1867037"/>
                  <a:gd name="connsiteX6404" fmla="*/ 2329935 w 2417513"/>
                  <a:gd name="connsiteY6404" fmla="*/ 1482478 h 1867037"/>
                  <a:gd name="connsiteX6405" fmla="*/ 2330693 w 2417513"/>
                  <a:gd name="connsiteY6405" fmla="*/ 1480509 h 1867037"/>
                  <a:gd name="connsiteX6406" fmla="*/ 2329026 w 2417513"/>
                  <a:gd name="connsiteY6406" fmla="*/ 1475963 h 1867037"/>
                  <a:gd name="connsiteX6407" fmla="*/ 2331299 w 2417513"/>
                  <a:gd name="connsiteY6407" fmla="*/ 1470963 h 1867037"/>
                  <a:gd name="connsiteX6408" fmla="*/ 2331602 w 2417513"/>
                  <a:gd name="connsiteY6408" fmla="*/ 1468084 h 1867037"/>
                  <a:gd name="connsiteX6409" fmla="*/ 2331147 w 2417513"/>
                  <a:gd name="connsiteY6409" fmla="*/ 1466872 h 1867037"/>
                  <a:gd name="connsiteX6410" fmla="*/ 2329784 w 2417513"/>
                  <a:gd name="connsiteY6410" fmla="*/ 1465357 h 1867037"/>
                  <a:gd name="connsiteX6411" fmla="*/ 2329480 w 2417513"/>
                  <a:gd name="connsiteY6411" fmla="*/ 1464447 h 1867037"/>
                  <a:gd name="connsiteX6412" fmla="*/ 2329632 w 2417513"/>
                  <a:gd name="connsiteY6412" fmla="*/ 1463235 h 1867037"/>
                  <a:gd name="connsiteX6413" fmla="*/ 2328268 w 2417513"/>
                  <a:gd name="connsiteY6413" fmla="*/ 1461417 h 1867037"/>
                  <a:gd name="connsiteX6414" fmla="*/ 2326753 w 2417513"/>
                  <a:gd name="connsiteY6414" fmla="*/ 1458387 h 1867037"/>
                  <a:gd name="connsiteX6415" fmla="*/ 2322814 w 2417513"/>
                  <a:gd name="connsiteY6415" fmla="*/ 1453992 h 1867037"/>
                  <a:gd name="connsiteX6416" fmla="*/ 2318420 w 2417513"/>
                  <a:gd name="connsiteY6416" fmla="*/ 1453538 h 1867037"/>
                  <a:gd name="connsiteX6417" fmla="*/ 2316147 w 2417513"/>
                  <a:gd name="connsiteY6417" fmla="*/ 1452629 h 1867037"/>
                  <a:gd name="connsiteX6418" fmla="*/ 2313722 w 2417513"/>
                  <a:gd name="connsiteY6418" fmla="*/ 1449144 h 1867037"/>
                  <a:gd name="connsiteX6419" fmla="*/ 2313116 w 2417513"/>
                  <a:gd name="connsiteY6419" fmla="*/ 1447477 h 1867037"/>
                  <a:gd name="connsiteX6420" fmla="*/ 2311449 w 2417513"/>
                  <a:gd name="connsiteY6420" fmla="*/ 1447477 h 1867037"/>
                  <a:gd name="connsiteX6421" fmla="*/ 2306752 w 2417513"/>
                  <a:gd name="connsiteY6421" fmla="*/ 1447780 h 1867037"/>
                  <a:gd name="connsiteX6422" fmla="*/ 2302813 w 2417513"/>
                  <a:gd name="connsiteY6422" fmla="*/ 1448386 h 1867037"/>
                  <a:gd name="connsiteX6423" fmla="*/ 2298116 w 2417513"/>
                  <a:gd name="connsiteY6423" fmla="*/ 1450811 h 1867037"/>
                  <a:gd name="connsiteX6424" fmla="*/ 2292358 w 2417513"/>
                  <a:gd name="connsiteY6424" fmla="*/ 1456114 h 1867037"/>
                  <a:gd name="connsiteX6425" fmla="*/ 2289327 w 2417513"/>
                  <a:gd name="connsiteY6425" fmla="*/ 1458387 h 1867037"/>
                  <a:gd name="connsiteX6426" fmla="*/ 2287812 w 2417513"/>
                  <a:gd name="connsiteY6426" fmla="*/ 1454902 h 1867037"/>
                  <a:gd name="connsiteX6427" fmla="*/ 2286903 w 2417513"/>
                  <a:gd name="connsiteY6427" fmla="*/ 1453992 h 1867037"/>
                  <a:gd name="connsiteX6428" fmla="*/ 2284024 w 2417513"/>
                  <a:gd name="connsiteY6428" fmla="*/ 1453386 h 1867037"/>
                  <a:gd name="connsiteX6429" fmla="*/ 2284176 w 2417513"/>
                  <a:gd name="connsiteY6429" fmla="*/ 1452932 h 1867037"/>
                  <a:gd name="connsiteX6430" fmla="*/ 2285085 w 2417513"/>
                  <a:gd name="connsiteY6430" fmla="*/ 1452174 h 1867037"/>
                  <a:gd name="connsiteX6431" fmla="*/ 2291752 w 2417513"/>
                  <a:gd name="connsiteY6431" fmla="*/ 1449144 h 1867037"/>
                  <a:gd name="connsiteX6432" fmla="*/ 2294176 w 2417513"/>
                  <a:gd name="connsiteY6432" fmla="*/ 1447629 h 1867037"/>
                  <a:gd name="connsiteX6433" fmla="*/ 2294782 w 2417513"/>
                  <a:gd name="connsiteY6433" fmla="*/ 1446265 h 1867037"/>
                  <a:gd name="connsiteX6434" fmla="*/ 2294328 w 2417513"/>
                  <a:gd name="connsiteY6434" fmla="*/ 1444144 h 1867037"/>
                  <a:gd name="connsiteX6435" fmla="*/ 2292964 w 2417513"/>
                  <a:gd name="connsiteY6435" fmla="*/ 1441265 h 1867037"/>
                  <a:gd name="connsiteX6436" fmla="*/ 2287055 w 2417513"/>
                  <a:gd name="connsiteY6436" fmla="*/ 1432325 h 1867037"/>
                  <a:gd name="connsiteX6437" fmla="*/ 2281600 w 2417513"/>
                  <a:gd name="connsiteY6437" fmla="*/ 1431264 h 1867037"/>
                  <a:gd name="connsiteX6438" fmla="*/ 2265842 w 2417513"/>
                  <a:gd name="connsiteY6438" fmla="*/ 1429901 h 1867037"/>
                  <a:gd name="connsiteX6439" fmla="*/ 2262660 w 2417513"/>
                  <a:gd name="connsiteY6439" fmla="*/ 1430961 h 1867037"/>
                  <a:gd name="connsiteX6440" fmla="*/ 2261448 w 2417513"/>
                  <a:gd name="connsiteY6440" fmla="*/ 1432022 h 1867037"/>
                  <a:gd name="connsiteX6441" fmla="*/ 2261296 w 2417513"/>
                  <a:gd name="connsiteY6441" fmla="*/ 1432628 h 1867037"/>
                  <a:gd name="connsiteX6442" fmla="*/ 2262508 w 2417513"/>
                  <a:gd name="connsiteY6442" fmla="*/ 1434143 h 1867037"/>
                  <a:gd name="connsiteX6443" fmla="*/ 2266296 w 2417513"/>
                  <a:gd name="connsiteY6443" fmla="*/ 1433537 h 1867037"/>
                  <a:gd name="connsiteX6444" fmla="*/ 2269327 w 2417513"/>
                  <a:gd name="connsiteY6444" fmla="*/ 1433689 h 1867037"/>
                  <a:gd name="connsiteX6445" fmla="*/ 2273115 w 2417513"/>
                  <a:gd name="connsiteY6445" fmla="*/ 1434598 h 1867037"/>
                  <a:gd name="connsiteX6446" fmla="*/ 2272963 w 2417513"/>
                  <a:gd name="connsiteY6446" fmla="*/ 1435052 h 1867037"/>
                  <a:gd name="connsiteX6447" fmla="*/ 2268872 w 2417513"/>
                  <a:gd name="connsiteY6447" fmla="*/ 1435052 h 1867037"/>
                  <a:gd name="connsiteX6448" fmla="*/ 2262357 w 2417513"/>
                  <a:gd name="connsiteY6448" fmla="*/ 1436416 h 1867037"/>
                  <a:gd name="connsiteX6449" fmla="*/ 2253417 w 2417513"/>
                  <a:gd name="connsiteY6449" fmla="*/ 1439143 h 1867037"/>
                  <a:gd name="connsiteX6450" fmla="*/ 2246144 w 2417513"/>
                  <a:gd name="connsiteY6450" fmla="*/ 1442931 h 1867037"/>
                  <a:gd name="connsiteX6451" fmla="*/ 2240386 w 2417513"/>
                  <a:gd name="connsiteY6451" fmla="*/ 1447780 h 1867037"/>
                  <a:gd name="connsiteX6452" fmla="*/ 2235083 w 2417513"/>
                  <a:gd name="connsiteY6452" fmla="*/ 1451568 h 1867037"/>
                  <a:gd name="connsiteX6453" fmla="*/ 2230234 w 2417513"/>
                  <a:gd name="connsiteY6453" fmla="*/ 1454144 h 1867037"/>
                  <a:gd name="connsiteX6454" fmla="*/ 2226901 w 2417513"/>
                  <a:gd name="connsiteY6454" fmla="*/ 1455508 h 1867037"/>
                  <a:gd name="connsiteX6455" fmla="*/ 2221143 w 2417513"/>
                  <a:gd name="connsiteY6455" fmla="*/ 1456720 h 1867037"/>
                  <a:gd name="connsiteX6456" fmla="*/ 2219628 w 2417513"/>
                  <a:gd name="connsiteY6456" fmla="*/ 1457629 h 1867037"/>
                  <a:gd name="connsiteX6457" fmla="*/ 2216749 w 2417513"/>
                  <a:gd name="connsiteY6457" fmla="*/ 1460811 h 1867037"/>
                  <a:gd name="connsiteX6458" fmla="*/ 2212355 w 2417513"/>
                  <a:gd name="connsiteY6458" fmla="*/ 1463993 h 1867037"/>
                  <a:gd name="connsiteX6459" fmla="*/ 2207355 w 2417513"/>
                  <a:gd name="connsiteY6459" fmla="*/ 1465508 h 1867037"/>
                  <a:gd name="connsiteX6460" fmla="*/ 2207203 w 2417513"/>
                  <a:gd name="connsiteY6460" fmla="*/ 1465054 h 1867037"/>
                  <a:gd name="connsiteX6461" fmla="*/ 2207052 w 2417513"/>
                  <a:gd name="connsiteY6461" fmla="*/ 1464599 h 1867037"/>
                  <a:gd name="connsiteX6462" fmla="*/ 2209021 w 2417513"/>
                  <a:gd name="connsiteY6462" fmla="*/ 1463538 h 1867037"/>
                  <a:gd name="connsiteX6463" fmla="*/ 2209627 w 2417513"/>
                  <a:gd name="connsiteY6463" fmla="*/ 1462478 h 1867037"/>
                  <a:gd name="connsiteX6464" fmla="*/ 2208112 w 2417513"/>
                  <a:gd name="connsiteY6464" fmla="*/ 1461872 h 1867037"/>
                  <a:gd name="connsiteX6465" fmla="*/ 2208567 w 2417513"/>
                  <a:gd name="connsiteY6465" fmla="*/ 1460659 h 1867037"/>
                  <a:gd name="connsiteX6466" fmla="*/ 2212203 w 2417513"/>
                  <a:gd name="connsiteY6466" fmla="*/ 1458538 h 1867037"/>
                  <a:gd name="connsiteX6467" fmla="*/ 2213719 w 2417513"/>
                  <a:gd name="connsiteY6467" fmla="*/ 1457174 h 1867037"/>
                  <a:gd name="connsiteX6468" fmla="*/ 2212052 w 2417513"/>
                  <a:gd name="connsiteY6468" fmla="*/ 1455508 h 1867037"/>
                  <a:gd name="connsiteX6469" fmla="*/ 2206294 w 2417513"/>
                  <a:gd name="connsiteY6469" fmla="*/ 1452629 h 1867037"/>
                  <a:gd name="connsiteX6470" fmla="*/ 2205536 w 2417513"/>
                  <a:gd name="connsiteY6470" fmla="*/ 1450962 h 1867037"/>
                  <a:gd name="connsiteX6471" fmla="*/ 2209173 w 2417513"/>
                  <a:gd name="connsiteY6471" fmla="*/ 1452629 h 1867037"/>
                  <a:gd name="connsiteX6472" fmla="*/ 2212355 w 2417513"/>
                  <a:gd name="connsiteY6472" fmla="*/ 1453083 h 1867037"/>
                  <a:gd name="connsiteX6473" fmla="*/ 2213112 w 2417513"/>
                  <a:gd name="connsiteY6473" fmla="*/ 1452629 h 1867037"/>
                  <a:gd name="connsiteX6474" fmla="*/ 2213567 w 2417513"/>
                  <a:gd name="connsiteY6474" fmla="*/ 1451720 h 1867037"/>
                  <a:gd name="connsiteX6475" fmla="*/ 2214022 w 2417513"/>
                  <a:gd name="connsiteY6475" fmla="*/ 1449295 h 1867037"/>
                  <a:gd name="connsiteX6476" fmla="*/ 2214628 w 2417513"/>
                  <a:gd name="connsiteY6476" fmla="*/ 1448083 h 1867037"/>
                  <a:gd name="connsiteX6477" fmla="*/ 2215840 w 2417513"/>
                  <a:gd name="connsiteY6477" fmla="*/ 1447023 h 1867037"/>
                  <a:gd name="connsiteX6478" fmla="*/ 2219628 w 2417513"/>
                  <a:gd name="connsiteY6478" fmla="*/ 1445356 h 1867037"/>
                  <a:gd name="connsiteX6479" fmla="*/ 2220992 w 2417513"/>
                  <a:gd name="connsiteY6479" fmla="*/ 1444295 h 1867037"/>
                  <a:gd name="connsiteX6480" fmla="*/ 2222961 w 2417513"/>
                  <a:gd name="connsiteY6480" fmla="*/ 1443992 h 1867037"/>
                  <a:gd name="connsiteX6481" fmla="*/ 2225537 w 2417513"/>
                  <a:gd name="connsiteY6481" fmla="*/ 1444447 h 1867037"/>
                  <a:gd name="connsiteX6482" fmla="*/ 2229780 w 2417513"/>
                  <a:gd name="connsiteY6482" fmla="*/ 1444295 h 1867037"/>
                  <a:gd name="connsiteX6483" fmla="*/ 2237810 w 2417513"/>
                  <a:gd name="connsiteY6483" fmla="*/ 1440810 h 1867037"/>
                  <a:gd name="connsiteX6484" fmla="*/ 2242205 w 2417513"/>
                  <a:gd name="connsiteY6484" fmla="*/ 1439447 h 1867037"/>
                  <a:gd name="connsiteX6485" fmla="*/ 2242962 w 2417513"/>
                  <a:gd name="connsiteY6485" fmla="*/ 1438992 h 1867037"/>
                  <a:gd name="connsiteX6486" fmla="*/ 2243871 w 2417513"/>
                  <a:gd name="connsiteY6486" fmla="*/ 1437780 h 1867037"/>
                  <a:gd name="connsiteX6487" fmla="*/ 2245538 w 2417513"/>
                  <a:gd name="connsiteY6487" fmla="*/ 1436871 h 1867037"/>
                  <a:gd name="connsiteX6488" fmla="*/ 2247659 w 2417513"/>
                  <a:gd name="connsiteY6488" fmla="*/ 1436416 h 1867037"/>
                  <a:gd name="connsiteX6489" fmla="*/ 2250993 w 2417513"/>
                  <a:gd name="connsiteY6489" fmla="*/ 1436568 h 1867037"/>
                  <a:gd name="connsiteX6490" fmla="*/ 2253417 w 2417513"/>
                  <a:gd name="connsiteY6490" fmla="*/ 1436113 h 1867037"/>
                  <a:gd name="connsiteX6491" fmla="*/ 2255538 w 2417513"/>
                  <a:gd name="connsiteY6491" fmla="*/ 1434143 h 1867037"/>
                  <a:gd name="connsiteX6492" fmla="*/ 2258872 w 2417513"/>
                  <a:gd name="connsiteY6492" fmla="*/ 1429446 h 1867037"/>
                  <a:gd name="connsiteX6493" fmla="*/ 2260993 w 2417513"/>
                  <a:gd name="connsiteY6493" fmla="*/ 1428537 h 1867037"/>
                  <a:gd name="connsiteX6494" fmla="*/ 2264781 w 2417513"/>
                  <a:gd name="connsiteY6494" fmla="*/ 1427325 h 1867037"/>
                  <a:gd name="connsiteX6495" fmla="*/ 2266296 w 2417513"/>
                  <a:gd name="connsiteY6495" fmla="*/ 1426113 h 1867037"/>
                  <a:gd name="connsiteX6496" fmla="*/ 2266599 w 2417513"/>
                  <a:gd name="connsiteY6496" fmla="*/ 1424901 h 1867037"/>
                  <a:gd name="connsiteX6497" fmla="*/ 2273721 w 2417513"/>
                  <a:gd name="connsiteY6497" fmla="*/ 1423688 h 1867037"/>
                  <a:gd name="connsiteX6498" fmla="*/ 2278873 w 2417513"/>
                  <a:gd name="connsiteY6498" fmla="*/ 1423537 h 1867037"/>
                  <a:gd name="connsiteX6499" fmla="*/ 2282661 w 2417513"/>
                  <a:gd name="connsiteY6499" fmla="*/ 1421567 h 1867037"/>
                  <a:gd name="connsiteX6500" fmla="*/ 2284782 w 2417513"/>
                  <a:gd name="connsiteY6500" fmla="*/ 1418688 h 1867037"/>
                  <a:gd name="connsiteX6501" fmla="*/ 2287055 w 2417513"/>
                  <a:gd name="connsiteY6501" fmla="*/ 1416718 h 1867037"/>
                  <a:gd name="connsiteX6502" fmla="*/ 2287055 w 2417513"/>
                  <a:gd name="connsiteY6502" fmla="*/ 1415961 h 1867037"/>
                  <a:gd name="connsiteX6503" fmla="*/ 2284933 w 2417513"/>
                  <a:gd name="connsiteY6503" fmla="*/ 1414143 h 1867037"/>
                  <a:gd name="connsiteX6504" fmla="*/ 2280994 w 2417513"/>
                  <a:gd name="connsiteY6504" fmla="*/ 1413688 h 1867037"/>
                  <a:gd name="connsiteX6505" fmla="*/ 2278266 w 2417513"/>
                  <a:gd name="connsiteY6505" fmla="*/ 1412779 h 1867037"/>
                  <a:gd name="connsiteX6506" fmla="*/ 2275539 w 2417513"/>
                  <a:gd name="connsiteY6506" fmla="*/ 1411112 h 1867037"/>
                  <a:gd name="connsiteX6507" fmla="*/ 2272812 w 2417513"/>
                  <a:gd name="connsiteY6507" fmla="*/ 1408991 h 1867037"/>
                  <a:gd name="connsiteX6508" fmla="*/ 2271903 w 2417513"/>
                  <a:gd name="connsiteY6508" fmla="*/ 1405051 h 1867037"/>
                  <a:gd name="connsiteX6509" fmla="*/ 2269327 w 2417513"/>
                  <a:gd name="connsiteY6509" fmla="*/ 1404748 h 1867037"/>
                  <a:gd name="connsiteX6510" fmla="*/ 2265539 w 2417513"/>
                  <a:gd name="connsiteY6510" fmla="*/ 1405354 h 1867037"/>
                  <a:gd name="connsiteX6511" fmla="*/ 2264781 w 2417513"/>
                  <a:gd name="connsiteY6511" fmla="*/ 1407324 h 1867037"/>
                  <a:gd name="connsiteX6512" fmla="*/ 2259932 w 2417513"/>
                  <a:gd name="connsiteY6512" fmla="*/ 1408839 h 1867037"/>
                  <a:gd name="connsiteX6513" fmla="*/ 2257205 w 2417513"/>
                  <a:gd name="connsiteY6513" fmla="*/ 1408536 h 1867037"/>
                  <a:gd name="connsiteX6514" fmla="*/ 2249478 w 2417513"/>
                  <a:gd name="connsiteY6514" fmla="*/ 1406415 h 1867037"/>
                  <a:gd name="connsiteX6515" fmla="*/ 2246599 w 2417513"/>
                  <a:gd name="connsiteY6515" fmla="*/ 1402021 h 1867037"/>
                  <a:gd name="connsiteX6516" fmla="*/ 2244629 w 2417513"/>
                  <a:gd name="connsiteY6516" fmla="*/ 1398081 h 1867037"/>
                  <a:gd name="connsiteX6517" fmla="*/ 2243568 w 2417513"/>
                  <a:gd name="connsiteY6517" fmla="*/ 1394445 h 1867037"/>
                  <a:gd name="connsiteX6518" fmla="*/ 2241144 w 2417513"/>
                  <a:gd name="connsiteY6518" fmla="*/ 1393233 h 1867037"/>
                  <a:gd name="connsiteX6519" fmla="*/ 2236447 w 2417513"/>
                  <a:gd name="connsiteY6519" fmla="*/ 1392627 h 1867037"/>
                  <a:gd name="connsiteX6520" fmla="*/ 2234629 w 2417513"/>
                  <a:gd name="connsiteY6520" fmla="*/ 1394445 h 1867037"/>
                  <a:gd name="connsiteX6521" fmla="*/ 2232659 w 2417513"/>
                  <a:gd name="connsiteY6521" fmla="*/ 1397172 h 1867037"/>
                  <a:gd name="connsiteX6522" fmla="*/ 2231750 w 2417513"/>
                  <a:gd name="connsiteY6522" fmla="*/ 1398081 h 1867037"/>
                  <a:gd name="connsiteX6523" fmla="*/ 2222961 w 2417513"/>
                  <a:gd name="connsiteY6523" fmla="*/ 1404445 h 1867037"/>
                  <a:gd name="connsiteX6524" fmla="*/ 2220537 w 2417513"/>
                  <a:gd name="connsiteY6524" fmla="*/ 1407173 h 1867037"/>
                  <a:gd name="connsiteX6525" fmla="*/ 2221143 w 2417513"/>
                  <a:gd name="connsiteY6525" fmla="*/ 1405203 h 1867037"/>
                  <a:gd name="connsiteX6526" fmla="*/ 2223113 w 2417513"/>
                  <a:gd name="connsiteY6526" fmla="*/ 1402324 h 1867037"/>
                  <a:gd name="connsiteX6527" fmla="*/ 2230083 w 2417513"/>
                  <a:gd name="connsiteY6527" fmla="*/ 1395202 h 1867037"/>
                  <a:gd name="connsiteX6528" fmla="*/ 2231447 w 2417513"/>
                  <a:gd name="connsiteY6528" fmla="*/ 1393384 h 1867037"/>
                  <a:gd name="connsiteX6529" fmla="*/ 2229325 w 2417513"/>
                  <a:gd name="connsiteY6529" fmla="*/ 1392627 h 1867037"/>
                  <a:gd name="connsiteX6530" fmla="*/ 2226901 w 2417513"/>
                  <a:gd name="connsiteY6530" fmla="*/ 1393536 h 1867037"/>
                  <a:gd name="connsiteX6531" fmla="*/ 2224628 w 2417513"/>
                  <a:gd name="connsiteY6531" fmla="*/ 1392627 h 1867037"/>
                  <a:gd name="connsiteX6532" fmla="*/ 2224476 w 2417513"/>
                  <a:gd name="connsiteY6532" fmla="*/ 1389899 h 1867037"/>
                  <a:gd name="connsiteX6533" fmla="*/ 2222810 w 2417513"/>
                  <a:gd name="connsiteY6533" fmla="*/ 1388384 h 1867037"/>
                  <a:gd name="connsiteX6534" fmla="*/ 2219931 w 2417513"/>
                  <a:gd name="connsiteY6534" fmla="*/ 1388990 h 1867037"/>
                  <a:gd name="connsiteX6535" fmla="*/ 2218113 w 2417513"/>
                  <a:gd name="connsiteY6535" fmla="*/ 1390354 h 1867037"/>
                  <a:gd name="connsiteX6536" fmla="*/ 2210385 w 2417513"/>
                  <a:gd name="connsiteY6536" fmla="*/ 1391263 h 1867037"/>
                  <a:gd name="connsiteX6537" fmla="*/ 2207052 w 2417513"/>
                  <a:gd name="connsiteY6537" fmla="*/ 1393536 h 1867037"/>
                  <a:gd name="connsiteX6538" fmla="*/ 2201142 w 2417513"/>
                  <a:gd name="connsiteY6538" fmla="*/ 1398384 h 1867037"/>
                  <a:gd name="connsiteX6539" fmla="*/ 2199476 w 2417513"/>
                  <a:gd name="connsiteY6539" fmla="*/ 1398687 h 1867037"/>
                  <a:gd name="connsiteX6540" fmla="*/ 2202051 w 2417513"/>
                  <a:gd name="connsiteY6540" fmla="*/ 1396112 h 1867037"/>
                  <a:gd name="connsiteX6541" fmla="*/ 2204021 w 2417513"/>
                  <a:gd name="connsiteY6541" fmla="*/ 1393384 h 1867037"/>
                  <a:gd name="connsiteX6542" fmla="*/ 2204476 w 2417513"/>
                  <a:gd name="connsiteY6542" fmla="*/ 1391717 h 1867037"/>
                  <a:gd name="connsiteX6543" fmla="*/ 2206446 w 2417513"/>
                  <a:gd name="connsiteY6543" fmla="*/ 1387020 h 1867037"/>
                  <a:gd name="connsiteX6544" fmla="*/ 2210234 w 2417513"/>
                  <a:gd name="connsiteY6544" fmla="*/ 1383990 h 1867037"/>
                  <a:gd name="connsiteX6545" fmla="*/ 2211143 w 2417513"/>
                  <a:gd name="connsiteY6545" fmla="*/ 1382626 h 1867037"/>
                  <a:gd name="connsiteX6546" fmla="*/ 2207961 w 2417513"/>
                  <a:gd name="connsiteY6546" fmla="*/ 1379747 h 1867037"/>
                  <a:gd name="connsiteX6547" fmla="*/ 2206749 w 2417513"/>
                  <a:gd name="connsiteY6547" fmla="*/ 1377626 h 1867037"/>
                  <a:gd name="connsiteX6548" fmla="*/ 2205233 w 2417513"/>
                  <a:gd name="connsiteY6548" fmla="*/ 1376262 h 1867037"/>
                  <a:gd name="connsiteX6549" fmla="*/ 2206446 w 2417513"/>
                  <a:gd name="connsiteY6549" fmla="*/ 1373990 h 1867037"/>
                  <a:gd name="connsiteX6550" fmla="*/ 2207052 w 2417513"/>
                  <a:gd name="connsiteY6550" fmla="*/ 1371111 h 1867037"/>
                  <a:gd name="connsiteX6551" fmla="*/ 2205082 w 2417513"/>
                  <a:gd name="connsiteY6551" fmla="*/ 1370959 h 1867037"/>
                  <a:gd name="connsiteX6552" fmla="*/ 2203415 w 2417513"/>
                  <a:gd name="connsiteY6552" fmla="*/ 1370353 h 1867037"/>
                  <a:gd name="connsiteX6553" fmla="*/ 2200991 w 2417513"/>
                  <a:gd name="connsiteY6553" fmla="*/ 1373383 h 1867037"/>
                  <a:gd name="connsiteX6554" fmla="*/ 2200233 w 2417513"/>
                  <a:gd name="connsiteY6554" fmla="*/ 1370050 h 1867037"/>
                  <a:gd name="connsiteX6555" fmla="*/ 2199173 w 2417513"/>
                  <a:gd name="connsiteY6555" fmla="*/ 1369595 h 1867037"/>
                  <a:gd name="connsiteX6556" fmla="*/ 2196294 w 2417513"/>
                  <a:gd name="connsiteY6556" fmla="*/ 1367171 h 1867037"/>
                  <a:gd name="connsiteX6557" fmla="*/ 2196142 w 2417513"/>
                  <a:gd name="connsiteY6557" fmla="*/ 1365050 h 1867037"/>
                  <a:gd name="connsiteX6558" fmla="*/ 2193718 w 2417513"/>
                  <a:gd name="connsiteY6558" fmla="*/ 1364444 h 1867037"/>
                  <a:gd name="connsiteX6559" fmla="*/ 2191900 w 2417513"/>
                  <a:gd name="connsiteY6559" fmla="*/ 1365959 h 1867037"/>
                  <a:gd name="connsiteX6560" fmla="*/ 2189021 w 2417513"/>
                  <a:gd name="connsiteY6560" fmla="*/ 1367929 h 1867037"/>
                  <a:gd name="connsiteX6561" fmla="*/ 2186445 w 2417513"/>
                  <a:gd name="connsiteY6561" fmla="*/ 1367777 h 1867037"/>
                  <a:gd name="connsiteX6562" fmla="*/ 2185536 w 2417513"/>
                  <a:gd name="connsiteY6562" fmla="*/ 1366868 h 1867037"/>
                  <a:gd name="connsiteX6563" fmla="*/ 2185233 w 2417513"/>
                  <a:gd name="connsiteY6563" fmla="*/ 1365201 h 1867037"/>
                  <a:gd name="connsiteX6564" fmla="*/ 2183718 w 2417513"/>
                  <a:gd name="connsiteY6564" fmla="*/ 1364292 h 1867037"/>
                  <a:gd name="connsiteX6565" fmla="*/ 2179172 w 2417513"/>
                  <a:gd name="connsiteY6565" fmla="*/ 1363535 h 1867037"/>
                  <a:gd name="connsiteX6566" fmla="*/ 2176747 w 2417513"/>
                  <a:gd name="connsiteY6566" fmla="*/ 1362777 h 1867037"/>
                  <a:gd name="connsiteX6567" fmla="*/ 2176747 w 2417513"/>
                  <a:gd name="connsiteY6567" fmla="*/ 1361716 h 1867037"/>
                  <a:gd name="connsiteX6568" fmla="*/ 2180839 w 2417513"/>
                  <a:gd name="connsiteY6568" fmla="*/ 1360807 h 1867037"/>
                  <a:gd name="connsiteX6569" fmla="*/ 2180232 w 2417513"/>
                  <a:gd name="connsiteY6569" fmla="*/ 1359747 h 1867037"/>
                  <a:gd name="connsiteX6570" fmla="*/ 2179172 w 2417513"/>
                  <a:gd name="connsiteY6570" fmla="*/ 1354292 h 1867037"/>
                  <a:gd name="connsiteX6571" fmla="*/ 2177657 w 2417513"/>
                  <a:gd name="connsiteY6571" fmla="*/ 1354140 h 1867037"/>
                  <a:gd name="connsiteX6572" fmla="*/ 2173869 w 2417513"/>
                  <a:gd name="connsiteY6572" fmla="*/ 1354746 h 1867037"/>
                  <a:gd name="connsiteX6573" fmla="*/ 2169626 w 2417513"/>
                  <a:gd name="connsiteY6573" fmla="*/ 1353837 h 1867037"/>
                  <a:gd name="connsiteX6574" fmla="*/ 2169777 w 2417513"/>
                  <a:gd name="connsiteY6574" fmla="*/ 1351564 h 1867037"/>
                  <a:gd name="connsiteX6575" fmla="*/ 2175535 w 2417513"/>
                  <a:gd name="connsiteY6575" fmla="*/ 1350049 h 1867037"/>
                  <a:gd name="connsiteX6576" fmla="*/ 2177505 w 2417513"/>
                  <a:gd name="connsiteY6576" fmla="*/ 1348837 h 1867037"/>
                  <a:gd name="connsiteX6577" fmla="*/ 2175081 w 2417513"/>
                  <a:gd name="connsiteY6577" fmla="*/ 1347625 h 1867037"/>
                  <a:gd name="connsiteX6578" fmla="*/ 2170232 w 2417513"/>
                  <a:gd name="connsiteY6578" fmla="*/ 1347322 h 1867037"/>
                  <a:gd name="connsiteX6579" fmla="*/ 2163414 w 2417513"/>
                  <a:gd name="connsiteY6579" fmla="*/ 1346261 h 1867037"/>
                  <a:gd name="connsiteX6580" fmla="*/ 2161444 w 2417513"/>
                  <a:gd name="connsiteY6580" fmla="*/ 1345049 h 1867037"/>
                  <a:gd name="connsiteX6581" fmla="*/ 2164474 w 2417513"/>
                  <a:gd name="connsiteY6581" fmla="*/ 1343079 h 1867037"/>
                  <a:gd name="connsiteX6582" fmla="*/ 2168262 w 2417513"/>
                  <a:gd name="connsiteY6582" fmla="*/ 1342928 h 1867037"/>
                  <a:gd name="connsiteX6583" fmla="*/ 2168868 w 2417513"/>
                  <a:gd name="connsiteY6583" fmla="*/ 1342322 h 1867037"/>
                  <a:gd name="connsiteX6584" fmla="*/ 2166747 w 2417513"/>
                  <a:gd name="connsiteY6584" fmla="*/ 1340655 h 1867037"/>
                  <a:gd name="connsiteX6585" fmla="*/ 2165535 w 2417513"/>
                  <a:gd name="connsiteY6585" fmla="*/ 1340049 h 1867037"/>
                  <a:gd name="connsiteX6586" fmla="*/ 2161747 w 2417513"/>
                  <a:gd name="connsiteY6586" fmla="*/ 1339746 h 1867037"/>
                  <a:gd name="connsiteX6587" fmla="*/ 2158262 w 2417513"/>
                  <a:gd name="connsiteY6587" fmla="*/ 1336716 h 1867037"/>
                  <a:gd name="connsiteX6588" fmla="*/ 2150686 w 2417513"/>
                  <a:gd name="connsiteY6588" fmla="*/ 1334291 h 1867037"/>
                  <a:gd name="connsiteX6589" fmla="*/ 2147959 w 2417513"/>
                  <a:gd name="connsiteY6589" fmla="*/ 1331564 h 1867037"/>
                  <a:gd name="connsiteX6590" fmla="*/ 2149019 w 2417513"/>
                  <a:gd name="connsiteY6590" fmla="*/ 1330958 h 1867037"/>
                  <a:gd name="connsiteX6591" fmla="*/ 2151444 w 2417513"/>
                  <a:gd name="connsiteY6591" fmla="*/ 1330200 h 1867037"/>
                  <a:gd name="connsiteX6592" fmla="*/ 2153565 w 2417513"/>
                  <a:gd name="connsiteY6592" fmla="*/ 1330352 h 1867037"/>
                  <a:gd name="connsiteX6593" fmla="*/ 2151140 w 2417513"/>
                  <a:gd name="connsiteY6593" fmla="*/ 1332170 h 1867037"/>
                  <a:gd name="connsiteX6594" fmla="*/ 2151595 w 2417513"/>
                  <a:gd name="connsiteY6594" fmla="*/ 1332927 h 1867037"/>
                  <a:gd name="connsiteX6595" fmla="*/ 2159929 w 2417513"/>
                  <a:gd name="connsiteY6595" fmla="*/ 1335503 h 1867037"/>
                  <a:gd name="connsiteX6596" fmla="*/ 2174475 w 2417513"/>
                  <a:gd name="connsiteY6596" fmla="*/ 1337170 h 1867037"/>
                  <a:gd name="connsiteX6597" fmla="*/ 2178869 w 2417513"/>
                  <a:gd name="connsiteY6597" fmla="*/ 1336109 h 1867037"/>
                  <a:gd name="connsiteX6598" fmla="*/ 2178869 w 2417513"/>
                  <a:gd name="connsiteY6598" fmla="*/ 1332473 h 1867037"/>
                  <a:gd name="connsiteX6599" fmla="*/ 2178414 w 2417513"/>
                  <a:gd name="connsiteY6599" fmla="*/ 1329442 h 1867037"/>
                  <a:gd name="connsiteX6600" fmla="*/ 2179626 w 2417513"/>
                  <a:gd name="connsiteY6600" fmla="*/ 1326715 h 1867037"/>
                  <a:gd name="connsiteX6601" fmla="*/ 2179930 w 2417513"/>
                  <a:gd name="connsiteY6601" fmla="*/ 1323230 h 1867037"/>
                  <a:gd name="connsiteX6602" fmla="*/ 2171899 w 2417513"/>
                  <a:gd name="connsiteY6602" fmla="*/ 1316412 h 1867037"/>
                  <a:gd name="connsiteX6603" fmla="*/ 2169475 w 2417513"/>
                  <a:gd name="connsiteY6603" fmla="*/ 1315957 h 1867037"/>
                  <a:gd name="connsiteX6604" fmla="*/ 2167202 w 2417513"/>
                  <a:gd name="connsiteY6604" fmla="*/ 1316412 h 1867037"/>
                  <a:gd name="connsiteX6605" fmla="*/ 2165535 w 2417513"/>
                  <a:gd name="connsiteY6605" fmla="*/ 1315957 h 1867037"/>
                  <a:gd name="connsiteX6606" fmla="*/ 2163262 w 2417513"/>
                  <a:gd name="connsiteY6606" fmla="*/ 1314745 h 1867037"/>
                  <a:gd name="connsiteX6607" fmla="*/ 2162353 w 2417513"/>
                  <a:gd name="connsiteY6607" fmla="*/ 1313987 h 1867037"/>
                  <a:gd name="connsiteX6608" fmla="*/ 2163414 w 2417513"/>
                  <a:gd name="connsiteY6608" fmla="*/ 1312927 h 1867037"/>
                  <a:gd name="connsiteX6609" fmla="*/ 2164929 w 2417513"/>
                  <a:gd name="connsiteY6609" fmla="*/ 1310048 h 1867037"/>
                  <a:gd name="connsiteX6610" fmla="*/ 2165989 w 2417513"/>
                  <a:gd name="connsiteY6610" fmla="*/ 1309139 h 1867037"/>
                  <a:gd name="connsiteX6611" fmla="*/ 2165989 w 2417513"/>
                  <a:gd name="connsiteY6611" fmla="*/ 1308684 h 1867037"/>
                  <a:gd name="connsiteX6612" fmla="*/ 2164020 w 2417513"/>
                  <a:gd name="connsiteY6612" fmla="*/ 1307169 h 1867037"/>
                  <a:gd name="connsiteX6613" fmla="*/ 2159474 w 2417513"/>
                  <a:gd name="connsiteY6613" fmla="*/ 1305957 h 1867037"/>
                  <a:gd name="connsiteX6614" fmla="*/ 2156595 w 2417513"/>
                  <a:gd name="connsiteY6614" fmla="*/ 1305957 h 1867037"/>
                  <a:gd name="connsiteX6615" fmla="*/ 2153565 w 2417513"/>
                  <a:gd name="connsiteY6615" fmla="*/ 1306563 h 1867037"/>
                  <a:gd name="connsiteX6616" fmla="*/ 2150989 w 2417513"/>
                  <a:gd name="connsiteY6616" fmla="*/ 1306260 h 1867037"/>
                  <a:gd name="connsiteX6617" fmla="*/ 2149322 w 2417513"/>
                  <a:gd name="connsiteY6617" fmla="*/ 1305654 h 1867037"/>
                  <a:gd name="connsiteX6618" fmla="*/ 2148262 w 2417513"/>
                  <a:gd name="connsiteY6618" fmla="*/ 1304593 h 1867037"/>
                  <a:gd name="connsiteX6619" fmla="*/ 2151444 w 2417513"/>
                  <a:gd name="connsiteY6619" fmla="*/ 1305048 h 1867037"/>
                  <a:gd name="connsiteX6620" fmla="*/ 2152504 w 2417513"/>
                  <a:gd name="connsiteY6620" fmla="*/ 1304745 h 1867037"/>
                  <a:gd name="connsiteX6621" fmla="*/ 2154777 w 2417513"/>
                  <a:gd name="connsiteY6621" fmla="*/ 1303078 h 1867037"/>
                  <a:gd name="connsiteX6622" fmla="*/ 2157201 w 2417513"/>
                  <a:gd name="connsiteY6622" fmla="*/ 1302775 h 1867037"/>
                  <a:gd name="connsiteX6623" fmla="*/ 2159474 w 2417513"/>
                  <a:gd name="connsiteY6623" fmla="*/ 1301714 h 1867037"/>
                  <a:gd name="connsiteX6624" fmla="*/ 2162656 w 2417513"/>
                  <a:gd name="connsiteY6624" fmla="*/ 1299744 h 1867037"/>
                  <a:gd name="connsiteX6625" fmla="*/ 2163717 w 2417513"/>
                  <a:gd name="connsiteY6625" fmla="*/ 1297472 h 1867037"/>
                  <a:gd name="connsiteX6626" fmla="*/ 2162050 w 2417513"/>
                  <a:gd name="connsiteY6626" fmla="*/ 1293532 h 1867037"/>
                  <a:gd name="connsiteX6627" fmla="*/ 2162808 w 2417513"/>
                  <a:gd name="connsiteY6627" fmla="*/ 1292168 h 1867037"/>
                  <a:gd name="connsiteX6628" fmla="*/ 2164323 w 2417513"/>
                  <a:gd name="connsiteY6628" fmla="*/ 1291259 h 1867037"/>
                  <a:gd name="connsiteX6629" fmla="*/ 2164777 w 2417513"/>
                  <a:gd name="connsiteY6629" fmla="*/ 1289896 h 1867037"/>
                  <a:gd name="connsiteX6630" fmla="*/ 2163111 w 2417513"/>
                  <a:gd name="connsiteY6630" fmla="*/ 1287926 h 1867037"/>
                  <a:gd name="connsiteX6631" fmla="*/ 2158716 w 2417513"/>
                  <a:gd name="connsiteY6631" fmla="*/ 1285805 h 1867037"/>
                  <a:gd name="connsiteX6632" fmla="*/ 2156444 w 2417513"/>
                  <a:gd name="connsiteY6632" fmla="*/ 1286108 h 1867037"/>
                  <a:gd name="connsiteX6633" fmla="*/ 2153565 w 2417513"/>
                  <a:gd name="connsiteY6633" fmla="*/ 1285350 h 1867037"/>
                  <a:gd name="connsiteX6634" fmla="*/ 2148565 w 2417513"/>
                  <a:gd name="connsiteY6634" fmla="*/ 1278077 h 1867037"/>
                  <a:gd name="connsiteX6635" fmla="*/ 2145837 w 2417513"/>
                  <a:gd name="connsiteY6635" fmla="*/ 1277925 h 1867037"/>
                  <a:gd name="connsiteX6636" fmla="*/ 2139625 w 2417513"/>
                  <a:gd name="connsiteY6636" fmla="*/ 1279138 h 1867037"/>
                  <a:gd name="connsiteX6637" fmla="*/ 2135079 w 2417513"/>
                  <a:gd name="connsiteY6637" fmla="*/ 1280501 h 1867037"/>
                  <a:gd name="connsiteX6638" fmla="*/ 2128564 w 2417513"/>
                  <a:gd name="connsiteY6638" fmla="*/ 1284138 h 1867037"/>
                  <a:gd name="connsiteX6639" fmla="*/ 2127503 w 2417513"/>
                  <a:gd name="connsiteY6639" fmla="*/ 1283683 h 1867037"/>
                  <a:gd name="connsiteX6640" fmla="*/ 2130534 w 2417513"/>
                  <a:gd name="connsiteY6640" fmla="*/ 1280956 h 1867037"/>
                  <a:gd name="connsiteX6641" fmla="*/ 2132958 w 2417513"/>
                  <a:gd name="connsiteY6641" fmla="*/ 1279289 h 1867037"/>
                  <a:gd name="connsiteX6642" fmla="*/ 2139776 w 2417513"/>
                  <a:gd name="connsiteY6642" fmla="*/ 1276410 h 1867037"/>
                  <a:gd name="connsiteX6643" fmla="*/ 2143564 w 2417513"/>
                  <a:gd name="connsiteY6643" fmla="*/ 1271713 h 1867037"/>
                  <a:gd name="connsiteX6644" fmla="*/ 2145837 w 2417513"/>
                  <a:gd name="connsiteY6644" fmla="*/ 1265501 h 1867037"/>
                  <a:gd name="connsiteX6645" fmla="*/ 2145383 w 2417513"/>
                  <a:gd name="connsiteY6645" fmla="*/ 1264592 h 1867037"/>
                  <a:gd name="connsiteX6646" fmla="*/ 2141898 w 2417513"/>
                  <a:gd name="connsiteY6646" fmla="*/ 1264743 h 1867037"/>
                  <a:gd name="connsiteX6647" fmla="*/ 2139170 w 2417513"/>
                  <a:gd name="connsiteY6647" fmla="*/ 1265198 h 1867037"/>
                  <a:gd name="connsiteX6648" fmla="*/ 2132655 w 2417513"/>
                  <a:gd name="connsiteY6648" fmla="*/ 1267774 h 1867037"/>
                  <a:gd name="connsiteX6649" fmla="*/ 2131140 w 2417513"/>
                  <a:gd name="connsiteY6649" fmla="*/ 1267925 h 1867037"/>
                  <a:gd name="connsiteX6650" fmla="*/ 2131443 w 2417513"/>
                  <a:gd name="connsiteY6650" fmla="*/ 1266713 h 1867037"/>
                  <a:gd name="connsiteX6651" fmla="*/ 2130685 w 2417513"/>
                  <a:gd name="connsiteY6651" fmla="*/ 1265955 h 1867037"/>
                  <a:gd name="connsiteX6652" fmla="*/ 2128867 w 2417513"/>
                  <a:gd name="connsiteY6652" fmla="*/ 1265652 h 1867037"/>
                  <a:gd name="connsiteX6653" fmla="*/ 2126442 w 2417513"/>
                  <a:gd name="connsiteY6653" fmla="*/ 1266713 h 1867037"/>
                  <a:gd name="connsiteX6654" fmla="*/ 2121594 w 2417513"/>
                  <a:gd name="connsiteY6654" fmla="*/ 1271107 h 1867037"/>
                  <a:gd name="connsiteX6655" fmla="*/ 2119927 w 2417513"/>
                  <a:gd name="connsiteY6655" fmla="*/ 1271107 h 1867037"/>
                  <a:gd name="connsiteX6656" fmla="*/ 2122654 w 2417513"/>
                  <a:gd name="connsiteY6656" fmla="*/ 1268380 h 1867037"/>
                  <a:gd name="connsiteX6657" fmla="*/ 2124018 w 2417513"/>
                  <a:gd name="connsiteY6657" fmla="*/ 1266258 h 1867037"/>
                  <a:gd name="connsiteX6658" fmla="*/ 2128715 w 2417513"/>
                  <a:gd name="connsiteY6658" fmla="*/ 1263531 h 1867037"/>
                  <a:gd name="connsiteX6659" fmla="*/ 2131897 w 2417513"/>
                  <a:gd name="connsiteY6659" fmla="*/ 1262470 h 1867037"/>
                  <a:gd name="connsiteX6660" fmla="*/ 2138110 w 2417513"/>
                  <a:gd name="connsiteY6660" fmla="*/ 1257470 h 1867037"/>
                  <a:gd name="connsiteX6661" fmla="*/ 2136746 w 2417513"/>
                  <a:gd name="connsiteY6661" fmla="*/ 1253682 h 1867037"/>
                  <a:gd name="connsiteX6662" fmla="*/ 2134473 w 2417513"/>
                  <a:gd name="connsiteY6662" fmla="*/ 1250046 h 1867037"/>
                  <a:gd name="connsiteX6663" fmla="*/ 2133261 w 2417513"/>
                  <a:gd name="connsiteY6663" fmla="*/ 1249137 h 1867037"/>
                  <a:gd name="connsiteX6664" fmla="*/ 2129625 w 2417513"/>
                  <a:gd name="connsiteY6664" fmla="*/ 1249894 h 1867037"/>
                  <a:gd name="connsiteX6665" fmla="*/ 2127049 w 2417513"/>
                  <a:gd name="connsiteY6665" fmla="*/ 1249440 h 1867037"/>
                  <a:gd name="connsiteX6666" fmla="*/ 2128715 w 2417513"/>
                  <a:gd name="connsiteY6666" fmla="*/ 1247621 h 1867037"/>
                  <a:gd name="connsiteX6667" fmla="*/ 2128867 w 2417513"/>
                  <a:gd name="connsiteY6667" fmla="*/ 1247015 h 1867037"/>
                  <a:gd name="connsiteX6668" fmla="*/ 2127200 w 2417513"/>
                  <a:gd name="connsiteY6668" fmla="*/ 1243985 h 1867037"/>
                  <a:gd name="connsiteX6669" fmla="*/ 2126442 w 2417513"/>
                  <a:gd name="connsiteY6669" fmla="*/ 1243076 h 1867037"/>
                  <a:gd name="connsiteX6670" fmla="*/ 2126594 w 2417513"/>
                  <a:gd name="connsiteY6670" fmla="*/ 1242773 h 1867037"/>
                  <a:gd name="connsiteX6671" fmla="*/ 2128867 w 2417513"/>
                  <a:gd name="connsiteY6671" fmla="*/ 1241864 h 1867037"/>
                  <a:gd name="connsiteX6672" fmla="*/ 2128109 w 2417513"/>
                  <a:gd name="connsiteY6672" fmla="*/ 1241409 h 1867037"/>
                  <a:gd name="connsiteX6673" fmla="*/ 2125988 w 2417513"/>
                  <a:gd name="connsiteY6673" fmla="*/ 1240803 h 1867037"/>
                  <a:gd name="connsiteX6674" fmla="*/ 2124018 w 2417513"/>
                  <a:gd name="connsiteY6674" fmla="*/ 1240954 h 1867037"/>
                  <a:gd name="connsiteX6675" fmla="*/ 2119473 w 2417513"/>
                  <a:gd name="connsiteY6675" fmla="*/ 1242318 h 1867037"/>
                  <a:gd name="connsiteX6676" fmla="*/ 2113260 w 2417513"/>
                  <a:gd name="connsiteY6676" fmla="*/ 1243076 h 1867037"/>
                  <a:gd name="connsiteX6677" fmla="*/ 2109169 w 2417513"/>
                  <a:gd name="connsiteY6677" fmla="*/ 1243076 h 1867037"/>
                  <a:gd name="connsiteX6678" fmla="*/ 2108412 w 2417513"/>
                  <a:gd name="connsiteY6678" fmla="*/ 1242015 h 1867037"/>
                  <a:gd name="connsiteX6679" fmla="*/ 2110078 w 2417513"/>
                  <a:gd name="connsiteY6679" fmla="*/ 1241561 h 1867037"/>
                  <a:gd name="connsiteX6680" fmla="*/ 2114321 w 2417513"/>
                  <a:gd name="connsiteY6680" fmla="*/ 1241712 h 1867037"/>
                  <a:gd name="connsiteX6681" fmla="*/ 2117351 w 2417513"/>
                  <a:gd name="connsiteY6681" fmla="*/ 1241106 h 1867037"/>
                  <a:gd name="connsiteX6682" fmla="*/ 2121139 w 2417513"/>
                  <a:gd name="connsiteY6682" fmla="*/ 1239591 h 1867037"/>
                  <a:gd name="connsiteX6683" fmla="*/ 2123564 w 2417513"/>
                  <a:gd name="connsiteY6683" fmla="*/ 1236409 h 1867037"/>
                  <a:gd name="connsiteX6684" fmla="*/ 2120079 w 2417513"/>
                  <a:gd name="connsiteY6684" fmla="*/ 1230802 h 1867037"/>
                  <a:gd name="connsiteX6685" fmla="*/ 2117351 w 2417513"/>
                  <a:gd name="connsiteY6685" fmla="*/ 1230499 h 1867037"/>
                  <a:gd name="connsiteX6686" fmla="*/ 2114169 w 2417513"/>
                  <a:gd name="connsiteY6686" fmla="*/ 1233075 h 1867037"/>
                  <a:gd name="connsiteX6687" fmla="*/ 2113563 w 2417513"/>
                  <a:gd name="connsiteY6687" fmla="*/ 1233075 h 1867037"/>
                  <a:gd name="connsiteX6688" fmla="*/ 2114018 w 2417513"/>
                  <a:gd name="connsiteY6688" fmla="*/ 1231409 h 1867037"/>
                  <a:gd name="connsiteX6689" fmla="*/ 2113412 w 2417513"/>
                  <a:gd name="connsiteY6689" fmla="*/ 1230196 h 1867037"/>
                  <a:gd name="connsiteX6690" fmla="*/ 2108866 w 2417513"/>
                  <a:gd name="connsiteY6690" fmla="*/ 1228984 h 1867037"/>
                  <a:gd name="connsiteX6691" fmla="*/ 2108109 w 2417513"/>
                  <a:gd name="connsiteY6691" fmla="*/ 1227772 h 1867037"/>
                  <a:gd name="connsiteX6692" fmla="*/ 2111442 w 2417513"/>
                  <a:gd name="connsiteY6692" fmla="*/ 1226257 h 1867037"/>
                  <a:gd name="connsiteX6693" fmla="*/ 2114169 w 2417513"/>
                  <a:gd name="connsiteY6693" fmla="*/ 1223681 h 1867037"/>
                  <a:gd name="connsiteX6694" fmla="*/ 2111745 w 2417513"/>
                  <a:gd name="connsiteY6694" fmla="*/ 1221105 h 1867037"/>
                  <a:gd name="connsiteX6695" fmla="*/ 2109321 w 2417513"/>
                  <a:gd name="connsiteY6695" fmla="*/ 1218226 h 1867037"/>
                  <a:gd name="connsiteX6696" fmla="*/ 2108260 w 2417513"/>
                  <a:gd name="connsiteY6696" fmla="*/ 1216105 h 1867037"/>
                  <a:gd name="connsiteX6697" fmla="*/ 2107957 w 2417513"/>
                  <a:gd name="connsiteY6697" fmla="*/ 1213832 h 1867037"/>
                  <a:gd name="connsiteX6698" fmla="*/ 2105836 w 2417513"/>
                  <a:gd name="connsiteY6698" fmla="*/ 1210953 h 1867037"/>
                  <a:gd name="connsiteX6699" fmla="*/ 2103260 w 2417513"/>
                  <a:gd name="connsiteY6699" fmla="*/ 1212165 h 1867037"/>
                  <a:gd name="connsiteX6700" fmla="*/ 2101139 w 2417513"/>
                  <a:gd name="connsiteY6700" fmla="*/ 1214287 h 1867037"/>
                  <a:gd name="connsiteX6701" fmla="*/ 2102654 w 2417513"/>
                  <a:gd name="connsiteY6701" fmla="*/ 1210044 h 1867037"/>
                  <a:gd name="connsiteX6702" fmla="*/ 2102199 w 2417513"/>
                  <a:gd name="connsiteY6702" fmla="*/ 1204892 h 1867037"/>
                  <a:gd name="connsiteX6703" fmla="*/ 2099472 w 2417513"/>
                  <a:gd name="connsiteY6703" fmla="*/ 1201104 h 1867037"/>
                  <a:gd name="connsiteX6704" fmla="*/ 2096138 w 2417513"/>
                  <a:gd name="connsiteY6704" fmla="*/ 1201104 h 1867037"/>
                  <a:gd name="connsiteX6705" fmla="*/ 2092047 w 2417513"/>
                  <a:gd name="connsiteY6705" fmla="*/ 1202014 h 1867037"/>
                  <a:gd name="connsiteX6706" fmla="*/ 2087350 w 2417513"/>
                  <a:gd name="connsiteY6706" fmla="*/ 1203832 h 1867037"/>
                  <a:gd name="connsiteX6707" fmla="*/ 2085835 w 2417513"/>
                  <a:gd name="connsiteY6707" fmla="*/ 1203377 h 1867037"/>
                  <a:gd name="connsiteX6708" fmla="*/ 2087350 w 2417513"/>
                  <a:gd name="connsiteY6708" fmla="*/ 1202317 h 1867037"/>
                  <a:gd name="connsiteX6709" fmla="*/ 2092502 w 2417513"/>
                  <a:gd name="connsiteY6709" fmla="*/ 1199892 h 1867037"/>
                  <a:gd name="connsiteX6710" fmla="*/ 2095532 w 2417513"/>
                  <a:gd name="connsiteY6710" fmla="*/ 1196710 h 1867037"/>
                  <a:gd name="connsiteX6711" fmla="*/ 2095078 w 2417513"/>
                  <a:gd name="connsiteY6711" fmla="*/ 1194438 h 1867037"/>
                  <a:gd name="connsiteX6712" fmla="*/ 2093411 w 2417513"/>
                  <a:gd name="connsiteY6712" fmla="*/ 1192771 h 1867037"/>
                  <a:gd name="connsiteX6713" fmla="*/ 2087805 w 2417513"/>
                  <a:gd name="connsiteY6713" fmla="*/ 1190043 h 1867037"/>
                  <a:gd name="connsiteX6714" fmla="*/ 2084774 w 2417513"/>
                  <a:gd name="connsiteY6714" fmla="*/ 1190195 h 1867037"/>
                  <a:gd name="connsiteX6715" fmla="*/ 2084017 w 2417513"/>
                  <a:gd name="connsiteY6715" fmla="*/ 1191104 h 1867037"/>
                  <a:gd name="connsiteX6716" fmla="*/ 2082805 w 2417513"/>
                  <a:gd name="connsiteY6716" fmla="*/ 1192013 h 1867037"/>
                  <a:gd name="connsiteX6717" fmla="*/ 2081592 w 2417513"/>
                  <a:gd name="connsiteY6717" fmla="*/ 1193377 h 1867037"/>
                  <a:gd name="connsiteX6718" fmla="*/ 2077653 w 2417513"/>
                  <a:gd name="connsiteY6718" fmla="*/ 1201104 h 1867037"/>
                  <a:gd name="connsiteX6719" fmla="*/ 2076744 w 2417513"/>
                  <a:gd name="connsiteY6719" fmla="*/ 1203983 h 1867037"/>
                  <a:gd name="connsiteX6720" fmla="*/ 2074925 w 2417513"/>
                  <a:gd name="connsiteY6720" fmla="*/ 1207468 h 1867037"/>
                  <a:gd name="connsiteX6721" fmla="*/ 2074622 w 2417513"/>
                  <a:gd name="connsiteY6721" fmla="*/ 1209135 h 1867037"/>
                  <a:gd name="connsiteX6722" fmla="*/ 2075229 w 2417513"/>
                  <a:gd name="connsiteY6722" fmla="*/ 1210650 h 1867037"/>
                  <a:gd name="connsiteX6723" fmla="*/ 2076441 w 2417513"/>
                  <a:gd name="connsiteY6723" fmla="*/ 1211862 h 1867037"/>
                  <a:gd name="connsiteX6724" fmla="*/ 2078713 w 2417513"/>
                  <a:gd name="connsiteY6724" fmla="*/ 1213075 h 1867037"/>
                  <a:gd name="connsiteX6725" fmla="*/ 2077956 w 2417513"/>
                  <a:gd name="connsiteY6725" fmla="*/ 1213832 h 1867037"/>
                  <a:gd name="connsiteX6726" fmla="*/ 2073713 w 2417513"/>
                  <a:gd name="connsiteY6726" fmla="*/ 1211559 h 1867037"/>
                  <a:gd name="connsiteX6727" fmla="*/ 2071592 w 2417513"/>
                  <a:gd name="connsiteY6727" fmla="*/ 1211256 h 1867037"/>
                  <a:gd name="connsiteX6728" fmla="*/ 2069774 w 2417513"/>
                  <a:gd name="connsiteY6728" fmla="*/ 1211559 h 1867037"/>
                  <a:gd name="connsiteX6729" fmla="*/ 2068410 w 2417513"/>
                  <a:gd name="connsiteY6729" fmla="*/ 1212165 h 1867037"/>
                  <a:gd name="connsiteX6730" fmla="*/ 2067653 w 2417513"/>
                  <a:gd name="connsiteY6730" fmla="*/ 1212923 h 1867037"/>
                  <a:gd name="connsiteX6731" fmla="*/ 2066289 w 2417513"/>
                  <a:gd name="connsiteY6731" fmla="*/ 1216408 h 1867037"/>
                  <a:gd name="connsiteX6732" fmla="*/ 2066137 w 2417513"/>
                  <a:gd name="connsiteY6732" fmla="*/ 1218075 h 1867037"/>
                  <a:gd name="connsiteX6733" fmla="*/ 2066440 w 2417513"/>
                  <a:gd name="connsiteY6733" fmla="*/ 1219438 h 1867037"/>
                  <a:gd name="connsiteX6734" fmla="*/ 2068259 w 2417513"/>
                  <a:gd name="connsiteY6734" fmla="*/ 1222620 h 1867037"/>
                  <a:gd name="connsiteX6735" fmla="*/ 2069925 w 2417513"/>
                  <a:gd name="connsiteY6735" fmla="*/ 1223833 h 1867037"/>
                  <a:gd name="connsiteX6736" fmla="*/ 2072198 w 2417513"/>
                  <a:gd name="connsiteY6736" fmla="*/ 1224439 h 1867037"/>
                  <a:gd name="connsiteX6737" fmla="*/ 2074774 w 2417513"/>
                  <a:gd name="connsiteY6737" fmla="*/ 1225802 h 1867037"/>
                  <a:gd name="connsiteX6738" fmla="*/ 2077501 w 2417513"/>
                  <a:gd name="connsiteY6738" fmla="*/ 1227924 h 1867037"/>
                  <a:gd name="connsiteX6739" fmla="*/ 2078410 w 2417513"/>
                  <a:gd name="connsiteY6739" fmla="*/ 1228833 h 1867037"/>
                  <a:gd name="connsiteX6740" fmla="*/ 2077350 w 2417513"/>
                  <a:gd name="connsiteY6740" fmla="*/ 1229287 h 1867037"/>
                  <a:gd name="connsiteX6741" fmla="*/ 2071895 w 2417513"/>
                  <a:gd name="connsiteY6741" fmla="*/ 1225802 h 1867037"/>
                  <a:gd name="connsiteX6742" fmla="*/ 2069774 w 2417513"/>
                  <a:gd name="connsiteY6742" fmla="*/ 1225196 h 1867037"/>
                  <a:gd name="connsiteX6743" fmla="*/ 2066289 w 2417513"/>
                  <a:gd name="connsiteY6743" fmla="*/ 1225499 h 1867037"/>
                  <a:gd name="connsiteX6744" fmla="*/ 2065834 w 2417513"/>
                  <a:gd name="connsiteY6744" fmla="*/ 1226408 h 1867037"/>
                  <a:gd name="connsiteX6745" fmla="*/ 2068107 w 2417513"/>
                  <a:gd name="connsiteY6745" fmla="*/ 1231106 h 1867037"/>
                  <a:gd name="connsiteX6746" fmla="*/ 2067956 w 2417513"/>
                  <a:gd name="connsiteY6746" fmla="*/ 1231712 h 1867037"/>
                  <a:gd name="connsiteX6747" fmla="*/ 2065228 w 2417513"/>
                  <a:gd name="connsiteY6747" fmla="*/ 1230348 h 1867037"/>
                  <a:gd name="connsiteX6748" fmla="*/ 2064319 w 2417513"/>
                  <a:gd name="connsiteY6748" fmla="*/ 1231560 h 1867037"/>
                  <a:gd name="connsiteX6749" fmla="*/ 2063410 w 2417513"/>
                  <a:gd name="connsiteY6749" fmla="*/ 1234590 h 1867037"/>
                  <a:gd name="connsiteX6750" fmla="*/ 2062652 w 2417513"/>
                  <a:gd name="connsiteY6750" fmla="*/ 1235803 h 1867037"/>
                  <a:gd name="connsiteX6751" fmla="*/ 2061137 w 2417513"/>
                  <a:gd name="connsiteY6751" fmla="*/ 1235197 h 1867037"/>
                  <a:gd name="connsiteX6752" fmla="*/ 2060228 w 2417513"/>
                  <a:gd name="connsiteY6752" fmla="*/ 1235197 h 1867037"/>
                  <a:gd name="connsiteX6753" fmla="*/ 2060076 w 2417513"/>
                  <a:gd name="connsiteY6753" fmla="*/ 1235803 h 1867037"/>
                  <a:gd name="connsiteX6754" fmla="*/ 2060986 w 2417513"/>
                  <a:gd name="connsiteY6754" fmla="*/ 1238227 h 1867037"/>
                  <a:gd name="connsiteX6755" fmla="*/ 2061743 w 2417513"/>
                  <a:gd name="connsiteY6755" fmla="*/ 1239288 h 1867037"/>
                  <a:gd name="connsiteX6756" fmla="*/ 2062652 w 2417513"/>
                  <a:gd name="connsiteY6756" fmla="*/ 1240045 h 1867037"/>
                  <a:gd name="connsiteX6757" fmla="*/ 2065683 w 2417513"/>
                  <a:gd name="connsiteY6757" fmla="*/ 1240803 h 1867037"/>
                  <a:gd name="connsiteX6758" fmla="*/ 2068713 w 2417513"/>
                  <a:gd name="connsiteY6758" fmla="*/ 1242015 h 1867037"/>
                  <a:gd name="connsiteX6759" fmla="*/ 2068410 w 2417513"/>
                  <a:gd name="connsiteY6759" fmla="*/ 1242924 h 1867037"/>
                  <a:gd name="connsiteX6760" fmla="*/ 2064925 w 2417513"/>
                  <a:gd name="connsiteY6760" fmla="*/ 1243076 h 1867037"/>
                  <a:gd name="connsiteX6761" fmla="*/ 2064470 w 2417513"/>
                  <a:gd name="connsiteY6761" fmla="*/ 1243985 h 1867037"/>
                  <a:gd name="connsiteX6762" fmla="*/ 2060380 w 2417513"/>
                  <a:gd name="connsiteY6762" fmla="*/ 1243227 h 1867037"/>
                  <a:gd name="connsiteX6763" fmla="*/ 2059622 w 2417513"/>
                  <a:gd name="connsiteY6763" fmla="*/ 1243530 h 1867037"/>
                  <a:gd name="connsiteX6764" fmla="*/ 2059622 w 2417513"/>
                  <a:gd name="connsiteY6764" fmla="*/ 1244439 h 1867037"/>
                  <a:gd name="connsiteX6765" fmla="*/ 2060076 w 2417513"/>
                  <a:gd name="connsiteY6765" fmla="*/ 1245803 h 1867037"/>
                  <a:gd name="connsiteX6766" fmla="*/ 2057652 w 2417513"/>
                  <a:gd name="connsiteY6766" fmla="*/ 1245349 h 1867037"/>
                  <a:gd name="connsiteX6767" fmla="*/ 2056440 w 2417513"/>
                  <a:gd name="connsiteY6767" fmla="*/ 1245500 h 1867037"/>
                  <a:gd name="connsiteX6768" fmla="*/ 2054319 w 2417513"/>
                  <a:gd name="connsiteY6768" fmla="*/ 1248076 h 1867037"/>
                  <a:gd name="connsiteX6769" fmla="*/ 2054319 w 2417513"/>
                  <a:gd name="connsiteY6769" fmla="*/ 1248833 h 1867037"/>
                  <a:gd name="connsiteX6770" fmla="*/ 2056592 w 2417513"/>
                  <a:gd name="connsiteY6770" fmla="*/ 1250197 h 1867037"/>
                  <a:gd name="connsiteX6771" fmla="*/ 2056137 w 2417513"/>
                  <a:gd name="connsiteY6771" fmla="*/ 1250803 h 1867037"/>
                  <a:gd name="connsiteX6772" fmla="*/ 2053106 w 2417513"/>
                  <a:gd name="connsiteY6772" fmla="*/ 1251106 h 1867037"/>
                  <a:gd name="connsiteX6773" fmla="*/ 2050985 w 2417513"/>
                  <a:gd name="connsiteY6773" fmla="*/ 1251864 h 1867037"/>
                  <a:gd name="connsiteX6774" fmla="*/ 2050834 w 2417513"/>
                  <a:gd name="connsiteY6774" fmla="*/ 1253228 h 1867037"/>
                  <a:gd name="connsiteX6775" fmla="*/ 2051591 w 2417513"/>
                  <a:gd name="connsiteY6775" fmla="*/ 1255349 h 1867037"/>
                  <a:gd name="connsiteX6776" fmla="*/ 2053561 w 2417513"/>
                  <a:gd name="connsiteY6776" fmla="*/ 1258682 h 1867037"/>
                  <a:gd name="connsiteX6777" fmla="*/ 2054167 w 2417513"/>
                  <a:gd name="connsiteY6777" fmla="*/ 1260198 h 1867037"/>
                  <a:gd name="connsiteX6778" fmla="*/ 2054319 w 2417513"/>
                  <a:gd name="connsiteY6778" fmla="*/ 1261713 h 1867037"/>
                  <a:gd name="connsiteX6779" fmla="*/ 2054016 w 2417513"/>
                  <a:gd name="connsiteY6779" fmla="*/ 1263228 h 1867037"/>
                  <a:gd name="connsiteX6780" fmla="*/ 2052046 w 2417513"/>
                  <a:gd name="connsiteY6780" fmla="*/ 1267319 h 1867037"/>
                  <a:gd name="connsiteX6781" fmla="*/ 2051591 w 2417513"/>
                  <a:gd name="connsiteY6781" fmla="*/ 1267319 h 1867037"/>
                  <a:gd name="connsiteX6782" fmla="*/ 2051288 w 2417513"/>
                  <a:gd name="connsiteY6782" fmla="*/ 1261864 h 1867037"/>
                  <a:gd name="connsiteX6783" fmla="*/ 2050834 w 2417513"/>
                  <a:gd name="connsiteY6783" fmla="*/ 1260349 h 1867037"/>
                  <a:gd name="connsiteX6784" fmla="*/ 2049622 w 2417513"/>
                  <a:gd name="connsiteY6784" fmla="*/ 1258228 h 1867037"/>
                  <a:gd name="connsiteX6785" fmla="*/ 2047500 w 2417513"/>
                  <a:gd name="connsiteY6785" fmla="*/ 1255500 h 1867037"/>
                  <a:gd name="connsiteX6786" fmla="*/ 2045682 w 2417513"/>
                  <a:gd name="connsiteY6786" fmla="*/ 1253682 h 1867037"/>
                  <a:gd name="connsiteX6787" fmla="*/ 2044015 w 2417513"/>
                  <a:gd name="connsiteY6787" fmla="*/ 1252773 h 1867037"/>
                  <a:gd name="connsiteX6788" fmla="*/ 2042197 w 2417513"/>
                  <a:gd name="connsiteY6788" fmla="*/ 1252925 h 1867037"/>
                  <a:gd name="connsiteX6789" fmla="*/ 2039015 w 2417513"/>
                  <a:gd name="connsiteY6789" fmla="*/ 1255349 h 1867037"/>
                  <a:gd name="connsiteX6790" fmla="*/ 2038106 w 2417513"/>
                  <a:gd name="connsiteY6790" fmla="*/ 1256713 h 1867037"/>
                  <a:gd name="connsiteX6791" fmla="*/ 2036894 w 2417513"/>
                  <a:gd name="connsiteY6791" fmla="*/ 1259137 h 1867037"/>
                  <a:gd name="connsiteX6792" fmla="*/ 2035530 w 2417513"/>
                  <a:gd name="connsiteY6792" fmla="*/ 1262622 h 1867037"/>
                  <a:gd name="connsiteX6793" fmla="*/ 2032348 w 2417513"/>
                  <a:gd name="connsiteY6793" fmla="*/ 1264895 h 1867037"/>
                  <a:gd name="connsiteX6794" fmla="*/ 2027499 w 2417513"/>
                  <a:gd name="connsiteY6794" fmla="*/ 1265955 h 1867037"/>
                  <a:gd name="connsiteX6795" fmla="*/ 2024318 w 2417513"/>
                  <a:gd name="connsiteY6795" fmla="*/ 1267167 h 1867037"/>
                  <a:gd name="connsiteX6796" fmla="*/ 2020378 w 2417513"/>
                  <a:gd name="connsiteY6796" fmla="*/ 1269592 h 1867037"/>
                  <a:gd name="connsiteX6797" fmla="*/ 2014317 w 2417513"/>
                  <a:gd name="connsiteY6797" fmla="*/ 1272471 h 1867037"/>
                  <a:gd name="connsiteX6798" fmla="*/ 2009165 w 2417513"/>
                  <a:gd name="connsiteY6798" fmla="*/ 1275956 h 1867037"/>
                  <a:gd name="connsiteX6799" fmla="*/ 2008408 w 2417513"/>
                  <a:gd name="connsiteY6799" fmla="*/ 1277016 h 1867037"/>
                  <a:gd name="connsiteX6800" fmla="*/ 2007802 w 2417513"/>
                  <a:gd name="connsiteY6800" fmla="*/ 1278835 h 1867037"/>
                  <a:gd name="connsiteX6801" fmla="*/ 2007347 w 2417513"/>
                  <a:gd name="connsiteY6801" fmla="*/ 1281410 h 1867037"/>
                  <a:gd name="connsiteX6802" fmla="*/ 2006135 w 2417513"/>
                  <a:gd name="connsiteY6802" fmla="*/ 1284744 h 1867037"/>
                  <a:gd name="connsiteX6803" fmla="*/ 2005681 w 2417513"/>
                  <a:gd name="connsiteY6803" fmla="*/ 1283986 h 1867037"/>
                  <a:gd name="connsiteX6804" fmla="*/ 2006135 w 2417513"/>
                  <a:gd name="connsiteY6804" fmla="*/ 1280047 h 1867037"/>
                  <a:gd name="connsiteX6805" fmla="*/ 2005983 w 2417513"/>
                  <a:gd name="connsiteY6805" fmla="*/ 1278683 h 1867037"/>
                  <a:gd name="connsiteX6806" fmla="*/ 2005983 w 2417513"/>
                  <a:gd name="connsiteY6806" fmla="*/ 1274592 h 1867037"/>
                  <a:gd name="connsiteX6807" fmla="*/ 2004620 w 2417513"/>
                  <a:gd name="connsiteY6807" fmla="*/ 1268986 h 1867037"/>
                  <a:gd name="connsiteX6808" fmla="*/ 2004165 w 2417513"/>
                  <a:gd name="connsiteY6808" fmla="*/ 1268380 h 1867037"/>
                  <a:gd name="connsiteX6809" fmla="*/ 2002802 w 2417513"/>
                  <a:gd name="connsiteY6809" fmla="*/ 1269895 h 1867037"/>
                  <a:gd name="connsiteX6810" fmla="*/ 2002347 w 2417513"/>
                  <a:gd name="connsiteY6810" fmla="*/ 1272168 h 1867037"/>
                  <a:gd name="connsiteX6811" fmla="*/ 2001438 w 2417513"/>
                  <a:gd name="connsiteY6811" fmla="*/ 1273683 h 1867037"/>
                  <a:gd name="connsiteX6812" fmla="*/ 1997195 w 2417513"/>
                  <a:gd name="connsiteY6812" fmla="*/ 1278532 h 1867037"/>
                  <a:gd name="connsiteX6813" fmla="*/ 1995680 w 2417513"/>
                  <a:gd name="connsiteY6813" fmla="*/ 1278986 h 1867037"/>
                  <a:gd name="connsiteX6814" fmla="*/ 1999923 w 2417513"/>
                  <a:gd name="connsiteY6814" fmla="*/ 1273834 h 1867037"/>
                  <a:gd name="connsiteX6815" fmla="*/ 2000529 w 2417513"/>
                  <a:gd name="connsiteY6815" fmla="*/ 1272622 h 1867037"/>
                  <a:gd name="connsiteX6816" fmla="*/ 2000529 w 2417513"/>
                  <a:gd name="connsiteY6816" fmla="*/ 1271259 h 1867037"/>
                  <a:gd name="connsiteX6817" fmla="*/ 1997953 w 2417513"/>
                  <a:gd name="connsiteY6817" fmla="*/ 1265955 h 1867037"/>
                  <a:gd name="connsiteX6818" fmla="*/ 1996892 w 2417513"/>
                  <a:gd name="connsiteY6818" fmla="*/ 1265046 h 1867037"/>
                  <a:gd name="connsiteX6819" fmla="*/ 1994468 w 2417513"/>
                  <a:gd name="connsiteY6819" fmla="*/ 1265501 h 1867037"/>
                  <a:gd name="connsiteX6820" fmla="*/ 1992650 w 2417513"/>
                  <a:gd name="connsiteY6820" fmla="*/ 1268380 h 1867037"/>
                  <a:gd name="connsiteX6821" fmla="*/ 1989468 w 2417513"/>
                  <a:gd name="connsiteY6821" fmla="*/ 1277319 h 1867037"/>
                  <a:gd name="connsiteX6822" fmla="*/ 1987801 w 2417513"/>
                  <a:gd name="connsiteY6822" fmla="*/ 1280804 h 1867037"/>
                  <a:gd name="connsiteX6823" fmla="*/ 1986134 w 2417513"/>
                  <a:gd name="connsiteY6823" fmla="*/ 1282320 h 1867037"/>
                  <a:gd name="connsiteX6824" fmla="*/ 1983862 w 2417513"/>
                  <a:gd name="connsiteY6824" fmla="*/ 1283986 h 1867037"/>
                  <a:gd name="connsiteX6825" fmla="*/ 1975982 w 2417513"/>
                  <a:gd name="connsiteY6825" fmla="*/ 1285350 h 1867037"/>
                  <a:gd name="connsiteX6826" fmla="*/ 1968861 w 2417513"/>
                  <a:gd name="connsiteY6826" fmla="*/ 1288229 h 1867037"/>
                  <a:gd name="connsiteX6827" fmla="*/ 1969012 w 2417513"/>
                  <a:gd name="connsiteY6827" fmla="*/ 1287320 h 1867037"/>
                  <a:gd name="connsiteX6828" fmla="*/ 1971437 w 2417513"/>
                  <a:gd name="connsiteY6828" fmla="*/ 1285653 h 1867037"/>
                  <a:gd name="connsiteX6829" fmla="*/ 1974770 w 2417513"/>
                  <a:gd name="connsiteY6829" fmla="*/ 1284441 h 1867037"/>
                  <a:gd name="connsiteX6830" fmla="*/ 1980983 w 2417513"/>
                  <a:gd name="connsiteY6830" fmla="*/ 1282926 h 1867037"/>
                  <a:gd name="connsiteX6831" fmla="*/ 1984468 w 2417513"/>
                  <a:gd name="connsiteY6831" fmla="*/ 1281410 h 1867037"/>
                  <a:gd name="connsiteX6832" fmla="*/ 1987498 w 2417513"/>
                  <a:gd name="connsiteY6832" fmla="*/ 1277925 h 1867037"/>
                  <a:gd name="connsiteX6833" fmla="*/ 1988710 w 2417513"/>
                  <a:gd name="connsiteY6833" fmla="*/ 1275350 h 1867037"/>
                  <a:gd name="connsiteX6834" fmla="*/ 1990983 w 2417513"/>
                  <a:gd name="connsiteY6834" fmla="*/ 1268531 h 1867037"/>
                  <a:gd name="connsiteX6835" fmla="*/ 1991134 w 2417513"/>
                  <a:gd name="connsiteY6835" fmla="*/ 1265046 h 1867037"/>
                  <a:gd name="connsiteX6836" fmla="*/ 1990983 w 2417513"/>
                  <a:gd name="connsiteY6836" fmla="*/ 1263228 h 1867037"/>
                  <a:gd name="connsiteX6837" fmla="*/ 1990529 w 2417513"/>
                  <a:gd name="connsiteY6837" fmla="*/ 1262016 h 1867037"/>
                  <a:gd name="connsiteX6838" fmla="*/ 1988559 w 2417513"/>
                  <a:gd name="connsiteY6838" fmla="*/ 1260501 h 1867037"/>
                  <a:gd name="connsiteX6839" fmla="*/ 1987043 w 2417513"/>
                  <a:gd name="connsiteY6839" fmla="*/ 1254591 h 1867037"/>
                  <a:gd name="connsiteX6840" fmla="*/ 1986134 w 2417513"/>
                  <a:gd name="connsiteY6840" fmla="*/ 1253076 h 1867037"/>
                  <a:gd name="connsiteX6841" fmla="*/ 1984468 w 2417513"/>
                  <a:gd name="connsiteY6841" fmla="*/ 1251409 h 1867037"/>
                  <a:gd name="connsiteX6842" fmla="*/ 1982043 w 2417513"/>
                  <a:gd name="connsiteY6842" fmla="*/ 1249743 h 1867037"/>
                  <a:gd name="connsiteX6843" fmla="*/ 1980074 w 2417513"/>
                  <a:gd name="connsiteY6843" fmla="*/ 1248682 h 1867037"/>
                  <a:gd name="connsiteX6844" fmla="*/ 1978407 w 2417513"/>
                  <a:gd name="connsiteY6844" fmla="*/ 1248227 h 1867037"/>
                  <a:gd name="connsiteX6845" fmla="*/ 1971740 w 2417513"/>
                  <a:gd name="connsiteY6845" fmla="*/ 1248833 h 1867037"/>
                  <a:gd name="connsiteX6846" fmla="*/ 1968406 w 2417513"/>
                  <a:gd name="connsiteY6846" fmla="*/ 1248530 h 1867037"/>
                  <a:gd name="connsiteX6847" fmla="*/ 1965376 w 2417513"/>
                  <a:gd name="connsiteY6847" fmla="*/ 1248530 h 1867037"/>
                  <a:gd name="connsiteX6848" fmla="*/ 1962649 w 2417513"/>
                  <a:gd name="connsiteY6848" fmla="*/ 1248985 h 1867037"/>
                  <a:gd name="connsiteX6849" fmla="*/ 1959618 w 2417513"/>
                  <a:gd name="connsiteY6849" fmla="*/ 1250349 h 1867037"/>
                  <a:gd name="connsiteX6850" fmla="*/ 1952194 w 2417513"/>
                  <a:gd name="connsiteY6850" fmla="*/ 1255197 h 1867037"/>
                  <a:gd name="connsiteX6851" fmla="*/ 1948406 w 2417513"/>
                  <a:gd name="connsiteY6851" fmla="*/ 1256713 h 1867037"/>
                  <a:gd name="connsiteX6852" fmla="*/ 1945981 w 2417513"/>
                  <a:gd name="connsiteY6852" fmla="*/ 1256410 h 1867037"/>
                  <a:gd name="connsiteX6853" fmla="*/ 1941739 w 2417513"/>
                  <a:gd name="connsiteY6853" fmla="*/ 1254440 h 1867037"/>
                  <a:gd name="connsiteX6854" fmla="*/ 1938405 w 2417513"/>
                  <a:gd name="connsiteY6854" fmla="*/ 1253834 h 1867037"/>
                  <a:gd name="connsiteX6855" fmla="*/ 1938254 w 2417513"/>
                  <a:gd name="connsiteY6855" fmla="*/ 1252621 h 1867037"/>
                  <a:gd name="connsiteX6856" fmla="*/ 1943254 w 2417513"/>
                  <a:gd name="connsiteY6856" fmla="*/ 1251561 h 1867037"/>
                  <a:gd name="connsiteX6857" fmla="*/ 1946284 w 2417513"/>
                  <a:gd name="connsiteY6857" fmla="*/ 1249894 h 1867037"/>
                  <a:gd name="connsiteX6858" fmla="*/ 1947042 w 2417513"/>
                  <a:gd name="connsiteY6858" fmla="*/ 1248833 h 1867037"/>
                  <a:gd name="connsiteX6859" fmla="*/ 1947345 w 2417513"/>
                  <a:gd name="connsiteY6859" fmla="*/ 1247924 h 1867037"/>
                  <a:gd name="connsiteX6860" fmla="*/ 1947345 w 2417513"/>
                  <a:gd name="connsiteY6860" fmla="*/ 1247015 h 1867037"/>
                  <a:gd name="connsiteX6861" fmla="*/ 1947800 w 2417513"/>
                  <a:gd name="connsiteY6861" fmla="*/ 1246409 h 1867037"/>
                  <a:gd name="connsiteX6862" fmla="*/ 1948557 w 2417513"/>
                  <a:gd name="connsiteY6862" fmla="*/ 1245955 h 1867037"/>
                  <a:gd name="connsiteX6863" fmla="*/ 1949466 w 2417513"/>
                  <a:gd name="connsiteY6863" fmla="*/ 1246561 h 1867037"/>
                  <a:gd name="connsiteX6864" fmla="*/ 1951588 w 2417513"/>
                  <a:gd name="connsiteY6864" fmla="*/ 1250955 h 1867037"/>
                  <a:gd name="connsiteX6865" fmla="*/ 1952345 w 2417513"/>
                  <a:gd name="connsiteY6865" fmla="*/ 1251409 h 1867037"/>
                  <a:gd name="connsiteX6866" fmla="*/ 1953406 w 2417513"/>
                  <a:gd name="connsiteY6866" fmla="*/ 1251106 h 1867037"/>
                  <a:gd name="connsiteX6867" fmla="*/ 1955527 w 2417513"/>
                  <a:gd name="connsiteY6867" fmla="*/ 1249440 h 1867037"/>
                  <a:gd name="connsiteX6868" fmla="*/ 1956436 w 2417513"/>
                  <a:gd name="connsiteY6868" fmla="*/ 1247318 h 1867037"/>
                  <a:gd name="connsiteX6869" fmla="*/ 1957194 w 2417513"/>
                  <a:gd name="connsiteY6869" fmla="*/ 1244136 h 1867037"/>
                  <a:gd name="connsiteX6870" fmla="*/ 1957951 w 2417513"/>
                  <a:gd name="connsiteY6870" fmla="*/ 1242167 h 1867037"/>
                  <a:gd name="connsiteX6871" fmla="*/ 1958709 w 2417513"/>
                  <a:gd name="connsiteY6871" fmla="*/ 1241409 h 1867037"/>
                  <a:gd name="connsiteX6872" fmla="*/ 1958860 w 2417513"/>
                  <a:gd name="connsiteY6872" fmla="*/ 1240651 h 1867037"/>
                  <a:gd name="connsiteX6873" fmla="*/ 1957648 w 2417513"/>
                  <a:gd name="connsiteY6873" fmla="*/ 1238076 h 1867037"/>
                  <a:gd name="connsiteX6874" fmla="*/ 1957951 w 2417513"/>
                  <a:gd name="connsiteY6874" fmla="*/ 1237015 h 1867037"/>
                  <a:gd name="connsiteX6875" fmla="*/ 1960679 w 2417513"/>
                  <a:gd name="connsiteY6875" fmla="*/ 1233075 h 1867037"/>
                  <a:gd name="connsiteX6876" fmla="*/ 1960830 w 2417513"/>
                  <a:gd name="connsiteY6876" fmla="*/ 1232015 h 1867037"/>
                  <a:gd name="connsiteX6877" fmla="*/ 1959315 w 2417513"/>
                  <a:gd name="connsiteY6877" fmla="*/ 1230651 h 1867037"/>
                  <a:gd name="connsiteX6878" fmla="*/ 1951588 w 2417513"/>
                  <a:gd name="connsiteY6878" fmla="*/ 1230499 h 1867037"/>
                  <a:gd name="connsiteX6879" fmla="*/ 1950830 w 2417513"/>
                  <a:gd name="connsiteY6879" fmla="*/ 1228378 h 1867037"/>
                  <a:gd name="connsiteX6880" fmla="*/ 1951284 w 2417513"/>
                  <a:gd name="connsiteY6880" fmla="*/ 1224439 h 1867037"/>
                  <a:gd name="connsiteX6881" fmla="*/ 1952345 w 2417513"/>
                  <a:gd name="connsiteY6881" fmla="*/ 1221257 h 1867037"/>
                  <a:gd name="connsiteX6882" fmla="*/ 1953860 w 2417513"/>
                  <a:gd name="connsiteY6882" fmla="*/ 1218984 h 1867037"/>
                  <a:gd name="connsiteX6883" fmla="*/ 1954466 w 2417513"/>
                  <a:gd name="connsiteY6883" fmla="*/ 1216863 h 1867037"/>
                  <a:gd name="connsiteX6884" fmla="*/ 1954315 w 2417513"/>
                  <a:gd name="connsiteY6884" fmla="*/ 1214893 h 1867037"/>
                  <a:gd name="connsiteX6885" fmla="*/ 1953103 w 2417513"/>
                  <a:gd name="connsiteY6885" fmla="*/ 1210802 h 1867037"/>
                  <a:gd name="connsiteX6886" fmla="*/ 1951891 w 2417513"/>
                  <a:gd name="connsiteY6886" fmla="*/ 1208832 h 1867037"/>
                  <a:gd name="connsiteX6887" fmla="*/ 1950224 w 2417513"/>
                  <a:gd name="connsiteY6887" fmla="*/ 1206862 h 1867037"/>
                  <a:gd name="connsiteX6888" fmla="*/ 1948254 w 2417513"/>
                  <a:gd name="connsiteY6888" fmla="*/ 1205802 h 1867037"/>
                  <a:gd name="connsiteX6889" fmla="*/ 1934011 w 2417513"/>
                  <a:gd name="connsiteY6889" fmla="*/ 1204741 h 1867037"/>
                  <a:gd name="connsiteX6890" fmla="*/ 1930223 w 2417513"/>
                  <a:gd name="connsiteY6890" fmla="*/ 1204741 h 1867037"/>
                  <a:gd name="connsiteX6891" fmla="*/ 1925981 w 2417513"/>
                  <a:gd name="connsiteY6891" fmla="*/ 1204135 h 1867037"/>
                  <a:gd name="connsiteX6892" fmla="*/ 1925071 w 2417513"/>
                  <a:gd name="connsiteY6892" fmla="*/ 1202468 h 1867037"/>
                  <a:gd name="connsiteX6893" fmla="*/ 1929011 w 2417513"/>
                  <a:gd name="connsiteY6893" fmla="*/ 1202923 h 1867037"/>
                  <a:gd name="connsiteX6894" fmla="*/ 1944012 w 2417513"/>
                  <a:gd name="connsiteY6894" fmla="*/ 1202771 h 1867037"/>
                  <a:gd name="connsiteX6895" fmla="*/ 1948557 w 2417513"/>
                  <a:gd name="connsiteY6895" fmla="*/ 1202317 h 1867037"/>
                  <a:gd name="connsiteX6896" fmla="*/ 1951891 w 2417513"/>
                  <a:gd name="connsiteY6896" fmla="*/ 1200498 h 1867037"/>
                  <a:gd name="connsiteX6897" fmla="*/ 1953103 w 2417513"/>
                  <a:gd name="connsiteY6897" fmla="*/ 1198529 h 1867037"/>
                  <a:gd name="connsiteX6898" fmla="*/ 1953254 w 2417513"/>
                  <a:gd name="connsiteY6898" fmla="*/ 1197620 h 1867037"/>
                  <a:gd name="connsiteX6899" fmla="*/ 1953103 w 2417513"/>
                  <a:gd name="connsiteY6899" fmla="*/ 1195498 h 1867037"/>
                  <a:gd name="connsiteX6900" fmla="*/ 1952951 w 2417513"/>
                  <a:gd name="connsiteY6900" fmla="*/ 1194589 h 1867037"/>
                  <a:gd name="connsiteX6901" fmla="*/ 1950830 w 2417513"/>
                  <a:gd name="connsiteY6901" fmla="*/ 1191862 h 1867037"/>
                  <a:gd name="connsiteX6902" fmla="*/ 1949921 w 2417513"/>
                  <a:gd name="connsiteY6902" fmla="*/ 1189892 h 1867037"/>
                  <a:gd name="connsiteX6903" fmla="*/ 1949466 w 2417513"/>
                  <a:gd name="connsiteY6903" fmla="*/ 1187922 h 1867037"/>
                  <a:gd name="connsiteX6904" fmla="*/ 1949315 w 2417513"/>
                  <a:gd name="connsiteY6904" fmla="*/ 1185801 h 1867037"/>
                  <a:gd name="connsiteX6905" fmla="*/ 1949466 w 2417513"/>
                  <a:gd name="connsiteY6905" fmla="*/ 1183831 h 1867037"/>
                  <a:gd name="connsiteX6906" fmla="*/ 1950224 w 2417513"/>
                  <a:gd name="connsiteY6906" fmla="*/ 1180498 h 1867037"/>
                  <a:gd name="connsiteX6907" fmla="*/ 1952497 w 2417513"/>
                  <a:gd name="connsiteY6907" fmla="*/ 1175498 h 1867037"/>
                  <a:gd name="connsiteX6908" fmla="*/ 1954315 w 2417513"/>
                  <a:gd name="connsiteY6908" fmla="*/ 1173376 h 1867037"/>
                  <a:gd name="connsiteX6909" fmla="*/ 1956588 w 2417513"/>
                  <a:gd name="connsiteY6909" fmla="*/ 1171861 h 1867037"/>
                  <a:gd name="connsiteX6910" fmla="*/ 1958103 w 2417513"/>
                  <a:gd name="connsiteY6910" fmla="*/ 1170497 h 1867037"/>
                  <a:gd name="connsiteX6911" fmla="*/ 1958860 w 2417513"/>
                  <a:gd name="connsiteY6911" fmla="*/ 1169134 h 1867037"/>
                  <a:gd name="connsiteX6912" fmla="*/ 1959012 w 2417513"/>
                  <a:gd name="connsiteY6912" fmla="*/ 1167618 h 1867037"/>
                  <a:gd name="connsiteX6913" fmla="*/ 1958558 w 2417513"/>
                  <a:gd name="connsiteY6913" fmla="*/ 1165952 h 1867037"/>
                  <a:gd name="connsiteX6914" fmla="*/ 1957042 w 2417513"/>
                  <a:gd name="connsiteY6914" fmla="*/ 1162315 h 1867037"/>
                  <a:gd name="connsiteX6915" fmla="*/ 1956133 w 2417513"/>
                  <a:gd name="connsiteY6915" fmla="*/ 1161103 h 1867037"/>
                  <a:gd name="connsiteX6916" fmla="*/ 1954618 w 2417513"/>
                  <a:gd name="connsiteY6916" fmla="*/ 1160345 h 1867037"/>
                  <a:gd name="connsiteX6917" fmla="*/ 1952800 w 2417513"/>
                  <a:gd name="connsiteY6917" fmla="*/ 1160800 h 1867037"/>
                  <a:gd name="connsiteX6918" fmla="*/ 1952042 w 2417513"/>
                  <a:gd name="connsiteY6918" fmla="*/ 1162315 h 1867037"/>
                  <a:gd name="connsiteX6919" fmla="*/ 1951284 w 2417513"/>
                  <a:gd name="connsiteY6919" fmla="*/ 1165043 h 1867037"/>
                  <a:gd name="connsiteX6920" fmla="*/ 1950375 w 2417513"/>
                  <a:gd name="connsiteY6920" fmla="*/ 1166558 h 1867037"/>
                  <a:gd name="connsiteX6921" fmla="*/ 1947800 w 2417513"/>
                  <a:gd name="connsiteY6921" fmla="*/ 1166861 h 1867037"/>
                  <a:gd name="connsiteX6922" fmla="*/ 1944769 w 2417513"/>
                  <a:gd name="connsiteY6922" fmla="*/ 1168831 h 1867037"/>
                  <a:gd name="connsiteX6923" fmla="*/ 1942496 w 2417513"/>
                  <a:gd name="connsiteY6923" fmla="*/ 1168982 h 1867037"/>
                  <a:gd name="connsiteX6924" fmla="*/ 1939618 w 2417513"/>
                  <a:gd name="connsiteY6924" fmla="*/ 1167921 h 1867037"/>
                  <a:gd name="connsiteX6925" fmla="*/ 1938254 w 2417513"/>
                  <a:gd name="connsiteY6925" fmla="*/ 1166255 h 1867037"/>
                  <a:gd name="connsiteX6926" fmla="*/ 1938254 w 2417513"/>
                  <a:gd name="connsiteY6926" fmla="*/ 1163830 h 1867037"/>
                  <a:gd name="connsiteX6927" fmla="*/ 1937951 w 2417513"/>
                  <a:gd name="connsiteY6927" fmla="*/ 1162164 h 1867037"/>
                  <a:gd name="connsiteX6928" fmla="*/ 1937193 w 2417513"/>
                  <a:gd name="connsiteY6928" fmla="*/ 1161406 h 1867037"/>
                  <a:gd name="connsiteX6929" fmla="*/ 1934617 w 2417513"/>
                  <a:gd name="connsiteY6929" fmla="*/ 1160194 h 1867037"/>
                  <a:gd name="connsiteX6930" fmla="*/ 1931738 w 2417513"/>
                  <a:gd name="connsiteY6930" fmla="*/ 1160345 h 1867037"/>
                  <a:gd name="connsiteX6931" fmla="*/ 1927496 w 2417513"/>
                  <a:gd name="connsiteY6931" fmla="*/ 1161255 h 1867037"/>
                  <a:gd name="connsiteX6932" fmla="*/ 1922496 w 2417513"/>
                  <a:gd name="connsiteY6932" fmla="*/ 1160800 h 1867037"/>
                  <a:gd name="connsiteX6933" fmla="*/ 1914010 w 2417513"/>
                  <a:gd name="connsiteY6933" fmla="*/ 1157921 h 1867037"/>
                  <a:gd name="connsiteX6934" fmla="*/ 1910222 w 2417513"/>
                  <a:gd name="connsiteY6934" fmla="*/ 1157012 h 1867037"/>
                  <a:gd name="connsiteX6935" fmla="*/ 1905525 w 2417513"/>
                  <a:gd name="connsiteY6935" fmla="*/ 1156860 h 1867037"/>
                  <a:gd name="connsiteX6936" fmla="*/ 1903556 w 2417513"/>
                  <a:gd name="connsiteY6936" fmla="*/ 1156406 h 1867037"/>
                  <a:gd name="connsiteX6937" fmla="*/ 1900071 w 2417513"/>
                  <a:gd name="connsiteY6937" fmla="*/ 1154133 h 1867037"/>
                  <a:gd name="connsiteX6938" fmla="*/ 1894767 w 2417513"/>
                  <a:gd name="connsiteY6938" fmla="*/ 1148981 h 1867037"/>
                  <a:gd name="connsiteX6939" fmla="*/ 1895070 w 2417513"/>
                  <a:gd name="connsiteY6939" fmla="*/ 1147466 h 1867037"/>
                  <a:gd name="connsiteX6940" fmla="*/ 1897343 w 2417513"/>
                  <a:gd name="connsiteY6940" fmla="*/ 1146405 h 1867037"/>
                  <a:gd name="connsiteX6941" fmla="*/ 1897343 w 2417513"/>
                  <a:gd name="connsiteY6941" fmla="*/ 1145799 h 1867037"/>
                  <a:gd name="connsiteX6942" fmla="*/ 1893252 w 2417513"/>
                  <a:gd name="connsiteY6942" fmla="*/ 1145496 h 1867037"/>
                  <a:gd name="connsiteX6943" fmla="*/ 1891585 w 2417513"/>
                  <a:gd name="connsiteY6943" fmla="*/ 1144739 h 1867037"/>
                  <a:gd name="connsiteX6944" fmla="*/ 1891888 w 2417513"/>
                  <a:gd name="connsiteY6944" fmla="*/ 1143678 h 1867037"/>
                  <a:gd name="connsiteX6945" fmla="*/ 1894161 w 2417513"/>
                  <a:gd name="connsiteY6945" fmla="*/ 1141102 h 1867037"/>
                  <a:gd name="connsiteX6946" fmla="*/ 1896889 w 2417513"/>
                  <a:gd name="connsiteY6946" fmla="*/ 1140042 h 1867037"/>
                  <a:gd name="connsiteX6947" fmla="*/ 1897949 w 2417513"/>
                  <a:gd name="connsiteY6947" fmla="*/ 1139133 h 1867037"/>
                  <a:gd name="connsiteX6948" fmla="*/ 1898404 w 2417513"/>
                  <a:gd name="connsiteY6948" fmla="*/ 1138375 h 1867037"/>
                  <a:gd name="connsiteX6949" fmla="*/ 1897495 w 2417513"/>
                  <a:gd name="connsiteY6949" fmla="*/ 1137314 h 1867037"/>
                  <a:gd name="connsiteX6950" fmla="*/ 1891282 w 2417513"/>
                  <a:gd name="connsiteY6950" fmla="*/ 1134284 h 1867037"/>
                  <a:gd name="connsiteX6951" fmla="*/ 1889767 w 2417513"/>
                  <a:gd name="connsiteY6951" fmla="*/ 1134738 h 1867037"/>
                  <a:gd name="connsiteX6952" fmla="*/ 1888555 w 2417513"/>
                  <a:gd name="connsiteY6952" fmla="*/ 1136405 h 1867037"/>
                  <a:gd name="connsiteX6953" fmla="*/ 1886888 w 2417513"/>
                  <a:gd name="connsiteY6953" fmla="*/ 1137466 h 1867037"/>
                  <a:gd name="connsiteX6954" fmla="*/ 1881585 w 2417513"/>
                  <a:gd name="connsiteY6954" fmla="*/ 1138526 h 1867037"/>
                  <a:gd name="connsiteX6955" fmla="*/ 1880676 w 2417513"/>
                  <a:gd name="connsiteY6955" fmla="*/ 1137920 h 1867037"/>
                  <a:gd name="connsiteX6956" fmla="*/ 1885221 w 2417513"/>
                  <a:gd name="connsiteY6956" fmla="*/ 1136254 h 1867037"/>
                  <a:gd name="connsiteX6957" fmla="*/ 1886282 w 2417513"/>
                  <a:gd name="connsiteY6957" fmla="*/ 1135345 h 1867037"/>
                  <a:gd name="connsiteX6958" fmla="*/ 1886434 w 2417513"/>
                  <a:gd name="connsiteY6958" fmla="*/ 1134738 h 1867037"/>
                  <a:gd name="connsiteX6959" fmla="*/ 1885373 w 2417513"/>
                  <a:gd name="connsiteY6959" fmla="*/ 1132769 h 1867037"/>
                  <a:gd name="connsiteX6960" fmla="*/ 1884161 w 2417513"/>
                  <a:gd name="connsiteY6960" fmla="*/ 1131708 h 1867037"/>
                  <a:gd name="connsiteX6961" fmla="*/ 1882797 w 2417513"/>
                  <a:gd name="connsiteY6961" fmla="*/ 1129587 h 1867037"/>
                  <a:gd name="connsiteX6962" fmla="*/ 1881433 w 2417513"/>
                  <a:gd name="connsiteY6962" fmla="*/ 1128375 h 1867037"/>
                  <a:gd name="connsiteX6963" fmla="*/ 1877797 w 2417513"/>
                  <a:gd name="connsiteY6963" fmla="*/ 1125950 h 1867037"/>
                  <a:gd name="connsiteX6964" fmla="*/ 1873857 w 2417513"/>
                  <a:gd name="connsiteY6964" fmla="*/ 1124435 h 1867037"/>
                  <a:gd name="connsiteX6965" fmla="*/ 1872039 w 2417513"/>
                  <a:gd name="connsiteY6965" fmla="*/ 1125041 h 1867037"/>
                  <a:gd name="connsiteX6966" fmla="*/ 1869615 w 2417513"/>
                  <a:gd name="connsiteY6966" fmla="*/ 1126859 h 1867037"/>
                  <a:gd name="connsiteX6967" fmla="*/ 1867797 w 2417513"/>
                  <a:gd name="connsiteY6967" fmla="*/ 1127920 h 1867037"/>
                  <a:gd name="connsiteX6968" fmla="*/ 1866584 w 2417513"/>
                  <a:gd name="connsiteY6968" fmla="*/ 1127768 h 1867037"/>
                  <a:gd name="connsiteX6969" fmla="*/ 1869463 w 2417513"/>
                  <a:gd name="connsiteY6969" fmla="*/ 1122920 h 1867037"/>
                  <a:gd name="connsiteX6970" fmla="*/ 1870372 w 2417513"/>
                  <a:gd name="connsiteY6970" fmla="*/ 1119889 h 1867037"/>
                  <a:gd name="connsiteX6971" fmla="*/ 1870372 w 2417513"/>
                  <a:gd name="connsiteY6971" fmla="*/ 1118829 h 1867037"/>
                  <a:gd name="connsiteX6972" fmla="*/ 1870069 w 2417513"/>
                  <a:gd name="connsiteY6972" fmla="*/ 1117768 h 1867037"/>
                  <a:gd name="connsiteX6973" fmla="*/ 1869463 w 2417513"/>
                  <a:gd name="connsiteY6973" fmla="*/ 1116253 h 1867037"/>
                  <a:gd name="connsiteX6974" fmla="*/ 1869009 w 2417513"/>
                  <a:gd name="connsiteY6974" fmla="*/ 1115798 h 1867037"/>
                  <a:gd name="connsiteX6975" fmla="*/ 1867645 w 2417513"/>
                  <a:gd name="connsiteY6975" fmla="*/ 1115495 h 1867037"/>
                  <a:gd name="connsiteX6976" fmla="*/ 1863554 w 2417513"/>
                  <a:gd name="connsiteY6976" fmla="*/ 1115798 h 1867037"/>
                  <a:gd name="connsiteX6977" fmla="*/ 1860524 w 2417513"/>
                  <a:gd name="connsiteY6977" fmla="*/ 1113525 h 1867037"/>
                  <a:gd name="connsiteX6978" fmla="*/ 1859008 w 2417513"/>
                  <a:gd name="connsiteY6978" fmla="*/ 1112768 h 1867037"/>
                  <a:gd name="connsiteX6979" fmla="*/ 1855069 w 2417513"/>
                  <a:gd name="connsiteY6979" fmla="*/ 1109283 h 1867037"/>
                  <a:gd name="connsiteX6980" fmla="*/ 1852190 w 2417513"/>
                  <a:gd name="connsiteY6980" fmla="*/ 1107313 h 1867037"/>
                  <a:gd name="connsiteX6981" fmla="*/ 1848705 w 2417513"/>
                  <a:gd name="connsiteY6981" fmla="*/ 1105495 h 1867037"/>
                  <a:gd name="connsiteX6982" fmla="*/ 1843402 w 2417513"/>
                  <a:gd name="connsiteY6982" fmla="*/ 1101404 h 1867037"/>
                  <a:gd name="connsiteX6983" fmla="*/ 1841280 w 2417513"/>
                  <a:gd name="connsiteY6983" fmla="*/ 1100646 h 1867037"/>
                  <a:gd name="connsiteX6984" fmla="*/ 1839614 w 2417513"/>
                  <a:gd name="connsiteY6984" fmla="*/ 1100798 h 1867037"/>
                  <a:gd name="connsiteX6985" fmla="*/ 1836432 w 2417513"/>
                  <a:gd name="connsiteY6985" fmla="*/ 1102313 h 1867037"/>
                  <a:gd name="connsiteX6986" fmla="*/ 1831886 w 2417513"/>
                  <a:gd name="connsiteY6986" fmla="*/ 1105040 h 1867037"/>
                  <a:gd name="connsiteX6987" fmla="*/ 1827492 w 2417513"/>
                  <a:gd name="connsiteY6987" fmla="*/ 1107162 h 1867037"/>
                  <a:gd name="connsiteX6988" fmla="*/ 1821431 w 2417513"/>
                  <a:gd name="connsiteY6988" fmla="*/ 1109283 h 1867037"/>
                  <a:gd name="connsiteX6989" fmla="*/ 1815522 w 2417513"/>
                  <a:gd name="connsiteY6989" fmla="*/ 1111859 h 1867037"/>
                  <a:gd name="connsiteX6990" fmla="*/ 1814310 w 2417513"/>
                  <a:gd name="connsiteY6990" fmla="*/ 1113071 h 1867037"/>
                  <a:gd name="connsiteX6991" fmla="*/ 1816431 w 2417513"/>
                  <a:gd name="connsiteY6991" fmla="*/ 1115495 h 1867037"/>
                  <a:gd name="connsiteX6992" fmla="*/ 1815825 w 2417513"/>
                  <a:gd name="connsiteY6992" fmla="*/ 1115950 h 1867037"/>
                  <a:gd name="connsiteX6993" fmla="*/ 1808249 w 2417513"/>
                  <a:gd name="connsiteY6993" fmla="*/ 1111101 h 1867037"/>
                  <a:gd name="connsiteX6994" fmla="*/ 1805067 w 2417513"/>
                  <a:gd name="connsiteY6994" fmla="*/ 1109586 h 1867037"/>
                  <a:gd name="connsiteX6995" fmla="*/ 1802643 w 2417513"/>
                  <a:gd name="connsiteY6995" fmla="*/ 1109283 h 1867037"/>
                  <a:gd name="connsiteX6996" fmla="*/ 1796430 w 2417513"/>
                  <a:gd name="connsiteY6996" fmla="*/ 1107465 h 1867037"/>
                  <a:gd name="connsiteX6997" fmla="*/ 1794612 w 2417513"/>
                  <a:gd name="connsiteY6997" fmla="*/ 1107616 h 1867037"/>
                  <a:gd name="connsiteX6998" fmla="*/ 1792491 w 2417513"/>
                  <a:gd name="connsiteY6998" fmla="*/ 1108525 h 1867037"/>
                  <a:gd name="connsiteX6999" fmla="*/ 1784309 w 2417513"/>
                  <a:gd name="connsiteY6999" fmla="*/ 1113071 h 1867037"/>
                  <a:gd name="connsiteX7000" fmla="*/ 1783854 w 2417513"/>
                  <a:gd name="connsiteY7000" fmla="*/ 1112465 h 1867037"/>
                  <a:gd name="connsiteX7001" fmla="*/ 1787491 w 2417513"/>
                  <a:gd name="connsiteY7001" fmla="*/ 1110041 h 1867037"/>
                  <a:gd name="connsiteX7002" fmla="*/ 1783551 w 2417513"/>
                  <a:gd name="connsiteY7002" fmla="*/ 1107162 h 1867037"/>
                  <a:gd name="connsiteX7003" fmla="*/ 1761732 w 2417513"/>
                  <a:gd name="connsiteY7003" fmla="*/ 1100798 h 1867037"/>
                  <a:gd name="connsiteX7004" fmla="*/ 1754611 w 2417513"/>
                  <a:gd name="connsiteY7004" fmla="*/ 1098222 h 1867037"/>
                  <a:gd name="connsiteX7005" fmla="*/ 1745671 w 2417513"/>
                  <a:gd name="connsiteY7005" fmla="*/ 1097161 h 1867037"/>
                  <a:gd name="connsiteX7006" fmla="*/ 1741125 w 2417513"/>
                  <a:gd name="connsiteY7006" fmla="*/ 1096252 h 1867037"/>
                  <a:gd name="connsiteX7007" fmla="*/ 1734761 w 2417513"/>
                  <a:gd name="connsiteY7007" fmla="*/ 1098070 h 1867037"/>
                  <a:gd name="connsiteX7008" fmla="*/ 1726731 w 2417513"/>
                  <a:gd name="connsiteY7008" fmla="*/ 1102465 h 1867037"/>
                  <a:gd name="connsiteX7009" fmla="*/ 1722185 w 2417513"/>
                  <a:gd name="connsiteY7009" fmla="*/ 1105495 h 1867037"/>
                  <a:gd name="connsiteX7010" fmla="*/ 1721124 w 2417513"/>
                  <a:gd name="connsiteY7010" fmla="*/ 1107010 h 1867037"/>
                  <a:gd name="connsiteX7011" fmla="*/ 1720518 w 2417513"/>
                  <a:gd name="connsiteY7011" fmla="*/ 1108525 h 1867037"/>
                  <a:gd name="connsiteX7012" fmla="*/ 1720215 w 2417513"/>
                  <a:gd name="connsiteY7012" fmla="*/ 1111707 h 1867037"/>
                  <a:gd name="connsiteX7013" fmla="*/ 1720518 w 2417513"/>
                  <a:gd name="connsiteY7013" fmla="*/ 1115950 h 1867037"/>
                  <a:gd name="connsiteX7014" fmla="*/ 1722185 w 2417513"/>
                  <a:gd name="connsiteY7014" fmla="*/ 1123677 h 1867037"/>
                  <a:gd name="connsiteX7015" fmla="*/ 1723700 w 2417513"/>
                  <a:gd name="connsiteY7015" fmla="*/ 1127465 h 1867037"/>
                  <a:gd name="connsiteX7016" fmla="*/ 1725670 w 2417513"/>
                  <a:gd name="connsiteY7016" fmla="*/ 1130496 h 1867037"/>
                  <a:gd name="connsiteX7017" fmla="*/ 1727185 w 2417513"/>
                  <a:gd name="connsiteY7017" fmla="*/ 1131859 h 1867037"/>
                  <a:gd name="connsiteX7018" fmla="*/ 1729307 w 2417513"/>
                  <a:gd name="connsiteY7018" fmla="*/ 1133223 h 1867037"/>
                  <a:gd name="connsiteX7019" fmla="*/ 1732488 w 2417513"/>
                  <a:gd name="connsiteY7019" fmla="*/ 1136102 h 1867037"/>
                  <a:gd name="connsiteX7020" fmla="*/ 1737489 w 2417513"/>
                  <a:gd name="connsiteY7020" fmla="*/ 1138981 h 1867037"/>
                  <a:gd name="connsiteX7021" fmla="*/ 1733852 w 2417513"/>
                  <a:gd name="connsiteY7021" fmla="*/ 1142163 h 1867037"/>
                  <a:gd name="connsiteX7022" fmla="*/ 1731428 w 2417513"/>
                  <a:gd name="connsiteY7022" fmla="*/ 1143830 h 1867037"/>
                  <a:gd name="connsiteX7023" fmla="*/ 1731125 w 2417513"/>
                  <a:gd name="connsiteY7023" fmla="*/ 1145648 h 1867037"/>
                  <a:gd name="connsiteX7024" fmla="*/ 1731731 w 2417513"/>
                  <a:gd name="connsiteY7024" fmla="*/ 1152466 h 1867037"/>
                  <a:gd name="connsiteX7025" fmla="*/ 1731579 w 2417513"/>
                  <a:gd name="connsiteY7025" fmla="*/ 1153527 h 1867037"/>
                  <a:gd name="connsiteX7026" fmla="*/ 1730670 w 2417513"/>
                  <a:gd name="connsiteY7026" fmla="*/ 1155497 h 1867037"/>
                  <a:gd name="connsiteX7027" fmla="*/ 1728852 w 2417513"/>
                  <a:gd name="connsiteY7027" fmla="*/ 1158527 h 1867037"/>
                  <a:gd name="connsiteX7028" fmla="*/ 1725973 w 2417513"/>
                  <a:gd name="connsiteY7028" fmla="*/ 1161861 h 1867037"/>
                  <a:gd name="connsiteX7029" fmla="*/ 1719761 w 2417513"/>
                  <a:gd name="connsiteY7029" fmla="*/ 1168073 h 1867037"/>
                  <a:gd name="connsiteX7030" fmla="*/ 1719155 w 2417513"/>
                  <a:gd name="connsiteY7030" fmla="*/ 1169437 h 1867037"/>
                  <a:gd name="connsiteX7031" fmla="*/ 1720821 w 2417513"/>
                  <a:gd name="connsiteY7031" fmla="*/ 1169891 h 1867037"/>
                  <a:gd name="connsiteX7032" fmla="*/ 1724155 w 2417513"/>
                  <a:gd name="connsiteY7032" fmla="*/ 1169588 h 1867037"/>
                  <a:gd name="connsiteX7033" fmla="*/ 1727640 w 2417513"/>
                  <a:gd name="connsiteY7033" fmla="*/ 1170952 h 1867037"/>
                  <a:gd name="connsiteX7034" fmla="*/ 1734913 w 2417513"/>
                  <a:gd name="connsiteY7034" fmla="*/ 1169285 h 1867037"/>
                  <a:gd name="connsiteX7035" fmla="*/ 1735216 w 2417513"/>
                  <a:gd name="connsiteY7035" fmla="*/ 1170043 h 1867037"/>
                  <a:gd name="connsiteX7036" fmla="*/ 1733246 w 2417513"/>
                  <a:gd name="connsiteY7036" fmla="*/ 1170800 h 1867037"/>
                  <a:gd name="connsiteX7037" fmla="*/ 1731276 w 2417513"/>
                  <a:gd name="connsiteY7037" fmla="*/ 1174588 h 1867037"/>
                  <a:gd name="connsiteX7038" fmla="*/ 1730519 w 2417513"/>
                  <a:gd name="connsiteY7038" fmla="*/ 1175346 h 1867037"/>
                  <a:gd name="connsiteX7039" fmla="*/ 1729610 w 2417513"/>
                  <a:gd name="connsiteY7039" fmla="*/ 1177467 h 1867037"/>
                  <a:gd name="connsiteX7040" fmla="*/ 1731731 w 2417513"/>
                  <a:gd name="connsiteY7040" fmla="*/ 1180043 h 1867037"/>
                  <a:gd name="connsiteX7041" fmla="*/ 1733852 w 2417513"/>
                  <a:gd name="connsiteY7041" fmla="*/ 1180498 h 1867037"/>
                  <a:gd name="connsiteX7042" fmla="*/ 1737186 w 2417513"/>
                  <a:gd name="connsiteY7042" fmla="*/ 1180649 h 1867037"/>
                  <a:gd name="connsiteX7043" fmla="*/ 1737489 w 2417513"/>
                  <a:gd name="connsiteY7043" fmla="*/ 1181558 h 1867037"/>
                  <a:gd name="connsiteX7044" fmla="*/ 1734913 w 2417513"/>
                  <a:gd name="connsiteY7044" fmla="*/ 1183074 h 1867037"/>
                  <a:gd name="connsiteX7045" fmla="*/ 1732640 w 2417513"/>
                  <a:gd name="connsiteY7045" fmla="*/ 1186407 h 1867037"/>
                  <a:gd name="connsiteX7046" fmla="*/ 1733549 w 2417513"/>
                  <a:gd name="connsiteY7046" fmla="*/ 1189134 h 1867037"/>
                  <a:gd name="connsiteX7047" fmla="*/ 1738853 w 2417513"/>
                  <a:gd name="connsiteY7047" fmla="*/ 1198074 h 1867037"/>
                  <a:gd name="connsiteX7048" fmla="*/ 1738549 w 2417513"/>
                  <a:gd name="connsiteY7048" fmla="*/ 1198529 h 1867037"/>
                  <a:gd name="connsiteX7049" fmla="*/ 1735519 w 2417513"/>
                  <a:gd name="connsiteY7049" fmla="*/ 1199892 h 1867037"/>
                  <a:gd name="connsiteX7050" fmla="*/ 1735216 w 2417513"/>
                  <a:gd name="connsiteY7050" fmla="*/ 1200347 h 1867037"/>
                  <a:gd name="connsiteX7051" fmla="*/ 1736276 w 2417513"/>
                  <a:gd name="connsiteY7051" fmla="*/ 1201408 h 1867037"/>
                  <a:gd name="connsiteX7052" fmla="*/ 1742641 w 2417513"/>
                  <a:gd name="connsiteY7052" fmla="*/ 1202165 h 1867037"/>
                  <a:gd name="connsiteX7053" fmla="*/ 1743247 w 2417513"/>
                  <a:gd name="connsiteY7053" fmla="*/ 1202923 h 1867037"/>
                  <a:gd name="connsiteX7054" fmla="*/ 1740974 w 2417513"/>
                  <a:gd name="connsiteY7054" fmla="*/ 1206862 h 1867037"/>
                  <a:gd name="connsiteX7055" fmla="*/ 1741125 w 2417513"/>
                  <a:gd name="connsiteY7055" fmla="*/ 1208529 h 1867037"/>
                  <a:gd name="connsiteX7056" fmla="*/ 1742186 w 2417513"/>
                  <a:gd name="connsiteY7056" fmla="*/ 1210650 h 1867037"/>
                  <a:gd name="connsiteX7057" fmla="*/ 1742034 w 2417513"/>
                  <a:gd name="connsiteY7057" fmla="*/ 1212165 h 1867037"/>
                  <a:gd name="connsiteX7058" fmla="*/ 1738095 w 2417513"/>
                  <a:gd name="connsiteY7058" fmla="*/ 1215499 h 1867037"/>
                  <a:gd name="connsiteX7059" fmla="*/ 1737792 w 2417513"/>
                  <a:gd name="connsiteY7059" fmla="*/ 1216711 h 1867037"/>
                  <a:gd name="connsiteX7060" fmla="*/ 1739762 w 2417513"/>
                  <a:gd name="connsiteY7060" fmla="*/ 1219742 h 1867037"/>
                  <a:gd name="connsiteX7061" fmla="*/ 1741428 w 2417513"/>
                  <a:gd name="connsiteY7061" fmla="*/ 1220954 h 1867037"/>
                  <a:gd name="connsiteX7062" fmla="*/ 1740064 w 2417513"/>
                  <a:gd name="connsiteY7062" fmla="*/ 1221408 h 1867037"/>
                  <a:gd name="connsiteX7063" fmla="*/ 1734761 w 2417513"/>
                  <a:gd name="connsiteY7063" fmla="*/ 1216863 h 1867037"/>
                  <a:gd name="connsiteX7064" fmla="*/ 1730973 w 2417513"/>
                  <a:gd name="connsiteY7064" fmla="*/ 1217014 h 1867037"/>
                  <a:gd name="connsiteX7065" fmla="*/ 1730367 w 2417513"/>
                  <a:gd name="connsiteY7065" fmla="*/ 1217772 h 1867037"/>
                  <a:gd name="connsiteX7066" fmla="*/ 1730822 w 2417513"/>
                  <a:gd name="connsiteY7066" fmla="*/ 1220954 h 1867037"/>
                  <a:gd name="connsiteX7067" fmla="*/ 1730367 w 2417513"/>
                  <a:gd name="connsiteY7067" fmla="*/ 1221863 h 1867037"/>
                  <a:gd name="connsiteX7068" fmla="*/ 1727337 w 2417513"/>
                  <a:gd name="connsiteY7068" fmla="*/ 1225196 h 1867037"/>
                  <a:gd name="connsiteX7069" fmla="*/ 1727791 w 2417513"/>
                  <a:gd name="connsiteY7069" fmla="*/ 1226560 h 1867037"/>
                  <a:gd name="connsiteX7070" fmla="*/ 1729610 w 2417513"/>
                  <a:gd name="connsiteY7070" fmla="*/ 1227924 h 1867037"/>
                  <a:gd name="connsiteX7071" fmla="*/ 1730064 w 2417513"/>
                  <a:gd name="connsiteY7071" fmla="*/ 1229136 h 1867037"/>
                  <a:gd name="connsiteX7072" fmla="*/ 1727791 w 2417513"/>
                  <a:gd name="connsiteY7072" fmla="*/ 1232166 h 1867037"/>
                  <a:gd name="connsiteX7073" fmla="*/ 1723852 w 2417513"/>
                  <a:gd name="connsiteY7073" fmla="*/ 1234590 h 1867037"/>
                  <a:gd name="connsiteX7074" fmla="*/ 1721731 w 2417513"/>
                  <a:gd name="connsiteY7074" fmla="*/ 1236409 h 1867037"/>
                  <a:gd name="connsiteX7075" fmla="*/ 1719761 w 2417513"/>
                  <a:gd name="connsiteY7075" fmla="*/ 1238833 h 1867037"/>
                  <a:gd name="connsiteX7076" fmla="*/ 1716882 w 2417513"/>
                  <a:gd name="connsiteY7076" fmla="*/ 1243076 h 1867037"/>
                  <a:gd name="connsiteX7077" fmla="*/ 1711730 w 2417513"/>
                  <a:gd name="connsiteY7077" fmla="*/ 1248379 h 1867037"/>
                  <a:gd name="connsiteX7078" fmla="*/ 1710973 w 2417513"/>
                  <a:gd name="connsiteY7078" fmla="*/ 1249591 h 1867037"/>
                  <a:gd name="connsiteX7079" fmla="*/ 1710367 w 2417513"/>
                  <a:gd name="connsiteY7079" fmla="*/ 1251409 h 1867037"/>
                  <a:gd name="connsiteX7080" fmla="*/ 1709760 w 2417513"/>
                  <a:gd name="connsiteY7080" fmla="*/ 1253834 h 1867037"/>
                  <a:gd name="connsiteX7081" fmla="*/ 1709457 w 2417513"/>
                  <a:gd name="connsiteY7081" fmla="*/ 1257319 h 1867037"/>
                  <a:gd name="connsiteX7082" fmla="*/ 1709760 w 2417513"/>
                  <a:gd name="connsiteY7082" fmla="*/ 1258682 h 1867037"/>
                  <a:gd name="connsiteX7083" fmla="*/ 1710973 w 2417513"/>
                  <a:gd name="connsiteY7083" fmla="*/ 1260501 h 1867037"/>
                  <a:gd name="connsiteX7084" fmla="*/ 1714003 w 2417513"/>
                  <a:gd name="connsiteY7084" fmla="*/ 1261410 h 1867037"/>
                  <a:gd name="connsiteX7085" fmla="*/ 1723246 w 2417513"/>
                  <a:gd name="connsiteY7085" fmla="*/ 1268683 h 1867037"/>
                  <a:gd name="connsiteX7086" fmla="*/ 1726731 w 2417513"/>
                  <a:gd name="connsiteY7086" fmla="*/ 1270652 h 1867037"/>
                  <a:gd name="connsiteX7087" fmla="*/ 1732186 w 2417513"/>
                  <a:gd name="connsiteY7087" fmla="*/ 1273077 h 1867037"/>
                  <a:gd name="connsiteX7088" fmla="*/ 1735822 w 2417513"/>
                  <a:gd name="connsiteY7088" fmla="*/ 1275198 h 1867037"/>
                  <a:gd name="connsiteX7089" fmla="*/ 1737489 w 2417513"/>
                  <a:gd name="connsiteY7089" fmla="*/ 1277016 h 1867037"/>
                  <a:gd name="connsiteX7090" fmla="*/ 1746580 w 2417513"/>
                  <a:gd name="connsiteY7090" fmla="*/ 1283986 h 1867037"/>
                  <a:gd name="connsiteX7091" fmla="*/ 1753853 w 2417513"/>
                  <a:gd name="connsiteY7091" fmla="*/ 1294290 h 1867037"/>
                  <a:gd name="connsiteX7092" fmla="*/ 1756126 w 2417513"/>
                  <a:gd name="connsiteY7092" fmla="*/ 1298229 h 1867037"/>
                  <a:gd name="connsiteX7093" fmla="*/ 1756732 w 2417513"/>
                  <a:gd name="connsiteY7093" fmla="*/ 1300502 h 1867037"/>
                  <a:gd name="connsiteX7094" fmla="*/ 1760368 w 2417513"/>
                  <a:gd name="connsiteY7094" fmla="*/ 1309139 h 1867037"/>
                  <a:gd name="connsiteX7095" fmla="*/ 1761883 w 2417513"/>
                  <a:gd name="connsiteY7095" fmla="*/ 1313381 h 1867037"/>
                  <a:gd name="connsiteX7096" fmla="*/ 1762641 w 2417513"/>
                  <a:gd name="connsiteY7096" fmla="*/ 1317018 h 1867037"/>
                  <a:gd name="connsiteX7097" fmla="*/ 1764005 w 2417513"/>
                  <a:gd name="connsiteY7097" fmla="*/ 1328382 h 1867037"/>
                  <a:gd name="connsiteX7098" fmla="*/ 1764156 w 2417513"/>
                  <a:gd name="connsiteY7098" fmla="*/ 1335655 h 1867037"/>
                  <a:gd name="connsiteX7099" fmla="*/ 1763853 w 2417513"/>
                  <a:gd name="connsiteY7099" fmla="*/ 1343685 h 1867037"/>
                  <a:gd name="connsiteX7100" fmla="*/ 1763399 w 2417513"/>
                  <a:gd name="connsiteY7100" fmla="*/ 1349140 h 1867037"/>
                  <a:gd name="connsiteX7101" fmla="*/ 1761883 w 2417513"/>
                  <a:gd name="connsiteY7101" fmla="*/ 1355352 h 1867037"/>
                  <a:gd name="connsiteX7102" fmla="*/ 1760671 w 2417513"/>
                  <a:gd name="connsiteY7102" fmla="*/ 1358989 h 1867037"/>
                  <a:gd name="connsiteX7103" fmla="*/ 1757641 w 2417513"/>
                  <a:gd name="connsiteY7103" fmla="*/ 1363232 h 1867037"/>
                  <a:gd name="connsiteX7104" fmla="*/ 1752792 w 2417513"/>
                  <a:gd name="connsiteY7104" fmla="*/ 1368232 h 1867037"/>
                  <a:gd name="connsiteX7105" fmla="*/ 1749156 w 2417513"/>
                  <a:gd name="connsiteY7105" fmla="*/ 1372474 h 1867037"/>
                  <a:gd name="connsiteX7106" fmla="*/ 1746580 w 2417513"/>
                  <a:gd name="connsiteY7106" fmla="*/ 1376111 h 1867037"/>
                  <a:gd name="connsiteX7107" fmla="*/ 1742186 w 2417513"/>
                  <a:gd name="connsiteY7107" fmla="*/ 1380202 h 1867037"/>
                  <a:gd name="connsiteX7108" fmla="*/ 1731882 w 2417513"/>
                  <a:gd name="connsiteY7108" fmla="*/ 1388233 h 1867037"/>
                  <a:gd name="connsiteX7109" fmla="*/ 1729913 w 2417513"/>
                  <a:gd name="connsiteY7109" fmla="*/ 1390202 h 1867037"/>
                  <a:gd name="connsiteX7110" fmla="*/ 1726731 w 2417513"/>
                  <a:gd name="connsiteY7110" fmla="*/ 1392324 h 1867037"/>
                  <a:gd name="connsiteX7111" fmla="*/ 1720215 w 2417513"/>
                  <a:gd name="connsiteY7111" fmla="*/ 1395505 h 1867037"/>
                  <a:gd name="connsiteX7112" fmla="*/ 1715367 w 2417513"/>
                  <a:gd name="connsiteY7112" fmla="*/ 1398687 h 1867037"/>
                  <a:gd name="connsiteX7113" fmla="*/ 1710670 w 2417513"/>
                  <a:gd name="connsiteY7113" fmla="*/ 1400809 h 1867037"/>
                  <a:gd name="connsiteX7114" fmla="*/ 1700518 w 2417513"/>
                  <a:gd name="connsiteY7114" fmla="*/ 1404748 h 1867037"/>
                  <a:gd name="connsiteX7115" fmla="*/ 1698851 w 2417513"/>
                  <a:gd name="connsiteY7115" fmla="*/ 1405809 h 1867037"/>
                  <a:gd name="connsiteX7116" fmla="*/ 1678093 w 2417513"/>
                  <a:gd name="connsiteY7116" fmla="*/ 1412779 h 1867037"/>
                  <a:gd name="connsiteX7117" fmla="*/ 1676880 w 2417513"/>
                  <a:gd name="connsiteY7117" fmla="*/ 1413688 h 1867037"/>
                  <a:gd name="connsiteX7118" fmla="*/ 1676880 w 2417513"/>
                  <a:gd name="connsiteY7118" fmla="*/ 1414294 h 1867037"/>
                  <a:gd name="connsiteX7119" fmla="*/ 1678093 w 2417513"/>
                  <a:gd name="connsiteY7119" fmla="*/ 1414597 h 1867037"/>
                  <a:gd name="connsiteX7120" fmla="*/ 1679153 w 2417513"/>
                  <a:gd name="connsiteY7120" fmla="*/ 1415203 h 1867037"/>
                  <a:gd name="connsiteX7121" fmla="*/ 1680062 w 2417513"/>
                  <a:gd name="connsiteY7121" fmla="*/ 1416264 h 1867037"/>
                  <a:gd name="connsiteX7122" fmla="*/ 1682184 w 2417513"/>
                  <a:gd name="connsiteY7122" fmla="*/ 1420355 h 1867037"/>
                  <a:gd name="connsiteX7123" fmla="*/ 1683396 w 2417513"/>
                  <a:gd name="connsiteY7123" fmla="*/ 1423991 h 1867037"/>
                  <a:gd name="connsiteX7124" fmla="*/ 1684608 w 2417513"/>
                  <a:gd name="connsiteY7124" fmla="*/ 1426113 h 1867037"/>
                  <a:gd name="connsiteX7125" fmla="*/ 1686578 w 2417513"/>
                  <a:gd name="connsiteY7125" fmla="*/ 1428840 h 1867037"/>
                  <a:gd name="connsiteX7126" fmla="*/ 1688244 w 2417513"/>
                  <a:gd name="connsiteY7126" fmla="*/ 1430658 h 1867037"/>
                  <a:gd name="connsiteX7127" fmla="*/ 1690366 w 2417513"/>
                  <a:gd name="connsiteY7127" fmla="*/ 1431870 h 1867037"/>
                  <a:gd name="connsiteX7128" fmla="*/ 1692336 w 2417513"/>
                  <a:gd name="connsiteY7128" fmla="*/ 1432477 h 1867037"/>
                  <a:gd name="connsiteX7129" fmla="*/ 1692487 w 2417513"/>
                  <a:gd name="connsiteY7129" fmla="*/ 1432931 h 1867037"/>
                  <a:gd name="connsiteX7130" fmla="*/ 1691426 w 2417513"/>
                  <a:gd name="connsiteY7130" fmla="*/ 1434446 h 1867037"/>
                  <a:gd name="connsiteX7131" fmla="*/ 1689911 w 2417513"/>
                  <a:gd name="connsiteY7131" fmla="*/ 1435052 h 1867037"/>
                  <a:gd name="connsiteX7132" fmla="*/ 1694760 w 2417513"/>
                  <a:gd name="connsiteY7132" fmla="*/ 1436871 h 1867037"/>
                  <a:gd name="connsiteX7133" fmla="*/ 1696275 w 2417513"/>
                  <a:gd name="connsiteY7133" fmla="*/ 1437931 h 1867037"/>
                  <a:gd name="connsiteX7134" fmla="*/ 1696730 w 2417513"/>
                  <a:gd name="connsiteY7134" fmla="*/ 1438689 h 1867037"/>
                  <a:gd name="connsiteX7135" fmla="*/ 1694608 w 2417513"/>
                  <a:gd name="connsiteY7135" fmla="*/ 1440659 h 1867037"/>
                  <a:gd name="connsiteX7136" fmla="*/ 1694608 w 2417513"/>
                  <a:gd name="connsiteY7136" fmla="*/ 1441416 h 1867037"/>
                  <a:gd name="connsiteX7137" fmla="*/ 1695820 w 2417513"/>
                  <a:gd name="connsiteY7137" fmla="*/ 1443386 h 1867037"/>
                  <a:gd name="connsiteX7138" fmla="*/ 1698245 w 2417513"/>
                  <a:gd name="connsiteY7138" fmla="*/ 1444901 h 1867037"/>
                  <a:gd name="connsiteX7139" fmla="*/ 1698245 w 2417513"/>
                  <a:gd name="connsiteY7139" fmla="*/ 1445204 h 1867037"/>
                  <a:gd name="connsiteX7140" fmla="*/ 1696730 w 2417513"/>
                  <a:gd name="connsiteY7140" fmla="*/ 1445053 h 1867037"/>
                  <a:gd name="connsiteX7141" fmla="*/ 1695669 w 2417513"/>
                  <a:gd name="connsiteY7141" fmla="*/ 1445810 h 1867037"/>
                  <a:gd name="connsiteX7142" fmla="*/ 1694608 w 2417513"/>
                  <a:gd name="connsiteY7142" fmla="*/ 1448689 h 1867037"/>
                  <a:gd name="connsiteX7143" fmla="*/ 1693699 w 2417513"/>
                  <a:gd name="connsiteY7143" fmla="*/ 1449598 h 1867037"/>
                  <a:gd name="connsiteX7144" fmla="*/ 1694002 w 2417513"/>
                  <a:gd name="connsiteY7144" fmla="*/ 1451871 h 1867037"/>
                  <a:gd name="connsiteX7145" fmla="*/ 1695518 w 2417513"/>
                  <a:gd name="connsiteY7145" fmla="*/ 1455508 h 1867037"/>
                  <a:gd name="connsiteX7146" fmla="*/ 1696881 w 2417513"/>
                  <a:gd name="connsiteY7146" fmla="*/ 1461114 h 1867037"/>
                  <a:gd name="connsiteX7147" fmla="*/ 1698093 w 2417513"/>
                  <a:gd name="connsiteY7147" fmla="*/ 1468690 h 1867037"/>
                  <a:gd name="connsiteX7148" fmla="*/ 1699457 w 2417513"/>
                  <a:gd name="connsiteY7148" fmla="*/ 1474751 h 1867037"/>
                  <a:gd name="connsiteX7149" fmla="*/ 1700669 w 2417513"/>
                  <a:gd name="connsiteY7149" fmla="*/ 1477175 h 1867037"/>
                  <a:gd name="connsiteX7150" fmla="*/ 1703851 w 2417513"/>
                  <a:gd name="connsiteY7150" fmla="*/ 1480054 h 1867037"/>
                  <a:gd name="connsiteX7151" fmla="*/ 1704306 w 2417513"/>
                  <a:gd name="connsiteY7151" fmla="*/ 1481569 h 1867037"/>
                  <a:gd name="connsiteX7152" fmla="*/ 1703396 w 2417513"/>
                  <a:gd name="connsiteY7152" fmla="*/ 1483236 h 1867037"/>
                  <a:gd name="connsiteX7153" fmla="*/ 1703094 w 2417513"/>
                  <a:gd name="connsiteY7153" fmla="*/ 1485206 h 1867037"/>
                  <a:gd name="connsiteX7154" fmla="*/ 1703700 w 2417513"/>
                  <a:gd name="connsiteY7154" fmla="*/ 1488994 h 1867037"/>
                  <a:gd name="connsiteX7155" fmla="*/ 1704306 w 2417513"/>
                  <a:gd name="connsiteY7155" fmla="*/ 1490054 h 1867037"/>
                  <a:gd name="connsiteX7156" fmla="*/ 1707639 w 2417513"/>
                  <a:gd name="connsiteY7156" fmla="*/ 1493539 h 1867037"/>
                  <a:gd name="connsiteX7157" fmla="*/ 1708851 w 2417513"/>
                  <a:gd name="connsiteY7157" fmla="*/ 1495055 h 1867037"/>
                  <a:gd name="connsiteX7158" fmla="*/ 1709609 w 2417513"/>
                  <a:gd name="connsiteY7158" fmla="*/ 1498388 h 1867037"/>
                  <a:gd name="connsiteX7159" fmla="*/ 1709760 w 2417513"/>
                  <a:gd name="connsiteY7159" fmla="*/ 1501570 h 1867037"/>
                  <a:gd name="connsiteX7160" fmla="*/ 1710063 w 2417513"/>
                  <a:gd name="connsiteY7160" fmla="*/ 1502328 h 1867037"/>
                  <a:gd name="connsiteX7161" fmla="*/ 1711882 w 2417513"/>
                  <a:gd name="connsiteY7161" fmla="*/ 1503388 h 1867037"/>
                  <a:gd name="connsiteX7162" fmla="*/ 1710670 w 2417513"/>
                  <a:gd name="connsiteY7162" fmla="*/ 1503691 h 1867037"/>
                  <a:gd name="connsiteX7163" fmla="*/ 1709457 w 2417513"/>
                  <a:gd name="connsiteY7163" fmla="*/ 1505055 h 1867037"/>
                  <a:gd name="connsiteX7164" fmla="*/ 1707942 w 2417513"/>
                  <a:gd name="connsiteY7164" fmla="*/ 1507782 h 1867037"/>
                  <a:gd name="connsiteX7165" fmla="*/ 1704912 w 2417513"/>
                  <a:gd name="connsiteY7165" fmla="*/ 1511722 h 1867037"/>
                  <a:gd name="connsiteX7166" fmla="*/ 1701427 w 2417513"/>
                  <a:gd name="connsiteY7166" fmla="*/ 1514298 h 1867037"/>
                  <a:gd name="connsiteX7167" fmla="*/ 1700215 w 2417513"/>
                  <a:gd name="connsiteY7167" fmla="*/ 1516116 h 1867037"/>
                  <a:gd name="connsiteX7168" fmla="*/ 1699608 w 2417513"/>
                  <a:gd name="connsiteY7168" fmla="*/ 1518540 h 1867037"/>
                  <a:gd name="connsiteX7169" fmla="*/ 1698548 w 2417513"/>
                  <a:gd name="connsiteY7169" fmla="*/ 1520207 h 1867037"/>
                  <a:gd name="connsiteX7170" fmla="*/ 1697033 w 2417513"/>
                  <a:gd name="connsiteY7170" fmla="*/ 1521116 h 1867037"/>
                  <a:gd name="connsiteX7171" fmla="*/ 1697184 w 2417513"/>
                  <a:gd name="connsiteY7171" fmla="*/ 1522631 h 1867037"/>
                  <a:gd name="connsiteX7172" fmla="*/ 1702639 w 2417513"/>
                  <a:gd name="connsiteY7172" fmla="*/ 1528692 h 1867037"/>
                  <a:gd name="connsiteX7173" fmla="*/ 1703700 w 2417513"/>
                  <a:gd name="connsiteY7173" fmla="*/ 1530056 h 1867037"/>
                  <a:gd name="connsiteX7174" fmla="*/ 1703851 w 2417513"/>
                  <a:gd name="connsiteY7174" fmla="*/ 1531116 h 1867037"/>
                  <a:gd name="connsiteX7175" fmla="*/ 1701275 w 2417513"/>
                  <a:gd name="connsiteY7175" fmla="*/ 1533541 h 1867037"/>
                  <a:gd name="connsiteX7176" fmla="*/ 1700366 w 2417513"/>
                  <a:gd name="connsiteY7176" fmla="*/ 1535208 h 1867037"/>
                  <a:gd name="connsiteX7177" fmla="*/ 1699306 w 2417513"/>
                  <a:gd name="connsiteY7177" fmla="*/ 1539299 h 1867037"/>
                  <a:gd name="connsiteX7178" fmla="*/ 1699154 w 2417513"/>
                  <a:gd name="connsiteY7178" fmla="*/ 1541875 h 1867037"/>
                  <a:gd name="connsiteX7179" fmla="*/ 1698245 w 2417513"/>
                  <a:gd name="connsiteY7179" fmla="*/ 1539753 h 1867037"/>
                  <a:gd name="connsiteX7180" fmla="*/ 1696881 w 2417513"/>
                  <a:gd name="connsiteY7180" fmla="*/ 1535208 h 1867037"/>
                  <a:gd name="connsiteX7181" fmla="*/ 1696275 w 2417513"/>
                  <a:gd name="connsiteY7181" fmla="*/ 1533844 h 1867037"/>
                  <a:gd name="connsiteX7182" fmla="*/ 1695366 w 2417513"/>
                  <a:gd name="connsiteY7182" fmla="*/ 1532480 h 1867037"/>
                  <a:gd name="connsiteX7183" fmla="*/ 1694002 w 2417513"/>
                  <a:gd name="connsiteY7183" fmla="*/ 1531116 h 1867037"/>
                  <a:gd name="connsiteX7184" fmla="*/ 1692336 w 2417513"/>
                  <a:gd name="connsiteY7184" fmla="*/ 1530207 h 1867037"/>
                  <a:gd name="connsiteX7185" fmla="*/ 1690366 w 2417513"/>
                  <a:gd name="connsiteY7185" fmla="*/ 1529753 h 1867037"/>
                  <a:gd name="connsiteX7186" fmla="*/ 1689305 w 2417513"/>
                  <a:gd name="connsiteY7186" fmla="*/ 1529147 h 1867037"/>
                  <a:gd name="connsiteX7187" fmla="*/ 1688396 w 2417513"/>
                  <a:gd name="connsiteY7187" fmla="*/ 1526571 h 1867037"/>
                  <a:gd name="connsiteX7188" fmla="*/ 1687184 w 2417513"/>
                  <a:gd name="connsiteY7188" fmla="*/ 1526419 h 1867037"/>
                  <a:gd name="connsiteX7189" fmla="*/ 1682790 w 2417513"/>
                  <a:gd name="connsiteY7189" fmla="*/ 1528541 h 1867037"/>
                  <a:gd name="connsiteX7190" fmla="*/ 1681881 w 2417513"/>
                  <a:gd name="connsiteY7190" fmla="*/ 1529753 h 1867037"/>
                  <a:gd name="connsiteX7191" fmla="*/ 1681275 w 2417513"/>
                  <a:gd name="connsiteY7191" fmla="*/ 1531420 h 1867037"/>
                  <a:gd name="connsiteX7192" fmla="*/ 1680214 w 2417513"/>
                  <a:gd name="connsiteY7192" fmla="*/ 1532935 h 1867037"/>
                  <a:gd name="connsiteX7193" fmla="*/ 1678699 w 2417513"/>
                  <a:gd name="connsiteY7193" fmla="*/ 1534298 h 1867037"/>
                  <a:gd name="connsiteX7194" fmla="*/ 1677487 w 2417513"/>
                  <a:gd name="connsiteY7194" fmla="*/ 1536723 h 1867037"/>
                  <a:gd name="connsiteX7195" fmla="*/ 1676577 w 2417513"/>
                  <a:gd name="connsiteY7195" fmla="*/ 1540208 h 1867037"/>
                  <a:gd name="connsiteX7196" fmla="*/ 1676123 w 2417513"/>
                  <a:gd name="connsiteY7196" fmla="*/ 1542632 h 1867037"/>
                  <a:gd name="connsiteX7197" fmla="*/ 1676274 w 2417513"/>
                  <a:gd name="connsiteY7197" fmla="*/ 1543996 h 1867037"/>
                  <a:gd name="connsiteX7198" fmla="*/ 1676729 w 2417513"/>
                  <a:gd name="connsiteY7198" fmla="*/ 1545208 h 1867037"/>
                  <a:gd name="connsiteX7199" fmla="*/ 1678850 w 2417513"/>
                  <a:gd name="connsiteY7199" fmla="*/ 1547632 h 1867037"/>
                  <a:gd name="connsiteX7200" fmla="*/ 1683850 w 2417513"/>
                  <a:gd name="connsiteY7200" fmla="*/ 1552329 h 1867037"/>
                  <a:gd name="connsiteX7201" fmla="*/ 1685820 w 2417513"/>
                  <a:gd name="connsiteY7201" fmla="*/ 1555360 h 1867037"/>
                  <a:gd name="connsiteX7202" fmla="*/ 1686729 w 2417513"/>
                  <a:gd name="connsiteY7202" fmla="*/ 1557936 h 1867037"/>
                  <a:gd name="connsiteX7203" fmla="*/ 1683699 w 2417513"/>
                  <a:gd name="connsiteY7203" fmla="*/ 1553845 h 1867037"/>
                  <a:gd name="connsiteX7204" fmla="*/ 1678396 w 2417513"/>
                  <a:gd name="connsiteY7204" fmla="*/ 1549147 h 1867037"/>
                  <a:gd name="connsiteX7205" fmla="*/ 1673395 w 2417513"/>
                  <a:gd name="connsiteY7205" fmla="*/ 1543238 h 1867037"/>
                  <a:gd name="connsiteX7206" fmla="*/ 1670062 w 2417513"/>
                  <a:gd name="connsiteY7206" fmla="*/ 1540965 h 1867037"/>
                  <a:gd name="connsiteX7207" fmla="*/ 1666122 w 2417513"/>
                  <a:gd name="connsiteY7207" fmla="*/ 1539299 h 1867037"/>
                  <a:gd name="connsiteX7208" fmla="*/ 1661728 w 2417513"/>
                  <a:gd name="connsiteY7208" fmla="*/ 1538087 h 1867037"/>
                  <a:gd name="connsiteX7209" fmla="*/ 1659001 w 2417513"/>
                  <a:gd name="connsiteY7209" fmla="*/ 1537632 h 1867037"/>
                  <a:gd name="connsiteX7210" fmla="*/ 1655971 w 2417513"/>
                  <a:gd name="connsiteY7210" fmla="*/ 1538389 h 1867037"/>
                  <a:gd name="connsiteX7211" fmla="*/ 1650516 w 2417513"/>
                  <a:gd name="connsiteY7211" fmla="*/ 1542632 h 1867037"/>
                  <a:gd name="connsiteX7212" fmla="*/ 1647334 w 2417513"/>
                  <a:gd name="connsiteY7212" fmla="*/ 1544753 h 1867037"/>
                  <a:gd name="connsiteX7213" fmla="*/ 1645819 w 2417513"/>
                  <a:gd name="connsiteY7213" fmla="*/ 1545056 h 1867037"/>
                  <a:gd name="connsiteX7214" fmla="*/ 1650667 w 2417513"/>
                  <a:gd name="connsiteY7214" fmla="*/ 1540056 h 1867037"/>
                  <a:gd name="connsiteX7215" fmla="*/ 1655516 w 2417513"/>
                  <a:gd name="connsiteY7215" fmla="*/ 1537177 h 1867037"/>
                  <a:gd name="connsiteX7216" fmla="*/ 1656880 w 2417513"/>
                  <a:gd name="connsiteY7216" fmla="*/ 1535511 h 1867037"/>
                  <a:gd name="connsiteX7217" fmla="*/ 1656728 w 2417513"/>
                  <a:gd name="connsiteY7217" fmla="*/ 1533995 h 1867037"/>
                  <a:gd name="connsiteX7218" fmla="*/ 1655364 w 2417513"/>
                  <a:gd name="connsiteY7218" fmla="*/ 1530662 h 1867037"/>
                  <a:gd name="connsiteX7219" fmla="*/ 1652789 w 2417513"/>
                  <a:gd name="connsiteY7219" fmla="*/ 1525510 h 1867037"/>
                  <a:gd name="connsiteX7220" fmla="*/ 1650819 w 2417513"/>
                  <a:gd name="connsiteY7220" fmla="*/ 1522177 h 1867037"/>
                  <a:gd name="connsiteX7221" fmla="*/ 1649455 w 2417513"/>
                  <a:gd name="connsiteY7221" fmla="*/ 1520662 h 1867037"/>
                  <a:gd name="connsiteX7222" fmla="*/ 1642334 w 2417513"/>
                  <a:gd name="connsiteY7222" fmla="*/ 1514298 h 1867037"/>
                  <a:gd name="connsiteX7223" fmla="*/ 1637940 w 2417513"/>
                  <a:gd name="connsiteY7223" fmla="*/ 1511570 h 1867037"/>
                  <a:gd name="connsiteX7224" fmla="*/ 1633545 w 2417513"/>
                  <a:gd name="connsiteY7224" fmla="*/ 1509904 h 1867037"/>
                  <a:gd name="connsiteX7225" fmla="*/ 1630515 w 2417513"/>
                  <a:gd name="connsiteY7225" fmla="*/ 1507934 h 1867037"/>
                  <a:gd name="connsiteX7226" fmla="*/ 1628697 w 2417513"/>
                  <a:gd name="connsiteY7226" fmla="*/ 1505661 h 1867037"/>
                  <a:gd name="connsiteX7227" fmla="*/ 1626424 w 2417513"/>
                  <a:gd name="connsiteY7227" fmla="*/ 1504449 h 1867037"/>
                  <a:gd name="connsiteX7228" fmla="*/ 1623697 w 2417513"/>
                  <a:gd name="connsiteY7228" fmla="*/ 1504297 h 1867037"/>
                  <a:gd name="connsiteX7229" fmla="*/ 1619151 w 2417513"/>
                  <a:gd name="connsiteY7229" fmla="*/ 1505055 h 1867037"/>
                  <a:gd name="connsiteX7230" fmla="*/ 1618848 w 2417513"/>
                  <a:gd name="connsiteY7230" fmla="*/ 1504752 h 1867037"/>
                  <a:gd name="connsiteX7231" fmla="*/ 1620212 w 2417513"/>
                  <a:gd name="connsiteY7231" fmla="*/ 1503691 h 1867037"/>
                  <a:gd name="connsiteX7232" fmla="*/ 1623394 w 2417513"/>
                  <a:gd name="connsiteY7232" fmla="*/ 1502176 h 1867037"/>
                  <a:gd name="connsiteX7233" fmla="*/ 1624757 w 2417513"/>
                  <a:gd name="connsiteY7233" fmla="*/ 1501115 h 1867037"/>
                  <a:gd name="connsiteX7234" fmla="*/ 1625818 w 2417513"/>
                  <a:gd name="connsiteY7234" fmla="*/ 1499600 h 1867037"/>
                  <a:gd name="connsiteX7235" fmla="*/ 1625060 w 2417513"/>
                  <a:gd name="connsiteY7235" fmla="*/ 1497176 h 1867037"/>
                  <a:gd name="connsiteX7236" fmla="*/ 1621121 w 2417513"/>
                  <a:gd name="connsiteY7236" fmla="*/ 1492327 h 1867037"/>
                  <a:gd name="connsiteX7237" fmla="*/ 1617939 w 2417513"/>
                  <a:gd name="connsiteY7237" fmla="*/ 1489145 h 1867037"/>
                  <a:gd name="connsiteX7238" fmla="*/ 1613545 w 2417513"/>
                  <a:gd name="connsiteY7238" fmla="*/ 1483236 h 1867037"/>
                  <a:gd name="connsiteX7239" fmla="*/ 1611120 w 2417513"/>
                  <a:gd name="connsiteY7239" fmla="*/ 1480812 h 1867037"/>
                  <a:gd name="connsiteX7240" fmla="*/ 1608545 w 2417513"/>
                  <a:gd name="connsiteY7240" fmla="*/ 1479145 h 1867037"/>
                  <a:gd name="connsiteX7241" fmla="*/ 1607029 w 2417513"/>
                  <a:gd name="connsiteY7241" fmla="*/ 1477630 h 1867037"/>
                  <a:gd name="connsiteX7242" fmla="*/ 1606120 w 2417513"/>
                  <a:gd name="connsiteY7242" fmla="*/ 1475054 h 1867037"/>
                  <a:gd name="connsiteX7243" fmla="*/ 1606120 w 2417513"/>
                  <a:gd name="connsiteY7243" fmla="*/ 1473690 h 1867037"/>
                  <a:gd name="connsiteX7244" fmla="*/ 1607029 w 2417513"/>
                  <a:gd name="connsiteY7244" fmla="*/ 1470205 h 1867037"/>
                  <a:gd name="connsiteX7245" fmla="*/ 1608090 w 2417513"/>
                  <a:gd name="connsiteY7245" fmla="*/ 1468235 h 1867037"/>
                  <a:gd name="connsiteX7246" fmla="*/ 1609757 w 2417513"/>
                  <a:gd name="connsiteY7246" fmla="*/ 1466266 h 1867037"/>
                  <a:gd name="connsiteX7247" fmla="*/ 1610060 w 2417513"/>
                  <a:gd name="connsiteY7247" fmla="*/ 1462478 h 1867037"/>
                  <a:gd name="connsiteX7248" fmla="*/ 1609151 w 2417513"/>
                  <a:gd name="connsiteY7248" fmla="*/ 1457023 h 1867037"/>
                  <a:gd name="connsiteX7249" fmla="*/ 1608848 w 2417513"/>
                  <a:gd name="connsiteY7249" fmla="*/ 1453386 h 1867037"/>
                  <a:gd name="connsiteX7250" fmla="*/ 1609908 w 2417513"/>
                  <a:gd name="connsiteY7250" fmla="*/ 1448538 h 1867037"/>
                  <a:gd name="connsiteX7251" fmla="*/ 1610211 w 2417513"/>
                  <a:gd name="connsiteY7251" fmla="*/ 1445659 h 1867037"/>
                  <a:gd name="connsiteX7252" fmla="*/ 1609605 w 2417513"/>
                  <a:gd name="connsiteY7252" fmla="*/ 1443083 h 1867037"/>
                  <a:gd name="connsiteX7253" fmla="*/ 1607484 w 2417513"/>
                  <a:gd name="connsiteY7253" fmla="*/ 1437174 h 1867037"/>
                  <a:gd name="connsiteX7254" fmla="*/ 1606878 w 2417513"/>
                  <a:gd name="connsiteY7254" fmla="*/ 1436113 h 1867037"/>
                  <a:gd name="connsiteX7255" fmla="*/ 1603241 w 2417513"/>
                  <a:gd name="connsiteY7255" fmla="*/ 1432022 h 1867037"/>
                  <a:gd name="connsiteX7256" fmla="*/ 1602484 w 2417513"/>
                  <a:gd name="connsiteY7256" fmla="*/ 1429598 h 1867037"/>
                  <a:gd name="connsiteX7257" fmla="*/ 1602635 w 2417513"/>
                  <a:gd name="connsiteY7257" fmla="*/ 1425355 h 1867037"/>
                  <a:gd name="connsiteX7258" fmla="*/ 1603999 w 2417513"/>
                  <a:gd name="connsiteY7258" fmla="*/ 1420506 h 1867037"/>
                  <a:gd name="connsiteX7259" fmla="*/ 1608090 w 2417513"/>
                  <a:gd name="connsiteY7259" fmla="*/ 1408082 h 1867037"/>
                  <a:gd name="connsiteX7260" fmla="*/ 1607939 w 2417513"/>
                  <a:gd name="connsiteY7260" fmla="*/ 1406415 h 1867037"/>
                  <a:gd name="connsiteX7261" fmla="*/ 1605666 w 2417513"/>
                  <a:gd name="connsiteY7261" fmla="*/ 1400960 h 1867037"/>
                  <a:gd name="connsiteX7262" fmla="*/ 1603393 w 2417513"/>
                  <a:gd name="connsiteY7262" fmla="*/ 1398384 h 1867037"/>
                  <a:gd name="connsiteX7263" fmla="*/ 1598393 w 2417513"/>
                  <a:gd name="connsiteY7263" fmla="*/ 1395354 h 1867037"/>
                  <a:gd name="connsiteX7264" fmla="*/ 1595362 w 2417513"/>
                  <a:gd name="connsiteY7264" fmla="*/ 1394748 h 1867037"/>
                  <a:gd name="connsiteX7265" fmla="*/ 1592332 w 2417513"/>
                  <a:gd name="connsiteY7265" fmla="*/ 1395051 h 1867037"/>
                  <a:gd name="connsiteX7266" fmla="*/ 1590514 w 2417513"/>
                  <a:gd name="connsiteY7266" fmla="*/ 1394899 h 1867037"/>
                  <a:gd name="connsiteX7267" fmla="*/ 1588392 w 2417513"/>
                  <a:gd name="connsiteY7267" fmla="*/ 1392627 h 1867037"/>
                  <a:gd name="connsiteX7268" fmla="*/ 1587332 w 2417513"/>
                  <a:gd name="connsiteY7268" fmla="*/ 1392324 h 1867037"/>
                  <a:gd name="connsiteX7269" fmla="*/ 1581119 w 2417513"/>
                  <a:gd name="connsiteY7269" fmla="*/ 1392930 h 1867037"/>
                  <a:gd name="connsiteX7270" fmla="*/ 1571422 w 2417513"/>
                  <a:gd name="connsiteY7270" fmla="*/ 1391111 h 1867037"/>
                  <a:gd name="connsiteX7271" fmla="*/ 1568695 w 2417513"/>
                  <a:gd name="connsiteY7271" fmla="*/ 1390960 h 1867037"/>
                  <a:gd name="connsiteX7272" fmla="*/ 1562028 w 2417513"/>
                  <a:gd name="connsiteY7272" fmla="*/ 1388990 h 1867037"/>
                  <a:gd name="connsiteX7273" fmla="*/ 1560361 w 2417513"/>
                  <a:gd name="connsiteY7273" fmla="*/ 1388990 h 1867037"/>
                  <a:gd name="connsiteX7274" fmla="*/ 1559149 w 2417513"/>
                  <a:gd name="connsiteY7274" fmla="*/ 1389596 h 1867037"/>
                  <a:gd name="connsiteX7275" fmla="*/ 1556876 w 2417513"/>
                  <a:gd name="connsiteY7275" fmla="*/ 1389899 h 1867037"/>
                  <a:gd name="connsiteX7276" fmla="*/ 1553694 w 2417513"/>
                  <a:gd name="connsiteY7276" fmla="*/ 1389748 h 1867037"/>
                  <a:gd name="connsiteX7277" fmla="*/ 1549906 w 2417513"/>
                  <a:gd name="connsiteY7277" fmla="*/ 1390202 h 1867037"/>
                  <a:gd name="connsiteX7278" fmla="*/ 1545512 w 2417513"/>
                  <a:gd name="connsiteY7278" fmla="*/ 1391111 h 1867037"/>
                  <a:gd name="connsiteX7279" fmla="*/ 1540360 w 2417513"/>
                  <a:gd name="connsiteY7279" fmla="*/ 1391111 h 1867037"/>
                  <a:gd name="connsiteX7280" fmla="*/ 1534451 w 2417513"/>
                  <a:gd name="connsiteY7280" fmla="*/ 1390202 h 1867037"/>
                  <a:gd name="connsiteX7281" fmla="*/ 1530663 w 2417513"/>
                  <a:gd name="connsiteY7281" fmla="*/ 1390051 h 1867037"/>
                  <a:gd name="connsiteX7282" fmla="*/ 1528845 w 2417513"/>
                  <a:gd name="connsiteY7282" fmla="*/ 1390808 h 1867037"/>
                  <a:gd name="connsiteX7283" fmla="*/ 1526572 w 2417513"/>
                  <a:gd name="connsiteY7283" fmla="*/ 1392475 h 1867037"/>
                  <a:gd name="connsiteX7284" fmla="*/ 1522481 w 2417513"/>
                  <a:gd name="connsiteY7284" fmla="*/ 1397930 h 1867037"/>
                  <a:gd name="connsiteX7285" fmla="*/ 1522632 w 2417513"/>
                  <a:gd name="connsiteY7285" fmla="*/ 1397324 h 1867037"/>
                  <a:gd name="connsiteX7286" fmla="*/ 1526723 w 2417513"/>
                  <a:gd name="connsiteY7286" fmla="*/ 1389596 h 1867037"/>
                  <a:gd name="connsiteX7287" fmla="*/ 1526572 w 2417513"/>
                  <a:gd name="connsiteY7287" fmla="*/ 1387626 h 1867037"/>
                  <a:gd name="connsiteX7288" fmla="*/ 1524754 w 2417513"/>
                  <a:gd name="connsiteY7288" fmla="*/ 1386263 h 1867037"/>
                  <a:gd name="connsiteX7289" fmla="*/ 1521420 w 2417513"/>
                  <a:gd name="connsiteY7289" fmla="*/ 1384445 h 1867037"/>
                  <a:gd name="connsiteX7290" fmla="*/ 1519450 w 2417513"/>
                  <a:gd name="connsiteY7290" fmla="*/ 1382778 h 1867037"/>
                  <a:gd name="connsiteX7291" fmla="*/ 1517178 w 2417513"/>
                  <a:gd name="connsiteY7291" fmla="*/ 1380202 h 1867037"/>
                  <a:gd name="connsiteX7292" fmla="*/ 1513996 w 2417513"/>
                  <a:gd name="connsiteY7292" fmla="*/ 1377929 h 1867037"/>
                  <a:gd name="connsiteX7293" fmla="*/ 1509753 w 2417513"/>
                  <a:gd name="connsiteY7293" fmla="*/ 1375808 h 1867037"/>
                  <a:gd name="connsiteX7294" fmla="*/ 1505510 w 2417513"/>
                  <a:gd name="connsiteY7294" fmla="*/ 1374293 h 1867037"/>
                  <a:gd name="connsiteX7295" fmla="*/ 1501268 w 2417513"/>
                  <a:gd name="connsiteY7295" fmla="*/ 1373383 h 1867037"/>
                  <a:gd name="connsiteX7296" fmla="*/ 1494753 w 2417513"/>
                  <a:gd name="connsiteY7296" fmla="*/ 1371262 h 1867037"/>
                  <a:gd name="connsiteX7297" fmla="*/ 1479903 w 2417513"/>
                  <a:gd name="connsiteY7297" fmla="*/ 1365807 h 1867037"/>
                  <a:gd name="connsiteX7298" fmla="*/ 1469903 w 2417513"/>
                  <a:gd name="connsiteY7298" fmla="*/ 1363535 h 1867037"/>
                  <a:gd name="connsiteX7299" fmla="*/ 1464600 w 2417513"/>
                  <a:gd name="connsiteY7299" fmla="*/ 1361716 h 1867037"/>
                  <a:gd name="connsiteX7300" fmla="*/ 1462479 w 2417513"/>
                  <a:gd name="connsiteY7300" fmla="*/ 1360353 h 1867037"/>
                  <a:gd name="connsiteX7301" fmla="*/ 1453842 w 2417513"/>
                  <a:gd name="connsiteY7301" fmla="*/ 1349292 h 1867037"/>
                  <a:gd name="connsiteX7302" fmla="*/ 1448387 w 2417513"/>
                  <a:gd name="connsiteY7302" fmla="*/ 1344443 h 1867037"/>
                  <a:gd name="connsiteX7303" fmla="*/ 1443084 w 2417513"/>
                  <a:gd name="connsiteY7303" fmla="*/ 1341716 h 1867037"/>
                  <a:gd name="connsiteX7304" fmla="*/ 1438235 w 2417513"/>
                  <a:gd name="connsiteY7304" fmla="*/ 1338837 h 1867037"/>
                  <a:gd name="connsiteX7305" fmla="*/ 1431871 w 2417513"/>
                  <a:gd name="connsiteY7305" fmla="*/ 1334291 h 1867037"/>
                  <a:gd name="connsiteX7306" fmla="*/ 1427932 w 2417513"/>
                  <a:gd name="connsiteY7306" fmla="*/ 1330806 h 1867037"/>
                  <a:gd name="connsiteX7307" fmla="*/ 1424598 w 2417513"/>
                  <a:gd name="connsiteY7307" fmla="*/ 1329291 h 1867037"/>
                  <a:gd name="connsiteX7308" fmla="*/ 1417325 w 2417513"/>
                  <a:gd name="connsiteY7308" fmla="*/ 1328079 h 1867037"/>
                  <a:gd name="connsiteX7309" fmla="*/ 1413689 w 2417513"/>
                  <a:gd name="connsiteY7309" fmla="*/ 1326867 h 1867037"/>
                  <a:gd name="connsiteX7310" fmla="*/ 1401416 w 2417513"/>
                  <a:gd name="connsiteY7310" fmla="*/ 1324291 h 1867037"/>
                  <a:gd name="connsiteX7311" fmla="*/ 1393688 w 2417513"/>
                  <a:gd name="connsiteY7311" fmla="*/ 1321563 h 1867037"/>
                  <a:gd name="connsiteX7312" fmla="*/ 1386264 w 2417513"/>
                  <a:gd name="connsiteY7312" fmla="*/ 1317775 h 1867037"/>
                  <a:gd name="connsiteX7313" fmla="*/ 1379445 w 2417513"/>
                  <a:gd name="connsiteY7313" fmla="*/ 1314745 h 1867037"/>
                  <a:gd name="connsiteX7314" fmla="*/ 1371112 w 2417513"/>
                  <a:gd name="connsiteY7314" fmla="*/ 1313533 h 1867037"/>
                  <a:gd name="connsiteX7315" fmla="*/ 1365202 w 2417513"/>
                  <a:gd name="connsiteY7315" fmla="*/ 1314139 h 1867037"/>
                  <a:gd name="connsiteX7316" fmla="*/ 1340353 w 2417513"/>
                  <a:gd name="connsiteY7316" fmla="*/ 1321109 h 1867037"/>
                  <a:gd name="connsiteX7317" fmla="*/ 1333989 w 2417513"/>
                  <a:gd name="connsiteY7317" fmla="*/ 1323230 h 1867037"/>
                  <a:gd name="connsiteX7318" fmla="*/ 1331110 w 2417513"/>
                  <a:gd name="connsiteY7318" fmla="*/ 1324745 h 1867037"/>
                  <a:gd name="connsiteX7319" fmla="*/ 1330656 w 2417513"/>
                  <a:gd name="connsiteY7319" fmla="*/ 1324594 h 1867037"/>
                  <a:gd name="connsiteX7320" fmla="*/ 1332625 w 2417513"/>
                  <a:gd name="connsiteY7320" fmla="*/ 1322776 h 1867037"/>
                  <a:gd name="connsiteX7321" fmla="*/ 1332474 w 2417513"/>
                  <a:gd name="connsiteY7321" fmla="*/ 1321866 h 1867037"/>
                  <a:gd name="connsiteX7322" fmla="*/ 1328231 w 2417513"/>
                  <a:gd name="connsiteY7322" fmla="*/ 1322170 h 1867037"/>
                  <a:gd name="connsiteX7323" fmla="*/ 1326716 w 2417513"/>
                  <a:gd name="connsiteY7323" fmla="*/ 1322776 h 1867037"/>
                  <a:gd name="connsiteX7324" fmla="*/ 1322928 w 2417513"/>
                  <a:gd name="connsiteY7324" fmla="*/ 1325351 h 1867037"/>
                  <a:gd name="connsiteX7325" fmla="*/ 1320958 w 2417513"/>
                  <a:gd name="connsiteY7325" fmla="*/ 1326261 h 1867037"/>
                  <a:gd name="connsiteX7326" fmla="*/ 1318988 w 2417513"/>
                  <a:gd name="connsiteY7326" fmla="*/ 1326715 h 1867037"/>
                  <a:gd name="connsiteX7327" fmla="*/ 1318837 w 2417513"/>
                  <a:gd name="connsiteY7327" fmla="*/ 1326412 h 1867037"/>
                  <a:gd name="connsiteX7328" fmla="*/ 1320655 w 2417513"/>
                  <a:gd name="connsiteY7328" fmla="*/ 1325503 h 1867037"/>
                  <a:gd name="connsiteX7329" fmla="*/ 1322322 w 2417513"/>
                  <a:gd name="connsiteY7329" fmla="*/ 1323988 h 1867037"/>
                  <a:gd name="connsiteX7330" fmla="*/ 1323989 w 2417513"/>
                  <a:gd name="connsiteY7330" fmla="*/ 1322018 h 1867037"/>
                  <a:gd name="connsiteX7331" fmla="*/ 1325807 w 2417513"/>
                  <a:gd name="connsiteY7331" fmla="*/ 1319139 h 1867037"/>
                  <a:gd name="connsiteX7332" fmla="*/ 1327777 w 2417513"/>
                  <a:gd name="connsiteY7332" fmla="*/ 1315503 h 1867037"/>
                  <a:gd name="connsiteX7333" fmla="*/ 1328837 w 2417513"/>
                  <a:gd name="connsiteY7333" fmla="*/ 1312775 h 1867037"/>
                  <a:gd name="connsiteX7334" fmla="*/ 1328989 w 2417513"/>
                  <a:gd name="connsiteY7334" fmla="*/ 1310957 h 1867037"/>
                  <a:gd name="connsiteX7335" fmla="*/ 1328534 w 2417513"/>
                  <a:gd name="connsiteY7335" fmla="*/ 1308381 h 1867037"/>
                  <a:gd name="connsiteX7336" fmla="*/ 1327473 w 2417513"/>
                  <a:gd name="connsiteY7336" fmla="*/ 1305048 h 1867037"/>
                  <a:gd name="connsiteX7337" fmla="*/ 1321716 w 2417513"/>
                  <a:gd name="connsiteY7337" fmla="*/ 1292774 h 1867037"/>
                  <a:gd name="connsiteX7338" fmla="*/ 1320655 w 2417513"/>
                  <a:gd name="connsiteY7338" fmla="*/ 1290199 h 1867037"/>
                  <a:gd name="connsiteX7339" fmla="*/ 1317928 w 2417513"/>
                  <a:gd name="connsiteY7339" fmla="*/ 1280956 h 1867037"/>
                  <a:gd name="connsiteX7340" fmla="*/ 1315655 w 2417513"/>
                  <a:gd name="connsiteY7340" fmla="*/ 1275047 h 1867037"/>
                  <a:gd name="connsiteX7341" fmla="*/ 1310806 w 2417513"/>
                  <a:gd name="connsiteY7341" fmla="*/ 1264440 h 1867037"/>
                  <a:gd name="connsiteX7342" fmla="*/ 1310049 w 2417513"/>
                  <a:gd name="connsiteY7342" fmla="*/ 1261410 h 1867037"/>
                  <a:gd name="connsiteX7343" fmla="*/ 1309291 w 2417513"/>
                  <a:gd name="connsiteY7343" fmla="*/ 1256258 h 1867037"/>
                  <a:gd name="connsiteX7344" fmla="*/ 1308685 w 2417513"/>
                  <a:gd name="connsiteY7344" fmla="*/ 1255046 h 1867037"/>
                  <a:gd name="connsiteX7345" fmla="*/ 1305958 w 2417513"/>
                  <a:gd name="connsiteY7345" fmla="*/ 1253834 h 1867037"/>
                  <a:gd name="connsiteX7346" fmla="*/ 1303382 w 2417513"/>
                  <a:gd name="connsiteY7346" fmla="*/ 1254440 h 1867037"/>
                  <a:gd name="connsiteX7347" fmla="*/ 1300351 w 2417513"/>
                  <a:gd name="connsiteY7347" fmla="*/ 1254288 h 1867037"/>
                  <a:gd name="connsiteX7348" fmla="*/ 1292321 w 2417513"/>
                  <a:gd name="connsiteY7348" fmla="*/ 1253228 h 1867037"/>
                  <a:gd name="connsiteX7349" fmla="*/ 1284745 w 2417513"/>
                  <a:gd name="connsiteY7349" fmla="*/ 1253682 h 1867037"/>
                  <a:gd name="connsiteX7350" fmla="*/ 1282775 w 2417513"/>
                  <a:gd name="connsiteY7350" fmla="*/ 1255046 h 1867037"/>
                  <a:gd name="connsiteX7351" fmla="*/ 1280502 w 2417513"/>
                  <a:gd name="connsiteY7351" fmla="*/ 1259440 h 1867037"/>
                  <a:gd name="connsiteX7352" fmla="*/ 1278835 w 2417513"/>
                  <a:gd name="connsiteY7352" fmla="*/ 1269440 h 1867037"/>
                  <a:gd name="connsiteX7353" fmla="*/ 1277169 w 2417513"/>
                  <a:gd name="connsiteY7353" fmla="*/ 1272622 h 1867037"/>
                  <a:gd name="connsiteX7354" fmla="*/ 1277169 w 2417513"/>
                  <a:gd name="connsiteY7354" fmla="*/ 1270955 h 1867037"/>
                  <a:gd name="connsiteX7355" fmla="*/ 1278532 w 2417513"/>
                  <a:gd name="connsiteY7355" fmla="*/ 1258228 h 1867037"/>
                  <a:gd name="connsiteX7356" fmla="*/ 1278381 w 2417513"/>
                  <a:gd name="connsiteY7356" fmla="*/ 1255955 h 1867037"/>
                  <a:gd name="connsiteX7357" fmla="*/ 1274744 w 2417513"/>
                  <a:gd name="connsiteY7357" fmla="*/ 1254743 h 1867037"/>
                  <a:gd name="connsiteX7358" fmla="*/ 1271411 w 2417513"/>
                  <a:gd name="connsiteY7358" fmla="*/ 1250652 h 1867037"/>
                  <a:gd name="connsiteX7359" fmla="*/ 1270350 w 2417513"/>
                  <a:gd name="connsiteY7359" fmla="*/ 1249894 h 1867037"/>
                  <a:gd name="connsiteX7360" fmla="*/ 1269138 w 2417513"/>
                  <a:gd name="connsiteY7360" fmla="*/ 1249591 h 1867037"/>
                  <a:gd name="connsiteX7361" fmla="*/ 1267623 w 2417513"/>
                  <a:gd name="connsiteY7361" fmla="*/ 1249591 h 1867037"/>
                  <a:gd name="connsiteX7362" fmla="*/ 1266562 w 2417513"/>
                  <a:gd name="connsiteY7362" fmla="*/ 1248227 h 1867037"/>
                  <a:gd name="connsiteX7363" fmla="*/ 1265805 w 2417513"/>
                  <a:gd name="connsiteY7363" fmla="*/ 1245349 h 1867037"/>
                  <a:gd name="connsiteX7364" fmla="*/ 1264896 w 2417513"/>
                  <a:gd name="connsiteY7364" fmla="*/ 1243530 h 1867037"/>
                  <a:gd name="connsiteX7365" fmla="*/ 1262926 w 2417513"/>
                  <a:gd name="connsiteY7365" fmla="*/ 1242318 h 1867037"/>
                  <a:gd name="connsiteX7366" fmla="*/ 1259895 w 2417513"/>
                  <a:gd name="connsiteY7366" fmla="*/ 1241561 h 1867037"/>
                  <a:gd name="connsiteX7367" fmla="*/ 1262319 w 2417513"/>
                  <a:gd name="connsiteY7367" fmla="*/ 1240803 h 1867037"/>
                  <a:gd name="connsiteX7368" fmla="*/ 1263683 w 2417513"/>
                  <a:gd name="connsiteY7368" fmla="*/ 1238227 h 1867037"/>
                  <a:gd name="connsiteX7369" fmla="*/ 1264592 w 2417513"/>
                  <a:gd name="connsiteY7369" fmla="*/ 1233530 h 1867037"/>
                  <a:gd name="connsiteX7370" fmla="*/ 1264896 w 2417513"/>
                  <a:gd name="connsiteY7370" fmla="*/ 1225045 h 1867037"/>
                  <a:gd name="connsiteX7371" fmla="*/ 1264592 w 2417513"/>
                  <a:gd name="connsiteY7371" fmla="*/ 1205650 h 1867037"/>
                  <a:gd name="connsiteX7372" fmla="*/ 1265805 w 2417513"/>
                  <a:gd name="connsiteY7372" fmla="*/ 1199286 h 1867037"/>
                  <a:gd name="connsiteX7373" fmla="*/ 1267774 w 2417513"/>
                  <a:gd name="connsiteY7373" fmla="*/ 1191407 h 1867037"/>
                  <a:gd name="connsiteX7374" fmla="*/ 1268380 w 2417513"/>
                  <a:gd name="connsiteY7374" fmla="*/ 1186710 h 1867037"/>
                  <a:gd name="connsiteX7375" fmla="*/ 1267774 w 2417513"/>
                  <a:gd name="connsiteY7375" fmla="*/ 1185195 h 1867037"/>
                  <a:gd name="connsiteX7376" fmla="*/ 1266865 w 2417513"/>
                  <a:gd name="connsiteY7376" fmla="*/ 1184134 h 1867037"/>
                  <a:gd name="connsiteX7377" fmla="*/ 1265350 w 2417513"/>
                  <a:gd name="connsiteY7377" fmla="*/ 1183225 h 1867037"/>
                  <a:gd name="connsiteX7378" fmla="*/ 1267623 w 2417513"/>
                  <a:gd name="connsiteY7378" fmla="*/ 1181558 h 1867037"/>
                  <a:gd name="connsiteX7379" fmla="*/ 1270653 w 2417513"/>
                  <a:gd name="connsiteY7379" fmla="*/ 1181407 h 1867037"/>
                  <a:gd name="connsiteX7380" fmla="*/ 1272320 w 2417513"/>
                  <a:gd name="connsiteY7380" fmla="*/ 1178831 h 1867037"/>
                  <a:gd name="connsiteX7381" fmla="*/ 1274593 w 2417513"/>
                  <a:gd name="connsiteY7381" fmla="*/ 1173679 h 1867037"/>
                  <a:gd name="connsiteX7382" fmla="*/ 1277775 w 2417513"/>
                  <a:gd name="connsiteY7382" fmla="*/ 1167921 h 1867037"/>
                  <a:gd name="connsiteX7383" fmla="*/ 1282017 w 2417513"/>
                  <a:gd name="connsiteY7383" fmla="*/ 1161558 h 1867037"/>
                  <a:gd name="connsiteX7384" fmla="*/ 1284442 w 2417513"/>
                  <a:gd name="connsiteY7384" fmla="*/ 1156860 h 1867037"/>
                  <a:gd name="connsiteX7385" fmla="*/ 1284896 w 2417513"/>
                  <a:gd name="connsiteY7385" fmla="*/ 1153830 h 1867037"/>
                  <a:gd name="connsiteX7386" fmla="*/ 1284745 w 2417513"/>
                  <a:gd name="connsiteY7386" fmla="*/ 1151557 h 1867037"/>
                  <a:gd name="connsiteX7387" fmla="*/ 1283987 w 2417513"/>
                  <a:gd name="connsiteY7387" fmla="*/ 1150042 h 1867037"/>
                  <a:gd name="connsiteX7388" fmla="*/ 1284593 w 2417513"/>
                  <a:gd name="connsiteY7388" fmla="*/ 1149436 h 1867037"/>
                  <a:gd name="connsiteX7389" fmla="*/ 1287775 w 2417513"/>
                  <a:gd name="connsiteY7389" fmla="*/ 1149890 h 1867037"/>
                  <a:gd name="connsiteX7390" fmla="*/ 1289290 w 2417513"/>
                  <a:gd name="connsiteY7390" fmla="*/ 1148375 h 1867037"/>
                  <a:gd name="connsiteX7391" fmla="*/ 1289290 w 2417513"/>
                  <a:gd name="connsiteY7391" fmla="*/ 1147466 h 1867037"/>
                  <a:gd name="connsiteX7392" fmla="*/ 1287927 w 2417513"/>
                  <a:gd name="connsiteY7392" fmla="*/ 1144133 h 1867037"/>
                  <a:gd name="connsiteX7393" fmla="*/ 1288684 w 2417513"/>
                  <a:gd name="connsiteY7393" fmla="*/ 1142617 h 1867037"/>
                  <a:gd name="connsiteX7394" fmla="*/ 1294290 w 2417513"/>
                  <a:gd name="connsiteY7394" fmla="*/ 1137466 h 1867037"/>
                  <a:gd name="connsiteX7395" fmla="*/ 1302170 w 2417513"/>
                  <a:gd name="connsiteY7395" fmla="*/ 1133072 h 1867037"/>
                  <a:gd name="connsiteX7396" fmla="*/ 1303988 w 2417513"/>
                  <a:gd name="connsiteY7396" fmla="*/ 1131708 h 1867037"/>
                  <a:gd name="connsiteX7397" fmla="*/ 1305048 w 2417513"/>
                  <a:gd name="connsiteY7397" fmla="*/ 1130496 h 1867037"/>
                  <a:gd name="connsiteX7398" fmla="*/ 1305048 w 2417513"/>
                  <a:gd name="connsiteY7398" fmla="*/ 1130041 h 1867037"/>
                  <a:gd name="connsiteX7399" fmla="*/ 1301866 w 2417513"/>
                  <a:gd name="connsiteY7399" fmla="*/ 1128678 h 1867037"/>
                  <a:gd name="connsiteX7400" fmla="*/ 1300048 w 2417513"/>
                  <a:gd name="connsiteY7400" fmla="*/ 1127162 h 1867037"/>
                  <a:gd name="connsiteX7401" fmla="*/ 1299139 w 2417513"/>
                  <a:gd name="connsiteY7401" fmla="*/ 1126102 h 1867037"/>
                  <a:gd name="connsiteX7402" fmla="*/ 1297624 w 2417513"/>
                  <a:gd name="connsiteY7402" fmla="*/ 1123071 h 1867037"/>
                  <a:gd name="connsiteX7403" fmla="*/ 1303382 w 2417513"/>
                  <a:gd name="connsiteY7403" fmla="*/ 1123677 h 1867037"/>
                  <a:gd name="connsiteX7404" fmla="*/ 1304442 w 2417513"/>
                  <a:gd name="connsiteY7404" fmla="*/ 1123526 h 1867037"/>
                  <a:gd name="connsiteX7405" fmla="*/ 1306109 w 2417513"/>
                  <a:gd name="connsiteY7405" fmla="*/ 1122314 h 1867037"/>
                  <a:gd name="connsiteX7406" fmla="*/ 1305503 w 2417513"/>
                  <a:gd name="connsiteY7406" fmla="*/ 1121405 h 1867037"/>
                  <a:gd name="connsiteX7407" fmla="*/ 1303533 w 2417513"/>
                  <a:gd name="connsiteY7407" fmla="*/ 1120041 h 1867037"/>
                  <a:gd name="connsiteX7408" fmla="*/ 1303988 w 2417513"/>
                  <a:gd name="connsiteY7408" fmla="*/ 1119435 h 1867037"/>
                  <a:gd name="connsiteX7409" fmla="*/ 1308988 w 2417513"/>
                  <a:gd name="connsiteY7409" fmla="*/ 1119283 h 1867037"/>
                  <a:gd name="connsiteX7410" fmla="*/ 1311564 w 2417513"/>
                  <a:gd name="connsiteY7410" fmla="*/ 1118071 h 1867037"/>
                  <a:gd name="connsiteX7411" fmla="*/ 1313079 w 2417513"/>
                  <a:gd name="connsiteY7411" fmla="*/ 1116707 h 1867037"/>
                  <a:gd name="connsiteX7412" fmla="*/ 1312776 w 2417513"/>
                  <a:gd name="connsiteY7412" fmla="*/ 1116101 h 1867037"/>
                  <a:gd name="connsiteX7413" fmla="*/ 1311564 w 2417513"/>
                  <a:gd name="connsiteY7413" fmla="*/ 1115344 h 1867037"/>
                  <a:gd name="connsiteX7414" fmla="*/ 1311715 w 2417513"/>
                  <a:gd name="connsiteY7414" fmla="*/ 1114435 h 1867037"/>
                  <a:gd name="connsiteX7415" fmla="*/ 1316109 w 2417513"/>
                  <a:gd name="connsiteY7415" fmla="*/ 1111707 h 1867037"/>
                  <a:gd name="connsiteX7416" fmla="*/ 1315806 w 2417513"/>
                  <a:gd name="connsiteY7416" fmla="*/ 1110495 h 1867037"/>
                  <a:gd name="connsiteX7417" fmla="*/ 1313837 w 2417513"/>
                  <a:gd name="connsiteY7417" fmla="*/ 1108828 h 1867037"/>
                  <a:gd name="connsiteX7418" fmla="*/ 1308533 w 2417513"/>
                  <a:gd name="connsiteY7418" fmla="*/ 1106101 h 1867037"/>
                  <a:gd name="connsiteX7419" fmla="*/ 1307776 w 2417513"/>
                  <a:gd name="connsiteY7419" fmla="*/ 1105495 h 1867037"/>
                  <a:gd name="connsiteX7420" fmla="*/ 1309140 w 2417513"/>
                  <a:gd name="connsiteY7420" fmla="*/ 1105343 h 1867037"/>
                  <a:gd name="connsiteX7421" fmla="*/ 1317019 w 2417513"/>
                  <a:gd name="connsiteY7421" fmla="*/ 1107919 h 1867037"/>
                  <a:gd name="connsiteX7422" fmla="*/ 1320655 w 2417513"/>
                  <a:gd name="connsiteY7422" fmla="*/ 1109889 h 1867037"/>
                  <a:gd name="connsiteX7423" fmla="*/ 1323079 w 2417513"/>
                  <a:gd name="connsiteY7423" fmla="*/ 1112162 h 1867037"/>
                  <a:gd name="connsiteX7424" fmla="*/ 1324898 w 2417513"/>
                  <a:gd name="connsiteY7424" fmla="*/ 1113525 h 1867037"/>
                  <a:gd name="connsiteX7425" fmla="*/ 1326261 w 2417513"/>
                  <a:gd name="connsiteY7425" fmla="*/ 1113980 h 1867037"/>
                  <a:gd name="connsiteX7426" fmla="*/ 1325807 w 2417513"/>
                  <a:gd name="connsiteY7426" fmla="*/ 1112616 h 1867037"/>
                  <a:gd name="connsiteX7427" fmla="*/ 1323534 w 2417513"/>
                  <a:gd name="connsiteY7427" fmla="*/ 1109434 h 1867037"/>
                  <a:gd name="connsiteX7428" fmla="*/ 1321564 w 2417513"/>
                  <a:gd name="connsiteY7428" fmla="*/ 1107313 h 1867037"/>
                  <a:gd name="connsiteX7429" fmla="*/ 1319746 w 2417513"/>
                  <a:gd name="connsiteY7429" fmla="*/ 1106404 h 1867037"/>
                  <a:gd name="connsiteX7430" fmla="*/ 1319746 w 2417513"/>
                  <a:gd name="connsiteY7430" fmla="*/ 1105192 h 1867037"/>
                  <a:gd name="connsiteX7431" fmla="*/ 1321413 w 2417513"/>
                  <a:gd name="connsiteY7431" fmla="*/ 1103525 h 1867037"/>
                  <a:gd name="connsiteX7432" fmla="*/ 1324443 w 2417513"/>
                  <a:gd name="connsiteY7432" fmla="*/ 1101252 h 1867037"/>
                  <a:gd name="connsiteX7433" fmla="*/ 1325352 w 2417513"/>
                  <a:gd name="connsiteY7433" fmla="*/ 1099889 h 1867037"/>
                  <a:gd name="connsiteX7434" fmla="*/ 1325655 w 2417513"/>
                  <a:gd name="connsiteY7434" fmla="*/ 1098070 h 1867037"/>
                  <a:gd name="connsiteX7435" fmla="*/ 1327170 w 2417513"/>
                  <a:gd name="connsiteY7435" fmla="*/ 1097313 h 1867037"/>
                  <a:gd name="connsiteX7436" fmla="*/ 1329898 w 2417513"/>
                  <a:gd name="connsiteY7436" fmla="*/ 1097616 h 1867037"/>
                  <a:gd name="connsiteX7437" fmla="*/ 1332019 w 2417513"/>
                  <a:gd name="connsiteY7437" fmla="*/ 1097313 h 1867037"/>
                  <a:gd name="connsiteX7438" fmla="*/ 1333534 w 2417513"/>
                  <a:gd name="connsiteY7438" fmla="*/ 1096404 h 1867037"/>
                  <a:gd name="connsiteX7439" fmla="*/ 1335201 w 2417513"/>
                  <a:gd name="connsiteY7439" fmla="*/ 1096404 h 1867037"/>
                  <a:gd name="connsiteX7440" fmla="*/ 1338686 w 2417513"/>
                  <a:gd name="connsiteY7440" fmla="*/ 1098222 h 1867037"/>
                  <a:gd name="connsiteX7441" fmla="*/ 1340656 w 2417513"/>
                  <a:gd name="connsiteY7441" fmla="*/ 1098373 h 1867037"/>
                  <a:gd name="connsiteX7442" fmla="*/ 1342322 w 2417513"/>
                  <a:gd name="connsiteY7442" fmla="*/ 1096858 h 1867037"/>
                  <a:gd name="connsiteX7443" fmla="*/ 1342626 w 2417513"/>
                  <a:gd name="connsiteY7443" fmla="*/ 1096101 h 1867037"/>
                  <a:gd name="connsiteX7444" fmla="*/ 1342020 w 2417513"/>
                  <a:gd name="connsiteY7444" fmla="*/ 1093828 h 1867037"/>
                  <a:gd name="connsiteX7445" fmla="*/ 1336716 w 2417513"/>
                  <a:gd name="connsiteY7445" fmla="*/ 1092919 h 1867037"/>
                  <a:gd name="connsiteX7446" fmla="*/ 1334140 w 2417513"/>
                  <a:gd name="connsiteY7446" fmla="*/ 1092161 h 1867037"/>
                  <a:gd name="connsiteX7447" fmla="*/ 1332474 w 2417513"/>
                  <a:gd name="connsiteY7447" fmla="*/ 1090949 h 1867037"/>
                  <a:gd name="connsiteX7448" fmla="*/ 1331413 w 2417513"/>
                  <a:gd name="connsiteY7448" fmla="*/ 1090040 h 1867037"/>
                  <a:gd name="connsiteX7449" fmla="*/ 1330504 w 2417513"/>
                  <a:gd name="connsiteY7449" fmla="*/ 1088373 h 1867037"/>
                  <a:gd name="connsiteX7450" fmla="*/ 1330201 w 2417513"/>
                  <a:gd name="connsiteY7450" fmla="*/ 1086555 h 1867037"/>
                  <a:gd name="connsiteX7451" fmla="*/ 1330958 w 2417513"/>
                  <a:gd name="connsiteY7451" fmla="*/ 1085797 h 1867037"/>
                  <a:gd name="connsiteX7452" fmla="*/ 1335504 w 2417513"/>
                  <a:gd name="connsiteY7452" fmla="*/ 1085343 h 1867037"/>
                  <a:gd name="connsiteX7453" fmla="*/ 1336716 w 2417513"/>
                  <a:gd name="connsiteY7453" fmla="*/ 1084888 h 1867037"/>
                  <a:gd name="connsiteX7454" fmla="*/ 1337928 w 2417513"/>
                  <a:gd name="connsiteY7454" fmla="*/ 1083979 h 1867037"/>
                  <a:gd name="connsiteX7455" fmla="*/ 1340050 w 2417513"/>
                  <a:gd name="connsiteY7455" fmla="*/ 1083979 h 1867037"/>
                  <a:gd name="connsiteX7456" fmla="*/ 1344595 w 2417513"/>
                  <a:gd name="connsiteY7456" fmla="*/ 1085191 h 1867037"/>
                  <a:gd name="connsiteX7457" fmla="*/ 1356111 w 2417513"/>
                  <a:gd name="connsiteY7457" fmla="*/ 1086555 h 1867037"/>
                  <a:gd name="connsiteX7458" fmla="*/ 1358838 w 2417513"/>
                  <a:gd name="connsiteY7458" fmla="*/ 1085949 h 1867037"/>
                  <a:gd name="connsiteX7459" fmla="*/ 1365202 w 2417513"/>
                  <a:gd name="connsiteY7459" fmla="*/ 1081555 h 1867037"/>
                  <a:gd name="connsiteX7460" fmla="*/ 1368081 w 2417513"/>
                  <a:gd name="connsiteY7460" fmla="*/ 1080797 h 1867037"/>
                  <a:gd name="connsiteX7461" fmla="*/ 1371869 w 2417513"/>
                  <a:gd name="connsiteY7461" fmla="*/ 1080494 h 1867037"/>
                  <a:gd name="connsiteX7462" fmla="*/ 1374445 w 2417513"/>
                  <a:gd name="connsiteY7462" fmla="*/ 1079433 h 1867037"/>
                  <a:gd name="connsiteX7463" fmla="*/ 1375809 w 2417513"/>
                  <a:gd name="connsiteY7463" fmla="*/ 1077464 h 1867037"/>
                  <a:gd name="connsiteX7464" fmla="*/ 1376566 w 2417513"/>
                  <a:gd name="connsiteY7464" fmla="*/ 1075494 h 1867037"/>
                  <a:gd name="connsiteX7465" fmla="*/ 1376718 w 2417513"/>
                  <a:gd name="connsiteY7465" fmla="*/ 1073524 h 1867037"/>
                  <a:gd name="connsiteX7466" fmla="*/ 1376112 w 2417513"/>
                  <a:gd name="connsiteY7466" fmla="*/ 1065190 h 1867037"/>
                  <a:gd name="connsiteX7467" fmla="*/ 1375203 w 2417513"/>
                  <a:gd name="connsiteY7467" fmla="*/ 1063069 h 1867037"/>
                  <a:gd name="connsiteX7468" fmla="*/ 1369142 w 2417513"/>
                  <a:gd name="connsiteY7468" fmla="*/ 1059130 h 1867037"/>
                  <a:gd name="connsiteX7469" fmla="*/ 1365505 w 2417513"/>
                  <a:gd name="connsiteY7469" fmla="*/ 1057766 h 1867037"/>
                  <a:gd name="connsiteX7470" fmla="*/ 1359293 w 2417513"/>
                  <a:gd name="connsiteY7470" fmla="*/ 1056402 h 1867037"/>
                  <a:gd name="connsiteX7471" fmla="*/ 1354899 w 2417513"/>
                  <a:gd name="connsiteY7471" fmla="*/ 1053978 h 1867037"/>
                  <a:gd name="connsiteX7472" fmla="*/ 1349444 w 2417513"/>
                  <a:gd name="connsiteY7472" fmla="*/ 1049735 h 1867037"/>
                  <a:gd name="connsiteX7473" fmla="*/ 1345201 w 2417513"/>
                  <a:gd name="connsiteY7473" fmla="*/ 1048069 h 1867037"/>
                  <a:gd name="connsiteX7474" fmla="*/ 1342020 w 2417513"/>
                  <a:gd name="connsiteY7474" fmla="*/ 1048978 h 1867037"/>
                  <a:gd name="connsiteX7475" fmla="*/ 1338686 w 2417513"/>
                  <a:gd name="connsiteY7475" fmla="*/ 1050493 h 1867037"/>
                  <a:gd name="connsiteX7476" fmla="*/ 1332928 w 2417513"/>
                  <a:gd name="connsiteY7476" fmla="*/ 1053826 h 1867037"/>
                  <a:gd name="connsiteX7477" fmla="*/ 1328080 w 2417513"/>
                  <a:gd name="connsiteY7477" fmla="*/ 1054129 h 1867037"/>
                  <a:gd name="connsiteX7478" fmla="*/ 1328231 w 2417513"/>
                  <a:gd name="connsiteY7478" fmla="*/ 1053523 h 1867037"/>
                  <a:gd name="connsiteX7479" fmla="*/ 1335201 w 2417513"/>
                  <a:gd name="connsiteY7479" fmla="*/ 1049735 h 1867037"/>
                  <a:gd name="connsiteX7480" fmla="*/ 1336565 w 2417513"/>
                  <a:gd name="connsiteY7480" fmla="*/ 1048220 h 1867037"/>
                  <a:gd name="connsiteX7481" fmla="*/ 1335504 w 2417513"/>
                  <a:gd name="connsiteY7481" fmla="*/ 1047462 h 1867037"/>
                  <a:gd name="connsiteX7482" fmla="*/ 1331565 w 2417513"/>
                  <a:gd name="connsiteY7482" fmla="*/ 1046250 h 1867037"/>
                  <a:gd name="connsiteX7483" fmla="*/ 1326413 w 2417513"/>
                  <a:gd name="connsiteY7483" fmla="*/ 1045038 h 1867037"/>
                  <a:gd name="connsiteX7484" fmla="*/ 1308988 w 2417513"/>
                  <a:gd name="connsiteY7484" fmla="*/ 1038977 h 1867037"/>
                  <a:gd name="connsiteX7485" fmla="*/ 1306715 w 2417513"/>
                  <a:gd name="connsiteY7485" fmla="*/ 1037917 h 1867037"/>
                  <a:gd name="connsiteX7486" fmla="*/ 1303230 w 2417513"/>
                  <a:gd name="connsiteY7486" fmla="*/ 1037008 h 1867037"/>
                  <a:gd name="connsiteX7487" fmla="*/ 1302473 w 2417513"/>
                  <a:gd name="connsiteY7487" fmla="*/ 1037311 h 1867037"/>
                  <a:gd name="connsiteX7488" fmla="*/ 1303230 w 2417513"/>
                  <a:gd name="connsiteY7488" fmla="*/ 1039129 h 1867037"/>
                  <a:gd name="connsiteX7489" fmla="*/ 1304745 w 2417513"/>
                  <a:gd name="connsiteY7489" fmla="*/ 1040341 h 1867037"/>
                  <a:gd name="connsiteX7490" fmla="*/ 1306412 w 2417513"/>
                  <a:gd name="connsiteY7490" fmla="*/ 1041099 h 1867037"/>
                  <a:gd name="connsiteX7491" fmla="*/ 1306261 w 2417513"/>
                  <a:gd name="connsiteY7491" fmla="*/ 1041705 h 1867037"/>
                  <a:gd name="connsiteX7492" fmla="*/ 1302321 w 2417513"/>
                  <a:gd name="connsiteY7492" fmla="*/ 1041856 h 1867037"/>
                  <a:gd name="connsiteX7493" fmla="*/ 1298382 w 2417513"/>
                  <a:gd name="connsiteY7493" fmla="*/ 1040644 h 1867037"/>
                  <a:gd name="connsiteX7494" fmla="*/ 1295503 w 2417513"/>
                  <a:gd name="connsiteY7494" fmla="*/ 1037311 h 1867037"/>
                  <a:gd name="connsiteX7495" fmla="*/ 1295806 w 2417513"/>
                  <a:gd name="connsiteY7495" fmla="*/ 1035947 h 1867037"/>
                  <a:gd name="connsiteX7496" fmla="*/ 1297169 w 2417513"/>
                  <a:gd name="connsiteY7496" fmla="*/ 1034583 h 1867037"/>
                  <a:gd name="connsiteX7497" fmla="*/ 1297321 w 2417513"/>
                  <a:gd name="connsiteY7497" fmla="*/ 1033068 h 1867037"/>
                  <a:gd name="connsiteX7498" fmla="*/ 1294593 w 2417513"/>
                  <a:gd name="connsiteY7498" fmla="*/ 1028371 h 1867037"/>
                  <a:gd name="connsiteX7499" fmla="*/ 1301866 w 2417513"/>
                  <a:gd name="connsiteY7499" fmla="*/ 1033523 h 1867037"/>
                  <a:gd name="connsiteX7500" fmla="*/ 1314443 w 2417513"/>
                  <a:gd name="connsiteY7500" fmla="*/ 1037462 h 1867037"/>
                  <a:gd name="connsiteX7501" fmla="*/ 1325958 w 2417513"/>
                  <a:gd name="connsiteY7501" fmla="*/ 1042159 h 1867037"/>
                  <a:gd name="connsiteX7502" fmla="*/ 1331716 w 2417513"/>
                  <a:gd name="connsiteY7502" fmla="*/ 1043978 h 1867037"/>
                  <a:gd name="connsiteX7503" fmla="*/ 1335656 w 2417513"/>
                  <a:gd name="connsiteY7503" fmla="*/ 1044432 h 1867037"/>
                  <a:gd name="connsiteX7504" fmla="*/ 1338383 w 2417513"/>
                  <a:gd name="connsiteY7504" fmla="*/ 1044129 h 1867037"/>
                  <a:gd name="connsiteX7505" fmla="*/ 1339898 w 2417513"/>
                  <a:gd name="connsiteY7505" fmla="*/ 1042917 h 1867037"/>
                  <a:gd name="connsiteX7506" fmla="*/ 1341413 w 2417513"/>
                  <a:gd name="connsiteY7506" fmla="*/ 1042462 h 1867037"/>
                  <a:gd name="connsiteX7507" fmla="*/ 1342929 w 2417513"/>
                  <a:gd name="connsiteY7507" fmla="*/ 1042917 h 1867037"/>
                  <a:gd name="connsiteX7508" fmla="*/ 1343232 w 2417513"/>
                  <a:gd name="connsiteY7508" fmla="*/ 1043371 h 1867037"/>
                  <a:gd name="connsiteX7509" fmla="*/ 1342322 w 2417513"/>
                  <a:gd name="connsiteY7509" fmla="*/ 1043978 h 1867037"/>
                  <a:gd name="connsiteX7510" fmla="*/ 1342322 w 2417513"/>
                  <a:gd name="connsiteY7510" fmla="*/ 1044584 h 1867037"/>
                  <a:gd name="connsiteX7511" fmla="*/ 1343080 w 2417513"/>
                  <a:gd name="connsiteY7511" fmla="*/ 1045190 h 1867037"/>
                  <a:gd name="connsiteX7512" fmla="*/ 1349898 w 2417513"/>
                  <a:gd name="connsiteY7512" fmla="*/ 1045796 h 1867037"/>
                  <a:gd name="connsiteX7513" fmla="*/ 1353687 w 2417513"/>
                  <a:gd name="connsiteY7513" fmla="*/ 1046553 h 1867037"/>
                  <a:gd name="connsiteX7514" fmla="*/ 1365505 w 2417513"/>
                  <a:gd name="connsiteY7514" fmla="*/ 1051250 h 1867037"/>
                  <a:gd name="connsiteX7515" fmla="*/ 1369899 w 2417513"/>
                  <a:gd name="connsiteY7515" fmla="*/ 1052614 h 1867037"/>
                  <a:gd name="connsiteX7516" fmla="*/ 1373536 w 2417513"/>
                  <a:gd name="connsiteY7516" fmla="*/ 1052917 h 1867037"/>
                  <a:gd name="connsiteX7517" fmla="*/ 1376415 w 2417513"/>
                  <a:gd name="connsiteY7517" fmla="*/ 1052160 h 1867037"/>
                  <a:gd name="connsiteX7518" fmla="*/ 1378384 w 2417513"/>
                  <a:gd name="connsiteY7518" fmla="*/ 1050948 h 1867037"/>
                  <a:gd name="connsiteX7519" fmla="*/ 1379445 w 2417513"/>
                  <a:gd name="connsiteY7519" fmla="*/ 1049281 h 1867037"/>
                  <a:gd name="connsiteX7520" fmla="*/ 1381112 w 2417513"/>
                  <a:gd name="connsiteY7520" fmla="*/ 1049129 h 1867037"/>
                  <a:gd name="connsiteX7521" fmla="*/ 1383536 w 2417513"/>
                  <a:gd name="connsiteY7521" fmla="*/ 1050341 h 1867037"/>
                  <a:gd name="connsiteX7522" fmla="*/ 1385657 w 2417513"/>
                  <a:gd name="connsiteY7522" fmla="*/ 1050796 h 1867037"/>
                  <a:gd name="connsiteX7523" fmla="*/ 1388991 w 2417513"/>
                  <a:gd name="connsiteY7523" fmla="*/ 1050038 h 1867037"/>
                  <a:gd name="connsiteX7524" fmla="*/ 1391415 w 2417513"/>
                  <a:gd name="connsiteY7524" fmla="*/ 1047917 h 1867037"/>
                  <a:gd name="connsiteX7525" fmla="*/ 1395355 w 2417513"/>
                  <a:gd name="connsiteY7525" fmla="*/ 1042917 h 1867037"/>
                  <a:gd name="connsiteX7526" fmla="*/ 1395203 w 2417513"/>
                  <a:gd name="connsiteY7526" fmla="*/ 1041856 h 1867037"/>
                  <a:gd name="connsiteX7527" fmla="*/ 1393991 w 2417513"/>
                  <a:gd name="connsiteY7527" fmla="*/ 1039735 h 1867037"/>
                  <a:gd name="connsiteX7528" fmla="*/ 1390961 w 2417513"/>
                  <a:gd name="connsiteY7528" fmla="*/ 1035341 h 1867037"/>
                  <a:gd name="connsiteX7529" fmla="*/ 1391718 w 2417513"/>
                  <a:gd name="connsiteY7529" fmla="*/ 1035189 h 1867037"/>
                  <a:gd name="connsiteX7530" fmla="*/ 1397779 w 2417513"/>
                  <a:gd name="connsiteY7530" fmla="*/ 1036856 h 1867037"/>
                  <a:gd name="connsiteX7531" fmla="*/ 1399598 w 2417513"/>
                  <a:gd name="connsiteY7531" fmla="*/ 1036250 h 1867037"/>
                  <a:gd name="connsiteX7532" fmla="*/ 1399446 w 2417513"/>
                  <a:gd name="connsiteY7532" fmla="*/ 1035341 h 1867037"/>
                  <a:gd name="connsiteX7533" fmla="*/ 1396870 w 2417513"/>
                  <a:gd name="connsiteY7533" fmla="*/ 1030947 h 1867037"/>
                  <a:gd name="connsiteX7534" fmla="*/ 1395961 w 2417513"/>
                  <a:gd name="connsiteY7534" fmla="*/ 1030038 h 1867037"/>
                  <a:gd name="connsiteX7535" fmla="*/ 1393385 w 2417513"/>
                  <a:gd name="connsiteY7535" fmla="*/ 1028825 h 1867037"/>
                  <a:gd name="connsiteX7536" fmla="*/ 1394446 w 2417513"/>
                  <a:gd name="connsiteY7536" fmla="*/ 1028219 h 1867037"/>
                  <a:gd name="connsiteX7537" fmla="*/ 1400809 w 2417513"/>
                  <a:gd name="connsiteY7537" fmla="*/ 1026553 h 1867037"/>
                  <a:gd name="connsiteX7538" fmla="*/ 1401264 w 2417513"/>
                  <a:gd name="connsiteY7538" fmla="*/ 1027159 h 1867037"/>
                  <a:gd name="connsiteX7539" fmla="*/ 1402022 w 2417513"/>
                  <a:gd name="connsiteY7539" fmla="*/ 1030189 h 1867037"/>
                  <a:gd name="connsiteX7540" fmla="*/ 1402931 w 2417513"/>
                  <a:gd name="connsiteY7540" fmla="*/ 1031250 h 1867037"/>
                  <a:gd name="connsiteX7541" fmla="*/ 1406113 w 2417513"/>
                  <a:gd name="connsiteY7541" fmla="*/ 1033220 h 1867037"/>
                  <a:gd name="connsiteX7542" fmla="*/ 1407931 w 2417513"/>
                  <a:gd name="connsiteY7542" fmla="*/ 1033977 h 1867037"/>
                  <a:gd name="connsiteX7543" fmla="*/ 1409295 w 2417513"/>
                  <a:gd name="connsiteY7543" fmla="*/ 1033977 h 1867037"/>
                  <a:gd name="connsiteX7544" fmla="*/ 1410355 w 2417513"/>
                  <a:gd name="connsiteY7544" fmla="*/ 1033371 h 1867037"/>
                  <a:gd name="connsiteX7545" fmla="*/ 1412022 w 2417513"/>
                  <a:gd name="connsiteY7545" fmla="*/ 1032916 h 1867037"/>
                  <a:gd name="connsiteX7546" fmla="*/ 1417174 w 2417513"/>
                  <a:gd name="connsiteY7546" fmla="*/ 1035341 h 1867037"/>
                  <a:gd name="connsiteX7547" fmla="*/ 1419447 w 2417513"/>
                  <a:gd name="connsiteY7547" fmla="*/ 1036098 h 1867037"/>
                  <a:gd name="connsiteX7548" fmla="*/ 1420053 w 2417513"/>
                  <a:gd name="connsiteY7548" fmla="*/ 1035492 h 1867037"/>
                  <a:gd name="connsiteX7549" fmla="*/ 1417325 w 2417513"/>
                  <a:gd name="connsiteY7549" fmla="*/ 1030038 h 1867037"/>
                  <a:gd name="connsiteX7550" fmla="*/ 1417628 w 2417513"/>
                  <a:gd name="connsiteY7550" fmla="*/ 1029735 h 1867037"/>
                  <a:gd name="connsiteX7551" fmla="*/ 1421416 w 2417513"/>
                  <a:gd name="connsiteY7551" fmla="*/ 1033220 h 1867037"/>
                  <a:gd name="connsiteX7552" fmla="*/ 1423992 w 2417513"/>
                  <a:gd name="connsiteY7552" fmla="*/ 1034280 h 1867037"/>
                  <a:gd name="connsiteX7553" fmla="*/ 1427932 w 2417513"/>
                  <a:gd name="connsiteY7553" fmla="*/ 1035038 h 1867037"/>
                  <a:gd name="connsiteX7554" fmla="*/ 1432477 w 2417513"/>
                  <a:gd name="connsiteY7554" fmla="*/ 1034280 h 1867037"/>
                  <a:gd name="connsiteX7555" fmla="*/ 1439902 w 2417513"/>
                  <a:gd name="connsiteY7555" fmla="*/ 1030795 h 1867037"/>
                  <a:gd name="connsiteX7556" fmla="*/ 1447326 w 2417513"/>
                  <a:gd name="connsiteY7556" fmla="*/ 1026704 h 1867037"/>
                  <a:gd name="connsiteX7557" fmla="*/ 1450357 w 2417513"/>
                  <a:gd name="connsiteY7557" fmla="*/ 1023977 h 1867037"/>
                  <a:gd name="connsiteX7558" fmla="*/ 1451266 w 2417513"/>
                  <a:gd name="connsiteY7558" fmla="*/ 1021401 h 1867037"/>
                  <a:gd name="connsiteX7559" fmla="*/ 1453387 w 2417513"/>
                  <a:gd name="connsiteY7559" fmla="*/ 1017158 h 1867037"/>
                  <a:gd name="connsiteX7560" fmla="*/ 1469903 w 2417513"/>
                  <a:gd name="connsiteY7560" fmla="*/ 998370 h 1867037"/>
                  <a:gd name="connsiteX7561" fmla="*/ 1472630 w 2417513"/>
                  <a:gd name="connsiteY7561" fmla="*/ 993824 h 1867037"/>
                  <a:gd name="connsiteX7562" fmla="*/ 1476873 w 2417513"/>
                  <a:gd name="connsiteY7562" fmla="*/ 987763 h 1867037"/>
                  <a:gd name="connsiteX7563" fmla="*/ 1477631 w 2417513"/>
                  <a:gd name="connsiteY7563" fmla="*/ 985794 h 1867037"/>
                  <a:gd name="connsiteX7564" fmla="*/ 1477025 w 2417513"/>
                  <a:gd name="connsiteY7564" fmla="*/ 981854 h 1867037"/>
                  <a:gd name="connsiteX7565" fmla="*/ 1474600 w 2417513"/>
                  <a:gd name="connsiteY7565" fmla="*/ 980490 h 1867037"/>
                  <a:gd name="connsiteX7566" fmla="*/ 1466873 w 2417513"/>
                  <a:gd name="connsiteY7566" fmla="*/ 978824 h 1867037"/>
                  <a:gd name="connsiteX7567" fmla="*/ 1452175 w 2417513"/>
                  <a:gd name="connsiteY7567" fmla="*/ 977915 h 1867037"/>
                  <a:gd name="connsiteX7568" fmla="*/ 1444902 w 2417513"/>
                  <a:gd name="connsiteY7568" fmla="*/ 977915 h 1867037"/>
                  <a:gd name="connsiteX7569" fmla="*/ 1423689 w 2417513"/>
                  <a:gd name="connsiteY7569" fmla="*/ 974884 h 1867037"/>
                  <a:gd name="connsiteX7570" fmla="*/ 1419447 w 2417513"/>
                  <a:gd name="connsiteY7570" fmla="*/ 972763 h 1867037"/>
                  <a:gd name="connsiteX7571" fmla="*/ 1416265 w 2417513"/>
                  <a:gd name="connsiteY7571" fmla="*/ 970490 h 1867037"/>
                  <a:gd name="connsiteX7572" fmla="*/ 1406416 w 2417513"/>
                  <a:gd name="connsiteY7572" fmla="*/ 961399 h 1867037"/>
                  <a:gd name="connsiteX7573" fmla="*/ 1401264 w 2417513"/>
                  <a:gd name="connsiteY7573" fmla="*/ 957459 h 1867037"/>
                  <a:gd name="connsiteX7574" fmla="*/ 1397476 w 2417513"/>
                  <a:gd name="connsiteY7574" fmla="*/ 955489 h 1867037"/>
                  <a:gd name="connsiteX7575" fmla="*/ 1394143 w 2417513"/>
                  <a:gd name="connsiteY7575" fmla="*/ 954277 h 1867037"/>
                  <a:gd name="connsiteX7576" fmla="*/ 1391112 w 2417513"/>
                  <a:gd name="connsiteY7576" fmla="*/ 953974 h 1867037"/>
                  <a:gd name="connsiteX7577" fmla="*/ 1379142 w 2417513"/>
                  <a:gd name="connsiteY7577" fmla="*/ 950641 h 1867037"/>
                  <a:gd name="connsiteX7578" fmla="*/ 1368536 w 2417513"/>
                  <a:gd name="connsiteY7578" fmla="*/ 949126 h 1867037"/>
                  <a:gd name="connsiteX7579" fmla="*/ 1366414 w 2417513"/>
                  <a:gd name="connsiteY7579" fmla="*/ 950186 h 1867037"/>
                  <a:gd name="connsiteX7580" fmla="*/ 1366111 w 2417513"/>
                  <a:gd name="connsiteY7580" fmla="*/ 950792 h 1867037"/>
                  <a:gd name="connsiteX7581" fmla="*/ 1367020 w 2417513"/>
                  <a:gd name="connsiteY7581" fmla="*/ 953368 h 1867037"/>
                  <a:gd name="connsiteX7582" fmla="*/ 1360353 w 2417513"/>
                  <a:gd name="connsiteY7582" fmla="*/ 950489 h 1867037"/>
                  <a:gd name="connsiteX7583" fmla="*/ 1356414 w 2417513"/>
                  <a:gd name="connsiteY7583" fmla="*/ 948065 h 1867037"/>
                  <a:gd name="connsiteX7584" fmla="*/ 1356869 w 2417513"/>
                  <a:gd name="connsiteY7584" fmla="*/ 947610 h 1867037"/>
                  <a:gd name="connsiteX7585" fmla="*/ 1359747 w 2417513"/>
                  <a:gd name="connsiteY7585" fmla="*/ 947307 h 1867037"/>
                  <a:gd name="connsiteX7586" fmla="*/ 1367778 w 2417513"/>
                  <a:gd name="connsiteY7586" fmla="*/ 947307 h 1867037"/>
                  <a:gd name="connsiteX7587" fmla="*/ 1372778 w 2417513"/>
                  <a:gd name="connsiteY7587" fmla="*/ 947913 h 1867037"/>
                  <a:gd name="connsiteX7588" fmla="*/ 1377475 w 2417513"/>
                  <a:gd name="connsiteY7588" fmla="*/ 948974 h 1867037"/>
                  <a:gd name="connsiteX7589" fmla="*/ 1381415 w 2417513"/>
                  <a:gd name="connsiteY7589" fmla="*/ 949429 h 1867037"/>
                  <a:gd name="connsiteX7590" fmla="*/ 1386870 w 2417513"/>
                  <a:gd name="connsiteY7590" fmla="*/ 949126 h 1867037"/>
                  <a:gd name="connsiteX7591" fmla="*/ 1392324 w 2417513"/>
                  <a:gd name="connsiteY7591" fmla="*/ 951095 h 1867037"/>
                  <a:gd name="connsiteX7592" fmla="*/ 1395355 w 2417513"/>
                  <a:gd name="connsiteY7592" fmla="*/ 951095 h 1867037"/>
                  <a:gd name="connsiteX7593" fmla="*/ 1398537 w 2417513"/>
                  <a:gd name="connsiteY7593" fmla="*/ 951701 h 1867037"/>
                  <a:gd name="connsiteX7594" fmla="*/ 1399749 w 2417513"/>
                  <a:gd name="connsiteY7594" fmla="*/ 951550 h 1867037"/>
                  <a:gd name="connsiteX7595" fmla="*/ 1397173 w 2417513"/>
                  <a:gd name="connsiteY7595" fmla="*/ 948823 h 1867037"/>
                  <a:gd name="connsiteX7596" fmla="*/ 1398688 w 2417513"/>
                  <a:gd name="connsiteY7596" fmla="*/ 948519 h 1867037"/>
                  <a:gd name="connsiteX7597" fmla="*/ 1402476 w 2417513"/>
                  <a:gd name="connsiteY7597" fmla="*/ 948671 h 1867037"/>
                  <a:gd name="connsiteX7598" fmla="*/ 1406719 w 2417513"/>
                  <a:gd name="connsiteY7598" fmla="*/ 949883 h 1867037"/>
                  <a:gd name="connsiteX7599" fmla="*/ 1411416 w 2417513"/>
                  <a:gd name="connsiteY7599" fmla="*/ 952004 h 1867037"/>
                  <a:gd name="connsiteX7600" fmla="*/ 1420507 w 2417513"/>
                  <a:gd name="connsiteY7600" fmla="*/ 957459 h 1867037"/>
                  <a:gd name="connsiteX7601" fmla="*/ 1424447 w 2417513"/>
                  <a:gd name="connsiteY7601" fmla="*/ 959126 h 1867037"/>
                  <a:gd name="connsiteX7602" fmla="*/ 1428235 w 2417513"/>
                  <a:gd name="connsiteY7602" fmla="*/ 959581 h 1867037"/>
                  <a:gd name="connsiteX7603" fmla="*/ 1430053 w 2417513"/>
                  <a:gd name="connsiteY7603" fmla="*/ 960187 h 1867037"/>
                  <a:gd name="connsiteX7604" fmla="*/ 1432023 w 2417513"/>
                  <a:gd name="connsiteY7604" fmla="*/ 963217 h 1867037"/>
                  <a:gd name="connsiteX7605" fmla="*/ 1434296 w 2417513"/>
                  <a:gd name="connsiteY7605" fmla="*/ 964278 h 1867037"/>
                  <a:gd name="connsiteX7606" fmla="*/ 1439599 w 2417513"/>
                  <a:gd name="connsiteY7606" fmla="*/ 967460 h 1867037"/>
                  <a:gd name="connsiteX7607" fmla="*/ 1447023 w 2417513"/>
                  <a:gd name="connsiteY7607" fmla="*/ 972914 h 1867037"/>
                  <a:gd name="connsiteX7608" fmla="*/ 1451114 w 2417513"/>
                  <a:gd name="connsiteY7608" fmla="*/ 975036 h 1867037"/>
                  <a:gd name="connsiteX7609" fmla="*/ 1459145 w 2417513"/>
                  <a:gd name="connsiteY7609" fmla="*/ 975642 h 1867037"/>
                  <a:gd name="connsiteX7610" fmla="*/ 1465357 w 2417513"/>
                  <a:gd name="connsiteY7610" fmla="*/ 975490 h 1867037"/>
                  <a:gd name="connsiteX7611" fmla="*/ 1469751 w 2417513"/>
                  <a:gd name="connsiteY7611" fmla="*/ 974733 h 1867037"/>
                  <a:gd name="connsiteX7612" fmla="*/ 1472479 w 2417513"/>
                  <a:gd name="connsiteY7612" fmla="*/ 973520 h 1867037"/>
                  <a:gd name="connsiteX7613" fmla="*/ 1475509 w 2417513"/>
                  <a:gd name="connsiteY7613" fmla="*/ 970945 h 1867037"/>
                  <a:gd name="connsiteX7614" fmla="*/ 1478994 w 2417513"/>
                  <a:gd name="connsiteY7614" fmla="*/ 967005 h 1867037"/>
                  <a:gd name="connsiteX7615" fmla="*/ 1485813 w 2417513"/>
                  <a:gd name="connsiteY7615" fmla="*/ 960641 h 1867037"/>
                  <a:gd name="connsiteX7616" fmla="*/ 1503844 w 2417513"/>
                  <a:gd name="connsiteY7616" fmla="*/ 944731 h 1867037"/>
                  <a:gd name="connsiteX7617" fmla="*/ 1504753 w 2417513"/>
                  <a:gd name="connsiteY7617" fmla="*/ 943519 h 1867037"/>
                  <a:gd name="connsiteX7618" fmla="*/ 1506268 w 2417513"/>
                  <a:gd name="connsiteY7618" fmla="*/ 940337 h 1867037"/>
                  <a:gd name="connsiteX7619" fmla="*/ 1506117 w 2417513"/>
                  <a:gd name="connsiteY7619" fmla="*/ 938671 h 1867037"/>
                  <a:gd name="connsiteX7620" fmla="*/ 1505056 w 2417513"/>
                  <a:gd name="connsiteY7620" fmla="*/ 937155 h 1867037"/>
                  <a:gd name="connsiteX7621" fmla="*/ 1502025 w 2417513"/>
                  <a:gd name="connsiteY7621" fmla="*/ 935337 h 1867037"/>
                  <a:gd name="connsiteX7622" fmla="*/ 1496874 w 2417513"/>
                  <a:gd name="connsiteY7622" fmla="*/ 933367 h 1867037"/>
                  <a:gd name="connsiteX7623" fmla="*/ 1489146 w 2417513"/>
                  <a:gd name="connsiteY7623" fmla="*/ 930943 h 1867037"/>
                  <a:gd name="connsiteX7624" fmla="*/ 1486419 w 2417513"/>
                  <a:gd name="connsiteY7624" fmla="*/ 929125 h 1867037"/>
                  <a:gd name="connsiteX7625" fmla="*/ 1484752 w 2417513"/>
                  <a:gd name="connsiteY7625" fmla="*/ 926549 h 1867037"/>
                  <a:gd name="connsiteX7626" fmla="*/ 1485055 w 2417513"/>
                  <a:gd name="connsiteY7626" fmla="*/ 925791 h 1867037"/>
                  <a:gd name="connsiteX7627" fmla="*/ 1486116 w 2417513"/>
                  <a:gd name="connsiteY7627" fmla="*/ 925337 h 1867037"/>
                  <a:gd name="connsiteX7628" fmla="*/ 1486419 w 2417513"/>
                  <a:gd name="connsiteY7628" fmla="*/ 924731 h 1867037"/>
                  <a:gd name="connsiteX7629" fmla="*/ 1485055 w 2417513"/>
                  <a:gd name="connsiteY7629" fmla="*/ 922306 h 1867037"/>
                  <a:gd name="connsiteX7630" fmla="*/ 1485813 w 2417513"/>
                  <a:gd name="connsiteY7630" fmla="*/ 921700 h 1867037"/>
                  <a:gd name="connsiteX7631" fmla="*/ 1487934 w 2417513"/>
                  <a:gd name="connsiteY7631" fmla="*/ 921246 h 1867037"/>
                  <a:gd name="connsiteX7632" fmla="*/ 1503541 w 2417513"/>
                  <a:gd name="connsiteY7632" fmla="*/ 921700 h 1867037"/>
                  <a:gd name="connsiteX7633" fmla="*/ 1510965 w 2417513"/>
                  <a:gd name="connsiteY7633" fmla="*/ 921094 h 1867037"/>
                  <a:gd name="connsiteX7634" fmla="*/ 1516117 w 2417513"/>
                  <a:gd name="connsiteY7634" fmla="*/ 919428 h 1867037"/>
                  <a:gd name="connsiteX7635" fmla="*/ 1520511 w 2417513"/>
                  <a:gd name="connsiteY7635" fmla="*/ 920791 h 1867037"/>
                  <a:gd name="connsiteX7636" fmla="*/ 1524147 w 2417513"/>
                  <a:gd name="connsiteY7636" fmla="*/ 925185 h 1867037"/>
                  <a:gd name="connsiteX7637" fmla="*/ 1527329 w 2417513"/>
                  <a:gd name="connsiteY7637" fmla="*/ 928367 h 1867037"/>
                  <a:gd name="connsiteX7638" fmla="*/ 1529905 w 2417513"/>
                  <a:gd name="connsiteY7638" fmla="*/ 930337 h 1867037"/>
                  <a:gd name="connsiteX7639" fmla="*/ 1535057 w 2417513"/>
                  <a:gd name="connsiteY7639" fmla="*/ 932761 h 1867037"/>
                  <a:gd name="connsiteX7640" fmla="*/ 1542785 w 2417513"/>
                  <a:gd name="connsiteY7640" fmla="*/ 935640 h 1867037"/>
                  <a:gd name="connsiteX7641" fmla="*/ 1546875 w 2417513"/>
                  <a:gd name="connsiteY7641" fmla="*/ 937004 h 1867037"/>
                  <a:gd name="connsiteX7642" fmla="*/ 1547330 w 2417513"/>
                  <a:gd name="connsiteY7642" fmla="*/ 936701 h 1867037"/>
                  <a:gd name="connsiteX7643" fmla="*/ 1548997 w 2417513"/>
                  <a:gd name="connsiteY7643" fmla="*/ 933367 h 1867037"/>
                  <a:gd name="connsiteX7644" fmla="*/ 1550967 w 2417513"/>
                  <a:gd name="connsiteY7644" fmla="*/ 931852 h 1867037"/>
                  <a:gd name="connsiteX7645" fmla="*/ 1551876 w 2417513"/>
                  <a:gd name="connsiteY7645" fmla="*/ 931852 h 1867037"/>
                  <a:gd name="connsiteX7646" fmla="*/ 1559603 w 2417513"/>
                  <a:gd name="connsiteY7646" fmla="*/ 934580 h 1867037"/>
                  <a:gd name="connsiteX7647" fmla="*/ 1562482 w 2417513"/>
                  <a:gd name="connsiteY7647" fmla="*/ 935489 h 1867037"/>
                  <a:gd name="connsiteX7648" fmla="*/ 1563543 w 2417513"/>
                  <a:gd name="connsiteY7648" fmla="*/ 935337 h 1867037"/>
                  <a:gd name="connsiteX7649" fmla="*/ 1565513 w 2417513"/>
                  <a:gd name="connsiteY7649" fmla="*/ 934277 h 1867037"/>
                  <a:gd name="connsiteX7650" fmla="*/ 1564755 w 2417513"/>
                  <a:gd name="connsiteY7650" fmla="*/ 932004 h 1867037"/>
                  <a:gd name="connsiteX7651" fmla="*/ 1560967 w 2417513"/>
                  <a:gd name="connsiteY7651" fmla="*/ 926094 h 1867037"/>
                  <a:gd name="connsiteX7652" fmla="*/ 1557482 w 2417513"/>
                  <a:gd name="connsiteY7652" fmla="*/ 921246 h 1867037"/>
                  <a:gd name="connsiteX7653" fmla="*/ 1555512 w 2417513"/>
                  <a:gd name="connsiteY7653" fmla="*/ 918670 h 1867037"/>
                  <a:gd name="connsiteX7654" fmla="*/ 1554755 w 2417513"/>
                  <a:gd name="connsiteY7654" fmla="*/ 916094 h 1867037"/>
                  <a:gd name="connsiteX7655" fmla="*/ 1553694 w 2417513"/>
                  <a:gd name="connsiteY7655" fmla="*/ 914579 h 1867037"/>
                  <a:gd name="connsiteX7656" fmla="*/ 1551118 w 2417513"/>
                  <a:gd name="connsiteY7656" fmla="*/ 913215 h 1867037"/>
                  <a:gd name="connsiteX7657" fmla="*/ 1543694 w 2417513"/>
                  <a:gd name="connsiteY7657" fmla="*/ 906548 h 1867037"/>
                  <a:gd name="connsiteX7658" fmla="*/ 1543391 w 2417513"/>
                  <a:gd name="connsiteY7658" fmla="*/ 905639 h 1867037"/>
                  <a:gd name="connsiteX7659" fmla="*/ 1542330 w 2417513"/>
                  <a:gd name="connsiteY7659" fmla="*/ 904427 h 1867037"/>
                  <a:gd name="connsiteX7660" fmla="*/ 1539603 w 2417513"/>
                  <a:gd name="connsiteY7660" fmla="*/ 902912 h 1867037"/>
                  <a:gd name="connsiteX7661" fmla="*/ 1536269 w 2417513"/>
                  <a:gd name="connsiteY7661" fmla="*/ 902609 h 1867037"/>
                  <a:gd name="connsiteX7662" fmla="*/ 1535057 w 2417513"/>
                  <a:gd name="connsiteY7662" fmla="*/ 903215 h 1867037"/>
                  <a:gd name="connsiteX7663" fmla="*/ 1532936 w 2417513"/>
                  <a:gd name="connsiteY7663" fmla="*/ 905336 h 1867037"/>
                  <a:gd name="connsiteX7664" fmla="*/ 1531875 w 2417513"/>
                  <a:gd name="connsiteY7664" fmla="*/ 905791 h 1867037"/>
                  <a:gd name="connsiteX7665" fmla="*/ 1529299 w 2417513"/>
                  <a:gd name="connsiteY7665" fmla="*/ 904881 h 1867037"/>
                  <a:gd name="connsiteX7666" fmla="*/ 1529299 w 2417513"/>
                  <a:gd name="connsiteY7666" fmla="*/ 904124 h 1867037"/>
                  <a:gd name="connsiteX7667" fmla="*/ 1531269 w 2417513"/>
                  <a:gd name="connsiteY7667" fmla="*/ 901851 h 1867037"/>
                  <a:gd name="connsiteX7668" fmla="*/ 1536572 w 2417513"/>
                  <a:gd name="connsiteY7668" fmla="*/ 898518 h 1867037"/>
                  <a:gd name="connsiteX7669" fmla="*/ 1540815 w 2417513"/>
                  <a:gd name="connsiteY7669" fmla="*/ 899124 h 1867037"/>
                  <a:gd name="connsiteX7670" fmla="*/ 1545057 w 2417513"/>
                  <a:gd name="connsiteY7670" fmla="*/ 901093 h 1867037"/>
                  <a:gd name="connsiteX7671" fmla="*/ 1545209 w 2417513"/>
                  <a:gd name="connsiteY7671" fmla="*/ 901548 h 1867037"/>
                  <a:gd name="connsiteX7672" fmla="*/ 1547027 w 2417513"/>
                  <a:gd name="connsiteY7672" fmla="*/ 903063 h 1867037"/>
                  <a:gd name="connsiteX7673" fmla="*/ 1551270 w 2417513"/>
                  <a:gd name="connsiteY7673" fmla="*/ 906094 h 1867037"/>
                  <a:gd name="connsiteX7674" fmla="*/ 1552330 w 2417513"/>
                  <a:gd name="connsiteY7674" fmla="*/ 907154 h 1867037"/>
                  <a:gd name="connsiteX7675" fmla="*/ 1549906 w 2417513"/>
                  <a:gd name="connsiteY7675" fmla="*/ 907912 h 1867037"/>
                  <a:gd name="connsiteX7676" fmla="*/ 1549754 w 2417513"/>
                  <a:gd name="connsiteY7676" fmla="*/ 908367 h 1867037"/>
                  <a:gd name="connsiteX7677" fmla="*/ 1550967 w 2417513"/>
                  <a:gd name="connsiteY7677" fmla="*/ 909730 h 1867037"/>
                  <a:gd name="connsiteX7678" fmla="*/ 1554149 w 2417513"/>
                  <a:gd name="connsiteY7678" fmla="*/ 911851 h 1867037"/>
                  <a:gd name="connsiteX7679" fmla="*/ 1555664 w 2417513"/>
                  <a:gd name="connsiteY7679" fmla="*/ 912003 h 1867037"/>
                  <a:gd name="connsiteX7680" fmla="*/ 1558543 w 2417513"/>
                  <a:gd name="connsiteY7680" fmla="*/ 911700 h 1867037"/>
                  <a:gd name="connsiteX7681" fmla="*/ 1559906 w 2417513"/>
                  <a:gd name="connsiteY7681" fmla="*/ 912155 h 1867037"/>
                  <a:gd name="connsiteX7682" fmla="*/ 1562028 w 2417513"/>
                  <a:gd name="connsiteY7682" fmla="*/ 914427 h 1867037"/>
                  <a:gd name="connsiteX7683" fmla="*/ 1567028 w 2417513"/>
                  <a:gd name="connsiteY7683" fmla="*/ 921094 h 1867037"/>
                  <a:gd name="connsiteX7684" fmla="*/ 1569452 w 2417513"/>
                  <a:gd name="connsiteY7684" fmla="*/ 923367 h 1867037"/>
                  <a:gd name="connsiteX7685" fmla="*/ 1570058 w 2417513"/>
                  <a:gd name="connsiteY7685" fmla="*/ 924428 h 1867037"/>
                  <a:gd name="connsiteX7686" fmla="*/ 1571119 w 2417513"/>
                  <a:gd name="connsiteY7686" fmla="*/ 927761 h 1867037"/>
                  <a:gd name="connsiteX7687" fmla="*/ 1572937 w 2417513"/>
                  <a:gd name="connsiteY7687" fmla="*/ 928670 h 1867037"/>
                  <a:gd name="connsiteX7688" fmla="*/ 1576119 w 2417513"/>
                  <a:gd name="connsiteY7688" fmla="*/ 928519 h 1867037"/>
                  <a:gd name="connsiteX7689" fmla="*/ 1579149 w 2417513"/>
                  <a:gd name="connsiteY7689" fmla="*/ 927610 h 1867037"/>
                  <a:gd name="connsiteX7690" fmla="*/ 1581877 w 2417513"/>
                  <a:gd name="connsiteY7690" fmla="*/ 925791 h 1867037"/>
                  <a:gd name="connsiteX7691" fmla="*/ 1588695 w 2417513"/>
                  <a:gd name="connsiteY7691" fmla="*/ 920337 h 1867037"/>
                  <a:gd name="connsiteX7692" fmla="*/ 1597180 w 2417513"/>
                  <a:gd name="connsiteY7692" fmla="*/ 918670 h 1867037"/>
                  <a:gd name="connsiteX7693" fmla="*/ 1599605 w 2417513"/>
                  <a:gd name="connsiteY7693" fmla="*/ 917155 h 1867037"/>
                  <a:gd name="connsiteX7694" fmla="*/ 1604453 w 2417513"/>
                  <a:gd name="connsiteY7694" fmla="*/ 913064 h 1867037"/>
                  <a:gd name="connsiteX7695" fmla="*/ 1607635 w 2417513"/>
                  <a:gd name="connsiteY7695" fmla="*/ 911700 h 1867037"/>
                  <a:gd name="connsiteX7696" fmla="*/ 1609302 w 2417513"/>
                  <a:gd name="connsiteY7696" fmla="*/ 910488 h 1867037"/>
                  <a:gd name="connsiteX7697" fmla="*/ 1611575 w 2417513"/>
                  <a:gd name="connsiteY7697" fmla="*/ 907760 h 1867037"/>
                  <a:gd name="connsiteX7698" fmla="*/ 1614605 w 2417513"/>
                  <a:gd name="connsiteY7698" fmla="*/ 903366 h 1867037"/>
                  <a:gd name="connsiteX7699" fmla="*/ 1616727 w 2417513"/>
                  <a:gd name="connsiteY7699" fmla="*/ 900790 h 1867037"/>
                  <a:gd name="connsiteX7700" fmla="*/ 1618090 w 2417513"/>
                  <a:gd name="connsiteY7700" fmla="*/ 900184 h 1867037"/>
                  <a:gd name="connsiteX7701" fmla="*/ 1622181 w 2417513"/>
                  <a:gd name="connsiteY7701" fmla="*/ 900336 h 1867037"/>
                  <a:gd name="connsiteX7702" fmla="*/ 1624757 w 2417513"/>
                  <a:gd name="connsiteY7702" fmla="*/ 899578 h 1867037"/>
                  <a:gd name="connsiteX7703" fmla="*/ 1629151 w 2417513"/>
                  <a:gd name="connsiteY7703" fmla="*/ 896396 h 1867037"/>
                  <a:gd name="connsiteX7704" fmla="*/ 1629757 w 2417513"/>
                  <a:gd name="connsiteY7704" fmla="*/ 895336 h 1867037"/>
                  <a:gd name="connsiteX7705" fmla="*/ 1631273 w 2417513"/>
                  <a:gd name="connsiteY7705" fmla="*/ 890942 h 1867037"/>
                  <a:gd name="connsiteX7706" fmla="*/ 1633697 w 2417513"/>
                  <a:gd name="connsiteY7706" fmla="*/ 883063 h 1867037"/>
                  <a:gd name="connsiteX7707" fmla="*/ 1634606 w 2417513"/>
                  <a:gd name="connsiteY7707" fmla="*/ 878214 h 1867037"/>
                  <a:gd name="connsiteX7708" fmla="*/ 1634000 w 2417513"/>
                  <a:gd name="connsiteY7708" fmla="*/ 876396 h 1867037"/>
                  <a:gd name="connsiteX7709" fmla="*/ 1630818 w 2417513"/>
                  <a:gd name="connsiteY7709" fmla="*/ 871850 h 1867037"/>
                  <a:gd name="connsiteX7710" fmla="*/ 1628545 w 2417513"/>
                  <a:gd name="connsiteY7710" fmla="*/ 869880 h 1867037"/>
                  <a:gd name="connsiteX7711" fmla="*/ 1622636 w 2417513"/>
                  <a:gd name="connsiteY7711" fmla="*/ 865941 h 1867037"/>
                  <a:gd name="connsiteX7712" fmla="*/ 1618242 w 2417513"/>
                  <a:gd name="connsiteY7712" fmla="*/ 862153 h 1867037"/>
                  <a:gd name="connsiteX7713" fmla="*/ 1615363 w 2417513"/>
                  <a:gd name="connsiteY7713" fmla="*/ 859425 h 1867037"/>
                  <a:gd name="connsiteX7714" fmla="*/ 1612939 w 2417513"/>
                  <a:gd name="connsiteY7714" fmla="*/ 856243 h 1867037"/>
                  <a:gd name="connsiteX7715" fmla="*/ 1611878 w 2417513"/>
                  <a:gd name="connsiteY7715" fmla="*/ 853364 h 1867037"/>
                  <a:gd name="connsiteX7716" fmla="*/ 1611878 w 2417513"/>
                  <a:gd name="connsiteY7716" fmla="*/ 852001 h 1867037"/>
                  <a:gd name="connsiteX7717" fmla="*/ 1612181 w 2417513"/>
                  <a:gd name="connsiteY7717" fmla="*/ 850486 h 1867037"/>
                  <a:gd name="connsiteX7718" fmla="*/ 1614302 w 2417513"/>
                  <a:gd name="connsiteY7718" fmla="*/ 844728 h 1867037"/>
                  <a:gd name="connsiteX7719" fmla="*/ 1614302 w 2417513"/>
                  <a:gd name="connsiteY7719" fmla="*/ 843819 h 1867037"/>
                  <a:gd name="connsiteX7720" fmla="*/ 1613696 w 2417513"/>
                  <a:gd name="connsiteY7720" fmla="*/ 843667 h 1867037"/>
                  <a:gd name="connsiteX7721" fmla="*/ 1612484 w 2417513"/>
                  <a:gd name="connsiteY7721" fmla="*/ 844425 h 1867037"/>
                  <a:gd name="connsiteX7722" fmla="*/ 1610514 w 2417513"/>
                  <a:gd name="connsiteY7722" fmla="*/ 846243 h 1867037"/>
                  <a:gd name="connsiteX7723" fmla="*/ 1609605 w 2417513"/>
                  <a:gd name="connsiteY7723" fmla="*/ 846546 h 1867037"/>
                  <a:gd name="connsiteX7724" fmla="*/ 1608696 w 2417513"/>
                  <a:gd name="connsiteY7724" fmla="*/ 846092 h 1867037"/>
                  <a:gd name="connsiteX7725" fmla="*/ 1603999 w 2417513"/>
                  <a:gd name="connsiteY7725" fmla="*/ 839425 h 1867037"/>
                  <a:gd name="connsiteX7726" fmla="*/ 1603241 w 2417513"/>
                  <a:gd name="connsiteY7726" fmla="*/ 838819 h 1867037"/>
                  <a:gd name="connsiteX7727" fmla="*/ 1603090 w 2417513"/>
                  <a:gd name="connsiteY7727" fmla="*/ 838364 h 1867037"/>
                  <a:gd name="connsiteX7728" fmla="*/ 1604151 w 2417513"/>
                  <a:gd name="connsiteY7728" fmla="*/ 836849 h 1867037"/>
                  <a:gd name="connsiteX7729" fmla="*/ 1603544 w 2417513"/>
                  <a:gd name="connsiteY7729" fmla="*/ 835940 h 1867037"/>
                  <a:gd name="connsiteX7730" fmla="*/ 1602181 w 2417513"/>
                  <a:gd name="connsiteY7730" fmla="*/ 834727 h 1867037"/>
                  <a:gd name="connsiteX7731" fmla="*/ 1599756 w 2417513"/>
                  <a:gd name="connsiteY7731" fmla="*/ 831697 h 1867037"/>
                  <a:gd name="connsiteX7732" fmla="*/ 1599908 w 2417513"/>
                  <a:gd name="connsiteY7732" fmla="*/ 830636 h 1867037"/>
                  <a:gd name="connsiteX7733" fmla="*/ 1601272 w 2417513"/>
                  <a:gd name="connsiteY7733" fmla="*/ 830182 h 1867037"/>
                  <a:gd name="connsiteX7734" fmla="*/ 1603999 w 2417513"/>
                  <a:gd name="connsiteY7734" fmla="*/ 830182 h 1867037"/>
                  <a:gd name="connsiteX7735" fmla="*/ 1609151 w 2417513"/>
                  <a:gd name="connsiteY7735" fmla="*/ 828818 h 1867037"/>
                  <a:gd name="connsiteX7736" fmla="*/ 1612029 w 2417513"/>
                  <a:gd name="connsiteY7736" fmla="*/ 829121 h 1867037"/>
                  <a:gd name="connsiteX7737" fmla="*/ 1614757 w 2417513"/>
                  <a:gd name="connsiteY7737" fmla="*/ 830788 h 1867037"/>
                  <a:gd name="connsiteX7738" fmla="*/ 1617333 w 2417513"/>
                  <a:gd name="connsiteY7738" fmla="*/ 830939 h 1867037"/>
                  <a:gd name="connsiteX7739" fmla="*/ 1619605 w 2417513"/>
                  <a:gd name="connsiteY7739" fmla="*/ 829576 h 1867037"/>
                  <a:gd name="connsiteX7740" fmla="*/ 1624909 w 2417513"/>
                  <a:gd name="connsiteY7740" fmla="*/ 827757 h 1867037"/>
                  <a:gd name="connsiteX7741" fmla="*/ 1627939 w 2417513"/>
                  <a:gd name="connsiteY7741" fmla="*/ 826242 h 1867037"/>
                  <a:gd name="connsiteX7742" fmla="*/ 1634606 w 2417513"/>
                  <a:gd name="connsiteY7742" fmla="*/ 821394 h 1867037"/>
                  <a:gd name="connsiteX7743" fmla="*/ 1635212 w 2417513"/>
                  <a:gd name="connsiteY7743" fmla="*/ 819727 h 1867037"/>
                  <a:gd name="connsiteX7744" fmla="*/ 1635364 w 2417513"/>
                  <a:gd name="connsiteY7744" fmla="*/ 817303 h 1867037"/>
                  <a:gd name="connsiteX7745" fmla="*/ 1635061 w 2417513"/>
                  <a:gd name="connsiteY7745" fmla="*/ 815484 h 1867037"/>
                  <a:gd name="connsiteX7746" fmla="*/ 1633243 w 2417513"/>
                  <a:gd name="connsiteY7746" fmla="*/ 813211 h 1867037"/>
                  <a:gd name="connsiteX7747" fmla="*/ 1631879 w 2417513"/>
                  <a:gd name="connsiteY7747" fmla="*/ 812151 h 1867037"/>
                  <a:gd name="connsiteX7748" fmla="*/ 1629303 w 2417513"/>
                  <a:gd name="connsiteY7748" fmla="*/ 811393 h 1867037"/>
                  <a:gd name="connsiteX7749" fmla="*/ 1623545 w 2417513"/>
                  <a:gd name="connsiteY7749" fmla="*/ 810787 h 1867037"/>
                  <a:gd name="connsiteX7750" fmla="*/ 1616121 w 2417513"/>
                  <a:gd name="connsiteY7750" fmla="*/ 810636 h 1867037"/>
                  <a:gd name="connsiteX7751" fmla="*/ 1616272 w 2417513"/>
                  <a:gd name="connsiteY7751" fmla="*/ 809423 h 1867037"/>
                  <a:gd name="connsiteX7752" fmla="*/ 1621575 w 2417513"/>
                  <a:gd name="connsiteY7752" fmla="*/ 807151 h 1867037"/>
                  <a:gd name="connsiteX7753" fmla="*/ 1625666 w 2417513"/>
                  <a:gd name="connsiteY7753" fmla="*/ 804878 h 1867037"/>
                  <a:gd name="connsiteX7754" fmla="*/ 1633394 w 2417513"/>
                  <a:gd name="connsiteY7754" fmla="*/ 799272 h 1867037"/>
                  <a:gd name="connsiteX7755" fmla="*/ 1633545 w 2417513"/>
                  <a:gd name="connsiteY7755" fmla="*/ 798362 h 1867037"/>
                  <a:gd name="connsiteX7756" fmla="*/ 1632030 w 2417513"/>
                  <a:gd name="connsiteY7756" fmla="*/ 796090 h 1867037"/>
                  <a:gd name="connsiteX7757" fmla="*/ 1631121 w 2417513"/>
                  <a:gd name="connsiteY7757" fmla="*/ 795484 h 1867037"/>
                  <a:gd name="connsiteX7758" fmla="*/ 1622333 w 2417513"/>
                  <a:gd name="connsiteY7758" fmla="*/ 792605 h 1867037"/>
                  <a:gd name="connsiteX7759" fmla="*/ 1616272 w 2417513"/>
                  <a:gd name="connsiteY7759" fmla="*/ 791696 h 1867037"/>
                  <a:gd name="connsiteX7760" fmla="*/ 1610817 w 2417513"/>
                  <a:gd name="connsiteY7760" fmla="*/ 793059 h 1867037"/>
                  <a:gd name="connsiteX7761" fmla="*/ 1608696 w 2417513"/>
                  <a:gd name="connsiteY7761" fmla="*/ 793059 h 1867037"/>
                  <a:gd name="connsiteX7762" fmla="*/ 1608241 w 2417513"/>
                  <a:gd name="connsiteY7762" fmla="*/ 792302 h 1867037"/>
                  <a:gd name="connsiteX7763" fmla="*/ 1609302 w 2417513"/>
                  <a:gd name="connsiteY7763" fmla="*/ 790786 h 1867037"/>
                  <a:gd name="connsiteX7764" fmla="*/ 1608696 w 2417513"/>
                  <a:gd name="connsiteY7764" fmla="*/ 789120 h 1867037"/>
                  <a:gd name="connsiteX7765" fmla="*/ 1606575 w 2417513"/>
                  <a:gd name="connsiteY7765" fmla="*/ 785332 h 1867037"/>
                  <a:gd name="connsiteX7766" fmla="*/ 1597484 w 2417513"/>
                  <a:gd name="connsiteY7766" fmla="*/ 783059 h 1867037"/>
                  <a:gd name="connsiteX7767" fmla="*/ 1594453 w 2417513"/>
                  <a:gd name="connsiteY7767" fmla="*/ 781241 h 1867037"/>
                  <a:gd name="connsiteX7768" fmla="*/ 1597786 w 2417513"/>
                  <a:gd name="connsiteY7768" fmla="*/ 780028 h 1867037"/>
                  <a:gd name="connsiteX7769" fmla="*/ 1601574 w 2417513"/>
                  <a:gd name="connsiteY7769" fmla="*/ 779271 h 1867037"/>
                  <a:gd name="connsiteX7770" fmla="*/ 1604453 w 2417513"/>
                  <a:gd name="connsiteY7770" fmla="*/ 775937 h 1867037"/>
                  <a:gd name="connsiteX7771" fmla="*/ 1604908 w 2417513"/>
                  <a:gd name="connsiteY7771" fmla="*/ 773968 h 1867037"/>
                  <a:gd name="connsiteX7772" fmla="*/ 1598241 w 2417513"/>
                  <a:gd name="connsiteY7772" fmla="*/ 771543 h 1867037"/>
                  <a:gd name="connsiteX7773" fmla="*/ 1594756 w 2417513"/>
                  <a:gd name="connsiteY7773" fmla="*/ 771392 h 1867037"/>
                  <a:gd name="connsiteX7774" fmla="*/ 1588089 w 2417513"/>
                  <a:gd name="connsiteY7774" fmla="*/ 771846 h 1867037"/>
                  <a:gd name="connsiteX7775" fmla="*/ 1572786 w 2417513"/>
                  <a:gd name="connsiteY7775" fmla="*/ 770937 h 1867037"/>
                  <a:gd name="connsiteX7776" fmla="*/ 1569604 w 2417513"/>
                  <a:gd name="connsiteY7776" fmla="*/ 771089 h 1867037"/>
                  <a:gd name="connsiteX7777" fmla="*/ 1562785 w 2417513"/>
                  <a:gd name="connsiteY7777" fmla="*/ 768816 h 1867037"/>
                  <a:gd name="connsiteX7778" fmla="*/ 1553846 w 2417513"/>
                  <a:gd name="connsiteY7778" fmla="*/ 764422 h 1867037"/>
                  <a:gd name="connsiteX7779" fmla="*/ 1551724 w 2417513"/>
                  <a:gd name="connsiteY7779" fmla="*/ 763967 h 1867037"/>
                  <a:gd name="connsiteX7780" fmla="*/ 1542785 w 2417513"/>
                  <a:gd name="connsiteY7780" fmla="*/ 763664 h 1867037"/>
                  <a:gd name="connsiteX7781" fmla="*/ 1537633 w 2417513"/>
                  <a:gd name="connsiteY7781" fmla="*/ 764422 h 1867037"/>
                  <a:gd name="connsiteX7782" fmla="*/ 1532481 w 2417513"/>
                  <a:gd name="connsiteY7782" fmla="*/ 765937 h 1867037"/>
                  <a:gd name="connsiteX7783" fmla="*/ 1528238 w 2417513"/>
                  <a:gd name="connsiteY7783" fmla="*/ 765937 h 1867037"/>
                  <a:gd name="connsiteX7784" fmla="*/ 1524754 w 2417513"/>
                  <a:gd name="connsiteY7784" fmla="*/ 764422 h 1867037"/>
                  <a:gd name="connsiteX7785" fmla="*/ 1521723 w 2417513"/>
                  <a:gd name="connsiteY7785" fmla="*/ 763816 h 1867037"/>
                  <a:gd name="connsiteX7786" fmla="*/ 1519147 w 2417513"/>
                  <a:gd name="connsiteY7786" fmla="*/ 763967 h 1867037"/>
                  <a:gd name="connsiteX7787" fmla="*/ 1518390 w 2417513"/>
                  <a:gd name="connsiteY7787" fmla="*/ 764422 h 1867037"/>
                  <a:gd name="connsiteX7788" fmla="*/ 1519450 w 2417513"/>
                  <a:gd name="connsiteY7788" fmla="*/ 765179 h 1867037"/>
                  <a:gd name="connsiteX7789" fmla="*/ 1520814 w 2417513"/>
                  <a:gd name="connsiteY7789" fmla="*/ 767149 h 1867037"/>
                  <a:gd name="connsiteX7790" fmla="*/ 1520814 w 2417513"/>
                  <a:gd name="connsiteY7790" fmla="*/ 768664 h 1867037"/>
                  <a:gd name="connsiteX7791" fmla="*/ 1519299 w 2417513"/>
                  <a:gd name="connsiteY7791" fmla="*/ 773362 h 1867037"/>
                  <a:gd name="connsiteX7792" fmla="*/ 1519905 w 2417513"/>
                  <a:gd name="connsiteY7792" fmla="*/ 775028 h 1867037"/>
                  <a:gd name="connsiteX7793" fmla="*/ 1521269 w 2417513"/>
                  <a:gd name="connsiteY7793" fmla="*/ 776847 h 1867037"/>
                  <a:gd name="connsiteX7794" fmla="*/ 1521723 w 2417513"/>
                  <a:gd name="connsiteY7794" fmla="*/ 778513 h 1867037"/>
                  <a:gd name="connsiteX7795" fmla="*/ 1521117 w 2417513"/>
                  <a:gd name="connsiteY7795" fmla="*/ 779877 h 1867037"/>
                  <a:gd name="connsiteX7796" fmla="*/ 1521117 w 2417513"/>
                  <a:gd name="connsiteY7796" fmla="*/ 781392 h 1867037"/>
                  <a:gd name="connsiteX7797" fmla="*/ 1521875 w 2417513"/>
                  <a:gd name="connsiteY7797" fmla="*/ 783059 h 1867037"/>
                  <a:gd name="connsiteX7798" fmla="*/ 1522026 w 2417513"/>
                  <a:gd name="connsiteY7798" fmla="*/ 784271 h 1867037"/>
                  <a:gd name="connsiteX7799" fmla="*/ 1521572 w 2417513"/>
                  <a:gd name="connsiteY7799" fmla="*/ 785029 h 1867037"/>
                  <a:gd name="connsiteX7800" fmla="*/ 1521117 w 2417513"/>
                  <a:gd name="connsiteY7800" fmla="*/ 787756 h 1867037"/>
                  <a:gd name="connsiteX7801" fmla="*/ 1521269 w 2417513"/>
                  <a:gd name="connsiteY7801" fmla="*/ 789423 h 1867037"/>
                  <a:gd name="connsiteX7802" fmla="*/ 1522329 w 2417513"/>
                  <a:gd name="connsiteY7802" fmla="*/ 793665 h 1867037"/>
                  <a:gd name="connsiteX7803" fmla="*/ 1525360 w 2417513"/>
                  <a:gd name="connsiteY7803" fmla="*/ 796544 h 1867037"/>
                  <a:gd name="connsiteX7804" fmla="*/ 1526269 w 2417513"/>
                  <a:gd name="connsiteY7804" fmla="*/ 796999 h 1867037"/>
                  <a:gd name="connsiteX7805" fmla="*/ 1529754 w 2417513"/>
                  <a:gd name="connsiteY7805" fmla="*/ 796847 h 1867037"/>
                  <a:gd name="connsiteX7806" fmla="*/ 1535815 w 2417513"/>
                  <a:gd name="connsiteY7806" fmla="*/ 800332 h 1867037"/>
                  <a:gd name="connsiteX7807" fmla="*/ 1536572 w 2417513"/>
                  <a:gd name="connsiteY7807" fmla="*/ 801241 h 1867037"/>
                  <a:gd name="connsiteX7808" fmla="*/ 1535663 w 2417513"/>
                  <a:gd name="connsiteY7808" fmla="*/ 803817 h 1867037"/>
                  <a:gd name="connsiteX7809" fmla="*/ 1535663 w 2417513"/>
                  <a:gd name="connsiteY7809" fmla="*/ 805332 h 1867037"/>
                  <a:gd name="connsiteX7810" fmla="*/ 1535057 w 2417513"/>
                  <a:gd name="connsiteY7810" fmla="*/ 806545 h 1867037"/>
                  <a:gd name="connsiteX7811" fmla="*/ 1532481 w 2417513"/>
                  <a:gd name="connsiteY7811" fmla="*/ 807151 h 1867037"/>
                  <a:gd name="connsiteX7812" fmla="*/ 1530360 w 2417513"/>
                  <a:gd name="connsiteY7812" fmla="*/ 809120 h 1867037"/>
                  <a:gd name="connsiteX7813" fmla="*/ 1529754 w 2417513"/>
                  <a:gd name="connsiteY7813" fmla="*/ 810939 h 1867037"/>
                  <a:gd name="connsiteX7814" fmla="*/ 1529754 w 2417513"/>
                  <a:gd name="connsiteY7814" fmla="*/ 812302 h 1867037"/>
                  <a:gd name="connsiteX7815" fmla="*/ 1536269 w 2417513"/>
                  <a:gd name="connsiteY7815" fmla="*/ 814878 h 1867037"/>
                  <a:gd name="connsiteX7816" fmla="*/ 1536269 w 2417513"/>
                  <a:gd name="connsiteY7816" fmla="*/ 815636 h 1867037"/>
                  <a:gd name="connsiteX7817" fmla="*/ 1525057 w 2417513"/>
                  <a:gd name="connsiteY7817" fmla="*/ 817151 h 1867037"/>
                  <a:gd name="connsiteX7818" fmla="*/ 1523390 w 2417513"/>
                  <a:gd name="connsiteY7818" fmla="*/ 816848 h 1867037"/>
                  <a:gd name="connsiteX7819" fmla="*/ 1520966 w 2417513"/>
                  <a:gd name="connsiteY7819" fmla="*/ 815484 h 1867037"/>
                  <a:gd name="connsiteX7820" fmla="*/ 1519147 w 2417513"/>
                  <a:gd name="connsiteY7820" fmla="*/ 815484 h 1867037"/>
                  <a:gd name="connsiteX7821" fmla="*/ 1518390 w 2417513"/>
                  <a:gd name="connsiteY7821" fmla="*/ 815636 h 1867037"/>
                  <a:gd name="connsiteX7822" fmla="*/ 1517178 w 2417513"/>
                  <a:gd name="connsiteY7822" fmla="*/ 817606 h 1867037"/>
                  <a:gd name="connsiteX7823" fmla="*/ 1514905 w 2417513"/>
                  <a:gd name="connsiteY7823" fmla="*/ 818969 h 1867037"/>
                  <a:gd name="connsiteX7824" fmla="*/ 1513693 w 2417513"/>
                  <a:gd name="connsiteY7824" fmla="*/ 820333 h 1867037"/>
                  <a:gd name="connsiteX7825" fmla="*/ 1512480 w 2417513"/>
                  <a:gd name="connsiteY7825" fmla="*/ 822303 h 1867037"/>
                  <a:gd name="connsiteX7826" fmla="*/ 1512177 w 2417513"/>
                  <a:gd name="connsiteY7826" fmla="*/ 824727 h 1867037"/>
                  <a:gd name="connsiteX7827" fmla="*/ 1512783 w 2417513"/>
                  <a:gd name="connsiteY7827" fmla="*/ 827757 h 1867037"/>
                  <a:gd name="connsiteX7828" fmla="*/ 1512480 w 2417513"/>
                  <a:gd name="connsiteY7828" fmla="*/ 831091 h 1867037"/>
                  <a:gd name="connsiteX7829" fmla="*/ 1510965 w 2417513"/>
                  <a:gd name="connsiteY7829" fmla="*/ 836697 h 1867037"/>
                  <a:gd name="connsiteX7830" fmla="*/ 1506419 w 2417513"/>
                  <a:gd name="connsiteY7830" fmla="*/ 848819 h 1867037"/>
                  <a:gd name="connsiteX7831" fmla="*/ 1505510 w 2417513"/>
                  <a:gd name="connsiteY7831" fmla="*/ 850031 h 1867037"/>
                  <a:gd name="connsiteX7832" fmla="*/ 1494904 w 2417513"/>
                  <a:gd name="connsiteY7832" fmla="*/ 860334 h 1867037"/>
                  <a:gd name="connsiteX7833" fmla="*/ 1494146 w 2417513"/>
                  <a:gd name="connsiteY7833" fmla="*/ 861547 h 1867037"/>
                  <a:gd name="connsiteX7834" fmla="*/ 1492025 w 2417513"/>
                  <a:gd name="connsiteY7834" fmla="*/ 865638 h 1867037"/>
                  <a:gd name="connsiteX7835" fmla="*/ 1491267 w 2417513"/>
                  <a:gd name="connsiteY7835" fmla="*/ 868668 h 1867037"/>
                  <a:gd name="connsiteX7836" fmla="*/ 1490358 w 2417513"/>
                  <a:gd name="connsiteY7836" fmla="*/ 874880 h 1867037"/>
                  <a:gd name="connsiteX7837" fmla="*/ 1489752 w 2417513"/>
                  <a:gd name="connsiteY7837" fmla="*/ 876396 h 1867037"/>
                  <a:gd name="connsiteX7838" fmla="*/ 1488389 w 2417513"/>
                  <a:gd name="connsiteY7838" fmla="*/ 877911 h 1867037"/>
                  <a:gd name="connsiteX7839" fmla="*/ 1486419 w 2417513"/>
                  <a:gd name="connsiteY7839" fmla="*/ 879275 h 1867037"/>
                  <a:gd name="connsiteX7840" fmla="*/ 1484601 w 2417513"/>
                  <a:gd name="connsiteY7840" fmla="*/ 880032 h 1867037"/>
                  <a:gd name="connsiteX7841" fmla="*/ 1482934 w 2417513"/>
                  <a:gd name="connsiteY7841" fmla="*/ 880184 h 1867037"/>
                  <a:gd name="connsiteX7842" fmla="*/ 1479903 w 2417513"/>
                  <a:gd name="connsiteY7842" fmla="*/ 882305 h 1867037"/>
                  <a:gd name="connsiteX7843" fmla="*/ 1475509 w 2417513"/>
                  <a:gd name="connsiteY7843" fmla="*/ 886396 h 1867037"/>
                  <a:gd name="connsiteX7844" fmla="*/ 1470509 w 2417513"/>
                  <a:gd name="connsiteY7844" fmla="*/ 890336 h 1867037"/>
                  <a:gd name="connsiteX7845" fmla="*/ 1468994 w 2417513"/>
                  <a:gd name="connsiteY7845" fmla="*/ 890790 h 1867037"/>
                  <a:gd name="connsiteX7846" fmla="*/ 1467933 w 2417513"/>
                  <a:gd name="connsiteY7846" fmla="*/ 890639 h 1867037"/>
                  <a:gd name="connsiteX7847" fmla="*/ 1467024 w 2417513"/>
                  <a:gd name="connsiteY7847" fmla="*/ 890032 h 1867037"/>
                  <a:gd name="connsiteX7848" fmla="*/ 1466267 w 2417513"/>
                  <a:gd name="connsiteY7848" fmla="*/ 888972 h 1867037"/>
                  <a:gd name="connsiteX7849" fmla="*/ 1464751 w 2417513"/>
                  <a:gd name="connsiteY7849" fmla="*/ 883820 h 1867037"/>
                  <a:gd name="connsiteX7850" fmla="*/ 1463994 w 2417513"/>
                  <a:gd name="connsiteY7850" fmla="*/ 882456 h 1867037"/>
                  <a:gd name="connsiteX7851" fmla="*/ 1450357 w 2417513"/>
                  <a:gd name="connsiteY7851" fmla="*/ 869880 h 1867037"/>
                  <a:gd name="connsiteX7852" fmla="*/ 1444902 w 2417513"/>
                  <a:gd name="connsiteY7852" fmla="*/ 863365 h 1867037"/>
                  <a:gd name="connsiteX7853" fmla="*/ 1441720 w 2417513"/>
                  <a:gd name="connsiteY7853" fmla="*/ 854728 h 1867037"/>
                  <a:gd name="connsiteX7854" fmla="*/ 1441417 w 2417513"/>
                  <a:gd name="connsiteY7854" fmla="*/ 852910 h 1867037"/>
                  <a:gd name="connsiteX7855" fmla="*/ 1441569 w 2417513"/>
                  <a:gd name="connsiteY7855" fmla="*/ 844576 h 1867037"/>
                  <a:gd name="connsiteX7856" fmla="*/ 1440508 w 2417513"/>
                  <a:gd name="connsiteY7856" fmla="*/ 840182 h 1867037"/>
                  <a:gd name="connsiteX7857" fmla="*/ 1440811 w 2417513"/>
                  <a:gd name="connsiteY7857" fmla="*/ 838819 h 1867037"/>
                  <a:gd name="connsiteX7858" fmla="*/ 1443842 w 2417513"/>
                  <a:gd name="connsiteY7858" fmla="*/ 836394 h 1867037"/>
                  <a:gd name="connsiteX7859" fmla="*/ 1444599 w 2417513"/>
                  <a:gd name="connsiteY7859" fmla="*/ 836546 h 1867037"/>
                  <a:gd name="connsiteX7860" fmla="*/ 1446266 w 2417513"/>
                  <a:gd name="connsiteY7860" fmla="*/ 839879 h 1867037"/>
                  <a:gd name="connsiteX7861" fmla="*/ 1447175 w 2417513"/>
                  <a:gd name="connsiteY7861" fmla="*/ 840637 h 1867037"/>
                  <a:gd name="connsiteX7862" fmla="*/ 1450508 w 2417513"/>
                  <a:gd name="connsiteY7862" fmla="*/ 841091 h 1867037"/>
                  <a:gd name="connsiteX7863" fmla="*/ 1453236 w 2417513"/>
                  <a:gd name="connsiteY7863" fmla="*/ 840788 h 1867037"/>
                  <a:gd name="connsiteX7864" fmla="*/ 1454297 w 2417513"/>
                  <a:gd name="connsiteY7864" fmla="*/ 839879 h 1867037"/>
                  <a:gd name="connsiteX7865" fmla="*/ 1455054 w 2417513"/>
                  <a:gd name="connsiteY7865" fmla="*/ 838364 h 1867037"/>
                  <a:gd name="connsiteX7866" fmla="*/ 1455508 w 2417513"/>
                  <a:gd name="connsiteY7866" fmla="*/ 836243 h 1867037"/>
                  <a:gd name="connsiteX7867" fmla="*/ 1455660 w 2417513"/>
                  <a:gd name="connsiteY7867" fmla="*/ 833515 h 1867037"/>
                  <a:gd name="connsiteX7868" fmla="*/ 1455206 w 2417513"/>
                  <a:gd name="connsiteY7868" fmla="*/ 831394 h 1867037"/>
                  <a:gd name="connsiteX7869" fmla="*/ 1454145 w 2417513"/>
                  <a:gd name="connsiteY7869" fmla="*/ 830030 h 1867037"/>
                  <a:gd name="connsiteX7870" fmla="*/ 1452933 w 2417513"/>
                  <a:gd name="connsiteY7870" fmla="*/ 825939 h 1867037"/>
                  <a:gd name="connsiteX7871" fmla="*/ 1451418 w 2417513"/>
                  <a:gd name="connsiteY7871" fmla="*/ 818969 h 1867037"/>
                  <a:gd name="connsiteX7872" fmla="*/ 1449296 w 2417513"/>
                  <a:gd name="connsiteY7872" fmla="*/ 814121 h 1867037"/>
                  <a:gd name="connsiteX7873" fmla="*/ 1444296 w 2417513"/>
                  <a:gd name="connsiteY7873" fmla="*/ 809120 h 1867037"/>
                  <a:gd name="connsiteX7874" fmla="*/ 1441720 w 2417513"/>
                  <a:gd name="connsiteY7874" fmla="*/ 807302 h 1867037"/>
                  <a:gd name="connsiteX7875" fmla="*/ 1432932 w 2417513"/>
                  <a:gd name="connsiteY7875" fmla="*/ 802302 h 1867037"/>
                  <a:gd name="connsiteX7876" fmla="*/ 1428083 w 2417513"/>
                  <a:gd name="connsiteY7876" fmla="*/ 798666 h 1867037"/>
                  <a:gd name="connsiteX7877" fmla="*/ 1424295 w 2417513"/>
                  <a:gd name="connsiteY7877" fmla="*/ 794574 h 1867037"/>
                  <a:gd name="connsiteX7878" fmla="*/ 1421416 w 2417513"/>
                  <a:gd name="connsiteY7878" fmla="*/ 792302 h 1867037"/>
                  <a:gd name="connsiteX7879" fmla="*/ 1417477 w 2417513"/>
                  <a:gd name="connsiteY7879" fmla="*/ 792150 h 1867037"/>
                  <a:gd name="connsiteX7880" fmla="*/ 1415204 w 2417513"/>
                  <a:gd name="connsiteY7880" fmla="*/ 792756 h 1867037"/>
                  <a:gd name="connsiteX7881" fmla="*/ 1413234 w 2417513"/>
                  <a:gd name="connsiteY7881" fmla="*/ 794120 h 1867037"/>
                  <a:gd name="connsiteX7882" fmla="*/ 1407780 w 2417513"/>
                  <a:gd name="connsiteY7882" fmla="*/ 800938 h 1867037"/>
                  <a:gd name="connsiteX7883" fmla="*/ 1404597 w 2417513"/>
                  <a:gd name="connsiteY7883" fmla="*/ 804272 h 1867037"/>
                  <a:gd name="connsiteX7884" fmla="*/ 1403082 w 2417513"/>
                  <a:gd name="connsiteY7884" fmla="*/ 808211 h 1867037"/>
                  <a:gd name="connsiteX7885" fmla="*/ 1402173 w 2417513"/>
                  <a:gd name="connsiteY7885" fmla="*/ 813969 h 1867037"/>
                  <a:gd name="connsiteX7886" fmla="*/ 1401264 w 2417513"/>
                  <a:gd name="connsiteY7886" fmla="*/ 817606 h 1867037"/>
                  <a:gd name="connsiteX7887" fmla="*/ 1398537 w 2417513"/>
                  <a:gd name="connsiteY7887" fmla="*/ 822909 h 1867037"/>
                  <a:gd name="connsiteX7888" fmla="*/ 1398234 w 2417513"/>
                  <a:gd name="connsiteY7888" fmla="*/ 824424 h 1867037"/>
                  <a:gd name="connsiteX7889" fmla="*/ 1398688 w 2417513"/>
                  <a:gd name="connsiteY7889" fmla="*/ 827909 h 1867037"/>
                  <a:gd name="connsiteX7890" fmla="*/ 1398234 w 2417513"/>
                  <a:gd name="connsiteY7890" fmla="*/ 829424 h 1867037"/>
                  <a:gd name="connsiteX7891" fmla="*/ 1395355 w 2417513"/>
                  <a:gd name="connsiteY7891" fmla="*/ 833818 h 1867037"/>
                  <a:gd name="connsiteX7892" fmla="*/ 1392324 w 2417513"/>
                  <a:gd name="connsiteY7892" fmla="*/ 836697 h 1867037"/>
                  <a:gd name="connsiteX7893" fmla="*/ 1391264 w 2417513"/>
                  <a:gd name="connsiteY7893" fmla="*/ 838212 h 1867037"/>
                  <a:gd name="connsiteX7894" fmla="*/ 1390809 w 2417513"/>
                  <a:gd name="connsiteY7894" fmla="*/ 839879 h 1867037"/>
                  <a:gd name="connsiteX7895" fmla="*/ 1390052 w 2417513"/>
                  <a:gd name="connsiteY7895" fmla="*/ 840485 h 1867037"/>
                  <a:gd name="connsiteX7896" fmla="*/ 1388839 w 2417513"/>
                  <a:gd name="connsiteY7896" fmla="*/ 840637 h 1867037"/>
                  <a:gd name="connsiteX7897" fmla="*/ 1387779 w 2417513"/>
                  <a:gd name="connsiteY7897" fmla="*/ 839425 h 1867037"/>
                  <a:gd name="connsiteX7898" fmla="*/ 1386870 w 2417513"/>
                  <a:gd name="connsiteY7898" fmla="*/ 837606 h 1867037"/>
                  <a:gd name="connsiteX7899" fmla="*/ 1385657 w 2417513"/>
                  <a:gd name="connsiteY7899" fmla="*/ 836849 h 1867037"/>
                  <a:gd name="connsiteX7900" fmla="*/ 1383991 w 2417513"/>
                  <a:gd name="connsiteY7900" fmla="*/ 834576 h 1867037"/>
                  <a:gd name="connsiteX7901" fmla="*/ 1381112 w 2417513"/>
                  <a:gd name="connsiteY7901" fmla="*/ 832758 h 1867037"/>
                  <a:gd name="connsiteX7902" fmla="*/ 1379900 w 2417513"/>
                  <a:gd name="connsiteY7902" fmla="*/ 830788 h 1867037"/>
                  <a:gd name="connsiteX7903" fmla="*/ 1381263 w 2417513"/>
                  <a:gd name="connsiteY7903" fmla="*/ 824272 h 1867037"/>
                  <a:gd name="connsiteX7904" fmla="*/ 1381718 w 2417513"/>
                  <a:gd name="connsiteY7904" fmla="*/ 820636 h 1867037"/>
                  <a:gd name="connsiteX7905" fmla="*/ 1380809 w 2417513"/>
                  <a:gd name="connsiteY7905" fmla="*/ 815939 h 1867037"/>
                  <a:gd name="connsiteX7906" fmla="*/ 1380960 w 2417513"/>
                  <a:gd name="connsiteY7906" fmla="*/ 814272 h 1867037"/>
                  <a:gd name="connsiteX7907" fmla="*/ 1382930 w 2417513"/>
                  <a:gd name="connsiteY7907" fmla="*/ 812151 h 1867037"/>
                  <a:gd name="connsiteX7908" fmla="*/ 1382627 w 2417513"/>
                  <a:gd name="connsiteY7908" fmla="*/ 811393 h 1867037"/>
                  <a:gd name="connsiteX7909" fmla="*/ 1379597 w 2417513"/>
                  <a:gd name="connsiteY7909" fmla="*/ 808211 h 1867037"/>
                  <a:gd name="connsiteX7910" fmla="*/ 1375354 w 2417513"/>
                  <a:gd name="connsiteY7910" fmla="*/ 800635 h 1867037"/>
                  <a:gd name="connsiteX7911" fmla="*/ 1361869 w 2417513"/>
                  <a:gd name="connsiteY7911" fmla="*/ 791999 h 1867037"/>
                  <a:gd name="connsiteX7912" fmla="*/ 1362323 w 2417513"/>
                  <a:gd name="connsiteY7912" fmla="*/ 791241 h 1867037"/>
                  <a:gd name="connsiteX7913" fmla="*/ 1364293 w 2417513"/>
                  <a:gd name="connsiteY7913" fmla="*/ 791241 h 1867037"/>
                  <a:gd name="connsiteX7914" fmla="*/ 1366717 w 2417513"/>
                  <a:gd name="connsiteY7914" fmla="*/ 790483 h 1867037"/>
                  <a:gd name="connsiteX7915" fmla="*/ 1367627 w 2417513"/>
                  <a:gd name="connsiteY7915" fmla="*/ 790635 h 1867037"/>
                  <a:gd name="connsiteX7916" fmla="*/ 1367020 w 2417513"/>
                  <a:gd name="connsiteY7916" fmla="*/ 791696 h 1867037"/>
                  <a:gd name="connsiteX7917" fmla="*/ 1368233 w 2417513"/>
                  <a:gd name="connsiteY7917" fmla="*/ 792453 h 1867037"/>
                  <a:gd name="connsiteX7918" fmla="*/ 1371263 w 2417513"/>
                  <a:gd name="connsiteY7918" fmla="*/ 792908 h 1867037"/>
                  <a:gd name="connsiteX7919" fmla="*/ 1373233 w 2417513"/>
                  <a:gd name="connsiteY7919" fmla="*/ 791847 h 1867037"/>
                  <a:gd name="connsiteX7920" fmla="*/ 1373990 w 2417513"/>
                  <a:gd name="connsiteY7920" fmla="*/ 789120 h 1867037"/>
                  <a:gd name="connsiteX7921" fmla="*/ 1375203 w 2417513"/>
                  <a:gd name="connsiteY7921" fmla="*/ 786847 h 1867037"/>
                  <a:gd name="connsiteX7922" fmla="*/ 1377021 w 2417513"/>
                  <a:gd name="connsiteY7922" fmla="*/ 785180 h 1867037"/>
                  <a:gd name="connsiteX7923" fmla="*/ 1379142 w 2417513"/>
                  <a:gd name="connsiteY7923" fmla="*/ 784271 h 1867037"/>
                  <a:gd name="connsiteX7924" fmla="*/ 1381718 w 2417513"/>
                  <a:gd name="connsiteY7924" fmla="*/ 784271 h 1867037"/>
                  <a:gd name="connsiteX7925" fmla="*/ 1384445 w 2417513"/>
                  <a:gd name="connsiteY7925" fmla="*/ 783665 h 1867037"/>
                  <a:gd name="connsiteX7926" fmla="*/ 1383536 w 2417513"/>
                  <a:gd name="connsiteY7926" fmla="*/ 782756 h 1867037"/>
                  <a:gd name="connsiteX7927" fmla="*/ 1380657 w 2417513"/>
                  <a:gd name="connsiteY7927" fmla="*/ 781392 h 1867037"/>
                  <a:gd name="connsiteX7928" fmla="*/ 1377627 w 2417513"/>
                  <a:gd name="connsiteY7928" fmla="*/ 780786 h 1867037"/>
                  <a:gd name="connsiteX7929" fmla="*/ 1374293 w 2417513"/>
                  <a:gd name="connsiteY7929" fmla="*/ 781089 h 1867037"/>
                  <a:gd name="connsiteX7930" fmla="*/ 1369748 w 2417513"/>
                  <a:gd name="connsiteY7930" fmla="*/ 780786 h 1867037"/>
                  <a:gd name="connsiteX7931" fmla="*/ 1360505 w 2417513"/>
                  <a:gd name="connsiteY7931" fmla="*/ 779422 h 1867037"/>
                  <a:gd name="connsiteX7932" fmla="*/ 1356414 w 2417513"/>
                  <a:gd name="connsiteY7932" fmla="*/ 780332 h 1867037"/>
                  <a:gd name="connsiteX7933" fmla="*/ 1356717 w 2417513"/>
                  <a:gd name="connsiteY7933" fmla="*/ 779725 h 1867037"/>
                  <a:gd name="connsiteX7934" fmla="*/ 1360051 w 2417513"/>
                  <a:gd name="connsiteY7934" fmla="*/ 777604 h 1867037"/>
                  <a:gd name="connsiteX7935" fmla="*/ 1363687 w 2417513"/>
                  <a:gd name="connsiteY7935" fmla="*/ 775634 h 1867037"/>
                  <a:gd name="connsiteX7936" fmla="*/ 1364293 w 2417513"/>
                  <a:gd name="connsiteY7936" fmla="*/ 774877 h 1867037"/>
                  <a:gd name="connsiteX7937" fmla="*/ 1362929 w 2417513"/>
                  <a:gd name="connsiteY7937" fmla="*/ 774574 h 1867037"/>
                  <a:gd name="connsiteX7938" fmla="*/ 1357929 w 2417513"/>
                  <a:gd name="connsiteY7938" fmla="*/ 774271 h 1867037"/>
                  <a:gd name="connsiteX7939" fmla="*/ 1353838 w 2417513"/>
                  <a:gd name="connsiteY7939" fmla="*/ 775937 h 1867037"/>
                  <a:gd name="connsiteX7940" fmla="*/ 1348535 w 2417513"/>
                  <a:gd name="connsiteY7940" fmla="*/ 779271 h 1867037"/>
                  <a:gd name="connsiteX7941" fmla="*/ 1343383 w 2417513"/>
                  <a:gd name="connsiteY7941" fmla="*/ 780028 h 1867037"/>
                  <a:gd name="connsiteX7942" fmla="*/ 1335201 w 2417513"/>
                  <a:gd name="connsiteY7942" fmla="*/ 776544 h 1867037"/>
                  <a:gd name="connsiteX7943" fmla="*/ 1333837 w 2417513"/>
                  <a:gd name="connsiteY7943" fmla="*/ 775028 h 1867037"/>
                  <a:gd name="connsiteX7944" fmla="*/ 1334595 w 2417513"/>
                  <a:gd name="connsiteY7944" fmla="*/ 774119 h 1867037"/>
                  <a:gd name="connsiteX7945" fmla="*/ 1332322 w 2417513"/>
                  <a:gd name="connsiteY7945" fmla="*/ 773210 h 1867037"/>
                  <a:gd name="connsiteX7946" fmla="*/ 1327322 w 2417513"/>
                  <a:gd name="connsiteY7946" fmla="*/ 772755 h 1867037"/>
                  <a:gd name="connsiteX7947" fmla="*/ 1323231 w 2417513"/>
                  <a:gd name="connsiteY7947" fmla="*/ 773968 h 1867037"/>
                  <a:gd name="connsiteX7948" fmla="*/ 1318837 w 2417513"/>
                  <a:gd name="connsiteY7948" fmla="*/ 774422 h 1867037"/>
                  <a:gd name="connsiteX7949" fmla="*/ 1317473 w 2417513"/>
                  <a:gd name="connsiteY7949" fmla="*/ 774271 h 1867037"/>
                  <a:gd name="connsiteX7950" fmla="*/ 1316564 w 2417513"/>
                  <a:gd name="connsiteY7950" fmla="*/ 773665 h 1867037"/>
                  <a:gd name="connsiteX7951" fmla="*/ 1320352 w 2417513"/>
                  <a:gd name="connsiteY7951" fmla="*/ 771392 h 1867037"/>
                  <a:gd name="connsiteX7952" fmla="*/ 1333080 w 2417513"/>
                  <a:gd name="connsiteY7952" fmla="*/ 762755 h 1867037"/>
                  <a:gd name="connsiteX7953" fmla="*/ 1338989 w 2417513"/>
                  <a:gd name="connsiteY7953" fmla="*/ 758210 h 1867037"/>
                  <a:gd name="connsiteX7954" fmla="*/ 1341565 w 2417513"/>
                  <a:gd name="connsiteY7954" fmla="*/ 755482 h 1867037"/>
                  <a:gd name="connsiteX7955" fmla="*/ 1339292 w 2417513"/>
                  <a:gd name="connsiteY7955" fmla="*/ 753815 h 1867037"/>
                  <a:gd name="connsiteX7956" fmla="*/ 1337322 w 2417513"/>
                  <a:gd name="connsiteY7956" fmla="*/ 753209 h 1867037"/>
                  <a:gd name="connsiteX7957" fmla="*/ 1328534 w 2417513"/>
                  <a:gd name="connsiteY7957" fmla="*/ 753209 h 1867037"/>
                  <a:gd name="connsiteX7958" fmla="*/ 1326716 w 2417513"/>
                  <a:gd name="connsiteY7958" fmla="*/ 752149 h 1867037"/>
                  <a:gd name="connsiteX7959" fmla="*/ 1328231 w 2417513"/>
                  <a:gd name="connsiteY7959" fmla="*/ 749876 h 1867037"/>
                  <a:gd name="connsiteX7960" fmla="*/ 1330807 w 2417513"/>
                  <a:gd name="connsiteY7960" fmla="*/ 747452 h 1867037"/>
                  <a:gd name="connsiteX7961" fmla="*/ 1332019 w 2417513"/>
                  <a:gd name="connsiteY7961" fmla="*/ 745785 h 1867037"/>
                  <a:gd name="connsiteX7962" fmla="*/ 1332777 w 2417513"/>
                  <a:gd name="connsiteY7962" fmla="*/ 745633 h 1867037"/>
                  <a:gd name="connsiteX7963" fmla="*/ 1335050 w 2417513"/>
                  <a:gd name="connsiteY7963" fmla="*/ 747755 h 1867037"/>
                  <a:gd name="connsiteX7964" fmla="*/ 1337474 w 2417513"/>
                  <a:gd name="connsiteY7964" fmla="*/ 749118 h 1867037"/>
                  <a:gd name="connsiteX7965" fmla="*/ 1340959 w 2417513"/>
                  <a:gd name="connsiteY7965" fmla="*/ 750482 h 1867037"/>
                  <a:gd name="connsiteX7966" fmla="*/ 1344747 w 2417513"/>
                  <a:gd name="connsiteY7966" fmla="*/ 750936 h 1867037"/>
                  <a:gd name="connsiteX7967" fmla="*/ 1351414 w 2417513"/>
                  <a:gd name="connsiteY7967" fmla="*/ 750179 h 1867037"/>
                  <a:gd name="connsiteX7968" fmla="*/ 1352626 w 2417513"/>
                  <a:gd name="connsiteY7968" fmla="*/ 749573 h 1867037"/>
                  <a:gd name="connsiteX7969" fmla="*/ 1352777 w 2417513"/>
                  <a:gd name="connsiteY7969" fmla="*/ 748815 h 1867037"/>
                  <a:gd name="connsiteX7970" fmla="*/ 1350353 w 2417513"/>
                  <a:gd name="connsiteY7970" fmla="*/ 746088 h 1867037"/>
                  <a:gd name="connsiteX7971" fmla="*/ 1348687 w 2417513"/>
                  <a:gd name="connsiteY7971" fmla="*/ 742754 h 1867037"/>
                  <a:gd name="connsiteX7972" fmla="*/ 1347474 w 2417513"/>
                  <a:gd name="connsiteY7972" fmla="*/ 741391 h 1867037"/>
                  <a:gd name="connsiteX7973" fmla="*/ 1345808 w 2417513"/>
                  <a:gd name="connsiteY7973" fmla="*/ 740633 h 1867037"/>
                  <a:gd name="connsiteX7974" fmla="*/ 1344292 w 2417513"/>
                  <a:gd name="connsiteY7974" fmla="*/ 741088 h 1867037"/>
                  <a:gd name="connsiteX7975" fmla="*/ 1342929 w 2417513"/>
                  <a:gd name="connsiteY7975" fmla="*/ 742906 h 1867037"/>
                  <a:gd name="connsiteX7976" fmla="*/ 1341413 w 2417513"/>
                  <a:gd name="connsiteY7976" fmla="*/ 743360 h 1867037"/>
                  <a:gd name="connsiteX7977" fmla="*/ 1339595 w 2417513"/>
                  <a:gd name="connsiteY7977" fmla="*/ 742451 h 1867037"/>
                  <a:gd name="connsiteX7978" fmla="*/ 1338838 w 2417513"/>
                  <a:gd name="connsiteY7978" fmla="*/ 741694 h 1867037"/>
                  <a:gd name="connsiteX7979" fmla="*/ 1339747 w 2417513"/>
                  <a:gd name="connsiteY7979" fmla="*/ 739269 h 1867037"/>
                  <a:gd name="connsiteX7980" fmla="*/ 1339444 w 2417513"/>
                  <a:gd name="connsiteY7980" fmla="*/ 738209 h 1867037"/>
                  <a:gd name="connsiteX7981" fmla="*/ 1334898 w 2417513"/>
                  <a:gd name="connsiteY7981" fmla="*/ 733057 h 1867037"/>
                  <a:gd name="connsiteX7982" fmla="*/ 1332171 w 2417513"/>
                  <a:gd name="connsiteY7982" fmla="*/ 727299 h 1867037"/>
                  <a:gd name="connsiteX7983" fmla="*/ 1331110 w 2417513"/>
                  <a:gd name="connsiteY7983" fmla="*/ 725936 h 1867037"/>
                  <a:gd name="connsiteX7984" fmla="*/ 1330201 w 2417513"/>
                  <a:gd name="connsiteY7984" fmla="*/ 725178 h 1867037"/>
                  <a:gd name="connsiteX7985" fmla="*/ 1325352 w 2417513"/>
                  <a:gd name="connsiteY7985" fmla="*/ 722905 h 1867037"/>
                  <a:gd name="connsiteX7986" fmla="*/ 1323382 w 2417513"/>
                  <a:gd name="connsiteY7986" fmla="*/ 721693 h 1867037"/>
                  <a:gd name="connsiteX7987" fmla="*/ 1319443 w 2417513"/>
                  <a:gd name="connsiteY7987" fmla="*/ 717753 h 1867037"/>
                  <a:gd name="connsiteX7988" fmla="*/ 1314594 w 2417513"/>
                  <a:gd name="connsiteY7988" fmla="*/ 715784 h 1867037"/>
                  <a:gd name="connsiteX7989" fmla="*/ 1313988 w 2417513"/>
                  <a:gd name="connsiteY7989" fmla="*/ 715026 h 1867037"/>
                  <a:gd name="connsiteX7990" fmla="*/ 1315655 w 2417513"/>
                  <a:gd name="connsiteY7990" fmla="*/ 713359 h 1867037"/>
                  <a:gd name="connsiteX7991" fmla="*/ 1316109 w 2417513"/>
                  <a:gd name="connsiteY7991" fmla="*/ 711844 h 1867037"/>
                  <a:gd name="connsiteX7992" fmla="*/ 1316716 w 2417513"/>
                  <a:gd name="connsiteY7992" fmla="*/ 704117 h 1867037"/>
                  <a:gd name="connsiteX7993" fmla="*/ 1316564 w 2417513"/>
                  <a:gd name="connsiteY7993" fmla="*/ 701389 h 1867037"/>
                  <a:gd name="connsiteX7994" fmla="*/ 1314897 w 2417513"/>
                  <a:gd name="connsiteY7994" fmla="*/ 694419 h 1867037"/>
                  <a:gd name="connsiteX7995" fmla="*/ 1313988 w 2417513"/>
                  <a:gd name="connsiteY7995" fmla="*/ 692450 h 1867037"/>
                  <a:gd name="connsiteX7996" fmla="*/ 1312625 w 2417513"/>
                  <a:gd name="connsiteY7996" fmla="*/ 690631 h 1867037"/>
                  <a:gd name="connsiteX7997" fmla="*/ 1306412 w 2417513"/>
                  <a:gd name="connsiteY7997" fmla="*/ 684267 h 1867037"/>
                  <a:gd name="connsiteX7998" fmla="*/ 1302321 w 2417513"/>
                  <a:gd name="connsiteY7998" fmla="*/ 681237 h 1867037"/>
                  <a:gd name="connsiteX7999" fmla="*/ 1297776 w 2417513"/>
                  <a:gd name="connsiteY7999" fmla="*/ 678813 h 1867037"/>
                  <a:gd name="connsiteX8000" fmla="*/ 1292624 w 2417513"/>
                  <a:gd name="connsiteY8000" fmla="*/ 675328 h 1867037"/>
                  <a:gd name="connsiteX8001" fmla="*/ 1292169 w 2417513"/>
                  <a:gd name="connsiteY8001" fmla="*/ 673509 h 1867037"/>
                  <a:gd name="connsiteX8002" fmla="*/ 1293078 w 2417513"/>
                  <a:gd name="connsiteY8002" fmla="*/ 671388 h 1867037"/>
                  <a:gd name="connsiteX8003" fmla="*/ 1293230 w 2417513"/>
                  <a:gd name="connsiteY8003" fmla="*/ 670024 h 1867037"/>
                  <a:gd name="connsiteX8004" fmla="*/ 1291412 w 2417513"/>
                  <a:gd name="connsiteY8004" fmla="*/ 668812 h 1867037"/>
                  <a:gd name="connsiteX8005" fmla="*/ 1283836 w 2417513"/>
                  <a:gd name="connsiteY8005" fmla="*/ 668509 h 1867037"/>
                  <a:gd name="connsiteX8006" fmla="*/ 1281563 w 2417513"/>
                  <a:gd name="connsiteY8006" fmla="*/ 669115 h 1867037"/>
                  <a:gd name="connsiteX8007" fmla="*/ 1277775 w 2417513"/>
                  <a:gd name="connsiteY8007" fmla="*/ 668812 h 1867037"/>
                  <a:gd name="connsiteX8008" fmla="*/ 1273078 w 2417513"/>
                  <a:gd name="connsiteY8008" fmla="*/ 664570 h 1867037"/>
                  <a:gd name="connsiteX8009" fmla="*/ 1272774 w 2417513"/>
                  <a:gd name="connsiteY8009" fmla="*/ 661085 h 1867037"/>
                  <a:gd name="connsiteX8010" fmla="*/ 1270956 w 2417513"/>
                  <a:gd name="connsiteY8010" fmla="*/ 657903 h 1867037"/>
                  <a:gd name="connsiteX8011" fmla="*/ 1269441 w 2417513"/>
                  <a:gd name="connsiteY8011" fmla="*/ 657448 h 1867037"/>
                  <a:gd name="connsiteX8012" fmla="*/ 1266108 w 2417513"/>
                  <a:gd name="connsiteY8012" fmla="*/ 657600 h 1867037"/>
                  <a:gd name="connsiteX8013" fmla="*/ 1262017 w 2417513"/>
                  <a:gd name="connsiteY8013" fmla="*/ 658660 h 1867037"/>
                  <a:gd name="connsiteX8014" fmla="*/ 1253380 w 2417513"/>
                  <a:gd name="connsiteY8014" fmla="*/ 661691 h 1867037"/>
                  <a:gd name="connsiteX8015" fmla="*/ 1244895 w 2417513"/>
                  <a:gd name="connsiteY8015" fmla="*/ 668206 h 1867037"/>
                  <a:gd name="connsiteX8016" fmla="*/ 1242016 w 2417513"/>
                  <a:gd name="connsiteY8016" fmla="*/ 672903 h 1867037"/>
                  <a:gd name="connsiteX8017" fmla="*/ 1235955 w 2417513"/>
                  <a:gd name="connsiteY8017" fmla="*/ 677297 h 1867037"/>
                  <a:gd name="connsiteX8018" fmla="*/ 1235046 w 2417513"/>
                  <a:gd name="connsiteY8018" fmla="*/ 678510 h 1867037"/>
                  <a:gd name="connsiteX8019" fmla="*/ 1236258 w 2417513"/>
                  <a:gd name="connsiteY8019" fmla="*/ 680934 h 1867037"/>
                  <a:gd name="connsiteX8020" fmla="*/ 1237773 w 2417513"/>
                  <a:gd name="connsiteY8020" fmla="*/ 681540 h 1867037"/>
                  <a:gd name="connsiteX8021" fmla="*/ 1240501 w 2417513"/>
                  <a:gd name="connsiteY8021" fmla="*/ 681995 h 1867037"/>
                  <a:gd name="connsiteX8022" fmla="*/ 1246713 w 2417513"/>
                  <a:gd name="connsiteY8022" fmla="*/ 681995 h 1867037"/>
                  <a:gd name="connsiteX8023" fmla="*/ 1247774 w 2417513"/>
                  <a:gd name="connsiteY8023" fmla="*/ 682752 h 1867037"/>
                  <a:gd name="connsiteX8024" fmla="*/ 1246713 w 2417513"/>
                  <a:gd name="connsiteY8024" fmla="*/ 684419 h 1867037"/>
                  <a:gd name="connsiteX8025" fmla="*/ 1243531 w 2417513"/>
                  <a:gd name="connsiteY8025" fmla="*/ 690631 h 1867037"/>
                  <a:gd name="connsiteX8026" fmla="*/ 1241713 w 2417513"/>
                  <a:gd name="connsiteY8026" fmla="*/ 691540 h 1867037"/>
                  <a:gd name="connsiteX8027" fmla="*/ 1239137 w 2417513"/>
                  <a:gd name="connsiteY8027" fmla="*/ 691086 h 1867037"/>
                  <a:gd name="connsiteX8028" fmla="*/ 1235652 w 2417513"/>
                  <a:gd name="connsiteY8028" fmla="*/ 689419 h 1867037"/>
                  <a:gd name="connsiteX8029" fmla="*/ 1233682 w 2417513"/>
                  <a:gd name="connsiteY8029" fmla="*/ 687752 h 1867037"/>
                  <a:gd name="connsiteX8030" fmla="*/ 1231712 w 2417513"/>
                  <a:gd name="connsiteY8030" fmla="*/ 686843 h 1867037"/>
                  <a:gd name="connsiteX8031" fmla="*/ 1229894 w 2417513"/>
                  <a:gd name="connsiteY8031" fmla="*/ 686692 h 1867037"/>
                  <a:gd name="connsiteX8032" fmla="*/ 1227773 w 2417513"/>
                  <a:gd name="connsiteY8032" fmla="*/ 687601 h 1867037"/>
                  <a:gd name="connsiteX8033" fmla="*/ 1224136 w 2417513"/>
                  <a:gd name="connsiteY8033" fmla="*/ 690480 h 1867037"/>
                  <a:gd name="connsiteX8034" fmla="*/ 1220500 w 2417513"/>
                  <a:gd name="connsiteY8034" fmla="*/ 693813 h 1867037"/>
                  <a:gd name="connsiteX8035" fmla="*/ 1219439 w 2417513"/>
                  <a:gd name="connsiteY8035" fmla="*/ 695480 h 1867037"/>
                  <a:gd name="connsiteX8036" fmla="*/ 1220197 w 2417513"/>
                  <a:gd name="connsiteY8036" fmla="*/ 698662 h 1867037"/>
                  <a:gd name="connsiteX8037" fmla="*/ 1219591 w 2417513"/>
                  <a:gd name="connsiteY8037" fmla="*/ 699571 h 1867037"/>
                  <a:gd name="connsiteX8038" fmla="*/ 1217924 w 2417513"/>
                  <a:gd name="connsiteY8038" fmla="*/ 700329 h 1867037"/>
                  <a:gd name="connsiteX8039" fmla="*/ 1217318 w 2417513"/>
                  <a:gd name="connsiteY8039" fmla="*/ 701086 h 1867037"/>
                  <a:gd name="connsiteX8040" fmla="*/ 1218833 w 2417513"/>
                  <a:gd name="connsiteY8040" fmla="*/ 703965 h 1867037"/>
                  <a:gd name="connsiteX8041" fmla="*/ 1218227 w 2417513"/>
                  <a:gd name="connsiteY8041" fmla="*/ 707299 h 1867037"/>
                  <a:gd name="connsiteX8042" fmla="*/ 1216560 w 2417513"/>
                  <a:gd name="connsiteY8042" fmla="*/ 712905 h 1867037"/>
                  <a:gd name="connsiteX8043" fmla="*/ 1216560 w 2417513"/>
                  <a:gd name="connsiteY8043" fmla="*/ 716996 h 1867037"/>
                  <a:gd name="connsiteX8044" fmla="*/ 1221712 w 2417513"/>
                  <a:gd name="connsiteY8044" fmla="*/ 723511 h 1867037"/>
                  <a:gd name="connsiteX8045" fmla="*/ 1224439 w 2417513"/>
                  <a:gd name="connsiteY8045" fmla="*/ 725330 h 1867037"/>
                  <a:gd name="connsiteX8046" fmla="*/ 1226409 w 2417513"/>
                  <a:gd name="connsiteY8046" fmla="*/ 725481 h 1867037"/>
                  <a:gd name="connsiteX8047" fmla="*/ 1234137 w 2417513"/>
                  <a:gd name="connsiteY8047" fmla="*/ 722451 h 1867037"/>
                  <a:gd name="connsiteX8048" fmla="*/ 1234743 w 2417513"/>
                  <a:gd name="connsiteY8048" fmla="*/ 722602 h 1867037"/>
                  <a:gd name="connsiteX8049" fmla="*/ 1232015 w 2417513"/>
                  <a:gd name="connsiteY8049" fmla="*/ 726390 h 1867037"/>
                  <a:gd name="connsiteX8050" fmla="*/ 1232167 w 2417513"/>
                  <a:gd name="connsiteY8050" fmla="*/ 727602 h 1867037"/>
                  <a:gd name="connsiteX8051" fmla="*/ 1234894 w 2417513"/>
                  <a:gd name="connsiteY8051" fmla="*/ 729724 h 1867037"/>
                  <a:gd name="connsiteX8052" fmla="*/ 1230197 w 2417513"/>
                  <a:gd name="connsiteY8052" fmla="*/ 728814 h 1867037"/>
                  <a:gd name="connsiteX8053" fmla="*/ 1228227 w 2417513"/>
                  <a:gd name="connsiteY8053" fmla="*/ 729118 h 1867037"/>
                  <a:gd name="connsiteX8054" fmla="*/ 1225349 w 2417513"/>
                  <a:gd name="connsiteY8054" fmla="*/ 730027 h 1867037"/>
                  <a:gd name="connsiteX8055" fmla="*/ 1223379 w 2417513"/>
                  <a:gd name="connsiteY8055" fmla="*/ 731542 h 1867037"/>
                  <a:gd name="connsiteX8056" fmla="*/ 1222167 w 2417513"/>
                  <a:gd name="connsiteY8056" fmla="*/ 733966 h 1867037"/>
                  <a:gd name="connsiteX8057" fmla="*/ 1216409 w 2417513"/>
                  <a:gd name="connsiteY8057" fmla="*/ 741088 h 1867037"/>
                  <a:gd name="connsiteX8058" fmla="*/ 1215954 w 2417513"/>
                  <a:gd name="connsiteY8058" fmla="*/ 745179 h 1867037"/>
                  <a:gd name="connsiteX8059" fmla="*/ 1216106 w 2417513"/>
                  <a:gd name="connsiteY8059" fmla="*/ 746845 h 1867037"/>
                  <a:gd name="connsiteX8060" fmla="*/ 1217773 w 2417513"/>
                  <a:gd name="connsiteY8060" fmla="*/ 751088 h 1867037"/>
                  <a:gd name="connsiteX8061" fmla="*/ 1223833 w 2417513"/>
                  <a:gd name="connsiteY8061" fmla="*/ 757603 h 1867037"/>
                  <a:gd name="connsiteX8062" fmla="*/ 1226561 w 2417513"/>
                  <a:gd name="connsiteY8062" fmla="*/ 760937 h 1867037"/>
                  <a:gd name="connsiteX8063" fmla="*/ 1228076 w 2417513"/>
                  <a:gd name="connsiteY8063" fmla="*/ 763513 h 1867037"/>
                  <a:gd name="connsiteX8064" fmla="*/ 1229894 w 2417513"/>
                  <a:gd name="connsiteY8064" fmla="*/ 765483 h 1867037"/>
                  <a:gd name="connsiteX8065" fmla="*/ 1232167 w 2417513"/>
                  <a:gd name="connsiteY8065" fmla="*/ 766846 h 1867037"/>
                  <a:gd name="connsiteX8066" fmla="*/ 1235349 w 2417513"/>
                  <a:gd name="connsiteY8066" fmla="*/ 767755 h 1867037"/>
                  <a:gd name="connsiteX8067" fmla="*/ 1239289 w 2417513"/>
                  <a:gd name="connsiteY8067" fmla="*/ 768058 h 1867037"/>
                  <a:gd name="connsiteX8068" fmla="*/ 1242622 w 2417513"/>
                  <a:gd name="connsiteY8068" fmla="*/ 769119 h 1867037"/>
                  <a:gd name="connsiteX8069" fmla="*/ 1245198 w 2417513"/>
                  <a:gd name="connsiteY8069" fmla="*/ 770937 h 1867037"/>
                  <a:gd name="connsiteX8070" fmla="*/ 1250653 w 2417513"/>
                  <a:gd name="connsiteY8070" fmla="*/ 773362 h 1867037"/>
                  <a:gd name="connsiteX8071" fmla="*/ 1263532 w 2417513"/>
                  <a:gd name="connsiteY8071" fmla="*/ 777756 h 1867037"/>
                  <a:gd name="connsiteX8072" fmla="*/ 1264441 w 2417513"/>
                  <a:gd name="connsiteY8072" fmla="*/ 777453 h 1867037"/>
                  <a:gd name="connsiteX8073" fmla="*/ 1266562 w 2417513"/>
                  <a:gd name="connsiteY8073" fmla="*/ 774271 h 1867037"/>
                  <a:gd name="connsiteX8074" fmla="*/ 1267623 w 2417513"/>
                  <a:gd name="connsiteY8074" fmla="*/ 773968 h 1867037"/>
                  <a:gd name="connsiteX8075" fmla="*/ 1268835 w 2417513"/>
                  <a:gd name="connsiteY8075" fmla="*/ 774271 h 1867037"/>
                  <a:gd name="connsiteX8076" fmla="*/ 1272168 w 2417513"/>
                  <a:gd name="connsiteY8076" fmla="*/ 777453 h 1867037"/>
                  <a:gd name="connsiteX8077" fmla="*/ 1274744 w 2417513"/>
                  <a:gd name="connsiteY8077" fmla="*/ 780635 h 1867037"/>
                  <a:gd name="connsiteX8078" fmla="*/ 1277017 w 2417513"/>
                  <a:gd name="connsiteY8078" fmla="*/ 782756 h 1867037"/>
                  <a:gd name="connsiteX8079" fmla="*/ 1278835 w 2417513"/>
                  <a:gd name="connsiteY8079" fmla="*/ 783665 h 1867037"/>
                  <a:gd name="connsiteX8080" fmla="*/ 1281714 w 2417513"/>
                  <a:gd name="connsiteY8080" fmla="*/ 784120 h 1867037"/>
                  <a:gd name="connsiteX8081" fmla="*/ 1285805 w 2417513"/>
                  <a:gd name="connsiteY8081" fmla="*/ 784120 h 1867037"/>
                  <a:gd name="connsiteX8082" fmla="*/ 1288533 w 2417513"/>
                  <a:gd name="connsiteY8082" fmla="*/ 783665 h 1867037"/>
                  <a:gd name="connsiteX8083" fmla="*/ 1291866 w 2417513"/>
                  <a:gd name="connsiteY8083" fmla="*/ 781695 h 1867037"/>
                  <a:gd name="connsiteX8084" fmla="*/ 1295806 w 2417513"/>
                  <a:gd name="connsiteY8084" fmla="*/ 780635 h 1867037"/>
                  <a:gd name="connsiteX8085" fmla="*/ 1298988 w 2417513"/>
                  <a:gd name="connsiteY8085" fmla="*/ 782453 h 1867037"/>
                  <a:gd name="connsiteX8086" fmla="*/ 1299291 w 2417513"/>
                  <a:gd name="connsiteY8086" fmla="*/ 783968 h 1867037"/>
                  <a:gd name="connsiteX8087" fmla="*/ 1298685 w 2417513"/>
                  <a:gd name="connsiteY8087" fmla="*/ 786089 h 1867037"/>
                  <a:gd name="connsiteX8088" fmla="*/ 1298836 w 2417513"/>
                  <a:gd name="connsiteY8088" fmla="*/ 787301 h 1867037"/>
                  <a:gd name="connsiteX8089" fmla="*/ 1301715 w 2417513"/>
                  <a:gd name="connsiteY8089" fmla="*/ 787605 h 1867037"/>
                  <a:gd name="connsiteX8090" fmla="*/ 1301109 w 2417513"/>
                  <a:gd name="connsiteY8090" fmla="*/ 788514 h 1867037"/>
                  <a:gd name="connsiteX8091" fmla="*/ 1297927 w 2417513"/>
                  <a:gd name="connsiteY8091" fmla="*/ 791393 h 1867037"/>
                  <a:gd name="connsiteX8092" fmla="*/ 1292927 w 2417513"/>
                  <a:gd name="connsiteY8092" fmla="*/ 794878 h 1867037"/>
                  <a:gd name="connsiteX8093" fmla="*/ 1290957 w 2417513"/>
                  <a:gd name="connsiteY8093" fmla="*/ 793665 h 1867037"/>
                  <a:gd name="connsiteX8094" fmla="*/ 1291563 w 2417513"/>
                  <a:gd name="connsiteY8094" fmla="*/ 792302 h 1867037"/>
                  <a:gd name="connsiteX8095" fmla="*/ 1296715 w 2417513"/>
                  <a:gd name="connsiteY8095" fmla="*/ 786392 h 1867037"/>
                  <a:gd name="connsiteX8096" fmla="*/ 1296563 w 2417513"/>
                  <a:gd name="connsiteY8096" fmla="*/ 785635 h 1867037"/>
                  <a:gd name="connsiteX8097" fmla="*/ 1290199 w 2417513"/>
                  <a:gd name="connsiteY8097" fmla="*/ 787605 h 1867037"/>
                  <a:gd name="connsiteX8098" fmla="*/ 1281866 w 2417513"/>
                  <a:gd name="connsiteY8098" fmla="*/ 789271 h 1867037"/>
                  <a:gd name="connsiteX8099" fmla="*/ 1279138 w 2417513"/>
                  <a:gd name="connsiteY8099" fmla="*/ 790635 h 1867037"/>
                  <a:gd name="connsiteX8100" fmla="*/ 1278532 w 2417513"/>
                  <a:gd name="connsiteY8100" fmla="*/ 792453 h 1867037"/>
                  <a:gd name="connsiteX8101" fmla="*/ 1278381 w 2417513"/>
                  <a:gd name="connsiteY8101" fmla="*/ 794120 h 1867037"/>
                  <a:gd name="connsiteX8102" fmla="*/ 1279138 w 2417513"/>
                  <a:gd name="connsiteY8102" fmla="*/ 798514 h 1867037"/>
                  <a:gd name="connsiteX8103" fmla="*/ 1280048 w 2417513"/>
                  <a:gd name="connsiteY8103" fmla="*/ 799272 h 1867037"/>
                  <a:gd name="connsiteX8104" fmla="*/ 1283836 w 2417513"/>
                  <a:gd name="connsiteY8104" fmla="*/ 799272 h 1867037"/>
                  <a:gd name="connsiteX8105" fmla="*/ 1283836 w 2417513"/>
                  <a:gd name="connsiteY8105" fmla="*/ 799878 h 1867037"/>
                  <a:gd name="connsiteX8106" fmla="*/ 1279593 w 2417513"/>
                  <a:gd name="connsiteY8106" fmla="*/ 803363 h 1867037"/>
                  <a:gd name="connsiteX8107" fmla="*/ 1273078 w 2417513"/>
                  <a:gd name="connsiteY8107" fmla="*/ 807757 h 1867037"/>
                  <a:gd name="connsiteX8108" fmla="*/ 1270653 w 2417513"/>
                  <a:gd name="connsiteY8108" fmla="*/ 810030 h 1867037"/>
                  <a:gd name="connsiteX8109" fmla="*/ 1269593 w 2417513"/>
                  <a:gd name="connsiteY8109" fmla="*/ 815181 h 1867037"/>
                  <a:gd name="connsiteX8110" fmla="*/ 1269896 w 2417513"/>
                  <a:gd name="connsiteY8110" fmla="*/ 816545 h 1867037"/>
                  <a:gd name="connsiteX8111" fmla="*/ 1272926 w 2417513"/>
                  <a:gd name="connsiteY8111" fmla="*/ 818060 h 1867037"/>
                  <a:gd name="connsiteX8112" fmla="*/ 1280048 w 2417513"/>
                  <a:gd name="connsiteY8112" fmla="*/ 817151 h 1867037"/>
                  <a:gd name="connsiteX8113" fmla="*/ 1284139 w 2417513"/>
                  <a:gd name="connsiteY8113" fmla="*/ 815939 h 1867037"/>
                  <a:gd name="connsiteX8114" fmla="*/ 1286108 w 2417513"/>
                  <a:gd name="connsiteY8114" fmla="*/ 814272 h 1867037"/>
                  <a:gd name="connsiteX8115" fmla="*/ 1287624 w 2417513"/>
                  <a:gd name="connsiteY8115" fmla="*/ 810939 h 1867037"/>
                  <a:gd name="connsiteX8116" fmla="*/ 1288836 w 2417513"/>
                  <a:gd name="connsiteY8116" fmla="*/ 806545 h 1867037"/>
                  <a:gd name="connsiteX8117" fmla="*/ 1289290 w 2417513"/>
                  <a:gd name="connsiteY8117" fmla="*/ 805787 h 1867037"/>
                  <a:gd name="connsiteX8118" fmla="*/ 1290048 w 2417513"/>
                  <a:gd name="connsiteY8118" fmla="*/ 805635 h 1867037"/>
                  <a:gd name="connsiteX8119" fmla="*/ 1291109 w 2417513"/>
                  <a:gd name="connsiteY8119" fmla="*/ 805939 h 1867037"/>
                  <a:gd name="connsiteX8120" fmla="*/ 1292321 w 2417513"/>
                  <a:gd name="connsiteY8120" fmla="*/ 806999 h 1867037"/>
                  <a:gd name="connsiteX8121" fmla="*/ 1293684 w 2417513"/>
                  <a:gd name="connsiteY8121" fmla="*/ 808817 h 1867037"/>
                  <a:gd name="connsiteX8122" fmla="*/ 1294593 w 2417513"/>
                  <a:gd name="connsiteY8122" fmla="*/ 810939 h 1867037"/>
                  <a:gd name="connsiteX8123" fmla="*/ 1295048 w 2417513"/>
                  <a:gd name="connsiteY8123" fmla="*/ 813363 h 1867037"/>
                  <a:gd name="connsiteX8124" fmla="*/ 1295200 w 2417513"/>
                  <a:gd name="connsiteY8124" fmla="*/ 815939 h 1867037"/>
                  <a:gd name="connsiteX8125" fmla="*/ 1294745 w 2417513"/>
                  <a:gd name="connsiteY8125" fmla="*/ 820636 h 1867037"/>
                  <a:gd name="connsiteX8126" fmla="*/ 1295654 w 2417513"/>
                  <a:gd name="connsiteY8126" fmla="*/ 823212 h 1867037"/>
                  <a:gd name="connsiteX8127" fmla="*/ 1296715 w 2417513"/>
                  <a:gd name="connsiteY8127" fmla="*/ 823666 h 1867037"/>
                  <a:gd name="connsiteX8128" fmla="*/ 1300957 w 2417513"/>
                  <a:gd name="connsiteY8128" fmla="*/ 823969 h 1867037"/>
                  <a:gd name="connsiteX8129" fmla="*/ 1300048 w 2417513"/>
                  <a:gd name="connsiteY8129" fmla="*/ 824879 h 1867037"/>
                  <a:gd name="connsiteX8130" fmla="*/ 1295503 w 2417513"/>
                  <a:gd name="connsiteY8130" fmla="*/ 827606 h 1867037"/>
                  <a:gd name="connsiteX8131" fmla="*/ 1287927 w 2417513"/>
                  <a:gd name="connsiteY8131" fmla="*/ 830939 h 1867037"/>
                  <a:gd name="connsiteX8132" fmla="*/ 1283229 w 2417513"/>
                  <a:gd name="connsiteY8132" fmla="*/ 834424 h 1867037"/>
                  <a:gd name="connsiteX8133" fmla="*/ 1278987 w 2417513"/>
                  <a:gd name="connsiteY8133" fmla="*/ 839273 h 1867037"/>
                  <a:gd name="connsiteX8134" fmla="*/ 1275502 w 2417513"/>
                  <a:gd name="connsiteY8134" fmla="*/ 842607 h 1867037"/>
                  <a:gd name="connsiteX8135" fmla="*/ 1272774 w 2417513"/>
                  <a:gd name="connsiteY8135" fmla="*/ 844425 h 1867037"/>
                  <a:gd name="connsiteX8136" fmla="*/ 1265653 w 2417513"/>
                  <a:gd name="connsiteY8136" fmla="*/ 850031 h 1867037"/>
                  <a:gd name="connsiteX8137" fmla="*/ 1262471 w 2417513"/>
                  <a:gd name="connsiteY8137" fmla="*/ 851395 h 1867037"/>
                  <a:gd name="connsiteX8138" fmla="*/ 1259895 w 2417513"/>
                  <a:gd name="connsiteY8138" fmla="*/ 850940 h 1867037"/>
                  <a:gd name="connsiteX8139" fmla="*/ 1255198 w 2417513"/>
                  <a:gd name="connsiteY8139" fmla="*/ 849425 h 1867037"/>
                  <a:gd name="connsiteX8140" fmla="*/ 1252168 w 2417513"/>
                  <a:gd name="connsiteY8140" fmla="*/ 850486 h 1867037"/>
                  <a:gd name="connsiteX8141" fmla="*/ 1248077 w 2417513"/>
                  <a:gd name="connsiteY8141" fmla="*/ 850637 h 1867037"/>
                  <a:gd name="connsiteX8142" fmla="*/ 1246865 w 2417513"/>
                  <a:gd name="connsiteY8142" fmla="*/ 851092 h 1867037"/>
                  <a:gd name="connsiteX8143" fmla="*/ 1245955 w 2417513"/>
                  <a:gd name="connsiteY8143" fmla="*/ 852152 h 1867037"/>
                  <a:gd name="connsiteX8144" fmla="*/ 1240804 w 2417513"/>
                  <a:gd name="connsiteY8144" fmla="*/ 865486 h 1867037"/>
                  <a:gd name="connsiteX8145" fmla="*/ 1241258 w 2417513"/>
                  <a:gd name="connsiteY8145" fmla="*/ 867001 h 1867037"/>
                  <a:gd name="connsiteX8146" fmla="*/ 1245955 w 2417513"/>
                  <a:gd name="connsiteY8146" fmla="*/ 871395 h 1867037"/>
                  <a:gd name="connsiteX8147" fmla="*/ 1247925 w 2417513"/>
                  <a:gd name="connsiteY8147" fmla="*/ 875638 h 1867037"/>
                  <a:gd name="connsiteX8148" fmla="*/ 1250501 w 2417513"/>
                  <a:gd name="connsiteY8148" fmla="*/ 882911 h 1867037"/>
                  <a:gd name="connsiteX8149" fmla="*/ 1251562 w 2417513"/>
                  <a:gd name="connsiteY8149" fmla="*/ 887457 h 1867037"/>
                  <a:gd name="connsiteX8150" fmla="*/ 1249895 w 2417513"/>
                  <a:gd name="connsiteY8150" fmla="*/ 892608 h 1867037"/>
                  <a:gd name="connsiteX8151" fmla="*/ 1248986 w 2417513"/>
                  <a:gd name="connsiteY8151" fmla="*/ 900487 h 1867037"/>
                  <a:gd name="connsiteX8152" fmla="*/ 1247774 w 2417513"/>
                  <a:gd name="connsiteY8152" fmla="*/ 902003 h 1867037"/>
                  <a:gd name="connsiteX8153" fmla="*/ 1245349 w 2417513"/>
                  <a:gd name="connsiteY8153" fmla="*/ 903215 h 1867037"/>
                  <a:gd name="connsiteX8154" fmla="*/ 1241713 w 2417513"/>
                  <a:gd name="connsiteY8154" fmla="*/ 903518 h 1867037"/>
                  <a:gd name="connsiteX8155" fmla="*/ 1232167 w 2417513"/>
                  <a:gd name="connsiteY8155" fmla="*/ 901851 h 1867037"/>
                  <a:gd name="connsiteX8156" fmla="*/ 1230349 w 2417513"/>
                  <a:gd name="connsiteY8156" fmla="*/ 902457 h 1867037"/>
                  <a:gd name="connsiteX8157" fmla="*/ 1230046 w 2417513"/>
                  <a:gd name="connsiteY8157" fmla="*/ 903063 h 1867037"/>
                  <a:gd name="connsiteX8158" fmla="*/ 1230803 w 2417513"/>
                  <a:gd name="connsiteY8158" fmla="*/ 905488 h 1867037"/>
                  <a:gd name="connsiteX8159" fmla="*/ 1237470 w 2417513"/>
                  <a:gd name="connsiteY8159" fmla="*/ 912155 h 1867037"/>
                  <a:gd name="connsiteX8160" fmla="*/ 1238228 w 2417513"/>
                  <a:gd name="connsiteY8160" fmla="*/ 913821 h 1867037"/>
                  <a:gd name="connsiteX8161" fmla="*/ 1237016 w 2417513"/>
                  <a:gd name="connsiteY8161" fmla="*/ 917155 h 1867037"/>
                  <a:gd name="connsiteX8162" fmla="*/ 1236713 w 2417513"/>
                  <a:gd name="connsiteY8162" fmla="*/ 917155 h 1867037"/>
                  <a:gd name="connsiteX8163" fmla="*/ 1236258 w 2417513"/>
                  <a:gd name="connsiteY8163" fmla="*/ 913821 h 1867037"/>
                  <a:gd name="connsiteX8164" fmla="*/ 1234288 w 2417513"/>
                  <a:gd name="connsiteY8164" fmla="*/ 911397 h 1867037"/>
                  <a:gd name="connsiteX8165" fmla="*/ 1221257 w 2417513"/>
                  <a:gd name="connsiteY8165" fmla="*/ 900033 h 1867037"/>
                  <a:gd name="connsiteX8166" fmla="*/ 1219591 w 2417513"/>
                  <a:gd name="connsiteY8166" fmla="*/ 897912 h 1867037"/>
                  <a:gd name="connsiteX8167" fmla="*/ 1219591 w 2417513"/>
                  <a:gd name="connsiteY8167" fmla="*/ 897154 h 1867037"/>
                  <a:gd name="connsiteX8168" fmla="*/ 1220045 w 2417513"/>
                  <a:gd name="connsiteY8168" fmla="*/ 896548 h 1867037"/>
                  <a:gd name="connsiteX8169" fmla="*/ 1221561 w 2417513"/>
                  <a:gd name="connsiteY8169" fmla="*/ 896245 h 1867037"/>
                  <a:gd name="connsiteX8170" fmla="*/ 1225197 w 2417513"/>
                  <a:gd name="connsiteY8170" fmla="*/ 899578 h 1867037"/>
                  <a:gd name="connsiteX8171" fmla="*/ 1228530 w 2417513"/>
                  <a:gd name="connsiteY8171" fmla="*/ 899730 h 1867037"/>
                  <a:gd name="connsiteX8172" fmla="*/ 1230652 w 2417513"/>
                  <a:gd name="connsiteY8172" fmla="*/ 898518 h 1867037"/>
                  <a:gd name="connsiteX8173" fmla="*/ 1232470 w 2417513"/>
                  <a:gd name="connsiteY8173" fmla="*/ 898821 h 1867037"/>
                  <a:gd name="connsiteX8174" fmla="*/ 1235046 w 2417513"/>
                  <a:gd name="connsiteY8174" fmla="*/ 900336 h 1867037"/>
                  <a:gd name="connsiteX8175" fmla="*/ 1237622 w 2417513"/>
                  <a:gd name="connsiteY8175" fmla="*/ 900790 h 1867037"/>
                  <a:gd name="connsiteX8176" fmla="*/ 1242016 w 2417513"/>
                  <a:gd name="connsiteY8176" fmla="*/ 900336 h 1867037"/>
                  <a:gd name="connsiteX8177" fmla="*/ 1243379 w 2417513"/>
                  <a:gd name="connsiteY8177" fmla="*/ 900487 h 1867037"/>
                  <a:gd name="connsiteX8178" fmla="*/ 1244895 w 2417513"/>
                  <a:gd name="connsiteY8178" fmla="*/ 900184 h 1867037"/>
                  <a:gd name="connsiteX8179" fmla="*/ 1246107 w 2417513"/>
                  <a:gd name="connsiteY8179" fmla="*/ 899730 h 1867037"/>
                  <a:gd name="connsiteX8180" fmla="*/ 1247167 w 2417513"/>
                  <a:gd name="connsiteY8180" fmla="*/ 898669 h 1867037"/>
                  <a:gd name="connsiteX8181" fmla="*/ 1247471 w 2417513"/>
                  <a:gd name="connsiteY8181" fmla="*/ 896699 h 1867037"/>
                  <a:gd name="connsiteX8182" fmla="*/ 1247471 w 2417513"/>
                  <a:gd name="connsiteY8182" fmla="*/ 893972 h 1867037"/>
                  <a:gd name="connsiteX8183" fmla="*/ 1247167 w 2417513"/>
                  <a:gd name="connsiteY8183" fmla="*/ 892154 h 1867037"/>
                  <a:gd name="connsiteX8184" fmla="*/ 1244137 w 2417513"/>
                  <a:gd name="connsiteY8184" fmla="*/ 889729 h 1867037"/>
                  <a:gd name="connsiteX8185" fmla="*/ 1243379 w 2417513"/>
                  <a:gd name="connsiteY8185" fmla="*/ 889426 h 1867037"/>
                  <a:gd name="connsiteX8186" fmla="*/ 1241410 w 2417513"/>
                  <a:gd name="connsiteY8186" fmla="*/ 889578 h 1867037"/>
                  <a:gd name="connsiteX8187" fmla="*/ 1237319 w 2417513"/>
                  <a:gd name="connsiteY8187" fmla="*/ 890790 h 1867037"/>
                  <a:gd name="connsiteX8188" fmla="*/ 1237319 w 2417513"/>
                  <a:gd name="connsiteY8188" fmla="*/ 890942 h 1867037"/>
                  <a:gd name="connsiteX8189" fmla="*/ 1239743 w 2417513"/>
                  <a:gd name="connsiteY8189" fmla="*/ 886093 h 1867037"/>
                  <a:gd name="connsiteX8190" fmla="*/ 1239137 w 2417513"/>
                  <a:gd name="connsiteY8190" fmla="*/ 885184 h 1867037"/>
                  <a:gd name="connsiteX8191" fmla="*/ 1234743 w 2417513"/>
                  <a:gd name="connsiteY8191" fmla="*/ 886093 h 1867037"/>
                  <a:gd name="connsiteX8192" fmla="*/ 1231106 w 2417513"/>
                  <a:gd name="connsiteY8192" fmla="*/ 887305 h 1867037"/>
                  <a:gd name="connsiteX8193" fmla="*/ 1227621 w 2417513"/>
                  <a:gd name="connsiteY8193" fmla="*/ 887305 h 1867037"/>
                  <a:gd name="connsiteX8194" fmla="*/ 1226864 w 2417513"/>
                  <a:gd name="connsiteY8194" fmla="*/ 886548 h 1867037"/>
                  <a:gd name="connsiteX8195" fmla="*/ 1226409 w 2417513"/>
                  <a:gd name="connsiteY8195" fmla="*/ 882456 h 1867037"/>
                  <a:gd name="connsiteX8196" fmla="*/ 1225651 w 2417513"/>
                  <a:gd name="connsiteY8196" fmla="*/ 881093 h 1867037"/>
                  <a:gd name="connsiteX8197" fmla="*/ 1221409 w 2417513"/>
                  <a:gd name="connsiteY8197" fmla="*/ 876244 h 1867037"/>
                  <a:gd name="connsiteX8198" fmla="*/ 1221409 w 2417513"/>
                  <a:gd name="connsiteY8198" fmla="*/ 874123 h 1867037"/>
                  <a:gd name="connsiteX8199" fmla="*/ 1225349 w 2417513"/>
                  <a:gd name="connsiteY8199" fmla="*/ 868214 h 1867037"/>
                  <a:gd name="connsiteX8200" fmla="*/ 1226106 w 2417513"/>
                  <a:gd name="connsiteY8200" fmla="*/ 866395 h 1867037"/>
                  <a:gd name="connsiteX8201" fmla="*/ 1226864 w 2417513"/>
                  <a:gd name="connsiteY8201" fmla="*/ 861092 h 1867037"/>
                  <a:gd name="connsiteX8202" fmla="*/ 1230500 w 2417513"/>
                  <a:gd name="connsiteY8202" fmla="*/ 845788 h 1867037"/>
                  <a:gd name="connsiteX8203" fmla="*/ 1232318 w 2417513"/>
                  <a:gd name="connsiteY8203" fmla="*/ 841394 h 1867037"/>
                  <a:gd name="connsiteX8204" fmla="*/ 1229440 w 2417513"/>
                  <a:gd name="connsiteY8204" fmla="*/ 842000 h 1867037"/>
                  <a:gd name="connsiteX8205" fmla="*/ 1219439 w 2417513"/>
                  <a:gd name="connsiteY8205" fmla="*/ 846092 h 1867037"/>
                  <a:gd name="connsiteX8206" fmla="*/ 1218833 w 2417513"/>
                  <a:gd name="connsiteY8206" fmla="*/ 846849 h 1867037"/>
                  <a:gd name="connsiteX8207" fmla="*/ 1217924 w 2417513"/>
                  <a:gd name="connsiteY8207" fmla="*/ 849273 h 1867037"/>
                  <a:gd name="connsiteX8208" fmla="*/ 1216863 w 2417513"/>
                  <a:gd name="connsiteY8208" fmla="*/ 850334 h 1867037"/>
                  <a:gd name="connsiteX8209" fmla="*/ 1215197 w 2417513"/>
                  <a:gd name="connsiteY8209" fmla="*/ 851092 h 1867037"/>
                  <a:gd name="connsiteX8210" fmla="*/ 1211712 w 2417513"/>
                  <a:gd name="connsiteY8210" fmla="*/ 851546 h 1867037"/>
                  <a:gd name="connsiteX8211" fmla="*/ 1211560 w 2417513"/>
                  <a:gd name="connsiteY8211" fmla="*/ 850486 h 1867037"/>
                  <a:gd name="connsiteX8212" fmla="*/ 1218227 w 2417513"/>
                  <a:gd name="connsiteY8212" fmla="*/ 841849 h 1867037"/>
                  <a:gd name="connsiteX8213" fmla="*/ 1219439 w 2417513"/>
                  <a:gd name="connsiteY8213" fmla="*/ 839576 h 1867037"/>
                  <a:gd name="connsiteX8214" fmla="*/ 1219591 w 2417513"/>
                  <a:gd name="connsiteY8214" fmla="*/ 838667 h 1867037"/>
                  <a:gd name="connsiteX8215" fmla="*/ 1214136 w 2417513"/>
                  <a:gd name="connsiteY8215" fmla="*/ 841546 h 1867037"/>
                  <a:gd name="connsiteX8216" fmla="*/ 1204590 w 2417513"/>
                  <a:gd name="connsiteY8216" fmla="*/ 841243 h 1867037"/>
                  <a:gd name="connsiteX8217" fmla="*/ 1203984 w 2417513"/>
                  <a:gd name="connsiteY8217" fmla="*/ 840788 h 1867037"/>
                  <a:gd name="connsiteX8218" fmla="*/ 1202014 w 2417513"/>
                  <a:gd name="connsiteY8218" fmla="*/ 837606 h 1867037"/>
                  <a:gd name="connsiteX8219" fmla="*/ 1200196 w 2417513"/>
                  <a:gd name="connsiteY8219" fmla="*/ 835485 h 1867037"/>
                  <a:gd name="connsiteX8220" fmla="*/ 1196711 w 2417513"/>
                  <a:gd name="connsiteY8220" fmla="*/ 832000 h 1867037"/>
                  <a:gd name="connsiteX8221" fmla="*/ 1194741 w 2417513"/>
                  <a:gd name="connsiteY8221" fmla="*/ 830788 h 1867037"/>
                  <a:gd name="connsiteX8222" fmla="*/ 1192772 w 2417513"/>
                  <a:gd name="connsiteY8222" fmla="*/ 830030 h 1867037"/>
                  <a:gd name="connsiteX8223" fmla="*/ 1190802 w 2417513"/>
                  <a:gd name="connsiteY8223" fmla="*/ 830030 h 1867037"/>
                  <a:gd name="connsiteX8224" fmla="*/ 1188983 w 2417513"/>
                  <a:gd name="connsiteY8224" fmla="*/ 830939 h 1867037"/>
                  <a:gd name="connsiteX8225" fmla="*/ 1186408 w 2417513"/>
                  <a:gd name="connsiteY8225" fmla="*/ 830636 h 1867037"/>
                  <a:gd name="connsiteX8226" fmla="*/ 1181256 w 2417513"/>
                  <a:gd name="connsiteY8226" fmla="*/ 828212 h 1867037"/>
                  <a:gd name="connsiteX8227" fmla="*/ 1178680 w 2417513"/>
                  <a:gd name="connsiteY8227" fmla="*/ 828667 h 1867037"/>
                  <a:gd name="connsiteX8228" fmla="*/ 1178377 w 2417513"/>
                  <a:gd name="connsiteY8228" fmla="*/ 829273 h 1867037"/>
                  <a:gd name="connsiteX8229" fmla="*/ 1179135 w 2417513"/>
                  <a:gd name="connsiteY8229" fmla="*/ 832152 h 1867037"/>
                  <a:gd name="connsiteX8230" fmla="*/ 1182317 w 2417513"/>
                  <a:gd name="connsiteY8230" fmla="*/ 835031 h 1867037"/>
                  <a:gd name="connsiteX8231" fmla="*/ 1174135 w 2417513"/>
                  <a:gd name="connsiteY8231" fmla="*/ 837000 h 1867037"/>
                  <a:gd name="connsiteX8232" fmla="*/ 1170650 w 2417513"/>
                  <a:gd name="connsiteY8232" fmla="*/ 838364 h 1867037"/>
                  <a:gd name="connsiteX8233" fmla="*/ 1163831 w 2417513"/>
                  <a:gd name="connsiteY8233" fmla="*/ 835333 h 1867037"/>
                  <a:gd name="connsiteX8234" fmla="*/ 1162316 w 2417513"/>
                  <a:gd name="connsiteY8234" fmla="*/ 835333 h 1867037"/>
                  <a:gd name="connsiteX8235" fmla="*/ 1161255 w 2417513"/>
                  <a:gd name="connsiteY8235" fmla="*/ 835940 h 1867037"/>
                  <a:gd name="connsiteX8236" fmla="*/ 1158831 w 2417513"/>
                  <a:gd name="connsiteY8236" fmla="*/ 836243 h 1867037"/>
                  <a:gd name="connsiteX8237" fmla="*/ 1159285 w 2417513"/>
                  <a:gd name="connsiteY8237" fmla="*/ 837758 h 1867037"/>
                  <a:gd name="connsiteX8238" fmla="*/ 1163225 w 2417513"/>
                  <a:gd name="connsiteY8238" fmla="*/ 842910 h 1867037"/>
                  <a:gd name="connsiteX8239" fmla="*/ 1164437 w 2417513"/>
                  <a:gd name="connsiteY8239" fmla="*/ 843970 h 1867037"/>
                  <a:gd name="connsiteX8240" fmla="*/ 1166255 w 2417513"/>
                  <a:gd name="connsiteY8240" fmla="*/ 847152 h 1867037"/>
                  <a:gd name="connsiteX8241" fmla="*/ 1166104 w 2417513"/>
                  <a:gd name="connsiteY8241" fmla="*/ 847910 h 1867037"/>
                  <a:gd name="connsiteX8242" fmla="*/ 1162922 w 2417513"/>
                  <a:gd name="connsiteY8242" fmla="*/ 847152 h 1867037"/>
                  <a:gd name="connsiteX8243" fmla="*/ 1162922 w 2417513"/>
                  <a:gd name="connsiteY8243" fmla="*/ 847910 h 1867037"/>
                  <a:gd name="connsiteX8244" fmla="*/ 1164589 w 2417513"/>
                  <a:gd name="connsiteY8244" fmla="*/ 850486 h 1867037"/>
                  <a:gd name="connsiteX8245" fmla="*/ 1171256 w 2417513"/>
                  <a:gd name="connsiteY8245" fmla="*/ 857153 h 1867037"/>
                  <a:gd name="connsiteX8246" fmla="*/ 1173528 w 2417513"/>
                  <a:gd name="connsiteY8246" fmla="*/ 858062 h 1867037"/>
                  <a:gd name="connsiteX8247" fmla="*/ 1178983 w 2417513"/>
                  <a:gd name="connsiteY8247" fmla="*/ 855637 h 1867037"/>
                  <a:gd name="connsiteX8248" fmla="*/ 1183680 w 2417513"/>
                  <a:gd name="connsiteY8248" fmla="*/ 854425 h 1867037"/>
                  <a:gd name="connsiteX8249" fmla="*/ 1188983 w 2417513"/>
                  <a:gd name="connsiteY8249" fmla="*/ 855183 h 1867037"/>
                  <a:gd name="connsiteX8250" fmla="*/ 1194741 w 2417513"/>
                  <a:gd name="connsiteY8250" fmla="*/ 857910 h 1867037"/>
                  <a:gd name="connsiteX8251" fmla="*/ 1198226 w 2417513"/>
                  <a:gd name="connsiteY8251" fmla="*/ 860031 h 1867037"/>
                  <a:gd name="connsiteX8252" fmla="*/ 1199590 w 2417513"/>
                  <a:gd name="connsiteY8252" fmla="*/ 861547 h 1867037"/>
                  <a:gd name="connsiteX8253" fmla="*/ 1200044 w 2417513"/>
                  <a:gd name="connsiteY8253" fmla="*/ 862759 h 1867037"/>
                  <a:gd name="connsiteX8254" fmla="*/ 1199590 w 2417513"/>
                  <a:gd name="connsiteY8254" fmla="*/ 864729 h 1867037"/>
                  <a:gd name="connsiteX8255" fmla="*/ 1199590 w 2417513"/>
                  <a:gd name="connsiteY8255" fmla="*/ 866092 h 1867037"/>
                  <a:gd name="connsiteX8256" fmla="*/ 1198529 w 2417513"/>
                  <a:gd name="connsiteY8256" fmla="*/ 867456 h 1867037"/>
                  <a:gd name="connsiteX8257" fmla="*/ 1196408 w 2417513"/>
                  <a:gd name="connsiteY8257" fmla="*/ 868820 h 1867037"/>
                  <a:gd name="connsiteX8258" fmla="*/ 1191408 w 2417513"/>
                  <a:gd name="connsiteY8258" fmla="*/ 871092 h 1867037"/>
                  <a:gd name="connsiteX8259" fmla="*/ 1187165 w 2417513"/>
                  <a:gd name="connsiteY8259" fmla="*/ 870486 h 1867037"/>
                  <a:gd name="connsiteX8260" fmla="*/ 1178377 w 2417513"/>
                  <a:gd name="connsiteY8260" fmla="*/ 866698 h 1867037"/>
                  <a:gd name="connsiteX8261" fmla="*/ 1177165 w 2417513"/>
                  <a:gd name="connsiteY8261" fmla="*/ 865335 h 1867037"/>
                  <a:gd name="connsiteX8262" fmla="*/ 1174892 w 2417513"/>
                  <a:gd name="connsiteY8262" fmla="*/ 863819 h 1867037"/>
                  <a:gd name="connsiteX8263" fmla="*/ 1165195 w 2417513"/>
                  <a:gd name="connsiteY8263" fmla="*/ 853516 h 1867037"/>
                  <a:gd name="connsiteX8264" fmla="*/ 1161710 w 2417513"/>
                  <a:gd name="connsiteY8264" fmla="*/ 850789 h 1867037"/>
                  <a:gd name="connsiteX8265" fmla="*/ 1159134 w 2417513"/>
                  <a:gd name="connsiteY8265" fmla="*/ 849576 h 1867037"/>
                  <a:gd name="connsiteX8266" fmla="*/ 1157467 w 2417513"/>
                  <a:gd name="connsiteY8266" fmla="*/ 849880 h 1867037"/>
                  <a:gd name="connsiteX8267" fmla="*/ 1156710 w 2417513"/>
                  <a:gd name="connsiteY8267" fmla="*/ 851092 h 1867037"/>
                  <a:gd name="connsiteX8268" fmla="*/ 1156710 w 2417513"/>
                  <a:gd name="connsiteY8268" fmla="*/ 853061 h 1867037"/>
                  <a:gd name="connsiteX8269" fmla="*/ 1157164 w 2417513"/>
                  <a:gd name="connsiteY8269" fmla="*/ 854728 h 1867037"/>
                  <a:gd name="connsiteX8270" fmla="*/ 1159892 w 2417513"/>
                  <a:gd name="connsiteY8270" fmla="*/ 857304 h 1867037"/>
                  <a:gd name="connsiteX8271" fmla="*/ 1163680 w 2417513"/>
                  <a:gd name="connsiteY8271" fmla="*/ 859880 h 1867037"/>
                  <a:gd name="connsiteX8272" fmla="*/ 1165043 w 2417513"/>
                  <a:gd name="connsiteY8272" fmla="*/ 861244 h 1867037"/>
                  <a:gd name="connsiteX8273" fmla="*/ 1165195 w 2417513"/>
                  <a:gd name="connsiteY8273" fmla="*/ 862153 h 1867037"/>
                  <a:gd name="connsiteX8274" fmla="*/ 1164134 w 2417513"/>
                  <a:gd name="connsiteY8274" fmla="*/ 862607 h 1867037"/>
                  <a:gd name="connsiteX8275" fmla="*/ 1157467 w 2417513"/>
                  <a:gd name="connsiteY8275" fmla="*/ 863516 h 1867037"/>
                  <a:gd name="connsiteX8276" fmla="*/ 1154285 w 2417513"/>
                  <a:gd name="connsiteY8276" fmla="*/ 865183 h 1867037"/>
                  <a:gd name="connsiteX8277" fmla="*/ 1151255 w 2417513"/>
                  <a:gd name="connsiteY8277" fmla="*/ 866092 h 1867037"/>
                  <a:gd name="connsiteX8278" fmla="*/ 1148224 w 2417513"/>
                  <a:gd name="connsiteY8278" fmla="*/ 866395 h 1867037"/>
                  <a:gd name="connsiteX8279" fmla="*/ 1145043 w 2417513"/>
                  <a:gd name="connsiteY8279" fmla="*/ 866244 h 1867037"/>
                  <a:gd name="connsiteX8280" fmla="*/ 1141103 w 2417513"/>
                  <a:gd name="connsiteY8280" fmla="*/ 865183 h 1867037"/>
                  <a:gd name="connsiteX8281" fmla="*/ 1136254 w 2417513"/>
                  <a:gd name="connsiteY8281" fmla="*/ 863365 h 1867037"/>
                  <a:gd name="connsiteX8282" fmla="*/ 1128072 w 2417513"/>
                  <a:gd name="connsiteY8282" fmla="*/ 861850 h 1867037"/>
                  <a:gd name="connsiteX8283" fmla="*/ 1116102 w 2417513"/>
                  <a:gd name="connsiteY8283" fmla="*/ 860789 h 1867037"/>
                  <a:gd name="connsiteX8284" fmla="*/ 1109435 w 2417513"/>
                  <a:gd name="connsiteY8284" fmla="*/ 860789 h 1867037"/>
                  <a:gd name="connsiteX8285" fmla="*/ 1107768 w 2417513"/>
                  <a:gd name="connsiteY8285" fmla="*/ 861850 h 1867037"/>
                  <a:gd name="connsiteX8286" fmla="*/ 1105193 w 2417513"/>
                  <a:gd name="connsiteY8286" fmla="*/ 862304 h 1867037"/>
                  <a:gd name="connsiteX8287" fmla="*/ 1101708 w 2417513"/>
                  <a:gd name="connsiteY8287" fmla="*/ 862304 h 1867037"/>
                  <a:gd name="connsiteX8288" fmla="*/ 1098677 w 2417513"/>
                  <a:gd name="connsiteY8288" fmla="*/ 862759 h 1867037"/>
                  <a:gd name="connsiteX8289" fmla="*/ 1093980 w 2417513"/>
                  <a:gd name="connsiteY8289" fmla="*/ 864274 h 1867037"/>
                  <a:gd name="connsiteX8290" fmla="*/ 1092010 w 2417513"/>
                  <a:gd name="connsiteY8290" fmla="*/ 864425 h 1867037"/>
                  <a:gd name="connsiteX8291" fmla="*/ 1079434 w 2417513"/>
                  <a:gd name="connsiteY8291" fmla="*/ 867607 h 1867037"/>
                  <a:gd name="connsiteX8292" fmla="*/ 1075797 w 2417513"/>
                  <a:gd name="connsiteY8292" fmla="*/ 866850 h 1867037"/>
                  <a:gd name="connsiteX8293" fmla="*/ 1070494 w 2417513"/>
                  <a:gd name="connsiteY8293" fmla="*/ 865183 h 1867037"/>
                  <a:gd name="connsiteX8294" fmla="*/ 1065797 w 2417513"/>
                  <a:gd name="connsiteY8294" fmla="*/ 864880 h 1867037"/>
                  <a:gd name="connsiteX8295" fmla="*/ 1061555 w 2417513"/>
                  <a:gd name="connsiteY8295" fmla="*/ 865789 h 1867037"/>
                  <a:gd name="connsiteX8296" fmla="*/ 1058524 w 2417513"/>
                  <a:gd name="connsiteY8296" fmla="*/ 865638 h 1867037"/>
                  <a:gd name="connsiteX8297" fmla="*/ 1056706 w 2417513"/>
                  <a:gd name="connsiteY8297" fmla="*/ 864425 h 1867037"/>
                  <a:gd name="connsiteX8298" fmla="*/ 1048372 w 2417513"/>
                  <a:gd name="connsiteY8298" fmla="*/ 862153 h 1867037"/>
                  <a:gd name="connsiteX8299" fmla="*/ 1044281 w 2417513"/>
                  <a:gd name="connsiteY8299" fmla="*/ 860183 h 1867037"/>
                  <a:gd name="connsiteX8300" fmla="*/ 1039281 w 2417513"/>
                  <a:gd name="connsiteY8300" fmla="*/ 856092 h 1867037"/>
                  <a:gd name="connsiteX8301" fmla="*/ 1031099 w 2417513"/>
                  <a:gd name="connsiteY8301" fmla="*/ 850334 h 1867037"/>
                  <a:gd name="connsiteX8302" fmla="*/ 1027008 w 2417513"/>
                  <a:gd name="connsiteY8302" fmla="*/ 847910 h 1867037"/>
                  <a:gd name="connsiteX8303" fmla="*/ 1022008 w 2417513"/>
                  <a:gd name="connsiteY8303" fmla="*/ 850031 h 1867037"/>
                  <a:gd name="connsiteX8304" fmla="*/ 1015341 w 2417513"/>
                  <a:gd name="connsiteY8304" fmla="*/ 851395 h 1867037"/>
                  <a:gd name="connsiteX8305" fmla="*/ 1007310 w 2417513"/>
                  <a:gd name="connsiteY8305" fmla="*/ 851849 h 1867037"/>
                  <a:gd name="connsiteX8306" fmla="*/ 1003068 w 2417513"/>
                  <a:gd name="connsiteY8306" fmla="*/ 851395 h 1867037"/>
                  <a:gd name="connsiteX8307" fmla="*/ 999280 w 2417513"/>
                  <a:gd name="connsiteY8307" fmla="*/ 850334 h 1867037"/>
                  <a:gd name="connsiteX8308" fmla="*/ 995340 w 2417513"/>
                  <a:gd name="connsiteY8308" fmla="*/ 847607 h 1867037"/>
                  <a:gd name="connsiteX8309" fmla="*/ 994431 w 2417513"/>
                  <a:gd name="connsiteY8309" fmla="*/ 846243 h 1867037"/>
                  <a:gd name="connsiteX8310" fmla="*/ 995037 w 2417513"/>
                  <a:gd name="connsiteY8310" fmla="*/ 843213 h 1867037"/>
                  <a:gd name="connsiteX8311" fmla="*/ 994582 w 2417513"/>
                  <a:gd name="connsiteY8311" fmla="*/ 842455 h 1867037"/>
                  <a:gd name="connsiteX8312" fmla="*/ 991400 w 2417513"/>
                  <a:gd name="connsiteY8312" fmla="*/ 841394 h 1867037"/>
                  <a:gd name="connsiteX8313" fmla="*/ 988370 w 2417513"/>
                  <a:gd name="connsiteY8313" fmla="*/ 841697 h 1867037"/>
                  <a:gd name="connsiteX8314" fmla="*/ 987461 w 2417513"/>
                  <a:gd name="connsiteY8314" fmla="*/ 841394 h 1867037"/>
                  <a:gd name="connsiteX8315" fmla="*/ 986855 w 2417513"/>
                  <a:gd name="connsiteY8315" fmla="*/ 838970 h 1867037"/>
                  <a:gd name="connsiteX8316" fmla="*/ 986249 w 2417513"/>
                  <a:gd name="connsiteY8316" fmla="*/ 838667 h 1867037"/>
                  <a:gd name="connsiteX8317" fmla="*/ 985340 w 2417513"/>
                  <a:gd name="connsiteY8317" fmla="*/ 838819 h 1867037"/>
                  <a:gd name="connsiteX8318" fmla="*/ 983976 w 2417513"/>
                  <a:gd name="connsiteY8318" fmla="*/ 839728 h 1867037"/>
                  <a:gd name="connsiteX8319" fmla="*/ 982461 w 2417513"/>
                  <a:gd name="connsiteY8319" fmla="*/ 839273 h 1867037"/>
                  <a:gd name="connsiteX8320" fmla="*/ 979885 w 2417513"/>
                  <a:gd name="connsiteY8320" fmla="*/ 837758 h 1867037"/>
                  <a:gd name="connsiteX8321" fmla="*/ 974885 w 2417513"/>
                  <a:gd name="connsiteY8321" fmla="*/ 833818 h 1867037"/>
                  <a:gd name="connsiteX8322" fmla="*/ 973521 w 2417513"/>
                  <a:gd name="connsiteY8322" fmla="*/ 831697 h 1867037"/>
                  <a:gd name="connsiteX8323" fmla="*/ 972763 w 2417513"/>
                  <a:gd name="connsiteY8323" fmla="*/ 825939 h 1867037"/>
                  <a:gd name="connsiteX8324" fmla="*/ 970491 w 2417513"/>
                  <a:gd name="connsiteY8324" fmla="*/ 819272 h 1867037"/>
                  <a:gd name="connsiteX8325" fmla="*/ 968672 w 2417513"/>
                  <a:gd name="connsiteY8325" fmla="*/ 816242 h 1867037"/>
                  <a:gd name="connsiteX8326" fmla="*/ 966400 w 2417513"/>
                  <a:gd name="connsiteY8326" fmla="*/ 813818 h 1867037"/>
                  <a:gd name="connsiteX8327" fmla="*/ 963369 w 2417513"/>
                  <a:gd name="connsiteY8327" fmla="*/ 811999 h 1867037"/>
                  <a:gd name="connsiteX8328" fmla="*/ 957460 w 2417513"/>
                  <a:gd name="connsiteY8328" fmla="*/ 810030 h 1867037"/>
                  <a:gd name="connsiteX8329" fmla="*/ 953369 w 2417513"/>
                  <a:gd name="connsiteY8329" fmla="*/ 809423 h 1867037"/>
                  <a:gd name="connsiteX8330" fmla="*/ 948975 w 2417513"/>
                  <a:gd name="connsiteY8330" fmla="*/ 810333 h 1867037"/>
                  <a:gd name="connsiteX8331" fmla="*/ 938368 w 2417513"/>
                  <a:gd name="connsiteY8331" fmla="*/ 814121 h 1867037"/>
                  <a:gd name="connsiteX8332" fmla="*/ 935186 w 2417513"/>
                  <a:gd name="connsiteY8332" fmla="*/ 814575 h 1867037"/>
                  <a:gd name="connsiteX8333" fmla="*/ 918670 w 2417513"/>
                  <a:gd name="connsiteY8333" fmla="*/ 820333 h 1867037"/>
                  <a:gd name="connsiteX8334" fmla="*/ 909579 w 2417513"/>
                  <a:gd name="connsiteY8334" fmla="*/ 822303 h 1867037"/>
                  <a:gd name="connsiteX8335" fmla="*/ 894579 w 2417513"/>
                  <a:gd name="connsiteY8335" fmla="*/ 824121 h 1867037"/>
                  <a:gd name="connsiteX8336" fmla="*/ 893670 w 2417513"/>
                  <a:gd name="connsiteY8336" fmla="*/ 824727 h 1867037"/>
                  <a:gd name="connsiteX8337" fmla="*/ 885639 w 2417513"/>
                  <a:gd name="connsiteY8337" fmla="*/ 835182 h 1867037"/>
                  <a:gd name="connsiteX8338" fmla="*/ 883518 w 2417513"/>
                  <a:gd name="connsiteY8338" fmla="*/ 838970 h 1867037"/>
                  <a:gd name="connsiteX8339" fmla="*/ 884427 w 2417513"/>
                  <a:gd name="connsiteY8339" fmla="*/ 839879 h 1867037"/>
                  <a:gd name="connsiteX8340" fmla="*/ 893215 w 2417513"/>
                  <a:gd name="connsiteY8340" fmla="*/ 844576 h 1867037"/>
                  <a:gd name="connsiteX8341" fmla="*/ 894427 w 2417513"/>
                  <a:gd name="connsiteY8341" fmla="*/ 845637 h 1867037"/>
                  <a:gd name="connsiteX8342" fmla="*/ 896094 w 2417513"/>
                  <a:gd name="connsiteY8342" fmla="*/ 845788 h 1867037"/>
                  <a:gd name="connsiteX8343" fmla="*/ 900336 w 2417513"/>
                  <a:gd name="connsiteY8343" fmla="*/ 844879 h 1867037"/>
                  <a:gd name="connsiteX8344" fmla="*/ 902458 w 2417513"/>
                  <a:gd name="connsiteY8344" fmla="*/ 845182 h 1867037"/>
                  <a:gd name="connsiteX8345" fmla="*/ 910488 w 2417513"/>
                  <a:gd name="connsiteY8345" fmla="*/ 844728 h 1867037"/>
                  <a:gd name="connsiteX8346" fmla="*/ 912004 w 2417513"/>
                  <a:gd name="connsiteY8346" fmla="*/ 843364 h 1867037"/>
                  <a:gd name="connsiteX8347" fmla="*/ 910488 w 2417513"/>
                  <a:gd name="connsiteY8347" fmla="*/ 841091 h 1867037"/>
                  <a:gd name="connsiteX8348" fmla="*/ 910337 w 2417513"/>
                  <a:gd name="connsiteY8348" fmla="*/ 839425 h 1867037"/>
                  <a:gd name="connsiteX8349" fmla="*/ 913670 w 2417513"/>
                  <a:gd name="connsiteY8349" fmla="*/ 837303 h 1867037"/>
                  <a:gd name="connsiteX8350" fmla="*/ 917004 w 2417513"/>
                  <a:gd name="connsiteY8350" fmla="*/ 837606 h 1867037"/>
                  <a:gd name="connsiteX8351" fmla="*/ 922458 w 2417513"/>
                  <a:gd name="connsiteY8351" fmla="*/ 838819 h 1867037"/>
                  <a:gd name="connsiteX8352" fmla="*/ 926550 w 2417513"/>
                  <a:gd name="connsiteY8352" fmla="*/ 838515 h 1867037"/>
                  <a:gd name="connsiteX8353" fmla="*/ 929428 w 2417513"/>
                  <a:gd name="connsiteY8353" fmla="*/ 836546 h 1867037"/>
                  <a:gd name="connsiteX8354" fmla="*/ 932156 w 2417513"/>
                  <a:gd name="connsiteY8354" fmla="*/ 835182 h 1867037"/>
                  <a:gd name="connsiteX8355" fmla="*/ 934732 w 2417513"/>
                  <a:gd name="connsiteY8355" fmla="*/ 834576 h 1867037"/>
                  <a:gd name="connsiteX8356" fmla="*/ 936701 w 2417513"/>
                  <a:gd name="connsiteY8356" fmla="*/ 834576 h 1867037"/>
                  <a:gd name="connsiteX8357" fmla="*/ 941399 w 2417513"/>
                  <a:gd name="connsiteY8357" fmla="*/ 835940 h 1867037"/>
                  <a:gd name="connsiteX8358" fmla="*/ 942611 w 2417513"/>
                  <a:gd name="connsiteY8358" fmla="*/ 834424 h 1867037"/>
                  <a:gd name="connsiteX8359" fmla="*/ 943217 w 2417513"/>
                  <a:gd name="connsiteY8359" fmla="*/ 831091 h 1867037"/>
                  <a:gd name="connsiteX8360" fmla="*/ 945490 w 2417513"/>
                  <a:gd name="connsiteY8360" fmla="*/ 828364 h 1867037"/>
                  <a:gd name="connsiteX8361" fmla="*/ 951550 w 2417513"/>
                  <a:gd name="connsiteY8361" fmla="*/ 825485 h 1867037"/>
                  <a:gd name="connsiteX8362" fmla="*/ 957308 w 2417513"/>
                  <a:gd name="connsiteY8362" fmla="*/ 823212 h 1867037"/>
                  <a:gd name="connsiteX8363" fmla="*/ 959884 w 2417513"/>
                  <a:gd name="connsiteY8363" fmla="*/ 822606 h 1867037"/>
                  <a:gd name="connsiteX8364" fmla="*/ 964278 w 2417513"/>
                  <a:gd name="connsiteY8364" fmla="*/ 823818 h 1867037"/>
                  <a:gd name="connsiteX8365" fmla="*/ 964884 w 2417513"/>
                  <a:gd name="connsiteY8365" fmla="*/ 824727 h 1867037"/>
                  <a:gd name="connsiteX8366" fmla="*/ 963975 w 2417513"/>
                  <a:gd name="connsiteY8366" fmla="*/ 827909 h 1867037"/>
                  <a:gd name="connsiteX8367" fmla="*/ 961854 w 2417513"/>
                  <a:gd name="connsiteY8367" fmla="*/ 830333 h 1867037"/>
                  <a:gd name="connsiteX8368" fmla="*/ 959733 w 2417513"/>
                  <a:gd name="connsiteY8368" fmla="*/ 831849 h 1867037"/>
                  <a:gd name="connsiteX8369" fmla="*/ 956854 w 2417513"/>
                  <a:gd name="connsiteY8369" fmla="*/ 833515 h 1867037"/>
                  <a:gd name="connsiteX8370" fmla="*/ 954278 w 2417513"/>
                  <a:gd name="connsiteY8370" fmla="*/ 834273 h 1867037"/>
                  <a:gd name="connsiteX8371" fmla="*/ 950490 w 2417513"/>
                  <a:gd name="connsiteY8371" fmla="*/ 834576 h 1867037"/>
                  <a:gd name="connsiteX8372" fmla="*/ 946853 w 2417513"/>
                  <a:gd name="connsiteY8372" fmla="*/ 837606 h 1867037"/>
                  <a:gd name="connsiteX8373" fmla="*/ 946096 w 2417513"/>
                  <a:gd name="connsiteY8373" fmla="*/ 839122 h 1867037"/>
                  <a:gd name="connsiteX8374" fmla="*/ 946247 w 2417513"/>
                  <a:gd name="connsiteY8374" fmla="*/ 843213 h 1867037"/>
                  <a:gd name="connsiteX8375" fmla="*/ 945338 w 2417513"/>
                  <a:gd name="connsiteY8375" fmla="*/ 843516 h 1867037"/>
                  <a:gd name="connsiteX8376" fmla="*/ 943217 w 2417513"/>
                  <a:gd name="connsiteY8376" fmla="*/ 842910 h 1867037"/>
                  <a:gd name="connsiteX8377" fmla="*/ 939580 w 2417513"/>
                  <a:gd name="connsiteY8377" fmla="*/ 842607 h 1867037"/>
                  <a:gd name="connsiteX8378" fmla="*/ 938368 w 2417513"/>
                  <a:gd name="connsiteY8378" fmla="*/ 843061 h 1867037"/>
                  <a:gd name="connsiteX8379" fmla="*/ 936247 w 2417513"/>
                  <a:gd name="connsiteY8379" fmla="*/ 845940 h 1867037"/>
                  <a:gd name="connsiteX8380" fmla="*/ 935035 w 2417513"/>
                  <a:gd name="connsiteY8380" fmla="*/ 846698 h 1867037"/>
                  <a:gd name="connsiteX8381" fmla="*/ 932610 w 2417513"/>
                  <a:gd name="connsiteY8381" fmla="*/ 847455 h 1867037"/>
                  <a:gd name="connsiteX8382" fmla="*/ 930641 w 2417513"/>
                  <a:gd name="connsiteY8382" fmla="*/ 847758 h 1867037"/>
                  <a:gd name="connsiteX8383" fmla="*/ 927004 w 2417513"/>
                  <a:gd name="connsiteY8383" fmla="*/ 847607 h 1867037"/>
                  <a:gd name="connsiteX8384" fmla="*/ 924277 w 2417513"/>
                  <a:gd name="connsiteY8384" fmla="*/ 848364 h 1867037"/>
                  <a:gd name="connsiteX8385" fmla="*/ 920792 w 2417513"/>
                  <a:gd name="connsiteY8385" fmla="*/ 849880 h 1867037"/>
                  <a:gd name="connsiteX8386" fmla="*/ 918216 w 2417513"/>
                  <a:gd name="connsiteY8386" fmla="*/ 850486 h 1867037"/>
                  <a:gd name="connsiteX8387" fmla="*/ 916549 w 2417513"/>
                  <a:gd name="connsiteY8387" fmla="*/ 850031 h 1867037"/>
                  <a:gd name="connsiteX8388" fmla="*/ 909731 w 2417513"/>
                  <a:gd name="connsiteY8388" fmla="*/ 851243 h 1867037"/>
                  <a:gd name="connsiteX8389" fmla="*/ 908670 w 2417513"/>
                  <a:gd name="connsiteY8389" fmla="*/ 851092 h 1867037"/>
                  <a:gd name="connsiteX8390" fmla="*/ 908973 w 2417513"/>
                  <a:gd name="connsiteY8390" fmla="*/ 852304 h 1867037"/>
                  <a:gd name="connsiteX8391" fmla="*/ 910640 w 2417513"/>
                  <a:gd name="connsiteY8391" fmla="*/ 854880 h 1867037"/>
                  <a:gd name="connsiteX8392" fmla="*/ 909731 w 2417513"/>
                  <a:gd name="connsiteY8392" fmla="*/ 857304 h 1867037"/>
                  <a:gd name="connsiteX8393" fmla="*/ 906246 w 2417513"/>
                  <a:gd name="connsiteY8393" fmla="*/ 859728 h 1867037"/>
                  <a:gd name="connsiteX8394" fmla="*/ 904427 w 2417513"/>
                  <a:gd name="connsiteY8394" fmla="*/ 861547 h 1867037"/>
                  <a:gd name="connsiteX8395" fmla="*/ 904124 w 2417513"/>
                  <a:gd name="connsiteY8395" fmla="*/ 865638 h 1867037"/>
                  <a:gd name="connsiteX8396" fmla="*/ 904579 w 2417513"/>
                  <a:gd name="connsiteY8396" fmla="*/ 867153 h 1867037"/>
                  <a:gd name="connsiteX8397" fmla="*/ 907003 w 2417513"/>
                  <a:gd name="connsiteY8397" fmla="*/ 870032 h 1867037"/>
                  <a:gd name="connsiteX8398" fmla="*/ 910034 w 2417513"/>
                  <a:gd name="connsiteY8398" fmla="*/ 872456 h 1867037"/>
                  <a:gd name="connsiteX8399" fmla="*/ 912913 w 2417513"/>
                  <a:gd name="connsiteY8399" fmla="*/ 875941 h 1867037"/>
                  <a:gd name="connsiteX8400" fmla="*/ 913216 w 2417513"/>
                  <a:gd name="connsiteY8400" fmla="*/ 877608 h 1867037"/>
                  <a:gd name="connsiteX8401" fmla="*/ 912913 w 2417513"/>
                  <a:gd name="connsiteY8401" fmla="*/ 879729 h 1867037"/>
                  <a:gd name="connsiteX8402" fmla="*/ 913064 w 2417513"/>
                  <a:gd name="connsiteY8402" fmla="*/ 881699 h 1867037"/>
                  <a:gd name="connsiteX8403" fmla="*/ 915185 w 2417513"/>
                  <a:gd name="connsiteY8403" fmla="*/ 886851 h 1867037"/>
                  <a:gd name="connsiteX8404" fmla="*/ 917458 w 2417513"/>
                  <a:gd name="connsiteY8404" fmla="*/ 890336 h 1867037"/>
                  <a:gd name="connsiteX8405" fmla="*/ 922004 w 2417513"/>
                  <a:gd name="connsiteY8405" fmla="*/ 893669 h 1867037"/>
                  <a:gd name="connsiteX8406" fmla="*/ 922913 w 2417513"/>
                  <a:gd name="connsiteY8406" fmla="*/ 894730 h 1867037"/>
                  <a:gd name="connsiteX8407" fmla="*/ 921095 w 2417513"/>
                  <a:gd name="connsiteY8407" fmla="*/ 897002 h 1867037"/>
                  <a:gd name="connsiteX8408" fmla="*/ 921701 w 2417513"/>
                  <a:gd name="connsiteY8408" fmla="*/ 898518 h 1867037"/>
                  <a:gd name="connsiteX8409" fmla="*/ 923671 w 2417513"/>
                  <a:gd name="connsiteY8409" fmla="*/ 900639 h 1867037"/>
                  <a:gd name="connsiteX8410" fmla="*/ 926398 w 2417513"/>
                  <a:gd name="connsiteY8410" fmla="*/ 905033 h 1867037"/>
                  <a:gd name="connsiteX8411" fmla="*/ 925186 w 2417513"/>
                  <a:gd name="connsiteY8411" fmla="*/ 905033 h 1867037"/>
                  <a:gd name="connsiteX8412" fmla="*/ 921701 w 2417513"/>
                  <a:gd name="connsiteY8412" fmla="*/ 902760 h 1867037"/>
                  <a:gd name="connsiteX8413" fmla="*/ 919731 w 2417513"/>
                  <a:gd name="connsiteY8413" fmla="*/ 902003 h 1867037"/>
                  <a:gd name="connsiteX8414" fmla="*/ 919277 w 2417513"/>
                  <a:gd name="connsiteY8414" fmla="*/ 902760 h 1867037"/>
                  <a:gd name="connsiteX8415" fmla="*/ 918367 w 2417513"/>
                  <a:gd name="connsiteY8415" fmla="*/ 902912 h 1867037"/>
                  <a:gd name="connsiteX8416" fmla="*/ 917004 w 2417513"/>
                  <a:gd name="connsiteY8416" fmla="*/ 902457 h 1867037"/>
                  <a:gd name="connsiteX8417" fmla="*/ 913519 w 2417513"/>
                  <a:gd name="connsiteY8417" fmla="*/ 899427 h 1867037"/>
                  <a:gd name="connsiteX8418" fmla="*/ 910791 w 2417513"/>
                  <a:gd name="connsiteY8418" fmla="*/ 900336 h 1867037"/>
                  <a:gd name="connsiteX8419" fmla="*/ 910185 w 2417513"/>
                  <a:gd name="connsiteY8419" fmla="*/ 901397 h 1867037"/>
                  <a:gd name="connsiteX8420" fmla="*/ 910337 w 2417513"/>
                  <a:gd name="connsiteY8420" fmla="*/ 908215 h 1867037"/>
                  <a:gd name="connsiteX8421" fmla="*/ 910640 w 2417513"/>
                  <a:gd name="connsiteY8421" fmla="*/ 910336 h 1867037"/>
                  <a:gd name="connsiteX8422" fmla="*/ 911246 w 2417513"/>
                  <a:gd name="connsiteY8422" fmla="*/ 911700 h 1867037"/>
                  <a:gd name="connsiteX8423" fmla="*/ 915185 w 2417513"/>
                  <a:gd name="connsiteY8423" fmla="*/ 917306 h 1867037"/>
                  <a:gd name="connsiteX8424" fmla="*/ 923065 w 2417513"/>
                  <a:gd name="connsiteY8424" fmla="*/ 926094 h 1867037"/>
                  <a:gd name="connsiteX8425" fmla="*/ 923519 w 2417513"/>
                  <a:gd name="connsiteY8425" fmla="*/ 927307 h 1867037"/>
                  <a:gd name="connsiteX8426" fmla="*/ 922610 w 2417513"/>
                  <a:gd name="connsiteY8426" fmla="*/ 927155 h 1867037"/>
                  <a:gd name="connsiteX8427" fmla="*/ 920337 w 2417513"/>
                  <a:gd name="connsiteY8427" fmla="*/ 925640 h 1867037"/>
                  <a:gd name="connsiteX8428" fmla="*/ 917458 w 2417513"/>
                  <a:gd name="connsiteY8428" fmla="*/ 923064 h 1867037"/>
                  <a:gd name="connsiteX8429" fmla="*/ 911246 w 2417513"/>
                  <a:gd name="connsiteY8429" fmla="*/ 916397 h 1867037"/>
                  <a:gd name="connsiteX8430" fmla="*/ 909731 w 2417513"/>
                  <a:gd name="connsiteY8430" fmla="*/ 914276 h 1867037"/>
                  <a:gd name="connsiteX8431" fmla="*/ 904276 w 2417513"/>
                  <a:gd name="connsiteY8431" fmla="*/ 909730 h 1867037"/>
                  <a:gd name="connsiteX8432" fmla="*/ 903064 w 2417513"/>
                  <a:gd name="connsiteY8432" fmla="*/ 908063 h 1867037"/>
                  <a:gd name="connsiteX8433" fmla="*/ 901700 w 2417513"/>
                  <a:gd name="connsiteY8433" fmla="*/ 906851 h 1867037"/>
                  <a:gd name="connsiteX8434" fmla="*/ 900336 w 2417513"/>
                  <a:gd name="connsiteY8434" fmla="*/ 906094 h 1867037"/>
                  <a:gd name="connsiteX8435" fmla="*/ 898821 w 2417513"/>
                  <a:gd name="connsiteY8435" fmla="*/ 904578 h 1867037"/>
                  <a:gd name="connsiteX8436" fmla="*/ 897155 w 2417513"/>
                  <a:gd name="connsiteY8436" fmla="*/ 902306 h 1867037"/>
                  <a:gd name="connsiteX8437" fmla="*/ 890639 w 2417513"/>
                  <a:gd name="connsiteY8437" fmla="*/ 896699 h 1867037"/>
                  <a:gd name="connsiteX8438" fmla="*/ 889579 w 2417513"/>
                  <a:gd name="connsiteY8438" fmla="*/ 895336 h 1867037"/>
                  <a:gd name="connsiteX8439" fmla="*/ 890639 w 2417513"/>
                  <a:gd name="connsiteY8439" fmla="*/ 895487 h 1867037"/>
                  <a:gd name="connsiteX8440" fmla="*/ 893821 w 2417513"/>
                  <a:gd name="connsiteY8440" fmla="*/ 897002 h 1867037"/>
                  <a:gd name="connsiteX8441" fmla="*/ 897155 w 2417513"/>
                  <a:gd name="connsiteY8441" fmla="*/ 897305 h 1867037"/>
                  <a:gd name="connsiteX8442" fmla="*/ 900791 w 2417513"/>
                  <a:gd name="connsiteY8442" fmla="*/ 896396 h 1867037"/>
                  <a:gd name="connsiteX8443" fmla="*/ 903518 w 2417513"/>
                  <a:gd name="connsiteY8443" fmla="*/ 895184 h 1867037"/>
                  <a:gd name="connsiteX8444" fmla="*/ 905185 w 2417513"/>
                  <a:gd name="connsiteY8444" fmla="*/ 893669 h 1867037"/>
                  <a:gd name="connsiteX8445" fmla="*/ 905791 w 2417513"/>
                  <a:gd name="connsiteY8445" fmla="*/ 892002 h 1867037"/>
                  <a:gd name="connsiteX8446" fmla="*/ 905185 w 2417513"/>
                  <a:gd name="connsiteY8446" fmla="*/ 890184 h 1867037"/>
                  <a:gd name="connsiteX8447" fmla="*/ 903518 w 2417513"/>
                  <a:gd name="connsiteY8447" fmla="*/ 887608 h 1867037"/>
                  <a:gd name="connsiteX8448" fmla="*/ 893670 w 2417513"/>
                  <a:gd name="connsiteY8448" fmla="*/ 880790 h 1867037"/>
                  <a:gd name="connsiteX8449" fmla="*/ 889730 w 2417513"/>
                  <a:gd name="connsiteY8449" fmla="*/ 877002 h 1867037"/>
                  <a:gd name="connsiteX8450" fmla="*/ 887003 w 2417513"/>
                  <a:gd name="connsiteY8450" fmla="*/ 872002 h 1867037"/>
                  <a:gd name="connsiteX8451" fmla="*/ 886396 w 2417513"/>
                  <a:gd name="connsiteY8451" fmla="*/ 871698 h 1867037"/>
                  <a:gd name="connsiteX8452" fmla="*/ 884578 w 2417513"/>
                  <a:gd name="connsiteY8452" fmla="*/ 871244 h 1867037"/>
                  <a:gd name="connsiteX8453" fmla="*/ 883669 w 2417513"/>
                  <a:gd name="connsiteY8453" fmla="*/ 872305 h 1867037"/>
                  <a:gd name="connsiteX8454" fmla="*/ 880942 w 2417513"/>
                  <a:gd name="connsiteY8454" fmla="*/ 879123 h 1867037"/>
                  <a:gd name="connsiteX8455" fmla="*/ 879881 w 2417513"/>
                  <a:gd name="connsiteY8455" fmla="*/ 879881 h 1867037"/>
                  <a:gd name="connsiteX8456" fmla="*/ 878820 w 2417513"/>
                  <a:gd name="connsiteY8456" fmla="*/ 879123 h 1867037"/>
                  <a:gd name="connsiteX8457" fmla="*/ 877154 w 2417513"/>
                  <a:gd name="connsiteY8457" fmla="*/ 876547 h 1867037"/>
                  <a:gd name="connsiteX8458" fmla="*/ 876699 w 2417513"/>
                  <a:gd name="connsiteY8458" fmla="*/ 874729 h 1867037"/>
                  <a:gd name="connsiteX8459" fmla="*/ 875942 w 2417513"/>
                  <a:gd name="connsiteY8459" fmla="*/ 869880 h 1867037"/>
                  <a:gd name="connsiteX8460" fmla="*/ 874729 w 2417513"/>
                  <a:gd name="connsiteY8460" fmla="*/ 867304 h 1867037"/>
                  <a:gd name="connsiteX8461" fmla="*/ 873517 w 2417513"/>
                  <a:gd name="connsiteY8461" fmla="*/ 866395 h 1867037"/>
                  <a:gd name="connsiteX8462" fmla="*/ 869578 w 2417513"/>
                  <a:gd name="connsiteY8462" fmla="*/ 865486 h 1867037"/>
                  <a:gd name="connsiteX8463" fmla="*/ 858517 w 2417513"/>
                  <a:gd name="connsiteY8463" fmla="*/ 865789 h 1867037"/>
                  <a:gd name="connsiteX8464" fmla="*/ 857002 w 2417513"/>
                  <a:gd name="connsiteY8464" fmla="*/ 864880 h 1867037"/>
                  <a:gd name="connsiteX8465" fmla="*/ 855032 w 2417513"/>
                  <a:gd name="connsiteY8465" fmla="*/ 861698 h 1867037"/>
                  <a:gd name="connsiteX8466" fmla="*/ 853062 w 2417513"/>
                  <a:gd name="connsiteY8466" fmla="*/ 859577 h 1867037"/>
                  <a:gd name="connsiteX8467" fmla="*/ 851092 w 2417513"/>
                  <a:gd name="connsiteY8467" fmla="*/ 859274 h 1867037"/>
                  <a:gd name="connsiteX8468" fmla="*/ 850183 w 2417513"/>
                  <a:gd name="connsiteY8468" fmla="*/ 858668 h 1867037"/>
                  <a:gd name="connsiteX8469" fmla="*/ 847304 w 2417513"/>
                  <a:gd name="connsiteY8469" fmla="*/ 854425 h 1867037"/>
                  <a:gd name="connsiteX8470" fmla="*/ 846395 w 2417513"/>
                  <a:gd name="connsiteY8470" fmla="*/ 853668 h 1867037"/>
                  <a:gd name="connsiteX8471" fmla="*/ 845637 w 2417513"/>
                  <a:gd name="connsiteY8471" fmla="*/ 853668 h 1867037"/>
                  <a:gd name="connsiteX8472" fmla="*/ 842456 w 2417513"/>
                  <a:gd name="connsiteY8472" fmla="*/ 855486 h 1867037"/>
                  <a:gd name="connsiteX8473" fmla="*/ 838213 w 2417513"/>
                  <a:gd name="connsiteY8473" fmla="*/ 855486 h 1867037"/>
                  <a:gd name="connsiteX8474" fmla="*/ 826394 w 2417513"/>
                  <a:gd name="connsiteY8474" fmla="*/ 861244 h 1867037"/>
                  <a:gd name="connsiteX8475" fmla="*/ 821394 w 2417513"/>
                  <a:gd name="connsiteY8475" fmla="*/ 863213 h 1867037"/>
                  <a:gd name="connsiteX8476" fmla="*/ 818667 w 2417513"/>
                  <a:gd name="connsiteY8476" fmla="*/ 863365 h 1867037"/>
                  <a:gd name="connsiteX8477" fmla="*/ 816848 w 2417513"/>
                  <a:gd name="connsiteY8477" fmla="*/ 862910 h 1867037"/>
                  <a:gd name="connsiteX8478" fmla="*/ 815788 w 2417513"/>
                  <a:gd name="connsiteY8478" fmla="*/ 861698 h 1867037"/>
                  <a:gd name="connsiteX8479" fmla="*/ 813060 w 2417513"/>
                  <a:gd name="connsiteY8479" fmla="*/ 861850 h 1867037"/>
                  <a:gd name="connsiteX8480" fmla="*/ 808666 w 2417513"/>
                  <a:gd name="connsiteY8480" fmla="*/ 863668 h 1867037"/>
                  <a:gd name="connsiteX8481" fmla="*/ 805181 w 2417513"/>
                  <a:gd name="connsiteY8481" fmla="*/ 864577 h 1867037"/>
                  <a:gd name="connsiteX8482" fmla="*/ 801545 w 2417513"/>
                  <a:gd name="connsiteY8482" fmla="*/ 864577 h 1867037"/>
                  <a:gd name="connsiteX8483" fmla="*/ 790787 w 2417513"/>
                  <a:gd name="connsiteY8483" fmla="*/ 865789 h 1867037"/>
                  <a:gd name="connsiteX8484" fmla="*/ 787150 w 2417513"/>
                  <a:gd name="connsiteY8484" fmla="*/ 865789 h 1867037"/>
                  <a:gd name="connsiteX8485" fmla="*/ 785029 w 2417513"/>
                  <a:gd name="connsiteY8485" fmla="*/ 866395 h 1867037"/>
                  <a:gd name="connsiteX8486" fmla="*/ 781696 w 2417513"/>
                  <a:gd name="connsiteY8486" fmla="*/ 868062 h 1867037"/>
                  <a:gd name="connsiteX8487" fmla="*/ 779877 w 2417513"/>
                  <a:gd name="connsiteY8487" fmla="*/ 868214 h 1867037"/>
                  <a:gd name="connsiteX8488" fmla="*/ 769574 w 2417513"/>
                  <a:gd name="connsiteY8488" fmla="*/ 868365 h 1867037"/>
                  <a:gd name="connsiteX8489" fmla="*/ 764271 w 2417513"/>
                  <a:gd name="connsiteY8489" fmla="*/ 868062 h 1867037"/>
                  <a:gd name="connsiteX8490" fmla="*/ 760483 w 2417513"/>
                  <a:gd name="connsiteY8490" fmla="*/ 867304 h 1867037"/>
                  <a:gd name="connsiteX8491" fmla="*/ 747755 w 2417513"/>
                  <a:gd name="connsiteY8491" fmla="*/ 867456 h 1867037"/>
                  <a:gd name="connsiteX8492" fmla="*/ 741997 w 2417513"/>
                  <a:gd name="connsiteY8492" fmla="*/ 867153 h 1867037"/>
                  <a:gd name="connsiteX8493" fmla="*/ 737603 w 2417513"/>
                  <a:gd name="connsiteY8493" fmla="*/ 866244 h 1867037"/>
                  <a:gd name="connsiteX8494" fmla="*/ 734118 w 2417513"/>
                  <a:gd name="connsiteY8494" fmla="*/ 865789 h 1867037"/>
                  <a:gd name="connsiteX8495" fmla="*/ 731694 w 2417513"/>
                  <a:gd name="connsiteY8495" fmla="*/ 865941 h 1867037"/>
                  <a:gd name="connsiteX8496" fmla="*/ 727300 w 2417513"/>
                  <a:gd name="connsiteY8496" fmla="*/ 865032 h 1867037"/>
                  <a:gd name="connsiteX8497" fmla="*/ 720936 w 2417513"/>
                  <a:gd name="connsiteY8497" fmla="*/ 862910 h 1867037"/>
                  <a:gd name="connsiteX8498" fmla="*/ 715633 w 2417513"/>
                  <a:gd name="connsiteY8498" fmla="*/ 862001 h 1867037"/>
                  <a:gd name="connsiteX8499" fmla="*/ 711390 w 2417513"/>
                  <a:gd name="connsiteY8499" fmla="*/ 862304 h 1867037"/>
                  <a:gd name="connsiteX8500" fmla="*/ 708057 w 2417513"/>
                  <a:gd name="connsiteY8500" fmla="*/ 861698 h 1867037"/>
                  <a:gd name="connsiteX8501" fmla="*/ 703662 w 2417513"/>
                  <a:gd name="connsiteY8501" fmla="*/ 859274 h 1867037"/>
                  <a:gd name="connsiteX8502" fmla="*/ 699723 w 2417513"/>
                  <a:gd name="connsiteY8502" fmla="*/ 857759 h 1867037"/>
                  <a:gd name="connsiteX8503" fmla="*/ 699874 w 2417513"/>
                  <a:gd name="connsiteY8503" fmla="*/ 856698 h 1867037"/>
                  <a:gd name="connsiteX8504" fmla="*/ 706087 w 2417513"/>
                  <a:gd name="connsiteY8504" fmla="*/ 853213 h 1867037"/>
                  <a:gd name="connsiteX8505" fmla="*/ 706996 w 2417513"/>
                  <a:gd name="connsiteY8505" fmla="*/ 852304 h 1867037"/>
                  <a:gd name="connsiteX8506" fmla="*/ 706390 w 2417513"/>
                  <a:gd name="connsiteY8506" fmla="*/ 849273 h 1867037"/>
                  <a:gd name="connsiteX8507" fmla="*/ 706693 w 2417513"/>
                  <a:gd name="connsiteY8507" fmla="*/ 848364 h 1867037"/>
                  <a:gd name="connsiteX8508" fmla="*/ 708057 w 2417513"/>
                  <a:gd name="connsiteY8508" fmla="*/ 847001 h 1867037"/>
                  <a:gd name="connsiteX8509" fmla="*/ 715633 w 2417513"/>
                  <a:gd name="connsiteY8509" fmla="*/ 843970 h 1867037"/>
                  <a:gd name="connsiteX8510" fmla="*/ 718057 w 2417513"/>
                  <a:gd name="connsiteY8510" fmla="*/ 840485 h 1867037"/>
                  <a:gd name="connsiteX8511" fmla="*/ 731542 w 2417513"/>
                  <a:gd name="connsiteY8511" fmla="*/ 841546 h 1867037"/>
                  <a:gd name="connsiteX8512" fmla="*/ 736391 w 2417513"/>
                  <a:gd name="connsiteY8512" fmla="*/ 840637 h 1867037"/>
                  <a:gd name="connsiteX8513" fmla="*/ 737603 w 2417513"/>
                  <a:gd name="connsiteY8513" fmla="*/ 839879 h 1867037"/>
                  <a:gd name="connsiteX8514" fmla="*/ 738512 w 2417513"/>
                  <a:gd name="connsiteY8514" fmla="*/ 838819 h 1867037"/>
                  <a:gd name="connsiteX8515" fmla="*/ 740027 w 2417513"/>
                  <a:gd name="connsiteY8515" fmla="*/ 834424 h 1867037"/>
                  <a:gd name="connsiteX8516" fmla="*/ 739421 w 2417513"/>
                  <a:gd name="connsiteY8516" fmla="*/ 833667 h 1867037"/>
                  <a:gd name="connsiteX8517" fmla="*/ 737755 w 2417513"/>
                  <a:gd name="connsiteY8517" fmla="*/ 833667 h 1867037"/>
                  <a:gd name="connsiteX8518" fmla="*/ 736694 w 2417513"/>
                  <a:gd name="connsiteY8518" fmla="*/ 832606 h 1867037"/>
                  <a:gd name="connsiteX8519" fmla="*/ 736239 w 2417513"/>
                  <a:gd name="connsiteY8519" fmla="*/ 830636 h 1867037"/>
                  <a:gd name="connsiteX8520" fmla="*/ 733361 w 2417513"/>
                  <a:gd name="connsiteY8520" fmla="*/ 827151 h 1867037"/>
                  <a:gd name="connsiteX8521" fmla="*/ 728057 w 2417513"/>
                  <a:gd name="connsiteY8521" fmla="*/ 822000 h 1867037"/>
                  <a:gd name="connsiteX8522" fmla="*/ 722451 w 2417513"/>
                  <a:gd name="connsiteY8522" fmla="*/ 817909 h 1867037"/>
                  <a:gd name="connsiteX8523" fmla="*/ 712299 w 2417513"/>
                  <a:gd name="connsiteY8523" fmla="*/ 812908 h 1867037"/>
                  <a:gd name="connsiteX8524" fmla="*/ 705632 w 2417513"/>
                  <a:gd name="connsiteY8524" fmla="*/ 810939 h 1867037"/>
                  <a:gd name="connsiteX8525" fmla="*/ 700026 w 2417513"/>
                  <a:gd name="connsiteY8525" fmla="*/ 808514 h 1867037"/>
                  <a:gd name="connsiteX8526" fmla="*/ 694874 w 2417513"/>
                  <a:gd name="connsiteY8526" fmla="*/ 806999 h 1867037"/>
                  <a:gd name="connsiteX8527" fmla="*/ 690026 w 2417513"/>
                  <a:gd name="connsiteY8527" fmla="*/ 806393 h 1867037"/>
                  <a:gd name="connsiteX8528" fmla="*/ 687904 w 2417513"/>
                  <a:gd name="connsiteY8528" fmla="*/ 806393 h 1867037"/>
                  <a:gd name="connsiteX8529" fmla="*/ 686389 w 2417513"/>
                  <a:gd name="connsiteY8529" fmla="*/ 807757 h 1867037"/>
                  <a:gd name="connsiteX8530" fmla="*/ 680025 w 2417513"/>
                  <a:gd name="connsiteY8530" fmla="*/ 806999 h 1867037"/>
                  <a:gd name="connsiteX8531" fmla="*/ 677904 w 2417513"/>
                  <a:gd name="connsiteY8531" fmla="*/ 806999 h 1867037"/>
                  <a:gd name="connsiteX8532" fmla="*/ 677752 w 2417513"/>
                  <a:gd name="connsiteY8532" fmla="*/ 807757 h 1867037"/>
                  <a:gd name="connsiteX8533" fmla="*/ 682904 w 2417513"/>
                  <a:gd name="connsiteY8533" fmla="*/ 812605 h 1867037"/>
                  <a:gd name="connsiteX8534" fmla="*/ 683056 w 2417513"/>
                  <a:gd name="connsiteY8534" fmla="*/ 813515 h 1867037"/>
                  <a:gd name="connsiteX8535" fmla="*/ 678662 w 2417513"/>
                  <a:gd name="connsiteY8535" fmla="*/ 813060 h 1867037"/>
                  <a:gd name="connsiteX8536" fmla="*/ 675631 w 2417513"/>
                  <a:gd name="connsiteY8536" fmla="*/ 811848 h 1867037"/>
                  <a:gd name="connsiteX8537" fmla="*/ 673207 w 2417513"/>
                  <a:gd name="connsiteY8537" fmla="*/ 811545 h 1867037"/>
                  <a:gd name="connsiteX8538" fmla="*/ 669722 w 2417513"/>
                  <a:gd name="connsiteY8538" fmla="*/ 811696 h 1867037"/>
                  <a:gd name="connsiteX8539" fmla="*/ 656691 w 2417513"/>
                  <a:gd name="connsiteY8539" fmla="*/ 809878 h 1867037"/>
                  <a:gd name="connsiteX8540" fmla="*/ 653812 w 2417513"/>
                  <a:gd name="connsiteY8540" fmla="*/ 810333 h 1867037"/>
                  <a:gd name="connsiteX8541" fmla="*/ 651236 w 2417513"/>
                  <a:gd name="connsiteY8541" fmla="*/ 810030 h 1867037"/>
                  <a:gd name="connsiteX8542" fmla="*/ 648963 w 2417513"/>
                  <a:gd name="connsiteY8542" fmla="*/ 808969 h 1867037"/>
                  <a:gd name="connsiteX8543" fmla="*/ 634721 w 2417513"/>
                  <a:gd name="connsiteY8543" fmla="*/ 805787 h 1867037"/>
                  <a:gd name="connsiteX8544" fmla="*/ 627448 w 2417513"/>
                  <a:gd name="connsiteY8544" fmla="*/ 803666 h 1867037"/>
                  <a:gd name="connsiteX8545" fmla="*/ 621690 w 2417513"/>
                  <a:gd name="connsiteY8545" fmla="*/ 801241 h 1867037"/>
                  <a:gd name="connsiteX8546" fmla="*/ 616083 w 2417513"/>
                  <a:gd name="connsiteY8546" fmla="*/ 798666 h 1867037"/>
                  <a:gd name="connsiteX8547" fmla="*/ 608962 w 2417513"/>
                  <a:gd name="connsiteY8547" fmla="*/ 794423 h 1867037"/>
                  <a:gd name="connsiteX8548" fmla="*/ 605629 w 2417513"/>
                  <a:gd name="connsiteY8548" fmla="*/ 793362 h 1867037"/>
                  <a:gd name="connsiteX8549" fmla="*/ 578658 w 2417513"/>
                  <a:gd name="connsiteY8549" fmla="*/ 789271 h 1867037"/>
                  <a:gd name="connsiteX8550" fmla="*/ 570779 w 2417513"/>
                  <a:gd name="connsiteY8550" fmla="*/ 787453 h 1867037"/>
                  <a:gd name="connsiteX8551" fmla="*/ 566536 w 2417513"/>
                  <a:gd name="connsiteY8551" fmla="*/ 785483 h 1867037"/>
                  <a:gd name="connsiteX8552" fmla="*/ 552293 w 2417513"/>
                  <a:gd name="connsiteY8552" fmla="*/ 775937 h 1867037"/>
                  <a:gd name="connsiteX8553" fmla="*/ 548202 w 2417513"/>
                  <a:gd name="connsiteY8553" fmla="*/ 773816 h 1867037"/>
                  <a:gd name="connsiteX8554" fmla="*/ 538050 w 2417513"/>
                  <a:gd name="connsiteY8554" fmla="*/ 769877 h 1867037"/>
                  <a:gd name="connsiteX8555" fmla="*/ 532747 w 2417513"/>
                  <a:gd name="connsiteY8555" fmla="*/ 768210 h 1867037"/>
                  <a:gd name="connsiteX8556" fmla="*/ 526989 w 2417513"/>
                  <a:gd name="connsiteY8556" fmla="*/ 767149 h 1867037"/>
                  <a:gd name="connsiteX8557" fmla="*/ 518050 w 2417513"/>
                  <a:gd name="connsiteY8557" fmla="*/ 766240 h 1867037"/>
                  <a:gd name="connsiteX8558" fmla="*/ 509413 w 2417513"/>
                  <a:gd name="connsiteY8558" fmla="*/ 766543 h 1867037"/>
                  <a:gd name="connsiteX8559" fmla="*/ 500776 w 2417513"/>
                  <a:gd name="connsiteY8559" fmla="*/ 766089 h 1867037"/>
                  <a:gd name="connsiteX8560" fmla="*/ 498503 w 2417513"/>
                  <a:gd name="connsiteY8560" fmla="*/ 766543 h 1867037"/>
                  <a:gd name="connsiteX8561" fmla="*/ 493806 w 2417513"/>
                  <a:gd name="connsiteY8561" fmla="*/ 766089 h 1867037"/>
                  <a:gd name="connsiteX8562" fmla="*/ 491988 w 2417513"/>
                  <a:gd name="connsiteY8562" fmla="*/ 766543 h 1867037"/>
                  <a:gd name="connsiteX8563" fmla="*/ 490624 w 2417513"/>
                  <a:gd name="connsiteY8563" fmla="*/ 767907 h 1867037"/>
                  <a:gd name="connsiteX8564" fmla="*/ 489715 w 2417513"/>
                  <a:gd name="connsiteY8564" fmla="*/ 770028 h 1867037"/>
                  <a:gd name="connsiteX8565" fmla="*/ 488806 w 2417513"/>
                  <a:gd name="connsiteY8565" fmla="*/ 775180 h 1867037"/>
                  <a:gd name="connsiteX8566" fmla="*/ 486988 w 2417513"/>
                  <a:gd name="connsiteY8566" fmla="*/ 779574 h 1867037"/>
                  <a:gd name="connsiteX8567" fmla="*/ 485776 w 2417513"/>
                  <a:gd name="connsiteY8567" fmla="*/ 780483 h 1867037"/>
                  <a:gd name="connsiteX8568" fmla="*/ 482745 w 2417513"/>
                  <a:gd name="connsiteY8568" fmla="*/ 781544 h 1867037"/>
                  <a:gd name="connsiteX8569" fmla="*/ 480018 w 2417513"/>
                  <a:gd name="connsiteY8569" fmla="*/ 785332 h 1867037"/>
                  <a:gd name="connsiteX8570" fmla="*/ 478200 w 2417513"/>
                  <a:gd name="connsiteY8570" fmla="*/ 786847 h 1867037"/>
                  <a:gd name="connsiteX8571" fmla="*/ 475927 w 2417513"/>
                  <a:gd name="connsiteY8571" fmla="*/ 787453 h 1867037"/>
                  <a:gd name="connsiteX8572" fmla="*/ 463805 w 2417513"/>
                  <a:gd name="connsiteY8572" fmla="*/ 787605 h 1867037"/>
                  <a:gd name="connsiteX8573" fmla="*/ 462138 w 2417513"/>
                  <a:gd name="connsiteY8573" fmla="*/ 788211 h 1867037"/>
                  <a:gd name="connsiteX8574" fmla="*/ 455926 w 2417513"/>
                  <a:gd name="connsiteY8574" fmla="*/ 787908 h 1867037"/>
                  <a:gd name="connsiteX8575" fmla="*/ 453502 w 2417513"/>
                  <a:gd name="connsiteY8575" fmla="*/ 787150 h 1867037"/>
                  <a:gd name="connsiteX8576" fmla="*/ 452290 w 2417513"/>
                  <a:gd name="connsiteY8576" fmla="*/ 786089 h 1867037"/>
                  <a:gd name="connsiteX8577" fmla="*/ 451986 w 2417513"/>
                  <a:gd name="connsiteY8577" fmla="*/ 784877 h 1867037"/>
                  <a:gd name="connsiteX8578" fmla="*/ 452744 w 2417513"/>
                  <a:gd name="connsiteY8578" fmla="*/ 783513 h 1867037"/>
                  <a:gd name="connsiteX8579" fmla="*/ 454259 w 2417513"/>
                  <a:gd name="connsiteY8579" fmla="*/ 781695 h 1867037"/>
                  <a:gd name="connsiteX8580" fmla="*/ 461381 w 2417513"/>
                  <a:gd name="connsiteY8580" fmla="*/ 773968 h 1867037"/>
                  <a:gd name="connsiteX8581" fmla="*/ 461835 w 2417513"/>
                  <a:gd name="connsiteY8581" fmla="*/ 772149 h 1867037"/>
                  <a:gd name="connsiteX8582" fmla="*/ 455623 w 2417513"/>
                  <a:gd name="connsiteY8582" fmla="*/ 770028 h 1867037"/>
                  <a:gd name="connsiteX8583" fmla="*/ 454108 w 2417513"/>
                  <a:gd name="connsiteY8583" fmla="*/ 768361 h 1867037"/>
                  <a:gd name="connsiteX8584" fmla="*/ 452290 w 2417513"/>
                  <a:gd name="connsiteY8584" fmla="*/ 760937 h 1867037"/>
                  <a:gd name="connsiteX8585" fmla="*/ 452441 w 2417513"/>
                  <a:gd name="connsiteY8585" fmla="*/ 757755 h 1867037"/>
                  <a:gd name="connsiteX8586" fmla="*/ 453199 w 2417513"/>
                  <a:gd name="connsiteY8586" fmla="*/ 753815 h 1867037"/>
                  <a:gd name="connsiteX8587" fmla="*/ 453047 w 2417513"/>
                  <a:gd name="connsiteY8587" fmla="*/ 751391 h 1867037"/>
                  <a:gd name="connsiteX8588" fmla="*/ 451532 w 2417513"/>
                  <a:gd name="connsiteY8588" fmla="*/ 749876 h 1867037"/>
                  <a:gd name="connsiteX8589" fmla="*/ 450168 w 2417513"/>
                  <a:gd name="connsiteY8589" fmla="*/ 749421 h 1867037"/>
                  <a:gd name="connsiteX8590" fmla="*/ 447895 w 2417513"/>
                  <a:gd name="connsiteY8590" fmla="*/ 749876 h 1867037"/>
                  <a:gd name="connsiteX8591" fmla="*/ 446077 w 2417513"/>
                  <a:gd name="connsiteY8591" fmla="*/ 751088 h 1867037"/>
                  <a:gd name="connsiteX8592" fmla="*/ 444865 w 2417513"/>
                  <a:gd name="connsiteY8592" fmla="*/ 753209 h 1867037"/>
                  <a:gd name="connsiteX8593" fmla="*/ 439259 w 2417513"/>
                  <a:gd name="connsiteY8593" fmla="*/ 755028 h 1867037"/>
                  <a:gd name="connsiteX8594" fmla="*/ 438198 w 2417513"/>
                  <a:gd name="connsiteY8594" fmla="*/ 755785 h 1867037"/>
                  <a:gd name="connsiteX8595" fmla="*/ 438956 w 2417513"/>
                  <a:gd name="connsiteY8595" fmla="*/ 756543 h 1867037"/>
                  <a:gd name="connsiteX8596" fmla="*/ 440168 w 2417513"/>
                  <a:gd name="connsiteY8596" fmla="*/ 756846 h 1867037"/>
                  <a:gd name="connsiteX8597" fmla="*/ 441683 w 2417513"/>
                  <a:gd name="connsiteY8597" fmla="*/ 756846 h 1867037"/>
                  <a:gd name="connsiteX8598" fmla="*/ 444259 w 2417513"/>
                  <a:gd name="connsiteY8598" fmla="*/ 757603 h 1867037"/>
                  <a:gd name="connsiteX8599" fmla="*/ 443501 w 2417513"/>
                  <a:gd name="connsiteY8599" fmla="*/ 758664 h 1867037"/>
                  <a:gd name="connsiteX8600" fmla="*/ 440925 w 2417513"/>
                  <a:gd name="connsiteY8600" fmla="*/ 760331 h 1867037"/>
                  <a:gd name="connsiteX8601" fmla="*/ 438804 w 2417513"/>
                  <a:gd name="connsiteY8601" fmla="*/ 762301 h 1867037"/>
                  <a:gd name="connsiteX8602" fmla="*/ 437137 w 2417513"/>
                  <a:gd name="connsiteY8602" fmla="*/ 764725 h 1867037"/>
                  <a:gd name="connsiteX8603" fmla="*/ 435774 w 2417513"/>
                  <a:gd name="connsiteY8603" fmla="*/ 766089 h 1867037"/>
                  <a:gd name="connsiteX8604" fmla="*/ 434865 w 2417513"/>
                  <a:gd name="connsiteY8604" fmla="*/ 766240 h 1867037"/>
                  <a:gd name="connsiteX8605" fmla="*/ 432440 w 2417513"/>
                  <a:gd name="connsiteY8605" fmla="*/ 765634 h 1867037"/>
                  <a:gd name="connsiteX8606" fmla="*/ 431683 w 2417513"/>
                  <a:gd name="connsiteY8606" fmla="*/ 769119 h 1867037"/>
                  <a:gd name="connsiteX8607" fmla="*/ 431986 w 2417513"/>
                  <a:gd name="connsiteY8607" fmla="*/ 770331 h 1867037"/>
                  <a:gd name="connsiteX8608" fmla="*/ 428501 w 2417513"/>
                  <a:gd name="connsiteY8608" fmla="*/ 773665 h 1867037"/>
                  <a:gd name="connsiteX8609" fmla="*/ 428198 w 2417513"/>
                  <a:gd name="connsiteY8609" fmla="*/ 775483 h 1867037"/>
                  <a:gd name="connsiteX8610" fmla="*/ 430774 w 2417513"/>
                  <a:gd name="connsiteY8610" fmla="*/ 778362 h 1867037"/>
                  <a:gd name="connsiteX8611" fmla="*/ 433349 w 2417513"/>
                  <a:gd name="connsiteY8611" fmla="*/ 782604 h 1867037"/>
                  <a:gd name="connsiteX8612" fmla="*/ 433198 w 2417513"/>
                  <a:gd name="connsiteY8612" fmla="*/ 785180 h 1867037"/>
                  <a:gd name="connsiteX8613" fmla="*/ 427289 w 2417513"/>
                  <a:gd name="connsiteY8613" fmla="*/ 788968 h 1867037"/>
                  <a:gd name="connsiteX8614" fmla="*/ 423501 w 2417513"/>
                  <a:gd name="connsiteY8614" fmla="*/ 788817 h 1867037"/>
                  <a:gd name="connsiteX8615" fmla="*/ 417894 w 2417513"/>
                  <a:gd name="connsiteY8615" fmla="*/ 787453 h 1867037"/>
                  <a:gd name="connsiteX8616" fmla="*/ 413046 w 2417513"/>
                  <a:gd name="connsiteY8616" fmla="*/ 785635 h 1867037"/>
                  <a:gd name="connsiteX8617" fmla="*/ 408803 w 2417513"/>
                  <a:gd name="connsiteY8617" fmla="*/ 783210 h 1867037"/>
                  <a:gd name="connsiteX8618" fmla="*/ 403651 w 2417513"/>
                  <a:gd name="connsiteY8618" fmla="*/ 779422 h 1867037"/>
                  <a:gd name="connsiteX8619" fmla="*/ 393803 w 2417513"/>
                  <a:gd name="connsiteY8619" fmla="*/ 770483 h 1867037"/>
                  <a:gd name="connsiteX8620" fmla="*/ 391833 w 2417513"/>
                  <a:gd name="connsiteY8620" fmla="*/ 768210 h 1867037"/>
                  <a:gd name="connsiteX8621" fmla="*/ 389863 w 2417513"/>
                  <a:gd name="connsiteY8621" fmla="*/ 764422 h 1867037"/>
                  <a:gd name="connsiteX8622" fmla="*/ 387742 w 2417513"/>
                  <a:gd name="connsiteY8622" fmla="*/ 759270 h 1867037"/>
                  <a:gd name="connsiteX8623" fmla="*/ 385166 w 2417513"/>
                  <a:gd name="connsiteY8623" fmla="*/ 754270 h 1867037"/>
                  <a:gd name="connsiteX8624" fmla="*/ 379408 w 2417513"/>
                  <a:gd name="connsiteY8624" fmla="*/ 745482 h 1867037"/>
                  <a:gd name="connsiteX8625" fmla="*/ 376984 w 2417513"/>
                  <a:gd name="connsiteY8625" fmla="*/ 742754 h 1867037"/>
                  <a:gd name="connsiteX8626" fmla="*/ 372893 w 2417513"/>
                  <a:gd name="connsiteY8626" fmla="*/ 739118 h 1867037"/>
                  <a:gd name="connsiteX8627" fmla="*/ 362589 w 2417513"/>
                  <a:gd name="connsiteY8627" fmla="*/ 731845 h 1867037"/>
                  <a:gd name="connsiteX8628" fmla="*/ 359559 w 2417513"/>
                  <a:gd name="connsiteY8628" fmla="*/ 730330 h 1867037"/>
                  <a:gd name="connsiteX8629" fmla="*/ 356074 w 2417513"/>
                  <a:gd name="connsiteY8629" fmla="*/ 729118 h 1867037"/>
                  <a:gd name="connsiteX8630" fmla="*/ 354710 w 2417513"/>
                  <a:gd name="connsiteY8630" fmla="*/ 729421 h 1867037"/>
                  <a:gd name="connsiteX8631" fmla="*/ 352286 w 2417513"/>
                  <a:gd name="connsiteY8631" fmla="*/ 731542 h 1867037"/>
                  <a:gd name="connsiteX8632" fmla="*/ 351225 w 2417513"/>
                  <a:gd name="connsiteY8632" fmla="*/ 733663 h 1867037"/>
                  <a:gd name="connsiteX8633" fmla="*/ 351225 w 2417513"/>
                  <a:gd name="connsiteY8633" fmla="*/ 736694 h 1867037"/>
                  <a:gd name="connsiteX8634" fmla="*/ 352589 w 2417513"/>
                  <a:gd name="connsiteY8634" fmla="*/ 737754 h 1867037"/>
                  <a:gd name="connsiteX8635" fmla="*/ 356225 w 2417513"/>
                  <a:gd name="connsiteY8635" fmla="*/ 739421 h 1867037"/>
                  <a:gd name="connsiteX8636" fmla="*/ 354710 w 2417513"/>
                  <a:gd name="connsiteY8636" fmla="*/ 741088 h 1867037"/>
                  <a:gd name="connsiteX8637" fmla="*/ 355013 w 2417513"/>
                  <a:gd name="connsiteY8637" fmla="*/ 741694 h 1867037"/>
                  <a:gd name="connsiteX8638" fmla="*/ 356680 w 2417513"/>
                  <a:gd name="connsiteY8638" fmla="*/ 742754 h 1867037"/>
                  <a:gd name="connsiteX8639" fmla="*/ 364559 w 2417513"/>
                  <a:gd name="connsiteY8639" fmla="*/ 744421 h 1867037"/>
                  <a:gd name="connsiteX8640" fmla="*/ 362286 w 2417513"/>
                  <a:gd name="connsiteY8640" fmla="*/ 746391 h 1867037"/>
                  <a:gd name="connsiteX8641" fmla="*/ 353195 w 2417513"/>
                  <a:gd name="connsiteY8641" fmla="*/ 749421 h 1867037"/>
                  <a:gd name="connsiteX8642" fmla="*/ 348195 w 2417513"/>
                  <a:gd name="connsiteY8642" fmla="*/ 751997 h 1867037"/>
                  <a:gd name="connsiteX8643" fmla="*/ 345922 w 2417513"/>
                  <a:gd name="connsiteY8643" fmla="*/ 757906 h 1867037"/>
                  <a:gd name="connsiteX8644" fmla="*/ 345164 w 2417513"/>
                  <a:gd name="connsiteY8644" fmla="*/ 759270 h 1867037"/>
                  <a:gd name="connsiteX8645" fmla="*/ 336376 w 2417513"/>
                  <a:gd name="connsiteY8645" fmla="*/ 766543 h 1867037"/>
                  <a:gd name="connsiteX8646" fmla="*/ 332285 w 2417513"/>
                  <a:gd name="connsiteY8646" fmla="*/ 769422 h 1867037"/>
                  <a:gd name="connsiteX8647" fmla="*/ 329103 w 2417513"/>
                  <a:gd name="connsiteY8647" fmla="*/ 771240 h 1867037"/>
                  <a:gd name="connsiteX8648" fmla="*/ 326830 w 2417513"/>
                  <a:gd name="connsiteY8648" fmla="*/ 771846 h 1867037"/>
                  <a:gd name="connsiteX8649" fmla="*/ 325467 w 2417513"/>
                  <a:gd name="connsiteY8649" fmla="*/ 771089 h 1867037"/>
                  <a:gd name="connsiteX8650" fmla="*/ 324558 w 2417513"/>
                  <a:gd name="connsiteY8650" fmla="*/ 769422 h 1867037"/>
                  <a:gd name="connsiteX8651" fmla="*/ 323951 w 2417513"/>
                  <a:gd name="connsiteY8651" fmla="*/ 766998 h 1867037"/>
                  <a:gd name="connsiteX8652" fmla="*/ 324558 w 2417513"/>
                  <a:gd name="connsiteY8652" fmla="*/ 765483 h 1867037"/>
                  <a:gd name="connsiteX8653" fmla="*/ 330012 w 2417513"/>
                  <a:gd name="connsiteY8653" fmla="*/ 763361 h 1867037"/>
                  <a:gd name="connsiteX8654" fmla="*/ 330618 w 2417513"/>
                  <a:gd name="connsiteY8654" fmla="*/ 762452 h 1867037"/>
                  <a:gd name="connsiteX8655" fmla="*/ 331527 w 2417513"/>
                  <a:gd name="connsiteY8655" fmla="*/ 759119 h 1867037"/>
                  <a:gd name="connsiteX8656" fmla="*/ 331073 w 2417513"/>
                  <a:gd name="connsiteY8656" fmla="*/ 758967 h 1867037"/>
                  <a:gd name="connsiteX8657" fmla="*/ 328800 w 2417513"/>
                  <a:gd name="connsiteY8657" fmla="*/ 760634 h 1867037"/>
                  <a:gd name="connsiteX8658" fmla="*/ 327436 w 2417513"/>
                  <a:gd name="connsiteY8658" fmla="*/ 761998 h 1867037"/>
                  <a:gd name="connsiteX8659" fmla="*/ 325315 w 2417513"/>
                  <a:gd name="connsiteY8659" fmla="*/ 763058 h 1867037"/>
                  <a:gd name="connsiteX8660" fmla="*/ 321073 w 2417513"/>
                  <a:gd name="connsiteY8660" fmla="*/ 764422 h 1867037"/>
                  <a:gd name="connsiteX8661" fmla="*/ 312739 w 2417513"/>
                  <a:gd name="connsiteY8661" fmla="*/ 765786 h 1867037"/>
                  <a:gd name="connsiteX8662" fmla="*/ 297890 w 2417513"/>
                  <a:gd name="connsiteY8662" fmla="*/ 770786 h 1867037"/>
                  <a:gd name="connsiteX8663" fmla="*/ 291374 w 2417513"/>
                  <a:gd name="connsiteY8663" fmla="*/ 773968 h 1867037"/>
                  <a:gd name="connsiteX8664" fmla="*/ 286980 w 2417513"/>
                  <a:gd name="connsiteY8664" fmla="*/ 778210 h 1867037"/>
                  <a:gd name="connsiteX8665" fmla="*/ 283041 w 2417513"/>
                  <a:gd name="connsiteY8665" fmla="*/ 782453 h 1867037"/>
                  <a:gd name="connsiteX8666" fmla="*/ 277131 w 2417513"/>
                  <a:gd name="connsiteY8666" fmla="*/ 790332 h 1867037"/>
                  <a:gd name="connsiteX8667" fmla="*/ 276071 w 2417513"/>
                  <a:gd name="connsiteY8667" fmla="*/ 791999 h 1867037"/>
                  <a:gd name="connsiteX8668" fmla="*/ 274556 w 2417513"/>
                  <a:gd name="connsiteY8668" fmla="*/ 795635 h 1867037"/>
                  <a:gd name="connsiteX8669" fmla="*/ 274253 w 2417513"/>
                  <a:gd name="connsiteY8669" fmla="*/ 793514 h 1867037"/>
                  <a:gd name="connsiteX8670" fmla="*/ 274101 w 2417513"/>
                  <a:gd name="connsiteY8670" fmla="*/ 788211 h 1867037"/>
                  <a:gd name="connsiteX8671" fmla="*/ 273343 w 2417513"/>
                  <a:gd name="connsiteY8671" fmla="*/ 785029 h 1867037"/>
                  <a:gd name="connsiteX8672" fmla="*/ 271980 w 2417513"/>
                  <a:gd name="connsiteY8672" fmla="*/ 783968 h 1867037"/>
                  <a:gd name="connsiteX8673" fmla="*/ 270616 w 2417513"/>
                  <a:gd name="connsiteY8673" fmla="*/ 783513 h 1867037"/>
                  <a:gd name="connsiteX8674" fmla="*/ 269252 w 2417513"/>
                  <a:gd name="connsiteY8674" fmla="*/ 783665 h 1867037"/>
                  <a:gd name="connsiteX8675" fmla="*/ 267889 w 2417513"/>
                  <a:gd name="connsiteY8675" fmla="*/ 784726 h 1867037"/>
                  <a:gd name="connsiteX8676" fmla="*/ 265616 w 2417513"/>
                  <a:gd name="connsiteY8676" fmla="*/ 788059 h 1867037"/>
                  <a:gd name="connsiteX8677" fmla="*/ 264707 w 2417513"/>
                  <a:gd name="connsiteY8677" fmla="*/ 788211 h 1867037"/>
                  <a:gd name="connsiteX8678" fmla="*/ 265313 w 2417513"/>
                  <a:gd name="connsiteY8678" fmla="*/ 785635 h 1867037"/>
                  <a:gd name="connsiteX8679" fmla="*/ 264252 w 2417513"/>
                  <a:gd name="connsiteY8679" fmla="*/ 784574 h 1867037"/>
                  <a:gd name="connsiteX8680" fmla="*/ 258191 w 2417513"/>
                  <a:gd name="connsiteY8680" fmla="*/ 783362 h 1867037"/>
                  <a:gd name="connsiteX8681" fmla="*/ 256525 w 2417513"/>
                  <a:gd name="connsiteY8681" fmla="*/ 783513 h 1867037"/>
                  <a:gd name="connsiteX8682" fmla="*/ 252282 w 2417513"/>
                  <a:gd name="connsiteY8682" fmla="*/ 784877 h 1867037"/>
                  <a:gd name="connsiteX8683" fmla="*/ 251373 w 2417513"/>
                  <a:gd name="connsiteY8683" fmla="*/ 786392 h 1867037"/>
                  <a:gd name="connsiteX8684" fmla="*/ 252434 w 2417513"/>
                  <a:gd name="connsiteY8684" fmla="*/ 786847 h 1867037"/>
                  <a:gd name="connsiteX8685" fmla="*/ 252282 w 2417513"/>
                  <a:gd name="connsiteY8685" fmla="*/ 787756 h 1867037"/>
                  <a:gd name="connsiteX8686" fmla="*/ 251070 w 2417513"/>
                  <a:gd name="connsiteY8686" fmla="*/ 789423 h 1867037"/>
                  <a:gd name="connsiteX8687" fmla="*/ 248646 w 2417513"/>
                  <a:gd name="connsiteY8687" fmla="*/ 791696 h 1867037"/>
                  <a:gd name="connsiteX8688" fmla="*/ 242736 w 2417513"/>
                  <a:gd name="connsiteY8688" fmla="*/ 794423 h 1867037"/>
                  <a:gd name="connsiteX8689" fmla="*/ 240615 w 2417513"/>
                  <a:gd name="connsiteY8689" fmla="*/ 795938 h 1867037"/>
                  <a:gd name="connsiteX8690" fmla="*/ 236675 w 2417513"/>
                  <a:gd name="connsiteY8690" fmla="*/ 797605 h 1867037"/>
                  <a:gd name="connsiteX8691" fmla="*/ 231524 w 2417513"/>
                  <a:gd name="connsiteY8691" fmla="*/ 798817 h 1867037"/>
                  <a:gd name="connsiteX8692" fmla="*/ 226827 w 2417513"/>
                  <a:gd name="connsiteY8692" fmla="*/ 801847 h 1867037"/>
                  <a:gd name="connsiteX8693" fmla="*/ 225766 w 2417513"/>
                  <a:gd name="connsiteY8693" fmla="*/ 803666 h 1867037"/>
                  <a:gd name="connsiteX8694" fmla="*/ 225311 w 2417513"/>
                  <a:gd name="connsiteY8694" fmla="*/ 805029 h 1867037"/>
                  <a:gd name="connsiteX8695" fmla="*/ 225463 w 2417513"/>
                  <a:gd name="connsiteY8695" fmla="*/ 806999 h 1867037"/>
                  <a:gd name="connsiteX8696" fmla="*/ 226220 w 2417513"/>
                  <a:gd name="connsiteY8696" fmla="*/ 809423 h 1867037"/>
                  <a:gd name="connsiteX8697" fmla="*/ 227130 w 2417513"/>
                  <a:gd name="connsiteY8697" fmla="*/ 810636 h 1867037"/>
                  <a:gd name="connsiteX8698" fmla="*/ 231524 w 2417513"/>
                  <a:gd name="connsiteY8698" fmla="*/ 810939 h 1867037"/>
                  <a:gd name="connsiteX8699" fmla="*/ 231827 w 2417513"/>
                  <a:gd name="connsiteY8699" fmla="*/ 811696 h 1867037"/>
                  <a:gd name="connsiteX8700" fmla="*/ 230615 w 2417513"/>
                  <a:gd name="connsiteY8700" fmla="*/ 813060 h 1867037"/>
                  <a:gd name="connsiteX8701" fmla="*/ 227130 w 2417513"/>
                  <a:gd name="connsiteY8701" fmla="*/ 814575 h 1867037"/>
                  <a:gd name="connsiteX8702" fmla="*/ 210765 w 2417513"/>
                  <a:gd name="connsiteY8702" fmla="*/ 813060 h 1867037"/>
                  <a:gd name="connsiteX8703" fmla="*/ 209856 w 2417513"/>
                  <a:gd name="connsiteY8703" fmla="*/ 813666 h 1867037"/>
                  <a:gd name="connsiteX8704" fmla="*/ 210311 w 2417513"/>
                  <a:gd name="connsiteY8704" fmla="*/ 814424 h 1867037"/>
                  <a:gd name="connsiteX8705" fmla="*/ 213796 w 2417513"/>
                  <a:gd name="connsiteY8705" fmla="*/ 816545 h 1867037"/>
                  <a:gd name="connsiteX8706" fmla="*/ 215311 w 2417513"/>
                  <a:gd name="connsiteY8706" fmla="*/ 817909 h 1867037"/>
                  <a:gd name="connsiteX8707" fmla="*/ 213644 w 2417513"/>
                  <a:gd name="connsiteY8707" fmla="*/ 818212 h 1867037"/>
                  <a:gd name="connsiteX8708" fmla="*/ 209553 w 2417513"/>
                  <a:gd name="connsiteY8708" fmla="*/ 816848 h 1867037"/>
                  <a:gd name="connsiteX8709" fmla="*/ 208796 w 2417513"/>
                  <a:gd name="connsiteY8709" fmla="*/ 815939 h 1867037"/>
                  <a:gd name="connsiteX8710" fmla="*/ 207583 w 2417513"/>
                  <a:gd name="connsiteY8710" fmla="*/ 813211 h 1867037"/>
                  <a:gd name="connsiteX8711" fmla="*/ 208644 w 2417513"/>
                  <a:gd name="connsiteY8711" fmla="*/ 811242 h 1867037"/>
                  <a:gd name="connsiteX8712" fmla="*/ 212735 w 2417513"/>
                  <a:gd name="connsiteY8712" fmla="*/ 807454 h 1867037"/>
                  <a:gd name="connsiteX8713" fmla="*/ 216523 w 2417513"/>
                  <a:gd name="connsiteY8713" fmla="*/ 804423 h 1867037"/>
                  <a:gd name="connsiteX8714" fmla="*/ 219857 w 2417513"/>
                  <a:gd name="connsiteY8714" fmla="*/ 800938 h 1867037"/>
                  <a:gd name="connsiteX8715" fmla="*/ 223948 w 2417513"/>
                  <a:gd name="connsiteY8715" fmla="*/ 795938 h 1867037"/>
                  <a:gd name="connsiteX8716" fmla="*/ 227584 w 2417513"/>
                  <a:gd name="connsiteY8716" fmla="*/ 793362 h 1867037"/>
                  <a:gd name="connsiteX8717" fmla="*/ 233191 w 2417513"/>
                  <a:gd name="connsiteY8717" fmla="*/ 792756 h 1867037"/>
                  <a:gd name="connsiteX8718" fmla="*/ 237282 w 2417513"/>
                  <a:gd name="connsiteY8718" fmla="*/ 790786 h 1867037"/>
                  <a:gd name="connsiteX8719" fmla="*/ 240918 w 2417513"/>
                  <a:gd name="connsiteY8719" fmla="*/ 788059 h 1867037"/>
                  <a:gd name="connsiteX8720" fmla="*/ 242736 w 2417513"/>
                  <a:gd name="connsiteY8720" fmla="*/ 786241 h 1867037"/>
                  <a:gd name="connsiteX8721" fmla="*/ 246524 w 2417513"/>
                  <a:gd name="connsiteY8721" fmla="*/ 780635 h 1867037"/>
                  <a:gd name="connsiteX8722" fmla="*/ 247888 w 2417513"/>
                  <a:gd name="connsiteY8722" fmla="*/ 779877 h 1867037"/>
                  <a:gd name="connsiteX8723" fmla="*/ 250009 w 2417513"/>
                  <a:gd name="connsiteY8723" fmla="*/ 779119 h 1867037"/>
                  <a:gd name="connsiteX8724" fmla="*/ 260616 w 2417513"/>
                  <a:gd name="connsiteY8724" fmla="*/ 777604 h 1867037"/>
                  <a:gd name="connsiteX8725" fmla="*/ 265161 w 2417513"/>
                  <a:gd name="connsiteY8725" fmla="*/ 776695 h 1867037"/>
                  <a:gd name="connsiteX8726" fmla="*/ 267889 w 2417513"/>
                  <a:gd name="connsiteY8726" fmla="*/ 775786 h 1867037"/>
                  <a:gd name="connsiteX8727" fmla="*/ 274707 w 2417513"/>
                  <a:gd name="connsiteY8727" fmla="*/ 775028 h 1867037"/>
                  <a:gd name="connsiteX8728" fmla="*/ 278192 w 2417513"/>
                  <a:gd name="connsiteY8728" fmla="*/ 774119 h 1867037"/>
                  <a:gd name="connsiteX8729" fmla="*/ 281526 w 2417513"/>
                  <a:gd name="connsiteY8729" fmla="*/ 772452 h 1867037"/>
                  <a:gd name="connsiteX8730" fmla="*/ 288344 w 2417513"/>
                  <a:gd name="connsiteY8730" fmla="*/ 767907 h 1867037"/>
                  <a:gd name="connsiteX8731" fmla="*/ 310466 w 2417513"/>
                  <a:gd name="connsiteY8731" fmla="*/ 757300 h 1867037"/>
                  <a:gd name="connsiteX8732" fmla="*/ 313496 w 2417513"/>
                  <a:gd name="connsiteY8732" fmla="*/ 753512 h 1867037"/>
                  <a:gd name="connsiteX8733" fmla="*/ 313496 w 2417513"/>
                  <a:gd name="connsiteY8733" fmla="*/ 751997 h 1867037"/>
                  <a:gd name="connsiteX8734" fmla="*/ 311224 w 2417513"/>
                  <a:gd name="connsiteY8734" fmla="*/ 748967 h 1867037"/>
                  <a:gd name="connsiteX8735" fmla="*/ 309708 w 2417513"/>
                  <a:gd name="connsiteY8735" fmla="*/ 747755 h 1867037"/>
                  <a:gd name="connsiteX8736" fmla="*/ 308193 w 2417513"/>
                  <a:gd name="connsiteY8736" fmla="*/ 747755 h 1867037"/>
                  <a:gd name="connsiteX8737" fmla="*/ 303648 w 2417513"/>
                  <a:gd name="connsiteY8737" fmla="*/ 751997 h 1867037"/>
                  <a:gd name="connsiteX8738" fmla="*/ 302436 w 2417513"/>
                  <a:gd name="connsiteY8738" fmla="*/ 752755 h 1867037"/>
                  <a:gd name="connsiteX8739" fmla="*/ 299708 w 2417513"/>
                  <a:gd name="connsiteY8739" fmla="*/ 752603 h 1867037"/>
                  <a:gd name="connsiteX8740" fmla="*/ 296072 w 2417513"/>
                  <a:gd name="connsiteY8740" fmla="*/ 753058 h 1867037"/>
                  <a:gd name="connsiteX8741" fmla="*/ 293344 w 2417513"/>
                  <a:gd name="connsiteY8741" fmla="*/ 752452 h 1867037"/>
                  <a:gd name="connsiteX8742" fmla="*/ 290011 w 2417513"/>
                  <a:gd name="connsiteY8742" fmla="*/ 750936 h 1867037"/>
                  <a:gd name="connsiteX8743" fmla="*/ 287283 w 2417513"/>
                  <a:gd name="connsiteY8743" fmla="*/ 750179 h 1867037"/>
                  <a:gd name="connsiteX8744" fmla="*/ 282738 w 2417513"/>
                  <a:gd name="connsiteY8744" fmla="*/ 750936 h 1867037"/>
                  <a:gd name="connsiteX8745" fmla="*/ 275616 w 2417513"/>
                  <a:gd name="connsiteY8745" fmla="*/ 754573 h 1867037"/>
                  <a:gd name="connsiteX8746" fmla="*/ 273798 w 2417513"/>
                  <a:gd name="connsiteY8746" fmla="*/ 756240 h 1867037"/>
                  <a:gd name="connsiteX8747" fmla="*/ 272737 w 2417513"/>
                  <a:gd name="connsiteY8747" fmla="*/ 758058 h 1867037"/>
                  <a:gd name="connsiteX8748" fmla="*/ 269859 w 2417513"/>
                  <a:gd name="connsiteY8748" fmla="*/ 761543 h 1867037"/>
                  <a:gd name="connsiteX8749" fmla="*/ 267737 w 2417513"/>
                  <a:gd name="connsiteY8749" fmla="*/ 761846 h 1867037"/>
                  <a:gd name="connsiteX8750" fmla="*/ 264858 w 2417513"/>
                  <a:gd name="connsiteY8750" fmla="*/ 760634 h 1867037"/>
                  <a:gd name="connsiteX8751" fmla="*/ 261525 w 2417513"/>
                  <a:gd name="connsiteY8751" fmla="*/ 760937 h 1867037"/>
                  <a:gd name="connsiteX8752" fmla="*/ 257737 w 2417513"/>
                  <a:gd name="connsiteY8752" fmla="*/ 762755 h 1867037"/>
                  <a:gd name="connsiteX8753" fmla="*/ 248039 w 2417513"/>
                  <a:gd name="connsiteY8753" fmla="*/ 768967 h 1867037"/>
                  <a:gd name="connsiteX8754" fmla="*/ 241827 w 2417513"/>
                  <a:gd name="connsiteY8754" fmla="*/ 771392 h 1867037"/>
                  <a:gd name="connsiteX8755" fmla="*/ 240009 w 2417513"/>
                  <a:gd name="connsiteY8755" fmla="*/ 771240 h 1867037"/>
                  <a:gd name="connsiteX8756" fmla="*/ 237282 w 2417513"/>
                  <a:gd name="connsiteY8756" fmla="*/ 769271 h 1867037"/>
                  <a:gd name="connsiteX8757" fmla="*/ 233039 w 2417513"/>
                  <a:gd name="connsiteY8757" fmla="*/ 769877 h 1867037"/>
                  <a:gd name="connsiteX8758" fmla="*/ 231675 w 2417513"/>
                  <a:gd name="connsiteY8758" fmla="*/ 770483 h 1867037"/>
                  <a:gd name="connsiteX8759" fmla="*/ 230766 w 2417513"/>
                  <a:gd name="connsiteY8759" fmla="*/ 771392 h 1867037"/>
                  <a:gd name="connsiteX8760" fmla="*/ 230766 w 2417513"/>
                  <a:gd name="connsiteY8760" fmla="*/ 771846 h 1867037"/>
                  <a:gd name="connsiteX8761" fmla="*/ 233191 w 2417513"/>
                  <a:gd name="connsiteY8761" fmla="*/ 772149 h 1867037"/>
                  <a:gd name="connsiteX8762" fmla="*/ 235009 w 2417513"/>
                  <a:gd name="connsiteY8762" fmla="*/ 773059 h 1867037"/>
                  <a:gd name="connsiteX8763" fmla="*/ 235312 w 2417513"/>
                  <a:gd name="connsiteY8763" fmla="*/ 773816 h 1867037"/>
                  <a:gd name="connsiteX8764" fmla="*/ 233948 w 2417513"/>
                  <a:gd name="connsiteY8764" fmla="*/ 774422 h 1867037"/>
                  <a:gd name="connsiteX8765" fmla="*/ 231978 w 2417513"/>
                  <a:gd name="connsiteY8765" fmla="*/ 774574 h 1867037"/>
                  <a:gd name="connsiteX8766" fmla="*/ 223342 w 2417513"/>
                  <a:gd name="connsiteY8766" fmla="*/ 774271 h 1867037"/>
                  <a:gd name="connsiteX8767" fmla="*/ 221220 w 2417513"/>
                  <a:gd name="connsiteY8767" fmla="*/ 775331 h 1867037"/>
                  <a:gd name="connsiteX8768" fmla="*/ 218190 w 2417513"/>
                  <a:gd name="connsiteY8768" fmla="*/ 781241 h 1867037"/>
                  <a:gd name="connsiteX8769" fmla="*/ 216675 w 2417513"/>
                  <a:gd name="connsiteY8769" fmla="*/ 783059 h 1867037"/>
                  <a:gd name="connsiteX8770" fmla="*/ 214553 w 2417513"/>
                  <a:gd name="connsiteY8770" fmla="*/ 784877 h 1867037"/>
                  <a:gd name="connsiteX8771" fmla="*/ 210917 w 2417513"/>
                  <a:gd name="connsiteY8771" fmla="*/ 785938 h 1867037"/>
                  <a:gd name="connsiteX8772" fmla="*/ 205917 w 2417513"/>
                  <a:gd name="connsiteY8772" fmla="*/ 786241 h 1867037"/>
                  <a:gd name="connsiteX8773" fmla="*/ 200007 w 2417513"/>
                  <a:gd name="connsiteY8773" fmla="*/ 788059 h 1867037"/>
                  <a:gd name="connsiteX8774" fmla="*/ 193037 w 2417513"/>
                  <a:gd name="connsiteY8774" fmla="*/ 791241 h 1867037"/>
                  <a:gd name="connsiteX8775" fmla="*/ 186825 w 2417513"/>
                  <a:gd name="connsiteY8775" fmla="*/ 793514 h 1867037"/>
                  <a:gd name="connsiteX8776" fmla="*/ 187128 w 2417513"/>
                  <a:gd name="connsiteY8776" fmla="*/ 792150 h 1867037"/>
                  <a:gd name="connsiteX8777" fmla="*/ 191068 w 2417513"/>
                  <a:gd name="connsiteY8777" fmla="*/ 786998 h 1867037"/>
                  <a:gd name="connsiteX8778" fmla="*/ 193037 w 2417513"/>
                  <a:gd name="connsiteY8778" fmla="*/ 785029 h 1867037"/>
                  <a:gd name="connsiteX8779" fmla="*/ 194856 w 2417513"/>
                  <a:gd name="connsiteY8779" fmla="*/ 781241 h 1867037"/>
                  <a:gd name="connsiteX8780" fmla="*/ 194250 w 2417513"/>
                  <a:gd name="connsiteY8780" fmla="*/ 780180 h 1867037"/>
                  <a:gd name="connsiteX8781" fmla="*/ 189401 w 2417513"/>
                  <a:gd name="connsiteY8781" fmla="*/ 778665 h 1867037"/>
                  <a:gd name="connsiteX8782" fmla="*/ 187886 w 2417513"/>
                  <a:gd name="connsiteY8782" fmla="*/ 777301 h 1867037"/>
                  <a:gd name="connsiteX8783" fmla="*/ 186371 w 2417513"/>
                  <a:gd name="connsiteY8783" fmla="*/ 774725 h 1867037"/>
                  <a:gd name="connsiteX8784" fmla="*/ 185007 w 2417513"/>
                  <a:gd name="connsiteY8784" fmla="*/ 773210 h 1867037"/>
                  <a:gd name="connsiteX8785" fmla="*/ 180461 w 2417513"/>
                  <a:gd name="connsiteY8785" fmla="*/ 772604 h 1867037"/>
                  <a:gd name="connsiteX8786" fmla="*/ 179249 w 2417513"/>
                  <a:gd name="connsiteY8786" fmla="*/ 773362 h 1867037"/>
                  <a:gd name="connsiteX8787" fmla="*/ 178643 w 2417513"/>
                  <a:gd name="connsiteY8787" fmla="*/ 774877 h 1867037"/>
                  <a:gd name="connsiteX8788" fmla="*/ 178037 w 2417513"/>
                  <a:gd name="connsiteY8788" fmla="*/ 777907 h 1867037"/>
                  <a:gd name="connsiteX8789" fmla="*/ 178188 w 2417513"/>
                  <a:gd name="connsiteY8789" fmla="*/ 779271 h 1867037"/>
                  <a:gd name="connsiteX8790" fmla="*/ 179098 w 2417513"/>
                  <a:gd name="connsiteY8790" fmla="*/ 782604 h 1867037"/>
                  <a:gd name="connsiteX8791" fmla="*/ 178037 w 2417513"/>
                  <a:gd name="connsiteY8791" fmla="*/ 783059 h 1867037"/>
                  <a:gd name="connsiteX8792" fmla="*/ 168188 w 2417513"/>
                  <a:gd name="connsiteY8792" fmla="*/ 782150 h 1867037"/>
                  <a:gd name="connsiteX8793" fmla="*/ 160309 w 2417513"/>
                  <a:gd name="connsiteY8793" fmla="*/ 783059 h 1867037"/>
                  <a:gd name="connsiteX8794" fmla="*/ 158642 w 2417513"/>
                  <a:gd name="connsiteY8794" fmla="*/ 783968 h 1867037"/>
                  <a:gd name="connsiteX8795" fmla="*/ 157733 w 2417513"/>
                  <a:gd name="connsiteY8795" fmla="*/ 785180 h 1867037"/>
                  <a:gd name="connsiteX8796" fmla="*/ 156976 w 2417513"/>
                  <a:gd name="connsiteY8796" fmla="*/ 790029 h 1867037"/>
                  <a:gd name="connsiteX8797" fmla="*/ 155915 w 2417513"/>
                  <a:gd name="connsiteY8797" fmla="*/ 790786 h 1867037"/>
                  <a:gd name="connsiteX8798" fmla="*/ 150309 w 2417513"/>
                  <a:gd name="connsiteY8798" fmla="*/ 789423 h 1867037"/>
                  <a:gd name="connsiteX8799" fmla="*/ 147127 w 2417513"/>
                  <a:gd name="connsiteY8799" fmla="*/ 791696 h 1867037"/>
                  <a:gd name="connsiteX8800" fmla="*/ 145005 w 2417513"/>
                  <a:gd name="connsiteY8800" fmla="*/ 790786 h 1867037"/>
                  <a:gd name="connsiteX8801" fmla="*/ 138945 w 2417513"/>
                  <a:gd name="connsiteY8801" fmla="*/ 800484 h 1867037"/>
                  <a:gd name="connsiteX8802" fmla="*/ 140611 w 2417513"/>
                  <a:gd name="connsiteY8802" fmla="*/ 801999 h 1867037"/>
                  <a:gd name="connsiteX8803" fmla="*/ 143490 w 2417513"/>
                  <a:gd name="connsiteY8803" fmla="*/ 803514 h 1867037"/>
                  <a:gd name="connsiteX8804" fmla="*/ 145915 w 2417513"/>
                  <a:gd name="connsiteY8804" fmla="*/ 804423 h 1867037"/>
                  <a:gd name="connsiteX8805" fmla="*/ 148036 w 2417513"/>
                  <a:gd name="connsiteY8805" fmla="*/ 804575 h 1867037"/>
                  <a:gd name="connsiteX8806" fmla="*/ 147581 w 2417513"/>
                  <a:gd name="connsiteY8806" fmla="*/ 805484 h 1867037"/>
                  <a:gd name="connsiteX8807" fmla="*/ 144702 w 2417513"/>
                  <a:gd name="connsiteY8807" fmla="*/ 805787 h 1867037"/>
                  <a:gd name="connsiteX8808" fmla="*/ 139854 w 2417513"/>
                  <a:gd name="connsiteY8808" fmla="*/ 805787 h 1867037"/>
                  <a:gd name="connsiteX8809" fmla="*/ 138490 w 2417513"/>
                  <a:gd name="connsiteY8809" fmla="*/ 806242 h 1867037"/>
                  <a:gd name="connsiteX8810" fmla="*/ 138035 w 2417513"/>
                  <a:gd name="connsiteY8810" fmla="*/ 807151 h 1867037"/>
                  <a:gd name="connsiteX8811" fmla="*/ 139248 w 2417513"/>
                  <a:gd name="connsiteY8811" fmla="*/ 809423 h 1867037"/>
                  <a:gd name="connsiteX8812" fmla="*/ 139702 w 2417513"/>
                  <a:gd name="connsiteY8812" fmla="*/ 809878 h 1867037"/>
                  <a:gd name="connsiteX8813" fmla="*/ 146218 w 2417513"/>
                  <a:gd name="connsiteY8813" fmla="*/ 811090 h 1867037"/>
                  <a:gd name="connsiteX8814" fmla="*/ 151824 w 2417513"/>
                  <a:gd name="connsiteY8814" fmla="*/ 813515 h 1867037"/>
                  <a:gd name="connsiteX8815" fmla="*/ 153188 w 2417513"/>
                  <a:gd name="connsiteY8815" fmla="*/ 813818 h 1867037"/>
                  <a:gd name="connsiteX8816" fmla="*/ 158036 w 2417513"/>
                  <a:gd name="connsiteY8816" fmla="*/ 820333 h 1867037"/>
                  <a:gd name="connsiteX8817" fmla="*/ 157279 w 2417513"/>
                  <a:gd name="connsiteY8817" fmla="*/ 820788 h 1867037"/>
                  <a:gd name="connsiteX8818" fmla="*/ 154400 w 2417513"/>
                  <a:gd name="connsiteY8818" fmla="*/ 820181 h 1867037"/>
                  <a:gd name="connsiteX8819" fmla="*/ 140611 w 2417513"/>
                  <a:gd name="connsiteY8819" fmla="*/ 813666 h 1867037"/>
                  <a:gd name="connsiteX8820" fmla="*/ 133641 w 2417513"/>
                  <a:gd name="connsiteY8820" fmla="*/ 811242 h 1867037"/>
                  <a:gd name="connsiteX8821" fmla="*/ 123338 w 2417513"/>
                  <a:gd name="connsiteY8821" fmla="*/ 810484 h 1867037"/>
                  <a:gd name="connsiteX8822" fmla="*/ 117429 w 2417513"/>
                  <a:gd name="connsiteY8822" fmla="*/ 810939 h 1867037"/>
                  <a:gd name="connsiteX8823" fmla="*/ 107731 w 2417513"/>
                  <a:gd name="connsiteY8823" fmla="*/ 807908 h 1867037"/>
                  <a:gd name="connsiteX8824" fmla="*/ 102580 w 2417513"/>
                  <a:gd name="connsiteY8824" fmla="*/ 807302 h 1867037"/>
                  <a:gd name="connsiteX8825" fmla="*/ 85761 w 2417513"/>
                  <a:gd name="connsiteY8825" fmla="*/ 801241 h 1867037"/>
                  <a:gd name="connsiteX8826" fmla="*/ 78639 w 2417513"/>
                  <a:gd name="connsiteY8826" fmla="*/ 798362 h 1867037"/>
                  <a:gd name="connsiteX8827" fmla="*/ 74245 w 2417513"/>
                  <a:gd name="connsiteY8827" fmla="*/ 795181 h 1867037"/>
                  <a:gd name="connsiteX8828" fmla="*/ 63336 w 2417513"/>
                  <a:gd name="connsiteY8828" fmla="*/ 790483 h 1867037"/>
                  <a:gd name="connsiteX8829" fmla="*/ 49850 w 2417513"/>
                  <a:gd name="connsiteY8829" fmla="*/ 780786 h 1867037"/>
                  <a:gd name="connsiteX8830" fmla="*/ 28031 w 2417513"/>
                  <a:gd name="connsiteY8830" fmla="*/ 775634 h 1867037"/>
                  <a:gd name="connsiteX8831" fmla="*/ 16364 w 2417513"/>
                  <a:gd name="connsiteY8831" fmla="*/ 776544 h 1867037"/>
                  <a:gd name="connsiteX8832" fmla="*/ 3940 w 2417513"/>
                  <a:gd name="connsiteY8832" fmla="*/ 774877 h 1867037"/>
                  <a:gd name="connsiteX8833" fmla="*/ 0 w 2417513"/>
                  <a:gd name="connsiteY8833" fmla="*/ 774119 h 1867037"/>
                  <a:gd name="connsiteX8834" fmla="*/ 0 w 2417513"/>
                  <a:gd name="connsiteY8834" fmla="*/ 1191407 h 1867037"/>
                  <a:gd name="connsiteX8835" fmla="*/ 6515 w 2417513"/>
                  <a:gd name="connsiteY8835" fmla="*/ 1193074 h 1867037"/>
                  <a:gd name="connsiteX8836" fmla="*/ 13031 w 2417513"/>
                  <a:gd name="connsiteY8836" fmla="*/ 1194741 h 1867037"/>
                  <a:gd name="connsiteX8837" fmla="*/ 15001 w 2417513"/>
                  <a:gd name="connsiteY8837" fmla="*/ 1191407 h 1867037"/>
                  <a:gd name="connsiteX8838" fmla="*/ 21971 w 2417513"/>
                  <a:gd name="connsiteY8838" fmla="*/ 1193983 h 1867037"/>
                  <a:gd name="connsiteX8839" fmla="*/ 28031 w 2417513"/>
                  <a:gd name="connsiteY8839" fmla="*/ 1196256 h 1867037"/>
                  <a:gd name="connsiteX8840" fmla="*/ 31971 w 2417513"/>
                  <a:gd name="connsiteY8840" fmla="*/ 1193377 h 1867037"/>
                  <a:gd name="connsiteX8841" fmla="*/ 36213 w 2417513"/>
                  <a:gd name="connsiteY8841" fmla="*/ 1190346 h 1867037"/>
                  <a:gd name="connsiteX8842" fmla="*/ 41971 w 2417513"/>
                  <a:gd name="connsiteY8842" fmla="*/ 1190195 h 1867037"/>
                  <a:gd name="connsiteX8843" fmla="*/ 48335 w 2417513"/>
                  <a:gd name="connsiteY8843" fmla="*/ 1189892 h 1867037"/>
                  <a:gd name="connsiteX8844" fmla="*/ 52578 w 2417513"/>
                  <a:gd name="connsiteY8844" fmla="*/ 1189740 h 1867037"/>
                  <a:gd name="connsiteX8845" fmla="*/ 52578 w 2417513"/>
                  <a:gd name="connsiteY8845" fmla="*/ 1192316 h 1867037"/>
                  <a:gd name="connsiteX8846" fmla="*/ 51062 w 2417513"/>
                  <a:gd name="connsiteY8846" fmla="*/ 1196710 h 1867037"/>
                  <a:gd name="connsiteX8847" fmla="*/ 49699 w 2417513"/>
                  <a:gd name="connsiteY8847" fmla="*/ 1200347 h 1867037"/>
                  <a:gd name="connsiteX8848" fmla="*/ 53638 w 2417513"/>
                  <a:gd name="connsiteY8848" fmla="*/ 1203983 h 1867037"/>
                  <a:gd name="connsiteX8849" fmla="*/ 58487 w 2417513"/>
                  <a:gd name="connsiteY8849" fmla="*/ 1205953 h 1867037"/>
                  <a:gd name="connsiteX8850" fmla="*/ 62881 w 2417513"/>
                  <a:gd name="connsiteY8850" fmla="*/ 1207771 h 1867037"/>
                  <a:gd name="connsiteX8851" fmla="*/ 64851 w 2417513"/>
                  <a:gd name="connsiteY8851" fmla="*/ 1212772 h 1867037"/>
                  <a:gd name="connsiteX8852" fmla="*/ 69700 w 2417513"/>
                  <a:gd name="connsiteY8852" fmla="*/ 1216711 h 1867037"/>
                  <a:gd name="connsiteX8853" fmla="*/ 73488 w 2417513"/>
                  <a:gd name="connsiteY8853" fmla="*/ 1219590 h 1867037"/>
                  <a:gd name="connsiteX8854" fmla="*/ 77124 w 2417513"/>
                  <a:gd name="connsiteY8854" fmla="*/ 1222469 h 1867037"/>
                  <a:gd name="connsiteX8855" fmla="*/ 82276 w 2417513"/>
                  <a:gd name="connsiteY8855" fmla="*/ 1226560 h 1867037"/>
                  <a:gd name="connsiteX8856" fmla="*/ 85761 w 2417513"/>
                  <a:gd name="connsiteY8856" fmla="*/ 1229287 h 1867037"/>
                  <a:gd name="connsiteX8857" fmla="*/ 90458 w 2417513"/>
                  <a:gd name="connsiteY8857" fmla="*/ 1233075 h 1867037"/>
                  <a:gd name="connsiteX8858" fmla="*/ 93337 w 2417513"/>
                  <a:gd name="connsiteY8858" fmla="*/ 1235348 h 1867037"/>
                  <a:gd name="connsiteX8859" fmla="*/ 94700 w 2417513"/>
                  <a:gd name="connsiteY8859" fmla="*/ 1239591 h 1867037"/>
                  <a:gd name="connsiteX8860" fmla="*/ 96367 w 2417513"/>
                  <a:gd name="connsiteY8860" fmla="*/ 1244742 h 1867037"/>
                  <a:gd name="connsiteX8861" fmla="*/ 95307 w 2417513"/>
                  <a:gd name="connsiteY8861" fmla="*/ 1247773 h 1867037"/>
                  <a:gd name="connsiteX8862" fmla="*/ 97579 w 2417513"/>
                  <a:gd name="connsiteY8862" fmla="*/ 1248227 h 1867037"/>
                  <a:gd name="connsiteX8863" fmla="*/ 101973 w 2417513"/>
                  <a:gd name="connsiteY8863" fmla="*/ 1244742 h 1867037"/>
                  <a:gd name="connsiteX8864" fmla="*/ 106065 w 2417513"/>
                  <a:gd name="connsiteY8864" fmla="*/ 1242621 h 1867037"/>
                  <a:gd name="connsiteX8865" fmla="*/ 111216 w 2417513"/>
                  <a:gd name="connsiteY8865" fmla="*/ 1240045 h 1867037"/>
                  <a:gd name="connsiteX8866" fmla="*/ 114701 w 2417513"/>
                  <a:gd name="connsiteY8866" fmla="*/ 1238227 h 1867037"/>
                  <a:gd name="connsiteX8867" fmla="*/ 121065 w 2417513"/>
                  <a:gd name="connsiteY8867" fmla="*/ 1238076 h 1867037"/>
                  <a:gd name="connsiteX8868" fmla="*/ 124095 w 2417513"/>
                  <a:gd name="connsiteY8868" fmla="*/ 1232924 h 1867037"/>
                  <a:gd name="connsiteX8869" fmla="*/ 124095 w 2417513"/>
                  <a:gd name="connsiteY8869" fmla="*/ 1225651 h 1867037"/>
                  <a:gd name="connsiteX8870" fmla="*/ 127277 w 2417513"/>
                  <a:gd name="connsiteY8870" fmla="*/ 1225802 h 1867037"/>
                  <a:gd name="connsiteX8871" fmla="*/ 129247 w 2417513"/>
                  <a:gd name="connsiteY8871" fmla="*/ 1224742 h 1867037"/>
                  <a:gd name="connsiteX8872" fmla="*/ 130156 w 2417513"/>
                  <a:gd name="connsiteY8872" fmla="*/ 1222923 h 1867037"/>
                  <a:gd name="connsiteX8873" fmla="*/ 128187 w 2417513"/>
                  <a:gd name="connsiteY8873" fmla="*/ 1219893 h 1867037"/>
                  <a:gd name="connsiteX8874" fmla="*/ 134399 w 2417513"/>
                  <a:gd name="connsiteY8874" fmla="*/ 1218529 h 1867037"/>
                  <a:gd name="connsiteX8875" fmla="*/ 138793 w 2417513"/>
                  <a:gd name="connsiteY8875" fmla="*/ 1217469 h 1867037"/>
                  <a:gd name="connsiteX8876" fmla="*/ 145157 w 2417513"/>
                  <a:gd name="connsiteY8876" fmla="*/ 1214741 h 1867037"/>
                  <a:gd name="connsiteX8877" fmla="*/ 151369 w 2417513"/>
                  <a:gd name="connsiteY8877" fmla="*/ 1212165 h 1867037"/>
                  <a:gd name="connsiteX8878" fmla="*/ 154400 w 2417513"/>
                  <a:gd name="connsiteY8878" fmla="*/ 1214135 h 1867037"/>
                  <a:gd name="connsiteX8879" fmla="*/ 157279 w 2417513"/>
                  <a:gd name="connsiteY8879" fmla="*/ 1216105 h 1867037"/>
                  <a:gd name="connsiteX8880" fmla="*/ 163036 w 2417513"/>
                  <a:gd name="connsiteY8880" fmla="*/ 1220802 h 1867037"/>
                  <a:gd name="connsiteX8881" fmla="*/ 163491 w 2417513"/>
                  <a:gd name="connsiteY8881" fmla="*/ 1222014 h 1867037"/>
                  <a:gd name="connsiteX8882" fmla="*/ 163036 w 2417513"/>
                  <a:gd name="connsiteY8882" fmla="*/ 1224287 h 1867037"/>
                  <a:gd name="connsiteX8883" fmla="*/ 162430 w 2417513"/>
                  <a:gd name="connsiteY8883" fmla="*/ 1226560 h 1867037"/>
                  <a:gd name="connsiteX8884" fmla="*/ 165915 w 2417513"/>
                  <a:gd name="connsiteY8884" fmla="*/ 1232772 h 1867037"/>
                  <a:gd name="connsiteX8885" fmla="*/ 166976 w 2417513"/>
                  <a:gd name="connsiteY8885" fmla="*/ 1233530 h 1867037"/>
                  <a:gd name="connsiteX8886" fmla="*/ 169855 w 2417513"/>
                  <a:gd name="connsiteY8886" fmla="*/ 1234439 h 1867037"/>
                  <a:gd name="connsiteX8887" fmla="*/ 173340 w 2417513"/>
                  <a:gd name="connsiteY8887" fmla="*/ 1236560 h 1867037"/>
                  <a:gd name="connsiteX8888" fmla="*/ 174855 w 2417513"/>
                  <a:gd name="connsiteY8888" fmla="*/ 1238379 h 1867037"/>
                  <a:gd name="connsiteX8889" fmla="*/ 179855 w 2417513"/>
                  <a:gd name="connsiteY8889" fmla="*/ 1241257 h 1867037"/>
                  <a:gd name="connsiteX8890" fmla="*/ 180764 w 2417513"/>
                  <a:gd name="connsiteY8890" fmla="*/ 1242470 h 1867037"/>
                  <a:gd name="connsiteX8891" fmla="*/ 181219 w 2417513"/>
                  <a:gd name="connsiteY8891" fmla="*/ 1244439 h 1867037"/>
                  <a:gd name="connsiteX8892" fmla="*/ 181976 w 2417513"/>
                  <a:gd name="connsiteY8892" fmla="*/ 1246106 h 1867037"/>
                  <a:gd name="connsiteX8893" fmla="*/ 182886 w 2417513"/>
                  <a:gd name="connsiteY8893" fmla="*/ 1247318 h 1867037"/>
                  <a:gd name="connsiteX8894" fmla="*/ 183795 w 2417513"/>
                  <a:gd name="connsiteY8894" fmla="*/ 1248985 h 1867037"/>
                  <a:gd name="connsiteX8895" fmla="*/ 185916 w 2417513"/>
                  <a:gd name="connsiteY8895" fmla="*/ 1250955 h 1867037"/>
                  <a:gd name="connsiteX8896" fmla="*/ 190007 w 2417513"/>
                  <a:gd name="connsiteY8896" fmla="*/ 1253076 h 1867037"/>
                  <a:gd name="connsiteX8897" fmla="*/ 192886 w 2417513"/>
                  <a:gd name="connsiteY8897" fmla="*/ 1254591 h 1867037"/>
                  <a:gd name="connsiteX8898" fmla="*/ 196826 w 2417513"/>
                  <a:gd name="connsiteY8898" fmla="*/ 1256713 h 1867037"/>
                  <a:gd name="connsiteX8899" fmla="*/ 200917 w 2417513"/>
                  <a:gd name="connsiteY8899" fmla="*/ 1261107 h 1867037"/>
                  <a:gd name="connsiteX8900" fmla="*/ 204402 w 2417513"/>
                  <a:gd name="connsiteY8900" fmla="*/ 1264895 h 1867037"/>
                  <a:gd name="connsiteX8901" fmla="*/ 208341 w 2417513"/>
                  <a:gd name="connsiteY8901" fmla="*/ 1268531 h 1867037"/>
                  <a:gd name="connsiteX8902" fmla="*/ 207735 w 2417513"/>
                  <a:gd name="connsiteY8902" fmla="*/ 1271410 h 1867037"/>
                  <a:gd name="connsiteX8903" fmla="*/ 211826 w 2417513"/>
                  <a:gd name="connsiteY8903" fmla="*/ 1275956 h 1867037"/>
                  <a:gd name="connsiteX8904" fmla="*/ 216069 w 2417513"/>
                  <a:gd name="connsiteY8904" fmla="*/ 1281713 h 1867037"/>
                  <a:gd name="connsiteX8905" fmla="*/ 219251 w 2417513"/>
                  <a:gd name="connsiteY8905" fmla="*/ 1286865 h 1867037"/>
                  <a:gd name="connsiteX8906" fmla="*/ 221523 w 2417513"/>
                  <a:gd name="connsiteY8906" fmla="*/ 1289744 h 1867037"/>
                  <a:gd name="connsiteX8907" fmla="*/ 224251 w 2417513"/>
                  <a:gd name="connsiteY8907" fmla="*/ 1293835 h 1867037"/>
                  <a:gd name="connsiteX8908" fmla="*/ 227584 w 2417513"/>
                  <a:gd name="connsiteY8908" fmla="*/ 1298835 h 1867037"/>
                  <a:gd name="connsiteX8909" fmla="*/ 231372 w 2417513"/>
                  <a:gd name="connsiteY8909" fmla="*/ 1304593 h 1867037"/>
                  <a:gd name="connsiteX8910" fmla="*/ 234403 w 2417513"/>
                  <a:gd name="connsiteY8910" fmla="*/ 1308230 h 1867037"/>
                  <a:gd name="connsiteX8911" fmla="*/ 238191 w 2417513"/>
                  <a:gd name="connsiteY8911" fmla="*/ 1313381 h 1867037"/>
                  <a:gd name="connsiteX8912" fmla="*/ 240160 w 2417513"/>
                  <a:gd name="connsiteY8912" fmla="*/ 1316412 h 1867037"/>
                  <a:gd name="connsiteX8913" fmla="*/ 238797 w 2417513"/>
                  <a:gd name="connsiteY8913" fmla="*/ 1318533 h 1867037"/>
                  <a:gd name="connsiteX8914" fmla="*/ 237130 w 2417513"/>
                  <a:gd name="connsiteY8914" fmla="*/ 1321109 h 1867037"/>
                  <a:gd name="connsiteX8915" fmla="*/ 242130 w 2417513"/>
                  <a:gd name="connsiteY8915" fmla="*/ 1322321 h 1867037"/>
                  <a:gd name="connsiteX8916" fmla="*/ 245615 w 2417513"/>
                  <a:gd name="connsiteY8916" fmla="*/ 1323230 h 1867037"/>
                  <a:gd name="connsiteX8917" fmla="*/ 244706 w 2417513"/>
                  <a:gd name="connsiteY8917" fmla="*/ 1326109 h 1867037"/>
                  <a:gd name="connsiteX8918" fmla="*/ 243645 w 2417513"/>
                  <a:gd name="connsiteY8918" fmla="*/ 1329897 h 1867037"/>
                  <a:gd name="connsiteX8919" fmla="*/ 247585 w 2417513"/>
                  <a:gd name="connsiteY8919" fmla="*/ 1331412 h 1867037"/>
                  <a:gd name="connsiteX8920" fmla="*/ 250161 w 2417513"/>
                  <a:gd name="connsiteY8920" fmla="*/ 1332473 h 1867037"/>
                  <a:gd name="connsiteX8921" fmla="*/ 249555 w 2417513"/>
                  <a:gd name="connsiteY8921" fmla="*/ 1334443 h 1867037"/>
                  <a:gd name="connsiteX8922" fmla="*/ 251070 w 2417513"/>
                  <a:gd name="connsiteY8922" fmla="*/ 1336716 h 1867037"/>
                  <a:gd name="connsiteX8923" fmla="*/ 251373 w 2417513"/>
                  <a:gd name="connsiteY8923" fmla="*/ 1340352 h 1867037"/>
                  <a:gd name="connsiteX8924" fmla="*/ 256070 w 2417513"/>
                  <a:gd name="connsiteY8924" fmla="*/ 1340049 h 1867037"/>
                  <a:gd name="connsiteX8925" fmla="*/ 258191 w 2417513"/>
                  <a:gd name="connsiteY8925" fmla="*/ 1339897 h 1867037"/>
                  <a:gd name="connsiteX8926" fmla="*/ 261070 w 2417513"/>
                  <a:gd name="connsiteY8926" fmla="*/ 1341564 h 1867037"/>
                  <a:gd name="connsiteX8927" fmla="*/ 264858 w 2417513"/>
                  <a:gd name="connsiteY8927" fmla="*/ 1343685 h 1867037"/>
                  <a:gd name="connsiteX8928" fmla="*/ 268646 w 2417513"/>
                  <a:gd name="connsiteY8928" fmla="*/ 1345655 h 1867037"/>
                  <a:gd name="connsiteX8929" fmla="*/ 271828 w 2417513"/>
                  <a:gd name="connsiteY8929" fmla="*/ 1347322 h 1867037"/>
                  <a:gd name="connsiteX8930" fmla="*/ 276071 w 2417513"/>
                  <a:gd name="connsiteY8930" fmla="*/ 1348383 h 1867037"/>
                  <a:gd name="connsiteX8931" fmla="*/ 281223 w 2417513"/>
                  <a:gd name="connsiteY8931" fmla="*/ 1349898 h 1867037"/>
                  <a:gd name="connsiteX8932" fmla="*/ 283798 w 2417513"/>
                  <a:gd name="connsiteY8932" fmla="*/ 1352928 h 1867037"/>
                  <a:gd name="connsiteX8933" fmla="*/ 288496 w 2417513"/>
                  <a:gd name="connsiteY8933" fmla="*/ 1354140 h 1867037"/>
                  <a:gd name="connsiteX8934" fmla="*/ 290314 w 2417513"/>
                  <a:gd name="connsiteY8934" fmla="*/ 1358383 h 1867037"/>
                  <a:gd name="connsiteX8935" fmla="*/ 295769 w 2417513"/>
                  <a:gd name="connsiteY8935" fmla="*/ 1359898 h 1867037"/>
                  <a:gd name="connsiteX8936" fmla="*/ 298950 w 2417513"/>
                  <a:gd name="connsiteY8936" fmla="*/ 1358838 h 1867037"/>
                  <a:gd name="connsiteX8937" fmla="*/ 300163 w 2417513"/>
                  <a:gd name="connsiteY8937" fmla="*/ 1360504 h 1867037"/>
                  <a:gd name="connsiteX8938" fmla="*/ 301072 w 2417513"/>
                  <a:gd name="connsiteY8938" fmla="*/ 1362474 h 1867037"/>
                  <a:gd name="connsiteX8939" fmla="*/ 301375 w 2417513"/>
                  <a:gd name="connsiteY8939" fmla="*/ 1364898 h 1867037"/>
                  <a:gd name="connsiteX8940" fmla="*/ 301072 w 2417513"/>
                  <a:gd name="connsiteY8940" fmla="*/ 1367323 h 1867037"/>
                  <a:gd name="connsiteX8941" fmla="*/ 301223 w 2417513"/>
                  <a:gd name="connsiteY8941" fmla="*/ 1367626 h 1867037"/>
                  <a:gd name="connsiteX8942" fmla="*/ 300163 w 2417513"/>
                  <a:gd name="connsiteY8942" fmla="*/ 1370202 h 1867037"/>
                  <a:gd name="connsiteX8943" fmla="*/ 299557 w 2417513"/>
                  <a:gd name="connsiteY8943" fmla="*/ 1372626 h 1867037"/>
                  <a:gd name="connsiteX8944" fmla="*/ 298496 w 2417513"/>
                  <a:gd name="connsiteY8944" fmla="*/ 1374444 h 1867037"/>
                  <a:gd name="connsiteX8945" fmla="*/ 298496 w 2417513"/>
                  <a:gd name="connsiteY8945" fmla="*/ 1376869 h 1867037"/>
                  <a:gd name="connsiteX8946" fmla="*/ 298799 w 2417513"/>
                  <a:gd name="connsiteY8946" fmla="*/ 1379444 h 1867037"/>
                  <a:gd name="connsiteX8947" fmla="*/ 299708 w 2417513"/>
                  <a:gd name="connsiteY8947" fmla="*/ 1382929 h 1867037"/>
                  <a:gd name="connsiteX8948" fmla="*/ 301375 w 2417513"/>
                  <a:gd name="connsiteY8948" fmla="*/ 1387323 h 1867037"/>
                  <a:gd name="connsiteX8949" fmla="*/ 301072 w 2417513"/>
                  <a:gd name="connsiteY8949" fmla="*/ 1390960 h 1867037"/>
                  <a:gd name="connsiteX8950" fmla="*/ 299405 w 2417513"/>
                  <a:gd name="connsiteY8950" fmla="*/ 1393536 h 1867037"/>
                  <a:gd name="connsiteX8951" fmla="*/ 298496 w 2417513"/>
                  <a:gd name="connsiteY8951" fmla="*/ 1396869 h 1867037"/>
                  <a:gd name="connsiteX8952" fmla="*/ 299708 w 2417513"/>
                  <a:gd name="connsiteY8952" fmla="*/ 1398839 h 1867037"/>
                  <a:gd name="connsiteX8953" fmla="*/ 301375 w 2417513"/>
                  <a:gd name="connsiteY8953" fmla="*/ 1396718 h 1867037"/>
                  <a:gd name="connsiteX8954" fmla="*/ 304405 w 2417513"/>
                  <a:gd name="connsiteY8954" fmla="*/ 1391414 h 1867037"/>
                  <a:gd name="connsiteX8955" fmla="*/ 305466 w 2417513"/>
                  <a:gd name="connsiteY8955" fmla="*/ 1388839 h 1867037"/>
                  <a:gd name="connsiteX8956" fmla="*/ 306072 w 2417513"/>
                  <a:gd name="connsiteY8956" fmla="*/ 1385051 h 1867037"/>
                  <a:gd name="connsiteX8957" fmla="*/ 306224 w 2417513"/>
                  <a:gd name="connsiteY8957" fmla="*/ 1380657 h 1867037"/>
                  <a:gd name="connsiteX8958" fmla="*/ 306678 w 2417513"/>
                  <a:gd name="connsiteY8958" fmla="*/ 1379596 h 1867037"/>
                  <a:gd name="connsiteX8959" fmla="*/ 307436 w 2417513"/>
                  <a:gd name="connsiteY8959" fmla="*/ 1382020 h 1867037"/>
                  <a:gd name="connsiteX8960" fmla="*/ 308345 w 2417513"/>
                  <a:gd name="connsiteY8960" fmla="*/ 1383535 h 1867037"/>
                  <a:gd name="connsiteX8961" fmla="*/ 309254 w 2417513"/>
                  <a:gd name="connsiteY8961" fmla="*/ 1384293 h 1867037"/>
                  <a:gd name="connsiteX8962" fmla="*/ 310163 w 2417513"/>
                  <a:gd name="connsiteY8962" fmla="*/ 1384293 h 1867037"/>
                  <a:gd name="connsiteX8963" fmla="*/ 311224 w 2417513"/>
                  <a:gd name="connsiteY8963" fmla="*/ 1383687 h 1867037"/>
                  <a:gd name="connsiteX8964" fmla="*/ 313193 w 2417513"/>
                  <a:gd name="connsiteY8964" fmla="*/ 1383232 h 1867037"/>
                  <a:gd name="connsiteX8965" fmla="*/ 307133 w 2417513"/>
                  <a:gd name="connsiteY8965" fmla="*/ 1390202 h 1867037"/>
                  <a:gd name="connsiteX8966" fmla="*/ 304102 w 2417513"/>
                  <a:gd name="connsiteY8966" fmla="*/ 1394596 h 1867037"/>
                  <a:gd name="connsiteX8967" fmla="*/ 302436 w 2417513"/>
                  <a:gd name="connsiteY8967" fmla="*/ 1397778 h 1867037"/>
                  <a:gd name="connsiteX8968" fmla="*/ 298041 w 2417513"/>
                  <a:gd name="connsiteY8968" fmla="*/ 1405203 h 1867037"/>
                  <a:gd name="connsiteX8969" fmla="*/ 297132 w 2417513"/>
                  <a:gd name="connsiteY8969" fmla="*/ 1407627 h 1867037"/>
                  <a:gd name="connsiteX8970" fmla="*/ 295011 w 2417513"/>
                  <a:gd name="connsiteY8970" fmla="*/ 1411112 h 1867037"/>
                  <a:gd name="connsiteX8971" fmla="*/ 292587 w 2417513"/>
                  <a:gd name="connsiteY8971" fmla="*/ 1412173 h 1867037"/>
                  <a:gd name="connsiteX8972" fmla="*/ 291374 w 2417513"/>
                  <a:gd name="connsiteY8972" fmla="*/ 1413839 h 1867037"/>
                  <a:gd name="connsiteX8973" fmla="*/ 290768 w 2417513"/>
                  <a:gd name="connsiteY8973" fmla="*/ 1415203 h 1867037"/>
                  <a:gd name="connsiteX8974" fmla="*/ 290314 w 2417513"/>
                  <a:gd name="connsiteY8974" fmla="*/ 1418234 h 1867037"/>
                  <a:gd name="connsiteX8975" fmla="*/ 290162 w 2417513"/>
                  <a:gd name="connsiteY8975" fmla="*/ 1420506 h 1867037"/>
                  <a:gd name="connsiteX8976" fmla="*/ 289102 w 2417513"/>
                  <a:gd name="connsiteY8976" fmla="*/ 1422779 h 1867037"/>
                  <a:gd name="connsiteX8977" fmla="*/ 290011 w 2417513"/>
                  <a:gd name="connsiteY8977" fmla="*/ 1425355 h 1867037"/>
                  <a:gd name="connsiteX8978" fmla="*/ 292890 w 2417513"/>
                  <a:gd name="connsiteY8978" fmla="*/ 1428385 h 1867037"/>
                  <a:gd name="connsiteX8979" fmla="*/ 298496 w 2417513"/>
                  <a:gd name="connsiteY8979" fmla="*/ 1431719 h 1867037"/>
                  <a:gd name="connsiteX8980" fmla="*/ 303648 w 2417513"/>
                  <a:gd name="connsiteY8980" fmla="*/ 1430052 h 1867037"/>
                  <a:gd name="connsiteX8981" fmla="*/ 306527 w 2417513"/>
                  <a:gd name="connsiteY8981" fmla="*/ 1429749 h 1867037"/>
                  <a:gd name="connsiteX8982" fmla="*/ 311224 w 2417513"/>
                  <a:gd name="connsiteY8982" fmla="*/ 1429901 h 1867037"/>
                  <a:gd name="connsiteX8983" fmla="*/ 306678 w 2417513"/>
                  <a:gd name="connsiteY8983" fmla="*/ 1432325 h 1867037"/>
                  <a:gd name="connsiteX8984" fmla="*/ 299708 w 2417513"/>
                  <a:gd name="connsiteY8984" fmla="*/ 1433537 h 1867037"/>
                  <a:gd name="connsiteX8985" fmla="*/ 299102 w 2417513"/>
                  <a:gd name="connsiteY8985" fmla="*/ 1434598 h 1867037"/>
                  <a:gd name="connsiteX8986" fmla="*/ 298496 w 2417513"/>
                  <a:gd name="connsiteY8986" fmla="*/ 1439447 h 1867037"/>
                  <a:gd name="connsiteX8987" fmla="*/ 294405 w 2417513"/>
                  <a:gd name="connsiteY8987" fmla="*/ 1443538 h 1867037"/>
                  <a:gd name="connsiteX8988" fmla="*/ 291677 w 2417513"/>
                  <a:gd name="connsiteY8988" fmla="*/ 1448841 h 1867037"/>
                  <a:gd name="connsiteX8989" fmla="*/ 293647 w 2417513"/>
                  <a:gd name="connsiteY8989" fmla="*/ 1451417 h 1867037"/>
                  <a:gd name="connsiteX8990" fmla="*/ 298799 w 2417513"/>
                  <a:gd name="connsiteY8990" fmla="*/ 1454295 h 1867037"/>
                  <a:gd name="connsiteX8991" fmla="*/ 303193 w 2417513"/>
                  <a:gd name="connsiteY8991" fmla="*/ 1455205 h 1867037"/>
                  <a:gd name="connsiteX8992" fmla="*/ 305617 w 2417513"/>
                  <a:gd name="connsiteY8992" fmla="*/ 1460356 h 1867037"/>
                  <a:gd name="connsiteX8993" fmla="*/ 309254 w 2417513"/>
                  <a:gd name="connsiteY8993" fmla="*/ 1463235 h 1867037"/>
                  <a:gd name="connsiteX8994" fmla="*/ 312587 w 2417513"/>
                  <a:gd name="connsiteY8994" fmla="*/ 1466266 h 1867037"/>
                  <a:gd name="connsiteX8995" fmla="*/ 315315 w 2417513"/>
                  <a:gd name="connsiteY8995" fmla="*/ 1462781 h 1867037"/>
                  <a:gd name="connsiteX8996" fmla="*/ 320163 w 2417513"/>
                  <a:gd name="connsiteY8996" fmla="*/ 1461114 h 1867037"/>
                  <a:gd name="connsiteX8997" fmla="*/ 320921 w 2417513"/>
                  <a:gd name="connsiteY8997" fmla="*/ 1460205 h 1867037"/>
                  <a:gd name="connsiteX8998" fmla="*/ 321376 w 2417513"/>
                  <a:gd name="connsiteY8998" fmla="*/ 1457932 h 1867037"/>
                  <a:gd name="connsiteX8999" fmla="*/ 321679 w 2417513"/>
                  <a:gd name="connsiteY8999" fmla="*/ 1454295 h 1867037"/>
                  <a:gd name="connsiteX9000" fmla="*/ 322285 w 2417513"/>
                  <a:gd name="connsiteY9000" fmla="*/ 1451871 h 1867037"/>
                  <a:gd name="connsiteX9001" fmla="*/ 326376 w 2417513"/>
                  <a:gd name="connsiteY9001" fmla="*/ 1446719 h 1867037"/>
                  <a:gd name="connsiteX9002" fmla="*/ 327588 w 2417513"/>
                  <a:gd name="connsiteY9002" fmla="*/ 1445962 h 1867037"/>
                  <a:gd name="connsiteX9003" fmla="*/ 329103 w 2417513"/>
                  <a:gd name="connsiteY9003" fmla="*/ 1444295 h 1867037"/>
                  <a:gd name="connsiteX9004" fmla="*/ 329558 w 2417513"/>
                  <a:gd name="connsiteY9004" fmla="*/ 1444295 h 1867037"/>
                  <a:gd name="connsiteX9005" fmla="*/ 330012 w 2417513"/>
                  <a:gd name="connsiteY9005" fmla="*/ 1444901 h 1867037"/>
                  <a:gd name="connsiteX9006" fmla="*/ 331073 w 2417513"/>
                  <a:gd name="connsiteY9006" fmla="*/ 1444598 h 1867037"/>
                  <a:gd name="connsiteX9007" fmla="*/ 336073 w 2417513"/>
                  <a:gd name="connsiteY9007" fmla="*/ 1441265 h 1867037"/>
                  <a:gd name="connsiteX9008" fmla="*/ 337588 w 2417513"/>
                  <a:gd name="connsiteY9008" fmla="*/ 1441265 h 1867037"/>
                  <a:gd name="connsiteX9009" fmla="*/ 340770 w 2417513"/>
                  <a:gd name="connsiteY9009" fmla="*/ 1443538 h 1867037"/>
                  <a:gd name="connsiteX9010" fmla="*/ 340013 w 2417513"/>
                  <a:gd name="connsiteY9010" fmla="*/ 1443992 h 1867037"/>
                  <a:gd name="connsiteX9011" fmla="*/ 337437 w 2417513"/>
                  <a:gd name="connsiteY9011" fmla="*/ 1444447 h 1867037"/>
                  <a:gd name="connsiteX9012" fmla="*/ 335770 w 2417513"/>
                  <a:gd name="connsiteY9012" fmla="*/ 1445204 h 1867037"/>
                  <a:gd name="connsiteX9013" fmla="*/ 334861 w 2417513"/>
                  <a:gd name="connsiteY9013" fmla="*/ 1446265 h 1867037"/>
                  <a:gd name="connsiteX9014" fmla="*/ 334406 w 2417513"/>
                  <a:gd name="connsiteY9014" fmla="*/ 1447477 h 1867037"/>
                  <a:gd name="connsiteX9015" fmla="*/ 334255 w 2417513"/>
                  <a:gd name="connsiteY9015" fmla="*/ 1448841 h 1867037"/>
                  <a:gd name="connsiteX9016" fmla="*/ 334709 w 2417513"/>
                  <a:gd name="connsiteY9016" fmla="*/ 1450659 h 1867037"/>
                  <a:gd name="connsiteX9017" fmla="*/ 336831 w 2417513"/>
                  <a:gd name="connsiteY9017" fmla="*/ 1454599 h 1867037"/>
                  <a:gd name="connsiteX9018" fmla="*/ 338952 w 2417513"/>
                  <a:gd name="connsiteY9018" fmla="*/ 1456417 h 1867037"/>
                  <a:gd name="connsiteX9019" fmla="*/ 341376 w 2417513"/>
                  <a:gd name="connsiteY9019" fmla="*/ 1457478 h 1867037"/>
                  <a:gd name="connsiteX9020" fmla="*/ 342588 w 2417513"/>
                  <a:gd name="connsiteY9020" fmla="*/ 1457629 h 1867037"/>
                  <a:gd name="connsiteX9021" fmla="*/ 345316 w 2417513"/>
                  <a:gd name="connsiteY9021" fmla="*/ 1456871 h 1867037"/>
                  <a:gd name="connsiteX9022" fmla="*/ 349710 w 2417513"/>
                  <a:gd name="connsiteY9022" fmla="*/ 1457174 h 1867037"/>
                  <a:gd name="connsiteX9023" fmla="*/ 352286 w 2417513"/>
                  <a:gd name="connsiteY9023" fmla="*/ 1458538 h 1867037"/>
                  <a:gd name="connsiteX9024" fmla="*/ 356831 w 2417513"/>
                  <a:gd name="connsiteY9024" fmla="*/ 1462932 h 1867037"/>
                  <a:gd name="connsiteX9025" fmla="*/ 357438 w 2417513"/>
                  <a:gd name="connsiteY9025" fmla="*/ 1465054 h 1867037"/>
                  <a:gd name="connsiteX9026" fmla="*/ 353347 w 2417513"/>
                  <a:gd name="connsiteY9026" fmla="*/ 1461569 h 1867037"/>
                  <a:gd name="connsiteX9027" fmla="*/ 351831 w 2417513"/>
                  <a:gd name="connsiteY9027" fmla="*/ 1459750 h 1867037"/>
                  <a:gd name="connsiteX9028" fmla="*/ 347437 w 2417513"/>
                  <a:gd name="connsiteY9028" fmla="*/ 1458235 h 1867037"/>
                  <a:gd name="connsiteX9029" fmla="*/ 345619 w 2417513"/>
                  <a:gd name="connsiteY9029" fmla="*/ 1458235 h 1867037"/>
                  <a:gd name="connsiteX9030" fmla="*/ 342285 w 2417513"/>
                  <a:gd name="connsiteY9030" fmla="*/ 1460053 h 1867037"/>
                  <a:gd name="connsiteX9031" fmla="*/ 340619 w 2417513"/>
                  <a:gd name="connsiteY9031" fmla="*/ 1459599 h 1867037"/>
                  <a:gd name="connsiteX9032" fmla="*/ 332588 w 2417513"/>
                  <a:gd name="connsiteY9032" fmla="*/ 1454750 h 1867037"/>
                  <a:gd name="connsiteX9033" fmla="*/ 330618 w 2417513"/>
                  <a:gd name="connsiteY9033" fmla="*/ 1454447 h 1867037"/>
                  <a:gd name="connsiteX9034" fmla="*/ 332134 w 2417513"/>
                  <a:gd name="connsiteY9034" fmla="*/ 1450507 h 1867037"/>
                  <a:gd name="connsiteX9035" fmla="*/ 331982 w 2417513"/>
                  <a:gd name="connsiteY9035" fmla="*/ 1448992 h 1867037"/>
                  <a:gd name="connsiteX9036" fmla="*/ 329709 w 2417513"/>
                  <a:gd name="connsiteY9036" fmla="*/ 1448538 h 1867037"/>
                  <a:gd name="connsiteX9037" fmla="*/ 327891 w 2417513"/>
                  <a:gd name="connsiteY9037" fmla="*/ 1450204 h 1867037"/>
                  <a:gd name="connsiteX9038" fmla="*/ 325315 w 2417513"/>
                  <a:gd name="connsiteY9038" fmla="*/ 1452174 h 1867037"/>
                  <a:gd name="connsiteX9039" fmla="*/ 323800 w 2417513"/>
                  <a:gd name="connsiteY9039" fmla="*/ 1456114 h 1867037"/>
                  <a:gd name="connsiteX9040" fmla="*/ 325012 w 2417513"/>
                  <a:gd name="connsiteY9040" fmla="*/ 1459447 h 1867037"/>
                  <a:gd name="connsiteX9041" fmla="*/ 326376 w 2417513"/>
                  <a:gd name="connsiteY9041" fmla="*/ 1462175 h 1867037"/>
                  <a:gd name="connsiteX9042" fmla="*/ 332134 w 2417513"/>
                  <a:gd name="connsiteY9042" fmla="*/ 1463690 h 1867037"/>
                  <a:gd name="connsiteX9043" fmla="*/ 338043 w 2417513"/>
                  <a:gd name="connsiteY9043" fmla="*/ 1466872 h 1867037"/>
                  <a:gd name="connsiteX9044" fmla="*/ 341528 w 2417513"/>
                  <a:gd name="connsiteY9044" fmla="*/ 1470660 h 1867037"/>
                  <a:gd name="connsiteX9045" fmla="*/ 343498 w 2417513"/>
                  <a:gd name="connsiteY9045" fmla="*/ 1480509 h 1867037"/>
                  <a:gd name="connsiteX9046" fmla="*/ 345922 w 2417513"/>
                  <a:gd name="connsiteY9046" fmla="*/ 1482327 h 1867037"/>
                  <a:gd name="connsiteX9047" fmla="*/ 353043 w 2417513"/>
                  <a:gd name="connsiteY9047" fmla="*/ 1479296 h 1867037"/>
                  <a:gd name="connsiteX9048" fmla="*/ 354559 w 2417513"/>
                  <a:gd name="connsiteY9048" fmla="*/ 1479145 h 1867037"/>
                  <a:gd name="connsiteX9049" fmla="*/ 353043 w 2417513"/>
                  <a:gd name="connsiteY9049" fmla="*/ 1481115 h 1867037"/>
                  <a:gd name="connsiteX9050" fmla="*/ 352437 w 2417513"/>
                  <a:gd name="connsiteY9050" fmla="*/ 1483084 h 1867037"/>
                  <a:gd name="connsiteX9051" fmla="*/ 350619 w 2417513"/>
                  <a:gd name="connsiteY9051" fmla="*/ 1489751 h 1867037"/>
                  <a:gd name="connsiteX9052" fmla="*/ 348498 w 2417513"/>
                  <a:gd name="connsiteY9052" fmla="*/ 1496721 h 1867037"/>
                  <a:gd name="connsiteX9053" fmla="*/ 348649 w 2417513"/>
                  <a:gd name="connsiteY9053" fmla="*/ 1499449 h 1867037"/>
                  <a:gd name="connsiteX9054" fmla="*/ 349558 w 2417513"/>
                  <a:gd name="connsiteY9054" fmla="*/ 1499297 h 1867037"/>
                  <a:gd name="connsiteX9055" fmla="*/ 351074 w 2417513"/>
                  <a:gd name="connsiteY9055" fmla="*/ 1497782 h 1867037"/>
                  <a:gd name="connsiteX9056" fmla="*/ 355013 w 2417513"/>
                  <a:gd name="connsiteY9056" fmla="*/ 1493236 h 1867037"/>
                  <a:gd name="connsiteX9057" fmla="*/ 357589 w 2417513"/>
                  <a:gd name="connsiteY9057" fmla="*/ 1492479 h 1867037"/>
                  <a:gd name="connsiteX9058" fmla="*/ 357741 w 2417513"/>
                  <a:gd name="connsiteY9058" fmla="*/ 1492630 h 1867037"/>
                  <a:gd name="connsiteX9059" fmla="*/ 355468 w 2417513"/>
                  <a:gd name="connsiteY9059" fmla="*/ 1494600 h 1867037"/>
                  <a:gd name="connsiteX9060" fmla="*/ 354710 w 2417513"/>
                  <a:gd name="connsiteY9060" fmla="*/ 1495964 h 1867037"/>
                  <a:gd name="connsiteX9061" fmla="*/ 354407 w 2417513"/>
                  <a:gd name="connsiteY9061" fmla="*/ 1496873 h 1867037"/>
                  <a:gd name="connsiteX9062" fmla="*/ 355316 w 2417513"/>
                  <a:gd name="connsiteY9062" fmla="*/ 1500055 h 1867037"/>
                  <a:gd name="connsiteX9063" fmla="*/ 355013 w 2417513"/>
                  <a:gd name="connsiteY9063" fmla="*/ 1500964 h 1867037"/>
                  <a:gd name="connsiteX9064" fmla="*/ 346225 w 2417513"/>
                  <a:gd name="connsiteY9064" fmla="*/ 1506873 h 1867037"/>
                  <a:gd name="connsiteX9065" fmla="*/ 350771 w 2417513"/>
                  <a:gd name="connsiteY9065" fmla="*/ 1512782 h 1867037"/>
                  <a:gd name="connsiteX9066" fmla="*/ 353195 w 2417513"/>
                  <a:gd name="connsiteY9066" fmla="*/ 1520510 h 1867037"/>
                  <a:gd name="connsiteX9067" fmla="*/ 356074 w 2417513"/>
                  <a:gd name="connsiteY9067" fmla="*/ 1514601 h 1867037"/>
                  <a:gd name="connsiteX9068" fmla="*/ 358650 w 2417513"/>
                  <a:gd name="connsiteY9068" fmla="*/ 1507328 h 1867037"/>
                  <a:gd name="connsiteX9069" fmla="*/ 360468 w 2417513"/>
                  <a:gd name="connsiteY9069" fmla="*/ 1503691 h 1867037"/>
                  <a:gd name="connsiteX9070" fmla="*/ 361680 w 2417513"/>
                  <a:gd name="connsiteY9070" fmla="*/ 1502328 h 1867037"/>
                  <a:gd name="connsiteX9071" fmla="*/ 363801 w 2417513"/>
                  <a:gd name="connsiteY9071" fmla="*/ 1501267 h 1867037"/>
                  <a:gd name="connsiteX9072" fmla="*/ 368044 w 2417513"/>
                  <a:gd name="connsiteY9072" fmla="*/ 1500358 h 1867037"/>
                  <a:gd name="connsiteX9073" fmla="*/ 369105 w 2417513"/>
                  <a:gd name="connsiteY9073" fmla="*/ 1499752 h 1867037"/>
                  <a:gd name="connsiteX9074" fmla="*/ 380317 w 2417513"/>
                  <a:gd name="connsiteY9074" fmla="*/ 1489751 h 1867037"/>
                  <a:gd name="connsiteX9075" fmla="*/ 381378 w 2417513"/>
                  <a:gd name="connsiteY9075" fmla="*/ 1488994 h 1867037"/>
                  <a:gd name="connsiteX9076" fmla="*/ 382287 w 2417513"/>
                  <a:gd name="connsiteY9076" fmla="*/ 1487933 h 1867037"/>
                  <a:gd name="connsiteX9077" fmla="*/ 382893 w 2417513"/>
                  <a:gd name="connsiteY9077" fmla="*/ 1486569 h 1867037"/>
                  <a:gd name="connsiteX9078" fmla="*/ 383045 w 2417513"/>
                  <a:gd name="connsiteY9078" fmla="*/ 1485357 h 1867037"/>
                  <a:gd name="connsiteX9079" fmla="*/ 382741 w 2417513"/>
                  <a:gd name="connsiteY9079" fmla="*/ 1482175 h 1867037"/>
                  <a:gd name="connsiteX9080" fmla="*/ 383045 w 2417513"/>
                  <a:gd name="connsiteY9080" fmla="*/ 1482175 h 1867037"/>
                  <a:gd name="connsiteX9081" fmla="*/ 384257 w 2417513"/>
                  <a:gd name="connsiteY9081" fmla="*/ 1484297 h 1867037"/>
                  <a:gd name="connsiteX9082" fmla="*/ 384711 w 2417513"/>
                  <a:gd name="connsiteY9082" fmla="*/ 1485509 h 1867037"/>
                  <a:gd name="connsiteX9083" fmla="*/ 384711 w 2417513"/>
                  <a:gd name="connsiteY9083" fmla="*/ 1486569 h 1867037"/>
                  <a:gd name="connsiteX9084" fmla="*/ 383499 w 2417513"/>
                  <a:gd name="connsiteY9084" fmla="*/ 1488842 h 1867037"/>
                  <a:gd name="connsiteX9085" fmla="*/ 378196 w 2417513"/>
                  <a:gd name="connsiteY9085" fmla="*/ 1493236 h 1867037"/>
                  <a:gd name="connsiteX9086" fmla="*/ 377590 w 2417513"/>
                  <a:gd name="connsiteY9086" fmla="*/ 1494752 h 1867037"/>
                  <a:gd name="connsiteX9087" fmla="*/ 378044 w 2417513"/>
                  <a:gd name="connsiteY9087" fmla="*/ 1496267 h 1867037"/>
                  <a:gd name="connsiteX9088" fmla="*/ 378953 w 2417513"/>
                  <a:gd name="connsiteY9088" fmla="*/ 1498540 h 1867037"/>
                  <a:gd name="connsiteX9089" fmla="*/ 379863 w 2417513"/>
                  <a:gd name="connsiteY9089" fmla="*/ 1499449 h 1867037"/>
                  <a:gd name="connsiteX9090" fmla="*/ 385014 w 2417513"/>
                  <a:gd name="connsiteY9090" fmla="*/ 1501722 h 1867037"/>
                  <a:gd name="connsiteX9091" fmla="*/ 386075 w 2417513"/>
                  <a:gd name="connsiteY9091" fmla="*/ 1503237 h 1867037"/>
                  <a:gd name="connsiteX9092" fmla="*/ 386226 w 2417513"/>
                  <a:gd name="connsiteY9092" fmla="*/ 1504752 h 1867037"/>
                  <a:gd name="connsiteX9093" fmla="*/ 390166 w 2417513"/>
                  <a:gd name="connsiteY9093" fmla="*/ 1508843 h 1867037"/>
                  <a:gd name="connsiteX9094" fmla="*/ 391227 w 2417513"/>
                  <a:gd name="connsiteY9094" fmla="*/ 1510661 h 1867037"/>
                  <a:gd name="connsiteX9095" fmla="*/ 390621 w 2417513"/>
                  <a:gd name="connsiteY9095" fmla="*/ 1510510 h 1867037"/>
                  <a:gd name="connsiteX9096" fmla="*/ 388196 w 2417513"/>
                  <a:gd name="connsiteY9096" fmla="*/ 1508237 h 1867037"/>
                  <a:gd name="connsiteX9097" fmla="*/ 386226 w 2417513"/>
                  <a:gd name="connsiteY9097" fmla="*/ 1505964 h 1867037"/>
                  <a:gd name="connsiteX9098" fmla="*/ 384560 w 2417513"/>
                  <a:gd name="connsiteY9098" fmla="*/ 1503540 h 1867037"/>
                  <a:gd name="connsiteX9099" fmla="*/ 383196 w 2417513"/>
                  <a:gd name="connsiteY9099" fmla="*/ 1502176 h 1867037"/>
                  <a:gd name="connsiteX9100" fmla="*/ 378650 w 2417513"/>
                  <a:gd name="connsiteY9100" fmla="*/ 1501267 h 1867037"/>
                  <a:gd name="connsiteX9101" fmla="*/ 376832 w 2417513"/>
                  <a:gd name="connsiteY9101" fmla="*/ 1498388 h 1867037"/>
                  <a:gd name="connsiteX9102" fmla="*/ 371529 w 2417513"/>
                  <a:gd name="connsiteY9102" fmla="*/ 1499752 h 1867037"/>
                  <a:gd name="connsiteX9103" fmla="*/ 368499 w 2417513"/>
                  <a:gd name="connsiteY9103" fmla="*/ 1501873 h 1867037"/>
                  <a:gd name="connsiteX9104" fmla="*/ 365165 w 2417513"/>
                  <a:gd name="connsiteY9104" fmla="*/ 1503540 h 1867037"/>
                  <a:gd name="connsiteX9105" fmla="*/ 361832 w 2417513"/>
                  <a:gd name="connsiteY9105" fmla="*/ 1505813 h 1867037"/>
                  <a:gd name="connsiteX9106" fmla="*/ 360468 w 2417513"/>
                  <a:gd name="connsiteY9106" fmla="*/ 1509601 h 1867037"/>
                  <a:gd name="connsiteX9107" fmla="*/ 360013 w 2417513"/>
                  <a:gd name="connsiteY9107" fmla="*/ 1513086 h 1867037"/>
                  <a:gd name="connsiteX9108" fmla="*/ 363650 w 2417513"/>
                  <a:gd name="connsiteY9108" fmla="*/ 1512934 h 1867037"/>
                  <a:gd name="connsiteX9109" fmla="*/ 360923 w 2417513"/>
                  <a:gd name="connsiteY9109" fmla="*/ 1517177 h 1867037"/>
                  <a:gd name="connsiteX9110" fmla="*/ 360013 w 2417513"/>
                  <a:gd name="connsiteY9110" fmla="*/ 1519298 h 1867037"/>
                  <a:gd name="connsiteX9111" fmla="*/ 359862 w 2417513"/>
                  <a:gd name="connsiteY9111" fmla="*/ 1520965 h 1867037"/>
                  <a:gd name="connsiteX9112" fmla="*/ 360316 w 2417513"/>
                  <a:gd name="connsiteY9112" fmla="*/ 1524753 h 1867037"/>
                  <a:gd name="connsiteX9113" fmla="*/ 361226 w 2417513"/>
                  <a:gd name="connsiteY9113" fmla="*/ 1527328 h 1867037"/>
                  <a:gd name="connsiteX9114" fmla="*/ 363195 w 2417513"/>
                  <a:gd name="connsiteY9114" fmla="*/ 1529450 h 1867037"/>
                  <a:gd name="connsiteX9115" fmla="*/ 363650 w 2417513"/>
                  <a:gd name="connsiteY9115" fmla="*/ 1530813 h 1867037"/>
                  <a:gd name="connsiteX9116" fmla="*/ 364104 w 2417513"/>
                  <a:gd name="connsiteY9116" fmla="*/ 1531420 h 1867037"/>
                  <a:gd name="connsiteX9117" fmla="*/ 365317 w 2417513"/>
                  <a:gd name="connsiteY9117" fmla="*/ 1531874 h 1867037"/>
                  <a:gd name="connsiteX9118" fmla="*/ 365923 w 2417513"/>
                  <a:gd name="connsiteY9118" fmla="*/ 1531874 h 1867037"/>
                  <a:gd name="connsiteX9119" fmla="*/ 366832 w 2417513"/>
                  <a:gd name="connsiteY9119" fmla="*/ 1530510 h 1867037"/>
                  <a:gd name="connsiteX9120" fmla="*/ 367741 w 2417513"/>
                  <a:gd name="connsiteY9120" fmla="*/ 1528692 h 1867037"/>
                  <a:gd name="connsiteX9121" fmla="*/ 371377 w 2417513"/>
                  <a:gd name="connsiteY9121" fmla="*/ 1524450 h 1867037"/>
                  <a:gd name="connsiteX9122" fmla="*/ 374256 w 2417513"/>
                  <a:gd name="connsiteY9122" fmla="*/ 1523389 h 1867037"/>
                  <a:gd name="connsiteX9123" fmla="*/ 382590 w 2417513"/>
                  <a:gd name="connsiteY9123" fmla="*/ 1523086 h 1867037"/>
                  <a:gd name="connsiteX9124" fmla="*/ 391984 w 2417513"/>
                  <a:gd name="connsiteY9124" fmla="*/ 1523540 h 1867037"/>
                  <a:gd name="connsiteX9125" fmla="*/ 390772 w 2417513"/>
                  <a:gd name="connsiteY9125" fmla="*/ 1523995 h 1867037"/>
                  <a:gd name="connsiteX9126" fmla="*/ 384408 w 2417513"/>
                  <a:gd name="connsiteY9126" fmla="*/ 1524753 h 1867037"/>
                  <a:gd name="connsiteX9127" fmla="*/ 375923 w 2417513"/>
                  <a:gd name="connsiteY9127" fmla="*/ 1525359 h 1867037"/>
                  <a:gd name="connsiteX9128" fmla="*/ 373650 w 2417513"/>
                  <a:gd name="connsiteY9128" fmla="*/ 1525813 h 1867037"/>
                  <a:gd name="connsiteX9129" fmla="*/ 371681 w 2417513"/>
                  <a:gd name="connsiteY9129" fmla="*/ 1527025 h 1867037"/>
                  <a:gd name="connsiteX9130" fmla="*/ 365923 w 2417513"/>
                  <a:gd name="connsiteY9130" fmla="*/ 1533541 h 1867037"/>
                  <a:gd name="connsiteX9131" fmla="*/ 364407 w 2417513"/>
                  <a:gd name="connsiteY9131" fmla="*/ 1536571 h 1867037"/>
                  <a:gd name="connsiteX9132" fmla="*/ 363650 w 2417513"/>
                  <a:gd name="connsiteY9132" fmla="*/ 1539299 h 1867037"/>
                  <a:gd name="connsiteX9133" fmla="*/ 363801 w 2417513"/>
                  <a:gd name="connsiteY9133" fmla="*/ 1543541 h 1867037"/>
                  <a:gd name="connsiteX9134" fmla="*/ 366983 w 2417513"/>
                  <a:gd name="connsiteY9134" fmla="*/ 1545814 h 1867037"/>
                  <a:gd name="connsiteX9135" fmla="*/ 371074 w 2417513"/>
                  <a:gd name="connsiteY9135" fmla="*/ 1549299 h 1867037"/>
                  <a:gd name="connsiteX9136" fmla="*/ 373347 w 2417513"/>
                  <a:gd name="connsiteY9136" fmla="*/ 1550814 h 1867037"/>
                  <a:gd name="connsiteX9137" fmla="*/ 375772 w 2417513"/>
                  <a:gd name="connsiteY9137" fmla="*/ 1551875 h 1867037"/>
                  <a:gd name="connsiteX9138" fmla="*/ 381529 w 2417513"/>
                  <a:gd name="connsiteY9138" fmla="*/ 1553693 h 1867037"/>
                  <a:gd name="connsiteX9139" fmla="*/ 382741 w 2417513"/>
                  <a:gd name="connsiteY9139" fmla="*/ 1553693 h 1867037"/>
                  <a:gd name="connsiteX9140" fmla="*/ 384257 w 2417513"/>
                  <a:gd name="connsiteY9140" fmla="*/ 1552784 h 1867037"/>
                  <a:gd name="connsiteX9141" fmla="*/ 393196 w 2417513"/>
                  <a:gd name="connsiteY9141" fmla="*/ 1552026 h 1867037"/>
                  <a:gd name="connsiteX9142" fmla="*/ 395015 w 2417513"/>
                  <a:gd name="connsiteY9142" fmla="*/ 1550208 h 1867037"/>
                  <a:gd name="connsiteX9143" fmla="*/ 396227 w 2417513"/>
                  <a:gd name="connsiteY9143" fmla="*/ 1546875 h 1867037"/>
                  <a:gd name="connsiteX9144" fmla="*/ 397136 w 2417513"/>
                  <a:gd name="connsiteY9144" fmla="*/ 1550360 h 1867037"/>
                  <a:gd name="connsiteX9145" fmla="*/ 396075 w 2417513"/>
                  <a:gd name="connsiteY9145" fmla="*/ 1553693 h 1867037"/>
                  <a:gd name="connsiteX9146" fmla="*/ 396984 w 2417513"/>
                  <a:gd name="connsiteY9146" fmla="*/ 1554602 h 1867037"/>
                  <a:gd name="connsiteX9147" fmla="*/ 398954 w 2417513"/>
                  <a:gd name="connsiteY9147" fmla="*/ 1554299 h 1867037"/>
                  <a:gd name="connsiteX9148" fmla="*/ 400166 w 2417513"/>
                  <a:gd name="connsiteY9148" fmla="*/ 1554754 h 1867037"/>
                  <a:gd name="connsiteX9149" fmla="*/ 399560 w 2417513"/>
                  <a:gd name="connsiteY9149" fmla="*/ 1555814 h 1867037"/>
                  <a:gd name="connsiteX9150" fmla="*/ 397439 w 2417513"/>
                  <a:gd name="connsiteY9150" fmla="*/ 1557178 h 1867037"/>
                  <a:gd name="connsiteX9151" fmla="*/ 396227 w 2417513"/>
                  <a:gd name="connsiteY9151" fmla="*/ 1558693 h 1867037"/>
                  <a:gd name="connsiteX9152" fmla="*/ 396378 w 2417513"/>
                  <a:gd name="connsiteY9152" fmla="*/ 1560360 h 1867037"/>
                  <a:gd name="connsiteX9153" fmla="*/ 396984 w 2417513"/>
                  <a:gd name="connsiteY9153" fmla="*/ 1560663 h 1867037"/>
                  <a:gd name="connsiteX9154" fmla="*/ 400318 w 2417513"/>
                  <a:gd name="connsiteY9154" fmla="*/ 1560815 h 1867037"/>
                  <a:gd name="connsiteX9155" fmla="*/ 410924 w 2417513"/>
                  <a:gd name="connsiteY9155" fmla="*/ 1559148 h 1867037"/>
                  <a:gd name="connsiteX9156" fmla="*/ 413046 w 2417513"/>
                  <a:gd name="connsiteY9156" fmla="*/ 1559451 h 1867037"/>
                  <a:gd name="connsiteX9157" fmla="*/ 413197 w 2417513"/>
                  <a:gd name="connsiteY9157" fmla="*/ 1560209 h 1867037"/>
                  <a:gd name="connsiteX9158" fmla="*/ 408500 w 2417513"/>
                  <a:gd name="connsiteY9158" fmla="*/ 1560966 h 1867037"/>
                  <a:gd name="connsiteX9159" fmla="*/ 403803 w 2417513"/>
                  <a:gd name="connsiteY9159" fmla="*/ 1562481 h 1867037"/>
                  <a:gd name="connsiteX9160" fmla="*/ 398954 w 2417513"/>
                  <a:gd name="connsiteY9160" fmla="*/ 1563087 h 1867037"/>
                  <a:gd name="connsiteX9161" fmla="*/ 398045 w 2417513"/>
                  <a:gd name="connsiteY9161" fmla="*/ 1563845 h 1867037"/>
                  <a:gd name="connsiteX9162" fmla="*/ 398045 w 2417513"/>
                  <a:gd name="connsiteY9162" fmla="*/ 1565209 h 1867037"/>
                  <a:gd name="connsiteX9163" fmla="*/ 399257 w 2417513"/>
                  <a:gd name="connsiteY9163" fmla="*/ 1565966 h 1867037"/>
                  <a:gd name="connsiteX9164" fmla="*/ 403803 w 2417513"/>
                  <a:gd name="connsiteY9164" fmla="*/ 1566269 h 1867037"/>
                  <a:gd name="connsiteX9165" fmla="*/ 407742 w 2417513"/>
                  <a:gd name="connsiteY9165" fmla="*/ 1567178 h 1867037"/>
                  <a:gd name="connsiteX9166" fmla="*/ 409712 w 2417513"/>
                  <a:gd name="connsiteY9166" fmla="*/ 1567178 h 1867037"/>
                  <a:gd name="connsiteX9167" fmla="*/ 411379 w 2417513"/>
                  <a:gd name="connsiteY9167" fmla="*/ 1567481 h 1867037"/>
                  <a:gd name="connsiteX9168" fmla="*/ 414864 w 2417513"/>
                  <a:gd name="connsiteY9168" fmla="*/ 1566572 h 1867037"/>
                  <a:gd name="connsiteX9169" fmla="*/ 416682 w 2417513"/>
                  <a:gd name="connsiteY9169" fmla="*/ 1566724 h 1867037"/>
                  <a:gd name="connsiteX9170" fmla="*/ 417591 w 2417513"/>
                  <a:gd name="connsiteY9170" fmla="*/ 1567785 h 1867037"/>
                  <a:gd name="connsiteX9171" fmla="*/ 418803 w 2417513"/>
                  <a:gd name="connsiteY9171" fmla="*/ 1568239 h 1867037"/>
                  <a:gd name="connsiteX9172" fmla="*/ 420319 w 2417513"/>
                  <a:gd name="connsiteY9172" fmla="*/ 1568239 h 1867037"/>
                  <a:gd name="connsiteX9173" fmla="*/ 421228 w 2417513"/>
                  <a:gd name="connsiteY9173" fmla="*/ 1567481 h 1867037"/>
                  <a:gd name="connsiteX9174" fmla="*/ 421834 w 2417513"/>
                  <a:gd name="connsiteY9174" fmla="*/ 1564300 h 1867037"/>
                  <a:gd name="connsiteX9175" fmla="*/ 422591 w 2417513"/>
                  <a:gd name="connsiteY9175" fmla="*/ 1562027 h 1867037"/>
                  <a:gd name="connsiteX9176" fmla="*/ 423046 w 2417513"/>
                  <a:gd name="connsiteY9176" fmla="*/ 1561572 h 1867037"/>
                  <a:gd name="connsiteX9177" fmla="*/ 423349 w 2417513"/>
                  <a:gd name="connsiteY9177" fmla="*/ 1565663 h 1867037"/>
                  <a:gd name="connsiteX9178" fmla="*/ 423804 w 2417513"/>
                  <a:gd name="connsiteY9178" fmla="*/ 1566572 h 1867037"/>
                  <a:gd name="connsiteX9179" fmla="*/ 424713 w 2417513"/>
                  <a:gd name="connsiteY9179" fmla="*/ 1566875 h 1867037"/>
                  <a:gd name="connsiteX9180" fmla="*/ 431986 w 2417513"/>
                  <a:gd name="connsiteY9180" fmla="*/ 1567633 h 1867037"/>
                  <a:gd name="connsiteX9181" fmla="*/ 436077 w 2417513"/>
                  <a:gd name="connsiteY9181" fmla="*/ 1566269 h 1867037"/>
                  <a:gd name="connsiteX9182" fmla="*/ 438047 w 2417513"/>
                  <a:gd name="connsiteY9182" fmla="*/ 1563390 h 1867037"/>
                  <a:gd name="connsiteX9183" fmla="*/ 439259 w 2417513"/>
                  <a:gd name="connsiteY9183" fmla="*/ 1560815 h 1867037"/>
                  <a:gd name="connsiteX9184" fmla="*/ 439562 w 2417513"/>
                  <a:gd name="connsiteY9184" fmla="*/ 1558845 h 1867037"/>
                  <a:gd name="connsiteX9185" fmla="*/ 439107 w 2417513"/>
                  <a:gd name="connsiteY9185" fmla="*/ 1557178 h 1867037"/>
                  <a:gd name="connsiteX9186" fmla="*/ 439562 w 2417513"/>
                  <a:gd name="connsiteY9186" fmla="*/ 1555511 h 1867037"/>
                  <a:gd name="connsiteX9187" fmla="*/ 441532 w 2417513"/>
                  <a:gd name="connsiteY9187" fmla="*/ 1553239 h 1867037"/>
                  <a:gd name="connsiteX9188" fmla="*/ 441077 w 2417513"/>
                  <a:gd name="connsiteY9188" fmla="*/ 1554905 h 1867037"/>
                  <a:gd name="connsiteX9189" fmla="*/ 441532 w 2417513"/>
                  <a:gd name="connsiteY9189" fmla="*/ 1558845 h 1867037"/>
                  <a:gd name="connsiteX9190" fmla="*/ 441683 w 2417513"/>
                  <a:gd name="connsiteY9190" fmla="*/ 1560663 h 1867037"/>
                  <a:gd name="connsiteX9191" fmla="*/ 441380 w 2417513"/>
                  <a:gd name="connsiteY9191" fmla="*/ 1561724 h 1867037"/>
                  <a:gd name="connsiteX9192" fmla="*/ 439410 w 2417513"/>
                  <a:gd name="connsiteY9192" fmla="*/ 1565360 h 1867037"/>
                  <a:gd name="connsiteX9193" fmla="*/ 436077 w 2417513"/>
                  <a:gd name="connsiteY9193" fmla="*/ 1569603 h 1867037"/>
                  <a:gd name="connsiteX9194" fmla="*/ 436380 w 2417513"/>
                  <a:gd name="connsiteY9194" fmla="*/ 1571573 h 1867037"/>
                  <a:gd name="connsiteX9195" fmla="*/ 437895 w 2417513"/>
                  <a:gd name="connsiteY9195" fmla="*/ 1571876 h 1867037"/>
                  <a:gd name="connsiteX9196" fmla="*/ 439259 w 2417513"/>
                  <a:gd name="connsiteY9196" fmla="*/ 1573997 h 1867037"/>
                  <a:gd name="connsiteX9197" fmla="*/ 439259 w 2417513"/>
                  <a:gd name="connsiteY9197" fmla="*/ 1575361 h 1867037"/>
                  <a:gd name="connsiteX9198" fmla="*/ 443350 w 2417513"/>
                  <a:gd name="connsiteY9198" fmla="*/ 1582027 h 1867037"/>
                  <a:gd name="connsiteX9199" fmla="*/ 443350 w 2417513"/>
                  <a:gd name="connsiteY9199" fmla="*/ 1583846 h 1867037"/>
                  <a:gd name="connsiteX9200" fmla="*/ 445471 w 2417513"/>
                  <a:gd name="connsiteY9200" fmla="*/ 1586119 h 1867037"/>
                  <a:gd name="connsiteX9201" fmla="*/ 451532 w 2417513"/>
                  <a:gd name="connsiteY9201" fmla="*/ 1591422 h 1867037"/>
                  <a:gd name="connsiteX9202" fmla="*/ 453502 w 2417513"/>
                  <a:gd name="connsiteY9202" fmla="*/ 1592482 h 1867037"/>
                  <a:gd name="connsiteX9203" fmla="*/ 457138 w 2417513"/>
                  <a:gd name="connsiteY9203" fmla="*/ 1592634 h 1867037"/>
                  <a:gd name="connsiteX9204" fmla="*/ 460926 w 2417513"/>
                  <a:gd name="connsiteY9204" fmla="*/ 1591876 h 1867037"/>
                  <a:gd name="connsiteX9205" fmla="*/ 463199 w 2417513"/>
                  <a:gd name="connsiteY9205" fmla="*/ 1589755 h 1867037"/>
                  <a:gd name="connsiteX9206" fmla="*/ 465169 w 2417513"/>
                  <a:gd name="connsiteY9206" fmla="*/ 1588997 h 1867037"/>
                  <a:gd name="connsiteX9207" fmla="*/ 465472 w 2417513"/>
                  <a:gd name="connsiteY9207" fmla="*/ 1588391 h 1867037"/>
                  <a:gd name="connsiteX9208" fmla="*/ 465472 w 2417513"/>
                  <a:gd name="connsiteY9208" fmla="*/ 1585664 h 1867037"/>
                  <a:gd name="connsiteX9209" fmla="*/ 465926 w 2417513"/>
                  <a:gd name="connsiteY9209" fmla="*/ 1584906 h 1867037"/>
                  <a:gd name="connsiteX9210" fmla="*/ 468502 w 2417513"/>
                  <a:gd name="connsiteY9210" fmla="*/ 1582027 h 1867037"/>
                  <a:gd name="connsiteX9211" fmla="*/ 468502 w 2417513"/>
                  <a:gd name="connsiteY9211" fmla="*/ 1580967 h 1867037"/>
                  <a:gd name="connsiteX9212" fmla="*/ 466229 w 2417513"/>
                  <a:gd name="connsiteY9212" fmla="*/ 1578088 h 1867037"/>
                  <a:gd name="connsiteX9213" fmla="*/ 466532 w 2417513"/>
                  <a:gd name="connsiteY9213" fmla="*/ 1577936 h 1867037"/>
                  <a:gd name="connsiteX9214" fmla="*/ 468048 w 2417513"/>
                  <a:gd name="connsiteY9214" fmla="*/ 1578391 h 1867037"/>
                  <a:gd name="connsiteX9215" fmla="*/ 469563 w 2417513"/>
                  <a:gd name="connsiteY9215" fmla="*/ 1579452 h 1867037"/>
                  <a:gd name="connsiteX9216" fmla="*/ 470624 w 2417513"/>
                  <a:gd name="connsiteY9216" fmla="*/ 1580815 h 1867037"/>
                  <a:gd name="connsiteX9217" fmla="*/ 470775 w 2417513"/>
                  <a:gd name="connsiteY9217" fmla="*/ 1581421 h 1867037"/>
                  <a:gd name="connsiteX9218" fmla="*/ 469714 w 2417513"/>
                  <a:gd name="connsiteY9218" fmla="*/ 1582937 h 1867037"/>
                  <a:gd name="connsiteX9219" fmla="*/ 468048 w 2417513"/>
                  <a:gd name="connsiteY9219" fmla="*/ 1583846 h 1867037"/>
                  <a:gd name="connsiteX9220" fmla="*/ 467593 w 2417513"/>
                  <a:gd name="connsiteY9220" fmla="*/ 1585058 h 1867037"/>
                  <a:gd name="connsiteX9221" fmla="*/ 467593 w 2417513"/>
                  <a:gd name="connsiteY9221" fmla="*/ 1591725 h 1867037"/>
                  <a:gd name="connsiteX9222" fmla="*/ 468351 w 2417513"/>
                  <a:gd name="connsiteY9222" fmla="*/ 1593846 h 1867037"/>
                  <a:gd name="connsiteX9223" fmla="*/ 469866 w 2417513"/>
                  <a:gd name="connsiteY9223" fmla="*/ 1595664 h 1867037"/>
                  <a:gd name="connsiteX9224" fmla="*/ 471381 w 2417513"/>
                  <a:gd name="connsiteY9224" fmla="*/ 1596573 h 1867037"/>
                  <a:gd name="connsiteX9225" fmla="*/ 472896 w 2417513"/>
                  <a:gd name="connsiteY9225" fmla="*/ 1596573 h 1867037"/>
                  <a:gd name="connsiteX9226" fmla="*/ 476381 w 2417513"/>
                  <a:gd name="connsiteY9226" fmla="*/ 1595664 h 1867037"/>
                  <a:gd name="connsiteX9227" fmla="*/ 475624 w 2417513"/>
                  <a:gd name="connsiteY9227" fmla="*/ 1596573 h 1867037"/>
                  <a:gd name="connsiteX9228" fmla="*/ 472139 w 2417513"/>
                  <a:gd name="connsiteY9228" fmla="*/ 1598846 h 1867037"/>
                  <a:gd name="connsiteX9229" fmla="*/ 470017 w 2417513"/>
                  <a:gd name="connsiteY9229" fmla="*/ 1599149 h 1867037"/>
                  <a:gd name="connsiteX9230" fmla="*/ 469260 w 2417513"/>
                  <a:gd name="connsiteY9230" fmla="*/ 1597331 h 1867037"/>
                  <a:gd name="connsiteX9231" fmla="*/ 467139 w 2417513"/>
                  <a:gd name="connsiteY9231" fmla="*/ 1594452 h 1867037"/>
                  <a:gd name="connsiteX9232" fmla="*/ 466078 w 2417513"/>
                  <a:gd name="connsiteY9232" fmla="*/ 1593846 h 1867037"/>
                  <a:gd name="connsiteX9233" fmla="*/ 465169 w 2417513"/>
                  <a:gd name="connsiteY9233" fmla="*/ 1593846 h 1867037"/>
                  <a:gd name="connsiteX9234" fmla="*/ 464563 w 2417513"/>
                  <a:gd name="connsiteY9234" fmla="*/ 1595361 h 1867037"/>
                  <a:gd name="connsiteX9235" fmla="*/ 463805 w 2417513"/>
                  <a:gd name="connsiteY9235" fmla="*/ 1597179 h 1867037"/>
                  <a:gd name="connsiteX9236" fmla="*/ 464563 w 2417513"/>
                  <a:gd name="connsiteY9236" fmla="*/ 1599301 h 1867037"/>
                  <a:gd name="connsiteX9237" fmla="*/ 466684 w 2417513"/>
                  <a:gd name="connsiteY9237" fmla="*/ 1601725 h 1867037"/>
                  <a:gd name="connsiteX9238" fmla="*/ 468199 w 2417513"/>
                  <a:gd name="connsiteY9238" fmla="*/ 1603089 h 1867037"/>
                  <a:gd name="connsiteX9239" fmla="*/ 469108 w 2417513"/>
                  <a:gd name="connsiteY9239" fmla="*/ 1603543 h 1867037"/>
                  <a:gd name="connsiteX9240" fmla="*/ 478048 w 2417513"/>
                  <a:gd name="connsiteY9240" fmla="*/ 1606574 h 1867037"/>
                  <a:gd name="connsiteX9241" fmla="*/ 478654 w 2417513"/>
                  <a:gd name="connsiteY9241" fmla="*/ 1606422 h 1867037"/>
                  <a:gd name="connsiteX9242" fmla="*/ 480624 w 2417513"/>
                  <a:gd name="connsiteY9242" fmla="*/ 1604756 h 1867037"/>
                  <a:gd name="connsiteX9243" fmla="*/ 481684 w 2417513"/>
                  <a:gd name="connsiteY9243" fmla="*/ 1605059 h 1867037"/>
                  <a:gd name="connsiteX9244" fmla="*/ 483351 w 2417513"/>
                  <a:gd name="connsiteY9244" fmla="*/ 1604453 h 1867037"/>
                  <a:gd name="connsiteX9245" fmla="*/ 483654 w 2417513"/>
                  <a:gd name="connsiteY9245" fmla="*/ 1602331 h 1867037"/>
                  <a:gd name="connsiteX9246" fmla="*/ 483200 w 2417513"/>
                  <a:gd name="connsiteY9246" fmla="*/ 1601271 h 1867037"/>
                  <a:gd name="connsiteX9247" fmla="*/ 483503 w 2417513"/>
                  <a:gd name="connsiteY9247" fmla="*/ 1600058 h 1867037"/>
                  <a:gd name="connsiteX9248" fmla="*/ 487291 w 2417513"/>
                  <a:gd name="connsiteY9248" fmla="*/ 1596422 h 1867037"/>
                  <a:gd name="connsiteX9249" fmla="*/ 487442 w 2417513"/>
                  <a:gd name="connsiteY9249" fmla="*/ 1596725 h 1867037"/>
                  <a:gd name="connsiteX9250" fmla="*/ 487139 w 2417513"/>
                  <a:gd name="connsiteY9250" fmla="*/ 1597786 h 1867037"/>
                  <a:gd name="connsiteX9251" fmla="*/ 486230 w 2417513"/>
                  <a:gd name="connsiteY9251" fmla="*/ 1599755 h 1867037"/>
                  <a:gd name="connsiteX9252" fmla="*/ 485624 w 2417513"/>
                  <a:gd name="connsiteY9252" fmla="*/ 1605059 h 1867037"/>
                  <a:gd name="connsiteX9253" fmla="*/ 485170 w 2417513"/>
                  <a:gd name="connsiteY9253" fmla="*/ 1606877 h 1867037"/>
                  <a:gd name="connsiteX9254" fmla="*/ 484563 w 2417513"/>
                  <a:gd name="connsiteY9254" fmla="*/ 1607483 h 1867037"/>
                  <a:gd name="connsiteX9255" fmla="*/ 484412 w 2417513"/>
                  <a:gd name="connsiteY9255" fmla="*/ 1608089 h 1867037"/>
                  <a:gd name="connsiteX9256" fmla="*/ 484715 w 2417513"/>
                  <a:gd name="connsiteY9256" fmla="*/ 1608695 h 1867037"/>
                  <a:gd name="connsiteX9257" fmla="*/ 487594 w 2417513"/>
                  <a:gd name="connsiteY9257" fmla="*/ 1608544 h 1867037"/>
                  <a:gd name="connsiteX9258" fmla="*/ 491988 w 2417513"/>
                  <a:gd name="connsiteY9258" fmla="*/ 1609453 h 1867037"/>
                  <a:gd name="connsiteX9259" fmla="*/ 493352 w 2417513"/>
                  <a:gd name="connsiteY9259" fmla="*/ 1609150 h 1867037"/>
                  <a:gd name="connsiteX9260" fmla="*/ 495624 w 2417513"/>
                  <a:gd name="connsiteY9260" fmla="*/ 1606725 h 1867037"/>
                  <a:gd name="connsiteX9261" fmla="*/ 494715 w 2417513"/>
                  <a:gd name="connsiteY9261" fmla="*/ 1609453 h 1867037"/>
                  <a:gd name="connsiteX9262" fmla="*/ 493806 w 2417513"/>
                  <a:gd name="connsiteY9262" fmla="*/ 1610513 h 1867037"/>
                  <a:gd name="connsiteX9263" fmla="*/ 490473 w 2417513"/>
                  <a:gd name="connsiteY9263" fmla="*/ 1610513 h 1867037"/>
                  <a:gd name="connsiteX9264" fmla="*/ 487291 w 2417513"/>
                  <a:gd name="connsiteY9264" fmla="*/ 1610968 h 1867037"/>
                  <a:gd name="connsiteX9265" fmla="*/ 486079 w 2417513"/>
                  <a:gd name="connsiteY9265" fmla="*/ 1611574 h 1867037"/>
                  <a:gd name="connsiteX9266" fmla="*/ 487139 w 2417513"/>
                  <a:gd name="connsiteY9266" fmla="*/ 1613089 h 1867037"/>
                  <a:gd name="connsiteX9267" fmla="*/ 486988 w 2417513"/>
                  <a:gd name="connsiteY9267" fmla="*/ 1615665 h 1867037"/>
                  <a:gd name="connsiteX9268" fmla="*/ 487442 w 2417513"/>
                  <a:gd name="connsiteY9268" fmla="*/ 1616271 h 1867037"/>
                  <a:gd name="connsiteX9269" fmla="*/ 488351 w 2417513"/>
                  <a:gd name="connsiteY9269" fmla="*/ 1616574 h 1867037"/>
                  <a:gd name="connsiteX9270" fmla="*/ 490321 w 2417513"/>
                  <a:gd name="connsiteY9270" fmla="*/ 1616271 h 1867037"/>
                  <a:gd name="connsiteX9271" fmla="*/ 490321 w 2417513"/>
                  <a:gd name="connsiteY9271" fmla="*/ 1616726 h 1867037"/>
                  <a:gd name="connsiteX9272" fmla="*/ 489412 w 2417513"/>
                  <a:gd name="connsiteY9272" fmla="*/ 1617938 h 1867037"/>
                  <a:gd name="connsiteX9273" fmla="*/ 489109 w 2417513"/>
                  <a:gd name="connsiteY9273" fmla="*/ 1618998 h 1867037"/>
                  <a:gd name="connsiteX9274" fmla="*/ 490018 w 2417513"/>
                  <a:gd name="connsiteY9274" fmla="*/ 1621271 h 1867037"/>
                  <a:gd name="connsiteX9275" fmla="*/ 490321 w 2417513"/>
                  <a:gd name="connsiteY9275" fmla="*/ 1621726 h 1867037"/>
                  <a:gd name="connsiteX9276" fmla="*/ 490776 w 2417513"/>
                  <a:gd name="connsiteY9276" fmla="*/ 1621877 h 1867037"/>
                  <a:gd name="connsiteX9277" fmla="*/ 491230 w 2417513"/>
                  <a:gd name="connsiteY9277" fmla="*/ 1621271 h 1867037"/>
                  <a:gd name="connsiteX9278" fmla="*/ 491836 w 2417513"/>
                  <a:gd name="connsiteY9278" fmla="*/ 1619605 h 1867037"/>
                  <a:gd name="connsiteX9279" fmla="*/ 492594 w 2417513"/>
                  <a:gd name="connsiteY9279" fmla="*/ 1618847 h 1867037"/>
                  <a:gd name="connsiteX9280" fmla="*/ 493655 w 2417513"/>
                  <a:gd name="connsiteY9280" fmla="*/ 1618392 h 1867037"/>
                  <a:gd name="connsiteX9281" fmla="*/ 494715 w 2417513"/>
                  <a:gd name="connsiteY9281" fmla="*/ 1618392 h 1867037"/>
                  <a:gd name="connsiteX9282" fmla="*/ 497443 w 2417513"/>
                  <a:gd name="connsiteY9282" fmla="*/ 1620059 h 1867037"/>
                  <a:gd name="connsiteX9283" fmla="*/ 498503 w 2417513"/>
                  <a:gd name="connsiteY9283" fmla="*/ 1621271 h 1867037"/>
                  <a:gd name="connsiteX9284" fmla="*/ 582900 w 2417513"/>
                  <a:gd name="connsiteY9284" fmla="*/ 1621271 h 1867037"/>
                  <a:gd name="connsiteX9285" fmla="*/ 594568 w 2417513"/>
                  <a:gd name="connsiteY9285" fmla="*/ 1621271 h 1867037"/>
                  <a:gd name="connsiteX9286" fmla="*/ 862911 w 2417513"/>
                  <a:gd name="connsiteY9286" fmla="*/ 1621271 h 1867037"/>
                  <a:gd name="connsiteX9287" fmla="*/ 874578 w 2417513"/>
                  <a:gd name="connsiteY9287" fmla="*/ 1621271 h 1867037"/>
                  <a:gd name="connsiteX9288" fmla="*/ 1142921 w 2417513"/>
                  <a:gd name="connsiteY9288" fmla="*/ 1621271 h 1867037"/>
                  <a:gd name="connsiteX9289" fmla="*/ 1154588 w 2417513"/>
                  <a:gd name="connsiteY9289" fmla="*/ 1621271 h 1867037"/>
                  <a:gd name="connsiteX9290" fmla="*/ 1247925 w 2417513"/>
                  <a:gd name="connsiteY9290" fmla="*/ 1621271 h 1867037"/>
                  <a:gd name="connsiteX9291" fmla="*/ 1254441 w 2417513"/>
                  <a:gd name="connsiteY9291" fmla="*/ 1621271 h 1867037"/>
                  <a:gd name="connsiteX9292" fmla="*/ 1254592 w 2417513"/>
                  <a:gd name="connsiteY9292" fmla="*/ 1613847 h 1867037"/>
                  <a:gd name="connsiteX9293" fmla="*/ 1254743 w 2417513"/>
                  <a:gd name="connsiteY9293" fmla="*/ 1607938 h 1867037"/>
                  <a:gd name="connsiteX9294" fmla="*/ 1260653 w 2417513"/>
                  <a:gd name="connsiteY9294" fmla="*/ 1608695 h 1867037"/>
                  <a:gd name="connsiteX9295" fmla="*/ 1262471 w 2417513"/>
                  <a:gd name="connsiteY9295" fmla="*/ 1609756 h 1867037"/>
                  <a:gd name="connsiteX9296" fmla="*/ 1263077 w 2417513"/>
                  <a:gd name="connsiteY9296" fmla="*/ 1610210 h 1867037"/>
                  <a:gd name="connsiteX9297" fmla="*/ 1262926 w 2417513"/>
                  <a:gd name="connsiteY9297" fmla="*/ 1611877 h 1867037"/>
                  <a:gd name="connsiteX9298" fmla="*/ 1263380 w 2417513"/>
                  <a:gd name="connsiteY9298" fmla="*/ 1616877 h 1867037"/>
                  <a:gd name="connsiteX9299" fmla="*/ 1264441 w 2417513"/>
                  <a:gd name="connsiteY9299" fmla="*/ 1620968 h 1867037"/>
                  <a:gd name="connsiteX9300" fmla="*/ 1266865 w 2417513"/>
                  <a:gd name="connsiteY9300" fmla="*/ 1625817 h 1867037"/>
                  <a:gd name="connsiteX9301" fmla="*/ 1266865 w 2417513"/>
                  <a:gd name="connsiteY9301" fmla="*/ 1625817 h 1867037"/>
                  <a:gd name="connsiteX9302" fmla="*/ 1267017 w 2417513"/>
                  <a:gd name="connsiteY9302" fmla="*/ 1627787 h 1867037"/>
                  <a:gd name="connsiteX9303" fmla="*/ 1267774 w 2417513"/>
                  <a:gd name="connsiteY9303" fmla="*/ 1628999 h 1867037"/>
                  <a:gd name="connsiteX9304" fmla="*/ 1269290 w 2417513"/>
                  <a:gd name="connsiteY9304" fmla="*/ 1630060 h 1867037"/>
                  <a:gd name="connsiteX9305" fmla="*/ 1274896 w 2417513"/>
                  <a:gd name="connsiteY9305" fmla="*/ 1631423 h 1867037"/>
                  <a:gd name="connsiteX9306" fmla="*/ 1284745 w 2417513"/>
                  <a:gd name="connsiteY9306" fmla="*/ 1632938 h 1867037"/>
                  <a:gd name="connsiteX9307" fmla="*/ 1290351 w 2417513"/>
                  <a:gd name="connsiteY9307" fmla="*/ 1634757 h 1867037"/>
                  <a:gd name="connsiteX9308" fmla="*/ 1291715 w 2417513"/>
                  <a:gd name="connsiteY9308" fmla="*/ 1636878 h 1867037"/>
                  <a:gd name="connsiteX9309" fmla="*/ 1294290 w 2417513"/>
                  <a:gd name="connsiteY9309" fmla="*/ 1637636 h 1867037"/>
                  <a:gd name="connsiteX9310" fmla="*/ 1298230 w 2417513"/>
                  <a:gd name="connsiteY9310" fmla="*/ 1637181 h 1867037"/>
                  <a:gd name="connsiteX9311" fmla="*/ 1300957 w 2417513"/>
                  <a:gd name="connsiteY9311" fmla="*/ 1636272 h 1867037"/>
                  <a:gd name="connsiteX9312" fmla="*/ 1303230 w 2417513"/>
                  <a:gd name="connsiteY9312" fmla="*/ 1634302 h 1867037"/>
                  <a:gd name="connsiteX9313" fmla="*/ 1306564 w 2417513"/>
                  <a:gd name="connsiteY9313" fmla="*/ 1633848 h 1867037"/>
                  <a:gd name="connsiteX9314" fmla="*/ 1309442 w 2417513"/>
                  <a:gd name="connsiteY9314" fmla="*/ 1633999 h 1867037"/>
                  <a:gd name="connsiteX9315" fmla="*/ 1312321 w 2417513"/>
                  <a:gd name="connsiteY9315" fmla="*/ 1634151 h 1867037"/>
                  <a:gd name="connsiteX9316" fmla="*/ 1313837 w 2417513"/>
                  <a:gd name="connsiteY9316" fmla="*/ 1634454 h 1867037"/>
                  <a:gd name="connsiteX9317" fmla="*/ 1318231 w 2417513"/>
                  <a:gd name="connsiteY9317" fmla="*/ 1635969 h 1867037"/>
                  <a:gd name="connsiteX9318" fmla="*/ 1321110 w 2417513"/>
                  <a:gd name="connsiteY9318" fmla="*/ 1637181 h 1867037"/>
                  <a:gd name="connsiteX9319" fmla="*/ 1325201 w 2417513"/>
                  <a:gd name="connsiteY9319" fmla="*/ 1639454 h 1867037"/>
                  <a:gd name="connsiteX9320" fmla="*/ 1327473 w 2417513"/>
                  <a:gd name="connsiteY9320" fmla="*/ 1640514 h 1867037"/>
                  <a:gd name="connsiteX9321" fmla="*/ 1328534 w 2417513"/>
                  <a:gd name="connsiteY9321" fmla="*/ 1642939 h 1867037"/>
                  <a:gd name="connsiteX9322" fmla="*/ 1329746 w 2417513"/>
                  <a:gd name="connsiteY9322" fmla="*/ 1646121 h 1867037"/>
                  <a:gd name="connsiteX9323" fmla="*/ 1331565 w 2417513"/>
                  <a:gd name="connsiteY9323" fmla="*/ 1646121 h 1867037"/>
                  <a:gd name="connsiteX9324" fmla="*/ 1332928 w 2417513"/>
                  <a:gd name="connsiteY9324" fmla="*/ 1644302 h 1867037"/>
                  <a:gd name="connsiteX9325" fmla="*/ 1336413 w 2417513"/>
                  <a:gd name="connsiteY9325" fmla="*/ 1643999 h 1867037"/>
                  <a:gd name="connsiteX9326" fmla="*/ 1340959 w 2417513"/>
                  <a:gd name="connsiteY9326" fmla="*/ 1645212 h 1867037"/>
                  <a:gd name="connsiteX9327" fmla="*/ 1345050 w 2417513"/>
                  <a:gd name="connsiteY9327" fmla="*/ 1648848 h 1867037"/>
                  <a:gd name="connsiteX9328" fmla="*/ 1350808 w 2417513"/>
                  <a:gd name="connsiteY9328" fmla="*/ 1652030 h 1867037"/>
                  <a:gd name="connsiteX9329" fmla="*/ 1354293 w 2417513"/>
                  <a:gd name="connsiteY9329" fmla="*/ 1653697 h 1867037"/>
                  <a:gd name="connsiteX9330" fmla="*/ 1357929 w 2417513"/>
                  <a:gd name="connsiteY9330" fmla="*/ 1653697 h 1867037"/>
                  <a:gd name="connsiteX9331" fmla="*/ 1362475 w 2417513"/>
                  <a:gd name="connsiteY9331" fmla="*/ 1652030 h 1867037"/>
                  <a:gd name="connsiteX9332" fmla="*/ 1367324 w 2417513"/>
                  <a:gd name="connsiteY9332" fmla="*/ 1648848 h 1867037"/>
                  <a:gd name="connsiteX9333" fmla="*/ 1370808 w 2417513"/>
                  <a:gd name="connsiteY9333" fmla="*/ 1648242 h 1867037"/>
                  <a:gd name="connsiteX9334" fmla="*/ 1372930 w 2417513"/>
                  <a:gd name="connsiteY9334" fmla="*/ 1648545 h 1867037"/>
                  <a:gd name="connsiteX9335" fmla="*/ 1374142 w 2417513"/>
                  <a:gd name="connsiteY9335" fmla="*/ 1650969 h 1867037"/>
                  <a:gd name="connsiteX9336" fmla="*/ 1375657 w 2417513"/>
                  <a:gd name="connsiteY9336" fmla="*/ 1651878 h 1867037"/>
                  <a:gd name="connsiteX9337" fmla="*/ 1379445 w 2417513"/>
                  <a:gd name="connsiteY9337" fmla="*/ 1651575 h 1867037"/>
                  <a:gd name="connsiteX9338" fmla="*/ 1387324 w 2417513"/>
                  <a:gd name="connsiteY9338" fmla="*/ 1652030 h 1867037"/>
                  <a:gd name="connsiteX9339" fmla="*/ 1393537 w 2417513"/>
                  <a:gd name="connsiteY9339" fmla="*/ 1651424 h 1867037"/>
                  <a:gd name="connsiteX9340" fmla="*/ 1394900 w 2417513"/>
                  <a:gd name="connsiteY9340" fmla="*/ 1652788 h 1867037"/>
                  <a:gd name="connsiteX9341" fmla="*/ 1396112 w 2417513"/>
                  <a:gd name="connsiteY9341" fmla="*/ 1654909 h 1867037"/>
                  <a:gd name="connsiteX9342" fmla="*/ 1398688 w 2417513"/>
                  <a:gd name="connsiteY9342" fmla="*/ 1655666 h 1867037"/>
                  <a:gd name="connsiteX9343" fmla="*/ 1402173 w 2417513"/>
                  <a:gd name="connsiteY9343" fmla="*/ 1654909 h 1867037"/>
                  <a:gd name="connsiteX9344" fmla="*/ 1407628 w 2417513"/>
                  <a:gd name="connsiteY9344" fmla="*/ 1655363 h 1867037"/>
                  <a:gd name="connsiteX9345" fmla="*/ 1408386 w 2417513"/>
                  <a:gd name="connsiteY9345" fmla="*/ 1654909 h 1867037"/>
                  <a:gd name="connsiteX9346" fmla="*/ 1411113 w 2417513"/>
                  <a:gd name="connsiteY9346" fmla="*/ 1652182 h 1867037"/>
                  <a:gd name="connsiteX9347" fmla="*/ 1411416 w 2417513"/>
                  <a:gd name="connsiteY9347" fmla="*/ 1651878 h 1867037"/>
                  <a:gd name="connsiteX9348" fmla="*/ 1413992 w 2417513"/>
                  <a:gd name="connsiteY9348" fmla="*/ 1651121 h 1867037"/>
                  <a:gd name="connsiteX9349" fmla="*/ 1414750 w 2417513"/>
                  <a:gd name="connsiteY9349" fmla="*/ 1649757 h 1867037"/>
                  <a:gd name="connsiteX9350" fmla="*/ 1415204 w 2417513"/>
                  <a:gd name="connsiteY9350" fmla="*/ 1648242 h 1867037"/>
                  <a:gd name="connsiteX9351" fmla="*/ 1416416 w 2417513"/>
                  <a:gd name="connsiteY9351" fmla="*/ 1645666 h 1867037"/>
                  <a:gd name="connsiteX9352" fmla="*/ 1417325 w 2417513"/>
                  <a:gd name="connsiteY9352" fmla="*/ 1644606 h 1867037"/>
                  <a:gd name="connsiteX9353" fmla="*/ 1417477 w 2417513"/>
                  <a:gd name="connsiteY9353" fmla="*/ 1643393 h 1867037"/>
                  <a:gd name="connsiteX9354" fmla="*/ 1417022 w 2417513"/>
                  <a:gd name="connsiteY9354" fmla="*/ 1642030 h 1867037"/>
                  <a:gd name="connsiteX9355" fmla="*/ 1417174 w 2417513"/>
                  <a:gd name="connsiteY9355" fmla="*/ 1640818 h 1867037"/>
                  <a:gd name="connsiteX9356" fmla="*/ 1417780 w 2417513"/>
                  <a:gd name="connsiteY9356" fmla="*/ 1639605 h 1867037"/>
                  <a:gd name="connsiteX9357" fmla="*/ 1420962 w 2417513"/>
                  <a:gd name="connsiteY9357" fmla="*/ 1637939 h 1867037"/>
                  <a:gd name="connsiteX9358" fmla="*/ 1429447 w 2417513"/>
                  <a:gd name="connsiteY9358" fmla="*/ 1634908 h 1867037"/>
                  <a:gd name="connsiteX9359" fmla="*/ 1429750 w 2417513"/>
                  <a:gd name="connsiteY9359" fmla="*/ 1635211 h 1867037"/>
                  <a:gd name="connsiteX9360" fmla="*/ 1428235 w 2417513"/>
                  <a:gd name="connsiteY9360" fmla="*/ 1637484 h 1867037"/>
                  <a:gd name="connsiteX9361" fmla="*/ 1426568 w 2417513"/>
                  <a:gd name="connsiteY9361" fmla="*/ 1641878 h 1867037"/>
                  <a:gd name="connsiteX9362" fmla="*/ 1425962 w 2417513"/>
                  <a:gd name="connsiteY9362" fmla="*/ 1642030 h 1867037"/>
                  <a:gd name="connsiteX9363" fmla="*/ 1425507 w 2417513"/>
                  <a:gd name="connsiteY9363" fmla="*/ 1642636 h 1867037"/>
                  <a:gd name="connsiteX9364" fmla="*/ 1425053 w 2417513"/>
                  <a:gd name="connsiteY9364" fmla="*/ 1643545 h 1867037"/>
                  <a:gd name="connsiteX9365" fmla="*/ 1426265 w 2417513"/>
                  <a:gd name="connsiteY9365" fmla="*/ 1643545 h 1867037"/>
                  <a:gd name="connsiteX9366" fmla="*/ 1429144 w 2417513"/>
                  <a:gd name="connsiteY9366" fmla="*/ 1642484 h 1867037"/>
                  <a:gd name="connsiteX9367" fmla="*/ 1430508 w 2417513"/>
                  <a:gd name="connsiteY9367" fmla="*/ 1641878 h 1867037"/>
                  <a:gd name="connsiteX9368" fmla="*/ 1430811 w 2417513"/>
                  <a:gd name="connsiteY9368" fmla="*/ 1640818 h 1867037"/>
                  <a:gd name="connsiteX9369" fmla="*/ 1431265 w 2417513"/>
                  <a:gd name="connsiteY9369" fmla="*/ 1638696 h 1867037"/>
                  <a:gd name="connsiteX9370" fmla="*/ 1431871 w 2417513"/>
                  <a:gd name="connsiteY9370" fmla="*/ 1637484 h 1867037"/>
                  <a:gd name="connsiteX9371" fmla="*/ 1432629 w 2417513"/>
                  <a:gd name="connsiteY9371" fmla="*/ 1637332 h 1867037"/>
                  <a:gd name="connsiteX9372" fmla="*/ 1433083 w 2417513"/>
                  <a:gd name="connsiteY9372" fmla="*/ 1636272 h 1867037"/>
                  <a:gd name="connsiteX9373" fmla="*/ 1433387 w 2417513"/>
                  <a:gd name="connsiteY9373" fmla="*/ 1634454 h 1867037"/>
                  <a:gd name="connsiteX9374" fmla="*/ 1433993 w 2417513"/>
                  <a:gd name="connsiteY9374" fmla="*/ 1633393 h 1867037"/>
                  <a:gd name="connsiteX9375" fmla="*/ 1435053 w 2417513"/>
                  <a:gd name="connsiteY9375" fmla="*/ 1633090 h 1867037"/>
                  <a:gd name="connsiteX9376" fmla="*/ 1435508 w 2417513"/>
                  <a:gd name="connsiteY9376" fmla="*/ 1632484 h 1867037"/>
                  <a:gd name="connsiteX9377" fmla="*/ 1435508 w 2417513"/>
                  <a:gd name="connsiteY9377" fmla="*/ 1631575 h 1867037"/>
                  <a:gd name="connsiteX9378" fmla="*/ 1435811 w 2417513"/>
                  <a:gd name="connsiteY9378" fmla="*/ 1629150 h 1867037"/>
                  <a:gd name="connsiteX9379" fmla="*/ 1435962 w 2417513"/>
                  <a:gd name="connsiteY9379" fmla="*/ 1627938 h 1867037"/>
                  <a:gd name="connsiteX9380" fmla="*/ 1436871 w 2417513"/>
                  <a:gd name="connsiteY9380" fmla="*/ 1626272 h 1867037"/>
                  <a:gd name="connsiteX9381" fmla="*/ 1438084 w 2417513"/>
                  <a:gd name="connsiteY9381" fmla="*/ 1625817 h 1867037"/>
                  <a:gd name="connsiteX9382" fmla="*/ 1439750 w 2417513"/>
                  <a:gd name="connsiteY9382" fmla="*/ 1625968 h 1867037"/>
                  <a:gd name="connsiteX9383" fmla="*/ 1440963 w 2417513"/>
                  <a:gd name="connsiteY9383" fmla="*/ 1626878 h 1867037"/>
                  <a:gd name="connsiteX9384" fmla="*/ 1441569 w 2417513"/>
                  <a:gd name="connsiteY9384" fmla="*/ 1628393 h 1867037"/>
                  <a:gd name="connsiteX9385" fmla="*/ 1441720 w 2417513"/>
                  <a:gd name="connsiteY9385" fmla="*/ 1629756 h 1867037"/>
                  <a:gd name="connsiteX9386" fmla="*/ 1441417 w 2417513"/>
                  <a:gd name="connsiteY9386" fmla="*/ 1630817 h 1867037"/>
                  <a:gd name="connsiteX9387" fmla="*/ 1439750 w 2417513"/>
                  <a:gd name="connsiteY9387" fmla="*/ 1632635 h 1867037"/>
                  <a:gd name="connsiteX9388" fmla="*/ 1435053 w 2417513"/>
                  <a:gd name="connsiteY9388" fmla="*/ 1637181 h 1867037"/>
                  <a:gd name="connsiteX9389" fmla="*/ 1434599 w 2417513"/>
                  <a:gd name="connsiteY9389" fmla="*/ 1638393 h 1867037"/>
                  <a:gd name="connsiteX9390" fmla="*/ 1435053 w 2417513"/>
                  <a:gd name="connsiteY9390" fmla="*/ 1638999 h 1867037"/>
                  <a:gd name="connsiteX9391" fmla="*/ 1435356 w 2417513"/>
                  <a:gd name="connsiteY9391" fmla="*/ 1639908 h 1867037"/>
                  <a:gd name="connsiteX9392" fmla="*/ 1435962 w 2417513"/>
                  <a:gd name="connsiteY9392" fmla="*/ 1640060 h 1867037"/>
                  <a:gd name="connsiteX9393" fmla="*/ 1437023 w 2417513"/>
                  <a:gd name="connsiteY9393" fmla="*/ 1639302 h 1867037"/>
                  <a:gd name="connsiteX9394" fmla="*/ 1437478 w 2417513"/>
                  <a:gd name="connsiteY9394" fmla="*/ 1638545 h 1867037"/>
                  <a:gd name="connsiteX9395" fmla="*/ 1437326 w 2417513"/>
                  <a:gd name="connsiteY9395" fmla="*/ 1637939 h 1867037"/>
                  <a:gd name="connsiteX9396" fmla="*/ 1437629 w 2417513"/>
                  <a:gd name="connsiteY9396" fmla="*/ 1637029 h 1867037"/>
                  <a:gd name="connsiteX9397" fmla="*/ 1438538 w 2417513"/>
                  <a:gd name="connsiteY9397" fmla="*/ 1635969 h 1867037"/>
                  <a:gd name="connsiteX9398" fmla="*/ 1439296 w 2417513"/>
                  <a:gd name="connsiteY9398" fmla="*/ 1635666 h 1867037"/>
                  <a:gd name="connsiteX9399" fmla="*/ 1439750 w 2417513"/>
                  <a:gd name="connsiteY9399" fmla="*/ 1636120 h 1867037"/>
                  <a:gd name="connsiteX9400" fmla="*/ 1440660 w 2417513"/>
                  <a:gd name="connsiteY9400" fmla="*/ 1635969 h 1867037"/>
                  <a:gd name="connsiteX9401" fmla="*/ 1441872 w 2417513"/>
                  <a:gd name="connsiteY9401" fmla="*/ 1635211 h 1867037"/>
                  <a:gd name="connsiteX9402" fmla="*/ 1443993 w 2417513"/>
                  <a:gd name="connsiteY9402" fmla="*/ 1634757 h 1867037"/>
                  <a:gd name="connsiteX9403" fmla="*/ 1444448 w 2417513"/>
                  <a:gd name="connsiteY9403" fmla="*/ 1634757 h 1867037"/>
                  <a:gd name="connsiteX9404" fmla="*/ 1447023 w 2417513"/>
                  <a:gd name="connsiteY9404" fmla="*/ 1631726 h 1867037"/>
                  <a:gd name="connsiteX9405" fmla="*/ 1447781 w 2417513"/>
                  <a:gd name="connsiteY9405" fmla="*/ 1629908 h 1867037"/>
                  <a:gd name="connsiteX9406" fmla="*/ 1447781 w 2417513"/>
                  <a:gd name="connsiteY9406" fmla="*/ 1628393 h 1867037"/>
                  <a:gd name="connsiteX9407" fmla="*/ 1446720 w 2417513"/>
                  <a:gd name="connsiteY9407" fmla="*/ 1626878 h 1867037"/>
                  <a:gd name="connsiteX9408" fmla="*/ 1444599 w 2417513"/>
                  <a:gd name="connsiteY9408" fmla="*/ 1625211 h 1867037"/>
                  <a:gd name="connsiteX9409" fmla="*/ 1443993 w 2417513"/>
                  <a:gd name="connsiteY9409" fmla="*/ 1623393 h 1867037"/>
                  <a:gd name="connsiteX9410" fmla="*/ 1443993 w 2417513"/>
                  <a:gd name="connsiteY9410" fmla="*/ 1622484 h 1867037"/>
                  <a:gd name="connsiteX9411" fmla="*/ 1443538 w 2417513"/>
                  <a:gd name="connsiteY9411" fmla="*/ 1621423 h 1867037"/>
                  <a:gd name="connsiteX9412" fmla="*/ 1443993 w 2417513"/>
                  <a:gd name="connsiteY9412" fmla="*/ 1620968 h 1867037"/>
                  <a:gd name="connsiteX9413" fmla="*/ 1445357 w 2417513"/>
                  <a:gd name="connsiteY9413" fmla="*/ 1621271 h 1867037"/>
                  <a:gd name="connsiteX9414" fmla="*/ 1446417 w 2417513"/>
                  <a:gd name="connsiteY9414" fmla="*/ 1621120 h 1867037"/>
                  <a:gd name="connsiteX9415" fmla="*/ 1447326 w 2417513"/>
                  <a:gd name="connsiteY9415" fmla="*/ 1620514 h 1867037"/>
                  <a:gd name="connsiteX9416" fmla="*/ 1448993 w 2417513"/>
                  <a:gd name="connsiteY9416" fmla="*/ 1620362 h 1867037"/>
                  <a:gd name="connsiteX9417" fmla="*/ 1450357 w 2417513"/>
                  <a:gd name="connsiteY9417" fmla="*/ 1620514 h 1867037"/>
                  <a:gd name="connsiteX9418" fmla="*/ 1451872 w 2417513"/>
                  <a:gd name="connsiteY9418" fmla="*/ 1621877 h 1867037"/>
                  <a:gd name="connsiteX9419" fmla="*/ 1457478 w 2417513"/>
                  <a:gd name="connsiteY9419" fmla="*/ 1623241 h 1867037"/>
                  <a:gd name="connsiteX9420" fmla="*/ 1459600 w 2417513"/>
                  <a:gd name="connsiteY9420" fmla="*/ 1623999 h 1867037"/>
                  <a:gd name="connsiteX9421" fmla="*/ 1462175 w 2417513"/>
                  <a:gd name="connsiteY9421" fmla="*/ 1624756 h 1867037"/>
                  <a:gd name="connsiteX9422" fmla="*/ 1462782 w 2417513"/>
                  <a:gd name="connsiteY9422" fmla="*/ 1625059 h 1867037"/>
                  <a:gd name="connsiteX9423" fmla="*/ 1463236 w 2417513"/>
                  <a:gd name="connsiteY9423" fmla="*/ 1625817 h 1867037"/>
                  <a:gd name="connsiteX9424" fmla="*/ 1464145 w 2417513"/>
                  <a:gd name="connsiteY9424" fmla="*/ 1626120 h 1867037"/>
                  <a:gd name="connsiteX9425" fmla="*/ 1465661 w 2417513"/>
                  <a:gd name="connsiteY9425" fmla="*/ 1625968 h 1867037"/>
                  <a:gd name="connsiteX9426" fmla="*/ 1467176 w 2417513"/>
                  <a:gd name="connsiteY9426" fmla="*/ 1626272 h 1867037"/>
                  <a:gd name="connsiteX9427" fmla="*/ 1469751 w 2417513"/>
                  <a:gd name="connsiteY9427" fmla="*/ 1627484 h 1867037"/>
                  <a:gd name="connsiteX9428" fmla="*/ 1472176 w 2417513"/>
                  <a:gd name="connsiteY9428" fmla="*/ 1628241 h 1867037"/>
                  <a:gd name="connsiteX9429" fmla="*/ 1475964 w 2417513"/>
                  <a:gd name="connsiteY9429" fmla="*/ 1628090 h 1867037"/>
                  <a:gd name="connsiteX9430" fmla="*/ 1478085 w 2417513"/>
                  <a:gd name="connsiteY9430" fmla="*/ 1627787 h 1867037"/>
                  <a:gd name="connsiteX9431" fmla="*/ 1481419 w 2417513"/>
                  <a:gd name="connsiteY9431" fmla="*/ 1628393 h 1867037"/>
                  <a:gd name="connsiteX9432" fmla="*/ 1483237 w 2417513"/>
                  <a:gd name="connsiteY9432" fmla="*/ 1628393 h 1867037"/>
                  <a:gd name="connsiteX9433" fmla="*/ 1485055 w 2417513"/>
                  <a:gd name="connsiteY9433" fmla="*/ 1627332 h 1867037"/>
                  <a:gd name="connsiteX9434" fmla="*/ 1486722 w 2417513"/>
                  <a:gd name="connsiteY9434" fmla="*/ 1627029 h 1867037"/>
                  <a:gd name="connsiteX9435" fmla="*/ 1488086 w 2417513"/>
                  <a:gd name="connsiteY9435" fmla="*/ 1627484 h 1867037"/>
                  <a:gd name="connsiteX9436" fmla="*/ 1488692 w 2417513"/>
                  <a:gd name="connsiteY9436" fmla="*/ 1628090 h 1867037"/>
                  <a:gd name="connsiteX9437" fmla="*/ 1489752 w 2417513"/>
                  <a:gd name="connsiteY9437" fmla="*/ 1628999 h 1867037"/>
                  <a:gd name="connsiteX9438" fmla="*/ 1493086 w 2417513"/>
                  <a:gd name="connsiteY9438" fmla="*/ 1628544 h 1867037"/>
                  <a:gd name="connsiteX9439" fmla="*/ 1493843 w 2417513"/>
                  <a:gd name="connsiteY9439" fmla="*/ 1628847 h 1867037"/>
                  <a:gd name="connsiteX9440" fmla="*/ 1494904 w 2417513"/>
                  <a:gd name="connsiteY9440" fmla="*/ 1629756 h 1867037"/>
                  <a:gd name="connsiteX9441" fmla="*/ 1495055 w 2417513"/>
                  <a:gd name="connsiteY9441" fmla="*/ 1630363 h 1867037"/>
                  <a:gd name="connsiteX9442" fmla="*/ 1495510 w 2417513"/>
                  <a:gd name="connsiteY9442" fmla="*/ 1631272 h 1867037"/>
                  <a:gd name="connsiteX9443" fmla="*/ 1496722 w 2417513"/>
                  <a:gd name="connsiteY9443" fmla="*/ 1633090 h 1867037"/>
                  <a:gd name="connsiteX9444" fmla="*/ 1497025 w 2417513"/>
                  <a:gd name="connsiteY9444" fmla="*/ 1633696 h 1867037"/>
                  <a:gd name="connsiteX9445" fmla="*/ 1497934 w 2417513"/>
                  <a:gd name="connsiteY9445" fmla="*/ 1634454 h 1867037"/>
                  <a:gd name="connsiteX9446" fmla="*/ 1498692 w 2417513"/>
                  <a:gd name="connsiteY9446" fmla="*/ 1636120 h 1867037"/>
                  <a:gd name="connsiteX9447" fmla="*/ 1499298 w 2417513"/>
                  <a:gd name="connsiteY9447" fmla="*/ 1638848 h 1867037"/>
                  <a:gd name="connsiteX9448" fmla="*/ 1499904 w 2417513"/>
                  <a:gd name="connsiteY9448" fmla="*/ 1640514 h 1867037"/>
                  <a:gd name="connsiteX9449" fmla="*/ 1500510 w 2417513"/>
                  <a:gd name="connsiteY9449" fmla="*/ 1641120 h 1867037"/>
                  <a:gd name="connsiteX9450" fmla="*/ 1500813 w 2417513"/>
                  <a:gd name="connsiteY9450" fmla="*/ 1641878 h 1867037"/>
                  <a:gd name="connsiteX9451" fmla="*/ 1501419 w 2417513"/>
                  <a:gd name="connsiteY9451" fmla="*/ 1644757 h 1867037"/>
                  <a:gd name="connsiteX9452" fmla="*/ 1502935 w 2417513"/>
                  <a:gd name="connsiteY9452" fmla="*/ 1648090 h 1867037"/>
                  <a:gd name="connsiteX9453" fmla="*/ 1505207 w 2417513"/>
                  <a:gd name="connsiteY9453" fmla="*/ 1651272 h 1867037"/>
                  <a:gd name="connsiteX9454" fmla="*/ 1508238 w 2417513"/>
                  <a:gd name="connsiteY9454" fmla="*/ 1654454 h 1867037"/>
                  <a:gd name="connsiteX9455" fmla="*/ 1512026 w 2417513"/>
                  <a:gd name="connsiteY9455" fmla="*/ 1656576 h 1867037"/>
                  <a:gd name="connsiteX9456" fmla="*/ 1516420 w 2417513"/>
                  <a:gd name="connsiteY9456" fmla="*/ 1657636 h 1867037"/>
                  <a:gd name="connsiteX9457" fmla="*/ 1520359 w 2417513"/>
                  <a:gd name="connsiteY9457" fmla="*/ 1657939 h 1867037"/>
                  <a:gd name="connsiteX9458" fmla="*/ 1523844 w 2417513"/>
                  <a:gd name="connsiteY9458" fmla="*/ 1657333 h 1867037"/>
                  <a:gd name="connsiteX9459" fmla="*/ 1528390 w 2417513"/>
                  <a:gd name="connsiteY9459" fmla="*/ 1657030 h 1867037"/>
                  <a:gd name="connsiteX9460" fmla="*/ 1534148 w 2417513"/>
                  <a:gd name="connsiteY9460" fmla="*/ 1657030 h 1867037"/>
                  <a:gd name="connsiteX9461" fmla="*/ 1537178 w 2417513"/>
                  <a:gd name="connsiteY9461" fmla="*/ 1657333 h 1867037"/>
                  <a:gd name="connsiteX9462" fmla="*/ 1537330 w 2417513"/>
                  <a:gd name="connsiteY9462" fmla="*/ 1658091 h 1867037"/>
                  <a:gd name="connsiteX9463" fmla="*/ 1536724 w 2417513"/>
                  <a:gd name="connsiteY9463" fmla="*/ 1659151 h 1867037"/>
                  <a:gd name="connsiteX9464" fmla="*/ 1535360 w 2417513"/>
                  <a:gd name="connsiteY9464" fmla="*/ 1660515 h 1867037"/>
                  <a:gd name="connsiteX9465" fmla="*/ 1535209 w 2417513"/>
                  <a:gd name="connsiteY9465" fmla="*/ 1661424 h 1867037"/>
                  <a:gd name="connsiteX9466" fmla="*/ 1535209 w 2417513"/>
                  <a:gd name="connsiteY9466" fmla="*/ 1662636 h 1867037"/>
                  <a:gd name="connsiteX9467" fmla="*/ 1534148 w 2417513"/>
                  <a:gd name="connsiteY9467" fmla="*/ 1664303 h 1867037"/>
                  <a:gd name="connsiteX9468" fmla="*/ 1533542 w 2417513"/>
                  <a:gd name="connsiteY9468" fmla="*/ 1665212 h 1867037"/>
                  <a:gd name="connsiteX9469" fmla="*/ 1533693 w 2417513"/>
                  <a:gd name="connsiteY9469" fmla="*/ 1665818 h 1867037"/>
                  <a:gd name="connsiteX9470" fmla="*/ 1533390 w 2417513"/>
                  <a:gd name="connsiteY9470" fmla="*/ 1666728 h 1867037"/>
                  <a:gd name="connsiteX9471" fmla="*/ 1532633 w 2417513"/>
                  <a:gd name="connsiteY9471" fmla="*/ 1667940 h 1867037"/>
                  <a:gd name="connsiteX9472" fmla="*/ 1533087 w 2417513"/>
                  <a:gd name="connsiteY9472" fmla="*/ 1669455 h 1867037"/>
                  <a:gd name="connsiteX9473" fmla="*/ 1534754 w 2417513"/>
                  <a:gd name="connsiteY9473" fmla="*/ 1671425 h 1867037"/>
                  <a:gd name="connsiteX9474" fmla="*/ 1536875 w 2417513"/>
                  <a:gd name="connsiteY9474" fmla="*/ 1672940 h 1867037"/>
                  <a:gd name="connsiteX9475" fmla="*/ 1539299 w 2417513"/>
                  <a:gd name="connsiteY9475" fmla="*/ 1674152 h 1867037"/>
                  <a:gd name="connsiteX9476" fmla="*/ 1540815 w 2417513"/>
                  <a:gd name="connsiteY9476" fmla="*/ 1675364 h 1867037"/>
                  <a:gd name="connsiteX9477" fmla="*/ 1541421 w 2417513"/>
                  <a:gd name="connsiteY9477" fmla="*/ 1676576 h 1867037"/>
                  <a:gd name="connsiteX9478" fmla="*/ 1542027 w 2417513"/>
                  <a:gd name="connsiteY9478" fmla="*/ 1677334 h 1867037"/>
                  <a:gd name="connsiteX9479" fmla="*/ 1542785 w 2417513"/>
                  <a:gd name="connsiteY9479" fmla="*/ 1677485 h 1867037"/>
                  <a:gd name="connsiteX9480" fmla="*/ 1543391 w 2417513"/>
                  <a:gd name="connsiteY9480" fmla="*/ 1678092 h 1867037"/>
                  <a:gd name="connsiteX9481" fmla="*/ 1543997 w 2417513"/>
                  <a:gd name="connsiteY9481" fmla="*/ 1679152 h 1867037"/>
                  <a:gd name="connsiteX9482" fmla="*/ 1543391 w 2417513"/>
                  <a:gd name="connsiteY9482" fmla="*/ 1680971 h 1867037"/>
                  <a:gd name="connsiteX9483" fmla="*/ 1541421 w 2417513"/>
                  <a:gd name="connsiteY9483" fmla="*/ 1683546 h 1867037"/>
                  <a:gd name="connsiteX9484" fmla="*/ 1540512 w 2417513"/>
                  <a:gd name="connsiteY9484" fmla="*/ 1685213 h 1867037"/>
                  <a:gd name="connsiteX9485" fmla="*/ 1540663 w 2417513"/>
                  <a:gd name="connsiteY9485" fmla="*/ 1685971 h 1867037"/>
                  <a:gd name="connsiteX9486" fmla="*/ 1538997 w 2417513"/>
                  <a:gd name="connsiteY9486" fmla="*/ 1688850 h 1867037"/>
                  <a:gd name="connsiteX9487" fmla="*/ 1538845 w 2417513"/>
                  <a:gd name="connsiteY9487" fmla="*/ 1689910 h 1867037"/>
                  <a:gd name="connsiteX9488" fmla="*/ 1539451 w 2417513"/>
                  <a:gd name="connsiteY9488" fmla="*/ 1690668 h 1867037"/>
                  <a:gd name="connsiteX9489" fmla="*/ 1542027 w 2417513"/>
                  <a:gd name="connsiteY9489" fmla="*/ 1691728 h 1867037"/>
                  <a:gd name="connsiteX9490" fmla="*/ 1542936 w 2417513"/>
                  <a:gd name="connsiteY9490" fmla="*/ 1692638 h 1867037"/>
                  <a:gd name="connsiteX9491" fmla="*/ 1543542 w 2417513"/>
                  <a:gd name="connsiteY9491" fmla="*/ 1692789 h 1867037"/>
                  <a:gd name="connsiteX9492" fmla="*/ 1543997 w 2417513"/>
                  <a:gd name="connsiteY9492" fmla="*/ 1692183 h 1867037"/>
                  <a:gd name="connsiteX9493" fmla="*/ 1545057 w 2417513"/>
                  <a:gd name="connsiteY9493" fmla="*/ 1691880 h 1867037"/>
                  <a:gd name="connsiteX9494" fmla="*/ 1546573 w 2417513"/>
                  <a:gd name="connsiteY9494" fmla="*/ 1691880 h 1867037"/>
                  <a:gd name="connsiteX9495" fmla="*/ 1548088 w 2417513"/>
                  <a:gd name="connsiteY9495" fmla="*/ 1692335 h 1867037"/>
                  <a:gd name="connsiteX9496" fmla="*/ 1549452 w 2417513"/>
                  <a:gd name="connsiteY9496" fmla="*/ 1693244 h 1867037"/>
                  <a:gd name="connsiteX9497" fmla="*/ 1549906 w 2417513"/>
                  <a:gd name="connsiteY9497" fmla="*/ 1694153 h 1867037"/>
                  <a:gd name="connsiteX9498" fmla="*/ 1549452 w 2417513"/>
                  <a:gd name="connsiteY9498" fmla="*/ 1695062 h 1867037"/>
                  <a:gd name="connsiteX9499" fmla="*/ 1548694 w 2417513"/>
                  <a:gd name="connsiteY9499" fmla="*/ 1695365 h 1867037"/>
                  <a:gd name="connsiteX9500" fmla="*/ 1546573 w 2417513"/>
                  <a:gd name="connsiteY9500" fmla="*/ 1695213 h 1867037"/>
                  <a:gd name="connsiteX9501" fmla="*/ 1545360 w 2417513"/>
                  <a:gd name="connsiteY9501" fmla="*/ 1695668 h 1867037"/>
                  <a:gd name="connsiteX9502" fmla="*/ 1544603 w 2417513"/>
                  <a:gd name="connsiteY9502" fmla="*/ 1696577 h 1867037"/>
                  <a:gd name="connsiteX9503" fmla="*/ 1544451 w 2417513"/>
                  <a:gd name="connsiteY9503" fmla="*/ 1699153 h 1867037"/>
                  <a:gd name="connsiteX9504" fmla="*/ 1545057 w 2417513"/>
                  <a:gd name="connsiteY9504" fmla="*/ 1700214 h 1867037"/>
                  <a:gd name="connsiteX9505" fmla="*/ 1545360 w 2417513"/>
                  <a:gd name="connsiteY9505" fmla="*/ 1700214 h 1867037"/>
                  <a:gd name="connsiteX9506" fmla="*/ 1545815 w 2417513"/>
                  <a:gd name="connsiteY9506" fmla="*/ 1699759 h 1867037"/>
                  <a:gd name="connsiteX9507" fmla="*/ 1546421 w 2417513"/>
                  <a:gd name="connsiteY9507" fmla="*/ 1698698 h 1867037"/>
                  <a:gd name="connsiteX9508" fmla="*/ 1547027 w 2417513"/>
                  <a:gd name="connsiteY9508" fmla="*/ 1698547 h 1867037"/>
                  <a:gd name="connsiteX9509" fmla="*/ 1547785 w 2417513"/>
                  <a:gd name="connsiteY9509" fmla="*/ 1699304 h 1867037"/>
                  <a:gd name="connsiteX9510" fmla="*/ 1547027 w 2417513"/>
                  <a:gd name="connsiteY9510" fmla="*/ 1700971 h 1867037"/>
                  <a:gd name="connsiteX9511" fmla="*/ 1544754 w 2417513"/>
                  <a:gd name="connsiteY9511" fmla="*/ 1703547 h 1867037"/>
                  <a:gd name="connsiteX9512" fmla="*/ 1544148 w 2417513"/>
                  <a:gd name="connsiteY9512" fmla="*/ 1704305 h 1867037"/>
                  <a:gd name="connsiteX9513" fmla="*/ 1544148 w 2417513"/>
                  <a:gd name="connsiteY9513" fmla="*/ 1705517 h 1867037"/>
                  <a:gd name="connsiteX9514" fmla="*/ 1545966 w 2417513"/>
                  <a:gd name="connsiteY9514" fmla="*/ 1707638 h 1867037"/>
                  <a:gd name="connsiteX9515" fmla="*/ 1546724 w 2417513"/>
                  <a:gd name="connsiteY9515" fmla="*/ 1707487 h 1867037"/>
                  <a:gd name="connsiteX9516" fmla="*/ 1547179 w 2417513"/>
                  <a:gd name="connsiteY9516" fmla="*/ 1707032 h 1867037"/>
                  <a:gd name="connsiteX9517" fmla="*/ 1547936 w 2417513"/>
                  <a:gd name="connsiteY9517" fmla="*/ 1706426 h 1867037"/>
                  <a:gd name="connsiteX9518" fmla="*/ 1550361 w 2417513"/>
                  <a:gd name="connsiteY9518" fmla="*/ 1706123 h 1867037"/>
                  <a:gd name="connsiteX9519" fmla="*/ 1553391 w 2417513"/>
                  <a:gd name="connsiteY9519" fmla="*/ 1705214 h 1867037"/>
                  <a:gd name="connsiteX9520" fmla="*/ 1555361 w 2417513"/>
                  <a:gd name="connsiteY9520" fmla="*/ 1705062 h 1867037"/>
                  <a:gd name="connsiteX9521" fmla="*/ 1556724 w 2417513"/>
                  <a:gd name="connsiteY9521" fmla="*/ 1705820 h 1867037"/>
                  <a:gd name="connsiteX9522" fmla="*/ 1557634 w 2417513"/>
                  <a:gd name="connsiteY9522" fmla="*/ 1706881 h 1867037"/>
                  <a:gd name="connsiteX9523" fmla="*/ 1557785 w 2417513"/>
                  <a:gd name="connsiteY9523" fmla="*/ 1708093 h 1867037"/>
                  <a:gd name="connsiteX9524" fmla="*/ 1557179 w 2417513"/>
                  <a:gd name="connsiteY9524" fmla="*/ 1709608 h 1867037"/>
                  <a:gd name="connsiteX9525" fmla="*/ 1557179 w 2417513"/>
                  <a:gd name="connsiteY9525" fmla="*/ 1710820 h 1867037"/>
                  <a:gd name="connsiteX9526" fmla="*/ 1557634 w 2417513"/>
                  <a:gd name="connsiteY9526" fmla="*/ 1711881 h 1867037"/>
                  <a:gd name="connsiteX9527" fmla="*/ 1559300 w 2417513"/>
                  <a:gd name="connsiteY9527" fmla="*/ 1712487 h 1867037"/>
                  <a:gd name="connsiteX9528" fmla="*/ 1562028 w 2417513"/>
                  <a:gd name="connsiteY9528" fmla="*/ 1712487 h 1867037"/>
                  <a:gd name="connsiteX9529" fmla="*/ 1563391 w 2417513"/>
                  <a:gd name="connsiteY9529" fmla="*/ 1712790 h 1867037"/>
                  <a:gd name="connsiteX9530" fmla="*/ 1563846 w 2417513"/>
                  <a:gd name="connsiteY9530" fmla="*/ 1713699 h 1867037"/>
                  <a:gd name="connsiteX9531" fmla="*/ 1564452 w 2417513"/>
                  <a:gd name="connsiteY9531" fmla="*/ 1713850 h 1867037"/>
                  <a:gd name="connsiteX9532" fmla="*/ 1569452 w 2417513"/>
                  <a:gd name="connsiteY9532" fmla="*/ 1714305 h 1867037"/>
                  <a:gd name="connsiteX9533" fmla="*/ 1571270 w 2417513"/>
                  <a:gd name="connsiteY9533" fmla="*/ 1714760 h 1867037"/>
                  <a:gd name="connsiteX9534" fmla="*/ 1571877 w 2417513"/>
                  <a:gd name="connsiteY9534" fmla="*/ 1715366 h 1867037"/>
                  <a:gd name="connsiteX9535" fmla="*/ 1574907 w 2417513"/>
                  <a:gd name="connsiteY9535" fmla="*/ 1716123 h 1867037"/>
                  <a:gd name="connsiteX9536" fmla="*/ 1586726 w 2417513"/>
                  <a:gd name="connsiteY9536" fmla="*/ 1718093 h 1867037"/>
                  <a:gd name="connsiteX9537" fmla="*/ 1590362 w 2417513"/>
                  <a:gd name="connsiteY9537" fmla="*/ 1717790 h 1867037"/>
                  <a:gd name="connsiteX9538" fmla="*/ 1595211 w 2417513"/>
                  <a:gd name="connsiteY9538" fmla="*/ 1717184 h 1867037"/>
                  <a:gd name="connsiteX9539" fmla="*/ 1596726 w 2417513"/>
                  <a:gd name="connsiteY9539" fmla="*/ 1718245 h 1867037"/>
                  <a:gd name="connsiteX9540" fmla="*/ 1597484 w 2417513"/>
                  <a:gd name="connsiteY9540" fmla="*/ 1718396 h 1867037"/>
                  <a:gd name="connsiteX9541" fmla="*/ 1598544 w 2417513"/>
                  <a:gd name="connsiteY9541" fmla="*/ 1718245 h 1867037"/>
                  <a:gd name="connsiteX9542" fmla="*/ 1605363 w 2417513"/>
                  <a:gd name="connsiteY9542" fmla="*/ 1717638 h 1867037"/>
                  <a:gd name="connsiteX9543" fmla="*/ 1606272 w 2417513"/>
                  <a:gd name="connsiteY9543" fmla="*/ 1718699 h 1867037"/>
                  <a:gd name="connsiteX9544" fmla="*/ 1609605 w 2417513"/>
                  <a:gd name="connsiteY9544" fmla="*/ 1719760 h 1867037"/>
                  <a:gd name="connsiteX9545" fmla="*/ 1611727 w 2417513"/>
                  <a:gd name="connsiteY9545" fmla="*/ 1719911 h 1867037"/>
                  <a:gd name="connsiteX9546" fmla="*/ 1614605 w 2417513"/>
                  <a:gd name="connsiteY9546" fmla="*/ 1720063 h 1867037"/>
                  <a:gd name="connsiteX9547" fmla="*/ 1619909 w 2417513"/>
                  <a:gd name="connsiteY9547" fmla="*/ 1720517 h 1867037"/>
                  <a:gd name="connsiteX9548" fmla="*/ 1621272 w 2417513"/>
                  <a:gd name="connsiteY9548" fmla="*/ 1720820 h 1867037"/>
                  <a:gd name="connsiteX9549" fmla="*/ 1621424 w 2417513"/>
                  <a:gd name="connsiteY9549" fmla="*/ 1721881 h 1867037"/>
                  <a:gd name="connsiteX9550" fmla="*/ 1621424 w 2417513"/>
                  <a:gd name="connsiteY9550" fmla="*/ 1722336 h 1867037"/>
                  <a:gd name="connsiteX9551" fmla="*/ 1621878 w 2417513"/>
                  <a:gd name="connsiteY9551" fmla="*/ 1722336 h 1867037"/>
                  <a:gd name="connsiteX9552" fmla="*/ 1622484 w 2417513"/>
                  <a:gd name="connsiteY9552" fmla="*/ 1721729 h 1867037"/>
                  <a:gd name="connsiteX9553" fmla="*/ 1623545 w 2417513"/>
                  <a:gd name="connsiteY9553" fmla="*/ 1721578 h 1867037"/>
                  <a:gd name="connsiteX9554" fmla="*/ 1624303 w 2417513"/>
                  <a:gd name="connsiteY9554" fmla="*/ 1721123 h 1867037"/>
                  <a:gd name="connsiteX9555" fmla="*/ 1624757 w 2417513"/>
                  <a:gd name="connsiteY9555" fmla="*/ 1720366 h 1867037"/>
                  <a:gd name="connsiteX9556" fmla="*/ 1625666 w 2417513"/>
                  <a:gd name="connsiteY9556" fmla="*/ 1720214 h 1867037"/>
                  <a:gd name="connsiteX9557" fmla="*/ 1627636 w 2417513"/>
                  <a:gd name="connsiteY9557" fmla="*/ 1721275 h 1867037"/>
                  <a:gd name="connsiteX9558" fmla="*/ 1627788 w 2417513"/>
                  <a:gd name="connsiteY9558" fmla="*/ 1721881 h 1867037"/>
                  <a:gd name="connsiteX9559" fmla="*/ 1625060 w 2417513"/>
                  <a:gd name="connsiteY9559" fmla="*/ 1723093 h 1867037"/>
                  <a:gd name="connsiteX9560" fmla="*/ 1625363 w 2417513"/>
                  <a:gd name="connsiteY9560" fmla="*/ 1723548 h 1867037"/>
                  <a:gd name="connsiteX9561" fmla="*/ 1625515 w 2417513"/>
                  <a:gd name="connsiteY9561" fmla="*/ 1723851 h 1867037"/>
                  <a:gd name="connsiteX9562" fmla="*/ 1626272 w 2417513"/>
                  <a:gd name="connsiteY9562" fmla="*/ 1724002 h 1867037"/>
                  <a:gd name="connsiteX9563" fmla="*/ 1626272 w 2417513"/>
                  <a:gd name="connsiteY9563" fmla="*/ 1724457 h 1867037"/>
                  <a:gd name="connsiteX9564" fmla="*/ 1625363 w 2417513"/>
                  <a:gd name="connsiteY9564" fmla="*/ 1725063 h 1867037"/>
                  <a:gd name="connsiteX9565" fmla="*/ 1626121 w 2417513"/>
                  <a:gd name="connsiteY9565" fmla="*/ 1725518 h 1867037"/>
                  <a:gd name="connsiteX9566" fmla="*/ 1628697 w 2417513"/>
                  <a:gd name="connsiteY9566" fmla="*/ 1724608 h 1867037"/>
                  <a:gd name="connsiteX9567" fmla="*/ 1630212 w 2417513"/>
                  <a:gd name="connsiteY9567" fmla="*/ 1724608 h 1867037"/>
                  <a:gd name="connsiteX9568" fmla="*/ 1634152 w 2417513"/>
                  <a:gd name="connsiteY9568" fmla="*/ 1725366 h 1867037"/>
                  <a:gd name="connsiteX9569" fmla="*/ 1635970 w 2417513"/>
                  <a:gd name="connsiteY9569" fmla="*/ 1725366 h 1867037"/>
                  <a:gd name="connsiteX9570" fmla="*/ 1637031 w 2417513"/>
                  <a:gd name="connsiteY9570" fmla="*/ 1724760 h 1867037"/>
                  <a:gd name="connsiteX9571" fmla="*/ 1637182 w 2417513"/>
                  <a:gd name="connsiteY9571" fmla="*/ 1724305 h 1867037"/>
                  <a:gd name="connsiteX9572" fmla="*/ 1637637 w 2417513"/>
                  <a:gd name="connsiteY9572" fmla="*/ 1724002 h 1867037"/>
                  <a:gd name="connsiteX9573" fmla="*/ 1637940 w 2417513"/>
                  <a:gd name="connsiteY9573" fmla="*/ 1724154 h 1867037"/>
                  <a:gd name="connsiteX9574" fmla="*/ 1638091 w 2417513"/>
                  <a:gd name="connsiteY9574" fmla="*/ 1724911 h 1867037"/>
                  <a:gd name="connsiteX9575" fmla="*/ 1638091 w 2417513"/>
                  <a:gd name="connsiteY9575" fmla="*/ 1726124 h 1867037"/>
                  <a:gd name="connsiteX9576" fmla="*/ 1639758 w 2417513"/>
                  <a:gd name="connsiteY9576" fmla="*/ 1726578 h 1867037"/>
                  <a:gd name="connsiteX9577" fmla="*/ 1643243 w 2417513"/>
                  <a:gd name="connsiteY9577" fmla="*/ 1726275 h 1867037"/>
                  <a:gd name="connsiteX9578" fmla="*/ 1645364 w 2417513"/>
                  <a:gd name="connsiteY9578" fmla="*/ 1726275 h 1867037"/>
                  <a:gd name="connsiteX9579" fmla="*/ 1647334 w 2417513"/>
                  <a:gd name="connsiteY9579" fmla="*/ 1726275 h 1867037"/>
                  <a:gd name="connsiteX9580" fmla="*/ 1647637 w 2417513"/>
                  <a:gd name="connsiteY9580" fmla="*/ 1726578 h 1867037"/>
                  <a:gd name="connsiteX9581" fmla="*/ 1648091 w 2417513"/>
                  <a:gd name="connsiteY9581" fmla="*/ 1727336 h 1867037"/>
                  <a:gd name="connsiteX9582" fmla="*/ 1649607 w 2417513"/>
                  <a:gd name="connsiteY9582" fmla="*/ 1728699 h 1867037"/>
                  <a:gd name="connsiteX9583" fmla="*/ 1650061 w 2417513"/>
                  <a:gd name="connsiteY9583" fmla="*/ 1729306 h 1867037"/>
                  <a:gd name="connsiteX9584" fmla="*/ 1650516 w 2417513"/>
                  <a:gd name="connsiteY9584" fmla="*/ 1730821 h 1867037"/>
                  <a:gd name="connsiteX9585" fmla="*/ 1651576 w 2417513"/>
                  <a:gd name="connsiteY9585" fmla="*/ 1731730 h 1867037"/>
                  <a:gd name="connsiteX9586" fmla="*/ 1651879 w 2417513"/>
                  <a:gd name="connsiteY9586" fmla="*/ 1732487 h 1867037"/>
                  <a:gd name="connsiteX9587" fmla="*/ 1651879 w 2417513"/>
                  <a:gd name="connsiteY9587" fmla="*/ 1733094 h 1867037"/>
                  <a:gd name="connsiteX9588" fmla="*/ 1652183 w 2417513"/>
                  <a:gd name="connsiteY9588" fmla="*/ 1733851 h 1867037"/>
                  <a:gd name="connsiteX9589" fmla="*/ 1653243 w 2417513"/>
                  <a:gd name="connsiteY9589" fmla="*/ 1735366 h 1867037"/>
                  <a:gd name="connsiteX9590" fmla="*/ 1654607 w 2417513"/>
                  <a:gd name="connsiteY9590" fmla="*/ 1736427 h 1867037"/>
                  <a:gd name="connsiteX9591" fmla="*/ 1655364 w 2417513"/>
                  <a:gd name="connsiteY9591" fmla="*/ 1737336 h 1867037"/>
                  <a:gd name="connsiteX9592" fmla="*/ 1655668 w 2417513"/>
                  <a:gd name="connsiteY9592" fmla="*/ 1738397 h 1867037"/>
                  <a:gd name="connsiteX9593" fmla="*/ 1656425 w 2417513"/>
                  <a:gd name="connsiteY9593" fmla="*/ 1738851 h 1867037"/>
                  <a:gd name="connsiteX9594" fmla="*/ 1657486 w 2417513"/>
                  <a:gd name="connsiteY9594" fmla="*/ 1738548 h 1867037"/>
                  <a:gd name="connsiteX9595" fmla="*/ 1657940 w 2417513"/>
                  <a:gd name="connsiteY9595" fmla="*/ 1738094 h 1867037"/>
                  <a:gd name="connsiteX9596" fmla="*/ 1657940 w 2417513"/>
                  <a:gd name="connsiteY9596" fmla="*/ 1737185 h 1867037"/>
                  <a:gd name="connsiteX9597" fmla="*/ 1658395 w 2417513"/>
                  <a:gd name="connsiteY9597" fmla="*/ 1737336 h 1867037"/>
                  <a:gd name="connsiteX9598" fmla="*/ 1659152 w 2417513"/>
                  <a:gd name="connsiteY9598" fmla="*/ 1738851 h 1867037"/>
                  <a:gd name="connsiteX9599" fmla="*/ 1659001 w 2417513"/>
                  <a:gd name="connsiteY9599" fmla="*/ 1741276 h 1867037"/>
                  <a:gd name="connsiteX9600" fmla="*/ 1659152 w 2417513"/>
                  <a:gd name="connsiteY9600" fmla="*/ 1742639 h 1867037"/>
                  <a:gd name="connsiteX9601" fmla="*/ 1660062 w 2417513"/>
                  <a:gd name="connsiteY9601" fmla="*/ 1744609 h 1867037"/>
                  <a:gd name="connsiteX9602" fmla="*/ 1661425 w 2417513"/>
                  <a:gd name="connsiteY9602" fmla="*/ 1745215 h 1867037"/>
                  <a:gd name="connsiteX9603" fmla="*/ 1662334 w 2417513"/>
                  <a:gd name="connsiteY9603" fmla="*/ 1745973 h 1867037"/>
                  <a:gd name="connsiteX9604" fmla="*/ 1664910 w 2417513"/>
                  <a:gd name="connsiteY9604" fmla="*/ 1746579 h 1867037"/>
                  <a:gd name="connsiteX9605" fmla="*/ 1665213 w 2417513"/>
                  <a:gd name="connsiteY9605" fmla="*/ 1746427 h 1867037"/>
                  <a:gd name="connsiteX9606" fmla="*/ 1664759 w 2417513"/>
                  <a:gd name="connsiteY9606" fmla="*/ 1745064 h 1867037"/>
                  <a:gd name="connsiteX9607" fmla="*/ 1665062 w 2417513"/>
                  <a:gd name="connsiteY9607" fmla="*/ 1744761 h 1867037"/>
                  <a:gd name="connsiteX9608" fmla="*/ 1665971 w 2417513"/>
                  <a:gd name="connsiteY9608" fmla="*/ 1744609 h 1867037"/>
                  <a:gd name="connsiteX9609" fmla="*/ 1667486 w 2417513"/>
                  <a:gd name="connsiteY9609" fmla="*/ 1744761 h 1867037"/>
                  <a:gd name="connsiteX9610" fmla="*/ 1668395 w 2417513"/>
                  <a:gd name="connsiteY9610" fmla="*/ 1745367 h 1867037"/>
                  <a:gd name="connsiteX9611" fmla="*/ 1668850 w 2417513"/>
                  <a:gd name="connsiteY9611" fmla="*/ 1746427 h 1867037"/>
                  <a:gd name="connsiteX9612" fmla="*/ 1668547 w 2417513"/>
                  <a:gd name="connsiteY9612" fmla="*/ 1747791 h 1867037"/>
                  <a:gd name="connsiteX9613" fmla="*/ 1666880 w 2417513"/>
                  <a:gd name="connsiteY9613" fmla="*/ 1749155 h 1867037"/>
                  <a:gd name="connsiteX9614" fmla="*/ 1666577 w 2417513"/>
                  <a:gd name="connsiteY9614" fmla="*/ 1750367 h 1867037"/>
                  <a:gd name="connsiteX9615" fmla="*/ 1666880 w 2417513"/>
                  <a:gd name="connsiteY9615" fmla="*/ 1751125 h 1867037"/>
                  <a:gd name="connsiteX9616" fmla="*/ 1667335 w 2417513"/>
                  <a:gd name="connsiteY9616" fmla="*/ 1751276 h 1867037"/>
                  <a:gd name="connsiteX9617" fmla="*/ 1667789 w 2417513"/>
                  <a:gd name="connsiteY9617" fmla="*/ 1750821 h 1867037"/>
                  <a:gd name="connsiteX9618" fmla="*/ 1668547 w 2417513"/>
                  <a:gd name="connsiteY9618" fmla="*/ 1751125 h 1867037"/>
                  <a:gd name="connsiteX9619" fmla="*/ 1669456 w 2417513"/>
                  <a:gd name="connsiteY9619" fmla="*/ 1752034 h 1867037"/>
                  <a:gd name="connsiteX9620" fmla="*/ 1669759 w 2417513"/>
                  <a:gd name="connsiteY9620" fmla="*/ 1752791 h 1867037"/>
                  <a:gd name="connsiteX9621" fmla="*/ 1669304 w 2417513"/>
                  <a:gd name="connsiteY9621" fmla="*/ 1753397 h 1867037"/>
                  <a:gd name="connsiteX9622" fmla="*/ 1667638 w 2417513"/>
                  <a:gd name="connsiteY9622" fmla="*/ 1753700 h 1867037"/>
                  <a:gd name="connsiteX9623" fmla="*/ 1667638 w 2417513"/>
                  <a:gd name="connsiteY9623" fmla="*/ 1754306 h 1867037"/>
                  <a:gd name="connsiteX9624" fmla="*/ 1669456 w 2417513"/>
                  <a:gd name="connsiteY9624" fmla="*/ 1755519 h 1867037"/>
                  <a:gd name="connsiteX9625" fmla="*/ 1670820 w 2417513"/>
                  <a:gd name="connsiteY9625" fmla="*/ 1757185 h 1867037"/>
                  <a:gd name="connsiteX9626" fmla="*/ 1671577 w 2417513"/>
                  <a:gd name="connsiteY9626" fmla="*/ 1757337 h 1867037"/>
                  <a:gd name="connsiteX9627" fmla="*/ 1672032 w 2417513"/>
                  <a:gd name="connsiteY9627" fmla="*/ 1757943 h 1867037"/>
                  <a:gd name="connsiteX9628" fmla="*/ 1672183 w 2417513"/>
                  <a:gd name="connsiteY9628" fmla="*/ 1758852 h 1867037"/>
                  <a:gd name="connsiteX9629" fmla="*/ 1672941 w 2417513"/>
                  <a:gd name="connsiteY9629" fmla="*/ 1759458 h 1867037"/>
                  <a:gd name="connsiteX9630" fmla="*/ 1674911 w 2417513"/>
                  <a:gd name="connsiteY9630" fmla="*/ 1760064 h 1867037"/>
                  <a:gd name="connsiteX9631" fmla="*/ 1675668 w 2417513"/>
                  <a:gd name="connsiteY9631" fmla="*/ 1761731 h 1867037"/>
                  <a:gd name="connsiteX9632" fmla="*/ 1676123 w 2417513"/>
                  <a:gd name="connsiteY9632" fmla="*/ 1762792 h 1867037"/>
                  <a:gd name="connsiteX9633" fmla="*/ 1676426 w 2417513"/>
                  <a:gd name="connsiteY9633" fmla="*/ 1764004 h 1867037"/>
                  <a:gd name="connsiteX9634" fmla="*/ 1677032 w 2417513"/>
                  <a:gd name="connsiteY9634" fmla="*/ 1764155 h 1867037"/>
                  <a:gd name="connsiteX9635" fmla="*/ 1677487 w 2417513"/>
                  <a:gd name="connsiteY9635" fmla="*/ 1763549 h 1867037"/>
                  <a:gd name="connsiteX9636" fmla="*/ 1677487 w 2417513"/>
                  <a:gd name="connsiteY9636" fmla="*/ 1762489 h 1867037"/>
                  <a:gd name="connsiteX9637" fmla="*/ 1678547 w 2417513"/>
                  <a:gd name="connsiteY9637" fmla="*/ 1762034 h 1867037"/>
                  <a:gd name="connsiteX9638" fmla="*/ 1678699 w 2417513"/>
                  <a:gd name="connsiteY9638" fmla="*/ 1762640 h 1867037"/>
                  <a:gd name="connsiteX9639" fmla="*/ 1678093 w 2417513"/>
                  <a:gd name="connsiteY9639" fmla="*/ 1763852 h 1867037"/>
                  <a:gd name="connsiteX9640" fmla="*/ 1678244 w 2417513"/>
                  <a:gd name="connsiteY9640" fmla="*/ 1764913 h 1867037"/>
                  <a:gd name="connsiteX9641" fmla="*/ 1679153 w 2417513"/>
                  <a:gd name="connsiteY9641" fmla="*/ 1765671 h 1867037"/>
                  <a:gd name="connsiteX9642" fmla="*/ 1678093 w 2417513"/>
                  <a:gd name="connsiteY9642" fmla="*/ 1765973 h 1867037"/>
                  <a:gd name="connsiteX9643" fmla="*/ 1675062 w 2417513"/>
                  <a:gd name="connsiteY9643" fmla="*/ 1765671 h 1867037"/>
                  <a:gd name="connsiteX9644" fmla="*/ 1673699 w 2417513"/>
                  <a:gd name="connsiteY9644" fmla="*/ 1764610 h 1867037"/>
                  <a:gd name="connsiteX9645" fmla="*/ 1673244 w 2417513"/>
                  <a:gd name="connsiteY9645" fmla="*/ 1764307 h 1867037"/>
                  <a:gd name="connsiteX9646" fmla="*/ 1672335 w 2417513"/>
                  <a:gd name="connsiteY9646" fmla="*/ 1764155 h 1867037"/>
                  <a:gd name="connsiteX9647" fmla="*/ 1672032 w 2417513"/>
                  <a:gd name="connsiteY9647" fmla="*/ 1763852 h 1867037"/>
                  <a:gd name="connsiteX9648" fmla="*/ 1672486 w 2417513"/>
                  <a:gd name="connsiteY9648" fmla="*/ 1762792 h 1867037"/>
                  <a:gd name="connsiteX9649" fmla="*/ 1672183 w 2417513"/>
                  <a:gd name="connsiteY9649" fmla="*/ 1762489 h 1867037"/>
                  <a:gd name="connsiteX9650" fmla="*/ 1670365 w 2417513"/>
                  <a:gd name="connsiteY9650" fmla="*/ 1762792 h 1867037"/>
                  <a:gd name="connsiteX9651" fmla="*/ 1668547 w 2417513"/>
                  <a:gd name="connsiteY9651" fmla="*/ 1763549 h 1867037"/>
                  <a:gd name="connsiteX9652" fmla="*/ 1667335 w 2417513"/>
                  <a:gd name="connsiteY9652" fmla="*/ 1764458 h 1867037"/>
                  <a:gd name="connsiteX9653" fmla="*/ 1667335 w 2417513"/>
                  <a:gd name="connsiteY9653" fmla="*/ 1765519 h 1867037"/>
                  <a:gd name="connsiteX9654" fmla="*/ 1668092 w 2417513"/>
                  <a:gd name="connsiteY9654" fmla="*/ 1766580 h 1867037"/>
                  <a:gd name="connsiteX9655" fmla="*/ 1669607 w 2417513"/>
                  <a:gd name="connsiteY9655" fmla="*/ 1767640 h 1867037"/>
                  <a:gd name="connsiteX9656" fmla="*/ 1670214 w 2417513"/>
                  <a:gd name="connsiteY9656" fmla="*/ 1769610 h 1867037"/>
                  <a:gd name="connsiteX9657" fmla="*/ 1669911 w 2417513"/>
                  <a:gd name="connsiteY9657" fmla="*/ 1772337 h 1867037"/>
                  <a:gd name="connsiteX9658" fmla="*/ 1669153 w 2417513"/>
                  <a:gd name="connsiteY9658" fmla="*/ 1774156 h 1867037"/>
                  <a:gd name="connsiteX9659" fmla="*/ 1667789 w 2417513"/>
                  <a:gd name="connsiteY9659" fmla="*/ 1775065 h 1867037"/>
                  <a:gd name="connsiteX9660" fmla="*/ 1664001 w 2417513"/>
                  <a:gd name="connsiteY9660" fmla="*/ 1774459 h 1867037"/>
                  <a:gd name="connsiteX9661" fmla="*/ 1657637 w 2417513"/>
                  <a:gd name="connsiteY9661" fmla="*/ 1772186 h 1867037"/>
                  <a:gd name="connsiteX9662" fmla="*/ 1654001 w 2417513"/>
                  <a:gd name="connsiteY9662" fmla="*/ 1770216 h 1867037"/>
                  <a:gd name="connsiteX9663" fmla="*/ 1652485 w 2417513"/>
                  <a:gd name="connsiteY9663" fmla="*/ 1767489 h 1867037"/>
                  <a:gd name="connsiteX9664" fmla="*/ 1651879 w 2417513"/>
                  <a:gd name="connsiteY9664" fmla="*/ 1767337 h 1867037"/>
                  <a:gd name="connsiteX9665" fmla="*/ 1648546 w 2417513"/>
                  <a:gd name="connsiteY9665" fmla="*/ 1768246 h 1867037"/>
                  <a:gd name="connsiteX9666" fmla="*/ 1646728 w 2417513"/>
                  <a:gd name="connsiteY9666" fmla="*/ 1769459 h 1867037"/>
                  <a:gd name="connsiteX9667" fmla="*/ 1645213 w 2417513"/>
                  <a:gd name="connsiteY9667" fmla="*/ 1771125 h 1867037"/>
                  <a:gd name="connsiteX9668" fmla="*/ 1644758 w 2417513"/>
                  <a:gd name="connsiteY9668" fmla="*/ 1770671 h 1867037"/>
                  <a:gd name="connsiteX9669" fmla="*/ 1645364 w 2417513"/>
                  <a:gd name="connsiteY9669" fmla="*/ 1767943 h 1867037"/>
                  <a:gd name="connsiteX9670" fmla="*/ 1645667 w 2417513"/>
                  <a:gd name="connsiteY9670" fmla="*/ 1766277 h 1867037"/>
                  <a:gd name="connsiteX9671" fmla="*/ 1645516 w 2417513"/>
                  <a:gd name="connsiteY9671" fmla="*/ 1765671 h 1867037"/>
                  <a:gd name="connsiteX9672" fmla="*/ 1644909 w 2417513"/>
                  <a:gd name="connsiteY9672" fmla="*/ 1765064 h 1867037"/>
                  <a:gd name="connsiteX9673" fmla="*/ 1643697 w 2417513"/>
                  <a:gd name="connsiteY9673" fmla="*/ 1764610 h 1867037"/>
                  <a:gd name="connsiteX9674" fmla="*/ 1642031 w 2417513"/>
                  <a:gd name="connsiteY9674" fmla="*/ 1764913 h 1867037"/>
                  <a:gd name="connsiteX9675" fmla="*/ 1639606 w 2417513"/>
                  <a:gd name="connsiteY9675" fmla="*/ 1766125 h 1867037"/>
                  <a:gd name="connsiteX9676" fmla="*/ 1639000 w 2417513"/>
                  <a:gd name="connsiteY9676" fmla="*/ 1765973 h 1867037"/>
                  <a:gd name="connsiteX9677" fmla="*/ 1639000 w 2417513"/>
                  <a:gd name="connsiteY9677" fmla="*/ 1765519 h 1867037"/>
                  <a:gd name="connsiteX9678" fmla="*/ 1641425 w 2417513"/>
                  <a:gd name="connsiteY9678" fmla="*/ 1763549 h 1867037"/>
                  <a:gd name="connsiteX9679" fmla="*/ 1642182 w 2417513"/>
                  <a:gd name="connsiteY9679" fmla="*/ 1762489 h 1867037"/>
                  <a:gd name="connsiteX9680" fmla="*/ 1642182 w 2417513"/>
                  <a:gd name="connsiteY9680" fmla="*/ 1761428 h 1867037"/>
                  <a:gd name="connsiteX9681" fmla="*/ 1642485 w 2417513"/>
                  <a:gd name="connsiteY9681" fmla="*/ 1760519 h 1867037"/>
                  <a:gd name="connsiteX9682" fmla="*/ 1643243 w 2417513"/>
                  <a:gd name="connsiteY9682" fmla="*/ 1759761 h 1867037"/>
                  <a:gd name="connsiteX9683" fmla="*/ 1643091 w 2417513"/>
                  <a:gd name="connsiteY9683" fmla="*/ 1759458 h 1867037"/>
                  <a:gd name="connsiteX9684" fmla="*/ 1642031 w 2417513"/>
                  <a:gd name="connsiteY9684" fmla="*/ 1759610 h 1867037"/>
                  <a:gd name="connsiteX9685" fmla="*/ 1641425 w 2417513"/>
                  <a:gd name="connsiteY9685" fmla="*/ 1759913 h 1867037"/>
                  <a:gd name="connsiteX9686" fmla="*/ 1640212 w 2417513"/>
                  <a:gd name="connsiteY9686" fmla="*/ 1761428 h 1867037"/>
                  <a:gd name="connsiteX9687" fmla="*/ 1638546 w 2417513"/>
                  <a:gd name="connsiteY9687" fmla="*/ 1761276 h 1867037"/>
                  <a:gd name="connsiteX9688" fmla="*/ 1638394 w 2417513"/>
                  <a:gd name="connsiteY9688" fmla="*/ 1760973 h 1867037"/>
                  <a:gd name="connsiteX9689" fmla="*/ 1638849 w 2417513"/>
                  <a:gd name="connsiteY9689" fmla="*/ 1760064 h 1867037"/>
                  <a:gd name="connsiteX9690" fmla="*/ 1638546 w 2417513"/>
                  <a:gd name="connsiteY9690" fmla="*/ 1759610 h 1867037"/>
                  <a:gd name="connsiteX9691" fmla="*/ 1637333 w 2417513"/>
                  <a:gd name="connsiteY9691" fmla="*/ 1759458 h 1867037"/>
                  <a:gd name="connsiteX9692" fmla="*/ 1637031 w 2417513"/>
                  <a:gd name="connsiteY9692" fmla="*/ 1758549 h 1867037"/>
                  <a:gd name="connsiteX9693" fmla="*/ 1636576 w 2417513"/>
                  <a:gd name="connsiteY9693" fmla="*/ 1758397 h 1867037"/>
                  <a:gd name="connsiteX9694" fmla="*/ 1635212 w 2417513"/>
                  <a:gd name="connsiteY9694" fmla="*/ 1757791 h 1867037"/>
                  <a:gd name="connsiteX9695" fmla="*/ 1635061 w 2417513"/>
                  <a:gd name="connsiteY9695" fmla="*/ 1755973 h 1867037"/>
                  <a:gd name="connsiteX9696" fmla="*/ 1634606 w 2417513"/>
                  <a:gd name="connsiteY9696" fmla="*/ 1754458 h 1867037"/>
                  <a:gd name="connsiteX9697" fmla="*/ 1633697 w 2417513"/>
                  <a:gd name="connsiteY9697" fmla="*/ 1753397 h 1867037"/>
                  <a:gd name="connsiteX9698" fmla="*/ 1633545 w 2417513"/>
                  <a:gd name="connsiteY9698" fmla="*/ 1752337 h 1867037"/>
                  <a:gd name="connsiteX9699" fmla="*/ 1634455 w 2417513"/>
                  <a:gd name="connsiteY9699" fmla="*/ 1750518 h 1867037"/>
                  <a:gd name="connsiteX9700" fmla="*/ 1634152 w 2417513"/>
                  <a:gd name="connsiteY9700" fmla="*/ 1750215 h 1867037"/>
                  <a:gd name="connsiteX9701" fmla="*/ 1631273 w 2417513"/>
                  <a:gd name="connsiteY9701" fmla="*/ 1749912 h 1867037"/>
                  <a:gd name="connsiteX9702" fmla="*/ 1625969 w 2417513"/>
                  <a:gd name="connsiteY9702" fmla="*/ 1749761 h 1867037"/>
                  <a:gd name="connsiteX9703" fmla="*/ 1623242 w 2417513"/>
                  <a:gd name="connsiteY9703" fmla="*/ 1750064 h 1867037"/>
                  <a:gd name="connsiteX9704" fmla="*/ 1622939 w 2417513"/>
                  <a:gd name="connsiteY9704" fmla="*/ 1750973 h 1867037"/>
                  <a:gd name="connsiteX9705" fmla="*/ 1623545 w 2417513"/>
                  <a:gd name="connsiteY9705" fmla="*/ 1751731 h 1867037"/>
                  <a:gd name="connsiteX9706" fmla="*/ 1625060 w 2417513"/>
                  <a:gd name="connsiteY9706" fmla="*/ 1752185 h 1867037"/>
                  <a:gd name="connsiteX9707" fmla="*/ 1626121 w 2417513"/>
                  <a:gd name="connsiteY9707" fmla="*/ 1752943 h 1867037"/>
                  <a:gd name="connsiteX9708" fmla="*/ 1626424 w 2417513"/>
                  <a:gd name="connsiteY9708" fmla="*/ 1753700 h 1867037"/>
                  <a:gd name="connsiteX9709" fmla="*/ 1627333 w 2417513"/>
                  <a:gd name="connsiteY9709" fmla="*/ 1754458 h 1867037"/>
                  <a:gd name="connsiteX9710" fmla="*/ 1628545 w 2417513"/>
                  <a:gd name="connsiteY9710" fmla="*/ 1755973 h 1867037"/>
                  <a:gd name="connsiteX9711" fmla="*/ 1629909 w 2417513"/>
                  <a:gd name="connsiteY9711" fmla="*/ 1758246 h 1867037"/>
                  <a:gd name="connsiteX9712" fmla="*/ 1630818 w 2417513"/>
                  <a:gd name="connsiteY9712" fmla="*/ 1759155 h 1867037"/>
                  <a:gd name="connsiteX9713" fmla="*/ 1631879 w 2417513"/>
                  <a:gd name="connsiteY9713" fmla="*/ 1759307 h 1867037"/>
                  <a:gd name="connsiteX9714" fmla="*/ 1632485 w 2417513"/>
                  <a:gd name="connsiteY9714" fmla="*/ 1759458 h 1867037"/>
                  <a:gd name="connsiteX9715" fmla="*/ 1632333 w 2417513"/>
                  <a:gd name="connsiteY9715" fmla="*/ 1761731 h 1867037"/>
                  <a:gd name="connsiteX9716" fmla="*/ 1632788 w 2417513"/>
                  <a:gd name="connsiteY9716" fmla="*/ 1763095 h 1867037"/>
                  <a:gd name="connsiteX9717" fmla="*/ 1633848 w 2417513"/>
                  <a:gd name="connsiteY9717" fmla="*/ 1764307 h 1867037"/>
                  <a:gd name="connsiteX9718" fmla="*/ 1634455 w 2417513"/>
                  <a:gd name="connsiteY9718" fmla="*/ 1765671 h 1867037"/>
                  <a:gd name="connsiteX9719" fmla="*/ 1634455 w 2417513"/>
                  <a:gd name="connsiteY9719" fmla="*/ 1768095 h 1867037"/>
                  <a:gd name="connsiteX9720" fmla="*/ 1634606 w 2417513"/>
                  <a:gd name="connsiteY9720" fmla="*/ 1770519 h 1867037"/>
                  <a:gd name="connsiteX9721" fmla="*/ 1634000 w 2417513"/>
                  <a:gd name="connsiteY9721" fmla="*/ 1772034 h 1867037"/>
                  <a:gd name="connsiteX9722" fmla="*/ 1632485 w 2417513"/>
                  <a:gd name="connsiteY9722" fmla="*/ 1773853 h 1867037"/>
                  <a:gd name="connsiteX9723" fmla="*/ 1631576 w 2417513"/>
                  <a:gd name="connsiteY9723" fmla="*/ 1775368 h 1867037"/>
                  <a:gd name="connsiteX9724" fmla="*/ 1631121 w 2417513"/>
                  <a:gd name="connsiteY9724" fmla="*/ 1776580 h 1867037"/>
                  <a:gd name="connsiteX9725" fmla="*/ 1630364 w 2417513"/>
                  <a:gd name="connsiteY9725" fmla="*/ 1777338 h 1867037"/>
                  <a:gd name="connsiteX9726" fmla="*/ 1629151 w 2417513"/>
                  <a:gd name="connsiteY9726" fmla="*/ 1777792 h 1867037"/>
                  <a:gd name="connsiteX9727" fmla="*/ 1627939 w 2417513"/>
                  <a:gd name="connsiteY9727" fmla="*/ 1778701 h 1867037"/>
                  <a:gd name="connsiteX9728" fmla="*/ 1626727 w 2417513"/>
                  <a:gd name="connsiteY9728" fmla="*/ 1780065 h 1867037"/>
                  <a:gd name="connsiteX9729" fmla="*/ 1625969 w 2417513"/>
                  <a:gd name="connsiteY9729" fmla="*/ 1781732 h 1867037"/>
                  <a:gd name="connsiteX9730" fmla="*/ 1625515 w 2417513"/>
                  <a:gd name="connsiteY9730" fmla="*/ 1783702 h 1867037"/>
                  <a:gd name="connsiteX9731" fmla="*/ 1624454 w 2417513"/>
                  <a:gd name="connsiteY9731" fmla="*/ 1785671 h 1867037"/>
                  <a:gd name="connsiteX9732" fmla="*/ 1622788 w 2417513"/>
                  <a:gd name="connsiteY9732" fmla="*/ 1787793 h 1867037"/>
                  <a:gd name="connsiteX9733" fmla="*/ 1622181 w 2417513"/>
                  <a:gd name="connsiteY9733" fmla="*/ 1790217 h 1867037"/>
                  <a:gd name="connsiteX9734" fmla="*/ 1622484 w 2417513"/>
                  <a:gd name="connsiteY9734" fmla="*/ 1792793 h 1867037"/>
                  <a:gd name="connsiteX9735" fmla="*/ 1622484 w 2417513"/>
                  <a:gd name="connsiteY9735" fmla="*/ 1804157 h 1867037"/>
                  <a:gd name="connsiteX9736" fmla="*/ 1622788 w 2417513"/>
                  <a:gd name="connsiteY9736" fmla="*/ 1807036 h 1867037"/>
                  <a:gd name="connsiteX9737" fmla="*/ 1622636 w 2417513"/>
                  <a:gd name="connsiteY9737" fmla="*/ 1809763 h 1867037"/>
                  <a:gd name="connsiteX9738" fmla="*/ 1621878 w 2417513"/>
                  <a:gd name="connsiteY9738" fmla="*/ 1812490 h 1867037"/>
                  <a:gd name="connsiteX9739" fmla="*/ 1620666 w 2417513"/>
                  <a:gd name="connsiteY9739" fmla="*/ 1814612 h 1867037"/>
                  <a:gd name="connsiteX9740" fmla="*/ 1619000 w 2417513"/>
                  <a:gd name="connsiteY9740" fmla="*/ 1816127 h 1867037"/>
                  <a:gd name="connsiteX9741" fmla="*/ 1617333 w 2417513"/>
                  <a:gd name="connsiteY9741" fmla="*/ 1817339 h 1867037"/>
                  <a:gd name="connsiteX9742" fmla="*/ 1615666 w 2417513"/>
                  <a:gd name="connsiteY9742" fmla="*/ 1818097 h 1867037"/>
                  <a:gd name="connsiteX9743" fmla="*/ 1613999 w 2417513"/>
                  <a:gd name="connsiteY9743" fmla="*/ 1819309 h 1867037"/>
                  <a:gd name="connsiteX9744" fmla="*/ 1612484 w 2417513"/>
                  <a:gd name="connsiteY9744" fmla="*/ 1821127 h 1867037"/>
                  <a:gd name="connsiteX9745" fmla="*/ 1609908 w 2417513"/>
                  <a:gd name="connsiteY9745" fmla="*/ 1822642 h 1867037"/>
                  <a:gd name="connsiteX9746" fmla="*/ 1606272 w 2417513"/>
                  <a:gd name="connsiteY9746" fmla="*/ 1824006 h 1867037"/>
                  <a:gd name="connsiteX9747" fmla="*/ 1603393 w 2417513"/>
                  <a:gd name="connsiteY9747" fmla="*/ 1824915 h 1867037"/>
                  <a:gd name="connsiteX9748" fmla="*/ 1601423 w 2417513"/>
                  <a:gd name="connsiteY9748" fmla="*/ 1834158 h 1867037"/>
                  <a:gd name="connsiteX9749" fmla="*/ 1599908 w 2417513"/>
                  <a:gd name="connsiteY9749" fmla="*/ 1837946 h 1867037"/>
                  <a:gd name="connsiteX9750" fmla="*/ 1597180 w 2417513"/>
                  <a:gd name="connsiteY9750" fmla="*/ 1840067 h 1867037"/>
                  <a:gd name="connsiteX9751" fmla="*/ 1597484 w 2417513"/>
                  <a:gd name="connsiteY9751" fmla="*/ 1840522 h 1867037"/>
                  <a:gd name="connsiteX9752" fmla="*/ 1598090 w 2417513"/>
                  <a:gd name="connsiteY9752" fmla="*/ 1841128 h 1867037"/>
                  <a:gd name="connsiteX9753" fmla="*/ 1601726 w 2417513"/>
                  <a:gd name="connsiteY9753" fmla="*/ 1841885 h 1867037"/>
                  <a:gd name="connsiteX9754" fmla="*/ 1602484 w 2417513"/>
                  <a:gd name="connsiteY9754" fmla="*/ 1842037 h 1867037"/>
                  <a:gd name="connsiteX9755" fmla="*/ 1603090 w 2417513"/>
                  <a:gd name="connsiteY9755" fmla="*/ 1841885 h 1867037"/>
                  <a:gd name="connsiteX9756" fmla="*/ 1603393 w 2417513"/>
                  <a:gd name="connsiteY9756" fmla="*/ 1842795 h 1867037"/>
                  <a:gd name="connsiteX9757" fmla="*/ 1603544 w 2417513"/>
                  <a:gd name="connsiteY9757" fmla="*/ 1844764 h 1867037"/>
                  <a:gd name="connsiteX9758" fmla="*/ 1603090 w 2417513"/>
                  <a:gd name="connsiteY9758" fmla="*/ 1846280 h 1867037"/>
                  <a:gd name="connsiteX9759" fmla="*/ 1602181 w 2417513"/>
                  <a:gd name="connsiteY9759" fmla="*/ 1847189 h 1867037"/>
                  <a:gd name="connsiteX9760" fmla="*/ 1600665 w 2417513"/>
                  <a:gd name="connsiteY9760" fmla="*/ 1847795 h 1867037"/>
                  <a:gd name="connsiteX9761" fmla="*/ 1598696 w 2417513"/>
                  <a:gd name="connsiteY9761" fmla="*/ 1848098 h 1867037"/>
                  <a:gd name="connsiteX9762" fmla="*/ 1591120 w 2417513"/>
                  <a:gd name="connsiteY9762" fmla="*/ 1847492 h 1867037"/>
                  <a:gd name="connsiteX9763" fmla="*/ 1588241 w 2417513"/>
                  <a:gd name="connsiteY9763" fmla="*/ 1847795 h 1867037"/>
                  <a:gd name="connsiteX9764" fmla="*/ 1587029 w 2417513"/>
                  <a:gd name="connsiteY9764" fmla="*/ 1848249 h 1867037"/>
                  <a:gd name="connsiteX9765" fmla="*/ 1586120 w 2417513"/>
                  <a:gd name="connsiteY9765" fmla="*/ 1848704 h 1867037"/>
                  <a:gd name="connsiteX9766" fmla="*/ 1585362 w 2417513"/>
                  <a:gd name="connsiteY9766" fmla="*/ 1849461 h 1867037"/>
                  <a:gd name="connsiteX9767" fmla="*/ 1584604 w 2417513"/>
                  <a:gd name="connsiteY9767" fmla="*/ 1851431 h 1867037"/>
                  <a:gd name="connsiteX9768" fmla="*/ 1584301 w 2417513"/>
                  <a:gd name="connsiteY9768" fmla="*/ 1854613 h 1867037"/>
                  <a:gd name="connsiteX9769" fmla="*/ 1584604 w 2417513"/>
                  <a:gd name="connsiteY9769" fmla="*/ 1856280 h 1867037"/>
                  <a:gd name="connsiteX9770" fmla="*/ 1585816 w 2417513"/>
                  <a:gd name="connsiteY9770" fmla="*/ 1856886 h 1867037"/>
                  <a:gd name="connsiteX9771" fmla="*/ 1589301 w 2417513"/>
                  <a:gd name="connsiteY9771" fmla="*/ 1858250 h 1867037"/>
                  <a:gd name="connsiteX9772" fmla="*/ 1592180 w 2417513"/>
                  <a:gd name="connsiteY9772" fmla="*/ 1858553 h 1867037"/>
                  <a:gd name="connsiteX9773" fmla="*/ 1596120 w 2417513"/>
                  <a:gd name="connsiteY9773" fmla="*/ 1857341 h 1867037"/>
                  <a:gd name="connsiteX9774" fmla="*/ 1597332 w 2417513"/>
                  <a:gd name="connsiteY9774" fmla="*/ 1857341 h 1867037"/>
                  <a:gd name="connsiteX9775" fmla="*/ 1598393 w 2417513"/>
                  <a:gd name="connsiteY9775" fmla="*/ 1857795 h 1867037"/>
                  <a:gd name="connsiteX9776" fmla="*/ 1599453 w 2417513"/>
                  <a:gd name="connsiteY9776" fmla="*/ 1858553 h 1867037"/>
                  <a:gd name="connsiteX9777" fmla="*/ 1600969 w 2417513"/>
                  <a:gd name="connsiteY9777" fmla="*/ 1860825 h 1867037"/>
                  <a:gd name="connsiteX9778" fmla="*/ 1601423 w 2417513"/>
                  <a:gd name="connsiteY9778" fmla="*/ 1860371 h 1867037"/>
                  <a:gd name="connsiteX9779" fmla="*/ 1601574 w 2417513"/>
                  <a:gd name="connsiteY9779" fmla="*/ 1858401 h 1867037"/>
                  <a:gd name="connsiteX9780" fmla="*/ 1602332 w 2417513"/>
                  <a:gd name="connsiteY9780" fmla="*/ 1856734 h 1867037"/>
                  <a:gd name="connsiteX9781" fmla="*/ 1603696 w 2417513"/>
                  <a:gd name="connsiteY9781" fmla="*/ 1855219 h 1867037"/>
                  <a:gd name="connsiteX9782" fmla="*/ 1606423 w 2417513"/>
                  <a:gd name="connsiteY9782" fmla="*/ 1853401 h 1867037"/>
                  <a:gd name="connsiteX9783" fmla="*/ 1610514 w 2417513"/>
                  <a:gd name="connsiteY9783" fmla="*/ 1851280 h 1867037"/>
                  <a:gd name="connsiteX9784" fmla="*/ 1613696 w 2417513"/>
                  <a:gd name="connsiteY9784" fmla="*/ 1850219 h 1867037"/>
                  <a:gd name="connsiteX9785" fmla="*/ 1616575 w 2417513"/>
                  <a:gd name="connsiteY9785" fmla="*/ 1849765 h 1867037"/>
                  <a:gd name="connsiteX9786" fmla="*/ 1616878 w 2417513"/>
                  <a:gd name="connsiteY9786" fmla="*/ 1849461 h 1867037"/>
                  <a:gd name="connsiteX9787" fmla="*/ 1618393 w 2417513"/>
                  <a:gd name="connsiteY9787" fmla="*/ 1848249 h 1867037"/>
                  <a:gd name="connsiteX9788" fmla="*/ 1618696 w 2417513"/>
                  <a:gd name="connsiteY9788" fmla="*/ 1848552 h 1867037"/>
                  <a:gd name="connsiteX9789" fmla="*/ 1618090 w 2417513"/>
                  <a:gd name="connsiteY9789" fmla="*/ 1849613 h 1867037"/>
                  <a:gd name="connsiteX9790" fmla="*/ 1618090 w 2417513"/>
                  <a:gd name="connsiteY9790" fmla="*/ 1850219 h 1867037"/>
                  <a:gd name="connsiteX9791" fmla="*/ 1618696 w 2417513"/>
                  <a:gd name="connsiteY9791" fmla="*/ 1850219 h 1867037"/>
                  <a:gd name="connsiteX9792" fmla="*/ 1619454 w 2417513"/>
                  <a:gd name="connsiteY9792" fmla="*/ 1849007 h 1867037"/>
                  <a:gd name="connsiteX9793" fmla="*/ 1620363 w 2417513"/>
                  <a:gd name="connsiteY9793" fmla="*/ 1846583 h 1867037"/>
                  <a:gd name="connsiteX9794" fmla="*/ 1622484 w 2417513"/>
                  <a:gd name="connsiteY9794" fmla="*/ 1844007 h 1867037"/>
                  <a:gd name="connsiteX9795" fmla="*/ 1628848 w 2417513"/>
                  <a:gd name="connsiteY9795" fmla="*/ 1839310 h 1867037"/>
                  <a:gd name="connsiteX9796" fmla="*/ 1631273 w 2417513"/>
                  <a:gd name="connsiteY9796" fmla="*/ 1838097 h 1867037"/>
                  <a:gd name="connsiteX9797" fmla="*/ 1635364 w 2417513"/>
                  <a:gd name="connsiteY9797" fmla="*/ 1837340 h 1867037"/>
                  <a:gd name="connsiteX9798" fmla="*/ 1641273 w 2417513"/>
                  <a:gd name="connsiteY9798" fmla="*/ 1837037 h 1867037"/>
                  <a:gd name="connsiteX9799" fmla="*/ 1647031 w 2417513"/>
                  <a:gd name="connsiteY9799" fmla="*/ 1837643 h 1867037"/>
                  <a:gd name="connsiteX9800" fmla="*/ 1652789 w 2417513"/>
                  <a:gd name="connsiteY9800" fmla="*/ 1839158 h 1867037"/>
                  <a:gd name="connsiteX9801" fmla="*/ 1656728 w 2417513"/>
                  <a:gd name="connsiteY9801" fmla="*/ 1839916 h 1867037"/>
                  <a:gd name="connsiteX9802" fmla="*/ 1658850 w 2417513"/>
                  <a:gd name="connsiteY9802" fmla="*/ 1839764 h 1867037"/>
                  <a:gd name="connsiteX9803" fmla="*/ 1667183 w 2417513"/>
                  <a:gd name="connsiteY9803" fmla="*/ 1840825 h 1867037"/>
                  <a:gd name="connsiteX9804" fmla="*/ 1668092 w 2417513"/>
                  <a:gd name="connsiteY9804" fmla="*/ 1840522 h 1867037"/>
                  <a:gd name="connsiteX9805" fmla="*/ 1666880 w 2417513"/>
                  <a:gd name="connsiteY9805" fmla="*/ 1839916 h 1867037"/>
                  <a:gd name="connsiteX9806" fmla="*/ 1661425 w 2417513"/>
                  <a:gd name="connsiteY9806" fmla="*/ 1839310 h 1867037"/>
                  <a:gd name="connsiteX9807" fmla="*/ 1659759 w 2417513"/>
                  <a:gd name="connsiteY9807" fmla="*/ 1838703 h 1867037"/>
                  <a:gd name="connsiteX9808" fmla="*/ 1657637 w 2417513"/>
                  <a:gd name="connsiteY9808" fmla="*/ 1838855 h 1867037"/>
                  <a:gd name="connsiteX9809" fmla="*/ 1657486 w 2417513"/>
                  <a:gd name="connsiteY9809" fmla="*/ 1838552 h 1867037"/>
                  <a:gd name="connsiteX9810" fmla="*/ 1659001 w 2417513"/>
                  <a:gd name="connsiteY9810" fmla="*/ 1836431 h 1867037"/>
                  <a:gd name="connsiteX9811" fmla="*/ 1659910 w 2417513"/>
                  <a:gd name="connsiteY9811" fmla="*/ 1836128 h 1867037"/>
                  <a:gd name="connsiteX9812" fmla="*/ 1660971 w 2417513"/>
                  <a:gd name="connsiteY9812" fmla="*/ 1835370 h 1867037"/>
                  <a:gd name="connsiteX9813" fmla="*/ 1662031 w 2417513"/>
                  <a:gd name="connsiteY9813" fmla="*/ 1834309 h 1867037"/>
                  <a:gd name="connsiteX9814" fmla="*/ 1663850 w 2417513"/>
                  <a:gd name="connsiteY9814" fmla="*/ 1833097 h 1867037"/>
                  <a:gd name="connsiteX9815" fmla="*/ 1667183 w 2417513"/>
                  <a:gd name="connsiteY9815" fmla="*/ 1832188 h 1867037"/>
                  <a:gd name="connsiteX9816" fmla="*/ 1672032 w 2417513"/>
                  <a:gd name="connsiteY9816" fmla="*/ 1831582 h 1867037"/>
                  <a:gd name="connsiteX9817" fmla="*/ 1676880 w 2417513"/>
                  <a:gd name="connsiteY9817" fmla="*/ 1830370 h 1867037"/>
                  <a:gd name="connsiteX9818" fmla="*/ 1678244 w 2417513"/>
                  <a:gd name="connsiteY9818" fmla="*/ 1830218 h 1867037"/>
                  <a:gd name="connsiteX9819" fmla="*/ 1679305 w 2417513"/>
                  <a:gd name="connsiteY9819" fmla="*/ 1830521 h 1867037"/>
                  <a:gd name="connsiteX9820" fmla="*/ 1681123 w 2417513"/>
                  <a:gd name="connsiteY9820" fmla="*/ 1830370 h 1867037"/>
                  <a:gd name="connsiteX9821" fmla="*/ 1686881 w 2417513"/>
                  <a:gd name="connsiteY9821" fmla="*/ 1829461 h 1867037"/>
                  <a:gd name="connsiteX9822" fmla="*/ 1690214 w 2417513"/>
                  <a:gd name="connsiteY9822" fmla="*/ 1829461 h 1867037"/>
                  <a:gd name="connsiteX9823" fmla="*/ 1692639 w 2417513"/>
                  <a:gd name="connsiteY9823" fmla="*/ 1829764 h 1867037"/>
                  <a:gd name="connsiteX9824" fmla="*/ 1694154 w 2417513"/>
                  <a:gd name="connsiteY9824" fmla="*/ 1830218 h 1867037"/>
                  <a:gd name="connsiteX9825" fmla="*/ 1695972 w 2417513"/>
                  <a:gd name="connsiteY9825" fmla="*/ 1830067 h 1867037"/>
                  <a:gd name="connsiteX9826" fmla="*/ 1699306 w 2417513"/>
                  <a:gd name="connsiteY9826" fmla="*/ 1828552 h 1867037"/>
                  <a:gd name="connsiteX9827" fmla="*/ 1699760 w 2417513"/>
                  <a:gd name="connsiteY9827" fmla="*/ 1827946 h 1867037"/>
                  <a:gd name="connsiteX9828" fmla="*/ 1699154 w 2417513"/>
                  <a:gd name="connsiteY9828" fmla="*/ 1827036 h 1867037"/>
                  <a:gd name="connsiteX9829" fmla="*/ 1697487 w 2417513"/>
                  <a:gd name="connsiteY9829" fmla="*/ 1825673 h 1867037"/>
                  <a:gd name="connsiteX9830" fmla="*/ 1696730 w 2417513"/>
                  <a:gd name="connsiteY9830" fmla="*/ 1824612 h 1867037"/>
                  <a:gd name="connsiteX9831" fmla="*/ 1696881 w 2417513"/>
                  <a:gd name="connsiteY9831" fmla="*/ 1823855 h 1867037"/>
                  <a:gd name="connsiteX9832" fmla="*/ 1696578 w 2417513"/>
                  <a:gd name="connsiteY9832" fmla="*/ 1823248 h 1867037"/>
                  <a:gd name="connsiteX9833" fmla="*/ 1695820 w 2417513"/>
                  <a:gd name="connsiteY9833" fmla="*/ 1822339 h 1867037"/>
                  <a:gd name="connsiteX9834" fmla="*/ 1695972 w 2417513"/>
                  <a:gd name="connsiteY9834" fmla="*/ 1821885 h 1867037"/>
                  <a:gd name="connsiteX9835" fmla="*/ 1696124 w 2417513"/>
                  <a:gd name="connsiteY9835" fmla="*/ 1816127 h 1867037"/>
                  <a:gd name="connsiteX9836" fmla="*/ 1696124 w 2417513"/>
                  <a:gd name="connsiteY9836" fmla="*/ 1815975 h 1867037"/>
                  <a:gd name="connsiteX9837" fmla="*/ 1692032 w 2417513"/>
                  <a:gd name="connsiteY9837" fmla="*/ 1817339 h 1867037"/>
                  <a:gd name="connsiteX9838" fmla="*/ 1689911 w 2417513"/>
                  <a:gd name="connsiteY9838" fmla="*/ 1818551 h 1867037"/>
                  <a:gd name="connsiteX9839" fmla="*/ 1688699 w 2417513"/>
                  <a:gd name="connsiteY9839" fmla="*/ 1818854 h 1867037"/>
                  <a:gd name="connsiteX9840" fmla="*/ 1686881 w 2417513"/>
                  <a:gd name="connsiteY9840" fmla="*/ 1818551 h 1867037"/>
                  <a:gd name="connsiteX9841" fmla="*/ 1683396 w 2417513"/>
                  <a:gd name="connsiteY9841" fmla="*/ 1818551 h 1867037"/>
                  <a:gd name="connsiteX9842" fmla="*/ 1680365 w 2417513"/>
                  <a:gd name="connsiteY9842" fmla="*/ 1817642 h 1867037"/>
                  <a:gd name="connsiteX9843" fmla="*/ 1677941 w 2417513"/>
                  <a:gd name="connsiteY9843" fmla="*/ 1817036 h 1867037"/>
                  <a:gd name="connsiteX9844" fmla="*/ 1676729 w 2417513"/>
                  <a:gd name="connsiteY9844" fmla="*/ 1815369 h 1867037"/>
                  <a:gd name="connsiteX9845" fmla="*/ 1676729 w 2417513"/>
                  <a:gd name="connsiteY9845" fmla="*/ 1814763 h 1867037"/>
                  <a:gd name="connsiteX9846" fmla="*/ 1679911 w 2417513"/>
                  <a:gd name="connsiteY9846" fmla="*/ 1810369 h 1867037"/>
                  <a:gd name="connsiteX9847" fmla="*/ 1681123 w 2417513"/>
                  <a:gd name="connsiteY9847" fmla="*/ 1808399 h 1867037"/>
                  <a:gd name="connsiteX9848" fmla="*/ 1681426 w 2417513"/>
                  <a:gd name="connsiteY9848" fmla="*/ 1807187 h 1867037"/>
                  <a:gd name="connsiteX9849" fmla="*/ 1682184 w 2417513"/>
                  <a:gd name="connsiteY9849" fmla="*/ 1806278 h 1867037"/>
                  <a:gd name="connsiteX9850" fmla="*/ 1684153 w 2417513"/>
                  <a:gd name="connsiteY9850" fmla="*/ 1805217 h 1867037"/>
                  <a:gd name="connsiteX9851" fmla="*/ 1684608 w 2417513"/>
                  <a:gd name="connsiteY9851" fmla="*/ 1804460 h 1867037"/>
                  <a:gd name="connsiteX9852" fmla="*/ 1685517 w 2417513"/>
                  <a:gd name="connsiteY9852" fmla="*/ 1804157 h 1867037"/>
                  <a:gd name="connsiteX9853" fmla="*/ 1686881 w 2417513"/>
                  <a:gd name="connsiteY9853" fmla="*/ 1804157 h 1867037"/>
                  <a:gd name="connsiteX9854" fmla="*/ 1689457 w 2417513"/>
                  <a:gd name="connsiteY9854" fmla="*/ 1802642 h 1867037"/>
                  <a:gd name="connsiteX9855" fmla="*/ 1693245 w 2417513"/>
                  <a:gd name="connsiteY9855" fmla="*/ 1799611 h 1867037"/>
                  <a:gd name="connsiteX9856" fmla="*/ 1696124 w 2417513"/>
                  <a:gd name="connsiteY9856" fmla="*/ 1797793 h 1867037"/>
                  <a:gd name="connsiteX9857" fmla="*/ 1698093 w 2417513"/>
                  <a:gd name="connsiteY9857" fmla="*/ 1797187 h 1867037"/>
                  <a:gd name="connsiteX9858" fmla="*/ 1703396 w 2417513"/>
                  <a:gd name="connsiteY9858" fmla="*/ 1796429 h 1867037"/>
                  <a:gd name="connsiteX9859" fmla="*/ 1706730 w 2417513"/>
                  <a:gd name="connsiteY9859" fmla="*/ 1795520 h 1867037"/>
                  <a:gd name="connsiteX9860" fmla="*/ 1709154 w 2417513"/>
                  <a:gd name="connsiteY9860" fmla="*/ 1795217 h 1867037"/>
                  <a:gd name="connsiteX9861" fmla="*/ 1710670 w 2417513"/>
                  <a:gd name="connsiteY9861" fmla="*/ 1795520 h 1867037"/>
                  <a:gd name="connsiteX9862" fmla="*/ 1712942 w 2417513"/>
                  <a:gd name="connsiteY9862" fmla="*/ 1795217 h 1867037"/>
                  <a:gd name="connsiteX9863" fmla="*/ 1715973 w 2417513"/>
                  <a:gd name="connsiteY9863" fmla="*/ 1794308 h 1867037"/>
                  <a:gd name="connsiteX9864" fmla="*/ 1720064 w 2417513"/>
                  <a:gd name="connsiteY9864" fmla="*/ 1793550 h 1867037"/>
                  <a:gd name="connsiteX9865" fmla="*/ 1725215 w 2417513"/>
                  <a:gd name="connsiteY9865" fmla="*/ 1793096 h 1867037"/>
                  <a:gd name="connsiteX9866" fmla="*/ 1728549 w 2417513"/>
                  <a:gd name="connsiteY9866" fmla="*/ 1792641 h 1867037"/>
                  <a:gd name="connsiteX9867" fmla="*/ 1729913 w 2417513"/>
                  <a:gd name="connsiteY9867" fmla="*/ 1792035 h 1867037"/>
                  <a:gd name="connsiteX9868" fmla="*/ 1732792 w 2417513"/>
                  <a:gd name="connsiteY9868" fmla="*/ 1792035 h 1867037"/>
                  <a:gd name="connsiteX9869" fmla="*/ 1733246 w 2417513"/>
                  <a:gd name="connsiteY9869" fmla="*/ 1791278 h 1867037"/>
                  <a:gd name="connsiteX9870" fmla="*/ 1734004 w 2417513"/>
                  <a:gd name="connsiteY9870" fmla="*/ 1790823 h 1867037"/>
                  <a:gd name="connsiteX9871" fmla="*/ 1736731 w 2417513"/>
                  <a:gd name="connsiteY9871" fmla="*/ 1790974 h 1867037"/>
                  <a:gd name="connsiteX9872" fmla="*/ 1737640 w 2417513"/>
                  <a:gd name="connsiteY9872" fmla="*/ 1791429 h 1867037"/>
                  <a:gd name="connsiteX9873" fmla="*/ 1737792 w 2417513"/>
                  <a:gd name="connsiteY9873" fmla="*/ 1791732 h 1867037"/>
                  <a:gd name="connsiteX9874" fmla="*/ 1737186 w 2417513"/>
                  <a:gd name="connsiteY9874" fmla="*/ 1792035 h 1867037"/>
                  <a:gd name="connsiteX9875" fmla="*/ 1737489 w 2417513"/>
                  <a:gd name="connsiteY9875" fmla="*/ 1792641 h 1867037"/>
                  <a:gd name="connsiteX9876" fmla="*/ 1738853 w 2417513"/>
                  <a:gd name="connsiteY9876" fmla="*/ 1793550 h 1867037"/>
                  <a:gd name="connsiteX9877" fmla="*/ 1741125 w 2417513"/>
                  <a:gd name="connsiteY9877" fmla="*/ 1793853 h 1867037"/>
                  <a:gd name="connsiteX9878" fmla="*/ 1743701 w 2417513"/>
                  <a:gd name="connsiteY9878" fmla="*/ 1793247 h 1867037"/>
                  <a:gd name="connsiteX9879" fmla="*/ 1745519 w 2417513"/>
                  <a:gd name="connsiteY9879" fmla="*/ 1793550 h 1867037"/>
                  <a:gd name="connsiteX9880" fmla="*/ 1745065 w 2417513"/>
                  <a:gd name="connsiteY9880" fmla="*/ 1794005 h 1867037"/>
                  <a:gd name="connsiteX9881" fmla="*/ 1744156 w 2417513"/>
                  <a:gd name="connsiteY9881" fmla="*/ 1794005 h 1867037"/>
                  <a:gd name="connsiteX9882" fmla="*/ 1744004 w 2417513"/>
                  <a:gd name="connsiteY9882" fmla="*/ 1794156 h 1867037"/>
                  <a:gd name="connsiteX9883" fmla="*/ 1744762 w 2417513"/>
                  <a:gd name="connsiteY9883" fmla="*/ 1794914 h 1867037"/>
                  <a:gd name="connsiteX9884" fmla="*/ 1745368 w 2417513"/>
                  <a:gd name="connsiteY9884" fmla="*/ 1794914 h 1867037"/>
                  <a:gd name="connsiteX9885" fmla="*/ 1747489 w 2417513"/>
                  <a:gd name="connsiteY9885" fmla="*/ 1794005 h 1867037"/>
                  <a:gd name="connsiteX9886" fmla="*/ 1747641 w 2417513"/>
                  <a:gd name="connsiteY9886" fmla="*/ 1794308 h 1867037"/>
                  <a:gd name="connsiteX9887" fmla="*/ 1746731 w 2417513"/>
                  <a:gd name="connsiteY9887" fmla="*/ 1795520 h 1867037"/>
                  <a:gd name="connsiteX9888" fmla="*/ 1747035 w 2417513"/>
                  <a:gd name="connsiteY9888" fmla="*/ 1796278 h 1867037"/>
                  <a:gd name="connsiteX9889" fmla="*/ 1748550 w 2417513"/>
                  <a:gd name="connsiteY9889" fmla="*/ 1796581 h 1867037"/>
                  <a:gd name="connsiteX9890" fmla="*/ 1751126 w 2417513"/>
                  <a:gd name="connsiteY9890" fmla="*/ 1795975 h 1867037"/>
                  <a:gd name="connsiteX9891" fmla="*/ 1754459 w 2417513"/>
                  <a:gd name="connsiteY9891" fmla="*/ 1794459 h 1867037"/>
                  <a:gd name="connsiteX9892" fmla="*/ 1755974 w 2417513"/>
                  <a:gd name="connsiteY9892" fmla="*/ 1794005 h 1867037"/>
                  <a:gd name="connsiteX9893" fmla="*/ 1756277 w 2417513"/>
                  <a:gd name="connsiteY9893" fmla="*/ 1793247 h 1867037"/>
                  <a:gd name="connsiteX9894" fmla="*/ 1755217 w 2417513"/>
                  <a:gd name="connsiteY9894" fmla="*/ 1793247 h 1867037"/>
                  <a:gd name="connsiteX9895" fmla="*/ 1752338 w 2417513"/>
                  <a:gd name="connsiteY9895" fmla="*/ 1793550 h 1867037"/>
                  <a:gd name="connsiteX9896" fmla="*/ 1751580 w 2417513"/>
                  <a:gd name="connsiteY9896" fmla="*/ 1794005 h 1867037"/>
                  <a:gd name="connsiteX9897" fmla="*/ 1751580 w 2417513"/>
                  <a:gd name="connsiteY9897" fmla="*/ 1793702 h 1867037"/>
                  <a:gd name="connsiteX9898" fmla="*/ 1752186 w 2417513"/>
                  <a:gd name="connsiteY9898" fmla="*/ 1792490 h 1867037"/>
                  <a:gd name="connsiteX9899" fmla="*/ 1754762 w 2417513"/>
                  <a:gd name="connsiteY9899" fmla="*/ 1790823 h 1867037"/>
                  <a:gd name="connsiteX9900" fmla="*/ 1755974 w 2417513"/>
                  <a:gd name="connsiteY9900" fmla="*/ 1789762 h 1867037"/>
                  <a:gd name="connsiteX9901" fmla="*/ 1756732 w 2417513"/>
                  <a:gd name="connsiteY9901" fmla="*/ 1788702 h 1867037"/>
                  <a:gd name="connsiteX9902" fmla="*/ 1755974 w 2417513"/>
                  <a:gd name="connsiteY9902" fmla="*/ 1788702 h 1867037"/>
                  <a:gd name="connsiteX9903" fmla="*/ 1753853 w 2417513"/>
                  <a:gd name="connsiteY9903" fmla="*/ 1789762 h 1867037"/>
                  <a:gd name="connsiteX9904" fmla="*/ 1751883 w 2417513"/>
                  <a:gd name="connsiteY9904" fmla="*/ 1790368 h 1867037"/>
                  <a:gd name="connsiteX9905" fmla="*/ 1750217 w 2417513"/>
                  <a:gd name="connsiteY9905" fmla="*/ 1790520 h 1867037"/>
                  <a:gd name="connsiteX9906" fmla="*/ 1749762 w 2417513"/>
                  <a:gd name="connsiteY9906" fmla="*/ 1789459 h 1867037"/>
                  <a:gd name="connsiteX9907" fmla="*/ 1750671 w 2417513"/>
                  <a:gd name="connsiteY9907" fmla="*/ 1787186 h 1867037"/>
                  <a:gd name="connsiteX9908" fmla="*/ 1749762 w 2417513"/>
                  <a:gd name="connsiteY9908" fmla="*/ 1786429 h 1867037"/>
                  <a:gd name="connsiteX9909" fmla="*/ 1745519 w 2417513"/>
                  <a:gd name="connsiteY9909" fmla="*/ 1787641 h 1867037"/>
                  <a:gd name="connsiteX9910" fmla="*/ 1745065 w 2417513"/>
                  <a:gd name="connsiteY9910" fmla="*/ 1788096 h 1867037"/>
                  <a:gd name="connsiteX9911" fmla="*/ 1745065 w 2417513"/>
                  <a:gd name="connsiteY9911" fmla="*/ 1788399 h 1867037"/>
                  <a:gd name="connsiteX9912" fmla="*/ 1745519 w 2417513"/>
                  <a:gd name="connsiteY9912" fmla="*/ 1788702 h 1867037"/>
                  <a:gd name="connsiteX9913" fmla="*/ 1745519 w 2417513"/>
                  <a:gd name="connsiteY9913" fmla="*/ 1788853 h 1867037"/>
                  <a:gd name="connsiteX9914" fmla="*/ 1744913 w 2417513"/>
                  <a:gd name="connsiteY9914" fmla="*/ 1789005 h 1867037"/>
                  <a:gd name="connsiteX9915" fmla="*/ 1744004 w 2417513"/>
                  <a:gd name="connsiteY9915" fmla="*/ 1788853 h 1867037"/>
                  <a:gd name="connsiteX9916" fmla="*/ 1744004 w 2417513"/>
                  <a:gd name="connsiteY9916" fmla="*/ 1788399 h 1867037"/>
                  <a:gd name="connsiteX9917" fmla="*/ 1744459 w 2417513"/>
                  <a:gd name="connsiteY9917" fmla="*/ 1787641 h 1867037"/>
                  <a:gd name="connsiteX9918" fmla="*/ 1744004 w 2417513"/>
                  <a:gd name="connsiteY9918" fmla="*/ 1787338 h 1867037"/>
                  <a:gd name="connsiteX9919" fmla="*/ 1742641 w 2417513"/>
                  <a:gd name="connsiteY9919" fmla="*/ 1787641 h 1867037"/>
                  <a:gd name="connsiteX9920" fmla="*/ 1740822 w 2417513"/>
                  <a:gd name="connsiteY9920" fmla="*/ 1788096 h 1867037"/>
                  <a:gd name="connsiteX9921" fmla="*/ 1737034 w 2417513"/>
                  <a:gd name="connsiteY9921" fmla="*/ 1789611 h 1867037"/>
                  <a:gd name="connsiteX9922" fmla="*/ 1737034 w 2417513"/>
                  <a:gd name="connsiteY9922" fmla="*/ 1789308 h 1867037"/>
                  <a:gd name="connsiteX9923" fmla="*/ 1738095 w 2417513"/>
                  <a:gd name="connsiteY9923" fmla="*/ 1788399 h 1867037"/>
                  <a:gd name="connsiteX9924" fmla="*/ 1742186 w 2417513"/>
                  <a:gd name="connsiteY9924" fmla="*/ 1787186 h 1867037"/>
                  <a:gd name="connsiteX9925" fmla="*/ 1744156 w 2417513"/>
                  <a:gd name="connsiteY9925" fmla="*/ 1786580 h 1867037"/>
                  <a:gd name="connsiteX9926" fmla="*/ 1745368 w 2417513"/>
                  <a:gd name="connsiteY9926" fmla="*/ 1786732 h 1867037"/>
                  <a:gd name="connsiteX9927" fmla="*/ 1746125 w 2417513"/>
                  <a:gd name="connsiteY9927" fmla="*/ 1786277 h 1867037"/>
                  <a:gd name="connsiteX9928" fmla="*/ 1746883 w 2417513"/>
                  <a:gd name="connsiteY9928" fmla="*/ 1786277 h 1867037"/>
                  <a:gd name="connsiteX9929" fmla="*/ 1747489 w 2417513"/>
                  <a:gd name="connsiteY9929" fmla="*/ 1786732 h 1867037"/>
                  <a:gd name="connsiteX9930" fmla="*/ 1749004 w 2417513"/>
                  <a:gd name="connsiteY9930" fmla="*/ 1786580 h 1867037"/>
                  <a:gd name="connsiteX9931" fmla="*/ 1751429 w 2417513"/>
                  <a:gd name="connsiteY9931" fmla="*/ 1785823 h 1867037"/>
                  <a:gd name="connsiteX9932" fmla="*/ 1752489 w 2417513"/>
                  <a:gd name="connsiteY9932" fmla="*/ 1786126 h 1867037"/>
                  <a:gd name="connsiteX9933" fmla="*/ 1752186 w 2417513"/>
                  <a:gd name="connsiteY9933" fmla="*/ 1787490 h 1867037"/>
                  <a:gd name="connsiteX9934" fmla="*/ 1752792 w 2417513"/>
                  <a:gd name="connsiteY9934" fmla="*/ 1787641 h 1867037"/>
                  <a:gd name="connsiteX9935" fmla="*/ 1754459 w 2417513"/>
                  <a:gd name="connsiteY9935" fmla="*/ 1786580 h 1867037"/>
                  <a:gd name="connsiteX9936" fmla="*/ 1755520 w 2417513"/>
                  <a:gd name="connsiteY9936" fmla="*/ 1786126 h 1867037"/>
                  <a:gd name="connsiteX9937" fmla="*/ 1755974 w 2417513"/>
                  <a:gd name="connsiteY9937" fmla="*/ 1786429 h 1867037"/>
                  <a:gd name="connsiteX9938" fmla="*/ 1752489 w 2417513"/>
                  <a:gd name="connsiteY9938" fmla="*/ 1788247 h 1867037"/>
                  <a:gd name="connsiteX9939" fmla="*/ 1751580 w 2417513"/>
                  <a:gd name="connsiteY9939" fmla="*/ 1789156 h 1867037"/>
                  <a:gd name="connsiteX9940" fmla="*/ 1751429 w 2417513"/>
                  <a:gd name="connsiteY9940" fmla="*/ 1789611 h 1867037"/>
                  <a:gd name="connsiteX9941" fmla="*/ 1752035 w 2417513"/>
                  <a:gd name="connsiteY9941" fmla="*/ 1790217 h 1867037"/>
                  <a:gd name="connsiteX9942" fmla="*/ 1753398 w 2417513"/>
                  <a:gd name="connsiteY9942" fmla="*/ 1790065 h 1867037"/>
                  <a:gd name="connsiteX9943" fmla="*/ 1759005 w 2417513"/>
                  <a:gd name="connsiteY9943" fmla="*/ 1786429 h 1867037"/>
                  <a:gd name="connsiteX9944" fmla="*/ 1761732 w 2417513"/>
                  <a:gd name="connsiteY9944" fmla="*/ 1785217 h 1867037"/>
                  <a:gd name="connsiteX9945" fmla="*/ 1764459 w 2417513"/>
                  <a:gd name="connsiteY9945" fmla="*/ 1784459 h 1867037"/>
                  <a:gd name="connsiteX9946" fmla="*/ 1767187 w 2417513"/>
                  <a:gd name="connsiteY9946" fmla="*/ 1784308 h 1867037"/>
                  <a:gd name="connsiteX9947" fmla="*/ 1769460 w 2417513"/>
                  <a:gd name="connsiteY9947" fmla="*/ 1783702 h 1867037"/>
                  <a:gd name="connsiteX9948" fmla="*/ 1771278 w 2417513"/>
                  <a:gd name="connsiteY9948" fmla="*/ 1782641 h 1867037"/>
                  <a:gd name="connsiteX9949" fmla="*/ 1779005 w 2417513"/>
                  <a:gd name="connsiteY9949" fmla="*/ 1780216 h 1867037"/>
                  <a:gd name="connsiteX9950" fmla="*/ 1782187 w 2417513"/>
                  <a:gd name="connsiteY9950" fmla="*/ 1778701 h 1867037"/>
                  <a:gd name="connsiteX9951" fmla="*/ 1785218 w 2417513"/>
                  <a:gd name="connsiteY9951" fmla="*/ 1775974 h 1867037"/>
                  <a:gd name="connsiteX9952" fmla="*/ 1785975 w 2417513"/>
                  <a:gd name="connsiteY9952" fmla="*/ 1775822 h 1867037"/>
                  <a:gd name="connsiteX9953" fmla="*/ 1786127 w 2417513"/>
                  <a:gd name="connsiteY9953" fmla="*/ 1775974 h 1867037"/>
                  <a:gd name="connsiteX9954" fmla="*/ 1786278 w 2417513"/>
                  <a:gd name="connsiteY9954" fmla="*/ 1775822 h 1867037"/>
                  <a:gd name="connsiteX9955" fmla="*/ 1797036 w 2417513"/>
                  <a:gd name="connsiteY9955" fmla="*/ 1766580 h 1867037"/>
                  <a:gd name="connsiteX9956" fmla="*/ 1803097 w 2417513"/>
                  <a:gd name="connsiteY9956" fmla="*/ 1762337 h 1867037"/>
                  <a:gd name="connsiteX9957" fmla="*/ 1808097 w 2417513"/>
                  <a:gd name="connsiteY9957" fmla="*/ 1759913 h 1867037"/>
                  <a:gd name="connsiteX9958" fmla="*/ 1811885 w 2417513"/>
                  <a:gd name="connsiteY9958" fmla="*/ 1758701 h 1867037"/>
                  <a:gd name="connsiteX9959" fmla="*/ 1814461 w 2417513"/>
                  <a:gd name="connsiteY9959" fmla="*/ 1758852 h 1867037"/>
                  <a:gd name="connsiteX9960" fmla="*/ 1815977 w 2417513"/>
                  <a:gd name="connsiteY9960" fmla="*/ 1758701 h 1867037"/>
                  <a:gd name="connsiteX9961" fmla="*/ 1825522 w 2417513"/>
                  <a:gd name="connsiteY9961" fmla="*/ 1751882 h 1867037"/>
                  <a:gd name="connsiteX9962" fmla="*/ 1832644 w 2417513"/>
                  <a:gd name="connsiteY9962" fmla="*/ 1747943 h 1867037"/>
                  <a:gd name="connsiteX9963" fmla="*/ 1835977 w 2417513"/>
                  <a:gd name="connsiteY9963" fmla="*/ 1747185 h 1867037"/>
                  <a:gd name="connsiteX9964" fmla="*/ 1835220 w 2417513"/>
                  <a:gd name="connsiteY9964" fmla="*/ 1744155 h 1867037"/>
                  <a:gd name="connsiteX9965" fmla="*/ 1828401 w 2417513"/>
                  <a:gd name="connsiteY9965" fmla="*/ 1742185 h 1867037"/>
                  <a:gd name="connsiteX9966" fmla="*/ 1826583 w 2417513"/>
                  <a:gd name="connsiteY9966" fmla="*/ 1740821 h 1867037"/>
                  <a:gd name="connsiteX9967" fmla="*/ 1834159 w 2417513"/>
                  <a:gd name="connsiteY9967" fmla="*/ 1741882 h 1867037"/>
                  <a:gd name="connsiteX9968" fmla="*/ 1837947 w 2417513"/>
                  <a:gd name="connsiteY9968" fmla="*/ 1739760 h 1867037"/>
                  <a:gd name="connsiteX9969" fmla="*/ 1840674 w 2417513"/>
                  <a:gd name="connsiteY9969" fmla="*/ 1736730 h 1867037"/>
                  <a:gd name="connsiteX9970" fmla="*/ 1843099 w 2417513"/>
                  <a:gd name="connsiteY9970" fmla="*/ 1734760 h 1867037"/>
                  <a:gd name="connsiteX9971" fmla="*/ 1849462 w 2417513"/>
                  <a:gd name="connsiteY9971" fmla="*/ 1733851 h 1867037"/>
                  <a:gd name="connsiteX9972" fmla="*/ 1854766 w 2417513"/>
                  <a:gd name="connsiteY9972" fmla="*/ 1728396 h 1867037"/>
                  <a:gd name="connsiteX9973" fmla="*/ 1857645 w 2417513"/>
                  <a:gd name="connsiteY9973" fmla="*/ 1724154 h 1867037"/>
                  <a:gd name="connsiteX9974" fmla="*/ 1858554 w 2417513"/>
                  <a:gd name="connsiteY9974" fmla="*/ 1722790 h 1867037"/>
                  <a:gd name="connsiteX9975" fmla="*/ 1861887 w 2417513"/>
                  <a:gd name="connsiteY9975" fmla="*/ 1720972 h 1867037"/>
                  <a:gd name="connsiteX9976" fmla="*/ 1862948 w 2417513"/>
                  <a:gd name="connsiteY9976" fmla="*/ 1717941 h 1867037"/>
                  <a:gd name="connsiteX9977" fmla="*/ 1866736 w 2417513"/>
                  <a:gd name="connsiteY9977" fmla="*/ 1716123 h 1867037"/>
                  <a:gd name="connsiteX9978" fmla="*/ 1871130 w 2417513"/>
                  <a:gd name="connsiteY9978" fmla="*/ 1715214 h 1867037"/>
                  <a:gd name="connsiteX9979" fmla="*/ 1882646 w 2417513"/>
                  <a:gd name="connsiteY9979" fmla="*/ 1708396 h 1867037"/>
                  <a:gd name="connsiteX9980" fmla="*/ 1884009 w 2417513"/>
                  <a:gd name="connsiteY9980" fmla="*/ 1705820 h 1867037"/>
                  <a:gd name="connsiteX9981" fmla="*/ 1888858 w 2417513"/>
                  <a:gd name="connsiteY9981" fmla="*/ 1704153 h 1867037"/>
                  <a:gd name="connsiteX9982" fmla="*/ 1892949 w 2417513"/>
                  <a:gd name="connsiteY9982" fmla="*/ 1701426 h 1867037"/>
                  <a:gd name="connsiteX9983" fmla="*/ 1896283 w 2417513"/>
                  <a:gd name="connsiteY9983" fmla="*/ 1701880 h 1867037"/>
                  <a:gd name="connsiteX9984" fmla="*/ 1899919 w 2417513"/>
                  <a:gd name="connsiteY9984" fmla="*/ 1700971 h 1867037"/>
                  <a:gd name="connsiteX9985" fmla="*/ 1909616 w 2417513"/>
                  <a:gd name="connsiteY9985" fmla="*/ 1697638 h 1867037"/>
                  <a:gd name="connsiteX9986" fmla="*/ 1913707 w 2417513"/>
                  <a:gd name="connsiteY9986" fmla="*/ 1693244 h 1867037"/>
                  <a:gd name="connsiteX9987" fmla="*/ 1917647 w 2417513"/>
                  <a:gd name="connsiteY9987" fmla="*/ 1690365 h 1867037"/>
                  <a:gd name="connsiteX9988" fmla="*/ 1924920 w 2417513"/>
                  <a:gd name="connsiteY9988" fmla="*/ 1685819 h 1867037"/>
                  <a:gd name="connsiteX9989" fmla="*/ 1932041 w 2417513"/>
                  <a:gd name="connsiteY9989" fmla="*/ 1675970 h 1867037"/>
                  <a:gd name="connsiteX9990" fmla="*/ 1936132 w 2417513"/>
                  <a:gd name="connsiteY9990" fmla="*/ 1673243 h 1867037"/>
                  <a:gd name="connsiteX9991" fmla="*/ 1944466 w 2417513"/>
                  <a:gd name="connsiteY9991" fmla="*/ 1665061 h 1867037"/>
                  <a:gd name="connsiteX9992" fmla="*/ 1946890 w 2417513"/>
                  <a:gd name="connsiteY9992" fmla="*/ 1661879 h 1867037"/>
                  <a:gd name="connsiteX9993" fmla="*/ 1948709 w 2417513"/>
                  <a:gd name="connsiteY9993" fmla="*/ 1657636 h 1867037"/>
                  <a:gd name="connsiteX9994" fmla="*/ 1950527 w 2417513"/>
                  <a:gd name="connsiteY9994" fmla="*/ 1652636 h 1867037"/>
                  <a:gd name="connsiteX9995" fmla="*/ 1948103 w 2417513"/>
                  <a:gd name="connsiteY9995" fmla="*/ 1650060 h 1867037"/>
                  <a:gd name="connsiteX9996" fmla="*/ 1945224 w 2417513"/>
                  <a:gd name="connsiteY9996" fmla="*/ 1648848 h 1867037"/>
                  <a:gd name="connsiteX9997" fmla="*/ 1940527 w 2417513"/>
                  <a:gd name="connsiteY9997" fmla="*/ 1647484 h 1867037"/>
                  <a:gd name="connsiteX9998" fmla="*/ 1930829 w 2417513"/>
                  <a:gd name="connsiteY9998" fmla="*/ 1643545 h 1867037"/>
                  <a:gd name="connsiteX9999" fmla="*/ 1926132 w 2417513"/>
                  <a:gd name="connsiteY9999" fmla="*/ 1643545 h 1867037"/>
                  <a:gd name="connsiteX10000" fmla="*/ 1921587 w 2417513"/>
                  <a:gd name="connsiteY10000" fmla="*/ 1643090 h 1867037"/>
                  <a:gd name="connsiteX10001" fmla="*/ 1919314 w 2417513"/>
                  <a:gd name="connsiteY10001" fmla="*/ 1641120 h 1867037"/>
                  <a:gd name="connsiteX10002" fmla="*/ 1916738 w 2417513"/>
                  <a:gd name="connsiteY10002" fmla="*/ 1639908 h 1867037"/>
                  <a:gd name="connsiteX10003" fmla="*/ 1934163 w 2417513"/>
                  <a:gd name="connsiteY10003" fmla="*/ 1643090 h 1867037"/>
                  <a:gd name="connsiteX10004" fmla="*/ 1941587 w 2417513"/>
                  <a:gd name="connsiteY10004" fmla="*/ 1646121 h 1867037"/>
                  <a:gd name="connsiteX10005" fmla="*/ 1944618 w 2417513"/>
                  <a:gd name="connsiteY10005" fmla="*/ 1646424 h 1867037"/>
                  <a:gd name="connsiteX10006" fmla="*/ 1948709 w 2417513"/>
                  <a:gd name="connsiteY10006" fmla="*/ 1648697 h 1867037"/>
                  <a:gd name="connsiteX10007" fmla="*/ 1951133 w 2417513"/>
                  <a:gd name="connsiteY10007" fmla="*/ 1649303 h 1867037"/>
                  <a:gd name="connsiteX10008" fmla="*/ 1953557 w 2417513"/>
                  <a:gd name="connsiteY10008" fmla="*/ 1649000 h 1867037"/>
                  <a:gd name="connsiteX10009" fmla="*/ 1956891 w 2417513"/>
                  <a:gd name="connsiteY10009" fmla="*/ 1647181 h 1867037"/>
                  <a:gd name="connsiteX10010" fmla="*/ 1961739 w 2417513"/>
                  <a:gd name="connsiteY10010" fmla="*/ 1642484 h 1867037"/>
                  <a:gd name="connsiteX10011" fmla="*/ 1965679 w 2417513"/>
                  <a:gd name="connsiteY10011" fmla="*/ 1635969 h 1867037"/>
                  <a:gd name="connsiteX10012" fmla="*/ 1973861 w 2417513"/>
                  <a:gd name="connsiteY10012" fmla="*/ 1627029 h 1867037"/>
                  <a:gd name="connsiteX10013" fmla="*/ 1980983 w 2417513"/>
                  <a:gd name="connsiteY10013" fmla="*/ 1623090 h 1867037"/>
                  <a:gd name="connsiteX10014" fmla="*/ 1982043 w 2417513"/>
                  <a:gd name="connsiteY10014" fmla="*/ 1620665 h 1867037"/>
                  <a:gd name="connsiteX10015" fmla="*/ 1984316 w 2417513"/>
                  <a:gd name="connsiteY10015" fmla="*/ 1618998 h 1867037"/>
                  <a:gd name="connsiteX10016" fmla="*/ 1987801 w 2417513"/>
                  <a:gd name="connsiteY10016" fmla="*/ 1617483 h 1867037"/>
                  <a:gd name="connsiteX10017" fmla="*/ 1991134 w 2417513"/>
                  <a:gd name="connsiteY10017" fmla="*/ 1617029 h 1867037"/>
                  <a:gd name="connsiteX10018" fmla="*/ 1993104 w 2417513"/>
                  <a:gd name="connsiteY10018" fmla="*/ 1615817 h 1867037"/>
                  <a:gd name="connsiteX10019" fmla="*/ 1991438 w 2417513"/>
                  <a:gd name="connsiteY10019" fmla="*/ 1614150 h 1867037"/>
                  <a:gd name="connsiteX10020" fmla="*/ 1997650 w 2417513"/>
                  <a:gd name="connsiteY10020" fmla="*/ 1612029 h 1867037"/>
                  <a:gd name="connsiteX10021" fmla="*/ 2011590 w 2417513"/>
                  <a:gd name="connsiteY10021" fmla="*/ 1609301 h 1867037"/>
                  <a:gd name="connsiteX10022" fmla="*/ 2013711 w 2417513"/>
                  <a:gd name="connsiteY10022" fmla="*/ 1609150 h 1867037"/>
                  <a:gd name="connsiteX10023" fmla="*/ 2016438 w 2417513"/>
                  <a:gd name="connsiteY10023" fmla="*/ 1608695 h 1867037"/>
                  <a:gd name="connsiteX10024" fmla="*/ 2019469 w 2417513"/>
                  <a:gd name="connsiteY10024" fmla="*/ 1605059 h 1867037"/>
                  <a:gd name="connsiteX10025" fmla="*/ 2020226 w 2417513"/>
                  <a:gd name="connsiteY10025" fmla="*/ 1599755 h 1867037"/>
                  <a:gd name="connsiteX10026" fmla="*/ 2028257 w 2417513"/>
                  <a:gd name="connsiteY10026" fmla="*/ 1585815 h 1867037"/>
                  <a:gd name="connsiteX10027" fmla="*/ 2033712 w 2417513"/>
                  <a:gd name="connsiteY10027" fmla="*/ 1583240 h 1867037"/>
                  <a:gd name="connsiteX10028" fmla="*/ 2037045 w 2417513"/>
                  <a:gd name="connsiteY10028" fmla="*/ 1580058 h 1867037"/>
                  <a:gd name="connsiteX10029" fmla="*/ 2039015 w 2417513"/>
                  <a:gd name="connsiteY10029" fmla="*/ 1579906 h 1867037"/>
                  <a:gd name="connsiteX10030" fmla="*/ 2040530 w 2417513"/>
                  <a:gd name="connsiteY10030" fmla="*/ 1578088 h 1867037"/>
                  <a:gd name="connsiteX10031" fmla="*/ 2042803 w 2417513"/>
                  <a:gd name="connsiteY10031" fmla="*/ 1577633 h 1867037"/>
                  <a:gd name="connsiteX10032" fmla="*/ 2044015 w 2417513"/>
                  <a:gd name="connsiteY10032" fmla="*/ 1578239 h 1867037"/>
                  <a:gd name="connsiteX10033" fmla="*/ 2047500 w 2417513"/>
                  <a:gd name="connsiteY10033" fmla="*/ 1577785 h 1867037"/>
                  <a:gd name="connsiteX10034" fmla="*/ 2050682 w 2417513"/>
                  <a:gd name="connsiteY10034" fmla="*/ 1578542 h 1867037"/>
                  <a:gd name="connsiteX10035" fmla="*/ 2055379 w 2417513"/>
                  <a:gd name="connsiteY10035" fmla="*/ 1575209 h 1867037"/>
                  <a:gd name="connsiteX10036" fmla="*/ 2060682 w 2417513"/>
                  <a:gd name="connsiteY10036" fmla="*/ 1576421 h 1867037"/>
                  <a:gd name="connsiteX10037" fmla="*/ 2074168 w 2417513"/>
                  <a:gd name="connsiteY10037" fmla="*/ 1574300 h 1867037"/>
                  <a:gd name="connsiteX10038" fmla="*/ 2076592 w 2417513"/>
                  <a:gd name="connsiteY10038" fmla="*/ 1575057 h 1867037"/>
                  <a:gd name="connsiteX10039" fmla="*/ 2085229 w 2417513"/>
                  <a:gd name="connsiteY10039" fmla="*/ 1575815 h 1867037"/>
                  <a:gd name="connsiteX10040" fmla="*/ 2095078 w 2417513"/>
                  <a:gd name="connsiteY10040" fmla="*/ 1574603 h 1867037"/>
                  <a:gd name="connsiteX10041" fmla="*/ 2104321 w 2417513"/>
                  <a:gd name="connsiteY10041" fmla="*/ 1575967 h 1867037"/>
                  <a:gd name="connsiteX10042" fmla="*/ 2108563 w 2417513"/>
                  <a:gd name="connsiteY10042" fmla="*/ 1574754 h 1867037"/>
                  <a:gd name="connsiteX10043" fmla="*/ 2112957 w 2417513"/>
                  <a:gd name="connsiteY10043" fmla="*/ 1574451 h 1867037"/>
                  <a:gd name="connsiteX10044" fmla="*/ 2116291 w 2417513"/>
                  <a:gd name="connsiteY10044" fmla="*/ 1574754 h 1867037"/>
                  <a:gd name="connsiteX10045" fmla="*/ 2120382 w 2417513"/>
                  <a:gd name="connsiteY10045" fmla="*/ 1576421 h 1867037"/>
                  <a:gd name="connsiteX10046" fmla="*/ 2129928 w 2417513"/>
                  <a:gd name="connsiteY10046" fmla="*/ 1577027 h 1867037"/>
                  <a:gd name="connsiteX10047" fmla="*/ 2132807 w 2417513"/>
                  <a:gd name="connsiteY10047" fmla="*/ 1575209 h 1867037"/>
                  <a:gd name="connsiteX10048" fmla="*/ 2137958 w 2417513"/>
                  <a:gd name="connsiteY10048" fmla="*/ 1575361 h 1867037"/>
                  <a:gd name="connsiteX10049" fmla="*/ 2141292 w 2417513"/>
                  <a:gd name="connsiteY10049" fmla="*/ 1575057 h 1867037"/>
                  <a:gd name="connsiteX10050" fmla="*/ 2144473 w 2417513"/>
                  <a:gd name="connsiteY10050" fmla="*/ 1575057 h 1867037"/>
                  <a:gd name="connsiteX10051" fmla="*/ 2149322 w 2417513"/>
                  <a:gd name="connsiteY10051" fmla="*/ 1575664 h 1867037"/>
                  <a:gd name="connsiteX10052" fmla="*/ 2154171 w 2417513"/>
                  <a:gd name="connsiteY10052" fmla="*/ 1575967 h 1867037"/>
                  <a:gd name="connsiteX10053" fmla="*/ 2159474 w 2417513"/>
                  <a:gd name="connsiteY10053" fmla="*/ 1577330 h 1867037"/>
                  <a:gd name="connsiteX10054" fmla="*/ 2166141 w 2417513"/>
                  <a:gd name="connsiteY10054" fmla="*/ 1577482 h 1867037"/>
                  <a:gd name="connsiteX10055" fmla="*/ 2168414 w 2417513"/>
                  <a:gd name="connsiteY10055" fmla="*/ 1578694 h 1867037"/>
                  <a:gd name="connsiteX10056" fmla="*/ 2171444 w 2417513"/>
                  <a:gd name="connsiteY10056" fmla="*/ 1582027 h 1867037"/>
                  <a:gd name="connsiteX10057" fmla="*/ 2183414 w 2417513"/>
                  <a:gd name="connsiteY10057" fmla="*/ 1578542 h 1867037"/>
                  <a:gd name="connsiteX10058" fmla="*/ 2186445 w 2417513"/>
                  <a:gd name="connsiteY10058" fmla="*/ 1578845 h 1867037"/>
                  <a:gd name="connsiteX10059" fmla="*/ 2192657 w 2417513"/>
                  <a:gd name="connsiteY10059" fmla="*/ 1578391 h 1867037"/>
                  <a:gd name="connsiteX10060" fmla="*/ 2196748 w 2417513"/>
                  <a:gd name="connsiteY10060" fmla="*/ 1576876 h 1867037"/>
                  <a:gd name="connsiteX10061" fmla="*/ 2202203 w 2417513"/>
                  <a:gd name="connsiteY10061" fmla="*/ 1577936 h 1867037"/>
                  <a:gd name="connsiteX10062" fmla="*/ 2206900 w 2417513"/>
                  <a:gd name="connsiteY10062" fmla="*/ 1577330 h 1867037"/>
                  <a:gd name="connsiteX10063" fmla="*/ 2216749 w 2417513"/>
                  <a:gd name="connsiteY10063" fmla="*/ 1576724 h 1867037"/>
                  <a:gd name="connsiteX10064" fmla="*/ 2222052 w 2417513"/>
                  <a:gd name="connsiteY10064" fmla="*/ 1574451 h 1867037"/>
                  <a:gd name="connsiteX10065" fmla="*/ 2224022 w 2417513"/>
                  <a:gd name="connsiteY10065" fmla="*/ 1570815 h 1867037"/>
                  <a:gd name="connsiteX10066" fmla="*/ 2229628 w 2417513"/>
                  <a:gd name="connsiteY10066" fmla="*/ 1568239 h 1867037"/>
                  <a:gd name="connsiteX10067" fmla="*/ 2235992 w 2417513"/>
                  <a:gd name="connsiteY10067" fmla="*/ 1561724 h 1867037"/>
                  <a:gd name="connsiteX10068" fmla="*/ 2241750 w 2417513"/>
                  <a:gd name="connsiteY10068" fmla="*/ 1557936 h 1867037"/>
                  <a:gd name="connsiteX10069" fmla="*/ 2242205 w 2417513"/>
                  <a:gd name="connsiteY10069" fmla="*/ 1553542 h 1867037"/>
                  <a:gd name="connsiteX10070" fmla="*/ 741846 w 2417513"/>
                  <a:gd name="connsiteY10070" fmla="*/ 391226 h 1867037"/>
                  <a:gd name="connsiteX10071" fmla="*/ 727451 w 2417513"/>
                  <a:gd name="connsiteY10071" fmla="*/ 392287 h 1867037"/>
                  <a:gd name="connsiteX10072" fmla="*/ 721239 w 2417513"/>
                  <a:gd name="connsiteY10072" fmla="*/ 393651 h 1867037"/>
                  <a:gd name="connsiteX10073" fmla="*/ 716087 w 2417513"/>
                  <a:gd name="connsiteY10073" fmla="*/ 396833 h 1867037"/>
                  <a:gd name="connsiteX10074" fmla="*/ 716845 w 2417513"/>
                  <a:gd name="connsiteY10074" fmla="*/ 398045 h 1867037"/>
                  <a:gd name="connsiteX10075" fmla="*/ 718360 w 2417513"/>
                  <a:gd name="connsiteY10075" fmla="*/ 398954 h 1867037"/>
                  <a:gd name="connsiteX10076" fmla="*/ 746846 w 2417513"/>
                  <a:gd name="connsiteY10076" fmla="*/ 401681 h 1867037"/>
                  <a:gd name="connsiteX10077" fmla="*/ 750937 w 2417513"/>
                  <a:gd name="connsiteY10077" fmla="*/ 399863 h 1867037"/>
                  <a:gd name="connsiteX10078" fmla="*/ 752907 w 2417513"/>
                  <a:gd name="connsiteY10078" fmla="*/ 397590 h 1867037"/>
                  <a:gd name="connsiteX10079" fmla="*/ 752149 w 2417513"/>
                  <a:gd name="connsiteY10079" fmla="*/ 395166 h 1867037"/>
                  <a:gd name="connsiteX10080" fmla="*/ 750331 w 2417513"/>
                  <a:gd name="connsiteY10080" fmla="*/ 393954 h 1867037"/>
                  <a:gd name="connsiteX10081" fmla="*/ 746997 w 2417513"/>
                  <a:gd name="connsiteY10081" fmla="*/ 392439 h 1867037"/>
                  <a:gd name="connsiteX10082" fmla="*/ 741846 w 2417513"/>
                  <a:gd name="connsiteY10082" fmla="*/ 391226 h 1867037"/>
                  <a:gd name="connsiteX10083" fmla="*/ 761543 w 2417513"/>
                  <a:gd name="connsiteY10083" fmla="*/ 309860 h 1867037"/>
                  <a:gd name="connsiteX10084" fmla="*/ 766241 w 2417513"/>
                  <a:gd name="connsiteY10084" fmla="*/ 309254 h 1867037"/>
                  <a:gd name="connsiteX10085" fmla="*/ 778362 w 2417513"/>
                  <a:gd name="connsiteY10085" fmla="*/ 306375 h 1867037"/>
                  <a:gd name="connsiteX10086" fmla="*/ 790029 w 2417513"/>
                  <a:gd name="connsiteY10086" fmla="*/ 304860 h 1867037"/>
                  <a:gd name="connsiteX10087" fmla="*/ 800181 w 2417513"/>
                  <a:gd name="connsiteY10087" fmla="*/ 309860 h 1867037"/>
                  <a:gd name="connsiteX10088" fmla="*/ 806848 w 2417513"/>
                  <a:gd name="connsiteY10088" fmla="*/ 310314 h 1867037"/>
                  <a:gd name="connsiteX10089" fmla="*/ 809121 w 2417513"/>
                  <a:gd name="connsiteY10089" fmla="*/ 309557 h 1867037"/>
                  <a:gd name="connsiteX10090" fmla="*/ 812757 w 2417513"/>
                  <a:gd name="connsiteY10090" fmla="*/ 306678 h 1867037"/>
                  <a:gd name="connsiteX10091" fmla="*/ 814727 w 2417513"/>
                  <a:gd name="connsiteY10091" fmla="*/ 304254 h 1867037"/>
                  <a:gd name="connsiteX10092" fmla="*/ 816394 w 2417513"/>
                  <a:gd name="connsiteY10092" fmla="*/ 303647 h 1867037"/>
                  <a:gd name="connsiteX10093" fmla="*/ 820334 w 2417513"/>
                  <a:gd name="connsiteY10093" fmla="*/ 304708 h 1867037"/>
                  <a:gd name="connsiteX10094" fmla="*/ 825485 w 2417513"/>
                  <a:gd name="connsiteY10094" fmla="*/ 307435 h 1867037"/>
                  <a:gd name="connsiteX10095" fmla="*/ 827758 w 2417513"/>
                  <a:gd name="connsiteY10095" fmla="*/ 308193 h 1867037"/>
                  <a:gd name="connsiteX10096" fmla="*/ 837001 w 2417513"/>
                  <a:gd name="connsiteY10096" fmla="*/ 309102 h 1867037"/>
                  <a:gd name="connsiteX10097" fmla="*/ 840486 w 2417513"/>
                  <a:gd name="connsiteY10097" fmla="*/ 308951 h 1867037"/>
                  <a:gd name="connsiteX10098" fmla="*/ 847910 w 2417513"/>
                  <a:gd name="connsiteY10098" fmla="*/ 307435 h 1867037"/>
                  <a:gd name="connsiteX10099" fmla="*/ 856547 w 2417513"/>
                  <a:gd name="connsiteY10099" fmla="*/ 308648 h 1867037"/>
                  <a:gd name="connsiteX10100" fmla="*/ 862759 w 2417513"/>
                  <a:gd name="connsiteY10100" fmla="*/ 307890 h 1867037"/>
                  <a:gd name="connsiteX10101" fmla="*/ 865335 w 2417513"/>
                  <a:gd name="connsiteY10101" fmla="*/ 306678 h 1867037"/>
                  <a:gd name="connsiteX10102" fmla="*/ 866396 w 2417513"/>
                  <a:gd name="connsiteY10102" fmla="*/ 304708 h 1867037"/>
                  <a:gd name="connsiteX10103" fmla="*/ 866850 w 2417513"/>
                  <a:gd name="connsiteY10103" fmla="*/ 302284 h 1867037"/>
                  <a:gd name="connsiteX10104" fmla="*/ 866699 w 2417513"/>
                  <a:gd name="connsiteY10104" fmla="*/ 299405 h 1867037"/>
                  <a:gd name="connsiteX10105" fmla="*/ 866093 w 2417513"/>
                  <a:gd name="connsiteY10105" fmla="*/ 297132 h 1867037"/>
                  <a:gd name="connsiteX10106" fmla="*/ 863214 w 2417513"/>
                  <a:gd name="connsiteY10106" fmla="*/ 292586 h 1867037"/>
                  <a:gd name="connsiteX10107" fmla="*/ 862153 w 2417513"/>
                  <a:gd name="connsiteY10107" fmla="*/ 291677 h 1867037"/>
                  <a:gd name="connsiteX10108" fmla="*/ 860032 w 2417513"/>
                  <a:gd name="connsiteY10108" fmla="*/ 291071 h 1867037"/>
                  <a:gd name="connsiteX10109" fmla="*/ 858365 w 2417513"/>
                  <a:gd name="connsiteY10109" fmla="*/ 291071 h 1867037"/>
                  <a:gd name="connsiteX10110" fmla="*/ 853516 w 2417513"/>
                  <a:gd name="connsiteY10110" fmla="*/ 287586 h 1867037"/>
                  <a:gd name="connsiteX10111" fmla="*/ 850032 w 2417513"/>
                  <a:gd name="connsiteY10111" fmla="*/ 285920 h 1867037"/>
                  <a:gd name="connsiteX10112" fmla="*/ 844577 w 2417513"/>
                  <a:gd name="connsiteY10112" fmla="*/ 284404 h 1867037"/>
                  <a:gd name="connsiteX10113" fmla="*/ 837304 w 2417513"/>
                  <a:gd name="connsiteY10113" fmla="*/ 281222 h 1867037"/>
                  <a:gd name="connsiteX10114" fmla="*/ 831546 w 2417513"/>
                  <a:gd name="connsiteY10114" fmla="*/ 281222 h 1867037"/>
                  <a:gd name="connsiteX10115" fmla="*/ 824425 w 2417513"/>
                  <a:gd name="connsiteY10115" fmla="*/ 282586 h 1867037"/>
                  <a:gd name="connsiteX10116" fmla="*/ 819121 w 2417513"/>
                  <a:gd name="connsiteY10116" fmla="*/ 284253 h 1867037"/>
                  <a:gd name="connsiteX10117" fmla="*/ 810182 w 2417513"/>
                  <a:gd name="connsiteY10117" fmla="*/ 288192 h 1867037"/>
                  <a:gd name="connsiteX10118" fmla="*/ 806848 w 2417513"/>
                  <a:gd name="connsiteY10118" fmla="*/ 290617 h 1867037"/>
                  <a:gd name="connsiteX10119" fmla="*/ 801696 w 2417513"/>
                  <a:gd name="connsiteY10119" fmla="*/ 292283 h 1867037"/>
                  <a:gd name="connsiteX10120" fmla="*/ 787908 w 2417513"/>
                  <a:gd name="connsiteY10120" fmla="*/ 293950 h 1867037"/>
                  <a:gd name="connsiteX10121" fmla="*/ 776241 w 2417513"/>
                  <a:gd name="connsiteY10121" fmla="*/ 296829 h 1867037"/>
                  <a:gd name="connsiteX10122" fmla="*/ 770332 w 2417513"/>
                  <a:gd name="connsiteY10122" fmla="*/ 298799 h 1867037"/>
                  <a:gd name="connsiteX10123" fmla="*/ 762301 w 2417513"/>
                  <a:gd name="connsiteY10123" fmla="*/ 302284 h 1867037"/>
                  <a:gd name="connsiteX10124" fmla="*/ 758665 w 2417513"/>
                  <a:gd name="connsiteY10124" fmla="*/ 305617 h 1867037"/>
                  <a:gd name="connsiteX10125" fmla="*/ 758361 w 2417513"/>
                  <a:gd name="connsiteY10125" fmla="*/ 306678 h 1867037"/>
                  <a:gd name="connsiteX10126" fmla="*/ 760331 w 2417513"/>
                  <a:gd name="connsiteY10126" fmla="*/ 308799 h 1867037"/>
                  <a:gd name="connsiteX10127" fmla="*/ 761543 w 2417513"/>
                  <a:gd name="connsiteY10127" fmla="*/ 309860 h 1867037"/>
                  <a:gd name="connsiteX10128" fmla="*/ 842910 w 2417513"/>
                  <a:gd name="connsiteY10128" fmla="*/ 332285 h 1867037"/>
                  <a:gd name="connsiteX10129" fmla="*/ 854577 w 2417513"/>
                  <a:gd name="connsiteY10129" fmla="*/ 329103 h 1867037"/>
                  <a:gd name="connsiteX10130" fmla="*/ 857153 w 2417513"/>
                  <a:gd name="connsiteY10130" fmla="*/ 326679 h 1867037"/>
                  <a:gd name="connsiteX10131" fmla="*/ 858820 w 2417513"/>
                  <a:gd name="connsiteY10131" fmla="*/ 323194 h 1867037"/>
                  <a:gd name="connsiteX10132" fmla="*/ 858668 w 2417513"/>
                  <a:gd name="connsiteY10132" fmla="*/ 322133 h 1867037"/>
                  <a:gd name="connsiteX10133" fmla="*/ 857759 w 2417513"/>
                  <a:gd name="connsiteY10133" fmla="*/ 321830 h 1867037"/>
                  <a:gd name="connsiteX10134" fmla="*/ 835789 w 2417513"/>
                  <a:gd name="connsiteY10134" fmla="*/ 320466 h 1867037"/>
                  <a:gd name="connsiteX10135" fmla="*/ 828364 w 2417513"/>
                  <a:gd name="connsiteY10135" fmla="*/ 320921 h 1867037"/>
                  <a:gd name="connsiteX10136" fmla="*/ 824425 w 2417513"/>
                  <a:gd name="connsiteY10136" fmla="*/ 321830 h 1867037"/>
                  <a:gd name="connsiteX10137" fmla="*/ 815333 w 2417513"/>
                  <a:gd name="connsiteY10137" fmla="*/ 321375 h 1867037"/>
                  <a:gd name="connsiteX10138" fmla="*/ 785332 w 2417513"/>
                  <a:gd name="connsiteY10138" fmla="*/ 326224 h 1867037"/>
                  <a:gd name="connsiteX10139" fmla="*/ 771695 w 2417513"/>
                  <a:gd name="connsiteY10139" fmla="*/ 330012 h 1867037"/>
                  <a:gd name="connsiteX10140" fmla="*/ 765786 w 2417513"/>
                  <a:gd name="connsiteY10140" fmla="*/ 331376 h 1867037"/>
                  <a:gd name="connsiteX10141" fmla="*/ 761240 w 2417513"/>
                  <a:gd name="connsiteY10141" fmla="*/ 331830 h 1867037"/>
                  <a:gd name="connsiteX10142" fmla="*/ 760483 w 2417513"/>
                  <a:gd name="connsiteY10142" fmla="*/ 332285 h 1867037"/>
                  <a:gd name="connsiteX10143" fmla="*/ 758968 w 2417513"/>
                  <a:gd name="connsiteY10143" fmla="*/ 334861 h 1867037"/>
                  <a:gd name="connsiteX10144" fmla="*/ 758665 w 2417513"/>
                  <a:gd name="connsiteY10144" fmla="*/ 336376 h 1867037"/>
                  <a:gd name="connsiteX10145" fmla="*/ 758665 w 2417513"/>
                  <a:gd name="connsiteY10145" fmla="*/ 337740 h 1867037"/>
                  <a:gd name="connsiteX10146" fmla="*/ 758968 w 2417513"/>
                  <a:gd name="connsiteY10146" fmla="*/ 339709 h 1867037"/>
                  <a:gd name="connsiteX10147" fmla="*/ 761240 w 2417513"/>
                  <a:gd name="connsiteY10147" fmla="*/ 343194 h 1867037"/>
                  <a:gd name="connsiteX10148" fmla="*/ 761846 w 2417513"/>
                  <a:gd name="connsiteY10148" fmla="*/ 345619 h 1867037"/>
                  <a:gd name="connsiteX10149" fmla="*/ 763210 w 2417513"/>
                  <a:gd name="connsiteY10149" fmla="*/ 348195 h 1867037"/>
                  <a:gd name="connsiteX10150" fmla="*/ 762756 w 2417513"/>
                  <a:gd name="connsiteY10150" fmla="*/ 349104 h 1867037"/>
                  <a:gd name="connsiteX10151" fmla="*/ 761392 w 2417513"/>
                  <a:gd name="connsiteY10151" fmla="*/ 350164 h 1867037"/>
                  <a:gd name="connsiteX10152" fmla="*/ 760786 w 2417513"/>
                  <a:gd name="connsiteY10152" fmla="*/ 351376 h 1867037"/>
                  <a:gd name="connsiteX10153" fmla="*/ 761089 w 2417513"/>
                  <a:gd name="connsiteY10153" fmla="*/ 352589 h 1867037"/>
                  <a:gd name="connsiteX10154" fmla="*/ 761998 w 2417513"/>
                  <a:gd name="connsiteY10154" fmla="*/ 354255 h 1867037"/>
                  <a:gd name="connsiteX10155" fmla="*/ 765180 w 2417513"/>
                  <a:gd name="connsiteY10155" fmla="*/ 355468 h 1867037"/>
                  <a:gd name="connsiteX10156" fmla="*/ 768513 w 2417513"/>
                  <a:gd name="connsiteY10156" fmla="*/ 357589 h 1867037"/>
                  <a:gd name="connsiteX10157" fmla="*/ 776241 w 2417513"/>
                  <a:gd name="connsiteY10157" fmla="*/ 359407 h 1867037"/>
                  <a:gd name="connsiteX10158" fmla="*/ 783665 w 2417513"/>
                  <a:gd name="connsiteY10158" fmla="*/ 364104 h 1867037"/>
                  <a:gd name="connsiteX10159" fmla="*/ 788969 w 2417513"/>
                  <a:gd name="connsiteY10159" fmla="*/ 365316 h 1867037"/>
                  <a:gd name="connsiteX10160" fmla="*/ 795181 w 2417513"/>
                  <a:gd name="connsiteY10160" fmla="*/ 365316 h 1867037"/>
                  <a:gd name="connsiteX10161" fmla="*/ 815030 w 2417513"/>
                  <a:gd name="connsiteY10161" fmla="*/ 360468 h 1867037"/>
                  <a:gd name="connsiteX10162" fmla="*/ 819576 w 2417513"/>
                  <a:gd name="connsiteY10162" fmla="*/ 360165 h 1867037"/>
                  <a:gd name="connsiteX10163" fmla="*/ 824122 w 2417513"/>
                  <a:gd name="connsiteY10163" fmla="*/ 360619 h 1867037"/>
                  <a:gd name="connsiteX10164" fmla="*/ 829879 w 2417513"/>
                  <a:gd name="connsiteY10164" fmla="*/ 359407 h 1867037"/>
                  <a:gd name="connsiteX10165" fmla="*/ 838364 w 2417513"/>
                  <a:gd name="connsiteY10165" fmla="*/ 356831 h 1867037"/>
                  <a:gd name="connsiteX10166" fmla="*/ 843062 w 2417513"/>
                  <a:gd name="connsiteY10166" fmla="*/ 354861 h 1867037"/>
                  <a:gd name="connsiteX10167" fmla="*/ 844728 w 2417513"/>
                  <a:gd name="connsiteY10167" fmla="*/ 352134 h 1867037"/>
                  <a:gd name="connsiteX10168" fmla="*/ 845334 w 2417513"/>
                  <a:gd name="connsiteY10168" fmla="*/ 349104 h 1867037"/>
                  <a:gd name="connsiteX10169" fmla="*/ 845334 w 2417513"/>
                  <a:gd name="connsiteY10169" fmla="*/ 343800 h 1867037"/>
                  <a:gd name="connsiteX10170" fmla="*/ 845031 w 2417513"/>
                  <a:gd name="connsiteY10170" fmla="*/ 342285 h 1867037"/>
                  <a:gd name="connsiteX10171" fmla="*/ 844425 w 2417513"/>
                  <a:gd name="connsiteY10171" fmla="*/ 341073 h 1867037"/>
                  <a:gd name="connsiteX10172" fmla="*/ 843365 w 2417513"/>
                  <a:gd name="connsiteY10172" fmla="*/ 340315 h 1867037"/>
                  <a:gd name="connsiteX10173" fmla="*/ 840486 w 2417513"/>
                  <a:gd name="connsiteY10173" fmla="*/ 339709 h 1867037"/>
                  <a:gd name="connsiteX10174" fmla="*/ 828819 w 2417513"/>
                  <a:gd name="connsiteY10174" fmla="*/ 340012 h 1867037"/>
                  <a:gd name="connsiteX10175" fmla="*/ 826243 w 2417513"/>
                  <a:gd name="connsiteY10175" fmla="*/ 338800 h 1867037"/>
                  <a:gd name="connsiteX10176" fmla="*/ 825031 w 2417513"/>
                  <a:gd name="connsiteY10176" fmla="*/ 337740 h 1867037"/>
                  <a:gd name="connsiteX10177" fmla="*/ 824728 w 2417513"/>
                  <a:gd name="connsiteY10177" fmla="*/ 336982 h 1867037"/>
                  <a:gd name="connsiteX10178" fmla="*/ 827910 w 2417513"/>
                  <a:gd name="connsiteY10178" fmla="*/ 335618 h 1867037"/>
                  <a:gd name="connsiteX10179" fmla="*/ 842910 w 2417513"/>
                  <a:gd name="connsiteY10179" fmla="*/ 332285 h 1867037"/>
                  <a:gd name="connsiteX10180" fmla="*/ 1120345 w 2417513"/>
                  <a:gd name="connsiteY10180" fmla="*/ 211220 h 1867037"/>
                  <a:gd name="connsiteX10181" fmla="*/ 1121860 w 2417513"/>
                  <a:gd name="connsiteY10181" fmla="*/ 212129 h 1867037"/>
                  <a:gd name="connsiteX10182" fmla="*/ 1125799 w 2417513"/>
                  <a:gd name="connsiteY10182" fmla="*/ 212432 h 1867037"/>
                  <a:gd name="connsiteX10183" fmla="*/ 1135194 w 2417513"/>
                  <a:gd name="connsiteY10183" fmla="*/ 211977 h 1867037"/>
                  <a:gd name="connsiteX10184" fmla="*/ 1140194 w 2417513"/>
                  <a:gd name="connsiteY10184" fmla="*/ 215008 h 1867037"/>
                  <a:gd name="connsiteX10185" fmla="*/ 1140951 w 2417513"/>
                  <a:gd name="connsiteY10185" fmla="*/ 217281 h 1867037"/>
                  <a:gd name="connsiteX10186" fmla="*/ 1141103 w 2417513"/>
                  <a:gd name="connsiteY10186" fmla="*/ 218493 h 1867037"/>
                  <a:gd name="connsiteX10187" fmla="*/ 1143376 w 2417513"/>
                  <a:gd name="connsiteY10187" fmla="*/ 219856 h 1867037"/>
                  <a:gd name="connsiteX10188" fmla="*/ 1150800 w 2417513"/>
                  <a:gd name="connsiteY10188" fmla="*/ 222281 h 1867037"/>
                  <a:gd name="connsiteX10189" fmla="*/ 1152467 w 2417513"/>
                  <a:gd name="connsiteY10189" fmla="*/ 222129 h 1867037"/>
                  <a:gd name="connsiteX10190" fmla="*/ 1153679 w 2417513"/>
                  <a:gd name="connsiteY10190" fmla="*/ 221372 h 1867037"/>
                  <a:gd name="connsiteX10191" fmla="*/ 1155043 w 2417513"/>
                  <a:gd name="connsiteY10191" fmla="*/ 218341 h 1867037"/>
                  <a:gd name="connsiteX10192" fmla="*/ 1155649 w 2417513"/>
                  <a:gd name="connsiteY10192" fmla="*/ 214250 h 1867037"/>
                  <a:gd name="connsiteX10193" fmla="*/ 1155043 w 2417513"/>
                  <a:gd name="connsiteY10193" fmla="*/ 206068 h 1867037"/>
                  <a:gd name="connsiteX10194" fmla="*/ 1154134 w 2417513"/>
                  <a:gd name="connsiteY10194" fmla="*/ 202583 h 1867037"/>
                  <a:gd name="connsiteX10195" fmla="*/ 1152164 w 2417513"/>
                  <a:gd name="connsiteY10195" fmla="*/ 199856 h 1867037"/>
                  <a:gd name="connsiteX10196" fmla="*/ 1148831 w 2417513"/>
                  <a:gd name="connsiteY10196" fmla="*/ 198038 h 1867037"/>
                  <a:gd name="connsiteX10197" fmla="*/ 1145043 w 2417513"/>
                  <a:gd name="connsiteY10197" fmla="*/ 197280 h 1867037"/>
                  <a:gd name="connsiteX10198" fmla="*/ 1137618 w 2417513"/>
                  <a:gd name="connsiteY10198" fmla="*/ 197128 h 1867037"/>
                  <a:gd name="connsiteX10199" fmla="*/ 1129284 w 2417513"/>
                  <a:gd name="connsiteY10199" fmla="*/ 196068 h 1867037"/>
                  <a:gd name="connsiteX10200" fmla="*/ 1127315 w 2417513"/>
                  <a:gd name="connsiteY10200" fmla="*/ 196371 h 1867037"/>
                  <a:gd name="connsiteX10201" fmla="*/ 1120496 w 2417513"/>
                  <a:gd name="connsiteY10201" fmla="*/ 199250 h 1867037"/>
                  <a:gd name="connsiteX10202" fmla="*/ 1119739 w 2417513"/>
                  <a:gd name="connsiteY10202" fmla="*/ 200007 h 1867037"/>
                  <a:gd name="connsiteX10203" fmla="*/ 1118526 w 2417513"/>
                  <a:gd name="connsiteY10203" fmla="*/ 203189 h 1867037"/>
                  <a:gd name="connsiteX10204" fmla="*/ 1118375 w 2417513"/>
                  <a:gd name="connsiteY10204" fmla="*/ 205007 h 1867037"/>
                  <a:gd name="connsiteX10205" fmla="*/ 1119284 w 2417513"/>
                  <a:gd name="connsiteY10205" fmla="*/ 210159 h 1867037"/>
                  <a:gd name="connsiteX10206" fmla="*/ 1120345 w 2417513"/>
                  <a:gd name="connsiteY10206" fmla="*/ 211220 h 1867037"/>
                  <a:gd name="connsiteX10207" fmla="*/ 970491 w 2417513"/>
                  <a:gd name="connsiteY10207" fmla="*/ 264555 h 1867037"/>
                  <a:gd name="connsiteX10208" fmla="*/ 976703 w 2417513"/>
                  <a:gd name="connsiteY10208" fmla="*/ 264555 h 1867037"/>
                  <a:gd name="connsiteX10209" fmla="*/ 987915 w 2417513"/>
                  <a:gd name="connsiteY10209" fmla="*/ 263494 h 1867037"/>
                  <a:gd name="connsiteX10210" fmla="*/ 992158 w 2417513"/>
                  <a:gd name="connsiteY10210" fmla="*/ 265010 h 1867037"/>
                  <a:gd name="connsiteX10211" fmla="*/ 992461 w 2417513"/>
                  <a:gd name="connsiteY10211" fmla="*/ 267131 h 1867037"/>
                  <a:gd name="connsiteX10212" fmla="*/ 988067 w 2417513"/>
                  <a:gd name="connsiteY10212" fmla="*/ 273343 h 1867037"/>
                  <a:gd name="connsiteX10213" fmla="*/ 985946 w 2417513"/>
                  <a:gd name="connsiteY10213" fmla="*/ 275465 h 1867037"/>
                  <a:gd name="connsiteX10214" fmla="*/ 985946 w 2417513"/>
                  <a:gd name="connsiteY10214" fmla="*/ 277131 h 1867037"/>
                  <a:gd name="connsiteX10215" fmla="*/ 987915 w 2417513"/>
                  <a:gd name="connsiteY10215" fmla="*/ 278343 h 1867037"/>
                  <a:gd name="connsiteX10216" fmla="*/ 990037 w 2417513"/>
                  <a:gd name="connsiteY10216" fmla="*/ 278343 h 1867037"/>
                  <a:gd name="connsiteX10217" fmla="*/ 992310 w 2417513"/>
                  <a:gd name="connsiteY10217" fmla="*/ 277131 h 1867037"/>
                  <a:gd name="connsiteX10218" fmla="*/ 1001704 w 2417513"/>
                  <a:gd name="connsiteY10218" fmla="*/ 269252 h 1867037"/>
                  <a:gd name="connsiteX10219" fmla="*/ 1008371 w 2417513"/>
                  <a:gd name="connsiteY10219" fmla="*/ 267131 h 1867037"/>
                  <a:gd name="connsiteX10220" fmla="*/ 1009431 w 2417513"/>
                  <a:gd name="connsiteY10220" fmla="*/ 267434 h 1867037"/>
                  <a:gd name="connsiteX10221" fmla="*/ 1012310 w 2417513"/>
                  <a:gd name="connsiteY10221" fmla="*/ 269707 h 1867037"/>
                  <a:gd name="connsiteX10222" fmla="*/ 1015644 w 2417513"/>
                  <a:gd name="connsiteY10222" fmla="*/ 271525 h 1867037"/>
                  <a:gd name="connsiteX10223" fmla="*/ 1015947 w 2417513"/>
                  <a:gd name="connsiteY10223" fmla="*/ 272434 h 1867037"/>
                  <a:gd name="connsiteX10224" fmla="*/ 1008371 w 2417513"/>
                  <a:gd name="connsiteY10224" fmla="*/ 277889 h 1867037"/>
                  <a:gd name="connsiteX10225" fmla="*/ 1007310 w 2417513"/>
                  <a:gd name="connsiteY10225" fmla="*/ 278950 h 1867037"/>
                  <a:gd name="connsiteX10226" fmla="*/ 1007613 w 2417513"/>
                  <a:gd name="connsiteY10226" fmla="*/ 279859 h 1867037"/>
                  <a:gd name="connsiteX10227" fmla="*/ 1012462 w 2417513"/>
                  <a:gd name="connsiteY10227" fmla="*/ 280919 h 1867037"/>
                  <a:gd name="connsiteX10228" fmla="*/ 1025947 w 2417513"/>
                  <a:gd name="connsiteY10228" fmla="*/ 280616 h 1867037"/>
                  <a:gd name="connsiteX10229" fmla="*/ 1028978 w 2417513"/>
                  <a:gd name="connsiteY10229" fmla="*/ 281677 h 1867037"/>
                  <a:gd name="connsiteX10230" fmla="*/ 1030038 w 2417513"/>
                  <a:gd name="connsiteY10230" fmla="*/ 282586 h 1867037"/>
                  <a:gd name="connsiteX10231" fmla="*/ 1024735 w 2417513"/>
                  <a:gd name="connsiteY10231" fmla="*/ 285162 h 1867037"/>
                  <a:gd name="connsiteX10232" fmla="*/ 1014735 w 2417513"/>
                  <a:gd name="connsiteY10232" fmla="*/ 286980 h 1867037"/>
                  <a:gd name="connsiteX10233" fmla="*/ 1012159 w 2417513"/>
                  <a:gd name="connsiteY10233" fmla="*/ 288647 h 1867037"/>
                  <a:gd name="connsiteX10234" fmla="*/ 1023977 w 2417513"/>
                  <a:gd name="connsiteY10234" fmla="*/ 289404 h 1867037"/>
                  <a:gd name="connsiteX10235" fmla="*/ 1026856 w 2417513"/>
                  <a:gd name="connsiteY10235" fmla="*/ 291223 h 1867037"/>
                  <a:gd name="connsiteX10236" fmla="*/ 1024432 w 2417513"/>
                  <a:gd name="connsiteY10236" fmla="*/ 294556 h 1867037"/>
                  <a:gd name="connsiteX10237" fmla="*/ 1019129 w 2417513"/>
                  <a:gd name="connsiteY10237" fmla="*/ 295768 h 1867037"/>
                  <a:gd name="connsiteX10238" fmla="*/ 1006856 w 2417513"/>
                  <a:gd name="connsiteY10238" fmla="*/ 294556 h 1867037"/>
                  <a:gd name="connsiteX10239" fmla="*/ 992764 w 2417513"/>
                  <a:gd name="connsiteY10239" fmla="*/ 292132 h 1867037"/>
                  <a:gd name="connsiteX10240" fmla="*/ 990188 w 2417513"/>
                  <a:gd name="connsiteY10240" fmla="*/ 292586 h 1867037"/>
                  <a:gd name="connsiteX10241" fmla="*/ 987764 w 2417513"/>
                  <a:gd name="connsiteY10241" fmla="*/ 293799 h 1867037"/>
                  <a:gd name="connsiteX10242" fmla="*/ 985340 w 2417513"/>
                  <a:gd name="connsiteY10242" fmla="*/ 295920 h 1867037"/>
                  <a:gd name="connsiteX10243" fmla="*/ 985643 w 2417513"/>
                  <a:gd name="connsiteY10243" fmla="*/ 298950 h 1867037"/>
                  <a:gd name="connsiteX10244" fmla="*/ 988522 w 2417513"/>
                  <a:gd name="connsiteY10244" fmla="*/ 302890 h 1867037"/>
                  <a:gd name="connsiteX10245" fmla="*/ 991703 w 2417513"/>
                  <a:gd name="connsiteY10245" fmla="*/ 305920 h 1867037"/>
                  <a:gd name="connsiteX10246" fmla="*/ 998522 w 2417513"/>
                  <a:gd name="connsiteY10246" fmla="*/ 309405 h 1867037"/>
                  <a:gd name="connsiteX10247" fmla="*/ 1003674 w 2417513"/>
                  <a:gd name="connsiteY10247" fmla="*/ 310920 h 1867037"/>
                  <a:gd name="connsiteX10248" fmla="*/ 1013977 w 2417513"/>
                  <a:gd name="connsiteY10248" fmla="*/ 311527 h 1867037"/>
                  <a:gd name="connsiteX10249" fmla="*/ 1021402 w 2417513"/>
                  <a:gd name="connsiteY10249" fmla="*/ 308042 h 1867037"/>
                  <a:gd name="connsiteX10250" fmla="*/ 1047312 w 2417513"/>
                  <a:gd name="connsiteY10250" fmla="*/ 305011 h 1867037"/>
                  <a:gd name="connsiteX10251" fmla="*/ 1045796 w 2417513"/>
                  <a:gd name="connsiteY10251" fmla="*/ 307435 h 1867037"/>
                  <a:gd name="connsiteX10252" fmla="*/ 1046099 w 2417513"/>
                  <a:gd name="connsiteY10252" fmla="*/ 308799 h 1867037"/>
                  <a:gd name="connsiteX10253" fmla="*/ 1047463 w 2417513"/>
                  <a:gd name="connsiteY10253" fmla="*/ 310617 h 1867037"/>
                  <a:gd name="connsiteX10254" fmla="*/ 1048978 w 2417513"/>
                  <a:gd name="connsiteY10254" fmla="*/ 311830 h 1867037"/>
                  <a:gd name="connsiteX10255" fmla="*/ 1050645 w 2417513"/>
                  <a:gd name="connsiteY10255" fmla="*/ 312284 h 1867037"/>
                  <a:gd name="connsiteX10256" fmla="*/ 1059433 w 2417513"/>
                  <a:gd name="connsiteY10256" fmla="*/ 310769 h 1867037"/>
                  <a:gd name="connsiteX10257" fmla="*/ 1065646 w 2417513"/>
                  <a:gd name="connsiteY10257" fmla="*/ 310466 h 1867037"/>
                  <a:gd name="connsiteX10258" fmla="*/ 1071858 w 2417513"/>
                  <a:gd name="connsiteY10258" fmla="*/ 311375 h 1867037"/>
                  <a:gd name="connsiteX10259" fmla="*/ 1086404 w 2417513"/>
                  <a:gd name="connsiteY10259" fmla="*/ 315163 h 1867037"/>
                  <a:gd name="connsiteX10260" fmla="*/ 1092465 w 2417513"/>
                  <a:gd name="connsiteY10260" fmla="*/ 315466 h 1867037"/>
                  <a:gd name="connsiteX10261" fmla="*/ 1095647 w 2417513"/>
                  <a:gd name="connsiteY10261" fmla="*/ 319254 h 1867037"/>
                  <a:gd name="connsiteX10262" fmla="*/ 1099283 w 2417513"/>
                  <a:gd name="connsiteY10262" fmla="*/ 321830 h 1867037"/>
                  <a:gd name="connsiteX10263" fmla="*/ 1099738 w 2417513"/>
                  <a:gd name="connsiteY10263" fmla="*/ 322739 h 1867037"/>
                  <a:gd name="connsiteX10264" fmla="*/ 1100647 w 2417513"/>
                  <a:gd name="connsiteY10264" fmla="*/ 327285 h 1867037"/>
                  <a:gd name="connsiteX10265" fmla="*/ 1101253 w 2417513"/>
                  <a:gd name="connsiteY10265" fmla="*/ 328345 h 1867037"/>
                  <a:gd name="connsiteX10266" fmla="*/ 1103374 w 2417513"/>
                  <a:gd name="connsiteY10266" fmla="*/ 331073 h 1867037"/>
                  <a:gd name="connsiteX10267" fmla="*/ 1105950 w 2417513"/>
                  <a:gd name="connsiteY10267" fmla="*/ 333346 h 1867037"/>
                  <a:gd name="connsiteX10268" fmla="*/ 1114435 w 2417513"/>
                  <a:gd name="connsiteY10268" fmla="*/ 336830 h 1867037"/>
                  <a:gd name="connsiteX10269" fmla="*/ 1123224 w 2417513"/>
                  <a:gd name="connsiteY10269" fmla="*/ 339103 h 1867037"/>
                  <a:gd name="connsiteX10270" fmla="*/ 1131406 w 2417513"/>
                  <a:gd name="connsiteY10270" fmla="*/ 337285 h 1867037"/>
                  <a:gd name="connsiteX10271" fmla="*/ 1140042 w 2417513"/>
                  <a:gd name="connsiteY10271" fmla="*/ 336376 h 1867037"/>
                  <a:gd name="connsiteX10272" fmla="*/ 1144891 w 2417513"/>
                  <a:gd name="connsiteY10272" fmla="*/ 335315 h 1867037"/>
                  <a:gd name="connsiteX10273" fmla="*/ 1145952 w 2417513"/>
                  <a:gd name="connsiteY10273" fmla="*/ 334103 h 1867037"/>
                  <a:gd name="connsiteX10274" fmla="*/ 1147770 w 2417513"/>
                  <a:gd name="connsiteY10274" fmla="*/ 328800 h 1867037"/>
                  <a:gd name="connsiteX10275" fmla="*/ 1149437 w 2417513"/>
                  <a:gd name="connsiteY10275" fmla="*/ 326982 h 1867037"/>
                  <a:gd name="connsiteX10276" fmla="*/ 1149285 w 2417513"/>
                  <a:gd name="connsiteY10276" fmla="*/ 325921 h 1867037"/>
                  <a:gd name="connsiteX10277" fmla="*/ 1147921 w 2417513"/>
                  <a:gd name="connsiteY10277" fmla="*/ 322588 h 1867037"/>
                  <a:gd name="connsiteX10278" fmla="*/ 1145800 w 2417513"/>
                  <a:gd name="connsiteY10278" fmla="*/ 319860 h 1867037"/>
                  <a:gd name="connsiteX10279" fmla="*/ 1133982 w 2417513"/>
                  <a:gd name="connsiteY10279" fmla="*/ 310163 h 1867037"/>
                  <a:gd name="connsiteX10280" fmla="*/ 1128830 w 2417513"/>
                  <a:gd name="connsiteY10280" fmla="*/ 308799 h 1867037"/>
                  <a:gd name="connsiteX10281" fmla="*/ 1128072 w 2417513"/>
                  <a:gd name="connsiteY10281" fmla="*/ 307435 h 1867037"/>
                  <a:gd name="connsiteX10282" fmla="*/ 1128375 w 2417513"/>
                  <a:gd name="connsiteY10282" fmla="*/ 305011 h 1867037"/>
                  <a:gd name="connsiteX10283" fmla="*/ 1128224 w 2417513"/>
                  <a:gd name="connsiteY10283" fmla="*/ 303344 h 1867037"/>
                  <a:gd name="connsiteX10284" fmla="*/ 1126254 w 2417513"/>
                  <a:gd name="connsiteY10284" fmla="*/ 300617 h 1867037"/>
                  <a:gd name="connsiteX10285" fmla="*/ 1127012 w 2417513"/>
                  <a:gd name="connsiteY10285" fmla="*/ 299556 h 1867037"/>
                  <a:gd name="connsiteX10286" fmla="*/ 1130800 w 2417513"/>
                  <a:gd name="connsiteY10286" fmla="*/ 297284 h 1867037"/>
                  <a:gd name="connsiteX10287" fmla="*/ 1132163 w 2417513"/>
                  <a:gd name="connsiteY10287" fmla="*/ 294253 h 1867037"/>
                  <a:gd name="connsiteX10288" fmla="*/ 1133527 w 2417513"/>
                  <a:gd name="connsiteY10288" fmla="*/ 293193 h 1867037"/>
                  <a:gd name="connsiteX10289" fmla="*/ 1132769 w 2417513"/>
                  <a:gd name="connsiteY10289" fmla="*/ 291980 h 1867037"/>
                  <a:gd name="connsiteX10290" fmla="*/ 1128072 w 2417513"/>
                  <a:gd name="connsiteY10290" fmla="*/ 289708 h 1867037"/>
                  <a:gd name="connsiteX10291" fmla="*/ 1121708 w 2417513"/>
                  <a:gd name="connsiteY10291" fmla="*/ 283192 h 1867037"/>
                  <a:gd name="connsiteX10292" fmla="*/ 1110193 w 2417513"/>
                  <a:gd name="connsiteY10292" fmla="*/ 277586 h 1867037"/>
                  <a:gd name="connsiteX10293" fmla="*/ 1097010 w 2417513"/>
                  <a:gd name="connsiteY10293" fmla="*/ 279859 h 1867037"/>
                  <a:gd name="connsiteX10294" fmla="*/ 1091253 w 2417513"/>
                  <a:gd name="connsiteY10294" fmla="*/ 278798 h 1867037"/>
                  <a:gd name="connsiteX10295" fmla="*/ 1090798 w 2417513"/>
                  <a:gd name="connsiteY10295" fmla="*/ 277434 h 1867037"/>
                  <a:gd name="connsiteX10296" fmla="*/ 1091707 w 2417513"/>
                  <a:gd name="connsiteY10296" fmla="*/ 275313 h 1867037"/>
                  <a:gd name="connsiteX10297" fmla="*/ 1093980 w 2417513"/>
                  <a:gd name="connsiteY10297" fmla="*/ 271828 h 1867037"/>
                  <a:gd name="connsiteX10298" fmla="*/ 1093828 w 2417513"/>
                  <a:gd name="connsiteY10298" fmla="*/ 270313 h 1867037"/>
                  <a:gd name="connsiteX10299" fmla="*/ 1092465 w 2417513"/>
                  <a:gd name="connsiteY10299" fmla="*/ 268949 h 1867037"/>
                  <a:gd name="connsiteX10300" fmla="*/ 1090950 w 2417513"/>
                  <a:gd name="connsiteY10300" fmla="*/ 268192 h 1867037"/>
                  <a:gd name="connsiteX10301" fmla="*/ 1086707 w 2417513"/>
                  <a:gd name="connsiteY10301" fmla="*/ 267586 h 1867037"/>
                  <a:gd name="connsiteX10302" fmla="*/ 1075646 w 2417513"/>
                  <a:gd name="connsiteY10302" fmla="*/ 261676 h 1867037"/>
                  <a:gd name="connsiteX10303" fmla="*/ 1070646 w 2417513"/>
                  <a:gd name="connsiteY10303" fmla="*/ 261222 h 1867037"/>
                  <a:gd name="connsiteX10304" fmla="*/ 1067918 w 2417513"/>
                  <a:gd name="connsiteY10304" fmla="*/ 261828 h 1867037"/>
                  <a:gd name="connsiteX10305" fmla="*/ 1062009 w 2417513"/>
                  <a:gd name="connsiteY10305" fmla="*/ 264252 h 1867037"/>
                  <a:gd name="connsiteX10306" fmla="*/ 1056403 w 2417513"/>
                  <a:gd name="connsiteY10306" fmla="*/ 265919 h 1867037"/>
                  <a:gd name="connsiteX10307" fmla="*/ 1055948 w 2417513"/>
                  <a:gd name="connsiteY10307" fmla="*/ 269404 h 1867037"/>
                  <a:gd name="connsiteX10308" fmla="*/ 1055494 w 2417513"/>
                  <a:gd name="connsiteY10308" fmla="*/ 270616 h 1867037"/>
                  <a:gd name="connsiteX10309" fmla="*/ 1053524 w 2417513"/>
                  <a:gd name="connsiteY10309" fmla="*/ 272586 h 1867037"/>
                  <a:gd name="connsiteX10310" fmla="*/ 1051251 w 2417513"/>
                  <a:gd name="connsiteY10310" fmla="*/ 273949 h 1867037"/>
                  <a:gd name="connsiteX10311" fmla="*/ 1050797 w 2417513"/>
                  <a:gd name="connsiteY10311" fmla="*/ 272586 h 1867037"/>
                  <a:gd name="connsiteX10312" fmla="*/ 1051100 w 2417513"/>
                  <a:gd name="connsiteY10312" fmla="*/ 270767 h 1867037"/>
                  <a:gd name="connsiteX10313" fmla="*/ 1050645 w 2417513"/>
                  <a:gd name="connsiteY10313" fmla="*/ 270010 h 1867037"/>
                  <a:gd name="connsiteX10314" fmla="*/ 1047009 w 2417513"/>
                  <a:gd name="connsiteY10314" fmla="*/ 268343 h 1867037"/>
                  <a:gd name="connsiteX10315" fmla="*/ 1048372 w 2417513"/>
                  <a:gd name="connsiteY10315" fmla="*/ 266979 h 1867037"/>
                  <a:gd name="connsiteX10316" fmla="*/ 1049281 w 2417513"/>
                  <a:gd name="connsiteY10316" fmla="*/ 264707 h 1867037"/>
                  <a:gd name="connsiteX10317" fmla="*/ 1049584 w 2417513"/>
                  <a:gd name="connsiteY10317" fmla="*/ 263040 h 1867037"/>
                  <a:gd name="connsiteX10318" fmla="*/ 1049584 w 2417513"/>
                  <a:gd name="connsiteY10318" fmla="*/ 261676 h 1867037"/>
                  <a:gd name="connsiteX10319" fmla="*/ 1049281 w 2417513"/>
                  <a:gd name="connsiteY10319" fmla="*/ 260616 h 1867037"/>
                  <a:gd name="connsiteX10320" fmla="*/ 1042160 w 2417513"/>
                  <a:gd name="connsiteY10320" fmla="*/ 252282 h 1867037"/>
                  <a:gd name="connsiteX10321" fmla="*/ 1034584 w 2417513"/>
                  <a:gd name="connsiteY10321" fmla="*/ 248342 h 1867037"/>
                  <a:gd name="connsiteX10322" fmla="*/ 1028220 w 2417513"/>
                  <a:gd name="connsiteY10322" fmla="*/ 247130 h 1867037"/>
                  <a:gd name="connsiteX10323" fmla="*/ 1020492 w 2417513"/>
                  <a:gd name="connsiteY10323" fmla="*/ 244857 h 1867037"/>
                  <a:gd name="connsiteX10324" fmla="*/ 1013371 w 2417513"/>
                  <a:gd name="connsiteY10324" fmla="*/ 245160 h 1867037"/>
                  <a:gd name="connsiteX10325" fmla="*/ 989279 w 2417513"/>
                  <a:gd name="connsiteY10325" fmla="*/ 247433 h 1867037"/>
                  <a:gd name="connsiteX10326" fmla="*/ 974430 w 2417513"/>
                  <a:gd name="connsiteY10326" fmla="*/ 246676 h 1867037"/>
                  <a:gd name="connsiteX10327" fmla="*/ 973066 w 2417513"/>
                  <a:gd name="connsiteY10327" fmla="*/ 248039 h 1867037"/>
                  <a:gd name="connsiteX10328" fmla="*/ 970945 w 2417513"/>
                  <a:gd name="connsiteY10328" fmla="*/ 251676 h 1867037"/>
                  <a:gd name="connsiteX10329" fmla="*/ 969430 w 2417513"/>
                  <a:gd name="connsiteY10329" fmla="*/ 256525 h 1867037"/>
                  <a:gd name="connsiteX10330" fmla="*/ 969127 w 2417513"/>
                  <a:gd name="connsiteY10330" fmla="*/ 259555 h 1867037"/>
                  <a:gd name="connsiteX10331" fmla="*/ 969430 w 2417513"/>
                  <a:gd name="connsiteY10331" fmla="*/ 262737 h 1867037"/>
                  <a:gd name="connsiteX10332" fmla="*/ 970491 w 2417513"/>
                  <a:gd name="connsiteY10332" fmla="*/ 264555 h 1867037"/>
                  <a:gd name="connsiteX10333" fmla="*/ 961854 w 2417513"/>
                  <a:gd name="connsiteY10333" fmla="*/ 352437 h 1867037"/>
                  <a:gd name="connsiteX10334" fmla="*/ 964581 w 2417513"/>
                  <a:gd name="connsiteY10334" fmla="*/ 354710 h 1867037"/>
                  <a:gd name="connsiteX10335" fmla="*/ 965945 w 2417513"/>
                  <a:gd name="connsiteY10335" fmla="*/ 358498 h 1867037"/>
                  <a:gd name="connsiteX10336" fmla="*/ 969733 w 2417513"/>
                  <a:gd name="connsiteY10336" fmla="*/ 364862 h 1867037"/>
                  <a:gd name="connsiteX10337" fmla="*/ 974582 w 2417513"/>
                  <a:gd name="connsiteY10337" fmla="*/ 370620 h 1867037"/>
                  <a:gd name="connsiteX10338" fmla="*/ 979127 w 2417513"/>
                  <a:gd name="connsiteY10338" fmla="*/ 374862 h 1867037"/>
                  <a:gd name="connsiteX10339" fmla="*/ 984582 w 2417513"/>
                  <a:gd name="connsiteY10339" fmla="*/ 375923 h 1867037"/>
                  <a:gd name="connsiteX10340" fmla="*/ 992916 w 2417513"/>
                  <a:gd name="connsiteY10340" fmla="*/ 378347 h 1867037"/>
                  <a:gd name="connsiteX10341" fmla="*/ 997158 w 2417513"/>
                  <a:gd name="connsiteY10341" fmla="*/ 377287 h 1867037"/>
                  <a:gd name="connsiteX10342" fmla="*/ 998976 w 2417513"/>
                  <a:gd name="connsiteY10342" fmla="*/ 376074 h 1867037"/>
                  <a:gd name="connsiteX10343" fmla="*/ 1000037 w 2417513"/>
                  <a:gd name="connsiteY10343" fmla="*/ 372741 h 1867037"/>
                  <a:gd name="connsiteX10344" fmla="*/ 1000189 w 2417513"/>
                  <a:gd name="connsiteY10344" fmla="*/ 371074 h 1867037"/>
                  <a:gd name="connsiteX10345" fmla="*/ 998825 w 2417513"/>
                  <a:gd name="connsiteY10345" fmla="*/ 367589 h 1867037"/>
                  <a:gd name="connsiteX10346" fmla="*/ 997764 w 2417513"/>
                  <a:gd name="connsiteY10346" fmla="*/ 365922 h 1867037"/>
                  <a:gd name="connsiteX10347" fmla="*/ 991552 w 2417513"/>
                  <a:gd name="connsiteY10347" fmla="*/ 361528 h 1867037"/>
                  <a:gd name="connsiteX10348" fmla="*/ 986552 w 2417513"/>
                  <a:gd name="connsiteY10348" fmla="*/ 361225 h 1867037"/>
                  <a:gd name="connsiteX10349" fmla="*/ 985491 w 2417513"/>
                  <a:gd name="connsiteY10349" fmla="*/ 359407 h 1867037"/>
                  <a:gd name="connsiteX10350" fmla="*/ 985188 w 2417513"/>
                  <a:gd name="connsiteY10350" fmla="*/ 356074 h 1867037"/>
                  <a:gd name="connsiteX10351" fmla="*/ 983370 w 2417513"/>
                  <a:gd name="connsiteY10351" fmla="*/ 353649 h 1867037"/>
                  <a:gd name="connsiteX10352" fmla="*/ 977460 w 2417513"/>
                  <a:gd name="connsiteY10352" fmla="*/ 348195 h 1867037"/>
                  <a:gd name="connsiteX10353" fmla="*/ 972915 w 2417513"/>
                  <a:gd name="connsiteY10353" fmla="*/ 344710 h 1867037"/>
                  <a:gd name="connsiteX10354" fmla="*/ 969278 w 2417513"/>
                  <a:gd name="connsiteY10354" fmla="*/ 342588 h 1867037"/>
                  <a:gd name="connsiteX10355" fmla="*/ 961702 w 2417513"/>
                  <a:gd name="connsiteY10355" fmla="*/ 341528 h 1867037"/>
                  <a:gd name="connsiteX10356" fmla="*/ 957005 w 2417513"/>
                  <a:gd name="connsiteY10356" fmla="*/ 342437 h 1867037"/>
                  <a:gd name="connsiteX10357" fmla="*/ 956096 w 2417513"/>
                  <a:gd name="connsiteY10357" fmla="*/ 343346 h 1867037"/>
                  <a:gd name="connsiteX10358" fmla="*/ 961096 w 2417513"/>
                  <a:gd name="connsiteY10358" fmla="*/ 349104 h 1867037"/>
                  <a:gd name="connsiteX10359" fmla="*/ 961854 w 2417513"/>
                  <a:gd name="connsiteY10359" fmla="*/ 352437 h 1867037"/>
                  <a:gd name="connsiteX10360" fmla="*/ 1403537 w 2417513"/>
                  <a:gd name="connsiteY10360" fmla="*/ 402439 h 1867037"/>
                  <a:gd name="connsiteX10361" fmla="*/ 1403992 w 2417513"/>
                  <a:gd name="connsiteY10361" fmla="*/ 401378 h 1867037"/>
                  <a:gd name="connsiteX10362" fmla="*/ 1403992 w 2417513"/>
                  <a:gd name="connsiteY10362" fmla="*/ 400166 h 1867037"/>
                  <a:gd name="connsiteX10363" fmla="*/ 1403234 w 2417513"/>
                  <a:gd name="connsiteY10363" fmla="*/ 398954 h 1867037"/>
                  <a:gd name="connsiteX10364" fmla="*/ 1401870 w 2417513"/>
                  <a:gd name="connsiteY10364" fmla="*/ 397893 h 1867037"/>
                  <a:gd name="connsiteX10365" fmla="*/ 1397173 w 2417513"/>
                  <a:gd name="connsiteY10365" fmla="*/ 394711 h 1867037"/>
                  <a:gd name="connsiteX10366" fmla="*/ 1392021 w 2417513"/>
                  <a:gd name="connsiteY10366" fmla="*/ 394711 h 1867037"/>
                  <a:gd name="connsiteX10367" fmla="*/ 1384597 w 2417513"/>
                  <a:gd name="connsiteY10367" fmla="*/ 396227 h 1867037"/>
                  <a:gd name="connsiteX10368" fmla="*/ 1381415 w 2417513"/>
                  <a:gd name="connsiteY10368" fmla="*/ 397439 h 1867037"/>
                  <a:gd name="connsiteX10369" fmla="*/ 1380354 w 2417513"/>
                  <a:gd name="connsiteY10369" fmla="*/ 399409 h 1867037"/>
                  <a:gd name="connsiteX10370" fmla="*/ 1380506 w 2417513"/>
                  <a:gd name="connsiteY10370" fmla="*/ 400469 h 1867037"/>
                  <a:gd name="connsiteX10371" fmla="*/ 1383688 w 2417513"/>
                  <a:gd name="connsiteY10371" fmla="*/ 404560 h 1867037"/>
                  <a:gd name="connsiteX10372" fmla="*/ 1387779 w 2417513"/>
                  <a:gd name="connsiteY10372" fmla="*/ 409257 h 1867037"/>
                  <a:gd name="connsiteX10373" fmla="*/ 1391264 w 2417513"/>
                  <a:gd name="connsiteY10373" fmla="*/ 412439 h 1867037"/>
                  <a:gd name="connsiteX10374" fmla="*/ 1394294 w 2417513"/>
                  <a:gd name="connsiteY10374" fmla="*/ 414106 h 1867037"/>
                  <a:gd name="connsiteX10375" fmla="*/ 1396415 w 2417513"/>
                  <a:gd name="connsiteY10375" fmla="*/ 414561 h 1867037"/>
                  <a:gd name="connsiteX10376" fmla="*/ 1397779 w 2417513"/>
                  <a:gd name="connsiteY10376" fmla="*/ 413803 h 1867037"/>
                  <a:gd name="connsiteX10377" fmla="*/ 1401870 w 2417513"/>
                  <a:gd name="connsiteY10377" fmla="*/ 414258 h 1867037"/>
                  <a:gd name="connsiteX10378" fmla="*/ 1403082 w 2417513"/>
                  <a:gd name="connsiteY10378" fmla="*/ 413500 h 1867037"/>
                  <a:gd name="connsiteX10379" fmla="*/ 1403082 w 2417513"/>
                  <a:gd name="connsiteY10379" fmla="*/ 412742 h 1867037"/>
                  <a:gd name="connsiteX10380" fmla="*/ 1401870 w 2417513"/>
                  <a:gd name="connsiteY10380" fmla="*/ 411985 h 1867037"/>
                  <a:gd name="connsiteX10381" fmla="*/ 1400961 w 2417513"/>
                  <a:gd name="connsiteY10381" fmla="*/ 410470 h 1867037"/>
                  <a:gd name="connsiteX10382" fmla="*/ 1400507 w 2417513"/>
                  <a:gd name="connsiteY10382" fmla="*/ 408045 h 1867037"/>
                  <a:gd name="connsiteX10383" fmla="*/ 1400507 w 2417513"/>
                  <a:gd name="connsiteY10383" fmla="*/ 406378 h 1867037"/>
                  <a:gd name="connsiteX10384" fmla="*/ 1401416 w 2417513"/>
                  <a:gd name="connsiteY10384" fmla="*/ 404712 h 1867037"/>
                  <a:gd name="connsiteX10385" fmla="*/ 1403537 w 2417513"/>
                  <a:gd name="connsiteY10385" fmla="*/ 402439 h 1867037"/>
                  <a:gd name="connsiteX10386" fmla="*/ 722300 w 2417513"/>
                  <a:gd name="connsiteY10386" fmla="*/ 340315 h 1867037"/>
                  <a:gd name="connsiteX10387" fmla="*/ 731088 w 2417513"/>
                  <a:gd name="connsiteY10387" fmla="*/ 343194 h 1867037"/>
                  <a:gd name="connsiteX10388" fmla="*/ 736088 w 2417513"/>
                  <a:gd name="connsiteY10388" fmla="*/ 343194 h 1867037"/>
                  <a:gd name="connsiteX10389" fmla="*/ 743512 w 2417513"/>
                  <a:gd name="connsiteY10389" fmla="*/ 341225 h 1867037"/>
                  <a:gd name="connsiteX10390" fmla="*/ 746391 w 2417513"/>
                  <a:gd name="connsiteY10390" fmla="*/ 340012 h 1867037"/>
                  <a:gd name="connsiteX10391" fmla="*/ 749270 w 2417513"/>
                  <a:gd name="connsiteY10391" fmla="*/ 337740 h 1867037"/>
                  <a:gd name="connsiteX10392" fmla="*/ 749270 w 2417513"/>
                  <a:gd name="connsiteY10392" fmla="*/ 336679 h 1867037"/>
                  <a:gd name="connsiteX10393" fmla="*/ 747149 w 2417513"/>
                  <a:gd name="connsiteY10393" fmla="*/ 334558 h 1867037"/>
                  <a:gd name="connsiteX10394" fmla="*/ 746543 w 2417513"/>
                  <a:gd name="connsiteY10394" fmla="*/ 333346 h 1867037"/>
                  <a:gd name="connsiteX10395" fmla="*/ 745331 w 2417513"/>
                  <a:gd name="connsiteY10395" fmla="*/ 332588 h 1867037"/>
                  <a:gd name="connsiteX10396" fmla="*/ 741846 w 2417513"/>
                  <a:gd name="connsiteY10396" fmla="*/ 331830 h 1867037"/>
                  <a:gd name="connsiteX10397" fmla="*/ 736694 w 2417513"/>
                  <a:gd name="connsiteY10397" fmla="*/ 328194 h 1867037"/>
                  <a:gd name="connsiteX10398" fmla="*/ 734118 w 2417513"/>
                  <a:gd name="connsiteY10398" fmla="*/ 326982 h 1867037"/>
                  <a:gd name="connsiteX10399" fmla="*/ 731391 w 2417513"/>
                  <a:gd name="connsiteY10399" fmla="*/ 326679 h 1867037"/>
                  <a:gd name="connsiteX10400" fmla="*/ 730785 w 2417513"/>
                  <a:gd name="connsiteY10400" fmla="*/ 325012 h 1867037"/>
                  <a:gd name="connsiteX10401" fmla="*/ 730936 w 2417513"/>
                  <a:gd name="connsiteY10401" fmla="*/ 323194 h 1867037"/>
                  <a:gd name="connsiteX10402" fmla="*/ 730027 w 2417513"/>
                  <a:gd name="connsiteY10402" fmla="*/ 322284 h 1867037"/>
                  <a:gd name="connsiteX10403" fmla="*/ 722451 w 2417513"/>
                  <a:gd name="connsiteY10403" fmla="*/ 324557 h 1867037"/>
                  <a:gd name="connsiteX10404" fmla="*/ 719118 w 2417513"/>
                  <a:gd name="connsiteY10404" fmla="*/ 326073 h 1867037"/>
                  <a:gd name="connsiteX10405" fmla="*/ 717451 w 2417513"/>
                  <a:gd name="connsiteY10405" fmla="*/ 327436 h 1867037"/>
                  <a:gd name="connsiteX10406" fmla="*/ 714724 w 2417513"/>
                  <a:gd name="connsiteY10406" fmla="*/ 328345 h 1867037"/>
                  <a:gd name="connsiteX10407" fmla="*/ 710936 w 2417513"/>
                  <a:gd name="connsiteY10407" fmla="*/ 328951 h 1867037"/>
                  <a:gd name="connsiteX10408" fmla="*/ 712299 w 2417513"/>
                  <a:gd name="connsiteY10408" fmla="*/ 331982 h 1867037"/>
                  <a:gd name="connsiteX10409" fmla="*/ 722300 w 2417513"/>
                  <a:gd name="connsiteY10409" fmla="*/ 340315 h 1867037"/>
                  <a:gd name="connsiteX10410" fmla="*/ 502897 w 2417513"/>
                  <a:gd name="connsiteY10410" fmla="*/ 432743 h 1867037"/>
                  <a:gd name="connsiteX10411" fmla="*/ 503807 w 2417513"/>
                  <a:gd name="connsiteY10411" fmla="*/ 433046 h 1867037"/>
                  <a:gd name="connsiteX10412" fmla="*/ 503958 w 2417513"/>
                  <a:gd name="connsiteY10412" fmla="*/ 433501 h 1867037"/>
                  <a:gd name="connsiteX10413" fmla="*/ 503352 w 2417513"/>
                  <a:gd name="connsiteY10413" fmla="*/ 434258 h 1867037"/>
                  <a:gd name="connsiteX10414" fmla="*/ 503352 w 2417513"/>
                  <a:gd name="connsiteY10414" fmla="*/ 435319 h 1867037"/>
                  <a:gd name="connsiteX10415" fmla="*/ 505019 w 2417513"/>
                  <a:gd name="connsiteY10415" fmla="*/ 436683 h 1867037"/>
                  <a:gd name="connsiteX10416" fmla="*/ 505019 w 2417513"/>
                  <a:gd name="connsiteY10416" fmla="*/ 437592 h 1867037"/>
                  <a:gd name="connsiteX10417" fmla="*/ 503352 w 2417513"/>
                  <a:gd name="connsiteY10417" fmla="*/ 440016 h 1867037"/>
                  <a:gd name="connsiteX10418" fmla="*/ 502291 w 2417513"/>
                  <a:gd name="connsiteY10418" fmla="*/ 440471 h 1867037"/>
                  <a:gd name="connsiteX10419" fmla="*/ 502443 w 2417513"/>
                  <a:gd name="connsiteY10419" fmla="*/ 441683 h 1867037"/>
                  <a:gd name="connsiteX10420" fmla="*/ 503807 w 2417513"/>
                  <a:gd name="connsiteY10420" fmla="*/ 443653 h 1867037"/>
                  <a:gd name="connsiteX10421" fmla="*/ 505322 w 2417513"/>
                  <a:gd name="connsiteY10421" fmla="*/ 444865 h 1867037"/>
                  <a:gd name="connsiteX10422" fmla="*/ 508958 w 2417513"/>
                  <a:gd name="connsiteY10422" fmla="*/ 445168 h 1867037"/>
                  <a:gd name="connsiteX10423" fmla="*/ 511686 w 2417513"/>
                  <a:gd name="connsiteY10423" fmla="*/ 444259 h 1867037"/>
                  <a:gd name="connsiteX10424" fmla="*/ 518353 w 2417513"/>
                  <a:gd name="connsiteY10424" fmla="*/ 440925 h 1867037"/>
                  <a:gd name="connsiteX10425" fmla="*/ 522444 w 2417513"/>
                  <a:gd name="connsiteY10425" fmla="*/ 440016 h 1867037"/>
                  <a:gd name="connsiteX10426" fmla="*/ 528353 w 2417513"/>
                  <a:gd name="connsiteY10426" fmla="*/ 440774 h 1867037"/>
                  <a:gd name="connsiteX10427" fmla="*/ 535626 w 2417513"/>
                  <a:gd name="connsiteY10427" fmla="*/ 443046 h 1867037"/>
                  <a:gd name="connsiteX10428" fmla="*/ 538505 w 2417513"/>
                  <a:gd name="connsiteY10428" fmla="*/ 443350 h 1867037"/>
                  <a:gd name="connsiteX10429" fmla="*/ 541384 w 2417513"/>
                  <a:gd name="connsiteY10429" fmla="*/ 443046 h 1867037"/>
                  <a:gd name="connsiteX10430" fmla="*/ 546687 w 2417513"/>
                  <a:gd name="connsiteY10430" fmla="*/ 440925 h 1867037"/>
                  <a:gd name="connsiteX10431" fmla="*/ 550020 w 2417513"/>
                  <a:gd name="connsiteY10431" fmla="*/ 432895 h 1867037"/>
                  <a:gd name="connsiteX10432" fmla="*/ 551384 w 2417513"/>
                  <a:gd name="connsiteY10432" fmla="*/ 431834 h 1867037"/>
                  <a:gd name="connsiteX10433" fmla="*/ 552293 w 2417513"/>
                  <a:gd name="connsiteY10433" fmla="*/ 431985 h 1867037"/>
                  <a:gd name="connsiteX10434" fmla="*/ 553505 w 2417513"/>
                  <a:gd name="connsiteY10434" fmla="*/ 432743 h 1867037"/>
                  <a:gd name="connsiteX10435" fmla="*/ 554718 w 2417513"/>
                  <a:gd name="connsiteY10435" fmla="*/ 434561 h 1867037"/>
                  <a:gd name="connsiteX10436" fmla="*/ 557293 w 2417513"/>
                  <a:gd name="connsiteY10436" fmla="*/ 440168 h 1867037"/>
                  <a:gd name="connsiteX10437" fmla="*/ 559263 w 2417513"/>
                  <a:gd name="connsiteY10437" fmla="*/ 441683 h 1867037"/>
                  <a:gd name="connsiteX10438" fmla="*/ 560627 w 2417513"/>
                  <a:gd name="connsiteY10438" fmla="*/ 444562 h 1867037"/>
                  <a:gd name="connsiteX10439" fmla="*/ 562142 w 2417513"/>
                  <a:gd name="connsiteY10439" fmla="*/ 449562 h 1867037"/>
                  <a:gd name="connsiteX10440" fmla="*/ 563506 w 2417513"/>
                  <a:gd name="connsiteY10440" fmla="*/ 451986 h 1867037"/>
                  <a:gd name="connsiteX10441" fmla="*/ 564718 w 2417513"/>
                  <a:gd name="connsiteY10441" fmla="*/ 451986 h 1867037"/>
                  <a:gd name="connsiteX10442" fmla="*/ 570324 w 2417513"/>
                  <a:gd name="connsiteY10442" fmla="*/ 450471 h 1867037"/>
                  <a:gd name="connsiteX10443" fmla="*/ 577143 w 2417513"/>
                  <a:gd name="connsiteY10443" fmla="*/ 450168 h 1867037"/>
                  <a:gd name="connsiteX10444" fmla="*/ 581991 w 2417513"/>
                  <a:gd name="connsiteY10444" fmla="*/ 446986 h 1867037"/>
                  <a:gd name="connsiteX10445" fmla="*/ 583810 w 2417513"/>
                  <a:gd name="connsiteY10445" fmla="*/ 445319 h 1867037"/>
                  <a:gd name="connsiteX10446" fmla="*/ 585476 w 2417513"/>
                  <a:gd name="connsiteY10446" fmla="*/ 443198 h 1867037"/>
                  <a:gd name="connsiteX10447" fmla="*/ 587446 w 2417513"/>
                  <a:gd name="connsiteY10447" fmla="*/ 443350 h 1867037"/>
                  <a:gd name="connsiteX10448" fmla="*/ 587749 w 2417513"/>
                  <a:gd name="connsiteY10448" fmla="*/ 442440 h 1867037"/>
                  <a:gd name="connsiteX10449" fmla="*/ 587749 w 2417513"/>
                  <a:gd name="connsiteY10449" fmla="*/ 440622 h 1867037"/>
                  <a:gd name="connsiteX10450" fmla="*/ 587143 w 2417513"/>
                  <a:gd name="connsiteY10450" fmla="*/ 439410 h 1867037"/>
                  <a:gd name="connsiteX10451" fmla="*/ 582294 w 2417513"/>
                  <a:gd name="connsiteY10451" fmla="*/ 436683 h 1867037"/>
                  <a:gd name="connsiteX10452" fmla="*/ 581840 w 2417513"/>
                  <a:gd name="connsiteY10452" fmla="*/ 435622 h 1867037"/>
                  <a:gd name="connsiteX10453" fmla="*/ 584567 w 2417513"/>
                  <a:gd name="connsiteY10453" fmla="*/ 433349 h 1867037"/>
                  <a:gd name="connsiteX10454" fmla="*/ 584719 w 2417513"/>
                  <a:gd name="connsiteY10454" fmla="*/ 431531 h 1867037"/>
                  <a:gd name="connsiteX10455" fmla="*/ 584264 w 2417513"/>
                  <a:gd name="connsiteY10455" fmla="*/ 428500 h 1867037"/>
                  <a:gd name="connsiteX10456" fmla="*/ 584264 w 2417513"/>
                  <a:gd name="connsiteY10456" fmla="*/ 426379 h 1867037"/>
                  <a:gd name="connsiteX10457" fmla="*/ 586082 w 2417513"/>
                  <a:gd name="connsiteY10457" fmla="*/ 423803 h 1867037"/>
                  <a:gd name="connsiteX10458" fmla="*/ 587598 w 2417513"/>
                  <a:gd name="connsiteY10458" fmla="*/ 423046 h 1867037"/>
                  <a:gd name="connsiteX10459" fmla="*/ 588507 w 2417513"/>
                  <a:gd name="connsiteY10459" fmla="*/ 424106 h 1867037"/>
                  <a:gd name="connsiteX10460" fmla="*/ 589567 w 2417513"/>
                  <a:gd name="connsiteY10460" fmla="*/ 426682 h 1867037"/>
                  <a:gd name="connsiteX10461" fmla="*/ 591689 w 2417513"/>
                  <a:gd name="connsiteY10461" fmla="*/ 429713 h 1867037"/>
                  <a:gd name="connsiteX10462" fmla="*/ 594871 w 2417513"/>
                  <a:gd name="connsiteY10462" fmla="*/ 433198 h 1867037"/>
                  <a:gd name="connsiteX10463" fmla="*/ 597143 w 2417513"/>
                  <a:gd name="connsiteY10463" fmla="*/ 435016 h 1867037"/>
                  <a:gd name="connsiteX10464" fmla="*/ 599568 w 2417513"/>
                  <a:gd name="connsiteY10464" fmla="*/ 435167 h 1867037"/>
                  <a:gd name="connsiteX10465" fmla="*/ 601992 w 2417513"/>
                  <a:gd name="connsiteY10465" fmla="*/ 433955 h 1867037"/>
                  <a:gd name="connsiteX10466" fmla="*/ 603053 w 2417513"/>
                  <a:gd name="connsiteY10466" fmla="*/ 432592 h 1867037"/>
                  <a:gd name="connsiteX10467" fmla="*/ 605932 w 2417513"/>
                  <a:gd name="connsiteY10467" fmla="*/ 427440 h 1867037"/>
                  <a:gd name="connsiteX10468" fmla="*/ 606992 w 2417513"/>
                  <a:gd name="connsiteY10468" fmla="*/ 426379 h 1867037"/>
                  <a:gd name="connsiteX10469" fmla="*/ 611538 w 2417513"/>
                  <a:gd name="connsiteY10469" fmla="*/ 423046 h 1867037"/>
                  <a:gd name="connsiteX10470" fmla="*/ 611992 w 2417513"/>
                  <a:gd name="connsiteY10470" fmla="*/ 421228 h 1867037"/>
                  <a:gd name="connsiteX10471" fmla="*/ 611538 w 2417513"/>
                  <a:gd name="connsiteY10471" fmla="*/ 418349 h 1867037"/>
                  <a:gd name="connsiteX10472" fmla="*/ 607295 w 2417513"/>
                  <a:gd name="connsiteY10472" fmla="*/ 415773 h 1867037"/>
                  <a:gd name="connsiteX10473" fmla="*/ 606689 w 2417513"/>
                  <a:gd name="connsiteY10473" fmla="*/ 414561 h 1867037"/>
                  <a:gd name="connsiteX10474" fmla="*/ 607447 w 2417513"/>
                  <a:gd name="connsiteY10474" fmla="*/ 413045 h 1867037"/>
                  <a:gd name="connsiteX10475" fmla="*/ 609114 w 2417513"/>
                  <a:gd name="connsiteY10475" fmla="*/ 412288 h 1867037"/>
                  <a:gd name="connsiteX10476" fmla="*/ 613508 w 2417513"/>
                  <a:gd name="connsiteY10476" fmla="*/ 412288 h 1867037"/>
                  <a:gd name="connsiteX10477" fmla="*/ 616386 w 2417513"/>
                  <a:gd name="connsiteY10477" fmla="*/ 411076 h 1867037"/>
                  <a:gd name="connsiteX10478" fmla="*/ 617447 w 2417513"/>
                  <a:gd name="connsiteY10478" fmla="*/ 408803 h 1867037"/>
                  <a:gd name="connsiteX10479" fmla="*/ 618205 w 2417513"/>
                  <a:gd name="connsiteY10479" fmla="*/ 404712 h 1867037"/>
                  <a:gd name="connsiteX10480" fmla="*/ 619265 w 2417513"/>
                  <a:gd name="connsiteY10480" fmla="*/ 402439 h 1867037"/>
                  <a:gd name="connsiteX10481" fmla="*/ 621235 w 2417513"/>
                  <a:gd name="connsiteY10481" fmla="*/ 400318 h 1867037"/>
                  <a:gd name="connsiteX10482" fmla="*/ 623963 w 2417513"/>
                  <a:gd name="connsiteY10482" fmla="*/ 398954 h 1867037"/>
                  <a:gd name="connsiteX10483" fmla="*/ 627448 w 2417513"/>
                  <a:gd name="connsiteY10483" fmla="*/ 398348 h 1867037"/>
                  <a:gd name="connsiteX10484" fmla="*/ 632751 w 2417513"/>
                  <a:gd name="connsiteY10484" fmla="*/ 396530 h 1867037"/>
                  <a:gd name="connsiteX10485" fmla="*/ 634417 w 2417513"/>
                  <a:gd name="connsiteY10485" fmla="*/ 396530 h 1867037"/>
                  <a:gd name="connsiteX10486" fmla="*/ 635478 w 2417513"/>
                  <a:gd name="connsiteY10486" fmla="*/ 397742 h 1867037"/>
                  <a:gd name="connsiteX10487" fmla="*/ 634721 w 2417513"/>
                  <a:gd name="connsiteY10487" fmla="*/ 400621 h 1867037"/>
                  <a:gd name="connsiteX10488" fmla="*/ 632145 w 2417513"/>
                  <a:gd name="connsiteY10488" fmla="*/ 405318 h 1867037"/>
                  <a:gd name="connsiteX10489" fmla="*/ 630326 w 2417513"/>
                  <a:gd name="connsiteY10489" fmla="*/ 409863 h 1867037"/>
                  <a:gd name="connsiteX10490" fmla="*/ 629266 w 2417513"/>
                  <a:gd name="connsiteY10490" fmla="*/ 414258 h 1867037"/>
                  <a:gd name="connsiteX10491" fmla="*/ 628811 w 2417513"/>
                  <a:gd name="connsiteY10491" fmla="*/ 417136 h 1867037"/>
                  <a:gd name="connsiteX10492" fmla="*/ 629569 w 2417513"/>
                  <a:gd name="connsiteY10492" fmla="*/ 419409 h 1867037"/>
                  <a:gd name="connsiteX10493" fmla="*/ 633660 w 2417513"/>
                  <a:gd name="connsiteY10493" fmla="*/ 422894 h 1867037"/>
                  <a:gd name="connsiteX10494" fmla="*/ 636690 w 2417513"/>
                  <a:gd name="connsiteY10494" fmla="*/ 424561 h 1867037"/>
                  <a:gd name="connsiteX10495" fmla="*/ 643206 w 2417513"/>
                  <a:gd name="connsiteY10495" fmla="*/ 426985 h 1867037"/>
                  <a:gd name="connsiteX10496" fmla="*/ 647145 w 2417513"/>
                  <a:gd name="connsiteY10496" fmla="*/ 426985 h 1867037"/>
                  <a:gd name="connsiteX10497" fmla="*/ 650176 w 2417513"/>
                  <a:gd name="connsiteY10497" fmla="*/ 426531 h 1867037"/>
                  <a:gd name="connsiteX10498" fmla="*/ 652297 w 2417513"/>
                  <a:gd name="connsiteY10498" fmla="*/ 425622 h 1867037"/>
                  <a:gd name="connsiteX10499" fmla="*/ 653509 w 2417513"/>
                  <a:gd name="connsiteY10499" fmla="*/ 424258 h 1867037"/>
                  <a:gd name="connsiteX10500" fmla="*/ 655176 w 2417513"/>
                  <a:gd name="connsiteY10500" fmla="*/ 421379 h 1867037"/>
                  <a:gd name="connsiteX10501" fmla="*/ 655630 w 2417513"/>
                  <a:gd name="connsiteY10501" fmla="*/ 419712 h 1867037"/>
                  <a:gd name="connsiteX10502" fmla="*/ 655933 w 2417513"/>
                  <a:gd name="connsiteY10502" fmla="*/ 415924 h 1867037"/>
                  <a:gd name="connsiteX10503" fmla="*/ 655782 w 2417513"/>
                  <a:gd name="connsiteY10503" fmla="*/ 414409 h 1867037"/>
                  <a:gd name="connsiteX10504" fmla="*/ 656237 w 2417513"/>
                  <a:gd name="connsiteY10504" fmla="*/ 412439 h 1867037"/>
                  <a:gd name="connsiteX10505" fmla="*/ 670782 w 2417513"/>
                  <a:gd name="connsiteY10505" fmla="*/ 409863 h 1867037"/>
                  <a:gd name="connsiteX10506" fmla="*/ 677601 w 2417513"/>
                  <a:gd name="connsiteY10506" fmla="*/ 407894 h 1867037"/>
                  <a:gd name="connsiteX10507" fmla="*/ 681540 w 2417513"/>
                  <a:gd name="connsiteY10507" fmla="*/ 405469 h 1867037"/>
                  <a:gd name="connsiteX10508" fmla="*/ 684116 w 2417513"/>
                  <a:gd name="connsiteY10508" fmla="*/ 403500 h 1867037"/>
                  <a:gd name="connsiteX10509" fmla="*/ 685177 w 2417513"/>
                  <a:gd name="connsiteY10509" fmla="*/ 402136 h 1867037"/>
                  <a:gd name="connsiteX10510" fmla="*/ 685177 w 2417513"/>
                  <a:gd name="connsiteY10510" fmla="*/ 400772 h 1867037"/>
                  <a:gd name="connsiteX10511" fmla="*/ 683207 w 2417513"/>
                  <a:gd name="connsiteY10511" fmla="*/ 398045 h 1867037"/>
                  <a:gd name="connsiteX10512" fmla="*/ 677298 w 2417513"/>
                  <a:gd name="connsiteY10512" fmla="*/ 392893 h 1867037"/>
                  <a:gd name="connsiteX10513" fmla="*/ 676843 w 2417513"/>
                  <a:gd name="connsiteY10513" fmla="*/ 391378 h 1867037"/>
                  <a:gd name="connsiteX10514" fmla="*/ 678813 w 2417513"/>
                  <a:gd name="connsiteY10514" fmla="*/ 390620 h 1867037"/>
                  <a:gd name="connsiteX10515" fmla="*/ 680783 w 2417513"/>
                  <a:gd name="connsiteY10515" fmla="*/ 390469 h 1867037"/>
                  <a:gd name="connsiteX10516" fmla="*/ 686238 w 2417513"/>
                  <a:gd name="connsiteY10516" fmla="*/ 391075 h 1867037"/>
                  <a:gd name="connsiteX10517" fmla="*/ 689116 w 2417513"/>
                  <a:gd name="connsiteY10517" fmla="*/ 389257 h 1867037"/>
                  <a:gd name="connsiteX10518" fmla="*/ 687904 w 2417513"/>
                  <a:gd name="connsiteY10518" fmla="*/ 387590 h 1867037"/>
                  <a:gd name="connsiteX10519" fmla="*/ 681995 w 2417513"/>
                  <a:gd name="connsiteY10519" fmla="*/ 384105 h 1867037"/>
                  <a:gd name="connsiteX10520" fmla="*/ 676237 w 2417513"/>
                  <a:gd name="connsiteY10520" fmla="*/ 380014 h 1867037"/>
                  <a:gd name="connsiteX10521" fmla="*/ 675025 w 2417513"/>
                  <a:gd name="connsiteY10521" fmla="*/ 377893 h 1867037"/>
                  <a:gd name="connsiteX10522" fmla="*/ 678207 w 2417513"/>
                  <a:gd name="connsiteY10522" fmla="*/ 375468 h 1867037"/>
                  <a:gd name="connsiteX10523" fmla="*/ 694420 w 2417513"/>
                  <a:gd name="connsiteY10523" fmla="*/ 370317 h 1867037"/>
                  <a:gd name="connsiteX10524" fmla="*/ 697602 w 2417513"/>
                  <a:gd name="connsiteY10524" fmla="*/ 368801 h 1867037"/>
                  <a:gd name="connsiteX10525" fmla="*/ 698662 w 2417513"/>
                  <a:gd name="connsiteY10525" fmla="*/ 367892 h 1867037"/>
                  <a:gd name="connsiteX10526" fmla="*/ 698511 w 2417513"/>
                  <a:gd name="connsiteY10526" fmla="*/ 366983 h 1867037"/>
                  <a:gd name="connsiteX10527" fmla="*/ 696390 w 2417513"/>
                  <a:gd name="connsiteY10527" fmla="*/ 364710 h 1867037"/>
                  <a:gd name="connsiteX10528" fmla="*/ 683965 w 2417513"/>
                  <a:gd name="connsiteY10528" fmla="*/ 358952 h 1867037"/>
                  <a:gd name="connsiteX10529" fmla="*/ 678510 w 2417513"/>
                  <a:gd name="connsiteY10529" fmla="*/ 355771 h 1867037"/>
                  <a:gd name="connsiteX10530" fmla="*/ 674267 w 2417513"/>
                  <a:gd name="connsiteY10530" fmla="*/ 354255 h 1867037"/>
                  <a:gd name="connsiteX10531" fmla="*/ 670176 w 2417513"/>
                  <a:gd name="connsiteY10531" fmla="*/ 353952 h 1867037"/>
                  <a:gd name="connsiteX10532" fmla="*/ 661388 w 2417513"/>
                  <a:gd name="connsiteY10532" fmla="*/ 355013 h 1867037"/>
                  <a:gd name="connsiteX10533" fmla="*/ 658358 w 2417513"/>
                  <a:gd name="connsiteY10533" fmla="*/ 356528 h 1867037"/>
                  <a:gd name="connsiteX10534" fmla="*/ 655782 w 2417513"/>
                  <a:gd name="connsiteY10534" fmla="*/ 358801 h 1867037"/>
                  <a:gd name="connsiteX10535" fmla="*/ 655630 w 2417513"/>
                  <a:gd name="connsiteY10535" fmla="*/ 359710 h 1867037"/>
                  <a:gd name="connsiteX10536" fmla="*/ 656085 w 2417513"/>
                  <a:gd name="connsiteY10536" fmla="*/ 360771 h 1867037"/>
                  <a:gd name="connsiteX10537" fmla="*/ 663358 w 2417513"/>
                  <a:gd name="connsiteY10537" fmla="*/ 362741 h 1867037"/>
                  <a:gd name="connsiteX10538" fmla="*/ 665025 w 2417513"/>
                  <a:gd name="connsiteY10538" fmla="*/ 363801 h 1867037"/>
                  <a:gd name="connsiteX10539" fmla="*/ 662449 w 2417513"/>
                  <a:gd name="connsiteY10539" fmla="*/ 365771 h 1867037"/>
                  <a:gd name="connsiteX10540" fmla="*/ 661085 w 2417513"/>
                  <a:gd name="connsiteY10540" fmla="*/ 366225 h 1867037"/>
                  <a:gd name="connsiteX10541" fmla="*/ 655176 w 2417513"/>
                  <a:gd name="connsiteY10541" fmla="*/ 365771 h 1867037"/>
                  <a:gd name="connsiteX10542" fmla="*/ 652751 w 2417513"/>
                  <a:gd name="connsiteY10542" fmla="*/ 365013 h 1867037"/>
                  <a:gd name="connsiteX10543" fmla="*/ 651085 w 2417513"/>
                  <a:gd name="connsiteY10543" fmla="*/ 366680 h 1867037"/>
                  <a:gd name="connsiteX10544" fmla="*/ 649267 w 2417513"/>
                  <a:gd name="connsiteY10544" fmla="*/ 367741 h 1867037"/>
                  <a:gd name="connsiteX10545" fmla="*/ 645479 w 2417513"/>
                  <a:gd name="connsiteY10545" fmla="*/ 367438 h 1867037"/>
                  <a:gd name="connsiteX10546" fmla="*/ 629417 w 2417513"/>
                  <a:gd name="connsiteY10546" fmla="*/ 363650 h 1867037"/>
                  <a:gd name="connsiteX10547" fmla="*/ 607144 w 2417513"/>
                  <a:gd name="connsiteY10547" fmla="*/ 366529 h 1867037"/>
                  <a:gd name="connsiteX10548" fmla="*/ 599719 w 2417513"/>
                  <a:gd name="connsiteY10548" fmla="*/ 368195 h 1867037"/>
                  <a:gd name="connsiteX10549" fmla="*/ 593355 w 2417513"/>
                  <a:gd name="connsiteY10549" fmla="*/ 371983 h 1867037"/>
                  <a:gd name="connsiteX10550" fmla="*/ 588658 w 2417513"/>
                  <a:gd name="connsiteY10550" fmla="*/ 375620 h 1867037"/>
                  <a:gd name="connsiteX10551" fmla="*/ 579415 w 2417513"/>
                  <a:gd name="connsiteY10551" fmla="*/ 381529 h 1867037"/>
                  <a:gd name="connsiteX10552" fmla="*/ 569264 w 2417513"/>
                  <a:gd name="connsiteY10552" fmla="*/ 389711 h 1867037"/>
                  <a:gd name="connsiteX10553" fmla="*/ 566233 w 2417513"/>
                  <a:gd name="connsiteY10553" fmla="*/ 391226 h 1867037"/>
                  <a:gd name="connsiteX10554" fmla="*/ 565021 w 2417513"/>
                  <a:gd name="connsiteY10554" fmla="*/ 392287 h 1867037"/>
                  <a:gd name="connsiteX10555" fmla="*/ 562900 w 2417513"/>
                  <a:gd name="connsiteY10555" fmla="*/ 396378 h 1867037"/>
                  <a:gd name="connsiteX10556" fmla="*/ 561536 w 2417513"/>
                  <a:gd name="connsiteY10556" fmla="*/ 397742 h 1867037"/>
                  <a:gd name="connsiteX10557" fmla="*/ 547596 w 2417513"/>
                  <a:gd name="connsiteY10557" fmla="*/ 403651 h 1867037"/>
                  <a:gd name="connsiteX10558" fmla="*/ 544566 w 2417513"/>
                  <a:gd name="connsiteY10558" fmla="*/ 404712 h 1867037"/>
                  <a:gd name="connsiteX10559" fmla="*/ 541838 w 2417513"/>
                  <a:gd name="connsiteY10559" fmla="*/ 406985 h 1867037"/>
                  <a:gd name="connsiteX10560" fmla="*/ 531989 w 2417513"/>
                  <a:gd name="connsiteY10560" fmla="*/ 416682 h 1867037"/>
                  <a:gd name="connsiteX10561" fmla="*/ 530474 w 2417513"/>
                  <a:gd name="connsiteY10561" fmla="*/ 417439 h 1867037"/>
                  <a:gd name="connsiteX10562" fmla="*/ 510019 w 2417513"/>
                  <a:gd name="connsiteY10562" fmla="*/ 419561 h 1867037"/>
                  <a:gd name="connsiteX10563" fmla="*/ 508504 w 2417513"/>
                  <a:gd name="connsiteY10563" fmla="*/ 420167 h 1867037"/>
                  <a:gd name="connsiteX10564" fmla="*/ 505928 w 2417513"/>
                  <a:gd name="connsiteY10564" fmla="*/ 422288 h 1867037"/>
                  <a:gd name="connsiteX10565" fmla="*/ 498958 w 2417513"/>
                  <a:gd name="connsiteY10565" fmla="*/ 429410 h 1867037"/>
                  <a:gd name="connsiteX10566" fmla="*/ 496079 w 2417513"/>
                  <a:gd name="connsiteY10566" fmla="*/ 432895 h 1867037"/>
                  <a:gd name="connsiteX10567" fmla="*/ 495473 w 2417513"/>
                  <a:gd name="connsiteY10567" fmla="*/ 434561 h 1867037"/>
                  <a:gd name="connsiteX10568" fmla="*/ 501382 w 2417513"/>
                  <a:gd name="connsiteY10568" fmla="*/ 433046 h 1867037"/>
                  <a:gd name="connsiteX10569" fmla="*/ 502897 w 2417513"/>
                  <a:gd name="connsiteY10569" fmla="*/ 432743 h 1867037"/>
                  <a:gd name="connsiteX10570" fmla="*/ 740937 w 2417513"/>
                  <a:gd name="connsiteY10570" fmla="*/ 429258 h 1867037"/>
                  <a:gd name="connsiteX10571" fmla="*/ 737300 w 2417513"/>
                  <a:gd name="connsiteY10571" fmla="*/ 425167 h 1867037"/>
                  <a:gd name="connsiteX10572" fmla="*/ 736088 w 2417513"/>
                  <a:gd name="connsiteY10572" fmla="*/ 423500 h 1867037"/>
                  <a:gd name="connsiteX10573" fmla="*/ 735785 w 2417513"/>
                  <a:gd name="connsiteY10573" fmla="*/ 422440 h 1867037"/>
                  <a:gd name="connsiteX10574" fmla="*/ 735785 w 2417513"/>
                  <a:gd name="connsiteY10574" fmla="*/ 419864 h 1867037"/>
                  <a:gd name="connsiteX10575" fmla="*/ 735027 w 2417513"/>
                  <a:gd name="connsiteY10575" fmla="*/ 418349 h 1867037"/>
                  <a:gd name="connsiteX10576" fmla="*/ 733512 w 2417513"/>
                  <a:gd name="connsiteY10576" fmla="*/ 416682 h 1867037"/>
                  <a:gd name="connsiteX10577" fmla="*/ 730633 w 2417513"/>
                  <a:gd name="connsiteY10577" fmla="*/ 415318 h 1867037"/>
                  <a:gd name="connsiteX10578" fmla="*/ 724118 w 2417513"/>
                  <a:gd name="connsiteY10578" fmla="*/ 413803 h 1867037"/>
                  <a:gd name="connsiteX10579" fmla="*/ 717754 w 2417513"/>
                  <a:gd name="connsiteY10579" fmla="*/ 413651 h 1867037"/>
                  <a:gd name="connsiteX10580" fmla="*/ 711390 w 2417513"/>
                  <a:gd name="connsiteY10580" fmla="*/ 414106 h 1867037"/>
                  <a:gd name="connsiteX10581" fmla="*/ 695480 w 2417513"/>
                  <a:gd name="connsiteY10581" fmla="*/ 417591 h 1867037"/>
                  <a:gd name="connsiteX10582" fmla="*/ 690026 w 2417513"/>
                  <a:gd name="connsiteY10582" fmla="*/ 421682 h 1867037"/>
                  <a:gd name="connsiteX10583" fmla="*/ 688813 w 2417513"/>
                  <a:gd name="connsiteY10583" fmla="*/ 423652 h 1867037"/>
                  <a:gd name="connsiteX10584" fmla="*/ 688662 w 2417513"/>
                  <a:gd name="connsiteY10584" fmla="*/ 425622 h 1867037"/>
                  <a:gd name="connsiteX10585" fmla="*/ 688965 w 2417513"/>
                  <a:gd name="connsiteY10585" fmla="*/ 427137 h 1867037"/>
                  <a:gd name="connsiteX10586" fmla="*/ 689723 w 2417513"/>
                  <a:gd name="connsiteY10586" fmla="*/ 428197 h 1867037"/>
                  <a:gd name="connsiteX10587" fmla="*/ 693359 w 2417513"/>
                  <a:gd name="connsiteY10587" fmla="*/ 428955 h 1867037"/>
                  <a:gd name="connsiteX10588" fmla="*/ 710936 w 2417513"/>
                  <a:gd name="connsiteY10588" fmla="*/ 430622 h 1867037"/>
                  <a:gd name="connsiteX10589" fmla="*/ 714875 w 2417513"/>
                  <a:gd name="connsiteY10589" fmla="*/ 431531 h 1867037"/>
                  <a:gd name="connsiteX10590" fmla="*/ 717602 w 2417513"/>
                  <a:gd name="connsiteY10590" fmla="*/ 432743 h 1867037"/>
                  <a:gd name="connsiteX10591" fmla="*/ 713208 w 2417513"/>
                  <a:gd name="connsiteY10591" fmla="*/ 433046 h 1867037"/>
                  <a:gd name="connsiteX10592" fmla="*/ 690480 w 2417513"/>
                  <a:gd name="connsiteY10592" fmla="*/ 431985 h 1867037"/>
                  <a:gd name="connsiteX10593" fmla="*/ 682450 w 2417513"/>
                  <a:gd name="connsiteY10593" fmla="*/ 430925 h 1867037"/>
                  <a:gd name="connsiteX10594" fmla="*/ 678359 w 2417513"/>
                  <a:gd name="connsiteY10594" fmla="*/ 431379 h 1867037"/>
                  <a:gd name="connsiteX10595" fmla="*/ 671692 w 2417513"/>
                  <a:gd name="connsiteY10595" fmla="*/ 434258 h 1867037"/>
                  <a:gd name="connsiteX10596" fmla="*/ 667904 w 2417513"/>
                  <a:gd name="connsiteY10596" fmla="*/ 436986 h 1867037"/>
                  <a:gd name="connsiteX10597" fmla="*/ 667449 w 2417513"/>
                  <a:gd name="connsiteY10597" fmla="*/ 438198 h 1867037"/>
                  <a:gd name="connsiteX10598" fmla="*/ 669116 w 2417513"/>
                  <a:gd name="connsiteY10598" fmla="*/ 441380 h 1867037"/>
                  <a:gd name="connsiteX10599" fmla="*/ 668207 w 2417513"/>
                  <a:gd name="connsiteY10599" fmla="*/ 442743 h 1867037"/>
                  <a:gd name="connsiteX10600" fmla="*/ 665934 w 2417513"/>
                  <a:gd name="connsiteY10600" fmla="*/ 444713 h 1867037"/>
                  <a:gd name="connsiteX10601" fmla="*/ 666237 w 2417513"/>
                  <a:gd name="connsiteY10601" fmla="*/ 446228 h 1867037"/>
                  <a:gd name="connsiteX10602" fmla="*/ 671995 w 2417513"/>
                  <a:gd name="connsiteY10602" fmla="*/ 448350 h 1867037"/>
                  <a:gd name="connsiteX10603" fmla="*/ 674873 w 2417513"/>
                  <a:gd name="connsiteY10603" fmla="*/ 448956 h 1867037"/>
                  <a:gd name="connsiteX10604" fmla="*/ 695026 w 2417513"/>
                  <a:gd name="connsiteY10604" fmla="*/ 448198 h 1867037"/>
                  <a:gd name="connsiteX10605" fmla="*/ 711693 w 2417513"/>
                  <a:gd name="connsiteY10605" fmla="*/ 448047 h 1867037"/>
                  <a:gd name="connsiteX10606" fmla="*/ 706693 w 2417513"/>
                  <a:gd name="connsiteY10606" fmla="*/ 449713 h 1867037"/>
                  <a:gd name="connsiteX10607" fmla="*/ 698359 w 2417513"/>
                  <a:gd name="connsiteY10607" fmla="*/ 451229 h 1867037"/>
                  <a:gd name="connsiteX10608" fmla="*/ 688510 w 2417513"/>
                  <a:gd name="connsiteY10608" fmla="*/ 451229 h 1867037"/>
                  <a:gd name="connsiteX10609" fmla="*/ 673358 w 2417513"/>
                  <a:gd name="connsiteY10609" fmla="*/ 453047 h 1867037"/>
                  <a:gd name="connsiteX10610" fmla="*/ 662146 w 2417513"/>
                  <a:gd name="connsiteY10610" fmla="*/ 455168 h 1867037"/>
                  <a:gd name="connsiteX10611" fmla="*/ 657449 w 2417513"/>
                  <a:gd name="connsiteY10611" fmla="*/ 456683 h 1867037"/>
                  <a:gd name="connsiteX10612" fmla="*/ 655630 w 2417513"/>
                  <a:gd name="connsiteY10612" fmla="*/ 458199 h 1867037"/>
                  <a:gd name="connsiteX10613" fmla="*/ 652145 w 2417513"/>
                  <a:gd name="connsiteY10613" fmla="*/ 462290 h 1867037"/>
                  <a:gd name="connsiteX10614" fmla="*/ 652903 w 2417513"/>
                  <a:gd name="connsiteY10614" fmla="*/ 463805 h 1867037"/>
                  <a:gd name="connsiteX10615" fmla="*/ 655933 w 2417513"/>
                  <a:gd name="connsiteY10615" fmla="*/ 464714 h 1867037"/>
                  <a:gd name="connsiteX10616" fmla="*/ 672298 w 2417513"/>
                  <a:gd name="connsiteY10616" fmla="*/ 465623 h 1867037"/>
                  <a:gd name="connsiteX10617" fmla="*/ 683056 w 2417513"/>
                  <a:gd name="connsiteY10617" fmla="*/ 464411 h 1867037"/>
                  <a:gd name="connsiteX10618" fmla="*/ 708057 w 2417513"/>
                  <a:gd name="connsiteY10618" fmla="*/ 458805 h 1867037"/>
                  <a:gd name="connsiteX10619" fmla="*/ 708208 w 2417513"/>
                  <a:gd name="connsiteY10619" fmla="*/ 459411 h 1867037"/>
                  <a:gd name="connsiteX10620" fmla="*/ 707602 w 2417513"/>
                  <a:gd name="connsiteY10620" fmla="*/ 460320 h 1867037"/>
                  <a:gd name="connsiteX10621" fmla="*/ 704572 w 2417513"/>
                  <a:gd name="connsiteY10621" fmla="*/ 462593 h 1867037"/>
                  <a:gd name="connsiteX10622" fmla="*/ 702299 w 2417513"/>
                  <a:gd name="connsiteY10622" fmla="*/ 463805 h 1867037"/>
                  <a:gd name="connsiteX10623" fmla="*/ 681995 w 2417513"/>
                  <a:gd name="connsiteY10623" fmla="*/ 470775 h 1867037"/>
                  <a:gd name="connsiteX10624" fmla="*/ 678359 w 2417513"/>
                  <a:gd name="connsiteY10624" fmla="*/ 471381 h 1867037"/>
                  <a:gd name="connsiteX10625" fmla="*/ 659873 w 2417513"/>
                  <a:gd name="connsiteY10625" fmla="*/ 471532 h 1867037"/>
                  <a:gd name="connsiteX10626" fmla="*/ 652600 w 2417513"/>
                  <a:gd name="connsiteY10626" fmla="*/ 471987 h 1867037"/>
                  <a:gd name="connsiteX10627" fmla="*/ 649721 w 2417513"/>
                  <a:gd name="connsiteY10627" fmla="*/ 472745 h 1867037"/>
                  <a:gd name="connsiteX10628" fmla="*/ 647600 w 2417513"/>
                  <a:gd name="connsiteY10628" fmla="*/ 473654 h 1867037"/>
                  <a:gd name="connsiteX10629" fmla="*/ 646236 w 2417513"/>
                  <a:gd name="connsiteY10629" fmla="*/ 474866 h 1867037"/>
                  <a:gd name="connsiteX10630" fmla="*/ 642751 w 2417513"/>
                  <a:gd name="connsiteY10630" fmla="*/ 478502 h 1867037"/>
                  <a:gd name="connsiteX10631" fmla="*/ 641084 w 2417513"/>
                  <a:gd name="connsiteY10631" fmla="*/ 480472 h 1867037"/>
                  <a:gd name="connsiteX10632" fmla="*/ 640478 w 2417513"/>
                  <a:gd name="connsiteY10632" fmla="*/ 481684 h 1867037"/>
                  <a:gd name="connsiteX10633" fmla="*/ 640327 w 2417513"/>
                  <a:gd name="connsiteY10633" fmla="*/ 482896 h 1867037"/>
                  <a:gd name="connsiteX10634" fmla="*/ 641236 w 2417513"/>
                  <a:gd name="connsiteY10634" fmla="*/ 485018 h 1867037"/>
                  <a:gd name="connsiteX10635" fmla="*/ 642903 w 2417513"/>
                  <a:gd name="connsiteY10635" fmla="*/ 486684 h 1867037"/>
                  <a:gd name="connsiteX10636" fmla="*/ 656539 w 2417513"/>
                  <a:gd name="connsiteY10636" fmla="*/ 489260 h 1867037"/>
                  <a:gd name="connsiteX10637" fmla="*/ 661085 w 2417513"/>
                  <a:gd name="connsiteY10637" fmla="*/ 489563 h 1867037"/>
                  <a:gd name="connsiteX10638" fmla="*/ 671085 w 2417513"/>
                  <a:gd name="connsiteY10638" fmla="*/ 488503 h 1867037"/>
                  <a:gd name="connsiteX10639" fmla="*/ 680177 w 2417513"/>
                  <a:gd name="connsiteY10639" fmla="*/ 495624 h 1867037"/>
                  <a:gd name="connsiteX10640" fmla="*/ 691541 w 2417513"/>
                  <a:gd name="connsiteY10640" fmla="*/ 499715 h 1867037"/>
                  <a:gd name="connsiteX10641" fmla="*/ 692753 w 2417513"/>
                  <a:gd name="connsiteY10641" fmla="*/ 499412 h 1867037"/>
                  <a:gd name="connsiteX10642" fmla="*/ 694723 w 2417513"/>
                  <a:gd name="connsiteY10642" fmla="*/ 497442 h 1867037"/>
                  <a:gd name="connsiteX10643" fmla="*/ 695632 w 2417513"/>
                  <a:gd name="connsiteY10643" fmla="*/ 494867 h 1867037"/>
                  <a:gd name="connsiteX10644" fmla="*/ 696693 w 2417513"/>
                  <a:gd name="connsiteY10644" fmla="*/ 493503 h 1867037"/>
                  <a:gd name="connsiteX10645" fmla="*/ 698359 w 2417513"/>
                  <a:gd name="connsiteY10645" fmla="*/ 492291 h 1867037"/>
                  <a:gd name="connsiteX10646" fmla="*/ 700178 w 2417513"/>
                  <a:gd name="connsiteY10646" fmla="*/ 491685 h 1867037"/>
                  <a:gd name="connsiteX10647" fmla="*/ 702147 w 2417513"/>
                  <a:gd name="connsiteY10647" fmla="*/ 491836 h 1867037"/>
                  <a:gd name="connsiteX10648" fmla="*/ 703814 w 2417513"/>
                  <a:gd name="connsiteY10648" fmla="*/ 492442 h 1867037"/>
                  <a:gd name="connsiteX10649" fmla="*/ 706693 w 2417513"/>
                  <a:gd name="connsiteY10649" fmla="*/ 495321 h 1867037"/>
                  <a:gd name="connsiteX10650" fmla="*/ 707905 w 2417513"/>
                  <a:gd name="connsiteY10650" fmla="*/ 497442 h 1867037"/>
                  <a:gd name="connsiteX10651" fmla="*/ 709269 w 2417513"/>
                  <a:gd name="connsiteY10651" fmla="*/ 498806 h 1867037"/>
                  <a:gd name="connsiteX10652" fmla="*/ 710784 w 2417513"/>
                  <a:gd name="connsiteY10652" fmla="*/ 499261 h 1867037"/>
                  <a:gd name="connsiteX10653" fmla="*/ 715178 w 2417513"/>
                  <a:gd name="connsiteY10653" fmla="*/ 497897 h 1867037"/>
                  <a:gd name="connsiteX10654" fmla="*/ 726391 w 2417513"/>
                  <a:gd name="connsiteY10654" fmla="*/ 493048 h 1867037"/>
                  <a:gd name="connsiteX10655" fmla="*/ 728966 w 2417513"/>
                  <a:gd name="connsiteY10655" fmla="*/ 490169 h 1867037"/>
                  <a:gd name="connsiteX10656" fmla="*/ 728966 w 2417513"/>
                  <a:gd name="connsiteY10656" fmla="*/ 488503 h 1867037"/>
                  <a:gd name="connsiteX10657" fmla="*/ 725027 w 2417513"/>
                  <a:gd name="connsiteY10657" fmla="*/ 483654 h 1867037"/>
                  <a:gd name="connsiteX10658" fmla="*/ 724724 w 2417513"/>
                  <a:gd name="connsiteY10658" fmla="*/ 482745 h 1867037"/>
                  <a:gd name="connsiteX10659" fmla="*/ 725633 w 2417513"/>
                  <a:gd name="connsiteY10659" fmla="*/ 482139 h 1867037"/>
                  <a:gd name="connsiteX10660" fmla="*/ 727148 w 2417513"/>
                  <a:gd name="connsiteY10660" fmla="*/ 482442 h 1867037"/>
                  <a:gd name="connsiteX10661" fmla="*/ 731088 w 2417513"/>
                  <a:gd name="connsiteY10661" fmla="*/ 484109 h 1867037"/>
                  <a:gd name="connsiteX10662" fmla="*/ 734270 w 2417513"/>
                  <a:gd name="connsiteY10662" fmla="*/ 484715 h 1867037"/>
                  <a:gd name="connsiteX10663" fmla="*/ 735482 w 2417513"/>
                  <a:gd name="connsiteY10663" fmla="*/ 481836 h 1867037"/>
                  <a:gd name="connsiteX10664" fmla="*/ 736846 w 2417513"/>
                  <a:gd name="connsiteY10664" fmla="*/ 476230 h 1867037"/>
                  <a:gd name="connsiteX10665" fmla="*/ 737452 w 2417513"/>
                  <a:gd name="connsiteY10665" fmla="*/ 474866 h 1867037"/>
                  <a:gd name="connsiteX10666" fmla="*/ 738512 w 2417513"/>
                  <a:gd name="connsiteY10666" fmla="*/ 473957 h 1867037"/>
                  <a:gd name="connsiteX10667" fmla="*/ 739421 w 2417513"/>
                  <a:gd name="connsiteY10667" fmla="*/ 474260 h 1867037"/>
                  <a:gd name="connsiteX10668" fmla="*/ 741240 w 2417513"/>
                  <a:gd name="connsiteY10668" fmla="*/ 476533 h 1867037"/>
                  <a:gd name="connsiteX10669" fmla="*/ 742300 w 2417513"/>
                  <a:gd name="connsiteY10669" fmla="*/ 477290 h 1867037"/>
                  <a:gd name="connsiteX10670" fmla="*/ 750179 w 2417513"/>
                  <a:gd name="connsiteY10670" fmla="*/ 475320 h 1867037"/>
                  <a:gd name="connsiteX10671" fmla="*/ 753513 w 2417513"/>
                  <a:gd name="connsiteY10671" fmla="*/ 475169 h 1867037"/>
                  <a:gd name="connsiteX10672" fmla="*/ 752452 w 2417513"/>
                  <a:gd name="connsiteY10672" fmla="*/ 475926 h 1867037"/>
                  <a:gd name="connsiteX10673" fmla="*/ 745482 w 2417513"/>
                  <a:gd name="connsiteY10673" fmla="*/ 480018 h 1867037"/>
                  <a:gd name="connsiteX10674" fmla="*/ 744118 w 2417513"/>
                  <a:gd name="connsiteY10674" fmla="*/ 481381 h 1867037"/>
                  <a:gd name="connsiteX10675" fmla="*/ 742906 w 2417513"/>
                  <a:gd name="connsiteY10675" fmla="*/ 483351 h 1867037"/>
                  <a:gd name="connsiteX10676" fmla="*/ 741997 w 2417513"/>
                  <a:gd name="connsiteY10676" fmla="*/ 486078 h 1867037"/>
                  <a:gd name="connsiteX10677" fmla="*/ 742755 w 2417513"/>
                  <a:gd name="connsiteY10677" fmla="*/ 487291 h 1867037"/>
                  <a:gd name="connsiteX10678" fmla="*/ 742906 w 2417513"/>
                  <a:gd name="connsiteY10678" fmla="*/ 490472 h 1867037"/>
                  <a:gd name="connsiteX10679" fmla="*/ 743209 w 2417513"/>
                  <a:gd name="connsiteY10679" fmla="*/ 491382 h 1867037"/>
                  <a:gd name="connsiteX10680" fmla="*/ 744573 w 2417513"/>
                  <a:gd name="connsiteY10680" fmla="*/ 492897 h 1867037"/>
                  <a:gd name="connsiteX10681" fmla="*/ 746846 w 2417513"/>
                  <a:gd name="connsiteY10681" fmla="*/ 493806 h 1867037"/>
                  <a:gd name="connsiteX10682" fmla="*/ 756998 w 2417513"/>
                  <a:gd name="connsiteY10682" fmla="*/ 492442 h 1867037"/>
                  <a:gd name="connsiteX10683" fmla="*/ 767604 w 2417513"/>
                  <a:gd name="connsiteY10683" fmla="*/ 491685 h 1867037"/>
                  <a:gd name="connsiteX10684" fmla="*/ 770180 w 2417513"/>
                  <a:gd name="connsiteY10684" fmla="*/ 490927 h 1867037"/>
                  <a:gd name="connsiteX10685" fmla="*/ 771695 w 2417513"/>
                  <a:gd name="connsiteY10685" fmla="*/ 490018 h 1867037"/>
                  <a:gd name="connsiteX10686" fmla="*/ 774271 w 2417513"/>
                  <a:gd name="connsiteY10686" fmla="*/ 487291 h 1867037"/>
                  <a:gd name="connsiteX10687" fmla="*/ 775635 w 2417513"/>
                  <a:gd name="connsiteY10687" fmla="*/ 486381 h 1867037"/>
                  <a:gd name="connsiteX10688" fmla="*/ 777150 w 2417513"/>
                  <a:gd name="connsiteY10688" fmla="*/ 485927 h 1867037"/>
                  <a:gd name="connsiteX10689" fmla="*/ 780332 w 2417513"/>
                  <a:gd name="connsiteY10689" fmla="*/ 486533 h 1867037"/>
                  <a:gd name="connsiteX10690" fmla="*/ 786393 w 2417513"/>
                  <a:gd name="connsiteY10690" fmla="*/ 490169 h 1867037"/>
                  <a:gd name="connsiteX10691" fmla="*/ 787453 w 2417513"/>
                  <a:gd name="connsiteY10691" fmla="*/ 490169 h 1867037"/>
                  <a:gd name="connsiteX10692" fmla="*/ 793363 w 2417513"/>
                  <a:gd name="connsiteY10692" fmla="*/ 489715 h 1867037"/>
                  <a:gd name="connsiteX10693" fmla="*/ 799424 w 2417513"/>
                  <a:gd name="connsiteY10693" fmla="*/ 488351 h 1867037"/>
                  <a:gd name="connsiteX10694" fmla="*/ 803818 w 2417513"/>
                  <a:gd name="connsiteY10694" fmla="*/ 488200 h 1867037"/>
                  <a:gd name="connsiteX10695" fmla="*/ 807909 w 2417513"/>
                  <a:gd name="connsiteY10695" fmla="*/ 486987 h 1867037"/>
                  <a:gd name="connsiteX10696" fmla="*/ 815939 w 2417513"/>
                  <a:gd name="connsiteY10696" fmla="*/ 483199 h 1867037"/>
                  <a:gd name="connsiteX10697" fmla="*/ 818364 w 2417513"/>
                  <a:gd name="connsiteY10697" fmla="*/ 483503 h 1867037"/>
                  <a:gd name="connsiteX10698" fmla="*/ 820030 w 2417513"/>
                  <a:gd name="connsiteY10698" fmla="*/ 485169 h 1867037"/>
                  <a:gd name="connsiteX10699" fmla="*/ 818818 w 2417513"/>
                  <a:gd name="connsiteY10699" fmla="*/ 486836 h 1867037"/>
                  <a:gd name="connsiteX10700" fmla="*/ 813970 w 2417513"/>
                  <a:gd name="connsiteY10700" fmla="*/ 490624 h 1867037"/>
                  <a:gd name="connsiteX10701" fmla="*/ 807303 w 2417513"/>
                  <a:gd name="connsiteY10701" fmla="*/ 494564 h 1867037"/>
                  <a:gd name="connsiteX10702" fmla="*/ 802757 w 2417513"/>
                  <a:gd name="connsiteY10702" fmla="*/ 496533 h 1867037"/>
                  <a:gd name="connsiteX10703" fmla="*/ 799727 w 2417513"/>
                  <a:gd name="connsiteY10703" fmla="*/ 497291 h 1867037"/>
                  <a:gd name="connsiteX10704" fmla="*/ 795029 w 2417513"/>
                  <a:gd name="connsiteY10704" fmla="*/ 497594 h 1867037"/>
                  <a:gd name="connsiteX10705" fmla="*/ 788514 w 2417513"/>
                  <a:gd name="connsiteY10705" fmla="*/ 497139 h 1867037"/>
                  <a:gd name="connsiteX10706" fmla="*/ 775635 w 2417513"/>
                  <a:gd name="connsiteY10706" fmla="*/ 498048 h 1867037"/>
                  <a:gd name="connsiteX10707" fmla="*/ 770938 w 2417513"/>
                  <a:gd name="connsiteY10707" fmla="*/ 499109 h 1867037"/>
                  <a:gd name="connsiteX10708" fmla="*/ 757604 w 2417513"/>
                  <a:gd name="connsiteY10708" fmla="*/ 504564 h 1867037"/>
                  <a:gd name="connsiteX10709" fmla="*/ 742906 w 2417513"/>
                  <a:gd name="connsiteY10709" fmla="*/ 508049 h 1867037"/>
                  <a:gd name="connsiteX10710" fmla="*/ 735482 w 2417513"/>
                  <a:gd name="connsiteY10710" fmla="*/ 510625 h 1867037"/>
                  <a:gd name="connsiteX10711" fmla="*/ 730482 w 2417513"/>
                  <a:gd name="connsiteY10711" fmla="*/ 513352 h 1867037"/>
                  <a:gd name="connsiteX10712" fmla="*/ 728663 w 2417513"/>
                  <a:gd name="connsiteY10712" fmla="*/ 515776 h 1867037"/>
                  <a:gd name="connsiteX10713" fmla="*/ 731694 w 2417513"/>
                  <a:gd name="connsiteY10713" fmla="*/ 519413 h 1867037"/>
                  <a:gd name="connsiteX10714" fmla="*/ 734270 w 2417513"/>
                  <a:gd name="connsiteY10714" fmla="*/ 521080 h 1867037"/>
                  <a:gd name="connsiteX10715" fmla="*/ 743512 w 2417513"/>
                  <a:gd name="connsiteY10715" fmla="*/ 525625 h 1867037"/>
                  <a:gd name="connsiteX10716" fmla="*/ 748058 w 2417513"/>
                  <a:gd name="connsiteY10716" fmla="*/ 527595 h 1867037"/>
                  <a:gd name="connsiteX10717" fmla="*/ 752301 w 2417513"/>
                  <a:gd name="connsiteY10717" fmla="*/ 528807 h 1867037"/>
                  <a:gd name="connsiteX10718" fmla="*/ 765938 w 2417513"/>
                  <a:gd name="connsiteY10718" fmla="*/ 530322 h 1867037"/>
                  <a:gd name="connsiteX10719" fmla="*/ 779574 w 2417513"/>
                  <a:gd name="connsiteY10719" fmla="*/ 529565 h 1867037"/>
                  <a:gd name="connsiteX10720" fmla="*/ 801242 w 2417513"/>
                  <a:gd name="connsiteY10720" fmla="*/ 525019 h 1867037"/>
                  <a:gd name="connsiteX10721" fmla="*/ 813363 w 2417513"/>
                  <a:gd name="connsiteY10721" fmla="*/ 520474 h 1867037"/>
                  <a:gd name="connsiteX10722" fmla="*/ 822909 w 2417513"/>
                  <a:gd name="connsiteY10722" fmla="*/ 517595 h 1867037"/>
                  <a:gd name="connsiteX10723" fmla="*/ 828213 w 2417513"/>
                  <a:gd name="connsiteY10723" fmla="*/ 514867 h 1867037"/>
                  <a:gd name="connsiteX10724" fmla="*/ 831546 w 2417513"/>
                  <a:gd name="connsiteY10724" fmla="*/ 511382 h 1867037"/>
                  <a:gd name="connsiteX10725" fmla="*/ 833819 w 2417513"/>
                  <a:gd name="connsiteY10725" fmla="*/ 509867 h 1867037"/>
                  <a:gd name="connsiteX10726" fmla="*/ 838061 w 2417513"/>
                  <a:gd name="connsiteY10726" fmla="*/ 508049 h 1867037"/>
                  <a:gd name="connsiteX10727" fmla="*/ 843819 w 2417513"/>
                  <a:gd name="connsiteY10727" fmla="*/ 506685 h 1867037"/>
                  <a:gd name="connsiteX10728" fmla="*/ 862153 w 2417513"/>
                  <a:gd name="connsiteY10728" fmla="*/ 504412 h 1867037"/>
                  <a:gd name="connsiteX10729" fmla="*/ 875790 w 2417513"/>
                  <a:gd name="connsiteY10729" fmla="*/ 497442 h 1867037"/>
                  <a:gd name="connsiteX10730" fmla="*/ 880487 w 2417513"/>
                  <a:gd name="connsiteY10730" fmla="*/ 494412 h 1867037"/>
                  <a:gd name="connsiteX10731" fmla="*/ 885033 w 2417513"/>
                  <a:gd name="connsiteY10731" fmla="*/ 495776 h 1867037"/>
                  <a:gd name="connsiteX10732" fmla="*/ 885942 w 2417513"/>
                  <a:gd name="connsiteY10732" fmla="*/ 496685 h 1867037"/>
                  <a:gd name="connsiteX10733" fmla="*/ 884881 w 2417513"/>
                  <a:gd name="connsiteY10733" fmla="*/ 497594 h 1867037"/>
                  <a:gd name="connsiteX10734" fmla="*/ 882608 w 2417513"/>
                  <a:gd name="connsiteY10734" fmla="*/ 498352 h 1867037"/>
                  <a:gd name="connsiteX10735" fmla="*/ 886851 w 2417513"/>
                  <a:gd name="connsiteY10735" fmla="*/ 500170 h 1867037"/>
                  <a:gd name="connsiteX10736" fmla="*/ 890184 w 2417513"/>
                  <a:gd name="connsiteY10736" fmla="*/ 500776 h 1867037"/>
                  <a:gd name="connsiteX10737" fmla="*/ 893518 w 2417513"/>
                  <a:gd name="connsiteY10737" fmla="*/ 501079 h 1867037"/>
                  <a:gd name="connsiteX10738" fmla="*/ 897003 w 2417513"/>
                  <a:gd name="connsiteY10738" fmla="*/ 500624 h 1867037"/>
                  <a:gd name="connsiteX10739" fmla="*/ 902609 w 2417513"/>
                  <a:gd name="connsiteY10739" fmla="*/ 498655 h 1867037"/>
                  <a:gd name="connsiteX10740" fmla="*/ 908216 w 2417513"/>
                  <a:gd name="connsiteY10740" fmla="*/ 497897 h 1867037"/>
                  <a:gd name="connsiteX10741" fmla="*/ 918064 w 2417513"/>
                  <a:gd name="connsiteY10741" fmla="*/ 500473 h 1867037"/>
                  <a:gd name="connsiteX10742" fmla="*/ 926550 w 2417513"/>
                  <a:gd name="connsiteY10742" fmla="*/ 501836 h 1867037"/>
                  <a:gd name="connsiteX10743" fmla="*/ 929277 w 2417513"/>
                  <a:gd name="connsiteY10743" fmla="*/ 501836 h 1867037"/>
                  <a:gd name="connsiteX10744" fmla="*/ 931853 w 2417513"/>
                  <a:gd name="connsiteY10744" fmla="*/ 501230 h 1867037"/>
                  <a:gd name="connsiteX10745" fmla="*/ 942005 w 2417513"/>
                  <a:gd name="connsiteY10745" fmla="*/ 497139 h 1867037"/>
                  <a:gd name="connsiteX10746" fmla="*/ 955490 w 2417513"/>
                  <a:gd name="connsiteY10746" fmla="*/ 493048 h 1867037"/>
                  <a:gd name="connsiteX10747" fmla="*/ 958823 w 2417513"/>
                  <a:gd name="connsiteY10747" fmla="*/ 490775 h 1867037"/>
                  <a:gd name="connsiteX10748" fmla="*/ 961854 w 2417513"/>
                  <a:gd name="connsiteY10748" fmla="*/ 487442 h 1867037"/>
                  <a:gd name="connsiteX10749" fmla="*/ 966248 w 2417513"/>
                  <a:gd name="connsiteY10749" fmla="*/ 475169 h 1867037"/>
                  <a:gd name="connsiteX10750" fmla="*/ 966854 w 2417513"/>
                  <a:gd name="connsiteY10750" fmla="*/ 470169 h 1867037"/>
                  <a:gd name="connsiteX10751" fmla="*/ 971248 w 2417513"/>
                  <a:gd name="connsiteY10751" fmla="*/ 462896 h 1867037"/>
                  <a:gd name="connsiteX10752" fmla="*/ 972309 w 2417513"/>
                  <a:gd name="connsiteY10752" fmla="*/ 458956 h 1867037"/>
                  <a:gd name="connsiteX10753" fmla="*/ 972309 w 2417513"/>
                  <a:gd name="connsiteY10753" fmla="*/ 456532 h 1867037"/>
                  <a:gd name="connsiteX10754" fmla="*/ 970036 w 2417513"/>
                  <a:gd name="connsiteY10754" fmla="*/ 448956 h 1867037"/>
                  <a:gd name="connsiteX10755" fmla="*/ 968975 w 2417513"/>
                  <a:gd name="connsiteY10755" fmla="*/ 446228 h 1867037"/>
                  <a:gd name="connsiteX10756" fmla="*/ 968218 w 2417513"/>
                  <a:gd name="connsiteY10756" fmla="*/ 445319 h 1867037"/>
                  <a:gd name="connsiteX10757" fmla="*/ 966096 w 2417513"/>
                  <a:gd name="connsiteY10757" fmla="*/ 444107 h 1867037"/>
                  <a:gd name="connsiteX10758" fmla="*/ 960793 w 2417513"/>
                  <a:gd name="connsiteY10758" fmla="*/ 441683 h 1867037"/>
                  <a:gd name="connsiteX10759" fmla="*/ 947308 w 2417513"/>
                  <a:gd name="connsiteY10759" fmla="*/ 438804 h 1867037"/>
                  <a:gd name="connsiteX10760" fmla="*/ 943671 w 2417513"/>
                  <a:gd name="connsiteY10760" fmla="*/ 439258 h 1867037"/>
                  <a:gd name="connsiteX10761" fmla="*/ 939580 w 2417513"/>
                  <a:gd name="connsiteY10761" fmla="*/ 440925 h 1867037"/>
                  <a:gd name="connsiteX10762" fmla="*/ 936095 w 2417513"/>
                  <a:gd name="connsiteY10762" fmla="*/ 443653 h 1867037"/>
                  <a:gd name="connsiteX10763" fmla="*/ 934883 w 2417513"/>
                  <a:gd name="connsiteY10763" fmla="*/ 445016 h 1867037"/>
                  <a:gd name="connsiteX10764" fmla="*/ 934429 w 2417513"/>
                  <a:gd name="connsiteY10764" fmla="*/ 446228 h 1867037"/>
                  <a:gd name="connsiteX10765" fmla="*/ 935641 w 2417513"/>
                  <a:gd name="connsiteY10765" fmla="*/ 449410 h 1867037"/>
                  <a:gd name="connsiteX10766" fmla="*/ 937307 w 2417513"/>
                  <a:gd name="connsiteY10766" fmla="*/ 451077 h 1867037"/>
                  <a:gd name="connsiteX10767" fmla="*/ 939277 w 2417513"/>
                  <a:gd name="connsiteY10767" fmla="*/ 452289 h 1867037"/>
                  <a:gd name="connsiteX10768" fmla="*/ 939126 w 2417513"/>
                  <a:gd name="connsiteY10768" fmla="*/ 452744 h 1867037"/>
                  <a:gd name="connsiteX10769" fmla="*/ 933671 w 2417513"/>
                  <a:gd name="connsiteY10769" fmla="*/ 454259 h 1867037"/>
                  <a:gd name="connsiteX10770" fmla="*/ 933368 w 2417513"/>
                  <a:gd name="connsiteY10770" fmla="*/ 456532 h 1867037"/>
                  <a:gd name="connsiteX10771" fmla="*/ 933368 w 2417513"/>
                  <a:gd name="connsiteY10771" fmla="*/ 459411 h 1867037"/>
                  <a:gd name="connsiteX10772" fmla="*/ 933065 w 2417513"/>
                  <a:gd name="connsiteY10772" fmla="*/ 460017 h 1867037"/>
                  <a:gd name="connsiteX10773" fmla="*/ 931550 w 2417513"/>
                  <a:gd name="connsiteY10773" fmla="*/ 454865 h 1867037"/>
                  <a:gd name="connsiteX10774" fmla="*/ 929428 w 2417513"/>
                  <a:gd name="connsiteY10774" fmla="*/ 450774 h 1867037"/>
                  <a:gd name="connsiteX10775" fmla="*/ 928671 w 2417513"/>
                  <a:gd name="connsiteY10775" fmla="*/ 449713 h 1867037"/>
                  <a:gd name="connsiteX10776" fmla="*/ 927156 w 2417513"/>
                  <a:gd name="connsiteY10776" fmla="*/ 448804 h 1867037"/>
                  <a:gd name="connsiteX10777" fmla="*/ 924883 w 2417513"/>
                  <a:gd name="connsiteY10777" fmla="*/ 448047 h 1867037"/>
                  <a:gd name="connsiteX10778" fmla="*/ 919428 w 2417513"/>
                  <a:gd name="connsiteY10778" fmla="*/ 447138 h 1867037"/>
                  <a:gd name="connsiteX10779" fmla="*/ 916095 w 2417513"/>
                  <a:gd name="connsiteY10779" fmla="*/ 447441 h 1867037"/>
                  <a:gd name="connsiteX10780" fmla="*/ 911701 w 2417513"/>
                  <a:gd name="connsiteY10780" fmla="*/ 448804 h 1867037"/>
                  <a:gd name="connsiteX10781" fmla="*/ 905791 w 2417513"/>
                  <a:gd name="connsiteY10781" fmla="*/ 453047 h 1867037"/>
                  <a:gd name="connsiteX10782" fmla="*/ 904882 w 2417513"/>
                  <a:gd name="connsiteY10782" fmla="*/ 453350 h 1867037"/>
                  <a:gd name="connsiteX10783" fmla="*/ 902912 w 2417513"/>
                  <a:gd name="connsiteY10783" fmla="*/ 452895 h 1867037"/>
                  <a:gd name="connsiteX10784" fmla="*/ 904276 w 2417513"/>
                  <a:gd name="connsiteY10784" fmla="*/ 450926 h 1867037"/>
                  <a:gd name="connsiteX10785" fmla="*/ 910185 w 2417513"/>
                  <a:gd name="connsiteY10785" fmla="*/ 445319 h 1867037"/>
                  <a:gd name="connsiteX10786" fmla="*/ 910791 w 2417513"/>
                  <a:gd name="connsiteY10786" fmla="*/ 444410 h 1867037"/>
                  <a:gd name="connsiteX10787" fmla="*/ 911094 w 2417513"/>
                  <a:gd name="connsiteY10787" fmla="*/ 443350 h 1867037"/>
                  <a:gd name="connsiteX10788" fmla="*/ 911094 w 2417513"/>
                  <a:gd name="connsiteY10788" fmla="*/ 442137 h 1867037"/>
                  <a:gd name="connsiteX10789" fmla="*/ 909579 w 2417513"/>
                  <a:gd name="connsiteY10789" fmla="*/ 439865 h 1867037"/>
                  <a:gd name="connsiteX10790" fmla="*/ 907458 w 2417513"/>
                  <a:gd name="connsiteY10790" fmla="*/ 438652 h 1867037"/>
                  <a:gd name="connsiteX10791" fmla="*/ 902912 w 2417513"/>
                  <a:gd name="connsiteY10791" fmla="*/ 438198 h 1867037"/>
                  <a:gd name="connsiteX10792" fmla="*/ 898821 w 2417513"/>
                  <a:gd name="connsiteY10792" fmla="*/ 438804 h 1867037"/>
                  <a:gd name="connsiteX10793" fmla="*/ 895336 w 2417513"/>
                  <a:gd name="connsiteY10793" fmla="*/ 438652 h 1867037"/>
                  <a:gd name="connsiteX10794" fmla="*/ 892760 w 2417513"/>
                  <a:gd name="connsiteY10794" fmla="*/ 438046 h 1867037"/>
                  <a:gd name="connsiteX10795" fmla="*/ 892306 w 2417513"/>
                  <a:gd name="connsiteY10795" fmla="*/ 436986 h 1867037"/>
                  <a:gd name="connsiteX10796" fmla="*/ 892912 w 2417513"/>
                  <a:gd name="connsiteY10796" fmla="*/ 435319 h 1867037"/>
                  <a:gd name="connsiteX10797" fmla="*/ 895033 w 2417513"/>
                  <a:gd name="connsiteY10797" fmla="*/ 433198 h 1867037"/>
                  <a:gd name="connsiteX10798" fmla="*/ 898518 w 2417513"/>
                  <a:gd name="connsiteY10798" fmla="*/ 430622 h 1867037"/>
                  <a:gd name="connsiteX10799" fmla="*/ 900033 w 2417513"/>
                  <a:gd name="connsiteY10799" fmla="*/ 428804 h 1867037"/>
                  <a:gd name="connsiteX10800" fmla="*/ 898064 w 2417513"/>
                  <a:gd name="connsiteY10800" fmla="*/ 423349 h 1867037"/>
                  <a:gd name="connsiteX10801" fmla="*/ 893973 w 2417513"/>
                  <a:gd name="connsiteY10801" fmla="*/ 419864 h 1867037"/>
                  <a:gd name="connsiteX10802" fmla="*/ 889427 w 2417513"/>
                  <a:gd name="connsiteY10802" fmla="*/ 417136 h 1867037"/>
                  <a:gd name="connsiteX10803" fmla="*/ 889124 w 2417513"/>
                  <a:gd name="connsiteY10803" fmla="*/ 416682 h 1867037"/>
                  <a:gd name="connsiteX10804" fmla="*/ 888669 w 2417513"/>
                  <a:gd name="connsiteY10804" fmla="*/ 413500 h 1867037"/>
                  <a:gd name="connsiteX10805" fmla="*/ 888063 w 2417513"/>
                  <a:gd name="connsiteY10805" fmla="*/ 411682 h 1867037"/>
                  <a:gd name="connsiteX10806" fmla="*/ 886245 w 2417513"/>
                  <a:gd name="connsiteY10806" fmla="*/ 408803 h 1867037"/>
                  <a:gd name="connsiteX10807" fmla="*/ 886093 w 2417513"/>
                  <a:gd name="connsiteY10807" fmla="*/ 407591 h 1867037"/>
                  <a:gd name="connsiteX10808" fmla="*/ 886700 w 2417513"/>
                  <a:gd name="connsiteY10808" fmla="*/ 406378 h 1867037"/>
                  <a:gd name="connsiteX10809" fmla="*/ 889427 w 2417513"/>
                  <a:gd name="connsiteY10809" fmla="*/ 403500 h 1867037"/>
                  <a:gd name="connsiteX10810" fmla="*/ 890336 w 2417513"/>
                  <a:gd name="connsiteY10810" fmla="*/ 401833 h 1867037"/>
                  <a:gd name="connsiteX10811" fmla="*/ 890639 w 2417513"/>
                  <a:gd name="connsiteY10811" fmla="*/ 400166 h 1867037"/>
                  <a:gd name="connsiteX10812" fmla="*/ 889882 w 2417513"/>
                  <a:gd name="connsiteY10812" fmla="*/ 399257 h 1867037"/>
                  <a:gd name="connsiteX10813" fmla="*/ 888215 w 2417513"/>
                  <a:gd name="connsiteY10813" fmla="*/ 399105 h 1867037"/>
                  <a:gd name="connsiteX10814" fmla="*/ 880639 w 2417513"/>
                  <a:gd name="connsiteY10814" fmla="*/ 395469 h 1867037"/>
                  <a:gd name="connsiteX10815" fmla="*/ 873366 w 2417513"/>
                  <a:gd name="connsiteY10815" fmla="*/ 396075 h 1867037"/>
                  <a:gd name="connsiteX10816" fmla="*/ 870032 w 2417513"/>
                  <a:gd name="connsiteY10816" fmla="*/ 397287 h 1867037"/>
                  <a:gd name="connsiteX10817" fmla="*/ 866850 w 2417513"/>
                  <a:gd name="connsiteY10817" fmla="*/ 399105 h 1867037"/>
                  <a:gd name="connsiteX10818" fmla="*/ 862305 w 2417513"/>
                  <a:gd name="connsiteY10818" fmla="*/ 403045 h 1867037"/>
                  <a:gd name="connsiteX10819" fmla="*/ 852456 w 2417513"/>
                  <a:gd name="connsiteY10819" fmla="*/ 412742 h 1867037"/>
                  <a:gd name="connsiteX10820" fmla="*/ 849274 w 2417513"/>
                  <a:gd name="connsiteY10820" fmla="*/ 414864 h 1867037"/>
                  <a:gd name="connsiteX10821" fmla="*/ 841395 w 2417513"/>
                  <a:gd name="connsiteY10821" fmla="*/ 418652 h 1867037"/>
                  <a:gd name="connsiteX10822" fmla="*/ 840334 w 2417513"/>
                  <a:gd name="connsiteY10822" fmla="*/ 419712 h 1867037"/>
                  <a:gd name="connsiteX10823" fmla="*/ 840183 w 2417513"/>
                  <a:gd name="connsiteY10823" fmla="*/ 421379 h 1867037"/>
                  <a:gd name="connsiteX10824" fmla="*/ 840940 w 2417513"/>
                  <a:gd name="connsiteY10824" fmla="*/ 423500 h 1867037"/>
                  <a:gd name="connsiteX10825" fmla="*/ 842001 w 2417513"/>
                  <a:gd name="connsiteY10825" fmla="*/ 425016 h 1867037"/>
                  <a:gd name="connsiteX10826" fmla="*/ 843213 w 2417513"/>
                  <a:gd name="connsiteY10826" fmla="*/ 425925 h 1867037"/>
                  <a:gd name="connsiteX10827" fmla="*/ 851244 w 2417513"/>
                  <a:gd name="connsiteY10827" fmla="*/ 429713 h 1867037"/>
                  <a:gd name="connsiteX10828" fmla="*/ 856698 w 2417513"/>
                  <a:gd name="connsiteY10828" fmla="*/ 430319 h 1867037"/>
                  <a:gd name="connsiteX10829" fmla="*/ 862759 w 2417513"/>
                  <a:gd name="connsiteY10829" fmla="*/ 434107 h 1867037"/>
                  <a:gd name="connsiteX10830" fmla="*/ 864274 w 2417513"/>
                  <a:gd name="connsiteY10830" fmla="*/ 436077 h 1867037"/>
                  <a:gd name="connsiteX10831" fmla="*/ 864578 w 2417513"/>
                  <a:gd name="connsiteY10831" fmla="*/ 438198 h 1867037"/>
                  <a:gd name="connsiteX10832" fmla="*/ 864426 w 2417513"/>
                  <a:gd name="connsiteY10832" fmla="*/ 439865 h 1867037"/>
                  <a:gd name="connsiteX10833" fmla="*/ 863668 w 2417513"/>
                  <a:gd name="connsiteY10833" fmla="*/ 441077 h 1867037"/>
                  <a:gd name="connsiteX10834" fmla="*/ 852304 w 2417513"/>
                  <a:gd name="connsiteY10834" fmla="*/ 446228 h 1867037"/>
                  <a:gd name="connsiteX10835" fmla="*/ 854274 w 2417513"/>
                  <a:gd name="connsiteY10835" fmla="*/ 449865 h 1867037"/>
                  <a:gd name="connsiteX10836" fmla="*/ 877608 w 2417513"/>
                  <a:gd name="connsiteY10836" fmla="*/ 459108 h 1867037"/>
                  <a:gd name="connsiteX10837" fmla="*/ 878366 w 2417513"/>
                  <a:gd name="connsiteY10837" fmla="*/ 460471 h 1867037"/>
                  <a:gd name="connsiteX10838" fmla="*/ 878820 w 2417513"/>
                  <a:gd name="connsiteY10838" fmla="*/ 463350 h 1867037"/>
                  <a:gd name="connsiteX10839" fmla="*/ 878063 w 2417513"/>
                  <a:gd name="connsiteY10839" fmla="*/ 465320 h 1867037"/>
                  <a:gd name="connsiteX10840" fmla="*/ 877154 w 2417513"/>
                  <a:gd name="connsiteY10840" fmla="*/ 467896 h 1867037"/>
                  <a:gd name="connsiteX10841" fmla="*/ 875639 w 2417513"/>
                  <a:gd name="connsiteY10841" fmla="*/ 469411 h 1867037"/>
                  <a:gd name="connsiteX10842" fmla="*/ 873366 w 2417513"/>
                  <a:gd name="connsiteY10842" fmla="*/ 469866 h 1867037"/>
                  <a:gd name="connsiteX10843" fmla="*/ 835789 w 2417513"/>
                  <a:gd name="connsiteY10843" fmla="*/ 467138 h 1867037"/>
                  <a:gd name="connsiteX10844" fmla="*/ 828516 w 2417513"/>
                  <a:gd name="connsiteY10844" fmla="*/ 466835 h 1867037"/>
                  <a:gd name="connsiteX10845" fmla="*/ 823970 w 2417513"/>
                  <a:gd name="connsiteY10845" fmla="*/ 467593 h 1867037"/>
                  <a:gd name="connsiteX10846" fmla="*/ 819576 w 2417513"/>
                  <a:gd name="connsiteY10846" fmla="*/ 467441 h 1867037"/>
                  <a:gd name="connsiteX10847" fmla="*/ 816546 w 2417513"/>
                  <a:gd name="connsiteY10847" fmla="*/ 466229 h 1867037"/>
                  <a:gd name="connsiteX10848" fmla="*/ 813515 w 2417513"/>
                  <a:gd name="connsiteY10848" fmla="*/ 463805 h 1867037"/>
                  <a:gd name="connsiteX10849" fmla="*/ 810788 w 2417513"/>
                  <a:gd name="connsiteY10849" fmla="*/ 460168 h 1867037"/>
                  <a:gd name="connsiteX10850" fmla="*/ 808515 w 2417513"/>
                  <a:gd name="connsiteY10850" fmla="*/ 455320 h 1867037"/>
                  <a:gd name="connsiteX10851" fmla="*/ 806848 w 2417513"/>
                  <a:gd name="connsiteY10851" fmla="*/ 452592 h 1867037"/>
                  <a:gd name="connsiteX10852" fmla="*/ 805939 w 2417513"/>
                  <a:gd name="connsiteY10852" fmla="*/ 451986 h 1867037"/>
                  <a:gd name="connsiteX10853" fmla="*/ 801545 w 2417513"/>
                  <a:gd name="connsiteY10853" fmla="*/ 451380 h 1867037"/>
                  <a:gd name="connsiteX10854" fmla="*/ 796999 w 2417513"/>
                  <a:gd name="connsiteY10854" fmla="*/ 451683 h 1867037"/>
                  <a:gd name="connsiteX10855" fmla="*/ 792151 w 2417513"/>
                  <a:gd name="connsiteY10855" fmla="*/ 451229 h 1867037"/>
                  <a:gd name="connsiteX10856" fmla="*/ 791545 w 2417513"/>
                  <a:gd name="connsiteY10856" fmla="*/ 450471 h 1867037"/>
                  <a:gd name="connsiteX10857" fmla="*/ 792454 w 2417513"/>
                  <a:gd name="connsiteY10857" fmla="*/ 449410 h 1867037"/>
                  <a:gd name="connsiteX10858" fmla="*/ 797302 w 2417513"/>
                  <a:gd name="connsiteY10858" fmla="*/ 446986 h 1867037"/>
                  <a:gd name="connsiteX10859" fmla="*/ 797302 w 2417513"/>
                  <a:gd name="connsiteY10859" fmla="*/ 445319 h 1867037"/>
                  <a:gd name="connsiteX10860" fmla="*/ 784423 w 2417513"/>
                  <a:gd name="connsiteY10860" fmla="*/ 437895 h 1867037"/>
                  <a:gd name="connsiteX10861" fmla="*/ 774423 w 2417513"/>
                  <a:gd name="connsiteY10861" fmla="*/ 430622 h 1867037"/>
                  <a:gd name="connsiteX10862" fmla="*/ 766695 w 2417513"/>
                  <a:gd name="connsiteY10862" fmla="*/ 428197 h 1867037"/>
                  <a:gd name="connsiteX10863" fmla="*/ 761392 w 2417513"/>
                  <a:gd name="connsiteY10863" fmla="*/ 427440 h 1867037"/>
                  <a:gd name="connsiteX10864" fmla="*/ 756089 w 2417513"/>
                  <a:gd name="connsiteY10864" fmla="*/ 427894 h 1867037"/>
                  <a:gd name="connsiteX10865" fmla="*/ 743512 w 2417513"/>
                  <a:gd name="connsiteY10865" fmla="*/ 430319 h 1867037"/>
                  <a:gd name="connsiteX10866" fmla="*/ 740937 w 2417513"/>
                  <a:gd name="connsiteY10866" fmla="*/ 429258 h 1867037"/>
                  <a:gd name="connsiteX10867" fmla="*/ 642751 w 2417513"/>
                  <a:gd name="connsiteY10867" fmla="*/ 436683 h 1867037"/>
                  <a:gd name="connsiteX10868" fmla="*/ 639418 w 2417513"/>
                  <a:gd name="connsiteY10868" fmla="*/ 435773 h 1867037"/>
                  <a:gd name="connsiteX10869" fmla="*/ 636236 w 2417513"/>
                  <a:gd name="connsiteY10869" fmla="*/ 435925 h 1867037"/>
                  <a:gd name="connsiteX10870" fmla="*/ 632448 w 2417513"/>
                  <a:gd name="connsiteY10870" fmla="*/ 438046 h 1867037"/>
                  <a:gd name="connsiteX10871" fmla="*/ 625629 w 2417513"/>
                  <a:gd name="connsiteY10871" fmla="*/ 442592 h 1867037"/>
                  <a:gd name="connsiteX10872" fmla="*/ 618962 w 2417513"/>
                  <a:gd name="connsiteY10872" fmla="*/ 444713 h 1867037"/>
                  <a:gd name="connsiteX10873" fmla="*/ 612144 w 2417513"/>
                  <a:gd name="connsiteY10873" fmla="*/ 447592 h 1867037"/>
                  <a:gd name="connsiteX10874" fmla="*/ 601840 w 2417513"/>
                  <a:gd name="connsiteY10874" fmla="*/ 455320 h 1867037"/>
                  <a:gd name="connsiteX10875" fmla="*/ 595780 w 2417513"/>
                  <a:gd name="connsiteY10875" fmla="*/ 459259 h 1867037"/>
                  <a:gd name="connsiteX10876" fmla="*/ 593204 w 2417513"/>
                  <a:gd name="connsiteY10876" fmla="*/ 461229 h 1867037"/>
                  <a:gd name="connsiteX10877" fmla="*/ 591234 w 2417513"/>
                  <a:gd name="connsiteY10877" fmla="*/ 463805 h 1867037"/>
                  <a:gd name="connsiteX10878" fmla="*/ 591537 w 2417513"/>
                  <a:gd name="connsiteY10878" fmla="*/ 464714 h 1867037"/>
                  <a:gd name="connsiteX10879" fmla="*/ 593658 w 2417513"/>
                  <a:gd name="connsiteY10879" fmla="*/ 465623 h 1867037"/>
                  <a:gd name="connsiteX10880" fmla="*/ 599719 w 2417513"/>
                  <a:gd name="connsiteY10880" fmla="*/ 466532 h 1867037"/>
                  <a:gd name="connsiteX10881" fmla="*/ 607144 w 2417513"/>
                  <a:gd name="connsiteY10881" fmla="*/ 469108 h 1867037"/>
                  <a:gd name="connsiteX10882" fmla="*/ 612750 w 2417513"/>
                  <a:gd name="connsiteY10882" fmla="*/ 469411 h 1867037"/>
                  <a:gd name="connsiteX10883" fmla="*/ 620629 w 2417513"/>
                  <a:gd name="connsiteY10883" fmla="*/ 465775 h 1867037"/>
                  <a:gd name="connsiteX10884" fmla="*/ 623357 w 2417513"/>
                  <a:gd name="connsiteY10884" fmla="*/ 463956 h 1867037"/>
                  <a:gd name="connsiteX10885" fmla="*/ 632599 w 2417513"/>
                  <a:gd name="connsiteY10885" fmla="*/ 453047 h 1867037"/>
                  <a:gd name="connsiteX10886" fmla="*/ 637448 w 2417513"/>
                  <a:gd name="connsiteY10886" fmla="*/ 446531 h 1867037"/>
                  <a:gd name="connsiteX10887" fmla="*/ 639872 w 2417513"/>
                  <a:gd name="connsiteY10887" fmla="*/ 443956 h 1867037"/>
                  <a:gd name="connsiteX10888" fmla="*/ 643357 w 2417513"/>
                  <a:gd name="connsiteY10888" fmla="*/ 437743 h 1867037"/>
                  <a:gd name="connsiteX10889" fmla="*/ 642751 w 2417513"/>
                  <a:gd name="connsiteY10889" fmla="*/ 436683 h 1867037"/>
                  <a:gd name="connsiteX10890" fmla="*/ 1148679 w 2417513"/>
                  <a:gd name="connsiteY10890" fmla="*/ 407439 h 1867037"/>
                  <a:gd name="connsiteX10891" fmla="*/ 1150194 w 2417513"/>
                  <a:gd name="connsiteY10891" fmla="*/ 411833 h 1867037"/>
                  <a:gd name="connsiteX10892" fmla="*/ 1152467 w 2417513"/>
                  <a:gd name="connsiteY10892" fmla="*/ 415924 h 1867037"/>
                  <a:gd name="connsiteX10893" fmla="*/ 1144891 w 2417513"/>
                  <a:gd name="connsiteY10893" fmla="*/ 416530 h 1867037"/>
                  <a:gd name="connsiteX10894" fmla="*/ 1140497 w 2417513"/>
                  <a:gd name="connsiteY10894" fmla="*/ 412742 h 1867037"/>
                  <a:gd name="connsiteX10895" fmla="*/ 1131254 w 2417513"/>
                  <a:gd name="connsiteY10895" fmla="*/ 406833 h 1867037"/>
                  <a:gd name="connsiteX10896" fmla="*/ 1127315 w 2417513"/>
                  <a:gd name="connsiteY10896" fmla="*/ 406378 h 1867037"/>
                  <a:gd name="connsiteX10897" fmla="*/ 1120345 w 2417513"/>
                  <a:gd name="connsiteY10897" fmla="*/ 406227 h 1867037"/>
                  <a:gd name="connsiteX10898" fmla="*/ 1111556 w 2417513"/>
                  <a:gd name="connsiteY10898" fmla="*/ 407439 h 1867037"/>
                  <a:gd name="connsiteX10899" fmla="*/ 1106405 w 2417513"/>
                  <a:gd name="connsiteY10899" fmla="*/ 409106 h 1867037"/>
                  <a:gd name="connsiteX10900" fmla="*/ 1099435 w 2417513"/>
                  <a:gd name="connsiteY10900" fmla="*/ 412591 h 1867037"/>
                  <a:gd name="connsiteX10901" fmla="*/ 1097768 w 2417513"/>
                  <a:gd name="connsiteY10901" fmla="*/ 415318 h 1867037"/>
                  <a:gd name="connsiteX10902" fmla="*/ 1098223 w 2417513"/>
                  <a:gd name="connsiteY10902" fmla="*/ 416379 h 1867037"/>
                  <a:gd name="connsiteX10903" fmla="*/ 1099738 w 2417513"/>
                  <a:gd name="connsiteY10903" fmla="*/ 417439 h 1867037"/>
                  <a:gd name="connsiteX10904" fmla="*/ 1104435 w 2417513"/>
                  <a:gd name="connsiteY10904" fmla="*/ 419712 h 1867037"/>
                  <a:gd name="connsiteX10905" fmla="*/ 1117466 w 2417513"/>
                  <a:gd name="connsiteY10905" fmla="*/ 421834 h 1867037"/>
                  <a:gd name="connsiteX10906" fmla="*/ 1120042 w 2417513"/>
                  <a:gd name="connsiteY10906" fmla="*/ 422743 h 1867037"/>
                  <a:gd name="connsiteX10907" fmla="*/ 1122920 w 2417513"/>
                  <a:gd name="connsiteY10907" fmla="*/ 424409 h 1867037"/>
                  <a:gd name="connsiteX10908" fmla="*/ 1122769 w 2417513"/>
                  <a:gd name="connsiteY10908" fmla="*/ 425167 h 1867037"/>
                  <a:gd name="connsiteX10909" fmla="*/ 1121102 w 2417513"/>
                  <a:gd name="connsiteY10909" fmla="*/ 425622 h 1867037"/>
                  <a:gd name="connsiteX10910" fmla="*/ 1112466 w 2417513"/>
                  <a:gd name="connsiteY10910" fmla="*/ 426834 h 1867037"/>
                  <a:gd name="connsiteX10911" fmla="*/ 1110950 w 2417513"/>
                  <a:gd name="connsiteY10911" fmla="*/ 427591 h 1867037"/>
                  <a:gd name="connsiteX10912" fmla="*/ 1110950 w 2417513"/>
                  <a:gd name="connsiteY10912" fmla="*/ 428349 h 1867037"/>
                  <a:gd name="connsiteX10913" fmla="*/ 1117314 w 2417513"/>
                  <a:gd name="connsiteY10913" fmla="*/ 430925 h 1867037"/>
                  <a:gd name="connsiteX10914" fmla="*/ 1122314 w 2417513"/>
                  <a:gd name="connsiteY10914" fmla="*/ 431076 h 1867037"/>
                  <a:gd name="connsiteX10915" fmla="*/ 1127315 w 2417513"/>
                  <a:gd name="connsiteY10915" fmla="*/ 432743 h 1867037"/>
                  <a:gd name="connsiteX10916" fmla="*/ 1134891 w 2417513"/>
                  <a:gd name="connsiteY10916" fmla="*/ 433955 h 1867037"/>
                  <a:gd name="connsiteX10917" fmla="*/ 1128072 w 2417513"/>
                  <a:gd name="connsiteY10917" fmla="*/ 434713 h 1867037"/>
                  <a:gd name="connsiteX10918" fmla="*/ 1122314 w 2417513"/>
                  <a:gd name="connsiteY10918" fmla="*/ 434410 h 1867037"/>
                  <a:gd name="connsiteX10919" fmla="*/ 1120042 w 2417513"/>
                  <a:gd name="connsiteY10919" fmla="*/ 434713 h 1867037"/>
                  <a:gd name="connsiteX10920" fmla="*/ 1119284 w 2417513"/>
                  <a:gd name="connsiteY10920" fmla="*/ 435622 h 1867037"/>
                  <a:gd name="connsiteX10921" fmla="*/ 1120951 w 2417513"/>
                  <a:gd name="connsiteY10921" fmla="*/ 438501 h 1867037"/>
                  <a:gd name="connsiteX10922" fmla="*/ 1122920 w 2417513"/>
                  <a:gd name="connsiteY10922" fmla="*/ 440622 h 1867037"/>
                  <a:gd name="connsiteX10923" fmla="*/ 1130800 w 2417513"/>
                  <a:gd name="connsiteY10923" fmla="*/ 444562 h 1867037"/>
                  <a:gd name="connsiteX10924" fmla="*/ 1130496 w 2417513"/>
                  <a:gd name="connsiteY10924" fmla="*/ 445622 h 1867037"/>
                  <a:gd name="connsiteX10925" fmla="*/ 1128527 w 2417513"/>
                  <a:gd name="connsiteY10925" fmla="*/ 446380 h 1867037"/>
                  <a:gd name="connsiteX10926" fmla="*/ 1126102 w 2417513"/>
                  <a:gd name="connsiteY10926" fmla="*/ 446531 h 1867037"/>
                  <a:gd name="connsiteX10927" fmla="*/ 1121860 w 2417513"/>
                  <a:gd name="connsiteY10927" fmla="*/ 445622 h 1867037"/>
                  <a:gd name="connsiteX10928" fmla="*/ 1119587 w 2417513"/>
                  <a:gd name="connsiteY10928" fmla="*/ 444410 h 1867037"/>
                  <a:gd name="connsiteX10929" fmla="*/ 1116102 w 2417513"/>
                  <a:gd name="connsiteY10929" fmla="*/ 441683 h 1867037"/>
                  <a:gd name="connsiteX10930" fmla="*/ 1097768 w 2417513"/>
                  <a:gd name="connsiteY10930" fmla="*/ 430470 h 1867037"/>
                  <a:gd name="connsiteX10931" fmla="*/ 1093525 w 2417513"/>
                  <a:gd name="connsiteY10931" fmla="*/ 428349 h 1867037"/>
                  <a:gd name="connsiteX10932" fmla="*/ 1092465 w 2417513"/>
                  <a:gd name="connsiteY10932" fmla="*/ 426834 h 1867037"/>
                  <a:gd name="connsiteX10933" fmla="*/ 1092616 w 2417513"/>
                  <a:gd name="connsiteY10933" fmla="*/ 424864 h 1867037"/>
                  <a:gd name="connsiteX10934" fmla="*/ 1091253 w 2417513"/>
                  <a:gd name="connsiteY10934" fmla="*/ 422743 h 1867037"/>
                  <a:gd name="connsiteX10935" fmla="*/ 1085798 w 2417513"/>
                  <a:gd name="connsiteY10935" fmla="*/ 418955 h 1867037"/>
                  <a:gd name="connsiteX10936" fmla="*/ 1083677 w 2417513"/>
                  <a:gd name="connsiteY10936" fmla="*/ 418197 h 1867037"/>
                  <a:gd name="connsiteX10937" fmla="*/ 1076555 w 2417513"/>
                  <a:gd name="connsiteY10937" fmla="*/ 416682 h 1867037"/>
                  <a:gd name="connsiteX10938" fmla="*/ 1073525 w 2417513"/>
                  <a:gd name="connsiteY10938" fmla="*/ 416682 h 1867037"/>
                  <a:gd name="connsiteX10939" fmla="*/ 1071555 w 2417513"/>
                  <a:gd name="connsiteY10939" fmla="*/ 417439 h 1867037"/>
                  <a:gd name="connsiteX10940" fmla="*/ 1068676 w 2417513"/>
                  <a:gd name="connsiteY10940" fmla="*/ 419712 h 1867037"/>
                  <a:gd name="connsiteX10941" fmla="*/ 1064888 w 2417513"/>
                  <a:gd name="connsiteY10941" fmla="*/ 423500 h 1867037"/>
                  <a:gd name="connsiteX10942" fmla="*/ 1063979 w 2417513"/>
                  <a:gd name="connsiteY10942" fmla="*/ 426076 h 1867037"/>
                  <a:gd name="connsiteX10943" fmla="*/ 1068070 w 2417513"/>
                  <a:gd name="connsiteY10943" fmla="*/ 428500 h 1867037"/>
                  <a:gd name="connsiteX10944" fmla="*/ 1070191 w 2417513"/>
                  <a:gd name="connsiteY10944" fmla="*/ 428955 h 1867037"/>
                  <a:gd name="connsiteX10945" fmla="*/ 1079889 w 2417513"/>
                  <a:gd name="connsiteY10945" fmla="*/ 428804 h 1867037"/>
                  <a:gd name="connsiteX10946" fmla="*/ 1080646 w 2417513"/>
                  <a:gd name="connsiteY10946" fmla="*/ 429864 h 1867037"/>
                  <a:gd name="connsiteX10947" fmla="*/ 1073979 w 2417513"/>
                  <a:gd name="connsiteY10947" fmla="*/ 433652 h 1867037"/>
                  <a:gd name="connsiteX10948" fmla="*/ 1071555 w 2417513"/>
                  <a:gd name="connsiteY10948" fmla="*/ 436380 h 1867037"/>
                  <a:gd name="connsiteX10949" fmla="*/ 1070646 w 2417513"/>
                  <a:gd name="connsiteY10949" fmla="*/ 437592 h 1867037"/>
                  <a:gd name="connsiteX10950" fmla="*/ 1072009 w 2417513"/>
                  <a:gd name="connsiteY10950" fmla="*/ 440016 h 1867037"/>
                  <a:gd name="connsiteX10951" fmla="*/ 1074888 w 2417513"/>
                  <a:gd name="connsiteY10951" fmla="*/ 441834 h 1867037"/>
                  <a:gd name="connsiteX10952" fmla="*/ 1082768 w 2417513"/>
                  <a:gd name="connsiteY10952" fmla="*/ 442743 h 1867037"/>
                  <a:gd name="connsiteX10953" fmla="*/ 1080646 w 2417513"/>
                  <a:gd name="connsiteY10953" fmla="*/ 445471 h 1867037"/>
                  <a:gd name="connsiteX10954" fmla="*/ 1080646 w 2417513"/>
                  <a:gd name="connsiteY10954" fmla="*/ 446835 h 1867037"/>
                  <a:gd name="connsiteX10955" fmla="*/ 1081555 w 2417513"/>
                  <a:gd name="connsiteY10955" fmla="*/ 448804 h 1867037"/>
                  <a:gd name="connsiteX10956" fmla="*/ 1083071 w 2417513"/>
                  <a:gd name="connsiteY10956" fmla="*/ 450774 h 1867037"/>
                  <a:gd name="connsiteX10957" fmla="*/ 1086556 w 2417513"/>
                  <a:gd name="connsiteY10957" fmla="*/ 453956 h 1867037"/>
                  <a:gd name="connsiteX10958" fmla="*/ 1087313 w 2417513"/>
                  <a:gd name="connsiteY10958" fmla="*/ 454259 h 1867037"/>
                  <a:gd name="connsiteX10959" fmla="*/ 1094132 w 2417513"/>
                  <a:gd name="connsiteY10959" fmla="*/ 453198 h 1867037"/>
                  <a:gd name="connsiteX10960" fmla="*/ 1095192 w 2417513"/>
                  <a:gd name="connsiteY10960" fmla="*/ 453350 h 1867037"/>
                  <a:gd name="connsiteX10961" fmla="*/ 1091253 w 2417513"/>
                  <a:gd name="connsiteY10961" fmla="*/ 455320 h 1867037"/>
                  <a:gd name="connsiteX10962" fmla="*/ 1087313 w 2417513"/>
                  <a:gd name="connsiteY10962" fmla="*/ 455623 h 1867037"/>
                  <a:gd name="connsiteX10963" fmla="*/ 1082919 w 2417513"/>
                  <a:gd name="connsiteY10963" fmla="*/ 454259 h 1867037"/>
                  <a:gd name="connsiteX10964" fmla="*/ 1078070 w 2417513"/>
                  <a:gd name="connsiteY10964" fmla="*/ 451380 h 1867037"/>
                  <a:gd name="connsiteX10965" fmla="*/ 1068676 w 2417513"/>
                  <a:gd name="connsiteY10965" fmla="*/ 448501 h 1867037"/>
                  <a:gd name="connsiteX10966" fmla="*/ 1063221 w 2417513"/>
                  <a:gd name="connsiteY10966" fmla="*/ 448956 h 1867037"/>
                  <a:gd name="connsiteX10967" fmla="*/ 1059736 w 2417513"/>
                  <a:gd name="connsiteY10967" fmla="*/ 452441 h 1867037"/>
                  <a:gd name="connsiteX10968" fmla="*/ 1060191 w 2417513"/>
                  <a:gd name="connsiteY10968" fmla="*/ 454411 h 1867037"/>
                  <a:gd name="connsiteX10969" fmla="*/ 1055797 w 2417513"/>
                  <a:gd name="connsiteY10969" fmla="*/ 458047 h 1867037"/>
                  <a:gd name="connsiteX10970" fmla="*/ 1047160 w 2417513"/>
                  <a:gd name="connsiteY10970" fmla="*/ 462138 h 1867037"/>
                  <a:gd name="connsiteX10971" fmla="*/ 1045190 w 2417513"/>
                  <a:gd name="connsiteY10971" fmla="*/ 464259 h 1867037"/>
                  <a:gd name="connsiteX10972" fmla="*/ 1047918 w 2417513"/>
                  <a:gd name="connsiteY10972" fmla="*/ 467441 h 1867037"/>
                  <a:gd name="connsiteX10973" fmla="*/ 1050948 w 2417513"/>
                  <a:gd name="connsiteY10973" fmla="*/ 469108 h 1867037"/>
                  <a:gd name="connsiteX10974" fmla="*/ 1052160 w 2417513"/>
                  <a:gd name="connsiteY10974" fmla="*/ 469108 h 1867037"/>
                  <a:gd name="connsiteX10975" fmla="*/ 1081707 w 2417513"/>
                  <a:gd name="connsiteY10975" fmla="*/ 463805 h 1867037"/>
                  <a:gd name="connsiteX10976" fmla="*/ 1088677 w 2417513"/>
                  <a:gd name="connsiteY10976" fmla="*/ 464714 h 1867037"/>
                  <a:gd name="connsiteX10977" fmla="*/ 1097010 w 2417513"/>
                  <a:gd name="connsiteY10977" fmla="*/ 463047 h 1867037"/>
                  <a:gd name="connsiteX10978" fmla="*/ 1123981 w 2417513"/>
                  <a:gd name="connsiteY10978" fmla="*/ 459714 h 1867037"/>
                  <a:gd name="connsiteX10979" fmla="*/ 1143679 w 2417513"/>
                  <a:gd name="connsiteY10979" fmla="*/ 458805 h 1867037"/>
                  <a:gd name="connsiteX10980" fmla="*/ 1143224 w 2417513"/>
                  <a:gd name="connsiteY10980" fmla="*/ 460471 h 1867037"/>
                  <a:gd name="connsiteX10981" fmla="*/ 1132769 w 2417513"/>
                  <a:gd name="connsiteY10981" fmla="*/ 461229 h 1867037"/>
                  <a:gd name="connsiteX10982" fmla="*/ 1128224 w 2417513"/>
                  <a:gd name="connsiteY10982" fmla="*/ 462441 h 1867037"/>
                  <a:gd name="connsiteX10983" fmla="*/ 1127769 w 2417513"/>
                  <a:gd name="connsiteY10983" fmla="*/ 463653 h 1867037"/>
                  <a:gd name="connsiteX10984" fmla="*/ 1122466 w 2417513"/>
                  <a:gd name="connsiteY10984" fmla="*/ 466078 h 1867037"/>
                  <a:gd name="connsiteX10985" fmla="*/ 1113829 w 2417513"/>
                  <a:gd name="connsiteY10985" fmla="*/ 471987 h 1867037"/>
                  <a:gd name="connsiteX10986" fmla="*/ 1102011 w 2417513"/>
                  <a:gd name="connsiteY10986" fmla="*/ 475017 h 1867037"/>
                  <a:gd name="connsiteX10987" fmla="*/ 1102162 w 2417513"/>
                  <a:gd name="connsiteY10987" fmla="*/ 475623 h 1867037"/>
                  <a:gd name="connsiteX10988" fmla="*/ 1101405 w 2417513"/>
                  <a:gd name="connsiteY10988" fmla="*/ 478199 h 1867037"/>
                  <a:gd name="connsiteX10989" fmla="*/ 1104586 w 2417513"/>
                  <a:gd name="connsiteY10989" fmla="*/ 479563 h 1867037"/>
                  <a:gd name="connsiteX10990" fmla="*/ 1111405 w 2417513"/>
                  <a:gd name="connsiteY10990" fmla="*/ 481381 h 1867037"/>
                  <a:gd name="connsiteX10991" fmla="*/ 1117314 w 2417513"/>
                  <a:gd name="connsiteY10991" fmla="*/ 483806 h 1867037"/>
                  <a:gd name="connsiteX10992" fmla="*/ 1117163 w 2417513"/>
                  <a:gd name="connsiteY10992" fmla="*/ 484412 h 1867037"/>
                  <a:gd name="connsiteX10993" fmla="*/ 1108678 w 2417513"/>
                  <a:gd name="connsiteY10993" fmla="*/ 485321 h 1867037"/>
                  <a:gd name="connsiteX10994" fmla="*/ 1108071 w 2417513"/>
                  <a:gd name="connsiteY10994" fmla="*/ 486987 h 1867037"/>
                  <a:gd name="connsiteX10995" fmla="*/ 1111556 w 2417513"/>
                  <a:gd name="connsiteY10995" fmla="*/ 493654 h 1867037"/>
                  <a:gd name="connsiteX10996" fmla="*/ 1113375 w 2417513"/>
                  <a:gd name="connsiteY10996" fmla="*/ 495776 h 1867037"/>
                  <a:gd name="connsiteX10997" fmla="*/ 1114890 w 2417513"/>
                  <a:gd name="connsiteY10997" fmla="*/ 496836 h 1867037"/>
                  <a:gd name="connsiteX10998" fmla="*/ 1122769 w 2417513"/>
                  <a:gd name="connsiteY10998" fmla="*/ 497139 h 1867037"/>
                  <a:gd name="connsiteX10999" fmla="*/ 1131557 w 2417513"/>
                  <a:gd name="connsiteY10999" fmla="*/ 498200 h 1867037"/>
                  <a:gd name="connsiteX11000" fmla="*/ 1137163 w 2417513"/>
                  <a:gd name="connsiteY11000" fmla="*/ 494867 h 1867037"/>
                  <a:gd name="connsiteX11001" fmla="*/ 1139739 w 2417513"/>
                  <a:gd name="connsiteY11001" fmla="*/ 494564 h 1867037"/>
                  <a:gd name="connsiteX11002" fmla="*/ 1142012 w 2417513"/>
                  <a:gd name="connsiteY11002" fmla="*/ 495927 h 1867037"/>
                  <a:gd name="connsiteX11003" fmla="*/ 1144436 w 2417513"/>
                  <a:gd name="connsiteY11003" fmla="*/ 496533 h 1867037"/>
                  <a:gd name="connsiteX11004" fmla="*/ 1148376 w 2417513"/>
                  <a:gd name="connsiteY11004" fmla="*/ 496230 h 1867037"/>
                  <a:gd name="connsiteX11005" fmla="*/ 1153225 w 2417513"/>
                  <a:gd name="connsiteY11005" fmla="*/ 496382 h 1867037"/>
                  <a:gd name="connsiteX11006" fmla="*/ 1156861 w 2417513"/>
                  <a:gd name="connsiteY11006" fmla="*/ 496988 h 1867037"/>
                  <a:gd name="connsiteX11007" fmla="*/ 1160498 w 2417513"/>
                  <a:gd name="connsiteY11007" fmla="*/ 496836 h 1867037"/>
                  <a:gd name="connsiteX11008" fmla="*/ 1167922 w 2417513"/>
                  <a:gd name="connsiteY11008" fmla="*/ 495624 h 1867037"/>
                  <a:gd name="connsiteX11009" fmla="*/ 1172619 w 2417513"/>
                  <a:gd name="connsiteY11009" fmla="*/ 495624 h 1867037"/>
                  <a:gd name="connsiteX11010" fmla="*/ 1176104 w 2417513"/>
                  <a:gd name="connsiteY11010" fmla="*/ 494867 h 1867037"/>
                  <a:gd name="connsiteX11011" fmla="*/ 1177165 w 2417513"/>
                  <a:gd name="connsiteY11011" fmla="*/ 494109 h 1867037"/>
                  <a:gd name="connsiteX11012" fmla="*/ 1176104 w 2417513"/>
                  <a:gd name="connsiteY11012" fmla="*/ 491382 h 1867037"/>
                  <a:gd name="connsiteX11013" fmla="*/ 1173680 w 2417513"/>
                  <a:gd name="connsiteY11013" fmla="*/ 489109 h 1867037"/>
                  <a:gd name="connsiteX11014" fmla="*/ 1173225 w 2417513"/>
                  <a:gd name="connsiteY11014" fmla="*/ 487897 h 1867037"/>
                  <a:gd name="connsiteX11015" fmla="*/ 1173831 w 2417513"/>
                  <a:gd name="connsiteY11015" fmla="*/ 486684 h 1867037"/>
                  <a:gd name="connsiteX11016" fmla="*/ 1174438 w 2417513"/>
                  <a:gd name="connsiteY11016" fmla="*/ 486533 h 1867037"/>
                  <a:gd name="connsiteX11017" fmla="*/ 1176407 w 2417513"/>
                  <a:gd name="connsiteY11017" fmla="*/ 489109 h 1867037"/>
                  <a:gd name="connsiteX11018" fmla="*/ 1179892 w 2417513"/>
                  <a:gd name="connsiteY11018" fmla="*/ 490775 h 1867037"/>
                  <a:gd name="connsiteX11019" fmla="*/ 1181104 w 2417513"/>
                  <a:gd name="connsiteY11019" fmla="*/ 491079 h 1867037"/>
                  <a:gd name="connsiteX11020" fmla="*/ 1184589 w 2417513"/>
                  <a:gd name="connsiteY11020" fmla="*/ 490472 h 1867037"/>
                  <a:gd name="connsiteX11021" fmla="*/ 1185044 w 2417513"/>
                  <a:gd name="connsiteY11021" fmla="*/ 489109 h 1867037"/>
                  <a:gd name="connsiteX11022" fmla="*/ 1183832 w 2417513"/>
                  <a:gd name="connsiteY11022" fmla="*/ 486987 h 1867037"/>
                  <a:gd name="connsiteX11023" fmla="*/ 1179741 w 2417513"/>
                  <a:gd name="connsiteY11023" fmla="*/ 483199 h 1867037"/>
                  <a:gd name="connsiteX11024" fmla="*/ 1178983 w 2417513"/>
                  <a:gd name="connsiteY11024" fmla="*/ 474563 h 1867037"/>
                  <a:gd name="connsiteX11025" fmla="*/ 1185195 w 2417513"/>
                  <a:gd name="connsiteY11025" fmla="*/ 469411 h 1867037"/>
                  <a:gd name="connsiteX11026" fmla="*/ 1190347 w 2417513"/>
                  <a:gd name="connsiteY11026" fmla="*/ 472138 h 1867037"/>
                  <a:gd name="connsiteX11027" fmla="*/ 1193075 w 2417513"/>
                  <a:gd name="connsiteY11027" fmla="*/ 474411 h 1867037"/>
                  <a:gd name="connsiteX11028" fmla="*/ 1193832 w 2417513"/>
                  <a:gd name="connsiteY11028" fmla="*/ 474260 h 1867037"/>
                  <a:gd name="connsiteX11029" fmla="*/ 1191862 w 2417513"/>
                  <a:gd name="connsiteY11029" fmla="*/ 466835 h 1867037"/>
                  <a:gd name="connsiteX11030" fmla="*/ 1191862 w 2417513"/>
                  <a:gd name="connsiteY11030" fmla="*/ 460168 h 1867037"/>
                  <a:gd name="connsiteX11031" fmla="*/ 1190953 w 2417513"/>
                  <a:gd name="connsiteY11031" fmla="*/ 459562 h 1867037"/>
                  <a:gd name="connsiteX11032" fmla="*/ 1179438 w 2417513"/>
                  <a:gd name="connsiteY11032" fmla="*/ 456532 h 1867037"/>
                  <a:gd name="connsiteX11033" fmla="*/ 1178680 w 2417513"/>
                  <a:gd name="connsiteY11033" fmla="*/ 455320 h 1867037"/>
                  <a:gd name="connsiteX11034" fmla="*/ 1183983 w 2417513"/>
                  <a:gd name="connsiteY11034" fmla="*/ 452895 h 1867037"/>
                  <a:gd name="connsiteX11035" fmla="*/ 1186559 w 2417513"/>
                  <a:gd name="connsiteY11035" fmla="*/ 450168 h 1867037"/>
                  <a:gd name="connsiteX11036" fmla="*/ 1186559 w 2417513"/>
                  <a:gd name="connsiteY11036" fmla="*/ 448653 h 1867037"/>
                  <a:gd name="connsiteX11037" fmla="*/ 1185195 w 2417513"/>
                  <a:gd name="connsiteY11037" fmla="*/ 445168 h 1867037"/>
                  <a:gd name="connsiteX11038" fmla="*/ 1185195 w 2417513"/>
                  <a:gd name="connsiteY11038" fmla="*/ 443046 h 1867037"/>
                  <a:gd name="connsiteX11039" fmla="*/ 1186256 w 2417513"/>
                  <a:gd name="connsiteY11039" fmla="*/ 438955 h 1867037"/>
                  <a:gd name="connsiteX11040" fmla="*/ 1188529 w 2417513"/>
                  <a:gd name="connsiteY11040" fmla="*/ 435773 h 1867037"/>
                  <a:gd name="connsiteX11041" fmla="*/ 1188681 w 2417513"/>
                  <a:gd name="connsiteY11041" fmla="*/ 434107 h 1867037"/>
                  <a:gd name="connsiteX11042" fmla="*/ 1188529 w 2417513"/>
                  <a:gd name="connsiteY11042" fmla="*/ 431682 h 1867037"/>
                  <a:gd name="connsiteX11043" fmla="*/ 1187317 w 2417513"/>
                  <a:gd name="connsiteY11043" fmla="*/ 429258 h 1867037"/>
                  <a:gd name="connsiteX11044" fmla="*/ 1183680 w 2417513"/>
                  <a:gd name="connsiteY11044" fmla="*/ 424712 h 1867037"/>
                  <a:gd name="connsiteX11045" fmla="*/ 1182771 w 2417513"/>
                  <a:gd name="connsiteY11045" fmla="*/ 422894 h 1867037"/>
                  <a:gd name="connsiteX11046" fmla="*/ 1182771 w 2417513"/>
                  <a:gd name="connsiteY11046" fmla="*/ 421379 h 1867037"/>
                  <a:gd name="connsiteX11047" fmla="*/ 1183680 w 2417513"/>
                  <a:gd name="connsiteY11047" fmla="*/ 420015 h 1867037"/>
                  <a:gd name="connsiteX11048" fmla="*/ 1183983 w 2417513"/>
                  <a:gd name="connsiteY11048" fmla="*/ 418046 h 1867037"/>
                  <a:gd name="connsiteX11049" fmla="*/ 1183680 w 2417513"/>
                  <a:gd name="connsiteY11049" fmla="*/ 415470 h 1867037"/>
                  <a:gd name="connsiteX11050" fmla="*/ 1182923 w 2417513"/>
                  <a:gd name="connsiteY11050" fmla="*/ 413803 h 1867037"/>
                  <a:gd name="connsiteX11051" fmla="*/ 1180650 w 2417513"/>
                  <a:gd name="connsiteY11051" fmla="*/ 412439 h 1867037"/>
                  <a:gd name="connsiteX11052" fmla="*/ 1176256 w 2417513"/>
                  <a:gd name="connsiteY11052" fmla="*/ 411682 h 1867037"/>
                  <a:gd name="connsiteX11053" fmla="*/ 1168831 w 2417513"/>
                  <a:gd name="connsiteY11053" fmla="*/ 409257 h 1867037"/>
                  <a:gd name="connsiteX11054" fmla="*/ 1167468 w 2417513"/>
                  <a:gd name="connsiteY11054" fmla="*/ 407894 h 1867037"/>
                  <a:gd name="connsiteX11055" fmla="*/ 1160952 w 2417513"/>
                  <a:gd name="connsiteY11055" fmla="*/ 403954 h 1867037"/>
                  <a:gd name="connsiteX11056" fmla="*/ 1155952 w 2417513"/>
                  <a:gd name="connsiteY11056" fmla="*/ 402439 h 1867037"/>
                  <a:gd name="connsiteX11057" fmla="*/ 1149588 w 2417513"/>
                  <a:gd name="connsiteY11057" fmla="*/ 405318 h 1867037"/>
                  <a:gd name="connsiteX11058" fmla="*/ 1148679 w 2417513"/>
                  <a:gd name="connsiteY11058" fmla="*/ 407439 h 1867037"/>
                  <a:gd name="connsiteX11059" fmla="*/ 1696275 w 2417513"/>
                  <a:gd name="connsiteY11059" fmla="*/ 433955 h 1867037"/>
                  <a:gd name="connsiteX11060" fmla="*/ 1691578 w 2417513"/>
                  <a:gd name="connsiteY11060" fmla="*/ 436986 h 1867037"/>
                  <a:gd name="connsiteX11061" fmla="*/ 1685972 w 2417513"/>
                  <a:gd name="connsiteY11061" fmla="*/ 441531 h 1867037"/>
                  <a:gd name="connsiteX11062" fmla="*/ 1681275 w 2417513"/>
                  <a:gd name="connsiteY11062" fmla="*/ 444410 h 1867037"/>
                  <a:gd name="connsiteX11063" fmla="*/ 1677183 w 2417513"/>
                  <a:gd name="connsiteY11063" fmla="*/ 448653 h 1867037"/>
                  <a:gd name="connsiteX11064" fmla="*/ 1678850 w 2417513"/>
                  <a:gd name="connsiteY11064" fmla="*/ 450926 h 1867037"/>
                  <a:gd name="connsiteX11065" fmla="*/ 1681426 w 2417513"/>
                  <a:gd name="connsiteY11065" fmla="*/ 451835 h 1867037"/>
                  <a:gd name="connsiteX11066" fmla="*/ 1686578 w 2417513"/>
                  <a:gd name="connsiteY11066" fmla="*/ 451532 h 1867037"/>
                  <a:gd name="connsiteX11067" fmla="*/ 1692942 w 2417513"/>
                  <a:gd name="connsiteY11067" fmla="*/ 449410 h 1867037"/>
                  <a:gd name="connsiteX11068" fmla="*/ 1694911 w 2417513"/>
                  <a:gd name="connsiteY11068" fmla="*/ 449562 h 1867037"/>
                  <a:gd name="connsiteX11069" fmla="*/ 1694608 w 2417513"/>
                  <a:gd name="connsiteY11069" fmla="*/ 446228 h 1867037"/>
                  <a:gd name="connsiteX11070" fmla="*/ 1694760 w 2417513"/>
                  <a:gd name="connsiteY11070" fmla="*/ 442895 h 1867037"/>
                  <a:gd name="connsiteX11071" fmla="*/ 1697790 w 2417513"/>
                  <a:gd name="connsiteY11071" fmla="*/ 440622 h 1867037"/>
                  <a:gd name="connsiteX11072" fmla="*/ 1700518 w 2417513"/>
                  <a:gd name="connsiteY11072" fmla="*/ 436077 h 1867037"/>
                  <a:gd name="connsiteX11073" fmla="*/ 1698245 w 2417513"/>
                  <a:gd name="connsiteY11073" fmla="*/ 434410 h 1867037"/>
                  <a:gd name="connsiteX11074" fmla="*/ 1696275 w 2417513"/>
                  <a:gd name="connsiteY11074" fmla="*/ 433955 h 1867037"/>
                  <a:gd name="connsiteX11075" fmla="*/ 354559 w 2417513"/>
                  <a:gd name="connsiteY11075" fmla="*/ 1532026 h 1867037"/>
                  <a:gd name="connsiteX11076" fmla="*/ 356225 w 2417513"/>
                  <a:gd name="connsiteY11076" fmla="*/ 1532632 h 1867037"/>
                  <a:gd name="connsiteX11077" fmla="*/ 357286 w 2417513"/>
                  <a:gd name="connsiteY11077" fmla="*/ 1532632 h 1867037"/>
                  <a:gd name="connsiteX11078" fmla="*/ 357741 w 2417513"/>
                  <a:gd name="connsiteY11078" fmla="*/ 1532026 h 1867037"/>
                  <a:gd name="connsiteX11079" fmla="*/ 358044 w 2417513"/>
                  <a:gd name="connsiteY11079" fmla="*/ 1530813 h 1867037"/>
                  <a:gd name="connsiteX11080" fmla="*/ 358044 w 2417513"/>
                  <a:gd name="connsiteY11080" fmla="*/ 1527935 h 1867037"/>
                  <a:gd name="connsiteX11081" fmla="*/ 357589 w 2417513"/>
                  <a:gd name="connsiteY11081" fmla="*/ 1527177 h 1867037"/>
                  <a:gd name="connsiteX11082" fmla="*/ 356074 w 2417513"/>
                  <a:gd name="connsiteY11082" fmla="*/ 1524753 h 1867037"/>
                  <a:gd name="connsiteX11083" fmla="*/ 355771 w 2417513"/>
                  <a:gd name="connsiteY11083" fmla="*/ 1523692 h 1867037"/>
                  <a:gd name="connsiteX11084" fmla="*/ 354862 w 2417513"/>
                  <a:gd name="connsiteY11084" fmla="*/ 1523540 h 1867037"/>
                  <a:gd name="connsiteX11085" fmla="*/ 352437 w 2417513"/>
                  <a:gd name="connsiteY11085" fmla="*/ 1525056 h 1867037"/>
                  <a:gd name="connsiteX11086" fmla="*/ 351831 w 2417513"/>
                  <a:gd name="connsiteY11086" fmla="*/ 1525813 h 1867037"/>
                  <a:gd name="connsiteX11087" fmla="*/ 351680 w 2417513"/>
                  <a:gd name="connsiteY11087" fmla="*/ 1526571 h 1867037"/>
                  <a:gd name="connsiteX11088" fmla="*/ 353195 w 2417513"/>
                  <a:gd name="connsiteY11088" fmla="*/ 1530813 h 1867037"/>
                  <a:gd name="connsiteX11089" fmla="*/ 354559 w 2417513"/>
                  <a:gd name="connsiteY11089" fmla="*/ 1532026 h 1867037"/>
                  <a:gd name="connsiteX11090" fmla="*/ 1403234 w 2417513"/>
                  <a:gd name="connsiteY11090" fmla="*/ 359559 h 1867037"/>
                  <a:gd name="connsiteX11091" fmla="*/ 1399900 w 2417513"/>
                  <a:gd name="connsiteY11091" fmla="*/ 356680 h 1867037"/>
                  <a:gd name="connsiteX11092" fmla="*/ 1390809 w 2417513"/>
                  <a:gd name="connsiteY11092" fmla="*/ 350619 h 1867037"/>
                  <a:gd name="connsiteX11093" fmla="*/ 1383991 w 2417513"/>
                  <a:gd name="connsiteY11093" fmla="*/ 348649 h 1867037"/>
                  <a:gd name="connsiteX11094" fmla="*/ 1377021 w 2417513"/>
                  <a:gd name="connsiteY11094" fmla="*/ 347437 h 1867037"/>
                  <a:gd name="connsiteX11095" fmla="*/ 1372475 w 2417513"/>
                  <a:gd name="connsiteY11095" fmla="*/ 347134 h 1867037"/>
                  <a:gd name="connsiteX11096" fmla="*/ 1367627 w 2417513"/>
                  <a:gd name="connsiteY11096" fmla="*/ 347740 h 1867037"/>
                  <a:gd name="connsiteX11097" fmla="*/ 1365202 w 2417513"/>
                  <a:gd name="connsiteY11097" fmla="*/ 348801 h 1867037"/>
                  <a:gd name="connsiteX11098" fmla="*/ 1364141 w 2417513"/>
                  <a:gd name="connsiteY11098" fmla="*/ 349861 h 1867037"/>
                  <a:gd name="connsiteX11099" fmla="*/ 1363232 w 2417513"/>
                  <a:gd name="connsiteY11099" fmla="*/ 352892 h 1867037"/>
                  <a:gd name="connsiteX11100" fmla="*/ 1363232 w 2417513"/>
                  <a:gd name="connsiteY11100" fmla="*/ 357286 h 1867037"/>
                  <a:gd name="connsiteX11101" fmla="*/ 1363535 w 2417513"/>
                  <a:gd name="connsiteY11101" fmla="*/ 360468 h 1867037"/>
                  <a:gd name="connsiteX11102" fmla="*/ 1364293 w 2417513"/>
                  <a:gd name="connsiteY11102" fmla="*/ 362741 h 1867037"/>
                  <a:gd name="connsiteX11103" fmla="*/ 1368536 w 2417513"/>
                  <a:gd name="connsiteY11103" fmla="*/ 366074 h 1867037"/>
                  <a:gd name="connsiteX11104" fmla="*/ 1389445 w 2417513"/>
                  <a:gd name="connsiteY11104" fmla="*/ 372892 h 1867037"/>
                  <a:gd name="connsiteX11105" fmla="*/ 1393082 w 2417513"/>
                  <a:gd name="connsiteY11105" fmla="*/ 373044 h 1867037"/>
                  <a:gd name="connsiteX11106" fmla="*/ 1400203 w 2417513"/>
                  <a:gd name="connsiteY11106" fmla="*/ 369710 h 1867037"/>
                  <a:gd name="connsiteX11107" fmla="*/ 1402628 w 2417513"/>
                  <a:gd name="connsiteY11107" fmla="*/ 368195 h 1867037"/>
                  <a:gd name="connsiteX11108" fmla="*/ 1403537 w 2417513"/>
                  <a:gd name="connsiteY11108" fmla="*/ 367135 h 1867037"/>
                  <a:gd name="connsiteX11109" fmla="*/ 1403992 w 2417513"/>
                  <a:gd name="connsiteY11109" fmla="*/ 365468 h 1867037"/>
                  <a:gd name="connsiteX11110" fmla="*/ 1403992 w 2417513"/>
                  <a:gd name="connsiteY11110" fmla="*/ 363195 h 1867037"/>
                  <a:gd name="connsiteX11111" fmla="*/ 1403234 w 2417513"/>
                  <a:gd name="connsiteY11111" fmla="*/ 359559 h 1867037"/>
                  <a:gd name="connsiteX11112" fmla="*/ 1999923 w 2417513"/>
                  <a:gd name="connsiteY11112" fmla="*/ 772604 h 1867037"/>
                  <a:gd name="connsiteX11113" fmla="*/ 1997801 w 2417513"/>
                  <a:gd name="connsiteY11113" fmla="*/ 772755 h 1867037"/>
                  <a:gd name="connsiteX11114" fmla="*/ 1994923 w 2417513"/>
                  <a:gd name="connsiteY11114" fmla="*/ 773816 h 1867037"/>
                  <a:gd name="connsiteX11115" fmla="*/ 1991438 w 2417513"/>
                  <a:gd name="connsiteY11115" fmla="*/ 775786 h 1867037"/>
                  <a:gd name="connsiteX11116" fmla="*/ 1991892 w 2417513"/>
                  <a:gd name="connsiteY11116" fmla="*/ 777604 h 1867037"/>
                  <a:gd name="connsiteX11117" fmla="*/ 1999014 w 2417513"/>
                  <a:gd name="connsiteY11117" fmla="*/ 779877 h 1867037"/>
                  <a:gd name="connsiteX11118" fmla="*/ 1999771 w 2417513"/>
                  <a:gd name="connsiteY11118" fmla="*/ 779574 h 1867037"/>
                  <a:gd name="connsiteX11119" fmla="*/ 2001741 w 2417513"/>
                  <a:gd name="connsiteY11119" fmla="*/ 777150 h 1867037"/>
                  <a:gd name="connsiteX11120" fmla="*/ 2004165 w 2417513"/>
                  <a:gd name="connsiteY11120" fmla="*/ 775180 h 1867037"/>
                  <a:gd name="connsiteX11121" fmla="*/ 2002195 w 2417513"/>
                  <a:gd name="connsiteY11121" fmla="*/ 773059 h 1867037"/>
                  <a:gd name="connsiteX11122" fmla="*/ 1999923 w 2417513"/>
                  <a:gd name="connsiteY11122" fmla="*/ 772604 h 1867037"/>
                  <a:gd name="connsiteX11123" fmla="*/ 2142958 w 2417513"/>
                  <a:gd name="connsiteY11123" fmla="*/ 897305 h 1867037"/>
                  <a:gd name="connsiteX11124" fmla="*/ 2148413 w 2417513"/>
                  <a:gd name="connsiteY11124" fmla="*/ 893669 h 1867037"/>
                  <a:gd name="connsiteX11125" fmla="*/ 2150837 w 2417513"/>
                  <a:gd name="connsiteY11125" fmla="*/ 891699 h 1867037"/>
                  <a:gd name="connsiteX11126" fmla="*/ 2150231 w 2417513"/>
                  <a:gd name="connsiteY11126" fmla="*/ 891245 h 1867037"/>
                  <a:gd name="connsiteX11127" fmla="*/ 2148716 w 2417513"/>
                  <a:gd name="connsiteY11127" fmla="*/ 891245 h 1867037"/>
                  <a:gd name="connsiteX11128" fmla="*/ 2144473 w 2417513"/>
                  <a:gd name="connsiteY11128" fmla="*/ 891851 h 1867037"/>
                  <a:gd name="connsiteX11129" fmla="*/ 2143413 w 2417513"/>
                  <a:gd name="connsiteY11129" fmla="*/ 893214 h 1867037"/>
                  <a:gd name="connsiteX11130" fmla="*/ 2140837 w 2417513"/>
                  <a:gd name="connsiteY11130" fmla="*/ 894881 h 1867037"/>
                  <a:gd name="connsiteX11131" fmla="*/ 2139019 w 2417513"/>
                  <a:gd name="connsiteY11131" fmla="*/ 896699 h 1867037"/>
                  <a:gd name="connsiteX11132" fmla="*/ 2137807 w 2417513"/>
                  <a:gd name="connsiteY11132" fmla="*/ 897154 h 1867037"/>
                  <a:gd name="connsiteX11133" fmla="*/ 2139625 w 2417513"/>
                  <a:gd name="connsiteY11133" fmla="*/ 898669 h 1867037"/>
                  <a:gd name="connsiteX11134" fmla="*/ 2142958 w 2417513"/>
                  <a:gd name="connsiteY11134" fmla="*/ 897305 h 1867037"/>
                  <a:gd name="connsiteX11135" fmla="*/ 1173983 w 2417513"/>
                  <a:gd name="connsiteY11135" fmla="*/ 291677 h 1867037"/>
                  <a:gd name="connsiteX11136" fmla="*/ 1174892 w 2417513"/>
                  <a:gd name="connsiteY11136" fmla="*/ 293344 h 1867037"/>
                  <a:gd name="connsiteX11137" fmla="*/ 1167922 w 2417513"/>
                  <a:gd name="connsiteY11137" fmla="*/ 295768 h 1867037"/>
                  <a:gd name="connsiteX11138" fmla="*/ 1167771 w 2417513"/>
                  <a:gd name="connsiteY11138" fmla="*/ 296981 h 1867037"/>
                  <a:gd name="connsiteX11139" fmla="*/ 1167922 w 2417513"/>
                  <a:gd name="connsiteY11139" fmla="*/ 298193 h 1867037"/>
                  <a:gd name="connsiteX11140" fmla="*/ 1169134 w 2417513"/>
                  <a:gd name="connsiteY11140" fmla="*/ 300466 h 1867037"/>
                  <a:gd name="connsiteX11141" fmla="*/ 1169740 w 2417513"/>
                  <a:gd name="connsiteY11141" fmla="*/ 300920 h 1867037"/>
                  <a:gd name="connsiteX11142" fmla="*/ 1173528 w 2417513"/>
                  <a:gd name="connsiteY11142" fmla="*/ 302435 h 1867037"/>
                  <a:gd name="connsiteX11143" fmla="*/ 1174741 w 2417513"/>
                  <a:gd name="connsiteY11143" fmla="*/ 303496 h 1867037"/>
                  <a:gd name="connsiteX11144" fmla="*/ 1175347 w 2417513"/>
                  <a:gd name="connsiteY11144" fmla="*/ 307132 h 1867037"/>
                  <a:gd name="connsiteX11145" fmla="*/ 1180953 w 2417513"/>
                  <a:gd name="connsiteY11145" fmla="*/ 310920 h 1867037"/>
                  <a:gd name="connsiteX11146" fmla="*/ 1181559 w 2417513"/>
                  <a:gd name="connsiteY11146" fmla="*/ 312890 h 1867037"/>
                  <a:gd name="connsiteX11147" fmla="*/ 1195196 w 2417513"/>
                  <a:gd name="connsiteY11147" fmla="*/ 314557 h 1867037"/>
                  <a:gd name="connsiteX11148" fmla="*/ 1203226 w 2417513"/>
                  <a:gd name="connsiteY11148" fmla="*/ 317284 h 1867037"/>
                  <a:gd name="connsiteX11149" fmla="*/ 1205499 w 2417513"/>
                  <a:gd name="connsiteY11149" fmla="*/ 317587 h 1867037"/>
                  <a:gd name="connsiteX11150" fmla="*/ 1205196 w 2417513"/>
                  <a:gd name="connsiteY11150" fmla="*/ 318345 h 1867037"/>
                  <a:gd name="connsiteX11151" fmla="*/ 1202923 w 2417513"/>
                  <a:gd name="connsiteY11151" fmla="*/ 319709 h 1867037"/>
                  <a:gd name="connsiteX11152" fmla="*/ 1197772 w 2417513"/>
                  <a:gd name="connsiteY11152" fmla="*/ 320466 h 1867037"/>
                  <a:gd name="connsiteX11153" fmla="*/ 1185953 w 2417513"/>
                  <a:gd name="connsiteY11153" fmla="*/ 321224 h 1867037"/>
                  <a:gd name="connsiteX11154" fmla="*/ 1186256 w 2417513"/>
                  <a:gd name="connsiteY11154" fmla="*/ 322284 h 1867037"/>
                  <a:gd name="connsiteX11155" fmla="*/ 1187014 w 2417513"/>
                  <a:gd name="connsiteY11155" fmla="*/ 323497 h 1867037"/>
                  <a:gd name="connsiteX11156" fmla="*/ 1192317 w 2417513"/>
                  <a:gd name="connsiteY11156" fmla="*/ 327588 h 1867037"/>
                  <a:gd name="connsiteX11157" fmla="*/ 1201408 w 2417513"/>
                  <a:gd name="connsiteY11157" fmla="*/ 330467 h 1867037"/>
                  <a:gd name="connsiteX11158" fmla="*/ 1203378 w 2417513"/>
                  <a:gd name="connsiteY11158" fmla="*/ 331982 h 1867037"/>
                  <a:gd name="connsiteX11159" fmla="*/ 1202469 w 2417513"/>
                  <a:gd name="connsiteY11159" fmla="*/ 333649 h 1867037"/>
                  <a:gd name="connsiteX11160" fmla="*/ 1202166 w 2417513"/>
                  <a:gd name="connsiteY11160" fmla="*/ 335012 h 1867037"/>
                  <a:gd name="connsiteX11161" fmla="*/ 1202772 w 2417513"/>
                  <a:gd name="connsiteY11161" fmla="*/ 336830 h 1867037"/>
                  <a:gd name="connsiteX11162" fmla="*/ 1204136 w 2417513"/>
                  <a:gd name="connsiteY11162" fmla="*/ 338043 h 1867037"/>
                  <a:gd name="connsiteX11163" fmla="*/ 1208378 w 2417513"/>
                  <a:gd name="connsiteY11163" fmla="*/ 337740 h 1867037"/>
                  <a:gd name="connsiteX11164" fmla="*/ 1214742 w 2417513"/>
                  <a:gd name="connsiteY11164" fmla="*/ 335467 h 1867037"/>
                  <a:gd name="connsiteX11165" fmla="*/ 1218227 w 2417513"/>
                  <a:gd name="connsiteY11165" fmla="*/ 334103 h 1867037"/>
                  <a:gd name="connsiteX11166" fmla="*/ 1230955 w 2417513"/>
                  <a:gd name="connsiteY11166" fmla="*/ 333194 h 1867037"/>
                  <a:gd name="connsiteX11167" fmla="*/ 1240349 w 2417513"/>
                  <a:gd name="connsiteY11167" fmla="*/ 331073 h 1867037"/>
                  <a:gd name="connsiteX11168" fmla="*/ 1246410 w 2417513"/>
                  <a:gd name="connsiteY11168" fmla="*/ 328800 h 1867037"/>
                  <a:gd name="connsiteX11169" fmla="*/ 1248683 w 2417513"/>
                  <a:gd name="connsiteY11169" fmla="*/ 328345 h 1867037"/>
                  <a:gd name="connsiteX11170" fmla="*/ 1253380 w 2417513"/>
                  <a:gd name="connsiteY11170" fmla="*/ 328497 h 1867037"/>
                  <a:gd name="connsiteX11171" fmla="*/ 1256410 w 2417513"/>
                  <a:gd name="connsiteY11171" fmla="*/ 326982 h 1867037"/>
                  <a:gd name="connsiteX11172" fmla="*/ 1260653 w 2417513"/>
                  <a:gd name="connsiteY11172" fmla="*/ 321981 h 1867037"/>
                  <a:gd name="connsiteX11173" fmla="*/ 1260653 w 2417513"/>
                  <a:gd name="connsiteY11173" fmla="*/ 320163 h 1867037"/>
                  <a:gd name="connsiteX11174" fmla="*/ 1259289 w 2417513"/>
                  <a:gd name="connsiteY11174" fmla="*/ 318345 h 1867037"/>
                  <a:gd name="connsiteX11175" fmla="*/ 1256107 w 2417513"/>
                  <a:gd name="connsiteY11175" fmla="*/ 315921 h 1867037"/>
                  <a:gd name="connsiteX11176" fmla="*/ 1249895 w 2417513"/>
                  <a:gd name="connsiteY11176" fmla="*/ 313193 h 1867037"/>
                  <a:gd name="connsiteX11177" fmla="*/ 1251562 w 2417513"/>
                  <a:gd name="connsiteY11177" fmla="*/ 310920 h 1867037"/>
                  <a:gd name="connsiteX11178" fmla="*/ 1258531 w 2417513"/>
                  <a:gd name="connsiteY11178" fmla="*/ 307890 h 1867037"/>
                  <a:gd name="connsiteX11179" fmla="*/ 1262017 w 2417513"/>
                  <a:gd name="connsiteY11179" fmla="*/ 305920 h 1867037"/>
                  <a:gd name="connsiteX11180" fmla="*/ 1262017 w 2417513"/>
                  <a:gd name="connsiteY11180" fmla="*/ 305011 h 1867037"/>
                  <a:gd name="connsiteX11181" fmla="*/ 1261259 w 2417513"/>
                  <a:gd name="connsiteY11181" fmla="*/ 303193 h 1867037"/>
                  <a:gd name="connsiteX11182" fmla="*/ 1258077 w 2417513"/>
                  <a:gd name="connsiteY11182" fmla="*/ 300769 h 1867037"/>
                  <a:gd name="connsiteX11183" fmla="*/ 1247622 w 2417513"/>
                  <a:gd name="connsiteY11183" fmla="*/ 296678 h 1867037"/>
                  <a:gd name="connsiteX11184" fmla="*/ 1243531 w 2417513"/>
                  <a:gd name="connsiteY11184" fmla="*/ 295465 h 1867037"/>
                  <a:gd name="connsiteX11185" fmla="*/ 1232318 w 2417513"/>
                  <a:gd name="connsiteY11185" fmla="*/ 296223 h 1867037"/>
                  <a:gd name="connsiteX11186" fmla="*/ 1225803 w 2417513"/>
                  <a:gd name="connsiteY11186" fmla="*/ 294708 h 1867037"/>
                  <a:gd name="connsiteX11187" fmla="*/ 1224439 w 2417513"/>
                  <a:gd name="connsiteY11187" fmla="*/ 293496 h 1867037"/>
                  <a:gd name="connsiteX11188" fmla="*/ 1224894 w 2417513"/>
                  <a:gd name="connsiteY11188" fmla="*/ 292132 h 1867037"/>
                  <a:gd name="connsiteX11189" fmla="*/ 1224288 w 2417513"/>
                  <a:gd name="connsiteY11189" fmla="*/ 290768 h 1867037"/>
                  <a:gd name="connsiteX11190" fmla="*/ 1218530 w 2417513"/>
                  <a:gd name="connsiteY11190" fmla="*/ 286526 h 1867037"/>
                  <a:gd name="connsiteX11191" fmla="*/ 1215500 w 2417513"/>
                  <a:gd name="connsiteY11191" fmla="*/ 285162 h 1867037"/>
                  <a:gd name="connsiteX11192" fmla="*/ 1205954 w 2417513"/>
                  <a:gd name="connsiteY11192" fmla="*/ 283192 h 1867037"/>
                  <a:gd name="connsiteX11193" fmla="*/ 1199590 w 2417513"/>
                  <a:gd name="connsiteY11193" fmla="*/ 280919 h 1867037"/>
                  <a:gd name="connsiteX11194" fmla="*/ 1193832 w 2417513"/>
                  <a:gd name="connsiteY11194" fmla="*/ 279404 h 1867037"/>
                  <a:gd name="connsiteX11195" fmla="*/ 1187923 w 2417513"/>
                  <a:gd name="connsiteY11195" fmla="*/ 278647 h 1867037"/>
                  <a:gd name="connsiteX11196" fmla="*/ 1175650 w 2417513"/>
                  <a:gd name="connsiteY11196" fmla="*/ 278040 h 1867037"/>
                  <a:gd name="connsiteX11197" fmla="*/ 1170953 w 2417513"/>
                  <a:gd name="connsiteY11197" fmla="*/ 278040 h 1867037"/>
                  <a:gd name="connsiteX11198" fmla="*/ 1167619 w 2417513"/>
                  <a:gd name="connsiteY11198" fmla="*/ 279859 h 1867037"/>
                  <a:gd name="connsiteX11199" fmla="*/ 1167468 w 2417513"/>
                  <a:gd name="connsiteY11199" fmla="*/ 281222 h 1867037"/>
                  <a:gd name="connsiteX11200" fmla="*/ 1168831 w 2417513"/>
                  <a:gd name="connsiteY11200" fmla="*/ 284707 h 1867037"/>
                  <a:gd name="connsiteX11201" fmla="*/ 1173983 w 2417513"/>
                  <a:gd name="connsiteY11201" fmla="*/ 291677 h 1867037"/>
                  <a:gd name="connsiteX11202" fmla="*/ 1268380 w 2417513"/>
                  <a:gd name="connsiteY11202" fmla="*/ 201674 h 1867037"/>
                  <a:gd name="connsiteX11203" fmla="*/ 1247925 w 2417513"/>
                  <a:gd name="connsiteY11203" fmla="*/ 201371 h 1867037"/>
                  <a:gd name="connsiteX11204" fmla="*/ 1237319 w 2417513"/>
                  <a:gd name="connsiteY11204" fmla="*/ 200613 h 1867037"/>
                  <a:gd name="connsiteX11205" fmla="*/ 1210197 w 2417513"/>
                  <a:gd name="connsiteY11205" fmla="*/ 196219 h 1867037"/>
                  <a:gd name="connsiteX11206" fmla="*/ 1213833 w 2417513"/>
                  <a:gd name="connsiteY11206" fmla="*/ 203189 h 1867037"/>
                  <a:gd name="connsiteX11207" fmla="*/ 1214742 w 2417513"/>
                  <a:gd name="connsiteY11207" fmla="*/ 206068 h 1867037"/>
                  <a:gd name="connsiteX11208" fmla="*/ 1215197 w 2417513"/>
                  <a:gd name="connsiteY11208" fmla="*/ 209856 h 1867037"/>
                  <a:gd name="connsiteX11209" fmla="*/ 1218682 w 2417513"/>
                  <a:gd name="connsiteY11209" fmla="*/ 214250 h 1867037"/>
                  <a:gd name="connsiteX11210" fmla="*/ 1231409 w 2417513"/>
                  <a:gd name="connsiteY11210" fmla="*/ 223190 h 1867037"/>
                  <a:gd name="connsiteX11211" fmla="*/ 1235349 w 2417513"/>
                  <a:gd name="connsiteY11211" fmla="*/ 225160 h 1867037"/>
                  <a:gd name="connsiteX11212" fmla="*/ 1238531 w 2417513"/>
                  <a:gd name="connsiteY11212" fmla="*/ 226069 h 1867037"/>
                  <a:gd name="connsiteX11213" fmla="*/ 1243683 w 2417513"/>
                  <a:gd name="connsiteY11213" fmla="*/ 226523 h 1867037"/>
                  <a:gd name="connsiteX11214" fmla="*/ 1250653 w 2417513"/>
                  <a:gd name="connsiteY11214" fmla="*/ 226523 h 1867037"/>
                  <a:gd name="connsiteX11215" fmla="*/ 1259441 w 2417513"/>
                  <a:gd name="connsiteY11215" fmla="*/ 225008 h 1867037"/>
                  <a:gd name="connsiteX11216" fmla="*/ 1270199 w 2417513"/>
                  <a:gd name="connsiteY11216" fmla="*/ 221978 h 1867037"/>
                  <a:gd name="connsiteX11217" fmla="*/ 1275047 w 2417513"/>
                  <a:gd name="connsiteY11217" fmla="*/ 221372 h 1867037"/>
                  <a:gd name="connsiteX11218" fmla="*/ 1273078 w 2417513"/>
                  <a:gd name="connsiteY11218" fmla="*/ 224554 h 1867037"/>
                  <a:gd name="connsiteX11219" fmla="*/ 1271865 w 2417513"/>
                  <a:gd name="connsiteY11219" fmla="*/ 225766 h 1867037"/>
                  <a:gd name="connsiteX11220" fmla="*/ 1250501 w 2417513"/>
                  <a:gd name="connsiteY11220" fmla="*/ 231978 h 1867037"/>
                  <a:gd name="connsiteX11221" fmla="*/ 1243379 w 2417513"/>
                  <a:gd name="connsiteY11221" fmla="*/ 233039 h 1867037"/>
                  <a:gd name="connsiteX11222" fmla="*/ 1240652 w 2417513"/>
                  <a:gd name="connsiteY11222" fmla="*/ 234402 h 1867037"/>
                  <a:gd name="connsiteX11223" fmla="*/ 1238682 w 2417513"/>
                  <a:gd name="connsiteY11223" fmla="*/ 241069 h 1867037"/>
                  <a:gd name="connsiteX11224" fmla="*/ 1240804 w 2417513"/>
                  <a:gd name="connsiteY11224" fmla="*/ 242736 h 1867037"/>
                  <a:gd name="connsiteX11225" fmla="*/ 1250046 w 2417513"/>
                  <a:gd name="connsiteY11225" fmla="*/ 244857 h 1867037"/>
                  <a:gd name="connsiteX11226" fmla="*/ 1255956 w 2417513"/>
                  <a:gd name="connsiteY11226" fmla="*/ 248797 h 1867037"/>
                  <a:gd name="connsiteX11227" fmla="*/ 1257622 w 2417513"/>
                  <a:gd name="connsiteY11227" fmla="*/ 248645 h 1867037"/>
                  <a:gd name="connsiteX11228" fmla="*/ 1263077 w 2417513"/>
                  <a:gd name="connsiteY11228" fmla="*/ 246070 h 1867037"/>
                  <a:gd name="connsiteX11229" fmla="*/ 1275199 w 2417513"/>
                  <a:gd name="connsiteY11229" fmla="*/ 242585 h 1867037"/>
                  <a:gd name="connsiteX11230" fmla="*/ 1278532 w 2417513"/>
                  <a:gd name="connsiteY11230" fmla="*/ 241979 h 1867037"/>
                  <a:gd name="connsiteX11231" fmla="*/ 1283229 w 2417513"/>
                  <a:gd name="connsiteY11231" fmla="*/ 241979 h 1867037"/>
                  <a:gd name="connsiteX11232" fmla="*/ 1287321 w 2417513"/>
                  <a:gd name="connsiteY11232" fmla="*/ 242282 h 1867037"/>
                  <a:gd name="connsiteX11233" fmla="*/ 1287927 w 2417513"/>
                  <a:gd name="connsiteY11233" fmla="*/ 242888 h 1867037"/>
                  <a:gd name="connsiteX11234" fmla="*/ 1285199 w 2417513"/>
                  <a:gd name="connsiteY11234" fmla="*/ 244706 h 1867037"/>
                  <a:gd name="connsiteX11235" fmla="*/ 1283381 w 2417513"/>
                  <a:gd name="connsiteY11235" fmla="*/ 247282 h 1867037"/>
                  <a:gd name="connsiteX11236" fmla="*/ 1283836 w 2417513"/>
                  <a:gd name="connsiteY11236" fmla="*/ 248039 h 1867037"/>
                  <a:gd name="connsiteX11237" fmla="*/ 1285351 w 2417513"/>
                  <a:gd name="connsiteY11237" fmla="*/ 248494 h 1867037"/>
                  <a:gd name="connsiteX11238" fmla="*/ 1288230 w 2417513"/>
                  <a:gd name="connsiteY11238" fmla="*/ 248797 h 1867037"/>
                  <a:gd name="connsiteX11239" fmla="*/ 1298685 w 2417513"/>
                  <a:gd name="connsiteY11239" fmla="*/ 244857 h 1867037"/>
                  <a:gd name="connsiteX11240" fmla="*/ 1303382 w 2417513"/>
                  <a:gd name="connsiteY11240" fmla="*/ 243948 h 1867037"/>
                  <a:gd name="connsiteX11241" fmla="*/ 1313079 w 2417513"/>
                  <a:gd name="connsiteY11241" fmla="*/ 240160 h 1867037"/>
                  <a:gd name="connsiteX11242" fmla="*/ 1318685 w 2417513"/>
                  <a:gd name="connsiteY11242" fmla="*/ 238948 h 1867037"/>
                  <a:gd name="connsiteX11243" fmla="*/ 1323534 w 2417513"/>
                  <a:gd name="connsiteY11243" fmla="*/ 238948 h 1867037"/>
                  <a:gd name="connsiteX11244" fmla="*/ 1327928 w 2417513"/>
                  <a:gd name="connsiteY11244" fmla="*/ 239706 h 1867037"/>
                  <a:gd name="connsiteX11245" fmla="*/ 1334444 w 2417513"/>
                  <a:gd name="connsiteY11245" fmla="*/ 243797 h 1867037"/>
                  <a:gd name="connsiteX11246" fmla="*/ 1349596 w 2417513"/>
                  <a:gd name="connsiteY11246" fmla="*/ 244403 h 1867037"/>
                  <a:gd name="connsiteX11247" fmla="*/ 1360353 w 2417513"/>
                  <a:gd name="connsiteY11247" fmla="*/ 243948 h 1867037"/>
                  <a:gd name="connsiteX11248" fmla="*/ 1359141 w 2417513"/>
                  <a:gd name="connsiteY11248" fmla="*/ 244706 h 1867037"/>
                  <a:gd name="connsiteX11249" fmla="*/ 1344747 w 2417513"/>
                  <a:gd name="connsiteY11249" fmla="*/ 247433 h 1867037"/>
                  <a:gd name="connsiteX11250" fmla="*/ 1326110 w 2417513"/>
                  <a:gd name="connsiteY11250" fmla="*/ 249555 h 1867037"/>
                  <a:gd name="connsiteX11251" fmla="*/ 1322322 w 2417513"/>
                  <a:gd name="connsiteY11251" fmla="*/ 255464 h 1867037"/>
                  <a:gd name="connsiteX11252" fmla="*/ 1317928 w 2417513"/>
                  <a:gd name="connsiteY11252" fmla="*/ 257282 h 1867037"/>
                  <a:gd name="connsiteX11253" fmla="*/ 1311715 w 2417513"/>
                  <a:gd name="connsiteY11253" fmla="*/ 257282 h 1867037"/>
                  <a:gd name="connsiteX11254" fmla="*/ 1305503 w 2417513"/>
                  <a:gd name="connsiteY11254" fmla="*/ 258191 h 1867037"/>
                  <a:gd name="connsiteX11255" fmla="*/ 1287472 w 2417513"/>
                  <a:gd name="connsiteY11255" fmla="*/ 264404 h 1867037"/>
                  <a:gd name="connsiteX11256" fmla="*/ 1281714 w 2417513"/>
                  <a:gd name="connsiteY11256" fmla="*/ 266979 h 1867037"/>
                  <a:gd name="connsiteX11257" fmla="*/ 1281563 w 2417513"/>
                  <a:gd name="connsiteY11257" fmla="*/ 268343 h 1867037"/>
                  <a:gd name="connsiteX11258" fmla="*/ 1282017 w 2417513"/>
                  <a:gd name="connsiteY11258" fmla="*/ 269707 h 1867037"/>
                  <a:gd name="connsiteX11259" fmla="*/ 1283078 w 2417513"/>
                  <a:gd name="connsiteY11259" fmla="*/ 271071 h 1867037"/>
                  <a:gd name="connsiteX11260" fmla="*/ 1288836 w 2417513"/>
                  <a:gd name="connsiteY11260" fmla="*/ 274555 h 1867037"/>
                  <a:gd name="connsiteX11261" fmla="*/ 1304291 w 2417513"/>
                  <a:gd name="connsiteY11261" fmla="*/ 278495 h 1867037"/>
                  <a:gd name="connsiteX11262" fmla="*/ 1309140 w 2417513"/>
                  <a:gd name="connsiteY11262" fmla="*/ 280465 h 1867037"/>
                  <a:gd name="connsiteX11263" fmla="*/ 1307776 w 2417513"/>
                  <a:gd name="connsiteY11263" fmla="*/ 280919 h 1867037"/>
                  <a:gd name="connsiteX11264" fmla="*/ 1298078 w 2417513"/>
                  <a:gd name="connsiteY11264" fmla="*/ 280465 h 1867037"/>
                  <a:gd name="connsiteX11265" fmla="*/ 1296412 w 2417513"/>
                  <a:gd name="connsiteY11265" fmla="*/ 281071 h 1867037"/>
                  <a:gd name="connsiteX11266" fmla="*/ 1296109 w 2417513"/>
                  <a:gd name="connsiteY11266" fmla="*/ 282132 h 1867037"/>
                  <a:gd name="connsiteX11267" fmla="*/ 1298382 w 2417513"/>
                  <a:gd name="connsiteY11267" fmla="*/ 284707 h 1867037"/>
                  <a:gd name="connsiteX11268" fmla="*/ 1302776 w 2417513"/>
                  <a:gd name="connsiteY11268" fmla="*/ 288647 h 1867037"/>
                  <a:gd name="connsiteX11269" fmla="*/ 1306109 w 2417513"/>
                  <a:gd name="connsiteY11269" fmla="*/ 290768 h 1867037"/>
                  <a:gd name="connsiteX11270" fmla="*/ 1310352 w 2417513"/>
                  <a:gd name="connsiteY11270" fmla="*/ 291223 h 1867037"/>
                  <a:gd name="connsiteX11271" fmla="*/ 1314140 w 2417513"/>
                  <a:gd name="connsiteY11271" fmla="*/ 290465 h 1867037"/>
                  <a:gd name="connsiteX11272" fmla="*/ 1321110 w 2417513"/>
                  <a:gd name="connsiteY11272" fmla="*/ 290920 h 1867037"/>
                  <a:gd name="connsiteX11273" fmla="*/ 1342474 w 2417513"/>
                  <a:gd name="connsiteY11273" fmla="*/ 293496 h 1867037"/>
                  <a:gd name="connsiteX11274" fmla="*/ 1344292 w 2417513"/>
                  <a:gd name="connsiteY11274" fmla="*/ 294708 h 1867037"/>
                  <a:gd name="connsiteX11275" fmla="*/ 1332474 w 2417513"/>
                  <a:gd name="connsiteY11275" fmla="*/ 296071 h 1867037"/>
                  <a:gd name="connsiteX11276" fmla="*/ 1320807 w 2417513"/>
                  <a:gd name="connsiteY11276" fmla="*/ 298193 h 1867037"/>
                  <a:gd name="connsiteX11277" fmla="*/ 1317473 w 2417513"/>
                  <a:gd name="connsiteY11277" fmla="*/ 299859 h 1867037"/>
                  <a:gd name="connsiteX11278" fmla="*/ 1318534 w 2417513"/>
                  <a:gd name="connsiteY11278" fmla="*/ 301678 h 1867037"/>
                  <a:gd name="connsiteX11279" fmla="*/ 1322019 w 2417513"/>
                  <a:gd name="connsiteY11279" fmla="*/ 304102 h 1867037"/>
                  <a:gd name="connsiteX11280" fmla="*/ 1330958 w 2417513"/>
                  <a:gd name="connsiteY11280" fmla="*/ 308648 h 1867037"/>
                  <a:gd name="connsiteX11281" fmla="*/ 1343383 w 2417513"/>
                  <a:gd name="connsiteY11281" fmla="*/ 313193 h 1867037"/>
                  <a:gd name="connsiteX11282" fmla="*/ 1356717 w 2417513"/>
                  <a:gd name="connsiteY11282" fmla="*/ 316072 h 1867037"/>
                  <a:gd name="connsiteX11283" fmla="*/ 1370202 w 2417513"/>
                  <a:gd name="connsiteY11283" fmla="*/ 317890 h 1867037"/>
                  <a:gd name="connsiteX11284" fmla="*/ 1378536 w 2417513"/>
                  <a:gd name="connsiteY11284" fmla="*/ 318345 h 1867037"/>
                  <a:gd name="connsiteX11285" fmla="*/ 1384748 w 2417513"/>
                  <a:gd name="connsiteY11285" fmla="*/ 317587 h 1867037"/>
                  <a:gd name="connsiteX11286" fmla="*/ 1386415 w 2417513"/>
                  <a:gd name="connsiteY11286" fmla="*/ 316375 h 1867037"/>
                  <a:gd name="connsiteX11287" fmla="*/ 1385506 w 2417513"/>
                  <a:gd name="connsiteY11287" fmla="*/ 314405 h 1867037"/>
                  <a:gd name="connsiteX11288" fmla="*/ 1384142 w 2417513"/>
                  <a:gd name="connsiteY11288" fmla="*/ 312739 h 1867037"/>
                  <a:gd name="connsiteX11289" fmla="*/ 1382324 w 2417513"/>
                  <a:gd name="connsiteY11289" fmla="*/ 311375 h 1867037"/>
                  <a:gd name="connsiteX11290" fmla="*/ 1377324 w 2417513"/>
                  <a:gd name="connsiteY11290" fmla="*/ 309102 h 1867037"/>
                  <a:gd name="connsiteX11291" fmla="*/ 1378233 w 2417513"/>
                  <a:gd name="connsiteY11291" fmla="*/ 308193 h 1867037"/>
                  <a:gd name="connsiteX11292" fmla="*/ 1382627 w 2417513"/>
                  <a:gd name="connsiteY11292" fmla="*/ 307587 h 1867037"/>
                  <a:gd name="connsiteX11293" fmla="*/ 1387021 w 2417513"/>
                  <a:gd name="connsiteY11293" fmla="*/ 307739 h 1867037"/>
                  <a:gd name="connsiteX11294" fmla="*/ 1391415 w 2417513"/>
                  <a:gd name="connsiteY11294" fmla="*/ 308648 h 1867037"/>
                  <a:gd name="connsiteX11295" fmla="*/ 1394446 w 2417513"/>
                  <a:gd name="connsiteY11295" fmla="*/ 310011 h 1867037"/>
                  <a:gd name="connsiteX11296" fmla="*/ 1396112 w 2417513"/>
                  <a:gd name="connsiteY11296" fmla="*/ 311678 h 1867037"/>
                  <a:gd name="connsiteX11297" fmla="*/ 1398688 w 2417513"/>
                  <a:gd name="connsiteY11297" fmla="*/ 313193 h 1867037"/>
                  <a:gd name="connsiteX11298" fmla="*/ 1404749 w 2417513"/>
                  <a:gd name="connsiteY11298" fmla="*/ 315921 h 1867037"/>
                  <a:gd name="connsiteX11299" fmla="*/ 1406719 w 2417513"/>
                  <a:gd name="connsiteY11299" fmla="*/ 317436 h 1867037"/>
                  <a:gd name="connsiteX11300" fmla="*/ 1408234 w 2417513"/>
                  <a:gd name="connsiteY11300" fmla="*/ 317890 h 1867037"/>
                  <a:gd name="connsiteX11301" fmla="*/ 1409143 w 2417513"/>
                  <a:gd name="connsiteY11301" fmla="*/ 317133 h 1867037"/>
                  <a:gd name="connsiteX11302" fmla="*/ 1408689 w 2417513"/>
                  <a:gd name="connsiteY11302" fmla="*/ 315315 h 1867037"/>
                  <a:gd name="connsiteX11303" fmla="*/ 1405810 w 2417513"/>
                  <a:gd name="connsiteY11303" fmla="*/ 310769 h 1867037"/>
                  <a:gd name="connsiteX11304" fmla="*/ 1401870 w 2417513"/>
                  <a:gd name="connsiteY11304" fmla="*/ 305314 h 1867037"/>
                  <a:gd name="connsiteX11305" fmla="*/ 1395203 w 2417513"/>
                  <a:gd name="connsiteY11305" fmla="*/ 297738 h 1867037"/>
                  <a:gd name="connsiteX11306" fmla="*/ 1393082 w 2417513"/>
                  <a:gd name="connsiteY11306" fmla="*/ 294556 h 1867037"/>
                  <a:gd name="connsiteX11307" fmla="*/ 1394143 w 2417513"/>
                  <a:gd name="connsiteY11307" fmla="*/ 291071 h 1867037"/>
                  <a:gd name="connsiteX11308" fmla="*/ 1395355 w 2417513"/>
                  <a:gd name="connsiteY11308" fmla="*/ 291374 h 1867037"/>
                  <a:gd name="connsiteX11309" fmla="*/ 1397173 w 2417513"/>
                  <a:gd name="connsiteY11309" fmla="*/ 293041 h 1867037"/>
                  <a:gd name="connsiteX11310" fmla="*/ 1404597 w 2417513"/>
                  <a:gd name="connsiteY11310" fmla="*/ 301072 h 1867037"/>
                  <a:gd name="connsiteX11311" fmla="*/ 1409598 w 2417513"/>
                  <a:gd name="connsiteY11311" fmla="*/ 305163 h 1867037"/>
                  <a:gd name="connsiteX11312" fmla="*/ 1419901 w 2417513"/>
                  <a:gd name="connsiteY11312" fmla="*/ 314708 h 1867037"/>
                  <a:gd name="connsiteX11313" fmla="*/ 1423386 w 2417513"/>
                  <a:gd name="connsiteY11313" fmla="*/ 316224 h 1867037"/>
                  <a:gd name="connsiteX11314" fmla="*/ 1427477 w 2417513"/>
                  <a:gd name="connsiteY11314" fmla="*/ 316072 h 1867037"/>
                  <a:gd name="connsiteX11315" fmla="*/ 1428386 w 2417513"/>
                  <a:gd name="connsiteY11315" fmla="*/ 315618 h 1867037"/>
                  <a:gd name="connsiteX11316" fmla="*/ 1429902 w 2417513"/>
                  <a:gd name="connsiteY11316" fmla="*/ 312739 h 1867037"/>
                  <a:gd name="connsiteX11317" fmla="*/ 1432174 w 2417513"/>
                  <a:gd name="connsiteY11317" fmla="*/ 307284 h 1867037"/>
                  <a:gd name="connsiteX11318" fmla="*/ 1433387 w 2417513"/>
                  <a:gd name="connsiteY11318" fmla="*/ 303799 h 1867037"/>
                  <a:gd name="connsiteX11319" fmla="*/ 1432932 w 2417513"/>
                  <a:gd name="connsiteY11319" fmla="*/ 299556 h 1867037"/>
                  <a:gd name="connsiteX11320" fmla="*/ 1430508 w 2417513"/>
                  <a:gd name="connsiteY11320" fmla="*/ 294556 h 1867037"/>
                  <a:gd name="connsiteX11321" fmla="*/ 1429750 w 2417513"/>
                  <a:gd name="connsiteY11321" fmla="*/ 292283 h 1867037"/>
                  <a:gd name="connsiteX11322" fmla="*/ 1430659 w 2417513"/>
                  <a:gd name="connsiteY11322" fmla="*/ 291526 h 1867037"/>
                  <a:gd name="connsiteX11323" fmla="*/ 1434144 w 2417513"/>
                  <a:gd name="connsiteY11323" fmla="*/ 291223 h 1867037"/>
                  <a:gd name="connsiteX11324" fmla="*/ 1442175 w 2417513"/>
                  <a:gd name="connsiteY11324" fmla="*/ 297587 h 1867037"/>
                  <a:gd name="connsiteX11325" fmla="*/ 1445963 w 2417513"/>
                  <a:gd name="connsiteY11325" fmla="*/ 298799 h 1867037"/>
                  <a:gd name="connsiteX11326" fmla="*/ 1448842 w 2417513"/>
                  <a:gd name="connsiteY11326" fmla="*/ 297738 h 1867037"/>
                  <a:gd name="connsiteX11327" fmla="*/ 1450357 w 2417513"/>
                  <a:gd name="connsiteY11327" fmla="*/ 295162 h 1867037"/>
                  <a:gd name="connsiteX11328" fmla="*/ 1450660 w 2417513"/>
                  <a:gd name="connsiteY11328" fmla="*/ 293496 h 1867037"/>
                  <a:gd name="connsiteX11329" fmla="*/ 1450357 w 2417513"/>
                  <a:gd name="connsiteY11329" fmla="*/ 291677 h 1867037"/>
                  <a:gd name="connsiteX11330" fmla="*/ 1449751 w 2417513"/>
                  <a:gd name="connsiteY11330" fmla="*/ 290465 h 1867037"/>
                  <a:gd name="connsiteX11331" fmla="*/ 1448842 w 2417513"/>
                  <a:gd name="connsiteY11331" fmla="*/ 289708 h 1867037"/>
                  <a:gd name="connsiteX11332" fmla="*/ 1443690 w 2417513"/>
                  <a:gd name="connsiteY11332" fmla="*/ 288192 h 1867037"/>
                  <a:gd name="connsiteX11333" fmla="*/ 1442932 w 2417513"/>
                  <a:gd name="connsiteY11333" fmla="*/ 286980 h 1867037"/>
                  <a:gd name="connsiteX11334" fmla="*/ 1444751 w 2417513"/>
                  <a:gd name="connsiteY11334" fmla="*/ 285465 h 1867037"/>
                  <a:gd name="connsiteX11335" fmla="*/ 1445357 w 2417513"/>
                  <a:gd name="connsiteY11335" fmla="*/ 282435 h 1867037"/>
                  <a:gd name="connsiteX11336" fmla="*/ 1444751 w 2417513"/>
                  <a:gd name="connsiteY11336" fmla="*/ 275010 h 1867037"/>
                  <a:gd name="connsiteX11337" fmla="*/ 1445508 w 2417513"/>
                  <a:gd name="connsiteY11337" fmla="*/ 271071 h 1867037"/>
                  <a:gd name="connsiteX11338" fmla="*/ 1447175 w 2417513"/>
                  <a:gd name="connsiteY11338" fmla="*/ 268646 h 1867037"/>
                  <a:gd name="connsiteX11339" fmla="*/ 1448993 w 2417513"/>
                  <a:gd name="connsiteY11339" fmla="*/ 267282 h 1867037"/>
                  <a:gd name="connsiteX11340" fmla="*/ 1453387 w 2417513"/>
                  <a:gd name="connsiteY11340" fmla="*/ 264707 h 1867037"/>
                  <a:gd name="connsiteX11341" fmla="*/ 1454751 w 2417513"/>
                  <a:gd name="connsiteY11341" fmla="*/ 264252 h 1867037"/>
                  <a:gd name="connsiteX11342" fmla="*/ 1455054 w 2417513"/>
                  <a:gd name="connsiteY11342" fmla="*/ 264858 h 1867037"/>
                  <a:gd name="connsiteX11343" fmla="*/ 1452175 w 2417513"/>
                  <a:gd name="connsiteY11343" fmla="*/ 270010 h 1867037"/>
                  <a:gd name="connsiteX11344" fmla="*/ 1451266 w 2417513"/>
                  <a:gd name="connsiteY11344" fmla="*/ 272131 h 1867037"/>
                  <a:gd name="connsiteX11345" fmla="*/ 1451114 w 2417513"/>
                  <a:gd name="connsiteY11345" fmla="*/ 273495 h 1867037"/>
                  <a:gd name="connsiteX11346" fmla="*/ 1451266 w 2417513"/>
                  <a:gd name="connsiteY11346" fmla="*/ 276071 h 1867037"/>
                  <a:gd name="connsiteX11347" fmla="*/ 1452175 w 2417513"/>
                  <a:gd name="connsiteY11347" fmla="*/ 282132 h 1867037"/>
                  <a:gd name="connsiteX11348" fmla="*/ 1453842 w 2417513"/>
                  <a:gd name="connsiteY11348" fmla="*/ 284859 h 1867037"/>
                  <a:gd name="connsiteX11349" fmla="*/ 1460509 w 2417513"/>
                  <a:gd name="connsiteY11349" fmla="*/ 286677 h 1867037"/>
                  <a:gd name="connsiteX11350" fmla="*/ 1464297 w 2417513"/>
                  <a:gd name="connsiteY11350" fmla="*/ 284101 h 1867037"/>
                  <a:gd name="connsiteX11351" fmla="*/ 1470661 w 2417513"/>
                  <a:gd name="connsiteY11351" fmla="*/ 278343 h 1867037"/>
                  <a:gd name="connsiteX11352" fmla="*/ 1475206 w 2417513"/>
                  <a:gd name="connsiteY11352" fmla="*/ 275162 h 1867037"/>
                  <a:gd name="connsiteX11353" fmla="*/ 1477025 w 2417513"/>
                  <a:gd name="connsiteY11353" fmla="*/ 273192 h 1867037"/>
                  <a:gd name="connsiteX11354" fmla="*/ 1478691 w 2417513"/>
                  <a:gd name="connsiteY11354" fmla="*/ 268495 h 1867037"/>
                  <a:gd name="connsiteX11355" fmla="*/ 1479903 w 2417513"/>
                  <a:gd name="connsiteY11355" fmla="*/ 268040 h 1867037"/>
                  <a:gd name="connsiteX11356" fmla="*/ 1485207 w 2417513"/>
                  <a:gd name="connsiteY11356" fmla="*/ 268495 h 1867037"/>
                  <a:gd name="connsiteX11357" fmla="*/ 1487631 w 2417513"/>
                  <a:gd name="connsiteY11357" fmla="*/ 267586 h 1867037"/>
                  <a:gd name="connsiteX11358" fmla="*/ 1492480 w 2417513"/>
                  <a:gd name="connsiteY11358" fmla="*/ 264707 h 1867037"/>
                  <a:gd name="connsiteX11359" fmla="*/ 1502329 w 2417513"/>
                  <a:gd name="connsiteY11359" fmla="*/ 260919 h 1867037"/>
                  <a:gd name="connsiteX11360" fmla="*/ 1524299 w 2417513"/>
                  <a:gd name="connsiteY11360" fmla="*/ 254252 h 1867037"/>
                  <a:gd name="connsiteX11361" fmla="*/ 1527329 w 2417513"/>
                  <a:gd name="connsiteY11361" fmla="*/ 252736 h 1867037"/>
                  <a:gd name="connsiteX11362" fmla="*/ 1531117 w 2417513"/>
                  <a:gd name="connsiteY11362" fmla="*/ 249555 h 1867037"/>
                  <a:gd name="connsiteX11363" fmla="*/ 1530511 w 2417513"/>
                  <a:gd name="connsiteY11363" fmla="*/ 246827 h 1867037"/>
                  <a:gd name="connsiteX11364" fmla="*/ 1527481 w 2417513"/>
                  <a:gd name="connsiteY11364" fmla="*/ 243191 h 1867037"/>
                  <a:gd name="connsiteX11365" fmla="*/ 1518541 w 2417513"/>
                  <a:gd name="connsiteY11365" fmla="*/ 234402 h 1867037"/>
                  <a:gd name="connsiteX11366" fmla="*/ 1514602 w 2417513"/>
                  <a:gd name="connsiteY11366" fmla="*/ 229402 h 1867037"/>
                  <a:gd name="connsiteX11367" fmla="*/ 1513693 w 2417513"/>
                  <a:gd name="connsiteY11367" fmla="*/ 229099 h 1867037"/>
                  <a:gd name="connsiteX11368" fmla="*/ 1511723 w 2417513"/>
                  <a:gd name="connsiteY11368" fmla="*/ 230311 h 1867037"/>
                  <a:gd name="connsiteX11369" fmla="*/ 1510207 w 2417513"/>
                  <a:gd name="connsiteY11369" fmla="*/ 231675 h 1867037"/>
                  <a:gd name="connsiteX11370" fmla="*/ 1506268 w 2417513"/>
                  <a:gd name="connsiteY11370" fmla="*/ 237130 h 1867037"/>
                  <a:gd name="connsiteX11371" fmla="*/ 1504753 w 2417513"/>
                  <a:gd name="connsiteY11371" fmla="*/ 237584 h 1867037"/>
                  <a:gd name="connsiteX11372" fmla="*/ 1502631 w 2417513"/>
                  <a:gd name="connsiteY11372" fmla="*/ 233190 h 1867037"/>
                  <a:gd name="connsiteX11373" fmla="*/ 1500056 w 2417513"/>
                  <a:gd name="connsiteY11373" fmla="*/ 229857 h 1867037"/>
                  <a:gd name="connsiteX11374" fmla="*/ 1498692 w 2417513"/>
                  <a:gd name="connsiteY11374" fmla="*/ 228796 h 1867037"/>
                  <a:gd name="connsiteX11375" fmla="*/ 1495813 w 2417513"/>
                  <a:gd name="connsiteY11375" fmla="*/ 228039 h 1867037"/>
                  <a:gd name="connsiteX11376" fmla="*/ 1487328 w 2417513"/>
                  <a:gd name="connsiteY11376" fmla="*/ 227281 h 1867037"/>
                  <a:gd name="connsiteX11377" fmla="*/ 1481570 w 2417513"/>
                  <a:gd name="connsiteY11377" fmla="*/ 230311 h 1867037"/>
                  <a:gd name="connsiteX11378" fmla="*/ 1479752 w 2417513"/>
                  <a:gd name="connsiteY11378" fmla="*/ 230766 h 1867037"/>
                  <a:gd name="connsiteX11379" fmla="*/ 1471115 w 2417513"/>
                  <a:gd name="connsiteY11379" fmla="*/ 231978 h 1867037"/>
                  <a:gd name="connsiteX11380" fmla="*/ 1469751 w 2417513"/>
                  <a:gd name="connsiteY11380" fmla="*/ 231372 h 1867037"/>
                  <a:gd name="connsiteX11381" fmla="*/ 1471873 w 2417513"/>
                  <a:gd name="connsiteY11381" fmla="*/ 228342 h 1867037"/>
                  <a:gd name="connsiteX11382" fmla="*/ 1473994 w 2417513"/>
                  <a:gd name="connsiteY11382" fmla="*/ 226372 h 1867037"/>
                  <a:gd name="connsiteX11383" fmla="*/ 1476570 w 2417513"/>
                  <a:gd name="connsiteY11383" fmla="*/ 217432 h 1867037"/>
                  <a:gd name="connsiteX11384" fmla="*/ 1478540 w 2417513"/>
                  <a:gd name="connsiteY11384" fmla="*/ 211826 h 1867037"/>
                  <a:gd name="connsiteX11385" fmla="*/ 1475812 w 2417513"/>
                  <a:gd name="connsiteY11385" fmla="*/ 207280 h 1867037"/>
                  <a:gd name="connsiteX11386" fmla="*/ 1472327 w 2417513"/>
                  <a:gd name="connsiteY11386" fmla="*/ 202432 h 1867037"/>
                  <a:gd name="connsiteX11387" fmla="*/ 1468842 w 2417513"/>
                  <a:gd name="connsiteY11387" fmla="*/ 202280 h 1867037"/>
                  <a:gd name="connsiteX11388" fmla="*/ 1460054 w 2417513"/>
                  <a:gd name="connsiteY11388" fmla="*/ 200159 h 1867037"/>
                  <a:gd name="connsiteX11389" fmla="*/ 1454297 w 2417513"/>
                  <a:gd name="connsiteY11389" fmla="*/ 199704 h 1867037"/>
                  <a:gd name="connsiteX11390" fmla="*/ 1452630 w 2417513"/>
                  <a:gd name="connsiteY11390" fmla="*/ 199098 h 1867037"/>
                  <a:gd name="connsiteX11391" fmla="*/ 1454145 w 2417513"/>
                  <a:gd name="connsiteY11391" fmla="*/ 196825 h 1867037"/>
                  <a:gd name="connsiteX11392" fmla="*/ 1460812 w 2417513"/>
                  <a:gd name="connsiteY11392" fmla="*/ 193492 h 1867037"/>
                  <a:gd name="connsiteX11393" fmla="*/ 1460963 w 2417513"/>
                  <a:gd name="connsiteY11393" fmla="*/ 192280 h 1867037"/>
                  <a:gd name="connsiteX11394" fmla="*/ 1460660 w 2417513"/>
                  <a:gd name="connsiteY11394" fmla="*/ 186370 h 1867037"/>
                  <a:gd name="connsiteX11395" fmla="*/ 1460206 w 2417513"/>
                  <a:gd name="connsiteY11395" fmla="*/ 183340 h 1867037"/>
                  <a:gd name="connsiteX11396" fmla="*/ 1459448 w 2417513"/>
                  <a:gd name="connsiteY11396" fmla="*/ 181825 h 1867037"/>
                  <a:gd name="connsiteX11397" fmla="*/ 1451720 w 2417513"/>
                  <a:gd name="connsiteY11397" fmla="*/ 179097 h 1867037"/>
                  <a:gd name="connsiteX11398" fmla="*/ 1447175 w 2417513"/>
                  <a:gd name="connsiteY11398" fmla="*/ 178188 h 1867037"/>
                  <a:gd name="connsiteX11399" fmla="*/ 1438993 w 2417513"/>
                  <a:gd name="connsiteY11399" fmla="*/ 178340 h 1867037"/>
                  <a:gd name="connsiteX11400" fmla="*/ 1436266 w 2417513"/>
                  <a:gd name="connsiteY11400" fmla="*/ 178946 h 1867037"/>
                  <a:gd name="connsiteX11401" fmla="*/ 1433083 w 2417513"/>
                  <a:gd name="connsiteY11401" fmla="*/ 180916 h 1867037"/>
                  <a:gd name="connsiteX11402" fmla="*/ 1432477 w 2417513"/>
                  <a:gd name="connsiteY11402" fmla="*/ 183340 h 1867037"/>
                  <a:gd name="connsiteX11403" fmla="*/ 1432932 w 2417513"/>
                  <a:gd name="connsiteY11403" fmla="*/ 186977 h 1867037"/>
                  <a:gd name="connsiteX11404" fmla="*/ 1433841 w 2417513"/>
                  <a:gd name="connsiteY11404" fmla="*/ 189098 h 1867037"/>
                  <a:gd name="connsiteX11405" fmla="*/ 1440205 w 2417513"/>
                  <a:gd name="connsiteY11405" fmla="*/ 191068 h 1867037"/>
                  <a:gd name="connsiteX11406" fmla="*/ 1443690 w 2417513"/>
                  <a:gd name="connsiteY11406" fmla="*/ 194704 h 1867037"/>
                  <a:gd name="connsiteX11407" fmla="*/ 1445357 w 2417513"/>
                  <a:gd name="connsiteY11407" fmla="*/ 197280 h 1867037"/>
                  <a:gd name="connsiteX11408" fmla="*/ 1445205 w 2417513"/>
                  <a:gd name="connsiteY11408" fmla="*/ 198189 h 1867037"/>
                  <a:gd name="connsiteX11409" fmla="*/ 1441720 w 2417513"/>
                  <a:gd name="connsiteY11409" fmla="*/ 196825 h 1867037"/>
                  <a:gd name="connsiteX11410" fmla="*/ 1435962 w 2417513"/>
                  <a:gd name="connsiteY11410" fmla="*/ 196977 h 1867037"/>
                  <a:gd name="connsiteX11411" fmla="*/ 1427174 w 2417513"/>
                  <a:gd name="connsiteY11411" fmla="*/ 194704 h 1867037"/>
                  <a:gd name="connsiteX11412" fmla="*/ 1422780 w 2417513"/>
                  <a:gd name="connsiteY11412" fmla="*/ 192734 h 1867037"/>
                  <a:gd name="connsiteX11413" fmla="*/ 1417931 w 2417513"/>
                  <a:gd name="connsiteY11413" fmla="*/ 188643 h 1867037"/>
                  <a:gd name="connsiteX11414" fmla="*/ 1417477 w 2417513"/>
                  <a:gd name="connsiteY11414" fmla="*/ 186977 h 1867037"/>
                  <a:gd name="connsiteX11415" fmla="*/ 1419447 w 2417513"/>
                  <a:gd name="connsiteY11415" fmla="*/ 182431 h 1867037"/>
                  <a:gd name="connsiteX11416" fmla="*/ 1419295 w 2417513"/>
                  <a:gd name="connsiteY11416" fmla="*/ 181219 h 1867037"/>
                  <a:gd name="connsiteX11417" fmla="*/ 1418083 w 2417513"/>
                  <a:gd name="connsiteY11417" fmla="*/ 180310 h 1867037"/>
                  <a:gd name="connsiteX11418" fmla="*/ 1417931 w 2417513"/>
                  <a:gd name="connsiteY11418" fmla="*/ 179552 h 1867037"/>
                  <a:gd name="connsiteX11419" fmla="*/ 1419901 w 2417513"/>
                  <a:gd name="connsiteY11419" fmla="*/ 177431 h 1867037"/>
                  <a:gd name="connsiteX11420" fmla="*/ 1419144 w 2417513"/>
                  <a:gd name="connsiteY11420" fmla="*/ 175916 h 1867037"/>
                  <a:gd name="connsiteX11421" fmla="*/ 1418386 w 2417513"/>
                  <a:gd name="connsiteY11421" fmla="*/ 174552 h 1867037"/>
                  <a:gd name="connsiteX11422" fmla="*/ 1416568 w 2417513"/>
                  <a:gd name="connsiteY11422" fmla="*/ 172582 h 1867037"/>
                  <a:gd name="connsiteX11423" fmla="*/ 1413992 w 2417513"/>
                  <a:gd name="connsiteY11423" fmla="*/ 171218 h 1867037"/>
                  <a:gd name="connsiteX11424" fmla="*/ 1408689 w 2417513"/>
                  <a:gd name="connsiteY11424" fmla="*/ 170764 h 1867037"/>
                  <a:gd name="connsiteX11425" fmla="*/ 1404597 w 2417513"/>
                  <a:gd name="connsiteY11425" fmla="*/ 171218 h 1867037"/>
                  <a:gd name="connsiteX11426" fmla="*/ 1401264 w 2417513"/>
                  <a:gd name="connsiteY11426" fmla="*/ 173037 h 1867037"/>
                  <a:gd name="connsiteX11427" fmla="*/ 1399446 w 2417513"/>
                  <a:gd name="connsiteY11427" fmla="*/ 173188 h 1867037"/>
                  <a:gd name="connsiteX11428" fmla="*/ 1389749 w 2417513"/>
                  <a:gd name="connsiteY11428" fmla="*/ 170006 h 1867037"/>
                  <a:gd name="connsiteX11429" fmla="*/ 1380960 w 2417513"/>
                  <a:gd name="connsiteY11429" fmla="*/ 168188 h 1867037"/>
                  <a:gd name="connsiteX11430" fmla="*/ 1378081 w 2417513"/>
                  <a:gd name="connsiteY11430" fmla="*/ 167127 h 1867037"/>
                  <a:gd name="connsiteX11431" fmla="*/ 1378384 w 2417513"/>
                  <a:gd name="connsiteY11431" fmla="*/ 164097 h 1867037"/>
                  <a:gd name="connsiteX11432" fmla="*/ 1378233 w 2417513"/>
                  <a:gd name="connsiteY11432" fmla="*/ 163188 h 1867037"/>
                  <a:gd name="connsiteX11433" fmla="*/ 1377021 w 2417513"/>
                  <a:gd name="connsiteY11433" fmla="*/ 161066 h 1867037"/>
                  <a:gd name="connsiteX11434" fmla="*/ 1366869 w 2417513"/>
                  <a:gd name="connsiteY11434" fmla="*/ 155309 h 1867037"/>
                  <a:gd name="connsiteX11435" fmla="*/ 1360960 w 2417513"/>
                  <a:gd name="connsiteY11435" fmla="*/ 150612 h 1867037"/>
                  <a:gd name="connsiteX11436" fmla="*/ 1347777 w 2417513"/>
                  <a:gd name="connsiteY11436" fmla="*/ 137732 h 1867037"/>
                  <a:gd name="connsiteX11437" fmla="*/ 1344141 w 2417513"/>
                  <a:gd name="connsiteY11437" fmla="*/ 132278 h 1867037"/>
                  <a:gd name="connsiteX11438" fmla="*/ 1341110 w 2417513"/>
                  <a:gd name="connsiteY11438" fmla="*/ 128793 h 1867037"/>
                  <a:gd name="connsiteX11439" fmla="*/ 1335201 w 2417513"/>
                  <a:gd name="connsiteY11439" fmla="*/ 125005 h 1867037"/>
                  <a:gd name="connsiteX11440" fmla="*/ 1329746 w 2417513"/>
                  <a:gd name="connsiteY11440" fmla="*/ 122732 h 1867037"/>
                  <a:gd name="connsiteX11441" fmla="*/ 1312776 w 2417513"/>
                  <a:gd name="connsiteY11441" fmla="*/ 118338 h 1867037"/>
                  <a:gd name="connsiteX11442" fmla="*/ 1304594 w 2417513"/>
                  <a:gd name="connsiteY11442" fmla="*/ 117125 h 1867037"/>
                  <a:gd name="connsiteX11443" fmla="*/ 1297169 w 2417513"/>
                  <a:gd name="connsiteY11443" fmla="*/ 118035 h 1867037"/>
                  <a:gd name="connsiteX11444" fmla="*/ 1284745 w 2417513"/>
                  <a:gd name="connsiteY11444" fmla="*/ 118186 h 1867037"/>
                  <a:gd name="connsiteX11445" fmla="*/ 1281411 w 2417513"/>
                  <a:gd name="connsiteY11445" fmla="*/ 118792 h 1867037"/>
                  <a:gd name="connsiteX11446" fmla="*/ 1280351 w 2417513"/>
                  <a:gd name="connsiteY11446" fmla="*/ 119398 h 1867037"/>
                  <a:gd name="connsiteX11447" fmla="*/ 1280048 w 2417513"/>
                  <a:gd name="connsiteY11447" fmla="*/ 120459 h 1867037"/>
                  <a:gd name="connsiteX11448" fmla="*/ 1280048 w 2417513"/>
                  <a:gd name="connsiteY11448" fmla="*/ 122126 h 1867037"/>
                  <a:gd name="connsiteX11449" fmla="*/ 1280351 w 2417513"/>
                  <a:gd name="connsiteY11449" fmla="*/ 123792 h 1867037"/>
                  <a:gd name="connsiteX11450" fmla="*/ 1280957 w 2417513"/>
                  <a:gd name="connsiteY11450" fmla="*/ 125308 h 1867037"/>
                  <a:gd name="connsiteX11451" fmla="*/ 1283229 w 2417513"/>
                  <a:gd name="connsiteY11451" fmla="*/ 126368 h 1867037"/>
                  <a:gd name="connsiteX11452" fmla="*/ 1289139 w 2417513"/>
                  <a:gd name="connsiteY11452" fmla="*/ 127126 h 1867037"/>
                  <a:gd name="connsiteX11453" fmla="*/ 1302473 w 2417513"/>
                  <a:gd name="connsiteY11453" fmla="*/ 127429 h 1867037"/>
                  <a:gd name="connsiteX11454" fmla="*/ 1305806 w 2417513"/>
                  <a:gd name="connsiteY11454" fmla="*/ 129399 h 1867037"/>
                  <a:gd name="connsiteX11455" fmla="*/ 1307170 w 2417513"/>
                  <a:gd name="connsiteY11455" fmla="*/ 130914 h 1867037"/>
                  <a:gd name="connsiteX11456" fmla="*/ 1307170 w 2417513"/>
                  <a:gd name="connsiteY11456" fmla="*/ 132581 h 1867037"/>
                  <a:gd name="connsiteX11457" fmla="*/ 1305806 w 2417513"/>
                  <a:gd name="connsiteY11457" fmla="*/ 134399 h 1867037"/>
                  <a:gd name="connsiteX11458" fmla="*/ 1304139 w 2417513"/>
                  <a:gd name="connsiteY11458" fmla="*/ 135308 h 1867037"/>
                  <a:gd name="connsiteX11459" fmla="*/ 1301412 w 2417513"/>
                  <a:gd name="connsiteY11459" fmla="*/ 135459 h 1867037"/>
                  <a:gd name="connsiteX11460" fmla="*/ 1290957 w 2417513"/>
                  <a:gd name="connsiteY11460" fmla="*/ 133944 h 1867037"/>
                  <a:gd name="connsiteX11461" fmla="*/ 1280351 w 2417513"/>
                  <a:gd name="connsiteY11461" fmla="*/ 137126 h 1867037"/>
                  <a:gd name="connsiteX11462" fmla="*/ 1272017 w 2417513"/>
                  <a:gd name="connsiteY11462" fmla="*/ 138793 h 1867037"/>
                  <a:gd name="connsiteX11463" fmla="*/ 1259441 w 2417513"/>
                  <a:gd name="connsiteY11463" fmla="*/ 137581 h 1867037"/>
                  <a:gd name="connsiteX11464" fmla="*/ 1251562 w 2417513"/>
                  <a:gd name="connsiteY11464" fmla="*/ 140763 h 1867037"/>
                  <a:gd name="connsiteX11465" fmla="*/ 1245046 w 2417513"/>
                  <a:gd name="connsiteY11465" fmla="*/ 149551 h 1867037"/>
                  <a:gd name="connsiteX11466" fmla="*/ 1244895 w 2417513"/>
                  <a:gd name="connsiteY11466" fmla="*/ 151218 h 1867037"/>
                  <a:gd name="connsiteX11467" fmla="*/ 1253683 w 2417513"/>
                  <a:gd name="connsiteY11467" fmla="*/ 153187 h 1867037"/>
                  <a:gd name="connsiteX11468" fmla="*/ 1264896 w 2417513"/>
                  <a:gd name="connsiteY11468" fmla="*/ 156824 h 1867037"/>
                  <a:gd name="connsiteX11469" fmla="*/ 1270199 w 2417513"/>
                  <a:gd name="connsiteY11469" fmla="*/ 163945 h 1867037"/>
                  <a:gd name="connsiteX11470" fmla="*/ 1280957 w 2417513"/>
                  <a:gd name="connsiteY11470" fmla="*/ 165915 h 1867037"/>
                  <a:gd name="connsiteX11471" fmla="*/ 1285654 w 2417513"/>
                  <a:gd name="connsiteY11471" fmla="*/ 167430 h 1867037"/>
                  <a:gd name="connsiteX11472" fmla="*/ 1288381 w 2417513"/>
                  <a:gd name="connsiteY11472" fmla="*/ 169097 h 1867037"/>
                  <a:gd name="connsiteX11473" fmla="*/ 1273078 w 2417513"/>
                  <a:gd name="connsiteY11473" fmla="*/ 169097 h 1867037"/>
                  <a:gd name="connsiteX11474" fmla="*/ 1266259 w 2417513"/>
                  <a:gd name="connsiteY11474" fmla="*/ 168188 h 1867037"/>
                  <a:gd name="connsiteX11475" fmla="*/ 1261865 w 2417513"/>
                  <a:gd name="connsiteY11475" fmla="*/ 168339 h 1867037"/>
                  <a:gd name="connsiteX11476" fmla="*/ 1258229 w 2417513"/>
                  <a:gd name="connsiteY11476" fmla="*/ 163491 h 1867037"/>
                  <a:gd name="connsiteX11477" fmla="*/ 1252774 w 2417513"/>
                  <a:gd name="connsiteY11477" fmla="*/ 160915 h 1867037"/>
                  <a:gd name="connsiteX11478" fmla="*/ 1245198 w 2417513"/>
                  <a:gd name="connsiteY11478" fmla="*/ 160612 h 1867037"/>
                  <a:gd name="connsiteX11479" fmla="*/ 1239440 w 2417513"/>
                  <a:gd name="connsiteY11479" fmla="*/ 158339 h 1867037"/>
                  <a:gd name="connsiteX11480" fmla="*/ 1233531 w 2417513"/>
                  <a:gd name="connsiteY11480" fmla="*/ 158642 h 1867037"/>
                  <a:gd name="connsiteX11481" fmla="*/ 1227924 w 2417513"/>
                  <a:gd name="connsiteY11481" fmla="*/ 160460 h 1867037"/>
                  <a:gd name="connsiteX11482" fmla="*/ 1227470 w 2417513"/>
                  <a:gd name="connsiteY11482" fmla="*/ 169249 h 1867037"/>
                  <a:gd name="connsiteX11483" fmla="*/ 1234288 w 2417513"/>
                  <a:gd name="connsiteY11483" fmla="*/ 174552 h 1867037"/>
                  <a:gd name="connsiteX11484" fmla="*/ 1242167 w 2417513"/>
                  <a:gd name="connsiteY11484" fmla="*/ 179249 h 1867037"/>
                  <a:gd name="connsiteX11485" fmla="*/ 1243986 w 2417513"/>
                  <a:gd name="connsiteY11485" fmla="*/ 181067 h 1867037"/>
                  <a:gd name="connsiteX11486" fmla="*/ 1238531 w 2417513"/>
                  <a:gd name="connsiteY11486" fmla="*/ 181219 h 1867037"/>
                  <a:gd name="connsiteX11487" fmla="*/ 1231258 w 2417513"/>
                  <a:gd name="connsiteY11487" fmla="*/ 180158 h 1867037"/>
                  <a:gd name="connsiteX11488" fmla="*/ 1228530 w 2417513"/>
                  <a:gd name="connsiteY11488" fmla="*/ 180310 h 1867037"/>
                  <a:gd name="connsiteX11489" fmla="*/ 1222470 w 2417513"/>
                  <a:gd name="connsiteY11489" fmla="*/ 182128 h 1867037"/>
                  <a:gd name="connsiteX11490" fmla="*/ 1221106 w 2417513"/>
                  <a:gd name="connsiteY11490" fmla="*/ 183340 h 1867037"/>
                  <a:gd name="connsiteX11491" fmla="*/ 1220803 w 2417513"/>
                  <a:gd name="connsiteY11491" fmla="*/ 184401 h 1867037"/>
                  <a:gd name="connsiteX11492" fmla="*/ 1221561 w 2417513"/>
                  <a:gd name="connsiteY11492" fmla="*/ 185764 h 1867037"/>
                  <a:gd name="connsiteX11493" fmla="*/ 1223227 w 2417513"/>
                  <a:gd name="connsiteY11493" fmla="*/ 187431 h 1867037"/>
                  <a:gd name="connsiteX11494" fmla="*/ 1225803 w 2417513"/>
                  <a:gd name="connsiteY11494" fmla="*/ 188795 h 1867037"/>
                  <a:gd name="connsiteX11495" fmla="*/ 1230955 w 2417513"/>
                  <a:gd name="connsiteY11495" fmla="*/ 190310 h 1867037"/>
                  <a:gd name="connsiteX11496" fmla="*/ 1234288 w 2417513"/>
                  <a:gd name="connsiteY11496" fmla="*/ 190765 h 1867037"/>
                  <a:gd name="connsiteX11497" fmla="*/ 1241410 w 2417513"/>
                  <a:gd name="connsiteY11497" fmla="*/ 189704 h 1867037"/>
                  <a:gd name="connsiteX11498" fmla="*/ 1248077 w 2417513"/>
                  <a:gd name="connsiteY11498" fmla="*/ 195765 h 1867037"/>
                  <a:gd name="connsiteX11499" fmla="*/ 1253834 w 2417513"/>
                  <a:gd name="connsiteY11499" fmla="*/ 195765 h 1867037"/>
                  <a:gd name="connsiteX11500" fmla="*/ 1270350 w 2417513"/>
                  <a:gd name="connsiteY11500" fmla="*/ 191522 h 1867037"/>
                  <a:gd name="connsiteX11501" fmla="*/ 1279290 w 2417513"/>
                  <a:gd name="connsiteY11501" fmla="*/ 191977 h 1867037"/>
                  <a:gd name="connsiteX11502" fmla="*/ 1278078 w 2417513"/>
                  <a:gd name="connsiteY11502" fmla="*/ 192886 h 1867037"/>
                  <a:gd name="connsiteX11503" fmla="*/ 1270502 w 2417513"/>
                  <a:gd name="connsiteY11503" fmla="*/ 195462 h 1867037"/>
                  <a:gd name="connsiteX11504" fmla="*/ 1269896 w 2417513"/>
                  <a:gd name="connsiteY11504" fmla="*/ 196522 h 1867037"/>
                  <a:gd name="connsiteX11505" fmla="*/ 1269744 w 2417513"/>
                  <a:gd name="connsiteY11505" fmla="*/ 197886 h 1867037"/>
                  <a:gd name="connsiteX11506" fmla="*/ 1270047 w 2417513"/>
                  <a:gd name="connsiteY11506" fmla="*/ 199704 h 1867037"/>
                  <a:gd name="connsiteX11507" fmla="*/ 1269744 w 2417513"/>
                  <a:gd name="connsiteY11507" fmla="*/ 200916 h 1867037"/>
                  <a:gd name="connsiteX11508" fmla="*/ 1268380 w 2417513"/>
                  <a:gd name="connsiteY11508" fmla="*/ 201674 h 1867037"/>
                  <a:gd name="connsiteX11509" fmla="*/ 1769460 w 2417513"/>
                  <a:gd name="connsiteY11509" fmla="*/ 599870 h 1867037"/>
                  <a:gd name="connsiteX11510" fmla="*/ 1765975 w 2417513"/>
                  <a:gd name="connsiteY11510" fmla="*/ 598810 h 1867037"/>
                  <a:gd name="connsiteX11511" fmla="*/ 1762944 w 2417513"/>
                  <a:gd name="connsiteY11511" fmla="*/ 596840 h 1867037"/>
                  <a:gd name="connsiteX11512" fmla="*/ 1761581 w 2417513"/>
                  <a:gd name="connsiteY11512" fmla="*/ 593355 h 1867037"/>
                  <a:gd name="connsiteX11513" fmla="*/ 1760671 w 2417513"/>
                  <a:gd name="connsiteY11513" fmla="*/ 591840 h 1867037"/>
                  <a:gd name="connsiteX11514" fmla="*/ 1757944 w 2417513"/>
                  <a:gd name="connsiteY11514" fmla="*/ 588961 h 1867037"/>
                  <a:gd name="connsiteX11515" fmla="*/ 1751126 w 2417513"/>
                  <a:gd name="connsiteY11515" fmla="*/ 586537 h 1867037"/>
                  <a:gd name="connsiteX11516" fmla="*/ 1750065 w 2417513"/>
                  <a:gd name="connsiteY11516" fmla="*/ 585627 h 1867037"/>
                  <a:gd name="connsiteX11517" fmla="*/ 1747944 w 2417513"/>
                  <a:gd name="connsiteY11517" fmla="*/ 581536 h 1867037"/>
                  <a:gd name="connsiteX11518" fmla="*/ 1745519 w 2417513"/>
                  <a:gd name="connsiteY11518" fmla="*/ 578961 h 1867037"/>
                  <a:gd name="connsiteX11519" fmla="*/ 1740671 w 2417513"/>
                  <a:gd name="connsiteY11519" fmla="*/ 576991 h 1867037"/>
                  <a:gd name="connsiteX11520" fmla="*/ 1722185 w 2417513"/>
                  <a:gd name="connsiteY11520" fmla="*/ 570930 h 1867037"/>
                  <a:gd name="connsiteX11521" fmla="*/ 1716124 w 2417513"/>
                  <a:gd name="connsiteY11521" fmla="*/ 570021 h 1867037"/>
                  <a:gd name="connsiteX11522" fmla="*/ 1686578 w 2417513"/>
                  <a:gd name="connsiteY11522" fmla="*/ 571385 h 1867037"/>
                  <a:gd name="connsiteX11523" fmla="*/ 1681881 w 2417513"/>
                  <a:gd name="connsiteY11523" fmla="*/ 570627 h 1867037"/>
                  <a:gd name="connsiteX11524" fmla="*/ 1672183 w 2417513"/>
                  <a:gd name="connsiteY11524" fmla="*/ 568051 h 1867037"/>
                  <a:gd name="connsiteX11525" fmla="*/ 1665819 w 2417513"/>
                  <a:gd name="connsiteY11525" fmla="*/ 567748 h 1867037"/>
                  <a:gd name="connsiteX11526" fmla="*/ 1657789 w 2417513"/>
                  <a:gd name="connsiteY11526" fmla="*/ 564566 h 1867037"/>
                  <a:gd name="connsiteX11527" fmla="*/ 1652031 w 2417513"/>
                  <a:gd name="connsiteY11527" fmla="*/ 564415 h 1867037"/>
                  <a:gd name="connsiteX11528" fmla="*/ 1648091 w 2417513"/>
                  <a:gd name="connsiteY11528" fmla="*/ 564869 h 1867037"/>
                  <a:gd name="connsiteX11529" fmla="*/ 1646425 w 2417513"/>
                  <a:gd name="connsiteY11529" fmla="*/ 565627 h 1867037"/>
                  <a:gd name="connsiteX11530" fmla="*/ 1645667 w 2417513"/>
                  <a:gd name="connsiteY11530" fmla="*/ 566839 h 1867037"/>
                  <a:gd name="connsiteX11531" fmla="*/ 1645364 w 2417513"/>
                  <a:gd name="connsiteY11531" fmla="*/ 569566 h 1867037"/>
                  <a:gd name="connsiteX11532" fmla="*/ 1645364 w 2417513"/>
                  <a:gd name="connsiteY11532" fmla="*/ 573809 h 1867037"/>
                  <a:gd name="connsiteX11533" fmla="*/ 1646273 w 2417513"/>
                  <a:gd name="connsiteY11533" fmla="*/ 576839 h 1867037"/>
                  <a:gd name="connsiteX11534" fmla="*/ 1648697 w 2417513"/>
                  <a:gd name="connsiteY11534" fmla="*/ 579567 h 1867037"/>
                  <a:gd name="connsiteX11535" fmla="*/ 1647637 w 2417513"/>
                  <a:gd name="connsiteY11535" fmla="*/ 579567 h 1867037"/>
                  <a:gd name="connsiteX11536" fmla="*/ 1647031 w 2417513"/>
                  <a:gd name="connsiteY11536" fmla="*/ 580173 h 1867037"/>
                  <a:gd name="connsiteX11537" fmla="*/ 1646273 w 2417513"/>
                  <a:gd name="connsiteY11537" fmla="*/ 582446 h 1867037"/>
                  <a:gd name="connsiteX11538" fmla="*/ 1646273 w 2417513"/>
                  <a:gd name="connsiteY11538" fmla="*/ 585021 h 1867037"/>
                  <a:gd name="connsiteX11539" fmla="*/ 1647637 w 2417513"/>
                  <a:gd name="connsiteY11539" fmla="*/ 587446 h 1867037"/>
                  <a:gd name="connsiteX11540" fmla="*/ 1649001 w 2417513"/>
                  <a:gd name="connsiteY11540" fmla="*/ 588961 h 1867037"/>
                  <a:gd name="connsiteX11541" fmla="*/ 1652031 w 2417513"/>
                  <a:gd name="connsiteY11541" fmla="*/ 590779 h 1867037"/>
                  <a:gd name="connsiteX11542" fmla="*/ 1660971 w 2417513"/>
                  <a:gd name="connsiteY11542" fmla="*/ 592143 h 1867037"/>
                  <a:gd name="connsiteX11543" fmla="*/ 1664001 w 2417513"/>
                  <a:gd name="connsiteY11543" fmla="*/ 593203 h 1867037"/>
                  <a:gd name="connsiteX11544" fmla="*/ 1665062 w 2417513"/>
                  <a:gd name="connsiteY11544" fmla="*/ 596537 h 1867037"/>
                  <a:gd name="connsiteX11545" fmla="*/ 1665971 w 2417513"/>
                  <a:gd name="connsiteY11545" fmla="*/ 600931 h 1867037"/>
                  <a:gd name="connsiteX11546" fmla="*/ 1667638 w 2417513"/>
                  <a:gd name="connsiteY11546" fmla="*/ 606234 h 1867037"/>
                  <a:gd name="connsiteX11547" fmla="*/ 1669759 w 2417513"/>
                  <a:gd name="connsiteY11547" fmla="*/ 610628 h 1867037"/>
                  <a:gd name="connsiteX11548" fmla="*/ 1670820 w 2417513"/>
                  <a:gd name="connsiteY11548" fmla="*/ 612144 h 1867037"/>
                  <a:gd name="connsiteX11549" fmla="*/ 1674002 w 2417513"/>
                  <a:gd name="connsiteY11549" fmla="*/ 614113 h 1867037"/>
                  <a:gd name="connsiteX11550" fmla="*/ 1682790 w 2417513"/>
                  <a:gd name="connsiteY11550" fmla="*/ 617750 h 1867037"/>
                  <a:gd name="connsiteX11551" fmla="*/ 1687790 w 2417513"/>
                  <a:gd name="connsiteY11551" fmla="*/ 617598 h 1867037"/>
                  <a:gd name="connsiteX11552" fmla="*/ 1692790 w 2417513"/>
                  <a:gd name="connsiteY11552" fmla="*/ 616841 h 1867037"/>
                  <a:gd name="connsiteX11553" fmla="*/ 1708700 w 2417513"/>
                  <a:gd name="connsiteY11553" fmla="*/ 612295 h 1867037"/>
                  <a:gd name="connsiteX11554" fmla="*/ 1715215 w 2417513"/>
                  <a:gd name="connsiteY11554" fmla="*/ 611083 h 1867037"/>
                  <a:gd name="connsiteX11555" fmla="*/ 1728246 w 2417513"/>
                  <a:gd name="connsiteY11555" fmla="*/ 610325 h 1867037"/>
                  <a:gd name="connsiteX11556" fmla="*/ 1750671 w 2417513"/>
                  <a:gd name="connsiteY11556" fmla="*/ 613053 h 1867037"/>
                  <a:gd name="connsiteX11557" fmla="*/ 1767490 w 2417513"/>
                  <a:gd name="connsiteY11557" fmla="*/ 614265 h 1867037"/>
                  <a:gd name="connsiteX11558" fmla="*/ 1773399 w 2417513"/>
                  <a:gd name="connsiteY11558" fmla="*/ 613053 h 1867037"/>
                  <a:gd name="connsiteX11559" fmla="*/ 1775975 w 2417513"/>
                  <a:gd name="connsiteY11559" fmla="*/ 611083 h 1867037"/>
                  <a:gd name="connsiteX11560" fmla="*/ 1774763 w 2417513"/>
                  <a:gd name="connsiteY11560" fmla="*/ 609416 h 1867037"/>
                  <a:gd name="connsiteX11561" fmla="*/ 1771429 w 2417513"/>
                  <a:gd name="connsiteY11561" fmla="*/ 606992 h 1867037"/>
                  <a:gd name="connsiteX11562" fmla="*/ 1769914 w 2417513"/>
                  <a:gd name="connsiteY11562" fmla="*/ 605022 h 1867037"/>
                  <a:gd name="connsiteX11563" fmla="*/ 1770520 w 2417513"/>
                  <a:gd name="connsiteY11563" fmla="*/ 600628 h 1867037"/>
                  <a:gd name="connsiteX11564" fmla="*/ 1769460 w 2417513"/>
                  <a:gd name="connsiteY11564" fmla="*/ 599870 h 1867037"/>
                  <a:gd name="connsiteX11565" fmla="*/ 323951 w 2417513"/>
                  <a:gd name="connsiteY11565" fmla="*/ 1471569 h 1867037"/>
                  <a:gd name="connsiteX11566" fmla="*/ 323648 w 2417513"/>
                  <a:gd name="connsiteY11566" fmla="*/ 1466266 h 1867037"/>
                  <a:gd name="connsiteX11567" fmla="*/ 323194 w 2417513"/>
                  <a:gd name="connsiteY11567" fmla="*/ 1465054 h 1867037"/>
                  <a:gd name="connsiteX11568" fmla="*/ 321982 w 2417513"/>
                  <a:gd name="connsiteY11568" fmla="*/ 1463690 h 1867037"/>
                  <a:gd name="connsiteX11569" fmla="*/ 321679 w 2417513"/>
                  <a:gd name="connsiteY11569" fmla="*/ 1464144 h 1867037"/>
                  <a:gd name="connsiteX11570" fmla="*/ 321679 w 2417513"/>
                  <a:gd name="connsiteY11570" fmla="*/ 1465357 h 1867037"/>
                  <a:gd name="connsiteX11571" fmla="*/ 320012 w 2417513"/>
                  <a:gd name="connsiteY11571" fmla="*/ 1468084 h 1867037"/>
                  <a:gd name="connsiteX11572" fmla="*/ 319557 w 2417513"/>
                  <a:gd name="connsiteY11572" fmla="*/ 1469448 h 1867037"/>
                  <a:gd name="connsiteX11573" fmla="*/ 319709 w 2417513"/>
                  <a:gd name="connsiteY11573" fmla="*/ 1470660 h 1867037"/>
                  <a:gd name="connsiteX11574" fmla="*/ 320163 w 2417513"/>
                  <a:gd name="connsiteY11574" fmla="*/ 1471417 h 1867037"/>
                  <a:gd name="connsiteX11575" fmla="*/ 320921 w 2417513"/>
                  <a:gd name="connsiteY11575" fmla="*/ 1471720 h 1867037"/>
                  <a:gd name="connsiteX11576" fmla="*/ 323800 w 2417513"/>
                  <a:gd name="connsiteY11576" fmla="*/ 1471720 h 1867037"/>
                  <a:gd name="connsiteX11577" fmla="*/ 323951 w 2417513"/>
                  <a:gd name="connsiteY11577" fmla="*/ 1471569 h 1867037"/>
                  <a:gd name="connsiteX11578" fmla="*/ 338497 w 2417513"/>
                  <a:gd name="connsiteY11578" fmla="*/ 1471872 h 1867037"/>
                  <a:gd name="connsiteX11579" fmla="*/ 335618 w 2417513"/>
                  <a:gd name="connsiteY11579" fmla="*/ 1469448 h 1867037"/>
                  <a:gd name="connsiteX11580" fmla="*/ 332437 w 2417513"/>
                  <a:gd name="connsiteY11580" fmla="*/ 1467629 h 1867037"/>
                  <a:gd name="connsiteX11581" fmla="*/ 329406 w 2417513"/>
                  <a:gd name="connsiteY11581" fmla="*/ 1465963 h 1867037"/>
                  <a:gd name="connsiteX11582" fmla="*/ 327739 w 2417513"/>
                  <a:gd name="connsiteY11582" fmla="*/ 1465811 h 1867037"/>
                  <a:gd name="connsiteX11583" fmla="*/ 326982 w 2417513"/>
                  <a:gd name="connsiteY11583" fmla="*/ 1467326 h 1867037"/>
                  <a:gd name="connsiteX11584" fmla="*/ 326376 w 2417513"/>
                  <a:gd name="connsiteY11584" fmla="*/ 1471114 h 1867037"/>
                  <a:gd name="connsiteX11585" fmla="*/ 325618 w 2417513"/>
                  <a:gd name="connsiteY11585" fmla="*/ 1472933 h 1867037"/>
                  <a:gd name="connsiteX11586" fmla="*/ 323800 w 2417513"/>
                  <a:gd name="connsiteY11586" fmla="*/ 1475660 h 1867037"/>
                  <a:gd name="connsiteX11587" fmla="*/ 323648 w 2417513"/>
                  <a:gd name="connsiteY11587" fmla="*/ 1476721 h 1867037"/>
                  <a:gd name="connsiteX11588" fmla="*/ 323951 w 2417513"/>
                  <a:gd name="connsiteY11588" fmla="*/ 1477630 h 1867037"/>
                  <a:gd name="connsiteX11589" fmla="*/ 326224 w 2417513"/>
                  <a:gd name="connsiteY11589" fmla="*/ 1480357 h 1867037"/>
                  <a:gd name="connsiteX11590" fmla="*/ 326527 w 2417513"/>
                  <a:gd name="connsiteY11590" fmla="*/ 1482933 h 1867037"/>
                  <a:gd name="connsiteX11591" fmla="*/ 328194 w 2417513"/>
                  <a:gd name="connsiteY11591" fmla="*/ 1485357 h 1867037"/>
                  <a:gd name="connsiteX11592" fmla="*/ 331527 w 2417513"/>
                  <a:gd name="connsiteY11592" fmla="*/ 1488388 h 1867037"/>
                  <a:gd name="connsiteX11593" fmla="*/ 333346 w 2417513"/>
                  <a:gd name="connsiteY11593" fmla="*/ 1488236 h 1867037"/>
                  <a:gd name="connsiteX11594" fmla="*/ 335012 w 2417513"/>
                  <a:gd name="connsiteY11594" fmla="*/ 1485509 h 1867037"/>
                  <a:gd name="connsiteX11595" fmla="*/ 335618 w 2417513"/>
                  <a:gd name="connsiteY11595" fmla="*/ 1485054 h 1867037"/>
                  <a:gd name="connsiteX11596" fmla="*/ 335012 w 2417513"/>
                  <a:gd name="connsiteY11596" fmla="*/ 1491115 h 1867037"/>
                  <a:gd name="connsiteX11597" fmla="*/ 335467 w 2417513"/>
                  <a:gd name="connsiteY11597" fmla="*/ 1492630 h 1867037"/>
                  <a:gd name="connsiteX11598" fmla="*/ 335770 w 2417513"/>
                  <a:gd name="connsiteY11598" fmla="*/ 1495661 h 1867037"/>
                  <a:gd name="connsiteX11599" fmla="*/ 335922 w 2417513"/>
                  <a:gd name="connsiteY11599" fmla="*/ 1499752 h 1867037"/>
                  <a:gd name="connsiteX11600" fmla="*/ 337285 w 2417513"/>
                  <a:gd name="connsiteY11600" fmla="*/ 1502176 h 1867037"/>
                  <a:gd name="connsiteX11601" fmla="*/ 338800 w 2417513"/>
                  <a:gd name="connsiteY11601" fmla="*/ 1500358 h 1867037"/>
                  <a:gd name="connsiteX11602" fmla="*/ 340164 w 2417513"/>
                  <a:gd name="connsiteY11602" fmla="*/ 1496267 h 1867037"/>
                  <a:gd name="connsiteX11603" fmla="*/ 341982 w 2417513"/>
                  <a:gd name="connsiteY11603" fmla="*/ 1493842 h 1867037"/>
                  <a:gd name="connsiteX11604" fmla="*/ 342134 w 2417513"/>
                  <a:gd name="connsiteY11604" fmla="*/ 1490054 h 1867037"/>
                  <a:gd name="connsiteX11605" fmla="*/ 340922 w 2417513"/>
                  <a:gd name="connsiteY11605" fmla="*/ 1478236 h 1867037"/>
                  <a:gd name="connsiteX11606" fmla="*/ 338497 w 2417513"/>
                  <a:gd name="connsiteY11606" fmla="*/ 1471872 h 1867037"/>
                  <a:gd name="connsiteX11607" fmla="*/ 328649 w 2417513"/>
                  <a:gd name="connsiteY11607" fmla="*/ 1488539 h 1867037"/>
                  <a:gd name="connsiteX11608" fmla="*/ 323345 w 2417513"/>
                  <a:gd name="connsiteY11608" fmla="*/ 1483691 h 1867037"/>
                  <a:gd name="connsiteX11609" fmla="*/ 322588 w 2417513"/>
                  <a:gd name="connsiteY11609" fmla="*/ 1483236 h 1867037"/>
                  <a:gd name="connsiteX11610" fmla="*/ 321679 w 2417513"/>
                  <a:gd name="connsiteY11610" fmla="*/ 1482933 h 1867037"/>
                  <a:gd name="connsiteX11611" fmla="*/ 321224 w 2417513"/>
                  <a:gd name="connsiteY11611" fmla="*/ 1483388 h 1867037"/>
                  <a:gd name="connsiteX11612" fmla="*/ 321073 w 2417513"/>
                  <a:gd name="connsiteY11612" fmla="*/ 1484448 h 1867037"/>
                  <a:gd name="connsiteX11613" fmla="*/ 321527 w 2417513"/>
                  <a:gd name="connsiteY11613" fmla="*/ 1486266 h 1867037"/>
                  <a:gd name="connsiteX11614" fmla="*/ 324254 w 2417513"/>
                  <a:gd name="connsiteY11614" fmla="*/ 1490509 h 1867037"/>
                  <a:gd name="connsiteX11615" fmla="*/ 325618 w 2417513"/>
                  <a:gd name="connsiteY11615" fmla="*/ 1491721 h 1867037"/>
                  <a:gd name="connsiteX11616" fmla="*/ 329255 w 2417513"/>
                  <a:gd name="connsiteY11616" fmla="*/ 1495812 h 1867037"/>
                  <a:gd name="connsiteX11617" fmla="*/ 330164 w 2417513"/>
                  <a:gd name="connsiteY11617" fmla="*/ 1494145 h 1867037"/>
                  <a:gd name="connsiteX11618" fmla="*/ 330012 w 2417513"/>
                  <a:gd name="connsiteY11618" fmla="*/ 1490812 h 1867037"/>
                  <a:gd name="connsiteX11619" fmla="*/ 328649 w 2417513"/>
                  <a:gd name="connsiteY11619" fmla="*/ 1488539 h 1867037"/>
                  <a:gd name="connsiteX11620" fmla="*/ 316072 w 2417513"/>
                  <a:gd name="connsiteY11620" fmla="*/ 1469448 h 1867037"/>
                  <a:gd name="connsiteX11621" fmla="*/ 315466 w 2417513"/>
                  <a:gd name="connsiteY11621" fmla="*/ 1469145 h 1867037"/>
                  <a:gd name="connsiteX11622" fmla="*/ 314709 w 2417513"/>
                  <a:gd name="connsiteY11622" fmla="*/ 1468993 h 1867037"/>
                  <a:gd name="connsiteX11623" fmla="*/ 314406 w 2417513"/>
                  <a:gd name="connsiteY11623" fmla="*/ 1469296 h 1867037"/>
                  <a:gd name="connsiteX11624" fmla="*/ 314860 w 2417513"/>
                  <a:gd name="connsiteY11624" fmla="*/ 1471114 h 1867037"/>
                  <a:gd name="connsiteX11625" fmla="*/ 315466 w 2417513"/>
                  <a:gd name="connsiteY11625" fmla="*/ 1472326 h 1867037"/>
                  <a:gd name="connsiteX11626" fmla="*/ 317284 w 2417513"/>
                  <a:gd name="connsiteY11626" fmla="*/ 1475054 h 1867037"/>
                  <a:gd name="connsiteX11627" fmla="*/ 318345 w 2417513"/>
                  <a:gd name="connsiteY11627" fmla="*/ 1475963 h 1867037"/>
                  <a:gd name="connsiteX11628" fmla="*/ 319406 w 2417513"/>
                  <a:gd name="connsiteY11628" fmla="*/ 1476418 h 1867037"/>
                  <a:gd name="connsiteX11629" fmla="*/ 319860 w 2417513"/>
                  <a:gd name="connsiteY11629" fmla="*/ 1476114 h 1867037"/>
                  <a:gd name="connsiteX11630" fmla="*/ 319103 w 2417513"/>
                  <a:gd name="connsiteY11630" fmla="*/ 1473842 h 1867037"/>
                  <a:gd name="connsiteX11631" fmla="*/ 316072 w 2417513"/>
                  <a:gd name="connsiteY11631" fmla="*/ 1469448 h 1867037"/>
                  <a:gd name="connsiteX11632" fmla="*/ 481988 w 2417513"/>
                  <a:gd name="connsiteY11632" fmla="*/ 1632029 h 1867037"/>
                  <a:gd name="connsiteX11633" fmla="*/ 481230 w 2417513"/>
                  <a:gd name="connsiteY11633" fmla="*/ 1631120 h 1867037"/>
                  <a:gd name="connsiteX11634" fmla="*/ 480472 w 2417513"/>
                  <a:gd name="connsiteY11634" fmla="*/ 1631423 h 1867037"/>
                  <a:gd name="connsiteX11635" fmla="*/ 480018 w 2417513"/>
                  <a:gd name="connsiteY11635" fmla="*/ 1632029 h 1867037"/>
                  <a:gd name="connsiteX11636" fmla="*/ 479715 w 2417513"/>
                  <a:gd name="connsiteY11636" fmla="*/ 1634454 h 1867037"/>
                  <a:gd name="connsiteX11637" fmla="*/ 479109 w 2417513"/>
                  <a:gd name="connsiteY11637" fmla="*/ 1635211 h 1867037"/>
                  <a:gd name="connsiteX11638" fmla="*/ 475624 w 2417513"/>
                  <a:gd name="connsiteY11638" fmla="*/ 1626726 h 1867037"/>
                  <a:gd name="connsiteX11639" fmla="*/ 472139 w 2417513"/>
                  <a:gd name="connsiteY11639" fmla="*/ 1622180 h 1867037"/>
                  <a:gd name="connsiteX11640" fmla="*/ 470320 w 2417513"/>
                  <a:gd name="connsiteY11640" fmla="*/ 1617483 h 1867037"/>
                  <a:gd name="connsiteX11641" fmla="*/ 469411 w 2417513"/>
                  <a:gd name="connsiteY11641" fmla="*/ 1616271 h 1867037"/>
                  <a:gd name="connsiteX11642" fmla="*/ 467139 w 2417513"/>
                  <a:gd name="connsiteY11642" fmla="*/ 1614453 h 1867037"/>
                  <a:gd name="connsiteX11643" fmla="*/ 465472 w 2417513"/>
                  <a:gd name="connsiteY11643" fmla="*/ 1612635 h 1867037"/>
                  <a:gd name="connsiteX11644" fmla="*/ 460320 w 2417513"/>
                  <a:gd name="connsiteY11644" fmla="*/ 1609907 h 1867037"/>
                  <a:gd name="connsiteX11645" fmla="*/ 451835 w 2417513"/>
                  <a:gd name="connsiteY11645" fmla="*/ 1607028 h 1867037"/>
                  <a:gd name="connsiteX11646" fmla="*/ 447744 w 2417513"/>
                  <a:gd name="connsiteY11646" fmla="*/ 1605362 h 1867037"/>
                  <a:gd name="connsiteX11647" fmla="*/ 442592 w 2417513"/>
                  <a:gd name="connsiteY11647" fmla="*/ 1601725 h 1867037"/>
                  <a:gd name="connsiteX11648" fmla="*/ 439865 w 2417513"/>
                  <a:gd name="connsiteY11648" fmla="*/ 1597786 h 1867037"/>
                  <a:gd name="connsiteX11649" fmla="*/ 439865 w 2417513"/>
                  <a:gd name="connsiteY11649" fmla="*/ 1596876 h 1867037"/>
                  <a:gd name="connsiteX11650" fmla="*/ 440622 w 2417513"/>
                  <a:gd name="connsiteY11650" fmla="*/ 1596422 h 1867037"/>
                  <a:gd name="connsiteX11651" fmla="*/ 439865 w 2417513"/>
                  <a:gd name="connsiteY11651" fmla="*/ 1594755 h 1867037"/>
                  <a:gd name="connsiteX11652" fmla="*/ 436228 w 2417513"/>
                  <a:gd name="connsiteY11652" fmla="*/ 1590664 h 1867037"/>
                  <a:gd name="connsiteX11653" fmla="*/ 431683 w 2417513"/>
                  <a:gd name="connsiteY11653" fmla="*/ 1584755 h 1867037"/>
                  <a:gd name="connsiteX11654" fmla="*/ 429410 w 2417513"/>
                  <a:gd name="connsiteY11654" fmla="*/ 1581421 h 1867037"/>
                  <a:gd name="connsiteX11655" fmla="*/ 426531 w 2417513"/>
                  <a:gd name="connsiteY11655" fmla="*/ 1576118 h 1867037"/>
                  <a:gd name="connsiteX11656" fmla="*/ 424864 w 2417513"/>
                  <a:gd name="connsiteY11656" fmla="*/ 1573845 h 1867037"/>
                  <a:gd name="connsiteX11657" fmla="*/ 423501 w 2417513"/>
                  <a:gd name="connsiteY11657" fmla="*/ 1572936 h 1867037"/>
                  <a:gd name="connsiteX11658" fmla="*/ 421228 w 2417513"/>
                  <a:gd name="connsiteY11658" fmla="*/ 1572330 h 1867037"/>
                  <a:gd name="connsiteX11659" fmla="*/ 415167 w 2417513"/>
                  <a:gd name="connsiteY11659" fmla="*/ 1571573 h 1867037"/>
                  <a:gd name="connsiteX11660" fmla="*/ 405167 w 2417513"/>
                  <a:gd name="connsiteY11660" fmla="*/ 1568997 h 1867037"/>
                  <a:gd name="connsiteX11661" fmla="*/ 391530 w 2417513"/>
                  <a:gd name="connsiteY11661" fmla="*/ 1566724 h 1867037"/>
                  <a:gd name="connsiteX11662" fmla="*/ 377893 w 2417513"/>
                  <a:gd name="connsiteY11662" fmla="*/ 1562178 h 1867037"/>
                  <a:gd name="connsiteX11663" fmla="*/ 363801 w 2417513"/>
                  <a:gd name="connsiteY11663" fmla="*/ 1555663 h 1867037"/>
                  <a:gd name="connsiteX11664" fmla="*/ 358195 w 2417513"/>
                  <a:gd name="connsiteY11664" fmla="*/ 1554299 h 1867037"/>
                  <a:gd name="connsiteX11665" fmla="*/ 353195 w 2417513"/>
                  <a:gd name="connsiteY11665" fmla="*/ 1554451 h 1867037"/>
                  <a:gd name="connsiteX11666" fmla="*/ 349407 w 2417513"/>
                  <a:gd name="connsiteY11666" fmla="*/ 1555511 h 1867037"/>
                  <a:gd name="connsiteX11667" fmla="*/ 347740 w 2417513"/>
                  <a:gd name="connsiteY11667" fmla="*/ 1556723 h 1867037"/>
                  <a:gd name="connsiteX11668" fmla="*/ 346528 w 2417513"/>
                  <a:gd name="connsiteY11668" fmla="*/ 1558542 h 1867037"/>
                  <a:gd name="connsiteX11669" fmla="*/ 346376 w 2417513"/>
                  <a:gd name="connsiteY11669" fmla="*/ 1560209 h 1867037"/>
                  <a:gd name="connsiteX11670" fmla="*/ 348649 w 2417513"/>
                  <a:gd name="connsiteY11670" fmla="*/ 1563390 h 1867037"/>
                  <a:gd name="connsiteX11671" fmla="*/ 352286 w 2417513"/>
                  <a:gd name="connsiteY11671" fmla="*/ 1566572 h 1867037"/>
                  <a:gd name="connsiteX11672" fmla="*/ 354407 w 2417513"/>
                  <a:gd name="connsiteY11672" fmla="*/ 1567330 h 1867037"/>
                  <a:gd name="connsiteX11673" fmla="*/ 356983 w 2417513"/>
                  <a:gd name="connsiteY11673" fmla="*/ 1567481 h 1867037"/>
                  <a:gd name="connsiteX11674" fmla="*/ 359710 w 2417513"/>
                  <a:gd name="connsiteY11674" fmla="*/ 1567330 h 1867037"/>
                  <a:gd name="connsiteX11675" fmla="*/ 363347 w 2417513"/>
                  <a:gd name="connsiteY11675" fmla="*/ 1565966 h 1867037"/>
                  <a:gd name="connsiteX11676" fmla="*/ 362892 w 2417513"/>
                  <a:gd name="connsiteY11676" fmla="*/ 1564451 h 1867037"/>
                  <a:gd name="connsiteX11677" fmla="*/ 362892 w 2417513"/>
                  <a:gd name="connsiteY11677" fmla="*/ 1563390 h 1867037"/>
                  <a:gd name="connsiteX11678" fmla="*/ 369105 w 2417513"/>
                  <a:gd name="connsiteY11678" fmla="*/ 1563845 h 1867037"/>
                  <a:gd name="connsiteX11679" fmla="*/ 370771 w 2417513"/>
                  <a:gd name="connsiteY11679" fmla="*/ 1564300 h 1867037"/>
                  <a:gd name="connsiteX11680" fmla="*/ 369105 w 2417513"/>
                  <a:gd name="connsiteY11680" fmla="*/ 1565966 h 1867037"/>
                  <a:gd name="connsiteX11681" fmla="*/ 369256 w 2417513"/>
                  <a:gd name="connsiteY11681" fmla="*/ 1567481 h 1867037"/>
                  <a:gd name="connsiteX11682" fmla="*/ 370165 w 2417513"/>
                  <a:gd name="connsiteY11682" fmla="*/ 1569906 h 1867037"/>
                  <a:gd name="connsiteX11683" fmla="*/ 370317 w 2417513"/>
                  <a:gd name="connsiteY11683" fmla="*/ 1570663 h 1867037"/>
                  <a:gd name="connsiteX11684" fmla="*/ 367741 w 2417513"/>
                  <a:gd name="connsiteY11684" fmla="*/ 1568542 h 1867037"/>
                  <a:gd name="connsiteX11685" fmla="*/ 366074 w 2417513"/>
                  <a:gd name="connsiteY11685" fmla="*/ 1568088 h 1867037"/>
                  <a:gd name="connsiteX11686" fmla="*/ 360923 w 2417513"/>
                  <a:gd name="connsiteY11686" fmla="*/ 1568391 h 1867037"/>
                  <a:gd name="connsiteX11687" fmla="*/ 359710 w 2417513"/>
                  <a:gd name="connsiteY11687" fmla="*/ 1568694 h 1867037"/>
                  <a:gd name="connsiteX11688" fmla="*/ 358801 w 2417513"/>
                  <a:gd name="connsiteY11688" fmla="*/ 1569300 h 1867037"/>
                  <a:gd name="connsiteX11689" fmla="*/ 357286 w 2417513"/>
                  <a:gd name="connsiteY11689" fmla="*/ 1572785 h 1867037"/>
                  <a:gd name="connsiteX11690" fmla="*/ 357741 w 2417513"/>
                  <a:gd name="connsiteY11690" fmla="*/ 1573542 h 1867037"/>
                  <a:gd name="connsiteX11691" fmla="*/ 360316 w 2417513"/>
                  <a:gd name="connsiteY11691" fmla="*/ 1573997 h 1867037"/>
                  <a:gd name="connsiteX11692" fmla="*/ 360619 w 2417513"/>
                  <a:gd name="connsiteY11692" fmla="*/ 1574754 h 1867037"/>
                  <a:gd name="connsiteX11693" fmla="*/ 360923 w 2417513"/>
                  <a:gd name="connsiteY11693" fmla="*/ 1577633 h 1867037"/>
                  <a:gd name="connsiteX11694" fmla="*/ 359710 w 2417513"/>
                  <a:gd name="connsiteY11694" fmla="*/ 1579755 h 1867037"/>
                  <a:gd name="connsiteX11695" fmla="*/ 360013 w 2417513"/>
                  <a:gd name="connsiteY11695" fmla="*/ 1580512 h 1867037"/>
                  <a:gd name="connsiteX11696" fmla="*/ 361377 w 2417513"/>
                  <a:gd name="connsiteY11696" fmla="*/ 1580815 h 1867037"/>
                  <a:gd name="connsiteX11697" fmla="*/ 362589 w 2417513"/>
                  <a:gd name="connsiteY11697" fmla="*/ 1580664 h 1867037"/>
                  <a:gd name="connsiteX11698" fmla="*/ 365165 w 2417513"/>
                  <a:gd name="connsiteY11698" fmla="*/ 1579149 h 1867037"/>
                  <a:gd name="connsiteX11699" fmla="*/ 370923 w 2417513"/>
                  <a:gd name="connsiteY11699" fmla="*/ 1579149 h 1867037"/>
                  <a:gd name="connsiteX11700" fmla="*/ 371983 w 2417513"/>
                  <a:gd name="connsiteY11700" fmla="*/ 1580361 h 1867037"/>
                  <a:gd name="connsiteX11701" fmla="*/ 372893 w 2417513"/>
                  <a:gd name="connsiteY11701" fmla="*/ 1582027 h 1867037"/>
                  <a:gd name="connsiteX11702" fmla="*/ 374256 w 2417513"/>
                  <a:gd name="connsiteY11702" fmla="*/ 1583240 h 1867037"/>
                  <a:gd name="connsiteX11703" fmla="*/ 375923 w 2417513"/>
                  <a:gd name="connsiteY11703" fmla="*/ 1582634 h 1867037"/>
                  <a:gd name="connsiteX11704" fmla="*/ 376378 w 2417513"/>
                  <a:gd name="connsiteY11704" fmla="*/ 1581724 h 1867037"/>
                  <a:gd name="connsiteX11705" fmla="*/ 376529 w 2417513"/>
                  <a:gd name="connsiteY11705" fmla="*/ 1580512 h 1867037"/>
                  <a:gd name="connsiteX11706" fmla="*/ 376984 w 2417513"/>
                  <a:gd name="connsiteY11706" fmla="*/ 1580209 h 1867037"/>
                  <a:gd name="connsiteX11707" fmla="*/ 377893 w 2417513"/>
                  <a:gd name="connsiteY11707" fmla="*/ 1580815 h 1867037"/>
                  <a:gd name="connsiteX11708" fmla="*/ 378499 w 2417513"/>
                  <a:gd name="connsiteY11708" fmla="*/ 1581573 h 1867037"/>
                  <a:gd name="connsiteX11709" fmla="*/ 378802 w 2417513"/>
                  <a:gd name="connsiteY11709" fmla="*/ 1582482 h 1867037"/>
                  <a:gd name="connsiteX11710" fmla="*/ 378802 w 2417513"/>
                  <a:gd name="connsiteY11710" fmla="*/ 1583240 h 1867037"/>
                  <a:gd name="connsiteX11711" fmla="*/ 378044 w 2417513"/>
                  <a:gd name="connsiteY11711" fmla="*/ 1585361 h 1867037"/>
                  <a:gd name="connsiteX11712" fmla="*/ 378347 w 2417513"/>
                  <a:gd name="connsiteY11712" fmla="*/ 1586876 h 1867037"/>
                  <a:gd name="connsiteX11713" fmla="*/ 379105 w 2417513"/>
                  <a:gd name="connsiteY11713" fmla="*/ 1588240 h 1867037"/>
                  <a:gd name="connsiteX11714" fmla="*/ 380469 w 2417513"/>
                  <a:gd name="connsiteY11714" fmla="*/ 1589300 h 1867037"/>
                  <a:gd name="connsiteX11715" fmla="*/ 382287 w 2417513"/>
                  <a:gd name="connsiteY11715" fmla="*/ 1589603 h 1867037"/>
                  <a:gd name="connsiteX11716" fmla="*/ 384257 w 2417513"/>
                  <a:gd name="connsiteY11716" fmla="*/ 1589149 h 1867037"/>
                  <a:gd name="connsiteX11717" fmla="*/ 385014 w 2417513"/>
                  <a:gd name="connsiteY11717" fmla="*/ 1588391 h 1867037"/>
                  <a:gd name="connsiteX11718" fmla="*/ 385620 w 2417513"/>
                  <a:gd name="connsiteY11718" fmla="*/ 1587179 h 1867037"/>
                  <a:gd name="connsiteX11719" fmla="*/ 386226 w 2417513"/>
                  <a:gd name="connsiteY11719" fmla="*/ 1586876 h 1867037"/>
                  <a:gd name="connsiteX11720" fmla="*/ 387742 w 2417513"/>
                  <a:gd name="connsiteY11720" fmla="*/ 1587634 h 1867037"/>
                  <a:gd name="connsiteX11721" fmla="*/ 390621 w 2417513"/>
                  <a:gd name="connsiteY11721" fmla="*/ 1588240 h 1867037"/>
                  <a:gd name="connsiteX11722" fmla="*/ 392287 w 2417513"/>
                  <a:gd name="connsiteY11722" fmla="*/ 1589300 h 1867037"/>
                  <a:gd name="connsiteX11723" fmla="*/ 394712 w 2417513"/>
                  <a:gd name="connsiteY11723" fmla="*/ 1593240 h 1867037"/>
                  <a:gd name="connsiteX11724" fmla="*/ 395621 w 2417513"/>
                  <a:gd name="connsiteY11724" fmla="*/ 1594301 h 1867037"/>
                  <a:gd name="connsiteX11725" fmla="*/ 396530 w 2417513"/>
                  <a:gd name="connsiteY11725" fmla="*/ 1594755 h 1867037"/>
                  <a:gd name="connsiteX11726" fmla="*/ 398197 w 2417513"/>
                  <a:gd name="connsiteY11726" fmla="*/ 1594755 h 1867037"/>
                  <a:gd name="connsiteX11727" fmla="*/ 399863 w 2417513"/>
                  <a:gd name="connsiteY11727" fmla="*/ 1596270 h 1867037"/>
                  <a:gd name="connsiteX11728" fmla="*/ 401379 w 2417513"/>
                  <a:gd name="connsiteY11728" fmla="*/ 1596876 h 1867037"/>
                  <a:gd name="connsiteX11729" fmla="*/ 407288 w 2417513"/>
                  <a:gd name="connsiteY11729" fmla="*/ 1596422 h 1867037"/>
                  <a:gd name="connsiteX11730" fmla="*/ 406682 w 2417513"/>
                  <a:gd name="connsiteY11730" fmla="*/ 1597179 h 1867037"/>
                  <a:gd name="connsiteX11731" fmla="*/ 398954 w 2417513"/>
                  <a:gd name="connsiteY11731" fmla="*/ 1598240 h 1867037"/>
                  <a:gd name="connsiteX11732" fmla="*/ 396227 w 2417513"/>
                  <a:gd name="connsiteY11732" fmla="*/ 1599301 h 1867037"/>
                  <a:gd name="connsiteX11733" fmla="*/ 395772 w 2417513"/>
                  <a:gd name="connsiteY11733" fmla="*/ 1599755 h 1867037"/>
                  <a:gd name="connsiteX11734" fmla="*/ 395621 w 2417513"/>
                  <a:gd name="connsiteY11734" fmla="*/ 1600967 h 1867037"/>
                  <a:gd name="connsiteX11735" fmla="*/ 396075 w 2417513"/>
                  <a:gd name="connsiteY11735" fmla="*/ 1605362 h 1867037"/>
                  <a:gd name="connsiteX11736" fmla="*/ 396833 w 2417513"/>
                  <a:gd name="connsiteY11736" fmla="*/ 1606119 h 1867037"/>
                  <a:gd name="connsiteX11737" fmla="*/ 397287 w 2417513"/>
                  <a:gd name="connsiteY11737" fmla="*/ 1605968 h 1867037"/>
                  <a:gd name="connsiteX11738" fmla="*/ 398803 w 2417513"/>
                  <a:gd name="connsiteY11738" fmla="*/ 1604150 h 1867037"/>
                  <a:gd name="connsiteX11739" fmla="*/ 399560 w 2417513"/>
                  <a:gd name="connsiteY11739" fmla="*/ 1604150 h 1867037"/>
                  <a:gd name="connsiteX11740" fmla="*/ 402742 w 2417513"/>
                  <a:gd name="connsiteY11740" fmla="*/ 1606574 h 1867037"/>
                  <a:gd name="connsiteX11741" fmla="*/ 403348 w 2417513"/>
                  <a:gd name="connsiteY11741" fmla="*/ 1606271 h 1867037"/>
                  <a:gd name="connsiteX11742" fmla="*/ 403651 w 2417513"/>
                  <a:gd name="connsiteY11742" fmla="*/ 1604907 h 1867037"/>
                  <a:gd name="connsiteX11743" fmla="*/ 404409 w 2417513"/>
                  <a:gd name="connsiteY11743" fmla="*/ 1604453 h 1867037"/>
                  <a:gd name="connsiteX11744" fmla="*/ 406530 w 2417513"/>
                  <a:gd name="connsiteY11744" fmla="*/ 1605362 h 1867037"/>
                  <a:gd name="connsiteX11745" fmla="*/ 408349 w 2417513"/>
                  <a:gd name="connsiteY11745" fmla="*/ 1605210 h 1867037"/>
                  <a:gd name="connsiteX11746" fmla="*/ 409106 w 2417513"/>
                  <a:gd name="connsiteY11746" fmla="*/ 1605665 h 1867037"/>
                  <a:gd name="connsiteX11747" fmla="*/ 409864 w 2417513"/>
                  <a:gd name="connsiteY11747" fmla="*/ 1606725 h 1867037"/>
                  <a:gd name="connsiteX11748" fmla="*/ 410621 w 2417513"/>
                  <a:gd name="connsiteY11748" fmla="*/ 1607180 h 1867037"/>
                  <a:gd name="connsiteX11749" fmla="*/ 412894 w 2417513"/>
                  <a:gd name="connsiteY11749" fmla="*/ 1605968 h 1867037"/>
                  <a:gd name="connsiteX11750" fmla="*/ 412894 w 2417513"/>
                  <a:gd name="connsiteY11750" fmla="*/ 1606725 h 1867037"/>
                  <a:gd name="connsiteX11751" fmla="*/ 411682 w 2417513"/>
                  <a:gd name="connsiteY11751" fmla="*/ 1609907 h 1867037"/>
                  <a:gd name="connsiteX11752" fmla="*/ 412591 w 2417513"/>
                  <a:gd name="connsiteY11752" fmla="*/ 1611271 h 1867037"/>
                  <a:gd name="connsiteX11753" fmla="*/ 413500 w 2417513"/>
                  <a:gd name="connsiteY11753" fmla="*/ 1611271 h 1867037"/>
                  <a:gd name="connsiteX11754" fmla="*/ 415773 w 2417513"/>
                  <a:gd name="connsiteY11754" fmla="*/ 1610362 h 1867037"/>
                  <a:gd name="connsiteX11755" fmla="*/ 416834 w 2417513"/>
                  <a:gd name="connsiteY11755" fmla="*/ 1610968 h 1867037"/>
                  <a:gd name="connsiteX11756" fmla="*/ 418652 w 2417513"/>
                  <a:gd name="connsiteY11756" fmla="*/ 1613089 h 1867037"/>
                  <a:gd name="connsiteX11757" fmla="*/ 419561 w 2417513"/>
                  <a:gd name="connsiteY11757" fmla="*/ 1613392 h 1867037"/>
                  <a:gd name="connsiteX11758" fmla="*/ 420622 w 2417513"/>
                  <a:gd name="connsiteY11758" fmla="*/ 1613241 h 1867037"/>
                  <a:gd name="connsiteX11759" fmla="*/ 420925 w 2417513"/>
                  <a:gd name="connsiteY11759" fmla="*/ 1613544 h 1867037"/>
                  <a:gd name="connsiteX11760" fmla="*/ 419409 w 2417513"/>
                  <a:gd name="connsiteY11760" fmla="*/ 1615210 h 1867037"/>
                  <a:gd name="connsiteX11761" fmla="*/ 416379 w 2417513"/>
                  <a:gd name="connsiteY11761" fmla="*/ 1616271 h 1867037"/>
                  <a:gd name="connsiteX11762" fmla="*/ 415925 w 2417513"/>
                  <a:gd name="connsiteY11762" fmla="*/ 1616877 h 1867037"/>
                  <a:gd name="connsiteX11763" fmla="*/ 420470 w 2417513"/>
                  <a:gd name="connsiteY11763" fmla="*/ 1619150 h 1867037"/>
                  <a:gd name="connsiteX11764" fmla="*/ 423652 w 2417513"/>
                  <a:gd name="connsiteY11764" fmla="*/ 1621877 h 1867037"/>
                  <a:gd name="connsiteX11765" fmla="*/ 425167 w 2417513"/>
                  <a:gd name="connsiteY11765" fmla="*/ 1622484 h 1867037"/>
                  <a:gd name="connsiteX11766" fmla="*/ 425925 w 2417513"/>
                  <a:gd name="connsiteY11766" fmla="*/ 1622180 h 1867037"/>
                  <a:gd name="connsiteX11767" fmla="*/ 428652 w 2417513"/>
                  <a:gd name="connsiteY11767" fmla="*/ 1620211 h 1867037"/>
                  <a:gd name="connsiteX11768" fmla="*/ 433956 w 2417513"/>
                  <a:gd name="connsiteY11768" fmla="*/ 1620514 h 1867037"/>
                  <a:gd name="connsiteX11769" fmla="*/ 440471 w 2417513"/>
                  <a:gd name="connsiteY11769" fmla="*/ 1619756 h 1867037"/>
                  <a:gd name="connsiteX11770" fmla="*/ 441077 w 2417513"/>
                  <a:gd name="connsiteY11770" fmla="*/ 1619150 h 1867037"/>
                  <a:gd name="connsiteX11771" fmla="*/ 442138 w 2417513"/>
                  <a:gd name="connsiteY11771" fmla="*/ 1617483 h 1867037"/>
                  <a:gd name="connsiteX11772" fmla="*/ 442895 w 2417513"/>
                  <a:gd name="connsiteY11772" fmla="*/ 1615362 h 1867037"/>
                  <a:gd name="connsiteX11773" fmla="*/ 443350 w 2417513"/>
                  <a:gd name="connsiteY11773" fmla="*/ 1612938 h 1867037"/>
                  <a:gd name="connsiteX11774" fmla="*/ 443501 w 2417513"/>
                  <a:gd name="connsiteY11774" fmla="*/ 1612786 h 1867037"/>
                  <a:gd name="connsiteX11775" fmla="*/ 443804 w 2417513"/>
                  <a:gd name="connsiteY11775" fmla="*/ 1615362 h 1867037"/>
                  <a:gd name="connsiteX11776" fmla="*/ 443350 w 2417513"/>
                  <a:gd name="connsiteY11776" fmla="*/ 1617483 h 1867037"/>
                  <a:gd name="connsiteX11777" fmla="*/ 442441 w 2417513"/>
                  <a:gd name="connsiteY11777" fmla="*/ 1619453 h 1867037"/>
                  <a:gd name="connsiteX11778" fmla="*/ 440168 w 2417513"/>
                  <a:gd name="connsiteY11778" fmla="*/ 1622029 h 1867037"/>
                  <a:gd name="connsiteX11779" fmla="*/ 434259 w 2417513"/>
                  <a:gd name="connsiteY11779" fmla="*/ 1626726 h 1867037"/>
                  <a:gd name="connsiteX11780" fmla="*/ 434107 w 2417513"/>
                  <a:gd name="connsiteY11780" fmla="*/ 1627484 h 1867037"/>
                  <a:gd name="connsiteX11781" fmla="*/ 434713 w 2417513"/>
                  <a:gd name="connsiteY11781" fmla="*/ 1628999 h 1867037"/>
                  <a:gd name="connsiteX11782" fmla="*/ 437592 w 2417513"/>
                  <a:gd name="connsiteY11782" fmla="*/ 1630666 h 1867037"/>
                  <a:gd name="connsiteX11783" fmla="*/ 441683 w 2417513"/>
                  <a:gd name="connsiteY11783" fmla="*/ 1632635 h 1867037"/>
                  <a:gd name="connsiteX11784" fmla="*/ 446532 w 2417513"/>
                  <a:gd name="connsiteY11784" fmla="*/ 1634605 h 1867037"/>
                  <a:gd name="connsiteX11785" fmla="*/ 455168 w 2417513"/>
                  <a:gd name="connsiteY11785" fmla="*/ 1637484 h 1867037"/>
                  <a:gd name="connsiteX11786" fmla="*/ 462290 w 2417513"/>
                  <a:gd name="connsiteY11786" fmla="*/ 1640211 h 1867037"/>
                  <a:gd name="connsiteX11787" fmla="*/ 467745 w 2417513"/>
                  <a:gd name="connsiteY11787" fmla="*/ 1642030 h 1867037"/>
                  <a:gd name="connsiteX11788" fmla="*/ 476533 w 2417513"/>
                  <a:gd name="connsiteY11788" fmla="*/ 1643848 h 1867037"/>
                  <a:gd name="connsiteX11789" fmla="*/ 477139 w 2417513"/>
                  <a:gd name="connsiteY11789" fmla="*/ 1644151 h 1867037"/>
                  <a:gd name="connsiteX11790" fmla="*/ 478200 w 2417513"/>
                  <a:gd name="connsiteY11790" fmla="*/ 1643393 h 1867037"/>
                  <a:gd name="connsiteX11791" fmla="*/ 479563 w 2417513"/>
                  <a:gd name="connsiteY11791" fmla="*/ 1641424 h 1867037"/>
                  <a:gd name="connsiteX11792" fmla="*/ 480624 w 2417513"/>
                  <a:gd name="connsiteY11792" fmla="*/ 1640514 h 1867037"/>
                  <a:gd name="connsiteX11793" fmla="*/ 483654 w 2417513"/>
                  <a:gd name="connsiteY11793" fmla="*/ 1641272 h 1867037"/>
                  <a:gd name="connsiteX11794" fmla="*/ 484260 w 2417513"/>
                  <a:gd name="connsiteY11794" fmla="*/ 1641120 h 1867037"/>
                  <a:gd name="connsiteX11795" fmla="*/ 485018 w 2417513"/>
                  <a:gd name="connsiteY11795" fmla="*/ 1639605 h 1867037"/>
                  <a:gd name="connsiteX11796" fmla="*/ 482745 w 2417513"/>
                  <a:gd name="connsiteY11796" fmla="*/ 1634302 h 1867037"/>
                  <a:gd name="connsiteX11797" fmla="*/ 481988 w 2417513"/>
                  <a:gd name="connsiteY11797" fmla="*/ 1632029 h 1867037"/>
                  <a:gd name="connsiteX11798" fmla="*/ 407439 w 2417513"/>
                  <a:gd name="connsiteY11798" fmla="*/ 1607634 h 1867037"/>
                  <a:gd name="connsiteX11799" fmla="*/ 404863 w 2417513"/>
                  <a:gd name="connsiteY11799" fmla="*/ 1607180 h 1867037"/>
                  <a:gd name="connsiteX11800" fmla="*/ 404257 w 2417513"/>
                  <a:gd name="connsiteY11800" fmla="*/ 1608695 h 1867037"/>
                  <a:gd name="connsiteX11801" fmla="*/ 404257 w 2417513"/>
                  <a:gd name="connsiteY11801" fmla="*/ 1610210 h 1867037"/>
                  <a:gd name="connsiteX11802" fmla="*/ 405470 w 2417513"/>
                  <a:gd name="connsiteY11802" fmla="*/ 1610816 h 1867037"/>
                  <a:gd name="connsiteX11803" fmla="*/ 408803 w 2417513"/>
                  <a:gd name="connsiteY11803" fmla="*/ 1611271 h 1867037"/>
                  <a:gd name="connsiteX11804" fmla="*/ 408045 w 2417513"/>
                  <a:gd name="connsiteY11804" fmla="*/ 1608089 h 1867037"/>
                  <a:gd name="connsiteX11805" fmla="*/ 407439 w 2417513"/>
                  <a:gd name="connsiteY11805" fmla="*/ 1607634 h 1867037"/>
                  <a:gd name="connsiteX11806" fmla="*/ 300163 w 2417513"/>
                  <a:gd name="connsiteY11806" fmla="*/ 1458083 h 1867037"/>
                  <a:gd name="connsiteX11807" fmla="*/ 295769 w 2417513"/>
                  <a:gd name="connsiteY11807" fmla="*/ 1455508 h 1867037"/>
                  <a:gd name="connsiteX11808" fmla="*/ 290314 w 2417513"/>
                  <a:gd name="connsiteY11808" fmla="*/ 1452932 h 1867037"/>
                  <a:gd name="connsiteX11809" fmla="*/ 288799 w 2417513"/>
                  <a:gd name="connsiteY11809" fmla="*/ 1452477 h 1867037"/>
                  <a:gd name="connsiteX11810" fmla="*/ 286980 w 2417513"/>
                  <a:gd name="connsiteY11810" fmla="*/ 1455659 h 1867037"/>
                  <a:gd name="connsiteX11811" fmla="*/ 289859 w 2417513"/>
                  <a:gd name="connsiteY11811" fmla="*/ 1457629 h 1867037"/>
                  <a:gd name="connsiteX11812" fmla="*/ 292738 w 2417513"/>
                  <a:gd name="connsiteY11812" fmla="*/ 1460811 h 1867037"/>
                  <a:gd name="connsiteX11813" fmla="*/ 296981 w 2417513"/>
                  <a:gd name="connsiteY11813" fmla="*/ 1463084 h 1867037"/>
                  <a:gd name="connsiteX11814" fmla="*/ 302890 w 2417513"/>
                  <a:gd name="connsiteY11814" fmla="*/ 1469296 h 1867037"/>
                  <a:gd name="connsiteX11815" fmla="*/ 304708 w 2417513"/>
                  <a:gd name="connsiteY11815" fmla="*/ 1469751 h 1867037"/>
                  <a:gd name="connsiteX11816" fmla="*/ 305314 w 2417513"/>
                  <a:gd name="connsiteY11816" fmla="*/ 1469599 h 1867037"/>
                  <a:gd name="connsiteX11817" fmla="*/ 307436 w 2417513"/>
                  <a:gd name="connsiteY11817" fmla="*/ 1467781 h 1867037"/>
                  <a:gd name="connsiteX11818" fmla="*/ 307890 w 2417513"/>
                  <a:gd name="connsiteY11818" fmla="*/ 1466720 h 1867037"/>
                  <a:gd name="connsiteX11819" fmla="*/ 302739 w 2417513"/>
                  <a:gd name="connsiteY11819" fmla="*/ 1459599 h 1867037"/>
                  <a:gd name="connsiteX11820" fmla="*/ 300163 w 2417513"/>
                  <a:gd name="connsiteY11820" fmla="*/ 1458083 h 1867037"/>
                  <a:gd name="connsiteX11821" fmla="*/ 346983 w 2417513"/>
                  <a:gd name="connsiteY11821" fmla="*/ 1495964 h 1867037"/>
                  <a:gd name="connsiteX11822" fmla="*/ 347740 w 2417513"/>
                  <a:gd name="connsiteY11822" fmla="*/ 1492630 h 1867037"/>
                  <a:gd name="connsiteX11823" fmla="*/ 349104 w 2417513"/>
                  <a:gd name="connsiteY11823" fmla="*/ 1485509 h 1867037"/>
                  <a:gd name="connsiteX11824" fmla="*/ 349104 w 2417513"/>
                  <a:gd name="connsiteY11824" fmla="*/ 1483842 h 1867037"/>
                  <a:gd name="connsiteX11825" fmla="*/ 345922 w 2417513"/>
                  <a:gd name="connsiteY11825" fmla="*/ 1483994 h 1867037"/>
                  <a:gd name="connsiteX11826" fmla="*/ 343801 w 2417513"/>
                  <a:gd name="connsiteY11826" fmla="*/ 1487176 h 1867037"/>
                  <a:gd name="connsiteX11827" fmla="*/ 343952 w 2417513"/>
                  <a:gd name="connsiteY11827" fmla="*/ 1492176 h 1867037"/>
                  <a:gd name="connsiteX11828" fmla="*/ 344255 w 2417513"/>
                  <a:gd name="connsiteY11828" fmla="*/ 1494297 h 1867037"/>
                  <a:gd name="connsiteX11829" fmla="*/ 344558 w 2417513"/>
                  <a:gd name="connsiteY11829" fmla="*/ 1495358 h 1867037"/>
                  <a:gd name="connsiteX11830" fmla="*/ 344407 w 2417513"/>
                  <a:gd name="connsiteY11830" fmla="*/ 1496570 h 1867037"/>
                  <a:gd name="connsiteX11831" fmla="*/ 343649 w 2417513"/>
                  <a:gd name="connsiteY11831" fmla="*/ 1498540 h 1867037"/>
                  <a:gd name="connsiteX11832" fmla="*/ 345770 w 2417513"/>
                  <a:gd name="connsiteY11832" fmla="*/ 1498085 h 1867037"/>
                  <a:gd name="connsiteX11833" fmla="*/ 346528 w 2417513"/>
                  <a:gd name="connsiteY11833" fmla="*/ 1497176 h 1867037"/>
                  <a:gd name="connsiteX11834" fmla="*/ 346983 w 2417513"/>
                  <a:gd name="connsiteY11834" fmla="*/ 1495964 h 1867037"/>
                  <a:gd name="connsiteX11835" fmla="*/ 392742 w 2417513"/>
                  <a:gd name="connsiteY11835" fmla="*/ 1593998 h 1867037"/>
                  <a:gd name="connsiteX11836" fmla="*/ 391378 w 2417513"/>
                  <a:gd name="connsiteY11836" fmla="*/ 1591725 h 1867037"/>
                  <a:gd name="connsiteX11837" fmla="*/ 390317 w 2417513"/>
                  <a:gd name="connsiteY11837" fmla="*/ 1590513 h 1867037"/>
                  <a:gd name="connsiteX11838" fmla="*/ 387893 w 2417513"/>
                  <a:gd name="connsiteY11838" fmla="*/ 1589452 h 1867037"/>
                  <a:gd name="connsiteX11839" fmla="*/ 385166 w 2417513"/>
                  <a:gd name="connsiteY11839" fmla="*/ 1590664 h 1867037"/>
                  <a:gd name="connsiteX11840" fmla="*/ 385923 w 2417513"/>
                  <a:gd name="connsiteY11840" fmla="*/ 1592634 h 1867037"/>
                  <a:gd name="connsiteX11841" fmla="*/ 385772 w 2417513"/>
                  <a:gd name="connsiteY11841" fmla="*/ 1593391 h 1867037"/>
                  <a:gd name="connsiteX11842" fmla="*/ 384863 w 2417513"/>
                  <a:gd name="connsiteY11842" fmla="*/ 1593846 h 1867037"/>
                  <a:gd name="connsiteX11843" fmla="*/ 384560 w 2417513"/>
                  <a:gd name="connsiteY11843" fmla="*/ 1594301 h 1867037"/>
                  <a:gd name="connsiteX11844" fmla="*/ 384863 w 2417513"/>
                  <a:gd name="connsiteY11844" fmla="*/ 1594907 h 1867037"/>
                  <a:gd name="connsiteX11845" fmla="*/ 388196 w 2417513"/>
                  <a:gd name="connsiteY11845" fmla="*/ 1597634 h 1867037"/>
                  <a:gd name="connsiteX11846" fmla="*/ 390166 w 2417513"/>
                  <a:gd name="connsiteY11846" fmla="*/ 1598695 h 1867037"/>
                  <a:gd name="connsiteX11847" fmla="*/ 391833 w 2417513"/>
                  <a:gd name="connsiteY11847" fmla="*/ 1599149 h 1867037"/>
                  <a:gd name="connsiteX11848" fmla="*/ 392893 w 2417513"/>
                  <a:gd name="connsiteY11848" fmla="*/ 1598998 h 1867037"/>
                  <a:gd name="connsiteX11849" fmla="*/ 393348 w 2417513"/>
                  <a:gd name="connsiteY11849" fmla="*/ 1598240 h 1867037"/>
                  <a:gd name="connsiteX11850" fmla="*/ 393348 w 2417513"/>
                  <a:gd name="connsiteY11850" fmla="*/ 1596573 h 1867037"/>
                  <a:gd name="connsiteX11851" fmla="*/ 392742 w 2417513"/>
                  <a:gd name="connsiteY11851" fmla="*/ 1593998 h 1867037"/>
                  <a:gd name="connsiteX11852" fmla="*/ 51366 w 2417513"/>
                  <a:gd name="connsiteY11852" fmla="*/ 779574 h 1867037"/>
                  <a:gd name="connsiteX11853" fmla="*/ 53638 w 2417513"/>
                  <a:gd name="connsiteY11853" fmla="*/ 777756 h 1867037"/>
                  <a:gd name="connsiteX11854" fmla="*/ 58184 w 2417513"/>
                  <a:gd name="connsiteY11854" fmla="*/ 777150 h 1867037"/>
                  <a:gd name="connsiteX11855" fmla="*/ 56669 w 2417513"/>
                  <a:gd name="connsiteY11855" fmla="*/ 775786 h 1867037"/>
                  <a:gd name="connsiteX11856" fmla="*/ 52881 w 2417513"/>
                  <a:gd name="connsiteY11856" fmla="*/ 774271 h 1867037"/>
                  <a:gd name="connsiteX11857" fmla="*/ 51062 w 2417513"/>
                  <a:gd name="connsiteY11857" fmla="*/ 774119 h 1867037"/>
                  <a:gd name="connsiteX11858" fmla="*/ 46971 w 2417513"/>
                  <a:gd name="connsiteY11858" fmla="*/ 776695 h 1867037"/>
                  <a:gd name="connsiteX11859" fmla="*/ 47881 w 2417513"/>
                  <a:gd name="connsiteY11859" fmla="*/ 777604 h 1867037"/>
                  <a:gd name="connsiteX11860" fmla="*/ 51366 w 2417513"/>
                  <a:gd name="connsiteY11860" fmla="*/ 779574 h 1867037"/>
                  <a:gd name="connsiteX11861" fmla="*/ 541384 w 2417513"/>
                  <a:gd name="connsiteY11861" fmla="*/ 454714 h 1867037"/>
                  <a:gd name="connsiteX11862" fmla="*/ 540778 w 2417513"/>
                  <a:gd name="connsiteY11862" fmla="*/ 456077 h 1867037"/>
                  <a:gd name="connsiteX11863" fmla="*/ 543202 w 2417513"/>
                  <a:gd name="connsiteY11863" fmla="*/ 456683 h 1867037"/>
                  <a:gd name="connsiteX11864" fmla="*/ 545323 w 2417513"/>
                  <a:gd name="connsiteY11864" fmla="*/ 456380 h 1867037"/>
                  <a:gd name="connsiteX11865" fmla="*/ 547293 w 2417513"/>
                  <a:gd name="connsiteY11865" fmla="*/ 455168 h 1867037"/>
                  <a:gd name="connsiteX11866" fmla="*/ 548657 w 2417513"/>
                  <a:gd name="connsiteY11866" fmla="*/ 453804 h 1867037"/>
                  <a:gd name="connsiteX11867" fmla="*/ 549566 w 2417513"/>
                  <a:gd name="connsiteY11867" fmla="*/ 452441 h 1867037"/>
                  <a:gd name="connsiteX11868" fmla="*/ 550172 w 2417513"/>
                  <a:gd name="connsiteY11868" fmla="*/ 450774 h 1867037"/>
                  <a:gd name="connsiteX11869" fmla="*/ 550627 w 2417513"/>
                  <a:gd name="connsiteY11869" fmla="*/ 447289 h 1867037"/>
                  <a:gd name="connsiteX11870" fmla="*/ 550324 w 2417513"/>
                  <a:gd name="connsiteY11870" fmla="*/ 446077 h 1867037"/>
                  <a:gd name="connsiteX11871" fmla="*/ 549566 w 2417513"/>
                  <a:gd name="connsiteY11871" fmla="*/ 445471 h 1867037"/>
                  <a:gd name="connsiteX11872" fmla="*/ 547445 w 2417513"/>
                  <a:gd name="connsiteY11872" fmla="*/ 446077 h 1867037"/>
                  <a:gd name="connsiteX11873" fmla="*/ 546081 w 2417513"/>
                  <a:gd name="connsiteY11873" fmla="*/ 447441 h 1867037"/>
                  <a:gd name="connsiteX11874" fmla="*/ 546687 w 2417513"/>
                  <a:gd name="connsiteY11874" fmla="*/ 448501 h 1867037"/>
                  <a:gd name="connsiteX11875" fmla="*/ 546687 w 2417513"/>
                  <a:gd name="connsiteY11875" fmla="*/ 449410 h 1867037"/>
                  <a:gd name="connsiteX11876" fmla="*/ 546384 w 2417513"/>
                  <a:gd name="connsiteY11876" fmla="*/ 450471 h 1867037"/>
                  <a:gd name="connsiteX11877" fmla="*/ 541384 w 2417513"/>
                  <a:gd name="connsiteY11877" fmla="*/ 454714 h 1867037"/>
                  <a:gd name="connsiteX11878" fmla="*/ 269859 w 2417513"/>
                  <a:gd name="connsiteY11878" fmla="*/ 1502176 h 1867037"/>
                  <a:gd name="connsiteX11879" fmla="*/ 266677 w 2417513"/>
                  <a:gd name="connsiteY11879" fmla="*/ 1502176 h 1867037"/>
                  <a:gd name="connsiteX11880" fmla="*/ 265010 w 2417513"/>
                  <a:gd name="connsiteY11880" fmla="*/ 1501722 h 1867037"/>
                  <a:gd name="connsiteX11881" fmla="*/ 264858 w 2417513"/>
                  <a:gd name="connsiteY11881" fmla="*/ 1501267 h 1867037"/>
                  <a:gd name="connsiteX11882" fmla="*/ 266677 w 2417513"/>
                  <a:gd name="connsiteY11882" fmla="*/ 1498540 h 1867037"/>
                  <a:gd name="connsiteX11883" fmla="*/ 266677 w 2417513"/>
                  <a:gd name="connsiteY11883" fmla="*/ 1497630 h 1867037"/>
                  <a:gd name="connsiteX11884" fmla="*/ 266222 w 2417513"/>
                  <a:gd name="connsiteY11884" fmla="*/ 1497327 h 1867037"/>
                  <a:gd name="connsiteX11885" fmla="*/ 263192 w 2417513"/>
                  <a:gd name="connsiteY11885" fmla="*/ 1497630 h 1867037"/>
                  <a:gd name="connsiteX11886" fmla="*/ 261979 w 2417513"/>
                  <a:gd name="connsiteY11886" fmla="*/ 1497327 h 1867037"/>
                  <a:gd name="connsiteX11887" fmla="*/ 261525 w 2417513"/>
                  <a:gd name="connsiteY11887" fmla="*/ 1496115 h 1867037"/>
                  <a:gd name="connsiteX11888" fmla="*/ 257585 w 2417513"/>
                  <a:gd name="connsiteY11888" fmla="*/ 1491570 h 1867037"/>
                  <a:gd name="connsiteX11889" fmla="*/ 258040 w 2417513"/>
                  <a:gd name="connsiteY11889" fmla="*/ 1489903 h 1867037"/>
                  <a:gd name="connsiteX11890" fmla="*/ 261222 w 2417513"/>
                  <a:gd name="connsiteY11890" fmla="*/ 1487024 h 1867037"/>
                  <a:gd name="connsiteX11891" fmla="*/ 256979 w 2417513"/>
                  <a:gd name="connsiteY11891" fmla="*/ 1485357 h 1867037"/>
                  <a:gd name="connsiteX11892" fmla="*/ 253797 w 2417513"/>
                  <a:gd name="connsiteY11892" fmla="*/ 1484903 h 1867037"/>
                  <a:gd name="connsiteX11893" fmla="*/ 251525 w 2417513"/>
                  <a:gd name="connsiteY11893" fmla="*/ 1482630 h 1867037"/>
                  <a:gd name="connsiteX11894" fmla="*/ 248949 w 2417513"/>
                  <a:gd name="connsiteY11894" fmla="*/ 1480812 h 1867037"/>
                  <a:gd name="connsiteX11895" fmla="*/ 247130 w 2417513"/>
                  <a:gd name="connsiteY11895" fmla="*/ 1480509 h 1867037"/>
                  <a:gd name="connsiteX11896" fmla="*/ 248646 w 2417513"/>
                  <a:gd name="connsiteY11896" fmla="*/ 1479448 h 1867037"/>
                  <a:gd name="connsiteX11897" fmla="*/ 249706 w 2417513"/>
                  <a:gd name="connsiteY11897" fmla="*/ 1479296 h 1867037"/>
                  <a:gd name="connsiteX11898" fmla="*/ 251979 w 2417513"/>
                  <a:gd name="connsiteY11898" fmla="*/ 1480357 h 1867037"/>
                  <a:gd name="connsiteX11899" fmla="*/ 256373 w 2417513"/>
                  <a:gd name="connsiteY11899" fmla="*/ 1478993 h 1867037"/>
                  <a:gd name="connsiteX11900" fmla="*/ 256676 w 2417513"/>
                  <a:gd name="connsiteY11900" fmla="*/ 1475357 h 1867037"/>
                  <a:gd name="connsiteX11901" fmla="*/ 255919 w 2417513"/>
                  <a:gd name="connsiteY11901" fmla="*/ 1472326 h 1867037"/>
                  <a:gd name="connsiteX11902" fmla="*/ 253191 w 2417513"/>
                  <a:gd name="connsiteY11902" fmla="*/ 1468842 h 1867037"/>
                  <a:gd name="connsiteX11903" fmla="*/ 250464 w 2417513"/>
                  <a:gd name="connsiteY11903" fmla="*/ 1467629 h 1867037"/>
                  <a:gd name="connsiteX11904" fmla="*/ 249403 w 2417513"/>
                  <a:gd name="connsiteY11904" fmla="*/ 1467629 h 1867037"/>
                  <a:gd name="connsiteX11905" fmla="*/ 246827 w 2417513"/>
                  <a:gd name="connsiteY11905" fmla="*/ 1468690 h 1867037"/>
                  <a:gd name="connsiteX11906" fmla="*/ 245615 w 2417513"/>
                  <a:gd name="connsiteY11906" fmla="*/ 1469599 h 1867037"/>
                  <a:gd name="connsiteX11907" fmla="*/ 242433 w 2417513"/>
                  <a:gd name="connsiteY11907" fmla="*/ 1470357 h 1867037"/>
                  <a:gd name="connsiteX11908" fmla="*/ 237130 w 2417513"/>
                  <a:gd name="connsiteY11908" fmla="*/ 1471266 h 1867037"/>
                  <a:gd name="connsiteX11909" fmla="*/ 232281 w 2417513"/>
                  <a:gd name="connsiteY11909" fmla="*/ 1470963 h 1867037"/>
                  <a:gd name="connsiteX11910" fmla="*/ 231675 w 2417513"/>
                  <a:gd name="connsiteY11910" fmla="*/ 1471266 h 1867037"/>
                  <a:gd name="connsiteX11911" fmla="*/ 232887 w 2417513"/>
                  <a:gd name="connsiteY11911" fmla="*/ 1473084 h 1867037"/>
                  <a:gd name="connsiteX11912" fmla="*/ 233948 w 2417513"/>
                  <a:gd name="connsiteY11912" fmla="*/ 1473690 h 1867037"/>
                  <a:gd name="connsiteX11913" fmla="*/ 242888 w 2417513"/>
                  <a:gd name="connsiteY11913" fmla="*/ 1476418 h 1867037"/>
                  <a:gd name="connsiteX11914" fmla="*/ 242888 w 2417513"/>
                  <a:gd name="connsiteY11914" fmla="*/ 1477933 h 1867037"/>
                  <a:gd name="connsiteX11915" fmla="*/ 240615 w 2417513"/>
                  <a:gd name="connsiteY11915" fmla="*/ 1478236 h 1867037"/>
                  <a:gd name="connsiteX11916" fmla="*/ 239857 w 2417513"/>
                  <a:gd name="connsiteY11916" fmla="*/ 1478690 h 1867037"/>
                  <a:gd name="connsiteX11917" fmla="*/ 239857 w 2417513"/>
                  <a:gd name="connsiteY11917" fmla="*/ 1479751 h 1867037"/>
                  <a:gd name="connsiteX11918" fmla="*/ 240463 w 2417513"/>
                  <a:gd name="connsiteY11918" fmla="*/ 1481266 h 1867037"/>
                  <a:gd name="connsiteX11919" fmla="*/ 242433 w 2417513"/>
                  <a:gd name="connsiteY11919" fmla="*/ 1484297 h 1867037"/>
                  <a:gd name="connsiteX11920" fmla="*/ 244403 w 2417513"/>
                  <a:gd name="connsiteY11920" fmla="*/ 1485357 h 1867037"/>
                  <a:gd name="connsiteX11921" fmla="*/ 252131 w 2417513"/>
                  <a:gd name="connsiteY11921" fmla="*/ 1493085 h 1867037"/>
                  <a:gd name="connsiteX11922" fmla="*/ 257282 w 2417513"/>
                  <a:gd name="connsiteY11922" fmla="*/ 1496721 h 1867037"/>
                  <a:gd name="connsiteX11923" fmla="*/ 258949 w 2417513"/>
                  <a:gd name="connsiteY11923" fmla="*/ 1498388 h 1867037"/>
                  <a:gd name="connsiteX11924" fmla="*/ 260313 w 2417513"/>
                  <a:gd name="connsiteY11924" fmla="*/ 1501267 h 1867037"/>
                  <a:gd name="connsiteX11925" fmla="*/ 262737 w 2417513"/>
                  <a:gd name="connsiteY11925" fmla="*/ 1504297 h 1867037"/>
                  <a:gd name="connsiteX11926" fmla="*/ 268192 w 2417513"/>
                  <a:gd name="connsiteY11926" fmla="*/ 1507328 h 1867037"/>
                  <a:gd name="connsiteX11927" fmla="*/ 271071 w 2417513"/>
                  <a:gd name="connsiteY11927" fmla="*/ 1504903 h 1867037"/>
                  <a:gd name="connsiteX11928" fmla="*/ 269859 w 2417513"/>
                  <a:gd name="connsiteY11928" fmla="*/ 1502176 h 1867037"/>
                  <a:gd name="connsiteX11929" fmla="*/ 295465 w 2417513"/>
                  <a:gd name="connsiteY11929" fmla="*/ 1402930 h 1867037"/>
                  <a:gd name="connsiteX11930" fmla="*/ 295162 w 2417513"/>
                  <a:gd name="connsiteY11930" fmla="*/ 1399900 h 1867037"/>
                  <a:gd name="connsiteX11931" fmla="*/ 292435 w 2417513"/>
                  <a:gd name="connsiteY11931" fmla="*/ 1402930 h 1867037"/>
                  <a:gd name="connsiteX11932" fmla="*/ 287435 w 2417513"/>
                  <a:gd name="connsiteY11932" fmla="*/ 1407173 h 1867037"/>
                  <a:gd name="connsiteX11933" fmla="*/ 285162 w 2417513"/>
                  <a:gd name="connsiteY11933" fmla="*/ 1409597 h 1867037"/>
                  <a:gd name="connsiteX11934" fmla="*/ 286223 w 2417513"/>
                  <a:gd name="connsiteY11934" fmla="*/ 1410355 h 1867037"/>
                  <a:gd name="connsiteX11935" fmla="*/ 291374 w 2417513"/>
                  <a:gd name="connsiteY11935" fmla="*/ 1407930 h 1867037"/>
                  <a:gd name="connsiteX11936" fmla="*/ 295465 w 2417513"/>
                  <a:gd name="connsiteY11936" fmla="*/ 1402930 h 1867037"/>
                  <a:gd name="connsiteX11937" fmla="*/ 416985 w 2417513"/>
                  <a:gd name="connsiteY11937" fmla="*/ 658812 h 1867037"/>
                  <a:gd name="connsiteX11938" fmla="*/ 429864 w 2417513"/>
                  <a:gd name="connsiteY11938" fmla="*/ 658206 h 1867037"/>
                  <a:gd name="connsiteX11939" fmla="*/ 432137 w 2417513"/>
                  <a:gd name="connsiteY11939" fmla="*/ 659115 h 1867037"/>
                  <a:gd name="connsiteX11940" fmla="*/ 434562 w 2417513"/>
                  <a:gd name="connsiteY11940" fmla="*/ 660782 h 1867037"/>
                  <a:gd name="connsiteX11941" fmla="*/ 444562 w 2417513"/>
                  <a:gd name="connsiteY11941" fmla="*/ 665327 h 1867037"/>
                  <a:gd name="connsiteX11942" fmla="*/ 465169 w 2417513"/>
                  <a:gd name="connsiteY11942" fmla="*/ 673358 h 1867037"/>
                  <a:gd name="connsiteX11943" fmla="*/ 466684 w 2417513"/>
                  <a:gd name="connsiteY11943" fmla="*/ 674570 h 1867037"/>
                  <a:gd name="connsiteX11944" fmla="*/ 472139 w 2417513"/>
                  <a:gd name="connsiteY11944" fmla="*/ 680934 h 1867037"/>
                  <a:gd name="connsiteX11945" fmla="*/ 474108 w 2417513"/>
                  <a:gd name="connsiteY11945" fmla="*/ 682752 h 1867037"/>
                  <a:gd name="connsiteX11946" fmla="*/ 476533 w 2417513"/>
                  <a:gd name="connsiteY11946" fmla="*/ 686237 h 1867037"/>
                  <a:gd name="connsiteX11947" fmla="*/ 481988 w 2417513"/>
                  <a:gd name="connsiteY11947" fmla="*/ 696541 h 1867037"/>
                  <a:gd name="connsiteX11948" fmla="*/ 484109 w 2417513"/>
                  <a:gd name="connsiteY11948" fmla="*/ 698965 h 1867037"/>
                  <a:gd name="connsiteX11949" fmla="*/ 486988 w 2417513"/>
                  <a:gd name="connsiteY11949" fmla="*/ 701238 h 1867037"/>
                  <a:gd name="connsiteX11950" fmla="*/ 490170 w 2417513"/>
                  <a:gd name="connsiteY11950" fmla="*/ 702753 h 1867037"/>
                  <a:gd name="connsiteX11951" fmla="*/ 494564 w 2417513"/>
                  <a:gd name="connsiteY11951" fmla="*/ 703056 h 1867037"/>
                  <a:gd name="connsiteX11952" fmla="*/ 497140 w 2417513"/>
                  <a:gd name="connsiteY11952" fmla="*/ 702601 h 1867037"/>
                  <a:gd name="connsiteX11953" fmla="*/ 500473 w 2417513"/>
                  <a:gd name="connsiteY11953" fmla="*/ 701086 h 1867037"/>
                  <a:gd name="connsiteX11954" fmla="*/ 505170 w 2417513"/>
                  <a:gd name="connsiteY11954" fmla="*/ 697753 h 1867037"/>
                  <a:gd name="connsiteX11955" fmla="*/ 515928 w 2417513"/>
                  <a:gd name="connsiteY11955" fmla="*/ 694116 h 1867037"/>
                  <a:gd name="connsiteX11956" fmla="*/ 527141 w 2417513"/>
                  <a:gd name="connsiteY11956" fmla="*/ 685025 h 1867037"/>
                  <a:gd name="connsiteX11957" fmla="*/ 528504 w 2417513"/>
                  <a:gd name="connsiteY11957" fmla="*/ 684722 h 1867037"/>
                  <a:gd name="connsiteX11958" fmla="*/ 530626 w 2417513"/>
                  <a:gd name="connsiteY11958" fmla="*/ 684874 h 1867037"/>
                  <a:gd name="connsiteX11959" fmla="*/ 532747 w 2417513"/>
                  <a:gd name="connsiteY11959" fmla="*/ 686995 h 1867037"/>
                  <a:gd name="connsiteX11960" fmla="*/ 534717 w 2417513"/>
                  <a:gd name="connsiteY11960" fmla="*/ 687904 h 1867037"/>
                  <a:gd name="connsiteX11961" fmla="*/ 543202 w 2417513"/>
                  <a:gd name="connsiteY11961" fmla="*/ 686540 h 1867037"/>
                  <a:gd name="connsiteX11962" fmla="*/ 549414 w 2417513"/>
                  <a:gd name="connsiteY11962" fmla="*/ 685025 h 1867037"/>
                  <a:gd name="connsiteX11963" fmla="*/ 557900 w 2417513"/>
                  <a:gd name="connsiteY11963" fmla="*/ 681995 h 1867037"/>
                  <a:gd name="connsiteX11964" fmla="*/ 560627 w 2417513"/>
                  <a:gd name="connsiteY11964" fmla="*/ 679419 h 1867037"/>
                  <a:gd name="connsiteX11965" fmla="*/ 562294 w 2417513"/>
                  <a:gd name="connsiteY11965" fmla="*/ 676994 h 1867037"/>
                  <a:gd name="connsiteX11966" fmla="*/ 562748 w 2417513"/>
                  <a:gd name="connsiteY11966" fmla="*/ 675631 h 1867037"/>
                  <a:gd name="connsiteX11967" fmla="*/ 564869 w 2417513"/>
                  <a:gd name="connsiteY11967" fmla="*/ 662600 h 1867037"/>
                  <a:gd name="connsiteX11968" fmla="*/ 566385 w 2417513"/>
                  <a:gd name="connsiteY11968" fmla="*/ 657751 h 1867037"/>
                  <a:gd name="connsiteX11969" fmla="*/ 569567 w 2417513"/>
                  <a:gd name="connsiteY11969" fmla="*/ 650478 h 1867037"/>
                  <a:gd name="connsiteX11970" fmla="*/ 570021 w 2417513"/>
                  <a:gd name="connsiteY11970" fmla="*/ 646084 h 1867037"/>
                  <a:gd name="connsiteX11971" fmla="*/ 572446 w 2417513"/>
                  <a:gd name="connsiteY11971" fmla="*/ 645175 h 1867037"/>
                  <a:gd name="connsiteX11972" fmla="*/ 581234 w 2417513"/>
                  <a:gd name="connsiteY11972" fmla="*/ 644417 h 1867037"/>
                  <a:gd name="connsiteX11973" fmla="*/ 588204 w 2417513"/>
                  <a:gd name="connsiteY11973" fmla="*/ 641387 h 1867037"/>
                  <a:gd name="connsiteX11974" fmla="*/ 591083 w 2417513"/>
                  <a:gd name="connsiteY11974" fmla="*/ 638357 h 1867037"/>
                  <a:gd name="connsiteX11975" fmla="*/ 598659 w 2417513"/>
                  <a:gd name="connsiteY11975" fmla="*/ 625477 h 1867037"/>
                  <a:gd name="connsiteX11976" fmla="*/ 600174 w 2417513"/>
                  <a:gd name="connsiteY11976" fmla="*/ 623811 h 1867037"/>
                  <a:gd name="connsiteX11977" fmla="*/ 603356 w 2417513"/>
                  <a:gd name="connsiteY11977" fmla="*/ 621538 h 1867037"/>
                  <a:gd name="connsiteX11978" fmla="*/ 630175 w 2417513"/>
                  <a:gd name="connsiteY11978" fmla="*/ 610174 h 1867037"/>
                  <a:gd name="connsiteX11979" fmla="*/ 644418 w 2417513"/>
                  <a:gd name="connsiteY11979" fmla="*/ 603052 h 1867037"/>
                  <a:gd name="connsiteX11980" fmla="*/ 655327 w 2417513"/>
                  <a:gd name="connsiteY11980" fmla="*/ 599416 h 1867037"/>
                  <a:gd name="connsiteX11981" fmla="*/ 671237 w 2417513"/>
                  <a:gd name="connsiteY11981" fmla="*/ 591688 h 1867037"/>
                  <a:gd name="connsiteX11982" fmla="*/ 677904 w 2417513"/>
                  <a:gd name="connsiteY11982" fmla="*/ 589567 h 1867037"/>
                  <a:gd name="connsiteX11983" fmla="*/ 684571 w 2417513"/>
                  <a:gd name="connsiteY11983" fmla="*/ 588052 h 1867037"/>
                  <a:gd name="connsiteX11984" fmla="*/ 697299 w 2417513"/>
                  <a:gd name="connsiteY11984" fmla="*/ 583052 h 1867037"/>
                  <a:gd name="connsiteX11985" fmla="*/ 699420 w 2417513"/>
                  <a:gd name="connsiteY11985" fmla="*/ 581839 h 1867037"/>
                  <a:gd name="connsiteX11986" fmla="*/ 700329 w 2417513"/>
                  <a:gd name="connsiteY11986" fmla="*/ 580476 h 1867037"/>
                  <a:gd name="connsiteX11987" fmla="*/ 700784 w 2417513"/>
                  <a:gd name="connsiteY11987" fmla="*/ 578506 h 1867037"/>
                  <a:gd name="connsiteX11988" fmla="*/ 700329 w 2417513"/>
                  <a:gd name="connsiteY11988" fmla="*/ 576385 h 1867037"/>
                  <a:gd name="connsiteX11989" fmla="*/ 698965 w 2417513"/>
                  <a:gd name="connsiteY11989" fmla="*/ 574112 h 1867037"/>
                  <a:gd name="connsiteX11990" fmla="*/ 697450 w 2417513"/>
                  <a:gd name="connsiteY11990" fmla="*/ 572294 h 1867037"/>
                  <a:gd name="connsiteX11991" fmla="*/ 694117 w 2417513"/>
                  <a:gd name="connsiteY11991" fmla="*/ 569869 h 1867037"/>
                  <a:gd name="connsiteX11992" fmla="*/ 685328 w 2417513"/>
                  <a:gd name="connsiteY11992" fmla="*/ 565475 h 1867037"/>
                  <a:gd name="connsiteX11993" fmla="*/ 664419 w 2417513"/>
                  <a:gd name="connsiteY11993" fmla="*/ 550475 h 1867037"/>
                  <a:gd name="connsiteX11994" fmla="*/ 658206 w 2417513"/>
                  <a:gd name="connsiteY11994" fmla="*/ 546535 h 1867037"/>
                  <a:gd name="connsiteX11995" fmla="*/ 651388 w 2417513"/>
                  <a:gd name="connsiteY11995" fmla="*/ 542747 h 1867037"/>
                  <a:gd name="connsiteX11996" fmla="*/ 642751 w 2417513"/>
                  <a:gd name="connsiteY11996" fmla="*/ 539414 h 1867037"/>
                  <a:gd name="connsiteX11997" fmla="*/ 637448 w 2417513"/>
                  <a:gd name="connsiteY11997" fmla="*/ 538353 h 1867037"/>
                  <a:gd name="connsiteX11998" fmla="*/ 630326 w 2417513"/>
                  <a:gd name="connsiteY11998" fmla="*/ 537595 h 1867037"/>
                  <a:gd name="connsiteX11999" fmla="*/ 623963 w 2417513"/>
                  <a:gd name="connsiteY11999" fmla="*/ 537595 h 1867037"/>
                  <a:gd name="connsiteX12000" fmla="*/ 614568 w 2417513"/>
                  <a:gd name="connsiteY12000" fmla="*/ 538808 h 1867037"/>
                  <a:gd name="connsiteX12001" fmla="*/ 612295 w 2417513"/>
                  <a:gd name="connsiteY12001" fmla="*/ 539414 h 1867037"/>
                  <a:gd name="connsiteX12002" fmla="*/ 609114 w 2417513"/>
                  <a:gd name="connsiteY12002" fmla="*/ 541535 h 1867037"/>
                  <a:gd name="connsiteX12003" fmla="*/ 601386 w 2417513"/>
                  <a:gd name="connsiteY12003" fmla="*/ 549414 h 1867037"/>
                  <a:gd name="connsiteX12004" fmla="*/ 599871 w 2417513"/>
                  <a:gd name="connsiteY12004" fmla="*/ 550626 h 1867037"/>
                  <a:gd name="connsiteX12005" fmla="*/ 598962 w 2417513"/>
                  <a:gd name="connsiteY12005" fmla="*/ 550929 h 1867037"/>
                  <a:gd name="connsiteX12006" fmla="*/ 598507 w 2417513"/>
                  <a:gd name="connsiteY12006" fmla="*/ 550323 h 1867037"/>
                  <a:gd name="connsiteX12007" fmla="*/ 598356 w 2417513"/>
                  <a:gd name="connsiteY12007" fmla="*/ 545020 h 1867037"/>
                  <a:gd name="connsiteX12008" fmla="*/ 598052 w 2417513"/>
                  <a:gd name="connsiteY12008" fmla="*/ 542899 h 1867037"/>
                  <a:gd name="connsiteX12009" fmla="*/ 597446 w 2417513"/>
                  <a:gd name="connsiteY12009" fmla="*/ 541838 h 1867037"/>
                  <a:gd name="connsiteX12010" fmla="*/ 596537 w 2417513"/>
                  <a:gd name="connsiteY12010" fmla="*/ 541232 h 1867037"/>
                  <a:gd name="connsiteX12011" fmla="*/ 593507 w 2417513"/>
                  <a:gd name="connsiteY12011" fmla="*/ 540777 h 1867037"/>
                  <a:gd name="connsiteX12012" fmla="*/ 589264 w 2417513"/>
                  <a:gd name="connsiteY12012" fmla="*/ 541080 h 1867037"/>
                  <a:gd name="connsiteX12013" fmla="*/ 582294 w 2417513"/>
                  <a:gd name="connsiteY12013" fmla="*/ 546081 h 1867037"/>
                  <a:gd name="connsiteX12014" fmla="*/ 582143 w 2417513"/>
                  <a:gd name="connsiteY12014" fmla="*/ 545929 h 1867037"/>
                  <a:gd name="connsiteX12015" fmla="*/ 582143 w 2417513"/>
                  <a:gd name="connsiteY12015" fmla="*/ 545020 h 1867037"/>
                  <a:gd name="connsiteX12016" fmla="*/ 582749 w 2417513"/>
                  <a:gd name="connsiteY12016" fmla="*/ 543808 h 1867037"/>
                  <a:gd name="connsiteX12017" fmla="*/ 586992 w 2417513"/>
                  <a:gd name="connsiteY12017" fmla="*/ 539565 h 1867037"/>
                  <a:gd name="connsiteX12018" fmla="*/ 576537 w 2417513"/>
                  <a:gd name="connsiteY12018" fmla="*/ 538505 h 1867037"/>
                  <a:gd name="connsiteX12019" fmla="*/ 559869 w 2417513"/>
                  <a:gd name="connsiteY12019" fmla="*/ 533201 h 1867037"/>
                  <a:gd name="connsiteX12020" fmla="*/ 550929 w 2417513"/>
                  <a:gd name="connsiteY12020" fmla="*/ 529565 h 1867037"/>
                  <a:gd name="connsiteX12021" fmla="*/ 544111 w 2417513"/>
                  <a:gd name="connsiteY12021" fmla="*/ 525777 h 1867037"/>
                  <a:gd name="connsiteX12022" fmla="*/ 538959 w 2417513"/>
                  <a:gd name="connsiteY12022" fmla="*/ 523655 h 1867037"/>
                  <a:gd name="connsiteX12023" fmla="*/ 533808 w 2417513"/>
                  <a:gd name="connsiteY12023" fmla="*/ 522898 h 1867037"/>
                  <a:gd name="connsiteX12024" fmla="*/ 527141 w 2417513"/>
                  <a:gd name="connsiteY12024" fmla="*/ 523201 h 1867037"/>
                  <a:gd name="connsiteX12025" fmla="*/ 503201 w 2417513"/>
                  <a:gd name="connsiteY12025" fmla="*/ 527292 h 1867037"/>
                  <a:gd name="connsiteX12026" fmla="*/ 480018 w 2417513"/>
                  <a:gd name="connsiteY12026" fmla="*/ 528807 h 1867037"/>
                  <a:gd name="connsiteX12027" fmla="*/ 446380 w 2417513"/>
                  <a:gd name="connsiteY12027" fmla="*/ 533504 h 1867037"/>
                  <a:gd name="connsiteX12028" fmla="*/ 446077 w 2417513"/>
                  <a:gd name="connsiteY12028" fmla="*/ 534717 h 1867037"/>
                  <a:gd name="connsiteX12029" fmla="*/ 447895 w 2417513"/>
                  <a:gd name="connsiteY12029" fmla="*/ 535929 h 1867037"/>
                  <a:gd name="connsiteX12030" fmla="*/ 448350 w 2417513"/>
                  <a:gd name="connsiteY12030" fmla="*/ 537747 h 1867037"/>
                  <a:gd name="connsiteX12031" fmla="*/ 449865 w 2417513"/>
                  <a:gd name="connsiteY12031" fmla="*/ 538959 h 1867037"/>
                  <a:gd name="connsiteX12032" fmla="*/ 458502 w 2417513"/>
                  <a:gd name="connsiteY12032" fmla="*/ 554869 h 1867037"/>
                  <a:gd name="connsiteX12033" fmla="*/ 460320 w 2417513"/>
                  <a:gd name="connsiteY12033" fmla="*/ 557596 h 1867037"/>
                  <a:gd name="connsiteX12034" fmla="*/ 463199 w 2417513"/>
                  <a:gd name="connsiteY12034" fmla="*/ 560020 h 1867037"/>
                  <a:gd name="connsiteX12035" fmla="*/ 469108 w 2417513"/>
                  <a:gd name="connsiteY12035" fmla="*/ 561536 h 1867037"/>
                  <a:gd name="connsiteX12036" fmla="*/ 471230 w 2417513"/>
                  <a:gd name="connsiteY12036" fmla="*/ 563808 h 1867037"/>
                  <a:gd name="connsiteX12037" fmla="*/ 471230 w 2417513"/>
                  <a:gd name="connsiteY12037" fmla="*/ 564718 h 1867037"/>
                  <a:gd name="connsiteX12038" fmla="*/ 464866 w 2417513"/>
                  <a:gd name="connsiteY12038" fmla="*/ 571385 h 1867037"/>
                  <a:gd name="connsiteX12039" fmla="*/ 462593 w 2417513"/>
                  <a:gd name="connsiteY12039" fmla="*/ 577597 h 1867037"/>
                  <a:gd name="connsiteX12040" fmla="*/ 454108 w 2417513"/>
                  <a:gd name="connsiteY12040" fmla="*/ 583355 h 1867037"/>
                  <a:gd name="connsiteX12041" fmla="*/ 449411 w 2417513"/>
                  <a:gd name="connsiteY12041" fmla="*/ 592597 h 1867037"/>
                  <a:gd name="connsiteX12042" fmla="*/ 447895 w 2417513"/>
                  <a:gd name="connsiteY12042" fmla="*/ 594719 h 1867037"/>
                  <a:gd name="connsiteX12043" fmla="*/ 443653 w 2417513"/>
                  <a:gd name="connsiteY12043" fmla="*/ 598810 h 1867037"/>
                  <a:gd name="connsiteX12044" fmla="*/ 442744 w 2417513"/>
                  <a:gd name="connsiteY12044" fmla="*/ 601386 h 1867037"/>
                  <a:gd name="connsiteX12045" fmla="*/ 443198 w 2417513"/>
                  <a:gd name="connsiteY12045" fmla="*/ 602295 h 1867037"/>
                  <a:gd name="connsiteX12046" fmla="*/ 445471 w 2417513"/>
                  <a:gd name="connsiteY12046" fmla="*/ 604113 h 1867037"/>
                  <a:gd name="connsiteX12047" fmla="*/ 448047 w 2417513"/>
                  <a:gd name="connsiteY12047" fmla="*/ 604264 h 1867037"/>
                  <a:gd name="connsiteX12048" fmla="*/ 449562 w 2417513"/>
                  <a:gd name="connsiteY12048" fmla="*/ 605022 h 1867037"/>
                  <a:gd name="connsiteX12049" fmla="*/ 450017 w 2417513"/>
                  <a:gd name="connsiteY12049" fmla="*/ 605931 h 1867037"/>
                  <a:gd name="connsiteX12050" fmla="*/ 450320 w 2417513"/>
                  <a:gd name="connsiteY12050" fmla="*/ 607143 h 1867037"/>
                  <a:gd name="connsiteX12051" fmla="*/ 450168 w 2417513"/>
                  <a:gd name="connsiteY12051" fmla="*/ 608204 h 1867037"/>
                  <a:gd name="connsiteX12052" fmla="*/ 449411 w 2417513"/>
                  <a:gd name="connsiteY12052" fmla="*/ 608962 h 1867037"/>
                  <a:gd name="connsiteX12053" fmla="*/ 439865 w 2417513"/>
                  <a:gd name="connsiteY12053" fmla="*/ 612295 h 1867037"/>
                  <a:gd name="connsiteX12054" fmla="*/ 438804 w 2417513"/>
                  <a:gd name="connsiteY12054" fmla="*/ 613356 h 1867037"/>
                  <a:gd name="connsiteX12055" fmla="*/ 437895 w 2417513"/>
                  <a:gd name="connsiteY12055" fmla="*/ 614871 h 1867037"/>
                  <a:gd name="connsiteX12056" fmla="*/ 437440 w 2417513"/>
                  <a:gd name="connsiteY12056" fmla="*/ 616841 h 1867037"/>
                  <a:gd name="connsiteX12057" fmla="*/ 437440 w 2417513"/>
                  <a:gd name="connsiteY12057" fmla="*/ 619114 h 1867037"/>
                  <a:gd name="connsiteX12058" fmla="*/ 436986 w 2417513"/>
                  <a:gd name="connsiteY12058" fmla="*/ 623659 h 1867037"/>
                  <a:gd name="connsiteX12059" fmla="*/ 437289 w 2417513"/>
                  <a:gd name="connsiteY12059" fmla="*/ 625174 h 1867037"/>
                  <a:gd name="connsiteX12060" fmla="*/ 438198 w 2417513"/>
                  <a:gd name="connsiteY12060" fmla="*/ 625780 h 1867037"/>
                  <a:gd name="connsiteX12061" fmla="*/ 438198 w 2417513"/>
                  <a:gd name="connsiteY12061" fmla="*/ 626690 h 1867037"/>
                  <a:gd name="connsiteX12062" fmla="*/ 435925 w 2417513"/>
                  <a:gd name="connsiteY12062" fmla="*/ 628508 h 1867037"/>
                  <a:gd name="connsiteX12063" fmla="*/ 433198 w 2417513"/>
                  <a:gd name="connsiteY12063" fmla="*/ 630023 h 1867037"/>
                  <a:gd name="connsiteX12064" fmla="*/ 429410 w 2417513"/>
                  <a:gd name="connsiteY12064" fmla="*/ 633811 h 1867037"/>
                  <a:gd name="connsiteX12065" fmla="*/ 427289 w 2417513"/>
                  <a:gd name="connsiteY12065" fmla="*/ 635175 h 1867037"/>
                  <a:gd name="connsiteX12066" fmla="*/ 425773 w 2417513"/>
                  <a:gd name="connsiteY12066" fmla="*/ 637296 h 1867037"/>
                  <a:gd name="connsiteX12067" fmla="*/ 423804 w 2417513"/>
                  <a:gd name="connsiteY12067" fmla="*/ 641084 h 1867037"/>
                  <a:gd name="connsiteX12068" fmla="*/ 422137 w 2417513"/>
                  <a:gd name="connsiteY12068" fmla="*/ 643205 h 1867037"/>
                  <a:gd name="connsiteX12069" fmla="*/ 420773 w 2417513"/>
                  <a:gd name="connsiteY12069" fmla="*/ 643811 h 1867037"/>
                  <a:gd name="connsiteX12070" fmla="*/ 420167 w 2417513"/>
                  <a:gd name="connsiteY12070" fmla="*/ 644721 h 1867037"/>
                  <a:gd name="connsiteX12071" fmla="*/ 420470 w 2417513"/>
                  <a:gd name="connsiteY12071" fmla="*/ 646084 h 1867037"/>
                  <a:gd name="connsiteX12072" fmla="*/ 421076 w 2417513"/>
                  <a:gd name="connsiteY12072" fmla="*/ 646993 h 1867037"/>
                  <a:gd name="connsiteX12073" fmla="*/ 421834 w 2417513"/>
                  <a:gd name="connsiteY12073" fmla="*/ 647448 h 1867037"/>
                  <a:gd name="connsiteX12074" fmla="*/ 416985 w 2417513"/>
                  <a:gd name="connsiteY12074" fmla="*/ 649721 h 1867037"/>
                  <a:gd name="connsiteX12075" fmla="*/ 416834 w 2417513"/>
                  <a:gd name="connsiteY12075" fmla="*/ 650175 h 1867037"/>
                  <a:gd name="connsiteX12076" fmla="*/ 416985 w 2417513"/>
                  <a:gd name="connsiteY12076" fmla="*/ 652600 h 1867037"/>
                  <a:gd name="connsiteX12077" fmla="*/ 416834 w 2417513"/>
                  <a:gd name="connsiteY12077" fmla="*/ 654115 h 1867037"/>
                  <a:gd name="connsiteX12078" fmla="*/ 416228 w 2417513"/>
                  <a:gd name="connsiteY12078" fmla="*/ 655630 h 1867037"/>
                  <a:gd name="connsiteX12079" fmla="*/ 414712 w 2417513"/>
                  <a:gd name="connsiteY12079" fmla="*/ 658054 h 1867037"/>
                  <a:gd name="connsiteX12080" fmla="*/ 415167 w 2417513"/>
                  <a:gd name="connsiteY12080" fmla="*/ 658660 h 1867037"/>
                  <a:gd name="connsiteX12081" fmla="*/ 416985 w 2417513"/>
                  <a:gd name="connsiteY12081" fmla="*/ 658812 h 1867037"/>
                  <a:gd name="connsiteX12082" fmla="*/ 236827 w 2417513"/>
                  <a:gd name="connsiteY12082" fmla="*/ 1468993 h 1867037"/>
                  <a:gd name="connsiteX12083" fmla="*/ 246070 w 2417513"/>
                  <a:gd name="connsiteY12083" fmla="*/ 1466114 h 1867037"/>
                  <a:gd name="connsiteX12084" fmla="*/ 247585 w 2417513"/>
                  <a:gd name="connsiteY12084" fmla="*/ 1464447 h 1867037"/>
                  <a:gd name="connsiteX12085" fmla="*/ 248343 w 2417513"/>
                  <a:gd name="connsiteY12085" fmla="*/ 1461872 h 1867037"/>
                  <a:gd name="connsiteX12086" fmla="*/ 248494 w 2417513"/>
                  <a:gd name="connsiteY12086" fmla="*/ 1454144 h 1867037"/>
                  <a:gd name="connsiteX12087" fmla="*/ 249403 w 2417513"/>
                  <a:gd name="connsiteY12087" fmla="*/ 1449447 h 1867037"/>
                  <a:gd name="connsiteX12088" fmla="*/ 251221 w 2417513"/>
                  <a:gd name="connsiteY12088" fmla="*/ 1444750 h 1867037"/>
                  <a:gd name="connsiteX12089" fmla="*/ 254403 w 2417513"/>
                  <a:gd name="connsiteY12089" fmla="*/ 1439295 h 1867037"/>
                  <a:gd name="connsiteX12090" fmla="*/ 254858 w 2417513"/>
                  <a:gd name="connsiteY12090" fmla="*/ 1437931 h 1867037"/>
                  <a:gd name="connsiteX12091" fmla="*/ 255313 w 2417513"/>
                  <a:gd name="connsiteY12091" fmla="*/ 1433537 h 1867037"/>
                  <a:gd name="connsiteX12092" fmla="*/ 254555 w 2417513"/>
                  <a:gd name="connsiteY12092" fmla="*/ 1433537 h 1867037"/>
                  <a:gd name="connsiteX12093" fmla="*/ 251221 w 2417513"/>
                  <a:gd name="connsiteY12093" fmla="*/ 1435961 h 1867037"/>
                  <a:gd name="connsiteX12094" fmla="*/ 247888 w 2417513"/>
                  <a:gd name="connsiteY12094" fmla="*/ 1437325 h 1867037"/>
                  <a:gd name="connsiteX12095" fmla="*/ 242585 w 2417513"/>
                  <a:gd name="connsiteY12095" fmla="*/ 1437628 h 1867037"/>
                  <a:gd name="connsiteX12096" fmla="*/ 242585 w 2417513"/>
                  <a:gd name="connsiteY12096" fmla="*/ 1439143 h 1867037"/>
                  <a:gd name="connsiteX12097" fmla="*/ 243342 w 2417513"/>
                  <a:gd name="connsiteY12097" fmla="*/ 1442780 h 1867037"/>
                  <a:gd name="connsiteX12098" fmla="*/ 243191 w 2417513"/>
                  <a:gd name="connsiteY12098" fmla="*/ 1444295 h 1867037"/>
                  <a:gd name="connsiteX12099" fmla="*/ 242130 w 2417513"/>
                  <a:gd name="connsiteY12099" fmla="*/ 1446265 h 1867037"/>
                  <a:gd name="connsiteX12100" fmla="*/ 241524 w 2417513"/>
                  <a:gd name="connsiteY12100" fmla="*/ 1450053 h 1867037"/>
                  <a:gd name="connsiteX12101" fmla="*/ 241070 w 2417513"/>
                  <a:gd name="connsiteY12101" fmla="*/ 1450811 h 1867037"/>
                  <a:gd name="connsiteX12102" fmla="*/ 233494 w 2417513"/>
                  <a:gd name="connsiteY12102" fmla="*/ 1452023 h 1867037"/>
                  <a:gd name="connsiteX12103" fmla="*/ 231524 w 2417513"/>
                  <a:gd name="connsiteY12103" fmla="*/ 1452023 h 1867037"/>
                  <a:gd name="connsiteX12104" fmla="*/ 230615 w 2417513"/>
                  <a:gd name="connsiteY12104" fmla="*/ 1451568 h 1867037"/>
                  <a:gd name="connsiteX12105" fmla="*/ 230463 w 2417513"/>
                  <a:gd name="connsiteY12105" fmla="*/ 1451114 h 1867037"/>
                  <a:gd name="connsiteX12106" fmla="*/ 230766 w 2417513"/>
                  <a:gd name="connsiteY12106" fmla="*/ 1450659 h 1867037"/>
                  <a:gd name="connsiteX12107" fmla="*/ 240312 w 2417513"/>
                  <a:gd name="connsiteY12107" fmla="*/ 1445962 h 1867037"/>
                  <a:gd name="connsiteX12108" fmla="*/ 241373 w 2417513"/>
                  <a:gd name="connsiteY12108" fmla="*/ 1444750 h 1867037"/>
                  <a:gd name="connsiteX12109" fmla="*/ 241979 w 2417513"/>
                  <a:gd name="connsiteY12109" fmla="*/ 1443689 h 1867037"/>
                  <a:gd name="connsiteX12110" fmla="*/ 241676 w 2417513"/>
                  <a:gd name="connsiteY12110" fmla="*/ 1440659 h 1867037"/>
                  <a:gd name="connsiteX12111" fmla="*/ 240312 w 2417513"/>
                  <a:gd name="connsiteY12111" fmla="*/ 1437931 h 1867037"/>
                  <a:gd name="connsiteX12112" fmla="*/ 239100 w 2417513"/>
                  <a:gd name="connsiteY12112" fmla="*/ 1436113 h 1867037"/>
                  <a:gd name="connsiteX12113" fmla="*/ 238039 w 2417513"/>
                  <a:gd name="connsiteY12113" fmla="*/ 1435052 h 1867037"/>
                  <a:gd name="connsiteX12114" fmla="*/ 236979 w 2417513"/>
                  <a:gd name="connsiteY12114" fmla="*/ 1434749 h 1867037"/>
                  <a:gd name="connsiteX12115" fmla="*/ 230918 w 2417513"/>
                  <a:gd name="connsiteY12115" fmla="*/ 1436113 h 1867037"/>
                  <a:gd name="connsiteX12116" fmla="*/ 228342 w 2417513"/>
                  <a:gd name="connsiteY12116" fmla="*/ 1433840 h 1867037"/>
                  <a:gd name="connsiteX12117" fmla="*/ 221826 w 2417513"/>
                  <a:gd name="connsiteY12117" fmla="*/ 1433386 h 1867037"/>
                  <a:gd name="connsiteX12118" fmla="*/ 219099 w 2417513"/>
                  <a:gd name="connsiteY12118" fmla="*/ 1432780 h 1867037"/>
                  <a:gd name="connsiteX12119" fmla="*/ 217584 w 2417513"/>
                  <a:gd name="connsiteY12119" fmla="*/ 1432780 h 1867037"/>
                  <a:gd name="connsiteX12120" fmla="*/ 217129 w 2417513"/>
                  <a:gd name="connsiteY12120" fmla="*/ 1433386 h 1867037"/>
                  <a:gd name="connsiteX12121" fmla="*/ 216220 w 2417513"/>
                  <a:gd name="connsiteY12121" fmla="*/ 1438537 h 1867037"/>
                  <a:gd name="connsiteX12122" fmla="*/ 216220 w 2417513"/>
                  <a:gd name="connsiteY12122" fmla="*/ 1441719 h 1867037"/>
                  <a:gd name="connsiteX12123" fmla="*/ 216675 w 2417513"/>
                  <a:gd name="connsiteY12123" fmla="*/ 1444901 h 1867037"/>
                  <a:gd name="connsiteX12124" fmla="*/ 217432 w 2417513"/>
                  <a:gd name="connsiteY12124" fmla="*/ 1447174 h 1867037"/>
                  <a:gd name="connsiteX12125" fmla="*/ 221220 w 2417513"/>
                  <a:gd name="connsiteY12125" fmla="*/ 1452780 h 1867037"/>
                  <a:gd name="connsiteX12126" fmla="*/ 221523 w 2417513"/>
                  <a:gd name="connsiteY12126" fmla="*/ 1453689 h 1867037"/>
                  <a:gd name="connsiteX12127" fmla="*/ 221523 w 2417513"/>
                  <a:gd name="connsiteY12127" fmla="*/ 1455356 h 1867037"/>
                  <a:gd name="connsiteX12128" fmla="*/ 223039 w 2417513"/>
                  <a:gd name="connsiteY12128" fmla="*/ 1457478 h 1867037"/>
                  <a:gd name="connsiteX12129" fmla="*/ 227887 w 2417513"/>
                  <a:gd name="connsiteY12129" fmla="*/ 1459296 h 1867037"/>
                  <a:gd name="connsiteX12130" fmla="*/ 234403 w 2417513"/>
                  <a:gd name="connsiteY12130" fmla="*/ 1463387 h 1867037"/>
                  <a:gd name="connsiteX12131" fmla="*/ 234554 w 2417513"/>
                  <a:gd name="connsiteY12131" fmla="*/ 1463841 h 1867037"/>
                  <a:gd name="connsiteX12132" fmla="*/ 233494 w 2417513"/>
                  <a:gd name="connsiteY12132" fmla="*/ 1463841 h 1867037"/>
                  <a:gd name="connsiteX12133" fmla="*/ 231221 w 2417513"/>
                  <a:gd name="connsiteY12133" fmla="*/ 1463084 h 1867037"/>
                  <a:gd name="connsiteX12134" fmla="*/ 228190 w 2417513"/>
                  <a:gd name="connsiteY12134" fmla="*/ 1462629 h 1867037"/>
                  <a:gd name="connsiteX12135" fmla="*/ 227130 w 2417513"/>
                  <a:gd name="connsiteY12135" fmla="*/ 1462781 h 1867037"/>
                  <a:gd name="connsiteX12136" fmla="*/ 225614 w 2417513"/>
                  <a:gd name="connsiteY12136" fmla="*/ 1464902 h 1867037"/>
                  <a:gd name="connsiteX12137" fmla="*/ 227584 w 2417513"/>
                  <a:gd name="connsiteY12137" fmla="*/ 1466720 h 1867037"/>
                  <a:gd name="connsiteX12138" fmla="*/ 231827 w 2417513"/>
                  <a:gd name="connsiteY12138" fmla="*/ 1469296 h 1867037"/>
                  <a:gd name="connsiteX12139" fmla="*/ 236827 w 2417513"/>
                  <a:gd name="connsiteY12139" fmla="*/ 1468993 h 1867037"/>
                  <a:gd name="connsiteX12140" fmla="*/ 290011 w 2417513"/>
                  <a:gd name="connsiteY12140" fmla="*/ 1444144 h 1867037"/>
                  <a:gd name="connsiteX12141" fmla="*/ 290617 w 2417513"/>
                  <a:gd name="connsiteY12141" fmla="*/ 1444598 h 1867037"/>
                  <a:gd name="connsiteX12142" fmla="*/ 291829 w 2417513"/>
                  <a:gd name="connsiteY12142" fmla="*/ 1443689 h 1867037"/>
                  <a:gd name="connsiteX12143" fmla="*/ 293799 w 2417513"/>
                  <a:gd name="connsiteY12143" fmla="*/ 1441568 h 1867037"/>
                  <a:gd name="connsiteX12144" fmla="*/ 294708 w 2417513"/>
                  <a:gd name="connsiteY12144" fmla="*/ 1440204 h 1867037"/>
                  <a:gd name="connsiteX12145" fmla="*/ 293041 w 2417513"/>
                  <a:gd name="connsiteY12145" fmla="*/ 1437325 h 1867037"/>
                  <a:gd name="connsiteX12146" fmla="*/ 292587 w 2417513"/>
                  <a:gd name="connsiteY12146" fmla="*/ 1436871 h 1867037"/>
                  <a:gd name="connsiteX12147" fmla="*/ 290314 w 2417513"/>
                  <a:gd name="connsiteY12147" fmla="*/ 1435355 h 1867037"/>
                  <a:gd name="connsiteX12148" fmla="*/ 288950 w 2417513"/>
                  <a:gd name="connsiteY12148" fmla="*/ 1435204 h 1867037"/>
                  <a:gd name="connsiteX12149" fmla="*/ 287738 w 2417513"/>
                  <a:gd name="connsiteY12149" fmla="*/ 1435810 h 1867037"/>
                  <a:gd name="connsiteX12150" fmla="*/ 283647 w 2417513"/>
                  <a:gd name="connsiteY12150" fmla="*/ 1438992 h 1867037"/>
                  <a:gd name="connsiteX12151" fmla="*/ 282283 w 2417513"/>
                  <a:gd name="connsiteY12151" fmla="*/ 1440507 h 1867037"/>
                  <a:gd name="connsiteX12152" fmla="*/ 281980 w 2417513"/>
                  <a:gd name="connsiteY12152" fmla="*/ 1441568 h 1867037"/>
                  <a:gd name="connsiteX12153" fmla="*/ 282132 w 2417513"/>
                  <a:gd name="connsiteY12153" fmla="*/ 1442628 h 1867037"/>
                  <a:gd name="connsiteX12154" fmla="*/ 282738 w 2417513"/>
                  <a:gd name="connsiteY12154" fmla="*/ 1443689 h 1867037"/>
                  <a:gd name="connsiteX12155" fmla="*/ 283344 w 2417513"/>
                  <a:gd name="connsiteY12155" fmla="*/ 1444295 h 1867037"/>
                  <a:gd name="connsiteX12156" fmla="*/ 283950 w 2417513"/>
                  <a:gd name="connsiteY12156" fmla="*/ 1444447 h 1867037"/>
                  <a:gd name="connsiteX12157" fmla="*/ 284101 w 2417513"/>
                  <a:gd name="connsiteY12157" fmla="*/ 1443841 h 1867037"/>
                  <a:gd name="connsiteX12158" fmla="*/ 283798 w 2417513"/>
                  <a:gd name="connsiteY12158" fmla="*/ 1442628 h 1867037"/>
                  <a:gd name="connsiteX12159" fmla="*/ 283950 w 2417513"/>
                  <a:gd name="connsiteY12159" fmla="*/ 1441568 h 1867037"/>
                  <a:gd name="connsiteX12160" fmla="*/ 284405 w 2417513"/>
                  <a:gd name="connsiteY12160" fmla="*/ 1440810 h 1867037"/>
                  <a:gd name="connsiteX12161" fmla="*/ 285314 w 2417513"/>
                  <a:gd name="connsiteY12161" fmla="*/ 1440810 h 1867037"/>
                  <a:gd name="connsiteX12162" fmla="*/ 286677 w 2417513"/>
                  <a:gd name="connsiteY12162" fmla="*/ 1441719 h 1867037"/>
                  <a:gd name="connsiteX12163" fmla="*/ 288496 w 2417513"/>
                  <a:gd name="connsiteY12163" fmla="*/ 1443841 h 1867037"/>
                  <a:gd name="connsiteX12164" fmla="*/ 290011 w 2417513"/>
                  <a:gd name="connsiteY12164" fmla="*/ 1444144 h 1867037"/>
                  <a:gd name="connsiteX12165" fmla="*/ 279859 w 2417513"/>
                  <a:gd name="connsiteY12165" fmla="*/ 1415355 h 1867037"/>
                  <a:gd name="connsiteX12166" fmla="*/ 276374 w 2417513"/>
                  <a:gd name="connsiteY12166" fmla="*/ 1414900 h 1867037"/>
                  <a:gd name="connsiteX12167" fmla="*/ 275919 w 2417513"/>
                  <a:gd name="connsiteY12167" fmla="*/ 1415506 h 1867037"/>
                  <a:gd name="connsiteX12168" fmla="*/ 275010 w 2417513"/>
                  <a:gd name="connsiteY12168" fmla="*/ 1418234 h 1867037"/>
                  <a:gd name="connsiteX12169" fmla="*/ 274859 w 2417513"/>
                  <a:gd name="connsiteY12169" fmla="*/ 1419900 h 1867037"/>
                  <a:gd name="connsiteX12170" fmla="*/ 275162 w 2417513"/>
                  <a:gd name="connsiteY12170" fmla="*/ 1420658 h 1867037"/>
                  <a:gd name="connsiteX12171" fmla="*/ 275768 w 2417513"/>
                  <a:gd name="connsiteY12171" fmla="*/ 1420658 h 1867037"/>
                  <a:gd name="connsiteX12172" fmla="*/ 279101 w 2417513"/>
                  <a:gd name="connsiteY12172" fmla="*/ 1418234 h 1867037"/>
                  <a:gd name="connsiteX12173" fmla="*/ 280313 w 2417513"/>
                  <a:gd name="connsiteY12173" fmla="*/ 1417021 h 1867037"/>
                  <a:gd name="connsiteX12174" fmla="*/ 280616 w 2417513"/>
                  <a:gd name="connsiteY12174" fmla="*/ 1416112 h 1867037"/>
                  <a:gd name="connsiteX12175" fmla="*/ 280465 w 2417513"/>
                  <a:gd name="connsiteY12175" fmla="*/ 1415506 h 1867037"/>
                  <a:gd name="connsiteX12176" fmla="*/ 279859 w 2417513"/>
                  <a:gd name="connsiteY12176" fmla="*/ 1415355 h 1867037"/>
                  <a:gd name="connsiteX12177" fmla="*/ 270768 w 2417513"/>
                  <a:gd name="connsiteY12177" fmla="*/ 1507782 h 1867037"/>
                  <a:gd name="connsiteX12178" fmla="*/ 270465 w 2417513"/>
                  <a:gd name="connsiteY12178" fmla="*/ 1509146 h 1867037"/>
                  <a:gd name="connsiteX12179" fmla="*/ 270919 w 2417513"/>
                  <a:gd name="connsiteY12179" fmla="*/ 1512328 h 1867037"/>
                  <a:gd name="connsiteX12180" fmla="*/ 271525 w 2417513"/>
                  <a:gd name="connsiteY12180" fmla="*/ 1513540 h 1867037"/>
                  <a:gd name="connsiteX12181" fmla="*/ 272434 w 2417513"/>
                  <a:gd name="connsiteY12181" fmla="*/ 1514298 h 1867037"/>
                  <a:gd name="connsiteX12182" fmla="*/ 272889 w 2417513"/>
                  <a:gd name="connsiteY12182" fmla="*/ 1514298 h 1867037"/>
                  <a:gd name="connsiteX12183" fmla="*/ 273343 w 2417513"/>
                  <a:gd name="connsiteY12183" fmla="*/ 1509449 h 1867037"/>
                  <a:gd name="connsiteX12184" fmla="*/ 270919 w 2417513"/>
                  <a:gd name="connsiteY12184" fmla="*/ 1507479 h 1867037"/>
                  <a:gd name="connsiteX12185" fmla="*/ 270768 w 2417513"/>
                  <a:gd name="connsiteY12185" fmla="*/ 1507782 h 18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Lst>
                <a:rect l="l" t="t" r="r" b="b"/>
                <a:pathLst>
                  <a:path w="2417513" h="1867037">
                    <a:moveTo>
                      <a:pt x="1239743" y="786847"/>
                    </a:moveTo>
                    <a:lnTo>
                      <a:pt x="1238834" y="788817"/>
                    </a:lnTo>
                    <a:lnTo>
                      <a:pt x="1240046" y="789423"/>
                    </a:lnTo>
                    <a:lnTo>
                      <a:pt x="1242925" y="789423"/>
                    </a:lnTo>
                    <a:lnTo>
                      <a:pt x="1245198" y="788665"/>
                    </a:lnTo>
                    <a:lnTo>
                      <a:pt x="1246865" y="787301"/>
                    </a:lnTo>
                    <a:lnTo>
                      <a:pt x="1247925" y="785332"/>
                    </a:lnTo>
                    <a:lnTo>
                      <a:pt x="1248380" y="782756"/>
                    </a:lnTo>
                    <a:lnTo>
                      <a:pt x="1248380" y="781241"/>
                    </a:lnTo>
                    <a:lnTo>
                      <a:pt x="1244743" y="778059"/>
                    </a:lnTo>
                    <a:lnTo>
                      <a:pt x="1242319" y="776695"/>
                    </a:lnTo>
                    <a:lnTo>
                      <a:pt x="1239440" y="775634"/>
                    </a:lnTo>
                    <a:lnTo>
                      <a:pt x="1237016" y="775634"/>
                    </a:lnTo>
                    <a:lnTo>
                      <a:pt x="1234894" y="776544"/>
                    </a:lnTo>
                    <a:lnTo>
                      <a:pt x="1233228" y="778513"/>
                    </a:lnTo>
                    <a:lnTo>
                      <a:pt x="1232015" y="781392"/>
                    </a:lnTo>
                    <a:lnTo>
                      <a:pt x="1231561" y="783362"/>
                    </a:lnTo>
                    <a:lnTo>
                      <a:pt x="1232015" y="785180"/>
                    </a:lnTo>
                    <a:lnTo>
                      <a:pt x="1231864" y="787150"/>
                    </a:lnTo>
                    <a:lnTo>
                      <a:pt x="1232622" y="788362"/>
                    </a:lnTo>
                    <a:lnTo>
                      <a:pt x="1234288" y="789120"/>
                    </a:lnTo>
                    <a:lnTo>
                      <a:pt x="1235197" y="787605"/>
                    </a:lnTo>
                    <a:lnTo>
                      <a:pt x="1236410" y="784423"/>
                    </a:lnTo>
                    <a:lnTo>
                      <a:pt x="1236713" y="781847"/>
                    </a:lnTo>
                    <a:lnTo>
                      <a:pt x="1236106" y="779877"/>
                    </a:lnTo>
                    <a:lnTo>
                      <a:pt x="1236410" y="778968"/>
                    </a:lnTo>
                    <a:lnTo>
                      <a:pt x="1237622" y="778968"/>
                    </a:lnTo>
                    <a:lnTo>
                      <a:pt x="1239289" y="780028"/>
                    </a:lnTo>
                    <a:lnTo>
                      <a:pt x="1239894" y="781847"/>
                    </a:lnTo>
                    <a:lnTo>
                      <a:pt x="1240349" y="784877"/>
                    </a:lnTo>
                    <a:lnTo>
                      <a:pt x="1240198" y="786695"/>
                    </a:lnTo>
                    <a:lnTo>
                      <a:pt x="1239743" y="786847"/>
                    </a:lnTo>
                    <a:close/>
                    <a:moveTo>
                      <a:pt x="1226409" y="793211"/>
                    </a:moveTo>
                    <a:lnTo>
                      <a:pt x="1223227" y="789120"/>
                    </a:lnTo>
                    <a:lnTo>
                      <a:pt x="1212469" y="782907"/>
                    </a:lnTo>
                    <a:lnTo>
                      <a:pt x="1207469" y="781089"/>
                    </a:lnTo>
                    <a:lnTo>
                      <a:pt x="1204287" y="778968"/>
                    </a:lnTo>
                    <a:lnTo>
                      <a:pt x="1201408" y="775937"/>
                    </a:lnTo>
                    <a:lnTo>
                      <a:pt x="1197620" y="773059"/>
                    </a:lnTo>
                    <a:lnTo>
                      <a:pt x="1196408" y="772755"/>
                    </a:lnTo>
                    <a:lnTo>
                      <a:pt x="1195650" y="773059"/>
                    </a:lnTo>
                    <a:lnTo>
                      <a:pt x="1194438" y="774574"/>
                    </a:lnTo>
                    <a:lnTo>
                      <a:pt x="1192923" y="775028"/>
                    </a:lnTo>
                    <a:lnTo>
                      <a:pt x="1192014" y="774422"/>
                    </a:lnTo>
                    <a:lnTo>
                      <a:pt x="1191256" y="773210"/>
                    </a:lnTo>
                    <a:lnTo>
                      <a:pt x="1191559" y="772452"/>
                    </a:lnTo>
                    <a:lnTo>
                      <a:pt x="1193529" y="771543"/>
                    </a:lnTo>
                    <a:lnTo>
                      <a:pt x="1193681" y="770937"/>
                    </a:lnTo>
                    <a:lnTo>
                      <a:pt x="1192923" y="769725"/>
                    </a:lnTo>
                    <a:lnTo>
                      <a:pt x="1187620" y="766543"/>
                    </a:lnTo>
                    <a:lnTo>
                      <a:pt x="1185195" y="764573"/>
                    </a:lnTo>
                    <a:lnTo>
                      <a:pt x="1182468" y="763513"/>
                    </a:lnTo>
                    <a:lnTo>
                      <a:pt x="1179741" y="763664"/>
                    </a:lnTo>
                    <a:lnTo>
                      <a:pt x="1174438" y="764876"/>
                    </a:lnTo>
                    <a:lnTo>
                      <a:pt x="1171104" y="766695"/>
                    </a:lnTo>
                    <a:lnTo>
                      <a:pt x="1170043" y="767452"/>
                    </a:lnTo>
                    <a:lnTo>
                      <a:pt x="1169286" y="768664"/>
                    </a:lnTo>
                    <a:lnTo>
                      <a:pt x="1168377" y="771695"/>
                    </a:lnTo>
                    <a:lnTo>
                      <a:pt x="1168225" y="772755"/>
                    </a:lnTo>
                    <a:lnTo>
                      <a:pt x="1168680" y="774725"/>
                    </a:lnTo>
                    <a:lnTo>
                      <a:pt x="1172165" y="780332"/>
                    </a:lnTo>
                    <a:lnTo>
                      <a:pt x="1175498" y="783059"/>
                    </a:lnTo>
                    <a:lnTo>
                      <a:pt x="1172316" y="782453"/>
                    </a:lnTo>
                    <a:lnTo>
                      <a:pt x="1170498" y="781695"/>
                    </a:lnTo>
                    <a:lnTo>
                      <a:pt x="1165952" y="777756"/>
                    </a:lnTo>
                    <a:lnTo>
                      <a:pt x="1163528" y="777150"/>
                    </a:lnTo>
                    <a:lnTo>
                      <a:pt x="1161558" y="777453"/>
                    </a:lnTo>
                    <a:lnTo>
                      <a:pt x="1161558" y="778816"/>
                    </a:lnTo>
                    <a:lnTo>
                      <a:pt x="1162013" y="779725"/>
                    </a:lnTo>
                    <a:lnTo>
                      <a:pt x="1163073" y="781089"/>
                    </a:lnTo>
                    <a:lnTo>
                      <a:pt x="1164286" y="781998"/>
                    </a:lnTo>
                    <a:lnTo>
                      <a:pt x="1161861" y="781998"/>
                    </a:lnTo>
                    <a:lnTo>
                      <a:pt x="1161255" y="782756"/>
                    </a:lnTo>
                    <a:lnTo>
                      <a:pt x="1161861" y="784423"/>
                    </a:lnTo>
                    <a:lnTo>
                      <a:pt x="1163680" y="786847"/>
                    </a:lnTo>
                    <a:lnTo>
                      <a:pt x="1164134" y="787908"/>
                    </a:lnTo>
                    <a:lnTo>
                      <a:pt x="1163983" y="788817"/>
                    </a:lnTo>
                    <a:lnTo>
                      <a:pt x="1162619" y="790029"/>
                    </a:lnTo>
                    <a:lnTo>
                      <a:pt x="1156558" y="794271"/>
                    </a:lnTo>
                    <a:lnTo>
                      <a:pt x="1151406" y="796696"/>
                    </a:lnTo>
                    <a:lnTo>
                      <a:pt x="1146709" y="797605"/>
                    </a:lnTo>
                    <a:lnTo>
                      <a:pt x="1136557" y="798514"/>
                    </a:lnTo>
                    <a:lnTo>
                      <a:pt x="1135042" y="800029"/>
                    </a:lnTo>
                    <a:lnTo>
                      <a:pt x="1133830" y="802150"/>
                    </a:lnTo>
                    <a:lnTo>
                      <a:pt x="1133679" y="803060"/>
                    </a:lnTo>
                    <a:lnTo>
                      <a:pt x="1135648" y="806696"/>
                    </a:lnTo>
                    <a:lnTo>
                      <a:pt x="1137163" y="808666"/>
                    </a:lnTo>
                    <a:lnTo>
                      <a:pt x="1140497" y="810636"/>
                    </a:lnTo>
                    <a:lnTo>
                      <a:pt x="1142315" y="811242"/>
                    </a:lnTo>
                    <a:lnTo>
                      <a:pt x="1146861" y="811242"/>
                    </a:lnTo>
                    <a:lnTo>
                      <a:pt x="1147315" y="810636"/>
                    </a:lnTo>
                    <a:lnTo>
                      <a:pt x="1146709" y="809575"/>
                    </a:lnTo>
                    <a:lnTo>
                      <a:pt x="1147770" y="808666"/>
                    </a:lnTo>
                    <a:lnTo>
                      <a:pt x="1150346" y="807908"/>
                    </a:lnTo>
                    <a:lnTo>
                      <a:pt x="1152013" y="807908"/>
                    </a:lnTo>
                    <a:lnTo>
                      <a:pt x="1152770" y="808666"/>
                    </a:lnTo>
                    <a:lnTo>
                      <a:pt x="1153225" y="809727"/>
                    </a:lnTo>
                    <a:lnTo>
                      <a:pt x="1153376" y="811090"/>
                    </a:lnTo>
                    <a:lnTo>
                      <a:pt x="1154134" y="812302"/>
                    </a:lnTo>
                    <a:lnTo>
                      <a:pt x="1155649" y="813363"/>
                    </a:lnTo>
                    <a:lnTo>
                      <a:pt x="1157619" y="813969"/>
                    </a:lnTo>
                    <a:lnTo>
                      <a:pt x="1162164" y="814121"/>
                    </a:lnTo>
                    <a:lnTo>
                      <a:pt x="1165043" y="813211"/>
                    </a:lnTo>
                    <a:lnTo>
                      <a:pt x="1166558" y="812151"/>
                    </a:lnTo>
                    <a:lnTo>
                      <a:pt x="1168074" y="812151"/>
                    </a:lnTo>
                    <a:lnTo>
                      <a:pt x="1168680" y="812757"/>
                    </a:lnTo>
                    <a:lnTo>
                      <a:pt x="1169134" y="813818"/>
                    </a:lnTo>
                    <a:lnTo>
                      <a:pt x="1169286" y="815484"/>
                    </a:lnTo>
                    <a:lnTo>
                      <a:pt x="1169740" y="816545"/>
                    </a:lnTo>
                    <a:lnTo>
                      <a:pt x="1170347" y="817000"/>
                    </a:lnTo>
                    <a:lnTo>
                      <a:pt x="1179892" y="820181"/>
                    </a:lnTo>
                    <a:lnTo>
                      <a:pt x="1184892" y="822454"/>
                    </a:lnTo>
                    <a:lnTo>
                      <a:pt x="1191256" y="826394"/>
                    </a:lnTo>
                    <a:lnTo>
                      <a:pt x="1197014" y="827151"/>
                    </a:lnTo>
                    <a:lnTo>
                      <a:pt x="1203984" y="826697"/>
                    </a:lnTo>
                    <a:lnTo>
                      <a:pt x="1215197" y="830333"/>
                    </a:lnTo>
                    <a:lnTo>
                      <a:pt x="1220651" y="829879"/>
                    </a:lnTo>
                    <a:lnTo>
                      <a:pt x="1224288" y="828061"/>
                    </a:lnTo>
                    <a:lnTo>
                      <a:pt x="1230955" y="823363"/>
                    </a:lnTo>
                    <a:lnTo>
                      <a:pt x="1234440" y="822454"/>
                    </a:lnTo>
                    <a:lnTo>
                      <a:pt x="1237016" y="819575"/>
                    </a:lnTo>
                    <a:lnTo>
                      <a:pt x="1240198" y="817151"/>
                    </a:lnTo>
                    <a:lnTo>
                      <a:pt x="1242167" y="816696"/>
                    </a:lnTo>
                    <a:lnTo>
                      <a:pt x="1246258" y="816545"/>
                    </a:lnTo>
                    <a:lnTo>
                      <a:pt x="1249137" y="815030"/>
                    </a:lnTo>
                    <a:lnTo>
                      <a:pt x="1250955" y="813818"/>
                    </a:lnTo>
                    <a:lnTo>
                      <a:pt x="1251713" y="812757"/>
                    </a:lnTo>
                    <a:lnTo>
                      <a:pt x="1250349" y="810484"/>
                    </a:lnTo>
                    <a:lnTo>
                      <a:pt x="1248834" y="809575"/>
                    </a:lnTo>
                    <a:lnTo>
                      <a:pt x="1247167" y="810181"/>
                    </a:lnTo>
                    <a:lnTo>
                      <a:pt x="1243077" y="812302"/>
                    </a:lnTo>
                    <a:lnTo>
                      <a:pt x="1238531" y="809272"/>
                    </a:lnTo>
                    <a:lnTo>
                      <a:pt x="1235652" y="806545"/>
                    </a:lnTo>
                    <a:lnTo>
                      <a:pt x="1233076" y="803211"/>
                    </a:lnTo>
                    <a:lnTo>
                      <a:pt x="1230046" y="798362"/>
                    </a:lnTo>
                    <a:lnTo>
                      <a:pt x="1226409" y="793211"/>
                    </a:lnTo>
                    <a:close/>
                    <a:moveTo>
                      <a:pt x="1114435" y="727754"/>
                    </a:moveTo>
                    <a:lnTo>
                      <a:pt x="1110193" y="725026"/>
                    </a:lnTo>
                    <a:lnTo>
                      <a:pt x="1107314" y="724117"/>
                    </a:lnTo>
                    <a:lnTo>
                      <a:pt x="1104586" y="723966"/>
                    </a:lnTo>
                    <a:lnTo>
                      <a:pt x="1103374" y="725178"/>
                    </a:lnTo>
                    <a:lnTo>
                      <a:pt x="1103677" y="727602"/>
                    </a:lnTo>
                    <a:lnTo>
                      <a:pt x="1104132" y="729269"/>
                    </a:lnTo>
                    <a:lnTo>
                      <a:pt x="1104890" y="730027"/>
                    </a:lnTo>
                    <a:lnTo>
                      <a:pt x="1107162" y="731087"/>
                    </a:lnTo>
                    <a:lnTo>
                      <a:pt x="1113072" y="732906"/>
                    </a:lnTo>
                    <a:lnTo>
                      <a:pt x="1113375" y="732451"/>
                    </a:lnTo>
                    <a:lnTo>
                      <a:pt x="1113526" y="731845"/>
                    </a:lnTo>
                    <a:lnTo>
                      <a:pt x="1113072" y="730178"/>
                    </a:lnTo>
                    <a:lnTo>
                      <a:pt x="1113072" y="728360"/>
                    </a:lnTo>
                    <a:lnTo>
                      <a:pt x="1114435" y="727754"/>
                    </a:lnTo>
                    <a:close/>
                    <a:moveTo>
                      <a:pt x="1213985" y="639266"/>
                    </a:moveTo>
                    <a:lnTo>
                      <a:pt x="1217166" y="636690"/>
                    </a:lnTo>
                    <a:lnTo>
                      <a:pt x="1218379" y="634569"/>
                    </a:lnTo>
                    <a:lnTo>
                      <a:pt x="1219288" y="631841"/>
                    </a:lnTo>
                    <a:lnTo>
                      <a:pt x="1219136" y="628508"/>
                    </a:lnTo>
                    <a:lnTo>
                      <a:pt x="1217924" y="624417"/>
                    </a:lnTo>
                    <a:lnTo>
                      <a:pt x="1216409" y="620780"/>
                    </a:lnTo>
                    <a:lnTo>
                      <a:pt x="1215045" y="620174"/>
                    </a:lnTo>
                    <a:lnTo>
                      <a:pt x="1212924" y="620023"/>
                    </a:lnTo>
                    <a:lnTo>
                      <a:pt x="1207469" y="621386"/>
                    </a:lnTo>
                    <a:lnTo>
                      <a:pt x="1202469" y="623962"/>
                    </a:lnTo>
                    <a:lnTo>
                      <a:pt x="1200348" y="624417"/>
                    </a:lnTo>
                    <a:lnTo>
                      <a:pt x="1199438" y="623659"/>
                    </a:lnTo>
                    <a:lnTo>
                      <a:pt x="1199893" y="622144"/>
                    </a:lnTo>
                    <a:lnTo>
                      <a:pt x="1201711" y="619871"/>
                    </a:lnTo>
                    <a:lnTo>
                      <a:pt x="1201408" y="617447"/>
                    </a:lnTo>
                    <a:lnTo>
                      <a:pt x="1197166" y="613507"/>
                    </a:lnTo>
                    <a:lnTo>
                      <a:pt x="1193378" y="612144"/>
                    </a:lnTo>
                    <a:lnTo>
                      <a:pt x="1193529" y="611386"/>
                    </a:lnTo>
                    <a:lnTo>
                      <a:pt x="1195196" y="610325"/>
                    </a:lnTo>
                    <a:lnTo>
                      <a:pt x="1195650" y="609265"/>
                    </a:lnTo>
                    <a:lnTo>
                      <a:pt x="1194741" y="608204"/>
                    </a:lnTo>
                    <a:lnTo>
                      <a:pt x="1190650" y="605325"/>
                    </a:lnTo>
                    <a:lnTo>
                      <a:pt x="1186256" y="603507"/>
                    </a:lnTo>
                    <a:lnTo>
                      <a:pt x="1183832" y="603052"/>
                    </a:lnTo>
                    <a:lnTo>
                      <a:pt x="1177923" y="603052"/>
                    </a:lnTo>
                    <a:lnTo>
                      <a:pt x="1174589" y="603810"/>
                    </a:lnTo>
                    <a:lnTo>
                      <a:pt x="1171256" y="605174"/>
                    </a:lnTo>
                    <a:lnTo>
                      <a:pt x="1166104" y="608204"/>
                    </a:lnTo>
                    <a:lnTo>
                      <a:pt x="1164589" y="607901"/>
                    </a:lnTo>
                    <a:lnTo>
                      <a:pt x="1164286" y="606992"/>
                    </a:lnTo>
                    <a:lnTo>
                      <a:pt x="1164134" y="604719"/>
                    </a:lnTo>
                    <a:lnTo>
                      <a:pt x="1164740" y="603507"/>
                    </a:lnTo>
                    <a:lnTo>
                      <a:pt x="1165801" y="602295"/>
                    </a:lnTo>
                    <a:lnTo>
                      <a:pt x="1171256" y="598507"/>
                    </a:lnTo>
                    <a:lnTo>
                      <a:pt x="1181711" y="589567"/>
                    </a:lnTo>
                    <a:lnTo>
                      <a:pt x="1190196" y="586688"/>
                    </a:lnTo>
                    <a:lnTo>
                      <a:pt x="1195954" y="584112"/>
                    </a:lnTo>
                    <a:lnTo>
                      <a:pt x="1197166" y="582294"/>
                    </a:lnTo>
                    <a:lnTo>
                      <a:pt x="1195650" y="580324"/>
                    </a:lnTo>
                    <a:lnTo>
                      <a:pt x="1193984" y="579112"/>
                    </a:lnTo>
                    <a:lnTo>
                      <a:pt x="1190650" y="578657"/>
                    </a:lnTo>
                    <a:lnTo>
                      <a:pt x="1188983" y="579415"/>
                    </a:lnTo>
                    <a:lnTo>
                      <a:pt x="1187468" y="579567"/>
                    </a:lnTo>
                    <a:lnTo>
                      <a:pt x="1186711" y="578961"/>
                    </a:lnTo>
                    <a:lnTo>
                      <a:pt x="1186408" y="577900"/>
                    </a:lnTo>
                    <a:lnTo>
                      <a:pt x="1187165" y="576082"/>
                    </a:lnTo>
                    <a:lnTo>
                      <a:pt x="1190044" y="576688"/>
                    </a:lnTo>
                    <a:lnTo>
                      <a:pt x="1192620" y="574718"/>
                    </a:lnTo>
                    <a:lnTo>
                      <a:pt x="1195650" y="574415"/>
                    </a:lnTo>
                    <a:lnTo>
                      <a:pt x="1199135" y="573203"/>
                    </a:lnTo>
                    <a:lnTo>
                      <a:pt x="1200802" y="571991"/>
                    </a:lnTo>
                    <a:lnTo>
                      <a:pt x="1203378" y="569263"/>
                    </a:lnTo>
                    <a:lnTo>
                      <a:pt x="1203530" y="568809"/>
                    </a:lnTo>
                    <a:lnTo>
                      <a:pt x="1203075" y="567142"/>
                    </a:lnTo>
                    <a:lnTo>
                      <a:pt x="1200348" y="562596"/>
                    </a:lnTo>
                    <a:lnTo>
                      <a:pt x="1198681" y="560778"/>
                    </a:lnTo>
                    <a:lnTo>
                      <a:pt x="1197166" y="559717"/>
                    </a:lnTo>
                    <a:lnTo>
                      <a:pt x="1194438" y="558808"/>
                    </a:lnTo>
                    <a:lnTo>
                      <a:pt x="1187468" y="557445"/>
                    </a:lnTo>
                    <a:lnTo>
                      <a:pt x="1185044" y="557445"/>
                    </a:lnTo>
                    <a:lnTo>
                      <a:pt x="1180650" y="557899"/>
                    </a:lnTo>
                    <a:lnTo>
                      <a:pt x="1178074" y="558657"/>
                    </a:lnTo>
                    <a:lnTo>
                      <a:pt x="1172013" y="561233"/>
                    </a:lnTo>
                    <a:lnTo>
                      <a:pt x="1162013" y="562596"/>
                    </a:lnTo>
                    <a:lnTo>
                      <a:pt x="1154740" y="564263"/>
                    </a:lnTo>
                    <a:lnTo>
                      <a:pt x="1147770" y="564869"/>
                    </a:lnTo>
                    <a:lnTo>
                      <a:pt x="1144588" y="565778"/>
                    </a:lnTo>
                    <a:lnTo>
                      <a:pt x="1121557" y="554263"/>
                    </a:lnTo>
                    <a:lnTo>
                      <a:pt x="1117769" y="555172"/>
                    </a:lnTo>
                    <a:lnTo>
                      <a:pt x="1115344" y="557293"/>
                    </a:lnTo>
                    <a:lnTo>
                      <a:pt x="1115344" y="558202"/>
                    </a:lnTo>
                    <a:lnTo>
                      <a:pt x="1117314" y="559717"/>
                    </a:lnTo>
                    <a:lnTo>
                      <a:pt x="1120496" y="559717"/>
                    </a:lnTo>
                    <a:lnTo>
                      <a:pt x="1123224" y="558960"/>
                    </a:lnTo>
                    <a:lnTo>
                      <a:pt x="1123981" y="559566"/>
                    </a:lnTo>
                    <a:lnTo>
                      <a:pt x="1121860" y="562293"/>
                    </a:lnTo>
                    <a:lnTo>
                      <a:pt x="1116557" y="561990"/>
                    </a:lnTo>
                    <a:lnTo>
                      <a:pt x="1108374" y="559717"/>
                    </a:lnTo>
                    <a:lnTo>
                      <a:pt x="1096556" y="561687"/>
                    </a:lnTo>
                    <a:lnTo>
                      <a:pt x="1095192" y="562445"/>
                    </a:lnTo>
                    <a:lnTo>
                      <a:pt x="1094586" y="563808"/>
                    </a:lnTo>
                    <a:lnTo>
                      <a:pt x="1094738" y="565778"/>
                    </a:lnTo>
                    <a:lnTo>
                      <a:pt x="1095495" y="567748"/>
                    </a:lnTo>
                    <a:lnTo>
                      <a:pt x="1097010" y="569566"/>
                    </a:lnTo>
                    <a:lnTo>
                      <a:pt x="1100192" y="571991"/>
                    </a:lnTo>
                    <a:lnTo>
                      <a:pt x="1103677" y="573051"/>
                    </a:lnTo>
                    <a:lnTo>
                      <a:pt x="1105041" y="573960"/>
                    </a:lnTo>
                    <a:lnTo>
                      <a:pt x="1107011" y="577445"/>
                    </a:lnTo>
                    <a:lnTo>
                      <a:pt x="1107768" y="579718"/>
                    </a:lnTo>
                    <a:lnTo>
                      <a:pt x="1107465" y="580627"/>
                    </a:lnTo>
                    <a:lnTo>
                      <a:pt x="1103223" y="578203"/>
                    </a:lnTo>
                    <a:lnTo>
                      <a:pt x="1098374" y="574112"/>
                    </a:lnTo>
                    <a:lnTo>
                      <a:pt x="1095041" y="572597"/>
                    </a:lnTo>
                    <a:lnTo>
                      <a:pt x="1091253" y="572748"/>
                    </a:lnTo>
                    <a:lnTo>
                      <a:pt x="1085798" y="574869"/>
                    </a:lnTo>
                    <a:lnTo>
                      <a:pt x="1082010" y="576839"/>
                    </a:lnTo>
                    <a:lnTo>
                      <a:pt x="1080495" y="578354"/>
                    </a:lnTo>
                    <a:lnTo>
                      <a:pt x="1080343" y="579415"/>
                    </a:lnTo>
                    <a:lnTo>
                      <a:pt x="1081404" y="581536"/>
                    </a:lnTo>
                    <a:lnTo>
                      <a:pt x="1082313" y="582294"/>
                    </a:lnTo>
                    <a:lnTo>
                      <a:pt x="1097616" y="590476"/>
                    </a:lnTo>
                    <a:lnTo>
                      <a:pt x="1101253" y="590325"/>
                    </a:lnTo>
                    <a:lnTo>
                      <a:pt x="1105799" y="589264"/>
                    </a:lnTo>
                    <a:lnTo>
                      <a:pt x="1108223" y="588355"/>
                    </a:lnTo>
                    <a:lnTo>
                      <a:pt x="1111859" y="586082"/>
                    </a:lnTo>
                    <a:lnTo>
                      <a:pt x="1114890" y="587143"/>
                    </a:lnTo>
                    <a:lnTo>
                      <a:pt x="1121860" y="592446"/>
                    </a:lnTo>
                    <a:lnTo>
                      <a:pt x="1126860" y="593810"/>
                    </a:lnTo>
                    <a:lnTo>
                      <a:pt x="1122920" y="594416"/>
                    </a:lnTo>
                    <a:lnTo>
                      <a:pt x="1120193" y="593961"/>
                    </a:lnTo>
                    <a:lnTo>
                      <a:pt x="1115799" y="591688"/>
                    </a:lnTo>
                    <a:lnTo>
                      <a:pt x="1112617" y="591082"/>
                    </a:lnTo>
                    <a:lnTo>
                      <a:pt x="1109890" y="591688"/>
                    </a:lnTo>
                    <a:lnTo>
                      <a:pt x="1108526" y="592749"/>
                    </a:lnTo>
                    <a:lnTo>
                      <a:pt x="1107314" y="594719"/>
                    </a:lnTo>
                    <a:lnTo>
                      <a:pt x="1107011" y="596537"/>
                    </a:lnTo>
                    <a:lnTo>
                      <a:pt x="1107465" y="597901"/>
                    </a:lnTo>
                    <a:lnTo>
                      <a:pt x="1109738" y="598810"/>
                    </a:lnTo>
                    <a:lnTo>
                      <a:pt x="1112769" y="598355"/>
                    </a:lnTo>
                    <a:lnTo>
                      <a:pt x="1114132" y="598810"/>
                    </a:lnTo>
                    <a:lnTo>
                      <a:pt x="1115344" y="600173"/>
                    </a:lnTo>
                    <a:lnTo>
                      <a:pt x="1116708" y="602295"/>
                    </a:lnTo>
                    <a:lnTo>
                      <a:pt x="1119132" y="607143"/>
                    </a:lnTo>
                    <a:lnTo>
                      <a:pt x="1119284" y="608052"/>
                    </a:lnTo>
                    <a:lnTo>
                      <a:pt x="1118375" y="610022"/>
                    </a:lnTo>
                    <a:lnTo>
                      <a:pt x="1116708" y="610931"/>
                    </a:lnTo>
                    <a:lnTo>
                      <a:pt x="1115648" y="610477"/>
                    </a:lnTo>
                    <a:lnTo>
                      <a:pt x="1111859" y="606386"/>
                    </a:lnTo>
                    <a:lnTo>
                      <a:pt x="1111102" y="606386"/>
                    </a:lnTo>
                    <a:lnTo>
                      <a:pt x="1109890" y="615326"/>
                    </a:lnTo>
                    <a:lnTo>
                      <a:pt x="1109132" y="616841"/>
                    </a:lnTo>
                    <a:lnTo>
                      <a:pt x="1108678" y="617144"/>
                    </a:lnTo>
                    <a:lnTo>
                      <a:pt x="1097465" y="619568"/>
                    </a:lnTo>
                    <a:lnTo>
                      <a:pt x="1092162" y="620174"/>
                    </a:lnTo>
                    <a:lnTo>
                      <a:pt x="1087010" y="619720"/>
                    </a:lnTo>
                    <a:lnTo>
                      <a:pt x="1084889" y="618507"/>
                    </a:lnTo>
                    <a:lnTo>
                      <a:pt x="1082616" y="614568"/>
                    </a:lnTo>
                    <a:lnTo>
                      <a:pt x="1079585" y="611386"/>
                    </a:lnTo>
                    <a:lnTo>
                      <a:pt x="1077616" y="610022"/>
                    </a:lnTo>
                    <a:lnTo>
                      <a:pt x="1073828" y="608356"/>
                    </a:lnTo>
                    <a:lnTo>
                      <a:pt x="1072616" y="606840"/>
                    </a:lnTo>
                    <a:lnTo>
                      <a:pt x="1071555" y="604416"/>
                    </a:lnTo>
                    <a:lnTo>
                      <a:pt x="1069131" y="602446"/>
                    </a:lnTo>
                    <a:lnTo>
                      <a:pt x="1066403" y="601840"/>
                    </a:lnTo>
                    <a:lnTo>
                      <a:pt x="1061403" y="601386"/>
                    </a:lnTo>
                    <a:lnTo>
                      <a:pt x="1058070" y="601689"/>
                    </a:lnTo>
                    <a:lnTo>
                      <a:pt x="1053524" y="604719"/>
                    </a:lnTo>
                    <a:lnTo>
                      <a:pt x="1052160" y="606234"/>
                    </a:lnTo>
                    <a:lnTo>
                      <a:pt x="1050039" y="609719"/>
                    </a:lnTo>
                    <a:lnTo>
                      <a:pt x="1048372" y="613204"/>
                    </a:lnTo>
                    <a:lnTo>
                      <a:pt x="1047615" y="616386"/>
                    </a:lnTo>
                    <a:lnTo>
                      <a:pt x="1047766" y="617295"/>
                    </a:lnTo>
                    <a:lnTo>
                      <a:pt x="1049130" y="619568"/>
                    </a:lnTo>
                    <a:lnTo>
                      <a:pt x="1056100" y="626083"/>
                    </a:lnTo>
                    <a:lnTo>
                      <a:pt x="1067767" y="631690"/>
                    </a:lnTo>
                    <a:lnTo>
                      <a:pt x="1069585" y="634569"/>
                    </a:lnTo>
                    <a:lnTo>
                      <a:pt x="1071706" y="635629"/>
                    </a:lnTo>
                    <a:lnTo>
                      <a:pt x="1072464" y="636841"/>
                    </a:lnTo>
                    <a:lnTo>
                      <a:pt x="1073222" y="639114"/>
                    </a:lnTo>
                    <a:lnTo>
                      <a:pt x="1074585" y="640478"/>
                    </a:lnTo>
                    <a:lnTo>
                      <a:pt x="1080798" y="642448"/>
                    </a:lnTo>
                    <a:lnTo>
                      <a:pt x="1085646" y="640629"/>
                    </a:lnTo>
                    <a:lnTo>
                      <a:pt x="1087465" y="640175"/>
                    </a:lnTo>
                    <a:lnTo>
                      <a:pt x="1088677" y="640478"/>
                    </a:lnTo>
                    <a:lnTo>
                      <a:pt x="1091859" y="642448"/>
                    </a:lnTo>
                    <a:lnTo>
                      <a:pt x="1093677" y="645024"/>
                    </a:lnTo>
                    <a:lnTo>
                      <a:pt x="1094889" y="645933"/>
                    </a:lnTo>
                    <a:lnTo>
                      <a:pt x="1099889" y="646539"/>
                    </a:lnTo>
                    <a:lnTo>
                      <a:pt x="1102465" y="647296"/>
                    </a:lnTo>
                    <a:lnTo>
                      <a:pt x="1105496" y="648963"/>
                    </a:lnTo>
                    <a:lnTo>
                      <a:pt x="1112920" y="656539"/>
                    </a:lnTo>
                    <a:lnTo>
                      <a:pt x="1118375" y="661236"/>
                    </a:lnTo>
                    <a:lnTo>
                      <a:pt x="1128981" y="669115"/>
                    </a:lnTo>
                    <a:lnTo>
                      <a:pt x="1133224" y="674419"/>
                    </a:lnTo>
                    <a:lnTo>
                      <a:pt x="1138073" y="679267"/>
                    </a:lnTo>
                    <a:lnTo>
                      <a:pt x="1141558" y="685934"/>
                    </a:lnTo>
                    <a:lnTo>
                      <a:pt x="1142921" y="687752"/>
                    </a:lnTo>
                    <a:lnTo>
                      <a:pt x="1144436" y="688813"/>
                    </a:lnTo>
                    <a:lnTo>
                      <a:pt x="1149437" y="688662"/>
                    </a:lnTo>
                    <a:lnTo>
                      <a:pt x="1151861" y="689571"/>
                    </a:lnTo>
                    <a:lnTo>
                      <a:pt x="1155043" y="691540"/>
                    </a:lnTo>
                    <a:lnTo>
                      <a:pt x="1158376" y="692147"/>
                    </a:lnTo>
                    <a:lnTo>
                      <a:pt x="1161861" y="691389"/>
                    </a:lnTo>
                    <a:lnTo>
                      <a:pt x="1165195" y="689874"/>
                    </a:lnTo>
                    <a:lnTo>
                      <a:pt x="1171104" y="685177"/>
                    </a:lnTo>
                    <a:lnTo>
                      <a:pt x="1171407" y="684116"/>
                    </a:lnTo>
                    <a:lnTo>
                      <a:pt x="1171256" y="682601"/>
                    </a:lnTo>
                    <a:lnTo>
                      <a:pt x="1170195" y="679116"/>
                    </a:lnTo>
                    <a:lnTo>
                      <a:pt x="1165043" y="671085"/>
                    </a:lnTo>
                    <a:lnTo>
                      <a:pt x="1163983" y="668206"/>
                    </a:lnTo>
                    <a:lnTo>
                      <a:pt x="1165952" y="665630"/>
                    </a:lnTo>
                    <a:lnTo>
                      <a:pt x="1167771" y="664267"/>
                    </a:lnTo>
                    <a:lnTo>
                      <a:pt x="1168225" y="664570"/>
                    </a:lnTo>
                    <a:lnTo>
                      <a:pt x="1168377" y="665479"/>
                    </a:lnTo>
                    <a:lnTo>
                      <a:pt x="1168074" y="666843"/>
                    </a:lnTo>
                    <a:lnTo>
                      <a:pt x="1168225" y="668812"/>
                    </a:lnTo>
                    <a:lnTo>
                      <a:pt x="1168831" y="671237"/>
                    </a:lnTo>
                    <a:lnTo>
                      <a:pt x="1170043" y="672903"/>
                    </a:lnTo>
                    <a:lnTo>
                      <a:pt x="1171710" y="673812"/>
                    </a:lnTo>
                    <a:lnTo>
                      <a:pt x="1188074" y="675479"/>
                    </a:lnTo>
                    <a:lnTo>
                      <a:pt x="1191408" y="675176"/>
                    </a:lnTo>
                    <a:lnTo>
                      <a:pt x="1197923" y="673206"/>
                    </a:lnTo>
                    <a:lnTo>
                      <a:pt x="1200802" y="671237"/>
                    </a:lnTo>
                    <a:lnTo>
                      <a:pt x="1203378" y="668661"/>
                    </a:lnTo>
                    <a:lnTo>
                      <a:pt x="1205499" y="667146"/>
                    </a:lnTo>
                    <a:lnTo>
                      <a:pt x="1214591" y="665024"/>
                    </a:lnTo>
                    <a:lnTo>
                      <a:pt x="1214287" y="658206"/>
                    </a:lnTo>
                    <a:lnTo>
                      <a:pt x="1211712" y="655327"/>
                    </a:lnTo>
                    <a:lnTo>
                      <a:pt x="1210651" y="655024"/>
                    </a:lnTo>
                    <a:lnTo>
                      <a:pt x="1210499" y="654266"/>
                    </a:lnTo>
                    <a:lnTo>
                      <a:pt x="1214591" y="649115"/>
                    </a:lnTo>
                    <a:lnTo>
                      <a:pt x="1215045" y="647751"/>
                    </a:lnTo>
                    <a:lnTo>
                      <a:pt x="1215197" y="646084"/>
                    </a:lnTo>
                    <a:lnTo>
                      <a:pt x="1214591" y="644417"/>
                    </a:lnTo>
                    <a:lnTo>
                      <a:pt x="1213075" y="642599"/>
                    </a:lnTo>
                    <a:lnTo>
                      <a:pt x="1209590" y="640478"/>
                    </a:lnTo>
                    <a:lnTo>
                      <a:pt x="1209439" y="640023"/>
                    </a:lnTo>
                    <a:lnTo>
                      <a:pt x="1210954" y="640023"/>
                    </a:lnTo>
                    <a:lnTo>
                      <a:pt x="1213985" y="639266"/>
                    </a:lnTo>
                    <a:close/>
                    <a:moveTo>
                      <a:pt x="1361414" y="589112"/>
                    </a:moveTo>
                    <a:lnTo>
                      <a:pt x="1366414" y="583203"/>
                    </a:lnTo>
                    <a:lnTo>
                      <a:pt x="1368233" y="580476"/>
                    </a:lnTo>
                    <a:lnTo>
                      <a:pt x="1368990" y="578657"/>
                    </a:lnTo>
                    <a:lnTo>
                      <a:pt x="1370202" y="577294"/>
                    </a:lnTo>
                    <a:lnTo>
                      <a:pt x="1374900" y="574415"/>
                    </a:lnTo>
                    <a:lnTo>
                      <a:pt x="1380354" y="568809"/>
                    </a:lnTo>
                    <a:lnTo>
                      <a:pt x="1383082" y="565172"/>
                    </a:lnTo>
                    <a:lnTo>
                      <a:pt x="1385355" y="561384"/>
                    </a:lnTo>
                    <a:lnTo>
                      <a:pt x="1386112" y="559111"/>
                    </a:lnTo>
                    <a:lnTo>
                      <a:pt x="1383233" y="556990"/>
                    </a:lnTo>
                    <a:lnTo>
                      <a:pt x="1378536" y="554717"/>
                    </a:lnTo>
                    <a:lnTo>
                      <a:pt x="1365960" y="551687"/>
                    </a:lnTo>
                    <a:lnTo>
                      <a:pt x="1351111" y="550626"/>
                    </a:lnTo>
                    <a:lnTo>
                      <a:pt x="1344444" y="551384"/>
                    </a:lnTo>
                    <a:lnTo>
                      <a:pt x="1334898" y="553505"/>
                    </a:lnTo>
                    <a:lnTo>
                      <a:pt x="1332474" y="552444"/>
                    </a:lnTo>
                    <a:lnTo>
                      <a:pt x="1327625" y="548656"/>
                    </a:lnTo>
                    <a:lnTo>
                      <a:pt x="1325049" y="547596"/>
                    </a:lnTo>
                    <a:lnTo>
                      <a:pt x="1319746" y="545929"/>
                    </a:lnTo>
                    <a:lnTo>
                      <a:pt x="1308988" y="543353"/>
                    </a:lnTo>
                    <a:lnTo>
                      <a:pt x="1302473" y="542444"/>
                    </a:lnTo>
                    <a:lnTo>
                      <a:pt x="1298685" y="543050"/>
                    </a:lnTo>
                    <a:lnTo>
                      <a:pt x="1292169" y="545626"/>
                    </a:lnTo>
                    <a:lnTo>
                      <a:pt x="1287927" y="544868"/>
                    </a:lnTo>
                    <a:lnTo>
                      <a:pt x="1273078" y="545929"/>
                    </a:lnTo>
                    <a:lnTo>
                      <a:pt x="1266411" y="547444"/>
                    </a:lnTo>
                    <a:lnTo>
                      <a:pt x="1259744" y="549869"/>
                    </a:lnTo>
                    <a:lnTo>
                      <a:pt x="1257925" y="550778"/>
                    </a:lnTo>
                    <a:lnTo>
                      <a:pt x="1255653" y="552899"/>
                    </a:lnTo>
                    <a:lnTo>
                      <a:pt x="1255047" y="554263"/>
                    </a:lnTo>
                    <a:lnTo>
                      <a:pt x="1254895" y="555778"/>
                    </a:lnTo>
                    <a:lnTo>
                      <a:pt x="1255047" y="557142"/>
                    </a:lnTo>
                    <a:lnTo>
                      <a:pt x="1255501" y="558505"/>
                    </a:lnTo>
                    <a:lnTo>
                      <a:pt x="1257471" y="562596"/>
                    </a:lnTo>
                    <a:lnTo>
                      <a:pt x="1261865" y="567293"/>
                    </a:lnTo>
                    <a:lnTo>
                      <a:pt x="1264592" y="568960"/>
                    </a:lnTo>
                    <a:lnTo>
                      <a:pt x="1267471" y="569718"/>
                    </a:lnTo>
                    <a:lnTo>
                      <a:pt x="1267320" y="570172"/>
                    </a:lnTo>
                    <a:lnTo>
                      <a:pt x="1263986" y="570172"/>
                    </a:lnTo>
                    <a:lnTo>
                      <a:pt x="1259138" y="568960"/>
                    </a:lnTo>
                    <a:lnTo>
                      <a:pt x="1248531" y="565324"/>
                    </a:lnTo>
                    <a:lnTo>
                      <a:pt x="1246865" y="565475"/>
                    </a:lnTo>
                    <a:lnTo>
                      <a:pt x="1243531" y="566687"/>
                    </a:lnTo>
                    <a:lnTo>
                      <a:pt x="1241864" y="568354"/>
                    </a:lnTo>
                    <a:lnTo>
                      <a:pt x="1241561" y="569718"/>
                    </a:lnTo>
                    <a:lnTo>
                      <a:pt x="1241561" y="571385"/>
                    </a:lnTo>
                    <a:lnTo>
                      <a:pt x="1241713" y="575627"/>
                    </a:lnTo>
                    <a:lnTo>
                      <a:pt x="1242773" y="587749"/>
                    </a:lnTo>
                    <a:lnTo>
                      <a:pt x="1243228" y="595779"/>
                    </a:lnTo>
                    <a:lnTo>
                      <a:pt x="1243228" y="598810"/>
                    </a:lnTo>
                    <a:lnTo>
                      <a:pt x="1242622" y="604871"/>
                    </a:lnTo>
                    <a:lnTo>
                      <a:pt x="1242622" y="607901"/>
                    </a:lnTo>
                    <a:lnTo>
                      <a:pt x="1242925" y="610931"/>
                    </a:lnTo>
                    <a:lnTo>
                      <a:pt x="1243531" y="613659"/>
                    </a:lnTo>
                    <a:lnTo>
                      <a:pt x="1244440" y="616235"/>
                    </a:lnTo>
                    <a:lnTo>
                      <a:pt x="1252622" y="630781"/>
                    </a:lnTo>
                    <a:lnTo>
                      <a:pt x="1254289" y="638963"/>
                    </a:lnTo>
                    <a:lnTo>
                      <a:pt x="1255047" y="647448"/>
                    </a:lnTo>
                    <a:lnTo>
                      <a:pt x="1254289" y="655327"/>
                    </a:lnTo>
                    <a:lnTo>
                      <a:pt x="1259289" y="656085"/>
                    </a:lnTo>
                    <a:lnTo>
                      <a:pt x="1270199" y="654569"/>
                    </a:lnTo>
                    <a:lnTo>
                      <a:pt x="1273381" y="654569"/>
                    </a:lnTo>
                    <a:lnTo>
                      <a:pt x="1283078" y="656691"/>
                    </a:lnTo>
                    <a:lnTo>
                      <a:pt x="1285957" y="655327"/>
                    </a:lnTo>
                    <a:lnTo>
                      <a:pt x="1287775" y="650175"/>
                    </a:lnTo>
                    <a:lnTo>
                      <a:pt x="1290502" y="643811"/>
                    </a:lnTo>
                    <a:lnTo>
                      <a:pt x="1299139" y="635175"/>
                    </a:lnTo>
                    <a:lnTo>
                      <a:pt x="1299442" y="634417"/>
                    </a:lnTo>
                    <a:lnTo>
                      <a:pt x="1299594" y="631235"/>
                    </a:lnTo>
                    <a:lnTo>
                      <a:pt x="1299291" y="629568"/>
                    </a:lnTo>
                    <a:lnTo>
                      <a:pt x="1298533" y="628205"/>
                    </a:lnTo>
                    <a:lnTo>
                      <a:pt x="1293078" y="622447"/>
                    </a:lnTo>
                    <a:lnTo>
                      <a:pt x="1288987" y="620629"/>
                    </a:lnTo>
                    <a:lnTo>
                      <a:pt x="1282623" y="618962"/>
                    </a:lnTo>
                    <a:lnTo>
                      <a:pt x="1280957" y="617901"/>
                    </a:lnTo>
                    <a:lnTo>
                      <a:pt x="1298230" y="615629"/>
                    </a:lnTo>
                    <a:lnTo>
                      <a:pt x="1304745" y="615629"/>
                    </a:lnTo>
                    <a:lnTo>
                      <a:pt x="1330656" y="620023"/>
                    </a:lnTo>
                    <a:lnTo>
                      <a:pt x="1334898" y="619568"/>
                    </a:lnTo>
                    <a:lnTo>
                      <a:pt x="1338080" y="618204"/>
                    </a:lnTo>
                    <a:lnTo>
                      <a:pt x="1343838" y="613204"/>
                    </a:lnTo>
                    <a:lnTo>
                      <a:pt x="1347020" y="609719"/>
                    </a:lnTo>
                    <a:lnTo>
                      <a:pt x="1351565" y="603961"/>
                    </a:lnTo>
                    <a:lnTo>
                      <a:pt x="1355959" y="597749"/>
                    </a:lnTo>
                    <a:lnTo>
                      <a:pt x="1356869" y="595173"/>
                    </a:lnTo>
                    <a:lnTo>
                      <a:pt x="1355808" y="594113"/>
                    </a:lnTo>
                    <a:lnTo>
                      <a:pt x="1353384" y="592900"/>
                    </a:lnTo>
                    <a:lnTo>
                      <a:pt x="1360353" y="590325"/>
                    </a:lnTo>
                    <a:lnTo>
                      <a:pt x="1361414" y="589112"/>
                    </a:lnTo>
                    <a:close/>
                    <a:moveTo>
                      <a:pt x="1096404" y="771089"/>
                    </a:moveTo>
                    <a:lnTo>
                      <a:pt x="1097162" y="766392"/>
                    </a:lnTo>
                    <a:lnTo>
                      <a:pt x="1097010" y="763513"/>
                    </a:lnTo>
                    <a:lnTo>
                      <a:pt x="1095192" y="755634"/>
                    </a:lnTo>
                    <a:lnTo>
                      <a:pt x="1093222" y="751694"/>
                    </a:lnTo>
                    <a:lnTo>
                      <a:pt x="1091859" y="750482"/>
                    </a:lnTo>
                    <a:lnTo>
                      <a:pt x="1090344" y="749876"/>
                    </a:lnTo>
                    <a:lnTo>
                      <a:pt x="1087919" y="749724"/>
                    </a:lnTo>
                    <a:lnTo>
                      <a:pt x="1079131" y="750482"/>
                    </a:lnTo>
                    <a:lnTo>
                      <a:pt x="1077616" y="748664"/>
                    </a:lnTo>
                    <a:lnTo>
                      <a:pt x="1077313" y="744876"/>
                    </a:lnTo>
                    <a:lnTo>
                      <a:pt x="1076858" y="743967"/>
                    </a:lnTo>
                    <a:lnTo>
                      <a:pt x="1075949" y="743360"/>
                    </a:lnTo>
                    <a:lnTo>
                      <a:pt x="1074434" y="742906"/>
                    </a:lnTo>
                    <a:lnTo>
                      <a:pt x="1068828" y="743512"/>
                    </a:lnTo>
                    <a:lnTo>
                      <a:pt x="1067312" y="743057"/>
                    </a:lnTo>
                    <a:lnTo>
                      <a:pt x="1057009" y="736694"/>
                    </a:lnTo>
                    <a:lnTo>
                      <a:pt x="1050948" y="733966"/>
                    </a:lnTo>
                    <a:lnTo>
                      <a:pt x="1046554" y="731390"/>
                    </a:lnTo>
                    <a:lnTo>
                      <a:pt x="1038372" y="724723"/>
                    </a:lnTo>
                    <a:lnTo>
                      <a:pt x="1037311" y="725026"/>
                    </a:lnTo>
                    <a:lnTo>
                      <a:pt x="1037463" y="726542"/>
                    </a:lnTo>
                    <a:lnTo>
                      <a:pt x="1039736" y="730481"/>
                    </a:lnTo>
                    <a:lnTo>
                      <a:pt x="1039584" y="731239"/>
                    </a:lnTo>
                    <a:lnTo>
                      <a:pt x="1039129" y="731693"/>
                    </a:lnTo>
                    <a:lnTo>
                      <a:pt x="1037614" y="731996"/>
                    </a:lnTo>
                    <a:lnTo>
                      <a:pt x="1036857" y="731996"/>
                    </a:lnTo>
                    <a:lnTo>
                      <a:pt x="1034281" y="730178"/>
                    </a:lnTo>
                    <a:lnTo>
                      <a:pt x="1031553" y="728966"/>
                    </a:lnTo>
                    <a:lnTo>
                      <a:pt x="1023674" y="726087"/>
                    </a:lnTo>
                    <a:lnTo>
                      <a:pt x="1016250" y="720935"/>
                    </a:lnTo>
                    <a:lnTo>
                      <a:pt x="1013523" y="719572"/>
                    </a:lnTo>
                    <a:lnTo>
                      <a:pt x="1007613" y="711390"/>
                    </a:lnTo>
                    <a:lnTo>
                      <a:pt x="998067" y="704571"/>
                    </a:lnTo>
                    <a:lnTo>
                      <a:pt x="996552" y="702601"/>
                    </a:lnTo>
                    <a:lnTo>
                      <a:pt x="996704" y="701238"/>
                    </a:lnTo>
                    <a:lnTo>
                      <a:pt x="998825" y="695480"/>
                    </a:lnTo>
                    <a:lnTo>
                      <a:pt x="1000189" y="692904"/>
                    </a:lnTo>
                    <a:lnTo>
                      <a:pt x="1001552" y="691086"/>
                    </a:lnTo>
                    <a:lnTo>
                      <a:pt x="1002310" y="688813"/>
                    </a:lnTo>
                    <a:lnTo>
                      <a:pt x="1002461" y="686237"/>
                    </a:lnTo>
                    <a:lnTo>
                      <a:pt x="1002310" y="684267"/>
                    </a:lnTo>
                    <a:lnTo>
                      <a:pt x="1001855" y="683055"/>
                    </a:lnTo>
                    <a:lnTo>
                      <a:pt x="1001552" y="678964"/>
                    </a:lnTo>
                    <a:lnTo>
                      <a:pt x="997916" y="672752"/>
                    </a:lnTo>
                    <a:lnTo>
                      <a:pt x="991097" y="664115"/>
                    </a:lnTo>
                    <a:lnTo>
                      <a:pt x="989885" y="662297"/>
                    </a:lnTo>
                    <a:lnTo>
                      <a:pt x="988067" y="658357"/>
                    </a:lnTo>
                    <a:lnTo>
                      <a:pt x="978370" y="635932"/>
                    </a:lnTo>
                    <a:lnTo>
                      <a:pt x="978067" y="633356"/>
                    </a:lnTo>
                    <a:lnTo>
                      <a:pt x="976703" y="628356"/>
                    </a:lnTo>
                    <a:lnTo>
                      <a:pt x="975945" y="624568"/>
                    </a:lnTo>
                    <a:lnTo>
                      <a:pt x="975036" y="622750"/>
                    </a:lnTo>
                    <a:lnTo>
                      <a:pt x="973521" y="620780"/>
                    </a:lnTo>
                    <a:lnTo>
                      <a:pt x="973066" y="619114"/>
                    </a:lnTo>
                    <a:lnTo>
                      <a:pt x="973521" y="617901"/>
                    </a:lnTo>
                    <a:lnTo>
                      <a:pt x="973369" y="616689"/>
                    </a:lnTo>
                    <a:lnTo>
                      <a:pt x="971097" y="613507"/>
                    </a:lnTo>
                    <a:lnTo>
                      <a:pt x="967612" y="609416"/>
                    </a:lnTo>
                    <a:lnTo>
                      <a:pt x="962460" y="605022"/>
                    </a:lnTo>
                    <a:lnTo>
                      <a:pt x="955035" y="601840"/>
                    </a:lnTo>
                    <a:lnTo>
                      <a:pt x="944126" y="595325"/>
                    </a:lnTo>
                    <a:lnTo>
                      <a:pt x="934580" y="591688"/>
                    </a:lnTo>
                    <a:lnTo>
                      <a:pt x="931247" y="591082"/>
                    </a:lnTo>
                    <a:lnTo>
                      <a:pt x="928974" y="592749"/>
                    </a:lnTo>
                    <a:lnTo>
                      <a:pt x="927762" y="595325"/>
                    </a:lnTo>
                    <a:lnTo>
                      <a:pt x="926701" y="595628"/>
                    </a:lnTo>
                    <a:lnTo>
                      <a:pt x="916246" y="590628"/>
                    </a:lnTo>
                    <a:lnTo>
                      <a:pt x="910185" y="588506"/>
                    </a:lnTo>
                    <a:lnTo>
                      <a:pt x="901700" y="587446"/>
                    </a:lnTo>
                    <a:lnTo>
                      <a:pt x="900033" y="589870"/>
                    </a:lnTo>
                    <a:lnTo>
                      <a:pt x="900336" y="591082"/>
                    </a:lnTo>
                    <a:lnTo>
                      <a:pt x="902761" y="593658"/>
                    </a:lnTo>
                    <a:lnTo>
                      <a:pt x="904124" y="594567"/>
                    </a:lnTo>
                    <a:lnTo>
                      <a:pt x="902912" y="595173"/>
                    </a:lnTo>
                    <a:lnTo>
                      <a:pt x="899124" y="595476"/>
                    </a:lnTo>
                    <a:lnTo>
                      <a:pt x="896851" y="596537"/>
                    </a:lnTo>
                    <a:lnTo>
                      <a:pt x="895942" y="598355"/>
                    </a:lnTo>
                    <a:lnTo>
                      <a:pt x="895942" y="600628"/>
                    </a:lnTo>
                    <a:lnTo>
                      <a:pt x="902609" y="624265"/>
                    </a:lnTo>
                    <a:lnTo>
                      <a:pt x="904276" y="627599"/>
                    </a:lnTo>
                    <a:lnTo>
                      <a:pt x="904579" y="629265"/>
                    </a:lnTo>
                    <a:lnTo>
                      <a:pt x="904276" y="631084"/>
                    </a:lnTo>
                    <a:lnTo>
                      <a:pt x="904882" y="632599"/>
                    </a:lnTo>
                    <a:lnTo>
                      <a:pt x="906397" y="633811"/>
                    </a:lnTo>
                    <a:lnTo>
                      <a:pt x="907306" y="635175"/>
                    </a:lnTo>
                    <a:lnTo>
                      <a:pt x="907761" y="640175"/>
                    </a:lnTo>
                    <a:lnTo>
                      <a:pt x="908216" y="642448"/>
                    </a:lnTo>
                    <a:lnTo>
                      <a:pt x="910943" y="650327"/>
                    </a:lnTo>
                    <a:lnTo>
                      <a:pt x="915185" y="656691"/>
                    </a:lnTo>
                    <a:lnTo>
                      <a:pt x="921701" y="663358"/>
                    </a:lnTo>
                    <a:lnTo>
                      <a:pt x="919731" y="663812"/>
                    </a:lnTo>
                    <a:lnTo>
                      <a:pt x="919580" y="664418"/>
                    </a:lnTo>
                    <a:lnTo>
                      <a:pt x="919883" y="665176"/>
                    </a:lnTo>
                    <a:lnTo>
                      <a:pt x="920943" y="666388"/>
                    </a:lnTo>
                    <a:lnTo>
                      <a:pt x="920489" y="667146"/>
                    </a:lnTo>
                    <a:lnTo>
                      <a:pt x="911246" y="672449"/>
                    </a:lnTo>
                    <a:lnTo>
                      <a:pt x="909276" y="675176"/>
                    </a:lnTo>
                    <a:lnTo>
                      <a:pt x="908519" y="676843"/>
                    </a:lnTo>
                    <a:lnTo>
                      <a:pt x="907761" y="676994"/>
                    </a:lnTo>
                    <a:lnTo>
                      <a:pt x="904731" y="676388"/>
                    </a:lnTo>
                    <a:lnTo>
                      <a:pt x="902155" y="674419"/>
                    </a:lnTo>
                    <a:lnTo>
                      <a:pt x="898821" y="673055"/>
                    </a:lnTo>
                    <a:lnTo>
                      <a:pt x="897609" y="672146"/>
                    </a:lnTo>
                    <a:lnTo>
                      <a:pt x="897003" y="670782"/>
                    </a:lnTo>
                    <a:lnTo>
                      <a:pt x="895185" y="663206"/>
                    </a:lnTo>
                    <a:lnTo>
                      <a:pt x="889882" y="650933"/>
                    </a:lnTo>
                    <a:lnTo>
                      <a:pt x="887306" y="641690"/>
                    </a:lnTo>
                    <a:lnTo>
                      <a:pt x="885639" y="636841"/>
                    </a:lnTo>
                    <a:lnTo>
                      <a:pt x="883669" y="632296"/>
                    </a:lnTo>
                    <a:lnTo>
                      <a:pt x="882154" y="629568"/>
                    </a:lnTo>
                    <a:lnTo>
                      <a:pt x="880942" y="628659"/>
                    </a:lnTo>
                    <a:lnTo>
                      <a:pt x="876699" y="627902"/>
                    </a:lnTo>
                    <a:lnTo>
                      <a:pt x="875487" y="627144"/>
                    </a:lnTo>
                    <a:lnTo>
                      <a:pt x="875790" y="625023"/>
                    </a:lnTo>
                    <a:lnTo>
                      <a:pt x="876245" y="624114"/>
                    </a:lnTo>
                    <a:lnTo>
                      <a:pt x="875790" y="623205"/>
                    </a:lnTo>
                    <a:lnTo>
                      <a:pt x="874275" y="622295"/>
                    </a:lnTo>
                    <a:lnTo>
                      <a:pt x="872154" y="620174"/>
                    </a:lnTo>
                    <a:lnTo>
                      <a:pt x="865941" y="616841"/>
                    </a:lnTo>
                    <a:lnTo>
                      <a:pt x="862911" y="615174"/>
                    </a:lnTo>
                    <a:lnTo>
                      <a:pt x="859123" y="611689"/>
                    </a:lnTo>
                    <a:lnTo>
                      <a:pt x="848213" y="606083"/>
                    </a:lnTo>
                    <a:lnTo>
                      <a:pt x="845789" y="605628"/>
                    </a:lnTo>
                    <a:lnTo>
                      <a:pt x="834425" y="605325"/>
                    </a:lnTo>
                    <a:lnTo>
                      <a:pt x="830334" y="604871"/>
                    </a:lnTo>
                    <a:lnTo>
                      <a:pt x="829576" y="608204"/>
                    </a:lnTo>
                    <a:lnTo>
                      <a:pt x="833364" y="612598"/>
                    </a:lnTo>
                    <a:lnTo>
                      <a:pt x="840940" y="616235"/>
                    </a:lnTo>
                    <a:lnTo>
                      <a:pt x="843213" y="617901"/>
                    </a:lnTo>
                    <a:lnTo>
                      <a:pt x="842910" y="621992"/>
                    </a:lnTo>
                    <a:lnTo>
                      <a:pt x="843062" y="623053"/>
                    </a:lnTo>
                    <a:lnTo>
                      <a:pt x="836698" y="624568"/>
                    </a:lnTo>
                    <a:lnTo>
                      <a:pt x="834728" y="626387"/>
                    </a:lnTo>
                    <a:lnTo>
                      <a:pt x="827303" y="629871"/>
                    </a:lnTo>
                    <a:lnTo>
                      <a:pt x="822455" y="635175"/>
                    </a:lnTo>
                    <a:lnTo>
                      <a:pt x="817455" y="638660"/>
                    </a:lnTo>
                    <a:lnTo>
                      <a:pt x="816242" y="639114"/>
                    </a:lnTo>
                    <a:lnTo>
                      <a:pt x="813970" y="638811"/>
                    </a:lnTo>
                    <a:lnTo>
                      <a:pt x="813515" y="638054"/>
                    </a:lnTo>
                    <a:lnTo>
                      <a:pt x="813060" y="636235"/>
                    </a:lnTo>
                    <a:lnTo>
                      <a:pt x="813363" y="635023"/>
                    </a:lnTo>
                    <a:lnTo>
                      <a:pt x="813970" y="633811"/>
                    </a:lnTo>
                    <a:lnTo>
                      <a:pt x="813667" y="633356"/>
                    </a:lnTo>
                    <a:lnTo>
                      <a:pt x="812454" y="633508"/>
                    </a:lnTo>
                    <a:lnTo>
                      <a:pt x="808666" y="635932"/>
                    </a:lnTo>
                    <a:lnTo>
                      <a:pt x="806091" y="638811"/>
                    </a:lnTo>
                    <a:lnTo>
                      <a:pt x="802454" y="641387"/>
                    </a:lnTo>
                    <a:lnTo>
                      <a:pt x="800030" y="639569"/>
                    </a:lnTo>
                    <a:lnTo>
                      <a:pt x="796393" y="638508"/>
                    </a:lnTo>
                    <a:lnTo>
                      <a:pt x="798514" y="636993"/>
                    </a:lnTo>
                    <a:lnTo>
                      <a:pt x="804121" y="634417"/>
                    </a:lnTo>
                    <a:lnTo>
                      <a:pt x="811091" y="627296"/>
                    </a:lnTo>
                    <a:lnTo>
                      <a:pt x="813970" y="622295"/>
                    </a:lnTo>
                    <a:lnTo>
                      <a:pt x="813515" y="619871"/>
                    </a:lnTo>
                    <a:lnTo>
                      <a:pt x="808363" y="617144"/>
                    </a:lnTo>
                    <a:lnTo>
                      <a:pt x="792151" y="610780"/>
                    </a:lnTo>
                    <a:lnTo>
                      <a:pt x="781090" y="608204"/>
                    </a:lnTo>
                    <a:lnTo>
                      <a:pt x="772907" y="605628"/>
                    </a:lnTo>
                    <a:lnTo>
                      <a:pt x="764119" y="605174"/>
                    </a:lnTo>
                    <a:lnTo>
                      <a:pt x="760483" y="605931"/>
                    </a:lnTo>
                    <a:lnTo>
                      <a:pt x="758210" y="607598"/>
                    </a:lnTo>
                    <a:lnTo>
                      <a:pt x="753967" y="612144"/>
                    </a:lnTo>
                    <a:lnTo>
                      <a:pt x="752755" y="614265"/>
                    </a:lnTo>
                    <a:lnTo>
                      <a:pt x="752604" y="617901"/>
                    </a:lnTo>
                    <a:lnTo>
                      <a:pt x="752907" y="619568"/>
                    </a:lnTo>
                    <a:lnTo>
                      <a:pt x="752452" y="621083"/>
                    </a:lnTo>
                    <a:lnTo>
                      <a:pt x="750331" y="623356"/>
                    </a:lnTo>
                    <a:lnTo>
                      <a:pt x="749119" y="623659"/>
                    </a:lnTo>
                    <a:lnTo>
                      <a:pt x="747149" y="622295"/>
                    </a:lnTo>
                    <a:lnTo>
                      <a:pt x="739876" y="623356"/>
                    </a:lnTo>
                    <a:lnTo>
                      <a:pt x="733967" y="624720"/>
                    </a:lnTo>
                    <a:lnTo>
                      <a:pt x="729421" y="626387"/>
                    </a:lnTo>
                    <a:lnTo>
                      <a:pt x="726239" y="626993"/>
                    </a:lnTo>
                    <a:lnTo>
                      <a:pt x="724572" y="626387"/>
                    </a:lnTo>
                    <a:lnTo>
                      <a:pt x="725178" y="624720"/>
                    </a:lnTo>
                    <a:lnTo>
                      <a:pt x="731088" y="618810"/>
                    </a:lnTo>
                    <a:lnTo>
                      <a:pt x="733967" y="615326"/>
                    </a:lnTo>
                    <a:lnTo>
                      <a:pt x="735785" y="612447"/>
                    </a:lnTo>
                    <a:lnTo>
                      <a:pt x="736694" y="610022"/>
                    </a:lnTo>
                    <a:lnTo>
                      <a:pt x="737300" y="607295"/>
                    </a:lnTo>
                    <a:lnTo>
                      <a:pt x="737452" y="604264"/>
                    </a:lnTo>
                    <a:lnTo>
                      <a:pt x="737300" y="601234"/>
                    </a:lnTo>
                    <a:lnTo>
                      <a:pt x="736088" y="595476"/>
                    </a:lnTo>
                    <a:lnTo>
                      <a:pt x="735179" y="592749"/>
                    </a:lnTo>
                    <a:lnTo>
                      <a:pt x="734118" y="590628"/>
                    </a:lnTo>
                    <a:lnTo>
                      <a:pt x="732906" y="589112"/>
                    </a:lnTo>
                    <a:lnTo>
                      <a:pt x="730330" y="587446"/>
                    </a:lnTo>
                    <a:lnTo>
                      <a:pt x="721087" y="585173"/>
                    </a:lnTo>
                    <a:lnTo>
                      <a:pt x="696086" y="593507"/>
                    </a:lnTo>
                    <a:lnTo>
                      <a:pt x="668207" y="601840"/>
                    </a:lnTo>
                    <a:lnTo>
                      <a:pt x="657297" y="606840"/>
                    </a:lnTo>
                    <a:lnTo>
                      <a:pt x="649570" y="609265"/>
                    </a:lnTo>
                    <a:lnTo>
                      <a:pt x="641539" y="613659"/>
                    </a:lnTo>
                    <a:lnTo>
                      <a:pt x="625629" y="623962"/>
                    </a:lnTo>
                    <a:lnTo>
                      <a:pt x="618962" y="629114"/>
                    </a:lnTo>
                    <a:lnTo>
                      <a:pt x="616690" y="632296"/>
                    </a:lnTo>
                    <a:lnTo>
                      <a:pt x="616083" y="634569"/>
                    </a:lnTo>
                    <a:lnTo>
                      <a:pt x="616993" y="636084"/>
                    </a:lnTo>
                    <a:lnTo>
                      <a:pt x="618508" y="637599"/>
                    </a:lnTo>
                    <a:lnTo>
                      <a:pt x="622447" y="640629"/>
                    </a:lnTo>
                    <a:lnTo>
                      <a:pt x="623508" y="641842"/>
                    </a:lnTo>
                    <a:lnTo>
                      <a:pt x="623357" y="643054"/>
                    </a:lnTo>
                    <a:lnTo>
                      <a:pt x="619114" y="646084"/>
                    </a:lnTo>
                    <a:lnTo>
                      <a:pt x="613053" y="648054"/>
                    </a:lnTo>
                    <a:lnTo>
                      <a:pt x="603356" y="657448"/>
                    </a:lnTo>
                    <a:lnTo>
                      <a:pt x="602901" y="658206"/>
                    </a:lnTo>
                    <a:lnTo>
                      <a:pt x="602295" y="661236"/>
                    </a:lnTo>
                    <a:lnTo>
                      <a:pt x="601992" y="666843"/>
                    </a:lnTo>
                    <a:lnTo>
                      <a:pt x="602144" y="668812"/>
                    </a:lnTo>
                    <a:lnTo>
                      <a:pt x="603053" y="670479"/>
                    </a:lnTo>
                    <a:lnTo>
                      <a:pt x="605326" y="672752"/>
                    </a:lnTo>
                    <a:lnTo>
                      <a:pt x="613205" y="674722"/>
                    </a:lnTo>
                    <a:lnTo>
                      <a:pt x="618962" y="675176"/>
                    </a:lnTo>
                    <a:lnTo>
                      <a:pt x="632145" y="674116"/>
                    </a:lnTo>
                    <a:lnTo>
                      <a:pt x="636084" y="674267"/>
                    </a:lnTo>
                    <a:lnTo>
                      <a:pt x="632296" y="679267"/>
                    </a:lnTo>
                    <a:lnTo>
                      <a:pt x="624872" y="681086"/>
                    </a:lnTo>
                    <a:lnTo>
                      <a:pt x="622750" y="684116"/>
                    </a:lnTo>
                    <a:lnTo>
                      <a:pt x="622902" y="685025"/>
                    </a:lnTo>
                    <a:lnTo>
                      <a:pt x="623811" y="685631"/>
                    </a:lnTo>
                    <a:lnTo>
                      <a:pt x="631236" y="687752"/>
                    </a:lnTo>
                    <a:lnTo>
                      <a:pt x="636993" y="687752"/>
                    </a:lnTo>
                    <a:lnTo>
                      <a:pt x="647600" y="685480"/>
                    </a:lnTo>
                    <a:lnTo>
                      <a:pt x="662903" y="685025"/>
                    </a:lnTo>
                    <a:lnTo>
                      <a:pt x="695632" y="679873"/>
                    </a:lnTo>
                    <a:lnTo>
                      <a:pt x="702450" y="681692"/>
                    </a:lnTo>
                    <a:lnTo>
                      <a:pt x="703359" y="682601"/>
                    </a:lnTo>
                    <a:lnTo>
                      <a:pt x="702299" y="683661"/>
                    </a:lnTo>
                    <a:lnTo>
                      <a:pt x="698662" y="683964"/>
                    </a:lnTo>
                    <a:lnTo>
                      <a:pt x="691541" y="683055"/>
                    </a:lnTo>
                    <a:lnTo>
                      <a:pt x="684722" y="683813"/>
                    </a:lnTo>
                    <a:lnTo>
                      <a:pt x="683056" y="684570"/>
                    </a:lnTo>
                    <a:lnTo>
                      <a:pt x="683056" y="686086"/>
                    </a:lnTo>
                    <a:lnTo>
                      <a:pt x="686389" y="687146"/>
                    </a:lnTo>
                    <a:lnTo>
                      <a:pt x="687298" y="688055"/>
                    </a:lnTo>
                    <a:lnTo>
                      <a:pt x="683207" y="689116"/>
                    </a:lnTo>
                    <a:lnTo>
                      <a:pt x="678055" y="689268"/>
                    </a:lnTo>
                    <a:lnTo>
                      <a:pt x="672752" y="690328"/>
                    </a:lnTo>
                    <a:lnTo>
                      <a:pt x="661994" y="693359"/>
                    </a:lnTo>
                    <a:lnTo>
                      <a:pt x="648357" y="696692"/>
                    </a:lnTo>
                    <a:lnTo>
                      <a:pt x="634721" y="699419"/>
                    </a:lnTo>
                    <a:lnTo>
                      <a:pt x="631236" y="700783"/>
                    </a:lnTo>
                    <a:lnTo>
                      <a:pt x="621993" y="705783"/>
                    </a:lnTo>
                    <a:lnTo>
                      <a:pt x="619720" y="707450"/>
                    </a:lnTo>
                    <a:lnTo>
                      <a:pt x="619114" y="709117"/>
                    </a:lnTo>
                    <a:lnTo>
                      <a:pt x="622144" y="713056"/>
                    </a:lnTo>
                    <a:lnTo>
                      <a:pt x="640630" y="725936"/>
                    </a:lnTo>
                    <a:lnTo>
                      <a:pt x="656843" y="727148"/>
                    </a:lnTo>
                    <a:lnTo>
                      <a:pt x="675025" y="726087"/>
                    </a:lnTo>
                    <a:lnTo>
                      <a:pt x="677752" y="726390"/>
                    </a:lnTo>
                    <a:lnTo>
                      <a:pt x="681540" y="727602"/>
                    </a:lnTo>
                    <a:lnTo>
                      <a:pt x="684116" y="727754"/>
                    </a:lnTo>
                    <a:lnTo>
                      <a:pt x="702753" y="726996"/>
                    </a:lnTo>
                    <a:lnTo>
                      <a:pt x="715633" y="725936"/>
                    </a:lnTo>
                    <a:lnTo>
                      <a:pt x="722451" y="724875"/>
                    </a:lnTo>
                    <a:lnTo>
                      <a:pt x="729573" y="723208"/>
                    </a:lnTo>
                    <a:lnTo>
                      <a:pt x="732300" y="723208"/>
                    </a:lnTo>
                    <a:lnTo>
                      <a:pt x="739573" y="722148"/>
                    </a:lnTo>
                    <a:lnTo>
                      <a:pt x="745482" y="722905"/>
                    </a:lnTo>
                    <a:lnTo>
                      <a:pt x="755331" y="724875"/>
                    </a:lnTo>
                    <a:lnTo>
                      <a:pt x="762149" y="726693"/>
                    </a:lnTo>
                    <a:lnTo>
                      <a:pt x="790332" y="735027"/>
                    </a:lnTo>
                    <a:lnTo>
                      <a:pt x="800939" y="739724"/>
                    </a:lnTo>
                    <a:lnTo>
                      <a:pt x="803515" y="741845"/>
                    </a:lnTo>
                    <a:lnTo>
                      <a:pt x="801545" y="743057"/>
                    </a:lnTo>
                    <a:lnTo>
                      <a:pt x="799424" y="743663"/>
                    </a:lnTo>
                    <a:lnTo>
                      <a:pt x="788363" y="743512"/>
                    </a:lnTo>
                    <a:lnTo>
                      <a:pt x="786241" y="744573"/>
                    </a:lnTo>
                    <a:lnTo>
                      <a:pt x="779271" y="745785"/>
                    </a:lnTo>
                    <a:lnTo>
                      <a:pt x="776089" y="745936"/>
                    </a:lnTo>
                    <a:lnTo>
                      <a:pt x="760483" y="743967"/>
                    </a:lnTo>
                    <a:lnTo>
                      <a:pt x="748058" y="743663"/>
                    </a:lnTo>
                    <a:lnTo>
                      <a:pt x="741240" y="743057"/>
                    </a:lnTo>
                    <a:lnTo>
                      <a:pt x="734421" y="741845"/>
                    </a:lnTo>
                    <a:lnTo>
                      <a:pt x="722754" y="741542"/>
                    </a:lnTo>
                    <a:lnTo>
                      <a:pt x="697147" y="744270"/>
                    </a:lnTo>
                    <a:lnTo>
                      <a:pt x="669116" y="748361"/>
                    </a:lnTo>
                    <a:lnTo>
                      <a:pt x="653206" y="751997"/>
                    </a:lnTo>
                    <a:lnTo>
                      <a:pt x="652448" y="752300"/>
                    </a:lnTo>
                    <a:lnTo>
                      <a:pt x="651539" y="754118"/>
                    </a:lnTo>
                    <a:lnTo>
                      <a:pt x="651842" y="757149"/>
                    </a:lnTo>
                    <a:lnTo>
                      <a:pt x="652751" y="762149"/>
                    </a:lnTo>
                    <a:lnTo>
                      <a:pt x="653509" y="765179"/>
                    </a:lnTo>
                    <a:lnTo>
                      <a:pt x="653964" y="766240"/>
                    </a:lnTo>
                    <a:lnTo>
                      <a:pt x="656994" y="770331"/>
                    </a:lnTo>
                    <a:lnTo>
                      <a:pt x="664722" y="777301"/>
                    </a:lnTo>
                    <a:lnTo>
                      <a:pt x="667601" y="780483"/>
                    </a:lnTo>
                    <a:lnTo>
                      <a:pt x="668661" y="782907"/>
                    </a:lnTo>
                    <a:lnTo>
                      <a:pt x="669570" y="784271"/>
                    </a:lnTo>
                    <a:lnTo>
                      <a:pt x="670176" y="784726"/>
                    </a:lnTo>
                    <a:lnTo>
                      <a:pt x="681389" y="788968"/>
                    </a:lnTo>
                    <a:lnTo>
                      <a:pt x="687904" y="790635"/>
                    </a:lnTo>
                    <a:lnTo>
                      <a:pt x="694571" y="791696"/>
                    </a:lnTo>
                    <a:lnTo>
                      <a:pt x="707147" y="792605"/>
                    </a:lnTo>
                    <a:lnTo>
                      <a:pt x="719724" y="792150"/>
                    </a:lnTo>
                    <a:lnTo>
                      <a:pt x="730027" y="792302"/>
                    </a:lnTo>
                    <a:lnTo>
                      <a:pt x="736846" y="793211"/>
                    </a:lnTo>
                    <a:lnTo>
                      <a:pt x="747149" y="795938"/>
                    </a:lnTo>
                    <a:lnTo>
                      <a:pt x="747452" y="796544"/>
                    </a:lnTo>
                    <a:lnTo>
                      <a:pt x="749422" y="803817"/>
                    </a:lnTo>
                    <a:lnTo>
                      <a:pt x="749876" y="807151"/>
                    </a:lnTo>
                    <a:lnTo>
                      <a:pt x="749270" y="812908"/>
                    </a:lnTo>
                    <a:lnTo>
                      <a:pt x="750937" y="816242"/>
                    </a:lnTo>
                    <a:lnTo>
                      <a:pt x="756846" y="824272"/>
                    </a:lnTo>
                    <a:lnTo>
                      <a:pt x="759725" y="827303"/>
                    </a:lnTo>
                    <a:lnTo>
                      <a:pt x="762604" y="829273"/>
                    </a:lnTo>
                    <a:lnTo>
                      <a:pt x="765635" y="829879"/>
                    </a:lnTo>
                    <a:lnTo>
                      <a:pt x="769877" y="830030"/>
                    </a:lnTo>
                    <a:lnTo>
                      <a:pt x="775332" y="829576"/>
                    </a:lnTo>
                    <a:lnTo>
                      <a:pt x="785181" y="828061"/>
                    </a:lnTo>
                    <a:lnTo>
                      <a:pt x="806697" y="827303"/>
                    </a:lnTo>
                    <a:lnTo>
                      <a:pt x="812303" y="826848"/>
                    </a:lnTo>
                    <a:lnTo>
                      <a:pt x="817303" y="824576"/>
                    </a:lnTo>
                    <a:lnTo>
                      <a:pt x="822000" y="824272"/>
                    </a:lnTo>
                    <a:lnTo>
                      <a:pt x="825031" y="825030"/>
                    </a:lnTo>
                    <a:lnTo>
                      <a:pt x="835486" y="823515"/>
                    </a:lnTo>
                    <a:lnTo>
                      <a:pt x="849425" y="822606"/>
                    </a:lnTo>
                    <a:lnTo>
                      <a:pt x="862759" y="820333"/>
                    </a:lnTo>
                    <a:lnTo>
                      <a:pt x="877154" y="816393"/>
                    </a:lnTo>
                    <a:lnTo>
                      <a:pt x="883063" y="813211"/>
                    </a:lnTo>
                    <a:lnTo>
                      <a:pt x="887912" y="809878"/>
                    </a:lnTo>
                    <a:lnTo>
                      <a:pt x="893063" y="808060"/>
                    </a:lnTo>
                    <a:lnTo>
                      <a:pt x="906852" y="807151"/>
                    </a:lnTo>
                    <a:lnTo>
                      <a:pt x="918367" y="804878"/>
                    </a:lnTo>
                    <a:lnTo>
                      <a:pt x="920792" y="803514"/>
                    </a:lnTo>
                    <a:lnTo>
                      <a:pt x="927156" y="797756"/>
                    </a:lnTo>
                    <a:lnTo>
                      <a:pt x="929580" y="796393"/>
                    </a:lnTo>
                    <a:lnTo>
                      <a:pt x="934429" y="788362"/>
                    </a:lnTo>
                    <a:lnTo>
                      <a:pt x="937004" y="785483"/>
                    </a:lnTo>
                    <a:lnTo>
                      <a:pt x="939732" y="783968"/>
                    </a:lnTo>
                    <a:lnTo>
                      <a:pt x="943065" y="783817"/>
                    </a:lnTo>
                    <a:lnTo>
                      <a:pt x="946399" y="785180"/>
                    </a:lnTo>
                    <a:lnTo>
                      <a:pt x="948066" y="786695"/>
                    </a:lnTo>
                    <a:lnTo>
                      <a:pt x="948520" y="788665"/>
                    </a:lnTo>
                    <a:lnTo>
                      <a:pt x="948217" y="791544"/>
                    </a:lnTo>
                    <a:lnTo>
                      <a:pt x="948217" y="792908"/>
                    </a:lnTo>
                    <a:lnTo>
                      <a:pt x="948520" y="794271"/>
                    </a:lnTo>
                    <a:lnTo>
                      <a:pt x="950490" y="795635"/>
                    </a:lnTo>
                    <a:lnTo>
                      <a:pt x="953975" y="797150"/>
                    </a:lnTo>
                    <a:lnTo>
                      <a:pt x="957611" y="797908"/>
                    </a:lnTo>
                    <a:lnTo>
                      <a:pt x="963218" y="797605"/>
                    </a:lnTo>
                    <a:lnTo>
                      <a:pt x="970642" y="798514"/>
                    </a:lnTo>
                    <a:lnTo>
                      <a:pt x="978067" y="800484"/>
                    </a:lnTo>
                    <a:lnTo>
                      <a:pt x="984734" y="801090"/>
                    </a:lnTo>
                    <a:lnTo>
                      <a:pt x="984885" y="801696"/>
                    </a:lnTo>
                    <a:lnTo>
                      <a:pt x="984734" y="802454"/>
                    </a:lnTo>
                    <a:lnTo>
                      <a:pt x="981249" y="806090"/>
                    </a:lnTo>
                    <a:lnTo>
                      <a:pt x="980642" y="807151"/>
                    </a:lnTo>
                    <a:lnTo>
                      <a:pt x="982309" y="808817"/>
                    </a:lnTo>
                    <a:lnTo>
                      <a:pt x="997007" y="811090"/>
                    </a:lnTo>
                    <a:lnTo>
                      <a:pt x="1000037" y="809120"/>
                    </a:lnTo>
                    <a:lnTo>
                      <a:pt x="1002916" y="808363"/>
                    </a:lnTo>
                    <a:lnTo>
                      <a:pt x="1010795" y="811393"/>
                    </a:lnTo>
                    <a:lnTo>
                      <a:pt x="1017614" y="812302"/>
                    </a:lnTo>
                    <a:lnTo>
                      <a:pt x="1027311" y="814121"/>
                    </a:lnTo>
                    <a:lnTo>
                      <a:pt x="1035645" y="813211"/>
                    </a:lnTo>
                    <a:lnTo>
                      <a:pt x="1042917" y="813515"/>
                    </a:lnTo>
                    <a:lnTo>
                      <a:pt x="1044584" y="813060"/>
                    </a:lnTo>
                    <a:lnTo>
                      <a:pt x="1047160" y="811545"/>
                    </a:lnTo>
                    <a:lnTo>
                      <a:pt x="1053979" y="810333"/>
                    </a:lnTo>
                    <a:lnTo>
                      <a:pt x="1057463" y="808666"/>
                    </a:lnTo>
                    <a:lnTo>
                      <a:pt x="1067767" y="805484"/>
                    </a:lnTo>
                    <a:lnTo>
                      <a:pt x="1071100" y="803817"/>
                    </a:lnTo>
                    <a:lnTo>
                      <a:pt x="1073070" y="798666"/>
                    </a:lnTo>
                    <a:lnTo>
                      <a:pt x="1073070" y="796241"/>
                    </a:lnTo>
                    <a:lnTo>
                      <a:pt x="1072161" y="794574"/>
                    </a:lnTo>
                    <a:lnTo>
                      <a:pt x="1070646" y="794120"/>
                    </a:lnTo>
                    <a:lnTo>
                      <a:pt x="1069888" y="793817"/>
                    </a:lnTo>
                    <a:lnTo>
                      <a:pt x="1067312" y="794271"/>
                    </a:lnTo>
                    <a:lnTo>
                      <a:pt x="1065797" y="793211"/>
                    </a:lnTo>
                    <a:lnTo>
                      <a:pt x="1065343" y="792150"/>
                    </a:lnTo>
                    <a:lnTo>
                      <a:pt x="1065191" y="790938"/>
                    </a:lnTo>
                    <a:lnTo>
                      <a:pt x="1065343" y="789574"/>
                    </a:lnTo>
                    <a:lnTo>
                      <a:pt x="1065797" y="788514"/>
                    </a:lnTo>
                    <a:lnTo>
                      <a:pt x="1067918" y="786241"/>
                    </a:lnTo>
                    <a:lnTo>
                      <a:pt x="1067918" y="785332"/>
                    </a:lnTo>
                    <a:lnTo>
                      <a:pt x="1066100" y="783362"/>
                    </a:lnTo>
                    <a:lnTo>
                      <a:pt x="1063221" y="782301"/>
                    </a:lnTo>
                    <a:lnTo>
                      <a:pt x="1055191" y="782907"/>
                    </a:lnTo>
                    <a:lnTo>
                      <a:pt x="1052463" y="784877"/>
                    </a:lnTo>
                    <a:lnTo>
                      <a:pt x="1046099" y="787605"/>
                    </a:lnTo>
                    <a:lnTo>
                      <a:pt x="1043221" y="789423"/>
                    </a:lnTo>
                    <a:lnTo>
                      <a:pt x="1037614" y="795635"/>
                    </a:lnTo>
                    <a:lnTo>
                      <a:pt x="1036857" y="795938"/>
                    </a:lnTo>
                    <a:lnTo>
                      <a:pt x="1037008" y="794423"/>
                    </a:lnTo>
                    <a:lnTo>
                      <a:pt x="1038978" y="788059"/>
                    </a:lnTo>
                    <a:lnTo>
                      <a:pt x="1039129" y="784877"/>
                    </a:lnTo>
                    <a:lnTo>
                      <a:pt x="1038675" y="783059"/>
                    </a:lnTo>
                    <a:lnTo>
                      <a:pt x="1038372" y="782453"/>
                    </a:lnTo>
                    <a:lnTo>
                      <a:pt x="1037311" y="782604"/>
                    </a:lnTo>
                    <a:lnTo>
                      <a:pt x="1036251" y="781998"/>
                    </a:lnTo>
                    <a:lnTo>
                      <a:pt x="1032159" y="778513"/>
                    </a:lnTo>
                    <a:lnTo>
                      <a:pt x="1028826" y="776392"/>
                    </a:lnTo>
                    <a:lnTo>
                      <a:pt x="1027614" y="774725"/>
                    </a:lnTo>
                    <a:lnTo>
                      <a:pt x="1028371" y="773665"/>
                    </a:lnTo>
                    <a:lnTo>
                      <a:pt x="1030493" y="772755"/>
                    </a:lnTo>
                    <a:lnTo>
                      <a:pt x="1032008" y="773362"/>
                    </a:lnTo>
                    <a:lnTo>
                      <a:pt x="1038675" y="777301"/>
                    </a:lnTo>
                    <a:lnTo>
                      <a:pt x="1042463" y="778816"/>
                    </a:lnTo>
                    <a:lnTo>
                      <a:pt x="1047312" y="779574"/>
                    </a:lnTo>
                    <a:lnTo>
                      <a:pt x="1050645" y="779422"/>
                    </a:lnTo>
                    <a:lnTo>
                      <a:pt x="1052160" y="778362"/>
                    </a:lnTo>
                    <a:lnTo>
                      <a:pt x="1052766" y="777453"/>
                    </a:lnTo>
                    <a:lnTo>
                      <a:pt x="1052918" y="776089"/>
                    </a:lnTo>
                    <a:lnTo>
                      <a:pt x="1052615" y="774119"/>
                    </a:lnTo>
                    <a:lnTo>
                      <a:pt x="1052009" y="772604"/>
                    </a:lnTo>
                    <a:lnTo>
                      <a:pt x="1051100" y="771392"/>
                    </a:lnTo>
                    <a:lnTo>
                      <a:pt x="1053069" y="769422"/>
                    </a:lnTo>
                    <a:lnTo>
                      <a:pt x="1057918" y="766695"/>
                    </a:lnTo>
                    <a:lnTo>
                      <a:pt x="1061100" y="765331"/>
                    </a:lnTo>
                    <a:lnTo>
                      <a:pt x="1062464" y="765179"/>
                    </a:lnTo>
                    <a:lnTo>
                      <a:pt x="1064737" y="766240"/>
                    </a:lnTo>
                    <a:lnTo>
                      <a:pt x="1071252" y="770483"/>
                    </a:lnTo>
                    <a:lnTo>
                      <a:pt x="1074737" y="772149"/>
                    </a:lnTo>
                    <a:lnTo>
                      <a:pt x="1077161" y="772452"/>
                    </a:lnTo>
                    <a:lnTo>
                      <a:pt x="1078373" y="771392"/>
                    </a:lnTo>
                    <a:lnTo>
                      <a:pt x="1079434" y="769725"/>
                    </a:lnTo>
                    <a:lnTo>
                      <a:pt x="1080949" y="765937"/>
                    </a:lnTo>
                    <a:lnTo>
                      <a:pt x="1081555" y="765179"/>
                    </a:lnTo>
                    <a:lnTo>
                      <a:pt x="1082313" y="765937"/>
                    </a:lnTo>
                    <a:lnTo>
                      <a:pt x="1083828" y="770028"/>
                    </a:lnTo>
                    <a:lnTo>
                      <a:pt x="1085495" y="771998"/>
                    </a:lnTo>
                    <a:lnTo>
                      <a:pt x="1088828" y="773513"/>
                    </a:lnTo>
                    <a:lnTo>
                      <a:pt x="1093525" y="774119"/>
                    </a:lnTo>
                    <a:lnTo>
                      <a:pt x="1095192" y="773513"/>
                    </a:lnTo>
                    <a:lnTo>
                      <a:pt x="1096404" y="771089"/>
                    </a:lnTo>
                    <a:close/>
                    <a:moveTo>
                      <a:pt x="1087616" y="786847"/>
                    </a:moveTo>
                    <a:lnTo>
                      <a:pt x="1089889" y="786392"/>
                    </a:lnTo>
                    <a:lnTo>
                      <a:pt x="1091101" y="785483"/>
                    </a:lnTo>
                    <a:lnTo>
                      <a:pt x="1092162" y="784120"/>
                    </a:lnTo>
                    <a:lnTo>
                      <a:pt x="1093222" y="783513"/>
                    </a:lnTo>
                    <a:lnTo>
                      <a:pt x="1094586" y="783210"/>
                    </a:lnTo>
                    <a:lnTo>
                      <a:pt x="1093677" y="781544"/>
                    </a:lnTo>
                    <a:lnTo>
                      <a:pt x="1091859" y="779271"/>
                    </a:lnTo>
                    <a:lnTo>
                      <a:pt x="1087919" y="777604"/>
                    </a:lnTo>
                    <a:lnTo>
                      <a:pt x="1086101" y="777453"/>
                    </a:lnTo>
                    <a:lnTo>
                      <a:pt x="1085040" y="778210"/>
                    </a:lnTo>
                    <a:lnTo>
                      <a:pt x="1084889" y="779119"/>
                    </a:lnTo>
                    <a:lnTo>
                      <a:pt x="1085646" y="780180"/>
                    </a:lnTo>
                    <a:lnTo>
                      <a:pt x="1088374" y="781392"/>
                    </a:lnTo>
                    <a:lnTo>
                      <a:pt x="1088980" y="781998"/>
                    </a:lnTo>
                    <a:lnTo>
                      <a:pt x="1088677" y="782756"/>
                    </a:lnTo>
                    <a:lnTo>
                      <a:pt x="1086707" y="783817"/>
                    </a:lnTo>
                    <a:lnTo>
                      <a:pt x="1087313" y="784271"/>
                    </a:lnTo>
                    <a:lnTo>
                      <a:pt x="1087465" y="784877"/>
                    </a:lnTo>
                    <a:lnTo>
                      <a:pt x="1087313" y="786241"/>
                    </a:lnTo>
                    <a:lnTo>
                      <a:pt x="1087616" y="786847"/>
                    </a:lnTo>
                    <a:close/>
                    <a:moveTo>
                      <a:pt x="1121405" y="807908"/>
                    </a:moveTo>
                    <a:lnTo>
                      <a:pt x="1122011" y="805029"/>
                    </a:lnTo>
                    <a:lnTo>
                      <a:pt x="1121708" y="803363"/>
                    </a:lnTo>
                    <a:lnTo>
                      <a:pt x="1120951" y="801393"/>
                    </a:lnTo>
                    <a:lnTo>
                      <a:pt x="1119890" y="800181"/>
                    </a:lnTo>
                    <a:lnTo>
                      <a:pt x="1117617" y="799272"/>
                    </a:lnTo>
                    <a:lnTo>
                      <a:pt x="1116708" y="800029"/>
                    </a:lnTo>
                    <a:lnTo>
                      <a:pt x="1115344" y="802150"/>
                    </a:lnTo>
                    <a:lnTo>
                      <a:pt x="1115041" y="803060"/>
                    </a:lnTo>
                    <a:lnTo>
                      <a:pt x="1115193" y="803666"/>
                    </a:lnTo>
                    <a:lnTo>
                      <a:pt x="1116405" y="806090"/>
                    </a:lnTo>
                    <a:lnTo>
                      <a:pt x="1117920" y="807151"/>
                    </a:lnTo>
                    <a:lnTo>
                      <a:pt x="1121405" y="807908"/>
                    </a:lnTo>
                    <a:close/>
                    <a:moveTo>
                      <a:pt x="1105647" y="816848"/>
                    </a:moveTo>
                    <a:lnTo>
                      <a:pt x="1106253" y="816848"/>
                    </a:lnTo>
                    <a:lnTo>
                      <a:pt x="1107617" y="815636"/>
                    </a:lnTo>
                    <a:lnTo>
                      <a:pt x="1108223" y="815636"/>
                    </a:lnTo>
                    <a:lnTo>
                      <a:pt x="1108678" y="815939"/>
                    </a:lnTo>
                    <a:lnTo>
                      <a:pt x="1109738" y="817757"/>
                    </a:lnTo>
                    <a:lnTo>
                      <a:pt x="1110950" y="818818"/>
                    </a:lnTo>
                    <a:lnTo>
                      <a:pt x="1111859" y="818515"/>
                    </a:lnTo>
                    <a:lnTo>
                      <a:pt x="1113981" y="816696"/>
                    </a:lnTo>
                    <a:lnTo>
                      <a:pt x="1115041" y="816242"/>
                    </a:lnTo>
                    <a:lnTo>
                      <a:pt x="1115950" y="814727"/>
                    </a:lnTo>
                    <a:lnTo>
                      <a:pt x="1117011" y="810030"/>
                    </a:lnTo>
                    <a:lnTo>
                      <a:pt x="1116254" y="808969"/>
                    </a:lnTo>
                    <a:lnTo>
                      <a:pt x="1113981" y="807454"/>
                    </a:lnTo>
                    <a:lnTo>
                      <a:pt x="1112920" y="805484"/>
                    </a:lnTo>
                    <a:lnTo>
                      <a:pt x="1110647" y="803969"/>
                    </a:lnTo>
                    <a:lnTo>
                      <a:pt x="1107768" y="803666"/>
                    </a:lnTo>
                    <a:lnTo>
                      <a:pt x="1106556" y="804120"/>
                    </a:lnTo>
                    <a:lnTo>
                      <a:pt x="1105647" y="805029"/>
                    </a:lnTo>
                    <a:lnTo>
                      <a:pt x="1105344" y="805939"/>
                    </a:lnTo>
                    <a:lnTo>
                      <a:pt x="1105647" y="806999"/>
                    </a:lnTo>
                    <a:lnTo>
                      <a:pt x="1105647" y="808363"/>
                    </a:lnTo>
                    <a:lnTo>
                      <a:pt x="1105041" y="811999"/>
                    </a:lnTo>
                    <a:lnTo>
                      <a:pt x="1105041" y="814424"/>
                    </a:lnTo>
                    <a:lnTo>
                      <a:pt x="1105344" y="815939"/>
                    </a:lnTo>
                    <a:lnTo>
                      <a:pt x="1105647" y="816848"/>
                    </a:lnTo>
                    <a:close/>
                    <a:moveTo>
                      <a:pt x="1380809" y="790029"/>
                    </a:moveTo>
                    <a:lnTo>
                      <a:pt x="1379142" y="787908"/>
                    </a:lnTo>
                    <a:lnTo>
                      <a:pt x="1377475" y="787605"/>
                    </a:lnTo>
                    <a:lnTo>
                      <a:pt x="1375354" y="788362"/>
                    </a:lnTo>
                    <a:lnTo>
                      <a:pt x="1374748" y="789423"/>
                    </a:lnTo>
                    <a:lnTo>
                      <a:pt x="1374596" y="791544"/>
                    </a:lnTo>
                    <a:lnTo>
                      <a:pt x="1376869" y="791847"/>
                    </a:lnTo>
                    <a:lnTo>
                      <a:pt x="1377324" y="793211"/>
                    </a:lnTo>
                    <a:lnTo>
                      <a:pt x="1378536" y="793665"/>
                    </a:lnTo>
                    <a:lnTo>
                      <a:pt x="1379900" y="795635"/>
                    </a:lnTo>
                    <a:lnTo>
                      <a:pt x="1382172" y="795029"/>
                    </a:lnTo>
                    <a:lnTo>
                      <a:pt x="1382324" y="793817"/>
                    </a:lnTo>
                    <a:lnTo>
                      <a:pt x="1381566" y="791696"/>
                    </a:lnTo>
                    <a:lnTo>
                      <a:pt x="1380809" y="790029"/>
                    </a:lnTo>
                    <a:close/>
                    <a:moveTo>
                      <a:pt x="1782187" y="837303"/>
                    </a:moveTo>
                    <a:lnTo>
                      <a:pt x="1779005" y="837455"/>
                    </a:lnTo>
                    <a:lnTo>
                      <a:pt x="1776126" y="838364"/>
                    </a:lnTo>
                    <a:lnTo>
                      <a:pt x="1773854" y="838667"/>
                    </a:lnTo>
                    <a:lnTo>
                      <a:pt x="1768550" y="838212"/>
                    </a:lnTo>
                    <a:lnTo>
                      <a:pt x="1762187" y="840031"/>
                    </a:lnTo>
                    <a:lnTo>
                      <a:pt x="1759611" y="841243"/>
                    </a:lnTo>
                    <a:lnTo>
                      <a:pt x="1758247" y="842303"/>
                    </a:lnTo>
                    <a:lnTo>
                      <a:pt x="1752641" y="848970"/>
                    </a:lnTo>
                    <a:lnTo>
                      <a:pt x="1747641" y="855789"/>
                    </a:lnTo>
                    <a:lnTo>
                      <a:pt x="1744762" y="860334"/>
                    </a:lnTo>
                    <a:lnTo>
                      <a:pt x="1742641" y="867153"/>
                    </a:lnTo>
                    <a:lnTo>
                      <a:pt x="1742641" y="868062"/>
                    </a:lnTo>
                    <a:lnTo>
                      <a:pt x="1744762" y="876396"/>
                    </a:lnTo>
                    <a:lnTo>
                      <a:pt x="1746580" y="881093"/>
                    </a:lnTo>
                    <a:lnTo>
                      <a:pt x="1748853" y="885184"/>
                    </a:lnTo>
                    <a:lnTo>
                      <a:pt x="1750823" y="887608"/>
                    </a:lnTo>
                    <a:lnTo>
                      <a:pt x="1752489" y="888366"/>
                    </a:lnTo>
                    <a:lnTo>
                      <a:pt x="1754762" y="888820"/>
                    </a:lnTo>
                    <a:lnTo>
                      <a:pt x="1759308" y="888972"/>
                    </a:lnTo>
                    <a:lnTo>
                      <a:pt x="1769157" y="887911"/>
                    </a:lnTo>
                    <a:lnTo>
                      <a:pt x="1776884" y="887760"/>
                    </a:lnTo>
                    <a:lnTo>
                      <a:pt x="1784309" y="886699"/>
                    </a:lnTo>
                    <a:lnTo>
                      <a:pt x="1794763" y="882759"/>
                    </a:lnTo>
                    <a:lnTo>
                      <a:pt x="1797036" y="881244"/>
                    </a:lnTo>
                    <a:lnTo>
                      <a:pt x="1800067" y="878517"/>
                    </a:lnTo>
                    <a:lnTo>
                      <a:pt x="1802037" y="874880"/>
                    </a:lnTo>
                    <a:lnTo>
                      <a:pt x="1803097" y="870335"/>
                    </a:lnTo>
                    <a:lnTo>
                      <a:pt x="1803249" y="864880"/>
                    </a:lnTo>
                    <a:lnTo>
                      <a:pt x="1802188" y="854880"/>
                    </a:lnTo>
                    <a:lnTo>
                      <a:pt x="1802340" y="853971"/>
                    </a:lnTo>
                    <a:lnTo>
                      <a:pt x="1803703" y="850940"/>
                    </a:lnTo>
                    <a:lnTo>
                      <a:pt x="1804006" y="849728"/>
                    </a:lnTo>
                    <a:lnTo>
                      <a:pt x="1804006" y="846546"/>
                    </a:lnTo>
                    <a:lnTo>
                      <a:pt x="1803552" y="845031"/>
                    </a:lnTo>
                    <a:lnTo>
                      <a:pt x="1802794" y="843667"/>
                    </a:lnTo>
                    <a:lnTo>
                      <a:pt x="1801430" y="842152"/>
                    </a:lnTo>
                    <a:lnTo>
                      <a:pt x="1787187" y="837909"/>
                    </a:lnTo>
                    <a:lnTo>
                      <a:pt x="1782187" y="837303"/>
                    </a:lnTo>
                    <a:close/>
                    <a:moveTo>
                      <a:pt x="1725519" y="1073070"/>
                    </a:moveTo>
                    <a:lnTo>
                      <a:pt x="1729610" y="1072463"/>
                    </a:lnTo>
                    <a:lnTo>
                      <a:pt x="1733246" y="1070948"/>
                    </a:lnTo>
                    <a:lnTo>
                      <a:pt x="1735064" y="1069888"/>
                    </a:lnTo>
                    <a:lnTo>
                      <a:pt x="1736731" y="1067918"/>
                    </a:lnTo>
                    <a:lnTo>
                      <a:pt x="1736883" y="1066403"/>
                    </a:lnTo>
                    <a:lnTo>
                      <a:pt x="1736580" y="1065645"/>
                    </a:lnTo>
                    <a:lnTo>
                      <a:pt x="1733398" y="1060948"/>
                    </a:lnTo>
                    <a:lnTo>
                      <a:pt x="1732034" y="1059433"/>
                    </a:lnTo>
                    <a:lnTo>
                      <a:pt x="1729610" y="1059584"/>
                    </a:lnTo>
                    <a:lnTo>
                      <a:pt x="1727337" y="1057766"/>
                    </a:lnTo>
                    <a:lnTo>
                      <a:pt x="1725822" y="1057463"/>
                    </a:lnTo>
                    <a:lnTo>
                      <a:pt x="1717639" y="1057008"/>
                    </a:lnTo>
                    <a:lnTo>
                      <a:pt x="1712639" y="1057917"/>
                    </a:lnTo>
                    <a:lnTo>
                      <a:pt x="1710215" y="1058675"/>
                    </a:lnTo>
                    <a:lnTo>
                      <a:pt x="1709457" y="1059887"/>
                    </a:lnTo>
                    <a:lnTo>
                      <a:pt x="1711276" y="1062766"/>
                    </a:lnTo>
                    <a:lnTo>
                      <a:pt x="1717033" y="1067918"/>
                    </a:lnTo>
                    <a:lnTo>
                      <a:pt x="1723397" y="1072312"/>
                    </a:lnTo>
                    <a:lnTo>
                      <a:pt x="1725519" y="1073070"/>
                    </a:lnTo>
                    <a:close/>
                    <a:moveTo>
                      <a:pt x="1731731" y="1037008"/>
                    </a:moveTo>
                    <a:lnTo>
                      <a:pt x="1733701" y="1035038"/>
                    </a:lnTo>
                    <a:lnTo>
                      <a:pt x="1735822" y="1033674"/>
                    </a:lnTo>
                    <a:lnTo>
                      <a:pt x="1735670" y="1033371"/>
                    </a:lnTo>
                    <a:lnTo>
                      <a:pt x="1734307" y="1033068"/>
                    </a:lnTo>
                    <a:lnTo>
                      <a:pt x="1731731" y="1033068"/>
                    </a:lnTo>
                    <a:lnTo>
                      <a:pt x="1725670" y="1033977"/>
                    </a:lnTo>
                    <a:lnTo>
                      <a:pt x="1724761" y="1034886"/>
                    </a:lnTo>
                    <a:lnTo>
                      <a:pt x="1724912" y="1035644"/>
                    </a:lnTo>
                    <a:lnTo>
                      <a:pt x="1725670" y="1036250"/>
                    </a:lnTo>
                    <a:lnTo>
                      <a:pt x="1731731" y="1037008"/>
                    </a:lnTo>
                    <a:close/>
                    <a:moveTo>
                      <a:pt x="1758247" y="786089"/>
                    </a:moveTo>
                    <a:lnTo>
                      <a:pt x="1751429" y="785786"/>
                    </a:lnTo>
                    <a:lnTo>
                      <a:pt x="1748247" y="784574"/>
                    </a:lnTo>
                    <a:lnTo>
                      <a:pt x="1746125" y="784423"/>
                    </a:lnTo>
                    <a:lnTo>
                      <a:pt x="1742489" y="785635"/>
                    </a:lnTo>
                    <a:lnTo>
                      <a:pt x="1741883" y="786241"/>
                    </a:lnTo>
                    <a:lnTo>
                      <a:pt x="1741580" y="787453"/>
                    </a:lnTo>
                    <a:lnTo>
                      <a:pt x="1741428" y="790635"/>
                    </a:lnTo>
                    <a:lnTo>
                      <a:pt x="1740822" y="792453"/>
                    </a:lnTo>
                    <a:lnTo>
                      <a:pt x="1742337" y="796393"/>
                    </a:lnTo>
                    <a:lnTo>
                      <a:pt x="1743550" y="797908"/>
                    </a:lnTo>
                    <a:lnTo>
                      <a:pt x="1745216" y="799120"/>
                    </a:lnTo>
                    <a:lnTo>
                      <a:pt x="1747792" y="799423"/>
                    </a:lnTo>
                    <a:lnTo>
                      <a:pt x="1751277" y="798817"/>
                    </a:lnTo>
                    <a:lnTo>
                      <a:pt x="1753550" y="797302"/>
                    </a:lnTo>
                    <a:lnTo>
                      <a:pt x="1754762" y="794878"/>
                    </a:lnTo>
                    <a:lnTo>
                      <a:pt x="1756429" y="792908"/>
                    </a:lnTo>
                    <a:lnTo>
                      <a:pt x="1759762" y="790029"/>
                    </a:lnTo>
                    <a:lnTo>
                      <a:pt x="1760217" y="788968"/>
                    </a:lnTo>
                    <a:lnTo>
                      <a:pt x="1760217" y="788059"/>
                    </a:lnTo>
                    <a:lnTo>
                      <a:pt x="1759762" y="787301"/>
                    </a:lnTo>
                    <a:lnTo>
                      <a:pt x="1758247" y="786089"/>
                    </a:lnTo>
                    <a:close/>
                    <a:moveTo>
                      <a:pt x="1817643" y="861244"/>
                    </a:moveTo>
                    <a:lnTo>
                      <a:pt x="1820219" y="862304"/>
                    </a:lnTo>
                    <a:lnTo>
                      <a:pt x="1823098" y="863062"/>
                    </a:lnTo>
                    <a:lnTo>
                      <a:pt x="1830371" y="863365"/>
                    </a:lnTo>
                    <a:lnTo>
                      <a:pt x="1843705" y="863365"/>
                    </a:lnTo>
                    <a:lnTo>
                      <a:pt x="1849614" y="862910"/>
                    </a:lnTo>
                    <a:lnTo>
                      <a:pt x="1849917" y="861244"/>
                    </a:lnTo>
                    <a:lnTo>
                      <a:pt x="1849766" y="858971"/>
                    </a:lnTo>
                    <a:lnTo>
                      <a:pt x="1848856" y="854728"/>
                    </a:lnTo>
                    <a:lnTo>
                      <a:pt x="1848251" y="853819"/>
                    </a:lnTo>
                    <a:lnTo>
                      <a:pt x="1847341" y="853364"/>
                    </a:lnTo>
                    <a:lnTo>
                      <a:pt x="1844917" y="852607"/>
                    </a:lnTo>
                    <a:lnTo>
                      <a:pt x="1836735" y="852304"/>
                    </a:lnTo>
                    <a:lnTo>
                      <a:pt x="1830371" y="850486"/>
                    </a:lnTo>
                    <a:lnTo>
                      <a:pt x="1823098" y="848970"/>
                    </a:lnTo>
                    <a:lnTo>
                      <a:pt x="1814158" y="850183"/>
                    </a:lnTo>
                    <a:lnTo>
                      <a:pt x="1813552" y="851092"/>
                    </a:lnTo>
                    <a:lnTo>
                      <a:pt x="1813098" y="852455"/>
                    </a:lnTo>
                    <a:lnTo>
                      <a:pt x="1813249" y="853971"/>
                    </a:lnTo>
                    <a:lnTo>
                      <a:pt x="1815067" y="857759"/>
                    </a:lnTo>
                    <a:lnTo>
                      <a:pt x="1817643" y="861244"/>
                    </a:lnTo>
                    <a:close/>
                    <a:moveTo>
                      <a:pt x="1484904" y="758210"/>
                    </a:moveTo>
                    <a:lnTo>
                      <a:pt x="1489752" y="757300"/>
                    </a:lnTo>
                    <a:lnTo>
                      <a:pt x="1490965" y="756240"/>
                    </a:lnTo>
                    <a:lnTo>
                      <a:pt x="1490510" y="754725"/>
                    </a:lnTo>
                    <a:lnTo>
                      <a:pt x="1489601" y="753209"/>
                    </a:lnTo>
                    <a:lnTo>
                      <a:pt x="1488237" y="751846"/>
                    </a:lnTo>
                    <a:lnTo>
                      <a:pt x="1486116" y="751391"/>
                    </a:lnTo>
                    <a:lnTo>
                      <a:pt x="1483237" y="751846"/>
                    </a:lnTo>
                    <a:lnTo>
                      <a:pt x="1480055" y="751391"/>
                    </a:lnTo>
                    <a:lnTo>
                      <a:pt x="1474752" y="749724"/>
                    </a:lnTo>
                    <a:lnTo>
                      <a:pt x="1473085" y="750633"/>
                    </a:lnTo>
                    <a:lnTo>
                      <a:pt x="1468842" y="751846"/>
                    </a:lnTo>
                    <a:lnTo>
                      <a:pt x="1468842" y="752906"/>
                    </a:lnTo>
                    <a:lnTo>
                      <a:pt x="1470509" y="754725"/>
                    </a:lnTo>
                    <a:lnTo>
                      <a:pt x="1472479" y="755937"/>
                    </a:lnTo>
                    <a:lnTo>
                      <a:pt x="1476570" y="756846"/>
                    </a:lnTo>
                    <a:lnTo>
                      <a:pt x="1478237" y="756240"/>
                    </a:lnTo>
                    <a:lnTo>
                      <a:pt x="1481722" y="757452"/>
                    </a:lnTo>
                    <a:lnTo>
                      <a:pt x="1484904" y="758210"/>
                    </a:lnTo>
                    <a:close/>
                    <a:moveTo>
                      <a:pt x="1385657" y="793059"/>
                    </a:moveTo>
                    <a:lnTo>
                      <a:pt x="1386567" y="793514"/>
                    </a:lnTo>
                    <a:lnTo>
                      <a:pt x="1387476" y="793211"/>
                    </a:lnTo>
                    <a:lnTo>
                      <a:pt x="1388233" y="792453"/>
                    </a:lnTo>
                    <a:lnTo>
                      <a:pt x="1390658" y="788362"/>
                    </a:lnTo>
                    <a:lnTo>
                      <a:pt x="1390052" y="785332"/>
                    </a:lnTo>
                    <a:lnTo>
                      <a:pt x="1389294" y="784574"/>
                    </a:lnTo>
                    <a:lnTo>
                      <a:pt x="1388688" y="785483"/>
                    </a:lnTo>
                    <a:lnTo>
                      <a:pt x="1386718" y="785029"/>
                    </a:lnTo>
                    <a:lnTo>
                      <a:pt x="1385203" y="785635"/>
                    </a:lnTo>
                    <a:lnTo>
                      <a:pt x="1383082" y="786847"/>
                    </a:lnTo>
                    <a:lnTo>
                      <a:pt x="1382021" y="787908"/>
                    </a:lnTo>
                    <a:lnTo>
                      <a:pt x="1382779" y="789877"/>
                    </a:lnTo>
                    <a:lnTo>
                      <a:pt x="1385657" y="793059"/>
                    </a:lnTo>
                    <a:close/>
                    <a:moveTo>
                      <a:pt x="1480055" y="857910"/>
                    </a:moveTo>
                    <a:lnTo>
                      <a:pt x="1480055" y="859577"/>
                    </a:lnTo>
                    <a:lnTo>
                      <a:pt x="1480510" y="860941"/>
                    </a:lnTo>
                    <a:lnTo>
                      <a:pt x="1481419" y="862153"/>
                    </a:lnTo>
                    <a:lnTo>
                      <a:pt x="1485661" y="865032"/>
                    </a:lnTo>
                    <a:lnTo>
                      <a:pt x="1487479" y="865789"/>
                    </a:lnTo>
                    <a:lnTo>
                      <a:pt x="1488692" y="865789"/>
                    </a:lnTo>
                    <a:lnTo>
                      <a:pt x="1490055" y="865032"/>
                    </a:lnTo>
                    <a:lnTo>
                      <a:pt x="1491570" y="863516"/>
                    </a:lnTo>
                    <a:lnTo>
                      <a:pt x="1492783" y="862001"/>
                    </a:lnTo>
                    <a:lnTo>
                      <a:pt x="1494146" y="858668"/>
                    </a:lnTo>
                    <a:lnTo>
                      <a:pt x="1494601" y="856849"/>
                    </a:lnTo>
                    <a:lnTo>
                      <a:pt x="1494449" y="853971"/>
                    </a:lnTo>
                    <a:lnTo>
                      <a:pt x="1493692" y="850031"/>
                    </a:lnTo>
                    <a:lnTo>
                      <a:pt x="1493389" y="847001"/>
                    </a:lnTo>
                    <a:lnTo>
                      <a:pt x="1493692" y="844879"/>
                    </a:lnTo>
                    <a:lnTo>
                      <a:pt x="1492783" y="842910"/>
                    </a:lnTo>
                    <a:lnTo>
                      <a:pt x="1489601" y="840031"/>
                    </a:lnTo>
                    <a:lnTo>
                      <a:pt x="1485964" y="839122"/>
                    </a:lnTo>
                    <a:lnTo>
                      <a:pt x="1482328" y="842758"/>
                    </a:lnTo>
                    <a:lnTo>
                      <a:pt x="1480964" y="844576"/>
                    </a:lnTo>
                    <a:lnTo>
                      <a:pt x="1480661" y="845940"/>
                    </a:lnTo>
                    <a:lnTo>
                      <a:pt x="1479297" y="848061"/>
                    </a:lnTo>
                    <a:lnTo>
                      <a:pt x="1478994" y="848970"/>
                    </a:lnTo>
                    <a:lnTo>
                      <a:pt x="1479600" y="850486"/>
                    </a:lnTo>
                    <a:lnTo>
                      <a:pt x="1482025" y="853213"/>
                    </a:lnTo>
                    <a:lnTo>
                      <a:pt x="1480661" y="856546"/>
                    </a:lnTo>
                    <a:lnTo>
                      <a:pt x="1480055" y="857910"/>
                    </a:lnTo>
                    <a:close/>
                    <a:moveTo>
                      <a:pt x="1071858" y="815333"/>
                    </a:moveTo>
                    <a:lnTo>
                      <a:pt x="1066858" y="814121"/>
                    </a:lnTo>
                    <a:lnTo>
                      <a:pt x="1065191" y="816545"/>
                    </a:lnTo>
                    <a:lnTo>
                      <a:pt x="1063070" y="818212"/>
                    </a:lnTo>
                    <a:lnTo>
                      <a:pt x="1059888" y="819727"/>
                    </a:lnTo>
                    <a:lnTo>
                      <a:pt x="1058827" y="820939"/>
                    </a:lnTo>
                    <a:lnTo>
                      <a:pt x="1060039" y="821848"/>
                    </a:lnTo>
                    <a:lnTo>
                      <a:pt x="1068828" y="824727"/>
                    </a:lnTo>
                    <a:lnTo>
                      <a:pt x="1070343" y="825636"/>
                    </a:lnTo>
                    <a:lnTo>
                      <a:pt x="1071403" y="825636"/>
                    </a:lnTo>
                    <a:lnTo>
                      <a:pt x="1072767" y="823212"/>
                    </a:lnTo>
                    <a:lnTo>
                      <a:pt x="1074434" y="822454"/>
                    </a:lnTo>
                    <a:lnTo>
                      <a:pt x="1074737" y="818969"/>
                    </a:lnTo>
                    <a:lnTo>
                      <a:pt x="1074434" y="817606"/>
                    </a:lnTo>
                    <a:lnTo>
                      <a:pt x="1073676" y="816545"/>
                    </a:lnTo>
                    <a:lnTo>
                      <a:pt x="1071858" y="815333"/>
                    </a:lnTo>
                    <a:close/>
                    <a:moveTo>
                      <a:pt x="1810976" y="829879"/>
                    </a:moveTo>
                    <a:lnTo>
                      <a:pt x="1809158" y="827454"/>
                    </a:lnTo>
                    <a:lnTo>
                      <a:pt x="1806431" y="822606"/>
                    </a:lnTo>
                    <a:lnTo>
                      <a:pt x="1804006" y="820788"/>
                    </a:lnTo>
                    <a:lnTo>
                      <a:pt x="1800521" y="820181"/>
                    </a:lnTo>
                    <a:lnTo>
                      <a:pt x="1798097" y="820636"/>
                    </a:lnTo>
                    <a:lnTo>
                      <a:pt x="1795824" y="823060"/>
                    </a:lnTo>
                    <a:lnTo>
                      <a:pt x="1795067" y="825333"/>
                    </a:lnTo>
                    <a:lnTo>
                      <a:pt x="1794915" y="827151"/>
                    </a:lnTo>
                    <a:lnTo>
                      <a:pt x="1795067" y="828364"/>
                    </a:lnTo>
                    <a:lnTo>
                      <a:pt x="1797491" y="830788"/>
                    </a:lnTo>
                    <a:lnTo>
                      <a:pt x="1804006" y="834121"/>
                    </a:lnTo>
                    <a:lnTo>
                      <a:pt x="1807037" y="837000"/>
                    </a:lnTo>
                    <a:lnTo>
                      <a:pt x="1809158" y="836697"/>
                    </a:lnTo>
                    <a:lnTo>
                      <a:pt x="1810067" y="835940"/>
                    </a:lnTo>
                    <a:lnTo>
                      <a:pt x="1810825" y="834576"/>
                    </a:lnTo>
                    <a:lnTo>
                      <a:pt x="1810976" y="833667"/>
                    </a:lnTo>
                    <a:lnTo>
                      <a:pt x="1810522" y="833212"/>
                    </a:lnTo>
                    <a:lnTo>
                      <a:pt x="1810370" y="832455"/>
                    </a:lnTo>
                    <a:lnTo>
                      <a:pt x="1811279" y="831697"/>
                    </a:lnTo>
                    <a:lnTo>
                      <a:pt x="1810976" y="829879"/>
                    </a:lnTo>
                    <a:close/>
                    <a:moveTo>
                      <a:pt x="995946" y="826697"/>
                    </a:moveTo>
                    <a:lnTo>
                      <a:pt x="993219" y="825939"/>
                    </a:lnTo>
                    <a:lnTo>
                      <a:pt x="987612" y="825636"/>
                    </a:lnTo>
                    <a:lnTo>
                      <a:pt x="985188" y="825939"/>
                    </a:lnTo>
                    <a:lnTo>
                      <a:pt x="983673" y="826697"/>
                    </a:lnTo>
                    <a:lnTo>
                      <a:pt x="983976" y="828061"/>
                    </a:lnTo>
                    <a:lnTo>
                      <a:pt x="986097" y="829879"/>
                    </a:lnTo>
                    <a:lnTo>
                      <a:pt x="989279" y="831697"/>
                    </a:lnTo>
                    <a:lnTo>
                      <a:pt x="993370" y="833364"/>
                    </a:lnTo>
                    <a:lnTo>
                      <a:pt x="996249" y="834121"/>
                    </a:lnTo>
                    <a:lnTo>
                      <a:pt x="997764" y="833970"/>
                    </a:lnTo>
                    <a:lnTo>
                      <a:pt x="1000037" y="832758"/>
                    </a:lnTo>
                    <a:lnTo>
                      <a:pt x="1000492" y="831849"/>
                    </a:lnTo>
                    <a:lnTo>
                      <a:pt x="1000340" y="830788"/>
                    </a:lnTo>
                    <a:lnTo>
                      <a:pt x="999583" y="829273"/>
                    </a:lnTo>
                    <a:lnTo>
                      <a:pt x="995946" y="826697"/>
                    </a:lnTo>
                    <a:close/>
                    <a:moveTo>
                      <a:pt x="1222015" y="469866"/>
                    </a:moveTo>
                    <a:lnTo>
                      <a:pt x="1224894" y="471532"/>
                    </a:lnTo>
                    <a:lnTo>
                      <a:pt x="1227015" y="471381"/>
                    </a:lnTo>
                    <a:lnTo>
                      <a:pt x="1229137" y="469563"/>
                    </a:lnTo>
                    <a:lnTo>
                      <a:pt x="1232167" y="467744"/>
                    </a:lnTo>
                    <a:lnTo>
                      <a:pt x="1232470" y="466987"/>
                    </a:lnTo>
                    <a:lnTo>
                      <a:pt x="1230349" y="465169"/>
                    </a:lnTo>
                    <a:lnTo>
                      <a:pt x="1227470" y="463653"/>
                    </a:lnTo>
                    <a:lnTo>
                      <a:pt x="1221409" y="461381"/>
                    </a:lnTo>
                    <a:lnTo>
                      <a:pt x="1220651" y="461835"/>
                    </a:lnTo>
                    <a:lnTo>
                      <a:pt x="1220045" y="462744"/>
                    </a:lnTo>
                    <a:lnTo>
                      <a:pt x="1219742" y="464108"/>
                    </a:lnTo>
                    <a:lnTo>
                      <a:pt x="1217166" y="465320"/>
                    </a:lnTo>
                    <a:lnTo>
                      <a:pt x="1208075" y="467896"/>
                    </a:lnTo>
                    <a:lnTo>
                      <a:pt x="1204590" y="469411"/>
                    </a:lnTo>
                    <a:lnTo>
                      <a:pt x="1203530" y="471684"/>
                    </a:lnTo>
                    <a:lnTo>
                      <a:pt x="1204893" y="474714"/>
                    </a:lnTo>
                    <a:lnTo>
                      <a:pt x="1206409" y="476533"/>
                    </a:lnTo>
                    <a:lnTo>
                      <a:pt x="1207924" y="477139"/>
                    </a:lnTo>
                    <a:lnTo>
                      <a:pt x="1211560" y="476533"/>
                    </a:lnTo>
                    <a:lnTo>
                      <a:pt x="1212772" y="475775"/>
                    </a:lnTo>
                    <a:lnTo>
                      <a:pt x="1214287" y="473654"/>
                    </a:lnTo>
                    <a:lnTo>
                      <a:pt x="1218682" y="470169"/>
                    </a:lnTo>
                    <a:lnTo>
                      <a:pt x="1222015" y="469866"/>
                    </a:lnTo>
                    <a:close/>
                    <a:moveTo>
                      <a:pt x="976400" y="564566"/>
                    </a:moveTo>
                    <a:lnTo>
                      <a:pt x="971097" y="564566"/>
                    </a:lnTo>
                    <a:lnTo>
                      <a:pt x="947914" y="567142"/>
                    </a:lnTo>
                    <a:lnTo>
                      <a:pt x="941095" y="568354"/>
                    </a:lnTo>
                    <a:lnTo>
                      <a:pt x="938823" y="569718"/>
                    </a:lnTo>
                    <a:lnTo>
                      <a:pt x="935035" y="573506"/>
                    </a:lnTo>
                    <a:lnTo>
                      <a:pt x="931853" y="578203"/>
                    </a:lnTo>
                    <a:lnTo>
                      <a:pt x="932610" y="579870"/>
                    </a:lnTo>
                    <a:lnTo>
                      <a:pt x="937307" y="581082"/>
                    </a:lnTo>
                    <a:lnTo>
                      <a:pt x="943520" y="583355"/>
                    </a:lnTo>
                    <a:lnTo>
                      <a:pt x="952914" y="589112"/>
                    </a:lnTo>
                    <a:lnTo>
                      <a:pt x="954732" y="591537"/>
                    </a:lnTo>
                    <a:lnTo>
                      <a:pt x="955945" y="594719"/>
                    </a:lnTo>
                    <a:lnTo>
                      <a:pt x="963369" y="600173"/>
                    </a:lnTo>
                    <a:lnTo>
                      <a:pt x="969581" y="605628"/>
                    </a:lnTo>
                    <a:lnTo>
                      <a:pt x="973369" y="608356"/>
                    </a:lnTo>
                    <a:lnTo>
                      <a:pt x="975945" y="609568"/>
                    </a:lnTo>
                    <a:lnTo>
                      <a:pt x="977309" y="609265"/>
                    </a:lnTo>
                    <a:lnTo>
                      <a:pt x="979733" y="607901"/>
                    </a:lnTo>
                    <a:lnTo>
                      <a:pt x="983218" y="605325"/>
                    </a:lnTo>
                    <a:lnTo>
                      <a:pt x="985188" y="603204"/>
                    </a:lnTo>
                    <a:lnTo>
                      <a:pt x="986097" y="600476"/>
                    </a:lnTo>
                    <a:lnTo>
                      <a:pt x="990946" y="596385"/>
                    </a:lnTo>
                    <a:lnTo>
                      <a:pt x="995643" y="588809"/>
                    </a:lnTo>
                    <a:lnTo>
                      <a:pt x="996704" y="586537"/>
                    </a:lnTo>
                    <a:lnTo>
                      <a:pt x="997613" y="580627"/>
                    </a:lnTo>
                    <a:lnTo>
                      <a:pt x="997461" y="576688"/>
                    </a:lnTo>
                    <a:lnTo>
                      <a:pt x="996552" y="574718"/>
                    </a:lnTo>
                    <a:lnTo>
                      <a:pt x="994885" y="572748"/>
                    </a:lnTo>
                    <a:lnTo>
                      <a:pt x="992916" y="571536"/>
                    </a:lnTo>
                    <a:lnTo>
                      <a:pt x="989734" y="570930"/>
                    </a:lnTo>
                    <a:lnTo>
                      <a:pt x="982006" y="565778"/>
                    </a:lnTo>
                    <a:lnTo>
                      <a:pt x="976400" y="564566"/>
                    </a:lnTo>
                    <a:close/>
                    <a:moveTo>
                      <a:pt x="1175044" y="546535"/>
                    </a:moveTo>
                    <a:lnTo>
                      <a:pt x="1160649" y="550323"/>
                    </a:lnTo>
                    <a:lnTo>
                      <a:pt x="1154285" y="551081"/>
                    </a:lnTo>
                    <a:lnTo>
                      <a:pt x="1151861" y="551838"/>
                    </a:lnTo>
                    <a:lnTo>
                      <a:pt x="1150194" y="552899"/>
                    </a:lnTo>
                    <a:lnTo>
                      <a:pt x="1149134" y="554111"/>
                    </a:lnTo>
                    <a:lnTo>
                      <a:pt x="1146558" y="555020"/>
                    </a:lnTo>
                    <a:lnTo>
                      <a:pt x="1139739" y="556232"/>
                    </a:lnTo>
                    <a:lnTo>
                      <a:pt x="1138073" y="556990"/>
                    </a:lnTo>
                    <a:lnTo>
                      <a:pt x="1137770" y="557748"/>
                    </a:lnTo>
                    <a:lnTo>
                      <a:pt x="1138679" y="558657"/>
                    </a:lnTo>
                    <a:lnTo>
                      <a:pt x="1141103" y="559566"/>
                    </a:lnTo>
                    <a:lnTo>
                      <a:pt x="1150043" y="562293"/>
                    </a:lnTo>
                    <a:lnTo>
                      <a:pt x="1154285" y="561990"/>
                    </a:lnTo>
                    <a:lnTo>
                      <a:pt x="1155801" y="561384"/>
                    </a:lnTo>
                    <a:lnTo>
                      <a:pt x="1157770" y="559869"/>
                    </a:lnTo>
                    <a:lnTo>
                      <a:pt x="1161407" y="560324"/>
                    </a:lnTo>
                    <a:lnTo>
                      <a:pt x="1169286" y="559263"/>
                    </a:lnTo>
                    <a:lnTo>
                      <a:pt x="1172619" y="558202"/>
                    </a:lnTo>
                    <a:lnTo>
                      <a:pt x="1180498" y="553960"/>
                    </a:lnTo>
                    <a:lnTo>
                      <a:pt x="1183377" y="551990"/>
                    </a:lnTo>
                    <a:lnTo>
                      <a:pt x="1185650" y="549414"/>
                    </a:lnTo>
                    <a:lnTo>
                      <a:pt x="1186105" y="548353"/>
                    </a:lnTo>
                    <a:lnTo>
                      <a:pt x="1185953" y="547293"/>
                    </a:lnTo>
                    <a:lnTo>
                      <a:pt x="1185044" y="546232"/>
                    </a:lnTo>
                    <a:lnTo>
                      <a:pt x="1182317" y="545929"/>
                    </a:lnTo>
                    <a:lnTo>
                      <a:pt x="1175044" y="546535"/>
                    </a:lnTo>
                    <a:close/>
                    <a:moveTo>
                      <a:pt x="1194287" y="523655"/>
                    </a:moveTo>
                    <a:lnTo>
                      <a:pt x="1195650" y="521837"/>
                    </a:lnTo>
                    <a:lnTo>
                      <a:pt x="1195954" y="520928"/>
                    </a:lnTo>
                    <a:lnTo>
                      <a:pt x="1195196" y="519716"/>
                    </a:lnTo>
                    <a:lnTo>
                      <a:pt x="1192468" y="518201"/>
                    </a:lnTo>
                    <a:lnTo>
                      <a:pt x="1189741" y="519564"/>
                    </a:lnTo>
                    <a:lnTo>
                      <a:pt x="1183377" y="524565"/>
                    </a:lnTo>
                    <a:lnTo>
                      <a:pt x="1184135" y="525777"/>
                    </a:lnTo>
                    <a:lnTo>
                      <a:pt x="1185953" y="526989"/>
                    </a:lnTo>
                    <a:lnTo>
                      <a:pt x="1194287" y="523655"/>
                    </a:lnTo>
                    <a:close/>
                    <a:moveTo>
                      <a:pt x="1222015" y="498806"/>
                    </a:moveTo>
                    <a:lnTo>
                      <a:pt x="1222621" y="500624"/>
                    </a:lnTo>
                    <a:lnTo>
                      <a:pt x="1223227" y="501685"/>
                    </a:lnTo>
                    <a:lnTo>
                      <a:pt x="1223833" y="501988"/>
                    </a:lnTo>
                    <a:lnTo>
                      <a:pt x="1226258" y="500321"/>
                    </a:lnTo>
                    <a:lnTo>
                      <a:pt x="1228682" y="501382"/>
                    </a:lnTo>
                    <a:lnTo>
                      <a:pt x="1234894" y="506988"/>
                    </a:lnTo>
                    <a:lnTo>
                      <a:pt x="1246258" y="508806"/>
                    </a:lnTo>
                    <a:lnTo>
                      <a:pt x="1250804" y="508958"/>
                    </a:lnTo>
                    <a:lnTo>
                      <a:pt x="1259744" y="514110"/>
                    </a:lnTo>
                    <a:lnTo>
                      <a:pt x="1263986" y="516231"/>
                    </a:lnTo>
                    <a:lnTo>
                      <a:pt x="1266865" y="517140"/>
                    </a:lnTo>
                    <a:lnTo>
                      <a:pt x="1271259" y="517443"/>
                    </a:lnTo>
                    <a:lnTo>
                      <a:pt x="1280199" y="516837"/>
                    </a:lnTo>
                    <a:lnTo>
                      <a:pt x="1286260" y="516989"/>
                    </a:lnTo>
                    <a:lnTo>
                      <a:pt x="1296109" y="516079"/>
                    </a:lnTo>
                    <a:lnTo>
                      <a:pt x="1297624" y="515625"/>
                    </a:lnTo>
                    <a:lnTo>
                      <a:pt x="1298382" y="514413"/>
                    </a:lnTo>
                    <a:lnTo>
                      <a:pt x="1298382" y="512443"/>
                    </a:lnTo>
                    <a:lnTo>
                      <a:pt x="1298685" y="511231"/>
                    </a:lnTo>
                    <a:lnTo>
                      <a:pt x="1299442" y="510776"/>
                    </a:lnTo>
                    <a:lnTo>
                      <a:pt x="1299897" y="509867"/>
                    </a:lnTo>
                    <a:lnTo>
                      <a:pt x="1300654" y="505321"/>
                    </a:lnTo>
                    <a:lnTo>
                      <a:pt x="1300503" y="501836"/>
                    </a:lnTo>
                    <a:lnTo>
                      <a:pt x="1300200" y="500170"/>
                    </a:lnTo>
                    <a:lnTo>
                      <a:pt x="1298382" y="495927"/>
                    </a:lnTo>
                    <a:lnTo>
                      <a:pt x="1298078" y="494715"/>
                    </a:lnTo>
                    <a:lnTo>
                      <a:pt x="1298685" y="491988"/>
                    </a:lnTo>
                    <a:lnTo>
                      <a:pt x="1299594" y="490018"/>
                    </a:lnTo>
                    <a:lnTo>
                      <a:pt x="1297018" y="484866"/>
                    </a:lnTo>
                    <a:lnTo>
                      <a:pt x="1294897" y="482442"/>
                    </a:lnTo>
                    <a:lnTo>
                      <a:pt x="1292624" y="478199"/>
                    </a:lnTo>
                    <a:lnTo>
                      <a:pt x="1288230" y="474108"/>
                    </a:lnTo>
                    <a:lnTo>
                      <a:pt x="1278684" y="467290"/>
                    </a:lnTo>
                    <a:lnTo>
                      <a:pt x="1273987" y="464562"/>
                    </a:lnTo>
                    <a:lnTo>
                      <a:pt x="1267926" y="462896"/>
                    </a:lnTo>
                    <a:lnTo>
                      <a:pt x="1261714" y="462441"/>
                    </a:lnTo>
                    <a:lnTo>
                      <a:pt x="1257016" y="462896"/>
                    </a:lnTo>
                    <a:lnTo>
                      <a:pt x="1240046" y="468047"/>
                    </a:lnTo>
                    <a:lnTo>
                      <a:pt x="1235046" y="471381"/>
                    </a:lnTo>
                    <a:lnTo>
                      <a:pt x="1232318" y="472745"/>
                    </a:lnTo>
                    <a:lnTo>
                      <a:pt x="1227621" y="477442"/>
                    </a:lnTo>
                    <a:lnTo>
                      <a:pt x="1227773" y="480624"/>
                    </a:lnTo>
                    <a:lnTo>
                      <a:pt x="1226106" y="483957"/>
                    </a:lnTo>
                    <a:lnTo>
                      <a:pt x="1223076" y="485169"/>
                    </a:lnTo>
                    <a:lnTo>
                      <a:pt x="1220651" y="485624"/>
                    </a:lnTo>
                    <a:lnTo>
                      <a:pt x="1215651" y="491836"/>
                    </a:lnTo>
                    <a:lnTo>
                      <a:pt x="1214742" y="494109"/>
                    </a:lnTo>
                    <a:lnTo>
                      <a:pt x="1214742" y="495473"/>
                    </a:lnTo>
                    <a:lnTo>
                      <a:pt x="1215045" y="497139"/>
                    </a:lnTo>
                    <a:lnTo>
                      <a:pt x="1215954" y="497745"/>
                    </a:lnTo>
                    <a:lnTo>
                      <a:pt x="1220651" y="497291"/>
                    </a:lnTo>
                    <a:lnTo>
                      <a:pt x="1222015" y="498806"/>
                    </a:lnTo>
                    <a:close/>
                    <a:moveTo>
                      <a:pt x="1237470" y="522292"/>
                    </a:moveTo>
                    <a:lnTo>
                      <a:pt x="1246713" y="524716"/>
                    </a:lnTo>
                    <a:lnTo>
                      <a:pt x="1249137" y="525019"/>
                    </a:lnTo>
                    <a:lnTo>
                      <a:pt x="1250349" y="524716"/>
                    </a:lnTo>
                    <a:lnTo>
                      <a:pt x="1251259" y="523959"/>
                    </a:lnTo>
                    <a:lnTo>
                      <a:pt x="1251107" y="522898"/>
                    </a:lnTo>
                    <a:lnTo>
                      <a:pt x="1249137" y="520322"/>
                    </a:lnTo>
                    <a:lnTo>
                      <a:pt x="1244895" y="517595"/>
                    </a:lnTo>
                    <a:lnTo>
                      <a:pt x="1240804" y="517595"/>
                    </a:lnTo>
                    <a:lnTo>
                      <a:pt x="1238531" y="518807"/>
                    </a:lnTo>
                    <a:lnTo>
                      <a:pt x="1237773" y="519716"/>
                    </a:lnTo>
                    <a:lnTo>
                      <a:pt x="1235652" y="520625"/>
                    </a:lnTo>
                    <a:lnTo>
                      <a:pt x="1236106" y="521383"/>
                    </a:lnTo>
                    <a:lnTo>
                      <a:pt x="1237470" y="522292"/>
                    </a:lnTo>
                    <a:close/>
                    <a:moveTo>
                      <a:pt x="1399749" y="522443"/>
                    </a:moveTo>
                    <a:lnTo>
                      <a:pt x="1407628" y="522140"/>
                    </a:lnTo>
                    <a:lnTo>
                      <a:pt x="1410658" y="521383"/>
                    </a:lnTo>
                    <a:lnTo>
                      <a:pt x="1415810" y="519110"/>
                    </a:lnTo>
                    <a:lnTo>
                      <a:pt x="1417628" y="517595"/>
                    </a:lnTo>
                    <a:lnTo>
                      <a:pt x="1417780" y="515928"/>
                    </a:lnTo>
                    <a:lnTo>
                      <a:pt x="1417628" y="514261"/>
                    </a:lnTo>
                    <a:lnTo>
                      <a:pt x="1417022" y="512443"/>
                    </a:lnTo>
                    <a:lnTo>
                      <a:pt x="1417780" y="511685"/>
                    </a:lnTo>
                    <a:lnTo>
                      <a:pt x="1419901" y="512140"/>
                    </a:lnTo>
                    <a:lnTo>
                      <a:pt x="1421416" y="511685"/>
                    </a:lnTo>
                    <a:lnTo>
                      <a:pt x="1422477" y="510170"/>
                    </a:lnTo>
                    <a:lnTo>
                      <a:pt x="1423538" y="509413"/>
                    </a:lnTo>
                    <a:lnTo>
                      <a:pt x="1424598" y="509261"/>
                    </a:lnTo>
                    <a:lnTo>
                      <a:pt x="1425507" y="510625"/>
                    </a:lnTo>
                    <a:lnTo>
                      <a:pt x="1426114" y="513504"/>
                    </a:lnTo>
                    <a:lnTo>
                      <a:pt x="1427023" y="514716"/>
                    </a:lnTo>
                    <a:lnTo>
                      <a:pt x="1428992" y="513352"/>
                    </a:lnTo>
                    <a:lnTo>
                      <a:pt x="1431568" y="508655"/>
                    </a:lnTo>
                    <a:lnTo>
                      <a:pt x="1435659" y="506988"/>
                    </a:lnTo>
                    <a:lnTo>
                      <a:pt x="1436871" y="507140"/>
                    </a:lnTo>
                    <a:lnTo>
                      <a:pt x="1438387" y="508503"/>
                    </a:lnTo>
                    <a:lnTo>
                      <a:pt x="1440963" y="509564"/>
                    </a:lnTo>
                    <a:lnTo>
                      <a:pt x="1440054" y="511837"/>
                    </a:lnTo>
                    <a:lnTo>
                      <a:pt x="1437326" y="516079"/>
                    </a:lnTo>
                    <a:lnTo>
                      <a:pt x="1435659" y="519261"/>
                    </a:lnTo>
                    <a:lnTo>
                      <a:pt x="1435053" y="521383"/>
                    </a:lnTo>
                    <a:lnTo>
                      <a:pt x="1435053" y="522898"/>
                    </a:lnTo>
                    <a:lnTo>
                      <a:pt x="1436568" y="524565"/>
                    </a:lnTo>
                    <a:lnTo>
                      <a:pt x="1438690" y="525474"/>
                    </a:lnTo>
                    <a:lnTo>
                      <a:pt x="1450054" y="525777"/>
                    </a:lnTo>
                    <a:lnTo>
                      <a:pt x="1461418" y="526837"/>
                    </a:lnTo>
                    <a:lnTo>
                      <a:pt x="1467630" y="525171"/>
                    </a:lnTo>
                    <a:lnTo>
                      <a:pt x="1477782" y="526383"/>
                    </a:lnTo>
                    <a:lnTo>
                      <a:pt x="1483994" y="526534"/>
                    </a:lnTo>
                    <a:lnTo>
                      <a:pt x="1486873" y="525928"/>
                    </a:lnTo>
                    <a:lnTo>
                      <a:pt x="1485055" y="522292"/>
                    </a:lnTo>
                    <a:lnTo>
                      <a:pt x="1487176" y="522443"/>
                    </a:lnTo>
                    <a:lnTo>
                      <a:pt x="1495813" y="524716"/>
                    </a:lnTo>
                    <a:lnTo>
                      <a:pt x="1499298" y="523504"/>
                    </a:lnTo>
                    <a:lnTo>
                      <a:pt x="1502025" y="523352"/>
                    </a:lnTo>
                    <a:lnTo>
                      <a:pt x="1506268" y="525625"/>
                    </a:lnTo>
                    <a:lnTo>
                      <a:pt x="1510359" y="525625"/>
                    </a:lnTo>
                    <a:lnTo>
                      <a:pt x="1517632" y="523655"/>
                    </a:lnTo>
                    <a:lnTo>
                      <a:pt x="1518541" y="523049"/>
                    </a:lnTo>
                    <a:lnTo>
                      <a:pt x="1519147" y="521837"/>
                    </a:lnTo>
                    <a:lnTo>
                      <a:pt x="1519602" y="520019"/>
                    </a:lnTo>
                    <a:lnTo>
                      <a:pt x="1520511" y="520019"/>
                    </a:lnTo>
                    <a:lnTo>
                      <a:pt x="1523390" y="523201"/>
                    </a:lnTo>
                    <a:lnTo>
                      <a:pt x="1526875" y="524565"/>
                    </a:lnTo>
                    <a:lnTo>
                      <a:pt x="1529148" y="524565"/>
                    </a:lnTo>
                    <a:lnTo>
                      <a:pt x="1530360" y="523959"/>
                    </a:lnTo>
                    <a:lnTo>
                      <a:pt x="1531117" y="519716"/>
                    </a:lnTo>
                    <a:lnTo>
                      <a:pt x="1532481" y="519867"/>
                    </a:lnTo>
                    <a:lnTo>
                      <a:pt x="1535057" y="521837"/>
                    </a:lnTo>
                    <a:lnTo>
                      <a:pt x="1537784" y="523201"/>
                    </a:lnTo>
                    <a:lnTo>
                      <a:pt x="1541876" y="524413"/>
                    </a:lnTo>
                    <a:lnTo>
                      <a:pt x="1548542" y="525019"/>
                    </a:lnTo>
                    <a:lnTo>
                      <a:pt x="1553542" y="524565"/>
                    </a:lnTo>
                    <a:lnTo>
                      <a:pt x="1563846" y="521837"/>
                    </a:lnTo>
                    <a:lnTo>
                      <a:pt x="1570513" y="521686"/>
                    </a:lnTo>
                    <a:lnTo>
                      <a:pt x="1572937" y="520625"/>
                    </a:lnTo>
                    <a:lnTo>
                      <a:pt x="1576271" y="516837"/>
                    </a:lnTo>
                    <a:lnTo>
                      <a:pt x="1576725" y="516079"/>
                    </a:lnTo>
                    <a:lnTo>
                      <a:pt x="1578089" y="510928"/>
                    </a:lnTo>
                    <a:lnTo>
                      <a:pt x="1577483" y="508958"/>
                    </a:lnTo>
                    <a:lnTo>
                      <a:pt x="1574149" y="507140"/>
                    </a:lnTo>
                    <a:lnTo>
                      <a:pt x="1573543" y="506382"/>
                    </a:lnTo>
                    <a:lnTo>
                      <a:pt x="1572634" y="503958"/>
                    </a:lnTo>
                    <a:lnTo>
                      <a:pt x="1573240" y="503503"/>
                    </a:lnTo>
                    <a:lnTo>
                      <a:pt x="1576422" y="504412"/>
                    </a:lnTo>
                    <a:lnTo>
                      <a:pt x="1581574" y="507443"/>
                    </a:lnTo>
                    <a:lnTo>
                      <a:pt x="1583241" y="508049"/>
                    </a:lnTo>
                    <a:lnTo>
                      <a:pt x="1584756" y="508049"/>
                    </a:lnTo>
                    <a:lnTo>
                      <a:pt x="1585210" y="509564"/>
                    </a:lnTo>
                    <a:lnTo>
                      <a:pt x="1584453" y="512594"/>
                    </a:lnTo>
                    <a:lnTo>
                      <a:pt x="1584301" y="514716"/>
                    </a:lnTo>
                    <a:lnTo>
                      <a:pt x="1585968" y="518201"/>
                    </a:lnTo>
                    <a:lnTo>
                      <a:pt x="1588089" y="520777"/>
                    </a:lnTo>
                    <a:lnTo>
                      <a:pt x="1589453" y="521686"/>
                    </a:lnTo>
                    <a:lnTo>
                      <a:pt x="1594756" y="523655"/>
                    </a:lnTo>
                    <a:lnTo>
                      <a:pt x="1597180" y="523959"/>
                    </a:lnTo>
                    <a:lnTo>
                      <a:pt x="1603544" y="523352"/>
                    </a:lnTo>
                    <a:lnTo>
                      <a:pt x="1613090" y="526231"/>
                    </a:lnTo>
                    <a:lnTo>
                      <a:pt x="1616575" y="526686"/>
                    </a:lnTo>
                    <a:lnTo>
                      <a:pt x="1620212" y="526534"/>
                    </a:lnTo>
                    <a:lnTo>
                      <a:pt x="1625666" y="525171"/>
                    </a:lnTo>
                    <a:lnTo>
                      <a:pt x="1632939" y="522443"/>
                    </a:lnTo>
                    <a:lnTo>
                      <a:pt x="1636121" y="521686"/>
                    </a:lnTo>
                    <a:lnTo>
                      <a:pt x="1662031" y="520928"/>
                    </a:lnTo>
                    <a:lnTo>
                      <a:pt x="1662486" y="520777"/>
                    </a:lnTo>
                    <a:lnTo>
                      <a:pt x="1663698" y="516837"/>
                    </a:lnTo>
                    <a:lnTo>
                      <a:pt x="1664001" y="514261"/>
                    </a:lnTo>
                    <a:lnTo>
                      <a:pt x="1664001" y="511685"/>
                    </a:lnTo>
                    <a:lnTo>
                      <a:pt x="1664607" y="510019"/>
                    </a:lnTo>
                    <a:lnTo>
                      <a:pt x="1665819" y="509109"/>
                    </a:lnTo>
                    <a:lnTo>
                      <a:pt x="1664759" y="507291"/>
                    </a:lnTo>
                    <a:lnTo>
                      <a:pt x="1661274" y="504564"/>
                    </a:lnTo>
                    <a:lnTo>
                      <a:pt x="1660365" y="503049"/>
                    </a:lnTo>
                    <a:lnTo>
                      <a:pt x="1662031" y="502746"/>
                    </a:lnTo>
                    <a:lnTo>
                      <a:pt x="1664456" y="503503"/>
                    </a:lnTo>
                    <a:lnTo>
                      <a:pt x="1671577" y="506837"/>
                    </a:lnTo>
                    <a:lnTo>
                      <a:pt x="1683547" y="504261"/>
                    </a:lnTo>
                    <a:lnTo>
                      <a:pt x="1686426" y="502140"/>
                    </a:lnTo>
                    <a:lnTo>
                      <a:pt x="1684759" y="499867"/>
                    </a:lnTo>
                    <a:lnTo>
                      <a:pt x="1682941" y="498200"/>
                    </a:lnTo>
                    <a:lnTo>
                      <a:pt x="1679153" y="496533"/>
                    </a:lnTo>
                    <a:lnTo>
                      <a:pt x="1677335" y="496533"/>
                    </a:lnTo>
                    <a:lnTo>
                      <a:pt x="1669001" y="498200"/>
                    </a:lnTo>
                    <a:lnTo>
                      <a:pt x="1666274" y="498352"/>
                    </a:lnTo>
                    <a:lnTo>
                      <a:pt x="1662789" y="497594"/>
                    </a:lnTo>
                    <a:lnTo>
                      <a:pt x="1659456" y="495776"/>
                    </a:lnTo>
                    <a:lnTo>
                      <a:pt x="1660062" y="494867"/>
                    </a:lnTo>
                    <a:lnTo>
                      <a:pt x="1670516" y="491230"/>
                    </a:lnTo>
                    <a:lnTo>
                      <a:pt x="1679911" y="486836"/>
                    </a:lnTo>
                    <a:lnTo>
                      <a:pt x="1683396" y="483503"/>
                    </a:lnTo>
                    <a:lnTo>
                      <a:pt x="1683396" y="481533"/>
                    </a:lnTo>
                    <a:lnTo>
                      <a:pt x="1681275" y="476533"/>
                    </a:lnTo>
                    <a:lnTo>
                      <a:pt x="1679305" y="472896"/>
                    </a:lnTo>
                    <a:lnTo>
                      <a:pt x="1677183" y="472290"/>
                    </a:lnTo>
                    <a:lnTo>
                      <a:pt x="1667335" y="471987"/>
                    </a:lnTo>
                    <a:lnTo>
                      <a:pt x="1662940" y="471381"/>
                    </a:lnTo>
                    <a:lnTo>
                      <a:pt x="1662183" y="470775"/>
                    </a:lnTo>
                    <a:lnTo>
                      <a:pt x="1666577" y="467896"/>
                    </a:lnTo>
                    <a:lnTo>
                      <a:pt x="1666728" y="466835"/>
                    </a:lnTo>
                    <a:lnTo>
                      <a:pt x="1665668" y="465775"/>
                    </a:lnTo>
                    <a:lnTo>
                      <a:pt x="1661122" y="463047"/>
                    </a:lnTo>
                    <a:lnTo>
                      <a:pt x="1655516" y="462290"/>
                    </a:lnTo>
                    <a:lnTo>
                      <a:pt x="1642637" y="462290"/>
                    </a:lnTo>
                    <a:lnTo>
                      <a:pt x="1639303" y="461381"/>
                    </a:lnTo>
                    <a:lnTo>
                      <a:pt x="1637940" y="460774"/>
                    </a:lnTo>
                    <a:lnTo>
                      <a:pt x="1637485" y="459865"/>
                    </a:lnTo>
                    <a:lnTo>
                      <a:pt x="1638697" y="456986"/>
                    </a:lnTo>
                    <a:lnTo>
                      <a:pt x="1635515" y="455774"/>
                    </a:lnTo>
                    <a:lnTo>
                      <a:pt x="1625212" y="453653"/>
                    </a:lnTo>
                    <a:lnTo>
                      <a:pt x="1611423" y="451683"/>
                    </a:lnTo>
                    <a:lnTo>
                      <a:pt x="1605969" y="451532"/>
                    </a:lnTo>
                    <a:lnTo>
                      <a:pt x="1600514" y="452441"/>
                    </a:lnTo>
                    <a:lnTo>
                      <a:pt x="1585816" y="455926"/>
                    </a:lnTo>
                    <a:lnTo>
                      <a:pt x="1581877" y="456229"/>
                    </a:lnTo>
                    <a:lnTo>
                      <a:pt x="1567937" y="452744"/>
                    </a:lnTo>
                    <a:lnTo>
                      <a:pt x="1562785" y="452441"/>
                    </a:lnTo>
                    <a:lnTo>
                      <a:pt x="1560512" y="454562"/>
                    </a:lnTo>
                    <a:lnTo>
                      <a:pt x="1557482" y="455471"/>
                    </a:lnTo>
                    <a:lnTo>
                      <a:pt x="1544451" y="461532"/>
                    </a:lnTo>
                    <a:lnTo>
                      <a:pt x="1540512" y="461532"/>
                    </a:lnTo>
                    <a:lnTo>
                      <a:pt x="1533996" y="462138"/>
                    </a:lnTo>
                    <a:lnTo>
                      <a:pt x="1523390" y="466229"/>
                    </a:lnTo>
                    <a:lnTo>
                      <a:pt x="1517632" y="465775"/>
                    </a:lnTo>
                    <a:lnTo>
                      <a:pt x="1506874" y="468653"/>
                    </a:lnTo>
                    <a:lnTo>
                      <a:pt x="1504298" y="470169"/>
                    </a:lnTo>
                    <a:lnTo>
                      <a:pt x="1508844" y="473502"/>
                    </a:lnTo>
                    <a:lnTo>
                      <a:pt x="1507632" y="476078"/>
                    </a:lnTo>
                    <a:lnTo>
                      <a:pt x="1499904" y="475472"/>
                    </a:lnTo>
                    <a:lnTo>
                      <a:pt x="1494449" y="473805"/>
                    </a:lnTo>
                    <a:lnTo>
                      <a:pt x="1491419" y="472290"/>
                    </a:lnTo>
                    <a:lnTo>
                      <a:pt x="1483994" y="470775"/>
                    </a:lnTo>
                    <a:lnTo>
                      <a:pt x="1471873" y="463805"/>
                    </a:lnTo>
                    <a:lnTo>
                      <a:pt x="1468994" y="465320"/>
                    </a:lnTo>
                    <a:lnTo>
                      <a:pt x="1464145" y="471229"/>
                    </a:lnTo>
                    <a:lnTo>
                      <a:pt x="1463236" y="470775"/>
                    </a:lnTo>
                    <a:lnTo>
                      <a:pt x="1461266" y="467744"/>
                    </a:lnTo>
                    <a:lnTo>
                      <a:pt x="1458842" y="466229"/>
                    </a:lnTo>
                    <a:lnTo>
                      <a:pt x="1445963" y="469714"/>
                    </a:lnTo>
                    <a:lnTo>
                      <a:pt x="1435962" y="462290"/>
                    </a:lnTo>
                    <a:lnTo>
                      <a:pt x="1433841" y="461532"/>
                    </a:lnTo>
                    <a:lnTo>
                      <a:pt x="1431871" y="461532"/>
                    </a:lnTo>
                    <a:lnTo>
                      <a:pt x="1430053" y="462138"/>
                    </a:lnTo>
                    <a:lnTo>
                      <a:pt x="1428235" y="463350"/>
                    </a:lnTo>
                    <a:lnTo>
                      <a:pt x="1426568" y="465320"/>
                    </a:lnTo>
                    <a:lnTo>
                      <a:pt x="1427780" y="468047"/>
                    </a:lnTo>
                    <a:lnTo>
                      <a:pt x="1428235" y="470017"/>
                    </a:lnTo>
                    <a:lnTo>
                      <a:pt x="1427326" y="472138"/>
                    </a:lnTo>
                    <a:lnTo>
                      <a:pt x="1426568" y="472745"/>
                    </a:lnTo>
                    <a:lnTo>
                      <a:pt x="1425204" y="472593"/>
                    </a:lnTo>
                    <a:lnTo>
                      <a:pt x="1415204" y="466532"/>
                    </a:lnTo>
                    <a:lnTo>
                      <a:pt x="1413689" y="466078"/>
                    </a:lnTo>
                    <a:lnTo>
                      <a:pt x="1405204" y="466532"/>
                    </a:lnTo>
                    <a:lnTo>
                      <a:pt x="1405810" y="465472"/>
                    </a:lnTo>
                    <a:lnTo>
                      <a:pt x="1413083" y="461987"/>
                    </a:lnTo>
                    <a:lnTo>
                      <a:pt x="1415962" y="459108"/>
                    </a:lnTo>
                    <a:lnTo>
                      <a:pt x="1417325" y="456986"/>
                    </a:lnTo>
                    <a:lnTo>
                      <a:pt x="1417325" y="455623"/>
                    </a:lnTo>
                    <a:lnTo>
                      <a:pt x="1415356" y="453804"/>
                    </a:lnTo>
                    <a:lnTo>
                      <a:pt x="1408992" y="450319"/>
                    </a:lnTo>
                    <a:lnTo>
                      <a:pt x="1405204" y="451077"/>
                    </a:lnTo>
                    <a:lnTo>
                      <a:pt x="1403992" y="450471"/>
                    </a:lnTo>
                    <a:lnTo>
                      <a:pt x="1401264" y="446531"/>
                    </a:lnTo>
                    <a:lnTo>
                      <a:pt x="1397931" y="444259"/>
                    </a:lnTo>
                    <a:lnTo>
                      <a:pt x="1394597" y="443956"/>
                    </a:lnTo>
                    <a:lnTo>
                      <a:pt x="1390658" y="440622"/>
                    </a:lnTo>
                    <a:lnTo>
                      <a:pt x="1388536" y="439258"/>
                    </a:lnTo>
                    <a:lnTo>
                      <a:pt x="1375960" y="438046"/>
                    </a:lnTo>
                    <a:lnTo>
                      <a:pt x="1373536" y="436380"/>
                    </a:lnTo>
                    <a:lnTo>
                      <a:pt x="1367627" y="434410"/>
                    </a:lnTo>
                    <a:lnTo>
                      <a:pt x="1360505" y="433349"/>
                    </a:lnTo>
                    <a:lnTo>
                      <a:pt x="1357020" y="430016"/>
                    </a:lnTo>
                    <a:lnTo>
                      <a:pt x="1361111" y="429410"/>
                    </a:lnTo>
                    <a:lnTo>
                      <a:pt x="1372930" y="431985"/>
                    </a:lnTo>
                    <a:lnTo>
                      <a:pt x="1387021" y="433501"/>
                    </a:lnTo>
                    <a:lnTo>
                      <a:pt x="1411871" y="431682"/>
                    </a:lnTo>
                    <a:lnTo>
                      <a:pt x="1415052" y="430016"/>
                    </a:lnTo>
                    <a:lnTo>
                      <a:pt x="1416568" y="428804"/>
                    </a:lnTo>
                    <a:lnTo>
                      <a:pt x="1417022" y="427743"/>
                    </a:lnTo>
                    <a:lnTo>
                      <a:pt x="1415204" y="425319"/>
                    </a:lnTo>
                    <a:lnTo>
                      <a:pt x="1372172" y="417591"/>
                    </a:lnTo>
                    <a:lnTo>
                      <a:pt x="1358990" y="417136"/>
                    </a:lnTo>
                    <a:lnTo>
                      <a:pt x="1356717" y="416530"/>
                    </a:lnTo>
                    <a:lnTo>
                      <a:pt x="1355959" y="414106"/>
                    </a:lnTo>
                    <a:lnTo>
                      <a:pt x="1357172" y="413500"/>
                    </a:lnTo>
                    <a:lnTo>
                      <a:pt x="1358838" y="413500"/>
                    </a:lnTo>
                    <a:lnTo>
                      <a:pt x="1360808" y="414106"/>
                    </a:lnTo>
                    <a:lnTo>
                      <a:pt x="1371718" y="415015"/>
                    </a:lnTo>
                    <a:lnTo>
                      <a:pt x="1378384" y="416076"/>
                    </a:lnTo>
                    <a:lnTo>
                      <a:pt x="1380506" y="414258"/>
                    </a:lnTo>
                    <a:lnTo>
                      <a:pt x="1380203" y="413045"/>
                    </a:lnTo>
                    <a:lnTo>
                      <a:pt x="1378839" y="411530"/>
                    </a:lnTo>
                    <a:lnTo>
                      <a:pt x="1375203" y="409409"/>
                    </a:lnTo>
                    <a:lnTo>
                      <a:pt x="1364596" y="404863"/>
                    </a:lnTo>
                    <a:lnTo>
                      <a:pt x="1359596" y="403803"/>
                    </a:lnTo>
                    <a:lnTo>
                      <a:pt x="1352929" y="403500"/>
                    </a:lnTo>
                    <a:lnTo>
                      <a:pt x="1346262" y="404106"/>
                    </a:lnTo>
                    <a:lnTo>
                      <a:pt x="1332322" y="407591"/>
                    </a:lnTo>
                    <a:lnTo>
                      <a:pt x="1320807" y="408348"/>
                    </a:lnTo>
                    <a:lnTo>
                      <a:pt x="1313230" y="407288"/>
                    </a:lnTo>
                    <a:lnTo>
                      <a:pt x="1301564" y="415621"/>
                    </a:lnTo>
                    <a:lnTo>
                      <a:pt x="1298533" y="417136"/>
                    </a:lnTo>
                    <a:lnTo>
                      <a:pt x="1299897" y="414561"/>
                    </a:lnTo>
                    <a:lnTo>
                      <a:pt x="1301564" y="412591"/>
                    </a:lnTo>
                    <a:lnTo>
                      <a:pt x="1304594" y="409863"/>
                    </a:lnTo>
                    <a:lnTo>
                      <a:pt x="1306109" y="406833"/>
                    </a:lnTo>
                    <a:lnTo>
                      <a:pt x="1307776" y="404409"/>
                    </a:lnTo>
                    <a:lnTo>
                      <a:pt x="1308079" y="403348"/>
                    </a:lnTo>
                    <a:lnTo>
                      <a:pt x="1308079" y="402136"/>
                    </a:lnTo>
                    <a:lnTo>
                      <a:pt x="1307473" y="399409"/>
                    </a:lnTo>
                    <a:lnTo>
                      <a:pt x="1307018" y="398499"/>
                    </a:lnTo>
                    <a:lnTo>
                      <a:pt x="1305806" y="397742"/>
                    </a:lnTo>
                    <a:lnTo>
                      <a:pt x="1301866" y="396075"/>
                    </a:lnTo>
                    <a:lnTo>
                      <a:pt x="1296715" y="392590"/>
                    </a:lnTo>
                    <a:lnTo>
                      <a:pt x="1291109" y="390317"/>
                    </a:lnTo>
                    <a:lnTo>
                      <a:pt x="1287321" y="390166"/>
                    </a:lnTo>
                    <a:lnTo>
                      <a:pt x="1282926" y="390923"/>
                    </a:lnTo>
                    <a:lnTo>
                      <a:pt x="1277775" y="390469"/>
                    </a:lnTo>
                    <a:lnTo>
                      <a:pt x="1268986" y="387893"/>
                    </a:lnTo>
                    <a:lnTo>
                      <a:pt x="1255047" y="384559"/>
                    </a:lnTo>
                    <a:lnTo>
                      <a:pt x="1241107" y="381832"/>
                    </a:lnTo>
                    <a:lnTo>
                      <a:pt x="1235349" y="381681"/>
                    </a:lnTo>
                    <a:lnTo>
                      <a:pt x="1229591" y="382590"/>
                    </a:lnTo>
                    <a:lnTo>
                      <a:pt x="1220954" y="385166"/>
                    </a:lnTo>
                    <a:lnTo>
                      <a:pt x="1216257" y="386075"/>
                    </a:lnTo>
                    <a:lnTo>
                      <a:pt x="1212621" y="386226"/>
                    </a:lnTo>
                    <a:lnTo>
                      <a:pt x="1210651" y="386984"/>
                    </a:lnTo>
                    <a:lnTo>
                      <a:pt x="1210348" y="388348"/>
                    </a:lnTo>
                    <a:lnTo>
                      <a:pt x="1209136" y="390317"/>
                    </a:lnTo>
                    <a:lnTo>
                      <a:pt x="1210348" y="391681"/>
                    </a:lnTo>
                    <a:lnTo>
                      <a:pt x="1213378" y="393651"/>
                    </a:lnTo>
                    <a:lnTo>
                      <a:pt x="1219591" y="396227"/>
                    </a:lnTo>
                    <a:lnTo>
                      <a:pt x="1220500" y="396984"/>
                    </a:lnTo>
                    <a:lnTo>
                      <a:pt x="1219136" y="398348"/>
                    </a:lnTo>
                    <a:lnTo>
                      <a:pt x="1215348" y="398954"/>
                    </a:lnTo>
                    <a:lnTo>
                      <a:pt x="1212924" y="398802"/>
                    </a:lnTo>
                    <a:lnTo>
                      <a:pt x="1207469" y="396681"/>
                    </a:lnTo>
                    <a:lnTo>
                      <a:pt x="1206863" y="398348"/>
                    </a:lnTo>
                    <a:lnTo>
                      <a:pt x="1206863" y="399409"/>
                    </a:lnTo>
                    <a:lnTo>
                      <a:pt x="1207318" y="400318"/>
                    </a:lnTo>
                    <a:lnTo>
                      <a:pt x="1208227" y="401075"/>
                    </a:lnTo>
                    <a:lnTo>
                      <a:pt x="1213833" y="402439"/>
                    </a:lnTo>
                    <a:lnTo>
                      <a:pt x="1232167" y="410015"/>
                    </a:lnTo>
                    <a:lnTo>
                      <a:pt x="1234894" y="410166"/>
                    </a:lnTo>
                    <a:lnTo>
                      <a:pt x="1240955" y="409106"/>
                    </a:lnTo>
                    <a:lnTo>
                      <a:pt x="1239743" y="410318"/>
                    </a:lnTo>
                    <a:lnTo>
                      <a:pt x="1237167" y="411833"/>
                    </a:lnTo>
                    <a:lnTo>
                      <a:pt x="1231106" y="413197"/>
                    </a:lnTo>
                    <a:lnTo>
                      <a:pt x="1230349" y="414712"/>
                    </a:lnTo>
                    <a:lnTo>
                      <a:pt x="1232622" y="416985"/>
                    </a:lnTo>
                    <a:lnTo>
                      <a:pt x="1235803" y="418652"/>
                    </a:lnTo>
                    <a:lnTo>
                      <a:pt x="1246561" y="421682"/>
                    </a:lnTo>
                    <a:lnTo>
                      <a:pt x="1251259" y="427288"/>
                    </a:lnTo>
                    <a:lnTo>
                      <a:pt x="1258835" y="427743"/>
                    </a:lnTo>
                    <a:lnTo>
                      <a:pt x="1265956" y="425773"/>
                    </a:lnTo>
                    <a:lnTo>
                      <a:pt x="1270047" y="425622"/>
                    </a:lnTo>
                    <a:lnTo>
                      <a:pt x="1275653" y="426531"/>
                    </a:lnTo>
                    <a:lnTo>
                      <a:pt x="1290199" y="427288"/>
                    </a:lnTo>
                    <a:lnTo>
                      <a:pt x="1295351" y="427137"/>
                    </a:lnTo>
                    <a:lnTo>
                      <a:pt x="1295957" y="426228"/>
                    </a:lnTo>
                    <a:lnTo>
                      <a:pt x="1298230" y="424864"/>
                    </a:lnTo>
                    <a:lnTo>
                      <a:pt x="1305048" y="422137"/>
                    </a:lnTo>
                    <a:lnTo>
                      <a:pt x="1308230" y="421834"/>
                    </a:lnTo>
                    <a:lnTo>
                      <a:pt x="1310958" y="422591"/>
                    </a:lnTo>
                    <a:lnTo>
                      <a:pt x="1316716" y="430470"/>
                    </a:lnTo>
                    <a:lnTo>
                      <a:pt x="1321413" y="436077"/>
                    </a:lnTo>
                    <a:lnTo>
                      <a:pt x="1327777" y="443350"/>
                    </a:lnTo>
                    <a:lnTo>
                      <a:pt x="1332322" y="447289"/>
                    </a:lnTo>
                    <a:lnTo>
                      <a:pt x="1335656" y="451077"/>
                    </a:lnTo>
                    <a:lnTo>
                      <a:pt x="1336868" y="453804"/>
                    </a:lnTo>
                    <a:lnTo>
                      <a:pt x="1338080" y="457744"/>
                    </a:lnTo>
                    <a:lnTo>
                      <a:pt x="1338838" y="461683"/>
                    </a:lnTo>
                    <a:lnTo>
                      <a:pt x="1338534" y="463047"/>
                    </a:lnTo>
                    <a:lnTo>
                      <a:pt x="1337777" y="464411"/>
                    </a:lnTo>
                    <a:lnTo>
                      <a:pt x="1331716" y="471684"/>
                    </a:lnTo>
                    <a:lnTo>
                      <a:pt x="1329443" y="475775"/>
                    </a:lnTo>
                    <a:lnTo>
                      <a:pt x="1328989" y="477139"/>
                    </a:lnTo>
                    <a:lnTo>
                      <a:pt x="1328989" y="479108"/>
                    </a:lnTo>
                    <a:lnTo>
                      <a:pt x="1329443" y="481836"/>
                    </a:lnTo>
                    <a:lnTo>
                      <a:pt x="1329898" y="483654"/>
                    </a:lnTo>
                    <a:lnTo>
                      <a:pt x="1331110" y="485472"/>
                    </a:lnTo>
                    <a:lnTo>
                      <a:pt x="1334898" y="488200"/>
                    </a:lnTo>
                    <a:lnTo>
                      <a:pt x="1338534" y="491382"/>
                    </a:lnTo>
                    <a:lnTo>
                      <a:pt x="1338989" y="492594"/>
                    </a:lnTo>
                    <a:lnTo>
                      <a:pt x="1336110" y="494260"/>
                    </a:lnTo>
                    <a:lnTo>
                      <a:pt x="1335807" y="495473"/>
                    </a:lnTo>
                    <a:lnTo>
                      <a:pt x="1337777" y="501079"/>
                    </a:lnTo>
                    <a:lnTo>
                      <a:pt x="1341565" y="509564"/>
                    </a:lnTo>
                    <a:lnTo>
                      <a:pt x="1343989" y="512291"/>
                    </a:lnTo>
                    <a:lnTo>
                      <a:pt x="1349596" y="514716"/>
                    </a:lnTo>
                    <a:lnTo>
                      <a:pt x="1352777" y="517140"/>
                    </a:lnTo>
                    <a:lnTo>
                      <a:pt x="1353838" y="517443"/>
                    </a:lnTo>
                    <a:lnTo>
                      <a:pt x="1358384" y="516534"/>
                    </a:lnTo>
                    <a:lnTo>
                      <a:pt x="1363081" y="517746"/>
                    </a:lnTo>
                    <a:lnTo>
                      <a:pt x="1363990" y="517443"/>
                    </a:lnTo>
                    <a:lnTo>
                      <a:pt x="1363232" y="514110"/>
                    </a:lnTo>
                    <a:lnTo>
                      <a:pt x="1364141" y="512746"/>
                    </a:lnTo>
                    <a:lnTo>
                      <a:pt x="1370960" y="508352"/>
                    </a:lnTo>
                    <a:lnTo>
                      <a:pt x="1370960" y="509261"/>
                    </a:lnTo>
                    <a:lnTo>
                      <a:pt x="1368839" y="512291"/>
                    </a:lnTo>
                    <a:lnTo>
                      <a:pt x="1368536" y="513958"/>
                    </a:lnTo>
                    <a:lnTo>
                      <a:pt x="1373536" y="515019"/>
                    </a:lnTo>
                    <a:lnTo>
                      <a:pt x="1379900" y="519564"/>
                    </a:lnTo>
                    <a:lnTo>
                      <a:pt x="1385203" y="519716"/>
                    </a:lnTo>
                    <a:lnTo>
                      <a:pt x="1394749" y="522443"/>
                    </a:lnTo>
                    <a:lnTo>
                      <a:pt x="1399749" y="522443"/>
                    </a:lnTo>
                    <a:close/>
                    <a:moveTo>
                      <a:pt x="1263229" y="450168"/>
                    </a:moveTo>
                    <a:lnTo>
                      <a:pt x="1263683" y="452289"/>
                    </a:lnTo>
                    <a:lnTo>
                      <a:pt x="1264441" y="453956"/>
                    </a:lnTo>
                    <a:lnTo>
                      <a:pt x="1265350" y="455168"/>
                    </a:lnTo>
                    <a:lnTo>
                      <a:pt x="1268835" y="456380"/>
                    </a:lnTo>
                    <a:lnTo>
                      <a:pt x="1271562" y="456380"/>
                    </a:lnTo>
                    <a:lnTo>
                      <a:pt x="1277017" y="455471"/>
                    </a:lnTo>
                    <a:lnTo>
                      <a:pt x="1277775" y="454865"/>
                    </a:lnTo>
                    <a:lnTo>
                      <a:pt x="1277926" y="454259"/>
                    </a:lnTo>
                    <a:lnTo>
                      <a:pt x="1277017" y="452138"/>
                    </a:lnTo>
                    <a:lnTo>
                      <a:pt x="1274744" y="448804"/>
                    </a:lnTo>
                    <a:lnTo>
                      <a:pt x="1273987" y="446986"/>
                    </a:lnTo>
                    <a:lnTo>
                      <a:pt x="1273229" y="443956"/>
                    </a:lnTo>
                    <a:lnTo>
                      <a:pt x="1272472" y="442743"/>
                    </a:lnTo>
                    <a:lnTo>
                      <a:pt x="1271411" y="442440"/>
                    </a:lnTo>
                    <a:lnTo>
                      <a:pt x="1265805" y="444713"/>
                    </a:lnTo>
                    <a:lnTo>
                      <a:pt x="1263229" y="444865"/>
                    </a:lnTo>
                    <a:lnTo>
                      <a:pt x="1262017" y="445319"/>
                    </a:lnTo>
                    <a:lnTo>
                      <a:pt x="1261410" y="446228"/>
                    </a:lnTo>
                    <a:lnTo>
                      <a:pt x="1261562" y="447289"/>
                    </a:lnTo>
                    <a:lnTo>
                      <a:pt x="1262471" y="448501"/>
                    </a:lnTo>
                    <a:lnTo>
                      <a:pt x="1263229" y="450168"/>
                    </a:lnTo>
                    <a:close/>
                    <a:moveTo>
                      <a:pt x="1210348" y="597901"/>
                    </a:moveTo>
                    <a:lnTo>
                      <a:pt x="1209590" y="596385"/>
                    </a:lnTo>
                    <a:lnTo>
                      <a:pt x="1207620" y="595173"/>
                    </a:lnTo>
                    <a:lnTo>
                      <a:pt x="1203378" y="596840"/>
                    </a:lnTo>
                    <a:lnTo>
                      <a:pt x="1201863" y="598204"/>
                    </a:lnTo>
                    <a:lnTo>
                      <a:pt x="1201408" y="599870"/>
                    </a:lnTo>
                    <a:lnTo>
                      <a:pt x="1201105" y="601689"/>
                    </a:lnTo>
                    <a:lnTo>
                      <a:pt x="1201257" y="605174"/>
                    </a:lnTo>
                    <a:lnTo>
                      <a:pt x="1205348" y="608810"/>
                    </a:lnTo>
                    <a:lnTo>
                      <a:pt x="1209742" y="608356"/>
                    </a:lnTo>
                    <a:lnTo>
                      <a:pt x="1211712" y="607749"/>
                    </a:lnTo>
                    <a:lnTo>
                      <a:pt x="1212772" y="606992"/>
                    </a:lnTo>
                    <a:lnTo>
                      <a:pt x="1213681" y="605325"/>
                    </a:lnTo>
                    <a:lnTo>
                      <a:pt x="1214591" y="602749"/>
                    </a:lnTo>
                    <a:lnTo>
                      <a:pt x="1214742" y="601083"/>
                    </a:lnTo>
                    <a:lnTo>
                      <a:pt x="1213378" y="599567"/>
                    </a:lnTo>
                    <a:lnTo>
                      <a:pt x="1210651" y="598355"/>
                    </a:lnTo>
                    <a:lnTo>
                      <a:pt x="1210348" y="597901"/>
                    </a:lnTo>
                    <a:close/>
                    <a:moveTo>
                      <a:pt x="1093374" y="339861"/>
                    </a:moveTo>
                    <a:lnTo>
                      <a:pt x="1091101" y="337740"/>
                    </a:lnTo>
                    <a:lnTo>
                      <a:pt x="1089283" y="336679"/>
                    </a:lnTo>
                    <a:lnTo>
                      <a:pt x="1085798" y="335315"/>
                    </a:lnTo>
                    <a:lnTo>
                      <a:pt x="1077161" y="333042"/>
                    </a:lnTo>
                    <a:lnTo>
                      <a:pt x="1069585" y="332588"/>
                    </a:lnTo>
                    <a:lnTo>
                      <a:pt x="1060191" y="333194"/>
                    </a:lnTo>
                    <a:lnTo>
                      <a:pt x="1055191" y="333649"/>
                    </a:lnTo>
                    <a:lnTo>
                      <a:pt x="1054585" y="334103"/>
                    </a:lnTo>
                    <a:lnTo>
                      <a:pt x="1054433" y="336224"/>
                    </a:lnTo>
                    <a:lnTo>
                      <a:pt x="1054888" y="340164"/>
                    </a:lnTo>
                    <a:lnTo>
                      <a:pt x="1057160" y="342588"/>
                    </a:lnTo>
                    <a:lnTo>
                      <a:pt x="1065343" y="344710"/>
                    </a:lnTo>
                    <a:lnTo>
                      <a:pt x="1072161" y="345013"/>
                    </a:lnTo>
                    <a:lnTo>
                      <a:pt x="1075949" y="344407"/>
                    </a:lnTo>
                    <a:lnTo>
                      <a:pt x="1078980" y="343194"/>
                    </a:lnTo>
                    <a:lnTo>
                      <a:pt x="1084131" y="342588"/>
                    </a:lnTo>
                    <a:lnTo>
                      <a:pt x="1094889" y="342285"/>
                    </a:lnTo>
                    <a:lnTo>
                      <a:pt x="1094435" y="340619"/>
                    </a:lnTo>
                    <a:lnTo>
                      <a:pt x="1093374" y="339861"/>
                    </a:lnTo>
                    <a:close/>
                    <a:moveTo>
                      <a:pt x="862911" y="848667"/>
                    </a:moveTo>
                    <a:lnTo>
                      <a:pt x="862153" y="851092"/>
                    </a:lnTo>
                    <a:lnTo>
                      <a:pt x="865941" y="853819"/>
                    </a:lnTo>
                    <a:lnTo>
                      <a:pt x="867002" y="853668"/>
                    </a:lnTo>
                    <a:lnTo>
                      <a:pt x="867002" y="852607"/>
                    </a:lnTo>
                    <a:lnTo>
                      <a:pt x="866547" y="851092"/>
                    </a:lnTo>
                    <a:lnTo>
                      <a:pt x="862911" y="848667"/>
                    </a:lnTo>
                    <a:close/>
                    <a:moveTo>
                      <a:pt x="1013674" y="405924"/>
                    </a:moveTo>
                    <a:lnTo>
                      <a:pt x="1012765" y="404863"/>
                    </a:lnTo>
                    <a:lnTo>
                      <a:pt x="1010492" y="404409"/>
                    </a:lnTo>
                    <a:lnTo>
                      <a:pt x="1006856" y="404409"/>
                    </a:lnTo>
                    <a:lnTo>
                      <a:pt x="998825" y="406378"/>
                    </a:lnTo>
                    <a:lnTo>
                      <a:pt x="996552" y="407742"/>
                    </a:lnTo>
                    <a:lnTo>
                      <a:pt x="996098" y="409106"/>
                    </a:lnTo>
                    <a:lnTo>
                      <a:pt x="996855" y="411530"/>
                    </a:lnTo>
                    <a:lnTo>
                      <a:pt x="998825" y="415015"/>
                    </a:lnTo>
                    <a:lnTo>
                      <a:pt x="1001552" y="421531"/>
                    </a:lnTo>
                    <a:lnTo>
                      <a:pt x="1002916" y="423197"/>
                    </a:lnTo>
                    <a:lnTo>
                      <a:pt x="1005340" y="423652"/>
                    </a:lnTo>
                    <a:lnTo>
                      <a:pt x="1027159" y="423500"/>
                    </a:lnTo>
                    <a:lnTo>
                      <a:pt x="1031553" y="422440"/>
                    </a:lnTo>
                    <a:lnTo>
                      <a:pt x="1034584" y="421076"/>
                    </a:lnTo>
                    <a:lnTo>
                      <a:pt x="1037766" y="419106"/>
                    </a:lnTo>
                    <a:lnTo>
                      <a:pt x="1039129" y="417591"/>
                    </a:lnTo>
                    <a:lnTo>
                      <a:pt x="1038675" y="416530"/>
                    </a:lnTo>
                    <a:lnTo>
                      <a:pt x="1034887" y="415015"/>
                    </a:lnTo>
                    <a:lnTo>
                      <a:pt x="1024129" y="411530"/>
                    </a:lnTo>
                    <a:lnTo>
                      <a:pt x="1023371" y="410166"/>
                    </a:lnTo>
                    <a:lnTo>
                      <a:pt x="1020341" y="408045"/>
                    </a:lnTo>
                    <a:lnTo>
                      <a:pt x="1017614" y="408197"/>
                    </a:lnTo>
                    <a:lnTo>
                      <a:pt x="1013371" y="409409"/>
                    </a:lnTo>
                    <a:lnTo>
                      <a:pt x="1012007" y="409106"/>
                    </a:lnTo>
                    <a:lnTo>
                      <a:pt x="1013523" y="407288"/>
                    </a:lnTo>
                    <a:lnTo>
                      <a:pt x="1013674" y="405924"/>
                    </a:lnTo>
                    <a:close/>
                    <a:moveTo>
                      <a:pt x="874275" y="854577"/>
                    </a:moveTo>
                    <a:lnTo>
                      <a:pt x="871244" y="854122"/>
                    </a:lnTo>
                    <a:lnTo>
                      <a:pt x="870790" y="854425"/>
                    </a:lnTo>
                    <a:lnTo>
                      <a:pt x="871396" y="855486"/>
                    </a:lnTo>
                    <a:lnTo>
                      <a:pt x="873214" y="856849"/>
                    </a:lnTo>
                    <a:lnTo>
                      <a:pt x="878063" y="858971"/>
                    </a:lnTo>
                    <a:lnTo>
                      <a:pt x="878820" y="858668"/>
                    </a:lnTo>
                    <a:lnTo>
                      <a:pt x="878972" y="858062"/>
                    </a:lnTo>
                    <a:lnTo>
                      <a:pt x="878366" y="856092"/>
                    </a:lnTo>
                    <a:lnTo>
                      <a:pt x="876699" y="854122"/>
                    </a:lnTo>
                    <a:lnTo>
                      <a:pt x="874275" y="854577"/>
                    </a:lnTo>
                    <a:close/>
                    <a:moveTo>
                      <a:pt x="993673" y="480169"/>
                    </a:moveTo>
                    <a:lnTo>
                      <a:pt x="990643" y="486230"/>
                    </a:lnTo>
                    <a:lnTo>
                      <a:pt x="989431" y="488351"/>
                    </a:lnTo>
                    <a:lnTo>
                      <a:pt x="988522" y="489109"/>
                    </a:lnTo>
                    <a:lnTo>
                      <a:pt x="988370" y="489866"/>
                    </a:lnTo>
                    <a:lnTo>
                      <a:pt x="990037" y="491382"/>
                    </a:lnTo>
                    <a:lnTo>
                      <a:pt x="995340" y="494564"/>
                    </a:lnTo>
                    <a:lnTo>
                      <a:pt x="1004280" y="496230"/>
                    </a:lnTo>
                    <a:lnTo>
                      <a:pt x="1009431" y="495927"/>
                    </a:lnTo>
                    <a:lnTo>
                      <a:pt x="1017765" y="493503"/>
                    </a:lnTo>
                    <a:lnTo>
                      <a:pt x="1020644" y="491533"/>
                    </a:lnTo>
                    <a:lnTo>
                      <a:pt x="1021856" y="490169"/>
                    </a:lnTo>
                    <a:lnTo>
                      <a:pt x="1022462" y="488806"/>
                    </a:lnTo>
                    <a:lnTo>
                      <a:pt x="1022462" y="487442"/>
                    </a:lnTo>
                    <a:lnTo>
                      <a:pt x="1021856" y="486078"/>
                    </a:lnTo>
                    <a:lnTo>
                      <a:pt x="1019735" y="483806"/>
                    </a:lnTo>
                    <a:lnTo>
                      <a:pt x="1019432" y="481836"/>
                    </a:lnTo>
                    <a:lnTo>
                      <a:pt x="1018220" y="478654"/>
                    </a:lnTo>
                    <a:lnTo>
                      <a:pt x="1017007" y="477290"/>
                    </a:lnTo>
                    <a:lnTo>
                      <a:pt x="1015189" y="476078"/>
                    </a:lnTo>
                    <a:lnTo>
                      <a:pt x="1010947" y="474260"/>
                    </a:lnTo>
                    <a:lnTo>
                      <a:pt x="1003522" y="473957"/>
                    </a:lnTo>
                    <a:lnTo>
                      <a:pt x="1000037" y="474866"/>
                    </a:lnTo>
                    <a:lnTo>
                      <a:pt x="995188" y="478351"/>
                    </a:lnTo>
                    <a:lnTo>
                      <a:pt x="993673" y="480169"/>
                    </a:lnTo>
                    <a:close/>
                    <a:moveTo>
                      <a:pt x="1042766" y="310617"/>
                    </a:moveTo>
                    <a:lnTo>
                      <a:pt x="1040493" y="310920"/>
                    </a:lnTo>
                    <a:lnTo>
                      <a:pt x="1036705" y="312133"/>
                    </a:lnTo>
                    <a:lnTo>
                      <a:pt x="1032614" y="315921"/>
                    </a:lnTo>
                    <a:lnTo>
                      <a:pt x="1032311" y="316981"/>
                    </a:lnTo>
                    <a:lnTo>
                      <a:pt x="1032311" y="317890"/>
                    </a:lnTo>
                    <a:lnTo>
                      <a:pt x="1032766" y="318648"/>
                    </a:lnTo>
                    <a:lnTo>
                      <a:pt x="1036402" y="319406"/>
                    </a:lnTo>
                    <a:lnTo>
                      <a:pt x="1039584" y="318193"/>
                    </a:lnTo>
                    <a:lnTo>
                      <a:pt x="1045493" y="313951"/>
                    </a:lnTo>
                    <a:lnTo>
                      <a:pt x="1044433" y="311981"/>
                    </a:lnTo>
                    <a:lnTo>
                      <a:pt x="1042766" y="310617"/>
                    </a:lnTo>
                    <a:close/>
                    <a:moveTo>
                      <a:pt x="1052615" y="431076"/>
                    </a:moveTo>
                    <a:lnTo>
                      <a:pt x="1051251" y="426228"/>
                    </a:lnTo>
                    <a:lnTo>
                      <a:pt x="1047312" y="424712"/>
                    </a:lnTo>
                    <a:lnTo>
                      <a:pt x="1037160" y="424409"/>
                    </a:lnTo>
                    <a:lnTo>
                      <a:pt x="1024280" y="427440"/>
                    </a:lnTo>
                    <a:lnTo>
                      <a:pt x="1012159" y="429410"/>
                    </a:lnTo>
                    <a:lnTo>
                      <a:pt x="1002916" y="431682"/>
                    </a:lnTo>
                    <a:lnTo>
                      <a:pt x="1001401" y="435925"/>
                    </a:lnTo>
                    <a:lnTo>
                      <a:pt x="1005946" y="439410"/>
                    </a:lnTo>
                    <a:lnTo>
                      <a:pt x="1013068" y="439410"/>
                    </a:lnTo>
                    <a:lnTo>
                      <a:pt x="1018068" y="440016"/>
                    </a:lnTo>
                    <a:lnTo>
                      <a:pt x="1013068" y="445925"/>
                    </a:lnTo>
                    <a:lnTo>
                      <a:pt x="1018977" y="448198"/>
                    </a:lnTo>
                    <a:lnTo>
                      <a:pt x="1034584" y="444410"/>
                    </a:lnTo>
                    <a:lnTo>
                      <a:pt x="1038978" y="446683"/>
                    </a:lnTo>
                    <a:lnTo>
                      <a:pt x="1033372" y="452138"/>
                    </a:lnTo>
                    <a:lnTo>
                      <a:pt x="1031402" y="455471"/>
                    </a:lnTo>
                    <a:lnTo>
                      <a:pt x="1041554" y="455471"/>
                    </a:lnTo>
                    <a:lnTo>
                      <a:pt x="1051554" y="454562"/>
                    </a:lnTo>
                    <a:lnTo>
                      <a:pt x="1053372" y="453047"/>
                    </a:lnTo>
                    <a:lnTo>
                      <a:pt x="1055797" y="449713"/>
                    </a:lnTo>
                    <a:lnTo>
                      <a:pt x="1058676" y="448198"/>
                    </a:lnTo>
                    <a:lnTo>
                      <a:pt x="1066100" y="446380"/>
                    </a:lnTo>
                    <a:lnTo>
                      <a:pt x="1067161" y="445774"/>
                    </a:lnTo>
                    <a:lnTo>
                      <a:pt x="1066858" y="445016"/>
                    </a:lnTo>
                    <a:lnTo>
                      <a:pt x="1061100" y="441531"/>
                    </a:lnTo>
                    <a:lnTo>
                      <a:pt x="1055494" y="437289"/>
                    </a:lnTo>
                    <a:lnTo>
                      <a:pt x="1053675" y="436834"/>
                    </a:lnTo>
                    <a:lnTo>
                      <a:pt x="1052615" y="431076"/>
                    </a:lnTo>
                    <a:close/>
                    <a:moveTo>
                      <a:pt x="1077767" y="407894"/>
                    </a:moveTo>
                    <a:lnTo>
                      <a:pt x="1077919" y="408954"/>
                    </a:lnTo>
                    <a:lnTo>
                      <a:pt x="1081252" y="409712"/>
                    </a:lnTo>
                    <a:lnTo>
                      <a:pt x="1088374" y="409409"/>
                    </a:lnTo>
                    <a:lnTo>
                      <a:pt x="1101556" y="405469"/>
                    </a:lnTo>
                    <a:lnTo>
                      <a:pt x="1114587" y="400621"/>
                    </a:lnTo>
                    <a:lnTo>
                      <a:pt x="1109132" y="399712"/>
                    </a:lnTo>
                    <a:lnTo>
                      <a:pt x="1104890" y="399560"/>
                    </a:lnTo>
                    <a:lnTo>
                      <a:pt x="1097616" y="400166"/>
                    </a:lnTo>
                    <a:lnTo>
                      <a:pt x="1095495" y="400621"/>
                    </a:lnTo>
                    <a:lnTo>
                      <a:pt x="1089889" y="404560"/>
                    </a:lnTo>
                    <a:lnTo>
                      <a:pt x="1080495" y="406682"/>
                    </a:lnTo>
                    <a:lnTo>
                      <a:pt x="1077767" y="407894"/>
                    </a:lnTo>
                    <a:close/>
                    <a:moveTo>
                      <a:pt x="1684759" y="767452"/>
                    </a:moveTo>
                    <a:lnTo>
                      <a:pt x="1680365" y="766392"/>
                    </a:lnTo>
                    <a:lnTo>
                      <a:pt x="1677032" y="767149"/>
                    </a:lnTo>
                    <a:lnTo>
                      <a:pt x="1672789" y="769119"/>
                    </a:lnTo>
                    <a:lnTo>
                      <a:pt x="1670062" y="769877"/>
                    </a:lnTo>
                    <a:lnTo>
                      <a:pt x="1667638" y="769574"/>
                    </a:lnTo>
                    <a:lnTo>
                      <a:pt x="1665971" y="770028"/>
                    </a:lnTo>
                    <a:lnTo>
                      <a:pt x="1664759" y="767755"/>
                    </a:lnTo>
                    <a:lnTo>
                      <a:pt x="1663547" y="766846"/>
                    </a:lnTo>
                    <a:lnTo>
                      <a:pt x="1661274" y="767301"/>
                    </a:lnTo>
                    <a:lnTo>
                      <a:pt x="1657789" y="767149"/>
                    </a:lnTo>
                    <a:lnTo>
                      <a:pt x="1657334" y="767907"/>
                    </a:lnTo>
                    <a:lnTo>
                      <a:pt x="1657031" y="769725"/>
                    </a:lnTo>
                    <a:lnTo>
                      <a:pt x="1656577" y="770028"/>
                    </a:lnTo>
                    <a:lnTo>
                      <a:pt x="1651425" y="769422"/>
                    </a:lnTo>
                    <a:lnTo>
                      <a:pt x="1649455" y="769877"/>
                    </a:lnTo>
                    <a:lnTo>
                      <a:pt x="1648091" y="771392"/>
                    </a:lnTo>
                    <a:lnTo>
                      <a:pt x="1647637" y="772452"/>
                    </a:lnTo>
                    <a:lnTo>
                      <a:pt x="1648091" y="773059"/>
                    </a:lnTo>
                    <a:lnTo>
                      <a:pt x="1657183" y="774422"/>
                    </a:lnTo>
                    <a:lnTo>
                      <a:pt x="1658546" y="775180"/>
                    </a:lnTo>
                    <a:lnTo>
                      <a:pt x="1660365" y="777453"/>
                    </a:lnTo>
                    <a:lnTo>
                      <a:pt x="1661122" y="777604"/>
                    </a:lnTo>
                    <a:lnTo>
                      <a:pt x="1662031" y="776695"/>
                    </a:lnTo>
                    <a:lnTo>
                      <a:pt x="1662638" y="776998"/>
                    </a:lnTo>
                    <a:lnTo>
                      <a:pt x="1663092" y="778513"/>
                    </a:lnTo>
                    <a:lnTo>
                      <a:pt x="1664910" y="779725"/>
                    </a:lnTo>
                    <a:lnTo>
                      <a:pt x="1668092" y="780786"/>
                    </a:lnTo>
                    <a:lnTo>
                      <a:pt x="1669911" y="780938"/>
                    </a:lnTo>
                    <a:lnTo>
                      <a:pt x="1670516" y="780332"/>
                    </a:lnTo>
                    <a:lnTo>
                      <a:pt x="1670062" y="778665"/>
                    </a:lnTo>
                    <a:lnTo>
                      <a:pt x="1667941" y="774877"/>
                    </a:lnTo>
                    <a:lnTo>
                      <a:pt x="1672486" y="776089"/>
                    </a:lnTo>
                    <a:lnTo>
                      <a:pt x="1681426" y="775028"/>
                    </a:lnTo>
                    <a:lnTo>
                      <a:pt x="1685517" y="772452"/>
                    </a:lnTo>
                    <a:lnTo>
                      <a:pt x="1686578" y="771089"/>
                    </a:lnTo>
                    <a:lnTo>
                      <a:pt x="1685820" y="770180"/>
                    </a:lnTo>
                    <a:lnTo>
                      <a:pt x="1684759" y="767452"/>
                    </a:lnTo>
                    <a:close/>
                    <a:moveTo>
                      <a:pt x="2080077" y="1125647"/>
                    </a:moveTo>
                    <a:lnTo>
                      <a:pt x="2079320" y="1126102"/>
                    </a:lnTo>
                    <a:lnTo>
                      <a:pt x="2078713" y="1125799"/>
                    </a:lnTo>
                    <a:lnTo>
                      <a:pt x="2077653" y="1123829"/>
                    </a:lnTo>
                    <a:lnTo>
                      <a:pt x="2076138" y="1123071"/>
                    </a:lnTo>
                    <a:lnTo>
                      <a:pt x="2074774" y="1123071"/>
                    </a:lnTo>
                    <a:lnTo>
                      <a:pt x="2073713" y="1123677"/>
                    </a:lnTo>
                    <a:lnTo>
                      <a:pt x="2073107" y="1125041"/>
                    </a:lnTo>
                    <a:lnTo>
                      <a:pt x="2073259" y="1126405"/>
                    </a:lnTo>
                    <a:lnTo>
                      <a:pt x="2075077" y="1129132"/>
                    </a:lnTo>
                    <a:lnTo>
                      <a:pt x="2081592" y="1131859"/>
                    </a:lnTo>
                    <a:lnTo>
                      <a:pt x="2082501" y="1131859"/>
                    </a:lnTo>
                    <a:lnTo>
                      <a:pt x="2083865" y="1130647"/>
                    </a:lnTo>
                    <a:lnTo>
                      <a:pt x="2083865" y="1129890"/>
                    </a:lnTo>
                    <a:lnTo>
                      <a:pt x="2083259" y="1129132"/>
                    </a:lnTo>
                    <a:lnTo>
                      <a:pt x="2081592" y="1128071"/>
                    </a:lnTo>
                    <a:lnTo>
                      <a:pt x="2080986" y="1127314"/>
                    </a:lnTo>
                    <a:lnTo>
                      <a:pt x="2080532" y="1126102"/>
                    </a:lnTo>
                    <a:lnTo>
                      <a:pt x="2080077" y="1125647"/>
                    </a:lnTo>
                    <a:close/>
                    <a:moveTo>
                      <a:pt x="2084774" y="1187013"/>
                    </a:moveTo>
                    <a:lnTo>
                      <a:pt x="2086744" y="1188377"/>
                    </a:lnTo>
                    <a:lnTo>
                      <a:pt x="2091593" y="1190498"/>
                    </a:lnTo>
                    <a:lnTo>
                      <a:pt x="2094775" y="1191559"/>
                    </a:lnTo>
                    <a:lnTo>
                      <a:pt x="2095684" y="1188680"/>
                    </a:lnTo>
                    <a:lnTo>
                      <a:pt x="2093108" y="1186104"/>
                    </a:lnTo>
                    <a:lnTo>
                      <a:pt x="2092199" y="1185649"/>
                    </a:lnTo>
                    <a:lnTo>
                      <a:pt x="2089017" y="1182619"/>
                    </a:lnTo>
                    <a:lnTo>
                      <a:pt x="2085229" y="1182770"/>
                    </a:lnTo>
                    <a:lnTo>
                      <a:pt x="2083714" y="1183074"/>
                    </a:lnTo>
                    <a:lnTo>
                      <a:pt x="2083714" y="1185195"/>
                    </a:lnTo>
                    <a:lnTo>
                      <a:pt x="2084774" y="1187013"/>
                    </a:lnTo>
                    <a:close/>
                    <a:moveTo>
                      <a:pt x="1618848" y="1477478"/>
                    </a:moveTo>
                    <a:lnTo>
                      <a:pt x="1632182" y="1481418"/>
                    </a:lnTo>
                    <a:lnTo>
                      <a:pt x="1639152" y="1484145"/>
                    </a:lnTo>
                    <a:lnTo>
                      <a:pt x="1641576" y="1484903"/>
                    </a:lnTo>
                    <a:lnTo>
                      <a:pt x="1647182" y="1485963"/>
                    </a:lnTo>
                    <a:lnTo>
                      <a:pt x="1649152" y="1485509"/>
                    </a:lnTo>
                    <a:lnTo>
                      <a:pt x="1649758" y="1483994"/>
                    </a:lnTo>
                    <a:lnTo>
                      <a:pt x="1649758" y="1482327"/>
                    </a:lnTo>
                    <a:lnTo>
                      <a:pt x="1648243" y="1478993"/>
                    </a:lnTo>
                    <a:lnTo>
                      <a:pt x="1644607" y="1474751"/>
                    </a:lnTo>
                    <a:lnTo>
                      <a:pt x="1638243" y="1468538"/>
                    </a:lnTo>
                    <a:lnTo>
                      <a:pt x="1632788" y="1467781"/>
                    </a:lnTo>
                    <a:lnTo>
                      <a:pt x="1618848" y="1469145"/>
                    </a:lnTo>
                    <a:lnTo>
                      <a:pt x="1617333" y="1469902"/>
                    </a:lnTo>
                    <a:lnTo>
                      <a:pt x="1615969" y="1471114"/>
                    </a:lnTo>
                    <a:lnTo>
                      <a:pt x="1613545" y="1474145"/>
                    </a:lnTo>
                    <a:lnTo>
                      <a:pt x="1614454" y="1475660"/>
                    </a:lnTo>
                    <a:lnTo>
                      <a:pt x="1618848" y="1477478"/>
                    </a:lnTo>
                    <a:close/>
                    <a:moveTo>
                      <a:pt x="1960527" y="1245955"/>
                    </a:moveTo>
                    <a:lnTo>
                      <a:pt x="1961133" y="1245955"/>
                    </a:lnTo>
                    <a:lnTo>
                      <a:pt x="1961891" y="1245349"/>
                    </a:lnTo>
                    <a:lnTo>
                      <a:pt x="1964164" y="1245652"/>
                    </a:lnTo>
                    <a:lnTo>
                      <a:pt x="1965831" y="1242773"/>
                    </a:lnTo>
                    <a:lnTo>
                      <a:pt x="1965982" y="1241864"/>
                    </a:lnTo>
                    <a:lnTo>
                      <a:pt x="1965224" y="1241561"/>
                    </a:lnTo>
                    <a:lnTo>
                      <a:pt x="1964921" y="1240803"/>
                    </a:lnTo>
                    <a:lnTo>
                      <a:pt x="1964921" y="1238682"/>
                    </a:lnTo>
                    <a:lnTo>
                      <a:pt x="1961891" y="1238682"/>
                    </a:lnTo>
                    <a:lnTo>
                      <a:pt x="1961133" y="1239591"/>
                    </a:lnTo>
                    <a:lnTo>
                      <a:pt x="1961588" y="1241409"/>
                    </a:lnTo>
                    <a:lnTo>
                      <a:pt x="1961436" y="1243227"/>
                    </a:lnTo>
                    <a:lnTo>
                      <a:pt x="1960527" y="1245955"/>
                    </a:lnTo>
                    <a:close/>
                    <a:moveTo>
                      <a:pt x="1998105" y="1180346"/>
                    </a:moveTo>
                    <a:lnTo>
                      <a:pt x="1995074" y="1179589"/>
                    </a:lnTo>
                    <a:lnTo>
                      <a:pt x="1993559" y="1180649"/>
                    </a:lnTo>
                    <a:lnTo>
                      <a:pt x="1990983" y="1185043"/>
                    </a:lnTo>
                    <a:lnTo>
                      <a:pt x="1988104" y="1188983"/>
                    </a:lnTo>
                    <a:lnTo>
                      <a:pt x="1987346" y="1190801"/>
                    </a:lnTo>
                    <a:lnTo>
                      <a:pt x="1987346" y="1193225"/>
                    </a:lnTo>
                    <a:lnTo>
                      <a:pt x="1988407" y="1194134"/>
                    </a:lnTo>
                    <a:lnTo>
                      <a:pt x="1990831" y="1193832"/>
                    </a:lnTo>
                    <a:lnTo>
                      <a:pt x="1996892" y="1191256"/>
                    </a:lnTo>
                    <a:lnTo>
                      <a:pt x="1999317" y="1189740"/>
                    </a:lnTo>
                    <a:lnTo>
                      <a:pt x="2001438" y="1187619"/>
                    </a:lnTo>
                    <a:lnTo>
                      <a:pt x="2002195" y="1185195"/>
                    </a:lnTo>
                    <a:lnTo>
                      <a:pt x="2001438" y="1183528"/>
                    </a:lnTo>
                    <a:lnTo>
                      <a:pt x="1999620" y="1181407"/>
                    </a:lnTo>
                    <a:lnTo>
                      <a:pt x="1998105" y="1180346"/>
                    </a:lnTo>
                    <a:close/>
                    <a:moveTo>
                      <a:pt x="1747641" y="1048523"/>
                    </a:moveTo>
                    <a:lnTo>
                      <a:pt x="1741277" y="1052614"/>
                    </a:lnTo>
                    <a:lnTo>
                      <a:pt x="1749762" y="1058675"/>
                    </a:lnTo>
                    <a:lnTo>
                      <a:pt x="1753398" y="1060493"/>
                    </a:lnTo>
                    <a:lnTo>
                      <a:pt x="1757186" y="1061402"/>
                    </a:lnTo>
                    <a:lnTo>
                      <a:pt x="1760065" y="1060948"/>
                    </a:lnTo>
                    <a:lnTo>
                      <a:pt x="1760823" y="1056251"/>
                    </a:lnTo>
                    <a:lnTo>
                      <a:pt x="1757793" y="1053220"/>
                    </a:lnTo>
                    <a:lnTo>
                      <a:pt x="1747641" y="1048523"/>
                    </a:lnTo>
                    <a:close/>
                    <a:moveTo>
                      <a:pt x="1930678" y="1089434"/>
                    </a:moveTo>
                    <a:lnTo>
                      <a:pt x="1924314" y="1086252"/>
                    </a:lnTo>
                    <a:lnTo>
                      <a:pt x="1919920" y="1084888"/>
                    </a:lnTo>
                    <a:lnTo>
                      <a:pt x="1915071" y="1083827"/>
                    </a:lnTo>
                    <a:lnTo>
                      <a:pt x="1911738" y="1083221"/>
                    </a:lnTo>
                    <a:lnTo>
                      <a:pt x="1909465" y="1083373"/>
                    </a:lnTo>
                    <a:lnTo>
                      <a:pt x="1911738" y="1085797"/>
                    </a:lnTo>
                    <a:lnTo>
                      <a:pt x="1915829" y="1087009"/>
                    </a:lnTo>
                    <a:lnTo>
                      <a:pt x="1919465" y="1090646"/>
                    </a:lnTo>
                    <a:lnTo>
                      <a:pt x="1919768" y="1093070"/>
                    </a:lnTo>
                    <a:lnTo>
                      <a:pt x="1921738" y="1095192"/>
                    </a:lnTo>
                    <a:lnTo>
                      <a:pt x="1923859" y="1096252"/>
                    </a:lnTo>
                    <a:lnTo>
                      <a:pt x="1927799" y="1097161"/>
                    </a:lnTo>
                    <a:lnTo>
                      <a:pt x="1931435" y="1097464"/>
                    </a:lnTo>
                    <a:lnTo>
                      <a:pt x="1933405" y="1097313"/>
                    </a:lnTo>
                    <a:lnTo>
                      <a:pt x="1934769" y="1096707"/>
                    </a:lnTo>
                    <a:lnTo>
                      <a:pt x="1935375" y="1095949"/>
                    </a:lnTo>
                    <a:lnTo>
                      <a:pt x="1934769" y="1094282"/>
                    </a:lnTo>
                    <a:lnTo>
                      <a:pt x="1932647" y="1092161"/>
                    </a:lnTo>
                    <a:lnTo>
                      <a:pt x="1930678" y="1089434"/>
                    </a:lnTo>
                    <a:close/>
                    <a:moveTo>
                      <a:pt x="1689002" y="1365656"/>
                    </a:moveTo>
                    <a:lnTo>
                      <a:pt x="1690214" y="1367323"/>
                    </a:lnTo>
                    <a:lnTo>
                      <a:pt x="1691578" y="1367020"/>
                    </a:lnTo>
                    <a:lnTo>
                      <a:pt x="1694154" y="1359898"/>
                    </a:lnTo>
                    <a:lnTo>
                      <a:pt x="1695972" y="1356110"/>
                    </a:lnTo>
                    <a:lnTo>
                      <a:pt x="1698245" y="1352171"/>
                    </a:lnTo>
                    <a:lnTo>
                      <a:pt x="1699002" y="1350049"/>
                    </a:lnTo>
                    <a:lnTo>
                      <a:pt x="1698396" y="1349746"/>
                    </a:lnTo>
                    <a:lnTo>
                      <a:pt x="1698093" y="1349140"/>
                    </a:lnTo>
                    <a:lnTo>
                      <a:pt x="1698093" y="1348080"/>
                    </a:lnTo>
                    <a:lnTo>
                      <a:pt x="1697487" y="1346110"/>
                    </a:lnTo>
                    <a:lnTo>
                      <a:pt x="1696578" y="1345504"/>
                    </a:lnTo>
                    <a:lnTo>
                      <a:pt x="1694305" y="1344898"/>
                    </a:lnTo>
                    <a:lnTo>
                      <a:pt x="1693699" y="1344140"/>
                    </a:lnTo>
                    <a:lnTo>
                      <a:pt x="1693093" y="1342322"/>
                    </a:lnTo>
                    <a:lnTo>
                      <a:pt x="1692184" y="1341564"/>
                    </a:lnTo>
                    <a:lnTo>
                      <a:pt x="1690669" y="1341110"/>
                    </a:lnTo>
                    <a:lnTo>
                      <a:pt x="1689760" y="1340352"/>
                    </a:lnTo>
                    <a:lnTo>
                      <a:pt x="1689305" y="1339291"/>
                    </a:lnTo>
                    <a:lnTo>
                      <a:pt x="1689002" y="1339140"/>
                    </a:lnTo>
                    <a:lnTo>
                      <a:pt x="1688093" y="1344443"/>
                    </a:lnTo>
                    <a:lnTo>
                      <a:pt x="1687184" y="1347776"/>
                    </a:lnTo>
                    <a:lnTo>
                      <a:pt x="1685669" y="1351716"/>
                    </a:lnTo>
                    <a:lnTo>
                      <a:pt x="1683850" y="1354292"/>
                    </a:lnTo>
                    <a:lnTo>
                      <a:pt x="1681729" y="1355504"/>
                    </a:lnTo>
                    <a:lnTo>
                      <a:pt x="1681275" y="1355049"/>
                    </a:lnTo>
                    <a:lnTo>
                      <a:pt x="1682487" y="1352928"/>
                    </a:lnTo>
                    <a:lnTo>
                      <a:pt x="1683396" y="1350352"/>
                    </a:lnTo>
                    <a:lnTo>
                      <a:pt x="1684608" y="1345201"/>
                    </a:lnTo>
                    <a:lnTo>
                      <a:pt x="1684456" y="1342625"/>
                    </a:lnTo>
                    <a:lnTo>
                      <a:pt x="1684153" y="1341716"/>
                    </a:lnTo>
                    <a:lnTo>
                      <a:pt x="1683850" y="1341564"/>
                    </a:lnTo>
                    <a:lnTo>
                      <a:pt x="1683547" y="1342170"/>
                    </a:lnTo>
                    <a:lnTo>
                      <a:pt x="1683547" y="1344595"/>
                    </a:lnTo>
                    <a:lnTo>
                      <a:pt x="1683093" y="1346716"/>
                    </a:lnTo>
                    <a:lnTo>
                      <a:pt x="1682184" y="1349746"/>
                    </a:lnTo>
                    <a:lnTo>
                      <a:pt x="1679911" y="1352928"/>
                    </a:lnTo>
                    <a:lnTo>
                      <a:pt x="1674608" y="1357928"/>
                    </a:lnTo>
                    <a:lnTo>
                      <a:pt x="1668850" y="1364898"/>
                    </a:lnTo>
                    <a:lnTo>
                      <a:pt x="1668698" y="1365656"/>
                    </a:lnTo>
                    <a:lnTo>
                      <a:pt x="1669304" y="1366414"/>
                    </a:lnTo>
                    <a:lnTo>
                      <a:pt x="1671577" y="1367171"/>
                    </a:lnTo>
                    <a:lnTo>
                      <a:pt x="1674911" y="1364444"/>
                    </a:lnTo>
                    <a:lnTo>
                      <a:pt x="1680820" y="1357474"/>
                    </a:lnTo>
                    <a:lnTo>
                      <a:pt x="1681426" y="1357171"/>
                    </a:lnTo>
                    <a:lnTo>
                      <a:pt x="1682790" y="1357625"/>
                    </a:lnTo>
                    <a:lnTo>
                      <a:pt x="1682638" y="1358534"/>
                    </a:lnTo>
                    <a:lnTo>
                      <a:pt x="1675365" y="1369595"/>
                    </a:lnTo>
                    <a:lnTo>
                      <a:pt x="1679759" y="1367020"/>
                    </a:lnTo>
                    <a:lnTo>
                      <a:pt x="1681881" y="1367171"/>
                    </a:lnTo>
                    <a:lnTo>
                      <a:pt x="1682790" y="1367020"/>
                    </a:lnTo>
                    <a:lnTo>
                      <a:pt x="1683850" y="1366262"/>
                    </a:lnTo>
                    <a:lnTo>
                      <a:pt x="1685214" y="1364747"/>
                    </a:lnTo>
                    <a:lnTo>
                      <a:pt x="1690366" y="1355504"/>
                    </a:lnTo>
                    <a:lnTo>
                      <a:pt x="1691426" y="1354140"/>
                    </a:lnTo>
                    <a:lnTo>
                      <a:pt x="1692487" y="1355352"/>
                    </a:lnTo>
                    <a:lnTo>
                      <a:pt x="1692639" y="1356110"/>
                    </a:lnTo>
                    <a:lnTo>
                      <a:pt x="1692487" y="1357019"/>
                    </a:lnTo>
                    <a:lnTo>
                      <a:pt x="1689002" y="1365656"/>
                    </a:lnTo>
                    <a:close/>
                    <a:moveTo>
                      <a:pt x="1822492" y="1091101"/>
                    </a:moveTo>
                    <a:lnTo>
                      <a:pt x="1819613" y="1089737"/>
                    </a:lnTo>
                    <a:lnTo>
                      <a:pt x="1817946" y="1089434"/>
                    </a:lnTo>
                    <a:lnTo>
                      <a:pt x="1816431" y="1089737"/>
                    </a:lnTo>
                    <a:lnTo>
                      <a:pt x="1816280" y="1090343"/>
                    </a:lnTo>
                    <a:lnTo>
                      <a:pt x="1819765" y="1092161"/>
                    </a:lnTo>
                    <a:lnTo>
                      <a:pt x="1826431" y="1094131"/>
                    </a:lnTo>
                    <a:lnTo>
                      <a:pt x="1831886" y="1094585"/>
                    </a:lnTo>
                    <a:lnTo>
                      <a:pt x="1833401" y="1094282"/>
                    </a:lnTo>
                    <a:lnTo>
                      <a:pt x="1833704" y="1093525"/>
                    </a:lnTo>
                    <a:lnTo>
                      <a:pt x="1832947" y="1092313"/>
                    </a:lnTo>
                    <a:lnTo>
                      <a:pt x="1830371" y="1091555"/>
                    </a:lnTo>
                    <a:lnTo>
                      <a:pt x="1822492" y="1091101"/>
                    </a:lnTo>
                    <a:close/>
                    <a:moveTo>
                      <a:pt x="2067804" y="1135496"/>
                    </a:moveTo>
                    <a:lnTo>
                      <a:pt x="2067956" y="1137163"/>
                    </a:lnTo>
                    <a:lnTo>
                      <a:pt x="2068865" y="1139133"/>
                    </a:lnTo>
                    <a:lnTo>
                      <a:pt x="2077198" y="1143678"/>
                    </a:lnTo>
                    <a:lnTo>
                      <a:pt x="2078259" y="1144587"/>
                    </a:lnTo>
                    <a:lnTo>
                      <a:pt x="2080986" y="1145496"/>
                    </a:lnTo>
                    <a:lnTo>
                      <a:pt x="2082956" y="1147769"/>
                    </a:lnTo>
                    <a:lnTo>
                      <a:pt x="2083562" y="1147921"/>
                    </a:lnTo>
                    <a:lnTo>
                      <a:pt x="2084168" y="1147466"/>
                    </a:lnTo>
                    <a:lnTo>
                      <a:pt x="2085380" y="1145496"/>
                    </a:lnTo>
                    <a:lnTo>
                      <a:pt x="2086896" y="1144436"/>
                    </a:lnTo>
                    <a:lnTo>
                      <a:pt x="2087805" y="1143072"/>
                    </a:lnTo>
                    <a:lnTo>
                      <a:pt x="2087956" y="1140193"/>
                    </a:lnTo>
                    <a:lnTo>
                      <a:pt x="2088562" y="1137920"/>
                    </a:lnTo>
                    <a:lnTo>
                      <a:pt x="2086138" y="1136102"/>
                    </a:lnTo>
                    <a:lnTo>
                      <a:pt x="2085229" y="1135041"/>
                    </a:lnTo>
                    <a:lnTo>
                      <a:pt x="2080683" y="1134132"/>
                    </a:lnTo>
                    <a:lnTo>
                      <a:pt x="2075835" y="1134132"/>
                    </a:lnTo>
                    <a:lnTo>
                      <a:pt x="2070380" y="1134890"/>
                    </a:lnTo>
                    <a:lnTo>
                      <a:pt x="2067804" y="1135496"/>
                    </a:lnTo>
                    <a:close/>
                    <a:moveTo>
                      <a:pt x="2081441" y="1100040"/>
                    </a:moveTo>
                    <a:lnTo>
                      <a:pt x="2080683" y="1101101"/>
                    </a:lnTo>
                    <a:lnTo>
                      <a:pt x="2082198" y="1102616"/>
                    </a:lnTo>
                    <a:lnTo>
                      <a:pt x="2084017" y="1103222"/>
                    </a:lnTo>
                    <a:lnTo>
                      <a:pt x="2088865" y="1104131"/>
                    </a:lnTo>
                    <a:lnTo>
                      <a:pt x="2091896" y="1103828"/>
                    </a:lnTo>
                    <a:lnTo>
                      <a:pt x="2093714" y="1102768"/>
                    </a:lnTo>
                    <a:lnTo>
                      <a:pt x="2095381" y="1099737"/>
                    </a:lnTo>
                    <a:lnTo>
                      <a:pt x="2094169" y="1097616"/>
                    </a:lnTo>
                    <a:lnTo>
                      <a:pt x="2092805" y="1097010"/>
                    </a:lnTo>
                    <a:lnTo>
                      <a:pt x="2089623" y="1097161"/>
                    </a:lnTo>
                    <a:lnTo>
                      <a:pt x="2084320" y="1096707"/>
                    </a:lnTo>
                    <a:lnTo>
                      <a:pt x="2083562" y="1097313"/>
                    </a:lnTo>
                    <a:lnTo>
                      <a:pt x="2083562" y="1098070"/>
                    </a:lnTo>
                    <a:lnTo>
                      <a:pt x="2084168" y="1098980"/>
                    </a:lnTo>
                    <a:lnTo>
                      <a:pt x="2083714" y="1099434"/>
                    </a:lnTo>
                    <a:lnTo>
                      <a:pt x="2081441" y="1100040"/>
                    </a:lnTo>
                    <a:close/>
                    <a:moveTo>
                      <a:pt x="2185233" y="1361413"/>
                    </a:moveTo>
                    <a:lnTo>
                      <a:pt x="2189475" y="1362019"/>
                    </a:lnTo>
                    <a:lnTo>
                      <a:pt x="2189172" y="1361110"/>
                    </a:lnTo>
                    <a:lnTo>
                      <a:pt x="2190233" y="1359595"/>
                    </a:lnTo>
                    <a:lnTo>
                      <a:pt x="2189930" y="1358838"/>
                    </a:lnTo>
                    <a:lnTo>
                      <a:pt x="2187657" y="1357625"/>
                    </a:lnTo>
                    <a:lnTo>
                      <a:pt x="2186596" y="1357171"/>
                    </a:lnTo>
                    <a:lnTo>
                      <a:pt x="2184627" y="1358080"/>
                    </a:lnTo>
                    <a:lnTo>
                      <a:pt x="2183718" y="1359141"/>
                    </a:lnTo>
                    <a:lnTo>
                      <a:pt x="2183566" y="1360050"/>
                    </a:lnTo>
                    <a:lnTo>
                      <a:pt x="2183718" y="1360656"/>
                    </a:lnTo>
                    <a:lnTo>
                      <a:pt x="2185233" y="1361413"/>
                    </a:lnTo>
                    <a:close/>
                    <a:moveTo>
                      <a:pt x="2343269" y="1516874"/>
                    </a:moveTo>
                    <a:lnTo>
                      <a:pt x="2345087" y="1515358"/>
                    </a:lnTo>
                    <a:lnTo>
                      <a:pt x="2345693" y="1512934"/>
                    </a:lnTo>
                    <a:lnTo>
                      <a:pt x="2343723" y="1513389"/>
                    </a:lnTo>
                    <a:lnTo>
                      <a:pt x="2342208" y="1515055"/>
                    </a:lnTo>
                    <a:lnTo>
                      <a:pt x="2341602" y="1516419"/>
                    </a:lnTo>
                    <a:lnTo>
                      <a:pt x="2341905" y="1516874"/>
                    </a:lnTo>
                    <a:lnTo>
                      <a:pt x="2343269" y="1516874"/>
                    </a:lnTo>
                    <a:close/>
                    <a:moveTo>
                      <a:pt x="2373119" y="1599755"/>
                    </a:moveTo>
                    <a:lnTo>
                      <a:pt x="2374028" y="1599604"/>
                    </a:lnTo>
                    <a:lnTo>
                      <a:pt x="2381149" y="1597179"/>
                    </a:lnTo>
                    <a:lnTo>
                      <a:pt x="2380088" y="1596573"/>
                    </a:lnTo>
                    <a:lnTo>
                      <a:pt x="2378118" y="1594301"/>
                    </a:lnTo>
                    <a:lnTo>
                      <a:pt x="2376907" y="1593998"/>
                    </a:lnTo>
                    <a:lnTo>
                      <a:pt x="2375240" y="1596270"/>
                    </a:lnTo>
                    <a:lnTo>
                      <a:pt x="2373573" y="1595210"/>
                    </a:lnTo>
                    <a:lnTo>
                      <a:pt x="2373119" y="1595513"/>
                    </a:lnTo>
                    <a:lnTo>
                      <a:pt x="2372815" y="1597331"/>
                    </a:lnTo>
                    <a:lnTo>
                      <a:pt x="2372815" y="1599604"/>
                    </a:lnTo>
                    <a:lnTo>
                      <a:pt x="2373119" y="1599755"/>
                    </a:lnTo>
                    <a:close/>
                    <a:moveTo>
                      <a:pt x="2359027" y="1602937"/>
                    </a:moveTo>
                    <a:lnTo>
                      <a:pt x="2360239" y="1602483"/>
                    </a:lnTo>
                    <a:lnTo>
                      <a:pt x="2361148" y="1601725"/>
                    </a:lnTo>
                    <a:lnTo>
                      <a:pt x="2365391" y="1599604"/>
                    </a:lnTo>
                    <a:lnTo>
                      <a:pt x="2365845" y="1598543"/>
                    </a:lnTo>
                    <a:lnTo>
                      <a:pt x="2365239" y="1598089"/>
                    </a:lnTo>
                    <a:lnTo>
                      <a:pt x="2363573" y="1598392"/>
                    </a:lnTo>
                    <a:lnTo>
                      <a:pt x="2360391" y="1600513"/>
                    </a:lnTo>
                    <a:lnTo>
                      <a:pt x="2359482" y="1600513"/>
                    </a:lnTo>
                    <a:lnTo>
                      <a:pt x="2359027" y="1600210"/>
                    </a:lnTo>
                    <a:lnTo>
                      <a:pt x="2358876" y="1599604"/>
                    </a:lnTo>
                    <a:lnTo>
                      <a:pt x="2358269" y="1599301"/>
                    </a:lnTo>
                    <a:lnTo>
                      <a:pt x="2357057" y="1599452"/>
                    </a:lnTo>
                    <a:lnTo>
                      <a:pt x="2356906" y="1600210"/>
                    </a:lnTo>
                    <a:lnTo>
                      <a:pt x="2358118" y="1602331"/>
                    </a:lnTo>
                    <a:lnTo>
                      <a:pt x="2359027" y="1602937"/>
                    </a:lnTo>
                    <a:close/>
                    <a:moveTo>
                      <a:pt x="2165838" y="1301108"/>
                    </a:moveTo>
                    <a:lnTo>
                      <a:pt x="2164626" y="1301411"/>
                    </a:lnTo>
                    <a:lnTo>
                      <a:pt x="2163414" y="1302169"/>
                    </a:lnTo>
                    <a:lnTo>
                      <a:pt x="2162201" y="1301714"/>
                    </a:lnTo>
                    <a:lnTo>
                      <a:pt x="2161595" y="1302017"/>
                    </a:lnTo>
                    <a:lnTo>
                      <a:pt x="2161444" y="1302320"/>
                    </a:lnTo>
                    <a:lnTo>
                      <a:pt x="2162353" y="1304442"/>
                    </a:lnTo>
                    <a:lnTo>
                      <a:pt x="2167353" y="1307320"/>
                    </a:lnTo>
                    <a:lnTo>
                      <a:pt x="2171596" y="1307623"/>
                    </a:lnTo>
                    <a:lnTo>
                      <a:pt x="2170990" y="1303381"/>
                    </a:lnTo>
                    <a:lnTo>
                      <a:pt x="2168717" y="1302169"/>
                    </a:lnTo>
                    <a:lnTo>
                      <a:pt x="2165838" y="1301108"/>
                    </a:lnTo>
                    <a:close/>
                    <a:moveTo>
                      <a:pt x="2164323" y="914730"/>
                    </a:moveTo>
                    <a:lnTo>
                      <a:pt x="2169323" y="916549"/>
                    </a:lnTo>
                    <a:lnTo>
                      <a:pt x="2174626" y="920185"/>
                    </a:lnTo>
                    <a:lnTo>
                      <a:pt x="2176596" y="919731"/>
                    </a:lnTo>
                    <a:lnTo>
                      <a:pt x="2180536" y="917761"/>
                    </a:lnTo>
                    <a:lnTo>
                      <a:pt x="2180687" y="915943"/>
                    </a:lnTo>
                    <a:lnTo>
                      <a:pt x="2179172" y="914124"/>
                    </a:lnTo>
                    <a:lnTo>
                      <a:pt x="2174778" y="910033"/>
                    </a:lnTo>
                    <a:lnTo>
                      <a:pt x="2166293" y="902912"/>
                    </a:lnTo>
                    <a:lnTo>
                      <a:pt x="2162353" y="898821"/>
                    </a:lnTo>
                    <a:lnTo>
                      <a:pt x="2158111" y="897609"/>
                    </a:lnTo>
                    <a:lnTo>
                      <a:pt x="2151140" y="904124"/>
                    </a:lnTo>
                    <a:lnTo>
                      <a:pt x="2145080" y="903063"/>
                    </a:lnTo>
                    <a:lnTo>
                      <a:pt x="2142201" y="901851"/>
                    </a:lnTo>
                    <a:lnTo>
                      <a:pt x="2140685" y="902912"/>
                    </a:lnTo>
                    <a:lnTo>
                      <a:pt x="2138867" y="902912"/>
                    </a:lnTo>
                    <a:lnTo>
                      <a:pt x="2135382" y="902154"/>
                    </a:lnTo>
                    <a:lnTo>
                      <a:pt x="2130382" y="903366"/>
                    </a:lnTo>
                    <a:lnTo>
                      <a:pt x="2121443" y="906245"/>
                    </a:lnTo>
                    <a:lnTo>
                      <a:pt x="2116897" y="908215"/>
                    </a:lnTo>
                    <a:lnTo>
                      <a:pt x="2115078" y="908215"/>
                    </a:lnTo>
                    <a:lnTo>
                      <a:pt x="2125837" y="900336"/>
                    </a:lnTo>
                    <a:lnTo>
                      <a:pt x="2127200" y="898972"/>
                    </a:lnTo>
                    <a:lnTo>
                      <a:pt x="2127806" y="897002"/>
                    </a:lnTo>
                    <a:lnTo>
                      <a:pt x="2128867" y="894730"/>
                    </a:lnTo>
                    <a:lnTo>
                      <a:pt x="2129776" y="892002"/>
                    </a:lnTo>
                    <a:lnTo>
                      <a:pt x="2133109" y="889123"/>
                    </a:lnTo>
                    <a:lnTo>
                      <a:pt x="2125533" y="884426"/>
                    </a:lnTo>
                    <a:lnTo>
                      <a:pt x="2119927" y="883366"/>
                    </a:lnTo>
                    <a:lnTo>
                      <a:pt x="2117957" y="882456"/>
                    </a:lnTo>
                    <a:lnTo>
                      <a:pt x="2115685" y="883972"/>
                    </a:lnTo>
                    <a:lnTo>
                      <a:pt x="2111594" y="885335"/>
                    </a:lnTo>
                    <a:lnTo>
                      <a:pt x="2111290" y="887760"/>
                    </a:lnTo>
                    <a:lnTo>
                      <a:pt x="2105078" y="887608"/>
                    </a:lnTo>
                    <a:lnTo>
                      <a:pt x="2101593" y="888063"/>
                    </a:lnTo>
                    <a:lnTo>
                      <a:pt x="2097048" y="888063"/>
                    </a:lnTo>
                    <a:lnTo>
                      <a:pt x="2096441" y="885941"/>
                    </a:lnTo>
                    <a:lnTo>
                      <a:pt x="2090532" y="885335"/>
                    </a:lnTo>
                    <a:lnTo>
                      <a:pt x="2087502" y="883669"/>
                    </a:lnTo>
                    <a:lnTo>
                      <a:pt x="2090835" y="883517"/>
                    </a:lnTo>
                    <a:lnTo>
                      <a:pt x="2093866" y="884123"/>
                    </a:lnTo>
                    <a:lnTo>
                      <a:pt x="2098411" y="883517"/>
                    </a:lnTo>
                    <a:lnTo>
                      <a:pt x="2106442" y="883820"/>
                    </a:lnTo>
                    <a:lnTo>
                      <a:pt x="2104472" y="876850"/>
                    </a:lnTo>
                    <a:lnTo>
                      <a:pt x="2110684" y="873517"/>
                    </a:lnTo>
                    <a:lnTo>
                      <a:pt x="2105987" y="869426"/>
                    </a:lnTo>
                    <a:lnTo>
                      <a:pt x="2102199" y="870941"/>
                    </a:lnTo>
                    <a:lnTo>
                      <a:pt x="2095684" y="865486"/>
                    </a:lnTo>
                    <a:lnTo>
                      <a:pt x="2092047" y="862001"/>
                    </a:lnTo>
                    <a:lnTo>
                      <a:pt x="2089017" y="860637"/>
                    </a:lnTo>
                    <a:lnTo>
                      <a:pt x="2083714" y="863213"/>
                    </a:lnTo>
                    <a:lnTo>
                      <a:pt x="2078410" y="863062"/>
                    </a:lnTo>
                    <a:lnTo>
                      <a:pt x="2077047" y="861395"/>
                    </a:lnTo>
                    <a:lnTo>
                      <a:pt x="2078259" y="858213"/>
                    </a:lnTo>
                    <a:lnTo>
                      <a:pt x="2080229" y="855940"/>
                    </a:lnTo>
                    <a:lnTo>
                      <a:pt x="2082805" y="854728"/>
                    </a:lnTo>
                    <a:lnTo>
                      <a:pt x="2083562" y="853516"/>
                    </a:lnTo>
                    <a:lnTo>
                      <a:pt x="2081138" y="851546"/>
                    </a:lnTo>
                    <a:lnTo>
                      <a:pt x="2079623" y="850940"/>
                    </a:lnTo>
                    <a:lnTo>
                      <a:pt x="2077198" y="851698"/>
                    </a:lnTo>
                    <a:lnTo>
                      <a:pt x="2070683" y="855789"/>
                    </a:lnTo>
                    <a:lnTo>
                      <a:pt x="2067501" y="858668"/>
                    </a:lnTo>
                    <a:lnTo>
                      <a:pt x="2066743" y="860941"/>
                    </a:lnTo>
                    <a:lnTo>
                      <a:pt x="2067501" y="866092"/>
                    </a:lnTo>
                    <a:lnTo>
                      <a:pt x="2068259" y="868214"/>
                    </a:lnTo>
                    <a:lnTo>
                      <a:pt x="2067804" y="868517"/>
                    </a:lnTo>
                    <a:lnTo>
                      <a:pt x="2064016" y="864274"/>
                    </a:lnTo>
                    <a:lnTo>
                      <a:pt x="2063713" y="862759"/>
                    </a:lnTo>
                    <a:lnTo>
                      <a:pt x="2065380" y="856395"/>
                    </a:lnTo>
                    <a:lnTo>
                      <a:pt x="2064925" y="854880"/>
                    </a:lnTo>
                    <a:lnTo>
                      <a:pt x="2063258" y="854274"/>
                    </a:lnTo>
                    <a:lnTo>
                      <a:pt x="2059622" y="854122"/>
                    </a:lnTo>
                    <a:lnTo>
                      <a:pt x="2058107" y="855486"/>
                    </a:lnTo>
                    <a:lnTo>
                      <a:pt x="2055228" y="857153"/>
                    </a:lnTo>
                    <a:lnTo>
                      <a:pt x="2052197" y="855486"/>
                    </a:lnTo>
                    <a:lnTo>
                      <a:pt x="2053106" y="852001"/>
                    </a:lnTo>
                    <a:lnTo>
                      <a:pt x="2053106" y="850183"/>
                    </a:lnTo>
                    <a:lnTo>
                      <a:pt x="2051894" y="850334"/>
                    </a:lnTo>
                    <a:lnTo>
                      <a:pt x="2045379" y="855486"/>
                    </a:lnTo>
                    <a:lnTo>
                      <a:pt x="2042197" y="860486"/>
                    </a:lnTo>
                    <a:lnTo>
                      <a:pt x="2040833" y="861547"/>
                    </a:lnTo>
                    <a:lnTo>
                      <a:pt x="2039470" y="861395"/>
                    </a:lnTo>
                    <a:lnTo>
                      <a:pt x="2037197" y="860637"/>
                    </a:lnTo>
                    <a:lnTo>
                      <a:pt x="2037045" y="860183"/>
                    </a:lnTo>
                    <a:lnTo>
                      <a:pt x="2040227" y="858062"/>
                    </a:lnTo>
                    <a:lnTo>
                      <a:pt x="2044015" y="851698"/>
                    </a:lnTo>
                    <a:lnTo>
                      <a:pt x="2044318" y="847758"/>
                    </a:lnTo>
                    <a:lnTo>
                      <a:pt x="2045833" y="840334"/>
                    </a:lnTo>
                    <a:lnTo>
                      <a:pt x="2037197" y="841697"/>
                    </a:lnTo>
                    <a:lnTo>
                      <a:pt x="2034469" y="843516"/>
                    </a:lnTo>
                    <a:lnTo>
                      <a:pt x="2035227" y="848213"/>
                    </a:lnTo>
                    <a:lnTo>
                      <a:pt x="2033712" y="851849"/>
                    </a:lnTo>
                    <a:lnTo>
                      <a:pt x="2033106" y="852152"/>
                    </a:lnTo>
                    <a:lnTo>
                      <a:pt x="2032651" y="847910"/>
                    </a:lnTo>
                    <a:lnTo>
                      <a:pt x="2031894" y="847455"/>
                    </a:lnTo>
                    <a:lnTo>
                      <a:pt x="2027197" y="850637"/>
                    </a:lnTo>
                    <a:lnTo>
                      <a:pt x="2026590" y="850486"/>
                    </a:lnTo>
                    <a:lnTo>
                      <a:pt x="2027045" y="848970"/>
                    </a:lnTo>
                    <a:lnTo>
                      <a:pt x="2029015" y="845182"/>
                    </a:lnTo>
                    <a:lnTo>
                      <a:pt x="2029166" y="843516"/>
                    </a:lnTo>
                    <a:lnTo>
                      <a:pt x="2027197" y="841243"/>
                    </a:lnTo>
                    <a:lnTo>
                      <a:pt x="2023560" y="838212"/>
                    </a:lnTo>
                    <a:lnTo>
                      <a:pt x="2024469" y="835940"/>
                    </a:lnTo>
                    <a:lnTo>
                      <a:pt x="2030833" y="833515"/>
                    </a:lnTo>
                    <a:lnTo>
                      <a:pt x="2032197" y="832455"/>
                    </a:lnTo>
                    <a:lnTo>
                      <a:pt x="2031439" y="831849"/>
                    </a:lnTo>
                    <a:lnTo>
                      <a:pt x="2028409" y="831242"/>
                    </a:lnTo>
                    <a:lnTo>
                      <a:pt x="2021439" y="831697"/>
                    </a:lnTo>
                    <a:lnTo>
                      <a:pt x="2019014" y="831545"/>
                    </a:lnTo>
                    <a:lnTo>
                      <a:pt x="2015832" y="830485"/>
                    </a:lnTo>
                    <a:lnTo>
                      <a:pt x="2012196" y="830030"/>
                    </a:lnTo>
                    <a:lnTo>
                      <a:pt x="2009165" y="828364"/>
                    </a:lnTo>
                    <a:lnTo>
                      <a:pt x="2006741" y="827606"/>
                    </a:lnTo>
                    <a:lnTo>
                      <a:pt x="2003711" y="827757"/>
                    </a:lnTo>
                    <a:lnTo>
                      <a:pt x="2000680" y="828970"/>
                    </a:lnTo>
                    <a:lnTo>
                      <a:pt x="1999014" y="828970"/>
                    </a:lnTo>
                    <a:lnTo>
                      <a:pt x="1996286" y="827757"/>
                    </a:lnTo>
                    <a:lnTo>
                      <a:pt x="1993256" y="824576"/>
                    </a:lnTo>
                    <a:lnTo>
                      <a:pt x="1993104" y="821545"/>
                    </a:lnTo>
                    <a:lnTo>
                      <a:pt x="1991589" y="820484"/>
                    </a:lnTo>
                    <a:lnTo>
                      <a:pt x="1988256" y="819121"/>
                    </a:lnTo>
                    <a:lnTo>
                      <a:pt x="1982649" y="818363"/>
                    </a:lnTo>
                    <a:lnTo>
                      <a:pt x="1973558" y="817909"/>
                    </a:lnTo>
                    <a:lnTo>
                      <a:pt x="1961285" y="813211"/>
                    </a:lnTo>
                    <a:lnTo>
                      <a:pt x="1960679" y="812605"/>
                    </a:lnTo>
                    <a:lnTo>
                      <a:pt x="1960982" y="812302"/>
                    </a:lnTo>
                    <a:lnTo>
                      <a:pt x="1964012" y="812454"/>
                    </a:lnTo>
                    <a:lnTo>
                      <a:pt x="1977498" y="815484"/>
                    </a:lnTo>
                    <a:lnTo>
                      <a:pt x="1979164" y="815484"/>
                    </a:lnTo>
                    <a:lnTo>
                      <a:pt x="1982498" y="813969"/>
                    </a:lnTo>
                    <a:lnTo>
                      <a:pt x="1985074" y="813515"/>
                    </a:lnTo>
                    <a:lnTo>
                      <a:pt x="1988559" y="813818"/>
                    </a:lnTo>
                    <a:lnTo>
                      <a:pt x="1997044" y="816242"/>
                    </a:lnTo>
                    <a:lnTo>
                      <a:pt x="2000680" y="816696"/>
                    </a:lnTo>
                    <a:lnTo>
                      <a:pt x="2003105" y="812908"/>
                    </a:lnTo>
                    <a:lnTo>
                      <a:pt x="2004317" y="809575"/>
                    </a:lnTo>
                    <a:lnTo>
                      <a:pt x="2004317" y="804575"/>
                    </a:lnTo>
                    <a:lnTo>
                      <a:pt x="2002044" y="803211"/>
                    </a:lnTo>
                    <a:lnTo>
                      <a:pt x="1994165" y="800029"/>
                    </a:lnTo>
                    <a:lnTo>
                      <a:pt x="1989165" y="798362"/>
                    </a:lnTo>
                    <a:lnTo>
                      <a:pt x="1986134" y="798059"/>
                    </a:lnTo>
                    <a:lnTo>
                      <a:pt x="1970376" y="802454"/>
                    </a:lnTo>
                    <a:lnTo>
                      <a:pt x="1969012" y="801544"/>
                    </a:lnTo>
                    <a:lnTo>
                      <a:pt x="1980528" y="796393"/>
                    </a:lnTo>
                    <a:lnTo>
                      <a:pt x="1986286" y="795181"/>
                    </a:lnTo>
                    <a:lnTo>
                      <a:pt x="1992044" y="796544"/>
                    </a:lnTo>
                    <a:lnTo>
                      <a:pt x="1999165" y="794423"/>
                    </a:lnTo>
                    <a:lnTo>
                      <a:pt x="2003862" y="796696"/>
                    </a:lnTo>
                    <a:lnTo>
                      <a:pt x="2008105" y="798059"/>
                    </a:lnTo>
                    <a:lnTo>
                      <a:pt x="2011438" y="798362"/>
                    </a:lnTo>
                    <a:lnTo>
                      <a:pt x="2015529" y="797453"/>
                    </a:lnTo>
                    <a:lnTo>
                      <a:pt x="2018863" y="798059"/>
                    </a:lnTo>
                    <a:lnTo>
                      <a:pt x="2029924" y="798969"/>
                    </a:lnTo>
                    <a:lnTo>
                      <a:pt x="2032500" y="798211"/>
                    </a:lnTo>
                    <a:lnTo>
                      <a:pt x="2033257" y="797150"/>
                    </a:lnTo>
                    <a:lnTo>
                      <a:pt x="2033409" y="793968"/>
                    </a:lnTo>
                    <a:lnTo>
                      <a:pt x="2033106" y="792605"/>
                    </a:lnTo>
                    <a:lnTo>
                      <a:pt x="2032197" y="791393"/>
                    </a:lnTo>
                    <a:lnTo>
                      <a:pt x="2030681" y="790180"/>
                    </a:lnTo>
                    <a:lnTo>
                      <a:pt x="2022954" y="786089"/>
                    </a:lnTo>
                    <a:lnTo>
                      <a:pt x="2017954" y="784271"/>
                    </a:lnTo>
                    <a:lnTo>
                      <a:pt x="2014620" y="783665"/>
                    </a:lnTo>
                    <a:lnTo>
                      <a:pt x="2004620" y="783362"/>
                    </a:lnTo>
                    <a:lnTo>
                      <a:pt x="2001893" y="783513"/>
                    </a:lnTo>
                    <a:lnTo>
                      <a:pt x="1999620" y="784271"/>
                    </a:lnTo>
                    <a:lnTo>
                      <a:pt x="1995528" y="783513"/>
                    </a:lnTo>
                    <a:lnTo>
                      <a:pt x="1983104" y="778513"/>
                    </a:lnTo>
                    <a:lnTo>
                      <a:pt x="1975679" y="779119"/>
                    </a:lnTo>
                    <a:lnTo>
                      <a:pt x="1967800" y="781392"/>
                    </a:lnTo>
                    <a:lnTo>
                      <a:pt x="1962952" y="781695"/>
                    </a:lnTo>
                    <a:lnTo>
                      <a:pt x="1963558" y="780028"/>
                    </a:lnTo>
                    <a:lnTo>
                      <a:pt x="1966437" y="778665"/>
                    </a:lnTo>
                    <a:lnTo>
                      <a:pt x="1974316" y="776240"/>
                    </a:lnTo>
                    <a:lnTo>
                      <a:pt x="1978861" y="775331"/>
                    </a:lnTo>
                    <a:lnTo>
                      <a:pt x="1987043" y="775331"/>
                    </a:lnTo>
                    <a:lnTo>
                      <a:pt x="1989316" y="774271"/>
                    </a:lnTo>
                    <a:lnTo>
                      <a:pt x="1990529" y="772452"/>
                    </a:lnTo>
                    <a:lnTo>
                      <a:pt x="1992195" y="770937"/>
                    </a:lnTo>
                    <a:lnTo>
                      <a:pt x="1994317" y="769725"/>
                    </a:lnTo>
                    <a:lnTo>
                      <a:pt x="1996892" y="768967"/>
                    </a:lnTo>
                    <a:lnTo>
                      <a:pt x="2002802" y="768664"/>
                    </a:lnTo>
                    <a:lnTo>
                      <a:pt x="2015681" y="771392"/>
                    </a:lnTo>
                    <a:lnTo>
                      <a:pt x="2017802" y="771392"/>
                    </a:lnTo>
                    <a:lnTo>
                      <a:pt x="2018863" y="770937"/>
                    </a:lnTo>
                    <a:lnTo>
                      <a:pt x="2019620" y="769725"/>
                    </a:lnTo>
                    <a:lnTo>
                      <a:pt x="2020226" y="767604"/>
                    </a:lnTo>
                    <a:lnTo>
                      <a:pt x="2019620" y="764573"/>
                    </a:lnTo>
                    <a:lnTo>
                      <a:pt x="2016287" y="757755"/>
                    </a:lnTo>
                    <a:lnTo>
                      <a:pt x="2015075" y="755937"/>
                    </a:lnTo>
                    <a:lnTo>
                      <a:pt x="2005377" y="746845"/>
                    </a:lnTo>
                    <a:lnTo>
                      <a:pt x="2001589" y="743815"/>
                    </a:lnTo>
                    <a:lnTo>
                      <a:pt x="1995983" y="741997"/>
                    </a:lnTo>
                    <a:lnTo>
                      <a:pt x="1994317" y="742148"/>
                    </a:lnTo>
                    <a:lnTo>
                      <a:pt x="1992044" y="743815"/>
                    </a:lnTo>
                    <a:lnTo>
                      <a:pt x="1989922" y="746391"/>
                    </a:lnTo>
                    <a:lnTo>
                      <a:pt x="1988710" y="748815"/>
                    </a:lnTo>
                    <a:lnTo>
                      <a:pt x="1989013" y="749724"/>
                    </a:lnTo>
                    <a:lnTo>
                      <a:pt x="1992044" y="751240"/>
                    </a:lnTo>
                    <a:lnTo>
                      <a:pt x="1991438" y="751997"/>
                    </a:lnTo>
                    <a:lnTo>
                      <a:pt x="1989468" y="753209"/>
                    </a:lnTo>
                    <a:lnTo>
                      <a:pt x="1987043" y="753967"/>
                    </a:lnTo>
                    <a:lnTo>
                      <a:pt x="1984316" y="754270"/>
                    </a:lnTo>
                    <a:lnTo>
                      <a:pt x="1981892" y="755937"/>
                    </a:lnTo>
                    <a:lnTo>
                      <a:pt x="1979770" y="758967"/>
                    </a:lnTo>
                    <a:lnTo>
                      <a:pt x="1977346" y="760331"/>
                    </a:lnTo>
                    <a:lnTo>
                      <a:pt x="1973103" y="759725"/>
                    </a:lnTo>
                    <a:lnTo>
                      <a:pt x="1970073" y="758513"/>
                    </a:lnTo>
                    <a:lnTo>
                      <a:pt x="1974770" y="753512"/>
                    </a:lnTo>
                    <a:lnTo>
                      <a:pt x="1976437" y="752452"/>
                    </a:lnTo>
                    <a:lnTo>
                      <a:pt x="1977952" y="750330"/>
                    </a:lnTo>
                    <a:lnTo>
                      <a:pt x="1977649" y="748664"/>
                    </a:lnTo>
                    <a:lnTo>
                      <a:pt x="1977195" y="747755"/>
                    </a:lnTo>
                    <a:lnTo>
                      <a:pt x="1976437" y="747603"/>
                    </a:lnTo>
                    <a:lnTo>
                      <a:pt x="1972649" y="747452"/>
                    </a:lnTo>
                    <a:lnTo>
                      <a:pt x="1963709" y="748512"/>
                    </a:lnTo>
                    <a:lnTo>
                      <a:pt x="1957194" y="749724"/>
                    </a:lnTo>
                    <a:lnTo>
                      <a:pt x="1953103" y="751240"/>
                    </a:lnTo>
                    <a:lnTo>
                      <a:pt x="1948709" y="755331"/>
                    </a:lnTo>
                    <a:lnTo>
                      <a:pt x="1945527" y="756240"/>
                    </a:lnTo>
                    <a:lnTo>
                      <a:pt x="1941587" y="755634"/>
                    </a:lnTo>
                    <a:lnTo>
                      <a:pt x="1941436" y="754270"/>
                    </a:lnTo>
                    <a:lnTo>
                      <a:pt x="1951284" y="748512"/>
                    </a:lnTo>
                    <a:lnTo>
                      <a:pt x="1958558" y="745330"/>
                    </a:lnTo>
                    <a:lnTo>
                      <a:pt x="1962346" y="744118"/>
                    </a:lnTo>
                    <a:lnTo>
                      <a:pt x="1968406" y="743512"/>
                    </a:lnTo>
                    <a:lnTo>
                      <a:pt x="1974922" y="742300"/>
                    </a:lnTo>
                    <a:lnTo>
                      <a:pt x="1976286" y="741845"/>
                    </a:lnTo>
                    <a:lnTo>
                      <a:pt x="1980376" y="738966"/>
                    </a:lnTo>
                    <a:lnTo>
                      <a:pt x="1982649" y="737906"/>
                    </a:lnTo>
                    <a:lnTo>
                      <a:pt x="1984771" y="737451"/>
                    </a:lnTo>
                    <a:lnTo>
                      <a:pt x="1986589" y="736239"/>
                    </a:lnTo>
                    <a:lnTo>
                      <a:pt x="1988104" y="734269"/>
                    </a:lnTo>
                    <a:lnTo>
                      <a:pt x="1988256" y="732148"/>
                    </a:lnTo>
                    <a:lnTo>
                      <a:pt x="1987043" y="730027"/>
                    </a:lnTo>
                    <a:lnTo>
                      <a:pt x="1985831" y="728511"/>
                    </a:lnTo>
                    <a:lnTo>
                      <a:pt x="1984468" y="727754"/>
                    </a:lnTo>
                    <a:lnTo>
                      <a:pt x="1973710" y="723966"/>
                    </a:lnTo>
                    <a:lnTo>
                      <a:pt x="1968861" y="721996"/>
                    </a:lnTo>
                    <a:lnTo>
                      <a:pt x="1965982" y="720178"/>
                    </a:lnTo>
                    <a:lnTo>
                      <a:pt x="1962649" y="719269"/>
                    </a:lnTo>
                    <a:lnTo>
                      <a:pt x="1959770" y="718966"/>
                    </a:lnTo>
                    <a:lnTo>
                      <a:pt x="1955224" y="719572"/>
                    </a:lnTo>
                    <a:lnTo>
                      <a:pt x="1951588" y="719117"/>
                    </a:lnTo>
                    <a:lnTo>
                      <a:pt x="1948860" y="716693"/>
                    </a:lnTo>
                    <a:lnTo>
                      <a:pt x="1944618" y="716238"/>
                    </a:lnTo>
                    <a:lnTo>
                      <a:pt x="1940981" y="716996"/>
                    </a:lnTo>
                    <a:lnTo>
                      <a:pt x="1934011" y="719117"/>
                    </a:lnTo>
                    <a:lnTo>
                      <a:pt x="1927950" y="721541"/>
                    </a:lnTo>
                    <a:lnTo>
                      <a:pt x="1920071" y="726239"/>
                    </a:lnTo>
                    <a:lnTo>
                      <a:pt x="1916586" y="729421"/>
                    </a:lnTo>
                    <a:lnTo>
                      <a:pt x="1914768" y="732451"/>
                    </a:lnTo>
                    <a:lnTo>
                      <a:pt x="1907495" y="747755"/>
                    </a:lnTo>
                    <a:lnTo>
                      <a:pt x="1904919" y="751694"/>
                    </a:lnTo>
                    <a:lnTo>
                      <a:pt x="1904313" y="751694"/>
                    </a:lnTo>
                    <a:lnTo>
                      <a:pt x="1908404" y="736997"/>
                    </a:lnTo>
                    <a:lnTo>
                      <a:pt x="1908556" y="733209"/>
                    </a:lnTo>
                    <a:lnTo>
                      <a:pt x="1907192" y="731693"/>
                    </a:lnTo>
                    <a:lnTo>
                      <a:pt x="1905828" y="730784"/>
                    </a:lnTo>
                    <a:lnTo>
                      <a:pt x="1904465" y="730633"/>
                    </a:lnTo>
                    <a:lnTo>
                      <a:pt x="1903101" y="731087"/>
                    </a:lnTo>
                    <a:lnTo>
                      <a:pt x="1900677" y="733057"/>
                    </a:lnTo>
                    <a:lnTo>
                      <a:pt x="1897495" y="737451"/>
                    </a:lnTo>
                    <a:lnTo>
                      <a:pt x="1896283" y="738512"/>
                    </a:lnTo>
                    <a:lnTo>
                      <a:pt x="1895070" y="738512"/>
                    </a:lnTo>
                    <a:lnTo>
                      <a:pt x="1891888" y="736694"/>
                    </a:lnTo>
                    <a:lnTo>
                      <a:pt x="1894313" y="735481"/>
                    </a:lnTo>
                    <a:lnTo>
                      <a:pt x="1896283" y="733966"/>
                    </a:lnTo>
                    <a:lnTo>
                      <a:pt x="1898252" y="731693"/>
                    </a:lnTo>
                    <a:lnTo>
                      <a:pt x="1900222" y="730027"/>
                    </a:lnTo>
                    <a:lnTo>
                      <a:pt x="1905828" y="728057"/>
                    </a:lnTo>
                    <a:lnTo>
                      <a:pt x="1910980" y="726845"/>
                    </a:lnTo>
                    <a:lnTo>
                      <a:pt x="1915677" y="724572"/>
                    </a:lnTo>
                    <a:lnTo>
                      <a:pt x="1922799" y="718663"/>
                    </a:lnTo>
                    <a:lnTo>
                      <a:pt x="1925677" y="714723"/>
                    </a:lnTo>
                    <a:lnTo>
                      <a:pt x="1926132" y="713208"/>
                    </a:lnTo>
                    <a:lnTo>
                      <a:pt x="1926132" y="708056"/>
                    </a:lnTo>
                    <a:lnTo>
                      <a:pt x="1925071" y="705783"/>
                    </a:lnTo>
                    <a:lnTo>
                      <a:pt x="1921738" y="703208"/>
                    </a:lnTo>
                    <a:lnTo>
                      <a:pt x="1920829" y="702904"/>
                    </a:lnTo>
                    <a:lnTo>
                      <a:pt x="1919162" y="703359"/>
                    </a:lnTo>
                    <a:lnTo>
                      <a:pt x="1914920" y="705783"/>
                    </a:lnTo>
                    <a:lnTo>
                      <a:pt x="1911132" y="709420"/>
                    </a:lnTo>
                    <a:lnTo>
                      <a:pt x="1906131" y="709571"/>
                    </a:lnTo>
                    <a:lnTo>
                      <a:pt x="1895979" y="705935"/>
                    </a:lnTo>
                    <a:lnTo>
                      <a:pt x="1888707" y="707602"/>
                    </a:lnTo>
                    <a:lnTo>
                      <a:pt x="1884919" y="711238"/>
                    </a:lnTo>
                    <a:lnTo>
                      <a:pt x="1882949" y="714723"/>
                    </a:lnTo>
                    <a:lnTo>
                      <a:pt x="1880524" y="716541"/>
                    </a:lnTo>
                    <a:lnTo>
                      <a:pt x="1871736" y="716693"/>
                    </a:lnTo>
                    <a:lnTo>
                      <a:pt x="1872645" y="715784"/>
                    </a:lnTo>
                    <a:lnTo>
                      <a:pt x="1876736" y="714117"/>
                    </a:lnTo>
                    <a:lnTo>
                      <a:pt x="1880827" y="711390"/>
                    </a:lnTo>
                    <a:lnTo>
                      <a:pt x="1888252" y="705026"/>
                    </a:lnTo>
                    <a:lnTo>
                      <a:pt x="1890676" y="703511"/>
                    </a:lnTo>
                    <a:lnTo>
                      <a:pt x="1892949" y="703056"/>
                    </a:lnTo>
                    <a:lnTo>
                      <a:pt x="1900222" y="703965"/>
                    </a:lnTo>
                    <a:lnTo>
                      <a:pt x="1902949" y="703056"/>
                    </a:lnTo>
                    <a:lnTo>
                      <a:pt x="1905677" y="700935"/>
                    </a:lnTo>
                    <a:lnTo>
                      <a:pt x="1910525" y="696238"/>
                    </a:lnTo>
                    <a:lnTo>
                      <a:pt x="1911435" y="694268"/>
                    </a:lnTo>
                    <a:lnTo>
                      <a:pt x="1910222" y="691237"/>
                    </a:lnTo>
                    <a:lnTo>
                      <a:pt x="1909465" y="690025"/>
                    </a:lnTo>
                    <a:lnTo>
                      <a:pt x="1907344" y="687904"/>
                    </a:lnTo>
                    <a:lnTo>
                      <a:pt x="1903859" y="684874"/>
                    </a:lnTo>
                    <a:lnTo>
                      <a:pt x="1898858" y="682146"/>
                    </a:lnTo>
                    <a:lnTo>
                      <a:pt x="1892495" y="679873"/>
                    </a:lnTo>
                    <a:lnTo>
                      <a:pt x="1885828" y="678207"/>
                    </a:lnTo>
                    <a:lnTo>
                      <a:pt x="1879009" y="677297"/>
                    </a:lnTo>
                    <a:lnTo>
                      <a:pt x="1874767" y="676994"/>
                    </a:lnTo>
                    <a:lnTo>
                      <a:pt x="1873100" y="677449"/>
                    </a:lnTo>
                    <a:lnTo>
                      <a:pt x="1869766" y="675782"/>
                    </a:lnTo>
                    <a:lnTo>
                      <a:pt x="1864312" y="673812"/>
                    </a:lnTo>
                    <a:lnTo>
                      <a:pt x="1856584" y="679570"/>
                    </a:lnTo>
                    <a:lnTo>
                      <a:pt x="1854008" y="680934"/>
                    </a:lnTo>
                    <a:lnTo>
                      <a:pt x="1853099" y="683661"/>
                    </a:lnTo>
                    <a:lnTo>
                      <a:pt x="1856281" y="690480"/>
                    </a:lnTo>
                    <a:lnTo>
                      <a:pt x="1856584" y="693813"/>
                    </a:lnTo>
                    <a:lnTo>
                      <a:pt x="1854311" y="691843"/>
                    </a:lnTo>
                    <a:lnTo>
                      <a:pt x="1850675" y="689268"/>
                    </a:lnTo>
                    <a:lnTo>
                      <a:pt x="1848402" y="683964"/>
                    </a:lnTo>
                    <a:lnTo>
                      <a:pt x="1844614" y="681692"/>
                    </a:lnTo>
                    <a:lnTo>
                      <a:pt x="1842190" y="678510"/>
                    </a:lnTo>
                    <a:lnTo>
                      <a:pt x="1838402" y="681995"/>
                    </a:lnTo>
                    <a:lnTo>
                      <a:pt x="1835068" y="684267"/>
                    </a:lnTo>
                    <a:lnTo>
                      <a:pt x="1832644" y="686540"/>
                    </a:lnTo>
                    <a:lnTo>
                      <a:pt x="1829007" y="687601"/>
                    </a:lnTo>
                    <a:lnTo>
                      <a:pt x="1837947" y="677752"/>
                    </a:lnTo>
                    <a:lnTo>
                      <a:pt x="1842190" y="671691"/>
                    </a:lnTo>
                    <a:lnTo>
                      <a:pt x="1842341" y="670327"/>
                    </a:lnTo>
                    <a:lnTo>
                      <a:pt x="1839462" y="669115"/>
                    </a:lnTo>
                    <a:lnTo>
                      <a:pt x="1838098" y="669115"/>
                    </a:lnTo>
                    <a:lnTo>
                      <a:pt x="1834614" y="670176"/>
                    </a:lnTo>
                    <a:lnTo>
                      <a:pt x="1830522" y="673661"/>
                    </a:lnTo>
                    <a:lnTo>
                      <a:pt x="1823249" y="674116"/>
                    </a:lnTo>
                    <a:lnTo>
                      <a:pt x="1820977" y="675328"/>
                    </a:lnTo>
                    <a:lnTo>
                      <a:pt x="1817946" y="678510"/>
                    </a:lnTo>
                    <a:lnTo>
                      <a:pt x="1815370" y="684419"/>
                    </a:lnTo>
                    <a:lnTo>
                      <a:pt x="1813704" y="691086"/>
                    </a:lnTo>
                    <a:lnTo>
                      <a:pt x="1807188" y="697147"/>
                    </a:lnTo>
                    <a:lnTo>
                      <a:pt x="1806128" y="696541"/>
                    </a:lnTo>
                    <a:lnTo>
                      <a:pt x="1809006" y="692298"/>
                    </a:lnTo>
                    <a:lnTo>
                      <a:pt x="1811431" y="687601"/>
                    </a:lnTo>
                    <a:lnTo>
                      <a:pt x="1811582" y="685328"/>
                    </a:lnTo>
                    <a:lnTo>
                      <a:pt x="1810673" y="682601"/>
                    </a:lnTo>
                    <a:lnTo>
                      <a:pt x="1811734" y="679267"/>
                    </a:lnTo>
                    <a:lnTo>
                      <a:pt x="1815067" y="675479"/>
                    </a:lnTo>
                    <a:lnTo>
                      <a:pt x="1815219" y="673964"/>
                    </a:lnTo>
                    <a:lnTo>
                      <a:pt x="1808097" y="674419"/>
                    </a:lnTo>
                    <a:lnTo>
                      <a:pt x="1801734" y="673206"/>
                    </a:lnTo>
                    <a:lnTo>
                      <a:pt x="1801430" y="672297"/>
                    </a:lnTo>
                    <a:lnTo>
                      <a:pt x="1809916" y="671388"/>
                    </a:lnTo>
                    <a:lnTo>
                      <a:pt x="1812794" y="670479"/>
                    </a:lnTo>
                    <a:lnTo>
                      <a:pt x="1817340" y="668206"/>
                    </a:lnTo>
                    <a:lnTo>
                      <a:pt x="1825674" y="665327"/>
                    </a:lnTo>
                    <a:lnTo>
                      <a:pt x="1827492" y="662751"/>
                    </a:lnTo>
                    <a:lnTo>
                      <a:pt x="1828401" y="660479"/>
                    </a:lnTo>
                    <a:lnTo>
                      <a:pt x="1828553" y="658357"/>
                    </a:lnTo>
                    <a:lnTo>
                      <a:pt x="1827037" y="655327"/>
                    </a:lnTo>
                    <a:lnTo>
                      <a:pt x="1826280" y="654721"/>
                    </a:lnTo>
                    <a:lnTo>
                      <a:pt x="1824007" y="653963"/>
                    </a:lnTo>
                    <a:lnTo>
                      <a:pt x="1820068" y="653054"/>
                    </a:lnTo>
                    <a:lnTo>
                      <a:pt x="1815219" y="652448"/>
                    </a:lnTo>
                    <a:lnTo>
                      <a:pt x="1809461" y="652297"/>
                    </a:lnTo>
                    <a:lnTo>
                      <a:pt x="1802794" y="654266"/>
                    </a:lnTo>
                    <a:lnTo>
                      <a:pt x="1795067" y="658357"/>
                    </a:lnTo>
                    <a:lnTo>
                      <a:pt x="1790369" y="661691"/>
                    </a:lnTo>
                    <a:lnTo>
                      <a:pt x="1787794" y="665782"/>
                    </a:lnTo>
                    <a:lnTo>
                      <a:pt x="1784309" y="670479"/>
                    </a:lnTo>
                    <a:lnTo>
                      <a:pt x="1782187" y="672146"/>
                    </a:lnTo>
                    <a:lnTo>
                      <a:pt x="1781430" y="671994"/>
                    </a:lnTo>
                    <a:lnTo>
                      <a:pt x="1781733" y="671237"/>
                    </a:lnTo>
                    <a:lnTo>
                      <a:pt x="1785066" y="667600"/>
                    </a:lnTo>
                    <a:lnTo>
                      <a:pt x="1789006" y="660782"/>
                    </a:lnTo>
                    <a:lnTo>
                      <a:pt x="1791733" y="657145"/>
                    </a:lnTo>
                    <a:lnTo>
                      <a:pt x="1795824" y="655478"/>
                    </a:lnTo>
                    <a:lnTo>
                      <a:pt x="1805218" y="645933"/>
                    </a:lnTo>
                    <a:lnTo>
                      <a:pt x="1805522" y="643660"/>
                    </a:lnTo>
                    <a:lnTo>
                      <a:pt x="1804612" y="640932"/>
                    </a:lnTo>
                    <a:lnTo>
                      <a:pt x="1803249" y="638054"/>
                    </a:lnTo>
                    <a:lnTo>
                      <a:pt x="1801430" y="635175"/>
                    </a:lnTo>
                    <a:lnTo>
                      <a:pt x="1798400" y="632750"/>
                    </a:lnTo>
                    <a:lnTo>
                      <a:pt x="1787187" y="628053"/>
                    </a:lnTo>
                    <a:lnTo>
                      <a:pt x="1783703" y="627750"/>
                    </a:lnTo>
                    <a:lnTo>
                      <a:pt x="1780066" y="628508"/>
                    </a:lnTo>
                    <a:lnTo>
                      <a:pt x="1776884" y="628508"/>
                    </a:lnTo>
                    <a:lnTo>
                      <a:pt x="1774157" y="627902"/>
                    </a:lnTo>
                    <a:lnTo>
                      <a:pt x="1766429" y="624720"/>
                    </a:lnTo>
                    <a:lnTo>
                      <a:pt x="1760217" y="621538"/>
                    </a:lnTo>
                    <a:lnTo>
                      <a:pt x="1754914" y="620174"/>
                    </a:lnTo>
                    <a:lnTo>
                      <a:pt x="1745065" y="619417"/>
                    </a:lnTo>
                    <a:lnTo>
                      <a:pt x="1736580" y="619417"/>
                    </a:lnTo>
                    <a:lnTo>
                      <a:pt x="1731428" y="620023"/>
                    </a:lnTo>
                    <a:lnTo>
                      <a:pt x="1724610" y="621992"/>
                    </a:lnTo>
                    <a:lnTo>
                      <a:pt x="1715064" y="626538"/>
                    </a:lnTo>
                    <a:lnTo>
                      <a:pt x="1713094" y="628053"/>
                    </a:lnTo>
                    <a:lnTo>
                      <a:pt x="1712033" y="629568"/>
                    </a:lnTo>
                    <a:lnTo>
                      <a:pt x="1711427" y="631235"/>
                    </a:lnTo>
                    <a:lnTo>
                      <a:pt x="1711276" y="633205"/>
                    </a:lnTo>
                    <a:lnTo>
                      <a:pt x="1712185" y="635023"/>
                    </a:lnTo>
                    <a:lnTo>
                      <a:pt x="1716730" y="638963"/>
                    </a:lnTo>
                    <a:lnTo>
                      <a:pt x="1726579" y="642296"/>
                    </a:lnTo>
                    <a:lnTo>
                      <a:pt x="1732943" y="645175"/>
                    </a:lnTo>
                    <a:lnTo>
                      <a:pt x="1737337" y="646236"/>
                    </a:lnTo>
                    <a:lnTo>
                      <a:pt x="1737792" y="648357"/>
                    </a:lnTo>
                    <a:lnTo>
                      <a:pt x="1732034" y="648205"/>
                    </a:lnTo>
                    <a:lnTo>
                      <a:pt x="1721427" y="643054"/>
                    </a:lnTo>
                    <a:lnTo>
                      <a:pt x="1716124" y="643357"/>
                    </a:lnTo>
                    <a:lnTo>
                      <a:pt x="1712791" y="643054"/>
                    </a:lnTo>
                    <a:lnTo>
                      <a:pt x="1708548" y="640478"/>
                    </a:lnTo>
                    <a:lnTo>
                      <a:pt x="1705366" y="639266"/>
                    </a:lnTo>
                    <a:lnTo>
                      <a:pt x="1702033" y="643660"/>
                    </a:lnTo>
                    <a:lnTo>
                      <a:pt x="1700821" y="652145"/>
                    </a:lnTo>
                    <a:lnTo>
                      <a:pt x="1702790" y="655782"/>
                    </a:lnTo>
                    <a:lnTo>
                      <a:pt x="1704912" y="658812"/>
                    </a:lnTo>
                    <a:lnTo>
                      <a:pt x="1707336" y="660782"/>
                    </a:lnTo>
                    <a:lnTo>
                      <a:pt x="1708245" y="662751"/>
                    </a:lnTo>
                    <a:lnTo>
                      <a:pt x="1708397" y="663661"/>
                    </a:lnTo>
                    <a:lnTo>
                      <a:pt x="1707639" y="663661"/>
                    </a:lnTo>
                    <a:lnTo>
                      <a:pt x="1703245" y="661085"/>
                    </a:lnTo>
                    <a:lnTo>
                      <a:pt x="1696881" y="655327"/>
                    </a:lnTo>
                    <a:lnTo>
                      <a:pt x="1696578" y="652145"/>
                    </a:lnTo>
                    <a:lnTo>
                      <a:pt x="1696578" y="647902"/>
                    </a:lnTo>
                    <a:lnTo>
                      <a:pt x="1697033" y="643660"/>
                    </a:lnTo>
                    <a:lnTo>
                      <a:pt x="1691730" y="639417"/>
                    </a:lnTo>
                    <a:lnTo>
                      <a:pt x="1688244" y="637599"/>
                    </a:lnTo>
                    <a:lnTo>
                      <a:pt x="1685366" y="640326"/>
                    </a:lnTo>
                    <a:lnTo>
                      <a:pt x="1681123" y="641539"/>
                    </a:lnTo>
                    <a:lnTo>
                      <a:pt x="1679153" y="640629"/>
                    </a:lnTo>
                    <a:lnTo>
                      <a:pt x="1678093" y="638357"/>
                    </a:lnTo>
                    <a:lnTo>
                      <a:pt x="1675820" y="635175"/>
                    </a:lnTo>
                    <a:lnTo>
                      <a:pt x="1674305" y="634720"/>
                    </a:lnTo>
                    <a:lnTo>
                      <a:pt x="1671729" y="635629"/>
                    </a:lnTo>
                    <a:lnTo>
                      <a:pt x="1668547" y="637448"/>
                    </a:lnTo>
                    <a:lnTo>
                      <a:pt x="1667789" y="638205"/>
                    </a:lnTo>
                    <a:lnTo>
                      <a:pt x="1666577" y="640629"/>
                    </a:lnTo>
                    <a:lnTo>
                      <a:pt x="1667032" y="642296"/>
                    </a:lnTo>
                    <a:lnTo>
                      <a:pt x="1672638" y="648660"/>
                    </a:lnTo>
                    <a:lnTo>
                      <a:pt x="1671426" y="648812"/>
                    </a:lnTo>
                    <a:lnTo>
                      <a:pt x="1666274" y="646842"/>
                    </a:lnTo>
                    <a:lnTo>
                      <a:pt x="1664456" y="647145"/>
                    </a:lnTo>
                    <a:lnTo>
                      <a:pt x="1658850" y="650175"/>
                    </a:lnTo>
                    <a:lnTo>
                      <a:pt x="1650061" y="658357"/>
                    </a:lnTo>
                    <a:lnTo>
                      <a:pt x="1647485" y="661388"/>
                    </a:lnTo>
                    <a:lnTo>
                      <a:pt x="1645970" y="662297"/>
                    </a:lnTo>
                    <a:lnTo>
                      <a:pt x="1644152" y="662448"/>
                    </a:lnTo>
                    <a:lnTo>
                      <a:pt x="1643546" y="661994"/>
                    </a:lnTo>
                    <a:lnTo>
                      <a:pt x="1644152" y="660933"/>
                    </a:lnTo>
                    <a:lnTo>
                      <a:pt x="1644152" y="659266"/>
                    </a:lnTo>
                    <a:lnTo>
                      <a:pt x="1643697" y="656994"/>
                    </a:lnTo>
                    <a:lnTo>
                      <a:pt x="1643697" y="655327"/>
                    </a:lnTo>
                    <a:lnTo>
                      <a:pt x="1644303" y="654115"/>
                    </a:lnTo>
                    <a:lnTo>
                      <a:pt x="1645213" y="653357"/>
                    </a:lnTo>
                    <a:lnTo>
                      <a:pt x="1646425" y="652903"/>
                    </a:lnTo>
                    <a:lnTo>
                      <a:pt x="1649455" y="653206"/>
                    </a:lnTo>
                    <a:lnTo>
                      <a:pt x="1650667" y="652448"/>
                    </a:lnTo>
                    <a:lnTo>
                      <a:pt x="1644455" y="647902"/>
                    </a:lnTo>
                    <a:lnTo>
                      <a:pt x="1643849" y="646993"/>
                    </a:lnTo>
                    <a:lnTo>
                      <a:pt x="1647182" y="644417"/>
                    </a:lnTo>
                    <a:lnTo>
                      <a:pt x="1650364" y="640326"/>
                    </a:lnTo>
                    <a:lnTo>
                      <a:pt x="1653092" y="635781"/>
                    </a:lnTo>
                    <a:lnTo>
                      <a:pt x="1652940" y="634417"/>
                    </a:lnTo>
                    <a:lnTo>
                      <a:pt x="1648849" y="634114"/>
                    </a:lnTo>
                    <a:lnTo>
                      <a:pt x="1635667" y="643357"/>
                    </a:lnTo>
                    <a:lnTo>
                      <a:pt x="1635970" y="641690"/>
                    </a:lnTo>
                    <a:lnTo>
                      <a:pt x="1642334" y="635781"/>
                    </a:lnTo>
                    <a:lnTo>
                      <a:pt x="1651122" y="628962"/>
                    </a:lnTo>
                    <a:lnTo>
                      <a:pt x="1657940" y="622750"/>
                    </a:lnTo>
                    <a:lnTo>
                      <a:pt x="1660668" y="620780"/>
                    </a:lnTo>
                    <a:lnTo>
                      <a:pt x="1662031" y="619265"/>
                    </a:lnTo>
                    <a:lnTo>
                      <a:pt x="1662031" y="618053"/>
                    </a:lnTo>
                    <a:lnTo>
                      <a:pt x="1657789" y="615629"/>
                    </a:lnTo>
                    <a:lnTo>
                      <a:pt x="1655819" y="613507"/>
                    </a:lnTo>
                    <a:lnTo>
                      <a:pt x="1653395" y="609719"/>
                    </a:lnTo>
                    <a:lnTo>
                      <a:pt x="1652637" y="606083"/>
                    </a:lnTo>
                    <a:lnTo>
                      <a:pt x="1653698" y="602598"/>
                    </a:lnTo>
                    <a:lnTo>
                      <a:pt x="1653092" y="599719"/>
                    </a:lnTo>
                    <a:lnTo>
                      <a:pt x="1650970" y="597446"/>
                    </a:lnTo>
                    <a:lnTo>
                      <a:pt x="1647182" y="595325"/>
                    </a:lnTo>
                    <a:lnTo>
                      <a:pt x="1641576" y="593355"/>
                    </a:lnTo>
                    <a:lnTo>
                      <a:pt x="1638091" y="589718"/>
                    </a:lnTo>
                    <a:lnTo>
                      <a:pt x="1635667" y="580930"/>
                    </a:lnTo>
                    <a:lnTo>
                      <a:pt x="1632788" y="574718"/>
                    </a:lnTo>
                    <a:lnTo>
                      <a:pt x="1631121" y="572748"/>
                    </a:lnTo>
                    <a:lnTo>
                      <a:pt x="1625666" y="569415"/>
                    </a:lnTo>
                    <a:lnTo>
                      <a:pt x="1616272" y="567596"/>
                    </a:lnTo>
                    <a:lnTo>
                      <a:pt x="1609302" y="567293"/>
                    </a:lnTo>
                    <a:lnTo>
                      <a:pt x="1596877" y="567596"/>
                    </a:lnTo>
                    <a:lnTo>
                      <a:pt x="1591877" y="568354"/>
                    </a:lnTo>
                    <a:lnTo>
                      <a:pt x="1589150" y="569263"/>
                    </a:lnTo>
                    <a:lnTo>
                      <a:pt x="1587029" y="570475"/>
                    </a:lnTo>
                    <a:lnTo>
                      <a:pt x="1576422" y="572900"/>
                    </a:lnTo>
                    <a:lnTo>
                      <a:pt x="1567634" y="575930"/>
                    </a:lnTo>
                    <a:lnTo>
                      <a:pt x="1562937" y="578506"/>
                    </a:lnTo>
                    <a:lnTo>
                      <a:pt x="1562634" y="579567"/>
                    </a:lnTo>
                    <a:lnTo>
                      <a:pt x="1566422" y="583809"/>
                    </a:lnTo>
                    <a:lnTo>
                      <a:pt x="1566270" y="584415"/>
                    </a:lnTo>
                    <a:lnTo>
                      <a:pt x="1557937" y="582142"/>
                    </a:lnTo>
                    <a:lnTo>
                      <a:pt x="1548997" y="582294"/>
                    </a:lnTo>
                    <a:lnTo>
                      <a:pt x="1543542" y="585779"/>
                    </a:lnTo>
                    <a:lnTo>
                      <a:pt x="1532481" y="588658"/>
                    </a:lnTo>
                    <a:lnTo>
                      <a:pt x="1520511" y="600779"/>
                    </a:lnTo>
                    <a:lnTo>
                      <a:pt x="1522481" y="603961"/>
                    </a:lnTo>
                    <a:lnTo>
                      <a:pt x="1530360" y="606234"/>
                    </a:lnTo>
                    <a:lnTo>
                      <a:pt x="1552785" y="614871"/>
                    </a:lnTo>
                    <a:lnTo>
                      <a:pt x="1553240" y="616992"/>
                    </a:lnTo>
                    <a:lnTo>
                      <a:pt x="1533239" y="610628"/>
                    </a:lnTo>
                    <a:lnTo>
                      <a:pt x="1525208" y="607446"/>
                    </a:lnTo>
                    <a:lnTo>
                      <a:pt x="1521723" y="607901"/>
                    </a:lnTo>
                    <a:lnTo>
                      <a:pt x="1519905" y="608962"/>
                    </a:lnTo>
                    <a:lnTo>
                      <a:pt x="1516571" y="612598"/>
                    </a:lnTo>
                    <a:lnTo>
                      <a:pt x="1515359" y="614568"/>
                    </a:lnTo>
                    <a:lnTo>
                      <a:pt x="1514753" y="616841"/>
                    </a:lnTo>
                    <a:lnTo>
                      <a:pt x="1514602" y="619568"/>
                    </a:lnTo>
                    <a:lnTo>
                      <a:pt x="1514905" y="624265"/>
                    </a:lnTo>
                    <a:lnTo>
                      <a:pt x="1515511" y="625780"/>
                    </a:lnTo>
                    <a:lnTo>
                      <a:pt x="1517178" y="627599"/>
                    </a:lnTo>
                    <a:lnTo>
                      <a:pt x="1518693" y="630629"/>
                    </a:lnTo>
                    <a:lnTo>
                      <a:pt x="1521572" y="634114"/>
                    </a:lnTo>
                    <a:lnTo>
                      <a:pt x="1522935" y="635326"/>
                    </a:lnTo>
                    <a:lnTo>
                      <a:pt x="1527935" y="637296"/>
                    </a:lnTo>
                    <a:lnTo>
                      <a:pt x="1530663" y="637144"/>
                    </a:lnTo>
                    <a:lnTo>
                      <a:pt x="1533239" y="636084"/>
                    </a:lnTo>
                    <a:lnTo>
                      <a:pt x="1536421" y="636084"/>
                    </a:lnTo>
                    <a:lnTo>
                      <a:pt x="1542633" y="637599"/>
                    </a:lnTo>
                    <a:lnTo>
                      <a:pt x="1542027" y="638963"/>
                    </a:lnTo>
                    <a:lnTo>
                      <a:pt x="1537481" y="640023"/>
                    </a:lnTo>
                    <a:lnTo>
                      <a:pt x="1536572" y="641084"/>
                    </a:lnTo>
                    <a:lnTo>
                      <a:pt x="1538390" y="643660"/>
                    </a:lnTo>
                    <a:lnTo>
                      <a:pt x="1542027" y="647296"/>
                    </a:lnTo>
                    <a:lnTo>
                      <a:pt x="1550058" y="652145"/>
                    </a:lnTo>
                    <a:lnTo>
                      <a:pt x="1551876" y="653963"/>
                    </a:lnTo>
                    <a:lnTo>
                      <a:pt x="1551876" y="654721"/>
                    </a:lnTo>
                    <a:lnTo>
                      <a:pt x="1550058" y="654266"/>
                    </a:lnTo>
                    <a:lnTo>
                      <a:pt x="1543087" y="650327"/>
                    </a:lnTo>
                    <a:lnTo>
                      <a:pt x="1531875" y="645781"/>
                    </a:lnTo>
                    <a:lnTo>
                      <a:pt x="1523541" y="645024"/>
                    </a:lnTo>
                    <a:lnTo>
                      <a:pt x="1521269" y="645933"/>
                    </a:lnTo>
                    <a:lnTo>
                      <a:pt x="1517481" y="651690"/>
                    </a:lnTo>
                    <a:lnTo>
                      <a:pt x="1514299" y="653660"/>
                    </a:lnTo>
                    <a:lnTo>
                      <a:pt x="1508844" y="655782"/>
                    </a:lnTo>
                    <a:lnTo>
                      <a:pt x="1507480" y="657600"/>
                    </a:lnTo>
                    <a:lnTo>
                      <a:pt x="1510207" y="659115"/>
                    </a:lnTo>
                    <a:lnTo>
                      <a:pt x="1516117" y="663661"/>
                    </a:lnTo>
                    <a:lnTo>
                      <a:pt x="1518390" y="666236"/>
                    </a:lnTo>
                    <a:lnTo>
                      <a:pt x="1521572" y="670782"/>
                    </a:lnTo>
                    <a:lnTo>
                      <a:pt x="1523087" y="672297"/>
                    </a:lnTo>
                    <a:lnTo>
                      <a:pt x="1525511" y="673358"/>
                    </a:lnTo>
                    <a:lnTo>
                      <a:pt x="1528845" y="674116"/>
                    </a:lnTo>
                    <a:lnTo>
                      <a:pt x="1531572" y="674419"/>
                    </a:lnTo>
                    <a:lnTo>
                      <a:pt x="1536875" y="674116"/>
                    </a:lnTo>
                    <a:lnTo>
                      <a:pt x="1540663" y="675479"/>
                    </a:lnTo>
                    <a:lnTo>
                      <a:pt x="1541724" y="677752"/>
                    </a:lnTo>
                    <a:lnTo>
                      <a:pt x="1541724" y="681388"/>
                    </a:lnTo>
                    <a:lnTo>
                      <a:pt x="1541269" y="685177"/>
                    </a:lnTo>
                    <a:lnTo>
                      <a:pt x="1540360" y="689419"/>
                    </a:lnTo>
                    <a:lnTo>
                      <a:pt x="1538087" y="702753"/>
                    </a:lnTo>
                    <a:lnTo>
                      <a:pt x="1537178" y="705935"/>
                    </a:lnTo>
                    <a:lnTo>
                      <a:pt x="1535966" y="707299"/>
                    </a:lnTo>
                    <a:lnTo>
                      <a:pt x="1532784" y="705783"/>
                    </a:lnTo>
                    <a:lnTo>
                      <a:pt x="1531117" y="704420"/>
                    </a:lnTo>
                    <a:lnTo>
                      <a:pt x="1530663" y="703359"/>
                    </a:lnTo>
                    <a:lnTo>
                      <a:pt x="1531269" y="702753"/>
                    </a:lnTo>
                    <a:lnTo>
                      <a:pt x="1532330" y="700480"/>
                    </a:lnTo>
                    <a:lnTo>
                      <a:pt x="1529754" y="699723"/>
                    </a:lnTo>
                    <a:lnTo>
                      <a:pt x="1514753" y="699723"/>
                    </a:lnTo>
                    <a:lnTo>
                      <a:pt x="1509753" y="701086"/>
                    </a:lnTo>
                    <a:lnTo>
                      <a:pt x="1501419" y="704874"/>
                    </a:lnTo>
                    <a:lnTo>
                      <a:pt x="1496116" y="706541"/>
                    </a:lnTo>
                    <a:lnTo>
                      <a:pt x="1489904" y="707905"/>
                    </a:lnTo>
                    <a:lnTo>
                      <a:pt x="1488843" y="706844"/>
                    </a:lnTo>
                    <a:lnTo>
                      <a:pt x="1492025" y="705177"/>
                    </a:lnTo>
                    <a:lnTo>
                      <a:pt x="1500056" y="702450"/>
                    </a:lnTo>
                    <a:lnTo>
                      <a:pt x="1506419" y="699116"/>
                    </a:lnTo>
                    <a:lnTo>
                      <a:pt x="1511571" y="697601"/>
                    </a:lnTo>
                    <a:lnTo>
                      <a:pt x="1521269" y="695935"/>
                    </a:lnTo>
                    <a:lnTo>
                      <a:pt x="1528542" y="692147"/>
                    </a:lnTo>
                    <a:lnTo>
                      <a:pt x="1531723" y="689571"/>
                    </a:lnTo>
                    <a:lnTo>
                      <a:pt x="1530208" y="687298"/>
                    </a:lnTo>
                    <a:lnTo>
                      <a:pt x="1523390" y="682601"/>
                    </a:lnTo>
                    <a:lnTo>
                      <a:pt x="1517632" y="679419"/>
                    </a:lnTo>
                    <a:lnTo>
                      <a:pt x="1511874" y="675025"/>
                    </a:lnTo>
                    <a:lnTo>
                      <a:pt x="1503995" y="668358"/>
                    </a:lnTo>
                    <a:lnTo>
                      <a:pt x="1498995" y="661842"/>
                    </a:lnTo>
                    <a:lnTo>
                      <a:pt x="1496874" y="655327"/>
                    </a:lnTo>
                    <a:lnTo>
                      <a:pt x="1495662" y="650327"/>
                    </a:lnTo>
                    <a:lnTo>
                      <a:pt x="1495359" y="646842"/>
                    </a:lnTo>
                    <a:lnTo>
                      <a:pt x="1495510" y="643205"/>
                    </a:lnTo>
                    <a:lnTo>
                      <a:pt x="1496116" y="635932"/>
                    </a:lnTo>
                    <a:lnTo>
                      <a:pt x="1496116" y="632902"/>
                    </a:lnTo>
                    <a:lnTo>
                      <a:pt x="1494601" y="629568"/>
                    </a:lnTo>
                    <a:lnTo>
                      <a:pt x="1488692" y="622447"/>
                    </a:lnTo>
                    <a:lnTo>
                      <a:pt x="1487025" y="619114"/>
                    </a:lnTo>
                    <a:lnTo>
                      <a:pt x="1486722" y="617144"/>
                    </a:lnTo>
                    <a:lnTo>
                      <a:pt x="1487782" y="611538"/>
                    </a:lnTo>
                    <a:lnTo>
                      <a:pt x="1489298" y="609416"/>
                    </a:lnTo>
                    <a:lnTo>
                      <a:pt x="1491874" y="606840"/>
                    </a:lnTo>
                    <a:lnTo>
                      <a:pt x="1502631" y="591082"/>
                    </a:lnTo>
                    <a:lnTo>
                      <a:pt x="1505056" y="588355"/>
                    </a:lnTo>
                    <a:lnTo>
                      <a:pt x="1513844" y="580476"/>
                    </a:lnTo>
                    <a:lnTo>
                      <a:pt x="1518996" y="576991"/>
                    </a:lnTo>
                    <a:lnTo>
                      <a:pt x="1526875" y="572900"/>
                    </a:lnTo>
                    <a:lnTo>
                      <a:pt x="1533087" y="568051"/>
                    </a:lnTo>
                    <a:lnTo>
                      <a:pt x="1533845" y="566687"/>
                    </a:lnTo>
                    <a:lnTo>
                      <a:pt x="1532784" y="564415"/>
                    </a:lnTo>
                    <a:lnTo>
                      <a:pt x="1532027" y="563657"/>
                    </a:lnTo>
                    <a:lnTo>
                      <a:pt x="1529299" y="562142"/>
                    </a:lnTo>
                    <a:lnTo>
                      <a:pt x="1506268" y="559869"/>
                    </a:lnTo>
                    <a:lnTo>
                      <a:pt x="1493843" y="559566"/>
                    </a:lnTo>
                    <a:lnTo>
                      <a:pt x="1483994" y="560627"/>
                    </a:lnTo>
                    <a:lnTo>
                      <a:pt x="1464751" y="564566"/>
                    </a:lnTo>
                    <a:lnTo>
                      <a:pt x="1457933" y="566536"/>
                    </a:lnTo>
                    <a:lnTo>
                      <a:pt x="1452327" y="569112"/>
                    </a:lnTo>
                    <a:lnTo>
                      <a:pt x="1445660" y="573203"/>
                    </a:lnTo>
                    <a:lnTo>
                      <a:pt x="1430962" y="583355"/>
                    </a:lnTo>
                    <a:lnTo>
                      <a:pt x="1430356" y="584112"/>
                    </a:lnTo>
                    <a:lnTo>
                      <a:pt x="1430053" y="585324"/>
                    </a:lnTo>
                    <a:lnTo>
                      <a:pt x="1429902" y="586991"/>
                    </a:lnTo>
                    <a:lnTo>
                      <a:pt x="1429447" y="588203"/>
                    </a:lnTo>
                    <a:lnTo>
                      <a:pt x="1423538" y="591385"/>
                    </a:lnTo>
                    <a:lnTo>
                      <a:pt x="1419750" y="595022"/>
                    </a:lnTo>
                    <a:lnTo>
                      <a:pt x="1416719" y="598961"/>
                    </a:lnTo>
                    <a:lnTo>
                      <a:pt x="1415659" y="601083"/>
                    </a:lnTo>
                    <a:lnTo>
                      <a:pt x="1415052" y="603810"/>
                    </a:lnTo>
                    <a:lnTo>
                      <a:pt x="1414446" y="607749"/>
                    </a:lnTo>
                    <a:lnTo>
                      <a:pt x="1413992" y="613053"/>
                    </a:lnTo>
                    <a:lnTo>
                      <a:pt x="1413083" y="615022"/>
                    </a:lnTo>
                    <a:lnTo>
                      <a:pt x="1408234" y="620932"/>
                    </a:lnTo>
                    <a:lnTo>
                      <a:pt x="1403688" y="627296"/>
                    </a:lnTo>
                    <a:lnTo>
                      <a:pt x="1400507" y="632447"/>
                    </a:lnTo>
                    <a:lnTo>
                      <a:pt x="1399294" y="635326"/>
                    </a:lnTo>
                    <a:lnTo>
                      <a:pt x="1398991" y="637599"/>
                    </a:lnTo>
                    <a:lnTo>
                      <a:pt x="1398991" y="640478"/>
                    </a:lnTo>
                    <a:lnTo>
                      <a:pt x="1399446" y="643811"/>
                    </a:lnTo>
                    <a:lnTo>
                      <a:pt x="1400355" y="645933"/>
                    </a:lnTo>
                    <a:lnTo>
                      <a:pt x="1403386" y="647296"/>
                    </a:lnTo>
                    <a:lnTo>
                      <a:pt x="1404901" y="647599"/>
                    </a:lnTo>
                    <a:lnTo>
                      <a:pt x="1404749" y="648509"/>
                    </a:lnTo>
                    <a:lnTo>
                      <a:pt x="1397476" y="654115"/>
                    </a:lnTo>
                    <a:lnTo>
                      <a:pt x="1394900" y="659266"/>
                    </a:lnTo>
                    <a:lnTo>
                      <a:pt x="1395052" y="661691"/>
                    </a:lnTo>
                    <a:lnTo>
                      <a:pt x="1396264" y="664418"/>
                    </a:lnTo>
                    <a:lnTo>
                      <a:pt x="1397476" y="669721"/>
                    </a:lnTo>
                    <a:lnTo>
                      <a:pt x="1398688" y="677752"/>
                    </a:lnTo>
                    <a:lnTo>
                      <a:pt x="1399900" y="682449"/>
                    </a:lnTo>
                    <a:lnTo>
                      <a:pt x="1400961" y="683964"/>
                    </a:lnTo>
                    <a:lnTo>
                      <a:pt x="1403992" y="685934"/>
                    </a:lnTo>
                    <a:lnTo>
                      <a:pt x="1411568" y="689571"/>
                    </a:lnTo>
                    <a:lnTo>
                      <a:pt x="1420810" y="692753"/>
                    </a:lnTo>
                    <a:lnTo>
                      <a:pt x="1434144" y="695177"/>
                    </a:lnTo>
                    <a:lnTo>
                      <a:pt x="1448539" y="695783"/>
                    </a:lnTo>
                    <a:lnTo>
                      <a:pt x="1453690" y="696692"/>
                    </a:lnTo>
                    <a:lnTo>
                      <a:pt x="1456721" y="698207"/>
                    </a:lnTo>
                    <a:lnTo>
                      <a:pt x="1461873" y="701844"/>
                    </a:lnTo>
                    <a:lnTo>
                      <a:pt x="1467479" y="704571"/>
                    </a:lnTo>
                    <a:lnTo>
                      <a:pt x="1473691" y="706692"/>
                    </a:lnTo>
                    <a:lnTo>
                      <a:pt x="1472630" y="707905"/>
                    </a:lnTo>
                    <a:lnTo>
                      <a:pt x="1462933" y="709420"/>
                    </a:lnTo>
                    <a:lnTo>
                      <a:pt x="1454448" y="710026"/>
                    </a:lnTo>
                    <a:lnTo>
                      <a:pt x="1449145" y="709723"/>
                    </a:lnTo>
                    <a:lnTo>
                      <a:pt x="1441720" y="708056"/>
                    </a:lnTo>
                    <a:lnTo>
                      <a:pt x="1436114" y="705783"/>
                    </a:lnTo>
                    <a:lnTo>
                      <a:pt x="1431265" y="705026"/>
                    </a:lnTo>
                    <a:lnTo>
                      <a:pt x="1422326" y="705026"/>
                    </a:lnTo>
                    <a:lnTo>
                      <a:pt x="1413083" y="703965"/>
                    </a:lnTo>
                    <a:lnTo>
                      <a:pt x="1410658" y="704268"/>
                    </a:lnTo>
                    <a:lnTo>
                      <a:pt x="1411871" y="705632"/>
                    </a:lnTo>
                    <a:lnTo>
                      <a:pt x="1412931" y="707602"/>
                    </a:lnTo>
                    <a:lnTo>
                      <a:pt x="1416113" y="716844"/>
                    </a:lnTo>
                    <a:lnTo>
                      <a:pt x="1417477" y="719420"/>
                    </a:lnTo>
                    <a:lnTo>
                      <a:pt x="1427326" y="731239"/>
                    </a:lnTo>
                    <a:lnTo>
                      <a:pt x="1429144" y="732602"/>
                    </a:lnTo>
                    <a:lnTo>
                      <a:pt x="1432477" y="733815"/>
                    </a:lnTo>
                    <a:lnTo>
                      <a:pt x="1439599" y="735178"/>
                    </a:lnTo>
                    <a:lnTo>
                      <a:pt x="1445660" y="738815"/>
                    </a:lnTo>
                    <a:lnTo>
                      <a:pt x="1453236" y="744573"/>
                    </a:lnTo>
                    <a:lnTo>
                      <a:pt x="1454902" y="744876"/>
                    </a:lnTo>
                    <a:lnTo>
                      <a:pt x="1456266" y="744270"/>
                    </a:lnTo>
                    <a:lnTo>
                      <a:pt x="1459600" y="741694"/>
                    </a:lnTo>
                    <a:lnTo>
                      <a:pt x="1460963" y="741239"/>
                    </a:lnTo>
                    <a:lnTo>
                      <a:pt x="1464145" y="740936"/>
                    </a:lnTo>
                    <a:lnTo>
                      <a:pt x="1471418" y="741694"/>
                    </a:lnTo>
                    <a:lnTo>
                      <a:pt x="1476267" y="740936"/>
                    </a:lnTo>
                    <a:lnTo>
                      <a:pt x="1475964" y="740027"/>
                    </a:lnTo>
                    <a:lnTo>
                      <a:pt x="1473691" y="738360"/>
                    </a:lnTo>
                    <a:lnTo>
                      <a:pt x="1473237" y="737300"/>
                    </a:lnTo>
                    <a:lnTo>
                      <a:pt x="1474600" y="736694"/>
                    </a:lnTo>
                    <a:lnTo>
                      <a:pt x="1483237" y="737906"/>
                    </a:lnTo>
                    <a:lnTo>
                      <a:pt x="1486116" y="737754"/>
                    </a:lnTo>
                    <a:lnTo>
                      <a:pt x="1488237" y="737300"/>
                    </a:lnTo>
                    <a:lnTo>
                      <a:pt x="1494449" y="734118"/>
                    </a:lnTo>
                    <a:lnTo>
                      <a:pt x="1493540" y="735178"/>
                    </a:lnTo>
                    <a:lnTo>
                      <a:pt x="1492631" y="737148"/>
                    </a:lnTo>
                    <a:lnTo>
                      <a:pt x="1491722" y="739875"/>
                    </a:lnTo>
                    <a:lnTo>
                      <a:pt x="1492177" y="742906"/>
                    </a:lnTo>
                    <a:lnTo>
                      <a:pt x="1495510" y="748664"/>
                    </a:lnTo>
                    <a:lnTo>
                      <a:pt x="1496571" y="750027"/>
                    </a:lnTo>
                    <a:lnTo>
                      <a:pt x="1499904" y="751997"/>
                    </a:lnTo>
                    <a:lnTo>
                      <a:pt x="1511420" y="755331"/>
                    </a:lnTo>
                    <a:lnTo>
                      <a:pt x="1520966" y="751694"/>
                    </a:lnTo>
                    <a:lnTo>
                      <a:pt x="1531421" y="753361"/>
                    </a:lnTo>
                    <a:lnTo>
                      <a:pt x="1535360" y="753361"/>
                    </a:lnTo>
                    <a:lnTo>
                      <a:pt x="1537481" y="754118"/>
                    </a:lnTo>
                    <a:lnTo>
                      <a:pt x="1539299" y="755634"/>
                    </a:lnTo>
                    <a:lnTo>
                      <a:pt x="1545966" y="756997"/>
                    </a:lnTo>
                    <a:lnTo>
                      <a:pt x="1564149" y="759119"/>
                    </a:lnTo>
                    <a:lnTo>
                      <a:pt x="1573089" y="758967"/>
                    </a:lnTo>
                    <a:lnTo>
                      <a:pt x="1583544" y="756846"/>
                    </a:lnTo>
                    <a:lnTo>
                      <a:pt x="1585210" y="757149"/>
                    </a:lnTo>
                    <a:lnTo>
                      <a:pt x="1589756" y="758967"/>
                    </a:lnTo>
                    <a:lnTo>
                      <a:pt x="1601726" y="763967"/>
                    </a:lnTo>
                    <a:lnTo>
                      <a:pt x="1607029" y="765331"/>
                    </a:lnTo>
                    <a:lnTo>
                      <a:pt x="1611272" y="765179"/>
                    </a:lnTo>
                    <a:lnTo>
                      <a:pt x="1616272" y="763816"/>
                    </a:lnTo>
                    <a:lnTo>
                      <a:pt x="1627030" y="760179"/>
                    </a:lnTo>
                    <a:lnTo>
                      <a:pt x="1644607" y="770483"/>
                    </a:lnTo>
                    <a:lnTo>
                      <a:pt x="1646879" y="768513"/>
                    </a:lnTo>
                    <a:lnTo>
                      <a:pt x="1646879" y="767452"/>
                    </a:lnTo>
                    <a:lnTo>
                      <a:pt x="1644607" y="764573"/>
                    </a:lnTo>
                    <a:lnTo>
                      <a:pt x="1641879" y="762149"/>
                    </a:lnTo>
                    <a:lnTo>
                      <a:pt x="1637182" y="758058"/>
                    </a:lnTo>
                    <a:lnTo>
                      <a:pt x="1633545" y="756088"/>
                    </a:lnTo>
                    <a:lnTo>
                      <a:pt x="1630970" y="756088"/>
                    </a:lnTo>
                    <a:lnTo>
                      <a:pt x="1628091" y="754876"/>
                    </a:lnTo>
                    <a:lnTo>
                      <a:pt x="1624757" y="752603"/>
                    </a:lnTo>
                    <a:lnTo>
                      <a:pt x="1627333" y="751846"/>
                    </a:lnTo>
                    <a:lnTo>
                      <a:pt x="1639909" y="752906"/>
                    </a:lnTo>
                    <a:lnTo>
                      <a:pt x="1647334" y="754573"/>
                    </a:lnTo>
                    <a:lnTo>
                      <a:pt x="1651576" y="754725"/>
                    </a:lnTo>
                    <a:lnTo>
                      <a:pt x="1659304" y="756694"/>
                    </a:lnTo>
                    <a:lnTo>
                      <a:pt x="1662789" y="757300"/>
                    </a:lnTo>
                    <a:lnTo>
                      <a:pt x="1665516" y="757300"/>
                    </a:lnTo>
                    <a:lnTo>
                      <a:pt x="1680517" y="762301"/>
                    </a:lnTo>
                    <a:lnTo>
                      <a:pt x="1683244" y="762604"/>
                    </a:lnTo>
                    <a:lnTo>
                      <a:pt x="1689002" y="762301"/>
                    </a:lnTo>
                    <a:lnTo>
                      <a:pt x="1694760" y="760785"/>
                    </a:lnTo>
                    <a:lnTo>
                      <a:pt x="1700366" y="758210"/>
                    </a:lnTo>
                    <a:lnTo>
                      <a:pt x="1702336" y="756543"/>
                    </a:lnTo>
                    <a:lnTo>
                      <a:pt x="1703396" y="754725"/>
                    </a:lnTo>
                    <a:lnTo>
                      <a:pt x="1703548" y="751997"/>
                    </a:lnTo>
                    <a:lnTo>
                      <a:pt x="1702639" y="748361"/>
                    </a:lnTo>
                    <a:lnTo>
                      <a:pt x="1701124" y="745179"/>
                    </a:lnTo>
                    <a:lnTo>
                      <a:pt x="1699154" y="742603"/>
                    </a:lnTo>
                    <a:lnTo>
                      <a:pt x="1696881" y="741088"/>
                    </a:lnTo>
                    <a:lnTo>
                      <a:pt x="1687790" y="738815"/>
                    </a:lnTo>
                    <a:lnTo>
                      <a:pt x="1686275" y="737451"/>
                    </a:lnTo>
                    <a:lnTo>
                      <a:pt x="1686426" y="735633"/>
                    </a:lnTo>
                    <a:lnTo>
                      <a:pt x="1687790" y="733360"/>
                    </a:lnTo>
                    <a:lnTo>
                      <a:pt x="1690366" y="730784"/>
                    </a:lnTo>
                    <a:lnTo>
                      <a:pt x="1692942" y="728814"/>
                    </a:lnTo>
                    <a:lnTo>
                      <a:pt x="1695518" y="727451"/>
                    </a:lnTo>
                    <a:lnTo>
                      <a:pt x="1697942" y="728511"/>
                    </a:lnTo>
                    <a:lnTo>
                      <a:pt x="1700063" y="732148"/>
                    </a:lnTo>
                    <a:lnTo>
                      <a:pt x="1701881" y="734421"/>
                    </a:lnTo>
                    <a:lnTo>
                      <a:pt x="1703548" y="735330"/>
                    </a:lnTo>
                    <a:lnTo>
                      <a:pt x="1707639" y="739875"/>
                    </a:lnTo>
                    <a:lnTo>
                      <a:pt x="1708851" y="740179"/>
                    </a:lnTo>
                    <a:lnTo>
                      <a:pt x="1711124" y="741694"/>
                    </a:lnTo>
                    <a:lnTo>
                      <a:pt x="1716882" y="745936"/>
                    </a:lnTo>
                    <a:lnTo>
                      <a:pt x="1718246" y="746391"/>
                    </a:lnTo>
                    <a:lnTo>
                      <a:pt x="1720215" y="746391"/>
                    </a:lnTo>
                    <a:lnTo>
                      <a:pt x="1728852" y="745027"/>
                    </a:lnTo>
                    <a:lnTo>
                      <a:pt x="1730670" y="745482"/>
                    </a:lnTo>
                    <a:lnTo>
                      <a:pt x="1732034" y="748815"/>
                    </a:lnTo>
                    <a:lnTo>
                      <a:pt x="1733398" y="755179"/>
                    </a:lnTo>
                    <a:lnTo>
                      <a:pt x="1733701" y="758967"/>
                    </a:lnTo>
                    <a:lnTo>
                      <a:pt x="1734458" y="762149"/>
                    </a:lnTo>
                    <a:lnTo>
                      <a:pt x="1735670" y="764876"/>
                    </a:lnTo>
                    <a:lnTo>
                      <a:pt x="1738398" y="765331"/>
                    </a:lnTo>
                    <a:lnTo>
                      <a:pt x="1745519" y="764422"/>
                    </a:lnTo>
                    <a:lnTo>
                      <a:pt x="1751429" y="765331"/>
                    </a:lnTo>
                    <a:lnTo>
                      <a:pt x="1752944" y="765937"/>
                    </a:lnTo>
                    <a:lnTo>
                      <a:pt x="1755823" y="768361"/>
                    </a:lnTo>
                    <a:lnTo>
                      <a:pt x="1755520" y="769877"/>
                    </a:lnTo>
                    <a:lnTo>
                      <a:pt x="1751429" y="772604"/>
                    </a:lnTo>
                    <a:lnTo>
                      <a:pt x="1749004" y="773513"/>
                    </a:lnTo>
                    <a:lnTo>
                      <a:pt x="1748398" y="774422"/>
                    </a:lnTo>
                    <a:lnTo>
                      <a:pt x="1749459" y="775331"/>
                    </a:lnTo>
                    <a:lnTo>
                      <a:pt x="1751429" y="776240"/>
                    </a:lnTo>
                    <a:lnTo>
                      <a:pt x="1754307" y="776544"/>
                    </a:lnTo>
                    <a:lnTo>
                      <a:pt x="1759005" y="778362"/>
                    </a:lnTo>
                    <a:lnTo>
                      <a:pt x="1760520" y="777453"/>
                    </a:lnTo>
                    <a:lnTo>
                      <a:pt x="1763096" y="774271"/>
                    </a:lnTo>
                    <a:lnTo>
                      <a:pt x="1765217" y="772907"/>
                    </a:lnTo>
                    <a:lnTo>
                      <a:pt x="1767641" y="772755"/>
                    </a:lnTo>
                    <a:lnTo>
                      <a:pt x="1772793" y="773968"/>
                    </a:lnTo>
                    <a:lnTo>
                      <a:pt x="1772945" y="774422"/>
                    </a:lnTo>
                    <a:lnTo>
                      <a:pt x="1766581" y="776089"/>
                    </a:lnTo>
                    <a:lnTo>
                      <a:pt x="1765066" y="777453"/>
                    </a:lnTo>
                    <a:lnTo>
                      <a:pt x="1764762" y="779574"/>
                    </a:lnTo>
                    <a:lnTo>
                      <a:pt x="1764914" y="781089"/>
                    </a:lnTo>
                    <a:lnTo>
                      <a:pt x="1766429" y="783362"/>
                    </a:lnTo>
                    <a:lnTo>
                      <a:pt x="1767944" y="784726"/>
                    </a:lnTo>
                    <a:lnTo>
                      <a:pt x="1770520" y="785635"/>
                    </a:lnTo>
                    <a:lnTo>
                      <a:pt x="1774005" y="786089"/>
                    </a:lnTo>
                    <a:lnTo>
                      <a:pt x="1777945" y="787301"/>
                    </a:lnTo>
                    <a:lnTo>
                      <a:pt x="1785066" y="790635"/>
                    </a:lnTo>
                    <a:lnTo>
                      <a:pt x="1786127" y="791544"/>
                    </a:lnTo>
                    <a:lnTo>
                      <a:pt x="1788854" y="795787"/>
                    </a:lnTo>
                    <a:lnTo>
                      <a:pt x="1788248" y="798362"/>
                    </a:lnTo>
                    <a:lnTo>
                      <a:pt x="1785672" y="801090"/>
                    </a:lnTo>
                    <a:lnTo>
                      <a:pt x="1783097" y="803211"/>
                    </a:lnTo>
                    <a:lnTo>
                      <a:pt x="1780521" y="804575"/>
                    </a:lnTo>
                    <a:lnTo>
                      <a:pt x="1776884" y="804726"/>
                    </a:lnTo>
                    <a:lnTo>
                      <a:pt x="1768854" y="803514"/>
                    </a:lnTo>
                    <a:lnTo>
                      <a:pt x="1765672" y="804575"/>
                    </a:lnTo>
                    <a:lnTo>
                      <a:pt x="1764005" y="805635"/>
                    </a:lnTo>
                    <a:lnTo>
                      <a:pt x="1763096" y="807302"/>
                    </a:lnTo>
                    <a:lnTo>
                      <a:pt x="1763399" y="813363"/>
                    </a:lnTo>
                    <a:lnTo>
                      <a:pt x="1763247" y="814878"/>
                    </a:lnTo>
                    <a:lnTo>
                      <a:pt x="1762641" y="816090"/>
                    </a:lnTo>
                    <a:lnTo>
                      <a:pt x="1762338" y="817606"/>
                    </a:lnTo>
                    <a:lnTo>
                      <a:pt x="1762187" y="819424"/>
                    </a:lnTo>
                    <a:lnTo>
                      <a:pt x="1763096" y="820484"/>
                    </a:lnTo>
                    <a:lnTo>
                      <a:pt x="1768096" y="820788"/>
                    </a:lnTo>
                    <a:lnTo>
                      <a:pt x="1772642" y="819121"/>
                    </a:lnTo>
                    <a:lnTo>
                      <a:pt x="1783399" y="813818"/>
                    </a:lnTo>
                    <a:lnTo>
                      <a:pt x="1789460" y="811545"/>
                    </a:lnTo>
                    <a:lnTo>
                      <a:pt x="1792188" y="808363"/>
                    </a:lnTo>
                    <a:lnTo>
                      <a:pt x="1794006" y="807908"/>
                    </a:lnTo>
                    <a:lnTo>
                      <a:pt x="1796582" y="808514"/>
                    </a:lnTo>
                    <a:lnTo>
                      <a:pt x="1800673" y="810333"/>
                    </a:lnTo>
                    <a:lnTo>
                      <a:pt x="1803703" y="808817"/>
                    </a:lnTo>
                    <a:lnTo>
                      <a:pt x="1807794" y="804726"/>
                    </a:lnTo>
                    <a:lnTo>
                      <a:pt x="1810522" y="802757"/>
                    </a:lnTo>
                    <a:lnTo>
                      <a:pt x="1811885" y="802908"/>
                    </a:lnTo>
                    <a:lnTo>
                      <a:pt x="1814310" y="803817"/>
                    </a:lnTo>
                    <a:lnTo>
                      <a:pt x="1812794" y="805029"/>
                    </a:lnTo>
                    <a:lnTo>
                      <a:pt x="1808704" y="806848"/>
                    </a:lnTo>
                    <a:lnTo>
                      <a:pt x="1807643" y="807908"/>
                    </a:lnTo>
                    <a:lnTo>
                      <a:pt x="1808400" y="808817"/>
                    </a:lnTo>
                    <a:lnTo>
                      <a:pt x="1811431" y="808969"/>
                    </a:lnTo>
                    <a:lnTo>
                      <a:pt x="1813401" y="810030"/>
                    </a:lnTo>
                    <a:lnTo>
                      <a:pt x="1813098" y="811090"/>
                    </a:lnTo>
                    <a:lnTo>
                      <a:pt x="1808704" y="814424"/>
                    </a:lnTo>
                    <a:lnTo>
                      <a:pt x="1809158" y="815181"/>
                    </a:lnTo>
                    <a:lnTo>
                      <a:pt x="1811431" y="815787"/>
                    </a:lnTo>
                    <a:lnTo>
                      <a:pt x="1813098" y="815787"/>
                    </a:lnTo>
                    <a:lnTo>
                      <a:pt x="1814310" y="815181"/>
                    </a:lnTo>
                    <a:lnTo>
                      <a:pt x="1814916" y="816090"/>
                    </a:lnTo>
                    <a:lnTo>
                      <a:pt x="1814461" y="817757"/>
                    </a:lnTo>
                    <a:lnTo>
                      <a:pt x="1815825" y="820030"/>
                    </a:lnTo>
                    <a:lnTo>
                      <a:pt x="1822037" y="826091"/>
                    </a:lnTo>
                    <a:lnTo>
                      <a:pt x="1824007" y="827303"/>
                    </a:lnTo>
                    <a:lnTo>
                      <a:pt x="1826128" y="828061"/>
                    </a:lnTo>
                    <a:lnTo>
                      <a:pt x="1828553" y="828364"/>
                    </a:lnTo>
                    <a:lnTo>
                      <a:pt x="1833856" y="827757"/>
                    </a:lnTo>
                    <a:lnTo>
                      <a:pt x="1834462" y="826394"/>
                    </a:lnTo>
                    <a:lnTo>
                      <a:pt x="1830371" y="820636"/>
                    </a:lnTo>
                    <a:lnTo>
                      <a:pt x="1831583" y="820030"/>
                    </a:lnTo>
                    <a:lnTo>
                      <a:pt x="1835371" y="820181"/>
                    </a:lnTo>
                    <a:lnTo>
                      <a:pt x="1837644" y="820636"/>
                    </a:lnTo>
                    <a:lnTo>
                      <a:pt x="1838402" y="821394"/>
                    </a:lnTo>
                    <a:lnTo>
                      <a:pt x="1839008" y="822757"/>
                    </a:lnTo>
                    <a:lnTo>
                      <a:pt x="1839462" y="824576"/>
                    </a:lnTo>
                    <a:lnTo>
                      <a:pt x="1839462" y="826545"/>
                    </a:lnTo>
                    <a:lnTo>
                      <a:pt x="1838098" y="830333"/>
                    </a:lnTo>
                    <a:lnTo>
                      <a:pt x="1837038" y="831849"/>
                    </a:lnTo>
                    <a:lnTo>
                      <a:pt x="1836886" y="833515"/>
                    </a:lnTo>
                    <a:lnTo>
                      <a:pt x="1838553" y="836697"/>
                    </a:lnTo>
                    <a:lnTo>
                      <a:pt x="1840523" y="838515"/>
                    </a:lnTo>
                    <a:lnTo>
                      <a:pt x="1843402" y="840031"/>
                    </a:lnTo>
                    <a:lnTo>
                      <a:pt x="1845220" y="839879"/>
                    </a:lnTo>
                    <a:lnTo>
                      <a:pt x="1852645" y="836546"/>
                    </a:lnTo>
                    <a:lnTo>
                      <a:pt x="1853250" y="837000"/>
                    </a:lnTo>
                    <a:lnTo>
                      <a:pt x="1852039" y="839273"/>
                    </a:lnTo>
                    <a:lnTo>
                      <a:pt x="1852190" y="841243"/>
                    </a:lnTo>
                    <a:lnTo>
                      <a:pt x="1859463" y="848819"/>
                    </a:lnTo>
                    <a:lnTo>
                      <a:pt x="1863857" y="856395"/>
                    </a:lnTo>
                    <a:lnTo>
                      <a:pt x="1868706" y="862607"/>
                    </a:lnTo>
                    <a:lnTo>
                      <a:pt x="1872797" y="869729"/>
                    </a:lnTo>
                    <a:lnTo>
                      <a:pt x="1878858" y="884578"/>
                    </a:lnTo>
                    <a:lnTo>
                      <a:pt x="1880221" y="886244"/>
                    </a:lnTo>
                    <a:lnTo>
                      <a:pt x="1882040" y="887305"/>
                    </a:lnTo>
                    <a:lnTo>
                      <a:pt x="1882494" y="888669"/>
                    </a:lnTo>
                    <a:lnTo>
                      <a:pt x="1878555" y="894275"/>
                    </a:lnTo>
                    <a:lnTo>
                      <a:pt x="1875221" y="895942"/>
                    </a:lnTo>
                    <a:lnTo>
                      <a:pt x="1870221" y="897154"/>
                    </a:lnTo>
                    <a:lnTo>
                      <a:pt x="1866888" y="898972"/>
                    </a:lnTo>
                    <a:lnTo>
                      <a:pt x="1862493" y="905791"/>
                    </a:lnTo>
                    <a:lnTo>
                      <a:pt x="1861736" y="908367"/>
                    </a:lnTo>
                    <a:lnTo>
                      <a:pt x="1861433" y="911245"/>
                    </a:lnTo>
                    <a:lnTo>
                      <a:pt x="1860069" y="912912"/>
                    </a:lnTo>
                    <a:lnTo>
                      <a:pt x="1855523" y="914276"/>
                    </a:lnTo>
                    <a:lnTo>
                      <a:pt x="1853402" y="915336"/>
                    </a:lnTo>
                    <a:lnTo>
                      <a:pt x="1851281" y="917155"/>
                    </a:lnTo>
                    <a:lnTo>
                      <a:pt x="1849311" y="919579"/>
                    </a:lnTo>
                    <a:lnTo>
                      <a:pt x="1845068" y="923064"/>
                    </a:lnTo>
                    <a:lnTo>
                      <a:pt x="1835523" y="929882"/>
                    </a:lnTo>
                    <a:lnTo>
                      <a:pt x="1823401" y="936701"/>
                    </a:lnTo>
                    <a:lnTo>
                      <a:pt x="1822189" y="938519"/>
                    </a:lnTo>
                    <a:lnTo>
                      <a:pt x="1821734" y="939731"/>
                    </a:lnTo>
                    <a:lnTo>
                      <a:pt x="1822643" y="941701"/>
                    </a:lnTo>
                    <a:lnTo>
                      <a:pt x="1826128" y="945489"/>
                    </a:lnTo>
                    <a:lnTo>
                      <a:pt x="1832795" y="951701"/>
                    </a:lnTo>
                    <a:lnTo>
                      <a:pt x="1838402" y="954883"/>
                    </a:lnTo>
                    <a:lnTo>
                      <a:pt x="1840523" y="956550"/>
                    </a:lnTo>
                    <a:lnTo>
                      <a:pt x="1843402" y="961702"/>
                    </a:lnTo>
                    <a:lnTo>
                      <a:pt x="1845674" y="966702"/>
                    </a:lnTo>
                    <a:lnTo>
                      <a:pt x="1845978" y="969278"/>
                    </a:lnTo>
                    <a:lnTo>
                      <a:pt x="1842644" y="969278"/>
                    </a:lnTo>
                    <a:lnTo>
                      <a:pt x="1837038" y="967763"/>
                    </a:lnTo>
                    <a:lnTo>
                      <a:pt x="1834008" y="967914"/>
                    </a:lnTo>
                    <a:lnTo>
                      <a:pt x="1829916" y="968520"/>
                    </a:lnTo>
                    <a:lnTo>
                      <a:pt x="1827189" y="969429"/>
                    </a:lnTo>
                    <a:lnTo>
                      <a:pt x="1822946" y="973369"/>
                    </a:lnTo>
                    <a:lnTo>
                      <a:pt x="1820068" y="974581"/>
                    </a:lnTo>
                    <a:lnTo>
                      <a:pt x="1817946" y="974884"/>
                    </a:lnTo>
                    <a:lnTo>
                      <a:pt x="1815522" y="974733"/>
                    </a:lnTo>
                    <a:lnTo>
                      <a:pt x="1810522" y="973672"/>
                    </a:lnTo>
                    <a:lnTo>
                      <a:pt x="1806885" y="973975"/>
                    </a:lnTo>
                    <a:lnTo>
                      <a:pt x="1805067" y="974733"/>
                    </a:lnTo>
                    <a:lnTo>
                      <a:pt x="1803400" y="976248"/>
                    </a:lnTo>
                    <a:lnTo>
                      <a:pt x="1801885" y="978369"/>
                    </a:lnTo>
                    <a:lnTo>
                      <a:pt x="1797794" y="978824"/>
                    </a:lnTo>
                    <a:lnTo>
                      <a:pt x="1787036" y="977005"/>
                    </a:lnTo>
                    <a:lnTo>
                      <a:pt x="1784612" y="977763"/>
                    </a:lnTo>
                    <a:lnTo>
                      <a:pt x="1785369" y="979581"/>
                    </a:lnTo>
                    <a:lnTo>
                      <a:pt x="1792642" y="985036"/>
                    </a:lnTo>
                    <a:lnTo>
                      <a:pt x="1794309" y="986551"/>
                    </a:lnTo>
                    <a:lnTo>
                      <a:pt x="1795673" y="988369"/>
                    </a:lnTo>
                    <a:lnTo>
                      <a:pt x="1796733" y="990491"/>
                    </a:lnTo>
                    <a:lnTo>
                      <a:pt x="1796582" y="992309"/>
                    </a:lnTo>
                    <a:lnTo>
                      <a:pt x="1795218" y="993673"/>
                    </a:lnTo>
                    <a:lnTo>
                      <a:pt x="1794612" y="995339"/>
                    </a:lnTo>
                    <a:lnTo>
                      <a:pt x="1794763" y="997309"/>
                    </a:lnTo>
                    <a:lnTo>
                      <a:pt x="1794006" y="997915"/>
                    </a:lnTo>
                    <a:lnTo>
                      <a:pt x="1791127" y="996248"/>
                    </a:lnTo>
                    <a:lnTo>
                      <a:pt x="1790218" y="995036"/>
                    </a:lnTo>
                    <a:lnTo>
                      <a:pt x="1790218" y="993976"/>
                    </a:lnTo>
                    <a:lnTo>
                      <a:pt x="1790975" y="993067"/>
                    </a:lnTo>
                    <a:lnTo>
                      <a:pt x="1792642" y="990188"/>
                    </a:lnTo>
                    <a:lnTo>
                      <a:pt x="1792188" y="988218"/>
                    </a:lnTo>
                    <a:lnTo>
                      <a:pt x="1788703" y="984430"/>
                    </a:lnTo>
                    <a:lnTo>
                      <a:pt x="1783248" y="980490"/>
                    </a:lnTo>
                    <a:lnTo>
                      <a:pt x="1776733" y="977915"/>
                    </a:lnTo>
                    <a:lnTo>
                      <a:pt x="1765369" y="974126"/>
                    </a:lnTo>
                    <a:lnTo>
                      <a:pt x="1757186" y="972157"/>
                    </a:lnTo>
                    <a:lnTo>
                      <a:pt x="1752338" y="972005"/>
                    </a:lnTo>
                    <a:lnTo>
                      <a:pt x="1748701" y="971399"/>
                    </a:lnTo>
                    <a:lnTo>
                      <a:pt x="1744459" y="970035"/>
                    </a:lnTo>
                    <a:lnTo>
                      <a:pt x="1742337" y="970490"/>
                    </a:lnTo>
                    <a:lnTo>
                      <a:pt x="1741428" y="971248"/>
                    </a:lnTo>
                    <a:lnTo>
                      <a:pt x="1739458" y="974126"/>
                    </a:lnTo>
                    <a:lnTo>
                      <a:pt x="1738549" y="974884"/>
                    </a:lnTo>
                    <a:lnTo>
                      <a:pt x="1738549" y="976096"/>
                    </a:lnTo>
                    <a:lnTo>
                      <a:pt x="1741277" y="980945"/>
                    </a:lnTo>
                    <a:lnTo>
                      <a:pt x="1741428" y="982006"/>
                    </a:lnTo>
                    <a:lnTo>
                      <a:pt x="1739004" y="983521"/>
                    </a:lnTo>
                    <a:lnTo>
                      <a:pt x="1727337" y="987460"/>
                    </a:lnTo>
                    <a:lnTo>
                      <a:pt x="1724155" y="989733"/>
                    </a:lnTo>
                    <a:lnTo>
                      <a:pt x="1722488" y="991551"/>
                    </a:lnTo>
                    <a:lnTo>
                      <a:pt x="1721427" y="993521"/>
                    </a:lnTo>
                    <a:lnTo>
                      <a:pt x="1720064" y="999430"/>
                    </a:lnTo>
                    <a:lnTo>
                      <a:pt x="1718852" y="1001855"/>
                    </a:lnTo>
                    <a:lnTo>
                      <a:pt x="1718549" y="1003521"/>
                    </a:lnTo>
                    <a:lnTo>
                      <a:pt x="1718700" y="1005794"/>
                    </a:lnTo>
                    <a:lnTo>
                      <a:pt x="1719306" y="1007916"/>
                    </a:lnTo>
                    <a:lnTo>
                      <a:pt x="1722791" y="1013219"/>
                    </a:lnTo>
                    <a:lnTo>
                      <a:pt x="1724458" y="1014885"/>
                    </a:lnTo>
                    <a:lnTo>
                      <a:pt x="1729761" y="1018977"/>
                    </a:lnTo>
                    <a:lnTo>
                      <a:pt x="1730670" y="1019280"/>
                    </a:lnTo>
                    <a:lnTo>
                      <a:pt x="1734307" y="1019128"/>
                    </a:lnTo>
                    <a:lnTo>
                      <a:pt x="1737034" y="1020037"/>
                    </a:lnTo>
                    <a:lnTo>
                      <a:pt x="1740368" y="1022007"/>
                    </a:lnTo>
                    <a:lnTo>
                      <a:pt x="1743701" y="1022916"/>
                    </a:lnTo>
                    <a:lnTo>
                      <a:pt x="1746883" y="1022765"/>
                    </a:lnTo>
                    <a:lnTo>
                      <a:pt x="1750823" y="1023371"/>
                    </a:lnTo>
                    <a:lnTo>
                      <a:pt x="1755368" y="1024886"/>
                    </a:lnTo>
                    <a:lnTo>
                      <a:pt x="1759005" y="1024734"/>
                    </a:lnTo>
                    <a:lnTo>
                      <a:pt x="1761732" y="1022916"/>
                    </a:lnTo>
                    <a:lnTo>
                      <a:pt x="1763550" y="1022159"/>
                    </a:lnTo>
                    <a:lnTo>
                      <a:pt x="1765369" y="1022613"/>
                    </a:lnTo>
                    <a:lnTo>
                      <a:pt x="1767793" y="1022159"/>
                    </a:lnTo>
                    <a:lnTo>
                      <a:pt x="1775672" y="1018977"/>
                    </a:lnTo>
                    <a:lnTo>
                      <a:pt x="1778096" y="1018522"/>
                    </a:lnTo>
                    <a:lnTo>
                      <a:pt x="1784006" y="1018673"/>
                    </a:lnTo>
                    <a:lnTo>
                      <a:pt x="1785369" y="1018371"/>
                    </a:lnTo>
                    <a:lnTo>
                      <a:pt x="1786733" y="1012461"/>
                    </a:lnTo>
                    <a:lnTo>
                      <a:pt x="1792945" y="1011704"/>
                    </a:lnTo>
                    <a:lnTo>
                      <a:pt x="1797340" y="1013976"/>
                    </a:lnTo>
                    <a:lnTo>
                      <a:pt x="1800370" y="1014885"/>
                    </a:lnTo>
                    <a:lnTo>
                      <a:pt x="1804461" y="1015492"/>
                    </a:lnTo>
                    <a:lnTo>
                      <a:pt x="1809158" y="1015037"/>
                    </a:lnTo>
                    <a:lnTo>
                      <a:pt x="1814613" y="1013673"/>
                    </a:lnTo>
                    <a:lnTo>
                      <a:pt x="1816128" y="1010946"/>
                    </a:lnTo>
                    <a:lnTo>
                      <a:pt x="1813704" y="1007006"/>
                    </a:lnTo>
                    <a:lnTo>
                      <a:pt x="1811128" y="1003976"/>
                    </a:lnTo>
                    <a:lnTo>
                      <a:pt x="1808552" y="1001855"/>
                    </a:lnTo>
                    <a:lnTo>
                      <a:pt x="1808704" y="1000643"/>
                    </a:lnTo>
                    <a:lnTo>
                      <a:pt x="1811582" y="1000491"/>
                    </a:lnTo>
                    <a:lnTo>
                      <a:pt x="1813401" y="1000037"/>
                    </a:lnTo>
                    <a:lnTo>
                      <a:pt x="1814158" y="999279"/>
                    </a:lnTo>
                    <a:lnTo>
                      <a:pt x="1815219" y="998976"/>
                    </a:lnTo>
                    <a:lnTo>
                      <a:pt x="1816582" y="999279"/>
                    </a:lnTo>
                    <a:lnTo>
                      <a:pt x="1817795" y="1000946"/>
                    </a:lnTo>
                    <a:lnTo>
                      <a:pt x="1818855" y="1003976"/>
                    </a:lnTo>
                    <a:lnTo>
                      <a:pt x="1820068" y="1006097"/>
                    </a:lnTo>
                    <a:lnTo>
                      <a:pt x="1821431" y="1007158"/>
                    </a:lnTo>
                    <a:lnTo>
                      <a:pt x="1822643" y="1007613"/>
                    </a:lnTo>
                    <a:lnTo>
                      <a:pt x="1828401" y="1007916"/>
                    </a:lnTo>
                    <a:lnTo>
                      <a:pt x="1830371" y="1008825"/>
                    </a:lnTo>
                    <a:lnTo>
                      <a:pt x="1831280" y="1014885"/>
                    </a:lnTo>
                    <a:lnTo>
                      <a:pt x="1831280" y="1016098"/>
                    </a:lnTo>
                    <a:lnTo>
                      <a:pt x="1832189" y="1017007"/>
                    </a:lnTo>
                    <a:lnTo>
                      <a:pt x="1833250" y="1017158"/>
                    </a:lnTo>
                    <a:lnTo>
                      <a:pt x="1834462" y="1016552"/>
                    </a:lnTo>
                    <a:lnTo>
                      <a:pt x="1835371" y="1015340"/>
                    </a:lnTo>
                    <a:lnTo>
                      <a:pt x="1836432" y="1010340"/>
                    </a:lnTo>
                    <a:lnTo>
                      <a:pt x="1837644" y="1010037"/>
                    </a:lnTo>
                    <a:lnTo>
                      <a:pt x="1839765" y="1010946"/>
                    </a:lnTo>
                    <a:lnTo>
                      <a:pt x="1841584" y="1010794"/>
                    </a:lnTo>
                    <a:lnTo>
                      <a:pt x="1844311" y="1009279"/>
                    </a:lnTo>
                    <a:lnTo>
                      <a:pt x="1850220" y="1010491"/>
                    </a:lnTo>
                    <a:lnTo>
                      <a:pt x="1854160" y="1010188"/>
                    </a:lnTo>
                    <a:lnTo>
                      <a:pt x="1854008" y="1011097"/>
                    </a:lnTo>
                    <a:lnTo>
                      <a:pt x="1849462" y="1017158"/>
                    </a:lnTo>
                    <a:lnTo>
                      <a:pt x="1849160" y="1018219"/>
                    </a:lnTo>
                    <a:lnTo>
                      <a:pt x="1851281" y="1019128"/>
                    </a:lnTo>
                    <a:lnTo>
                      <a:pt x="1854160" y="1021098"/>
                    </a:lnTo>
                    <a:lnTo>
                      <a:pt x="1856736" y="1023371"/>
                    </a:lnTo>
                    <a:lnTo>
                      <a:pt x="1863857" y="1030644"/>
                    </a:lnTo>
                    <a:lnTo>
                      <a:pt x="1868857" y="1034432"/>
                    </a:lnTo>
                    <a:lnTo>
                      <a:pt x="1870221" y="1034886"/>
                    </a:lnTo>
                    <a:lnTo>
                      <a:pt x="1871282" y="1036250"/>
                    </a:lnTo>
                    <a:lnTo>
                      <a:pt x="1872797" y="1040038"/>
                    </a:lnTo>
                    <a:lnTo>
                      <a:pt x="1875221" y="1043371"/>
                    </a:lnTo>
                    <a:lnTo>
                      <a:pt x="1876585" y="1043674"/>
                    </a:lnTo>
                    <a:lnTo>
                      <a:pt x="1882646" y="1040493"/>
                    </a:lnTo>
                    <a:lnTo>
                      <a:pt x="1884009" y="1040341"/>
                    </a:lnTo>
                    <a:lnTo>
                      <a:pt x="1884464" y="1040493"/>
                    </a:lnTo>
                    <a:lnTo>
                      <a:pt x="1884161" y="1041250"/>
                    </a:lnTo>
                    <a:lnTo>
                      <a:pt x="1883100" y="1042614"/>
                    </a:lnTo>
                    <a:lnTo>
                      <a:pt x="1880979" y="1046250"/>
                    </a:lnTo>
                    <a:lnTo>
                      <a:pt x="1880979" y="1047462"/>
                    </a:lnTo>
                    <a:lnTo>
                      <a:pt x="1882797" y="1048220"/>
                    </a:lnTo>
                    <a:lnTo>
                      <a:pt x="1893404" y="1047462"/>
                    </a:lnTo>
                    <a:lnTo>
                      <a:pt x="1896434" y="1048220"/>
                    </a:lnTo>
                    <a:lnTo>
                      <a:pt x="1899161" y="1050038"/>
                    </a:lnTo>
                    <a:lnTo>
                      <a:pt x="1900828" y="1051554"/>
                    </a:lnTo>
                    <a:lnTo>
                      <a:pt x="1901434" y="1052766"/>
                    </a:lnTo>
                    <a:lnTo>
                      <a:pt x="1902192" y="1053372"/>
                    </a:lnTo>
                    <a:lnTo>
                      <a:pt x="1905828" y="1053675"/>
                    </a:lnTo>
                    <a:lnTo>
                      <a:pt x="1905677" y="1054736"/>
                    </a:lnTo>
                    <a:lnTo>
                      <a:pt x="1903859" y="1056554"/>
                    </a:lnTo>
                    <a:lnTo>
                      <a:pt x="1899464" y="1059433"/>
                    </a:lnTo>
                    <a:lnTo>
                      <a:pt x="1897192" y="1060039"/>
                    </a:lnTo>
                    <a:lnTo>
                      <a:pt x="1893858" y="1059887"/>
                    </a:lnTo>
                    <a:lnTo>
                      <a:pt x="1889616" y="1060190"/>
                    </a:lnTo>
                    <a:lnTo>
                      <a:pt x="1889161" y="1060796"/>
                    </a:lnTo>
                    <a:lnTo>
                      <a:pt x="1892949" y="1063372"/>
                    </a:lnTo>
                    <a:lnTo>
                      <a:pt x="1899464" y="1070645"/>
                    </a:lnTo>
                    <a:lnTo>
                      <a:pt x="1902646" y="1073221"/>
                    </a:lnTo>
                    <a:lnTo>
                      <a:pt x="1906889" y="1075797"/>
                    </a:lnTo>
                    <a:lnTo>
                      <a:pt x="1909465" y="1076858"/>
                    </a:lnTo>
                    <a:lnTo>
                      <a:pt x="1916586" y="1073524"/>
                    </a:lnTo>
                    <a:lnTo>
                      <a:pt x="1917798" y="1073524"/>
                    </a:lnTo>
                    <a:lnTo>
                      <a:pt x="1913707" y="1077918"/>
                    </a:lnTo>
                    <a:lnTo>
                      <a:pt x="1913404" y="1078676"/>
                    </a:lnTo>
                    <a:lnTo>
                      <a:pt x="1916283" y="1079736"/>
                    </a:lnTo>
                    <a:lnTo>
                      <a:pt x="1921738" y="1082615"/>
                    </a:lnTo>
                    <a:lnTo>
                      <a:pt x="1928102" y="1084434"/>
                    </a:lnTo>
                    <a:lnTo>
                      <a:pt x="1934314" y="1087767"/>
                    </a:lnTo>
                    <a:lnTo>
                      <a:pt x="1937193" y="1088979"/>
                    </a:lnTo>
                    <a:lnTo>
                      <a:pt x="1941739" y="1089282"/>
                    </a:lnTo>
                    <a:lnTo>
                      <a:pt x="1944769" y="1088525"/>
                    </a:lnTo>
                    <a:lnTo>
                      <a:pt x="1949163" y="1087918"/>
                    </a:lnTo>
                    <a:lnTo>
                      <a:pt x="1954466" y="1088828"/>
                    </a:lnTo>
                    <a:lnTo>
                      <a:pt x="1956133" y="1089888"/>
                    </a:lnTo>
                    <a:lnTo>
                      <a:pt x="1960982" y="1097313"/>
                    </a:lnTo>
                    <a:lnTo>
                      <a:pt x="1967497" y="1103677"/>
                    </a:lnTo>
                    <a:lnTo>
                      <a:pt x="1968709" y="1104434"/>
                    </a:lnTo>
                    <a:lnTo>
                      <a:pt x="1978558" y="1108071"/>
                    </a:lnTo>
                    <a:lnTo>
                      <a:pt x="1980983" y="1109737"/>
                    </a:lnTo>
                    <a:lnTo>
                      <a:pt x="1983710" y="1110798"/>
                    </a:lnTo>
                    <a:lnTo>
                      <a:pt x="1987952" y="1111707"/>
                    </a:lnTo>
                    <a:lnTo>
                      <a:pt x="2013559" y="1115192"/>
                    </a:lnTo>
                    <a:lnTo>
                      <a:pt x="2015529" y="1115950"/>
                    </a:lnTo>
                    <a:lnTo>
                      <a:pt x="2016742" y="1117162"/>
                    </a:lnTo>
                    <a:lnTo>
                      <a:pt x="2020530" y="1118526"/>
                    </a:lnTo>
                    <a:lnTo>
                      <a:pt x="2030833" y="1121102"/>
                    </a:lnTo>
                    <a:lnTo>
                      <a:pt x="2037651" y="1124738"/>
                    </a:lnTo>
                    <a:lnTo>
                      <a:pt x="2041136" y="1126253"/>
                    </a:lnTo>
                    <a:lnTo>
                      <a:pt x="2043864" y="1127162"/>
                    </a:lnTo>
                    <a:lnTo>
                      <a:pt x="2045682" y="1127314"/>
                    </a:lnTo>
                    <a:lnTo>
                      <a:pt x="2049318" y="1126253"/>
                    </a:lnTo>
                    <a:lnTo>
                      <a:pt x="2051137" y="1125344"/>
                    </a:lnTo>
                    <a:lnTo>
                      <a:pt x="2051137" y="1123071"/>
                    </a:lnTo>
                    <a:lnTo>
                      <a:pt x="2049470" y="1119435"/>
                    </a:lnTo>
                    <a:lnTo>
                      <a:pt x="2049016" y="1117314"/>
                    </a:lnTo>
                    <a:lnTo>
                      <a:pt x="2051894" y="1115798"/>
                    </a:lnTo>
                    <a:lnTo>
                      <a:pt x="2052500" y="1114889"/>
                    </a:lnTo>
                    <a:lnTo>
                      <a:pt x="2053106" y="1112768"/>
                    </a:lnTo>
                    <a:lnTo>
                      <a:pt x="2052197" y="1111859"/>
                    </a:lnTo>
                    <a:lnTo>
                      <a:pt x="2050076" y="1111101"/>
                    </a:lnTo>
                    <a:lnTo>
                      <a:pt x="2044924" y="1108677"/>
                    </a:lnTo>
                    <a:lnTo>
                      <a:pt x="2042803" y="1106556"/>
                    </a:lnTo>
                    <a:lnTo>
                      <a:pt x="2040076" y="1101858"/>
                    </a:lnTo>
                    <a:lnTo>
                      <a:pt x="2038106" y="1099889"/>
                    </a:lnTo>
                    <a:lnTo>
                      <a:pt x="2034924" y="1095949"/>
                    </a:lnTo>
                    <a:lnTo>
                      <a:pt x="2033106" y="1094737"/>
                    </a:lnTo>
                    <a:lnTo>
                      <a:pt x="2027499" y="1092767"/>
                    </a:lnTo>
                    <a:lnTo>
                      <a:pt x="2025984" y="1091858"/>
                    </a:lnTo>
                    <a:lnTo>
                      <a:pt x="2019620" y="1085797"/>
                    </a:lnTo>
                    <a:lnTo>
                      <a:pt x="2018105" y="1085191"/>
                    </a:lnTo>
                    <a:lnTo>
                      <a:pt x="2015378" y="1082767"/>
                    </a:lnTo>
                    <a:lnTo>
                      <a:pt x="2012650" y="1081252"/>
                    </a:lnTo>
                    <a:lnTo>
                      <a:pt x="2005226" y="1078676"/>
                    </a:lnTo>
                    <a:lnTo>
                      <a:pt x="2005529" y="1077615"/>
                    </a:lnTo>
                    <a:lnTo>
                      <a:pt x="2007196" y="1075948"/>
                    </a:lnTo>
                    <a:lnTo>
                      <a:pt x="2006893" y="1075039"/>
                    </a:lnTo>
                    <a:lnTo>
                      <a:pt x="2003559" y="1074888"/>
                    </a:lnTo>
                    <a:lnTo>
                      <a:pt x="2000377" y="1074282"/>
                    </a:lnTo>
                    <a:lnTo>
                      <a:pt x="1994165" y="1071706"/>
                    </a:lnTo>
                    <a:lnTo>
                      <a:pt x="1992347" y="1069888"/>
                    </a:lnTo>
                    <a:lnTo>
                      <a:pt x="1987801" y="1063978"/>
                    </a:lnTo>
                    <a:lnTo>
                      <a:pt x="1982801" y="1059433"/>
                    </a:lnTo>
                    <a:lnTo>
                      <a:pt x="1979619" y="1057008"/>
                    </a:lnTo>
                    <a:lnTo>
                      <a:pt x="1976437" y="1053523"/>
                    </a:lnTo>
                    <a:lnTo>
                      <a:pt x="1973103" y="1048826"/>
                    </a:lnTo>
                    <a:lnTo>
                      <a:pt x="1974467" y="1046705"/>
                    </a:lnTo>
                    <a:lnTo>
                      <a:pt x="1980680" y="1047159"/>
                    </a:lnTo>
                    <a:lnTo>
                      <a:pt x="1984468" y="1047766"/>
                    </a:lnTo>
                    <a:lnTo>
                      <a:pt x="1991286" y="1051554"/>
                    </a:lnTo>
                    <a:lnTo>
                      <a:pt x="2002347" y="1059736"/>
                    </a:lnTo>
                    <a:lnTo>
                      <a:pt x="2004468" y="1060948"/>
                    </a:lnTo>
                    <a:lnTo>
                      <a:pt x="2005529" y="1060796"/>
                    </a:lnTo>
                    <a:lnTo>
                      <a:pt x="2004923" y="1057917"/>
                    </a:lnTo>
                    <a:lnTo>
                      <a:pt x="2002802" y="1051554"/>
                    </a:lnTo>
                    <a:lnTo>
                      <a:pt x="2000832" y="1047311"/>
                    </a:lnTo>
                    <a:lnTo>
                      <a:pt x="2002195" y="1048220"/>
                    </a:lnTo>
                    <a:lnTo>
                      <a:pt x="2005832" y="1051705"/>
                    </a:lnTo>
                    <a:lnTo>
                      <a:pt x="2011741" y="1058372"/>
                    </a:lnTo>
                    <a:lnTo>
                      <a:pt x="2018105" y="1064433"/>
                    </a:lnTo>
                    <a:lnTo>
                      <a:pt x="2020378" y="1065948"/>
                    </a:lnTo>
                    <a:lnTo>
                      <a:pt x="2024772" y="1065493"/>
                    </a:lnTo>
                    <a:lnTo>
                      <a:pt x="2025227" y="1065948"/>
                    </a:lnTo>
                    <a:lnTo>
                      <a:pt x="2025984" y="1068069"/>
                    </a:lnTo>
                    <a:lnTo>
                      <a:pt x="2027348" y="1069281"/>
                    </a:lnTo>
                    <a:lnTo>
                      <a:pt x="2029924" y="1070494"/>
                    </a:lnTo>
                    <a:lnTo>
                      <a:pt x="2031591" y="1072160"/>
                    </a:lnTo>
                    <a:lnTo>
                      <a:pt x="2032197" y="1074433"/>
                    </a:lnTo>
                    <a:lnTo>
                      <a:pt x="2032954" y="1075797"/>
                    </a:lnTo>
                    <a:lnTo>
                      <a:pt x="2033712" y="1076251"/>
                    </a:lnTo>
                    <a:lnTo>
                      <a:pt x="2035379" y="1075797"/>
                    </a:lnTo>
                    <a:lnTo>
                      <a:pt x="2035530" y="1074130"/>
                    </a:lnTo>
                    <a:lnTo>
                      <a:pt x="2034773" y="1069130"/>
                    </a:lnTo>
                    <a:lnTo>
                      <a:pt x="2034924" y="1067918"/>
                    </a:lnTo>
                    <a:lnTo>
                      <a:pt x="2036439" y="1069888"/>
                    </a:lnTo>
                    <a:lnTo>
                      <a:pt x="2039318" y="1075191"/>
                    </a:lnTo>
                    <a:lnTo>
                      <a:pt x="2041591" y="1078221"/>
                    </a:lnTo>
                    <a:lnTo>
                      <a:pt x="2044924" y="1079585"/>
                    </a:lnTo>
                    <a:lnTo>
                      <a:pt x="2046743" y="1079888"/>
                    </a:lnTo>
                    <a:lnTo>
                      <a:pt x="2047500" y="1079282"/>
                    </a:lnTo>
                    <a:lnTo>
                      <a:pt x="2046743" y="1076251"/>
                    </a:lnTo>
                    <a:lnTo>
                      <a:pt x="2046137" y="1074888"/>
                    </a:lnTo>
                    <a:lnTo>
                      <a:pt x="2046894" y="1074888"/>
                    </a:lnTo>
                    <a:lnTo>
                      <a:pt x="2053561" y="1079433"/>
                    </a:lnTo>
                    <a:lnTo>
                      <a:pt x="2055228" y="1080797"/>
                    </a:lnTo>
                    <a:lnTo>
                      <a:pt x="2056743" y="1082767"/>
                    </a:lnTo>
                    <a:lnTo>
                      <a:pt x="2057501" y="1083373"/>
                    </a:lnTo>
                    <a:lnTo>
                      <a:pt x="2058258" y="1083221"/>
                    </a:lnTo>
                    <a:lnTo>
                      <a:pt x="2059016" y="1082464"/>
                    </a:lnTo>
                    <a:lnTo>
                      <a:pt x="2060076" y="1082464"/>
                    </a:lnTo>
                    <a:lnTo>
                      <a:pt x="2064622" y="1085191"/>
                    </a:lnTo>
                    <a:lnTo>
                      <a:pt x="2069471" y="1088676"/>
                    </a:lnTo>
                    <a:lnTo>
                      <a:pt x="2073107" y="1091858"/>
                    </a:lnTo>
                    <a:lnTo>
                      <a:pt x="2075380" y="1094737"/>
                    </a:lnTo>
                    <a:lnTo>
                      <a:pt x="2077350" y="1095646"/>
                    </a:lnTo>
                    <a:lnTo>
                      <a:pt x="2079017" y="1094737"/>
                    </a:lnTo>
                    <a:lnTo>
                      <a:pt x="2079168" y="1092313"/>
                    </a:lnTo>
                    <a:lnTo>
                      <a:pt x="2075986" y="1082464"/>
                    </a:lnTo>
                    <a:lnTo>
                      <a:pt x="2076744" y="1081555"/>
                    </a:lnTo>
                    <a:lnTo>
                      <a:pt x="2082501" y="1084282"/>
                    </a:lnTo>
                    <a:lnTo>
                      <a:pt x="2084017" y="1084737"/>
                    </a:lnTo>
                    <a:lnTo>
                      <a:pt x="2087199" y="1084434"/>
                    </a:lnTo>
                    <a:lnTo>
                      <a:pt x="2089017" y="1083827"/>
                    </a:lnTo>
                    <a:lnTo>
                      <a:pt x="2089320" y="1082918"/>
                    </a:lnTo>
                    <a:lnTo>
                      <a:pt x="2088108" y="1081858"/>
                    </a:lnTo>
                    <a:lnTo>
                      <a:pt x="2086744" y="1079888"/>
                    </a:lnTo>
                    <a:lnTo>
                      <a:pt x="2085229" y="1077009"/>
                    </a:lnTo>
                    <a:lnTo>
                      <a:pt x="2083259" y="1074130"/>
                    </a:lnTo>
                    <a:lnTo>
                      <a:pt x="2079017" y="1069433"/>
                    </a:lnTo>
                    <a:lnTo>
                      <a:pt x="2078410" y="1068221"/>
                    </a:lnTo>
                    <a:lnTo>
                      <a:pt x="2078713" y="1067312"/>
                    </a:lnTo>
                    <a:lnTo>
                      <a:pt x="2079774" y="1066857"/>
                    </a:lnTo>
                    <a:lnTo>
                      <a:pt x="2080077" y="1065039"/>
                    </a:lnTo>
                    <a:lnTo>
                      <a:pt x="2079320" y="1060493"/>
                    </a:lnTo>
                    <a:lnTo>
                      <a:pt x="2077804" y="1053372"/>
                    </a:lnTo>
                    <a:lnTo>
                      <a:pt x="2076592" y="1049735"/>
                    </a:lnTo>
                    <a:lnTo>
                      <a:pt x="2075229" y="1047311"/>
                    </a:lnTo>
                    <a:lnTo>
                      <a:pt x="2075077" y="1046402"/>
                    </a:lnTo>
                    <a:lnTo>
                      <a:pt x="2080532" y="1051705"/>
                    </a:lnTo>
                    <a:lnTo>
                      <a:pt x="2082047" y="1053675"/>
                    </a:lnTo>
                    <a:lnTo>
                      <a:pt x="2083259" y="1055796"/>
                    </a:lnTo>
                    <a:lnTo>
                      <a:pt x="2088411" y="1067918"/>
                    </a:lnTo>
                    <a:lnTo>
                      <a:pt x="2089320" y="1068978"/>
                    </a:lnTo>
                    <a:lnTo>
                      <a:pt x="2091441" y="1069130"/>
                    </a:lnTo>
                    <a:lnTo>
                      <a:pt x="2093411" y="1068221"/>
                    </a:lnTo>
                    <a:lnTo>
                      <a:pt x="2093866" y="1064130"/>
                    </a:lnTo>
                    <a:lnTo>
                      <a:pt x="2093866" y="1059584"/>
                    </a:lnTo>
                    <a:lnTo>
                      <a:pt x="2092502" y="1054887"/>
                    </a:lnTo>
                    <a:lnTo>
                      <a:pt x="2092199" y="1050190"/>
                    </a:lnTo>
                    <a:lnTo>
                      <a:pt x="2094320" y="1049887"/>
                    </a:lnTo>
                    <a:lnTo>
                      <a:pt x="2096290" y="1048978"/>
                    </a:lnTo>
                    <a:lnTo>
                      <a:pt x="2093866" y="1045341"/>
                    </a:lnTo>
                    <a:lnTo>
                      <a:pt x="2091744" y="1040644"/>
                    </a:lnTo>
                    <a:lnTo>
                      <a:pt x="2090078" y="1039735"/>
                    </a:lnTo>
                    <a:lnTo>
                      <a:pt x="2085835" y="1038826"/>
                    </a:lnTo>
                    <a:lnTo>
                      <a:pt x="2085077" y="1038371"/>
                    </a:lnTo>
                    <a:lnTo>
                      <a:pt x="2088108" y="1036401"/>
                    </a:lnTo>
                    <a:lnTo>
                      <a:pt x="2088562" y="1034280"/>
                    </a:lnTo>
                    <a:lnTo>
                      <a:pt x="2088259" y="1033523"/>
                    </a:lnTo>
                    <a:lnTo>
                      <a:pt x="2085229" y="1033371"/>
                    </a:lnTo>
                    <a:lnTo>
                      <a:pt x="2081896" y="1033674"/>
                    </a:lnTo>
                    <a:lnTo>
                      <a:pt x="2079168" y="1034432"/>
                    </a:lnTo>
                    <a:lnTo>
                      <a:pt x="2074774" y="1033523"/>
                    </a:lnTo>
                    <a:lnTo>
                      <a:pt x="2074319" y="1033068"/>
                    </a:lnTo>
                    <a:lnTo>
                      <a:pt x="2075380" y="1031704"/>
                    </a:lnTo>
                    <a:lnTo>
                      <a:pt x="2075380" y="1030795"/>
                    </a:lnTo>
                    <a:lnTo>
                      <a:pt x="2074168" y="1028977"/>
                    </a:lnTo>
                    <a:lnTo>
                      <a:pt x="2071744" y="1026704"/>
                    </a:lnTo>
                    <a:lnTo>
                      <a:pt x="2069925" y="1024431"/>
                    </a:lnTo>
                    <a:lnTo>
                      <a:pt x="2063561" y="1021704"/>
                    </a:lnTo>
                    <a:lnTo>
                      <a:pt x="2063258" y="1020946"/>
                    </a:lnTo>
                    <a:lnTo>
                      <a:pt x="2065683" y="1020643"/>
                    </a:lnTo>
                    <a:lnTo>
                      <a:pt x="2070228" y="1020795"/>
                    </a:lnTo>
                    <a:lnTo>
                      <a:pt x="2073713" y="1021249"/>
                    </a:lnTo>
                    <a:lnTo>
                      <a:pt x="2077501" y="1015340"/>
                    </a:lnTo>
                    <a:lnTo>
                      <a:pt x="2076895" y="1013219"/>
                    </a:lnTo>
                    <a:lnTo>
                      <a:pt x="2074622" y="1012158"/>
                    </a:lnTo>
                    <a:lnTo>
                      <a:pt x="2066137" y="1012158"/>
                    </a:lnTo>
                    <a:lnTo>
                      <a:pt x="2065077" y="1012310"/>
                    </a:lnTo>
                    <a:lnTo>
                      <a:pt x="2065531" y="1011401"/>
                    </a:lnTo>
                    <a:lnTo>
                      <a:pt x="2070077" y="1008673"/>
                    </a:lnTo>
                    <a:lnTo>
                      <a:pt x="2072047" y="1006703"/>
                    </a:lnTo>
                    <a:lnTo>
                      <a:pt x="2067804" y="1002461"/>
                    </a:lnTo>
                    <a:lnTo>
                      <a:pt x="2065531" y="1003370"/>
                    </a:lnTo>
                    <a:lnTo>
                      <a:pt x="2062955" y="1001855"/>
                    </a:lnTo>
                    <a:lnTo>
                      <a:pt x="2062349" y="1000643"/>
                    </a:lnTo>
                    <a:lnTo>
                      <a:pt x="2058410" y="997006"/>
                    </a:lnTo>
                    <a:lnTo>
                      <a:pt x="2053864" y="995642"/>
                    </a:lnTo>
                    <a:lnTo>
                      <a:pt x="2051288" y="997309"/>
                    </a:lnTo>
                    <a:lnTo>
                      <a:pt x="2049167" y="999733"/>
                    </a:lnTo>
                    <a:lnTo>
                      <a:pt x="2047955" y="1002158"/>
                    </a:lnTo>
                    <a:lnTo>
                      <a:pt x="2046288" y="1002764"/>
                    </a:lnTo>
                    <a:lnTo>
                      <a:pt x="2044470" y="1001249"/>
                    </a:lnTo>
                    <a:lnTo>
                      <a:pt x="2044015" y="1000188"/>
                    </a:lnTo>
                    <a:lnTo>
                      <a:pt x="2046591" y="997915"/>
                    </a:lnTo>
                    <a:lnTo>
                      <a:pt x="2046137" y="996703"/>
                    </a:lnTo>
                    <a:lnTo>
                      <a:pt x="2042803" y="994279"/>
                    </a:lnTo>
                    <a:lnTo>
                      <a:pt x="2038106" y="991551"/>
                    </a:lnTo>
                    <a:lnTo>
                      <a:pt x="2034924" y="990339"/>
                    </a:lnTo>
                    <a:lnTo>
                      <a:pt x="2034015" y="991551"/>
                    </a:lnTo>
                    <a:lnTo>
                      <a:pt x="2033712" y="998673"/>
                    </a:lnTo>
                    <a:lnTo>
                      <a:pt x="2033106" y="998673"/>
                    </a:lnTo>
                    <a:lnTo>
                      <a:pt x="2032197" y="996703"/>
                    </a:lnTo>
                    <a:lnTo>
                      <a:pt x="2030378" y="989582"/>
                    </a:lnTo>
                    <a:lnTo>
                      <a:pt x="2029469" y="987157"/>
                    </a:lnTo>
                    <a:lnTo>
                      <a:pt x="2028712" y="986400"/>
                    </a:lnTo>
                    <a:lnTo>
                      <a:pt x="2027954" y="986248"/>
                    </a:lnTo>
                    <a:lnTo>
                      <a:pt x="2027348" y="986854"/>
                    </a:lnTo>
                    <a:lnTo>
                      <a:pt x="2025681" y="986703"/>
                    </a:lnTo>
                    <a:lnTo>
                      <a:pt x="2025227" y="985945"/>
                    </a:lnTo>
                    <a:lnTo>
                      <a:pt x="2025227" y="984430"/>
                    </a:lnTo>
                    <a:lnTo>
                      <a:pt x="2024924" y="982915"/>
                    </a:lnTo>
                    <a:lnTo>
                      <a:pt x="2023105" y="979733"/>
                    </a:lnTo>
                    <a:lnTo>
                      <a:pt x="2020075" y="977005"/>
                    </a:lnTo>
                    <a:lnTo>
                      <a:pt x="2016742" y="975339"/>
                    </a:lnTo>
                    <a:lnTo>
                      <a:pt x="2015681" y="975187"/>
                    </a:lnTo>
                    <a:lnTo>
                      <a:pt x="2015984" y="974733"/>
                    </a:lnTo>
                    <a:lnTo>
                      <a:pt x="2021287" y="971854"/>
                    </a:lnTo>
                    <a:lnTo>
                      <a:pt x="2021742" y="970945"/>
                    </a:lnTo>
                    <a:lnTo>
                      <a:pt x="2016742" y="968975"/>
                    </a:lnTo>
                    <a:lnTo>
                      <a:pt x="2015984" y="967763"/>
                    </a:lnTo>
                    <a:lnTo>
                      <a:pt x="2015529" y="965944"/>
                    </a:lnTo>
                    <a:lnTo>
                      <a:pt x="2014014" y="964126"/>
                    </a:lnTo>
                    <a:lnTo>
                      <a:pt x="2011590" y="962459"/>
                    </a:lnTo>
                    <a:lnTo>
                      <a:pt x="2009469" y="961702"/>
                    </a:lnTo>
                    <a:lnTo>
                      <a:pt x="2007650" y="961853"/>
                    </a:lnTo>
                    <a:lnTo>
                      <a:pt x="2005529" y="962459"/>
                    </a:lnTo>
                    <a:lnTo>
                      <a:pt x="2000074" y="965338"/>
                    </a:lnTo>
                    <a:lnTo>
                      <a:pt x="1999165" y="965338"/>
                    </a:lnTo>
                    <a:lnTo>
                      <a:pt x="1998407" y="964581"/>
                    </a:lnTo>
                    <a:lnTo>
                      <a:pt x="1998559" y="962762"/>
                    </a:lnTo>
                    <a:lnTo>
                      <a:pt x="2000983" y="955944"/>
                    </a:lnTo>
                    <a:lnTo>
                      <a:pt x="2000226" y="955035"/>
                    </a:lnTo>
                    <a:lnTo>
                      <a:pt x="1998256" y="954883"/>
                    </a:lnTo>
                    <a:lnTo>
                      <a:pt x="1994165" y="953520"/>
                    </a:lnTo>
                    <a:lnTo>
                      <a:pt x="1992195" y="951550"/>
                    </a:lnTo>
                    <a:lnTo>
                      <a:pt x="1990225" y="948519"/>
                    </a:lnTo>
                    <a:lnTo>
                      <a:pt x="1990074" y="945944"/>
                    </a:lnTo>
                    <a:lnTo>
                      <a:pt x="1991740" y="943974"/>
                    </a:lnTo>
                    <a:lnTo>
                      <a:pt x="1991286" y="942156"/>
                    </a:lnTo>
                    <a:lnTo>
                      <a:pt x="1984468" y="937913"/>
                    </a:lnTo>
                    <a:lnTo>
                      <a:pt x="1981589" y="937155"/>
                    </a:lnTo>
                    <a:lnTo>
                      <a:pt x="1977649" y="937004"/>
                    </a:lnTo>
                    <a:lnTo>
                      <a:pt x="1976740" y="936701"/>
                    </a:lnTo>
                    <a:lnTo>
                      <a:pt x="1982801" y="934428"/>
                    </a:lnTo>
                    <a:lnTo>
                      <a:pt x="1984619" y="934428"/>
                    </a:lnTo>
                    <a:lnTo>
                      <a:pt x="1993104" y="939883"/>
                    </a:lnTo>
                    <a:lnTo>
                      <a:pt x="1998256" y="945186"/>
                    </a:lnTo>
                    <a:lnTo>
                      <a:pt x="2001893" y="947459"/>
                    </a:lnTo>
                    <a:lnTo>
                      <a:pt x="2009469" y="949429"/>
                    </a:lnTo>
                    <a:lnTo>
                      <a:pt x="2013559" y="949429"/>
                    </a:lnTo>
                    <a:lnTo>
                      <a:pt x="2014923" y="949126"/>
                    </a:lnTo>
                    <a:lnTo>
                      <a:pt x="2017045" y="947913"/>
                    </a:lnTo>
                    <a:lnTo>
                      <a:pt x="2019469" y="944277"/>
                    </a:lnTo>
                    <a:lnTo>
                      <a:pt x="2016287" y="941701"/>
                    </a:lnTo>
                    <a:lnTo>
                      <a:pt x="2009469" y="937307"/>
                    </a:lnTo>
                    <a:lnTo>
                      <a:pt x="2005226" y="933670"/>
                    </a:lnTo>
                    <a:lnTo>
                      <a:pt x="2002650" y="929125"/>
                    </a:lnTo>
                    <a:lnTo>
                      <a:pt x="2000377" y="924579"/>
                    </a:lnTo>
                    <a:lnTo>
                      <a:pt x="2000832" y="923519"/>
                    </a:lnTo>
                    <a:lnTo>
                      <a:pt x="2004317" y="925034"/>
                    </a:lnTo>
                    <a:lnTo>
                      <a:pt x="2009317" y="927610"/>
                    </a:lnTo>
                    <a:lnTo>
                      <a:pt x="2014469" y="931398"/>
                    </a:lnTo>
                    <a:lnTo>
                      <a:pt x="2015984" y="932004"/>
                    </a:lnTo>
                    <a:lnTo>
                      <a:pt x="2018408" y="931701"/>
                    </a:lnTo>
                    <a:lnTo>
                      <a:pt x="2019317" y="931246"/>
                    </a:lnTo>
                    <a:lnTo>
                      <a:pt x="2019317" y="926246"/>
                    </a:lnTo>
                    <a:lnTo>
                      <a:pt x="2015832" y="922306"/>
                    </a:lnTo>
                    <a:lnTo>
                      <a:pt x="2016135" y="920034"/>
                    </a:lnTo>
                    <a:lnTo>
                      <a:pt x="2019317" y="921700"/>
                    </a:lnTo>
                    <a:lnTo>
                      <a:pt x="2022348" y="922003"/>
                    </a:lnTo>
                    <a:lnTo>
                      <a:pt x="2025227" y="920943"/>
                    </a:lnTo>
                    <a:lnTo>
                      <a:pt x="2025227" y="919428"/>
                    </a:lnTo>
                    <a:lnTo>
                      <a:pt x="2024014" y="917609"/>
                    </a:lnTo>
                    <a:lnTo>
                      <a:pt x="2024772" y="917306"/>
                    </a:lnTo>
                    <a:lnTo>
                      <a:pt x="2028106" y="918821"/>
                    </a:lnTo>
                    <a:lnTo>
                      <a:pt x="2030227" y="920640"/>
                    </a:lnTo>
                    <a:lnTo>
                      <a:pt x="2030985" y="922761"/>
                    </a:lnTo>
                    <a:lnTo>
                      <a:pt x="2032348" y="925034"/>
                    </a:lnTo>
                    <a:lnTo>
                      <a:pt x="2038712" y="933216"/>
                    </a:lnTo>
                    <a:lnTo>
                      <a:pt x="2040227" y="934428"/>
                    </a:lnTo>
                    <a:lnTo>
                      <a:pt x="2044167" y="935640"/>
                    </a:lnTo>
                    <a:lnTo>
                      <a:pt x="2045985" y="936701"/>
                    </a:lnTo>
                    <a:lnTo>
                      <a:pt x="2049925" y="940034"/>
                    </a:lnTo>
                    <a:lnTo>
                      <a:pt x="2053258" y="940337"/>
                    </a:lnTo>
                    <a:lnTo>
                      <a:pt x="2055531" y="939731"/>
                    </a:lnTo>
                    <a:lnTo>
                      <a:pt x="2058258" y="938368"/>
                    </a:lnTo>
                    <a:lnTo>
                      <a:pt x="2060228" y="936398"/>
                    </a:lnTo>
                    <a:lnTo>
                      <a:pt x="2061137" y="936852"/>
                    </a:lnTo>
                    <a:lnTo>
                      <a:pt x="2055682" y="942156"/>
                    </a:lnTo>
                    <a:lnTo>
                      <a:pt x="2054773" y="945186"/>
                    </a:lnTo>
                    <a:lnTo>
                      <a:pt x="2056592" y="946247"/>
                    </a:lnTo>
                    <a:lnTo>
                      <a:pt x="2064319" y="946701"/>
                    </a:lnTo>
                    <a:lnTo>
                      <a:pt x="2067804" y="946398"/>
                    </a:lnTo>
                    <a:lnTo>
                      <a:pt x="2070834" y="945792"/>
                    </a:lnTo>
                    <a:lnTo>
                      <a:pt x="2079017" y="942610"/>
                    </a:lnTo>
                    <a:lnTo>
                      <a:pt x="2082198" y="939883"/>
                    </a:lnTo>
                    <a:lnTo>
                      <a:pt x="2085684" y="935640"/>
                    </a:lnTo>
                    <a:lnTo>
                      <a:pt x="2088562" y="933064"/>
                    </a:lnTo>
                    <a:lnTo>
                      <a:pt x="2092653" y="931246"/>
                    </a:lnTo>
                    <a:lnTo>
                      <a:pt x="2094320" y="931701"/>
                    </a:lnTo>
                    <a:lnTo>
                      <a:pt x="2091138" y="933822"/>
                    </a:lnTo>
                    <a:lnTo>
                      <a:pt x="2088108" y="937459"/>
                    </a:lnTo>
                    <a:lnTo>
                      <a:pt x="2085835" y="942004"/>
                    </a:lnTo>
                    <a:lnTo>
                      <a:pt x="2083562" y="944883"/>
                    </a:lnTo>
                    <a:lnTo>
                      <a:pt x="2078713" y="946095"/>
                    </a:lnTo>
                    <a:lnTo>
                      <a:pt x="2074471" y="948368"/>
                    </a:lnTo>
                    <a:lnTo>
                      <a:pt x="2071895" y="950641"/>
                    </a:lnTo>
                    <a:lnTo>
                      <a:pt x="2069168" y="953671"/>
                    </a:lnTo>
                    <a:lnTo>
                      <a:pt x="2068562" y="956247"/>
                    </a:lnTo>
                    <a:lnTo>
                      <a:pt x="2070380" y="958671"/>
                    </a:lnTo>
                    <a:lnTo>
                      <a:pt x="2071137" y="958974"/>
                    </a:lnTo>
                    <a:lnTo>
                      <a:pt x="2071895" y="960035"/>
                    </a:lnTo>
                    <a:lnTo>
                      <a:pt x="2074016" y="963975"/>
                    </a:lnTo>
                    <a:lnTo>
                      <a:pt x="2074925" y="964884"/>
                    </a:lnTo>
                    <a:lnTo>
                      <a:pt x="2076744" y="969581"/>
                    </a:lnTo>
                    <a:lnTo>
                      <a:pt x="2080229" y="973520"/>
                    </a:lnTo>
                    <a:lnTo>
                      <a:pt x="2083865" y="976854"/>
                    </a:lnTo>
                    <a:lnTo>
                      <a:pt x="2086138" y="979733"/>
                    </a:lnTo>
                    <a:lnTo>
                      <a:pt x="2088865" y="982612"/>
                    </a:lnTo>
                    <a:lnTo>
                      <a:pt x="2091896" y="984884"/>
                    </a:lnTo>
                    <a:lnTo>
                      <a:pt x="2094169" y="978824"/>
                    </a:lnTo>
                    <a:lnTo>
                      <a:pt x="2097654" y="973823"/>
                    </a:lnTo>
                    <a:lnTo>
                      <a:pt x="2099169" y="972157"/>
                    </a:lnTo>
                    <a:lnTo>
                      <a:pt x="2099623" y="972157"/>
                    </a:lnTo>
                    <a:lnTo>
                      <a:pt x="2098563" y="975642"/>
                    </a:lnTo>
                    <a:lnTo>
                      <a:pt x="2097654" y="982460"/>
                    </a:lnTo>
                    <a:lnTo>
                      <a:pt x="2100229" y="985036"/>
                    </a:lnTo>
                    <a:lnTo>
                      <a:pt x="2102957" y="987157"/>
                    </a:lnTo>
                    <a:lnTo>
                      <a:pt x="2105381" y="984733"/>
                    </a:lnTo>
                    <a:lnTo>
                      <a:pt x="2107654" y="984733"/>
                    </a:lnTo>
                    <a:lnTo>
                      <a:pt x="2109927" y="985339"/>
                    </a:lnTo>
                    <a:lnTo>
                      <a:pt x="2111594" y="986551"/>
                    </a:lnTo>
                    <a:lnTo>
                      <a:pt x="2112806" y="987915"/>
                    </a:lnTo>
                    <a:lnTo>
                      <a:pt x="2114169" y="990642"/>
                    </a:lnTo>
                    <a:lnTo>
                      <a:pt x="2117806" y="993370"/>
                    </a:lnTo>
                    <a:lnTo>
                      <a:pt x="2121139" y="989279"/>
                    </a:lnTo>
                    <a:lnTo>
                      <a:pt x="2123412" y="984884"/>
                    </a:lnTo>
                    <a:lnTo>
                      <a:pt x="2124473" y="979884"/>
                    </a:lnTo>
                    <a:lnTo>
                      <a:pt x="2124473" y="965793"/>
                    </a:lnTo>
                    <a:lnTo>
                      <a:pt x="2125231" y="962459"/>
                    </a:lnTo>
                    <a:lnTo>
                      <a:pt x="2120533" y="961550"/>
                    </a:lnTo>
                    <a:lnTo>
                      <a:pt x="2116594" y="960490"/>
                    </a:lnTo>
                    <a:lnTo>
                      <a:pt x="2116594" y="959884"/>
                    </a:lnTo>
                    <a:lnTo>
                      <a:pt x="2122958" y="958368"/>
                    </a:lnTo>
                    <a:lnTo>
                      <a:pt x="2123261" y="956247"/>
                    </a:lnTo>
                    <a:lnTo>
                      <a:pt x="2121745" y="952611"/>
                    </a:lnTo>
                    <a:lnTo>
                      <a:pt x="2121897" y="951853"/>
                    </a:lnTo>
                    <a:lnTo>
                      <a:pt x="2127806" y="958974"/>
                    </a:lnTo>
                    <a:lnTo>
                      <a:pt x="2129776" y="960641"/>
                    </a:lnTo>
                    <a:lnTo>
                      <a:pt x="2135231" y="962156"/>
                    </a:lnTo>
                    <a:lnTo>
                      <a:pt x="2139322" y="960944"/>
                    </a:lnTo>
                    <a:lnTo>
                      <a:pt x="2140534" y="961702"/>
                    </a:lnTo>
                    <a:lnTo>
                      <a:pt x="2143564" y="961399"/>
                    </a:lnTo>
                    <a:lnTo>
                      <a:pt x="2144928" y="957611"/>
                    </a:lnTo>
                    <a:lnTo>
                      <a:pt x="2148413" y="953974"/>
                    </a:lnTo>
                    <a:lnTo>
                      <a:pt x="2151292" y="952611"/>
                    </a:lnTo>
                    <a:lnTo>
                      <a:pt x="2151140" y="951095"/>
                    </a:lnTo>
                    <a:lnTo>
                      <a:pt x="2150534" y="949429"/>
                    </a:lnTo>
                    <a:lnTo>
                      <a:pt x="2149474" y="947610"/>
                    </a:lnTo>
                    <a:lnTo>
                      <a:pt x="2148110" y="946247"/>
                    </a:lnTo>
                    <a:lnTo>
                      <a:pt x="2144625" y="944277"/>
                    </a:lnTo>
                    <a:lnTo>
                      <a:pt x="2145534" y="943519"/>
                    </a:lnTo>
                    <a:lnTo>
                      <a:pt x="2148868" y="944277"/>
                    </a:lnTo>
                    <a:lnTo>
                      <a:pt x="2154928" y="944731"/>
                    </a:lnTo>
                    <a:lnTo>
                      <a:pt x="2157807" y="944428"/>
                    </a:lnTo>
                    <a:lnTo>
                      <a:pt x="2161899" y="943368"/>
                    </a:lnTo>
                    <a:lnTo>
                      <a:pt x="2160989" y="941853"/>
                    </a:lnTo>
                    <a:lnTo>
                      <a:pt x="2155080" y="938216"/>
                    </a:lnTo>
                    <a:lnTo>
                      <a:pt x="2147049" y="934580"/>
                    </a:lnTo>
                    <a:lnTo>
                      <a:pt x="2148110" y="932610"/>
                    </a:lnTo>
                    <a:lnTo>
                      <a:pt x="2150231" y="931852"/>
                    </a:lnTo>
                    <a:lnTo>
                      <a:pt x="2150686" y="930640"/>
                    </a:lnTo>
                    <a:lnTo>
                      <a:pt x="2146443" y="927155"/>
                    </a:lnTo>
                    <a:lnTo>
                      <a:pt x="2147656" y="926701"/>
                    </a:lnTo>
                    <a:lnTo>
                      <a:pt x="2151292" y="927004"/>
                    </a:lnTo>
                    <a:lnTo>
                      <a:pt x="2154019" y="927913"/>
                    </a:lnTo>
                    <a:lnTo>
                      <a:pt x="2157201" y="930337"/>
                    </a:lnTo>
                    <a:lnTo>
                      <a:pt x="2162656" y="931701"/>
                    </a:lnTo>
                    <a:lnTo>
                      <a:pt x="2165232" y="931549"/>
                    </a:lnTo>
                    <a:lnTo>
                      <a:pt x="2173263" y="928822"/>
                    </a:lnTo>
                    <a:lnTo>
                      <a:pt x="2173111" y="927004"/>
                    </a:lnTo>
                    <a:lnTo>
                      <a:pt x="2170990" y="922912"/>
                    </a:lnTo>
                    <a:lnTo>
                      <a:pt x="2159020" y="917306"/>
                    </a:lnTo>
                    <a:lnTo>
                      <a:pt x="2158111" y="916549"/>
                    </a:lnTo>
                    <a:lnTo>
                      <a:pt x="2161141" y="915185"/>
                    </a:lnTo>
                    <a:lnTo>
                      <a:pt x="2164323" y="914730"/>
                    </a:lnTo>
                    <a:close/>
                    <a:moveTo>
                      <a:pt x="1360202" y="103943"/>
                    </a:moveTo>
                    <a:lnTo>
                      <a:pt x="1365354" y="102580"/>
                    </a:lnTo>
                    <a:lnTo>
                      <a:pt x="1372778" y="99398"/>
                    </a:lnTo>
                    <a:lnTo>
                      <a:pt x="1378384" y="98337"/>
                    </a:lnTo>
                    <a:lnTo>
                      <a:pt x="1382324" y="99549"/>
                    </a:lnTo>
                    <a:lnTo>
                      <a:pt x="1386415" y="100004"/>
                    </a:lnTo>
                    <a:lnTo>
                      <a:pt x="1400355" y="99852"/>
                    </a:lnTo>
                    <a:lnTo>
                      <a:pt x="1399749" y="101367"/>
                    </a:lnTo>
                    <a:lnTo>
                      <a:pt x="1380354" y="111065"/>
                    </a:lnTo>
                    <a:lnTo>
                      <a:pt x="1378839" y="113337"/>
                    </a:lnTo>
                    <a:lnTo>
                      <a:pt x="1384142" y="114853"/>
                    </a:lnTo>
                    <a:lnTo>
                      <a:pt x="1387173" y="115156"/>
                    </a:lnTo>
                    <a:lnTo>
                      <a:pt x="1423386" y="105913"/>
                    </a:lnTo>
                    <a:lnTo>
                      <a:pt x="1437023" y="104398"/>
                    </a:lnTo>
                    <a:lnTo>
                      <a:pt x="1447326" y="104852"/>
                    </a:lnTo>
                    <a:lnTo>
                      <a:pt x="1461115" y="106974"/>
                    </a:lnTo>
                    <a:lnTo>
                      <a:pt x="1460509" y="108034"/>
                    </a:lnTo>
                    <a:lnTo>
                      <a:pt x="1446569" y="107428"/>
                    </a:lnTo>
                    <a:lnTo>
                      <a:pt x="1433083" y="108640"/>
                    </a:lnTo>
                    <a:lnTo>
                      <a:pt x="1425659" y="110459"/>
                    </a:lnTo>
                    <a:lnTo>
                      <a:pt x="1410962" y="116065"/>
                    </a:lnTo>
                    <a:lnTo>
                      <a:pt x="1404143" y="119853"/>
                    </a:lnTo>
                    <a:lnTo>
                      <a:pt x="1405204" y="121520"/>
                    </a:lnTo>
                    <a:lnTo>
                      <a:pt x="1416871" y="124853"/>
                    </a:lnTo>
                    <a:lnTo>
                      <a:pt x="1415356" y="125611"/>
                    </a:lnTo>
                    <a:lnTo>
                      <a:pt x="1407174" y="126368"/>
                    </a:lnTo>
                    <a:lnTo>
                      <a:pt x="1396719" y="129853"/>
                    </a:lnTo>
                    <a:lnTo>
                      <a:pt x="1395809" y="133035"/>
                    </a:lnTo>
                    <a:lnTo>
                      <a:pt x="1400961" y="136975"/>
                    </a:lnTo>
                    <a:lnTo>
                      <a:pt x="1405658" y="139096"/>
                    </a:lnTo>
                    <a:lnTo>
                      <a:pt x="1411871" y="139551"/>
                    </a:lnTo>
                    <a:lnTo>
                      <a:pt x="1425811" y="137429"/>
                    </a:lnTo>
                    <a:lnTo>
                      <a:pt x="1469903" y="135914"/>
                    </a:lnTo>
                    <a:lnTo>
                      <a:pt x="1487782" y="133187"/>
                    </a:lnTo>
                    <a:lnTo>
                      <a:pt x="1508238" y="125459"/>
                    </a:lnTo>
                    <a:lnTo>
                      <a:pt x="1521117" y="122580"/>
                    </a:lnTo>
                    <a:lnTo>
                      <a:pt x="1526420" y="121974"/>
                    </a:lnTo>
                    <a:lnTo>
                      <a:pt x="1533693" y="122580"/>
                    </a:lnTo>
                    <a:lnTo>
                      <a:pt x="1529754" y="125156"/>
                    </a:lnTo>
                    <a:lnTo>
                      <a:pt x="1509905" y="133187"/>
                    </a:lnTo>
                    <a:lnTo>
                      <a:pt x="1491722" y="138944"/>
                    </a:lnTo>
                    <a:lnTo>
                      <a:pt x="1479297" y="141217"/>
                    </a:lnTo>
                    <a:lnTo>
                      <a:pt x="1466721" y="141975"/>
                    </a:lnTo>
                    <a:lnTo>
                      <a:pt x="1438690" y="141217"/>
                    </a:lnTo>
                    <a:lnTo>
                      <a:pt x="1418083" y="145005"/>
                    </a:lnTo>
                    <a:lnTo>
                      <a:pt x="1415507" y="146672"/>
                    </a:lnTo>
                    <a:lnTo>
                      <a:pt x="1416871" y="148793"/>
                    </a:lnTo>
                    <a:lnTo>
                      <a:pt x="1418689" y="150612"/>
                    </a:lnTo>
                    <a:lnTo>
                      <a:pt x="1420962" y="152127"/>
                    </a:lnTo>
                    <a:lnTo>
                      <a:pt x="1424750" y="153642"/>
                    </a:lnTo>
                    <a:lnTo>
                      <a:pt x="1432932" y="155915"/>
                    </a:lnTo>
                    <a:lnTo>
                      <a:pt x="1443690" y="160157"/>
                    </a:lnTo>
                    <a:lnTo>
                      <a:pt x="1449902" y="161976"/>
                    </a:lnTo>
                    <a:lnTo>
                      <a:pt x="1457933" y="163188"/>
                    </a:lnTo>
                    <a:lnTo>
                      <a:pt x="1468388" y="162279"/>
                    </a:lnTo>
                    <a:lnTo>
                      <a:pt x="1475206" y="158642"/>
                    </a:lnTo>
                    <a:lnTo>
                      <a:pt x="1498389" y="144248"/>
                    </a:lnTo>
                    <a:lnTo>
                      <a:pt x="1505662" y="140308"/>
                    </a:lnTo>
                    <a:lnTo>
                      <a:pt x="1510814" y="138793"/>
                    </a:lnTo>
                    <a:lnTo>
                      <a:pt x="1542178" y="134702"/>
                    </a:lnTo>
                    <a:lnTo>
                      <a:pt x="1578998" y="131520"/>
                    </a:lnTo>
                    <a:lnTo>
                      <a:pt x="1577331" y="134399"/>
                    </a:lnTo>
                    <a:lnTo>
                      <a:pt x="1540966" y="138338"/>
                    </a:lnTo>
                    <a:lnTo>
                      <a:pt x="1525511" y="141823"/>
                    </a:lnTo>
                    <a:lnTo>
                      <a:pt x="1514753" y="145914"/>
                    </a:lnTo>
                    <a:lnTo>
                      <a:pt x="1497934" y="154551"/>
                    </a:lnTo>
                    <a:lnTo>
                      <a:pt x="1492783" y="158491"/>
                    </a:lnTo>
                    <a:lnTo>
                      <a:pt x="1488389" y="162582"/>
                    </a:lnTo>
                    <a:lnTo>
                      <a:pt x="1488086" y="164703"/>
                    </a:lnTo>
                    <a:lnTo>
                      <a:pt x="1490358" y="166370"/>
                    </a:lnTo>
                    <a:lnTo>
                      <a:pt x="1498086" y="168794"/>
                    </a:lnTo>
                    <a:lnTo>
                      <a:pt x="1502329" y="169097"/>
                    </a:lnTo>
                    <a:lnTo>
                      <a:pt x="1512480" y="167885"/>
                    </a:lnTo>
                    <a:lnTo>
                      <a:pt x="1523996" y="171370"/>
                    </a:lnTo>
                    <a:lnTo>
                      <a:pt x="1528390" y="171673"/>
                    </a:lnTo>
                    <a:lnTo>
                      <a:pt x="1548239" y="171370"/>
                    </a:lnTo>
                    <a:lnTo>
                      <a:pt x="1553694" y="170612"/>
                    </a:lnTo>
                    <a:lnTo>
                      <a:pt x="1557634" y="169400"/>
                    </a:lnTo>
                    <a:lnTo>
                      <a:pt x="1562785" y="166521"/>
                    </a:lnTo>
                    <a:lnTo>
                      <a:pt x="1569301" y="161976"/>
                    </a:lnTo>
                    <a:lnTo>
                      <a:pt x="1575968" y="159400"/>
                    </a:lnTo>
                    <a:lnTo>
                      <a:pt x="1592938" y="158036"/>
                    </a:lnTo>
                    <a:lnTo>
                      <a:pt x="1600665" y="156369"/>
                    </a:lnTo>
                    <a:lnTo>
                      <a:pt x="1608241" y="155763"/>
                    </a:lnTo>
                    <a:lnTo>
                      <a:pt x="1605060" y="158491"/>
                    </a:lnTo>
                    <a:lnTo>
                      <a:pt x="1593241" y="164703"/>
                    </a:lnTo>
                    <a:lnTo>
                      <a:pt x="1590059" y="168036"/>
                    </a:lnTo>
                    <a:lnTo>
                      <a:pt x="1597484" y="169249"/>
                    </a:lnTo>
                    <a:lnTo>
                      <a:pt x="1604151" y="169097"/>
                    </a:lnTo>
                    <a:lnTo>
                      <a:pt x="1626424" y="165158"/>
                    </a:lnTo>
                    <a:lnTo>
                      <a:pt x="1633243" y="164855"/>
                    </a:lnTo>
                    <a:lnTo>
                      <a:pt x="1641273" y="163036"/>
                    </a:lnTo>
                    <a:lnTo>
                      <a:pt x="1665213" y="156066"/>
                    </a:lnTo>
                    <a:lnTo>
                      <a:pt x="1675365" y="151066"/>
                    </a:lnTo>
                    <a:lnTo>
                      <a:pt x="1679608" y="148490"/>
                    </a:lnTo>
                    <a:lnTo>
                      <a:pt x="1681275" y="146672"/>
                    </a:lnTo>
                    <a:lnTo>
                      <a:pt x="1683093" y="143339"/>
                    </a:lnTo>
                    <a:lnTo>
                      <a:pt x="1685214" y="138490"/>
                    </a:lnTo>
                    <a:lnTo>
                      <a:pt x="1687790" y="135156"/>
                    </a:lnTo>
                    <a:lnTo>
                      <a:pt x="1690820" y="133338"/>
                    </a:lnTo>
                    <a:lnTo>
                      <a:pt x="1694305" y="132732"/>
                    </a:lnTo>
                    <a:lnTo>
                      <a:pt x="1698093" y="133338"/>
                    </a:lnTo>
                    <a:lnTo>
                      <a:pt x="1703548" y="131217"/>
                    </a:lnTo>
                    <a:lnTo>
                      <a:pt x="1714003" y="124247"/>
                    </a:lnTo>
                    <a:lnTo>
                      <a:pt x="1724458" y="119550"/>
                    </a:lnTo>
                    <a:lnTo>
                      <a:pt x="1754156" y="113034"/>
                    </a:lnTo>
                    <a:lnTo>
                      <a:pt x="1750217" y="115913"/>
                    </a:lnTo>
                    <a:lnTo>
                      <a:pt x="1736428" y="120156"/>
                    </a:lnTo>
                    <a:lnTo>
                      <a:pt x="1715821" y="130156"/>
                    </a:lnTo>
                    <a:lnTo>
                      <a:pt x="1710973" y="133641"/>
                    </a:lnTo>
                    <a:lnTo>
                      <a:pt x="1706427" y="138187"/>
                    </a:lnTo>
                    <a:lnTo>
                      <a:pt x="1704912" y="140914"/>
                    </a:lnTo>
                    <a:lnTo>
                      <a:pt x="1704003" y="144096"/>
                    </a:lnTo>
                    <a:lnTo>
                      <a:pt x="1708548" y="146066"/>
                    </a:lnTo>
                    <a:lnTo>
                      <a:pt x="1723549" y="147127"/>
                    </a:lnTo>
                    <a:lnTo>
                      <a:pt x="1740368" y="147127"/>
                    </a:lnTo>
                    <a:lnTo>
                      <a:pt x="1747792" y="147733"/>
                    </a:lnTo>
                    <a:lnTo>
                      <a:pt x="1755065" y="148945"/>
                    </a:lnTo>
                    <a:lnTo>
                      <a:pt x="1754762" y="149854"/>
                    </a:lnTo>
                    <a:lnTo>
                      <a:pt x="1746429" y="151218"/>
                    </a:lnTo>
                    <a:lnTo>
                      <a:pt x="1737337" y="151824"/>
                    </a:lnTo>
                    <a:lnTo>
                      <a:pt x="1713245" y="155006"/>
                    </a:lnTo>
                    <a:lnTo>
                      <a:pt x="1679305" y="163794"/>
                    </a:lnTo>
                    <a:lnTo>
                      <a:pt x="1678093" y="165309"/>
                    </a:lnTo>
                    <a:lnTo>
                      <a:pt x="1667789" y="171521"/>
                    </a:lnTo>
                    <a:lnTo>
                      <a:pt x="1642334" y="176825"/>
                    </a:lnTo>
                    <a:lnTo>
                      <a:pt x="1599756" y="181219"/>
                    </a:lnTo>
                    <a:lnTo>
                      <a:pt x="1592938" y="182582"/>
                    </a:lnTo>
                    <a:lnTo>
                      <a:pt x="1587332" y="184552"/>
                    </a:lnTo>
                    <a:lnTo>
                      <a:pt x="1588089" y="187431"/>
                    </a:lnTo>
                    <a:lnTo>
                      <a:pt x="1595817" y="193946"/>
                    </a:lnTo>
                    <a:lnTo>
                      <a:pt x="1605363" y="200765"/>
                    </a:lnTo>
                    <a:lnTo>
                      <a:pt x="1618242" y="207583"/>
                    </a:lnTo>
                    <a:lnTo>
                      <a:pt x="1624151" y="211826"/>
                    </a:lnTo>
                    <a:lnTo>
                      <a:pt x="1632030" y="218190"/>
                    </a:lnTo>
                    <a:lnTo>
                      <a:pt x="1636879" y="221523"/>
                    </a:lnTo>
                    <a:lnTo>
                      <a:pt x="1641425" y="224099"/>
                    </a:lnTo>
                    <a:lnTo>
                      <a:pt x="1649455" y="225160"/>
                    </a:lnTo>
                    <a:lnTo>
                      <a:pt x="1661122" y="224857"/>
                    </a:lnTo>
                    <a:lnTo>
                      <a:pt x="1665516" y="225463"/>
                    </a:lnTo>
                    <a:lnTo>
                      <a:pt x="1661577" y="227584"/>
                    </a:lnTo>
                    <a:lnTo>
                      <a:pt x="1655971" y="229402"/>
                    </a:lnTo>
                    <a:lnTo>
                      <a:pt x="1650667" y="229705"/>
                    </a:lnTo>
                    <a:lnTo>
                      <a:pt x="1640515" y="228948"/>
                    </a:lnTo>
                    <a:lnTo>
                      <a:pt x="1628848" y="226523"/>
                    </a:lnTo>
                    <a:lnTo>
                      <a:pt x="1622636" y="224554"/>
                    </a:lnTo>
                    <a:lnTo>
                      <a:pt x="1618090" y="222281"/>
                    </a:lnTo>
                    <a:lnTo>
                      <a:pt x="1612787" y="218493"/>
                    </a:lnTo>
                    <a:lnTo>
                      <a:pt x="1603847" y="210614"/>
                    </a:lnTo>
                    <a:lnTo>
                      <a:pt x="1595665" y="205311"/>
                    </a:lnTo>
                    <a:lnTo>
                      <a:pt x="1586726" y="201371"/>
                    </a:lnTo>
                    <a:lnTo>
                      <a:pt x="1577483" y="195613"/>
                    </a:lnTo>
                    <a:lnTo>
                      <a:pt x="1567028" y="190461"/>
                    </a:lnTo>
                    <a:lnTo>
                      <a:pt x="1557937" y="188340"/>
                    </a:lnTo>
                    <a:lnTo>
                      <a:pt x="1540966" y="187280"/>
                    </a:lnTo>
                    <a:lnTo>
                      <a:pt x="1527784" y="187734"/>
                    </a:lnTo>
                    <a:lnTo>
                      <a:pt x="1496419" y="184704"/>
                    </a:lnTo>
                    <a:lnTo>
                      <a:pt x="1491116" y="188492"/>
                    </a:lnTo>
                    <a:lnTo>
                      <a:pt x="1487934" y="196977"/>
                    </a:lnTo>
                    <a:lnTo>
                      <a:pt x="1491267" y="203644"/>
                    </a:lnTo>
                    <a:lnTo>
                      <a:pt x="1493237" y="214402"/>
                    </a:lnTo>
                    <a:lnTo>
                      <a:pt x="1500662" y="220766"/>
                    </a:lnTo>
                    <a:lnTo>
                      <a:pt x="1503844" y="222129"/>
                    </a:lnTo>
                    <a:lnTo>
                      <a:pt x="1519602" y="224099"/>
                    </a:lnTo>
                    <a:lnTo>
                      <a:pt x="1524754" y="225766"/>
                    </a:lnTo>
                    <a:lnTo>
                      <a:pt x="1529602" y="228948"/>
                    </a:lnTo>
                    <a:lnTo>
                      <a:pt x="1536572" y="236221"/>
                    </a:lnTo>
                    <a:lnTo>
                      <a:pt x="1545209" y="243494"/>
                    </a:lnTo>
                    <a:lnTo>
                      <a:pt x="1549148" y="248191"/>
                    </a:lnTo>
                    <a:lnTo>
                      <a:pt x="1554149" y="252888"/>
                    </a:lnTo>
                    <a:lnTo>
                      <a:pt x="1560209" y="256676"/>
                    </a:lnTo>
                    <a:lnTo>
                      <a:pt x="1568846" y="261070"/>
                    </a:lnTo>
                    <a:lnTo>
                      <a:pt x="1571270" y="263343"/>
                    </a:lnTo>
                    <a:lnTo>
                      <a:pt x="1564452" y="263040"/>
                    </a:lnTo>
                    <a:lnTo>
                      <a:pt x="1558240" y="260616"/>
                    </a:lnTo>
                    <a:lnTo>
                      <a:pt x="1552633" y="259252"/>
                    </a:lnTo>
                    <a:lnTo>
                      <a:pt x="1549148" y="259403"/>
                    </a:lnTo>
                    <a:lnTo>
                      <a:pt x="1545209" y="260464"/>
                    </a:lnTo>
                    <a:lnTo>
                      <a:pt x="1544148" y="262282"/>
                    </a:lnTo>
                    <a:lnTo>
                      <a:pt x="1546118" y="264858"/>
                    </a:lnTo>
                    <a:lnTo>
                      <a:pt x="1548391" y="266828"/>
                    </a:lnTo>
                    <a:lnTo>
                      <a:pt x="1550967" y="268192"/>
                    </a:lnTo>
                    <a:lnTo>
                      <a:pt x="1555664" y="269101"/>
                    </a:lnTo>
                    <a:lnTo>
                      <a:pt x="1565664" y="270010"/>
                    </a:lnTo>
                    <a:lnTo>
                      <a:pt x="1585362" y="270313"/>
                    </a:lnTo>
                    <a:lnTo>
                      <a:pt x="1596726" y="272283"/>
                    </a:lnTo>
                    <a:lnTo>
                      <a:pt x="1602332" y="272586"/>
                    </a:lnTo>
                    <a:lnTo>
                      <a:pt x="1607787" y="271374"/>
                    </a:lnTo>
                    <a:lnTo>
                      <a:pt x="1613545" y="269101"/>
                    </a:lnTo>
                    <a:lnTo>
                      <a:pt x="1617333" y="268343"/>
                    </a:lnTo>
                    <a:lnTo>
                      <a:pt x="1621121" y="268343"/>
                    </a:lnTo>
                    <a:lnTo>
                      <a:pt x="1620212" y="269858"/>
                    </a:lnTo>
                    <a:lnTo>
                      <a:pt x="1614757" y="273040"/>
                    </a:lnTo>
                    <a:lnTo>
                      <a:pt x="1610060" y="275162"/>
                    </a:lnTo>
                    <a:lnTo>
                      <a:pt x="1606272" y="276222"/>
                    </a:lnTo>
                    <a:lnTo>
                      <a:pt x="1602181" y="276677"/>
                    </a:lnTo>
                    <a:lnTo>
                      <a:pt x="1587180" y="276525"/>
                    </a:lnTo>
                    <a:lnTo>
                      <a:pt x="1582937" y="278798"/>
                    </a:lnTo>
                    <a:lnTo>
                      <a:pt x="1579604" y="281071"/>
                    </a:lnTo>
                    <a:lnTo>
                      <a:pt x="1576422" y="280465"/>
                    </a:lnTo>
                    <a:lnTo>
                      <a:pt x="1572028" y="278950"/>
                    </a:lnTo>
                    <a:lnTo>
                      <a:pt x="1562179" y="276828"/>
                    </a:lnTo>
                    <a:lnTo>
                      <a:pt x="1538087" y="274101"/>
                    </a:lnTo>
                    <a:lnTo>
                      <a:pt x="1532178" y="272434"/>
                    </a:lnTo>
                    <a:lnTo>
                      <a:pt x="1525966" y="273040"/>
                    </a:lnTo>
                    <a:lnTo>
                      <a:pt x="1513390" y="276525"/>
                    </a:lnTo>
                    <a:lnTo>
                      <a:pt x="1498389" y="277737"/>
                    </a:lnTo>
                    <a:lnTo>
                      <a:pt x="1482934" y="280768"/>
                    </a:lnTo>
                    <a:lnTo>
                      <a:pt x="1478994" y="287435"/>
                    </a:lnTo>
                    <a:lnTo>
                      <a:pt x="1473237" y="293799"/>
                    </a:lnTo>
                    <a:lnTo>
                      <a:pt x="1467782" y="298496"/>
                    </a:lnTo>
                    <a:lnTo>
                      <a:pt x="1464297" y="302132"/>
                    </a:lnTo>
                    <a:lnTo>
                      <a:pt x="1464297" y="310011"/>
                    </a:lnTo>
                    <a:lnTo>
                      <a:pt x="1462630" y="316375"/>
                    </a:lnTo>
                    <a:lnTo>
                      <a:pt x="1468388" y="318951"/>
                    </a:lnTo>
                    <a:lnTo>
                      <a:pt x="1480055" y="319254"/>
                    </a:lnTo>
                    <a:lnTo>
                      <a:pt x="1486116" y="317739"/>
                    </a:lnTo>
                    <a:lnTo>
                      <a:pt x="1493389" y="315012"/>
                    </a:lnTo>
                    <a:lnTo>
                      <a:pt x="1503086" y="309708"/>
                    </a:lnTo>
                    <a:lnTo>
                      <a:pt x="1507177" y="306223"/>
                    </a:lnTo>
                    <a:lnTo>
                      <a:pt x="1503238" y="315466"/>
                    </a:lnTo>
                    <a:lnTo>
                      <a:pt x="1498995" y="321830"/>
                    </a:lnTo>
                    <a:lnTo>
                      <a:pt x="1516268" y="320163"/>
                    </a:lnTo>
                    <a:lnTo>
                      <a:pt x="1520814" y="318193"/>
                    </a:lnTo>
                    <a:lnTo>
                      <a:pt x="1524905" y="314860"/>
                    </a:lnTo>
                    <a:lnTo>
                      <a:pt x="1531572" y="308193"/>
                    </a:lnTo>
                    <a:lnTo>
                      <a:pt x="1538239" y="295314"/>
                    </a:lnTo>
                    <a:lnTo>
                      <a:pt x="1534754" y="312587"/>
                    </a:lnTo>
                    <a:lnTo>
                      <a:pt x="1544603" y="311830"/>
                    </a:lnTo>
                    <a:lnTo>
                      <a:pt x="1548997" y="314557"/>
                    </a:lnTo>
                    <a:lnTo>
                      <a:pt x="1553542" y="316375"/>
                    </a:lnTo>
                    <a:lnTo>
                      <a:pt x="1545360" y="315163"/>
                    </a:lnTo>
                    <a:lnTo>
                      <a:pt x="1542936" y="315315"/>
                    </a:lnTo>
                    <a:lnTo>
                      <a:pt x="1531572" y="323345"/>
                    </a:lnTo>
                    <a:lnTo>
                      <a:pt x="1525208" y="326376"/>
                    </a:lnTo>
                    <a:lnTo>
                      <a:pt x="1517481" y="331224"/>
                    </a:lnTo>
                    <a:lnTo>
                      <a:pt x="1524450" y="340922"/>
                    </a:lnTo>
                    <a:lnTo>
                      <a:pt x="1524450" y="352892"/>
                    </a:lnTo>
                    <a:lnTo>
                      <a:pt x="1529905" y="355468"/>
                    </a:lnTo>
                    <a:lnTo>
                      <a:pt x="1536118" y="356377"/>
                    </a:lnTo>
                    <a:lnTo>
                      <a:pt x="1546421" y="352740"/>
                    </a:lnTo>
                    <a:lnTo>
                      <a:pt x="1555058" y="355013"/>
                    </a:lnTo>
                    <a:lnTo>
                      <a:pt x="1561573" y="355316"/>
                    </a:lnTo>
                    <a:lnTo>
                      <a:pt x="1565664" y="354407"/>
                    </a:lnTo>
                    <a:lnTo>
                      <a:pt x="1575210" y="349255"/>
                    </a:lnTo>
                    <a:lnTo>
                      <a:pt x="1578543" y="346225"/>
                    </a:lnTo>
                    <a:lnTo>
                      <a:pt x="1594908" y="329254"/>
                    </a:lnTo>
                    <a:lnTo>
                      <a:pt x="1597938" y="327436"/>
                    </a:lnTo>
                    <a:lnTo>
                      <a:pt x="1597029" y="330770"/>
                    </a:lnTo>
                    <a:lnTo>
                      <a:pt x="1595968" y="333649"/>
                    </a:lnTo>
                    <a:lnTo>
                      <a:pt x="1594756" y="335921"/>
                    </a:lnTo>
                    <a:lnTo>
                      <a:pt x="1589453" y="342740"/>
                    </a:lnTo>
                    <a:lnTo>
                      <a:pt x="1579907" y="351376"/>
                    </a:lnTo>
                    <a:lnTo>
                      <a:pt x="1573695" y="355619"/>
                    </a:lnTo>
                    <a:lnTo>
                      <a:pt x="1571725" y="357437"/>
                    </a:lnTo>
                    <a:lnTo>
                      <a:pt x="1570058" y="359862"/>
                    </a:lnTo>
                    <a:lnTo>
                      <a:pt x="1567028" y="361528"/>
                    </a:lnTo>
                    <a:lnTo>
                      <a:pt x="1560058" y="362892"/>
                    </a:lnTo>
                    <a:lnTo>
                      <a:pt x="1545966" y="364256"/>
                    </a:lnTo>
                    <a:lnTo>
                      <a:pt x="1539148" y="364710"/>
                    </a:lnTo>
                    <a:lnTo>
                      <a:pt x="1533390" y="363953"/>
                    </a:lnTo>
                    <a:lnTo>
                      <a:pt x="1515965" y="358952"/>
                    </a:lnTo>
                    <a:lnTo>
                      <a:pt x="1512026" y="356225"/>
                    </a:lnTo>
                    <a:lnTo>
                      <a:pt x="1507177" y="350013"/>
                    </a:lnTo>
                    <a:lnTo>
                      <a:pt x="1499904" y="342285"/>
                    </a:lnTo>
                    <a:lnTo>
                      <a:pt x="1494146" y="338649"/>
                    </a:lnTo>
                    <a:lnTo>
                      <a:pt x="1483994" y="335467"/>
                    </a:lnTo>
                    <a:lnTo>
                      <a:pt x="1476873" y="333800"/>
                    </a:lnTo>
                    <a:lnTo>
                      <a:pt x="1470964" y="333800"/>
                    </a:lnTo>
                    <a:lnTo>
                      <a:pt x="1463842" y="335012"/>
                    </a:lnTo>
                    <a:lnTo>
                      <a:pt x="1456721" y="337134"/>
                    </a:lnTo>
                    <a:lnTo>
                      <a:pt x="1449599" y="340164"/>
                    </a:lnTo>
                    <a:lnTo>
                      <a:pt x="1447478" y="343952"/>
                    </a:lnTo>
                    <a:lnTo>
                      <a:pt x="1451720" y="350922"/>
                    </a:lnTo>
                    <a:lnTo>
                      <a:pt x="1455963" y="357134"/>
                    </a:lnTo>
                    <a:lnTo>
                      <a:pt x="1458691" y="360468"/>
                    </a:lnTo>
                    <a:lnTo>
                      <a:pt x="1461266" y="362892"/>
                    </a:lnTo>
                    <a:lnTo>
                      <a:pt x="1465661" y="365619"/>
                    </a:lnTo>
                    <a:lnTo>
                      <a:pt x="1470206" y="365922"/>
                    </a:lnTo>
                    <a:lnTo>
                      <a:pt x="1472479" y="366529"/>
                    </a:lnTo>
                    <a:lnTo>
                      <a:pt x="1474752" y="367892"/>
                    </a:lnTo>
                    <a:lnTo>
                      <a:pt x="1480964" y="374105"/>
                    </a:lnTo>
                    <a:lnTo>
                      <a:pt x="1482631" y="375014"/>
                    </a:lnTo>
                    <a:lnTo>
                      <a:pt x="1481570" y="375620"/>
                    </a:lnTo>
                    <a:lnTo>
                      <a:pt x="1475812" y="376074"/>
                    </a:lnTo>
                    <a:lnTo>
                      <a:pt x="1467630" y="377741"/>
                    </a:lnTo>
                    <a:lnTo>
                      <a:pt x="1460812" y="378347"/>
                    </a:lnTo>
                    <a:lnTo>
                      <a:pt x="1454902" y="377741"/>
                    </a:lnTo>
                    <a:lnTo>
                      <a:pt x="1446114" y="378499"/>
                    </a:lnTo>
                    <a:lnTo>
                      <a:pt x="1439296" y="379711"/>
                    </a:lnTo>
                    <a:lnTo>
                      <a:pt x="1434902" y="381529"/>
                    </a:lnTo>
                    <a:lnTo>
                      <a:pt x="1428992" y="386075"/>
                    </a:lnTo>
                    <a:lnTo>
                      <a:pt x="1408992" y="395620"/>
                    </a:lnTo>
                    <a:lnTo>
                      <a:pt x="1407780" y="405166"/>
                    </a:lnTo>
                    <a:lnTo>
                      <a:pt x="1407022" y="414712"/>
                    </a:lnTo>
                    <a:lnTo>
                      <a:pt x="1412477" y="415773"/>
                    </a:lnTo>
                    <a:lnTo>
                      <a:pt x="1427932" y="416833"/>
                    </a:lnTo>
                    <a:lnTo>
                      <a:pt x="1435053" y="418803"/>
                    </a:lnTo>
                    <a:lnTo>
                      <a:pt x="1434599" y="411530"/>
                    </a:lnTo>
                    <a:lnTo>
                      <a:pt x="1433235" y="405621"/>
                    </a:lnTo>
                    <a:lnTo>
                      <a:pt x="1436417" y="398651"/>
                    </a:lnTo>
                    <a:lnTo>
                      <a:pt x="1436871" y="409712"/>
                    </a:lnTo>
                    <a:lnTo>
                      <a:pt x="1439144" y="419712"/>
                    </a:lnTo>
                    <a:lnTo>
                      <a:pt x="1447175" y="419258"/>
                    </a:lnTo>
                    <a:lnTo>
                      <a:pt x="1463842" y="420773"/>
                    </a:lnTo>
                    <a:lnTo>
                      <a:pt x="1463994" y="409409"/>
                    </a:lnTo>
                    <a:lnTo>
                      <a:pt x="1467630" y="417288"/>
                    </a:lnTo>
                    <a:lnTo>
                      <a:pt x="1477934" y="419258"/>
                    </a:lnTo>
                    <a:lnTo>
                      <a:pt x="1486116" y="421379"/>
                    </a:lnTo>
                    <a:lnTo>
                      <a:pt x="1489298" y="413348"/>
                    </a:lnTo>
                    <a:lnTo>
                      <a:pt x="1492328" y="409409"/>
                    </a:lnTo>
                    <a:lnTo>
                      <a:pt x="1493237" y="409712"/>
                    </a:lnTo>
                    <a:lnTo>
                      <a:pt x="1494601" y="411530"/>
                    </a:lnTo>
                    <a:lnTo>
                      <a:pt x="1496571" y="414712"/>
                    </a:lnTo>
                    <a:lnTo>
                      <a:pt x="1501571" y="417894"/>
                    </a:lnTo>
                    <a:lnTo>
                      <a:pt x="1513541" y="422743"/>
                    </a:lnTo>
                    <a:lnTo>
                      <a:pt x="1522784" y="424712"/>
                    </a:lnTo>
                    <a:lnTo>
                      <a:pt x="1528390" y="425167"/>
                    </a:lnTo>
                    <a:lnTo>
                      <a:pt x="1552027" y="422288"/>
                    </a:lnTo>
                    <a:lnTo>
                      <a:pt x="1553391" y="404106"/>
                    </a:lnTo>
                    <a:lnTo>
                      <a:pt x="1559906" y="414409"/>
                    </a:lnTo>
                    <a:lnTo>
                      <a:pt x="1562634" y="416833"/>
                    </a:lnTo>
                    <a:lnTo>
                      <a:pt x="1576271" y="417591"/>
                    </a:lnTo>
                    <a:lnTo>
                      <a:pt x="1607939" y="416076"/>
                    </a:lnTo>
                    <a:lnTo>
                      <a:pt x="1608545" y="413348"/>
                    </a:lnTo>
                    <a:lnTo>
                      <a:pt x="1607029" y="409863"/>
                    </a:lnTo>
                    <a:lnTo>
                      <a:pt x="1604453" y="406378"/>
                    </a:lnTo>
                    <a:lnTo>
                      <a:pt x="1600969" y="402590"/>
                    </a:lnTo>
                    <a:lnTo>
                      <a:pt x="1599908" y="401075"/>
                    </a:lnTo>
                    <a:lnTo>
                      <a:pt x="1603696" y="403045"/>
                    </a:lnTo>
                    <a:lnTo>
                      <a:pt x="1605969" y="405015"/>
                    </a:lnTo>
                    <a:lnTo>
                      <a:pt x="1608545" y="405924"/>
                    </a:lnTo>
                    <a:lnTo>
                      <a:pt x="1611423" y="405772"/>
                    </a:lnTo>
                    <a:lnTo>
                      <a:pt x="1613545" y="406530"/>
                    </a:lnTo>
                    <a:lnTo>
                      <a:pt x="1619303" y="412742"/>
                    </a:lnTo>
                    <a:lnTo>
                      <a:pt x="1622181" y="414258"/>
                    </a:lnTo>
                    <a:lnTo>
                      <a:pt x="1625666" y="414864"/>
                    </a:lnTo>
                    <a:lnTo>
                      <a:pt x="1628848" y="414712"/>
                    </a:lnTo>
                    <a:lnTo>
                      <a:pt x="1631879" y="413803"/>
                    </a:lnTo>
                    <a:lnTo>
                      <a:pt x="1637182" y="413348"/>
                    </a:lnTo>
                    <a:lnTo>
                      <a:pt x="1639758" y="414106"/>
                    </a:lnTo>
                    <a:lnTo>
                      <a:pt x="1642485" y="415773"/>
                    </a:lnTo>
                    <a:lnTo>
                      <a:pt x="1646425" y="419258"/>
                    </a:lnTo>
                    <a:lnTo>
                      <a:pt x="1646425" y="421531"/>
                    </a:lnTo>
                    <a:lnTo>
                      <a:pt x="1644607" y="424258"/>
                    </a:lnTo>
                    <a:lnTo>
                      <a:pt x="1643091" y="427137"/>
                    </a:lnTo>
                    <a:lnTo>
                      <a:pt x="1642031" y="430319"/>
                    </a:lnTo>
                    <a:lnTo>
                      <a:pt x="1642940" y="432137"/>
                    </a:lnTo>
                    <a:lnTo>
                      <a:pt x="1647334" y="432743"/>
                    </a:lnTo>
                    <a:lnTo>
                      <a:pt x="1650364" y="432592"/>
                    </a:lnTo>
                    <a:lnTo>
                      <a:pt x="1664153" y="428955"/>
                    </a:lnTo>
                    <a:lnTo>
                      <a:pt x="1670516" y="428349"/>
                    </a:lnTo>
                    <a:lnTo>
                      <a:pt x="1682638" y="425016"/>
                    </a:lnTo>
                    <a:lnTo>
                      <a:pt x="1688851" y="422440"/>
                    </a:lnTo>
                    <a:lnTo>
                      <a:pt x="1693093" y="419712"/>
                    </a:lnTo>
                    <a:lnTo>
                      <a:pt x="1698396" y="416985"/>
                    </a:lnTo>
                    <a:lnTo>
                      <a:pt x="1716124" y="410166"/>
                    </a:lnTo>
                    <a:lnTo>
                      <a:pt x="1720670" y="406075"/>
                    </a:lnTo>
                    <a:lnTo>
                      <a:pt x="1724306" y="399712"/>
                    </a:lnTo>
                    <a:lnTo>
                      <a:pt x="1723852" y="394105"/>
                    </a:lnTo>
                    <a:lnTo>
                      <a:pt x="1719306" y="389257"/>
                    </a:lnTo>
                    <a:lnTo>
                      <a:pt x="1715973" y="386832"/>
                    </a:lnTo>
                    <a:lnTo>
                      <a:pt x="1713700" y="386681"/>
                    </a:lnTo>
                    <a:lnTo>
                      <a:pt x="1711276" y="387438"/>
                    </a:lnTo>
                    <a:lnTo>
                      <a:pt x="1705669" y="390923"/>
                    </a:lnTo>
                    <a:lnTo>
                      <a:pt x="1702033" y="392287"/>
                    </a:lnTo>
                    <a:lnTo>
                      <a:pt x="1696881" y="391681"/>
                    </a:lnTo>
                    <a:lnTo>
                      <a:pt x="1690214" y="389257"/>
                    </a:lnTo>
                    <a:lnTo>
                      <a:pt x="1687487" y="386681"/>
                    </a:lnTo>
                    <a:lnTo>
                      <a:pt x="1688699" y="384105"/>
                    </a:lnTo>
                    <a:lnTo>
                      <a:pt x="1688547" y="380620"/>
                    </a:lnTo>
                    <a:lnTo>
                      <a:pt x="1686881" y="376377"/>
                    </a:lnTo>
                    <a:lnTo>
                      <a:pt x="1682638" y="374256"/>
                    </a:lnTo>
                    <a:lnTo>
                      <a:pt x="1670971" y="374408"/>
                    </a:lnTo>
                    <a:lnTo>
                      <a:pt x="1662940" y="377135"/>
                    </a:lnTo>
                    <a:lnTo>
                      <a:pt x="1661425" y="376832"/>
                    </a:lnTo>
                    <a:lnTo>
                      <a:pt x="1650516" y="371377"/>
                    </a:lnTo>
                    <a:lnTo>
                      <a:pt x="1647031" y="370468"/>
                    </a:lnTo>
                    <a:lnTo>
                      <a:pt x="1638243" y="369862"/>
                    </a:lnTo>
                    <a:lnTo>
                      <a:pt x="1633848" y="370620"/>
                    </a:lnTo>
                    <a:lnTo>
                      <a:pt x="1626879" y="373044"/>
                    </a:lnTo>
                    <a:lnTo>
                      <a:pt x="1620818" y="373650"/>
                    </a:lnTo>
                    <a:lnTo>
                      <a:pt x="1618545" y="373044"/>
                    </a:lnTo>
                    <a:lnTo>
                      <a:pt x="1615060" y="371074"/>
                    </a:lnTo>
                    <a:lnTo>
                      <a:pt x="1612333" y="368953"/>
                    </a:lnTo>
                    <a:lnTo>
                      <a:pt x="1612636" y="368195"/>
                    </a:lnTo>
                    <a:lnTo>
                      <a:pt x="1620515" y="368195"/>
                    </a:lnTo>
                    <a:lnTo>
                      <a:pt x="1627182" y="367286"/>
                    </a:lnTo>
                    <a:lnTo>
                      <a:pt x="1633243" y="365316"/>
                    </a:lnTo>
                    <a:lnTo>
                      <a:pt x="1633848" y="364104"/>
                    </a:lnTo>
                    <a:lnTo>
                      <a:pt x="1631121" y="362892"/>
                    </a:lnTo>
                    <a:lnTo>
                      <a:pt x="1627636" y="360316"/>
                    </a:lnTo>
                    <a:lnTo>
                      <a:pt x="1623545" y="356225"/>
                    </a:lnTo>
                    <a:lnTo>
                      <a:pt x="1623394" y="354710"/>
                    </a:lnTo>
                    <a:lnTo>
                      <a:pt x="1627182" y="355619"/>
                    </a:lnTo>
                    <a:lnTo>
                      <a:pt x="1631121" y="357286"/>
                    </a:lnTo>
                    <a:lnTo>
                      <a:pt x="1644909" y="364559"/>
                    </a:lnTo>
                    <a:lnTo>
                      <a:pt x="1653092" y="367135"/>
                    </a:lnTo>
                    <a:lnTo>
                      <a:pt x="1661122" y="367892"/>
                    </a:lnTo>
                    <a:lnTo>
                      <a:pt x="1671426" y="368044"/>
                    </a:lnTo>
                    <a:lnTo>
                      <a:pt x="1692487" y="366225"/>
                    </a:lnTo>
                    <a:lnTo>
                      <a:pt x="1699760" y="366074"/>
                    </a:lnTo>
                    <a:lnTo>
                      <a:pt x="1704154" y="365468"/>
                    </a:lnTo>
                    <a:lnTo>
                      <a:pt x="1710063" y="363953"/>
                    </a:lnTo>
                    <a:lnTo>
                      <a:pt x="1715821" y="361377"/>
                    </a:lnTo>
                    <a:lnTo>
                      <a:pt x="1719003" y="358801"/>
                    </a:lnTo>
                    <a:lnTo>
                      <a:pt x="1721579" y="355164"/>
                    </a:lnTo>
                    <a:lnTo>
                      <a:pt x="1722337" y="349558"/>
                    </a:lnTo>
                    <a:lnTo>
                      <a:pt x="1721427" y="341831"/>
                    </a:lnTo>
                    <a:lnTo>
                      <a:pt x="1721276" y="336073"/>
                    </a:lnTo>
                    <a:lnTo>
                      <a:pt x="1722034" y="332133"/>
                    </a:lnTo>
                    <a:lnTo>
                      <a:pt x="1723246" y="330164"/>
                    </a:lnTo>
                    <a:lnTo>
                      <a:pt x="1738549" y="330164"/>
                    </a:lnTo>
                    <a:lnTo>
                      <a:pt x="1751732" y="331376"/>
                    </a:lnTo>
                    <a:lnTo>
                      <a:pt x="1759005" y="330770"/>
                    </a:lnTo>
                    <a:lnTo>
                      <a:pt x="1768702" y="327588"/>
                    </a:lnTo>
                    <a:lnTo>
                      <a:pt x="1776278" y="327739"/>
                    </a:lnTo>
                    <a:lnTo>
                      <a:pt x="1779157" y="327436"/>
                    </a:lnTo>
                    <a:lnTo>
                      <a:pt x="1782036" y="326376"/>
                    </a:lnTo>
                    <a:lnTo>
                      <a:pt x="1790673" y="313799"/>
                    </a:lnTo>
                    <a:lnTo>
                      <a:pt x="1800521" y="307435"/>
                    </a:lnTo>
                    <a:lnTo>
                      <a:pt x="1799309" y="305769"/>
                    </a:lnTo>
                    <a:lnTo>
                      <a:pt x="1792491" y="302890"/>
                    </a:lnTo>
                    <a:lnTo>
                      <a:pt x="1774763" y="297587"/>
                    </a:lnTo>
                    <a:lnTo>
                      <a:pt x="1767187" y="296374"/>
                    </a:lnTo>
                    <a:lnTo>
                      <a:pt x="1768399" y="295768"/>
                    </a:lnTo>
                    <a:lnTo>
                      <a:pt x="1779611" y="295314"/>
                    </a:lnTo>
                    <a:lnTo>
                      <a:pt x="1795218" y="295768"/>
                    </a:lnTo>
                    <a:lnTo>
                      <a:pt x="1809461" y="294405"/>
                    </a:lnTo>
                    <a:lnTo>
                      <a:pt x="1818552" y="289859"/>
                    </a:lnTo>
                    <a:lnTo>
                      <a:pt x="1818855" y="287435"/>
                    </a:lnTo>
                    <a:lnTo>
                      <a:pt x="1821583" y="283495"/>
                    </a:lnTo>
                    <a:lnTo>
                      <a:pt x="1820068" y="281980"/>
                    </a:lnTo>
                    <a:lnTo>
                      <a:pt x="1816431" y="281525"/>
                    </a:lnTo>
                    <a:lnTo>
                      <a:pt x="1803249" y="275465"/>
                    </a:lnTo>
                    <a:lnTo>
                      <a:pt x="1795067" y="274101"/>
                    </a:lnTo>
                    <a:lnTo>
                      <a:pt x="1784309" y="273646"/>
                    </a:lnTo>
                    <a:lnTo>
                      <a:pt x="1780066" y="269404"/>
                    </a:lnTo>
                    <a:lnTo>
                      <a:pt x="1776581" y="267737"/>
                    </a:lnTo>
                    <a:lnTo>
                      <a:pt x="1771732" y="266373"/>
                    </a:lnTo>
                    <a:lnTo>
                      <a:pt x="1764459" y="265313"/>
                    </a:lnTo>
                    <a:lnTo>
                      <a:pt x="1756277" y="265767"/>
                    </a:lnTo>
                    <a:lnTo>
                      <a:pt x="1737337" y="267889"/>
                    </a:lnTo>
                    <a:lnTo>
                      <a:pt x="1732186" y="269404"/>
                    </a:lnTo>
                    <a:lnTo>
                      <a:pt x="1727185" y="270161"/>
                    </a:lnTo>
                    <a:lnTo>
                      <a:pt x="1722943" y="268798"/>
                    </a:lnTo>
                    <a:lnTo>
                      <a:pt x="1717943" y="265616"/>
                    </a:lnTo>
                    <a:lnTo>
                      <a:pt x="1712488" y="263646"/>
                    </a:lnTo>
                    <a:lnTo>
                      <a:pt x="1708700" y="263343"/>
                    </a:lnTo>
                    <a:lnTo>
                      <a:pt x="1708094" y="262131"/>
                    </a:lnTo>
                    <a:lnTo>
                      <a:pt x="1716882" y="261676"/>
                    </a:lnTo>
                    <a:lnTo>
                      <a:pt x="1724610" y="261979"/>
                    </a:lnTo>
                    <a:lnTo>
                      <a:pt x="1731276" y="263191"/>
                    </a:lnTo>
                    <a:lnTo>
                      <a:pt x="1740368" y="263191"/>
                    </a:lnTo>
                    <a:lnTo>
                      <a:pt x="1757489" y="261373"/>
                    </a:lnTo>
                    <a:lnTo>
                      <a:pt x="1764005" y="261373"/>
                    </a:lnTo>
                    <a:lnTo>
                      <a:pt x="1768096" y="260313"/>
                    </a:lnTo>
                    <a:lnTo>
                      <a:pt x="1774157" y="260616"/>
                    </a:lnTo>
                    <a:lnTo>
                      <a:pt x="1780824" y="259555"/>
                    </a:lnTo>
                    <a:lnTo>
                      <a:pt x="1788248" y="261373"/>
                    </a:lnTo>
                    <a:lnTo>
                      <a:pt x="1791582" y="263040"/>
                    </a:lnTo>
                    <a:lnTo>
                      <a:pt x="1799309" y="264555"/>
                    </a:lnTo>
                    <a:lnTo>
                      <a:pt x="1815522" y="264555"/>
                    </a:lnTo>
                    <a:lnTo>
                      <a:pt x="1818552" y="263494"/>
                    </a:lnTo>
                    <a:lnTo>
                      <a:pt x="1819916" y="252736"/>
                    </a:lnTo>
                    <a:lnTo>
                      <a:pt x="1813249" y="252433"/>
                    </a:lnTo>
                    <a:lnTo>
                      <a:pt x="1803249" y="254403"/>
                    </a:lnTo>
                    <a:lnTo>
                      <a:pt x="1796127" y="252888"/>
                    </a:lnTo>
                    <a:lnTo>
                      <a:pt x="1789309" y="252130"/>
                    </a:lnTo>
                    <a:lnTo>
                      <a:pt x="1779914" y="247736"/>
                    </a:lnTo>
                    <a:lnTo>
                      <a:pt x="1775369" y="246827"/>
                    </a:lnTo>
                    <a:lnTo>
                      <a:pt x="1770520" y="241372"/>
                    </a:lnTo>
                    <a:lnTo>
                      <a:pt x="1760217" y="237433"/>
                    </a:lnTo>
                    <a:lnTo>
                      <a:pt x="1755217" y="236827"/>
                    </a:lnTo>
                    <a:lnTo>
                      <a:pt x="1754005" y="235312"/>
                    </a:lnTo>
                    <a:lnTo>
                      <a:pt x="1768247" y="236372"/>
                    </a:lnTo>
                    <a:lnTo>
                      <a:pt x="1776733" y="237736"/>
                    </a:lnTo>
                    <a:lnTo>
                      <a:pt x="1784763" y="240312"/>
                    </a:lnTo>
                    <a:lnTo>
                      <a:pt x="1792188" y="241372"/>
                    </a:lnTo>
                    <a:lnTo>
                      <a:pt x="1798855" y="240918"/>
                    </a:lnTo>
                    <a:lnTo>
                      <a:pt x="1811431" y="238645"/>
                    </a:lnTo>
                    <a:lnTo>
                      <a:pt x="1822189" y="238948"/>
                    </a:lnTo>
                    <a:lnTo>
                      <a:pt x="1828098" y="238191"/>
                    </a:lnTo>
                    <a:lnTo>
                      <a:pt x="1832795" y="236524"/>
                    </a:lnTo>
                    <a:lnTo>
                      <a:pt x="1836886" y="235918"/>
                    </a:lnTo>
                    <a:lnTo>
                      <a:pt x="1847796" y="236372"/>
                    </a:lnTo>
                    <a:lnTo>
                      <a:pt x="1850675" y="235766"/>
                    </a:lnTo>
                    <a:lnTo>
                      <a:pt x="1852493" y="234706"/>
                    </a:lnTo>
                    <a:lnTo>
                      <a:pt x="1854008" y="232736"/>
                    </a:lnTo>
                    <a:lnTo>
                      <a:pt x="1855069" y="230008"/>
                    </a:lnTo>
                    <a:lnTo>
                      <a:pt x="1854311" y="227130"/>
                    </a:lnTo>
                    <a:lnTo>
                      <a:pt x="1849462" y="221675"/>
                    </a:lnTo>
                    <a:lnTo>
                      <a:pt x="1847644" y="220160"/>
                    </a:lnTo>
                    <a:lnTo>
                      <a:pt x="1842947" y="219250"/>
                    </a:lnTo>
                    <a:lnTo>
                      <a:pt x="1831735" y="218796"/>
                    </a:lnTo>
                    <a:lnTo>
                      <a:pt x="1818401" y="216523"/>
                    </a:lnTo>
                    <a:lnTo>
                      <a:pt x="1815067" y="215311"/>
                    </a:lnTo>
                    <a:lnTo>
                      <a:pt x="1822340" y="212887"/>
                    </a:lnTo>
                    <a:lnTo>
                      <a:pt x="1829159" y="212584"/>
                    </a:lnTo>
                    <a:lnTo>
                      <a:pt x="1838402" y="214705"/>
                    </a:lnTo>
                    <a:lnTo>
                      <a:pt x="1848099" y="215917"/>
                    </a:lnTo>
                    <a:lnTo>
                      <a:pt x="1875827" y="224251"/>
                    </a:lnTo>
                    <a:lnTo>
                      <a:pt x="1881888" y="224705"/>
                    </a:lnTo>
                    <a:lnTo>
                      <a:pt x="1888707" y="223796"/>
                    </a:lnTo>
                    <a:lnTo>
                      <a:pt x="1904465" y="220008"/>
                    </a:lnTo>
                    <a:lnTo>
                      <a:pt x="1906889" y="218644"/>
                    </a:lnTo>
                    <a:lnTo>
                      <a:pt x="1912041" y="214553"/>
                    </a:lnTo>
                    <a:lnTo>
                      <a:pt x="1912192" y="212887"/>
                    </a:lnTo>
                    <a:lnTo>
                      <a:pt x="1907495" y="210917"/>
                    </a:lnTo>
                    <a:lnTo>
                      <a:pt x="1905374" y="210614"/>
                    </a:lnTo>
                    <a:lnTo>
                      <a:pt x="1921738" y="205159"/>
                    </a:lnTo>
                    <a:lnTo>
                      <a:pt x="1927193" y="200613"/>
                    </a:lnTo>
                    <a:lnTo>
                      <a:pt x="1926890" y="199250"/>
                    </a:lnTo>
                    <a:lnTo>
                      <a:pt x="1921738" y="197734"/>
                    </a:lnTo>
                    <a:lnTo>
                      <a:pt x="1918556" y="197431"/>
                    </a:lnTo>
                    <a:lnTo>
                      <a:pt x="1898404" y="200613"/>
                    </a:lnTo>
                    <a:lnTo>
                      <a:pt x="1889313" y="199704"/>
                    </a:lnTo>
                    <a:lnTo>
                      <a:pt x="1886131" y="198492"/>
                    </a:lnTo>
                    <a:lnTo>
                      <a:pt x="1886282" y="197431"/>
                    </a:lnTo>
                    <a:lnTo>
                      <a:pt x="1889767" y="196371"/>
                    </a:lnTo>
                    <a:lnTo>
                      <a:pt x="1893404" y="196068"/>
                    </a:lnTo>
                    <a:lnTo>
                      <a:pt x="1897040" y="196522"/>
                    </a:lnTo>
                    <a:lnTo>
                      <a:pt x="1902192" y="195916"/>
                    </a:lnTo>
                    <a:lnTo>
                      <a:pt x="1912344" y="193340"/>
                    </a:lnTo>
                    <a:lnTo>
                      <a:pt x="1935223" y="190461"/>
                    </a:lnTo>
                    <a:lnTo>
                      <a:pt x="1936587" y="187734"/>
                    </a:lnTo>
                    <a:lnTo>
                      <a:pt x="1924162" y="173340"/>
                    </a:lnTo>
                    <a:lnTo>
                      <a:pt x="1922950" y="171218"/>
                    </a:lnTo>
                    <a:lnTo>
                      <a:pt x="1924920" y="171976"/>
                    </a:lnTo>
                    <a:lnTo>
                      <a:pt x="1931435" y="176370"/>
                    </a:lnTo>
                    <a:lnTo>
                      <a:pt x="1938557" y="180310"/>
                    </a:lnTo>
                    <a:lnTo>
                      <a:pt x="1943860" y="181825"/>
                    </a:lnTo>
                    <a:lnTo>
                      <a:pt x="1949769" y="182279"/>
                    </a:lnTo>
                    <a:lnTo>
                      <a:pt x="1954770" y="181219"/>
                    </a:lnTo>
                    <a:lnTo>
                      <a:pt x="1958860" y="178643"/>
                    </a:lnTo>
                    <a:lnTo>
                      <a:pt x="1970982" y="168188"/>
                    </a:lnTo>
                    <a:lnTo>
                      <a:pt x="1979922" y="162279"/>
                    </a:lnTo>
                    <a:lnTo>
                      <a:pt x="2003408" y="150763"/>
                    </a:lnTo>
                    <a:lnTo>
                      <a:pt x="2032045" y="139096"/>
                    </a:lnTo>
                    <a:lnTo>
                      <a:pt x="2043409" y="132278"/>
                    </a:lnTo>
                    <a:lnTo>
                      <a:pt x="2066137" y="123338"/>
                    </a:lnTo>
                    <a:lnTo>
                      <a:pt x="2084017" y="113337"/>
                    </a:lnTo>
                    <a:lnTo>
                      <a:pt x="2085532" y="109852"/>
                    </a:lnTo>
                    <a:lnTo>
                      <a:pt x="2072956" y="108792"/>
                    </a:lnTo>
                    <a:lnTo>
                      <a:pt x="2059319" y="109852"/>
                    </a:lnTo>
                    <a:lnTo>
                      <a:pt x="1988710" y="125005"/>
                    </a:lnTo>
                    <a:lnTo>
                      <a:pt x="1982498" y="125914"/>
                    </a:lnTo>
                    <a:lnTo>
                      <a:pt x="1977649" y="125005"/>
                    </a:lnTo>
                    <a:lnTo>
                      <a:pt x="1978558" y="122883"/>
                    </a:lnTo>
                    <a:lnTo>
                      <a:pt x="2027045" y="110307"/>
                    </a:lnTo>
                    <a:lnTo>
                      <a:pt x="2028560" y="109398"/>
                    </a:lnTo>
                    <a:lnTo>
                      <a:pt x="2030227" y="107580"/>
                    </a:lnTo>
                    <a:lnTo>
                      <a:pt x="2031136" y="105155"/>
                    </a:lnTo>
                    <a:lnTo>
                      <a:pt x="2034924" y="101670"/>
                    </a:lnTo>
                    <a:lnTo>
                      <a:pt x="2051894" y="100761"/>
                    </a:lnTo>
                    <a:lnTo>
                      <a:pt x="2060228" y="99701"/>
                    </a:lnTo>
                    <a:lnTo>
                      <a:pt x="2065834" y="98185"/>
                    </a:lnTo>
                    <a:lnTo>
                      <a:pt x="2068410" y="95003"/>
                    </a:lnTo>
                    <a:lnTo>
                      <a:pt x="2073107" y="93185"/>
                    </a:lnTo>
                    <a:lnTo>
                      <a:pt x="2090987" y="93791"/>
                    </a:lnTo>
                    <a:lnTo>
                      <a:pt x="2094775" y="93185"/>
                    </a:lnTo>
                    <a:lnTo>
                      <a:pt x="2103260" y="89852"/>
                    </a:lnTo>
                    <a:lnTo>
                      <a:pt x="2117957" y="86367"/>
                    </a:lnTo>
                    <a:lnTo>
                      <a:pt x="2147959" y="75609"/>
                    </a:lnTo>
                    <a:lnTo>
                      <a:pt x="2156747" y="73184"/>
                    </a:lnTo>
                    <a:lnTo>
                      <a:pt x="2162505" y="68790"/>
                    </a:lnTo>
                    <a:lnTo>
                      <a:pt x="2172202" y="63790"/>
                    </a:lnTo>
                    <a:lnTo>
                      <a:pt x="2181596" y="57426"/>
                    </a:lnTo>
                    <a:lnTo>
                      <a:pt x="2183414" y="53335"/>
                    </a:lnTo>
                    <a:lnTo>
                      <a:pt x="2180839" y="49396"/>
                    </a:lnTo>
                    <a:lnTo>
                      <a:pt x="2178414" y="46517"/>
                    </a:lnTo>
                    <a:lnTo>
                      <a:pt x="2176142" y="44850"/>
                    </a:lnTo>
                    <a:lnTo>
                      <a:pt x="2170081" y="43486"/>
                    </a:lnTo>
                    <a:lnTo>
                      <a:pt x="2148868" y="41365"/>
                    </a:lnTo>
                    <a:lnTo>
                      <a:pt x="2127806" y="46062"/>
                    </a:lnTo>
                    <a:lnTo>
                      <a:pt x="2127655" y="45002"/>
                    </a:lnTo>
                    <a:lnTo>
                      <a:pt x="2132200" y="40608"/>
                    </a:lnTo>
                    <a:lnTo>
                      <a:pt x="2132200" y="38486"/>
                    </a:lnTo>
                    <a:lnTo>
                      <a:pt x="2124018" y="32425"/>
                    </a:lnTo>
                    <a:lnTo>
                      <a:pt x="2118412" y="29698"/>
                    </a:lnTo>
                    <a:lnTo>
                      <a:pt x="2117048" y="28334"/>
                    </a:lnTo>
                    <a:lnTo>
                      <a:pt x="2117654" y="27274"/>
                    </a:lnTo>
                    <a:lnTo>
                      <a:pt x="2119170" y="25910"/>
                    </a:lnTo>
                    <a:lnTo>
                      <a:pt x="2121594" y="24395"/>
                    </a:lnTo>
                    <a:lnTo>
                      <a:pt x="2120836" y="22880"/>
                    </a:lnTo>
                    <a:lnTo>
                      <a:pt x="2116897" y="21516"/>
                    </a:lnTo>
                    <a:lnTo>
                      <a:pt x="2107502" y="20455"/>
                    </a:lnTo>
                    <a:lnTo>
                      <a:pt x="2103411" y="20910"/>
                    </a:lnTo>
                    <a:lnTo>
                      <a:pt x="2095229" y="23940"/>
                    </a:lnTo>
                    <a:lnTo>
                      <a:pt x="2093260" y="23940"/>
                    </a:lnTo>
                    <a:lnTo>
                      <a:pt x="2089623" y="21213"/>
                    </a:lnTo>
                    <a:lnTo>
                      <a:pt x="2085684" y="17273"/>
                    </a:lnTo>
                    <a:lnTo>
                      <a:pt x="2082198" y="15607"/>
                    </a:lnTo>
                    <a:lnTo>
                      <a:pt x="2080077" y="15455"/>
                    </a:lnTo>
                    <a:lnTo>
                      <a:pt x="2076592" y="16364"/>
                    </a:lnTo>
                    <a:lnTo>
                      <a:pt x="2075229" y="17576"/>
                    </a:lnTo>
                    <a:lnTo>
                      <a:pt x="2072956" y="21061"/>
                    </a:lnTo>
                    <a:lnTo>
                      <a:pt x="2071592" y="22425"/>
                    </a:lnTo>
                    <a:lnTo>
                      <a:pt x="2068865" y="22274"/>
                    </a:lnTo>
                    <a:lnTo>
                      <a:pt x="2064774" y="20607"/>
                    </a:lnTo>
                    <a:lnTo>
                      <a:pt x="2059925" y="19546"/>
                    </a:lnTo>
                    <a:lnTo>
                      <a:pt x="2049167" y="21970"/>
                    </a:lnTo>
                    <a:lnTo>
                      <a:pt x="2035682" y="26365"/>
                    </a:lnTo>
                    <a:lnTo>
                      <a:pt x="2028712" y="27880"/>
                    </a:lnTo>
                    <a:lnTo>
                      <a:pt x="2025075" y="28031"/>
                    </a:lnTo>
                    <a:lnTo>
                      <a:pt x="2014166" y="31365"/>
                    </a:lnTo>
                    <a:lnTo>
                      <a:pt x="2004923" y="32425"/>
                    </a:lnTo>
                    <a:lnTo>
                      <a:pt x="1992953" y="32880"/>
                    </a:lnTo>
                    <a:lnTo>
                      <a:pt x="1984771" y="32425"/>
                    </a:lnTo>
                    <a:lnTo>
                      <a:pt x="1987801" y="30759"/>
                    </a:lnTo>
                    <a:lnTo>
                      <a:pt x="2029469" y="21213"/>
                    </a:lnTo>
                    <a:lnTo>
                      <a:pt x="2035985" y="18182"/>
                    </a:lnTo>
                    <a:lnTo>
                      <a:pt x="2040833" y="15152"/>
                    </a:lnTo>
                    <a:lnTo>
                      <a:pt x="2040833" y="13788"/>
                    </a:lnTo>
                    <a:lnTo>
                      <a:pt x="2036136" y="12576"/>
                    </a:lnTo>
                    <a:lnTo>
                      <a:pt x="2013863" y="11970"/>
                    </a:lnTo>
                    <a:lnTo>
                      <a:pt x="2007802" y="11213"/>
                    </a:lnTo>
                    <a:lnTo>
                      <a:pt x="1999620" y="11819"/>
                    </a:lnTo>
                    <a:lnTo>
                      <a:pt x="1994619" y="10758"/>
                    </a:lnTo>
                    <a:lnTo>
                      <a:pt x="1986286" y="7728"/>
                    </a:lnTo>
                    <a:lnTo>
                      <a:pt x="1979013" y="8182"/>
                    </a:lnTo>
                    <a:lnTo>
                      <a:pt x="1956739" y="6970"/>
                    </a:lnTo>
                    <a:lnTo>
                      <a:pt x="1954466" y="6364"/>
                    </a:lnTo>
                    <a:lnTo>
                      <a:pt x="1948709" y="1667"/>
                    </a:lnTo>
                    <a:lnTo>
                      <a:pt x="1946436" y="455"/>
                    </a:lnTo>
                    <a:lnTo>
                      <a:pt x="1943708" y="0"/>
                    </a:lnTo>
                    <a:lnTo>
                      <a:pt x="1919011" y="1212"/>
                    </a:lnTo>
                    <a:lnTo>
                      <a:pt x="1913101" y="2273"/>
                    </a:lnTo>
                    <a:lnTo>
                      <a:pt x="1903859" y="6515"/>
                    </a:lnTo>
                    <a:lnTo>
                      <a:pt x="1904465" y="7879"/>
                    </a:lnTo>
                    <a:lnTo>
                      <a:pt x="1910071" y="10000"/>
                    </a:lnTo>
                    <a:lnTo>
                      <a:pt x="1917344" y="13940"/>
                    </a:lnTo>
                    <a:lnTo>
                      <a:pt x="1917192" y="14546"/>
                    </a:lnTo>
                    <a:lnTo>
                      <a:pt x="1911889" y="13182"/>
                    </a:lnTo>
                    <a:lnTo>
                      <a:pt x="1904465" y="9697"/>
                    </a:lnTo>
                    <a:lnTo>
                      <a:pt x="1888707" y="1061"/>
                    </a:lnTo>
                    <a:lnTo>
                      <a:pt x="1886282" y="758"/>
                    </a:lnTo>
                    <a:lnTo>
                      <a:pt x="1865978" y="2424"/>
                    </a:lnTo>
                    <a:lnTo>
                      <a:pt x="1851735" y="8031"/>
                    </a:lnTo>
                    <a:lnTo>
                      <a:pt x="1849766" y="9546"/>
                    </a:lnTo>
                    <a:lnTo>
                      <a:pt x="1848705" y="11667"/>
                    </a:lnTo>
                    <a:lnTo>
                      <a:pt x="1848705" y="14546"/>
                    </a:lnTo>
                    <a:lnTo>
                      <a:pt x="1854311" y="18637"/>
                    </a:lnTo>
                    <a:lnTo>
                      <a:pt x="1866888" y="24698"/>
                    </a:lnTo>
                    <a:lnTo>
                      <a:pt x="1870069" y="26971"/>
                    </a:lnTo>
                    <a:lnTo>
                      <a:pt x="1853250" y="23637"/>
                    </a:lnTo>
                    <a:lnTo>
                      <a:pt x="1841432" y="18182"/>
                    </a:lnTo>
                    <a:lnTo>
                      <a:pt x="1835523" y="14546"/>
                    </a:lnTo>
                    <a:lnTo>
                      <a:pt x="1831735" y="11061"/>
                    </a:lnTo>
                    <a:lnTo>
                      <a:pt x="1827795" y="8788"/>
                    </a:lnTo>
                    <a:lnTo>
                      <a:pt x="1821886" y="7121"/>
                    </a:lnTo>
                    <a:lnTo>
                      <a:pt x="1785521" y="4849"/>
                    </a:lnTo>
                    <a:lnTo>
                      <a:pt x="1747792" y="7576"/>
                    </a:lnTo>
                    <a:lnTo>
                      <a:pt x="1750065" y="10455"/>
                    </a:lnTo>
                    <a:lnTo>
                      <a:pt x="1753701" y="13788"/>
                    </a:lnTo>
                    <a:lnTo>
                      <a:pt x="1767338" y="20910"/>
                    </a:lnTo>
                    <a:lnTo>
                      <a:pt x="1773399" y="24849"/>
                    </a:lnTo>
                    <a:lnTo>
                      <a:pt x="1776126" y="27122"/>
                    </a:lnTo>
                    <a:lnTo>
                      <a:pt x="1788248" y="32577"/>
                    </a:lnTo>
                    <a:lnTo>
                      <a:pt x="1790369" y="35001"/>
                    </a:lnTo>
                    <a:lnTo>
                      <a:pt x="1785521" y="37426"/>
                    </a:lnTo>
                    <a:lnTo>
                      <a:pt x="1778248" y="40001"/>
                    </a:lnTo>
                    <a:lnTo>
                      <a:pt x="1774460" y="38941"/>
                    </a:lnTo>
                    <a:lnTo>
                      <a:pt x="1771732" y="35304"/>
                    </a:lnTo>
                    <a:lnTo>
                      <a:pt x="1769157" y="32577"/>
                    </a:lnTo>
                    <a:lnTo>
                      <a:pt x="1766884" y="30759"/>
                    </a:lnTo>
                    <a:lnTo>
                      <a:pt x="1744913" y="19395"/>
                    </a:lnTo>
                    <a:lnTo>
                      <a:pt x="1737943" y="16213"/>
                    </a:lnTo>
                    <a:lnTo>
                      <a:pt x="1734155" y="15304"/>
                    </a:lnTo>
                    <a:lnTo>
                      <a:pt x="1724610" y="14546"/>
                    </a:lnTo>
                    <a:lnTo>
                      <a:pt x="1709457" y="15607"/>
                    </a:lnTo>
                    <a:lnTo>
                      <a:pt x="1691578" y="12728"/>
                    </a:lnTo>
                    <a:lnTo>
                      <a:pt x="1672335" y="12425"/>
                    </a:lnTo>
                    <a:lnTo>
                      <a:pt x="1664910" y="14243"/>
                    </a:lnTo>
                    <a:lnTo>
                      <a:pt x="1665213" y="15455"/>
                    </a:lnTo>
                    <a:lnTo>
                      <a:pt x="1669759" y="17879"/>
                    </a:lnTo>
                    <a:lnTo>
                      <a:pt x="1673547" y="20758"/>
                    </a:lnTo>
                    <a:lnTo>
                      <a:pt x="1678850" y="22880"/>
                    </a:lnTo>
                    <a:lnTo>
                      <a:pt x="1690820" y="26365"/>
                    </a:lnTo>
                    <a:lnTo>
                      <a:pt x="1702184" y="28940"/>
                    </a:lnTo>
                    <a:lnTo>
                      <a:pt x="1703396" y="30001"/>
                    </a:lnTo>
                    <a:lnTo>
                      <a:pt x="1695518" y="30304"/>
                    </a:lnTo>
                    <a:lnTo>
                      <a:pt x="1667032" y="28183"/>
                    </a:lnTo>
                    <a:lnTo>
                      <a:pt x="1651122" y="23940"/>
                    </a:lnTo>
                    <a:lnTo>
                      <a:pt x="1641425" y="23334"/>
                    </a:lnTo>
                    <a:lnTo>
                      <a:pt x="1638243" y="24546"/>
                    </a:lnTo>
                    <a:lnTo>
                      <a:pt x="1636879" y="25759"/>
                    </a:lnTo>
                    <a:lnTo>
                      <a:pt x="1637788" y="27728"/>
                    </a:lnTo>
                    <a:lnTo>
                      <a:pt x="1647031" y="36516"/>
                    </a:lnTo>
                    <a:lnTo>
                      <a:pt x="1645516" y="37577"/>
                    </a:lnTo>
                    <a:lnTo>
                      <a:pt x="1636576" y="36062"/>
                    </a:lnTo>
                    <a:lnTo>
                      <a:pt x="1625818" y="32728"/>
                    </a:lnTo>
                    <a:lnTo>
                      <a:pt x="1620212" y="32274"/>
                    </a:lnTo>
                    <a:lnTo>
                      <a:pt x="1611120" y="33638"/>
                    </a:lnTo>
                    <a:lnTo>
                      <a:pt x="1610969" y="35456"/>
                    </a:lnTo>
                    <a:lnTo>
                      <a:pt x="1615515" y="38032"/>
                    </a:lnTo>
                    <a:lnTo>
                      <a:pt x="1623091" y="41062"/>
                    </a:lnTo>
                    <a:lnTo>
                      <a:pt x="1622030" y="41971"/>
                    </a:lnTo>
                    <a:lnTo>
                      <a:pt x="1613696" y="42729"/>
                    </a:lnTo>
                    <a:lnTo>
                      <a:pt x="1607029" y="44699"/>
                    </a:lnTo>
                    <a:lnTo>
                      <a:pt x="1602029" y="47274"/>
                    </a:lnTo>
                    <a:lnTo>
                      <a:pt x="1602181" y="49396"/>
                    </a:lnTo>
                    <a:lnTo>
                      <a:pt x="1607484" y="53335"/>
                    </a:lnTo>
                    <a:lnTo>
                      <a:pt x="1614454" y="57275"/>
                    </a:lnTo>
                    <a:lnTo>
                      <a:pt x="1629000" y="63033"/>
                    </a:lnTo>
                    <a:lnTo>
                      <a:pt x="1665668" y="73942"/>
                    </a:lnTo>
                    <a:lnTo>
                      <a:pt x="1679305" y="80306"/>
                    </a:lnTo>
                    <a:lnTo>
                      <a:pt x="1684911" y="85458"/>
                    </a:lnTo>
                    <a:lnTo>
                      <a:pt x="1683850" y="85609"/>
                    </a:lnTo>
                    <a:lnTo>
                      <a:pt x="1677790" y="83336"/>
                    </a:lnTo>
                    <a:lnTo>
                      <a:pt x="1671729" y="80003"/>
                    </a:lnTo>
                    <a:lnTo>
                      <a:pt x="1665062" y="77276"/>
                    </a:lnTo>
                    <a:lnTo>
                      <a:pt x="1654152" y="75457"/>
                    </a:lnTo>
                    <a:lnTo>
                      <a:pt x="1625818" y="67730"/>
                    </a:lnTo>
                    <a:lnTo>
                      <a:pt x="1606878" y="61214"/>
                    </a:lnTo>
                    <a:lnTo>
                      <a:pt x="1599756" y="59245"/>
                    </a:lnTo>
                    <a:lnTo>
                      <a:pt x="1597029" y="59396"/>
                    </a:lnTo>
                    <a:lnTo>
                      <a:pt x="1595059" y="60608"/>
                    </a:lnTo>
                    <a:lnTo>
                      <a:pt x="1593998" y="62730"/>
                    </a:lnTo>
                    <a:lnTo>
                      <a:pt x="1596423" y="65305"/>
                    </a:lnTo>
                    <a:lnTo>
                      <a:pt x="1605514" y="69700"/>
                    </a:lnTo>
                    <a:lnTo>
                      <a:pt x="1604757" y="71518"/>
                    </a:lnTo>
                    <a:lnTo>
                      <a:pt x="1597180" y="70760"/>
                    </a:lnTo>
                    <a:lnTo>
                      <a:pt x="1593392" y="69548"/>
                    </a:lnTo>
                    <a:lnTo>
                      <a:pt x="1586877" y="66366"/>
                    </a:lnTo>
                    <a:lnTo>
                      <a:pt x="1582332" y="63336"/>
                    </a:lnTo>
                    <a:lnTo>
                      <a:pt x="1570967" y="53941"/>
                    </a:lnTo>
                    <a:lnTo>
                      <a:pt x="1564604" y="52275"/>
                    </a:lnTo>
                    <a:lnTo>
                      <a:pt x="1549754" y="50759"/>
                    </a:lnTo>
                    <a:lnTo>
                      <a:pt x="1544754" y="49093"/>
                    </a:lnTo>
                    <a:lnTo>
                      <a:pt x="1539451" y="46517"/>
                    </a:lnTo>
                    <a:lnTo>
                      <a:pt x="1535360" y="45759"/>
                    </a:lnTo>
                    <a:lnTo>
                      <a:pt x="1525057" y="48790"/>
                    </a:lnTo>
                    <a:lnTo>
                      <a:pt x="1519450" y="51366"/>
                    </a:lnTo>
                    <a:lnTo>
                      <a:pt x="1510814" y="56366"/>
                    </a:lnTo>
                    <a:lnTo>
                      <a:pt x="1507329" y="56972"/>
                    </a:lnTo>
                    <a:lnTo>
                      <a:pt x="1500056" y="59396"/>
                    </a:lnTo>
                    <a:lnTo>
                      <a:pt x="1488389" y="61366"/>
                    </a:lnTo>
                    <a:lnTo>
                      <a:pt x="1489298" y="63487"/>
                    </a:lnTo>
                    <a:lnTo>
                      <a:pt x="1523996" y="73033"/>
                    </a:lnTo>
                    <a:lnTo>
                      <a:pt x="1527935" y="74397"/>
                    </a:lnTo>
                    <a:lnTo>
                      <a:pt x="1531117" y="76366"/>
                    </a:lnTo>
                    <a:lnTo>
                      <a:pt x="1531269" y="77124"/>
                    </a:lnTo>
                    <a:lnTo>
                      <a:pt x="1521420" y="77124"/>
                    </a:lnTo>
                    <a:lnTo>
                      <a:pt x="1517784" y="78942"/>
                    </a:lnTo>
                    <a:lnTo>
                      <a:pt x="1514905" y="79094"/>
                    </a:lnTo>
                    <a:lnTo>
                      <a:pt x="1508692" y="77579"/>
                    </a:lnTo>
                    <a:lnTo>
                      <a:pt x="1500965" y="74245"/>
                    </a:lnTo>
                    <a:lnTo>
                      <a:pt x="1494904" y="72881"/>
                    </a:lnTo>
                    <a:lnTo>
                      <a:pt x="1488086" y="72427"/>
                    </a:lnTo>
                    <a:lnTo>
                      <a:pt x="1482479" y="73639"/>
                    </a:lnTo>
                    <a:lnTo>
                      <a:pt x="1477934" y="76366"/>
                    </a:lnTo>
                    <a:lnTo>
                      <a:pt x="1477479" y="78639"/>
                    </a:lnTo>
                    <a:lnTo>
                      <a:pt x="1472024" y="75912"/>
                    </a:lnTo>
                    <a:lnTo>
                      <a:pt x="1466873" y="72275"/>
                    </a:lnTo>
                    <a:lnTo>
                      <a:pt x="1460509" y="70154"/>
                    </a:lnTo>
                    <a:lnTo>
                      <a:pt x="1448842" y="69396"/>
                    </a:lnTo>
                    <a:lnTo>
                      <a:pt x="1435053" y="71821"/>
                    </a:lnTo>
                    <a:lnTo>
                      <a:pt x="1426568" y="74700"/>
                    </a:lnTo>
                    <a:lnTo>
                      <a:pt x="1418840" y="78791"/>
                    </a:lnTo>
                    <a:lnTo>
                      <a:pt x="1412628" y="81367"/>
                    </a:lnTo>
                    <a:lnTo>
                      <a:pt x="1405658" y="82882"/>
                    </a:lnTo>
                    <a:lnTo>
                      <a:pt x="1391112" y="82882"/>
                    </a:lnTo>
                    <a:lnTo>
                      <a:pt x="1382172" y="83942"/>
                    </a:lnTo>
                    <a:lnTo>
                      <a:pt x="1369748" y="87276"/>
                    </a:lnTo>
                    <a:lnTo>
                      <a:pt x="1362172" y="89852"/>
                    </a:lnTo>
                    <a:lnTo>
                      <a:pt x="1356565" y="92731"/>
                    </a:lnTo>
                    <a:lnTo>
                      <a:pt x="1350505" y="96670"/>
                    </a:lnTo>
                    <a:lnTo>
                      <a:pt x="1349444" y="99852"/>
                    </a:lnTo>
                    <a:lnTo>
                      <a:pt x="1357172" y="103640"/>
                    </a:lnTo>
                    <a:lnTo>
                      <a:pt x="1360202" y="103943"/>
                    </a:lnTo>
                    <a:close/>
                    <a:moveTo>
                      <a:pt x="1698396" y="799726"/>
                    </a:moveTo>
                    <a:lnTo>
                      <a:pt x="1692487" y="801393"/>
                    </a:lnTo>
                    <a:lnTo>
                      <a:pt x="1689760" y="803211"/>
                    </a:lnTo>
                    <a:lnTo>
                      <a:pt x="1688093" y="805939"/>
                    </a:lnTo>
                    <a:lnTo>
                      <a:pt x="1686729" y="807757"/>
                    </a:lnTo>
                    <a:lnTo>
                      <a:pt x="1685669" y="808514"/>
                    </a:lnTo>
                    <a:lnTo>
                      <a:pt x="1685214" y="809272"/>
                    </a:lnTo>
                    <a:lnTo>
                      <a:pt x="1685669" y="810787"/>
                    </a:lnTo>
                    <a:lnTo>
                      <a:pt x="1686426" y="812302"/>
                    </a:lnTo>
                    <a:lnTo>
                      <a:pt x="1688699" y="813211"/>
                    </a:lnTo>
                    <a:lnTo>
                      <a:pt x="1690517" y="812908"/>
                    </a:lnTo>
                    <a:lnTo>
                      <a:pt x="1694760" y="811090"/>
                    </a:lnTo>
                    <a:lnTo>
                      <a:pt x="1700215" y="809575"/>
                    </a:lnTo>
                    <a:lnTo>
                      <a:pt x="1702184" y="807908"/>
                    </a:lnTo>
                    <a:lnTo>
                      <a:pt x="1704154" y="804878"/>
                    </a:lnTo>
                    <a:lnTo>
                      <a:pt x="1707184" y="801696"/>
                    </a:lnTo>
                    <a:lnTo>
                      <a:pt x="1708094" y="800332"/>
                    </a:lnTo>
                    <a:lnTo>
                      <a:pt x="1708397" y="799272"/>
                    </a:lnTo>
                    <a:lnTo>
                      <a:pt x="1708851" y="798362"/>
                    </a:lnTo>
                    <a:lnTo>
                      <a:pt x="1711427" y="795787"/>
                    </a:lnTo>
                    <a:lnTo>
                      <a:pt x="1715518" y="792756"/>
                    </a:lnTo>
                    <a:lnTo>
                      <a:pt x="1717033" y="790786"/>
                    </a:lnTo>
                    <a:lnTo>
                      <a:pt x="1716882" y="790332"/>
                    </a:lnTo>
                    <a:lnTo>
                      <a:pt x="1715821" y="788059"/>
                    </a:lnTo>
                    <a:lnTo>
                      <a:pt x="1715064" y="787150"/>
                    </a:lnTo>
                    <a:lnTo>
                      <a:pt x="1714155" y="786847"/>
                    </a:lnTo>
                    <a:lnTo>
                      <a:pt x="1710670" y="786695"/>
                    </a:lnTo>
                    <a:lnTo>
                      <a:pt x="1706882" y="787605"/>
                    </a:lnTo>
                    <a:lnTo>
                      <a:pt x="1705366" y="788514"/>
                    </a:lnTo>
                    <a:lnTo>
                      <a:pt x="1704306" y="789726"/>
                    </a:lnTo>
                    <a:lnTo>
                      <a:pt x="1704306" y="790938"/>
                    </a:lnTo>
                    <a:lnTo>
                      <a:pt x="1705366" y="792150"/>
                    </a:lnTo>
                    <a:lnTo>
                      <a:pt x="1705063" y="792756"/>
                    </a:lnTo>
                    <a:lnTo>
                      <a:pt x="1702033" y="793211"/>
                    </a:lnTo>
                    <a:lnTo>
                      <a:pt x="1701124" y="793968"/>
                    </a:lnTo>
                    <a:lnTo>
                      <a:pt x="1698548" y="798817"/>
                    </a:lnTo>
                    <a:lnTo>
                      <a:pt x="1698396" y="799726"/>
                    </a:lnTo>
                    <a:close/>
                    <a:moveTo>
                      <a:pt x="1674911" y="1306260"/>
                    </a:moveTo>
                    <a:lnTo>
                      <a:pt x="1675365" y="1303684"/>
                    </a:lnTo>
                    <a:lnTo>
                      <a:pt x="1676577" y="1303987"/>
                    </a:lnTo>
                    <a:lnTo>
                      <a:pt x="1677032" y="1303684"/>
                    </a:lnTo>
                    <a:lnTo>
                      <a:pt x="1677183" y="1302169"/>
                    </a:lnTo>
                    <a:lnTo>
                      <a:pt x="1676880" y="1300199"/>
                    </a:lnTo>
                    <a:lnTo>
                      <a:pt x="1676426" y="1300047"/>
                    </a:lnTo>
                    <a:lnTo>
                      <a:pt x="1675668" y="1300351"/>
                    </a:lnTo>
                    <a:lnTo>
                      <a:pt x="1674456" y="1301866"/>
                    </a:lnTo>
                    <a:lnTo>
                      <a:pt x="1674153" y="1302623"/>
                    </a:lnTo>
                    <a:lnTo>
                      <a:pt x="1674305" y="1303532"/>
                    </a:lnTo>
                    <a:lnTo>
                      <a:pt x="1673699" y="1304896"/>
                    </a:lnTo>
                    <a:lnTo>
                      <a:pt x="1674456" y="1306563"/>
                    </a:lnTo>
                    <a:lnTo>
                      <a:pt x="1674911" y="1306260"/>
                    </a:lnTo>
                    <a:close/>
                    <a:moveTo>
                      <a:pt x="1671880" y="1329139"/>
                    </a:moveTo>
                    <a:lnTo>
                      <a:pt x="1670516" y="1330655"/>
                    </a:lnTo>
                    <a:lnTo>
                      <a:pt x="1670516" y="1332624"/>
                    </a:lnTo>
                    <a:lnTo>
                      <a:pt x="1671880" y="1333382"/>
                    </a:lnTo>
                    <a:lnTo>
                      <a:pt x="1672638" y="1332776"/>
                    </a:lnTo>
                    <a:lnTo>
                      <a:pt x="1673547" y="1331109"/>
                    </a:lnTo>
                    <a:lnTo>
                      <a:pt x="1673850" y="1330049"/>
                    </a:lnTo>
                    <a:lnTo>
                      <a:pt x="1672941" y="1329291"/>
                    </a:lnTo>
                    <a:lnTo>
                      <a:pt x="1671880" y="1329139"/>
                    </a:lnTo>
                    <a:close/>
                    <a:moveTo>
                      <a:pt x="1681426" y="1337776"/>
                    </a:moveTo>
                    <a:lnTo>
                      <a:pt x="1682335" y="1337322"/>
                    </a:lnTo>
                    <a:lnTo>
                      <a:pt x="1682941" y="1336867"/>
                    </a:lnTo>
                    <a:lnTo>
                      <a:pt x="1683244" y="1336109"/>
                    </a:lnTo>
                    <a:lnTo>
                      <a:pt x="1683244" y="1335049"/>
                    </a:lnTo>
                    <a:lnTo>
                      <a:pt x="1682941" y="1333988"/>
                    </a:lnTo>
                    <a:lnTo>
                      <a:pt x="1682335" y="1332927"/>
                    </a:lnTo>
                    <a:lnTo>
                      <a:pt x="1681123" y="1331867"/>
                    </a:lnTo>
                    <a:lnTo>
                      <a:pt x="1680668" y="1332018"/>
                    </a:lnTo>
                    <a:lnTo>
                      <a:pt x="1680365" y="1332624"/>
                    </a:lnTo>
                    <a:lnTo>
                      <a:pt x="1680365" y="1333230"/>
                    </a:lnTo>
                    <a:lnTo>
                      <a:pt x="1681275" y="1334443"/>
                    </a:lnTo>
                    <a:lnTo>
                      <a:pt x="1680517" y="1337928"/>
                    </a:lnTo>
                    <a:lnTo>
                      <a:pt x="1681426" y="1337776"/>
                    </a:lnTo>
                    <a:close/>
                    <a:moveTo>
                      <a:pt x="1669001" y="1133223"/>
                    </a:moveTo>
                    <a:lnTo>
                      <a:pt x="1671880" y="1136254"/>
                    </a:lnTo>
                    <a:lnTo>
                      <a:pt x="1674002" y="1137769"/>
                    </a:lnTo>
                    <a:lnTo>
                      <a:pt x="1675517" y="1137769"/>
                    </a:lnTo>
                    <a:lnTo>
                      <a:pt x="1676880" y="1137011"/>
                    </a:lnTo>
                    <a:lnTo>
                      <a:pt x="1678093" y="1135648"/>
                    </a:lnTo>
                    <a:lnTo>
                      <a:pt x="1679608" y="1132920"/>
                    </a:lnTo>
                    <a:lnTo>
                      <a:pt x="1681578" y="1128829"/>
                    </a:lnTo>
                    <a:lnTo>
                      <a:pt x="1683699" y="1125193"/>
                    </a:lnTo>
                    <a:lnTo>
                      <a:pt x="1686123" y="1122011"/>
                    </a:lnTo>
                    <a:lnTo>
                      <a:pt x="1687487" y="1119586"/>
                    </a:lnTo>
                    <a:lnTo>
                      <a:pt x="1687942" y="1116253"/>
                    </a:lnTo>
                    <a:lnTo>
                      <a:pt x="1688851" y="1112768"/>
                    </a:lnTo>
                    <a:lnTo>
                      <a:pt x="1688396" y="1110192"/>
                    </a:lnTo>
                    <a:lnTo>
                      <a:pt x="1687032" y="1108222"/>
                    </a:lnTo>
                    <a:lnTo>
                      <a:pt x="1683396" y="1104434"/>
                    </a:lnTo>
                    <a:lnTo>
                      <a:pt x="1681275" y="1103222"/>
                    </a:lnTo>
                    <a:lnTo>
                      <a:pt x="1679911" y="1103222"/>
                    </a:lnTo>
                    <a:lnTo>
                      <a:pt x="1678547" y="1103828"/>
                    </a:lnTo>
                    <a:lnTo>
                      <a:pt x="1676880" y="1103980"/>
                    </a:lnTo>
                    <a:lnTo>
                      <a:pt x="1672638" y="1103525"/>
                    </a:lnTo>
                    <a:lnTo>
                      <a:pt x="1670971" y="1103980"/>
                    </a:lnTo>
                    <a:lnTo>
                      <a:pt x="1668395" y="1106101"/>
                    </a:lnTo>
                    <a:lnTo>
                      <a:pt x="1664153" y="1111556"/>
                    </a:lnTo>
                    <a:lnTo>
                      <a:pt x="1662638" y="1114132"/>
                    </a:lnTo>
                    <a:lnTo>
                      <a:pt x="1661880" y="1115950"/>
                    </a:lnTo>
                    <a:lnTo>
                      <a:pt x="1661577" y="1118374"/>
                    </a:lnTo>
                    <a:lnTo>
                      <a:pt x="1661425" y="1121102"/>
                    </a:lnTo>
                    <a:lnTo>
                      <a:pt x="1661577" y="1126556"/>
                    </a:lnTo>
                    <a:lnTo>
                      <a:pt x="1661880" y="1128223"/>
                    </a:lnTo>
                    <a:lnTo>
                      <a:pt x="1663547" y="1129890"/>
                    </a:lnTo>
                    <a:lnTo>
                      <a:pt x="1666577" y="1131102"/>
                    </a:lnTo>
                    <a:lnTo>
                      <a:pt x="1669001" y="1133223"/>
                    </a:lnTo>
                    <a:close/>
                    <a:moveTo>
                      <a:pt x="1668092" y="1464902"/>
                    </a:moveTo>
                    <a:lnTo>
                      <a:pt x="1669001" y="1465508"/>
                    </a:lnTo>
                    <a:lnTo>
                      <a:pt x="1670820" y="1465660"/>
                    </a:lnTo>
                    <a:lnTo>
                      <a:pt x="1670820" y="1464599"/>
                    </a:lnTo>
                    <a:lnTo>
                      <a:pt x="1669759" y="1462781"/>
                    </a:lnTo>
                    <a:lnTo>
                      <a:pt x="1667638" y="1462326"/>
                    </a:lnTo>
                    <a:lnTo>
                      <a:pt x="1667032" y="1463084"/>
                    </a:lnTo>
                    <a:lnTo>
                      <a:pt x="1667183" y="1463841"/>
                    </a:lnTo>
                    <a:lnTo>
                      <a:pt x="1668092" y="1464902"/>
                    </a:lnTo>
                    <a:close/>
                    <a:moveTo>
                      <a:pt x="1701275" y="1357019"/>
                    </a:moveTo>
                    <a:lnTo>
                      <a:pt x="1703094" y="1355959"/>
                    </a:lnTo>
                    <a:lnTo>
                      <a:pt x="1704457" y="1354443"/>
                    </a:lnTo>
                    <a:lnTo>
                      <a:pt x="1705518" y="1352625"/>
                    </a:lnTo>
                    <a:lnTo>
                      <a:pt x="1705972" y="1350352"/>
                    </a:lnTo>
                    <a:lnTo>
                      <a:pt x="1705669" y="1345655"/>
                    </a:lnTo>
                    <a:lnTo>
                      <a:pt x="1704154" y="1345655"/>
                    </a:lnTo>
                    <a:lnTo>
                      <a:pt x="1703094" y="1346413"/>
                    </a:lnTo>
                    <a:lnTo>
                      <a:pt x="1702033" y="1347928"/>
                    </a:lnTo>
                    <a:lnTo>
                      <a:pt x="1701427" y="1349595"/>
                    </a:lnTo>
                    <a:lnTo>
                      <a:pt x="1701275" y="1351564"/>
                    </a:lnTo>
                    <a:lnTo>
                      <a:pt x="1700518" y="1353837"/>
                    </a:lnTo>
                    <a:lnTo>
                      <a:pt x="1699154" y="1356413"/>
                    </a:lnTo>
                    <a:lnTo>
                      <a:pt x="1699002" y="1357777"/>
                    </a:lnTo>
                    <a:lnTo>
                      <a:pt x="1700063" y="1357777"/>
                    </a:lnTo>
                    <a:lnTo>
                      <a:pt x="1701275" y="1357019"/>
                    </a:lnTo>
                    <a:close/>
                    <a:moveTo>
                      <a:pt x="1661274" y="1219135"/>
                    </a:moveTo>
                    <a:lnTo>
                      <a:pt x="1662486" y="1218226"/>
                    </a:lnTo>
                    <a:lnTo>
                      <a:pt x="1664001" y="1216711"/>
                    </a:lnTo>
                    <a:lnTo>
                      <a:pt x="1664456" y="1215650"/>
                    </a:lnTo>
                    <a:lnTo>
                      <a:pt x="1663244" y="1215044"/>
                    </a:lnTo>
                    <a:lnTo>
                      <a:pt x="1662031" y="1216863"/>
                    </a:lnTo>
                    <a:lnTo>
                      <a:pt x="1660819" y="1217014"/>
                    </a:lnTo>
                    <a:lnTo>
                      <a:pt x="1660062" y="1218681"/>
                    </a:lnTo>
                    <a:lnTo>
                      <a:pt x="1660213" y="1219135"/>
                    </a:lnTo>
                    <a:lnTo>
                      <a:pt x="1661274" y="1219135"/>
                    </a:lnTo>
                    <a:close/>
                    <a:moveTo>
                      <a:pt x="1669759" y="1354595"/>
                    </a:moveTo>
                    <a:lnTo>
                      <a:pt x="1677638" y="1349898"/>
                    </a:lnTo>
                    <a:lnTo>
                      <a:pt x="1679153" y="1347625"/>
                    </a:lnTo>
                    <a:lnTo>
                      <a:pt x="1680668" y="1344595"/>
                    </a:lnTo>
                    <a:lnTo>
                      <a:pt x="1679911" y="1344898"/>
                    </a:lnTo>
                    <a:lnTo>
                      <a:pt x="1677790" y="1347019"/>
                    </a:lnTo>
                    <a:lnTo>
                      <a:pt x="1675971" y="1348080"/>
                    </a:lnTo>
                    <a:lnTo>
                      <a:pt x="1674305" y="1348080"/>
                    </a:lnTo>
                    <a:lnTo>
                      <a:pt x="1673092" y="1348383"/>
                    </a:lnTo>
                    <a:lnTo>
                      <a:pt x="1672486" y="1349140"/>
                    </a:lnTo>
                    <a:lnTo>
                      <a:pt x="1668850" y="1350352"/>
                    </a:lnTo>
                    <a:lnTo>
                      <a:pt x="1667486" y="1351564"/>
                    </a:lnTo>
                    <a:lnTo>
                      <a:pt x="1666577" y="1354443"/>
                    </a:lnTo>
                    <a:lnTo>
                      <a:pt x="1668244" y="1355049"/>
                    </a:lnTo>
                    <a:lnTo>
                      <a:pt x="1669759" y="1354595"/>
                    </a:lnTo>
                    <a:close/>
                    <a:moveTo>
                      <a:pt x="1670516" y="1211559"/>
                    </a:moveTo>
                    <a:lnTo>
                      <a:pt x="1671880" y="1209741"/>
                    </a:lnTo>
                    <a:lnTo>
                      <a:pt x="1670365" y="1208832"/>
                    </a:lnTo>
                    <a:lnTo>
                      <a:pt x="1668092" y="1209135"/>
                    </a:lnTo>
                    <a:lnTo>
                      <a:pt x="1666880" y="1209893"/>
                    </a:lnTo>
                    <a:lnTo>
                      <a:pt x="1665819" y="1211105"/>
                    </a:lnTo>
                    <a:lnTo>
                      <a:pt x="1664607" y="1213529"/>
                    </a:lnTo>
                    <a:lnTo>
                      <a:pt x="1667486" y="1213226"/>
                    </a:lnTo>
                    <a:lnTo>
                      <a:pt x="1670516" y="1211559"/>
                    </a:lnTo>
                    <a:close/>
                    <a:moveTo>
                      <a:pt x="1713700" y="1172619"/>
                    </a:moveTo>
                    <a:lnTo>
                      <a:pt x="1716276" y="1171406"/>
                    </a:lnTo>
                    <a:lnTo>
                      <a:pt x="1717336" y="1169891"/>
                    </a:lnTo>
                    <a:lnTo>
                      <a:pt x="1712942" y="1170346"/>
                    </a:lnTo>
                    <a:lnTo>
                      <a:pt x="1707184" y="1171861"/>
                    </a:lnTo>
                    <a:lnTo>
                      <a:pt x="1705669" y="1173528"/>
                    </a:lnTo>
                    <a:lnTo>
                      <a:pt x="1705669" y="1174134"/>
                    </a:lnTo>
                    <a:lnTo>
                      <a:pt x="1709457" y="1173679"/>
                    </a:lnTo>
                    <a:lnTo>
                      <a:pt x="1713700" y="1172619"/>
                    </a:lnTo>
                    <a:close/>
                    <a:moveTo>
                      <a:pt x="1528693" y="953823"/>
                    </a:moveTo>
                    <a:lnTo>
                      <a:pt x="1529754" y="956702"/>
                    </a:lnTo>
                    <a:lnTo>
                      <a:pt x="1530360" y="957611"/>
                    </a:lnTo>
                    <a:lnTo>
                      <a:pt x="1534148" y="959732"/>
                    </a:lnTo>
                    <a:lnTo>
                      <a:pt x="1535815" y="961399"/>
                    </a:lnTo>
                    <a:lnTo>
                      <a:pt x="1536875" y="963672"/>
                    </a:lnTo>
                    <a:lnTo>
                      <a:pt x="1538239" y="965035"/>
                    </a:lnTo>
                    <a:lnTo>
                      <a:pt x="1539754" y="965338"/>
                    </a:lnTo>
                    <a:lnTo>
                      <a:pt x="1541118" y="964884"/>
                    </a:lnTo>
                    <a:lnTo>
                      <a:pt x="1542481" y="963520"/>
                    </a:lnTo>
                    <a:lnTo>
                      <a:pt x="1543087" y="962308"/>
                    </a:lnTo>
                    <a:lnTo>
                      <a:pt x="1543087" y="961096"/>
                    </a:lnTo>
                    <a:lnTo>
                      <a:pt x="1540663" y="955035"/>
                    </a:lnTo>
                    <a:lnTo>
                      <a:pt x="1538845" y="952004"/>
                    </a:lnTo>
                    <a:lnTo>
                      <a:pt x="1535815" y="948216"/>
                    </a:lnTo>
                    <a:lnTo>
                      <a:pt x="1535209" y="946853"/>
                    </a:lnTo>
                    <a:lnTo>
                      <a:pt x="1534451" y="945792"/>
                    </a:lnTo>
                    <a:lnTo>
                      <a:pt x="1533996" y="945338"/>
                    </a:lnTo>
                    <a:lnTo>
                      <a:pt x="1531421" y="944580"/>
                    </a:lnTo>
                    <a:lnTo>
                      <a:pt x="1528238" y="945035"/>
                    </a:lnTo>
                    <a:lnTo>
                      <a:pt x="1527481" y="947004"/>
                    </a:lnTo>
                    <a:lnTo>
                      <a:pt x="1527481" y="948368"/>
                    </a:lnTo>
                    <a:lnTo>
                      <a:pt x="1528238" y="950944"/>
                    </a:lnTo>
                    <a:lnTo>
                      <a:pt x="1528693" y="953823"/>
                    </a:lnTo>
                    <a:close/>
                    <a:moveTo>
                      <a:pt x="1568089" y="950641"/>
                    </a:moveTo>
                    <a:lnTo>
                      <a:pt x="1567937" y="949277"/>
                    </a:lnTo>
                    <a:lnTo>
                      <a:pt x="1565664" y="947156"/>
                    </a:lnTo>
                    <a:lnTo>
                      <a:pt x="1561118" y="944428"/>
                    </a:lnTo>
                    <a:lnTo>
                      <a:pt x="1556421" y="942156"/>
                    </a:lnTo>
                    <a:lnTo>
                      <a:pt x="1548694" y="939731"/>
                    </a:lnTo>
                    <a:lnTo>
                      <a:pt x="1547330" y="940792"/>
                    </a:lnTo>
                    <a:lnTo>
                      <a:pt x="1547027" y="941550"/>
                    </a:lnTo>
                    <a:lnTo>
                      <a:pt x="1547482" y="942610"/>
                    </a:lnTo>
                    <a:lnTo>
                      <a:pt x="1549754" y="945035"/>
                    </a:lnTo>
                    <a:lnTo>
                      <a:pt x="1552482" y="945944"/>
                    </a:lnTo>
                    <a:lnTo>
                      <a:pt x="1553846" y="946853"/>
                    </a:lnTo>
                    <a:lnTo>
                      <a:pt x="1554603" y="948065"/>
                    </a:lnTo>
                    <a:lnTo>
                      <a:pt x="1555967" y="949277"/>
                    </a:lnTo>
                    <a:lnTo>
                      <a:pt x="1556270" y="951095"/>
                    </a:lnTo>
                    <a:lnTo>
                      <a:pt x="1556573" y="955944"/>
                    </a:lnTo>
                    <a:lnTo>
                      <a:pt x="1559603" y="956853"/>
                    </a:lnTo>
                    <a:lnTo>
                      <a:pt x="1561573" y="956550"/>
                    </a:lnTo>
                    <a:lnTo>
                      <a:pt x="1565058" y="955186"/>
                    </a:lnTo>
                    <a:lnTo>
                      <a:pt x="1565816" y="955944"/>
                    </a:lnTo>
                    <a:lnTo>
                      <a:pt x="1568089" y="956550"/>
                    </a:lnTo>
                    <a:lnTo>
                      <a:pt x="1565513" y="958671"/>
                    </a:lnTo>
                    <a:lnTo>
                      <a:pt x="1565210" y="960035"/>
                    </a:lnTo>
                    <a:lnTo>
                      <a:pt x="1565816" y="960490"/>
                    </a:lnTo>
                    <a:lnTo>
                      <a:pt x="1569604" y="960944"/>
                    </a:lnTo>
                    <a:lnTo>
                      <a:pt x="1570058" y="960793"/>
                    </a:lnTo>
                    <a:lnTo>
                      <a:pt x="1569755" y="960035"/>
                    </a:lnTo>
                    <a:lnTo>
                      <a:pt x="1569907" y="959429"/>
                    </a:lnTo>
                    <a:lnTo>
                      <a:pt x="1570664" y="958974"/>
                    </a:lnTo>
                    <a:lnTo>
                      <a:pt x="1571270" y="959126"/>
                    </a:lnTo>
                    <a:lnTo>
                      <a:pt x="1572483" y="960490"/>
                    </a:lnTo>
                    <a:lnTo>
                      <a:pt x="1573695" y="961096"/>
                    </a:lnTo>
                    <a:lnTo>
                      <a:pt x="1576877" y="962308"/>
                    </a:lnTo>
                    <a:lnTo>
                      <a:pt x="1578240" y="962308"/>
                    </a:lnTo>
                    <a:lnTo>
                      <a:pt x="1580059" y="960641"/>
                    </a:lnTo>
                    <a:lnTo>
                      <a:pt x="1580816" y="959277"/>
                    </a:lnTo>
                    <a:lnTo>
                      <a:pt x="1580816" y="958520"/>
                    </a:lnTo>
                    <a:lnTo>
                      <a:pt x="1580059" y="958217"/>
                    </a:lnTo>
                    <a:lnTo>
                      <a:pt x="1574452" y="957611"/>
                    </a:lnTo>
                    <a:lnTo>
                      <a:pt x="1570664" y="956550"/>
                    </a:lnTo>
                    <a:lnTo>
                      <a:pt x="1567179" y="954732"/>
                    </a:lnTo>
                    <a:lnTo>
                      <a:pt x="1566119" y="953217"/>
                    </a:lnTo>
                    <a:lnTo>
                      <a:pt x="1567482" y="951853"/>
                    </a:lnTo>
                    <a:lnTo>
                      <a:pt x="1568089" y="950641"/>
                    </a:lnTo>
                    <a:close/>
                    <a:moveTo>
                      <a:pt x="1660819" y="1045038"/>
                    </a:moveTo>
                    <a:lnTo>
                      <a:pt x="1661880" y="1043371"/>
                    </a:lnTo>
                    <a:lnTo>
                      <a:pt x="1656728" y="1040644"/>
                    </a:lnTo>
                    <a:lnTo>
                      <a:pt x="1650819" y="1038977"/>
                    </a:lnTo>
                    <a:lnTo>
                      <a:pt x="1653243" y="1038674"/>
                    </a:lnTo>
                    <a:lnTo>
                      <a:pt x="1653546" y="1037614"/>
                    </a:lnTo>
                    <a:lnTo>
                      <a:pt x="1652485" y="1035795"/>
                    </a:lnTo>
                    <a:lnTo>
                      <a:pt x="1650061" y="1033523"/>
                    </a:lnTo>
                    <a:lnTo>
                      <a:pt x="1646425" y="1030795"/>
                    </a:lnTo>
                    <a:lnTo>
                      <a:pt x="1643849" y="1030341"/>
                    </a:lnTo>
                    <a:lnTo>
                      <a:pt x="1641576" y="1033220"/>
                    </a:lnTo>
                    <a:lnTo>
                      <a:pt x="1641121" y="1033371"/>
                    </a:lnTo>
                    <a:lnTo>
                      <a:pt x="1638849" y="1033068"/>
                    </a:lnTo>
                    <a:lnTo>
                      <a:pt x="1632485" y="1031401"/>
                    </a:lnTo>
                    <a:lnTo>
                      <a:pt x="1622030" y="1033826"/>
                    </a:lnTo>
                    <a:lnTo>
                      <a:pt x="1617333" y="1034129"/>
                    </a:lnTo>
                    <a:lnTo>
                      <a:pt x="1616878" y="1033523"/>
                    </a:lnTo>
                    <a:lnTo>
                      <a:pt x="1621878" y="1029735"/>
                    </a:lnTo>
                    <a:lnTo>
                      <a:pt x="1622939" y="1028522"/>
                    </a:lnTo>
                    <a:lnTo>
                      <a:pt x="1623242" y="1027462"/>
                    </a:lnTo>
                    <a:lnTo>
                      <a:pt x="1622939" y="1025644"/>
                    </a:lnTo>
                    <a:lnTo>
                      <a:pt x="1619909" y="1016249"/>
                    </a:lnTo>
                    <a:lnTo>
                      <a:pt x="1615969" y="1010340"/>
                    </a:lnTo>
                    <a:lnTo>
                      <a:pt x="1612636" y="1006552"/>
                    </a:lnTo>
                    <a:lnTo>
                      <a:pt x="1609605" y="1004431"/>
                    </a:lnTo>
                    <a:lnTo>
                      <a:pt x="1606575" y="1003067"/>
                    </a:lnTo>
                    <a:lnTo>
                      <a:pt x="1597938" y="1001249"/>
                    </a:lnTo>
                    <a:lnTo>
                      <a:pt x="1595665" y="1000491"/>
                    </a:lnTo>
                    <a:lnTo>
                      <a:pt x="1586877" y="995036"/>
                    </a:lnTo>
                    <a:lnTo>
                      <a:pt x="1581119" y="992612"/>
                    </a:lnTo>
                    <a:lnTo>
                      <a:pt x="1580513" y="992309"/>
                    </a:lnTo>
                    <a:lnTo>
                      <a:pt x="1575513" y="986248"/>
                    </a:lnTo>
                    <a:lnTo>
                      <a:pt x="1573240" y="985036"/>
                    </a:lnTo>
                    <a:lnTo>
                      <a:pt x="1566876" y="983369"/>
                    </a:lnTo>
                    <a:lnTo>
                      <a:pt x="1562028" y="982763"/>
                    </a:lnTo>
                    <a:lnTo>
                      <a:pt x="1557028" y="981096"/>
                    </a:lnTo>
                    <a:lnTo>
                      <a:pt x="1555664" y="979884"/>
                    </a:lnTo>
                    <a:lnTo>
                      <a:pt x="1554452" y="976702"/>
                    </a:lnTo>
                    <a:lnTo>
                      <a:pt x="1552027" y="974429"/>
                    </a:lnTo>
                    <a:lnTo>
                      <a:pt x="1545664" y="970338"/>
                    </a:lnTo>
                    <a:lnTo>
                      <a:pt x="1543845" y="970187"/>
                    </a:lnTo>
                    <a:lnTo>
                      <a:pt x="1542633" y="970793"/>
                    </a:lnTo>
                    <a:lnTo>
                      <a:pt x="1538239" y="977157"/>
                    </a:lnTo>
                    <a:lnTo>
                      <a:pt x="1536269" y="979430"/>
                    </a:lnTo>
                    <a:lnTo>
                      <a:pt x="1535057" y="979733"/>
                    </a:lnTo>
                    <a:lnTo>
                      <a:pt x="1534148" y="979127"/>
                    </a:lnTo>
                    <a:lnTo>
                      <a:pt x="1530360" y="971248"/>
                    </a:lnTo>
                    <a:lnTo>
                      <a:pt x="1525360" y="967914"/>
                    </a:lnTo>
                    <a:lnTo>
                      <a:pt x="1525208" y="967157"/>
                    </a:lnTo>
                    <a:lnTo>
                      <a:pt x="1525663" y="966247"/>
                    </a:lnTo>
                    <a:lnTo>
                      <a:pt x="1528238" y="964126"/>
                    </a:lnTo>
                    <a:lnTo>
                      <a:pt x="1528996" y="962762"/>
                    </a:lnTo>
                    <a:lnTo>
                      <a:pt x="1528238" y="959581"/>
                    </a:lnTo>
                    <a:lnTo>
                      <a:pt x="1527026" y="957156"/>
                    </a:lnTo>
                    <a:lnTo>
                      <a:pt x="1525208" y="955035"/>
                    </a:lnTo>
                    <a:lnTo>
                      <a:pt x="1519753" y="952762"/>
                    </a:lnTo>
                    <a:lnTo>
                      <a:pt x="1518238" y="950338"/>
                    </a:lnTo>
                    <a:lnTo>
                      <a:pt x="1517481" y="949732"/>
                    </a:lnTo>
                    <a:lnTo>
                      <a:pt x="1516571" y="949580"/>
                    </a:lnTo>
                    <a:lnTo>
                      <a:pt x="1512632" y="951247"/>
                    </a:lnTo>
                    <a:lnTo>
                      <a:pt x="1510056" y="953217"/>
                    </a:lnTo>
                    <a:lnTo>
                      <a:pt x="1505965" y="958974"/>
                    </a:lnTo>
                    <a:lnTo>
                      <a:pt x="1504450" y="961853"/>
                    </a:lnTo>
                    <a:lnTo>
                      <a:pt x="1502935" y="966702"/>
                    </a:lnTo>
                    <a:lnTo>
                      <a:pt x="1501874" y="972005"/>
                    </a:lnTo>
                    <a:lnTo>
                      <a:pt x="1499904" y="990188"/>
                    </a:lnTo>
                    <a:lnTo>
                      <a:pt x="1498843" y="995188"/>
                    </a:lnTo>
                    <a:lnTo>
                      <a:pt x="1495662" y="1005491"/>
                    </a:lnTo>
                    <a:lnTo>
                      <a:pt x="1494904" y="1009734"/>
                    </a:lnTo>
                    <a:lnTo>
                      <a:pt x="1494904" y="1012461"/>
                    </a:lnTo>
                    <a:lnTo>
                      <a:pt x="1495510" y="1018068"/>
                    </a:lnTo>
                    <a:lnTo>
                      <a:pt x="1497783" y="1024128"/>
                    </a:lnTo>
                    <a:lnTo>
                      <a:pt x="1498389" y="1026553"/>
                    </a:lnTo>
                    <a:lnTo>
                      <a:pt x="1498389" y="1028522"/>
                    </a:lnTo>
                    <a:lnTo>
                      <a:pt x="1496874" y="1030341"/>
                    </a:lnTo>
                    <a:lnTo>
                      <a:pt x="1493843" y="1032159"/>
                    </a:lnTo>
                    <a:lnTo>
                      <a:pt x="1481116" y="1037765"/>
                    </a:lnTo>
                    <a:lnTo>
                      <a:pt x="1479903" y="1038674"/>
                    </a:lnTo>
                    <a:lnTo>
                      <a:pt x="1477176" y="1041856"/>
                    </a:lnTo>
                    <a:lnTo>
                      <a:pt x="1473843" y="1046856"/>
                    </a:lnTo>
                    <a:lnTo>
                      <a:pt x="1472934" y="1048675"/>
                    </a:lnTo>
                    <a:lnTo>
                      <a:pt x="1472782" y="1050341"/>
                    </a:lnTo>
                    <a:lnTo>
                      <a:pt x="1473237" y="1052008"/>
                    </a:lnTo>
                    <a:lnTo>
                      <a:pt x="1473994" y="1052463"/>
                    </a:lnTo>
                    <a:lnTo>
                      <a:pt x="1476722" y="1053069"/>
                    </a:lnTo>
                    <a:lnTo>
                      <a:pt x="1480510" y="1053220"/>
                    </a:lnTo>
                    <a:lnTo>
                      <a:pt x="1482328" y="1052917"/>
                    </a:lnTo>
                    <a:lnTo>
                      <a:pt x="1489752" y="1049129"/>
                    </a:lnTo>
                    <a:lnTo>
                      <a:pt x="1497177" y="1049432"/>
                    </a:lnTo>
                    <a:lnTo>
                      <a:pt x="1510814" y="1047311"/>
                    </a:lnTo>
                    <a:lnTo>
                      <a:pt x="1511723" y="1047614"/>
                    </a:lnTo>
                    <a:lnTo>
                      <a:pt x="1512480" y="1048372"/>
                    </a:lnTo>
                    <a:lnTo>
                      <a:pt x="1513086" y="1049584"/>
                    </a:lnTo>
                    <a:lnTo>
                      <a:pt x="1517178" y="1066403"/>
                    </a:lnTo>
                    <a:lnTo>
                      <a:pt x="1519147" y="1072160"/>
                    </a:lnTo>
                    <a:lnTo>
                      <a:pt x="1522026" y="1073070"/>
                    </a:lnTo>
                    <a:lnTo>
                      <a:pt x="1526269" y="1072160"/>
                    </a:lnTo>
                    <a:lnTo>
                      <a:pt x="1533845" y="1069736"/>
                    </a:lnTo>
                    <a:lnTo>
                      <a:pt x="1538390" y="1067615"/>
                    </a:lnTo>
                    <a:lnTo>
                      <a:pt x="1542785" y="1064887"/>
                    </a:lnTo>
                    <a:lnTo>
                      <a:pt x="1544906" y="1063069"/>
                    </a:lnTo>
                    <a:lnTo>
                      <a:pt x="1546270" y="1061402"/>
                    </a:lnTo>
                    <a:lnTo>
                      <a:pt x="1549452" y="1055342"/>
                    </a:lnTo>
                    <a:lnTo>
                      <a:pt x="1551573" y="1052917"/>
                    </a:lnTo>
                    <a:lnTo>
                      <a:pt x="1552936" y="1052311"/>
                    </a:lnTo>
                    <a:lnTo>
                      <a:pt x="1556118" y="1051705"/>
                    </a:lnTo>
                    <a:lnTo>
                      <a:pt x="1559452" y="1049735"/>
                    </a:lnTo>
                    <a:lnTo>
                      <a:pt x="1567482" y="1043068"/>
                    </a:lnTo>
                    <a:lnTo>
                      <a:pt x="1569301" y="1040493"/>
                    </a:lnTo>
                    <a:lnTo>
                      <a:pt x="1569907" y="1038523"/>
                    </a:lnTo>
                    <a:lnTo>
                      <a:pt x="1570513" y="1034280"/>
                    </a:lnTo>
                    <a:lnTo>
                      <a:pt x="1571422" y="1032310"/>
                    </a:lnTo>
                    <a:lnTo>
                      <a:pt x="1573846" y="1030492"/>
                    </a:lnTo>
                    <a:lnTo>
                      <a:pt x="1578998" y="1028522"/>
                    </a:lnTo>
                    <a:lnTo>
                      <a:pt x="1582180" y="1027916"/>
                    </a:lnTo>
                    <a:lnTo>
                      <a:pt x="1585513" y="1027916"/>
                    </a:lnTo>
                    <a:lnTo>
                      <a:pt x="1586877" y="1029280"/>
                    </a:lnTo>
                    <a:lnTo>
                      <a:pt x="1586271" y="1032159"/>
                    </a:lnTo>
                    <a:lnTo>
                      <a:pt x="1586422" y="1033826"/>
                    </a:lnTo>
                    <a:lnTo>
                      <a:pt x="1589301" y="1034886"/>
                    </a:lnTo>
                    <a:lnTo>
                      <a:pt x="1599150" y="1036553"/>
                    </a:lnTo>
                    <a:lnTo>
                      <a:pt x="1602029" y="1038068"/>
                    </a:lnTo>
                    <a:lnTo>
                      <a:pt x="1603544" y="1046402"/>
                    </a:lnTo>
                    <a:lnTo>
                      <a:pt x="1604453" y="1047766"/>
                    </a:lnTo>
                    <a:lnTo>
                      <a:pt x="1610817" y="1048372"/>
                    </a:lnTo>
                    <a:lnTo>
                      <a:pt x="1615817" y="1049584"/>
                    </a:lnTo>
                    <a:lnTo>
                      <a:pt x="1632030" y="1055039"/>
                    </a:lnTo>
                    <a:lnTo>
                      <a:pt x="1637333" y="1057463"/>
                    </a:lnTo>
                    <a:lnTo>
                      <a:pt x="1640970" y="1058372"/>
                    </a:lnTo>
                    <a:lnTo>
                      <a:pt x="1641879" y="1058372"/>
                    </a:lnTo>
                    <a:lnTo>
                      <a:pt x="1643546" y="1057614"/>
                    </a:lnTo>
                    <a:lnTo>
                      <a:pt x="1650213" y="1052614"/>
                    </a:lnTo>
                    <a:lnTo>
                      <a:pt x="1655971" y="1049281"/>
                    </a:lnTo>
                    <a:lnTo>
                      <a:pt x="1660819" y="1045038"/>
                    </a:lnTo>
                    <a:close/>
                    <a:moveTo>
                      <a:pt x="1581271" y="933064"/>
                    </a:moveTo>
                    <a:lnTo>
                      <a:pt x="1583089" y="935034"/>
                    </a:lnTo>
                    <a:lnTo>
                      <a:pt x="1585513" y="936701"/>
                    </a:lnTo>
                    <a:lnTo>
                      <a:pt x="1586877" y="936246"/>
                    </a:lnTo>
                    <a:lnTo>
                      <a:pt x="1588998" y="933973"/>
                    </a:lnTo>
                    <a:lnTo>
                      <a:pt x="1588544" y="933367"/>
                    </a:lnTo>
                    <a:lnTo>
                      <a:pt x="1586422" y="933367"/>
                    </a:lnTo>
                    <a:lnTo>
                      <a:pt x="1583695" y="932761"/>
                    </a:lnTo>
                    <a:lnTo>
                      <a:pt x="1580968" y="930337"/>
                    </a:lnTo>
                    <a:lnTo>
                      <a:pt x="1580513" y="930489"/>
                    </a:lnTo>
                    <a:lnTo>
                      <a:pt x="1580665" y="931852"/>
                    </a:lnTo>
                    <a:lnTo>
                      <a:pt x="1581271" y="933064"/>
                    </a:lnTo>
                    <a:close/>
                    <a:moveTo>
                      <a:pt x="1697790" y="836546"/>
                    </a:moveTo>
                    <a:lnTo>
                      <a:pt x="1692336" y="837455"/>
                    </a:lnTo>
                    <a:lnTo>
                      <a:pt x="1691730" y="840788"/>
                    </a:lnTo>
                    <a:lnTo>
                      <a:pt x="1691730" y="842152"/>
                    </a:lnTo>
                    <a:lnTo>
                      <a:pt x="1694760" y="844728"/>
                    </a:lnTo>
                    <a:lnTo>
                      <a:pt x="1697033" y="844273"/>
                    </a:lnTo>
                    <a:lnTo>
                      <a:pt x="1701275" y="840637"/>
                    </a:lnTo>
                    <a:lnTo>
                      <a:pt x="1700215" y="838667"/>
                    </a:lnTo>
                    <a:lnTo>
                      <a:pt x="1697790" y="836546"/>
                    </a:lnTo>
                    <a:close/>
                    <a:moveTo>
                      <a:pt x="1231712" y="357134"/>
                    </a:moveTo>
                    <a:lnTo>
                      <a:pt x="1274896" y="357740"/>
                    </a:lnTo>
                    <a:lnTo>
                      <a:pt x="1290502" y="358952"/>
                    </a:lnTo>
                    <a:lnTo>
                      <a:pt x="1293078" y="358195"/>
                    </a:lnTo>
                    <a:lnTo>
                      <a:pt x="1298382" y="358043"/>
                    </a:lnTo>
                    <a:lnTo>
                      <a:pt x="1298988" y="357589"/>
                    </a:lnTo>
                    <a:lnTo>
                      <a:pt x="1303988" y="348498"/>
                    </a:lnTo>
                    <a:lnTo>
                      <a:pt x="1309746" y="346679"/>
                    </a:lnTo>
                    <a:lnTo>
                      <a:pt x="1307473" y="343800"/>
                    </a:lnTo>
                    <a:lnTo>
                      <a:pt x="1305048" y="342134"/>
                    </a:lnTo>
                    <a:lnTo>
                      <a:pt x="1300351" y="340619"/>
                    </a:lnTo>
                    <a:lnTo>
                      <a:pt x="1297321" y="340164"/>
                    </a:lnTo>
                    <a:lnTo>
                      <a:pt x="1285502" y="340770"/>
                    </a:lnTo>
                    <a:lnTo>
                      <a:pt x="1267623" y="339861"/>
                    </a:lnTo>
                    <a:lnTo>
                      <a:pt x="1259592" y="340012"/>
                    </a:lnTo>
                    <a:lnTo>
                      <a:pt x="1252168" y="341225"/>
                    </a:lnTo>
                    <a:lnTo>
                      <a:pt x="1245349" y="338952"/>
                    </a:lnTo>
                    <a:lnTo>
                      <a:pt x="1239894" y="339558"/>
                    </a:lnTo>
                    <a:lnTo>
                      <a:pt x="1227318" y="343497"/>
                    </a:lnTo>
                    <a:lnTo>
                      <a:pt x="1225955" y="344255"/>
                    </a:lnTo>
                    <a:lnTo>
                      <a:pt x="1224742" y="345922"/>
                    </a:lnTo>
                    <a:lnTo>
                      <a:pt x="1223682" y="348346"/>
                    </a:lnTo>
                    <a:lnTo>
                      <a:pt x="1223985" y="350467"/>
                    </a:lnTo>
                    <a:lnTo>
                      <a:pt x="1229743" y="355771"/>
                    </a:lnTo>
                    <a:lnTo>
                      <a:pt x="1231712" y="357134"/>
                    </a:lnTo>
                    <a:close/>
                    <a:moveTo>
                      <a:pt x="1615363" y="1085494"/>
                    </a:moveTo>
                    <a:lnTo>
                      <a:pt x="1615817" y="1083070"/>
                    </a:lnTo>
                    <a:lnTo>
                      <a:pt x="1615515" y="1081252"/>
                    </a:lnTo>
                    <a:lnTo>
                      <a:pt x="1614454" y="1080039"/>
                    </a:lnTo>
                    <a:lnTo>
                      <a:pt x="1613090" y="1079282"/>
                    </a:lnTo>
                    <a:lnTo>
                      <a:pt x="1610817" y="1078979"/>
                    </a:lnTo>
                    <a:lnTo>
                      <a:pt x="1607939" y="1078979"/>
                    </a:lnTo>
                    <a:lnTo>
                      <a:pt x="1601726" y="1080797"/>
                    </a:lnTo>
                    <a:lnTo>
                      <a:pt x="1594908" y="1080494"/>
                    </a:lnTo>
                    <a:lnTo>
                      <a:pt x="1587786" y="1083524"/>
                    </a:lnTo>
                    <a:lnTo>
                      <a:pt x="1586120" y="1083676"/>
                    </a:lnTo>
                    <a:lnTo>
                      <a:pt x="1583847" y="1083221"/>
                    </a:lnTo>
                    <a:lnTo>
                      <a:pt x="1578998" y="1081555"/>
                    </a:lnTo>
                    <a:lnTo>
                      <a:pt x="1576574" y="1082312"/>
                    </a:lnTo>
                    <a:lnTo>
                      <a:pt x="1566725" y="1096707"/>
                    </a:lnTo>
                    <a:lnTo>
                      <a:pt x="1562331" y="1100646"/>
                    </a:lnTo>
                    <a:lnTo>
                      <a:pt x="1562028" y="1101555"/>
                    </a:lnTo>
                    <a:lnTo>
                      <a:pt x="1562028" y="1102768"/>
                    </a:lnTo>
                    <a:lnTo>
                      <a:pt x="1562331" y="1103677"/>
                    </a:lnTo>
                    <a:lnTo>
                      <a:pt x="1566270" y="1107919"/>
                    </a:lnTo>
                    <a:lnTo>
                      <a:pt x="1567179" y="1109889"/>
                    </a:lnTo>
                    <a:lnTo>
                      <a:pt x="1567634" y="1113374"/>
                    </a:lnTo>
                    <a:lnTo>
                      <a:pt x="1568089" y="1113980"/>
                    </a:lnTo>
                    <a:lnTo>
                      <a:pt x="1576877" y="1110647"/>
                    </a:lnTo>
                    <a:lnTo>
                      <a:pt x="1580210" y="1110798"/>
                    </a:lnTo>
                    <a:lnTo>
                      <a:pt x="1583544" y="1112010"/>
                    </a:lnTo>
                    <a:lnTo>
                      <a:pt x="1585210" y="1112162"/>
                    </a:lnTo>
                    <a:lnTo>
                      <a:pt x="1586726" y="1111707"/>
                    </a:lnTo>
                    <a:lnTo>
                      <a:pt x="1598999" y="1103525"/>
                    </a:lnTo>
                    <a:lnTo>
                      <a:pt x="1600969" y="1101707"/>
                    </a:lnTo>
                    <a:lnTo>
                      <a:pt x="1603847" y="1098677"/>
                    </a:lnTo>
                    <a:lnTo>
                      <a:pt x="1611423" y="1093070"/>
                    </a:lnTo>
                    <a:lnTo>
                      <a:pt x="1613848" y="1089737"/>
                    </a:lnTo>
                    <a:lnTo>
                      <a:pt x="1614757" y="1087767"/>
                    </a:lnTo>
                    <a:lnTo>
                      <a:pt x="1615363" y="1085494"/>
                    </a:lnTo>
                    <a:close/>
                    <a:moveTo>
                      <a:pt x="1705821" y="781392"/>
                    </a:moveTo>
                    <a:lnTo>
                      <a:pt x="1708851" y="781998"/>
                    </a:lnTo>
                    <a:lnTo>
                      <a:pt x="1711124" y="781392"/>
                    </a:lnTo>
                    <a:lnTo>
                      <a:pt x="1715518" y="778968"/>
                    </a:lnTo>
                    <a:lnTo>
                      <a:pt x="1722791" y="776240"/>
                    </a:lnTo>
                    <a:lnTo>
                      <a:pt x="1724761" y="774725"/>
                    </a:lnTo>
                    <a:lnTo>
                      <a:pt x="1724458" y="773513"/>
                    </a:lnTo>
                    <a:lnTo>
                      <a:pt x="1723094" y="771089"/>
                    </a:lnTo>
                    <a:lnTo>
                      <a:pt x="1719912" y="769877"/>
                    </a:lnTo>
                    <a:lnTo>
                      <a:pt x="1718397" y="769877"/>
                    </a:lnTo>
                    <a:lnTo>
                      <a:pt x="1716730" y="770937"/>
                    </a:lnTo>
                    <a:lnTo>
                      <a:pt x="1716579" y="772452"/>
                    </a:lnTo>
                    <a:lnTo>
                      <a:pt x="1715821" y="773362"/>
                    </a:lnTo>
                    <a:lnTo>
                      <a:pt x="1714458" y="773059"/>
                    </a:lnTo>
                    <a:lnTo>
                      <a:pt x="1712942" y="774271"/>
                    </a:lnTo>
                    <a:lnTo>
                      <a:pt x="1708094" y="774877"/>
                    </a:lnTo>
                    <a:lnTo>
                      <a:pt x="1702336" y="780483"/>
                    </a:lnTo>
                    <a:lnTo>
                      <a:pt x="1700669" y="782453"/>
                    </a:lnTo>
                    <a:lnTo>
                      <a:pt x="1702184" y="782604"/>
                    </a:lnTo>
                    <a:lnTo>
                      <a:pt x="1705821" y="781392"/>
                    </a:lnTo>
                    <a:close/>
                    <a:moveTo>
                      <a:pt x="1841584" y="1738548"/>
                    </a:moveTo>
                    <a:lnTo>
                      <a:pt x="1844917" y="1734912"/>
                    </a:lnTo>
                    <a:lnTo>
                      <a:pt x="1840674" y="1735669"/>
                    </a:lnTo>
                    <a:lnTo>
                      <a:pt x="1837038" y="1739003"/>
                    </a:lnTo>
                    <a:lnTo>
                      <a:pt x="1838250" y="1739306"/>
                    </a:lnTo>
                    <a:lnTo>
                      <a:pt x="1841584" y="1738548"/>
                    </a:lnTo>
                    <a:close/>
                    <a:moveTo>
                      <a:pt x="1596575" y="1863856"/>
                    </a:moveTo>
                    <a:lnTo>
                      <a:pt x="1595968" y="1864613"/>
                    </a:lnTo>
                    <a:lnTo>
                      <a:pt x="1595665" y="1866280"/>
                    </a:lnTo>
                    <a:lnTo>
                      <a:pt x="1595665" y="1867038"/>
                    </a:lnTo>
                    <a:lnTo>
                      <a:pt x="1596877" y="1866735"/>
                    </a:lnTo>
                    <a:lnTo>
                      <a:pt x="1597180" y="1865977"/>
                    </a:lnTo>
                    <a:lnTo>
                      <a:pt x="1596726" y="1864462"/>
                    </a:lnTo>
                    <a:lnTo>
                      <a:pt x="1596575" y="1863856"/>
                    </a:lnTo>
                    <a:close/>
                    <a:moveTo>
                      <a:pt x="1618848" y="1742033"/>
                    </a:moveTo>
                    <a:lnTo>
                      <a:pt x="1619000" y="1742488"/>
                    </a:lnTo>
                    <a:lnTo>
                      <a:pt x="1619454" y="1742791"/>
                    </a:lnTo>
                    <a:lnTo>
                      <a:pt x="1620212" y="1742639"/>
                    </a:lnTo>
                    <a:lnTo>
                      <a:pt x="1621878" y="1741427"/>
                    </a:lnTo>
                    <a:lnTo>
                      <a:pt x="1622333" y="1740518"/>
                    </a:lnTo>
                    <a:lnTo>
                      <a:pt x="1621727" y="1740367"/>
                    </a:lnTo>
                    <a:lnTo>
                      <a:pt x="1619151" y="1741427"/>
                    </a:lnTo>
                    <a:lnTo>
                      <a:pt x="1618848" y="1742033"/>
                    </a:lnTo>
                    <a:close/>
                    <a:moveTo>
                      <a:pt x="1588847" y="1730972"/>
                    </a:moveTo>
                    <a:lnTo>
                      <a:pt x="1594302" y="1731427"/>
                    </a:lnTo>
                    <a:lnTo>
                      <a:pt x="1597332" y="1732336"/>
                    </a:lnTo>
                    <a:lnTo>
                      <a:pt x="1600514" y="1733851"/>
                    </a:lnTo>
                    <a:lnTo>
                      <a:pt x="1603241" y="1734912"/>
                    </a:lnTo>
                    <a:lnTo>
                      <a:pt x="1605666" y="1735366"/>
                    </a:lnTo>
                    <a:lnTo>
                      <a:pt x="1607484" y="1736124"/>
                    </a:lnTo>
                    <a:lnTo>
                      <a:pt x="1608848" y="1737185"/>
                    </a:lnTo>
                    <a:lnTo>
                      <a:pt x="1612029" y="1738397"/>
                    </a:lnTo>
                    <a:lnTo>
                      <a:pt x="1612484" y="1739154"/>
                    </a:lnTo>
                    <a:lnTo>
                      <a:pt x="1613090" y="1739457"/>
                    </a:lnTo>
                    <a:lnTo>
                      <a:pt x="1613848" y="1739306"/>
                    </a:lnTo>
                    <a:lnTo>
                      <a:pt x="1619605" y="1735063"/>
                    </a:lnTo>
                    <a:lnTo>
                      <a:pt x="1621272" y="1734912"/>
                    </a:lnTo>
                    <a:lnTo>
                      <a:pt x="1621272" y="1735366"/>
                    </a:lnTo>
                    <a:lnTo>
                      <a:pt x="1618393" y="1737942"/>
                    </a:lnTo>
                    <a:lnTo>
                      <a:pt x="1617333" y="1738245"/>
                    </a:lnTo>
                    <a:lnTo>
                      <a:pt x="1616727" y="1738245"/>
                    </a:lnTo>
                    <a:lnTo>
                      <a:pt x="1615211" y="1739457"/>
                    </a:lnTo>
                    <a:lnTo>
                      <a:pt x="1615211" y="1739760"/>
                    </a:lnTo>
                    <a:lnTo>
                      <a:pt x="1616121" y="1739609"/>
                    </a:lnTo>
                    <a:lnTo>
                      <a:pt x="1617030" y="1739912"/>
                    </a:lnTo>
                    <a:lnTo>
                      <a:pt x="1617939" y="1740670"/>
                    </a:lnTo>
                    <a:lnTo>
                      <a:pt x="1619454" y="1740215"/>
                    </a:lnTo>
                    <a:lnTo>
                      <a:pt x="1621424" y="1738700"/>
                    </a:lnTo>
                    <a:lnTo>
                      <a:pt x="1623242" y="1736427"/>
                    </a:lnTo>
                    <a:lnTo>
                      <a:pt x="1625818" y="1731881"/>
                    </a:lnTo>
                    <a:lnTo>
                      <a:pt x="1625515" y="1731578"/>
                    </a:lnTo>
                    <a:lnTo>
                      <a:pt x="1623242" y="1731578"/>
                    </a:lnTo>
                    <a:lnTo>
                      <a:pt x="1622939" y="1731124"/>
                    </a:lnTo>
                    <a:lnTo>
                      <a:pt x="1623697" y="1730063"/>
                    </a:lnTo>
                    <a:lnTo>
                      <a:pt x="1623848" y="1729154"/>
                    </a:lnTo>
                    <a:lnTo>
                      <a:pt x="1623545" y="1728245"/>
                    </a:lnTo>
                    <a:lnTo>
                      <a:pt x="1622939" y="1728396"/>
                    </a:lnTo>
                    <a:lnTo>
                      <a:pt x="1621878" y="1729457"/>
                    </a:lnTo>
                    <a:lnTo>
                      <a:pt x="1621121" y="1730972"/>
                    </a:lnTo>
                    <a:lnTo>
                      <a:pt x="1620212" y="1733700"/>
                    </a:lnTo>
                    <a:lnTo>
                      <a:pt x="1620060" y="1733548"/>
                    </a:lnTo>
                    <a:lnTo>
                      <a:pt x="1619151" y="1732033"/>
                    </a:lnTo>
                    <a:lnTo>
                      <a:pt x="1619000" y="1730821"/>
                    </a:lnTo>
                    <a:lnTo>
                      <a:pt x="1619303" y="1729457"/>
                    </a:lnTo>
                    <a:lnTo>
                      <a:pt x="1619000" y="1728699"/>
                    </a:lnTo>
                    <a:lnTo>
                      <a:pt x="1617939" y="1728396"/>
                    </a:lnTo>
                    <a:lnTo>
                      <a:pt x="1617484" y="1727790"/>
                    </a:lnTo>
                    <a:lnTo>
                      <a:pt x="1617484" y="1726881"/>
                    </a:lnTo>
                    <a:lnTo>
                      <a:pt x="1617030" y="1726124"/>
                    </a:lnTo>
                    <a:lnTo>
                      <a:pt x="1616272" y="1725518"/>
                    </a:lnTo>
                    <a:lnTo>
                      <a:pt x="1614908" y="1725518"/>
                    </a:lnTo>
                    <a:lnTo>
                      <a:pt x="1613090" y="1726275"/>
                    </a:lnTo>
                    <a:lnTo>
                      <a:pt x="1611727" y="1727487"/>
                    </a:lnTo>
                    <a:lnTo>
                      <a:pt x="1610666" y="1729154"/>
                    </a:lnTo>
                    <a:lnTo>
                      <a:pt x="1609757" y="1729154"/>
                    </a:lnTo>
                    <a:lnTo>
                      <a:pt x="1608999" y="1727336"/>
                    </a:lnTo>
                    <a:lnTo>
                      <a:pt x="1608090" y="1726578"/>
                    </a:lnTo>
                    <a:lnTo>
                      <a:pt x="1607181" y="1726881"/>
                    </a:lnTo>
                    <a:lnTo>
                      <a:pt x="1606575" y="1726578"/>
                    </a:lnTo>
                    <a:lnTo>
                      <a:pt x="1606423" y="1725669"/>
                    </a:lnTo>
                    <a:lnTo>
                      <a:pt x="1605363" y="1725366"/>
                    </a:lnTo>
                    <a:lnTo>
                      <a:pt x="1603544" y="1725821"/>
                    </a:lnTo>
                    <a:lnTo>
                      <a:pt x="1602332" y="1726427"/>
                    </a:lnTo>
                    <a:lnTo>
                      <a:pt x="1601878" y="1727184"/>
                    </a:lnTo>
                    <a:lnTo>
                      <a:pt x="1601423" y="1727336"/>
                    </a:lnTo>
                    <a:lnTo>
                      <a:pt x="1600969" y="1726881"/>
                    </a:lnTo>
                    <a:lnTo>
                      <a:pt x="1600211" y="1727033"/>
                    </a:lnTo>
                    <a:lnTo>
                      <a:pt x="1599150" y="1727790"/>
                    </a:lnTo>
                    <a:lnTo>
                      <a:pt x="1598847" y="1728396"/>
                    </a:lnTo>
                    <a:lnTo>
                      <a:pt x="1599453" y="1729306"/>
                    </a:lnTo>
                    <a:lnTo>
                      <a:pt x="1599302" y="1729609"/>
                    </a:lnTo>
                    <a:lnTo>
                      <a:pt x="1600363" y="1729912"/>
                    </a:lnTo>
                    <a:lnTo>
                      <a:pt x="1600514" y="1730518"/>
                    </a:lnTo>
                    <a:lnTo>
                      <a:pt x="1600059" y="1731427"/>
                    </a:lnTo>
                    <a:lnTo>
                      <a:pt x="1599453" y="1731427"/>
                    </a:lnTo>
                    <a:lnTo>
                      <a:pt x="1598696" y="1730366"/>
                    </a:lnTo>
                    <a:lnTo>
                      <a:pt x="1598090" y="1730063"/>
                    </a:lnTo>
                    <a:lnTo>
                      <a:pt x="1597484" y="1730366"/>
                    </a:lnTo>
                    <a:lnTo>
                      <a:pt x="1597029" y="1730215"/>
                    </a:lnTo>
                    <a:lnTo>
                      <a:pt x="1596575" y="1729609"/>
                    </a:lnTo>
                    <a:lnTo>
                      <a:pt x="1595665" y="1729457"/>
                    </a:lnTo>
                    <a:lnTo>
                      <a:pt x="1594453" y="1729760"/>
                    </a:lnTo>
                    <a:lnTo>
                      <a:pt x="1593696" y="1729609"/>
                    </a:lnTo>
                    <a:lnTo>
                      <a:pt x="1593392" y="1728851"/>
                    </a:lnTo>
                    <a:lnTo>
                      <a:pt x="1592786" y="1728245"/>
                    </a:lnTo>
                    <a:lnTo>
                      <a:pt x="1592029" y="1727790"/>
                    </a:lnTo>
                    <a:lnTo>
                      <a:pt x="1591726" y="1726881"/>
                    </a:lnTo>
                    <a:lnTo>
                      <a:pt x="1592029" y="1725518"/>
                    </a:lnTo>
                    <a:lnTo>
                      <a:pt x="1591423" y="1725063"/>
                    </a:lnTo>
                    <a:lnTo>
                      <a:pt x="1589756" y="1725518"/>
                    </a:lnTo>
                    <a:lnTo>
                      <a:pt x="1588695" y="1725972"/>
                    </a:lnTo>
                    <a:lnTo>
                      <a:pt x="1588089" y="1726578"/>
                    </a:lnTo>
                    <a:lnTo>
                      <a:pt x="1587332" y="1726578"/>
                    </a:lnTo>
                    <a:lnTo>
                      <a:pt x="1586271" y="1726124"/>
                    </a:lnTo>
                    <a:lnTo>
                      <a:pt x="1585362" y="1726275"/>
                    </a:lnTo>
                    <a:lnTo>
                      <a:pt x="1584604" y="1726881"/>
                    </a:lnTo>
                    <a:lnTo>
                      <a:pt x="1583847" y="1726730"/>
                    </a:lnTo>
                    <a:lnTo>
                      <a:pt x="1583089" y="1725821"/>
                    </a:lnTo>
                    <a:lnTo>
                      <a:pt x="1582332" y="1725669"/>
                    </a:lnTo>
                    <a:lnTo>
                      <a:pt x="1581725" y="1726124"/>
                    </a:lnTo>
                    <a:lnTo>
                      <a:pt x="1581271" y="1726881"/>
                    </a:lnTo>
                    <a:lnTo>
                      <a:pt x="1581119" y="1727942"/>
                    </a:lnTo>
                    <a:lnTo>
                      <a:pt x="1582786" y="1728851"/>
                    </a:lnTo>
                    <a:lnTo>
                      <a:pt x="1588241" y="1730215"/>
                    </a:lnTo>
                    <a:lnTo>
                      <a:pt x="1588847" y="1730972"/>
                    </a:lnTo>
                    <a:close/>
                    <a:moveTo>
                      <a:pt x="1578998" y="1725366"/>
                    </a:moveTo>
                    <a:lnTo>
                      <a:pt x="1577634" y="1724760"/>
                    </a:lnTo>
                    <a:lnTo>
                      <a:pt x="1576422" y="1724911"/>
                    </a:lnTo>
                    <a:lnTo>
                      <a:pt x="1575210" y="1725821"/>
                    </a:lnTo>
                    <a:lnTo>
                      <a:pt x="1574452" y="1726730"/>
                    </a:lnTo>
                    <a:lnTo>
                      <a:pt x="1574149" y="1727790"/>
                    </a:lnTo>
                    <a:lnTo>
                      <a:pt x="1574907" y="1728548"/>
                    </a:lnTo>
                    <a:lnTo>
                      <a:pt x="1576725" y="1729154"/>
                    </a:lnTo>
                    <a:lnTo>
                      <a:pt x="1578240" y="1728699"/>
                    </a:lnTo>
                    <a:lnTo>
                      <a:pt x="1579907" y="1726427"/>
                    </a:lnTo>
                    <a:lnTo>
                      <a:pt x="1579907" y="1725972"/>
                    </a:lnTo>
                    <a:lnTo>
                      <a:pt x="1578998" y="1725366"/>
                    </a:lnTo>
                    <a:close/>
                    <a:moveTo>
                      <a:pt x="1757793" y="1786277"/>
                    </a:moveTo>
                    <a:lnTo>
                      <a:pt x="1756732" y="1786883"/>
                    </a:lnTo>
                    <a:lnTo>
                      <a:pt x="1756429" y="1787338"/>
                    </a:lnTo>
                    <a:lnTo>
                      <a:pt x="1757035" y="1787641"/>
                    </a:lnTo>
                    <a:lnTo>
                      <a:pt x="1758550" y="1787793"/>
                    </a:lnTo>
                    <a:lnTo>
                      <a:pt x="1759762" y="1787490"/>
                    </a:lnTo>
                    <a:lnTo>
                      <a:pt x="1761126" y="1785974"/>
                    </a:lnTo>
                    <a:lnTo>
                      <a:pt x="1760974" y="1785368"/>
                    </a:lnTo>
                    <a:lnTo>
                      <a:pt x="1757793" y="1786277"/>
                    </a:lnTo>
                    <a:close/>
                    <a:moveTo>
                      <a:pt x="432592" y="1583391"/>
                    </a:moveTo>
                    <a:lnTo>
                      <a:pt x="432895" y="1581573"/>
                    </a:lnTo>
                    <a:lnTo>
                      <a:pt x="434865" y="1579149"/>
                    </a:lnTo>
                    <a:lnTo>
                      <a:pt x="435925" y="1577179"/>
                    </a:lnTo>
                    <a:lnTo>
                      <a:pt x="435471" y="1575512"/>
                    </a:lnTo>
                    <a:lnTo>
                      <a:pt x="434562" y="1573694"/>
                    </a:lnTo>
                    <a:lnTo>
                      <a:pt x="434259" y="1572936"/>
                    </a:lnTo>
                    <a:lnTo>
                      <a:pt x="432743" y="1571118"/>
                    </a:lnTo>
                    <a:lnTo>
                      <a:pt x="430925" y="1570057"/>
                    </a:lnTo>
                    <a:lnTo>
                      <a:pt x="429864" y="1570209"/>
                    </a:lnTo>
                    <a:lnTo>
                      <a:pt x="428652" y="1572330"/>
                    </a:lnTo>
                    <a:lnTo>
                      <a:pt x="428349" y="1573845"/>
                    </a:lnTo>
                    <a:lnTo>
                      <a:pt x="431077" y="1580361"/>
                    </a:lnTo>
                    <a:lnTo>
                      <a:pt x="432592" y="1583391"/>
                    </a:lnTo>
                    <a:close/>
                    <a:moveTo>
                      <a:pt x="2043712" y="1782186"/>
                    </a:moveTo>
                    <a:lnTo>
                      <a:pt x="2043409" y="1783398"/>
                    </a:lnTo>
                    <a:lnTo>
                      <a:pt x="2044773" y="1782186"/>
                    </a:lnTo>
                    <a:lnTo>
                      <a:pt x="2046439" y="1778853"/>
                    </a:lnTo>
                    <a:lnTo>
                      <a:pt x="2045379" y="1779307"/>
                    </a:lnTo>
                    <a:lnTo>
                      <a:pt x="2043712" y="1782186"/>
                    </a:lnTo>
                    <a:close/>
                    <a:moveTo>
                      <a:pt x="1769611" y="1784004"/>
                    </a:moveTo>
                    <a:lnTo>
                      <a:pt x="1766884" y="1784459"/>
                    </a:lnTo>
                    <a:lnTo>
                      <a:pt x="1766278" y="1785217"/>
                    </a:lnTo>
                    <a:lnTo>
                      <a:pt x="1765369" y="1785974"/>
                    </a:lnTo>
                    <a:lnTo>
                      <a:pt x="1765066" y="1786580"/>
                    </a:lnTo>
                    <a:lnTo>
                      <a:pt x="1765520" y="1786883"/>
                    </a:lnTo>
                    <a:lnTo>
                      <a:pt x="1765520" y="1787338"/>
                    </a:lnTo>
                    <a:lnTo>
                      <a:pt x="1765217" y="1787793"/>
                    </a:lnTo>
                    <a:lnTo>
                      <a:pt x="1765672" y="1787944"/>
                    </a:lnTo>
                    <a:lnTo>
                      <a:pt x="1766884" y="1788096"/>
                    </a:lnTo>
                    <a:lnTo>
                      <a:pt x="1768399" y="1786883"/>
                    </a:lnTo>
                    <a:lnTo>
                      <a:pt x="1768702" y="1786277"/>
                    </a:lnTo>
                    <a:lnTo>
                      <a:pt x="1769308" y="1785217"/>
                    </a:lnTo>
                    <a:lnTo>
                      <a:pt x="1771884" y="1784459"/>
                    </a:lnTo>
                    <a:lnTo>
                      <a:pt x="1772187" y="1783702"/>
                    </a:lnTo>
                    <a:lnTo>
                      <a:pt x="1770823" y="1784004"/>
                    </a:lnTo>
                    <a:lnTo>
                      <a:pt x="1769611" y="1784004"/>
                    </a:lnTo>
                    <a:close/>
                    <a:moveTo>
                      <a:pt x="2029015" y="1766428"/>
                    </a:moveTo>
                    <a:lnTo>
                      <a:pt x="2027651" y="1770974"/>
                    </a:lnTo>
                    <a:lnTo>
                      <a:pt x="2031287" y="1769156"/>
                    </a:lnTo>
                    <a:lnTo>
                      <a:pt x="2031591" y="1768246"/>
                    </a:lnTo>
                    <a:lnTo>
                      <a:pt x="2031742" y="1765519"/>
                    </a:lnTo>
                    <a:lnTo>
                      <a:pt x="2030227" y="1765064"/>
                    </a:lnTo>
                    <a:lnTo>
                      <a:pt x="2029015" y="1766428"/>
                    </a:lnTo>
                    <a:close/>
                    <a:moveTo>
                      <a:pt x="437137" y="1580209"/>
                    </a:moveTo>
                    <a:lnTo>
                      <a:pt x="437744" y="1584300"/>
                    </a:lnTo>
                    <a:lnTo>
                      <a:pt x="438350" y="1583997"/>
                    </a:lnTo>
                    <a:lnTo>
                      <a:pt x="440319" y="1582482"/>
                    </a:lnTo>
                    <a:lnTo>
                      <a:pt x="440319" y="1582027"/>
                    </a:lnTo>
                    <a:lnTo>
                      <a:pt x="440016" y="1580361"/>
                    </a:lnTo>
                    <a:lnTo>
                      <a:pt x="439410" y="1579149"/>
                    </a:lnTo>
                    <a:lnTo>
                      <a:pt x="437895" y="1577330"/>
                    </a:lnTo>
                    <a:lnTo>
                      <a:pt x="438047" y="1578088"/>
                    </a:lnTo>
                    <a:lnTo>
                      <a:pt x="437744" y="1578845"/>
                    </a:lnTo>
                    <a:lnTo>
                      <a:pt x="437137" y="1580209"/>
                    </a:lnTo>
                    <a:close/>
                    <a:moveTo>
                      <a:pt x="482442" y="1624453"/>
                    </a:moveTo>
                    <a:lnTo>
                      <a:pt x="482291" y="1623696"/>
                    </a:lnTo>
                    <a:lnTo>
                      <a:pt x="479412" y="1622029"/>
                    </a:lnTo>
                    <a:lnTo>
                      <a:pt x="473805" y="1617029"/>
                    </a:lnTo>
                    <a:lnTo>
                      <a:pt x="475018" y="1618998"/>
                    </a:lnTo>
                    <a:lnTo>
                      <a:pt x="477896" y="1622332"/>
                    </a:lnTo>
                    <a:lnTo>
                      <a:pt x="482139" y="1624756"/>
                    </a:lnTo>
                    <a:lnTo>
                      <a:pt x="482442" y="1624453"/>
                    </a:lnTo>
                    <a:close/>
                    <a:moveTo>
                      <a:pt x="1562634" y="1714760"/>
                    </a:moveTo>
                    <a:lnTo>
                      <a:pt x="1560512" y="1714153"/>
                    </a:lnTo>
                    <a:lnTo>
                      <a:pt x="1558088" y="1713850"/>
                    </a:lnTo>
                    <a:lnTo>
                      <a:pt x="1557179" y="1714608"/>
                    </a:lnTo>
                    <a:lnTo>
                      <a:pt x="1557634" y="1716426"/>
                    </a:lnTo>
                    <a:lnTo>
                      <a:pt x="1558694" y="1718396"/>
                    </a:lnTo>
                    <a:lnTo>
                      <a:pt x="1560361" y="1720669"/>
                    </a:lnTo>
                    <a:lnTo>
                      <a:pt x="1561725" y="1721275"/>
                    </a:lnTo>
                    <a:lnTo>
                      <a:pt x="1562331" y="1721123"/>
                    </a:lnTo>
                    <a:lnTo>
                      <a:pt x="1562937" y="1720366"/>
                    </a:lnTo>
                    <a:lnTo>
                      <a:pt x="1563240" y="1719305"/>
                    </a:lnTo>
                    <a:lnTo>
                      <a:pt x="1563846" y="1719002"/>
                    </a:lnTo>
                    <a:lnTo>
                      <a:pt x="1564604" y="1719305"/>
                    </a:lnTo>
                    <a:lnTo>
                      <a:pt x="1565210" y="1718699"/>
                    </a:lnTo>
                    <a:lnTo>
                      <a:pt x="1565513" y="1717032"/>
                    </a:lnTo>
                    <a:lnTo>
                      <a:pt x="1564755" y="1715669"/>
                    </a:lnTo>
                    <a:lnTo>
                      <a:pt x="1562634" y="1714760"/>
                    </a:lnTo>
                    <a:close/>
                    <a:moveTo>
                      <a:pt x="451077" y="1596119"/>
                    </a:moveTo>
                    <a:lnTo>
                      <a:pt x="451683" y="1596725"/>
                    </a:lnTo>
                    <a:lnTo>
                      <a:pt x="452744" y="1597937"/>
                    </a:lnTo>
                    <a:lnTo>
                      <a:pt x="455320" y="1599604"/>
                    </a:lnTo>
                    <a:lnTo>
                      <a:pt x="461381" y="1602331"/>
                    </a:lnTo>
                    <a:lnTo>
                      <a:pt x="461078" y="1601725"/>
                    </a:lnTo>
                    <a:lnTo>
                      <a:pt x="456835" y="1596876"/>
                    </a:lnTo>
                    <a:lnTo>
                      <a:pt x="453805" y="1594755"/>
                    </a:lnTo>
                    <a:lnTo>
                      <a:pt x="450320" y="1593391"/>
                    </a:lnTo>
                    <a:lnTo>
                      <a:pt x="448198" y="1593088"/>
                    </a:lnTo>
                    <a:lnTo>
                      <a:pt x="447441" y="1593695"/>
                    </a:lnTo>
                    <a:lnTo>
                      <a:pt x="447895" y="1594452"/>
                    </a:lnTo>
                    <a:lnTo>
                      <a:pt x="451077" y="1596119"/>
                    </a:lnTo>
                    <a:close/>
                    <a:moveTo>
                      <a:pt x="2215991" y="1728548"/>
                    </a:moveTo>
                    <a:lnTo>
                      <a:pt x="2220688" y="1726427"/>
                    </a:lnTo>
                    <a:lnTo>
                      <a:pt x="2221143" y="1725669"/>
                    </a:lnTo>
                    <a:lnTo>
                      <a:pt x="2218264" y="1723851"/>
                    </a:lnTo>
                    <a:lnTo>
                      <a:pt x="2219779" y="1722336"/>
                    </a:lnTo>
                    <a:lnTo>
                      <a:pt x="2220688" y="1720517"/>
                    </a:lnTo>
                    <a:lnTo>
                      <a:pt x="2220688" y="1719608"/>
                    </a:lnTo>
                    <a:lnTo>
                      <a:pt x="2220234" y="1719002"/>
                    </a:lnTo>
                    <a:lnTo>
                      <a:pt x="2217658" y="1717941"/>
                    </a:lnTo>
                    <a:lnTo>
                      <a:pt x="2214022" y="1717487"/>
                    </a:lnTo>
                    <a:lnTo>
                      <a:pt x="2210385" y="1717790"/>
                    </a:lnTo>
                    <a:lnTo>
                      <a:pt x="2209931" y="1715214"/>
                    </a:lnTo>
                    <a:lnTo>
                      <a:pt x="2208415" y="1713850"/>
                    </a:lnTo>
                    <a:lnTo>
                      <a:pt x="2206294" y="1714760"/>
                    </a:lnTo>
                    <a:lnTo>
                      <a:pt x="2204779" y="1715820"/>
                    </a:lnTo>
                    <a:lnTo>
                      <a:pt x="2202809" y="1717638"/>
                    </a:lnTo>
                    <a:lnTo>
                      <a:pt x="2200536" y="1720669"/>
                    </a:lnTo>
                    <a:lnTo>
                      <a:pt x="2200839" y="1722487"/>
                    </a:lnTo>
                    <a:lnTo>
                      <a:pt x="2196445" y="1726124"/>
                    </a:lnTo>
                    <a:lnTo>
                      <a:pt x="2197203" y="1726881"/>
                    </a:lnTo>
                    <a:lnTo>
                      <a:pt x="2203870" y="1725669"/>
                    </a:lnTo>
                    <a:lnTo>
                      <a:pt x="2203567" y="1726427"/>
                    </a:lnTo>
                    <a:lnTo>
                      <a:pt x="2197354" y="1732336"/>
                    </a:lnTo>
                    <a:lnTo>
                      <a:pt x="2196294" y="1733094"/>
                    </a:lnTo>
                    <a:lnTo>
                      <a:pt x="2194475" y="1733548"/>
                    </a:lnTo>
                    <a:lnTo>
                      <a:pt x="2192506" y="1733245"/>
                    </a:lnTo>
                    <a:lnTo>
                      <a:pt x="2190990" y="1733245"/>
                    </a:lnTo>
                    <a:lnTo>
                      <a:pt x="2187506" y="1734760"/>
                    </a:lnTo>
                    <a:lnTo>
                      <a:pt x="2186596" y="1733245"/>
                    </a:lnTo>
                    <a:lnTo>
                      <a:pt x="2187657" y="1731730"/>
                    </a:lnTo>
                    <a:lnTo>
                      <a:pt x="2189930" y="1730215"/>
                    </a:lnTo>
                    <a:lnTo>
                      <a:pt x="2189930" y="1729609"/>
                    </a:lnTo>
                    <a:lnTo>
                      <a:pt x="2188112" y="1728699"/>
                    </a:lnTo>
                    <a:lnTo>
                      <a:pt x="2189627" y="1727790"/>
                    </a:lnTo>
                    <a:lnTo>
                      <a:pt x="2192809" y="1726427"/>
                    </a:lnTo>
                    <a:lnTo>
                      <a:pt x="2192960" y="1725215"/>
                    </a:lnTo>
                    <a:lnTo>
                      <a:pt x="2190990" y="1725215"/>
                    </a:lnTo>
                    <a:lnTo>
                      <a:pt x="2187354" y="1726881"/>
                    </a:lnTo>
                    <a:lnTo>
                      <a:pt x="2186445" y="1726578"/>
                    </a:lnTo>
                    <a:lnTo>
                      <a:pt x="2191748" y="1723245"/>
                    </a:lnTo>
                    <a:lnTo>
                      <a:pt x="2194021" y="1722184"/>
                    </a:lnTo>
                    <a:lnTo>
                      <a:pt x="2196294" y="1721578"/>
                    </a:lnTo>
                    <a:lnTo>
                      <a:pt x="2200839" y="1718851"/>
                    </a:lnTo>
                    <a:lnTo>
                      <a:pt x="2202051" y="1717335"/>
                    </a:lnTo>
                    <a:lnTo>
                      <a:pt x="2203112" y="1715366"/>
                    </a:lnTo>
                    <a:lnTo>
                      <a:pt x="2202809" y="1714305"/>
                    </a:lnTo>
                    <a:lnTo>
                      <a:pt x="2203567" y="1710517"/>
                    </a:lnTo>
                    <a:lnTo>
                      <a:pt x="2206294" y="1703699"/>
                    </a:lnTo>
                    <a:lnTo>
                      <a:pt x="2207658" y="1699456"/>
                    </a:lnTo>
                    <a:lnTo>
                      <a:pt x="2207658" y="1698395"/>
                    </a:lnTo>
                    <a:lnTo>
                      <a:pt x="2205082" y="1693092"/>
                    </a:lnTo>
                    <a:lnTo>
                      <a:pt x="2204930" y="1691728"/>
                    </a:lnTo>
                    <a:lnTo>
                      <a:pt x="2205536" y="1690365"/>
                    </a:lnTo>
                    <a:lnTo>
                      <a:pt x="2203264" y="1690213"/>
                    </a:lnTo>
                    <a:lnTo>
                      <a:pt x="2200991" y="1690516"/>
                    </a:lnTo>
                    <a:lnTo>
                      <a:pt x="2199779" y="1691274"/>
                    </a:lnTo>
                    <a:lnTo>
                      <a:pt x="2195839" y="1695213"/>
                    </a:lnTo>
                    <a:lnTo>
                      <a:pt x="2192809" y="1697486"/>
                    </a:lnTo>
                    <a:lnTo>
                      <a:pt x="2191142" y="1699759"/>
                    </a:lnTo>
                    <a:lnTo>
                      <a:pt x="2189778" y="1702486"/>
                    </a:lnTo>
                    <a:lnTo>
                      <a:pt x="2182657" y="1714457"/>
                    </a:lnTo>
                    <a:lnTo>
                      <a:pt x="2180990" y="1716426"/>
                    </a:lnTo>
                    <a:lnTo>
                      <a:pt x="2178111" y="1719002"/>
                    </a:lnTo>
                    <a:lnTo>
                      <a:pt x="2176142" y="1722790"/>
                    </a:lnTo>
                    <a:lnTo>
                      <a:pt x="2175687" y="1726881"/>
                    </a:lnTo>
                    <a:lnTo>
                      <a:pt x="2176899" y="1734609"/>
                    </a:lnTo>
                    <a:lnTo>
                      <a:pt x="2177960" y="1736275"/>
                    </a:lnTo>
                    <a:lnTo>
                      <a:pt x="2180232" y="1738700"/>
                    </a:lnTo>
                    <a:lnTo>
                      <a:pt x="2181293" y="1739609"/>
                    </a:lnTo>
                    <a:lnTo>
                      <a:pt x="2182657" y="1739609"/>
                    </a:lnTo>
                    <a:lnTo>
                      <a:pt x="2184020" y="1739154"/>
                    </a:lnTo>
                    <a:lnTo>
                      <a:pt x="2186899" y="1739306"/>
                    </a:lnTo>
                    <a:lnTo>
                      <a:pt x="2189778" y="1738548"/>
                    </a:lnTo>
                    <a:lnTo>
                      <a:pt x="2192657" y="1738397"/>
                    </a:lnTo>
                    <a:lnTo>
                      <a:pt x="2195536" y="1739003"/>
                    </a:lnTo>
                    <a:lnTo>
                      <a:pt x="2197960" y="1739003"/>
                    </a:lnTo>
                    <a:lnTo>
                      <a:pt x="2205839" y="1736882"/>
                    </a:lnTo>
                    <a:lnTo>
                      <a:pt x="2210840" y="1733851"/>
                    </a:lnTo>
                    <a:lnTo>
                      <a:pt x="2213264" y="1731275"/>
                    </a:lnTo>
                    <a:lnTo>
                      <a:pt x="2215991" y="1728548"/>
                    </a:lnTo>
                    <a:close/>
                    <a:moveTo>
                      <a:pt x="477442" y="1623241"/>
                    </a:moveTo>
                    <a:lnTo>
                      <a:pt x="476684" y="1623090"/>
                    </a:lnTo>
                    <a:lnTo>
                      <a:pt x="478503" y="1629302"/>
                    </a:lnTo>
                    <a:lnTo>
                      <a:pt x="478957" y="1629908"/>
                    </a:lnTo>
                    <a:lnTo>
                      <a:pt x="479563" y="1630060"/>
                    </a:lnTo>
                    <a:lnTo>
                      <a:pt x="480775" y="1629150"/>
                    </a:lnTo>
                    <a:lnTo>
                      <a:pt x="481533" y="1629150"/>
                    </a:lnTo>
                    <a:lnTo>
                      <a:pt x="481078" y="1627787"/>
                    </a:lnTo>
                    <a:lnTo>
                      <a:pt x="479260" y="1625968"/>
                    </a:lnTo>
                    <a:lnTo>
                      <a:pt x="479866" y="1625211"/>
                    </a:lnTo>
                    <a:lnTo>
                      <a:pt x="477442" y="1623241"/>
                    </a:lnTo>
                    <a:close/>
                    <a:moveTo>
                      <a:pt x="1511420" y="1662333"/>
                    </a:moveTo>
                    <a:lnTo>
                      <a:pt x="1509753" y="1662485"/>
                    </a:lnTo>
                    <a:lnTo>
                      <a:pt x="1508238" y="1662940"/>
                    </a:lnTo>
                    <a:lnTo>
                      <a:pt x="1506874" y="1663849"/>
                    </a:lnTo>
                    <a:lnTo>
                      <a:pt x="1506268" y="1664455"/>
                    </a:lnTo>
                    <a:lnTo>
                      <a:pt x="1506571" y="1664909"/>
                    </a:lnTo>
                    <a:lnTo>
                      <a:pt x="1508844" y="1665364"/>
                    </a:lnTo>
                    <a:lnTo>
                      <a:pt x="1514147" y="1664909"/>
                    </a:lnTo>
                    <a:lnTo>
                      <a:pt x="1515814" y="1664606"/>
                    </a:lnTo>
                    <a:lnTo>
                      <a:pt x="1516117" y="1664152"/>
                    </a:lnTo>
                    <a:lnTo>
                      <a:pt x="1514905" y="1663242"/>
                    </a:lnTo>
                    <a:lnTo>
                      <a:pt x="1511420" y="1662333"/>
                    </a:lnTo>
                    <a:close/>
                    <a:moveTo>
                      <a:pt x="1459448" y="1626726"/>
                    </a:moveTo>
                    <a:lnTo>
                      <a:pt x="1458539" y="1625968"/>
                    </a:lnTo>
                    <a:lnTo>
                      <a:pt x="1457781" y="1625968"/>
                    </a:lnTo>
                    <a:lnTo>
                      <a:pt x="1457327" y="1626120"/>
                    </a:lnTo>
                    <a:lnTo>
                      <a:pt x="1457175" y="1626423"/>
                    </a:lnTo>
                    <a:lnTo>
                      <a:pt x="1457781" y="1627484"/>
                    </a:lnTo>
                    <a:lnTo>
                      <a:pt x="1457781" y="1628090"/>
                    </a:lnTo>
                    <a:lnTo>
                      <a:pt x="1457478" y="1628544"/>
                    </a:lnTo>
                    <a:lnTo>
                      <a:pt x="1457781" y="1628847"/>
                    </a:lnTo>
                    <a:lnTo>
                      <a:pt x="1458842" y="1628999"/>
                    </a:lnTo>
                    <a:lnTo>
                      <a:pt x="1460660" y="1628696"/>
                    </a:lnTo>
                    <a:lnTo>
                      <a:pt x="1460509" y="1627938"/>
                    </a:lnTo>
                    <a:lnTo>
                      <a:pt x="1459448" y="1626726"/>
                    </a:lnTo>
                    <a:close/>
                    <a:moveTo>
                      <a:pt x="1452630" y="1625211"/>
                    </a:moveTo>
                    <a:lnTo>
                      <a:pt x="1450357" y="1625514"/>
                    </a:lnTo>
                    <a:lnTo>
                      <a:pt x="1448690" y="1626272"/>
                    </a:lnTo>
                    <a:lnTo>
                      <a:pt x="1447932" y="1627332"/>
                    </a:lnTo>
                    <a:lnTo>
                      <a:pt x="1448236" y="1629756"/>
                    </a:lnTo>
                    <a:lnTo>
                      <a:pt x="1448690" y="1630666"/>
                    </a:lnTo>
                    <a:lnTo>
                      <a:pt x="1449448" y="1630666"/>
                    </a:lnTo>
                    <a:lnTo>
                      <a:pt x="1450357" y="1629756"/>
                    </a:lnTo>
                    <a:lnTo>
                      <a:pt x="1451872" y="1629302"/>
                    </a:lnTo>
                    <a:lnTo>
                      <a:pt x="1454145" y="1629302"/>
                    </a:lnTo>
                    <a:lnTo>
                      <a:pt x="1455357" y="1628999"/>
                    </a:lnTo>
                    <a:lnTo>
                      <a:pt x="1455508" y="1628393"/>
                    </a:lnTo>
                    <a:lnTo>
                      <a:pt x="1456266" y="1628090"/>
                    </a:lnTo>
                    <a:lnTo>
                      <a:pt x="1456569" y="1627484"/>
                    </a:lnTo>
                    <a:lnTo>
                      <a:pt x="1456721" y="1626423"/>
                    </a:lnTo>
                    <a:lnTo>
                      <a:pt x="1455357" y="1625817"/>
                    </a:lnTo>
                    <a:lnTo>
                      <a:pt x="1452630" y="1625211"/>
                    </a:lnTo>
                    <a:close/>
                    <a:moveTo>
                      <a:pt x="2186748" y="1739609"/>
                    </a:moveTo>
                    <a:lnTo>
                      <a:pt x="2186899" y="1740367"/>
                    </a:lnTo>
                    <a:lnTo>
                      <a:pt x="2188566" y="1741730"/>
                    </a:lnTo>
                    <a:lnTo>
                      <a:pt x="2188869" y="1742185"/>
                    </a:lnTo>
                    <a:lnTo>
                      <a:pt x="2189930" y="1741882"/>
                    </a:lnTo>
                    <a:lnTo>
                      <a:pt x="2190233" y="1740973"/>
                    </a:lnTo>
                    <a:lnTo>
                      <a:pt x="2191294" y="1739154"/>
                    </a:lnTo>
                    <a:lnTo>
                      <a:pt x="2188112" y="1738851"/>
                    </a:lnTo>
                    <a:lnTo>
                      <a:pt x="2186748" y="1739609"/>
                    </a:lnTo>
                    <a:close/>
                    <a:moveTo>
                      <a:pt x="900488" y="899578"/>
                    </a:moveTo>
                    <a:lnTo>
                      <a:pt x="901397" y="902306"/>
                    </a:lnTo>
                    <a:lnTo>
                      <a:pt x="903973" y="905185"/>
                    </a:lnTo>
                    <a:lnTo>
                      <a:pt x="904579" y="906397"/>
                    </a:lnTo>
                    <a:lnTo>
                      <a:pt x="905943" y="905791"/>
                    </a:lnTo>
                    <a:lnTo>
                      <a:pt x="907609" y="903518"/>
                    </a:lnTo>
                    <a:lnTo>
                      <a:pt x="908367" y="899881"/>
                    </a:lnTo>
                    <a:lnTo>
                      <a:pt x="903973" y="899881"/>
                    </a:lnTo>
                    <a:lnTo>
                      <a:pt x="900488" y="899578"/>
                    </a:lnTo>
                    <a:close/>
                    <a:moveTo>
                      <a:pt x="898821" y="879881"/>
                    </a:moveTo>
                    <a:lnTo>
                      <a:pt x="900943" y="882002"/>
                    </a:lnTo>
                    <a:lnTo>
                      <a:pt x="902912" y="882911"/>
                    </a:lnTo>
                    <a:lnTo>
                      <a:pt x="903821" y="884729"/>
                    </a:lnTo>
                    <a:lnTo>
                      <a:pt x="904276" y="885032"/>
                    </a:lnTo>
                    <a:lnTo>
                      <a:pt x="905640" y="881093"/>
                    </a:lnTo>
                    <a:lnTo>
                      <a:pt x="905943" y="879426"/>
                    </a:lnTo>
                    <a:lnTo>
                      <a:pt x="905488" y="878062"/>
                    </a:lnTo>
                    <a:lnTo>
                      <a:pt x="904731" y="877608"/>
                    </a:lnTo>
                    <a:lnTo>
                      <a:pt x="903215" y="875941"/>
                    </a:lnTo>
                    <a:lnTo>
                      <a:pt x="903670" y="874274"/>
                    </a:lnTo>
                    <a:lnTo>
                      <a:pt x="903215" y="870941"/>
                    </a:lnTo>
                    <a:lnTo>
                      <a:pt x="901700" y="868971"/>
                    </a:lnTo>
                    <a:lnTo>
                      <a:pt x="899579" y="870638"/>
                    </a:lnTo>
                    <a:lnTo>
                      <a:pt x="899730" y="873517"/>
                    </a:lnTo>
                    <a:lnTo>
                      <a:pt x="898973" y="875486"/>
                    </a:lnTo>
                    <a:lnTo>
                      <a:pt x="898821" y="879881"/>
                    </a:lnTo>
                    <a:close/>
                    <a:moveTo>
                      <a:pt x="1308079" y="1124132"/>
                    </a:moveTo>
                    <a:lnTo>
                      <a:pt x="1308685" y="1125193"/>
                    </a:lnTo>
                    <a:lnTo>
                      <a:pt x="1311261" y="1127314"/>
                    </a:lnTo>
                    <a:lnTo>
                      <a:pt x="1312321" y="1127162"/>
                    </a:lnTo>
                    <a:lnTo>
                      <a:pt x="1313534" y="1126102"/>
                    </a:lnTo>
                    <a:lnTo>
                      <a:pt x="1313685" y="1125193"/>
                    </a:lnTo>
                    <a:lnTo>
                      <a:pt x="1311412" y="1123223"/>
                    </a:lnTo>
                    <a:lnTo>
                      <a:pt x="1308079" y="1124132"/>
                    </a:lnTo>
                    <a:close/>
                    <a:moveTo>
                      <a:pt x="1664456" y="1762943"/>
                    </a:moveTo>
                    <a:lnTo>
                      <a:pt x="1663244" y="1762640"/>
                    </a:lnTo>
                    <a:lnTo>
                      <a:pt x="1662638" y="1762943"/>
                    </a:lnTo>
                    <a:lnTo>
                      <a:pt x="1662789" y="1763701"/>
                    </a:lnTo>
                    <a:lnTo>
                      <a:pt x="1663244" y="1764458"/>
                    </a:lnTo>
                    <a:lnTo>
                      <a:pt x="1664456" y="1765368"/>
                    </a:lnTo>
                    <a:lnTo>
                      <a:pt x="1664456" y="1764913"/>
                    </a:lnTo>
                    <a:lnTo>
                      <a:pt x="1664910" y="1763549"/>
                    </a:lnTo>
                    <a:lnTo>
                      <a:pt x="1664456" y="1762943"/>
                    </a:lnTo>
                    <a:close/>
                    <a:moveTo>
                      <a:pt x="2093714" y="1655363"/>
                    </a:moveTo>
                    <a:lnTo>
                      <a:pt x="2093260" y="1655060"/>
                    </a:lnTo>
                    <a:lnTo>
                      <a:pt x="2092653" y="1655363"/>
                    </a:lnTo>
                    <a:lnTo>
                      <a:pt x="2092047" y="1656121"/>
                    </a:lnTo>
                    <a:lnTo>
                      <a:pt x="2090684" y="1658848"/>
                    </a:lnTo>
                    <a:lnTo>
                      <a:pt x="2093866" y="1657030"/>
                    </a:lnTo>
                    <a:lnTo>
                      <a:pt x="2093714" y="1655363"/>
                    </a:lnTo>
                    <a:close/>
                    <a:moveTo>
                      <a:pt x="2335844" y="1558542"/>
                    </a:moveTo>
                    <a:lnTo>
                      <a:pt x="2335996" y="1559299"/>
                    </a:lnTo>
                    <a:lnTo>
                      <a:pt x="2336753" y="1559754"/>
                    </a:lnTo>
                    <a:lnTo>
                      <a:pt x="2337662" y="1559754"/>
                    </a:lnTo>
                    <a:lnTo>
                      <a:pt x="2338572" y="1559299"/>
                    </a:lnTo>
                    <a:lnTo>
                      <a:pt x="2339481" y="1558542"/>
                    </a:lnTo>
                    <a:lnTo>
                      <a:pt x="2340390" y="1557330"/>
                    </a:lnTo>
                    <a:lnTo>
                      <a:pt x="2340541" y="1556572"/>
                    </a:lnTo>
                    <a:lnTo>
                      <a:pt x="2339026" y="1556420"/>
                    </a:lnTo>
                    <a:lnTo>
                      <a:pt x="2336905" y="1557178"/>
                    </a:lnTo>
                    <a:lnTo>
                      <a:pt x="2335844" y="1558542"/>
                    </a:lnTo>
                    <a:close/>
                    <a:moveTo>
                      <a:pt x="2416908" y="1668697"/>
                    </a:moveTo>
                    <a:lnTo>
                      <a:pt x="2415999" y="1666273"/>
                    </a:lnTo>
                    <a:lnTo>
                      <a:pt x="2415847" y="1664455"/>
                    </a:lnTo>
                    <a:lnTo>
                      <a:pt x="2414938" y="1663697"/>
                    </a:lnTo>
                    <a:lnTo>
                      <a:pt x="2413877" y="1663697"/>
                    </a:lnTo>
                    <a:lnTo>
                      <a:pt x="2412968" y="1665212"/>
                    </a:lnTo>
                    <a:lnTo>
                      <a:pt x="2411453" y="1669000"/>
                    </a:lnTo>
                    <a:lnTo>
                      <a:pt x="2409483" y="1671273"/>
                    </a:lnTo>
                    <a:lnTo>
                      <a:pt x="2406453" y="1673697"/>
                    </a:lnTo>
                    <a:lnTo>
                      <a:pt x="2404635" y="1674607"/>
                    </a:lnTo>
                    <a:lnTo>
                      <a:pt x="2403726" y="1673546"/>
                    </a:lnTo>
                    <a:lnTo>
                      <a:pt x="2403423" y="1672637"/>
                    </a:lnTo>
                    <a:lnTo>
                      <a:pt x="2403271" y="1667788"/>
                    </a:lnTo>
                    <a:lnTo>
                      <a:pt x="2403877" y="1664909"/>
                    </a:lnTo>
                    <a:lnTo>
                      <a:pt x="2405089" y="1662182"/>
                    </a:lnTo>
                    <a:lnTo>
                      <a:pt x="2408120" y="1656424"/>
                    </a:lnTo>
                    <a:lnTo>
                      <a:pt x="2409332" y="1654606"/>
                    </a:lnTo>
                    <a:lnTo>
                      <a:pt x="2411605" y="1652333"/>
                    </a:lnTo>
                    <a:lnTo>
                      <a:pt x="2411756" y="1651727"/>
                    </a:lnTo>
                    <a:lnTo>
                      <a:pt x="2411302" y="1651121"/>
                    </a:lnTo>
                    <a:lnTo>
                      <a:pt x="2410241" y="1650515"/>
                    </a:lnTo>
                    <a:lnTo>
                      <a:pt x="2405695" y="1653242"/>
                    </a:lnTo>
                    <a:lnTo>
                      <a:pt x="2400241" y="1655666"/>
                    </a:lnTo>
                    <a:lnTo>
                      <a:pt x="2394180" y="1664455"/>
                    </a:lnTo>
                    <a:lnTo>
                      <a:pt x="2391452" y="1667334"/>
                    </a:lnTo>
                    <a:lnTo>
                      <a:pt x="2389634" y="1667788"/>
                    </a:lnTo>
                    <a:lnTo>
                      <a:pt x="2387058" y="1667788"/>
                    </a:lnTo>
                    <a:lnTo>
                      <a:pt x="2385998" y="1666728"/>
                    </a:lnTo>
                    <a:lnTo>
                      <a:pt x="2385089" y="1665212"/>
                    </a:lnTo>
                    <a:lnTo>
                      <a:pt x="2384331" y="1663091"/>
                    </a:lnTo>
                    <a:lnTo>
                      <a:pt x="2384331" y="1662636"/>
                    </a:lnTo>
                    <a:lnTo>
                      <a:pt x="2388877" y="1658394"/>
                    </a:lnTo>
                    <a:lnTo>
                      <a:pt x="2389937" y="1656727"/>
                    </a:lnTo>
                    <a:lnTo>
                      <a:pt x="2390543" y="1655060"/>
                    </a:lnTo>
                    <a:lnTo>
                      <a:pt x="2390089" y="1654606"/>
                    </a:lnTo>
                    <a:lnTo>
                      <a:pt x="2386301" y="1655212"/>
                    </a:lnTo>
                    <a:lnTo>
                      <a:pt x="2384179" y="1654909"/>
                    </a:lnTo>
                    <a:lnTo>
                      <a:pt x="2387210" y="1654151"/>
                    </a:lnTo>
                    <a:lnTo>
                      <a:pt x="2388573" y="1653697"/>
                    </a:lnTo>
                    <a:lnTo>
                      <a:pt x="2388725" y="1653242"/>
                    </a:lnTo>
                    <a:lnTo>
                      <a:pt x="2392361" y="1652485"/>
                    </a:lnTo>
                    <a:lnTo>
                      <a:pt x="2393119" y="1651727"/>
                    </a:lnTo>
                    <a:lnTo>
                      <a:pt x="2392665" y="1649454"/>
                    </a:lnTo>
                    <a:lnTo>
                      <a:pt x="2391301" y="1648242"/>
                    </a:lnTo>
                    <a:lnTo>
                      <a:pt x="2393422" y="1647333"/>
                    </a:lnTo>
                    <a:lnTo>
                      <a:pt x="2396907" y="1645212"/>
                    </a:lnTo>
                    <a:lnTo>
                      <a:pt x="2398877" y="1643090"/>
                    </a:lnTo>
                    <a:lnTo>
                      <a:pt x="2399786" y="1642636"/>
                    </a:lnTo>
                    <a:lnTo>
                      <a:pt x="2401907" y="1642787"/>
                    </a:lnTo>
                    <a:lnTo>
                      <a:pt x="2403120" y="1642484"/>
                    </a:lnTo>
                    <a:lnTo>
                      <a:pt x="2404332" y="1641575"/>
                    </a:lnTo>
                    <a:lnTo>
                      <a:pt x="2406453" y="1638848"/>
                    </a:lnTo>
                    <a:lnTo>
                      <a:pt x="2407059" y="1637636"/>
                    </a:lnTo>
                    <a:lnTo>
                      <a:pt x="2407514" y="1635666"/>
                    </a:lnTo>
                    <a:lnTo>
                      <a:pt x="2407362" y="1633393"/>
                    </a:lnTo>
                    <a:lnTo>
                      <a:pt x="2406908" y="1632635"/>
                    </a:lnTo>
                    <a:lnTo>
                      <a:pt x="2406453" y="1632484"/>
                    </a:lnTo>
                    <a:lnTo>
                      <a:pt x="2404483" y="1633393"/>
                    </a:lnTo>
                    <a:lnTo>
                      <a:pt x="2401907" y="1635363"/>
                    </a:lnTo>
                    <a:lnTo>
                      <a:pt x="2400392" y="1635817"/>
                    </a:lnTo>
                    <a:lnTo>
                      <a:pt x="2398119" y="1635514"/>
                    </a:lnTo>
                    <a:lnTo>
                      <a:pt x="2396756" y="1635817"/>
                    </a:lnTo>
                    <a:lnTo>
                      <a:pt x="2392968" y="1638696"/>
                    </a:lnTo>
                    <a:lnTo>
                      <a:pt x="2390392" y="1637636"/>
                    </a:lnTo>
                    <a:lnTo>
                      <a:pt x="2387816" y="1638242"/>
                    </a:lnTo>
                    <a:lnTo>
                      <a:pt x="2386149" y="1639908"/>
                    </a:lnTo>
                    <a:lnTo>
                      <a:pt x="2384634" y="1639908"/>
                    </a:lnTo>
                    <a:lnTo>
                      <a:pt x="2382361" y="1640363"/>
                    </a:lnTo>
                    <a:lnTo>
                      <a:pt x="2377816" y="1642030"/>
                    </a:lnTo>
                    <a:lnTo>
                      <a:pt x="2377513" y="1641878"/>
                    </a:lnTo>
                    <a:lnTo>
                      <a:pt x="2378725" y="1640969"/>
                    </a:lnTo>
                    <a:lnTo>
                      <a:pt x="2383725" y="1638696"/>
                    </a:lnTo>
                    <a:lnTo>
                      <a:pt x="2386149" y="1637181"/>
                    </a:lnTo>
                    <a:lnTo>
                      <a:pt x="2386755" y="1635363"/>
                    </a:lnTo>
                    <a:lnTo>
                      <a:pt x="2388573" y="1632635"/>
                    </a:lnTo>
                    <a:lnTo>
                      <a:pt x="2388725" y="1631726"/>
                    </a:lnTo>
                    <a:lnTo>
                      <a:pt x="2386301" y="1631120"/>
                    </a:lnTo>
                    <a:lnTo>
                      <a:pt x="2383573" y="1631423"/>
                    </a:lnTo>
                    <a:lnTo>
                      <a:pt x="2381452" y="1630666"/>
                    </a:lnTo>
                    <a:lnTo>
                      <a:pt x="2381301" y="1630060"/>
                    </a:lnTo>
                    <a:lnTo>
                      <a:pt x="2381452" y="1629605"/>
                    </a:lnTo>
                    <a:lnTo>
                      <a:pt x="2383422" y="1628544"/>
                    </a:lnTo>
                    <a:lnTo>
                      <a:pt x="2384483" y="1627484"/>
                    </a:lnTo>
                    <a:lnTo>
                      <a:pt x="2384331" y="1627029"/>
                    </a:lnTo>
                    <a:lnTo>
                      <a:pt x="2381604" y="1627181"/>
                    </a:lnTo>
                    <a:lnTo>
                      <a:pt x="2377513" y="1627938"/>
                    </a:lnTo>
                    <a:lnTo>
                      <a:pt x="2375846" y="1627787"/>
                    </a:lnTo>
                    <a:lnTo>
                      <a:pt x="2382967" y="1624150"/>
                    </a:lnTo>
                    <a:lnTo>
                      <a:pt x="2384483" y="1622938"/>
                    </a:lnTo>
                    <a:lnTo>
                      <a:pt x="2385089" y="1622029"/>
                    </a:lnTo>
                    <a:lnTo>
                      <a:pt x="2385543" y="1620514"/>
                    </a:lnTo>
                    <a:lnTo>
                      <a:pt x="2386907" y="1618998"/>
                    </a:lnTo>
                    <a:lnTo>
                      <a:pt x="2389331" y="1617483"/>
                    </a:lnTo>
                    <a:lnTo>
                      <a:pt x="2392059" y="1615210"/>
                    </a:lnTo>
                    <a:lnTo>
                      <a:pt x="2392361" y="1613392"/>
                    </a:lnTo>
                    <a:lnTo>
                      <a:pt x="2392059" y="1610816"/>
                    </a:lnTo>
                    <a:lnTo>
                      <a:pt x="2390695" y="1608847"/>
                    </a:lnTo>
                    <a:lnTo>
                      <a:pt x="2387058" y="1606574"/>
                    </a:lnTo>
                    <a:lnTo>
                      <a:pt x="2384179" y="1605059"/>
                    </a:lnTo>
                    <a:lnTo>
                      <a:pt x="2381604" y="1604453"/>
                    </a:lnTo>
                    <a:lnTo>
                      <a:pt x="2372967" y="1605210"/>
                    </a:lnTo>
                    <a:lnTo>
                      <a:pt x="2371755" y="1605059"/>
                    </a:lnTo>
                    <a:lnTo>
                      <a:pt x="2370694" y="1605362"/>
                    </a:lnTo>
                    <a:lnTo>
                      <a:pt x="2369785" y="1606119"/>
                    </a:lnTo>
                    <a:lnTo>
                      <a:pt x="2368118" y="1608392"/>
                    </a:lnTo>
                    <a:lnTo>
                      <a:pt x="2367664" y="1607938"/>
                    </a:lnTo>
                    <a:lnTo>
                      <a:pt x="2367664" y="1605816"/>
                    </a:lnTo>
                    <a:lnTo>
                      <a:pt x="2367209" y="1603392"/>
                    </a:lnTo>
                    <a:lnTo>
                      <a:pt x="2367512" y="1601271"/>
                    </a:lnTo>
                    <a:lnTo>
                      <a:pt x="2366603" y="1601422"/>
                    </a:lnTo>
                    <a:lnTo>
                      <a:pt x="2364482" y="1602786"/>
                    </a:lnTo>
                    <a:lnTo>
                      <a:pt x="2362512" y="1604453"/>
                    </a:lnTo>
                    <a:lnTo>
                      <a:pt x="2360694" y="1606422"/>
                    </a:lnTo>
                    <a:lnTo>
                      <a:pt x="2358876" y="1607634"/>
                    </a:lnTo>
                    <a:lnTo>
                      <a:pt x="2357209" y="1607938"/>
                    </a:lnTo>
                    <a:lnTo>
                      <a:pt x="2355390" y="1608998"/>
                    </a:lnTo>
                    <a:lnTo>
                      <a:pt x="2353421" y="1610665"/>
                    </a:lnTo>
                    <a:lnTo>
                      <a:pt x="2352512" y="1610968"/>
                    </a:lnTo>
                    <a:lnTo>
                      <a:pt x="2352663" y="1609756"/>
                    </a:lnTo>
                    <a:lnTo>
                      <a:pt x="2352209" y="1609301"/>
                    </a:lnTo>
                    <a:lnTo>
                      <a:pt x="2351148" y="1609604"/>
                    </a:lnTo>
                    <a:lnTo>
                      <a:pt x="2348117" y="1611422"/>
                    </a:lnTo>
                    <a:lnTo>
                      <a:pt x="2346299" y="1612938"/>
                    </a:lnTo>
                    <a:lnTo>
                      <a:pt x="2345996" y="1613695"/>
                    </a:lnTo>
                    <a:lnTo>
                      <a:pt x="2346148" y="1615210"/>
                    </a:lnTo>
                    <a:lnTo>
                      <a:pt x="2345996" y="1615817"/>
                    </a:lnTo>
                    <a:lnTo>
                      <a:pt x="2343723" y="1617332"/>
                    </a:lnTo>
                    <a:lnTo>
                      <a:pt x="2343269" y="1617332"/>
                    </a:lnTo>
                    <a:lnTo>
                      <a:pt x="2343875" y="1615665"/>
                    </a:lnTo>
                    <a:lnTo>
                      <a:pt x="2343572" y="1614150"/>
                    </a:lnTo>
                    <a:lnTo>
                      <a:pt x="2345845" y="1610665"/>
                    </a:lnTo>
                    <a:lnTo>
                      <a:pt x="2346754" y="1608241"/>
                    </a:lnTo>
                    <a:lnTo>
                      <a:pt x="2347360" y="1605665"/>
                    </a:lnTo>
                    <a:lnTo>
                      <a:pt x="2347208" y="1603089"/>
                    </a:lnTo>
                    <a:lnTo>
                      <a:pt x="2346602" y="1602180"/>
                    </a:lnTo>
                    <a:lnTo>
                      <a:pt x="2345542" y="1601574"/>
                    </a:lnTo>
                    <a:lnTo>
                      <a:pt x="2345087" y="1601877"/>
                    </a:lnTo>
                    <a:lnTo>
                      <a:pt x="2345239" y="1605513"/>
                    </a:lnTo>
                    <a:lnTo>
                      <a:pt x="2344936" y="1606271"/>
                    </a:lnTo>
                    <a:lnTo>
                      <a:pt x="2343420" y="1606877"/>
                    </a:lnTo>
                    <a:lnTo>
                      <a:pt x="2343117" y="1606574"/>
                    </a:lnTo>
                    <a:lnTo>
                      <a:pt x="2343117" y="1604604"/>
                    </a:lnTo>
                    <a:lnTo>
                      <a:pt x="2342511" y="1603392"/>
                    </a:lnTo>
                    <a:lnTo>
                      <a:pt x="2342663" y="1602786"/>
                    </a:lnTo>
                    <a:lnTo>
                      <a:pt x="2339481" y="1603695"/>
                    </a:lnTo>
                    <a:lnTo>
                      <a:pt x="2334329" y="1604756"/>
                    </a:lnTo>
                    <a:lnTo>
                      <a:pt x="2330541" y="1601877"/>
                    </a:lnTo>
                    <a:lnTo>
                      <a:pt x="2324329" y="1603998"/>
                    </a:lnTo>
                    <a:lnTo>
                      <a:pt x="2323117" y="1604150"/>
                    </a:lnTo>
                    <a:lnTo>
                      <a:pt x="2328420" y="1599604"/>
                    </a:lnTo>
                    <a:lnTo>
                      <a:pt x="2328723" y="1597331"/>
                    </a:lnTo>
                    <a:lnTo>
                      <a:pt x="2329026" y="1596422"/>
                    </a:lnTo>
                    <a:lnTo>
                      <a:pt x="2328117" y="1595967"/>
                    </a:lnTo>
                    <a:lnTo>
                      <a:pt x="2325996" y="1596119"/>
                    </a:lnTo>
                    <a:lnTo>
                      <a:pt x="2324026" y="1596876"/>
                    </a:lnTo>
                    <a:lnTo>
                      <a:pt x="2322056" y="1598240"/>
                    </a:lnTo>
                    <a:lnTo>
                      <a:pt x="2321601" y="1598392"/>
                    </a:lnTo>
                    <a:lnTo>
                      <a:pt x="2324329" y="1595361"/>
                    </a:lnTo>
                    <a:lnTo>
                      <a:pt x="2333117" y="1590967"/>
                    </a:lnTo>
                    <a:lnTo>
                      <a:pt x="2336753" y="1588694"/>
                    </a:lnTo>
                    <a:lnTo>
                      <a:pt x="2338269" y="1587179"/>
                    </a:lnTo>
                    <a:lnTo>
                      <a:pt x="2338875" y="1585512"/>
                    </a:lnTo>
                    <a:lnTo>
                      <a:pt x="2338117" y="1585058"/>
                    </a:lnTo>
                    <a:lnTo>
                      <a:pt x="2334178" y="1586119"/>
                    </a:lnTo>
                    <a:lnTo>
                      <a:pt x="2331753" y="1586270"/>
                    </a:lnTo>
                    <a:lnTo>
                      <a:pt x="2328723" y="1584452"/>
                    </a:lnTo>
                    <a:lnTo>
                      <a:pt x="2327208" y="1584300"/>
                    </a:lnTo>
                    <a:lnTo>
                      <a:pt x="2323117" y="1585512"/>
                    </a:lnTo>
                    <a:lnTo>
                      <a:pt x="2320692" y="1587028"/>
                    </a:lnTo>
                    <a:lnTo>
                      <a:pt x="2320541" y="1586422"/>
                    </a:lnTo>
                    <a:lnTo>
                      <a:pt x="2321601" y="1584300"/>
                    </a:lnTo>
                    <a:lnTo>
                      <a:pt x="2321753" y="1582634"/>
                    </a:lnTo>
                    <a:lnTo>
                      <a:pt x="2320995" y="1581270"/>
                    </a:lnTo>
                    <a:lnTo>
                      <a:pt x="2320086" y="1580815"/>
                    </a:lnTo>
                    <a:lnTo>
                      <a:pt x="2318268" y="1581724"/>
                    </a:lnTo>
                    <a:lnTo>
                      <a:pt x="2316298" y="1584452"/>
                    </a:lnTo>
                    <a:lnTo>
                      <a:pt x="2314783" y="1587331"/>
                    </a:lnTo>
                    <a:lnTo>
                      <a:pt x="2313419" y="1588694"/>
                    </a:lnTo>
                    <a:lnTo>
                      <a:pt x="2311449" y="1589755"/>
                    </a:lnTo>
                    <a:lnTo>
                      <a:pt x="2308419" y="1592634"/>
                    </a:lnTo>
                    <a:lnTo>
                      <a:pt x="2304479" y="1597483"/>
                    </a:lnTo>
                    <a:lnTo>
                      <a:pt x="2302661" y="1598846"/>
                    </a:lnTo>
                    <a:lnTo>
                      <a:pt x="2303116" y="1596725"/>
                    </a:lnTo>
                    <a:lnTo>
                      <a:pt x="2303116" y="1595361"/>
                    </a:lnTo>
                    <a:lnTo>
                      <a:pt x="2302510" y="1594907"/>
                    </a:lnTo>
                    <a:lnTo>
                      <a:pt x="2301904" y="1593391"/>
                    </a:lnTo>
                    <a:lnTo>
                      <a:pt x="2302207" y="1592634"/>
                    </a:lnTo>
                    <a:lnTo>
                      <a:pt x="2303570" y="1590967"/>
                    </a:lnTo>
                    <a:lnTo>
                      <a:pt x="2304479" y="1589149"/>
                    </a:lnTo>
                    <a:lnTo>
                      <a:pt x="2304631" y="1588240"/>
                    </a:lnTo>
                    <a:lnTo>
                      <a:pt x="2304631" y="1586119"/>
                    </a:lnTo>
                    <a:lnTo>
                      <a:pt x="2305086" y="1584603"/>
                    </a:lnTo>
                    <a:lnTo>
                      <a:pt x="2306146" y="1582785"/>
                    </a:lnTo>
                    <a:lnTo>
                      <a:pt x="2310389" y="1577482"/>
                    </a:lnTo>
                    <a:lnTo>
                      <a:pt x="2311904" y="1575209"/>
                    </a:lnTo>
                    <a:lnTo>
                      <a:pt x="2312662" y="1572330"/>
                    </a:lnTo>
                    <a:lnTo>
                      <a:pt x="2312662" y="1571269"/>
                    </a:lnTo>
                    <a:lnTo>
                      <a:pt x="2314631" y="1569906"/>
                    </a:lnTo>
                    <a:lnTo>
                      <a:pt x="2319783" y="1563845"/>
                    </a:lnTo>
                    <a:lnTo>
                      <a:pt x="2321450" y="1561421"/>
                    </a:lnTo>
                    <a:lnTo>
                      <a:pt x="2321904" y="1558390"/>
                    </a:lnTo>
                    <a:lnTo>
                      <a:pt x="2322359" y="1557481"/>
                    </a:lnTo>
                    <a:lnTo>
                      <a:pt x="2323117" y="1556723"/>
                    </a:lnTo>
                    <a:lnTo>
                      <a:pt x="2326298" y="1554754"/>
                    </a:lnTo>
                    <a:lnTo>
                      <a:pt x="2328723" y="1552178"/>
                    </a:lnTo>
                    <a:lnTo>
                      <a:pt x="2330693" y="1547632"/>
                    </a:lnTo>
                    <a:lnTo>
                      <a:pt x="2331147" y="1545663"/>
                    </a:lnTo>
                    <a:lnTo>
                      <a:pt x="2331147" y="1543996"/>
                    </a:lnTo>
                    <a:lnTo>
                      <a:pt x="2330844" y="1542784"/>
                    </a:lnTo>
                    <a:lnTo>
                      <a:pt x="2330238" y="1541875"/>
                    </a:lnTo>
                    <a:lnTo>
                      <a:pt x="2329480" y="1541420"/>
                    </a:lnTo>
                    <a:lnTo>
                      <a:pt x="2328571" y="1541268"/>
                    </a:lnTo>
                    <a:lnTo>
                      <a:pt x="2326147" y="1541875"/>
                    </a:lnTo>
                    <a:lnTo>
                      <a:pt x="2325086" y="1541571"/>
                    </a:lnTo>
                    <a:lnTo>
                      <a:pt x="2324177" y="1540511"/>
                    </a:lnTo>
                    <a:lnTo>
                      <a:pt x="2323874" y="1539299"/>
                    </a:lnTo>
                    <a:lnTo>
                      <a:pt x="2324177" y="1536874"/>
                    </a:lnTo>
                    <a:lnTo>
                      <a:pt x="2326602" y="1536268"/>
                    </a:lnTo>
                    <a:lnTo>
                      <a:pt x="2332359" y="1535662"/>
                    </a:lnTo>
                    <a:lnTo>
                      <a:pt x="2335087" y="1535208"/>
                    </a:lnTo>
                    <a:lnTo>
                      <a:pt x="2336450" y="1534601"/>
                    </a:lnTo>
                    <a:lnTo>
                      <a:pt x="2337814" y="1532783"/>
                    </a:lnTo>
                    <a:lnTo>
                      <a:pt x="2339784" y="1529147"/>
                    </a:lnTo>
                    <a:lnTo>
                      <a:pt x="2339935" y="1528238"/>
                    </a:lnTo>
                    <a:lnTo>
                      <a:pt x="2338723" y="1527177"/>
                    </a:lnTo>
                    <a:lnTo>
                      <a:pt x="2337966" y="1526874"/>
                    </a:lnTo>
                    <a:lnTo>
                      <a:pt x="2334026" y="1527480"/>
                    </a:lnTo>
                    <a:lnTo>
                      <a:pt x="2333117" y="1528238"/>
                    </a:lnTo>
                    <a:lnTo>
                      <a:pt x="2334178" y="1530056"/>
                    </a:lnTo>
                    <a:lnTo>
                      <a:pt x="2333268" y="1531571"/>
                    </a:lnTo>
                    <a:lnTo>
                      <a:pt x="2328420" y="1530207"/>
                    </a:lnTo>
                    <a:lnTo>
                      <a:pt x="2327359" y="1528238"/>
                    </a:lnTo>
                    <a:lnTo>
                      <a:pt x="2324026" y="1528086"/>
                    </a:lnTo>
                    <a:lnTo>
                      <a:pt x="2319025" y="1530965"/>
                    </a:lnTo>
                    <a:lnTo>
                      <a:pt x="2310540" y="1534147"/>
                    </a:lnTo>
                    <a:lnTo>
                      <a:pt x="2307813" y="1535511"/>
                    </a:lnTo>
                    <a:lnTo>
                      <a:pt x="2306146" y="1536571"/>
                    </a:lnTo>
                    <a:lnTo>
                      <a:pt x="2304328" y="1538692"/>
                    </a:lnTo>
                    <a:lnTo>
                      <a:pt x="2302813" y="1543390"/>
                    </a:lnTo>
                    <a:lnTo>
                      <a:pt x="2302207" y="1543996"/>
                    </a:lnTo>
                    <a:lnTo>
                      <a:pt x="2298116" y="1547481"/>
                    </a:lnTo>
                    <a:lnTo>
                      <a:pt x="2296449" y="1548087"/>
                    </a:lnTo>
                    <a:lnTo>
                      <a:pt x="2296449" y="1548693"/>
                    </a:lnTo>
                    <a:lnTo>
                      <a:pt x="2297055" y="1549754"/>
                    </a:lnTo>
                    <a:lnTo>
                      <a:pt x="2297206" y="1550814"/>
                    </a:lnTo>
                    <a:lnTo>
                      <a:pt x="2295843" y="1553845"/>
                    </a:lnTo>
                    <a:lnTo>
                      <a:pt x="2293722" y="1556420"/>
                    </a:lnTo>
                    <a:lnTo>
                      <a:pt x="2290691" y="1557936"/>
                    </a:lnTo>
                    <a:lnTo>
                      <a:pt x="2289782" y="1558693"/>
                    </a:lnTo>
                    <a:lnTo>
                      <a:pt x="2289176" y="1559602"/>
                    </a:lnTo>
                    <a:lnTo>
                      <a:pt x="2289327" y="1560511"/>
                    </a:lnTo>
                    <a:lnTo>
                      <a:pt x="2290085" y="1561421"/>
                    </a:lnTo>
                    <a:lnTo>
                      <a:pt x="2292358" y="1562633"/>
                    </a:lnTo>
                    <a:lnTo>
                      <a:pt x="2290843" y="1562936"/>
                    </a:lnTo>
                    <a:lnTo>
                      <a:pt x="2288267" y="1562936"/>
                    </a:lnTo>
                    <a:lnTo>
                      <a:pt x="2287509" y="1563693"/>
                    </a:lnTo>
                    <a:lnTo>
                      <a:pt x="2285539" y="1566572"/>
                    </a:lnTo>
                    <a:lnTo>
                      <a:pt x="2284630" y="1568088"/>
                    </a:lnTo>
                    <a:lnTo>
                      <a:pt x="2280691" y="1577633"/>
                    </a:lnTo>
                    <a:lnTo>
                      <a:pt x="2277812" y="1583846"/>
                    </a:lnTo>
                    <a:lnTo>
                      <a:pt x="2271903" y="1595361"/>
                    </a:lnTo>
                    <a:lnTo>
                      <a:pt x="2271751" y="1596573"/>
                    </a:lnTo>
                    <a:lnTo>
                      <a:pt x="2272660" y="1598998"/>
                    </a:lnTo>
                    <a:lnTo>
                      <a:pt x="2275387" y="1602331"/>
                    </a:lnTo>
                    <a:lnTo>
                      <a:pt x="2275539" y="1602937"/>
                    </a:lnTo>
                    <a:lnTo>
                      <a:pt x="2273721" y="1603543"/>
                    </a:lnTo>
                    <a:lnTo>
                      <a:pt x="2272206" y="1601725"/>
                    </a:lnTo>
                    <a:lnTo>
                      <a:pt x="2270690" y="1601271"/>
                    </a:lnTo>
                    <a:lnTo>
                      <a:pt x="2268114" y="1602786"/>
                    </a:lnTo>
                    <a:lnTo>
                      <a:pt x="2265993" y="1605059"/>
                    </a:lnTo>
                    <a:lnTo>
                      <a:pt x="2265084" y="1606725"/>
                    </a:lnTo>
                    <a:lnTo>
                      <a:pt x="2264933" y="1609604"/>
                    </a:lnTo>
                    <a:lnTo>
                      <a:pt x="2265690" y="1611271"/>
                    </a:lnTo>
                    <a:lnTo>
                      <a:pt x="2268266" y="1612332"/>
                    </a:lnTo>
                    <a:lnTo>
                      <a:pt x="2271448" y="1612332"/>
                    </a:lnTo>
                    <a:lnTo>
                      <a:pt x="2271145" y="1613089"/>
                    </a:lnTo>
                    <a:lnTo>
                      <a:pt x="2269478" y="1614150"/>
                    </a:lnTo>
                    <a:lnTo>
                      <a:pt x="2268114" y="1617786"/>
                    </a:lnTo>
                    <a:lnTo>
                      <a:pt x="2268569" y="1618998"/>
                    </a:lnTo>
                    <a:lnTo>
                      <a:pt x="2269630" y="1620211"/>
                    </a:lnTo>
                    <a:lnTo>
                      <a:pt x="2270993" y="1620968"/>
                    </a:lnTo>
                    <a:lnTo>
                      <a:pt x="2270539" y="1621271"/>
                    </a:lnTo>
                    <a:lnTo>
                      <a:pt x="2269327" y="1621120"/>
                    </a:lnTo>
                    <a:lnTo>
                      <a:pt x="2265539" y="1618544"/>
                    </a:lnTo>
                    <a:lnTo>
                      <a:pt x="2261902" y="1617786"/>
                    </a:lnTo>
                    <a:lnTo>
                      <a:pt x="2260842" y="1617180"/>
                    </a:lnTo>
                    <a:lnTo>
                      <a:pt x="2259629" y="1617635"/>
                    </a:lnTo>
                    <a:lnTo>
                      <a:pt x="2257205" y="1620514"/>
                    </a:lnTo>
                    <a:lnTo>
                      <a:pt x="2255841" y="1624302"/>
                    </a:lnTo>
                    <a:lnTo>
                      <a:pt x="2253266" y="1629453"/>
                    </a:lnTo>
                    <a:lnTo>
                      <a:pt x="2252053" y="1633999"/>
                    </a:lnTo>
                    <a:lnTo>
                      <a:pt x="2251296" y="1634908"/>
                    </a:lnTo>
                    <a:lnTo>
                      <a:pt x="2247811" y="1634605"/>
                    </a:lnTo>
                    <a:lnTo>
                      <a:pt x="2246902" y="1633999"/>
                    </a:lnTo>
                    <a:lnTo>
                      <a:pt x="2246144" y="1633090"/>
                    </a:lnTo>
                    <a:lnTo>
                      <a:pt x="2246599" y="1631575"/>
                    </a:lnTo>
                    <a:lnTo>
                      <a:pt x="2248417" y="1629605"/>
                    </a:lnTo>
                    <a:lnTo>
                      <a:pt x="2247811" y="1629605"/>
                    </a:lnTo>
                    <a:lnTo>
                      <a:pt x="2241750" y="1633848"/>
                    </a:lnTo>
                    <a:lnTo>
                      <a:pt x="2238871" y="1636272"/>
                    </a:lnTo>
                    <a:lnTo>
                      <a:pt x="2238871" y="1637636"/>
                    </a:lnTo>
                    <a:lnTo>
                      <a:pt x="2244932" y="1637636"/>
                    </a:lnTo>
                    <a:lnTo>
                      <a:pt x="2250993" y="1637029"/>
                    </a:lnTo>
                    <a:lnTo>
                      <a:pt x="2254175" y="1637332"/>
                    </a:lnTo>
                    <a:lnTo>
                      <a:pt x="2257357" y="1638090"/>
                    </a:lnTo>
                    <a:lnTo>
                      <a:pt x="2261751" y="1637787"/>
                    </a:lnTo>
                    <a:lnTo>
                      <a:pt x="2261599" y="1638090"/>
                    </a:lnTo>
                    <a:lnTo>
                      <a:pt x="2257054" y="1640666"/>
                    </a:lnTo>
                    <a:lnTo>
                      <a:pt x="2254326" y="1641727"/>
                    </a:lnTo>
                    <a:lnTo>
                      <a:pt x="2251447" y="1644757"/>
                    </a:lnTo>
                    <a:lnTo>
                      <a:pt x="2244629" y="1650515"/>
                    </a:lnTo>
                    <a:lnTo>
                      <a:pt x="2236144" y="1656273"/>
                    </a:lnTo>
                    <a:lnTo>
                      <a:pt x="2234325" y="1658394"/>
                    </a:lnTo>
                    <a:lnTo>
                      <a:pt x="2233719" y="1659909"/>
                    </a:lnTo>
                    <a:lnTo>
                      <a:pt x="2233719" y="1660667"/>
                    </a:lnTo>
                    <a:lnTo>
                      <a:pt x="2234931" y="1665212"/>
                    </a:lnTo>
                    <a:lnTo>
                      <a:pt x="2236598" y="1668849"/>
                    </a:lnTo>
                    <a:lnTo>
                      <a:pt x="2237659" y="1669909"/>
                    </a:lnTo>
                    <a:lnTo>
                      <a:pt x="2240386" y="1670970"/>
                    </a:lnTo>
                    <a:lnTo>
                      <a:pt x="2245235" y="1670667"/>
                    </a:lnTo>
                    <a:lnTo>
                      <a:pt x="2254175" y="1669152"/>
                    </a:lnTo>
                    <a:lnTo>
                      <a:pt x="2257054" y="1668243"/>
                    </a:lnTo>
                    <a:lnTo>
                      <a:pt x="2259326" y="1667182"/>
                    </a:lnTo>
                    <a:lnTo>
                      <a:pt x="2261751" y="1665515"/>
                    </a:lnTo>
                    <a:lnTo>
                      <a:pt x="2262054" y="1665970"/>
                    </a:lnTo>
                    <a:lnTo>
                      <a:pt x="2261902" y="1667485"/>
                    </a:lnTo>
                    <a:lnTo>
                      <a:pt x="2264478" y="1667788"/>
                    </a:lnTo>
                    <a:lnTo>
                      <a:pt x="2273115" y="1667637"/>
                    </a:lnTo>
                    <a:lnTo>
                      <a:pt x="2274175" y="1668091"/>
                    </a:lnTo>
                    <a:lnTo>
                      <a:pt x="2280236" y="1669303"/>
                    </a:lnTo>
                    <a:lnTo>
                      <a:pt x="2285388" y="1669152"/>
                    </a:lnTo>
                    <a:lnTo>
                      <a:pt x="2299631" y="1671122"/>
                    </a:lnTo>
                    <a:lnTo>
                      <a:pt x="2304479" y="1671425"/>
                    </a:lnTo>
                    <a:lnTo>
                      <a:pt x="2305843" y="1670516"/>
                    </a:lnTo>
                    <a:lnTo>
                      <a:pt x="2312965" y="1669606"/>
                    </a:lnTo>
                    <a:lnTo>
                      <a:pt x="2316601" y="1668243"/>
                    </a:lnTo>
                    <a:lnTo>
                      <a:pt x="2318268" y="1668091"/>
                    </a:lnTo>
                    <a:lnTo>
                      <a:pt x="2319480" y="1667637"/>
                    </a:lnTo>
                    <a:lnTo>
                      <a:pt x="2321450" y="1664000"/>
                    </a:lnTo>
                    <a:lnTo>
                      <a:pt x="2322208" y="1663546"/>
                    </a:lnTo>
                    <a:lnTo>
                      <a:pt x="2323117" y="1664152"/>
                    </a:lnTo>
                    <a:lnTo>
                      <a:pt x="2325086" y="1664455"/>
                    </a:lnTo>
                    <a:lnTo>
                      <a:pt x="2327814" y="1663546"/>
                    </a:lnTo>
                    <a:lnTo>
                      <a:pt x="2329480" y="1662636"/>
                    </a:lnTo>
                    <a:lnTo>
                      <a:pt x="2329784" y="1663697"/>
                    </a:lnTo>
                    <a:lnTo>
                      <a:pt x="2329177" y="1670516"/>
                    </a:lnTo>
                    <a:lnTo>
                      <a:pt x="2323268" y="1672940"/>
                    </a:lnTo>
                    <a:lnTo>
                      <a:pt x="2322056" y="1673697"/>
                    </a:lnTo>
                    <a:lnTo>
                      <a:pt x="2323268" y="1673849"/>
                    </a:lnTo>
                    <a:lnTo>
                      <a:pt x="2329329" y="1672788"/>
                    </a:lnTo>
                    <a:lnTo>
                      <a:pt x="2330693" y="1673243"/>
                    </a:lnTo>
                    <a:lnTo>
                      <a:pt x="2331753" y="1673849"/>
                    </a:lnTo>
                    <a:lnTo>
                      <a:pt x="2337208" y="1675061"/>
                    </a:lnTo>
                    <a:lnTo>
                      <a:pt x="2339329" y="1674758"/>
                    </a:lnTo>
                    <a:lnTo>
                      <a:pt x="2340390" y="1674455"/>
                    </a:lnTo>
                    <a:lnTo>
                      <a:pt x="2341148" y="1673849"/>
                    </a:lnTo>
                    <a:lnTo>
                      <a:pt x="2341754" y="1672182"/>
                    </a:lnTo>
                    <a:lnTo>
                      <a:pt x="2342360" y="1669000"/>
                    </a:lnTo>
                    <a:lnTo>
                      <a:pt x="2342966" y="1668394"/>
                    </a:lnTo>
                    <a:lnTo>
                      <a:pt x="2347663" y="1668849"/>
                    </a:lnTo>
                    <a:lnTo>
                      <a:pt x="2350996" y="1668546"/>
                    </a:lnTo>
                    <a:lnTo>
                      <a:pt x="2352057" y="1669303"/>
                    </a:lnTo>
                    <a:lnTo>
                      <a:pt x="2354481" y="1669758"/>
                    </a:lnTo>
                    <a:lnTo>
                      <a:pt x="2355997" y="1669455"/>
                    </a:lnTo>
                    <a:lnTo>
                      <a:pt x="2358876" y="1668243"/>
                    </a:lnTo>
                    <a:lnTo>
                      <a:pt x="2358572" y="1669152"/>
                    </a:lnTo>
                    <a:lnTo>
                      <a:pt x="2356603" y="1671576"/>
                    </a:lnTo>
                    <a:lnTo>
                      <a:pt x="2353724" y="1673546"/>
                    </a:lnTo>
                    <a:lnTo>
                      <a:pt x="2347814" y="1675819"/>
                    </a:lnTo>
                    <a:lnTo>
                      <a:pt x="2343117" y="1682334"/>
                    </a:lnTo>
                    <a:lnTo>
                      <a:pt x="2342057" y="1683546"/>
                    </a:lnTo>
                    <a:lnTo>
                      <a:pt x="2339632" y="1685668"/>
                    </a:lnTo>
                    <a:lnTo>
                      <a:pt x="2336450" y="1687031"/>
                    </a:lnTo>
                    <a:lnTo>
                      <a:pt x="2332056" y="1687940"/>
                    </a:lnTo>
                    <a:lnTo>
                      <a:pt x="2330238" y="1688698"/>
                    </a:lnTo>
                    <a:lnTo>
                      <a:pt x="2327965" y="1690516"/>
                    </a:lnTo>
                    <a:lnTo>
                      <a:pt x="2327056" y="1692031"/>
                    </a:lnTo>
                    <a:lnTo>
                      <a:pt x="2326905" y="1692638"/>
                    </a:lnTo>
                    <a:lnTo>
                      <a:pt x="2327208" y="1693698"/>
                    </a:lnTo>
                    <a:lnTo>
                      <a:pt x="2329177" y="1695062"/>
                    </a:lnTo>
                    <a:lnTo>
                      <a:pt x="2330086" y="1695516"/>
                    </a:lnTo>
                    <a:lnTo>
                      <a:pt x="2331602" y="1695668"/>
                    </a:lnTo>
                    <a:lnTo>
                      <a:pt x="2335390" y="1695213"/>
                    </a:lnTo>
                    <a:lnTo>
                      <a:pt x="2338723" y="1694153"/>
                    </a:lnTo>
                    <a:lnTo>
                      <a:pt x="2340087" y="1694001"/>
                    </a:lnTo>
                    <a:lnTo>
                      <a:pt x="2342208" y="1694607"/>
                    </a:lnTo>
                    <a:lnTo>
                      <a:pt x="2344481" y="1694456"/>
                    </a:lnTo>
                    <a:lnTo>
                      <a:pt x="2346148" y="1693244"/>
                    </a:lnTo>
                    <a:lnTo>
                      <a:pt x="2349330" y="1689607"/>
                    </a:lnTo>
                    <a:lnTo>
                      <a:pt x="2350390" y="1687637"/>
                    </a:lnTo>
                    <a:lnTo>
                      <a:pt x="2350693" y="1685213"/>
                    </a:lnTo>
                    <a:lnTo>
                      <a:pt x="2357057" y="1677940"/>
                    </a:lnTo>
                    <a:lnTo>
                      <a:pt x="2358572" y="1677485"/>
                    </a:lnTo>
                    <a:lnTo>
                      <a:pt x="2360088" y="1677637"/>
                    </a:lnTo>
                    <a:lnTo>
                      <a:pt x="2362664" y="1677182"/>
                    </a:lnTo>
                    <a:lnTo>
                      <a:pt x="2364785" y="1675516"/>
                    </a:lnTo>
                    <a:lnTo>
                      <a:pt x="2367512" y="1672485"/>
                    </a:lnTo>
                    <a:lnTo>
                      <a:pt x="2367815" y="1672788"/>
                    </a:lnTo>
                    <a:lnTo>
                      <a:pt x="2365694" y="1676576"/>
                    </a:lnTo>
                    <a:lnTo>
                      <a:pt x="2365088" y="1678243"/>
                    </a:lnTo>
                    <a:lnTo>
                      <a:pt x="2367058" y="1677182"/>
                    </a:lnTo>
                    <a:lnTo>
                      <a:pt x="2367967" y="1676425"/>
                    </a:lnTo>
                    <a:lnTo>
                      <a:pt x="2368573" y="1675213"/>
                    </a:lnTo>
                    <a:lnTo>
                      <a:pt x="2369330" y="1672031"/>
                    </a:lnTo>
                    <a:lnTo>
                      <a:pt x="2374028" y="1664606"/>
                    </a:lnTo>
                    <a:lnTo>
                      <a:pt x="2374482" y="1662030"/>
                    </a:lnTo>
                    <a:lnTo>
                      <a:pt x="2375240" y="1661576"/>
                    </a:lnTo>
                    <a:lnTo>
                      <a:pt x="2379179" y="1663394"/>
                    </a:lnTo>
                    <a:lnTo>
                      <a:pt x="2380846" y="1665061"/>
                    </a:lnTo>
                    <a:lnTo>
                      <a:pt x="2382210" y="1669000"/>
                    </a:lnTo>
                    <a:lnTo>
                      <a:pt x="2383270" y="1673697"/>
                    </a:lnTo>
                    <a:lnTo>
                      <a:pt x="2383876" y="1675213"/>
                    </a:lnTo>
                    <a:lnTo>
                      <a:pt x="2384634" y="1675970"/>
                    </a:lnTo>
                    <a:lnTo>
                      <a:pt x="2384028" y="1677788"/>
                    </a:lnTo>
                    <a:lnTo>
                      <a:pt x="2381301" y="1682183"/>
                    </a:lnTo>
                    <a:lnTo>
                      <a:pt x="2377967" y="1688243"/>
                    </a:lnTo>
                    <a:lnTo>
                      <a:pt x="2376300" y="1692335"/>
                    </a:lnTo>
                    <a:lnTo>
                      <a:pt x="2375846" y="1694001"/>
                    </a:lnTo>
                    <a:lnTo>
                      <a:pt x="2375846" y="1695213"/>
                    </a:lnTo>
                    <a:lnTo>
                      <a:pt x="2376907" y="1696577"/>
                    </a:lnTo>
                    <a:lnTo>
                      <a:pt x="2377664" y="1697032"/>
                    </a:lnTo>
                    <a:lnTo>
                      <a:pt x="2378422" y="1697183"/>
                    </a:lnTo>
                    <a:lnTo>
                      <a:pt x="2380240" y="1696577"/>
                    </a:lnTo>
                    <a:lnTo>
                      <a:pt x="2384331" y="1693092"/>
                    </a:lnTo>
                    <a:lnTo>
                      <a:pt x="2386604" y="1690668"/>
                    </a:lnTo>
                    <a:lnTo>
                      <a:pt x="2388725" y="1687940"/>
                    </a:lnTo>
                    <a:lnTo>
                      <a:pt x="2390392" y="1686425"/>
                    </a:lnTo>
                    <a:lnTo>
                      <a:pt x="2391452" y="1686122"/>
                    </a:lnTo>
                    <a:lnTo>
                      <a:pt x="2391907" y="1686577"/>
                    </a:lnTo>
                    <a:lnTo>
                      <a:pt x="2391907" y="1687789"/>
                    </a:lnTo>
                    <a:lnTo>
                      <a:pt x="2390998" y="1690819"/>
                    </a:lnTo>
                    <a:lnTo>
                      <a:pt x="2391907" y="1692638"/>
                    </a:lnTo>
                    <a:lnTo>
                      <a:pt x="2391604" y="1695062"/>
                    </a:lnTo>
                    <a:lnTo>
                      <a:pt x="2390998" y="1702183"/>
                    </a:lnTo>
                    <a:lnTo>
                      <a:pt x="2391756" y="1703547"/>
                    </a:lnTo>
                    <a:lnTo>
                      <a:pt x="2392361" y="1703850"/>
                    </a:lnTo>
                    <a:lnTo>
                      <a:pt x="2393271" y="1703699"/>
                    </a:lnTo>
                    <a:lnTo>
                      <a:pt x="2397513" y="1700971"/>
                    </a:lnTo>
                    <a:lnTo>
                      <a:pt x="2399180" y="1700668"/>
                    </a:lnTo>
                    <a:lnTo>
                      <a:pt x="2400089" y="1700668"/>
                    </a:lnTo>
                    <a:lnTo>
                      <a:pt x="2401150" y="1701274"/>
                    </a:lnTo>
                    <a:lnTo>
                      <a:pt x="2402210" y="1702486"/>
                    </a:lnTo>
                    <a:lnTo>
                      <a:pt x="2403423" y="1702941"/>
                    </a:lnTo>
                    <a:lnTo>
                      <a:pt x="2404786" y="1702638"/>
                    </a:lnTo>
                    <a:lnTo>
                      <a:pt x="2405998" y="1701729"/>
                    </a:lnTo>
                    <a:lnTo>
                      <a:pt x="2407059" y="1700365"/>
                    </a:lnTo>
                    <a:lnTo>
                      <a:pt x="2409029" y="1697032"/>
                    </a:lnTo>
                    <a:lnTo>
                      <a:pt x="2410999" y="1691728"/>
                    </a:lnTo>
                    <a:lnTo>
                      <a:pt x="2411150" y="1690516"/>
                    </a:lnTo>
                    <a:lnTo>
                      <a:pt x="2410999" y="1689304"/>
                    </a:lnTo>
                    <a:lnTo>
                      <a:pt x="2410392" y="1687334"/>
                    </a:lnTo>
                    <a:lnTo>
                      <a:pt x="2416605" y="1676122"/>
                    </a:lnTo>
                    <a:lnTo>
                      <a:pt x="2417059" y="1674607"/>
                    </a:lnTo>
                    <a:lnTo>
                      <a:pt x="2417514" y="1671879"/>
                    </a:lnTo>
                    <a:lnTo>
                      <a:pt x="2416908" y="1668697"/>
                    </a:lnTo>
                    <a:close/>
                    <a:moveTo>
                      <a:pt x="2377058" y="1667788"/>
                    </a:moveTo>
                    <a:lnTo>
                      <a:pt x="2375997" y="1669152"/>
                    </a:lnTo>
                    <a:lnTo>
                      <a:pt x="2374785" y="1669909"/>
                    </a:lnTo>
                    <a:lnTo>
                      <a:pt x="2374482" y="1670516"/>
                    </a:lnTo>
                    <a:lnTo>
                      <a:pt x="2374482" y="1671425"/>
                    </a:lnTo>
                    <a:lnTo>
                      <a:pt x="2373573" y="1672940"/>
                    </a:lnTo>
                    <a:lnTo>
                      <a:pt x="2371906" y="1675061"/>
                    </a:lnTo>
                    <a:lnTo>
                      <a:pt x="2371755" y="1676122"/>
                    </a:lnTo>
                    <a:lnTo>
                      <a:pt x="2373119" y="1676122"/>
                    </a:lnTo>
                    <a:lnTo>
                      <a:pt x="2374482" y="1674910"/>
                    </a:lnTo>
                    <a:lnTo>
                      <a:pt x="2376603" y="1670364"/>
                    </a:lnTo>
                    <a:lnTo>
                      <a:pt x="2377058" y="1667788"/>
                    </a:lnTo>
                    <a:close/>
                    <a:moveTo>
                      <a:pt x="1682335" y="1514449"/>
                    </a:moveTo>
                    <a:lnTo>
                      <a:pt x="1684911" y="1514752"/>
                    </a:lnTo>
                    <a:lnTo>
                      <a:pt x="1685972" y="1514449"/>
                    </a:lnTo>
                    <a:lnTo>
                      <a:pt x="1686881" y="1513843"/>
                    </a:lnTo>
                    <a:lnTo>
                      <a:pt x="1687487" y="1512934"/>
                    </a:lnTo>
                    <a:lnTo>
                      <a:pt x="1687790" y="1511722"/>
                    </a:lnTo>
                    <a:lnTo>
                      <a:pt x="1689002" y="1510055"/>
                    </a:lnTo>
                    <a:lnTo>
                      <a:pt x="1689002" y="1509449"/>
                    </a:lnTo>
                    <a:lnTo>
                      <a:pt x="1687335" y="1508994"/>
                    </a:lnTo>
                    <a:lnTo>
                      <a:pt x="1678850" y="1512176"/>
                    </a:lnTo>
                    <a:lnTo>
                      <a:pt x="1680062" y="1513389"/>
                    </a:lnTo>
                    <a:lnTo>
                      <a:pt x="1682335" y="1514449"/>
                    </a:lnTo>
                    <a:close/>
                    <a:moveTo>
                      <a:pt x="2088714" y="1664303"/>
                    </a:moveTo>
                    <a:lnTo>
                      <a:pt x="2089926" y="1664152"/>
                    </a:lnTo>
                    <a:lnTo>
                      <a:pt x="2092350" y="1662030"/>
                    </a:lnTo>
                    <a:lnTo>
                      <a:pt x="2093108" y="1659454"/>
                    </a:lnTo>
                    <a:lnTo>
                      <a:pt x="2091593" y="1660212"/>
                    </a:lnTo>
                    <a:lnTo>
                      <a:pt x="2090835" y="1660061"/>
                    </a:lnTo>
                    <a:lnTo>
                      <a:pt x="2088865" y="1660364"/>
                    </a:lnTo>
                    <a:lnTo>
                      <a:pt x="2089017" y="1662788"/>
                    </a:lnTo>
                    <a:lnTo>
                      <a:pt x="2088411" y="1664152"/>
                    </a:lnTo>
                    <a:lnTo>
                      <a:pt x="2088714" y="1664303"/>
                    </a:lnTo>
                    <a:close/>
                    <a:moveTo>
                      <a:pt x="2168565" y="1616726"/>
                    </a:moveTo>
                    <a:lnTo>
                      <a:pt x="2169929" y="1615514"/>
                    </a:lnTo>
                    <a:lnTo>
                      <a:pt x="2168868" y="1613241"/>
                    </a:lnTo>
                    <a:lnTo>
                      <a:pt x="2166596" y="1610362"/>
                    </a:lnTo>
                    <a:lnTo>
                      <a:pt x="2160383" y="1606574"/>
                    </a:lnTo>
                    <a:lnTo>
                      <a:pt x="2157959" y="1605968"/>
                    </a:lnTo>
                    <a:lnTo>
                      <a:pt x="2144322" y="1598240"/>
                    </a:lnTo>
                    <a:lnTo>
                      <a:pt x="2138110" y="1595361"/>
                    </a:lnTo>
                    <a:lnTo>
                      <a:pt x="2131746" y="1592937"/>
                    </a:lnTo>
                    <a:lnTo>
                      <a:pt x="2126140" y="1591422"/>
                    </a:lnTo>
                    <a:lnTo>
                      <a:pt x="2113260" y="1589300"/>
                    </a:lnTo>
                    <a:lnTo>
                      <a:pt x="2103108" y="1586876"/>
                    </a:lnTo>
                    <a:lnTo>
                      <a:pt x="2100078" y="1586725"/>
                    </a:lnTo>
                    <a:lnTo>
                      <a:pt x="2096593" y="1587331"/>
                    </a:lnTo>
                    <a:lnTo>
                      <a:pt x="2093562" y="1588694"/>
                    </a:lnTo>
                    <a:lnTo>
                      <a:pt x="2094775" y="1590816"/>
                    </a:lnTo>
                    <a:lnTo>
                      <a:pt x="2109927" y="1596876"/>
                    </a:lnTo>
                    <a:lnTo>
                      <a:pt x="2112957" y="1598846"/>
                    </a:lnTo>
                    <a:lnTo>
                      <a:pt x="2115685" y="1601271"/>
                    </a:lnTo>
                    <a:lnTo>
                      <a:pt x="2117048" y="1603846"/>
                    </a:lnTo>
                    <a:lnTo>
                      <a:pt x="2118715" y="1605968"/>
                    </a:lnTo>
                    <a:lnTo>
                      <a:pt x="2133109" y="1612180"/>
                    </a:lnTo>
                    <a:lnTo>
                      <a:pt x="2139776" y="1614150"/>
                    </a:lnTo>
                    <a:lnTo>
                      <a:pt x="2146595" y="1615210"/>
                    </a:lnTo>
                    <a:lnTo>
                      <a:pt x="2155686" y="1617332"/>
                    </a:lnTo>
                    <a:lnTo>
                      <a:pt x="2167202" y="1616877"/>
                    </a:lnTo>
                    <a:lnTo>
                      <a:pt x="2168565" y="1616726"/>
                    </a:lnTo>
                    <a:close/>
                    <a:moveTo>
                      <a:pt x="2218113" y="1794005"/>
                    </a:moveTo>
                    <a:lnTo>
                      <a:pt x="2213112" y="1793550"/>
                    </a:lnTo>
                    <a:lnTo>
                      <a:pt x="2213264" y="1794005"/>
                    </a:lnTo>
                    <a:lnTo>
                      <a:pt x="2215385" y="1795066"/>
                    </a:lnTo>
                    <a:lnTo>
                      <a:pt x="2218567" y="1795217"/>
                    </a:lnTo>
                    <a:lnTo>
                      <a:pt x="2222204" y="1794005"/>
                    </a:lnTo>
                    <a:lnTo>
                      <a:pt x="2223870" y="1791884"/>
                    </a:lnTo>
                    <a:lnTo>
                      <a:pt x="2220082" y="1793702"/>
                    </a:lnTo>
                    <a:lnTo>
                      <a:pt x="2218113" y="1794005"/>
                    </a:lnTo>
                    <a:close/>
                    <a:moveTo>
                      <a:pt x="1821583" y="1758246"/>
                    </a:moveTo>
                    <a:lnTo>
                      <a:pt x="1844311" y="1758246"/>
                    </a:lnTo>
                    <a:lnTo>
                      <a:pt x="1855675" y="1758246"/>
                    </a:lnTo>
                    <a:lnTo>
                      <a:pt x="1867039" y="1758246"/>
                    </a:lnTo>
                    <a:lnTo>
                      <a:pt x="1878403" y="1758246"/>
                    </a:lnTo>
                    <a:lnTo>
                      <a:pt x="1889767" y="1758246"/>
                    </a:lnTo>
                    <a:lnTo>
                      <a:pt x="1901131" y="1758246"/>
                    </a:lnTo>
                    <a:lnTo>
                      <a:pt x="1903859" y="1751731"/>
                    </a:lnTo>
                    <a:lnTo>
                      <a:pt x="1906434" y="1748700"/>
                    </a:lnTo>
                    <a:lnTo>
                      <a:pt x="1909919" y="1749761"/>
                    </a:lnTo>
                    <a:lnTo>
                      <a:pt x="1911738" y="1749609"/>
                    </a:lnTo>
                    <a:lnTo>
                      <a:pt x="1913707" y="1748094"/>
                    </a:lnTo>
                    <a:lnTo>
                      <a:pt x="1915374" y="1747185"/>
                    </a:lnTo>
                    <a:lnTo>
                      <a:pt x="1916435" y="1747337"/>
                    </a:lnTo>
                    <a:lnTo>
                      <a:pt x="1917344" y="1748700"/>
                    </a:lnTo>
                    <a:lnTo>
                      <a:pt x="1918101" y="1749609"/>
                    </a:lnTo>
                    <a:lnTo>
                      <a:pt x="1919011" y="1749306"/>
                    </a:lnTo>
                    <a:lnTo>
                      <a:pt x="1919768" y="1747943"/>
                    </a:lnTo>
                    <a:lnTo>
                      <a:pt x="1919768" y="1746124"/>
                    </a:lnTo>
                    <a:lnTo>
                      <a:pt x="1920829" y="1744761"/>
                    </a:lnTo>
                    <a:lnTo>
                      <a:pt x="1922041" y="1744609"/>
                    </a:lnTo>
                    <a:lnTo>
                      <a:pt x="1923253" y="1744609"/>
                    </a:lnTo>
                    <a:lnTo>
                      <a:pt x="1923859" y="1744003"/>
                    </a:lnTo>
                    <a:lnTo>
                      <a:pt x="1923859" y="1743094"/>
                    </a:lnTo>
                    <a:lnTo>
                      <a:pt x="1923405" y="1741579"/>
                    </a:lnTo>
                    <a:lnTo>
                      <a:pt x="1923556" y="1739760"/>
                    </a:lnTo>
                    <a:lnTo>
                      <a:pt x="1926435" y="1736579"/>
                    </a:lnTo>
                    <a:lnTo>
                      <a:pt x="1929920" y="1734457"/>
                    </a:lnTo>
                    <a:lnTo>
                      <a:pt x="1931132" y="1733397"/>
                    </a:lnTo>
                    <a:lnTo>
                      <a:pt x="1931435" y="1731275"/>
                    </a:lnTo>
                    <a:lnTo>
                      <a:pt x="1933405" y="1729003"/>
                    </a:lnTo>
                    <a:lnTo>
                      <a:pt x="1934466" y="1727639"/>
                    </a:lnTo>
                    <a:lnTo>
                      <a:pt x="1934769" y="1726578"/>
                    </a:lnTo>
                    <a:lnTo>
                      <a:pt x="1934314" y="1725215"/>
                    </a:lnTo>
                    <a:lnTo>
                      <a:pt x="1934314" y="1722639"/>
                    </a:lnTo>
                    <a:lnTo>
                      <a:pt x="1935072" y="1719457"/>
                    </a:lnTo>
                    <a:lnTo>
                      <a:pt x="1935981" y="1715972"/>
                    </a:lnTo>
                    <a:lnTo>
                      <a:pt x="1937799" y="1712790"/>
                    </a:lnTo>
                    <a:lnTo>
                      <a:pt x="1940829" y="1709456"/>
                    </a:lnTo>
                    <a:lnTo>
                      <a:pt x="1941587" y="1704911"/>
                    </a:lnTo>
                    <a:lnTo>
                      <a:pt x="1942496" y="1700214"/>
                    </a:lnTo>
                    <a:lnTo>
                      <a:pt x="1946284" y="1695668"/>
                    </a:lnTo>
                    <a:lnTo>
                      <a:pt x="1950527" y="1690365"/>
                    </a:lnTo>
                    <a:lnTo>
                      <a:pt x="1952951" y="1687334"/>
                    </a:lnTo>
                    <a:lnTo>
                      <a:pt x="1957345" y="1681880"/>
                    </a:lnTo>
                    <a:lnTo>
                      <a:pt x="1960376" y="1677940"/>
                    </a:lnTo>
                    <a:lnTo>
                      <a:pt x="1961891" y="1676122"/>
                    </a:lnTo>
                    <a:lnTo>
                      <a:pt x="1963558" y="1674000"/>
                    </a:lnTo>
                    <a:lnTo>
                      <a:pt x="1966134" y="1674607"/>
                    </a:lnTo>
                    <a:lnTo>
                      <a:pt x="1968709" y="1675213"/>
                    </a:lnTo>
                    <a:lnTo>
                      <a:pt x="1968255" y="1678243"/>
                    </a:lnTo>
                    <a:lnTo>
                      <a:pt x="1968709" y="1680516"/>
                    </a:lnTo>
                    <a:lnTo>
                      <a:pt x="1969922" y="1681728"/>
                    </a:lnTo>
                    <a:lnTo>
                      <a:pt x="1971740" y="1682637"/>
                    </a:lnTo>
                    <a:lnTo>
                      <a:pt x="1973103" y="1682940"/>
                    </a:lnTo>
                    <a:lnTo>
                      <a:pt x="1974770" y="1682940"/>
                    </a:lnTo>
                    <a:lnTo>
                      <a:pt x="1979164" y="1681273"/>
                    </a:lnTo>
                    <a:lnTo>
                      <a:pt x="1984316" y="1680213"/>
                    </a:lnTo>
                    <a:lnTo>
                      <a:pt x="1987195" y="1679152"/>
                    </a:lnTo>
                    <a:lnTo>
                      <a:pt x="1987650" y="1678243"/>
                    </a:lnTo>
                    <a:lnTo>
                      <a:pt x="1989013" y="1677940"/>
                    </a:lnTo>
                    <a:lnTo>
                      <a:pt x="1991134" y="1678243"/>
                    </a:lnTo>
                    <a:lnTo>
                      <a:pt x="1994923" y="1680667"/>
                    </a:lnTo>
                    <a:lnTo>
                      <a:pt x="1999317" y="1684304"/>
                    </a:lnTo>
                    <a:lnTo>
                      <a:pt x="2002802" y="1687183"/>
                    </a:lnTo>
                    <a:lnTo>
                      <a:pt x="2002953" y="1692183"/>
                    </a:lnTo>
                    <a:lnTo>
                      <a:pt x="2002953" y="1697486"/>
                    </a:lnTo>
                    <a:lnTo>
                      <a:pt x="2002953" y="1703093"/>
                    </a:lnTo>
                    <a:lnTo>
                      <a:pt x="2002953" y="1707184"/>
                    </a:lnTo>
                    <a:lnTo>
                      <a:pt x="2003105" y="1712638"/>
                    </a:lnTo>
                    <a:lnTo>
                      <a:pt x="2003105" y="1717032"/>
                    </a:lnTo>
                    <a:lnTo>
                      <a:pt x="2003256" y="1722790"/>
                    </a:lnTo>
                    <a:lnTo>
                      <a:pt x="2003256" y="1725821"/>
                    </a:lnTo>
                    <a:lnTo>
                      <a:pt x="2003711" y="1726730"/>
                    </a:lnTo>
                    <a:lnTo>
                      <a:pt x="2003408" y="1727942"/>
                    </a:lnTo>
                    <a:lnTo>
                      <a:pt x="2003256" y="1728548"/>
                    </a:lnTo>
                    <a:lnTo>
                      <a:pt x="2003256" y="1729003"/>
                    </a:lnTo>
                    <a:lnTo>
                      <a:pt x="2003408" y="1729609"/>
                    </a:lnTo>
                    <a:lnTo>
                      <a:pt x="2003408" y="1730518"/>
                    </a:lnTo>
                    <a:lnTo>
                      <a:pt x="2002953" y="1731275"/>
                    </a:lnTo>
                    <a:lnTo>
                      <a:pt x="2002802" y="1732184"/>
                    </a:lnTo>
                    <a:lnTo>
                      <a:pt x="2002802" y="1732639"/>
                    </a:lnTo>
                    <a:lnTo>
                      <a:pt x="2003105" y="1732487"/>
                    </a:lnTo>
                    <a:lnTo>
                      <a:pt x="2005226" y="1734760"/>
                    </a:lnTo>
                    <a:lnTo>
                      <a:pt x="2008105" y="1736579"/>
                    </a:lnTo>
                    <a:lnTo>
                      <a:pt x="2009923" y="1736427"/>
                    </a:lnTo>
                    <a:lnTo>
                      <a:pt x="2011438" y="1735063"/>
                    </a:lnTo>
                    <a:lnTo>
                      <a:pt x="2011893" y="1736427"/>
                    </a:lnTo>
                    <a:lnTo>
                      <a:pt x="2012196" y="1737639"/>
                    </a:lnTo>
                    <a:lnTo>
                      <a:pt x="2012650" y="1737791"/>
                    </a:lnTo>
                    <a:lnTo>
                      <a:pt x="2013105" y="1739003"/>
                    </a:lnTo>
                    <a:lnTo>
                      <a:pt x="2012802" y="1740215"/>
                    </a:lnTo>
                    <a:lnTo>
                      <a:pt x="2011893" y="1740821"/>
                    </a:lnTo>
                    <a:lnTo>
                      <a:pt x="2010984" y="1741276"/>
                    </a:lnTo>
                    <a:lnTo>
                      <a:pt x="2010832" y="1742185"/>
                    </a:lnTo>
                    <a:lnTo>
                      <a:pt x="2011287" y="1743094"/>
                    </a:lnTo>
                    <a:lnTo>
                      <a:pt x="2011893" y="1744003"/>
                    </a:lnTo>
                    <a:lnTo>
                      <a:pt x="2012650" y="1745518"/>
                    </a:lnTo>
                    <a:lnTo>
                      <a:pt x="2012347" y="1746730"/>
                    </a:lnTo>
                    <a:lnTo>
                      <a:pt x="2011741" y="1747791"/>
                    </a:lnTo>
                    <a:lnTo>
                      <a:pt x="2011438" y="1748852"/>
                    </a:lnTo>
                    <a:lnTo>
                      <a:pt x="2012044" y="1749761"/>
                    </a:lnTo>
                    <a:lnTo>
                      <a:pt x="2013559" y="1750973"/>
                    </a:lnTo>
                    <a:lnTo>
                      <a:pt x="2014469" y="1752185"/>
                    </a:lnTo>
                    <a:lnTo>
                      <a:pt x="2015832" y="1752791"/>
                    </a:lnTo>
                    <a:lnTo>
                      <a:pt x="2016438" y="1752337"/>
                    </a:lnTo>
                    <a:lnTo>
                      <a:pt x="2017045" y="1751731"/>
                    </a:lnTo>
                    <a:lnTo>
                      <a:pt x="2017651" y="1751276"/>
                    </a:lnTo>
                    <a:lnTo>
                      <a:pt x="2018711" y="1751579"/>
                    </a:lnTo>
                    <a:lnTo>
                      <a:pt x="2019923" y="1751882"/>
                    </a:lnTo>
                    <a:lnTo>
                      <a:pt x="2021136" y="1752337"/>
                    </a:lnTo>
                    <a:lnTo>
                      <a:pt x="2022196" y="1753246"/>
                    </a:lnTo>
                    <a:lnTo>
                      <a:pt x="2025075" y="1752791"/>
                    </a:lnTo>
                    <a:lnTo>
                      <a:pt x="2026590" y="1753246"/>
                    </a:lnTo>
                    <a:lnTo>
                      <a:pt x="2026893" y="1754913"/>
                    </a:lnTo>
                    <a:lnTo>
                      <a:pt x="2027802" y="1755973"/>
                    </a:lnTo>
                    <a:lnTo>
                      <a:pt x="2032348" y="1755367"/>
                    </a:lnTo>
                    <a:lnTo>
                      <a:pt x="2037651" y="1753397"/>
                    </a:lnTo>
                    <a:lnTo>
                      <a:pt x="2039621" y="1755064"/>
                    </a:lnTo>
                    <a:lnTo>
                      <a:pt x="2042045" y="1753852"/>
                    </a:lnTo>
                    <a:lnTo>
                      <a:pt x="2044773" y="1752034"/>
                    </a:lnTo>
                    <a:lnTo>
                      <a:pt x="2047652" y="1750670"/>
                    </a:lnTo>
                    <a:lnTo>
                      <a:pt x="2048712" y="1749609"/>
                    </a:lnTo>
                    <a:lnTo>
                      <a:pt x="2046591" y="1747033"/>
                    </a:lnTo>
                    <a:lnTo>
                      <a:pt x="2049167" y="1745670"/>
                    </a:lnTo>
                    <a:lnTo>
                      <a:pt x="2049773" y="1744761"/>
                    </a:lnTo>
                    <a:lnTo>
                      <a:pt x="2050834" y="1744155"/>
                    </a:lnTo>
                    <a:lnTo>
                      <a:pt x="2049773" y="1746124"/>
                    </a:lnTo>
                    <a:lnTo>
                      <a:pt x="2048561" y="1747640"/>
                    </a:lnTo>
                    <a:lnTo>
                      <a:pt x="2052804" y="1750821"/>
                    </a:lnTo>
                    <a:lnTo>
                      <a:pt x="2054773" y="1750821"/>
                    </a:lnTo>
                    <a:lnTo>
                      <a:pt x="2064016" y="1746882"/>
                    </a:lnTo>
                    <a:lnTo>
                      <a:pt x="2071137" y="1742336"/>
                    </a:lnTo>
                    <a:lnTo>
                      <a:pt x="2077350" y="1739912"/>
                    </a:lnTo>
                    <a:lnTo>
                      <a:pt x="2081744" y="1737185"/>
                    </a:lnTo>
                    <a:lnTo>
                      <a:pt x="2085077" y="1736730"/>
                    </a:lnTo>
                    <a:lnTo>
                      <a:pt x="2090078" y="1730821"/>
                    </a:lnTo>
                    <a:lnTo>
                      <a:pt x="2088714" y="1727487"/>
                    </a:lnTo>
                    <a:lnTo>
                      <a:pt x="2089017" y="1726427"/>
                    </a:lnTo>
                    <a:lnTo>
                      <a:pt x="2091593" y="1729154"/>
                    </a:lnTo>
                    <a:lnTo>
                      <a:pt x="2093108" y="1731275"/>
                    </a:lnTo>
                    <a:lnTo>
                      <a:pt x="2095229" y="1730518"/>
                    </a:lnTo>
                    <a:lnTo>
                      <a:pt x="2097654" y="1730215"/>
                    </a:lnTo>
                    <a:lnTo>
                      <a:pt x="2096593" y="1732033"/>
                    </a:lnTo>
                    <a:lnTo>
                      <a:pt x="2095381" y="1732942"/>
                    </a:lnTo>
                    <a:lnTo>
                      <a:pt x="2090987" y="1737336"/>
                    </a:lnTo>
                    <a:lnTo>
                      <a:pt x="2083714" y="1742488"/>
                    </a:lnTo>
                    <a:lnTo>
                      <a:pt x="2081441" y="1745973"/>
                    </a:lnTo>
                    <a:lnTo>
                      <a:pt x="2082501" y="1746730"/>
                    </a:lnTo>
                    <a:lnTo>
                      <a:pt x="2083562" y="1746882"/>
                    </a:lnTo>
                    <a:lnTo>
                      <a:pt x="2085835" y="1747791"/>
                    </a:lnTo>
                    <a:lnTo>
                      <a:pt x="2087653" y="1745821"/>
                    </a:lnTo>
                    <a:lnTo>
                      <a:pt x="2089926" y="1744912"/>
                    </a:lnTo>
                    <a:lnTo>
                      <a:pt x="2097199" y="1745670"/>
                    </a:lnTo>
                    <a:lnTo>
                      <a:pt x="2104017" y="1744912"/>
                    </a:lnTo>
                    <a:lnTo>
                      <a:pt x="2109018" y="1745973"/>
                    </a:lnTo>
                    <a:lnTo>
                      <a:pt x="2117048" y="1745367"/>
                    </a:lnTo>
                    <a:lnTo>
                      <a:pt x="2123715" y="1746427"/>
                    </a:lnTo>
                    <a:lnTo>
                      <a:pt x="2121139" y="1747943"/>
                    </a:lnTo>
                    <a:lnTo>
                      <a:pt x="2113260" y="1748246"/>
                    </a:lnTo>
                    <a:lnTo>
                      <a:pt x="2103866" y="1751428"/>
                    </a:lnTo>
                    <a:lnTo>
                      <a:pt x="2101442" y="1753852"/>
                    </a:lnTo>
                    <a:lnTo>
                      <a:pt x="2102805" y="1758094"/>
                    </a:lnTo>
                    <a:lnTo>
                      <a:pt x="2100078" y="1755064"/>
                    </a:lnTo>
                    <a:lnTo>
                      <a:pt x="2096744" y="1754306"/>
                    </a:lnTo>
                    <a:lnTo>
                      <a:pt x="2096441" y="1752640"/>
                    </a:lnTo>
                    <a:lnTo>
                      <a:pt x="2096593" y="1750973"/>
                    </a:lnTo>
                    <a:lnTo>
                      <a:pt x="2097048" y="1749912"/>
                    </a:lnTo>
                    <a:lnTo>
                      <a:pt x="2097351" y="1748549"/>
                    </a:lnTo>
                    <a:lnTo>
                      <a:pt x="2094169" y="1747640"/>
                    </a:lnTo>
                    <a:lnTo>
                      <a:pt x="2095229" y="1748700"/>
                    </a:lnTo>
                    <a:lnTo>
                      <a:pt x="2094017" y="1750367"/>
                    </a:lnTo>
                    <a:lnTo>
                      <a:pt x="2085684" y="1752943"/>
                    </a:lnTo>
                    <a:lnTo>
                      <a:pt x="2081592" y="1754913"/>
                    </a:lnTo>
                    <a:lnTo>
                      <a:pt x="2060986" y="1767034"/>
                    </a:lnTo>
                    <a:lnTo>
                      <a:pt x="2060076" y="1767792"/>
                    </a:lnTo>
                    <a:lnTo>
                      <a:pt x="2059016" y="1769156"/>
                    </a:lnTo>
                    <a:lnTo>
                      <a:pt x="2062804" y="1768095"/>
                    </a:lnTo>
                    <a:lnTo>
                      <a:pt x="2065077" y="1767034"/>
                    </a:lnTo>
                    <a:lnTo>
                      <a:pt x="2064622" y="1767943"/>
                    </a:lnTo>
                    <a:lnTo>
                      <a:pt x="2062046" y="1769762"/>
                    </a:lnTo>
                    <a:lnTo>
                      <a:pt x="2060228" y="1770822"/>
                    </a:lnTo>
                    <a:lnTo>
                      <a:pt x="2057652" y="1770974"/>
                    </a:lnTo>
                    <a:lnTo>
                      <a:pt x="2053864" y="1772034"/>
                    </a:lnTo>
                    <a:lnTo>
                      <a:pt x="2050985" y="1773853"/>
                    </a:lnTo>
                    <a:lnTo>
                      <a:pt x="2049167" y="1775822"/>
                    </a:lnTo>
                    <a:lnTo>
                      <a:pt x="2048258" y="1777035"/>
                    </a:lnTo>
                    <a:lnTo>
                      <a:pt x="2047652" y="1778095"/>
                    </a:lnTo>
                    <a:lnTo>
                      <a:pt x="2053258" y="1773398"/>
                    </a:lnTo>
                    <a:lnTo>
                      <a:pt x="2055228" y="1773550"/>
                    </a:lnTo>
                    <a:lnTo>
                      <a:pt x="2048864" y="1780368"/>
                    </a:lnTo>
                    <a:lnTo>
                      <a:pt x="2046288" y="1787793"/>
                    </a:lnTo>
                    <a:lnTo>
                      <a:pt x="2046288" y="1789914"/>
                    </a:lnTo>
                    <a:lnTo>
                      <a:pt x="2048106" y="1798854"/>
                    </a:lnTo>
                    <a:lnTo>
                      <a:pt x="2050531" y="1801278"/>
                    </a:lnTo>
                    <a:lnTo>
                      <a:pt x="2051440" y="1800066"/>
                    </a:lnTo>
                    <a:lnTo>
                      <a:pt x="2052046" y="1798854"/>
                    </a:lnTo>
                    <a:lnTo>
                      <a:pt x="2054622" y="1799460"/>
                    </a:lnTo>
                    <a:lnTo>
                      <a:pt x="2055985" y="1801429"/>
                    </a:lnTo>
                    <a:lnTo>
                      <a:pt x="2058713" y="1807187"/>
                    </a:lnTo>
                    <a:lnTo>
                      <a:pt x="2060834" y="1808096"/>
                    </a:lnTo>
                    <a:lnTo>
                      <a:pt x="2063561" y="1807490"/>
                    </a:lnTo>
                    <a:lnTo>
                      <a:pt x="2065834" y="1808702"/>
                    </a:lnTo>
                    <a:lnTo>
                      <a:pt x="2066743" y="1808551"/>
                    </a:lnTo>
                    <a:lnTo>
                      <a:pt x="2067349" y="1807339"/>
                    </a:lnTo>
                    <a:lnTo>
                      <a:pt x="2068562" y="1807187"/>
                    </a:lnTo>
                    <a:lnTo>
                      <a:pt x="2069774" y="1807642"/>
                    </a:lnTo>
                    <a:lnTo>
                      <a:pt x="2070228" y="1803702"/>
                    </a:lnTo>
                    <a:lnTo>
                      <a:pt x="2072804" y="1801732"/>
                    </a:lnTo>
                    <a:lnTo>
                      <a:pt x="2074471" y="1801581"/>
                    </a:lnTo>
                    <a:lnTo>
                      <a:pt x="2076744" y="1801732"/>
                    </a:lnTo>
                    <a:lnTo>
                      <a:pt x="2082956" y="1797035"/>
                    </a:lnTo>
                    <a:lnTo>
                      <a:pt x="2084017" y="1794914"/>
                    </a:lnTo>
                    <a:lnTo>
                      <a:pt x="2087653" y="1791884"/>
                    </a:lnTo>
                    <a:lnTo>
                      <a:pt x="2090684" y="1787793"/>
                    </a:lnTo>
                    <a:lnTo>
                      <a:pt x="2093714" y="1786277"/>
                    </a:lnTo>
                    <a:lnTo>
                      <a:pt x="2096138" y="1782338"/>
                    </a:lnTo>
                    <a:lnTo>
                      <a:pt x="2097351" y="1782792"/>
                    </a:lnTo>
                    <a:lnTo>
                      <a:pt x="2099017" y="1781429"/>
                    </a:lnTo>
                    <a:lnTo>
                      <a:pt x="2097957" y="1778701"/>
                    </a:lnTo>
                    <a:lnTo>
                      <a:pt x="2097199" y="1777641"/>
                    </a:lnTo>
                    <a:lnTo>
                      <a:pt x="2098563" y="1774156"/>
                    </a:lnTo>
                    <a:lnTo>
                      <a:pt x="2101896" y="1772944"/>
                    </a:lnTo>
                    <a:lnTo>
                      <a:pt x="2103714" y="1776277"/>
                    </a:lnTo>
                    <a:lnTo>
                      <a:pt x="2105230" y="1774307"/>
                    </a:lnTo>
                    <a:lnTo>
                      <a:pt x="2105230" y="1772944"/>
                    </a:lnTo>
                    <a:lnTo>
                      <a:pt x="2106442" y="1770974"/>
                    </a:lnTo>
                    <a:lnTo>
                      <a:pt x="2108563" y="1772337"/>
                    </a:lnTo>
                    <a:lnTo>
                      <a:pt x="2109472" y="1774307"/>
                    </a:lnTo>
                    <a:lnTo>
                      <a:pt x="2111442" y="1775519"/>
                    </a:lnTo>
                    <a:lnTo>
                      <a:pt x="2113109" y="1776277"/>
                    </a:lnTo>
                    <a:lnTo>
                      <a:pt x="2117200" y="1776428"/>
                    </a:lnTo>
                    <a:lnTo>
                      <a:pt x="2118412" y="1775216"/>
                    </a:lnTo>
                    <a:lnTo>
                      <a:pt x="2119018" y="1774307"/>
                    </a:lnTo>
                    <a:lnTo>
                      <a:pt x="2118715" y="1772034"/>
                    </a:lnTo>
                    <a:lnTo>
                      <a:pt x="2117503" y="1769610"/>
                    </a:lnTo>
                    <a:lnTo>
                      <a:pt x="2119170" y="1770519"/>
                    </a:lnTo>
                    <a:lnTo>
                      <a:pt x="2121594" y="1770974"/>
                    </a:lnTo>
                    <a:lnTo>
                      <a:pt x="2123715" y="1770519"/>
                    </a:lnTo>
                    <a:lnTo>
                      <a:pt x="2125685" y="1770822"/>
                    </a:lnTo>
                    <a:lnTo>
                      <a:pt x="2129776" y="1768549"/>
                    </a:lnTo>
                    <a:lnTo>
                      <a:pt x="2131594" y="1768701"/>
                    </a:lnTo>
                    <a:lnTo>
                      <a:pt x="2133109" y="1768549"/>
                    </a:lnTo>
                    <a:lnTo>
                      <a:pt x="2140383" y="1766125"/>
                    </a:lnTo>
                    <a:lnTo>
                      <a:pt x="2147352" y="1764155"/>
                    </a:lnTo>
                    <a:lnTo>
                      <a:pt x="2154171" y="1760973"/>
                    </a:lnTo>
                    <a:lnTo>
                      <a:pt x="2160686" y="1759004"/>
                    </a:lnTo>
                    <a:lnTo>
                      <a:pt x="2167050" y="1755973"/>
                    </a:lnTo>
                    <a:lnTo>
                      <a:pt x="2169020" y="1755670"/>
                    </a:lnTo>
                    <a:lnTo>
                      <a:pt x="2170990" y="1754458"/>
                    </a:lnTo>
                    <a:lnTo>
                      <a:pt x="2173111" y="1753700"/>
                    </a:lnTo>
                    <a:lnTo>
                      <a:pt x="2175081" y="1753549"/>
                    </a:lnTo>
                    <a:lnTo>
                      <a:pt x="2178111" y="1752640"/>
                    </a:lnTo>
                    <a:lnTo>
                      <a:pt x="2180990" y="1750973"/>
                    </a:lnTo>
                    <a:lnTo>
                      <a:pt x="2184172" y="1750215"/>
                    </a:lnTo>
                    <a:lnTo>
                      <a:pt x="2185990" y="1750973"/>
                    </a:lnTo>
                    <a:lnTo>
                      <a:pt x="2186899" y="1750367"/>
                    </a:lnTo>
                    <a:lnTo>
                      <a:pt x="2187960" y="1749003"/>
                    </a:lnTo>
                    <a:lnTo>
                      <a:pt x="2186899" y="1747640"/>
                    </a:lnTo>
                    <a:lnTo>
                      <a:pt x="2185990" y="1747033"/>
                    </a:lnTo>
                    <a:lnTo>
                      <a:pt x="2176293" y="1746427"/>
                    </a:lnTo>
                    <a:lnTo>
                      <a:pt x="2178566" y="1744912"/>
                    </a:lnTo>
                    <a:lnTo>
                      <a:pt x="2181141" y="1743851"/>
                    </a:lnTo>
                    <a:lnTo>
                      <a:pt x="2181293" y="1742639"/>
                    </a:lnTo>
                    <a:lnTo>
                      <a:pt x="2179323" y="1739306"/>
                    </a:lnTo>
                    <a:lnTo>
                      <a:pt x="2177202" y="1736730"/>
                    </a:lnTo>
                    <a:lnTo>
                      <a:pt x="2175384" y="1735366"/>
                    </a:lnTo>
                    <a:lnTo>
                      <a:pt x="2170838" y="1736882"/>
                    </a:lnTo>
                    <a:lnTo>
                      <a:pt x="2167505" y="1736427"/>
                    </a:lnTo>
                    <a:lnTo>
                      <a:pt x="2164777" y="1734457"/>
                    </a:lnTo>
                    <a:lnTo>
                      <a:pt x="2163868" y="1731578"/>
                    </a:lnTo>
                    <a:lnTo>
                      <a:pt x="2163565" y="1729760"/>
                    </a:lnTo>
                    <a:lnTo>
                      <a:pt x="2162656" y="1729154"/>
                    </a:lnTo>
                    <a:lnTo>
                      <a:pt x="2155535" y="1733851"/>
                    </a:lnTo>
                    <a:lnTo>
                      <a:pt x="2149928" y="1736124"/>
                    </a:lnTo>
                    <a:lnTo>
                      <a:pt x="2149171" y="1736882"/>
                    </a:lnTo>
                    <a:lnTo>
                      <a:pt x="2148262" y="1737488"/>
                    </a:lnTo>
                    <a:lnTo>
                      <a:pt x="2145383" y="1736124"/>
                    </a:lnTo>
                    <a:lnTo>
                      <a:pt x="2140837" y="1736579"/>
                    </a:lnTo>
                    <a:lnTo>
                      <a:pt x="2141746" y="1735366"/>
                    </a:lnTo>
                    <a:lnTo>
                      <a:pt x="2142201" y="1733548"/>
                    </a:lnTo>
                    <a:lnTo>
                      <a:pt x="2136443" y="1732336"/>
                    </a:lnTo>
                    <a:lnTo>
                      <a:pt x="2130988" y="1732184"/>
                    </a:lnTo>
                    <a:lnTo>
                      <a:pt x="2127958" y="1732942"/>
                    </a:lnTo>
                    <a:lnTo>
                      <a:pt x="2125837" y="1733094"/>
                    </a:lnTo>
                    <a:lnTo>
                      <a:pt x="2125231" y="1732184"/>
                    </a:lnTo>
                    <a:lnTo>
                      <a:pt x="2124018" y="1731124"/>
                    </a:lnTo>
                    <a:lnTo>
                      <a:pt x="2119927" y="1729003"/>
                    </a:lnTo>
                    <a:lnTo>
                      <a:pt x="2118260" y="1728851"/>
                    </a:lnTo>
                    <a:lnTo>
                      <a:pt x="2114624" y="1729457"/>
                    </a:lnTo>
                    <a:lnTo>
                      <a:pt x="2109927" y="1725972"/>
                    </a:lnTo>
                    <a:lnTo>
                      <a:pt x="2104927" y="1723851"/>
                    </a:lnTo>
                    <a:lnTo>
                      <a:pt x="2111139" y="1720972"/>
                    </a:lnTo>
                    <a:lnTo>
                      <a:pt x="2110078" y="1719608"/>
                    </a:lnTo>
                    <a:lnTo>
                      <a:pt x="2108866" y="1719002"/>
                    </a:lnTo>
                    <a:lnTo>
                      <a:pt x="2102654" y="1718093"/>
                    </a:lnTo>
                    <a:lnTo>
                      <a:pt x="2100836" y="1717184"/>
                    </a:lnTo>
                    <a:lnTo>
                      <a:pt x="2091744" y="1716426"/>
                    </a:lnTo>
                    <a:lnTo>
                      <a:pt x="2091290" y="1714002"/>
                    </a:lnTo>
                    <a:lnTo>
                      <a:pt x="2088865" y="1712487"/>
                    </a:lnTo>
                    <a:lnTo>
                      <a:pt x="2089017" y="1710062"/>
                    </a:lnTo>
                    <a:lnTo>
                      <a:pt x="2087653" y="1707032"/>
                    </a:lnTo>
                    <a:lnTo>
                      <a:pt x="2086593" y="1701577"/>
                    </a:lnTo>
                    <a:lnTo>
                      <a:pt x="2084168" y="1700668"/>
                    </a:lnTo>
                    <a:lnTo>
                      <a:pt x="2082350" y="1696426"/>
                    </a:lnTo>
                    <a:lnTo>
                      <a:pt x="2081744" y="1694153"/>
                    </a:lnTo>
                    <a:lnTo>
                      <a:pt x="2082805" y="1691728"/>
                    </a:lnTo>
                    <a:lnTo>
                      <a:pt x="2083714" y="1688243"/>
                    </a:lnTo>
                    <a:lnTo>
                      <a:pt x="2080683" y="1687334"/>
                    </a:lnTo>
                    <a:lnTo>
                      <a:pt x="2077956" y="1687183"/>
                    </a:lnTo>
                    <a:lnTo>
                      <a:pt x="2073865" y="1688547"/>
                    </a:lnTo>
                    <a:lnTo>
                      <a:pt x="2072047" y="1687940"/>
                    </a:lnTo>
                    <a:lnTo>
                      <a:pt x="2070380" y="1686880"/>
                    </a:lnTo>
                    <a:lnTo>
                      <a:pt x="2076744" y="1682334"/>
                    </a:lnTo>
                    <a:lnTo>
                      <a:pt x="2081441" y="1677637"/>
                    </a:lnTo>
                    <a:lnTo>
                      <a:pt x="2083108" y="1670667"/>
                    </a:lnTo>
                    <a:lnTo>
                      <a:pt x="2085532" y="1667031"/>
                    </a:lnTo>
                    <a:lnTo>
                      <a:pt x="2087199" y="1665212"/>
                    </a:lnTo>
                    <a:lnTo>
                      <a:pt x="2082501" y="1662636"/>
                    </a:lnTo>
                    <a:lnTo>
                      <a:pt x="2077804" y="1662788"/>
                    </a:lnTo>
                    <a:lnTo>
                      <a:pt x="2079017" y="1660970"/>
                    </a:lnTo>
                    <a:lnTo>
                      <a:pt x="2072804" y="1662182"/>
                    </a:lnTo>
                    <a:lnTo>
                      <a:pt x="2069622" y="1663697"/>
                    </a:lnTo>
                    <a:lnTo>
                      <a:pt x="2065834" y="1666576"/>
                    </a:lnTo>
                    <a:lnTo>
                      <a:pt x="2062501" y="1667182"/>
                    </a:lnTo>
                    <a:lnTo>
                      <a:pt x="2060834" y="1666273"/>
                    </a:lnTo>
                    <a:lnTo>
                      <a:pt x="2058410" y="1660515"/>
                    </a:lnTo>
                    <a:lnTo>
                      <a:pt x="2055834" y="1658697"/>
                    </a:lnTo>
                    <a:lnTo>
                      <a:pt x="2045985" y="1655970"/>
                    </a:lnTo>
                    <a:lnTo>
                      <a:pt x="2041894" y="1653394"/>
                    </a:lnTo>
                    <a:lnTo>
                      <a:pt x="2040076" y="1653242"/>
                    </a:lnTo>
                    <a:lnTo>
                      <a:pt x="2034469" y="1655212"/>
                    </a:lnTo>
                    <a:lnTo>
                      <a:pt x="2032500" y="1654757"/>
                    </a:lnTo>
                    <a:lnTo>
                      <a:pt x="2039470" y="1651424"/>
                    </a:lnTo>
                    <a:lnTo>
                      <a:pt x="2042955" y="1652182"/>
                    </a:lnTo>
                    <a:lnTo>
                      <a:pt x="2045076" y="1651575"/>
                    </a:lnTo>
                    <a:lnTo>
                      <a:pt x="2049622" y="1652030"/>
                    </a:lnTo>
                    <a:lnTo>
                      <a:pt x="2051591" y="1650515"/>
                    </a:lnTo>
                    <a:lnTo>
                      <a:pt x="2053864" y="1649000"/>
                    </a:lnTo>
                    <a:lnTo>
                      <a:pt x="2058561" y="1651727"/>
                    </a:lnTo>
                    <a:lnTo>
                      <a:pt x="2066137" y="1654454"/>
                    </a:lnTo>
                    <a:lnTo>
                      <a:pt x="2069319" y="1655212"/>
                    </a:lnTo>
                    <a:lnTo>
                      <a:pt x="2072047" y="1654909"/>
                    </a:lnTo>
                    <a:lnTo>
                      <a:pt x="2078107" y="1651878"/>
                    </a:lnTo>
                    <a:lnTo>
                      <a:pt x="2080229" y="1650060"/>
                    </a:lnTo>
                    <a:lnTo>
                      <a:pt x="2084017" y="1648848"/>
                    </a:lnTo>
                    <a:lnTo>
                      <a:pt x="2085532" y="1647787"/>
                    </a:lnTo>
                    <a:lnTo>
                      <a:pt x="2087199" y="1644909"/>
                    </a:lnTo>
                    <a:lnTo>
                      <a:pt x="2089168" y="1643090"/>
                    </a:lnTo>
                    <a:lnTo>
                      <a:pt x="2096896" y="1640969"/>
                    </a:lnTo>
                    <a:lnTo>
                      <a:pt x="2099472" y="1636575"/>
                    </a:lnTo>
                    <a:lnTo>
                      <a:pt x="2099623" y="1631575"/>
                    </a:lnTo>
                    <a:lnTo>
                      <a:pt x="2095078" y="1627635"/>
                    </a:lnTo>
                    <a:lnTo>
                      <a:pt x="2092350" y="1626272"/>
                    </a:lnTo>
                    <a:lnTo>
                      <a:pt x="2096290" y="1626272"/>
                    </a:lnTo>
                    <a:lnTo>
                      <a:pt x="2100684" y="1627484"/>
                    </a:lnTo>
                    <a:lnTo>
                      <a:pt x="2100533" y="1625059"/>
                    </a:lnTo>
                    <a:lnTo>
                      <a:pt x="2099320" y="1623393"/>
                    </a:lnTo>
                    <a:lnTo>
                      <a:pt x="2090987" y="1616877"/>
                    </a:lnTo>
                    <a:lnTo>
                      <a:pt x="2083562" y="1613847"/>
                    </a:lnTo>
                    <a:lnTo>
                      <a:pt x="2068259" y="1611422"/>
                    </a:lnTo>
                    <a:lnTo>
                      <a:pt x="2064774" y="1611271"/>
                    </a:lnTo>
                    <a:lnTo>
                      <a:pt x="2054925" y="1612635"/>
                    </a:lnTo>
                    <a:lnTo>
                      <a:pt x="2046894" y="1613089"/>
                    </a:lnTo>
                    <a:lnTo>
                      <a:pt x="2035379" y="1616120"/>
                    </a:lnTo>
                    <a:lnTo>
                      <a:pt x="2021136" y="1621877"/>
                    </a:lnTo>
                    <a:lnTo>
                      <a:pt x="2009014" y="1625665"/>
                    </a:lnTo>
                    <a:lnTo>
                      <a:pt x="2000074" y="1630060"/>
                    </a:lnTo>
                    <a:lnTo>
                      <a:pt x="1990529" y="1633696"/>
                    </a:lnTo>
                    <a:lnTo>
                      <a:pt x="1985225" y="1636726"/>
                    </a:lnTo>
                    <a:lnTo>
                      <a:pt x="1981892" y="1639757"/>
                    </a:lnTo>
                    <a:lnTo>
                      <a:pt x="1976588" y="1642636"/>
                    </a:lnTo>
                    <a:lnTo>
                      <a:pt x="1974619" y="1642939"/>
                    </a:lnTo>
                    <a:lnTo>
                      <a:pt x="1969922" y="1646121"/>
                    </a:lnTo>
                    <a:lnTo>
                      <a:pt x="1961133" y="1654151"/>
                    </a:lnTo>
                    <a:lnTo>
                      <a:pt x="1956588" y="1656879"/>
                    </a:lnTo>
                    <a:lnTo>
                      <a:pt x="1953557" y="1661879"/>
                    </a:lnTo>
                    <a:lnTo>
                      <a:pt x="1947496" y="1668849"/>
                    </a:lnTo>
                    <a:lnTo>
                      <a:pt x="1941587" y="1674152"/>
                    </a:lnTo>
                    <a:lnTo>
                      <a:pt x="1940224" y="1677334"/>
                    </a:lnTo>
                    <a:lnTo>
                      <a:pt x="1936132" y="1680364"/>
                    </a:lnTo>
                    <a:lnTo>
                      <a:pt x="1931435" y="1686274"/>
                    </a:lnTo>
                    <a:lnTo>
                      <a:pt x="1927799" y="1689153"/>
                    </a:lnTo>
                    <a:lnTo>
                      <a:pt x="1914768" y="1695365"/>
                    </a:lnTo>
                    <a:lnTo>
                      <a:pt x="1910374" y="1696577"/>
                    </a:lnTo>
                    <a:lnTo>
                      <a:pt x="1907344" y="1698698"/>
                    </a:lnTo>
                    <a:lnTo>
                      <a:pt x="1902495" y="1699911"/>
                    </a:lnTo>
                    <a:lnTo>
                      <a:pt x="1896131" y="1702183"/>
                    </a:lnTo>
                    <a:lnTo>
                      <a:pt x="1889919" y="1702941"/>
                    </a:lnTo>
                    <a:lnTo>
                      <a:pt x="1884161" y="1705668"/>
                    </a:lnTo>
                    <a:lnTo>
                      <a:pt x="1882040" y="1707032"/>
                    </a:lnTo>
                    <a:lnTo>
                      <a:pt x="1880524" y="1709456"/>
                    </a:lnTo>
                    <a:lnTo>
                      <a:pt x="1877039" y="1710669"/>
                    </a:lnTo>
                    <a:lnTo>
                      <a:pt x="1873554" y="1712487"/>
                    </a:lnTo>
                    <a:lnTo>
                      <a:pt x="1867039" y="1718396"/>
                    </a:lnTo>
                    <a:lnTo>
                      <a:pt x="1860069" y="1721123"/>
                    </a:lnTo>
                    <a:lnTo>
                      <a:pt x="1855372" y="1724305"/>
                    </a:lnTo>
                    <a:lnTo>
                      <a:pt x="1852796" y="1729306"/>
                    </a:lnTo>
                    <a:lnTo>
                      <a:pt x="1849614" y="1732942"/>
                    </a:lnTo>
                    <a:lnTo>
                      <a:pt x="1847038" y="1737185"/>
                    </a:lnTo>
                    <a:lnTo>
                      <a:pt x="1846584" y="1738700"/>
                    </a:lnTo>
                    <a:lnTo>
                      <a:pt x="1845674" y="1743094"/>
                    </a:lnTo>
                    <a:lnTo>
                      <a:pt x="1844614" y="1744306"/>
                    </a:lnTo>
                    <a:lnTo>
                      <a:pt x="1839008" y="1745367"/>
                    </a:lnTo>
                    <a:lnTo>
                      <a:pt x="1831280" y="1750518"/>
                    </a:lnTo>
                    <a:lnTo>
                      <a:pt x="1825219" y="1752337"/>
                    </a:lnTo>
                    <a:lnTo>
                      <a:pt x="1817037" y="1757337"/>
                    </a:lnTo>
                    <a:lnTo>
                      <a:pt x="1813098" y="1758549"/>
                    </a:lnTo>
                    <a:lnTo>
                      <a:pt x="1814310" y="1758549"/>
                    </a:lnTo>
                    <a:lnTo>
                      <a:pt x="1821583" y="1758246"/>
                    </a:lnTo>
                    <a:close/>
                    <a:moveTo>
                      <a:pt x="2152959" y="1715063"/>
                    </a:moveTo>
                    <a:lnTo>
                      <a:pt x="2157050" y="1712487"/>
                    </a:lnTo>
                    <a:lnTo>
                      <a:pt x="2161141" y="1710214"/>
                    </a:lnTo>
                    <a:lnTo>
                      <a:pt x="2160686" y="1709456"/>
                    </a:lnTo>
                    <a:lnTo>
                      <a:pt x="2159777" y="1708699"/>
                    </a:lnTo>
                    <a:lnTo>
                      <a:pt x="2157353" y="1707941"/>
                    </a:lnTo>
                    <a:lnTo>
                      <a:pt x="2150231" y="1708244"/>
                    </a:lnTo>
                    <a:lnTo>
                      <a:pt x="2143110" y="1708850"/>
                    </a:lnTo>
                    <a:lnTo>
                      <a:pt x="2142352" y="1709153"/>
                    </a:lnTo>
                    <a:lnTo>
                      <a:pt x="2135382" y="1709911"/>
                    </a:lnTo>
                    <a:lnTo>
                      <a:pt x="2130837" y="1710062"/>
                    </a:lnTo>
                    <a:lnTo>
                      <a:pt x="2126594" y="1708699"/>
                    </a:lnTo>
                    <a:lnTo>
                      <a:pt x="2124321" y="1707032"/>
                    </a:lnTo>
                    <a:lnTo>
                      <a:pt x="2123109" y="1706881"/>
                    </a:lnTo>
                    <a:lnTo>
                      <a:pt x="2121897" y="1707184"/>
                    </a:lnTo>
                    <a:lnTo>
                      <a:pt x="2119776" y="1705971"/>
                    </a:lnTo>
                    <a:lnTo>
                      <a:pt x="2115685" y="1705214"/>
                    </a:lnTo>
                    <a:lnTo>
                      <a:pt x="2114169" y="1707941"/>
                    </a:lnTo>
                    <a:lnTo>
                      <a:pt x="2112806" y="1708850"/>
                    </a:lnTo>
                    <a:lnTo>
                      <a:pt x="2112048" y="1708396"/>
                    </a:lnTo>
                    <a:lnTo>
                      <a:pt x="2111442" y="1707487"/>
                    </a:lnTo>
                    <a:lnTo>
                      <a:pt x="2109472" y="1707032"/>
                    </a:lnTo>
                    <a:lnTo>
                      <a:pt x="2110230" y="1705971"/>
                    </a:lnTo>
                    <a:lnTo>
                      <a:pt x="2110533" y="1704759"/>
                    </a:lnTo>
                    <a:lnTo>
                      <a:pt x="2110078" y="1703547"/>
                    </a:lnTo>
                    <a:lnTo>
                      <a:pt x="2109472" y="1702486"/>
                    </a:lnTo>
                    <a:lnTo>
                      <a:pt x="2104472" y="1697789"/>
                    </a:lnTo>
                    <a:lnTo>
                      <a:pt x="2107351" y="1693092"/>
                    </a:lnTo>
                    <a:lnTo>
                      <a:pt x="2106896" y="1690668"/>
                    </a:lnTo>
                    <a:lnTo>
                      <a:pt x="2107048" y="1687940"/>
                    </a:lnTo>
                    <a:lnTo>
                      <a:pt x="2102502" y="1691577"/>
                    </a:lnTo>
                    <a:lnTo>
                      <a:pt x="2100684" y="1693395"/>
                    </a:lnTo>
                    <a:lnTo>
                      <a:pt x="2099169" y="1695668"/>
                    </a:lnTo>
                    <a:lnTo>
                      <a:pt x="2097199" y="1697941"/>
                    </a:lnTo>
                    <a:lnTo>
                      <a:pt x="2095835" y="1700668"/>
                    </a:lnTo>
                    <a:lnTo>
                      <a:pt x="2096290" y="1702335"/>
                    </a:lnTo>
                    <a:lnTo>
                      <a:pt x="2100533" y="1702638"/>
                    </a:lnTo>
                    <a:lnTo>
                      <a:pt x="2103260" y="1703699"/>
                    </a:lnTo>
                    <a:lnTo>
                      <a:pt x="2104017" y="1705062"/>
                    </a:lnTo>
                    <a:lnTo>
                      <a:pt x="2103866" y="1709759"/>
                    </a:lnTo>
                    <a:lnTo>
                      <a:pt x="2106290" y="1710517"/>
                    </a:lnTo>
                    <a:lnTo>
                      <a:pt x="2110684" y="1710365"/>
                    </a:lnTo>
                    <a:lnTo>
                      <a:pt x="2113412" y="1710669"/>
                    </a:lnTo>
                    <a:lnTo>
                      <a:pt x="2113563" y="1711123"/>
                    </a:lnTo>
                    <a:lnTo>
                      <a:pt x="2113260" y="1711578"/>
                    </a:lnTo>
                    <a:lnTo>
                      <a:pt x="2112200" y="1711729"/>
                    </a:lnTo>
                    <a:lnTo>
                      <a:pt x="2114018" y="1714457"/>
                    </a:lnTo>
                    <a:lnTo>
                      <a:pt x="2116442" y="1716426"/>
                    </a:lnTo>
                    <a:lnTo>
                      <a:pt x="2118412" y="1717184"/>
                    </a:lnTo>
                    <a:lnTo>
                      <a:pt x="2126442" y="1719154"/>
                    </a:lnTo>
                    <a:lnTo>
                      <a:pt x="2128109" y="1719002"/>
                    </a:lnTo>
                    <a:lnTo>
                      <a:pt x="2129776" y="1718093"/>
                    </a:lnTo>
                    <a:lnTo>
                      <a:pt x="2126594" y="1717638"/>
                    </a:lnTo>
                    <a:lnTo>
                      <a:pt x="2128715" y="1716426"/>
                    </a:lnTo>
                    <a:lnTo>
                      <a:pt x="2130837" y="1715820"/>
                    </a:lnTo>
                    <a:lnTo>
                      <a:pt x="2132503" y="1714305"/>
                    </a:lnTo>
                    <a:lnTo>
                      <a:pt x="2134625" y="1713547"/>
                    </a:lnTo>
                    <a:lnTo>
                      <a:pt x="2134170" y="1714305"/>
                    </a:lnTo>
                    <a:lnTo>
                      <a:pt x="2132655" y="1715063"/>
                    </a:lnTo>
                    <a:lnTo>
                      <a:pt x="2132503" y="1716578"/>
                    </a:lnTo>
                    <a:lnTo>
                      <a:pt x="2133564" y="1717790"/>
                    </a:lnTo>
                    <a:lnTo>
                      <a:pt x="2135231" y="1717638"/>
                    </a:lnTo>
                    <a:lnTo>
                      <a:pt x="2136746" y="1720063"/>
                    </a:lnTo>
                    <a:lnTo>
                      <a:pt x="2133261" y="1722033"/>
                    </a:lnTo>
                    <a:lnTo>
                      <a:pt x="2134019" y="1722336"/>
                    </a:lnTo>
                    <a:lnTo>
                      <a:pt x="2136443" y="1722033"/>
                    </a:lnTo>
                    <a:lnTo>
                      <a:pt x="2137201" y="1724305"/>
                    </a:lnTo>
                    <a:lnTo>
                      <a:pt x="2139170" y="1725215"/>
                    </a:lnTo>
                    <a:lnTo>
                      <a:pt x="2140837" y="1725366"/>
                    </a:lnTo>
                    <a:lnTo>
                      <a:pt x="2146595" y="1725063"/>
                    </a:lnTo>
                    <a:lnTo>
                      <a:pt x="2148110" y="1724305"/>
                    </a:lnTo>
                    <a:lnTo>
                      <a:pt x="2147504" y="1723548"/>
                    </a:lnTo>
                    <a:lnTo>
                      <a:pt x="2146443" y="1723396"/>
                    </a:lnTo>
                    <a:lnTo>
                      <a:pt x="2146595" y="1720972"/>
                    </a:lnTo>
                    <a:lnTo>
                      <a:pt x="2146292" y="1718699"/>
                    </a:lnTo>
                    <a:lnTo>
                      <a:pt x="2147049" y="1717487"/>
                    </a:lnTo>
                    <a:lnTo>
                      <a:pt x="2152959" y="1715063"/>
                    </a:lnTo>
                    <a:close/>
                    <a:moveTo>
                      <a:pt x="1835523" y="1743549"/>
                    </a:moveTo>
                    <a:lnTo>
                      <a:pt x="1839462" y="1742639"/>
                    </a:lnTo>
                    <a:lnTo>
                      <a:pt x="1843099" y="1743245"/>
                    </a:lnTo>
                    <a:lnTo>
                      <a:pt x="1845220" y="1742639"/>
                    </a:lnTo>
                    <a:lnTo>
                      <a:pt x="1845674" y="1741882"/>
                    </a:lnTo>
                    <a:lnTo>
                      <a:pt x="1845978" y="1739912"/>
                    </a:lnTo>
                    <a:lnTo>
                      <a:pt x="1847644" y="1734609"/>
                    </a:lnTo>
                    <a:lnTo>
                      <a:pt x="1846432" y="1734760"/>
                    </a:lnTo>
                    <a:lnTo>
                      <a:pt x="1841886" y="1739457"/>
                    </a:lnTo>
                    <a:lnTo>
                      <a:pt x="1837341" y="1740973"/>
                    </a:lnTo>
                    <a:lnTo>
                      <a:pt x="1834462" y="1743549"/>
                    </a:lnTo>
                    <a:lnTo>
                      <a:pt x="1835523" y="1743549"/>
                    </a:lnTo>
                    <a:close/>
                    <a:moveTo>
                      <a:pt x="2166293" y="1676728"/>
                    </a:moveTo>
                    <a:lnTo>
                      <a:pt x="2168565" y="1675364"/>
                    </a:lnTo>
                    <a:lnTo>
                      <a:pt x="2170384" y="1672940"/>
                    </a:lnTo>
                    <a:lnTo>
                      <a:pt x="2173111" y="1670819"/>
                    </a:lnTo>
                    <a:lnTo>
                      <a:pt x="2175990" y="1670667"/>
                    </a:lnTo>
                    <a:lnTo>
                      <a:pt x="2178111" y="1668091"/>
                    </a:lnTo>
                    <a:lnTo>
                      <a:pt x="2175990" y="1667788"/>
                    </a:lnTo>
                    <a:lnTo>
                      <a:pt x="2174020" y="1668243"/>
                    </a:lnTo>
                    <a:lnTo>
                      <a:pt x="2171899" y="1669606"/>
                    </a:lnTo>
                    <a:lnTo>
                      <a:pt x="2166444" y="1674000"/>
                    </a:lnTo>
                    <a:lnTo>
                      <a:pt x="2163717" y="1675516"/>
                    </a:lnTo>
                    <a:lnTo>
                      <a:pt x="2161444" y="1682183"/>
                    </a:lnTo>
                    <a:lnTo>
                      <a:pt x="2162959" y="1682637"/>
                    </a:lnTo>
                    <a:lnTo>
                      <a:pt x="2166141" y="1682486"/>
                    </a:lnTo>
                    <a:lnTo>
                      <a:pt x="2167808" y="1681273"/>
                    </a:lnTo>
                    <a:lnTo>
                      <a:pt x="2166596" y="1680971"/>
                    </a:lnTo>
                    <a:lnTo>
                      <a:pt x="2164929" y="1680971"/>
                    </a:lnTo>
                    <a:lnTo>
                      <a:pt x="2164020" y="1680364"/>
                    </a:lnTo>
                    <a:lnTo>
                      <a:pt x="2164777" y="1678243"/>
                    </a:lnTo>
                    <a:lnTo>
                      <a:pt x="2166293" y="1676728"/>
                    </a:lnTo>
                    <a:close/>
                    <a:moveTo>
                      <a:pt x="1912798" y="1693698"/>
                    </a:moveTo>
                    <a:lnTo>
                      <a:pt x="1912192" y="1694910"/>
                    </a:lnTo>
                    <a:lnTo>
                      <a:pt x="1914616" y="1694607"/>
                    </a:lnTo>
                    <a:lnTo>
                      <a:pt x="1917647" y="1692941"/>
                    </a:lnTo>
                    <a:lnTo>
                      <a:pt x="1920071" y="1690365"/>
                    </a:lnTo>
                    <a:lnTo>
                      <a:pt x="1918556" y="1690365"/>
                    </a:lnTo>
                    <a:lnTo>
                      <a:pt x="1916132" y="1691577"/>
                    </a:lnTo>
                    <a:lnTo>
                      <a:pt x="1912798" y="1693698"/>
                    </a:lnTo>
                    <a:close/>
                    <a:moveTo>
                      <a:pt x="2242205" y="1553542"/>
                    </a:moveTo>
                    <a:lnTo>
                      <a:pt x="2253569" y="1542935"/>
                    </a:lnTo>
                    <a:lnTo>
                      <a:pt x="2254175" y="1540511"/>
                    </a:lnTo>
                    <a:lnTo>
                      <a:pt x="2254781" y="1539753"/>
                    </a:lnTo>
                    <a:lnTo>
                      <a:pt x="2257054" y="1538389"/>
                    </a:lnTo>
                    <a:lnTo>
                      <a:pt x="2258872" y="1537935"/>
                    </a:lnTo>
                    <a:lnTo>
                      <a:pt x="2263569" y="1538389"/>
                    </a:lnTo>
                    <a:lnTo>
                      <a:pt x="2268569" y="1537783"/>
                    </a:lnTo>
                    <a:lnTo>
                      <a:pt x="2270387" y="1537329"/>
                    </a:lnTo>
                    <a:lnTo>
                      <a:pt x="2274933" y="1534450"/>
                    </a:lnTo>
                    <a:lnTo>
                      <a:pt x="2277206" y="1533541"/>
                    </a:lnTo>
                    <a:lnTo>
                      <a:pt x="2285691" y="1532026"/>
                    </a:lnTo>
                    <a:lnTo>
                      <a:pt x="2290085" y="1531723"/>
                    </a:lnTo>
                    <a:lnTo>
                      <a:pt x="2295691" y="1533086"/>
                    </a:lnTo>
                    <a:lnTo>
                      <a:pt x="2297813" y="1532935"/>
                    </a:lnTo>
                    <a:lnTo>
                      <a:pt x="2299025" y="1532480"/>
                    </a:lnTo>
                    <a:lnTo>
                      <a:pt x="2310692" y="1524298"/>
                    </a:lnTo>
                    <a:lnTo>
                      <a:pt x="2317965" y="1520056"/>
                    </a:lnTo>
                    <a:lnTo>
                      <a:pt x="2325238" y="1515207"/>
                    </a:lnTo>
                    <a:lnTo>
                      <a:pt x="2334026" y="1507631"/>
                    </a:lnTo>
                    <a:lnTo>
                      <a:pt x="2334632" y="1505661"/>
                    </a:lnTo>
                    <a:lnTo>
                      <a:pt x="2334178" y="1503843"/>
                    </a:lnTo>
                    <a:lnTo>
                      <a:pt x="2331602" y="1502479"/>
                    </a:lnTo>
                    <a:lnTo>
                      <a:pt x="2330238" y="1501418"/>
                    </a:lnTo>
                    <a:lnTo>
                      <a:pt x="2325541" y="1499146"/>
                    </a:lnTo>
                    <a:lnTo>
                      <a:pt x="2325389" y="1498236"/>
                    </a:lnTo>
                    <a:lnTo>
                      <a:pt x="2328571" y="1499146"/>
                    </a:lnTo>
                    <a:lnTo>
                      <a:pt x="2331905" y="1499297"/>
                    </a:lnTo>
                    <a:lnTo>
                      <a:pt x="2333572" y="1498236"/>
                    </a:lnTo>
                    <a:lnTo>
                      <a:pt x="2333874" y="1496873"/>
                    </a:lnTo>
                    <a:lnTo>
                      <a:pt x="2332814" y="1495206"/>
                    </a:lnTo>
                    <a:lnTo>
                      <a:pt x="2330238" y="1493994"/>
                    </a:lnTo>
                    <a:lnTo>
                      <a:pt x="2324480" y="1492933"/>
                    </a:lnTo>
                    <a:lnTo>
                      <a:pt x="2319631" y="1492933"/>
                    </a:lnTo>
                    <a:lnTo>
                      <a:pt x="2317056" y="1492630"/>
                    </a:lnTo>
                    <a:lnTo>
                      <a:pt x="2317965" y="1491570"/>
                    </a:lnTo>
                    <a:lnTo>
                      <a:pt x="2321450" y="1491570"/>
                    </a:lnTo>
                    <a:lnTo>
                      <a:pt x="2330238" y="1489751"/>
                    </a:lnTo>
                    <a:lnTo>
                      <a:pt x="2331450" y="1488994"/>
                    </a:lnTo>
                    <a:lnTo>
                      <a:pt x="2330996" y="1487782"/>
                    </a:lnTo>
                    <a:lnTo>
                      <a:pt x="2329480" y="1485660"/>
                    </a:lnTo>
                    <a:lnTo>
                      <a:pt x="2329935" y="1482478"/>
                    </a:lnTo>
                    <a:lnTo>
                      <a:pt x="2330693" y="1480509"/>
                    </a:lnTo>
                    <a:lnTo>
                      <a:pt x="2329026" y="1475963"/>
                    </a:lnTo>
                    <a:lnTo>
                      <a:pt x="2331299" y="1470963"/>
                    </a:lnTo>
                    <a:lnTo>
                      <a:pt x="2331602" y="1468084"/>
                    </a:lnTo>
                    <a:lnTo>
                      <a:pt x="2331147" y="1466872"/>
                    </a:lnTo>
                    <a:lnTo>
                      <a:pt x="2329784" y="1465357"/>
                    </a:lnTo>
                    <a:lnTo>
                      <a:pt x="2329480" y="1464447"/>
                    </a:lnTo>
                    <a:lnTo>
                      <a:pt x="2329632" y="1463235"/>
                    </a:lnTo>
                    <a:lnTo>
                      <a:pt x="2328268" y="1461417"/>
                    </a:lnTo>
                    <a:lnTo>
                      <a:pt x="2326753" y="1458387"/>
                    </a:lnTo>
                    <a:lnTo>
                      <a:pt x="2322814" y="1453992"/>
                    </a:lnTo>
                    <a:lnTo>
                      <a:pt x="2318420" y="1453538"/>
                    </a:lnTo>
                    <a:lnTo>
                      <a:pt x="2316147" y="1452629"/>
                    </a:lnTo>
                    <a:lnTo>
                      <a:pt x="2313722" y="1449144"/>
                    </a:lnTo>
                    <a:lnTo>
                      <a:pt x="2313116" y="1447477"/>
                    </a:lnTo>
                    <a:lnTo>
                      <a:pt x="2311449" y="1447477"/>
                    </a:lnTo>
                    <a:lnTo>
                      <a:pt x="2306752" y="1447780"/>
                    </a:lnTo>
                    <a:lnTo>
                      <a:pt x="2302813" y="1448386"/>
                    </a:lnTo>
                    <a:lnTo>
                      <a:pt x="2298116" y="1450811"/>
                    </a:lnTo>
                    <a:lnTo>
                      <a:pt x="2292358" y="1456114"/>
                    </a:lnTo>
                    <a:lnTo>
                      <a:pt x="2289327" y="1458387"/>
                    </a:lnTo>
                    <a:lnTo>
                      <a:pt x="2287812" y="1454902"/>
                    </a:lnTo>
                    <a:lnTo>
                      <a:pt x="2286903" y="1453992"/>
                    </a:lnTo>
                    <a:lnTo>
                      <a:pt x="2284024" y="1453386"/>
                    </a:lnTo>
                    <a:lnTo>
                      <a:pt x="2284176" y="1452932"/>
                    </a:lnTo>
                    <a:lnTo>
                      <a:pt x="2285085" y="1452174"/>
                    </a:lnTo>
                    <a:lnTo>
                      <a:pt x="2291752" y="1449144"/>
                    </a:lnTo>
                    <a:lnTo>
                      <a:pt x="2294176" y="1447629"/>
                    </a:lnTo>
                    <a:lnTo>
                      <a:pt x="2294782" y="1446265"/>
                    </a:lnTo>
                    <a:lnTo>
                      <a:pt x="2294328" y="1444144"/>
                    </a:lnTo>
                    <a:lnTo>
                      <a:pt x="2292964" y="1441265"/>
                    </a:lnTo>
                    <a:lnTo>
                      <a:pt x="2287055" y="1432325"/>
                    </a:lnTo>
                    <a:lnTo>
                      <a:pt x="2281600" y="1431264"/>
                    </a:lnTo>
                    <a:lnTo>
                      <a:pt x="2265842" y="1429901"/>
                    </a:lnTo>
                    <a:lnTo>
                      <a:pt x="2262660" y="1430961"/>
                    </a:lnTo>
                    <a:lnTo>
                      <a:pt x="2261448" y="1432022"/>
                    </a:lnTo>
                    <a:lnTo>
                      <a:pt x="2261296" y="1432628"/>
                    </a:lnTo>
                    <a:lnTo>
                      <a:pt x="2262508" y="1434143"/>
                    </a:lnTo>
                    <a:lnTo>
                      <a:pt x="2266296" y="1433537"/>
                    </a:lnTo>
                    <a:lnTo>
                      <a:pt x="2269327" y="1433689"/>
                    </a:lnTo>
                    <a:lnTo>
                      <a:pt x="2273115" y="1434598"/>
                    </a:lnTo>
                    <a:lnTo>
                      <a:pt x="2272963" y="1435052"/>
                    </a:lnTo>
                    <a:lnTo>
                      <a:pt x="2268872" y="1435052"/>
                    </a:lnTo>
                    <a:lnTo>
                      <a:pt x="2262357" y="1436416"/>
                    </a:lnTo>
                    <a:lnTo>
                      <a:pt x="2253417" y="1439143"/>
                    </a:lnTo>
                    <a:lnTo>
                      <a:pt x="2246144" y="1442931"/>
                    </a:lnTo>
                    <a:lnTo>
                      <a:pt x="2240386" y="1447780"/>
                    </a:lnTo>
                    <a:lnTo>
                      <a:pt x="2235083" y="1451568"/>
                    </a:lnTo>
                    <a:lnTo>
                      <a:pt x="2230234" y="1454144"/>
                    </a:lnTo>
                    <a:lnTo>
                      <a:pt x="2226901" y="1455508"/>
                    </a:lnTo>
                    <a:lnTo>
                      <a:pt x="2221143" y="1456720"/>
                    </a:lnTo>
                    <a:lnTo>
                      <a:pt x="2219628" y="1457629"/>
                    </a:lnTo>
                    <a:lnTo>
                      <a:pt x="2216749" y="1460811"/>
                    </a:lnTo>
                    <a:lnTo>
                      <a:pt x="2212355" y="1463993"/>
                    </a:lnTo>
                    <a:lnTo>
                      <a:pt x="2207355" y="1465508"/>
                    </a:lnTo>
                    <a:lnTo>
                      <a:pt x="2207203" y="1465054"/>
                    </a:lnTo>
                    <a:lnTo>
                      <a:pt x="2207052" y="1464599"/>
                    </a:lnTo>
                    <a:lnTo>
                      <a:pt x="2209021" y="1463538"/>
                    </a:lnTo>
                    <a:lnTo>
                      <a:pt x="2209627" y="1462478"/>
                    </a:lnTo>
                    <a:lnTo>
                      <a:pt x="2208112" y="1461872"/>
                    </a:lnTo>
                    <a:lnTo>
                      <a:pt x="2208567" y="1460659"/>
                    </a:lnTo>
                    <a:lnTo>
                      <a:pt x="2212203" y="1458538"/>
                    </a:lnTo>
                    <a:lnTo>
                      <a:pt x="2213719" y="1457174"/>
                    </a:lnTo>
                    <a:lnTo>
                      <a:pt x="2212052" y="1455508"/>
                    </a:lnTo>
                    <a:lnTo>
                      <a:pt x="2206294" y="1452629"/>
                    </a:lnTo>
                    <a:lnTo>
                      <a:pt x="2205536" y="1450962"/>
                    </a:lnTo>
                    <a:lnTo>
                      <a:pt x="2209173" y="1452629"/>
                    </a:lnTo>
                    <a:lnTo>
                      <a:pt x="2212355" y="1453083"/>
                    </a:lnTo>
                    <a:lnTo>
                      <a:pt x="2213112" y="1452629"/>
                    </a:lnTo>
                    <a:lnTo>
                      <a:pt x="2213567" y="1451720"/>
                    </a:lnTo>
                    <a:lnTo>
                      <a:pt x="2214022" y="1449295"/>
                    </a:lnTo>
                    <a:lnTo>
                      <a:pt x="2214628" y="1448083"/>
                    </a:lnTo>
                    <a:lnTo>
                      <a:pt x="2215840" y="1447023"/>
                    </a:lnTo>
                    <a:lnTo>
                      <a:pt x="2219628" y="1445356"/>
                    </a:lnTo>
                    <a:lnTo>
                      <a:pt x="2220992" y="1444295"/>
                    </a:lnTo>
                    <a:lnTo>
                      <a:pt x="2222961" y="1443992"/>
                    </a:lnTo>
                    <a:lnTo>
                      <a:pt x="2225537" y="1444447"/>
                    </a:lnTo>
                    <a:lnTo>
                      <a:pt x="2229780" y="1444295"/>
                    </a:lnTo>
                    <a:lnTo>
                      <a:pt x="2237810" y="1440810"/>
                    </a:lnTo>
                    <a:lnTo>
                      <a:pt x="2242205" y="1439447"/>
                    </a:lnTo>
                    <a:lnTo>
                      <a:pt x="2242962" y="1438992"/>
                    </a:lnTo>
                    <a:lnTo>
                      <a:pt x="2243871" y="1437780"/>
                    </a:lnTo>
                    <a:lnTo>
                      <a:pt x="2245538" y="1436871"/>
                    </a:lnTo>
                    <a:lnTo>
                      <a:pt x="2247659" y="1436416"/>
                    </a:lnTo>
                    <a:lnTo>
                      <a:pt x="2250993" y="1436568"/>
                    </a:lnTo>
                    <a:lnTo>
                      <a:pt x="2253417" y="1436113"/>
                    </a:lnTo>
                    <a:lnTo>
                      <a:pt x="2255538" y="1434143"/>
                    </a:lnTo>
                    <a:lnTo>
                      <a:pt x="2258872" y="1429446"/>
                    </a:lnTo>
                    <a:lnTo>
                      <a:pt x="2260993" y="1428537"/>
                    </a:lnTo>
                    <a:lnTo>
                      <a:pt x="2264781" y="1427325"/>
                    </a:lnTo>
                    <a:lnTo>
                      <a:pt x="2266296" y="1426113"/>
                    </a:lnTo>
                    <a:lnTo>
                      <a:pt x="2266599" y="1424901"/>
                    </a:lnTo>
                    <a:lnTo>
                      <a:pt x="2273721" y="1423688"/>
                    </a:lnTo>
                    <a:lnTo>
                      <a:pt x="2278873" y="1423537"/>
                    </a:lnTo>
                    <a:lnTo>
                      <a:pt x="2282661" y="1421567"/>
                    </a:lnTo>
                    <a:lnTo>
                      <a:pt x="2284782" y="1418688"/>
                    </a:lnTo>
                    <a:lnTo>
                      <a:pt x="2287055" y="1416718"/>
                    </a:lnTo>
                    <a:lnTo>
                      <a:pt x="2287055" y="1415961"/>
                    </a:lnTo>
                    <a:lnTo>
                      <a:pt x="2284933" y="1414143"/>
                    </a:lnTo>
                    <a:lnTo>
                      <a:pt x="2280994" y="1413688"/>
                    </a:lnTo>
                    <a:lnTo>
                      <a:pt x="2278266" y="1412779"/>
                    </a:lnTo>
                    <a:lnTo>
                      <a:pt x="2275539" y="1411112"/>
                    </a:lnTo>
                    <a:lnTo>
                      <a:pt x="2272812" y="1408991"/>
                    </a:lnTo>
                    <a:lnTo>
                      <a:pt x="2271903" y="1405051"/>
                    </a:lnTo>
                    <a:lnTo>
                      <a:pt x="2269327" y="1404748"/>
                    </a:lnTo>
                    <a:lnTo>
                      <a:pt x="2265539" y="1405354"/>
                    </a:lnTo>
                    <a:lnTo>
                      <a:pt x="2264781" y="1407324"/>
                    </a:lnTo>
                    <a:lnTo>
                      <a:pt x="2259932" y="1408839"/>
                    </a:lnTo>
                    <a:lnTo>
                      <a:pt x="2257205" y="1408536"/>
                    </a:lnTo>
                    <a:lnTo>
                      <a:pt x="2249478" y="1406415"/>
                    </a:lnTo>
                    <a:lnTo>
                      <a:pt x="2246599" y="1402021"/>
                    </a:lnTo>
                    <a:lnTo>
                      <a:pt x="2244629" y="1398081"/>
                    </a:lnTo>
                    <a:lnTo>
                      <a:pt x="2243568" y="1394445"/>
                    </a:lnTo>
                    <a:lnTo>
                      <a:pt x="2241144" y="1393233"/>
                    </a:lnTo>
                    <a:lnTo>
                      <a:pt x="2236447" y="1392627"/>
                    </a:lnTo>
                    <a:lnTo>
                      <a:pt x="2234629" y="1394445"/>
                    </a:lnTo>
                    <a:lnTo>
                      <a:pt x="2232659" y="1397172"/>
                    </a:lnTo>
                    <a:lnTo>
                      <a:pt x="2231750" y="1398081"/>
                    </a:lnTo>
                    <a:lnTo>
                      <a:pt x="2222961" y="1404445"/>
                    </a:lnTo>
                    <a:lnTo>
                      <a:pt x="2220537" y="1407173"/>
                    </a:lnTo>
                    <a:lnTo>
                      <a:pt x="2221143" y="1405203"/>
                    </a:lnTo>
                    <a:lnTo>
                      <a:pt x="2223113" y="1402324"/>
                    </a:lnTo>
                    <a:lnTo>
                      <a:pt x="2230083" y="1395202"/>
                    </a:lnTo>
                    <a:lnTo>
                      <a:pt x="2231447" y="1393384"/>
                    </a:lnTo>
                    <a:lnTo>
                      <a:pt x="2229325" y="1392627"/>
                    </a:lnTo>
                    <a:lnTo>
                      <a:pt x="2226901" y="1393536"/>
                    </a:lnTo>
                    <a:lnTo>
                      <a:pt x="2224628" y="1392627"/>
                    </a:lnTo>
                    <a:lnTo>
                      <a:pt x="2224476" y="1389899"/>
                    </a:lnTo>
                    <a:lnTo>
                      <a:pt x="2222810" y="1388384"/>
                    </a:lnTo>
                    <a:lnTo>
                      <a:pt x="2219931" y="1388990"/>
                    </a:lnTo>
                    <a:lnTo>
                      <a:pt x="2218113" y="1390354"/>
                    </a:lnTo>
                    <a:lnTo>
                      <a:pt x="2210385" y="1391263"/>
                    </a:lnTo>
                    <a:lnTo>
                      <a:pt x="2207052" y="1393536"/>
                    </a:lnTo>
                    <a:lnTo>
                      <a:pt x="2201142" y="1398384"/>
                    </a:lnTo>
                    <a:lnTo>
                      <a:pt x="2199476" y="1398687"/>
                    </a:lnTo>
                    <a:lnTo>
                      <a:pt x="2202051" y="1396112"/>
                    </a:lnTo>
                    <a:lnTo>
                      <a:pt x="2204021" y="1393384"/>
                    </a:lnTo>
                    <a:lnTo>
                      <a:pt x="2204476" y="1391717"/>
                    </a:lnTo>
                    <a:lnTo>
                      <a:pt x="2206446" y="1387020"/>
                    </a:lnTo>
                    <a:lnTo>
                      <a:pt x="2210234" y="1383990"/>
                    </a:lnTo>
                    <a:lnTo>
                      <a:pt x="2211143" y="1382626"/>
                    </a:lnTo>
                    <a:lnTo>
                      <a:pt x="2207961" y="1379747"/>
                    </a:lnTo>
                    <a:lnTo>
                      <a:pt x="2206749" y="1377626"/>
                    </a:lnTo>
                    <a:lnTo>
                      <a:pt x="2205233" y="1376262"/>
                    </a:lnTo>
                    <a:lnTo>
                      <a:pt x="2206446" y="1373990"/>
                    </a:lnTo>
                    <a:lnTo>
                      <a:pt x="2207052" y="1371111"/>
                    </a:lnTo>
                    <a:lnTo>
                      <a:pt x="2205082" y="1370959"/>
                    </a:lnTo>
                    <a:lnTo>
                      <a:pt x="2203415" y="1370353"/>
                    </a:lnTo>
                    <a:lnTo>
                      <a:pt x="2200991" y="1373383"/>
                    </a:lnTo>
                    <a:lnTo>
                      <a:pt x="2200233" y="1370050"/>
                    </a:lnTo>
                    <a:lnTo>
                      <a:pt x="2199173" y="1369595"/>
                    </a:lnTo>
                    <a:lnTo>
                      <a:pt x="2196294" y="1367171"/>
                    </a:lnTo>
                    <a:lnTo>
                      <a:pt x="2196142" y="1365050"/>
                    </a:lnTo>
                    <a:lnTo>
                      <a:pt x="2193718" y="1364444"/>
                    </a:lnTo>
                    <a:lnTo>
                      <a:pt x="2191900" y="1365959"/>
                    </a:lnTo>
                    <a:lnTo>
                      <a:pt x="2189021" y="1367929"/>
                    </a:lnTo>
                    <a:lnTo>
                      <a:pt x="2186445" y="1367777"/>
                    </a:lnTo>
                    <a:lnTo>
                      <a:pt x="2185536" y="1366868"/>
                    </a:lnTo>
                    <a:lnTo>
                      <a:pt x="2185233" y="1365201"/>
                    </a:lnTo>
                    <a:lnTo>
                      <a:pt x="2183718" y="1364292"/>
                    </a:lnTo>
                    <a:lnTo>
                      <a:pt x="2179172" y="1363535"/>
                    </a:lnTo>
                    <a:lnTo>
                      <a:pt x="2176747" y="1362777"/>
                    </a:lnTo>
                    <a:lnTo>
                      <a:pt x="2176747" y="1361716"/>
                    </a:lnTo>
                    <a:lnTo>
                      <a:pt x="2180839" y="1360807"/>
                    </a:lnTo>
                    <a:lnTo>
                      <a:pt x="2180232" y="1359747"/>
                    </a:lnTo>
                    <a:lnTo>
                      <a:pt x="2179172" y="1354292"/>
                    </a:lnTo>
                    <a:lnTo>
                      <a:pt x="2177657" y="1354140"/>
                    </a:lnTo>
                    <a:lnTo>
                      <a:pt x="2173869" y="1354746"/>
                    </a:lnTo>
                    <a:lnTo>
                      <a:pt x="2169626" y="1353837"/>
                    </a:lnTo>
                    <a:lnTo>
                      <a:pt x="2169777" y="1351564"/>
                    </a:lnTo>
                    <a:lnTo>
                      <a:pt x="2175535" y="1350049"/>
                    </a:lnTo>
                    <a:lnTo>
                      <a:pt x="2177505" y="1348837"/>
                    </a:lnTo>
                    <a:lnTo>
                      <a:pt x="2175081" y="1347625"/>
                    </a:lnTo>
                    <a:lnTo>
                      <a:pt x="2170232" y="1347322"/>
                    </a:lnTo>
                    <a:lnTo>
                      <a:pt x="2163414" y="1346261"/>
                    </a:lnTo>
                    <a:lnTo>
                      <a:pt x="2161444" y="1345049"/>
                    </a:lnTo>
                    <a:lnTo>
                      <a:pt x="2164474" y="1343079"/>
                    </a:lnTo>
                    <a:lnTo>
                      <a:pt x="2168262" y="1342928"/>
                    </a:lnTo>
                    <a:lnTo>
                      <a:pt x="2168868" y="1342322"/>
                    </a:lnTo>
                    <a:lnTo>
                      <a:pt x="2166747" y="1340655"/>
                    </a:lnTo>
                    <a:lnTo>
                      <a:pt x="2165535" y="1340049"/>
                    </a:lnTo>
                    <a:lnTo>
                      <a:pt x="2161747" y="1339746"/>
                    </a:lnTo>
                    <a:lnTo>
                      <a:pt x="2158262" y="1336716"/>
                    </a:lnTo>
                    <a:lnTo>
                      <a:pt x="2150686" y="1334291"/>
                    </a:lnTo>
                    <a:lnTo>
                      <a:pt x="2147959" y="1331564"/>
                    </a:lnTo>
                    <a:lnTo>
                      <a:pt x="2149019" y="1330958"/>
                    </a:lnTo>
                    <a:lnTo>
                      <a:pt x="2151444" y="1330200"/>
                    </a:lnTo>
                    <a:lnTo>
                      <a:pt x="2153565" y="1330352"/>
                    </a:lnTo>
                    <a:lnTo>
                      <a:pt x="2151140" y="1332170"/>
                    </a:lnTo>
                    <a:lnTo>
                      <a:pt x="2151595" y="1332927"/>
                    </a:lnTo>
                    <a:lnTo>
                      <a:pt x="2159929" y="1335503"/>
                    </a:lnTo>
                    <a:lnTo>
                      <a:pt x="2174475" y="1337170"/>
                    </a:lnTo>
                    <a:lnTo>
                      <a:pt x="2178869" y="1336109"/>
                    </a:lnTo>
                    <a:lnTo>
                      <a:pt x="2178869" y="1332473"/>
                    </a:lnTo>
                    <a:lnTo>
                      <a:pt x="2178414" y="1329442"/>
                    </a:lnTo>
                    <a:lnTo>
                      <a:pt x="2179626" y="1326715"/>
                    </a:lnTo>
                    <a:lnTo>
                      <a:pt x="2179930" y="1323230"/>
                    </a:lnTo>
                    <a:lnTo>
                      <a:pt x="2171899" y="1316412"/>
                    </a:lnTo>
                    <a:lnTo>
                      <a:pt x="2169475" y="1315957"/>
                    </a:lnTo>
                    <a:lnTo>
                      <a:pt x="2167202" y="1316412"/>
                    </a:lnTo>
                    <a:lnTo>
                      <a:pt x="2165535" y="1315957"/>
                    </a:lnTo>
                    <a:lnTo>
                      <a:pt x="2163262" y="1314745"/>
                    </a:lnTo>
                    <a:lnTo>
                      <a:pt x="2162353" y="1313987"/>
                    </a:lnTo>
                    <a:lnTo>
                      <a:pt x="2163414" y="1312927"/>
                    </a:lnTo>
                    <a:lnTo>
                      <a:pt x="2164929" y="1310048"/>
                    </a:lnTo>
                    <a:lnTo>
                      <a:pt x="2165989" y="1309139"/>
                    </a:lnTo>
                    <a:lnTo>
                      <a:pt x="2165989" y="1308684"/>
                    </a:lnTo>
                    <a:lnTo>
                      <a:pt x="2164020" y="1307169"/>
                    </a:lnTo>
                    <a:lnTo>
                      <a:pt x="2159474" y="1305957"/>
                    </a:lnTo>
                    <a:lnTo>
                      <a:pt x="2156595" y="1305957"/>
                    </a:lnTo>
                    <a:lnTo>
                      <a:pt x="2153565" y="1306563"/>
                    </a:lnTo>
                    <a:lnTo>
                      <a:pt x="2150989" y="1306260"/>
                    </a:lnTo>
                    <a:lnTo>
                      <a:pt x="2149322" y="1305654"/>
                    </a:lnTo>
                    <a:lnTo>
                      <a:pt x="2148262" y="1304593"/>
                    </a:lnTo>
                    <a:lnTo>
                      <a:pt x="2151444" y="1305048"/>
                    </a:lnTo>
                    <a:lnTo>
                      <a:pt x="2152504" y="1304745"/>
                    </a:lnTo>
                    <a:lnTo>
                      <a:pt x="2154777" y="1303078"/>
                    </a:lnTo>
                    <a:lnTo>
                      <a:pt x="2157201" y="1302775"/>
                    </a:lnTo>
                    <a:lnTo>
                      <a:pt x="2159474" y="1301714"/>
                    </a:lnTo>
                    <a:lnTo>
                      <a:pt x="2162656" y="1299744"/>
                    </a:lnTo>
                    <a:lnTo>
                      <a:pt x="2163717" y="1297472"/>
                    </a:lnTo>
                    <a:lnTo>
                      <a:pt x="2162050" y="1293532"/>
                    </a:lnTo>
                    <a:lnTo>
                      <a:pt x="2162808" y="1292168"/>
                    </a:lnTo>
                    <a:lnTo>
                      <a:pt x="2164323" y="1291259"/>
                    </a:lnTo>
                    <a:lnTo>
                      <a:pt x="2164777" y="1289896"/>
                    </a:lnTo>
                    <a:lnTo>
                      <a:pt x="2163111" y="1287926"/>
                    </a:lnTo>
                    <a:lnTo>
                      <a:pt x="2158716" y="1285805"/>
                    </a:lnTo>
                    <a:lnTo>
                      <a:pt x="2156444" y="1286108"/>
                    </a:lnTo>
                    <a:lnTo>
                      <a:pt x="2153565" y="1285350"/>
                    </a:lnTo>
                    <a:lnTo>
                      <a:pt x="2148565" y="1278077"/>
                    </a:lnTo>
                    <a:lnTo>
                      <a:pt x="2145837" y="1277925"/>
                    </a:lnTo>
                    <a:lnTo>
                      <a:pt x="2139625" y="1279138"/>
                    </a:lnTo>
                    <a:lnTo>
                      <a:pt x="2135079" y="1280501"/>
                    </a:lnTo>
                    <a:lnTo>
                      <a:pt x="2128564" y="1284138"/>
                    </a:lnTo>
                    <a:lnTo>
                      <a:pt x="2127503" y="1283683"/>
                    </a:lnTo>
                    <a:lnTo>
                      <a:pt x="2130534" y="1280956"/>
                    </a:lnTo>
                    <a:lnTo>
                      <a:pt x="2132958" y="1279289"/>
                    </a:lnTo>
                    <a:lnTo>
                      <a:pt x="2139776" y="1276410"/>
                    </a:lnTo>
                    <a:lnTo>
                      <a:pt x="2143564" y="1271713"/>
                    </a:lnTo>
                    <a:lnTo>
                      <a:pt x="2145837" y="1265501"/>
                    </a:lnTo>
                    <a:lnTo>
                      <a:pt x="2145383" y="1264592"/>
                    </a:lnTo>
                    <a:lnTo>
                      <a:pt x="2141898" y="1264743"/>
                    </a:lnTo>
                    <a:lnTo>
                      <a:pt x="2139170" y="1265198"/>
                    </a:lnTo>
                    <a:lnTo>
                      <a:pt x="2132655" y="1267774"/>
                    </a:lnTo>
                    <a:lnTo>
                      <a:pt x="2131140" y="1267925"/>
                    </a:lnTo>
                    <a:lnTo>
                      <a:pt x="2131443" y="1266713"/>
                    </a:lnTo>
                    <a:lnTo>
                      <a:pt x="2130685" y="1265955"/>
                    </a:lnTo>
                    <a:lnTo>
                      <a:pt x="2128867" y="1265652"/>
                    </a:lnTo>
                    <a:lnTo>
                      <a:pt x="2126442" y="1266713"/>
                    </a:lnTo>
                    <a:lnTo>
                      <a:pt x="2121594" y="1271107"/>
                    </a:lnTo>
                    <a:lnTo>
                      <a:pt x="2119927" y="1271107"/>
                    </a:lnTo>
                    <a:lnTo>
                      <a:pt x="2122654" y="1268380"/>
                    </a:lnTo>
                    <a:lnTo>
                      <a:pt x="2124018" y="1266258"/>
                    </a:lnTo>
                    <a:lnTo>
                      <a:pt x="2128715" y="1263531"/>
                    </a:lnTo>
                    <a:lnTo>
                      <a:pt x="2131897" y="1262470"/>
                    </a:lnTo>
                    <a:lnTo>
                      <a:pt x="2138110" y="1257470"/>
                    </a:lnTo>
                    <a:lnTo>
                      <a:pt x="2136746" y="1253682"/>
                    </a:lnTo>
                    <a:lnTo>
                      <a:pt x="2134473" y="1250046"/>
                    </a:lnTo>
                    <a:lnTo>
                      <a:pt x="2133261" y="1249137"/>
                    </a:lnTo>
                    <a:lnTo>
                      <a:pt x="2129625" y="1249894"/>
                    </a:lnTo>
                    <a:lnTo>
                      <a:pt x="2127049" y="1249440"/>
                    </a:lnTo>
                    <a:lnTo>
                      <a:pt x="2128715" y="1247621"/>
                    </a:lnTo>
                    <a:lnTo>
                      <a:pt x="2128867" y="1247015"/>
                    </a:lnTo>
                    <a:lnTo>
                      <a:pt x="2127200" y="1243985"/>
                    </a:lnTo>
                    <a:lnTo>
                      <a:pt x="2126442" y="1243076"/>
                    </a:lnTo>
                    <a:lnTo>
                      <a:pt x="2126594" y="1242773"/>
                    </a:lnTo>
                    <a:lnTo>
                      <a:pt x="2128867" y="1241864"/>
                    </a:lnTo>
                    <a:lnTo>
                      <a:pt x="2128109" y="1241409"/>
                    </a:lnTo>
                    <a:lnTo>
                      <a:pt x="2125988" y="1240803"/>
                    </a:lnTo>
                    <a:lnTo>
                      <a:pt x="2124018" y="1240954"/>
                    </a:lnTo>
                    <a:lnTo>
                      <a:pt x="2119473" y="1242318"/>
                    </a:lnTo>
                    <a:lnTo>
                      <a:pt x="2113260" y="1243076"/>
                    </a:lnTo>
                    <a:lnTo>
                      <a:pt x="2109169" y="1243076"/>
                    </a:lnTo>
                    <a:lnTo>
                      <a:pt x="2108412" y="1242015"/>
                    </a:lnTo>
                    <a:lnTo>
                      <a:pt x="2110078" y="1241561"/>
                    </a:lnTo>
                    <a:lnTo>
                      <a:pt x="2114321" y="1241712"/>
                    </a:lnTo>
                    <a:lnTo>
                      <a:pt x="2117351" y="1241106"/>
                    </a:lnTo>
                    <a:lnTo>
                      <a:pt x="2121139" y="1239591"/>
                    </a:lnTo>
                    <a:lnTo>
                      <a:pt x="2123564" y="1236409"/>
                    </a:lnTo>
                    <a:lnTo>
                      <a:pt x="2120079" y="1230802"/>
                    </a:lnTo>
                    <a:lnTo>
                      <a:pt x="2117351" y="1230499"/>
                    </a:lnTo>
                    <a:lnTo>
                      <a:pt x="2114169" y="1233075"/>
                    </a:lnTo>
                    <a:lnTo>
                      <a:pt x="2113563" y="1233075"/>
                    </a:lnTo>
                    <a:lnTo>
                      <a:pt x="2114018" y="1231409"/>
                    </a:lnTo>
                    <a:lnTo>
                      <a:pt x="2113412" y="1230196"/>
                    </a:lnTo>
                    <a:lnTo>
                      <a:pt x="2108866" y="1228984"/>
                    </a:lnTo>
                    <a:lnTo>
                      <a:pt x="2108109" y="1227772"/>
                    </a:lnTo>
                    <a:lnTo>
                      <a:pt x="2111442" y="1226257"/>
                    </a:lnTo>
                    <a:lnTo>
                      <a:pt x="2114169" y="1223681"/>
                    </a:lnTo>
                    <a:lnTo>
                      <a:pt x="2111745" y="1221105"/>
                    </a:lnTo>
                    <a:lnTo>
                      <a:pt x="2109321" y="1218226"/>
                    </a:lnTo>
                    <a:lnTo>
                      <a:pt x="2108260" y="1216105"/>
                    </a:lnTo>
                    <a:lnTo>
                      <a:pt x="2107957" y="1213832"/>
                    </a:lnTo>
                    <a:lnTo>
                      <a:pt x="2105836" y="1210953"/>
                    </a:lnTo>
                    <a:lnTo>
                      <a:pt x="2103260" y="1212165"/>
                    </a:lnTo>
                    <a:lnTo>
                      <a:pt x="2101139" y="1214287"/>
                    </a:lnTo>
                    <a:lnTo>
                      <a:pt x="2102654" y="1210044"/>
                    </a:lnTo>
                    <a:lnTo>
                      <a:pt x="2102199" y="1204892"/>
                    </a:lnTo>
                    <a:lnTo>
                      <a:pt x="2099472" y="1201104"/>
                    </a:lnTo>
                    <a:lnTo>
                      <a:pt x="2096138" y="1201104"/>
                    </a:lnTo>
                    <a:lnTo>
                      <a:pt x="2092047" y="1202014"/>
                    </a:lnTo>
                    <a:lnTo>
                      <a:pt x="2087350" y="1203832"/>
                    </a:lnTo>
                    <a:lnTo>
                      <a:pt x="2085835" y="1203377"/>
                    </a:lnTo>
                    <a:lnTo>
                      <a:pt x="2087350" y="1202317"/>
                    </a:lnTo>
                    <a:lnTo>
                      <a:pt x="2092502" y="1199892"/>
                    </a:lnTo>
                    <a:lnTo>
                      <a:pt x="2095532" y="1196710"/>
                    </a:lnTo>
                    <a:lnTo>
                      <a:pt x="2095078" y="1194438"/>
                    </a:lnTo>
                    <a:lnTo>
                      <a:pt x="2093411" y="1192771"/>
                    </a:lnTo>
                    <a:lnTo>
                      <a:pt x="2087805" y="1190043"/>
                    </a:lnTo>
                    <a:lnTo>
                      <a:pt x="2084774" y="1190195"/>
                    </a:lnTo>
                    <a:lnTo>
                      <a:pt x="2084017" y="1191104"/>
                    </a:lnTo>
                    <a:lnTo>
                      <a:pt x="2082805" y="1192013"/>
                    </a:lnTo>
                    <a:lnTo>
                      <a:pt x="2081592" y="1193377"/>
                    </a:lnTo>
                    <a:lnTo>
                      <a:pt x="2077653" y="1201104"/>
                    </a:lnTo>
                    <a:lnTo>
                      <a:pt x="2076744" y="1203983"/>
                    </a:lnTo>
                    <a:lnTo>
                      <a:pt x="2074925" y="1207468"/>
                    </a:lnTo>
                    <a:lnTo>
                      <a:pt x="2074622" y="1209135"/>
                    </a:lnTo>
                    <a:lnTo>
                      <a:pt x="2075229" y="1210650"/>
                    </a:lnTo>
                    <a:lnTo>
                      <a:pt x="2076441" y="1211862"/>
                    </a:lnTo>
                    <a:lnTo>
                      <a:pt x="2078713" y="1213075"/>
                    </a:lnTo>
                    <a:lnTo>
                      <a:pt x="2077956" y="1213832"/>
                    </a:lnTo>
                    <a:lnTo>
                      <a:pt x="2073713" y="1211559"/>
                    </a:lnTo>
                    <a:lnTo>
                      <a:pt x="2071592" y="1211256"/>
                    </a:lnTo>
                    <a:lnTo>
                      <a:pt x="2069774" y="1211559"/>
                    </a:lnTo>
                    <a:lnTo>
                      <a:pt x="2068410" y="1212165"/>
                    </a:lnTo>
                    <a:lnTo>
                      <a:pt x="2067653" y="1212923"/>
                    </a:lnTo>
                    <a:lnTo>
                      <a:pt x="2066289" y="1216408"/>
                    </a:lnTo>
                    <a:lnTo>
                      <a:pt x="2066137" y="1218075"/>
                    </a:lnTo>
                    <a:lnTo>
                      <a:pt x="2066440" y="1219438"/>
                    </a:lnTo>
                    <a:lnTo>
                      <a:pt x="2068259" y="1222620"/>
                    </a:lnTo>
                    <a:lnTo>
                      <a:pt x="2069925" y="1223833"/>
                    </a:lnTo>
                    <a:lnTo>
                      <a:pt x="2072198" y="1224439"/>
                    </a:lnTo>
                    <a:lnTo>
                      <a:pt x="2074774" y="1225802"/>
                    </a:lnTo>
                    <a:lnTo>
                      <a:pt x="2077501" y="1227924"/>
                    </a:lnTo>
                    <a:lnTo>
                      <a:pt x="2078410" y="1228833"/>
                    </a:lnTo>
                    <a:lnTo>
                      <a:pt x="2077350" y="1229287"/>
                    </a:lnTo>
                    <a:lnTo>
                      <a:pt x="2071895" y="1225802"/>
                    </a:lnTo>
                    <a:lnTo>
                      <a:pt x="2069774" y="1225196"/>
                    </a:lnTo>
                    <a:lnTo>
                      <a:pt x="2066289" y="1225499"/>
                    </a:lnTo>
                    <a:lnTo>
                      <a:pt x="2065834" y="1226408"/>
                    </a:lnTo>
                    <a:lnTo>
                      <a:pt x="2068107" y="1231106"/>
                    </a:lnTo>
                    <a:lnTo>
                      <a:pt x="2067956" y="1231712"/>
                    </a:lnTo>
                    <a:lnTo>
                      <a:pt x="2065228" y="1230348"/>
                    </a:lnTo>
                    <a:lnTo>
                      <a:pt x="2064319" y="1231560"/>
                    </a:lnTo>
                    <a:lnTo>
                      <a:pt x="2063410" y="1234590"/>
                    </a:lnTo>
                    <a:lnTo>
                      <a:pt x="2062652" y="1235803"/>
                    </a:lnTo>
                    <a:lnTo>
                      <a:pt x="2061137" y="1235197"/>
                    </a:lnTo>
                    <a:lnTo>
                      <a:pt x="2060228" y="1235197"/>
                    </a:lnTo>
                    <a:lnTo>
                      <a:pt x="2060076" y="1235803"/>
                    </a:lnTo>
                    <a:lnTo>
                      <a:pt x="2060986" y="1238227"/>
                    </a:lnTo>
                    <a:lnTo>
                      <a:pt x="2061743" y="1239288"/>
                    </a:lnTo>
                    <a:lnTo>
                      <a:pt x="2062652" y="1240045"/>
                    </a:lnTo>
                    <a:lnTo>
                      <a:pt x="2065683" y="1240803"/>
                    </a:lnTo>
                    <a:lnTo>
                      <a:pt x="2068713" y="1242015"/>
                    </a:lnTo>
                    <a:lnTo>
                      <a:pt x="2068410" y="1242924"/>
                    </a:lnTo>
                    <a:lnTo>
                      <a:pt x="2064925" y="1243076"/>
                    </a:lnTo>
                    <a:lnTo>
                      <a:pt x="2064470" y="1243985"/>
                    </a:lnTo>
                    <a:lnTo>
                      <a:pt x="2060380" y="1243227"/>
                    </a:lnTo>
                    <a:lnTo>
                      <a:pt x="2059622" y="1243530"/>
                    </a:lnTo>
                    <a:lnTo>
                      <a:pt x="2059622" y="1244439"/>
                    </a:lnTo>
                    <a:lnTo>
                      <a:pt x="2060076" y="1245803"/>
                    </a:lnTo>
                    <a:lnTo>
                      <a:pt x="2057652" y="1245349"/>
                    </a:lnTo>
                    <a:lnTo>
                      <a:pt x="2056440" y="1245500"/>
                    </a:lnTo>
                    <a:lnTo>
                      <a:pt x="2054319" y="1248076"/>
                    </a:lnTo>
                    <a:lnTo>
                      <a:pt x="2054319" y="1248833"/>
                    </a:lnTo>
                    <a:lnTo>
                      <a:pt x="2056592" y="1250197"/>
                    </a:lnTo>
                    <a:lnTo>
                      <a:pt x="2056137" y="1250803"/>
                    </a:lnTo>
                    <a:lnTo>
                      <a:pt x="2053106" y="1251106"/>
                    </a:lnTo>
                    <a:lnTo>
                      <a:pt x="2050985" y="1251864"/>
                    </a:lnTo>
                    <a:lnTo>
                      <a:pt x="2050834" y="1253228"/>
                    </a:lnTo>
                    <a:lnTo>
                      <a:pt x="2051591" y="1255349"/>
                    </a:lnTo>
                    <a:lnTo>
                      <a:pt x="2053561" y="1258682"/>
                    </a:lnTo>
                    <a:lnTo>
                      <a:pt x="2054167" y="1260198"/>
                    </a:lnTo>
                    <a:lnTo>
                      <a:pt x="2054319" y="1261713"/>
                    </a:lnTo>
                    <a:lnTo>
                      <a:pt x="2054016" y="1263228"/>
                    </a:lnTo>
                    <a:lnTo>
                      <a:pt x="2052046" y="1267319"/>
                    </a:lnTo>
                    <a:lnTo>
                      <a:pt x="2051591" y="1267319"/>
                    </a:lnTo>
                    <a:lnTo>
                      <a:pt x="2051288" y="1261864"/>
                    </a:lnTo>
                    <a:lnTo>
                      <a:pt x="2050834" y="1260349"/>
                    </a:lnTo>
                    <a:lnTo>
                      <a:pt x="2049622" y="1258228"/>
                    </a:lnTo>
                    <a:lnTo>
                      <a:pt x="2047500" y="1255500"/>
                    </a:lnTo>
                    <a:lnTo>
                      <a:pt x="2045682" y="1253682"/>
                    </a:lnTo>
                    <a:lnTo>
                      <a:pt x="2044015" y="1252773"/>
                    </a:lnTo>
                    <a:lnTo>
                      <a:pt x="2042197" y="1252925"/>
                    </a:lnTo>
                    <a:lnTo>
                      <a:pt x="2039015" y="1255349"/>
                    </a:lnTo>
                    <a:lnTo>
                      <a:pt x="2038106" y="1256713"/>
                    </a:lnTo>
                    <a:lnTo>
                      <a:pt x="2036894" y="1259137"/>
                    </a:lnTo>
                    <a:lnTo>
                      <a:pt x="2035530" y="1262622"/>
                    </a:lnTo>
                    <a:lnTo>
                      <a:pt x="2032348" y="1264895"/>
                    </a:lnTo>
                    <a:lnTo>
                      <a:pt x="2027499" y="1265955"/>
                    </a:lnTo>
                    <a:lnTo>
                      <a:pt x="2024318" y="1267167"/>
                    </a:lnTo>
                    <a:lnTo>
                      <a:pt x="2020378" y="1269592"/>
                    </a:lnTo>
                    <a:lnTo>
                      <a:pt x="2014317" y="1272471"/>
                    </a:lnTo>
                    <a:lnTo>
                      <a:pt x="2009165" y="1275956"/>
                    </a:lnTo>
                    <a:lnTo>
                      <a:pt x="2008408" y="1277016"/>
                    </a:lnTo>
                    <a:lnTo>
                      <a:pt x="2007802" y="1278835"/>
                    </a:lnTo>
                    <a:lnTo>
                      <a:pt x="2007347" y="1281410"/>
                    </a:lnTo>
                    <a:lnTo>
                      <a:pt x="2006135" y="1284744"/>
                    </a:lnTo>
                    <a:lnTo>
                      <a:pt x="2005681" y="1283986"/>
                    </a:lnTo>
                    <a:lnTo>
                      <a:pt x="2006135" y="1280047"/>
                    </a:lnTo>
                    <a:lnTo>
                      <a:pt x="2005983" y="1278683"/>
                    </a:lnTo>
                    <a:lnTo>
                      <a:pt x="2005983" y="1274592"/>
                    </a:lnTo>
                    <a:lnTo>
                      <a:pt x="2004620" y="1268986"/>
                    </a:lnTo>
                    <a:lnTo>
                      <a:pt x="2004165" y="1268380"/>
                    </a:lnTo>
                    <a:lnTo>
                      <a:pt x="2002802" y="1269895"/>
                    </a:lnTo>
                    <a:lnTo>
                      <a:pt x="2002347" y="1272168"/>
                    </a:lnTo>
                    <a:lnTo>
                      <a:pt x="2001438" y="1273683"/>
                    </a:lnTo>
                    <a:lnTo>
                      <a:pt x="1997195" y="1278532"/>
                    </a:lnTo>
                    <a:lnTo>
                      <a:pt x="1995680" y="1278986"/>
                    </a:lnTo>
                    <a:lnTo>
                      <a:pt x="1999923" y="1273834"/>
                    </a:lnTo>
                    <a:lnTo>
                      <a:pt x="2000529" y="1272622"/>
                    </a:lnTo>
                    <a:lnTo>
                      <a:pt x="2000529" y="1271259"/>
                    </a:lnTo>
                    <a:lnTo>
                      <a:pt x="1997953" y="1265955"/>
                    </a:lnTo>
                    <a:lnTo>
                      <a:pt x="1996892" y="1265046"/>
                    </a:lnTo>
                    <a:lnTo>
                      <a:pt x="1994468" y="1265501"/>
                    </a:lnTo>
                    <a:lnTo>
                      <a:pt x="1992650" y="1268380"/>
                    </a:lnTo>
                    <a:lnTo>
                      <a:pt x="1989468" y="1277319"/>
                    </a:lnTo>
                    <a:lnTo>
                      <a:pt x="1987801" y="1280804"/>
                    </a:lnTo>
                    <a:lnTo>
                      <a:pt x="1986134" y="1282320"/>
                    </a:lnTo>
                    <a:lnTo>
                      <a:pt x="1983862" y="1283986"/>
                    </a:lnTo>
                    <a:lnTo>
                      <a:pt x="1975982" y="1285350"/>
                    </a:lnTo>
                    <a:lnTo>
                      <a:pt x="1968861" y="1288229"/>
                    </a:lnTo>
                    <a:lnTo>
                      <a:pt x="1969012" y="1287320"/>
                    </a:lnTo>
                    <a:lnTo>
                      <a:pt x="1971437" y="1285653"/>
                    </a:lnTo>
                    <a:lnTo>
                      <a:pt x="1974770" y="1284441"/>
                    </a:lnTo>
                    <a:lnTo>
                      <a:pt x="1980983" y="1282926"/>
                    </a:lnTo>
                    <a:lnTo>
                      <a:pt x="1984468" y="1281410"/>
                    </a:lnTo>
                    <a:lnTo>
                      <a:pt x="1987498" y="1277925"/>
                    </a:lnTo>
                    <a:lnTo>
                      <a:pt x="1988710" y="1275350"/>
                    </a:lnTo>
                    <a:lnTo>
                      <a:pt x="1990983" y="1268531"/>
                    </a:lnTo>
                    <a:lnTo>
                      <a:pt x="1991134" y="1265046"/>
                    </a:lnTo>
                    <a:lnTo>
                      <a:pt x="1990983" y="1263228"/>
                    </a:lnTo>
                    <a:lnTo>
                      <a:pt x="1990529" y="1262016"/>
                    </a:lnTo>
                    <a:lnTo>
                      <a:pt x="1988559" y="1260501"/>
                    </a:lnTo>
                    <a:lnTo>
                      <a:pt x="1987043" y="1254591"/>
                    </a:lnTo>
                    <a:lnTo>
                      <a:pt x="1986134" y="1253076"/>
                    </a:lnTo>
                    <a:lnTo>
                      <a:pt x="1984468" y="1251409"/>
                    </a:lnTo>
                    <a:lnTo>
                      <a:pt x="1982043" y="1249743"/>
                    </a:lnTo>
                    <a:lnTo>
                      <a:pt x="1980074" y="1248682"/>
                    </a:lnTo>
                    <a:lnTo>
                      <a:pt x="1978407" y="1248227"/>
                    </a:lnTo>
                    <a:lnTo>
                      <a:pt x="1971740" y="1248833"/>
                    </a:lnTo>
                    <a:lnTo>
                      <a:pt x="1968406" y="1248530"/>
                    </a:lnTo>
                    <a:lnTo>
                      <a:pt x="1965376" y="1248530"/>
                    </a:lnTo>
                    <a:lnTo>
                      <a:pt x="1962649" y="1248985"/>
                    </a:lnTo>
                    <a:lnTo>
                      <a:pt x="1959618" y="1250349"/>
                    </a:lnTo>
                    <a:lnTo>
                      <a:pt x="1952194" y="1255197"/>
                    </a:lnTo>
                    <a:lnTo>
                      <a:pt x="1948406" y="1256713"/>
                    </a:lnTo>
                    <a:lnTo>
                      <a:pt x="1945981" y="1256410"/>
                    </a:lnTo>
                    <a:lnTo>
                      <a:pt x="1941739" y="1254440"/>
                    </a:lnTo>
                    <a:lnTo>
                      <a:pt x="1938405" y="1253834"/>
                    </a:lnTo>
                    <a:lnTo>
                      <a:pt x="1938254" y="1252621"/>
                    </a:lnTo>
                    <a:lnTo>
                      <a:pt x="1943254" y="1251561"/>
                    </a:lnTo>
                    <a:lnTo>
                      <a:pt x="1946284" y="1249894"/>
                    </a:lnTo>
                    <a:lnTo>
                      <a:pt x="1947042" y="1248833"/>
                    </a:lnTo>
                    <a:lnTo>
                      <a:pt x="1947345" y="1247924"/>
                    </a:lnTo>
                    <a:lnTo>
                      <a:pt x="1947345" y="1247015"/>
                    </a:lnTo>
                    <a:lnTo>
                      <a:pt x="1947800" y="1246409"/>
                    </a:lnTo>
                    <a:lnTo>
                      <a:pt x="1948557" y="1245955"/>
                    </a:lnTo>
                    <a:lnTo>
                      <a:pt x="1949466" y="1246561"/>
                    </a:lnTo>
                    <a:lnTo>
                      <a:pt x="1951588" y="1250955"/>
                    </a:lnTo>
                    <a:lnTo>
                      <a:pt x="1952345" y="1251409"/>
                    </a:lnTo>
                    <a:lnTo>
                      <a:pt x="1953406" y="1251106"/>
                    </a:lnTo>
                    <a:lnTo>
                      <a:pt x="1955527" y="1249440"/>
                    </a:lnTo>
                    <a:lnTo>
                      <a:pt x="1956436" y="1247318"/>
                    </a:lnTo>
                    <a:lnTo>
                      <a:pt x="1957194" y="1244136"/>
                    </a:lnTo>
                    <a:lnTo>
                      <a:pt x="1957951" y="1242167"/>
                    </a:lnTo>
                    <a:lnTo>
                      <a:pt x="1958709" y="1241409"/>
                    </a:lnTo>
                    <a:lnTo>
                      <a:pt x="1958860" y="1240651"/>
                    </a:lnTo>
                    <a:lnTo>
                      <a:pt x="1957648" y="1238076"/>
                    </a:lnTo>
                    <a:lnTo>
                      <a:pt x="1957951" y="1237015"/>
                    </a:lnTo>
                    <a:lnTo>
                      <a:pt x="1960679" y="1233075"/>
                    </a:lnTo>
                    <a:lnTo>
                      <a:pt x="1960830" y="1232015"/>
                    </a:lnTo>
                    <a:lnTo>
                      <a:pt x="1959315" y="1230651"/>
                    </a:lnTo>
                    <a:lnTo>
                      <a:pt x="1951588" y="1230499"/>
                    </a:lnTo>
                    <a:lnTo>
                      <a:pt x="1950830" y="1228378"/>
                    </a:lnTo>
                    <a:lnTo>
                      <a:pt x="1951284" y="1224439"/>
                    </a:lnTo>
                    <a:lnTo>
                      <a:pt x="1952345" y="1221257"/>
                    </a:lnTo>
                    <a:lnTo>
                      <a:pt x="1953860" y="1218984"/>
                    </a:lnTo>
                    <a:lnTo>
                      <a:pt x="1954466" y="1216863"/>
                    </a:lnTo>
                    <a:lnTo>
                      <a:pt x="1954315" y="1214893"/>
                    </a:lnTo>
                    <a:lnTo>
                      <a:pt x="1953103" y="1210802"/>
                    </a:lnTo>
                    <a:lnTo>
                      <a:pt x="1951891" y="1208832"/>
                    </a:lnTo>
                    <a:lnTo>
                      <a:pt x="1950224" y="1206862"/>
                    </a:lnTo>
                    <a:lnTo>
                      <a:pt x="1948254" y="1205802"/>
                    </a:lnTo>
                    <a:lnTo>
                      <a:pt x="1934011" y="1204741"/>
                    </a:lnTo>
                    <a:lnTo>
                      <a:pt x="1930223" y="1204741"/>
                    </a:lnTo>
                    <a:lnTo>
                      <a:pt x="1925981" y="1204135"/>
                    </a:lnTo>
                    <a:lnTo>
                      <a:pt x="1925071" y="1202468"/>
                    </a:lnTo>
                    <a:lnTo>
                      <a:pt x="1929011" y="1202923"/>
                    </a:lnTo>
                    <a:lnTo>
                      <a:pt x="1944012" y="1202771"/>
                    </a:lnTo>
                    <a:lnTo>
                      <a:pt x="1948557" y="1202317"/>
                    </a:lnTo>
                    <a:lnTo>
                      <a:pt x="1951891" y="1200498"/>
                    </a:lnTo>
                    <a:lnTo>
                      <a:pt x="1953103" y="1198529"/>
                    </a:lnTo>
                    <a:lnTo>
                      <a:pt x="1953254" y="1197620"/>
                    </a:lnTo>
                    <a:lnTo>
                      <a:pt x="1953103" y="1195498"/>
                    </a:lnTo>
                    <a:lnTo>
                      <a:pt x="1952951" y="1194589"/>
                    </a:lnTo>
                    <a:lnTo>
                      <a:pt x="1950830" y="1191862"/>
                    </a:lnTo>
                    <a:lnTo>
                      <a:pt x="1949921" y="1189892"/>
                    </a:lnTo>
                    <a:lnTo>
                      <a:pt x="1949466" y="1187922"/>
                    </a:lnTo>
                    <a:lnTo>
                      <a:pt x="1949315" y="1185801"/>
                    </a:lnTo>
                    <a:lnTo>
                      <a:pt x="1949466" y="1183831"/>
                    </a:lnTo>
                    <a:lnTo>
                      <a:pt x="1950224" y="1180498"/>
                    </a:lnTo>
                    <a:lnTo>
                      <a:pt x="1952497" y="1175498"/>
                    </a:lnTo>
                    <a:lnTo>
                      <a:pt x="1954315" y="1173376"/>
                    </a:lnTo>
                    <a:lnTo>
                      <a:pt x="1956588" y="1171861"/>
                    </a:lnTo>
                    <a:lnTo>
                      <a:pt x="1958103" y="1170497"/>
                    </a:lnTo>
                    <a:lnTo>
                      <a:pt x="1958860" y="1169134"/>
                    </a:lnTo>
                    <a:lnTo>
                      <a:pt x="1959012" y="1167618"/>
                    </a:lnTo>
                    <a:lnTo>
                      <a:pt x="1958558" y="1165952"/>
                    </a:lnTo>
                    <a:lnTo>
                      <a:pt x="1957042" y="1162315"/>
                    </a:lnTo>
                    <a:lnTo>
                      <a:pt x="1956133" y="1161103"/>
                    </a:lnTo>
                    <a:lnTo>
                      <a:pt x="1954618" y="1160345"/>
                    </a:lnTo>
                    <a:lnTo>
                      <a:pt x="1952800" y="1160800"/>
                    </a:lnTo>
                    <a:lnTo>
                      <a:pt x="1952042" y="1162315"/>
                    </a:lnTo>
                    <a:lnTo>
                      <a:pt x="1951284" y="1165043"/>
                    </a:lnTo>
                    <a:lnTo>
                      <a:pt x="1950375" y="1166558"/>
                    </a:lnTo>
                    <a:lnTo>
                      <a:pt x="1947800" y="1166861"/>
                    </a:lnTo>
                    <a:lnTo>
                      <a:pt x="1944769" y="1168831"/>
                    </a:lnTo>
                    <a:lnTo>
                      <a:pt x="1942496" y="1168982"/>
                    </a:lnTo>
                    <a:lnTo>
                      <a:pt x="1939618" y="1167921"/>
                    </a:lnTo>
                    <a:lnTo>
                      <a:pt x="1938254" y="1166255"/>
                    </a:lnTo>
                    <a:lnTo>
                      <a:pt x="1938254" y="1163830"/>
                    </a:lnTo>
                    <a:lnTo>
                      <a:pt x="1937951" y="1162164"/>
                    </a:lnTo>
                    <a:lnTo>
                      <a:pt x="1937193" y="1161406"/>
                    </a:lnTo>
                    <a:lnTo>
                      <a:pt x="1934617" y="1160194"/>
                    </a:lnTo>
                    <a:lnTo>
                      <a:pt x="1931738" y="1160345"/>
                    </a:lnTo>
                    <a:lnTo>
                      <a:pt x="1927496" y="1161255"/>
                    </a:lnTo>
                    <a:lnTo>
                      <a:pt x="1922496" y="1160800"/>
                    </a:lnTo>
                    <a:lnTo>
                      <a:pt x="1914010" y="1157921"/>
                    </a:lnTo>
                    <a:lnTo>
                      <a:pt x="1910222" y="1157012"/>
                    </a:lnTo>
                    <a:lnTo>
                      <a:pt x="1905525" y="1156860"/>
                    </a:lnTo>
                    <a:lnTo>
                      <a:pt x="1903556" y="1156406"/>
                    </a:lnTo>
                    <a:lnTo>
                      <a:pt x="1900071" y="1154133"/>
                    </a:lnTo>
                    <a:lnTo>
                      <a:pt x="1894767" y="1148981"/>
                    </a:lnTo>
                    <a:lnTo>
                      <a:pt x="1895070" y="1147466"/>
                    </a:lnTo>
                    <a:lnTo>
                      <a:pt x="1897343" y="1146405"/>
                    </a:lnTo>
                    <a:lnTo>
                      <a:pt x="1897343" y="1145799"/>
                    </a:lnTo>
                    <a:lnTo>
                      <a:pt x="1893252" y="1145496"/>
                    </a:lnTo>
                    <a:lnTo>
                      <a:pt x="1891585" y="1144739"/>
                    </a:lnTo>
                    <a:lnTo>
                      <a:pt x="1891888" y="1143678"/>
                    </a:lnTo>
                    <a:lnTo>
                      <a:pt x="1894161" y="1141102"/>
                    </a:lnTo>
                    <a:lnTo>
                      <a:pt x="1896889" y="1140042"/>
                    </a:lnTo>
                    <a:lnTo>
                      <a:pt x="1897949" y="1139133"/>
                    </a:lnTo>
                    <a:lnTo>
                      <a:pt x="1898404" y="1138375"/>
                    </a:lnTo>
                    <a:lnTo>
                      <a:pt x="1897495" y="1137314"/>
                    </a:lnTo>
                    <a:lnTo>
                      <a:pt x="1891282" y="1134284"/>
                    </a:lnTo>
                    <a:lnTo>
                      <a:pt x="1889767" y="1134738"/>
                    </a:lnTo>
                    <a:lnTo>
                      <a:pt x="1888555" y="1136405"/>
                    </a:lnTo>
                    <a:lnTo>
                      <a:pt x="1886888" y="1137466"/>
                    </a:lnTo>
                    <a:lnTo>
                      <a:pt x="1881585" y="1138526"/>
                    </a:lnTo>
                    <a:lnTo>
                      <a:pt x="1880676" y="1137920"/>
                    </a:lnTo>
                    <a:lnTo>
                      <a:pt x="1885221" y="1136254"/>
                    </a:lnTo>
                    <a:lnTo>
                      <a:pt x="1886282" y="1135345"/>
                    </a:lnTo>
                    <a:lnTo>
                      <a:pt x="1886434" y="1134738"/>
                    </a:lnTo>
                    <a:lnTo>
                      <a:pt x="1885373" y="1132769"/>
                    </a:lnTo>
                    <a:lnTo>
                      <a:pt x="1884161" y="1131708"/>
                    </a:lnTo>
                    <a:lnTo>
                      <a:pt x="1882797" y="1129587"/>
                    </a:lnTo>
                    <a:lnTo>
                      <a:pt x="1881433" y="1128375"/>
                    </a:lnTo>
                    <a:lnTo>
                      <a:pt x="1877797" y="1125950"/>
                    </a:lnTo>
                    <a:lnTo>
                      <a:pt x="1873857" y="1124435"/>
                    </a:lnTo>
                    <a:lnTo>
                      <a:pt x="1872039" y="1125041"/>
                    </a:lnTo>
                    <a:lnTo>
                      <a:pt x="1869615" y="1126859"/>
                    </a:lnTo>
                    <a:lnTo>
                      <a:pt x="1867797" y="1127920"/>
                    </a:lnTo>
                    <a:lnTo>
                      <a:pt x="1866584" y="1127768"/>
                    </a:lnTo>
                    <a:lnTo>
                      <a:pt x="1869463" y="1122920"/>
                    </a:lnTo>
                    <a:lnTo>
                      <a:pt x="1870372" y="1119889"/>
                    </a:lnTo>
                    <a:lnTo>
                      <a:pt x="1870372" y="1118829"/>
                    </a:lnTo>
                    <a:lnTo>
                      <a:pt x="1870069" y="1117768"/>
                    </a:lnTo>
                    <a:lnTo>
                      <a:pt x="1869463" y="1116253"/>
                    </a:lnTo>
                    <a:lnTo>
                      <a:pt x="1869009" y="1115798"/>
                    </a:lnTo>
                    <a:lnTo>
                      <a:pt x="1867645" y="1115495"/>
                    </a:lnTo>
                    <a:lnTo>
                      <a:pt x="1863554" y="1115798"/>
                    </a:lnTo>
                    <a:lnTo>
                      <a:pt x="1860524" y="1113525"/>
                    </a:lnTo>
                    <a:lnTo>
                      <a:pt x="1859008" y="1112768"/>
                    </a:lnTo>
                    <a:lnTo>
                      <a:pt x="1855069" y="1109283"/>
                    </a:lnTo>
                    <a:lnTo>
                      <a:pt x="1852190" y="1107313"/>
                    </a:lnTo>
                    <a:lnTo>
                      <a:pt x="1848705" y="1105495"/>
                    </a:lnTo>
                    <a:lnTo>
                      <a:pt x="1843402" y="1101404"/>
                    </a:lnTo>
                    <a:lnTo>
                      <a:pt x="1841280" y="1100646"/>
                    </a:lnTo>
                    <a:lnTo>
                      <a:pt x="1839614" y="1100798"/>
                    </a:lnTo>
                    <a:lnTo>
                      <a:pt x="1836432" y="1102313"/>
                    </a:lnTo>
                    <a:lnTo>
                      <a:pt x="1831886" y="1105040"/>
                    </a:lnTo>
                    <a:lnTo>
                      <a:pt x="1827492" y="1107162"/>
                    </a:lnTo>
                    <a:lnTo>
                      <a:pt x="1821431" y="1109283"/>
                    </a:lnTo>
                    <a:lnTo>
                      <a:pt x="1815522" y="1111859"/>
                    </a:lnTo>
                    <a:lnTo>
                      <a:pt x="1814310" y="1113071"/>
                    </a:lnTo>
                    <a:lnTo>
                      <a:pt x="1816431" y="1115495"/>
                    </a:lnTo>
                    <a:lnTo>
                      <a:pt x="1815825" y="1115950"/>
                    </a:lnTo>
                    <a:lnTo>
                      <a:pt x="1808249" y="1111101"/>
                    </a:lnTo>
                    <a:lnTo>
                      <a:pt x="1805067" y="1109586"/>
                    </a:lnTo>
                    <a:lnTo>
                      <a:pt x="1802643" y="1109283"/>
                    </a:lnTo>
                    <a:lnTo>
                      <a:pt x="1796430" y="1107465"/>
                    </a:lnTo>
                    <a:lnTo>
                      <a:pt x="1794612" y="1107616"/>
                    </a:lnTo>
                    <a:lnTo>
                      <a:pt x="1792491" y="1108525"/>
                    </a:lnTo>
                    <a:lnTo>
                      <a:pt x="1784309" y="1113071"/>
                    </a:lnTo>
                    <a:lnTo>
                      <a:pt x="1783854" y="1112465"/>
                    </a:lnTo>
                    <a:lnTo>
                      <a:pt x="1787491" y="1110041"/>
                    </a:lnTo>
                    <a:lnTo>
                      <a:pt x="1783551" y="1107162"/>
                    </a:lnTo>
                    <a:lnTo>
                      <a:pt x="1761732" y="1100798"/>
                    </a:lnTo>
                    <a:lnTo>
                      <a:pt x="1754611" y="1098222"/>
                    </a:lnTo>
                    <a:lnTo>
                      <a:pt x="1745671" y="1097161"/>
                    </a:lnTo>
                    <a:lnTo>
                      <a:pt x="1741125" y="1096252"/>
                    </a:lnTo>
                    <a:lnTo>
                      <a:pt x="1734761" y="1098070"/>
                    </a:lnTo>
                    <a:lnTo>
                      <a:pt x="1726731" y="1102465"/>
                    </a:lnTo>
                    <a:lnTo>
                      <a:pt x="1722185" y="1105495"/>
                    </a:lnTo>
                    <a:lnTo>
                      <a:pt x="1721124" y="1107010"/>
                    </a:lnTo>
                    <a:lnTo>
                      <a:pt x="1720518" y="1108525"/>
                    </a:lnTo>
                    <a:lnTo>
                      <a:pt x="1720215" y="1111707"/>
                    </a:lnTo>
                    <a:lnTo>
                      <a:pt x="1720518" y="1115950"/>
                    </a:lnTo>
                    <a:lnTo>
                      <a:pt x="1722185" y="1123677"/>
                    </a:lnTo>
                    <a:lnTo>
                      <a:pt x="1723700" y="1127465"/>
                    </a:lnTo>
                    <a:lnTo>
                      <a:pt x="1725670" y="1130496"/>
                    </a:lnTo>
                    <a:lnTo>
                      <a:pt x="1727185" y="1131859"/>
                    </a:lnTo>
                    <a:lnTo>
                      <a:pt x="1729307" y="1133223"/>
                    </a:lnTo>
                    <a:lnTo>
                      <a:pt x="1732488" y="1136102"/>
                    </a:lnTo>
                    <a:lnTo>
                      <a:pt x="1737489" y="1138981"/>
                    </a:lnTo>
                    <a:lnTo>
                      <a:pt x="1733852" y="1142163"/>
                    </a:lnTo>
                    <a:lnTo>
                      <a:pt x="1731428" y="1143830"/>
                    </a:lnTo>
                    <a:lnTo>
                      <a:pt x="1731125" y="1145648"/>
                    </a:lnTo>
                    <a:lnTo>
                      <a:pt x="1731731" y="1152466"/>
                    </a:lnTo>
                    <a:lnTo>
                      <a:pt x="1731579" y="1153527"/>
                    </a:lnTo>
                    <a:lnTo>
                      <a:pt x="1730670" y="1155497"/>
                    </a:lnTo>
                    <a:lnTo>
                      <a:pt x="1728852" y="1158527"/>
                    </a:lnTo>
                    <a:lnTo>
                      <a:pt x="1725973" y="1161861"/>
                    </a:lnTo>
                    <a:lnTo>
                      <a:pt x="1719761" y="1168073"/>
                    </a:lnTo>
                    <a:lnTo>
                      <a:pt x="1719155" y="1169437"/>
                    </a:lnTo>
                    <a:lnTo>
                      <a:pt x="1720821" y="1169891"/>
                    </a:lnTo>
                    <a:lnTo>
                      <a:pt x="1724155" y="1169588"/>
                    </a:lnTo>
                    <a:lnTo>
                      <a:pt x="1727640" y="1170952"/>
                    </a:lnTo>
                    <a:lnTo>
                      <a:pt x="1734913" y="1169285"/>
                    </a:lnTo>
                    <a:lnTo>
                      <a:pt x="1735216" y="1170043"/>
                    </a:lnTo>
                    <a:lnTo>
                      <a:pt x="1733246" y="1170800"/>
                    </a:lnTo>
                    <a:lnTo>
                      <a:pt x="1731276" y="1174588"/>
                    </a:lnTo>
                    <a:lnTo>
                      <a:pt x="1730519" y="1175346"/>
                    </a:lnTo>
                    <a:lnTo>
                      <a:pt x="1729610" y="1177467"/>
                    </a:lnTo>
                    <a:lnTo>
                      <a:pt x="1731731" y="1180043"/>
                    </a:lnTo>
                    <a:lnTo>
                      <a:pt x="1733852" y="1180498"/>
                    </a:lnTo>
                    <a:lnTo>
                      <a:pt x="1737186" y="1180649"/>
                    </a:lnTo>
                    <a:lnTo>
                      <a:pt x="1737489" y="1181558"/>
                    </a:lnTo>
                    <a:lnTo>
                      <a:pt x="1734913" y="1183074"/>
                    </a:lnTo>
                    <a:lnTo>
                      <a:pt x="1732640" y="1186407"/>
                    </a:lnTo>
                    <a:lnTo>
                      <a:pt x="1733549" y="1189134"/>
                    </a:lnTo>
                    <a:lnTo>
                      <a:pt x="1738853" y="1198074"/>
                    </a:lnTo>
                    <a:lnTo>
                      <a:pt x="1738549" y="1198529"/>
                    </a:lnTo>
                    <a:lnTo>
                      <a:pt x="1735519" y="1199892"/>
                    </a:lnTo>
                    <a:lnTo>
                      <a:pt x="1735216" y="1200347"/>
                    </a:lnTo>
                    <a:lnTo>
                      <a:pt x="1736276" y="1201408"/>
                    </a:lnTo>
                    <a:lnTo>
                      <a:pt x="1742641" y="1202165"/>
                    </a:lnTo>
                    <a:lnTo>
                      <a:pt x="1743247" y="1202923"/>
                    </a:lnTo>
                    <a:lnTo>
                      <a:pt x="1740974" y="1206862"/>
                    </a:lnTo>
                    <a:lnTo>
                      <a:pt x="1741125" y="1208529"/>
                    </a:lnTo>
                    <a:lnTo>
                      <a:pt x="1742186" y="1210650"/>
                    </a:lnTo>
                    <a:lnTo>
                      <a:pt x="1742034" y="1212165"/>
                    </a:lnTo>
                    <a:lnTo>
                      <a:pt x="1738095" y="1215499"/>
                    </a:lnTo>
                    <a:lnTo>
                      <a:pt x="1737792" y="1216711"/>
                    </a:lnTo>
                    <a:lnTo>
                      <a:pt x="1739762" y="1219742"/>
                    </a:lnTo>
                    <a:lnTo>
                      <a:pt x="1741428" y="1220954"/>
                    </a:lnTo>
                    <a:lnTo>
                      <a:pt x="1740064" y="1221408"/>
                    </a:lnTo>
                    <a:lnTo>
                      <a:pt x="1734761" y="1216863"/>
                    </a:lnTo>
                    <a:lnTo>
                      <a:pt x="1730973" y="1217014"/>
                    </a:lnTo>
                    <a:lnTo>
                      <a:pt x="1730367" y="1217772"/>
                    </a:lnTo>
                    <a:lnTo>
                      <a:pt x="1730822" y="1220954"/>
                    </a:lnTo>
                    <a:lnTo>
                      <a:pt x="1730367" y="1221863"/>
                    </a:lnTo>
                    <a:lnTo>
                      <a:pt x="1727337" y="1225196"/>
                    </a:lnTo>
                    <a:lnTo>
                      <a:pt x="1727791" y="1226560"/>
                    </a:lnTo>
                    <a:lnTo>
                      <a:pt x="1729610" y="1227924"/>
                    </a:lnTo>
                    <a:lnTo>
                      <a:pt x="1730064" y="1229136"/>
                    </a:lnTo>
                    <a:lnTo>
                      <a:pt x="1727791" y="1232166"/>
                    </a:lnTo>
                    <a:lnTo>
                      <a:pt x="1723852" y="1234590"/>
                    </a:lnTo>
                    <a:lnTo>
                      <a:pt x="1721731" y="1236409"/>
                    </a:lnTo>
                    <a:lnTo>
                      <a:pt x="1719761" y="1238833"/>
                    </a:lnTo>
                    <a:lnTo>
                      <a:pt x="1716882" y="1243076"/>
                    </a:lnTo>
                    <a:lnTo>
                      <a:pt x="1711730" y="1248379"/>
                    </a:lnTo>
                    <a:lnTo>
                      <a:pt x="1710973" y="1249591"/>
                    </a:lnTo>
                    <a:lnTo>
                      <a:pt x="1710367" y="1251409"/>
                    </a:lnTo>
                    <a:lnTo>
                      <a:pt x="1709760" y="1253834"/>
                    </a:lnTo>
                    <a:lnTo>
                      <a:pt x="1709457" y="1257319"/>
                    </a:lnTo>
                    <a:lnTo>
                      <a:pt x="1709760" y="1258682"/>
                    </a:lnTo>
                    <a:lnTo>
                      <a:pt x="1710973" y="1260501"/>
                    </a:lnTo>
                    <a:lnTo>
                      <a:pt x="1714003" y="1261410"/>
                    </a:lnTo>
                    <a:lnTo>
                      <a:pt x="1723246" y="1268683"/>
                    </a:lnTo>
                    <a:lnTo>
                      <a:pt x="1726731" y="1270652"/>
                    </a:lnTo>
                    <a:lnTo>
                      <a:pt x="1732186" y="1273077"/>
                    </a:lnTo>
                    <a:lnTo>
                      <a:pt x="1735822" y="1275198"/>
                    </a:lnTo>
                    <a:lnTo>
                      <a:pt x="1737489" y="1277016"/>
                    </a:lnTo>
                    <a:lnTo>
                      <a:pt x="1746580" y="1283986"/>
                    </a:lnTo>
                    <a:lnTo>
                      <a:pt x="1753853" y="1294290"/>
                    </a:lnTo>
                    <a:lnTo>
                      <a:pt x="1756126" y="1298229"/>
                    </a:lnTo>
                    <a:lnTo>
                      <a:pt x="1756732" y="1300502"/>
                    </a:lnTo>
                    <a:lnTo>
                      <a:pt x="1760368" y="1309139"/>
                    </a:lnTo>
                    <a:lnTo>
                      <a:pt x="1761883" y="1313381"/>
                    </a:lnTo>
                    <a:lnTo>
                      <a:pt x="1762641" y="1317018"/>
                    </a:lnTo>
                    <a:lnTo>
                      <a:pt x="1764005" y="1328382"/>
                    </a:lnTo>
                    <a:lnTo>
                      <a:pt x="1764156" y="1335655"/>
                    </a:lnTo>
                    <a:lnTo>
                      <a:pt x="1763853" y="1343685"/>
                    </a:lnTo>
                    <a:lnTo>
                      <a:pt x="1763399" y="1349140"/>
                    </a:lnTo>
                    <a:lnTo>
                      <a:pt x="1761883" y="1355352"/>
                    </a:lnTo>
                    <a:lnTo>
                      <a:pt x="1760671" y="1358989"/>
                    </a:lnTo>
                    <a:lnTo>
                      <a:pt x="1757641" y="1363232"/>
                    </a:lnTo>
                    <a:lnTo>
                      <a:pt x="1752792" y="1368232"/>
                    </a:lnTo>
                    <a:lnTo>
                      <a:pt x="1749156" y="1372474"/>
                    </a:lnTo>
                    <a:lnTo>
                      <a:pt x="1746580" y="1376111"/>
                    </a:lnTo>
                    <a:lnTo>
                      <a:pt x="1742186" y="1380202"/>
                    </a:lnTo>
                    <a:lnTo>
                      <a:pt x="1731882" y="1388233"/>
                    </a:lnTo>
                    <a:lnTo>
                      <a:pt x="1729913" y="1390202"/>
                    </a:lnTo>
                    <a:lnTo>
                      <a:pt x="1726731" y="1392324"/>
                    </a:lnTo>
                    <a:lnTo>
                      <a:pt x="1720215" y="1395505"/>
                    </a:lnTo>
                    <a:lnTo>
                      <a:pt x="1715367" y="1398687"/>
                    </a:lnTo>
                    <a:lnTo>
                      <a:pt x="1710670" y="1400809"/>
                    </a:lnTo>
                    <a:lnTo>
                      <a:pt x="1700518" y="1404748"/>
                    </a:lnTo>
                    <a:lnTo>
                      <a:pt x="1698851" y="1405809"/>
                    </a:lnTo>
                    <a:lnTo>
                      <a:pt x="1678093" y="1412779"/>
                    </a:lnTo>
                    <a:lnTo>
                      <a:pt x="1676880" y="1413688"/>
                    </a:lnTo>
                    <a:lnTo>
                      <a:pt x="1676880" y="1414294"/>
                    </a:lnTo>
                    <a:lnTo>
                      <a:pt x="1678093" y="1414597"/>
                    </a:lnTo>
                    <a:lnTo>
                      <a:pt x="1679153" y="1415203"/>
                    </a:lnTo>
                    <a:lnTo>
                      <a:pt x="1680062" y="1416264"/>
                    </a:lnTo>
                    <a:lnTo>
                      <a:pt x="1682184" y="1420355"/>
                    </a:lnTo>
                    <a:lnTo>
                      <a:pt x="1683396" y="1423991"/>
                    </a:lnTo>
                    <a:lnTo>
                      <a:pt x="1684608" y="1426113"/>
                    </a:lnTo>
                    <a:lnTo>
                      <a:pt x="1686578" y="1428840"/>
                    </a:lnTo>
                    <a:lnTo>
                      <a:pt x="1688244" y="1430658"/>
                    </a:lnTo>
                    <a:lnTo>
                      <a:pt x="1690366" y="1431870"/>
                    </a:lnTo>
                    <a:lnTo>
                      <a:pt x="1692336" y="1432477"/>
                    </a:lnTo>
                    <a:lnTo>
                      <a:pt x="1692487" y="1432931"/>
                    </a:lnTo>
                    <a:lnTo>
                      <a:pt x="1691426" y="1434446"/>
                    </a:lnTo>
                    <a:lnTo>
                      <a:pt x="1689911" y="1435052"/>
                    </a:lnTo>
                    <a:lnTo>
                      <a:pt x="1694760" y="1436871"/>
                    </a:lnTo>
                    <a:lnTo>
                      <a:pt x="1696275" y="1437931"/>
                    </a:lnTo>
                    <a:lnTo>
                      <a:pt x="1696730" y="1438689"/>
                    </a:lnTo>
                    <a:lnTo>
                      <a:pt x="1694608" y="1440659"/>
                    </a:lnTo>
                    <a:lnTo>
                      <a:pt x="1694608" y="1441416"/>
                    </a:lnTo>
                    <a:lnTo>
                      <a:pt x="1695820" y="1443386"/>
                    </a:lnTo>
                    <a:lnTo>
                      <a:pt x="1698245" y="1444901"/>
                    </a:lnTo>
                    <a:lnTo>
                      <a:pt x="1698245" y="1445204"/>
                    </a:lnTo>
                    <a:lnTo>
                      <a:pt x="1696730" y="1445053"/>
                    </a:lnTo>
                    <a:lnTo>
                      <a:pt x="1695669" y="1445810"/>
                    </a:lnTo>
                    <a:lnTo>
                      <a:pt x="1694608" y="1448689"/>
                    </a:lnTo>
                    <a:lnTo>
                      <a:pt x="1693699" y="1449598"/>
                    </a:lnTo>
                    <a:lnTo>
                      <a:pt x="1694002" y="1451871"/>
                    </a:lnTo>
                    <a:lnTo>
                      <a:pt x="1695518" y="1455508"/>
                    </a:lnTo>
                    <a:lnTo>
                      <a:pt x="1696881" y="1461114"/>
                    </a:lnTo>
                    <a:lnTo>
                      <a:pt x="1698093" y="1468690"/>
                    </a:lnTo>
                    <a:lnTo>
                      <a:pt x="1699457" y="1474751"/>
                    </a:lnTo>
                    <a:lnTo>
                      <a:pt x="1700669" y="1477175"/>
                    </a:lnTo>
                    <a:lnTo>
                      <a:pt x="1703851" y="1480054"/>
                    </a:lnTo>
                    <a:lnTo>
                      <a:pt x="1704306" y="1481569"/>
                    </a:lnTo>
                    <a:lnTo>
                      <a:pt x="1703396" y="1483236"/>
                    </a:lnTo>
                    <a:lnTo>
                      <a:pt x="1703094" y="1485206"/>
                    </a:lnTo>
                    <a:lnTo>
                      <a:pt x="1703700" y="1488994"/>
                    </a:lnTo>
                    <a:lnTo>
                      <a:pt x="1704306" y="1490054"/>
                    </a:lnTo>
                    <a:lnTo>
                      <a:pt x="1707639" y="1493539"/>
                    </a:lnTo>
                    <a:lnTo>
                      <a:pt x="1708851" y="1495055"/>
                    </a:lnTo>
                    <a:lnTo>
                      <a:pt x="1709609" y="1498388"/>
                    </a:lnTo>
                    <a:lnTo>
                      <a:pt x="1709760" y="1501570"/>
                    </a:lnTo>
                    <a:lnTo>
                      <a:pt x="1710063" y="1502328"/>
                    </a:lnTo>
                    <a:lnTo>
                      <a:pt x="1711882" y="1503388"/>
                    </a:lnTo>
                    <a:lnTo>
                      <a:pt x="1710670" y="1503691"/>
                    </a:lnTo>
                    <a:lnTo>
                      <a:pt x="1709457" y="1505055"/>
                    </a:lnTo>
                    <a:lnTo>
                      <a:pt x="1707942" y="1507782"/>
                    </a:lnTo>
                    <a:lnTo>
                      <a:pt x="1704912" y="1511722"/>
                    </a:lnTo>
                    <a:lnTo>
                      <a:pt x="1701427" y="1514298"/>
                    </a:lnTo>
                    <a:lnTo>
                      <a:pt x="1700215" y="1516116"/>
                    </a:lnTo>
                    <a:lnTo>
                      <a:pt x="1699608" y="1518540"/>
                    </a:lnTo>
                    <a:lnTo>
                      <a:pt x="1698548" y="1520207"/>
                    </a:lnTo>
                    <a:lnTo>
                      <a:pt x="1697033" y="1521116"/>
                    </a:lnTo>
                    <a:lnTo>
                      <a:pt x="1697184" y="1522631"/>
                    </a:lnTo>
                    <a:lnTo>
                      <a:pt x="1702639" y="1528692"/>
                    </a:lnTo>
                    <a:lnTo>
                      <a:pt x="1703700" y="1530056"/>
                    </a:lnTo>
                    <a:lnTo>
                      <a:pt x="1703851" y="1531116"/>
                    </a:lnTo>
                    <a:lnTo>
                      <a:pt x="1701275" y="1533541"/>
                    </a:lnTo>
                    <a:lnTo>
                      <a:pt x="1700366" y="1535208"/>
                    </a:lnTo>
                    <a:lnTo>
                      <a:pt x="1699306" y="1539299"/>
                    </a:lnTo>
                    <a:lnTo>
                      <a:pt x="1699154" y="1541875"/>
                    </a:lnTo>
                    <a:lnTo>
                      <a:pt x="1698245" y="1539753"/>
                    </a:lnTo>
                    <a:lnTo>
                      <a:pt x="1696881" y="1535208"/>
                    </a:lnTo>
                    <a:lnTo>
                      <a:pt x="1696275" y="1533844"/>
                    </a:lnTo>
                    <a:lnTo>
                      <a:pt x="1695366" y="1532480"/>
                    </a:lnTo>
                    <a:lnTo>
                      <a:pt x="1694002" y="1531116"/>
                    </a:lnTo>
                    <a:lnTo>
                      <a:pt x="1692336" y="1530207"/>
                    </a:lnTo>
                    <a:lnTo>
                      <a:pt x="1690366" y="1529753"/>
                    </a:lnTo>
                    <a:lnTo>
                      <a:pt x="1689305" y="1529147"/>
                    </a:lnTo>
                    <a:lnTo>
                      <a:pt x="1688396" y="1526571"/>
                    </a:lnTo>
                    <a:lnTo>
                      <a:pt x="1687184" y="1526419"/>
                    </a:lnTo>
                    <a:lnTo>
                      <a:pt x="1682790" y="1528541"/>
                    </a:lnTo>
                    <a:lnTo>
                      <a:pt x="1681881" y="1529753"/>
                    </a:lnTo>
                    <a:lnTo>
                      <a:pt x="1681275" y="1531420"/>
                    </a:lnTo>
                    <a:lnTo>
                      <a:pt x="1680214" y="1532935"/>
                    </a:lnTo>
                    <a:lnTo>
                      <a:pt x="1678699" y="1534298"/>
                    </a:lnTo>
                    <a:lnTo>
                      <a:pt x="1677487" y="1536723"/>
                    </a:lnTo>
                    <a:lnTo>
                      <a:pt x="1676577" y="1540208"/>
                    </a:lnTo>
                    <a:lnTo>
                      <a:pt x="1676123" y="1542632"/>
                    </a:lnTo>
                    <a:lnTo>
                      <a:pt x="1676274" y="1543996"/>
                    </a:lnTo>
                    <a:lnTo>
                      <a:pt x="1676729" y="1545208"/>
                    </a:lnTo>
                    <a:lnTo>
                      <a:pt x="1678850" y="1547632"/>
                    </a:lnTo>
                    <a:lnTo>
                      <a:pt x="1683850" y="1552329"/>
                    </a:lnTo>
                    <a:lnTo>
                      <a:pt x="1685820" y="1555360"/>
                    </a:lnTo>
                    <a:lnTo>
                      <a:pt x="1686729" y="1557936"/>
                    </a:lnTo>
                    <a:lnTo>
                      <a:pt x="1683699" y="1553845"/>
                    </a:lnTo>
                    <a:lnTo>
                      <a:pt x="1678396" y="1549147"/>
                    </a:lnTo>
                    <a:lnTo>
                      <a:pt x="1673395" y="1543238"/>
                    </a:lnTo>
                    <a:lnTo>
                      <a:pt x="1670062" y="1540965"/>
                    </a:lnTo>
                    <a:lnTo>
                      <a:pt x="1666122" y="1539299"/>
                    </a:lnTo>
                    <a:lnTo>
                      <a:pt x="1661728" y="1538087"/>
                    </a:lnTo>
                    <a:lnTo>
                      <a:pt x="1659001" y="1537632"/>
                    </a:lnTo>
                    <a:lnTo>
                      <a:pt x="1655971" y="1538389"/>
                    </a:lnTo>
                    <a:lnTo>
                      <a:pt x="1650516" y="1542632"/>
                    </a:lnTo>
                    <a:lnTo>
                      <a:pt x="1647334" y="1544753"/>
                    </a:lnTo>
                    <a:lnTo>
                      <a:pt x="1645819" y="1545056"/>
                    </a:lnTo>
                    <a:lnTo>
                      <a:pt x="1650667" y="1540056"/>
                    </a:lnTo>
                    <a:lnTo>
                      <a:pt x="1655516" y="1537177"/>
                    </a:lnTo>
                    <a:lnTo>
                      <a:pt x="1656880" y="1535511"/>
                    </a:lnTo>
                    <a:lnTo>
                      <a:pt x="1656728" y="1533995"/>
                    </a:lnTo>
                    <a:lnTo>
                      <a:pt x="1655364" y="1530662"/>
                    </a:lnTo>
                    <a:lnTo>
                      <a:pt x="1652789" y="1525510"/>
                    </a:lnTo>
                    <a:lnTo>
                      <a:pt x="1650819" y="1522177"/>
                    </a:lnTo>
                    <a:lnTo>
                      <a:pt x="1649455" y="1520662"/>
                    </a:lnTo>
                    <a:lnTo>
                      <a:pt x="1642334" y="1514298"/>
                    </a:lnTo>
                    <a:lnTo>
                      <a:pt x="1637940" y="1511570"/>
                    </a:lnTo>
                    <a:lnTo>
                      <a:pt x="1633545" y="1509904"/>
                    </a:lnTo>
                    <a:lnTo>
                      <a:pt x="1630515" y="1507934"/>
                    </a:lnTo>
                    <a:lnTo>
                      <a:pt x="1628697" y="1505661"/>
                    </a:lnTo>
                    <a:lnTo>
                      <a:pt x="1626424" y="1504449"/>
                    </a:lnTo>
                    <a:lnTo>
                      <a:pt x="1623697" y="1504297"/>
                    </a:lnTo>
                    <a:lnTo>
                      <a:pt x="1619151" y="1505055"/>
                    </a:lnTo>
                    <a:lnTo>
                      <a:pt x="1618848" y="1504752"/>
                    </a:lnTo>
                    <a:lnTo>
                      <a:pt x="1620212" y="1503691"/>
                    </a:lnTo>
                    <a:lnTo>
                      <a:pt x="1623394" y="1502176"/>
                    </a:lnTo>
                    <a:lnTo>
                      <a:pt x="1624757" y="1501115"/>
                    </a:lnTo>
                    <a:lnTo>
                      <a:pt x="1625818" y="1499600"/>
                    </a:lnTo>
                    <a:lnTo>
                      <a:pt x="1625060" y="1497176"/>
                    </a:lnTo>
                    <a:lnTo>
                      <a:pt x="1621121" y="1492327"/>
                    </a:lnTo>
                    <a:lnTo>
                      <a:pt x="1617939" y="1489145"/>
                    </a:lnTo>
                    <a:lnTo>
                      <a:pt x="1613545" y="1483236"/>
                    </a:lnTo>
                    <a:lnTo>
                      <a:pt x="1611120" y="1480812"/>
                    </a:lnTo>
                    <a:lnTo>
                      <a:pt x="1608545" y="1479145"/>
                    </a:lnTo>
                    <a:lnTo>
                      <a:pt x="1607029" y="1477630"/>
                    </a:lnTo>
                    <a:lnTo>
                      <a:pt x="1606120" y="1475054"/>
                    </a:lnTo>
                    <a:lnTo>
                      <a:pt x="1606120" y="1473690"/>
                    </a:lnTo>
                    <a:lnTo>
                      <a:pt x="1607029" y="1470205"/>
                    </a:lnTo>
                    <a:lnTo>
                      <a:pt x="1608090" y="1468235"/>
                    </a:lnTo>
                    <a:lnTo>
                      <a:pt x="1609757" y="1466266"/>
                    </a:lnTo>
                    <a:lnTo>
                      <a:pt x="1610060" y="1462478"/>
                    </a:lnTo>
                    <a:lnTo>
                      <a:pt x="1609151" y="1457023"/>
                    </a:lnTo>
                    <a:lnTo>
                      <a:pt x="1608848" y="1453386"/>
                    </a:lnTo>
                    <a:lnTo>
                      <a:pt x="1609908" y="1448538"/>
                    </a:lnTo>
                    <a:lnTo>
                      <a:pt x="1610211" y="1445659"/>
                    </a:lnTo>
                    <a:lnTo>
                      <a:pt x="1609605" y="1443083"/>
                    </a:lnTo>
                    <a:lnTo>
                      <a:pt x="1607484" y="1437174"/>
                    </a:lnTo>
                    <a:lnTo>
                      <a:pt x="1606878" y="1436113"/>
                    </a:lnTo>
                    <a:lnTo>
                      <a:pt x="1603241" y="1432022"/>
                    </a:lnTo>
                    <a:lnTo>
                      <a:pt x="1602484" y="1429598"/>
                    </a:lnTo>
                    <a:lnTo>
                      <a:pt x="1602635" y="1425355"/>
                    </a:lnTo>
                    <a:lnTo>
                      <a:pt x="1603999" y="1420506"/>
                    </a:lnTo>
                    <a:lnTo>
                      <a:pt x="1608090" y="1408082"/>
                    </a:lnTo>
                    <a:lnTo>
                      <a:pt x="1607939" y="1406415"/>
                    </a:lnTo>
                    <a:lnTo>
                      <a:pt x="1605666" y="1400960"/>
                    </a:lnTo>
                    <a:lnTo>
                      <a:pt x="1603393" y="1398384"/>
                    </a:lnTo>
                    <a:lnTo>
                      <a:pt x="1598393" y="1395354"/>
                    </a:lnTo>
                    <a:lnTo>
                      <a:pt x="1595362" y="1394748"/>
                    </a:lnTo>
                    <a:lnTo>
                      <a:pt x="1592332" y="1395051"/>
                    </a:lnTo>
                    <a:lnTo>
                      <a:pt x="1590514" y="1394899"/>
                    </a:lnTo>
                    <a:lnTo>
                      <a:pt x="1588392" y="1392627"/>
                    </a:lnTo>
                    <a:lnTo>
                      <a:pt x="1587332" y="1392324"/>
                    </a:lnTo>
                    <a:lnTo>
                      <a:pt x="1581119" y="1392930"/>
                    </a:lnTo>
                    <a:lnTo>
                      <a:pt x="1571422" y="1391111"/>
                    </a:lnTo>
                    <a:lnTo>
                      <a:pt x="1568695" y="1390960"/>
                    </a:lnTo>
                    <a:lnTo>
                      <a:pt x="1562028" y="1388990"/>
                    </a:lnTo>
                    <a:lnTo>
                      <a:pt x="1560361" y="1388990"/>
                    </a:lnTo>
                    <a:lnTo>
                      <a:pt x="1559149" y="1389596"/>
                    </a:lnTo>
                    <a:lnTo>
                      <a:pt x="1556876" y="1389899"/>
                    </a:lnTo>
                    <a:lnTo>
                      <a:pt x="1553694" y="1389748"/>
                    </a:lnTo>
                    <a:lnTo>
                      <a:pt x="1549906" y="1390202"/>
                    </a:lnTo>
                    <a:lnTo>
                      <a:pt x="1545512" y="1391111"/>
                    </a:lnTo>
                    <a:lnTo>
                      <a:pt x="1540360" y="1391111"/>
                    </a:lnTo>
                    <a:lnTo>
                      <a:pt x="1534451" y="1390202"/>
                    </a:lnTo>
                    <a:lnTo>
                      <a:pt x="1530663" y="1390051"/>
                    </a:lnTo>
                    <a:lnTo>
                      <a:pt x="1528845" y="1390808"/>
                    </a:lnTo>
                    <a:lnTo>
                      <a:pt x="1526572" y="1392475"/>
                    </a:lnTo>
                    <a:lnTo>
                      <a:pt x="1522481" y="1397930"/>
                    </a:lnTo>
                    <a:lnTo>
                      <a:pt x="1522632" y="1397324"/>
                    </a:lnTo>
                    <a:lnTo>
                      <a:pt x="1526723" y="1389596"/>
                    </a:lnTo>
                    <a:lnTo>
                      <a:pt x="1526572" y="1387626"/>
                    </a:lnTo>
                    <a:lnTo>
                      <a:pt x="1524754" y="1386263"/>
                    </a:lnTo>
                    <a:lnTo>
                      <a:pt x="1521420" y="1384445"/>
                    </a:lnTo>
                    <a:lnTo>
                      <a:pt x="1519450" y="1382778"/>
                    </a:lnTo>
                    <a:lnTo>
                      <a:pt x="1517178" y="1380202"/>
                    </a:lnTo>
                    <a:lnTo>
                      <a:pt x="1513996" y="1377929"/>
                    </a:lnTo>
                    <a:lnTo>
                      <a:pt x="1509753" y="1375808"/>
                    </a:lnTo>
                    <a:lnTo>
                      <a:pt x="1505510" y="1374293"/>
                    </a:lnTo>
                    <a:lnTo>
                      <a:pt x="1501268" y="1373383"/>
                    </a:lnTo>
                    <a:lnTo>
                      <a:pt x="1494753" y="1371262"/>
                    </a:lnTo>
                    <a:lnTo>
                      <a:pt x="1479903" y="1365807"/>
                    </a:lnTo>
                    <a:lnTo>
                      <a:pt x="1469903" y="1363535"/>
                    </a:lnTo>
                    <a:lnTo>
                      <a:pt x="1464600" y="1361716"/>
                    </a:lnTo>
                    <a:lnTo>
                      <a:pt x="1462479" y="1360353"/>
                    </a:lnTo>
                    <a:lnTo>
                      <a:pt x="1453842" y="1349292"/>
                    </a:lnTo>
                    <a:lnTo>
                      <a:pt x="1448387" y="1344443"/>
                    </a:lnTo>
                    <a:lnTo>
                      <a:pt x="1443084" y="1341716"/>
                    </a:lnTo>
                    <a:lnTo>
                      <a:pt x="1438235" y="1338837"/>
                    </a:lnTo>
                    <a:lnTo>
                      <a:pt x="1431871" y="1334291"/>
                    </a:lnTo>
                    <a:lnTo>
                      <a:pt x="1427932" y="1330806"/>
                    </a:lnTo>
                    <a:lnTo>
                      <a:pt x="1424598" y="1329291"/>
                    </a:lnTo>
                    <a:lnTo>
                      <a:pt x="1417325" y="1328079"/>
                    </a:lnTo>
                    <a:lnTo>
                      <a:pt x="1413689" y="1326867"/>
                    </a:lnTo>
                    <a:lnTo>
                      <a:pt x="1401416" y="1324291"/>
                    </a:lnTo>
                    <a:lnTo>
                      <a:pt x="1393688" y="1321563"/>
                    </a:lnTo>
                    <a:lnTo>
                      <a:pt x="1386264" y="1317775"/>
                    </a:lnTo>
                    <a:lnTo>
                      <a:pt x="1379445" y="1314745"/>
                    </a:lnTo>
                    <a:lnTo>
                      <a:pt x="1371112" y="1313533"/>
                    </a:lnTo>
                    <a:lnTo>
                      <a:pt x="1365202" y="1314139"/>
                    </a:lnTo>
                    <a:lnTo>
                      <a:pt x="1340353" y="1321109"/>
                    </a:lnTo>
                    <a:lnTo>
                      <a:pt x="1333989" y="1323230"/>
                    </a:lnTo>
                    <a:lnTo>
                      <a:pt x="1331110" y="1324745"/>
                    </a:lnTo>
                    <a:lnTo>
                      <a:pt x="1330656" y="1324594"/>
                    </a:lnTo>
                    <a:lnTo>
                      <a:pt x="1332625" y="1322776"/>
                    </a:lnTo>
                    <a:lnTo>
                      <a:pt x="1332474" y="1321866"/>
                    </a:lnTo>
                    <a:lnTo>
                      <a:pt x="1328231" y="1322170"/>
                    </a:lnTo>
                    <a:lnTo>
                      <a:pt x="1326716" y="1322776"/>
                    </a:lnTo>
                    <a:lnTo>
                      <a:pt x="1322928" y="1325351"/>
                    </a:lnTo>
                    <a:lnTo>
                      <a:pt x="1320958" y="1326261"/>
                    </a:lnTo>
                    <a:lnTo>
                      <a:pt x="1318988" y="1326715"/>
                    </a:lnTo>
                    <a:lnTo>
                      <a:pt x="1318837" y="1326412"/>
                    </a:lnTo>
                    <a:lnTo>
                      <a:pt x="1320655" y="1325503"/>
                    </a:lnTo>
                    <a:lnTo>
                      <a:pt x="1322322" y="1323988"/>
                    </a:lnTo>
                    <a:lnTo>
                      <a:pt x="1323989" y="1322018"/>
                    </a:lnTo>
                    <a:lnTo>
                      <a:pt x="1325807" y="1319139"/>
                    </a:lnTo>
                    <a:lnTo>
                      <a:pt x="1327777" y="1315503"/>
                    </a:lnTo>
                    <a:lnTo>
                      <a:pt x="1328837" y="1312775"/>
                    </a:lnTo>
                    <a:lnTo>
                      <a:pt x="1328989" y="1310957"/>
                    </a:lnTo>
                    <a:lnTo>
                      <a:pt x="1328534" y="1308381"/>
                    </a:lnTo>
                    <a:lnTo>
                      <a:pt x="1327473" y="1305048"/>
                    </a:lnTo>
                    <a:lnTo>
                      <a:pt x="1321716" y="1292774"/>
                    </a:lnTo>
                    <a:lnTo>
                      <a:pt x="1320655" y="1290199"/>
                    </a:lnTo>
                    <a:lnTo>
                      <a:pt x="1317928" y="1280956"/>
                    </a:lnTo>
                    <a:lnTo>
                      <a:pt x="1315655" y="1275047"/>
                    </a:lnTo>
                    <a:lnTo>
                      <a:pt x="1310806" y="1264440"/>
                    </a:lnTo>
                    <a:lnTo>
                      <a:pt x="1310049" y="1261410"/>
                    </a:lnTo>
                    <a:lnTo>
                      <a:pt x="1309291" y="1256258"/>
                    </a:lnTo>
                    <a:lnTo>
                      <a:pt x="1308685" y="1255046"/>
                    </a:lnTo>
                    <a:lnTo>
                      <a:pt x="1305958" y="1253834"/>
                    </a:lnTo>
                    <a:lnTo>
                      <a:pt x="1303382" y="1254440"/>
                    </a:lnTo>
                    <a:lnTo>
                      <a:pt x="1300351" y="1254288"/>
                    </a:lnTo>
                    <a:lnTo>
                      <a:pt x="1292321" y="1253228"/>
                    </a:lnTo>
                    <a:lnTo>
                      <a:pt x="1284745" y="1253682"/>
                    </a:lnTo>
                    <a:lnTo>
                      <a:pt x="1282775" y="1255046"/>
                    </a:lnTo>
                    <a:lnTo>
                      <a:pt x="1280502" y="1259440"/>
                    </a:lnTo>
                    <a:lnTo>
                      <a:pt x="1278835" y="1269440"/>
                    </a:lnTo>
                    <a:lnTo>
                      <a:pt x="1277169" y="1272622"/>
                    </a:lnTo>
                    <a:lnTo>
                      <a:pt x="1277169" y="1270955"/>
                    </a:lnTo>
                    <a:lnTo>
                      <a:pt x="1278532" y="1258228"/>
                    </a:lnTo>
                    <a:lnTo>
                      <a:pt x="1278381" y="1255955"/>
                    </a:lnTo>
                    <a:lnTo>
                      <a:pt x="1274744" y="1254743"/>
                    </a:lnTo>
                    <a:lnTo>
                      <a:pt x="1271411" y="1250652"/>
                    </a:lnTo>
                    <a:lnTo>
                      <a:pt x="1270350" y="1249894"/>
                    </a:lnTo>
                    <a:lnTo>
                      <a:pt x="1269138" y="1249591"/>
                    </a:lnTo>
                    <a:lnTo>
                      <a:pt x="1267623" y="1249591"/>
                    </a:lnTo>
                    <a:lnTo>
                      <a:pt x="1266562" y="1248227"/>
                    </a:lnTo>
                    <a:lnTo>
                      <a:pt x="1265805" y="1245349"/>
                    </a:lnTo>
                    <a:lnTo>
                      <a:pt x="1264896" y="1243530"/>
                    </a:lnTo>
                    <a:lnTo>
                      <a:pt x="1262926" y="1242318"/>
                    </a:lnTo>
                    <a:lnTo>
                      <a:pt x="1259895" y="1241561"/>
                    </a:lnTo>
                    <a:lnTo>
                      <a:pt x="1262319" y="1240803"/>
                    </a:lnTo>
                    <a:lnTo>
                      <a:pt x="1263683" y="1238227"/>
                    </a:lnTo>
                    <a:lnTo>
                      <a:pt x="1264592" y="1233530"/>
                    </a:lnTo>
                    <a:lnTo>
                      <a:pt x="1264896" y="1225045"/>
                    </a:lnTo>
                    <a:lnTo>
                      <a:pt x="1264592" y="1205650"/>
                    </a:lnTo>
                    <a:lnTo>
                      <a:pt x="1265805" y="1199286"/>
                    </a:lnTo>
                    <a:lnTo>
                      <a:pt x="1267774" y="1191407"/>
                    </a:lnTo>
                    <a:lnTo>
                      <a:pt x="1268380" y="1186710"/>
                    </a:lnTo>
                    <a:lnTo>
                      <a:pt x="1267774" y="1185195"/>
                    </a:lnTo>
                    <a:lnTo>
                      <a:pt x="1266865" y="1184134"/>
                    </a:lnTo>
                    <a:lnTo>
                      <a:pt x="1265350" y="1183225"/>
                    </a:lnTo>
                    <a:lnTo>
                      <a:pt x="1267623" y="1181558"/>
                    </a:lnTo>
                    <a:lnTo>
                      <a:pt x="1270653" y="1181407"/>
                    </a:lnTo>
                    <a:lnTo>
                      <a:pt x="1272320" y="1178831"/>
                    </a:lnTo>
                    <a:lnTo>
                      <a:pt x="1274593" y="1173679"/>
                    </a:lnTo>
                    <a:lnTo>
                      <a:pt x="1277775" y="1167921"/>
                    </a:lnTo>
                    <a:lnTo>
                      <a:pt x="1282017" y="1161558"/>
                    </a:lnTo>
                    <a:lnTo>
                      <a:pt x="1284442" y="1156860"/>
                    </a:lnTo>
                    <a:lnTo>
                      <a:pt x="1284896" y="1153830"/>
                    </a:lnTo>
                    <a:lnTo>
                      <a:pt x="1284745" y="1151557"/>
                    </a:lnTo>
                    <a:lnTo>
                      <a:pt x="1283987" y="1150042"/>
                    </a:lnTo>
                    <a:lnTo>
                      <a:pt x="1284593" y="1149436"/>
                    </a:lnTo>
                    <a:lnTo>
                      <a:pt x="1287775" y="1149890"/>
                    </a:lnTo>
                    <a:lnTo>
                      <a:pt x="1289290" y="1148375"/>
                    </a:lnTo>
                    <a:lnTo>
                      <a:pt x="1289290" y="1147466"/>
                    </a:lnTo>
                    <a:lnTo>
                      <a:pt x="1287927" y="1144133"/>
                    </a:lnTo>
                    <a:lnTo>
                      <a:pt x="1288684" y="1142617"/>
                    </a:lnTo>
                    <a:lnTo>
                      <a:pt x="1294290" y="1137466"/>
                    </a:lnTo>
                    <a:lnTo>
                      <a:pt x="1302170" y="1133072"/>
                    </a:lnTo>
                    <a:lnTo>
                      <a:pt x="1303988" y="1131708"/>
                    </a:lnTo>
                    <a:lnTo>
                      <a:pt x="1305048" y="1130496"/>
                    </a:lnTo>
                    <a:lnTo>
                      <a:pt x="1305048" y="1130041"/>
                    </a:lnTo>
                    <a:lnTo>
                      <a:pt x="1301866" y="1128678"/>
                    </a:lnTo>
                    <a:lnTo>
                      <a:pt x="1300048" y="1127162"/>
                    </a:lnTo>
                    <a:lnTo>
                      <a:pt x="1299139" y="1126102"/>
                    </a:lnTo>
                    <a:lnTo>
                      <a:pt x="1297624" y="1123071"/>
                    </a:lnTo>
                    <a:lnTo>
                      <a:pt x="1303382" y="1123677"/>
                    </a:lnTo>
                    <a:lnTo>
                      <a:pt x="1304442" y="1123526"/>
                    </a:lnTo>
                    <a:lnTo>
                      <a:pt x="1306109" y="1122314"/>
                    </a:lnTo>
                    <a:lnTo>
                      <a:pt x="1305503" y="1121405"/>
                    </a:lnTo>
                    <a:lnTo>
                      <a:pt x="1303533" y="1120041"/>
                    </a:lnTo>
                    <a:lnTo>
                      <a:pt x="1303988" y="1119435"/>
                    </a:lnTo>
                    <a:lnTo>
                      <a:pt x="1308988" y="1119283"/>
                    </a:lnTo>
                    <a:lnTo>
                      <a:pt x="1311564" y="1118071"/>
                    </a:lnTo>
                    <a:lnTo>
                      <a:pt x="1313079" y="1116707"/>
                    </a:lnTo>
                    <a:lnTo>
                      <a:pt x="1312776" y="1116101"/>
                    </a:lnTo>
                    <a:lnTo>
                      <a:pt x="1311564" y="1115344"/>
                    </a:lnTo>
                    <a:lnTo>
                      <a:pt x="1311715" y="1114435"/>
                    </a:lnTo>
                    <a:lnTo>
                      <a:pt x="1316109" y="1111707"/>
                    </a:lnTo>
                    <a:lnTo>
                      <a:pt x="1315806" y="1110495"/>
                    </a:lnTo>
                    <a:lnTo>
                      <a:pt x="1313837" y="1108828"/>
                    </a:lnTo>
                    <a:lnTo>
                      <a:pt x="1308533" y="1106101"/>
                    </a:lnTo>
                    <a:lnTo>
                      <a:pt x="1307776" y="1105495"/>
                    </a:lnTo>
                    <a:lnTo>
                      <a:pt x="1309140" y="1105343"/>
                    </a:lnTo>
                    <a:lnTo>
                      <a:pt x="1317019" y="1107919"/>
                    </a:lnTo>
                    <a:lnTo>
                      <a:pt x="1320655" y="1109889"/>
                    </a:lnTo>
                    <a:lnTo>
                      <a:pt x="1323079" y="1112162"/>
                    </a:lnTo>
                    <a:lnTo>
                      <a:pt x="1324898" y="1113525"/>
                    </a:lnTo>
                    <a:lnTo>
                      <a:pt x="1326261" y="1113980"/>
                    </a:lnTo>
                    <a:lnTo>
                      <a:pt x="1325807" y="1112616"/>
                    </a:lnTo>
                    <a:lnTo>
                      <a:pt x="1323534" y="1109434"/>
                    </a:lnTo>
                    <a:lnTo>
                      <a:pt x="1321564" y="1107313"/>
                    </a:lnTo>
                    <a:lnTo>
                      <a:pt x="1319746" y="1106404"/>
                    </a:lnTo>
                    <a:lnTo>
                      <a:pt x="1319746" y="1105192"/>
                    </a:lnTo>
                    <a:lnTo>
                      <a:pt x="1321413" y="1103525"/>
                    </a:lnTo>
                    <a:lnTo>
                      <a:pt x="1324443" y="1101252"/>
                    </a:lnTo>
                    <a:lnTo>
                      <a:pt x="1325352" y="1099889"/>
                    </a:lnTo>
                    <a:lnTo>
                      <a:pt x="1325655" y="1098070"/>
                    </a:lnTo>
                    <a:lnTo>
                      <a:pt x="1327170" y="1097313"/>
                    </a:lnTo>
                    <a:lnTo>
                      <a:pt x="1329898" y="1097616"/>
                    </a:lnTo>
                    <a:lnTo>
                      <a:pt x="1332019" y="1097313"/>
                    </a:lnTo>
                    <a:lnTo>
                      <a:pt x="1333534" y="1096404"/>
                    </a:lnTo>
                    <a:lnTo>
                      <a:pt x="1335201" y="1096404"/>
                    </a:lnTo>
                    <a:lnTo>
                      <a:pt x="1338686" y="1098222"/>
                    </a:lnTo>
                    <a:lnTo>
                      <a:pt x="1340656" y="1098373"/>
                    </a:lnTo>
                    <a:lnTo>
                      <a:pt x="1342322" y="1096858"/>
                    </a:lnTo>
                    <a:lnTo>
                      <a:pt x="1342626" y="1096101"/>
                    </a:lnTo>
                    <a:lnTo>
                      <a:pt x="1342020" y="1093828"/>
                    </a:lnTo>
                    <a:lnTo>
                      <a:pt x="1336716" y="1092919"/>
                    </a:lnTo>
                    <a:lnTo>
                      <a:pt x="1334140" y="1092161"/>
                    </a:lnTo>
                    <a:lnTo>
                      <a:pt x="1332474" y="1090949"/>
                    </a:lnTo>
                    <a:lnTo>
                      <a:pt x="1331413" y="1090040"/>
                    </a:lnTo>
                    <a:lnTo>
                      <a:pt x="1330504" y="1088373"/>
                    </a:lnTo>
                    <a:lnTo>
                      <a:pt x="1330201" y="1086555"/>
                    </a:lnTo>
                    <a:lnTo>
                      <a:pt x="1330958" y="1085797"/>
                    </a:lnTo>
                    <a:lnTo>
                      <a:pt x="1335504" y="1085343"/>
                    </a:lnTo>
                    <a:lnTo>
                      <a:pt x="1336716" y="1084888"/>
                    </a:lnTo>
                    <a:lnTo>
                      <a:pt x="1337928" y="1083979"/>
                    </a:lnTo>
                    <a:lnTo>
                      <a:pt x="1340050" y="1083979"/>
                    </a:lnTo>
                    <a:lnTo>
                      <a:pt x="1344595" y="1085191"/>
                    </a:lnTo>
                    <a:lnTo>
                      <a:pt x="1356111" y="1086555"/>
                    </a:lnTo>
                    <a:lnTo>
                      <a:pt x="1358838" y="1085949"/>
                    </a:lnTo>
                    <a:lnTo>
                      <a:pt x="1365202" y="1081555"/>
                    </a:lnTo>
                    <a:lnTo>
                      <a:pt x="1368081" y="1080797"/>
                    </a:lnTo>
                    <a:lnTo>
                      <a:pt x="1371869" y="1080494"/>
                    </a:lnTo>
                    <a:lnTo>
                      <a:pt x="1374445" y="1079433"/>
                    </a:lnTo>
                    <a:lnTo>
                      <a:pt x="1375809" y="1077464"/>
                    </a:lnTo>
                    <a:lnTo>
                      <a:pt x="1376566" y="1075494"/>
                    </a:lnTo>
                    <a:lnTo>
                      <a:pt x="1376718" y="1073524"/>
                    </a:lnTo>
                    <a:lnTo>
                      <a:pt x="1376112" y="1065190"/>
                    </a:lnTo>
                    <a:lnTo>
                      <a:pt x="1375203" y="1063069"/>
                    </a:lnTo>
                    <a:lnTo>
                      <a:pt x="1369142" y="1059130"/>
                    </a:lnTo>
                    <a:lnTo>
                      <a:pt x="1365505" y="1057766"/>
                    </a:lnTo>
                    <a:lnTo>
                      <a:pt x="1359293" y="1056402"/>
                    </a:lnTo>
                    <a:lnTo>
                      <a:pt x="1354899" y="1053978"/>
                    </a:lnTo>
                    <a:lnTo>
                      <a:pt x="1349444" y="1049735"/>
                    </a:lnTo>
                    <a:lnTo>
                      <a:pt x="1345201" y="1048069"/>
                    </a:lnTo>
                    <a:lnTo>
                      <a:pt x="1342020" y="1048978"/>
                    </a:lnTo>
                    <a:lnTo>
                      <a:pt x="1338686" y="1050493"/>
                    </a:lnTo>
                    <a:lnTo>
                      <a:pt x="1332928" y="1053826"/>
                    </a:lnTo>
                    <a:lnTo>
                      <a:pt x="1328080" y="1054129"/>
                    </a:lnTo>
                    <a:lnTo>
                      <a:pt x="1328231" y="1053523"/>
                    </a:lnTo>
                    <a:lnTo>
                      <a:pt x="1335201" y="1049735"/>
                    </a:lnTo>
                    <a:lnTo>
                      <a:pt x="1336565" y="1048220"/>
                    </a:lnTo>
                    <a:lnTo>
                      <a:pt x="1335504" y="1047462"/>
                    </a:lnTo>
                    <a:lnTo>
                      <a:pt x="1331565" y="1046250"/>
                    </a:lnTo>
                    <a:lnTo>
                      <a:pt x="1326413" y="1045038"/>
                    </a:lnTo>
                    <a:lnTo>
                      <a:pt x="1308988" y="1038977"/>
                    </a:lnTo>
                    <a:lnTo>
                      <a:pt x="1306715" y="1037917"/>
                    </a:lnTo>
                    <a:lnTo>
                      <a:pt x="1303230" y="1037008"/>
                    </a:lnTo>
                    <a:lnTo>
                      <a:pt x="1302473" y="1037311"/>
                    </a:lnTo>
                    <a:lnTo>
                      <a:pt x="1303230" y="1039129"/>
                    </a:lnTo>
                    <a:lnTo>
                      <a:pt x="1304745" y="1040341"/>
                    </a:lnTo>
                    <a:lnTo>
                      <a:pt x="1306412" y="1041099"/>
                    </a:lnTo>
                    <a:lnTo>
                      <a:pt x="1306261" y="1041705"/>
                    </a:lnTo>
                    <a:lnTo>
                      <a:pt x="1302321" y="1041856"/>
                    </a:lnTo>
                    <a:lnTo>
                      <a:pt x="1298382" y="1040644"/>
                    </a:lnTo>
                    <a:lnTo>
                      <a:pt x="1295503" y="1037311"/>
                    </a:lnTo>
                    <a:lnTo>
                      <a:pt x="1295806" y="1035947"/>
                    </a:lnTo>
                    <a:lnTo>
                      <a:pt x="1297169" y="1034583"/>
                    </a:lnTo>
                    <a:lnTo>
                      <a:pt x="1297321" y="1033068"/>
                    </a:lnTo>
                    <a:lnTo>
                      <a:pt x="1294593" y="1028371"/>
                    </a:lnTo>
                    <a:lnTo>
                      <a:pt x="1301866" y="1033523"/>
                    </a:lnTo>
                    <a:lnTo>
                      <a:pt x="1314443" y="1037462"/>
                    </a:lnTo>
                    <a:lnTo>
                      <a:pt x="1325958" y="1042159"/>
                    </a:lnTo>
                    <a:lnTo>
                      <a:pt x="1331716" y="1043978"/>
                    </a:lnTo>
                    <a:lnTo>
                      <a:pt x="1335656" y="1044432"/>
                    </a:lnTo>
                    <a:lnTo>
                      <a:pt x="1338383" y="1044129"/>
                    </a:lnTo>
                    <a:lnTo>
                      <a:pt x="1339898" y="1042917"/>
                    </a:lnTo>
                    <a:lnTo>
                      <a:pt x="1341413" y="1042462"/>
                    </a:lnTo>
                    <a:lnTo>
                      <a:pt x="1342929" y="1042917"/>
                    </a:lnTo>
                    <a:lnTo>
                      <a:pt x="1343232" y="1043371"/>
                    </a:lnTo>
                    <a:lnTo>
                      <a:pt x="1342322" y="1043978"/>
                    </a:lnTo>
                    <a:lnTo>
                      <a:pt x="1342322" y="1044584"/>
                    </a:lnTo>
                    <a:lnTo>
                      <a:pt x="1343080" y="1045190"/>
                    </a:lnTo>
                    <a:lnTo>
                      <a:pt x="1349898" y="1045796"/>
                    </a:lnTo>
                    <a:lnTo>
                      <a:pt x="1353687" y="1046553"/>
                    </a:lnTo>
                    <a:lnTo>
                      <a:pt x="1365505" y="1051250"/>
                    </a:lnTo>
                    <a:lnTo>
                      <a:pt x="1369899" y="1052614"/>
                    </a:lnTo>
                    <a:lnTo>
                      <a:pt x="1373536" y="1052917"/>
                    </a:lnTo>
                    <a:lnTo>
                      <a:pt x="1376415" y="1052160"/>
                    </a:lnTo>
                    <a:lnTo>
                      <a:pt x="1378384" y="1050948"/>
                    </a:lnTo>
                    <a:lnTo>
                      <a:pt x="1379445" y="1049281"/>
                    </a:lnTo>
                    <a:lnTo>
                      <a:pt x="1381112" y="1049129"/>
                    </a:lnTo>
                    <a:lnTo>
                      <a:pt x="1383536" y="1050341"/>
                    </a:lnTo>
                    <a:lnTo>
                      <a:pt x="1385657" y="1050796"/>
                    </a:lnTo>
                    <a:lnTo>
                      <a:pt x="1388991" y="1050038"/>
                    </a:lnTo>
                    <a:lnTo>
                      <a:pt x="1391415" y="1047917"/>
                    </a:lnTo>
                    <a:lnTo>
                      <a:pt x="1395355" y="1042917"/>
                    </a:lnTo>
                    <a:lnTo>
                      <a:pt x="1395203" y="1041856"/>
                    </a:lnTo>
                    <a:lnTo>
                      <a:pt x="1393991" y="1039735"/>
                    </a:lnTo>
                    <a:lnTo>
                      <a:pt x="1390961" y="1035341"/>
                    </a:lnTo>
                    <a:lnTo>
                      <a:pt x="1391718" y="1035189"/>
                    </a:lnTo>
                    <a:lnTo>
                      <a:pt x="1397779" y="1036856"/>
                    </a:lnTo>
                    <a:lnTo>
                      <a:pt x="1399598" y="1036250"/>
                    </a:lnTo>
                    <a:lnTo>
                      <a:pt x="1399446" y="1035341"/>
                    </a:lnTo>
                    <a:lnTo>
                      <a:pt x="1396870" y="1030947"/>
                    </a:lnTo>
                    <a:lnTo>
                      <a:pt x="1395961" y="1030038"/>
                    </a:lnTo>
                    <a:lnTo>
                      <a:pt x="1393385" y="1028825"/>
                    </a:lnTo>
                    <a:lnTo>
                      <a:pt x="1394446" y="1028219"/>
                    </a:lnTo>
                    <a:lnTo>
                      <a:pt x="1400809" y="1026553"/>
                    </a:lnTo>
                    <a:lnTo>
                      <a:pt x="1401264" y="1027159"/>
                    </a:lnTo>
                    <a:lnTo>
                      <a:pt x="1402022" y="1030189"/>
                    </a:lnTo>
                    <a:lnTo>
                      <a:pt x="1402931" y="1031250"/>
                    </a:lnTo>
                    <a:lnTo>
                      <a:pt x="1406113" y="1033220"/>
                    </a:lnTo>
                    <a:lnTo>
                      <a:pt x="1407931" y="1033977"/>
                    </a:lnTo>
                    <a:lnTo>
                      <a:pt x="1409295" y="1033977"/>
                    </a:lnTo>
                    <a:lnTo>
                      <a:pt x="1410355" y="1033371"/>
                    </a:lnTo>
                    <a:lnTo>
                      <a:pt x="1412022" y="1032916"/>
                    </a:lnTo>
                    <a:lnTo>
                      <a:pt x="1417174" y="1035341"/>
                    </a:lnTo>
                    <a:lnTo>
                      <a:pt x="1419447" y="1036098"/>
                    </a:lnTo>
                    <a:lnTo>
                      <a:pt x="1420053" y="1035492"/>
                    </a:lnTo>
                    <a:lnTo>
                      <a:pt x="1417325" y="1030038"/>
                    </a:lnTo>
                    <a:lnTo>
                      <a:pt x="1417628" y="1029735"/>
                    </a:lnTo>
                    <a:lnTo>
                      <a:pt x="1421416" y="1033220"/>
                    </a:lnTo>
                    <a:lnTo>
                      <a:pt x="1423992" y="1034280"/>
                    </a:lnTo>
                    <a:lnTo>
                      <a:pt x="1427932" y="1035038"/>
                    </a:lnTo>
                    <a:lnTo>
                      <a:pt x="1432477" y="1034280"/>
                    </a:lnTo>
                    <a:lnTo>
                      <a:pt x="1439902" y="1030795"/>
                    </a:lnTo>
                    <a:lnTo>
                      <a:pt x="1447326" y="1026704"/>
                    </a:lnTo>
                    <a:lnTo>
                      <a:pt x="1450357" y="1023977"/>
                    </a:lnTo>
                    <a:lnTo>
                      <a:pt x="1451266" y="1021401"/>
                    </a:lnTo>
                    <a:lnTo>
                      <a:pt x="1453387" y="1017158"/>
                    </a:lnTo>
                    <a:lnTo>
                      <a:pt x="1469903" y="998370"/>
                    </a:lnTo>
                    <a:lnTo>
                      <a:pt x="1472630" y="993824"/>
                    </a:lnTo>
                    <a:lnTo>
                      <a:pt x="1476873" y="987763"/>
                    </a:lnTo>
                    <a:lnTo>
                      <a:pt x="1477631" y="985794"/>
                    </a:lnTo>
                    <a:lnTo>
                      <a:pt x="1477025" y="981854"/>
                    </a:lnTo>
                    <a:lnTo>
                      <a:pt x="1474600" y="980490"/>
                    </a:lnTo>
                    <a:lnTo>
                      <a:pt x="1466873" y="978824"/>
                    </a:lnTo>
                    <a:lnTo>
                      <a:pt x="1452175" y="977915"/>
                    </a:lnTo>
                    <a:lnTo>
                      <a:pt x="1444902" y="977915"/>
                    </a:lnTo>
                    <a:lnTo>
                      <a:pt x="1423689" y="974884"/>
                    </a:lnTo>
                    <a:lnTo>
                      <a:pt x="1419447" y="972763"/>
                    </a:lnTo>
                    <a:lnTo>
                      <a:pt x="1416265" y="970490"/>
                    </a:lnTo>
                    <a:lnTo>
                      <a:pt x="1406416" y="961399"/>
                    </a:lnTo>
                    <a:lnTo>
                      <a:pt x="1401264" y="957459"/>
                    </a:lnTo>
                    <a:lnTo>
                      <a:pt x="1397476" y="955489"/>
                    </a:lnTo>
                    <a:lnTo>
                      <a:pt x="1394143" y="954277"/>
                    </a:lnTo>
                    <a:lnTo>
                      <a:pt x="1391112" y="953974"/>
                    </a:lnTo>
                    <a:lnTo>
                      <a:pt x="1379142" y="950641"/>
                    </a:lnTo>
                    <a:lnTo>
                      <a:pt x="1368536" y="949126"/>
                    </a:lnTo>
                    <a:lnTo>
                      <a:pt x="1366414" y="950186"/>
                    </a:lnTo>
                    <a:lnTo>
                      <a:pt x="1366111" y="950792"/>
                    </a:lnTo>
                    <a:lnTo>
                      <a:pt x="1367020" y="953368"/>
                    </a:lnTo>
                    <a:lnTo>
                      <a:pt x="1360353" y="950489"/>
                    </a:lnTo>
                    <a:lnTo>
                      <a:pt x="1356414" y="948065"/>
                    </a:lnTo>
                    <a:lnTo>
                      <a:pt x="1356869" y="947610"/>
                    </a:lnTo>
                    <a:lnTo>
                      <a:pt x="1359747" y="947307"/>
                    </a:lnTo>
                    <a:lnTo>
                      <a:pt x="1367778" y="947307"/>
                    </a:lnTo>
                    <a:lnTo>
                      <a:pt x="1372778" y="947913"/>
                    </a:lnTo>
                    <a:lnTo>
                      <a:pt x="1377475" y="948974"/>
                    </a:lnTo>
                    <a:lnTo>
                      <a:pt x="1381415" y="949429"/>
                    </a:lnTo>
                    <a:lnTo>
                      <a:pt x="1386870" y="949126"/>
                    </a:lnTo>
                    <a:lnTo>
                      <a:pt x="1392324" y="951095"/>
                    </a:lnTo>
                    <a:lnTo>
                      <a:pt x="1395355" y="951095"/>
                    </a:lnTo>
                    <a:lnTo>
                      <a:pt x="1398537" y="951701"/>
                    </a:lnTo>
                    <a:lnTo>
                      <a:pt x="1399749" y="951550"/>
                    </a:lnTo>
                    <a:lnTo>
                      <a:pt x="1397173" y="948823"/>
                    </a:lnTo>
                    <a:lnTo>
                      <a:pt x="1398688" y="948519"/>
                    </a:lnTo>
                    <a:lnTo>
                      <a:pt x="1402476" y="948671"/>
                    </a:lnTo>
                    <a:lnTo>
                      <a:pt x="1406719" y="949883"/>
                    </a:lnTo>
                    <a:lnTo>
                      <a:pt x="1411416" y="952004"/>
                    </a:lnTo>
                    <a:lnTo>
                      <a:pt x="1420507" y="957459"/>
                    </a:lnTo>
                    <a:lnTo>
                      <a:pt x="1424447" y="959126"/>
                    </a:lnTo>
                    <a:lnTo>
                      <a:pt x="1428235" y="959581"/>
                    </a:lnTo>
                    <a:lnTo>
                      <a:pt x="1430053" y="960187"/>
                    </a:lnTo>
                    <a:lnTo>
                      <a:pt x="1432023" y="963217"/>
                    </a:lnTo>
                    <a:lnTo>
                      <a:pt x="1434296" y="964278"/>
                    </a:lnTo>
                    <a:lnTo>
                      <a:pt x="1439599" y="967460"/>
                    </a:lnTo>
                    <a:lnTo>
                      <a:pt x="1447023" y="972914"/>
                    </a:lnTo>
                    <a:lnTo>
                      <a:pt x="1451114" y="975036"/>
                    </a:lnTo>
                    <a:lnTo>
                      <a:pt x="1459145" y="975642"/>
                    </a:lnTo>
                    <a:lnTo>
                      <a:pt x="1465357" y="975490"/>
                    </a:lnTo>
                    <a:lnTo>
                      <a:pt x="1469751" y="974733"/>
                    </a:lnTo>
                    <a:lnTo>
                      <a:pt x="1472479" y="973520"/>
                    </a:lnTo>
                    <a:lnTo>
                      <a:pt x="1475509" y="970945"/>
                    </a:lnTo>
                    <a:lnTo>
                      <a:pt x="1478994" y="967005"/>
                    </a:lnTo>
                    <a:lnTo>
                      <a:pt x="1485813" y="960641"/>
                    </a:lnTo>
                    <a:lnTo>
                      <a:pt x="1503844" y="944731"/>
                    </a:lnTo>
                    <a:lnTo>
                      <a:pt x="1504753" y="943519"/>
                    </a:lnTo>
                    <a:lnTo>
                      <a:pt x="1506268" y="940337"/>
                    </a:lnTo>
                    <a:lnTo>
                      <a:pt x="1506117" y="938671"/>
                    </a:lnTo>
                    <a:lnTo>
                      <a:pt x="1505056" y="937155"/>
                    </a:lnTo>
                    <a:lnTo>
                      <a:pt x="1502025" y="935337"/>
                    </a:lnTo>
                    <a:lnTo>
                      <a:pt x="1496874" y="933367"/>
                    </a:lnTo>
                    <a:lnTo>
                      <a:pt x="1489146" y="930943"/>
                    </a:lnTo>
                    <a:lnTo>
                      <a:pt x="1486419" y="929125"/>
                    </a:lnTo>
                    <a:lnTo>
                      <a:pt x="1484752" y="926549"/>
                    </a:lnTo>
                    <a:lnTo>
                      <a:pt x="1485055" y="925791"/>
                    </a:lnTo>
                    <a:lnTo>
                      <a:pt x="1486116" y="925337"/>
                    </a:lnTo>
                    <a:lnTo>
                      <a:pt x="1486419" y="924731"/>
                    </a:lnTo>
                    <a:lnTo>
                      <a:pt x="1485055" y="922306"/>
                    </a:lnTo>
                    <a:lnTo>
                      <a:pt x="1485813" y="921700"/>
                    </a:lnTo>
                    <a:lnTo>
                      <a:pt x="1487934" y="921246"/>
                    </a:lnTo>
                    <a:lnTo>
                      <a:pt x="1503541" y="921700"/>
                    </a:lnTo>
                    <a:lnTo>
                      <a:pt x="1510965" y="921094"/>
                    </a:lnTo>
                    <a:lnTo>
                      <a:pt x="1516117" y="919428"/>
                    </a:lnTo>
                    <a:lnTo>
                      <a:pt x="1520511" y="920791"/>
                    </a:lnTo>
                    <a:lnTo>
                      <a:pt x="1524147" y="925185"/>
                    </a:lnTo>
                    <a:lnTo>
                      <a:pt x="1527329" y="928367"/>
                    </a:lnTo>
                    <a:lnTo>
                      <a:pt x="1529905" y="930337"/>
                    </a:lnTo>
                    <a:lnTo>
                      <a:pt x="1535057" y="932761"/>
                    </a:lnTo>
                    <a:lnTo>
                      <a:pt x="1542785" y="935640"/>
                    </a:lnTo>
                    <a:lnTo>
                      <a:pt x="1546875" y="937004"/>
                    </a:lnTo>
                    <a:lnTo>
                      <a:pt x="1547330" y="936701"/>
                    </a:lnTo>
                    <a:lnTo>
                      <a:pt x="1548997" y="933367"/>
                    </a:lnTo>
                    <a:lnTo>
                      <a:pt x="1550967" y="931852"/>
                    </a:lnTo>
                    <a:lnTo>
                      <a:pt x="1551876" y="931852"/>
                    </a:lnTo>
                    <a:lnTo>
                      <a:pt x="1559603" y="934580"/>
                    </a:lnTo>
                    <a:lnTo>
                      <a:pt x="1562482" y="935489"/>
                    </a:lnTo>
                    <a:lnTo>
                      <a:pt x="1563543" y="935337"/>
                    </a:lnTo>
                    <a:lnTo>
                      <a:pt x="1565513" y="934277"/>
                    </a:lnTo>
                    <a:lnTo>
                      <a:pt x="1564755" y="932004"/>
                    </a:lnTo>
                    <a:lnTo>
                      <a:pt x="1560967" y="926094"/>
                    </a:lnTo>
                    <a:lnTo>
                      <a:pt x="1557482" y="921246"/>
                    </a:lnTo>
                    <a:lnTo>
                      <a:pt x="1555512" y="918670"/>
                    </a:lnTo>
                    <a:lnTo>
                      <a:pt x="1554755" y="916094"/>
                    </a:lnTo>
                    <a:lnTo>
                      <a:pt x="1553694" y="914579"/>
                    </a:lnTo>
                    <a:lnTo>
                      <a:pt x="1551118" y="913215"/>
                    </a:lnTo>
                    <a:lnTo>
                      <a:pt x="1543694" y="906548"/>
                    </a:lnTo>
                    <a:lnTo>
                      <a:pt x="1543391" y="905639"/>
                    </a:lnTo>
                    <a:lnTo>
                      <a:pt x="1542330" y="904427"/>
                    </a:lnTo>
                    <a:lnTo>
                      <a:pt x="1539603" y="902912"/>
                    </a:lnTo>
                    <a:lnTo>
                      <a:pt x="1536269" y="902609"/>
                    </a:lnTo>
                    <a:lnTo>
                      <a:pt x="1535057" y="903215"/>
                    </a:lnTo>
                    <a:lnTo>
                      <a:pt x="1532936" y="905336"/>
                    </a:lnTo>
                    <a:lnTo>
                      <a:pt x="1531875" y="905791"/>
                    </a:lnTo>
                    <a:lnTo>
                      <a:pt x="1529299" y="904881"/>
                    </a:lnTo>
                    <a:lnTo>
                      <a:pt x="1529299" y="904124"/>
                    </a:lnTo>
                    <a:lnTo>
                      <a:pt x="1531269" y="901851"/>
                    </a:lnTo>
                    <a:lnTo>
                      <a:pt x="1536572" y="898518"/>
                    </a:lnTo>
                    <a:lnTo>
                      <a:pt x="1540815" y="899124"/>
                    </a:lnTo>
                    <a:lnTo>
                      <a:pt x="1545057" y="901093"/>
                    </a:lnTo>
                    <a:lnTo>
                      <a:pt x="1545209" y="901548"/>
                    </a:lnTo>
                    <a:lnTo>
                      <a:pt x="1547027" y="903063"/>
                    </a:lnTo>
                    <a:lnTo>
                      <a:pt x="1551270" y="906094"/>
                    </a:lnTo>
                    <a:lnTo>
                      <a:pt x="1552330" y="907154"/>
                    </a:lnTo>
                    <a:lnTo>
                      <a:pt x="1549906" y="907912"/>
                    </a:lnTo>
                    <a:lnTo>
                      <a:pt x="1549754" y="908367"/>
                    </a:lnTo>
                    <a:lnTo>
                      <a:pt x="1550967" y="909730"/>
                    </a:lnTo>
                    <a:lnTo>
                      <a:pt x="1554149" y="911851"/>
                    </a:lnTo>
                    <a:lnTo>
                      <a:pt x="1555664" y="912003"/>
                    </a:lnTo>
                    <a:lnTo>
                      <a:pt x="1558543" y="911700"/>
                    </a:lnTo>
                    <a:lnTo>
                      <a:pt x="1559906" y="912155"/>
                    </a:lnTo>
                    <a:lnTo>
                      <a:pt x="1562028" y="914427"/>
                    </a:lnTo>
                    <a:lnTo>
                      <a:pt x="1567028" y="921094"/>
                    </a:lnTo>
                    <a:lnTo>
                      <a:pt x="1569452" y="923367"/>
                    </a:lnTo>
                    <a:lnTo>
                      <a:pt x="1570058" y="924428"/>
                    </a:lnTo>
                    <a:lnTo>
                      <a:pt x="1571119" y="927761"/>
                    </a:lnTo>
                    <a:lnTo>
                      <a:pt x="1572937" y="928670"/>
                    </a:lnTo>
                    <a:lnTo>
                      <a:pt x="1576119" y="928519"/>
                    </a:lnTo>
                    <a:lnTo>
                      <a:pt x="1579149" y="927610"/>
                    </a:lnTo>
                    <a:lnTo>
                      <a:pt x="1581877" y="925791"/>
                    </a:lnTo>
                    <a:lnTo>
                      <a:pt x="1588695" y="920337"/>
                    </a:lnTo>
                    <a:lnTo>
                      <a:pt x="1597180" y="918670"/>
                    </a:lnTo>
                    <a:lnTo>
                      <a:pt x="1599605" y="917155"/>
                    </a:lnTo>
                    <a:lnTo>
                      <a:pt x="1604453" y="913064"/>
                    </a:lnTo>
                    <a:lnTo>
                      <a:pt x="1607635" y="911700"/>
                    </a:lnTo>
                    <a:lnTo>
                      <a:pt x="1609302" y="910488"/>
                    </a:lnTo>
                    <a:lnTo>
                      <a:pt x="1611575" y="907760"/>
                    </a:lnTo>
                    <a:lnTo>
                      <a:pt x="1614605" y="903366"/>
                    </a:lnTo>
                    <a:lnTo>
                      <a:pt x="1616727" y="900790"/>
                    </a:lnTo>
                    <a:lnTo>
                      <a:pt x="1618090" y="900184"/>
                    </a:lnTo>
                    <a:lnTo>
                      <a:pt x="1622181" y="900336"/>
                    </a:lnTo>
                    <a:lnTo>
                      <a:pt x="1624757" y="899578"/>
                    </a:lnTo>
                    <a:lnTo>
                      <a:pt x="1629151" y="896396"/>
                    </a:lnTo>
                    <a:lnTo>
                      <a:pt x="1629757" y="895336"/>
                    </a:lnTo>
                    <a:lnTo>
                      <a:pt x="1631273" y="890942"/>
                    </a:lnTo>
                    <a:lnTo>
                      <a:pt x="1633697" y="883063"/>
                    </a:lnTo>
                    <a:lnTo>
                      <a:pt x="1634606" y="878214"/>
                    </a:lnTo>
                    <a:lnTo>
                      <a:pt x="1634000" y="876396"/>
                    </a:lnTo>
                    <a:lnTo>
                      <a:pt x="1630818" y="871850"/>
                    </a:lnTo>
                    <a:lnTo>
                      <a:pt x="1628545" y="869880"/>
                    </a:lnTo>
                    <a:lnTo>
                      <a:pt x="1622636" y="865941"/>
                    </a:lnTo>
                    <a:lnTo>
                      <a:pt x="1618242" y="862153"/>
                    </a:lnTo>
                    <a:lnTo>
                      <a:pt x="1615363" y="859425"/>
                    </a:lnTo>
                    <a:lnTo>
                      <a:pt x="1612939" y="856243"/>
                    </a:lnTo>
                    <a:lnTo>
                      <a:pt x="1611878" y="853364"/>
                    </a:lnTo>
                    <a:lnTo>
                      <a:pt x="1611878" y="852001"/>
                    </a:lnTo>
                    <a:lnTo>
                      <a:pt x="1612181" y="850486"/>
                    </a:lnTo>
                    <a:lnTo>
                      <a:pt x="1614302" y="844728"/>
                    </a:lnTo>
                    <a:lnTo>
                      <a:pt x="1614302" y="843819"/>
                    </a:lnTo>
                    <a:lnTo>
                      <a:pt x="1613696" y="843667"/>
                    </a:lnTo>
                    <a:lnTo>
                      <a:pt x="1612484" y="844425"/>
                    </a:lnTo>
                    <a:lnTo>
                      <a:pt x="1610514" y="846243"/>
                    </a:lnTo>
                    <a:lnTo>
                      <a:pt x="1609605" y="846546"/>
                    </a:lnTo>
                    <a:lnTo>
                      <a:pt x="1608696" y="846092"/>
                    </a:lnTo>
                    <a:lnTo>
                      <a:pt x="1603999" y="839425"/>
                    </a:lnTo>
                    <a:lnTo>
                      <a:pt x="1603241" y="838819"/>
                    </a:lnTo>
                    <a:lnTo>
                      <a:pt x="1603090" y="838364"/>
                    </a:lnTo>
                    <a:lnTo>
                      <a:pt x="1604151" y="836849"/>
                    </a:lnTo>
                    <a:lnTo>
                      <a:pt x="1603544" y="835940"/>
                    </a:lnTo>
                    <a:lnTo>
                      <a:pt x="1602181" y="834727"/>
                    </a:lnTo>
                    <a:lnTo>
                      <a:pt x="1599756" y="831697"/>
                    </a:lnTo>
                    <a:lnTo>
                      <a:pt x="1599908" y="830636"/>
                    </a:lnTo>
                    <a:lnTo>
                      <a:pt x="1601272" y="830182"/>
                    </a:lnTo>
                    <a:lnTo>
                      <a:pt x="1603999" y="830182"/>
                    </a:lnTo>
                    <a:lnTo>
                      <a:pt x="1609151" y="828818"/>
                    </a:lnTo>
                    <a:lnTo>
                      <a:pt x="1612029" y="829121"/>
                    </a:lnTo>
                    <a:lnTo>
                      <a:pt x="1614757" y="830788"/>
                    </a:lnTo>
                    <a:lnTo>
                      <a:pt x="1617333" y="830939"/>
                    </a:lnTo>
                    <a:lnTo>
                      <a:pt x="1619605" y="829576"/>
                    </a:lnTo>
                    <a:lnTo>
                      <a:pt x="1624909" y="827757"/>
                    </a:lnTo>
                    <a:lnTo>
                      <a:pt x="1627939" y="826242"/>
                    </a:lnTo>
                    <a:lnTo>
                      <a:pt x="1634606" y="821394"/>
                    </a:lnTo>
                    <a:lnTo>
                      <a:pt x="1635212" y="819727"/>
                    </a:lnTo>
                    <a:lnTo>
                      <a:pt x="1635364" y="817303"/>
                    </a:lnTo>
                    <a:lnTo>
                      <a:pt x="1635061" y="815484"/>
                    </a:lnTo>
                    <a:lnTo>
                      <a:pt x="1633243" y="813211"/>
                    </a:lnTo>
                    <a:lnTo>
                      <a:pt x="1631879" y="812151"/>
                    </a:lnTo>
                    <a:lnTo>
                      <a:pt x="1629303" y="811393"/>
                    </a:lnTo>
                    <a:lnTo>
                      <a:pt x="1623545" y="810787"/>
                    </a:lnTo>
                    <a:lnTo>
                      <a:pt x="1616121" y="810636"/>
                    </a:lnTo>
                    <a:lnTo>
                      <a:pt x="1616272" y="809423"/>
                    </a:lnTo>
                    <a:lnTo>
                      <a:pt x="1621575" y="807151"/>
                    </a:lnTo>
                    <a:lnTo>
                      <a:pt x="1625666" y="804878"/>
                    </a:lnTo>
                    <a:lnTo>
                      <a:pt x="1633394" y="799272"/>
                    </a:lnTo>
                    <a:lnTo>
                      <a:pt x="1633545" y="798362"/>
                    </a:lnTo>
                    <a:lnTo>
                      <a:pt x="1632030" y="796090"/>
                    </a:lnTo>
                    <a:lnTo>
                      <a:pt x="1631121" y="795484"/>
                    </a:lnTo>
                    <a:lnTo>
                      <a:pt x="1622333" y="792605"/>
                    </a:lnTo>
                    <a:lnTo>
                      <a:pt x="1616272" y="791696"/>
                    </a:lnTo>
                    <a:lnTo>
                      <a:pt x="1610817" y="793059"/>
                    </a:lnTo>
                    <a:lnTo>
                      <a:pt x="1608696" y="793059"/>
                    </a:lnTo>
                    <a:lnTo>
                      <a:pt x="1608241" y="792302"/>
                    </a:lnTo>
                    <a:lnTo>
                      <a:pt x="1609302" y="790786"/>
                    </a:lnTo>
                    <a:lnTo>
                      <a:pt x="1608696" y="789120"/>
                    </a:lnTo>
                    <a:lnTo>
                      <a:pt x="1606575" y="785332"/>
                    </a:lnTo>
                    <a:lnTo>
                      <a:pt x="1597484" y="783059"/>
                    </a:lnTo>
                    <a:lnTo>
                      <a:pt x="1594453" y="781241"/>
                    </a:lnTo>
                    <a:lnTo>
                      <a:pt x="1597786" y="780028"/>
                    </a:lnTo>
                    <a:lnTo>
                      <a:pt x="1601574" y="779271"/>
                    </a:lnTo>
                    <a:lnTo>
                      <a:pt x="1604453" y="775937"/>
                    </a:lnTo>
                    <a:lnTo>
                      <a:pt x="1604908" y="773968"/>
                    </a:lnTo>
                    <a:lnTo>
                      <a:pt x="1598241" y="771543"/>
                    </a:lnTo>
                    <a:lnTo>
                      <a:pt x="1594756" y="771392"/>
                    </a:lnTo>
                    <a:lnTo>
                      <a:pt x="1588089" y="771846"/>
                    </a:lnTo>
                    <a:lnTo>
                      <a:pt x="1572786" y="770937"/>
                    </a:lnTo>
                    <a:lnTo>
                      <a:pt x="1569604" y="771089"/>
                    </a:lnTo>
                    <a:lnTo>
                      <a:pt x="1562785" y="768816"/>
                    </a:lnTo>
                    <a:lnTo>
                      <a:pt x="1553846" y="764422"/>
                    </a:lnTo>
                    <a:lnTo>
                      <a:pt x="1551724" y="763967"/>
                    </a:lnTo>
                    <a:lnTo>
                      <a:pt x="1542785" y="763664"/>
                    </a:lnTo>
                    <a:lnTo>
                      <a:pt x="1537633" y="764422"/>
                    </a:lnTo>
                    <a:lnTo>
                      <a:pt x="1532481" y="765937"/>
                    </a:lnTo>
                    <a:lnTo>
                      <a:pt x="1528238" y="765937"/>
                    </a:lnTo>
                    <a:lnTo>
                      <a:pt x="1524754" y="764422"/>
                    </a:lnTo>
                    <a:lnTo>
                      <a:pt x="1521723" y="763816"/>
                    </a:lnTo>
                    <a:lnTo>
                      <a:pt x="1519147" y="763967"/>
                    </a:lnTo>
                    <a:lnTo>
                      <a:pt x="1518390" y="764422"/>
                    </a:lnTo>
                    <a:lnTo>
                      <a:pt x="1519450" y="765179"/>
                    </a:lnTo>
                    <a:lnTo>
                      <a:pt x="1520814" y="767149"/>
                    </a:lnTo>
                    <a:lnTo>
                      <a:pt x="1520814" y="768664"/>
                    </a:lnTo>
                    <a:lnTo>
                      <a:pt x="1519299" y="773362"/>
                    </a:lnTo>
                    <a:lnTo>
                      <a:pt x="1519905" y="775028"/>
                    </a:lnTo>
                    <a:lnTo>
                      <a:pt x="1521269" y="776847"/>
                    </a:lnTo>
                    <a:lnTo>
                      <a:pt x="1521723" y="778513"/>
                    </a:lnTo>
                    <a:lnTo>
                      <a:pt x="1521117" y="779877"/>
                    </a:lnTo>
                    <a:lnTo>
                      <a:pt x="1521117" y="781392"/>
                    </a:lnTo>
                    <a:lnTo>
                      <a:pt x="1521875" y="783059"/>
                    </a:lnTo>
                    <a:lnTo>
                      <a:pt x="1522026" y="784271"/>
                    </a:lnTo>
                    <a:lnTo>
                      <a:pt x="1521572" y="785029"/>
                    </a:lnTo>
                    <a:lnTo>
                      <a:pt x="1521117" y="787756"/>
                    </a:lnTo>
                    <a:lnTo>
                      <a:pt x="1521269" y="789423"/>
                    </a:lnTo>
                    <a:lnTo>
                      <a:pt x="1522329" y="793665"/>
                    </a:lnTo>
                    <a:lnTo>
                      <a:pt x="1525360" y="796544"/>
                    </a:lnTo>
                    <a:lnTo>
                      <a:pt x="1526269" y="796999"/>
                    </a:lnTo>
                    <a:lnTo>
                      <a:pt x="1529754" y="796847"/>
                    </a:lnTo>
                    <a:lnTo>
                      <a:pt x="1535815" y="800332"/>
                    </a:lnTo>
                    <a:lnTo>
                      <a:pt x="1536572" y="801241"/>
                    </a:lnTo>
                    <a:lnTo>
                      <a:pt x="1535663" y="803817"/>
                    </a:lnTo>
                    <a:lnTo>
                      <a:pt x="1535663" y="805332"/>
                    </a:lnTo>
                    <a:lnTo>
                      <a:pt x="1535057" y="806545"/>
                    </a:lnTo>
                    <a:lnTo>
                      <a:pt x="1532481" y="807151"/>
                    </a:lnTo>
                    <a:lnTo>
                      <a:pt x="1530360" y="809120"/>
                    </a:lnTo>
                    <a:lnTo>
                      <a:pt x="1529754" y="810939"/>
                    </a:lnTo>
                    <a:lnTo>
                      <a:pt x="1529754" y="812302"/>
                    </a:lnTo>
                    <a:lnTo>
                      <a:pt x="1536269" y="814878"/>
                    </a:lnTo>
                    <a:lnTo>
                      <a:pt x="1536269" y="815636"/>
                    </a:lnTo>
                    <a:lnTo>
                      <a:pt x="1525057" y="817151"/>
                    </a:lnTo>
                    <a:lnTo>
                      <a:pt x="1523390" y="816848"/>
                    </a:lnTo>
                    <a:lnTo>
                      <a:pt x="1520966" y="815484"/>
                    </a:lnTo>
                    <a:lnTo>
                      <a:pt x="1519147" y="815484"/>
                    </a:lnTo>
                    <a:lnTo>
                      <a:pt x="1518390" y="815636"/>
                    </a:lnTo>
                    <a:lnTo>
                      <a:pt x="1517178" y="817606"/>
                    </a:lnTo>
                    <a:lnTo>
                      <a:pt x="1514905" y="818969"/>
                    </a:lnTo>
                    <a:lnTo>
                      <a:pt x="1513693" y="820333"/>
                    </a:lnTo>
                    <a:lnTo>
                      <a:pt x="1512480" y="822303"/>
                    </a:lnTo>
                    <a:lnTo>
                      <a:pt x="1512177" y="824727"/>
                    </a:lnTo>
                    <a:lnTo>
                      <a:pt x="1512783" y="827757"/>
                    </a:lnTo>
                    <a:lnTo>
                      <a:pt x="1512480" y="831091"/>
                    </a:lnTo>
                    <a:lnTo>
                      <a:pt x="1510965" y="836697"/>
                    </a:lnTo>
                    <a:lnTo>
                      <a:pt x="1506419" y="848819"/>
                    </a:lnTo>
                    <a:lnTo>
                      <a:pt x="1505510" y="850031"/>
                    </a:lnTo>
                    <a:lnTo>
                      <a:pt x="1494904" y="860334"/>
                    </a:lnTo>
                    <a:lnTo>
                      <a:pt x="1494146" y="861547"/>
                    </a:lnTo>
                    <a:lnTo>
                      <a:pt x="1492025" y="865638"/>
                    </a:lnTo>
                    <a:lnTo>
                      <a:pt x="1491267" y="868668"/>
                    </a:lnTo>
                    <a:lnTo>
                      <a:pt x="1490358" y="874880"/>
                    </a:lnTo>
                    <a:lnTo>
                      <a:pt x="1489752" y="876396"/>
                    </a:lnTo>
                    <a:lnTo>
                      <a:pt x="1488389" y="877911"/>
                    </a:lnTo>
                    <a:lnTo>
                      <a:pt x="1486419" y="879275"/>
                    </a:lnTo>
                    <a:lnTo>
                      <a:pt x="1484601" y="880032"/>
                    </a:lnTo>
                    <a:lnTo>
                      <a:pt x="1482934" y="880184"/>
                    </a:lnTo>
                    <a:lnTo>
                      <a:pt x="1479903" y="882305"/>
                    </a:lnTo>
                    <a:lnTo>
                      <a:pt x="1475509" y="886396"/>
                    </a:lnTo>
                    <a:lnTo>
                      <a:pt x="1470509" y="890336"/>
                    </a:lnTo>
                    <a:lnTo>
                      <a:pt x="1468994" y="890790"/>
                    </a:lnTo>
                    <a:lnTo>
                      <a:pt x="1467933" y="890639"/>
                    </a:lnTo>
                    <a:lnTo>
                      <a:pt x="1467024" y="890032"/>
                    </a:lnTo>
                    <a:lnTo>
                      <a:pt x="1466267" y="888972"/>
                    </a:lnTo>
                    <a:lnTo>
                      <a:pt x="1464751" y="883820"/>
                    </a:lnTo>
                    <a:lnTo>
                      <a:pt x="1463994" y="882456"/>
                    </a:lnTo>
                    <a:lnTo>
                      <a:pt x="1450357" y="869880"/>
                    </a:lnTo>
                    <a:lnTo>
                      <a:pt x="1444902" y="863365"/>
                    </a:lnTo>
                    <a:lnTo>
                      <a:pt x="1441720" y="854728"/>
                    </a:lnTo>
                    <a:lnTo>
                      <a:pt x="1441417" y="852910"/>
                    </a:lnTo>
                    <a:lnTo>
                      <a:pt x="1441569" y="844576"/>
                    </a:lnTo>
                    <a:lnTo>
                      <a:pt x="1440508" y="840182"/>
                    </a:lnTo>
                    <a:lnTo>
                      <a:pt x="1440811" y="838819"/>
                    </a:lnTo>
                    <a:lnTo>
                      <a:pt x="1443842" y="836394"/>
                    </a:lnTo>
                    <a:lnTo>
                      <a:pt x="1444599" y="836546"/>
                    </a:lnTo>
                    <a:lnTo>
                      <a:pt x="1446266" y="839879"/>
                    </a:lnTo>
                    <a:lnTo>
                      <a:pt x="1447175" y="840637"/>
                    </a:lnTo>
                    <a:lnTo>
                      <a:pt x="1450508" y="841091"/>
                    </a:lnTo>
                    <a:lnTo>
                      <a:pt x="1453236" y="840788"/>
                    </a:lnTo>
                    <a:lnTo>
                      <a:pt x="1454297" y="839879"/>
                    </a:lnTo>
                    <a:lnTo>
                      <a:pt x="1455054" y="838364"/>
                    </a:lnTo>
                    <a:lnTo>
                      <a:pt x="1455508" y="836243"/>
                    </a:lnTo>
                    <a:lnTo>
                      <a:pt x="1455660" y="833515"/>
                    </a:lnTo>
                    <a:lnTo>
                      <a:pt x="1455206" y="831394"/>
                    </a:lnTo>
                    <a:lnTo>
                      <a:pt x="1454145" y="830030"/>
                    </a:lnTo>
                    <a:lnTo>
                      <a:pt x="1452933" y="825939"/>
                    </a:lnTo>
                    <a:lnTo>
                      <a:pt x="1451418" y="818969"/>
                    </a:lnTo>
                    <a:lnTo>
                      <a:pt x="1449296" y="814121"/>
                    </a:lnTo>
                    <a:lnTo>
                      <a:pt x="1444296" y="809120"/>
                    </a:lnTo>
                    <a:lnTo>
                      <a:pt x="1441720" y="807302"/>
                    </a:lnTo>
                    <a:lnTo>
                      <a:pt x="1432932" y="802302"/>
                    </a:lnTo>
                    <a:lnTo>
                      <a:pt x="1428083" y="798666"/>
                    </a:lnTo>
                    <a:lnTo>
                      <a:pt x="1424295" y="794574"/>
                    </a:lnTo>
                    <a:lnTo>
                      <a:pt x="1421416" y="792302"/>
                    </a:lnTo>
                    <a:lnTo>
                      <a:pt x="1417477" y="792150"/>
                    </a:lnTo>
                    <a:lnTo>
                      <a:pt x="1415204" y="792756"/>
                    </a:lnTo>
                    <a:lnTo>
                      <a:pt x="1413234" y="794120"/>
                    </a:lnTo>
                    <a:lnTo>
                      <a:pt x="1407780" y="800938"/>
                    </a:lnTo>
                    <a:lnTo>
                      <a:pt x="1404597" y="804272"/>
                    </a:lnTo>
                    <a:lnTo>
                      <a:pt x="1403082" y="808211"/>
                    </a:lnTo>
                    <a:lnTo>
                      <a:pt x="1402173" y="813969"/>
                    </a:lnTo>
                    <a:lnTo>
                      <a:pt x="1401264" y="817606"/>
                    </a:lnTo>
                    <a:lnTo>
                      <a:pt x="1398537" y="822909"/>
                    </a:lnTo>
                    <a:lnTo>
                      <a:pt x="1398234" y="824424"/>
                    </a:lnTo>
                    <a:lnTo>
                      <a:pt x="1398688" y="827909"/>
                    </a:lnTo>
                    <a:lnTo>
                      <a:pt x="1398234" y="829424"/>
                    </a:lnTo>
                    <a:lnTo>
                      <a:pt x="1395355" y="833818"/>
                    </a:lnTo>
                    <a:lnTo>
                      <a:pt x="1392324" y="836697"/>
                    </a:lnTo>
                    <a:lnTo>
                      <a:pt x="1391264" y="838212"/>
                    </a:lnTo>
                    <a:lnTo>
                      <a:pt x="1390809" y="839879"/>
                    </a:lnTo>
                    <a:lnTo>
                      <a:pt x="1390052" y="840485"/>
                    </a:lnTo>
                    <a:lnTo>
                      <a:pt x="1388839" y="840637"/>
                    </a:lnTo>
                    <a:lnTo>
                      <a:pt x="1387779" y="839425"/>
                    </a:lnTo>
                    <a:lnTo>
                      <a:pt x="1386870" y="837606"/>
                    </a:lnTo>
                    <a:lnTo>
                      <a:pt x="1385657" y="836849"/>
                    </a:lnTo>
                    <a:lnTo>
                      <a:pt x="1383991" y="834576"/>
                    </a:lnTo>
                    <a:lnTo>
                      <a:pt x="1381112" y="832758"/>
                    </a:lnTo>
                    <a:lnTo>
                      <a:pt x="1379900" y="830788"/>
                    </a:lnTo>
                    <a:lnTo>
                      <a:pt x="1381263" y="824272"/>
                    </a:lnTo>
                    <a:lnTo>
                      <a:pt x="1381718" y="820636"/>
                    </a:lnTo>
                    <a:lnTo>
                      <a:pt x="1380809" y="815939"/>
                    </a:lnTo>
                    <a:lnTo>
                      <a:pt x="1380960" y="814272"/>
                    </a:lnTo>
                    <a:lnTo>
                      <a:pt x="1382930" y="812151"/>
                    </a:lnTo>
                    <a:lnTo>
                      <a:pt x="1382627" y="811393"/>
                    </a:lnTo>
                    <a:lnTo>
                      <a:pt x="1379597" y="808211"/>
                    </a:lnTo>
                    <a:lnTo>
                      <a:pt x="1375354" y="800635"/>
                    </a:lnTo>
                    <a:lnTo>
                      <a:pt x="1361869" y="791999"/>
                    </a:lnTo>
                    <a:lnTo>
                      <a:pt x="1362323" y="791241"/>
                    </a:lnTo>
                    <a:lnTo>
                      <a:pt x="1364293" y="791241"/>
                    </a:lnTo>
                    <a:lnTo>
                      <a:pt x="1366717" y="790483"/>
                    </a:lnTo>
                    <a:lnTo>
                      <a:pt x="1367627" y="790635"/>
                    </a:lnTo>
                    <a:lnTo>
                      <a:pt x="1367020" y="791696"/>
                    </a:lnTo>
                    <a:lnTo>
                      <a:pt x="1368233" y="792453"/>
                    </a:lnTo>
                    <a:lnTo>
                      <a:pt x="1371263" y="792908"/>
                    </a:lnTo>
                    <a:lnTo>
                      <a:pt x="1373233" y="791847"/>
                    </a:lnTo>
                    <a:lnTo>
                      <a:pt x="1373990" y="789120"/>
                    </a:lnTo>
                    <a:lnTo>
                      <a:pt x="1375203" y="786847"/>
                    </a:lnTo>
                    <a:lnTo>
                      <a:pt x="1377021" y="785180"/>
                    </a:lnTo>
                    <a:lnTo>
                      <a:pt x="1379142" y="784271"/>
                    </a:lnTo>
                    <a:lnTo>
                      <a:pt x="1381718" y="784271"/>
                    </a:lnTo>
                    <a:lnTo>
                      <a:pt x="1384445" y="783665"/>
                    </a:lnTo>
                    <a:lnTo>
                      <a:pt x="1383536" y="782756"/>
                    </a:lnTo>
                    <a:lnTo>
                      <a:pt x="1380657" y="781392"/>
                    </a:lnTo>
                    <a:lnTo>
                      <a:pt x="1377627" y="780786"/>
                    </a:lnTo>
                    <a:lnTo>
                      <a:pt x="1374293" y="781089"/>
                    </a:lnTo>
                    <a:lnTo>
                      <a:pt x="1369748" y="780786"/>
                    </a:lnTo>
                    <a:lnTo>
                      <a:pt x="1360505" y="779422"/>
                    </a:lnTo>
                    <a:lnTo>
                      <a:pt x="1356414" y="780332"/>
                    </a:lnTo>
                    <a:lnTo>
                      <a:pt x="1356717" y="779725"/>
                    </a:lnTo>
                    <a:lnTo>
                      <a:pt x="1360051" y="777604"/>
                    </a:lnTo>
                    <a:lnTo>
                      <a:pt x="1363687" y="775634"/>
                    </a:lnTo>
                    <a:lnTo>
                      <a:pt x="1364293" y="774877"/>
                    </a:lnTo>
                    <a:lnTo>
                      <a:pt x="1362929" y="774574"/>
                    </a:lnTo>
                    <a:lnTo>
                      <a:pt x="1357929" y="774271"/>
                    </a:lnTo>
                    <a:lnTo>
                      <a:pt x="1353838" y="775937"/>
                    </a:lnTo>
                    <a:lnTo>
                      <a:pt x="1348535" y="779271"/>
                    </a:lnTo>
                    <a:lnTo>
                      <a:pt x="1343383" y="780028"/>
                    </a:lnTo>
                    <a:lnTo>
                      <a:pt x="1335201" y="776544"/>
                    </a:lnTo>
                    <a:lnTo>
                      <a:pt x="1333837" y="775028"/>
                    </a:lnTo>
                    <a:lnTo>
                      <a:pt x="1334595" y="774119"/>
                    </a:lnTo>
                    <a:lnTo>
                      <a:pt x="1332322" y="773210"/>
                    </a:lnTo>
                    <a:lnTo>
                      <a:pt x="1327322" y="772755"/>
                    </a:lnTo>
                    <a:lnTo>
                      <a:pt x="1323231" y="773968"/>
                    </a:lnTo>
                    <a:lnTo>
                      <a:pt x="1318837" y="774422"/>
                    </a:lnTo>
                    <a:lnTo>
                      <a:pt x="1317473" y="774271"/>
                    </a:lnTo>
                    <a:lnTo>
                      <a:pt x="1316564" y="773665"/>
                    </a:lnTo>
                    <a:lnTo>
                      <a:pt x="1320352" y="771392"/>
                    </a:lnTo>
                    <a:lnTo>
                      <a:pt x="1333080" y="762755"/>
                    </a:lnTo>
                    <a:lnTo>
                      <a:pt x="1338989" y="758210"/>
                    </a:lnTo>
                    <a:lnTo>
                      <a:pt x="1341565" y="755482"/>
                    </a:lnTo>
                    <a:lnTo>
                      <a:pt x="1339292" y="753815"/>
                    </a:lnTo>
                    <a:lnTo>
                      <a:pt x="1337322" y="753209"/>
                    </a:lnTo>
                    <a:lnTo>
                      <a:pt x="1328534" y="753209"/>
                    </a:lnTo>
                    <a:lnTo>
                      <a:pt x="1326716" y="752149"/>
                    </a:lnTo>
                    <a:lnTo>
                      <a:pt x="1328231" y="749876"/>
                    </a:lnTo>
                    <a:lnTo>
                      <a:pt x="1330807" y="747452"/>
                    </a:lnTo>
                    <a:lnTo>
                      <a:pt x="1332019" y="745785"/>
                    </a:lnTo>
                    <a:lnTo>
                      <a:pt x="1332777" y="745633"/>
                    </a:lnTo>
                    <a:lnTo>
                      <a:pt x="1335050" y="747755"/>
                    </a:lnTo>
                    <a:lnTo>
                      <a:pt x="1337474" y="749118"/>
                    </a:lnTo>
                    <a:lnTo>
                      <a:pt x="1340959" y="750482"/>
                    </a:lnTo>
                    <a:lnTo>
                      <a:pt x="1344747" y="750936"/>
                    </a:lnTo>
                    <a:lnTo>
                      <a:pt x="1351414" y="750179"/>
                    </a:lnTo>
                    <a:lnTo>
                      <a:pt x="1352626" y="749573"/>
                    </a:lnTo>
                    <a:lnTo>
                      <a:pt x="1352777" y="748815"/>
                    </a:lnTo>
                    <a:lnTo>
                      <a:pt x="1350353" y="746088"/>
                    </a:lnTo>
                    <a:lnTo>
                      <a:pt x="1348687" y="742754"/>
                    </a:lnTo>
                    <a:lnTo>
                      <a:pt x="1347474" y="741391"/>
                    </a:lnTo>
                    <a:lnTo>
                      <a:pt x="1345808" y="740633"/>
                    </a:lnTo>
                    <a:lnTo>
                      <a:pt x="1344292" y="741088"/>
                    </a:lnTo>
                    <a:lnTo>
                      <a:pt x="1342929" y="742906"/>
                    </a:lnTo>
                    <a:lnTo>
                      <a:pt x="1341413" y="743360"/>
                    </a:lnTo>
                    <a:lnTo>
                      <a:pt x="1339595" y="742451"/>
                    </a:lnTo>
                    <a:lnTo>
                      <a:pt x="1338838" y="741694"/>
                    </a:lnTo>
                    <a:lnTo>
                      <a:pt x="1339747" y="739269"/>
                    </a:lnTo>
                    <a:lnTo>
                      <a:pt x="1339444" y="738209"/>
                    </a:lnTo>
                    <a:lnTo>
                      <a:pt x="1334898" y="733057"/>
                    </a:lnTo>
                    <a:lnTo>
                      <a:pt x="1332171" y="727299"/>
                    </a:lnTo>
                    <a:lnTo>
                      <a:pt x="1331110" y="725936"/>
                    </a:lnTo>
                    <a:lnTo>
                      <a:pt x="1330201" y="725178"/>
                    </a:lnTo>
                    <a:lnTo>
                      <a:pt x="1325352" y="722905"/>
                    </a:lnTo>
                    <a:lnTo>
                      <a:pt x="1323382" y="721693"/>
                    </a:lnTo>
                    <a:lnTo>
                      <a:pt x="1319443" y="717753"/>
                    </a:lnTo>
                    <a:lnTo>
                      <a:pt x="1314594" y="715784"/>
                    </a:lnTo>
                    <a:lnTo>
                      <a:pt x="1313988" y="715026"/>
                    </a:lnTo>
                    <a:lnTo>
                      <a:pt x="1315655" y="713359"/>
                    </a:lnTo>
                    <a:lnTo>
                      <a:pt x="1316109" y="711844"/>
                    </a:lnTo>
                    <a:lnTo>
                      <a:pt x="1316716" y="704117"/>
                    </a:lnTo>
                    <a:lnTo>
                      <a:pt x="1316564" y="701389"/>
                    </a:lnTo>
                    <a:lnTo>
                      <a:pt x="1314897" y="694419"/>
                    </a:lnTo>
                    <a:lnTo>
                      <a:pt x="1313988" y="692450"/>
                    </a:lnTo>
                    <a:lnTo>
                      <a:pt x="1312625" y="690631"/>
                    </a:lnTo>
                    <a:lnTo>
                      <a:pt x="1306412" y="684267"/>
                    </a:lnTo>
                    <a:lnTo>
                      <a:pt x="1302321" y="681237"/>
                    </a:lnTo>
                    <a:lnTo>
                      <a:pt x="1297776" y="678813"/>
                    </a:lnTo>
                    <a:lnTo>
                      <a:pt x="1292624" y="675328"/>
                    </a:lnTo>
                    <a:lnTo>
                      <a:pt x="1292169" y="673509"/>
                    </a:lnTo>
                    <a:lnTo>
                      <a:pt x="1293078" y="671388"/>
                    </a:lnTo>
                    <a:lnTo>
                      <a:pt x="1293230" y="670024"/>
                    </a:lnTo>
                    <a:lnTo>
                      <a:pt x="1291412" y="668812"/>
                    </a:lnTo>
                    <a:lnTo>
                      <a:pt x="1283836" y="668509"/>
                    </a:lnTo>
                    <a:lnTo>
                      <a:pt x="1281563" y="669115"/>
                    </a:lnTo>
                    <a:lnTo>
                      <a:pt x="1277775" y="668812"/>
                    </a:lnTo>
                    <a:lnTo>
                      <a:pt x="1273078" y="664570"/>
                    </a:lnTo>
                    <a:lnTo>
                      <a:pt x="1272774" y="661085"/>
                    </a:lnTo>
                    <a:lnTo>
                      <a:pt x="1270956" y="657903"/>
                    </a:lnTo>
                    <a:lnTo>
                      <a:pt x="1269441" y="657448"/>
                    </a:lnTo>
                    <a:lnTo>
                      <a:pt x="1266108" y="657600"/>
                    </a:lnTo>
                    <a:lnTo>
                      <a:pt x="1262017" y="658660"/>
                    </a:lnTo>
                    <a:lnTo>
                      <a:pt x="1253380" y="661691"/>
                    </a:lnTo>
                    <a:lnTo>
                      <a:pt x="1244895" y="668206"/>
                    </a:lnTo>
                    <a:lnTo>
                      <a:pt x="1242016" y="672903"/>
                    </a:lnTo>
                    <a:lnTo>
                      <a:pt x="1235955" y="677297"/>
                    </a:lnTo>
                    <a:lnTo>
                      <a:pt x="1235046" y="678510"/>
                    </a:lnTo>
                    <a:lnTo>
                      <a:pt x="1236258" y="680934"/>
                    </a:lnTo>
                    <a:lnTo>
                      <a:pt x="1237773" y="681540"/>
                    </a:lnTo>
                    <a:lnTo>
                      <a:pt x="1240501" y="681995"/>
                    </a:lnTo>
                    <a:lnTo>
                      <a:pt x="1246713" y="681995"/>
                    </a:lnTo>
                    <a:lnTo>
                      <a:pt x="1247774" y="682752"/>
                    </a:lnTo>
                    <a:lnTo>
                      <a:pt x="1246713" y="684419"/>
                    </a:lnTo>
                    <a:lnTo>
                      <a:pt x="1243531" y="690631"/>
                    </a:lnTo>
                    <a:lnTo>
                      <a:pt x="1241713" y="691540"/>
                    </a:lnTo>
                    <a:lnTo>
                      <a:pt x="1239137" y="691086"/>
                    </a:lnTo>
                    <a:lnTo>
                      <a:pt x="1235652" y="689419"/>
                    </a:lnTo>
                    <a:lnTo>
                      <a:pt x="1233682" y="687752"/>
                    </a:lnTo>
                    <a:lnTo>
                      <a:pt x="1231712" y="686843"/>
                    </a:lnTo>
                    <a:lnTo>
                      <a:pt x="1229894" y="686692"/>
                    </a:lnTo>
                    <a:lnTo>
                      <a:pt x="1227773" y="687601"/>
                    </a:lnTo>
                    <a:lnTo>
                      <a:pt x="1224136" y="690480"/>
                    </a:lnTo>
                    <a:lnTo>
                      <a:pt x="1220500" y="693813"/>
                    </a:lnTo>
                    <a:lnTo>
                      <a:pt x="1219439" y="695480"/>
                    </a:lnTo>
                    <a:lnTo>
                      <a:pt x="1220197" y="698662"/>
                    </a:lnTo>
                    <a:lnTo>
                      <a:pt x="1219591" y="699571"/>
                    </a:lnTo>
                    <a:lnTo>
                      <a:pt x="1217924" y="700329"/>
                    </a:lnTo>
                    <a:lnTo>
                      <a:pt x="1217318" y="701086"/>
                    </a:lnTo>
                    <a:lnTo>
                      <a:pt x="1218833" y="703965"/>
                    </a:lnTo>
                    <a:lnTo>
                      <a:pt x="1218227" y="707299"/>
                    </a:lnTo>
                    <a:lnTo>
                      <a:pt x="1216560" y="712905"/>
                    </a:lnTo>
                    <a:lnTo>
                      <a:pt x="1216560" y="716996"/>
                    </a:lnTo>
                    <a:lnTo>
                      <a:pt x="1221712" y="723511"/>
                    </a:lnTo>
                    <a:lnTo>
                      <a:pt x="1224439" y="725330"/>
                    </a:lnTo>
                    <a:lnTo>
                      <a:pt x="1226409" y="725481"/>
                    </a:lnTo>
                    <a:lnTo>
                      <a:pt x="1234137" y="722451"/>
                    </a:lnTo>
                    <a:lnTo>
                      <a:pt x="1234743" y="722602"/>
                    </a:lnTo>
                    <a:lnTo>
                      <a:pt x="1232015" y="726390"/>
                    </a:lnTo>
                    <a:lnTo>
                      <a:pt x="1232167" y="727602"/>
                    </a:lnTo>
                    <a:lnTo>
                      <a:pt x="1234894" y="729724"/>
                    </a:lnTo>
                    <a:lnTo>
                      <a:pt x="1230197" y="728814"/>
                    </a:lnTo>
                    <a:lnTo>
                      <a:pt x="1228227" y="729118"/>
                    </a:lnTo>
                    <a:lnTo>
                      <a:pt x="1225349" y="730027"/>
                    </a:lnTo>
                    <a:lnTo>
                      <a:pt x="1223379" y="731542"/>
                    </a:lnTo>
                    <a:lnTo>
                      <a:pt x="1222167" y="733966"/>
                    </a:lnTo>
                    <a:lnTo>
                      <a:pt x="1216409" y="741088"/>
                    </a:lnTo>
                    <a:lnTo>
                      <a:pt x="1215954" y="745179"/>
                    </a:lnTo>
                    <a:lnTo>
                      <a:pt x="1216106" y="746845"/>
                    </a:lnTo>
                    <a:lnTo>
                      <a:pt x="1217773" y="751088"/>
                    </a:lnTo>
                    <a:lnTo>
                      <a:pt x="1223833" y="757603"/>
                    </a:lnTo>
                    <a:lnTo>
                      <a:pt x="1226561" y="760937"/>
                    </a:lnTo>
                    <a:lnTo>
                      <a:pt x="1228076" y="763513"/>
                    </a:lnTo>
                    <a:lnTo>
                      <a:pt x="1229894" y="765483"/>
                    </a:lnTo>
                    <a:lnTo>
                      <a:pt x="1232167" y="766846"/>
                    </a:lnTo>
                    <a:lnTo>
                      <a:pt x="1235349" y="767755"/>
                    </a:lnTo>
                    <a:lnTo>
                      <a:pt x="1239289" y="768058"/>
                    </a:lnTo>
                    <a:lnTo>
                      <a:pt x="1242622" y="769119"/>
                    </a:lnTo>
                    <a:lnTo>
                      <a:pt x="1245198" y="770937"/>
                    </a:lnTo>
                    <a:lnTo>
                      <a:pt x="1250653" y="773362"/>
                    </a:lnTo>
                    <a:lnTo>
                      <a:pt x="1263532" y="777756"/>
                    </a:lnTo>
                    <a:lnTo>
                      <a:pt x="1264441" y="777453"/>
                    </a:lnTo>
                    <a:lnTo>
                      <a:pt x="1266562" y="774271"/>
                    </a:lnTo>
                    <a:lnTo>
                      <a:pt x="1267623" y="773968"/>
                    </a:lnTo>
                    <a:lnTo>
                      <a:pt x="1268835" y="774271"/>
                    </a:lnTo>
                    <a:lnTo>
                      <a:pt x="1272168" y="777453"/>
                    </a:lnTo>
                    <a:lnTo>
                      <a:pt x="1274744" y="780635"/>
                    </a:lnTo>
                    <a:lnTo>
                      <a:pt x="1277017" y="782756"/>
                    </a:lnTo>
                    <a:lnTo>
                      <a:pt x="1278835" y="783665"/>
                    </a:lnTo>
                    <a:lnTo>
                      <a:pt x="1281714" y="784120"/>
                    </a:lnTo>
                    <a:lnTo>
                      <a:pt x="1285805" y="784120"/>
                    </a:lnTo>
                    <a:lnTo>
                      <a:pt x="1288533" y="783665"/>
                    </a:lnTo>
                    <a:lnTo>
                      <a:pt x="1291866" y="781695"/>
                    </a:lnTo>
                    <a:lnTo>
                      <a:pt x="1295806" y="780635"/>
                    </a:lnTo>
                    <a:lnTo>
                      <a:pt x="1298988" y="782453"/>
                    </a:lnTo>
                    <a:lnTo>
                      <a:pt x="1299291" y="783968"/>
                    </a:lnTo>
                    <a:lnTo>
                      <a:pt x="1298685" y="786089"/>
                    </a:lnTo>
                    <a:lnTo>
                      <a:pt x="1298836" y="787301"/>
                    </a:lnTo>
                    <a:lnTo>
                      <a:pt x="1301715" y="787605"/>
                    </a:lnTo>
                    <a:lnTo>
                      <a:pt x="1301109" y="788514"/>
                    </a:lnTo>
                    <a:lnTo>
                      <a:pt x="1297927" y="791393"/>
                    </a:lnTo>
                    <a:lnTo>
                      <a:pt x="1292927" y="794878"/>
                    </a:lnTo>
                    <a:lnTo>
                      <a:pt x="1290957" y="793665"/>
                    </a:lnTo>
                    <a:lnTo>
                      <a:pt x="1291563" y="792302"/>
                    </a:lnTo>
                    <a:lnTo>
                      <a:pt x="1296715" y="786392"/>
                    </a:lnTo>
                    <a:lnTo>
                      <a:pt x="1296563" y="785635"/>
                    </a:lnTo>
                    <a:lnTo>
                      <a:pt x="1290199" y="787605"/>
                    </a:lnTo>
                    <a:lnTo>
                      <a:pt x="1281866" y="789271"/>
                    </a:lnTo>
                    <a:lnTo>
                      <a:pt x="1279138" y="790635"/>
                    </a:lnTo>
                    <a:lnTo>
                      <a:pt x="1278532" y="792453"/>
                    </a:lnTo>
                    <a:lnTo>
                      <a:pt x="1278381" y="794120"/>
                    </a:lnTo>
                    <a:lnTo>
                      <a:pt x="1279138" y="798514"/>
                    </a:lnTo>
                    <a:lnTo>
                      <a:pt x="1280048" y="799272"/>
                    </a:lnTo>
                    <a:lnTo>
                      <a:pt x="1283836" y="799272"/>
                    </a:lnTo>
                    <a:lnTo>
                      <a:pt x="1283836" y="799878"/>
                    </a:lnTo>
                    <a:lnTo>
                      <a:pt x="1279593" y="803363"/>
                    </a:lnTo>
                    <a:lnTo>
                      <a:pt x="1273078" y="807757"/>
                    </a:lnTo>
                    <a:lnTo>
                      <a:pt x="1270653" y="810030"/>
                    </a:lnTo>
                    <a:lnTo>
                      <a:pt x="1269593" y="815181"/>
                    </a:lnTo>
                    <a:lnTo>
                      <a:pt x="1269896" y="816545"/>
                    </a:lnTo>
                    <a:lnTo>
                      <a:pt x="1272926" y="818060"/>
                    </a:lnTo>
                    <a:lnTo>
                      <a:pt x="1280048" y="817151"/>
                    </a:lnTo>
                    <a:lnTo>
                      <a:pt x="1284139" y="815939"/>
                    </a:lnTo>
                    <a:lnTo>
                      <a:pt x="1286108" y="814272"/>
                    </a:lnTo>
                    <a:lnTo>
                      <a:pt x="1287624" y="810939"/>
                    </a:lnTo>
                    <a:lnTo>
                      <a:pt x="1288836" y="806545"/>
                    </a:lnTo>
                    <a:lnTo>
                      <a:pt x="1289290" y="805787"/>
                    </a:lnTo>
                    <a:lnTo>
                      <a:pt x="1290048" y="805635"/>
                    </a:lnTo>
                    <a:lnTo>
                      <a:pt x="1291109" y="805939"/>
                    </a:lnTo>
                    <a:lnTo>
                      <a:pt x="1292321" y="806999"/>
                    </a:lnTo>
                    <a:lnTo>
                      <a:pt x="1293684" y="808817"/>
                    </a:lnTo>
                    <a:lnTo>
                      <a:pt x="1294593" y="810939"/>
                    </a:lnTo>
                    <a:lnTo>
                      <a:pt x="1295048" y="813363"/>
                    </a:lnTo>
                    <a:lnTo>
                      <a:pt x="1295200" y="815939"/>
                    </a:lnTo>
                    <a:lnTo>
                      <a:pt x="1294745" y="820636"/>
                    </a:lnTo>
                    <a:lnTo>
                      <a:pt x="1295654" y="823212"/>
                    </a:lnTo>
                    <a:lnTo>
                      <a:pt x="1296715" y="823666"/>
                    </a:lnTo>
                    <a:lnTo>
                      <a:pt x="1300957" y="823969"/>
                    </a:lnTo>
                    <a:lnTo>
                      <a:pt x="1300048" y="824879"/>
                    </a:lnTo>
                    <a:lnTo>
                      <a:pt x="1295503" y="827606"/>
                    </a:lnTo>
                    <a:lnTo>
                      <a:pt x="1287927" y="830939"/>
                    </a:lnTo>
                    <a:lnTo>
                      <a:pt x="1283229" y="834424"/>
                    </a:lnTo>
                    <a:lnTo>
                      <a:pt x="1278987" y="839273"/>
                    </a:lnTo>
                    <a:lnTo>
                      <a:pt x="1275502" y="842607"/>
                    </a:lnTo>
                    <a:lnTo>
                      <a:pt x="1272774" y="844425"/>
                    </a:lnTo>
                    <a:lnTo>
                      <a:pt x="1265653" y="850031"/>
                    </a:lnTo>
                    <a:lnTo>
                      <a:pt x="1262471" y="851395"/>
                    </a:lnTo>
                    <a:lnTo>
                      <a:pt x="1259895" y="850940"/>
                    </a:lnTo>
                    <a:lnTo>
                      <a:pt x="1255198" y="849425"/>
                    </a:lnTo>
                    <a:lnTo>
                      <a:pt x="1252168" y="850486"/>
                    </a:lnTo>
                    <a:lnTo>
                      <a:pt x="1248077" y="850637"/>
                    </a:lnTo>
                    <a:lnTo>
                      <a:pt x="1246865" y="851092"/>
                    </a:lnTo>
                    <a:lnTo>
                      <a:pt x="1245955" y="852152"/>
                    </a:lnTo>
                    <a:lnTo>
                      <a:pt x="1240804" y="865486"/>
                    </a:lnTo>
                    <a:lnTo>
                      <a:pt x="1241258" y="867001"/>
                    </a:lnTo>
                    <a:lnTo>
                      <a:pt x="1245955" y="871395"/>
                    </a:lnTo>
                    <a:lnTo>
                      <a:pt x="1247925" y="875638"/>
                    </a:lnTo>
                    <a:lnTo>
                      <a:pt x="1250501" y="882911"/>
                    </a:lnTo>
                    <a:lnTo>
                      <a:pt x="1251562" y="887457"/>
                    </a:lnTo>
                    <a:lnTo>
                      <a:pt x="1249895" y="892608"/>
                    </a:lnTo>
                    <a:lnTo>
                      <a:pt x="1248986" y="900487"/>
                    </a:lnTo>
                    <a:lnTo>
                      <a:pt x="1247774" y="902003"/>
                    </a:lnTo>
                    <a:lnTo>
                      <a:pt x="1245349" y="903215"/>
                    </a:lnTo>
                    <a:lnTo>
                      <a:pt x="1241713" y="903518"/>
                    </a:lnTo>
                    <a:lnTo>
                      <a:pt x="1232167" y="901851"/>
                    </a:lnTo>
                    <a:lnTo>
                      <a:pt x="1230349" y="902457"/>
                    </a:lnTo>
                    <a:lnTo>
                      <a:pt x="1230046" y="903063"/>
                    </a:lnTo>
                    <a:lnTo>
                      <a:pt x="1230803" y="905488"/>
                    </a:lnTo>
                    <a:lnTo>
                      <a:pt x="1237470" y="912155"/>
                    </a:lnTo>
                    <a:lnTo>
                      <a:pt x="1238228" y="913821"/>
                    </a:lnTo>
                    <a:lnTo>
                      <a:pt x="1237016" y="917155"/>
                    </a:lnTo>
                    <a:lnTo>
                      <a:pt x="1236713" y="917155"/>
                    </a:lnTo>
                    <a:lnTo>
                      <a:pt x="1236258" y="913821"/>
                    </a:lnTo>
                    <a:lnTo>
                      <a:pt x="1234288" y="911397"/>
                    </a:lnTo>
                    <a:lnTo>
                      <a:pt x="1221257" y="900033"/>
                    </a:lnTo>
                    <a:lnTo>
                      <a:pt x="1219591" y="897912"/>
                    </a:lnTo>
                    <a:lnTo>
                      <a:pt x="1219591" y="897154"/>
                    </a:lnTo>
                    <a:lnTo>
                      <a:pt x="1220045" y="896548"/>
                    </a:lnTo>
                    <a:lnTo>
                      <a:pt x="1221561" y="896245"/>
                    </a:lnTo>
                    <a:lnTo>
                      <a:pt x="1225197" y="899578"/>
                    </a:lnTo>
                    <a:lnTo>
                      <a:pt x="1228530" y="899730"/>
                    </a:lnTo>
                    <a:lnTo>
                      <a:pt x="1230652" y="898518"/>
                    </a:lnTo>
                    <a:lnTo>
                      <a:pt x="1232470" y="898821"/>
                    </a:lnTo>
                    <a:lnTo>
                      <a:pt x="1235046" y="900336"/>
                    </a:lnTo>
                    <a:lnTo>
                      <a:pt x="1237622" y="900790"/>
                    </a:lnTo>
                    <a:lnTo>
                      <a:pt x="1242016" y="900336"/>
                    </a:lnTo>
                    <a:lnTo>
                      <a:pt x="1243379" y="900487"/>
                    </a:lnTo>
                    <a:lnTo>
                      <a:pt x="1244895" y="900184"/>
                    </a:lnTo>
                    <a:lnTo>
                      <a:pt x="1246107" y="899730"/>
                    </a:lnTo>
                    <a:lnTo>
                      <a:pt x="1247167" y="898669"/>
                    </a:lnTo>
                    <a:lnTo>
                      <a:pt x="1247471" y="896699"/>
                    </a:lnTo>
                    <a:lnTo>
                      <a:pt x="1247471" y="893972"/>
                    </a:lnTo>
                    <a:lnTo>
                      <a:pt x="1247167" y="892154"/>
                    </a:lnTo>
                    <a:lnTo>
                      <a:pt x="1244137" y="889729"/>
                    </a:lnTo>
                    <a:lnTo>
                      <a:pt x="1243379" y="889426"/>
                    </a:lnTo>
                    <a:lnTo>
                      <a:pt x="1241410" y="889578"/>
                    </a:lnTo>
                    <a:lnTo>
                      <a:pt x="1237319" y="890790"/>
                    </a:lnTo>
                    <a:lnTo>
                      <a:pt x="1237319" y="890942"/>
                    </a:lnTo>
                    <a:lnTo>
                      <a:pt x="1239743" y="886093"/>
                    </a:lnTo>
                    <a:lnTo>
                      <a:pt x="1239137" y="885184"/>
                    </a:lnTo>
                    <a:lnTo>
                      <a:pt x="1234743" y="886093"/>
                    </a:lnTo>
                    <a:lnTo>
                      <a:pt x="1231106" y="887305"/>
                    </a:lnTo>
                    <a:lnTo>
                      <a:pt x="1227621" y="887305"/>
                    </a:lnTo>
                    <a:lnTo>
                      <a:pt x="1226864" y="886548"/>
                    </a:lnTo>
                    <a:lnTo>
                      <a:pt x="1226409" y="882456"/>
                    </a:lnTo>
                    <a:lnTo>
                      <a:pt x="1225651" y="881093"/>
                    </a:lnTo>
                    <a:lnTo>
                      <a:pt x="1221409" y="876244"/>
                    </a:lnTo>
                    <a:lnTo>
                      <a:pt x="1221409" y="874123"/>
                    </a:lnTo>
                    <a:lnTo>
                      <a:pt x="1225349" y="868214"/>
                    </a:lnTo>
                    <a:lnTo>
                      <a:pt x="1226106" y="866395"/>
                    </a:lnTo>
                    <a:lnTo>
                      <a:pt x="1226864" y="861092"/>
                    </a:lnTo>
                    <a:lnTo>
                      <a:pt x="1230500" y="845788"/>
                    </a:lnTo>
                    <a:lnTo>
                      <a:pt x="1232318" y="841394"/>
                    </a:lnTo>
                    <a:lnTo>
                      <a:pt x="1229440" y="842000"/>
                    </a:lnTo>
                    <a:lnTo>
                      <a:pt x="1219439" y="846092"/>
                    </a:lnTo>
                    <a:lnTo>
                      <a:pt x="1218833" y="846849"/>
                    </a:lnTo>
                    <a:lnTo>
                      <a:pt x="1217924" y="849273"/>
                    </a:lnTo>
                    <a:lnTo>
                      <a:pt x="1216863" y="850334"/>
                    </a:lnTo>
                    <a:lnTo>
                      <a:pt x="1215197" y="851092"/>
                    </a:lnTo>
                    <a:lnTo>
                      <a:pt x="1211712" y="851546"/>
                    </a:lnTo>
                    <a:lnTo>
                      <a:pt x="1211560" y="850486"/>
                    </a:lnTo>
                    <a:lnTo>
                      <a:pt x="1218227" y="841849"/>
                    </a:lnTo>
                    <a:lnTo>
                      <a:pt x="1219439" y="839576"/>
                    </a:lnTo>
                    <a:lnTo>
                      <a:pt x="1219591" y="838667"/>
                    </a:lnTo>
                    <a:lnTo>
                      <a:pt x="1214136" y="841546"/>
                    </a:lnTo>
                    <a:lnTo>
                      <a:pt x="1204590" y="841243"/>
                    </a:lnTo>
                    <a:lnTo>
                      <a:pt x="1203984" y="840788"/>
                    </a:lnTo>
                    <a:lnTo>
                      <a:pt x="1202014" y="837606"/>
                    </a:lnTo>
                    <a:lnTo>
                      <a:pt x="1200196" y="835485"/>
                    </a:lnTo>
                    <a:lnTo>
                      <a:pt x="1196711" y="832000"/>
                    </a:lnTo>
                    <a:lnTo>
                      <a:pt x="1194741" y="830788"/>
                    </a:lnTo>
                    <a:lnTo>
                      <a:pt x="1192772" y="830030"/>
                    </a:lnTo>
                    <a:lnTo>
                      <a:pt x="1190802" y="830030"/>
                    </a:lnTo>
                    <a:lnTo>
                      <a:pt x="1188983" y="830939"/>
                    </a:lnTo>
                    <a:lnTo>
                      <a:pt x="1186408" y="830636"/>
                    </a:lnTo>
                    <a:lnTo>
                      <a:pt x="1181256" y="828212"/>
                    </a:lnTo>
                    <a:lnTo>
                      <a:pt x="1178680" y="828667"/>
                    </a:lnTo>
                    <a:lnTo>
                      <a:pt x="1178377" y="829273"/>
                    </a:lnTo>
                    <a:lnTo>
                      <a:pt x="1179135" y="832152"/>
                    </a:lnTo>
                    <a:lnTo>
                      <a:pt x="1182317" y="835031"/>
                    </a:lnTo>
                    <a:lnTo>
                      <a:pt x="1174135" y="837000"/>
                    </a:lnTo>
                    <a:lnTo>
                      <a:pt x="1170650" y="838364"/>
                    </a:lnTo>
                    <a:lnTo>
                      <a:pt x="1163831" y="835333"/>
                    </a:lnTo>
                    <a:lnTo>
                      <a:pt x="1162316" y="835333"/>
                    </a:lnTo>
                    <a:lnTo>
                      <a:pt x="1161255" y="835940"/>
                    </a:lnTo>
                    <a:lnTo>
                      <a:pt x="1158831" y="836243"/>
                    </a:lnTo>
                    <a:lnTo>
                      <a:pt x="1159285" y="837758"/>
                    </a:lnTo>
                    <a:lnTo>
                      <a:pt x="1163225" y="842910"/>
                    </a:lnTo>
                    <a:lnTo>
                      <a:pt x="1164437" y="843970"/>
                    </a:lnTo>
                    <a:lnTo>
                      <a:pt x="1166255" y="847152"/>
                    </a:lnTo>
                    <a:lnTo>
                      <a:pt x="1166104" y="847910"/>
                    </a:lnTo>
                    <a:lnTo>
                      <a:pt x="1162922" y="847152"/>
                    </a:lnTo>
                    <a:lnTo>
                      <a:pt x="1162922" y="847910"/>
                    </a:lnTo>
                    <a:lnTo>
                      <a:pt x="1164589" y="850486"/>
                    </a:lnTo>
                    <a:lnTo>
                      <a:pt x="1171256" y="857153"/>
                    </a:lnTo>
                    <a:lnTo>
                      <a:pt x="1173528" y="858062"/>
                    </a:lnTo>
                    <a:lnTo>
                      <a:pt x="1178983" y="855637"/>
                    </a:lnTo>
                    <a:lnTo>
                      <a:pt x="1183680" y="854425"/>
                    </a:lnTo>
                    <a:lnTo>
                      <a:pt x="1188983" y="855183"/>
                    </a:lnTo>
                    <a:lnTo>
                      <a:pt x="1194741" y="857910"/>
                    </a:lnTo>
                    <a:lnTo>
                      <a:pt x="1198226" y="860031"/>
                    </a:lnTo>
                    <a:lnTo>
                      <a:pt x="1199590" y="861547"/>
                    </a:lnTo>
                    <a:lnTo>
                      <a:pt x="1200044" y="862759"/>
                    </a:lnTo>
                    <a:lnTo>
                      <a:pt x="1199590" y="864729"/>
                    </a:lnTo>
                    <a:lnTo>
                      <a:pt x="1199590" y="866092"/>
                    </a:lnTo>
                    <a:lnTo>
                      <a:pt x="1198529" y="867456"/>
                    </a:lnTo>
                    <a:lnTo>
                      <a:pt x="1196408" y="868820"/>
                    </a:lnTo>
                    <a:lnTo>
                      <a:pt x="1191408" y="871092"/>
                    </a:lnTo>
                    <a:lnTo>
                      <a:pt x="1187165" y="870486"/>
                    </a:lnTo>
                    <a:lnTo>
                      <a:pt x="1178377" y="866698"/>
                    </a:lnTo>
                    <a:lnTo>
                      <a:pt x="1177165" y="865335"/>
                    </a:lnTo>
                    <a:lnTo>
                      <a:pt x="1174892" y="863819"/>
                    </a:lnTo>
                    <a:lnTo>
                      <a:pt x="1165195" y="853516"/>
                    </a:lnTo>
                    <a:lnTo>
                      <a:pt x="1161710" y="850789"/>
                    </a:lnTo>
                    <a:lnTo>
                      <a:pt x="1159134" y="849576"/>
                    </a:lnTo>
                    <a:lnTo>
                      <a:pt x="1157467" y="849880"/>
                    </a:lnTo>
                    <a:lnTo>
                      <a:pt x="1156710" y="851092"/>
                    </a:lnTo>
                    <a:lnTo>
                      <a:pt x="1156710" y="853061"/>
                    </a:lnTo>
                    <a:lnTo>
                      <a:pt x="1157164" y="854728"/>
                    </a:lnTo>
                    <a:lnTo>
                      <a:pt x="1159892" y="857304"/>
                    </a:lnTo>
                    <a:lnTo>
                      <a:pt x="1163680" y="859880"/>
                    </a:lnTo>
                    <a:lnTo>
                      <a:pt x="1165043" y="861244"/>
                    </a:lnTo>
                    <a:lnTo>
                      <a:pt x="1165195" y="862153"/>
                    </a:lnTo>
                    <a:lnTo>
                      <a:pt x="1164134" y="862607"/>
                    </a:lnTo>
                    <a:lnTo>
                      <a:pt x="1157467" y="863516"/>
                    </a:lnTo>
                    <a:lnTo>
                      <a:pt x="1154285" y="865183"/>
                    </a:lnTo>
                    <a:lnTo>
                      <a:pt x="1151255" y="866092"/>
                    </a:lnTo>
                    <a:lnTo>
                      <a:pt x="1148224" y="866395"/>
                    </a:lnTo>
                    <a:lnTo>
                      <a:pt x="1145043" y="866244"/>
                    </a:lnTo>
                    <a:lnTo>
                      <a:pt x="1141103" y="865183"/>
                    </a:lnTo>
                    <a:lnTo>
                      <a:pt x="1136254" y="863365"/>
                    </a:lnTo>
                    <a:lnTo>
                      <a:pt x="1128072" y="861850"/>
                    </a:lnTo>
                    <a:lnTo>
                      <a:pt x="1116102" y="860789"/>
                    </a:lnTo>
                    <a:lnTo>
                      <a:pt x="1109435" y="860789"/>
                    </a:lnTo>
                    <a:lnTo>
                      <a:pt x="1107768" y="861850"/>
                    </a:lnTo>
                    <a:lnTo>
                      <a:pt x="1105193" y="862304"/>
                    </a:lnTo>
                    <a:lnTo>
                      <a:pt x="1101708" y="862304"/>
                    </a:lnTo>
                    <a:lnTo>
                      <a:pt x="1098677" y="862759"/>
                    </a:lnTo>
                    <a:lnTo>
                      <a:pt x="1093980" y="864274"/>
                    </a:lnTo>
                    <a:lnTo>
                      <a:pt x="1092010" y="864425"/>
                    </a:lnTo>
                    <a:lnTo>
                      <a:pt x="1079434" y="867607"/>
                    </a:lnTo>
                    <a:lnTo>
                      <a:pt x="1075797" y="866850"/>
                    </a:lnTo>
                    <a:lnTo>
                      <a:pt x="1070494" y="865183"/>
                    </a:lnTo>
                    <a:lnTo>
                      <a:pt x="1065797" y="864880"/>
                    </a:lnTo>
                    <a:lnTo>
                      <a:pt x="1061555" y="865789"/>
                    </a:lnTo>
                    <a:lnTo>
                      <a:pt x="1058524" y="865638"/>
                    </a:lnTo>
                    <a:lnTo>
                      <a:pt x="1056706" y="864425"/>
                    </a:lnTo>
                    <a:lnTo>
                      <a:pt x="1048372" y="862153"/>
                    </a:lnTo>
                    <a:lnTo>
                      <a:pt x="1044281" y="860183"/>
                    </a:lnTo>
                    <a:lnTo>
                      <a:pt x="1039281" y="856092"/>
                    </a:lnTo>
                    <a:lnTo>
                      <a:pt x="1031099" y="850334"/>
                    </a:lnTo>
                    <a:lnTo>
                      <a:pt x="1027008" y="847910"/>
                    </a:lnTo>
                    <a:lnTo>
                      <a:pt x="1022008" y="850031"/>
                    </a:lnTo>
                    <a:lnTo>
                      <a:pt x="1015341" y="851395"/>
                    </a:lnTo>
                    <a:lnTo>
                      <a:pt x="1007310" y="851849"/>
                    </a:lnTo>
                    <a:lnTo>
                      <a:pt x="1003068" y="851395"/>
                    </a:lnTo>
                    <a:lnTo>
                      <a:pt x="999280" y="850334"/>
                    </a:lnTo>
                    <a:lnTo>
                      <a:pt x="995340" y="847607"/>
                    </a:lnTo>
                    <a:lnTo>
                      <a:pt x="994431" y="846243"/>
                    </a:lnTo>
                    <a:lnTo>
                      <a:pt x="995037" y="843213"/>
                    </a:lnTo>
                    <a:lnTo>
                      <a:pt x="994582" y="842455"/>
                    </a:lnTo>
                    <a:lnTo>
                      <a:pt x="991400" y="841394"/>
                    </a:lnTo>
                    <a:lnTo>
                      <a:pt x="988370" y="841697"/>
                    </a:lnTo>
                    <a:lnTo>
                      <a:pt x="987461" y="841394"/>
                    </a:lnTo>
                    <a:lnTo>
                      <a:pt x="986855" y="838970"/>
                    </a:lnTo>
                    <a:lnTo>
                      <a:pt x="986249" y="838667"/>
                    </a:lnTo>
                    <a:lnTo>
                      <a:pt x="985340" y="838819"/>
                    </a:lnTo>
                    <a:lnTo>
                      <a:pt x="983976" y="839728"/>
                    </a:lnTo>
                    <a:lnTo>
                      <a:pt x="982461" y="839273"/>
                    </a:lnTo>
                    <a:lnTo>
                      <a:pt x="979885" y="837758"/>
                    </a:lnTo>
                    <a:lnTo>
                      <a:pt x="974885" y="833818"/>
                    </a:lnTo>
                    <a:lnTo>
                      <a:pt x="973521" y="831697"/>
                    </a:lnTo>
                    <a:lnTo>
                      <a:pt x="972763" y="825939"/>
                    </a:lnTo>
                    <a:lnTo>
                      <a:pt x="970491" y="819272"/>
                    </a:lnTo>
                    <a:lnTo>
                      <a:pt x="968672" y="816242"/>
                    </a:lnTo>
                    <a:lnTo>
                      <a:pt x="966400" y="813818"/>
                    </a:lnTo>
                    <a:lnTo>
                      <a:pt x="963369" y="811999"/>
                    </a:lnTo>
                    <a:lnTo>
                      <a:pt x="957460" y="810030"/>
                    </a:lnTo>
                    <a:lnTo>
                      <a:pt x="953369" y="809423"/>
                    </a:lnTo>
                    <a:lnTo>
                      <a:pt x="948975" y="810333"/>
                    </a:lnTo>
                    <a:lnTo>
                      <a:pt x="938368" y="814121"/>
                    </a:lnTo>
                    <a:lnTo>
                      <a:pt x="935186" y="814575"/>
                    </a:lnTo>
                    <a:lnTo>
                      <a:pt x="918670" y="820333"/>
                    </a:lnTo>
                    <a:lnTo>
                      <a:pt x="909579" y="822303"/>
                    </a:lnTo>
                    <a:lnTo>
                      <a:pt x="894579" y="824121"/>
                    </a:lnTo>
                    <a:lnTo>
                      <a:pt x="893670" y="824727"/>
                    </a:lnTo>
                    <a:lnTo>
                      <a:pt x="885639" y="835182"/>
                    </a:lnTo>
                    <a:lnTo>
                      <a:pt x="883518" y="838970"/>
                    </a:lnTo>
                    <a:lnTo>
                      <a:pt x="884427" y="839879"/>
                    </a:lnTo>
                    <a:lnTo>
                      <a:pt x="893215" y="844576"/>
                    </a:lnTo>
                    <a:lnTo>
                      <a:pt x="894427" y="845637"/>
                    </a:lnTo>
                    <a:lnTo>
                      <a:pt x="896094" y="845788"/>
                    </a:lnTo>
                    <a:lnTo>
                      <a:pt x="900336" y="844879"/>
                    </a:lnTo>
                    <a:lnTo>
                      <a:pt x="902458" y="845182"/>
                    </a:lnTo>
                    <a:lnTo>
                      <a:pt x="910488" y="844728"/>
                    </a:lnTo>
                    <a:lnTo>
                      <a:pt x="912004" y="843364"/>
                    </a:lnTo>
                    <a:lnTo>
                      <a:pt x="910488" y="841091"/>
                    </a:lnTo>
                    <a:lnTo>
                      <a:pt x="910337" y="839425"/>
                    </a:lnTo>
                    <a:lnTo>
                      <a:pt x="913670" y="837303"/>
                    </a:lnTo>
                    <a:lnTo>
                      <a:pt x="917004" y="837606"/>
                    </a:lnTo>
                    <a:lnTo>
                      <a:pt x="922458" y="838819"/>
                    </a:lnTo>
                    <a:lnTo>
                      <a:pt x="926550" y="838515"/>
                    </a:lnTo>
                    <a:lnTo>
                      <a:pt x="929428" y="836546"/>
                    </a:lnTo>
                    <a:lnTo>
                      <a:pt x="932156" y="835182"/>
                    </a:lnTo>
                    <a:lnTo>
                      <a:pt x="934732" y="834576"/>
                    </a:lnTo>
                    <a:lnTo>
                      <a:pt x="936701" y="834576"/>
                    </a:lnTo>
                    <a:lnTo>
                      <a:pt x="941399" y="835940"/>
                    </a:lnTo>
                    <a:lnTo>
                      <a:pt x="942611" y="834424"/>
                    </a:lnTo>
                    <a:lnTo>
                      <a:pt x="943217" y="831091"/>
                    </a:lnTo>
                    <a:lnTo>
                      <a:pt x="945490" y="828364"/>
                    </a:lnTo>
                    <a:lnTo>
                      <a:pt x="951550" y="825485"/>
                    </a:lnTo>
                    <a:lnTo>
                      <a:pt x="957308" y="823212"/>
                    </a:lnTo>
                    <a:lnTo>
                      <a:pt x="959884" y="822606"/>
                    </a:lnTo>
                    <a:lnTo>
                      <a:pt x="964278" y="823818"/>
                    </a:lnTo>
                    <a:lnTo>
                      <a:pt x="964884" y="824727"/>
                    </a:lnTo>
                    <a:lnTo>
                      <a:pt x="963975" y="827909"/>
                    </a:lnTo>
                    <a:lnTo>
                      <a:pt x="961854" y="830333"/>
                    </a:lnTo>
                    <a:lnTo>
                      <a:pt x="959733" y="831849"/>
                    </a:lnTo>
                    <a:lnTo>
                      <a:pt x="956854" y="833515"/>
                    </a:lnTo>
                    <a:lnTo>
                      <a:pt x="954278" y="834273"/>
                    </a:lnTo>
                    <a:lnTo>
                      <a:pt x="950490" y="834576"/>
                    </a:lnTo>
                    <a:lnTo>
                      <a:pt x="946853" y="837606"/>
                    </a:lnTo>
                    <a:lnTo>
                      <a:pt x="946096" y="839122"/>
                    </a:lnTo>
                    <a:lnTo>
                      <a:pt x="946247" y="843213"/>
                    </a:lnTo>
                    <a:lnTo>
                      <a:pt x="945338" y="843516"/>
                    </a:lnTo>
                    <a:lnTo>
                      <a:pt x="943217" y="842910"/>
                    </a:lnTo>
                    <a:lnTo>
                      <a:pt x="939580" y="842607"/>
                    </a:lnTo>
                    <a:lnTo>
                      <a:pt x="938368" y="843061"/>
                    </a:lnTo>
                    <a:lnTo>
                      <a:pt x="936247" y="845940"/>
                    </a:lnTo>
                    <a:lnTo>
                      <a:pt x="935035" y="846698"/>
                    </a:lnTo>
                    <a:lnTo>
                      <a:pt x="932610" y="847455"/>
                    </a:lnTo>
                    <a:lnTo>
                      <a:pt x="930641" y="847758"/>
                    </a:lnTo>
                    <a:lnTo>
                      <a:pt x="927004" y="847607"/>
                    </a:lnTo>
                    <a:lnTo>
                      <a:pt x="924277" y="848364"/>
                    </a:lnTo>
                    <a:lnTo>
                      <a:pt x="920792" y="849880"/>
                    </a:lnTo>
                    <a:lnTo>
                      <a:pt x="918216" y="850486"/>
                    </a:lnTo>
                    <a:lnTo>
                      <a:pt x="916549" y="850031"/>
                    </a:lnTo>
                    <a:lnTo>
                      <a:pt x="909731" y="851243"/>
                    </a:lnTo>
                    <a:lnTo>
                      <a:pt x="908670" y="851092"/>
                    </a:lnTo>
                    <a:lnTo>
                      <a:pt x="908973" y="852304"/>
                    </a:lnTo>
                    <a:lnTo>
                      <a:pt x="910640" y="854880"/>
                    </a:lnTo>
                    <a:lnTo>
                      <a:pt x="909731" y="857304"/>
                    </a:lnTo>
                    <a:lnTo>
                      <a:pt x="906246" y="859728"/>
                    </a:lnTo>
                    <a:lnTo>
                      <a:pt x="904427" y="861547"/>
                    </a:lnTo>
                    <a:lnTo>
                      <a:pt x="904124" y="865638"/>
                    </a:lnTo>
                    <a:lnTo>
                      <a:pt x="904579" y="867153"/>
                    </a:lnTo>
                    <a:lnTo>
                      <a:pt x="907003" y="870032"/>
                    </a:lnTo>
                    <a:lnTo>
                      <a:pt x="910034" y="872456"/>
                    </a:lnTo>
                    <a:lnTo>
                      <a:pt x="912913" y="875941"/>
                    </a:lnTo>
                    <a:lnTo>
                      <a:pt x="913216" y="877608"/>
                    </a:lnTo>
                    <a:lnTo>
                      <a:pt x="912913" y="879729"/>
                    </a:lnTo>
                    <a:lnTo>
                      <a:pt x="913064" y="881699"/>
                    </a:lnTo>
                    <a:lnTo>
                      <a:pt x="915185" y="886851"/>
                    </a:lnTo>
                    <a:lnTo>
                      <a:pt x="917458" y="890336"/>
                    </a:lnTo>
                    <a:lnTo>
                      <a:pt x="922004" y="893669"/>
                    </a:lnTo>
                    <a:lnTo>
                      <a:pt x="922913" y="894730"/>
                    </a:lnTo>
                    <a:lnTo>
                      <a:pt x="921095" y="897002"/>
                    </a:lnTo>
                    <a:lnTo>
                      <a:pt x="921701" y="898518"/>
                    </a:lnTo>
                    <a:lnTo>
                      <a:pt x="923671" y="900639"/>
                    </a:lnTo>
                    <a:lnTo>
                      <a:pt x="926398" y="905033"/>
                    </a:lnTo>
                    <a:lnTo>
                      <a:pt x="925186" y="905033"/>
                    </a:lnTo>
                    <a:lnTo>
                      <a:pt x="921701" y="902760"/>
                    </a:lnTo>
                    <a:lnTo>
                      <a:pt x="919731" y="902003"/>
                    </a:lnTo>
                    <a:lnTo>
                      <a:pt x="919277" y="902760"/>
                    </a:lnTo>
                    <a:lnTo>
                      <a:pt x="918367" y="902912"/>
                    </a:lnTo>
                    <a:lnTo>
                      <a:pt x="917004" y="902457"/>
                    </a:lnTo>
                    <a:lnTo>
                      <a:pt x="913519" y="899427"/>
                    </a:lnTo>
                    <a:lnTo>
                      <a:pt x="910791" y="900336"/>
                    </a:lnTo>
                    <a:lnTo>
                      <a:pt x="910185" y="901397"/>
                    </a:lnTo>
                    <a:lnTo>
                      <a:pt x="910337" y="908215"/>
                    </a:lnTo>
                    <a:lnTo>
                      <a:pt x="910640" y="910336"/>
                    </a:lnTo>
                    <a:lnTo>
                      <a:pt x="911246" y="911700"/>
                    </a:lnTo>
                    <a:lnTo>
                      <a:pt x="915185" y="917306"/>
                    </a:lnTo>
                    <a:lnTo>
                      <a:pt x="923065" y="926094"/>
                    </a:lnTo>
                    <a:lnTo>
                      <a:pt x="923519" y="927307"/>
                    </a:lnTo>
                    <a:lnTo>
                      <a:pt x="922610" y="927155"/>
                    </a:lnTo>
                    <a:lnTo>
                      <a:pt x="920337" y="925640"/>
                    </a:lnTo>
                    <a:lnTo>
                      <a:pt x="917458" y="923064"/>
                    </a:lnTo>
                    <a:lnTo>
                      <a:pt x="911246" y="916397"/>
                    </a:lnTo>
                    <a:lnTo>
                      <a:pt x="909731" y="914276"/>
                    </a:lnTo>
                    <a:lnTo>
                      <a:pt x="904276" y="909730"/>
                    </a:lnTo>
                    <a:lnTo>
                      <a:pt x="903064" y="908063"/>
                    </a:lnTo>
                    <a:lnTo>
                      <a:pt x="901700" y="906851"/>
                    </a:lnTo>
                    <a:lnTo>
                      <a:pt x="900336" y="906094"/>
                    </a:lnTo>
                    <a:lnTo>
                      <a:pt x="898821" y="904578"/>
                    </a:lnTo>
                    <a:lnTo>
                      <a:pt x="897155" y="902306"/>
                    </a:lnTo>
                    <a:lnTo>
                      <a:pt x="890639" y="896699"/>
                    </a:lnTo>
                    <a:lnTo>
                      <a:pt x="889579" y="895336"/>
                    </a:lnTo>
                    <a:lnTo>
                      <a:pt x="890639" y="895487"/>
                    </a:lnTo>
                    <a:lnTo>
                      <a:pt x="893821" y="897002"/>
                    </a:lnTo>
                    <a:lnTo>
                      <a:pt x="897155" y="897305"/>
                    </a:lnTo>
                    <a:lnTo>
                      <a:pt x="900791" y="896396"/>
                    </a:lnTo>
                    <a:lnTo>
                      <a:pt x="903518" y="895184"/>
                    </a:lnTo>
                    <a:lnTo>
                      <a:pt x="905185" y="893669"/>
                    </a:lnTo>
                    <a:lnTo>
                      <a:pt x="905791" y="892002"/>
                    </a:lnTo>
                    <a:lnTo>
                      <a:pt x="905185" y="890184"/>
                    </a:lnTo>
                    <a:lnTo>
                      <a:pt x="903518" y="887608"/>
                    </a:lnTo>
                    <a:lnTo>
                      <a:pt x="893670" y="880790"/>
                    </a:lnTo>
                    <a:lnTo>
                      <a:pt x="889730" y="877002"/>
                    </a:lnTo>
                    <a:lnTo>
                      <a:pt x="887003" y="872002"/>
                    </a:lnTo>
                    <a:lnTo>
                      <a:pt x="886396" y="871698"/>
                    </a:lnTo>
                    <a:lnTo>
                      <a:pt x="884578" y="871244"/>
                    </a:lnTo>
                    <a:lnTo>
                      <a:pt x="883669" y="872305"/>
                    </a:lnTo>
                    <a:lnTo>
                      <a:pt x="880942" y="879123"/>
                    </a:lnTo>
                    <a:lnTo>
                      <a:pt x="879881" y="879881"/>
                    </a:lnTo>
                    <a:lnTo>
                      <a:pt x="878820" y="879123"/>
                    </a:lnTo>
                    <a:lnTo>
                      <a:pt x="877154" y="876547"/>
                    </a:lnTo>
                    <a:lnTo>
                      <a:pt x="876699" y="874729"/>
                    </a:lnTo>
                    <a:lnTo>
                      <a:pt x="875942" y="869880"/>
                    </a:lnTo>
                    <a:lnTo>
                      <a:pt x="874729" y="867304"/>
                    </a:lnTo>
                    <a:lnTo>
                      <a:pt x="873517" y="866395"/>
                    </a:lnTo>
                    <a:lnTo>
                      <a:pt x="869578" y="865486"/>
                    </a:lnTo>
                    <a:lnTo>
                      <a:pt x="858517" y="865789"/>
                    </a:lnTo>
                    <a:lnTo>
                      <a:pt x="857002" y="864880"/>
                    </a:lnTo>
                    <a:lnTo>
                      <a:pt x="855032" y="861698"/>
                    </a:lnTo>
                    <a:lnTo>
                      <a:pt x="853062" y="859577"/>
                    </a:lnTo>
                    <a:lnTo>
                      <a:pt x="851092" y="859274"/>
                    </a:lnTo>
                    <a:lnTo>
                      <a:pt x="850183" y="858668"/>
                    </a:lnTo>
                    <a:lnTo>
                      <a:pt x="847304" y="854425"/>
                    </a:lnTo>
                    <a:lnTo>
                      <a:pt x="846395" y="853668"/>
                    </a:lnTo>
                    <a:lnTo>
                      <a:pt x="845637" y="853668"/>
                    </a:lnTo>
                    <a:lnTo>
                      <a:pt x="842456" y="855486"/>
                    </a:lnTo>
                    <a:lnTo>
                      <a:pt x="838213" y="855486"/>
                    </a:lnTo>
                    <a:lnTo>
                      <a:pt x="826394" y="861244"/>
                    </a:lnTo>
                    <a:lnTo>
                      <a:pt x="821394" y="863213"/>
                    </a:lnTo>
                    <a:lnTo>
                      <a:pt x="818667" y="863365"/>
                    </a:lnTo>
                    <a:lnTo>
                      <a:pt x="816848" y="862910"/>
                    </a:lnTo>
                    <a:lnTo>
                      <a:pt x="815788" y="861698"/>
                    </a:lnTo>
                    <a:lnTo>
                      <a:pt x="813060" y="861850"/>
                    </a:lnTo>
                    <a:lnTo>
                      <a:pt x="808666" y="863668"/>
                    </a:lnTo>
                    <a:lnTo>
                      <a:pt x="805181" y="864577"/>
                    </a:lnTo>
                    <a:lnTo>
                      <a:pt x="801545" y="864577"/>
                    </a:lnTo>
                    <a:lnTo>
                      <a:pt x="790787" y="865789"/>
                    </a:lnTo>
                    <a:lnTo>
                      <a:pt x="787150" y="865789"/>
                    </a:lnTo>
                    <a:lnTo>
                      <a:pt x="785029" y="866395"/>
                    </a:lnTo>
                    <a:lnTo>
                      <a:pt x="781696" y="868062"/>
                    </a:lnTo>
                    <a:lnTo>
                      <a:pt x="779877" y="868214"/>
                    </a:lnTo>
                    <a:lnTo>
                      <a:pt x="769574" y="868365"/>
                    </a:lnTo>
                    <a:lnTo>
                      <a:pt x="764271" y="868062"/>
                    </a:lnTo>
                    <a:lnTo>
                      <a:pt x="760483" y="867304"/>
                    </a:lnTo>
                    <a:lnTo>
                      <a:pt x="747755" y="867456"/>
                    </a:lnTo>
                    <a:lnTo>
                      <a:pt x="741997" y="867153"/>
                    </a:lnTo>
                    <a:lnTo>
                      <a:pt x="737603" y="866244"/>
                    </a:lnTo>
                    <a:lnTo>
                      <a:pt x="734118" y="865789"/>
                    </a:lnTo>
                    <a:lnTo>
                      <a:pt x="731694" y="865941"/>
                    </a:lnTo>
                    <a:lnTo>
                      <a:pt x="727300" y="865032"/>
                    </a:lnTo>
                    <a:lnTo>
                      <a:pt x="720936" y="862910"/>
                    </a:lnTo>
                    <a:lnTo>
                      <a:pt x="715633" y="862001"/>
                    </a:lnTo>
                    <a:lnTo>
                      <a:pt x="711390" y="862304"/>
                    </a:lnTo>
                    <a:lnTo>
                      <a:pt x="708057" y="861698"/>
                    </a:lnTo>
                    <a:lnTo>
                      <a:pt x="703662" y="859274"/>
                    </a:lnTo>
                    <a:lnTo>
                      <a:pt x="699723" y="857759"/>
                    </a:lnTo>
                    <a:lnTo>
                      <a:pt x="699874" y="856698"/>
                    </a:lnTo>
                    <a:lnTo>
                      <a:pt x="706087" y="853213"/>
                    </a:lnTo>
                    <a:lnTo>
                      <a:pt x="706996" y="852304"/>
                    </a:lnTo>
                    <a:lnTo>
                      <a:pt x="706390" y="849273"/>
                    </a:lnTo>
                    <a:lnTo>
                      <a:pt x="706693" y="848364"/>
                    </a:lnTo>
                    <a:lnTo>
                      <a:pt x="708057" y="847001"/>
                    </a:lnTo>
                    <a:lnTo>
                      <a:pt x="715633" y="843970"/>
                    </a:lnTo>
                    <a:lnTo>
                      <a:pt x="718057" y="840485"/>
                    </a:lnTo>
                    <a:lnTo>
                      <a:pt x="731542" y="841546"/>
                    </a:lnTo>
                    <a:lnTo>
                      <a:pt x="736391" y="840637"/>
                    </a:lnTo>
                    <a:lnTo>
                      <a:pt x="737603" y="839879"/>
                    </a:lnTo>
                    <a:lnTo>
                      <a:pt x="738512" y="838819"/>
                    </a:lnTo>
                    <a:lnTo>
                      <a:pt x="740027" y="834424"/>
                    </a:lnTo>
                    <a:lnTo>
                      <a:pt x="739421" y="833667"/>
                    </a:lnTo>
                    <a:lnTo>
                      <a:pt x="737755" y="833667"/>
                    </a:lnTo>
                    <a:lnTo>
                      <a:pt x="736694" y="832606"/>
                    </a:lnTo>
                    <a:lnTo>
                      <a:pt x="736239" y="830636"/>
                    </a:lnTo>
                    <a:lnTo>
                      <a:pt x="733361" y="827151"/>
                    </a:lnTo>
                    <a:lnTo>
                      <a:pt x="728057" y="822000"/>
                    </a:lnTo>
                    <a:lnTo>
                      <a:pt x="722451" y="817909"/>
                    </a:lnTo>
                    <a:lnTo>
                      <a:pt x="712299" y="812908"/>
                    </a:lnTo>
                    <a:lnTo>
                      <a:pt x="705632" y="810939"/>
                    </a:lnTo>
                    <a:lnTo>
                      <a:pt x="700026" y="808514"/>
                    </a:lnTo>
                    <a:lnTo>
                      <a:pt x="694874" y="806999"/>
                    </a:lnTo>
                    <a:lnTo>
                      <a:pt x="690026" y="806393"/>
                    </a:lnTo>
                    <a:lnTo>
                      <a:pt x="687904" y="806393"/>
                    </a:lnTo>
                    <a:lnTo>
                      <a:pt x="686389" y="807757"/>
                    </a:lnTo>
                    <a:lnTo>
                      <a:pt x="680025" y="806999"/>
                    </a:lnTo>
                    <a:lnTo>
                      <a:pt x="677904" y="806999"/>
                    </a:lnTo>
                    <a:lnTo>
                      <a:pt x="677752" y="807757"/>
                    </a:lnTo>
                    <a:lnTo>
                      <a:pt x="682904" y="812605"/>
                    </a:lnTo>
                    <a:lnTo>
                      <a:pt x="683056" y="813515"/>
                    </a:lnTo>
                    <a:lnTo>
                      <a:pt x="678662" y="813060"/>
                    </a:lnTo>
                    <a:lnTo>
                      <a:pt x="675631" y="811848"/>
                    </a:lnTo>
                    <a:lnTo>
                      <a:pt x="673207" y="811545"/>
                    </a:lnTo>
                    <a:lnTo>
                      <a:pt x="669722" y="811696"/>
                    </a:lnTo>
                    <a:lnTo>
                      <a:pt x="656691" y="809878"/>
                    </a:lnTo>
                    <a:lnTo>
                      <a:pt x="653812" y="810333"/>
                    </a:lnTo>
                    <a:lnTo>
                      <a:pt x="651236" y="810030"/>
                    </a:lnTo>
                    <a:lnTo>
                      <a:pt x="648963" y="808969"/>
                    </a:lnTo>
                    <a:lnTo>
                      <a:pt x="634721" y="805787"/>
                    </a:lnTo>
                    <a:lnTo>
                      <a:pt x="627448" y="803666"/>
                    </a:lnTo>
                    <a:lnTo>
                      <a:pt x="621690" y="801241"/>
                    </a:lnTo>
                    <a:lnTo>
                      <a:pt x="616083" y="798666"/>
                    </a:lnTo>
                    <a:lnTo>
                      <a:pt x="608962" y="794423"/>
                    </a:lnTo>
                    <a:lnTo>
                      <a:pt x="605629" y="793362"/>
                    </a:lnTo>
                    <a:lnTo>
                      <a:pt x="578658" y="789271"/>
                    </a:lnTo>
                    <a:lnTo>
                      <a:pt x="570779" y="787453"/>
                    </a:lnTo>
                    <a:lnTo>
                      <a:pt x="566536" y="785483"/>
                    </a:lnTo>
                    <a:lnTo>
                      <a:pt x="552293" y="775937"/>
                    </a:lnTo>
                    <a:lnTo>
                      <a:pt x="548202" y="773816"/>
                    </a:lnTo>
                    <a:lnTo>
                      <a:pt x="538050" y="769877"/>
                    </a:lnTo>
                    <a:lnTo>
                      <a:pt x="532747" y="768210"/>
                    </a:lnTo>
                    <a:lnTo>
                      <a:pt x="526989" y="767149"/>
                    </a:lnTo>
                    <a:lnTo>
                      <a:pt x="518050" y="766240"/>
                    </a:lnTo>
                    <a:lnTo>
                      <a:pt x="509413" y="766543"/>
                    </a:lnTo>
                    <a:lnTo>
                      <a:pt x="500776" y="766089"/>
                    </a:lnTo>
                    <a:lnTo>
                      <a:pt x="498503" y="766543"/>
                    </a:lnTo>
                    <a:lnTo>
                      <a:pt x="493806" y="766089"/>
                    </a:lnTo>
                    <a:lnTo>
                      <a:pt x="491988" y="766543"/>
                    </a:lnTo>
                    <a:lnTo>
                      <a:pt x="490624" y="767907"/>
                    </a:lnTo>
                    <a:lnTo>
                      <a:pt x="489715" y="770028"/>
                    </a:lnTo>
                    <a:lnTo>
                      <a:pt x="488806" y="775180"/>
                    </a:lnTo>
                    <a:lnTo>
                      <a:pt x="486988" y="779574"/>
                    </a:lnTo>
                    <a:lnTo>
                      <a:pt x="485776" y="780483"/>
                    </a:lnTo>
                    <a:lnTo>
                      <a:pt x="482745" y="781544"/>
                    </a:lnTo>
                    <a:lnTo>
                      <a:pt x="480018" y="785332"/>
                    </a:lnTo>
                    <a:lnTo>
                      <a:pt x="478200" y="786847"/>
                    </a:lnTo>
                    <a:lnTo>
                      <a:pt x="475927" y="787453"/>
                    </a:lnTo>
                    <a:lnTo>
                      <a:pt x="463805" y="787605"/>
                    </a:lnTo>
                    <a:lnTo>
                      <a:pt x="462138" y="788211"/>
                    </a:lnTo>
                    <a:lnTo>
                      <a:pt x="455926" y="787908"/>
                    </a:lnTo>
                    <a:lnTo>
                      <a:pt x="453502" y="787150"/>
                    </a:lnTo>
                    <a:lnTo>
                      <a:pt x="452290" y="786089"/>
                    </a:lnTo>
                    <a:lnTo>
                      <a:pt x="451986" y="784877"/>
                    </a:lnTo>
                    <a:lnTo>
                      <a:pt x="452744" y="783513"/>
                    </a:lnTo>
                    <a:lnTo>
                      <a:pt x="454259" y="781695"/>
                    </a:lnTo>
                    <a:lnTo>
                      <a:pt x="461381" y="773968"/>
                    </a:lnTo>
                    <a:lnTo>
                      <a:pt x="461835" y="772149"/>
                    </a:lnTo>
                    <a:lnTo>
                      <a:pt x="455623" y="770028"/>
                    </a:lnTo>
                    <a:lnTo>
                      <a:pt x="454108" y="768361"/>
                    </a:lnTo>
                    <a:lnTo>
                      <a:pt x="452290" y="760937"/>
                    </a:lnTo>
                    <a:lnTo>
                      <a:pt x="452441" y="757755"/>
                    </a:lnTo>
                    <a:lnTo>
                      <a:pt x="453199" y="753815"/>
                    </a:lnTo>
                    <a:lnTo>
                      <a:pt x="453047" y="751391"/>
                    </a:lnTo>
                    <a:lnTo>
                      <a:pt x="451532" y="749876"/>
                    </a:lnTo>
                    <a:lnTo>
                      <a:pt x="450168" y="749421"/>
                    </a:lnTo>
                    <a:lnTo>
                      <a:pt x="447895" y="749876"/>
                    </a:lnTo>
                    <a:lnTo>
                      <a:pt x="446077" y="751088"/>
                    </a:lnTo>
                    <a:lnTo>
                      <a:pt x="444865" y="753209"/>
                    </a:lnTo>
                    <a:lnTo>
                      <a:pt x="439259" y="755028"/>
                    </a:lnTo>
                    <a:lnTo>
                      <a:pt x="438198" y="755785"/>
                    </a:lnTo>
                    <a:lnTo>
                      <a:pt x="438956" y="756543"/>
                    </a:lnTo>
                    <a:lnTo>
                      <a:pt x="440168" y="756846"/>
                    </a:lnTo>
                    <a:lnTo>
                      <a:pt x="441683" y="756846"/>
                    </a:lnTo>
                    <a:lnTo>
                      <a:pt x="444259" y="757603"/>
                    </a:lnTo>
                    <a:lnTo>
                      <a:pt x="443501" y="758664"/>
                    </a:lnTo>
                    <a:lnTo>
                      <a:pt x="440925" y="760331"/>
                    </a:lnTo>
                    <a:lnTo>
                      <a:pt x="438804" y="762301"/>
                    </a:lnTo>
                    <a:lnTo>
                      <a:pt x="437137" y="764725"/>
                    </a:lnTo>
                    <a:lnTo>
                      <a:pt x="435774" y="766089"/>
                    </a:lnTo>
                    <a:lnTo>
                      <a:pt x="434865" y="766240"/>
                    </a:lnTo>
                    <a:lnTo>
                      <a:pt x="432440" y="765634"/>
                    </a:lnTo>
                    <a:lnTo>
                      <a:pt x="431683" y="769119"/>
                    </a:lnTo>
                    <a:lnTo>
                      <a:pt x="431986" y="770331"/>
                    </a:lnTo>
                    <a:lnTo>
                      <a:pt x="428501" y="773665"/>
                    </a:lnTo>
                    <a:lnTo>
                      <a:pt x="428198" y="775483"/>
                    </a:lnTo>
                    <a:lnTo>
                      <a:pt x="430774" y="778362"/>
                    </a:lnTo>
                    <a:lnTo>
                      <a:pt x="433349" y="782604"/>
                    </a:lnTo>
                    <a:lnTo>
                      <a:pt x="433198" y="785180"/>
                    </a:lnTo>
                    <a:lnTo>
                      <a:pt x="427289" y="788968"/>
                    </a:lnTo>
                    <a:lnTo>
                      <a:pt x="423501" y="788817"/>
                    </a:lnTo>
                    <a:lnTo>
                      <a:pt x="417894" y="787453"/>
                    </a:lnTo>
                    <a:lnTo>
                      <a:pt x="413046" y="785635"/>
                    </a:lnTo>
                    <a:lnTo>
                      <a:pt x="408803" y="783210"/>
                    </a:lnTo>
                    <a:lnTo>
                      <a:pt x="403651" y="779422"/>
                    </a:lnTo>
                    <a:lnTo>
                      <a:pt x="393803" y="770483"/>
                    </a:lnTo>
                    <a:lnTo>
                      <a:pt x="391833" y="768210"/>
                    </a:lnTo>
                    <a:lnTo>
                      <a:pt x="389863" y="764422"/>
                    </a:lnTo>
                    <a:lnTo>
                      <a:pt x="387742" y="759270"/>
                    </a:lnTo>
                    <a:lnTo>
                      <a:pt x="385166" y="754270"/>
                    </a:lnTo>
                    <a:lnTo>
                      <a:pt x="379408" y="745482"/>
                    </a:lnTo>
                    <a:lnTo>
                      <a:pt x="376984" y="742754"/>
                    </a:lnTo>
                    <a:lnTo>
                      <a:pt x="372893" y="739118"/>
                    </a:lnTo>
                    <a:lnTo>
                      <a:pt x="362589" y="731845"/>
                    </a:lnTo>
                    <a:lnTo>
                      <a:pt x="359559" y="730330"/>
                    </a:lnTo>
                    <a:lnTo>
                      <a:pt x="356074" y="729118"/>
                    </a:lnTo>
                    <a:lnTo>
                      <a:pt x="354710" y="729421"/>
                    </a:lnTo>
                    <a:lnTo>
                      <a:pt x="352286" y="731542"/>
                    </a:lnTo>
                    <a:lnTo>
                      <a:pt x="351225" y="733663"/>
                    </a:lnTo>
                    <a:lnTo>
                      <a:pt x="351225" y="736694"/>
                    </a:lnTo>
                    <a:lnTo>
                      <a:pt x="352589" y="737754"/>
                    </a:lnTo>
                    <a:lnTo>
                      <a:pt x="356225" y="739421"/>
                    </a:lnTo>
                    <a:lnTo>
                      <a:pt x="354710" y="741088"/>
                    </a:lnTo>
                    <a:lnTo>
                      <a:pt x="355013" y="741694"/>
                    </a:lnTo>
                    <a:lnTo>
                      <a:pt x="356680" y="742754"/>
                    </a:lnTo>
                    <a:lnTo>
                      <a:pt x="364559" y="744421"/>
                    </a:lnTo>
                    <a:lnTo>
                      <a:pt x="362286" y="746391"/>
                    </a:lnTo>
                    <a:lnTo>
                      <a:pt x="353195" y="749421"/>
                    </a:lnTo>
                    <a:lnTo>
                      <a:pt x="348195" y="751997"/>
                    </a:lnTo>
                    <a:lnTo>
                      <a:pt x="345922" y="757906"/>
                    </a:lnTo>
                    <a:lnTo>
                      <a:pt x="345164" y="759270"/>
                    </a:lnTo>
                    <a:lnTo>
                      <a:pt x="336376" y="766543"/>
                    </a:lnTo>
                    <a:lnTo>
                      <a:pt x="332285" y="769422"/>
                    </a:lnTo>
                    <a:lnTo>
                      <a:pt x="329103" y="771240"/>
                    </a:lnTo>
                    <a:lnTo>
                      <a:pt x="326830" y="771846"/>
                    </a:lnTo>
                    <a:lnTo>
                      <a:pt x="325467" y="771089"/>
                    </a:lnTo>
                    <a:lnTo>
                      <a:pt x="324558" y="769422"/>
                    </a:lnTo>
                    <a:lnTo>
                      <a:pt x="323951" y="766998"/>
                    </a:lnTo>
                    <a:lnTo>
                      <a:pt x="324558" y="765483"/>
                    </a:lnTo>
                    <a:lnTo>
                      <a:pt x="330012" y="763361"/>
                    </a:lnTo>
                    <a:lnTo>
                      <a:pt x="330618" y="762452"/>
                    </a:lnTo>
                    <a:lnTo>
                      <a:pt x="331527" y="759119"/>
                    </a:lnTo>
                    <a:lnTo>
                      <a:pt x="331073" y="758967"/>
                    </a:lnTo>
                    <a:lnTo>
                      <a:pt x="328800" y="760634"/>
                    </a:lnTo>
                    <a:lnTo>
                      <a:pt x="327436" y="761998"/>
                    </a:lnTo>
                    <a:lnTo>
                      <a:pt x="325315" y="763058"/>
                    </a:lnTo>
                    <a:lnTo>
                      <a:pt x="321073" y="764422"/>
                    </a:lnTo>
                    <a:lnTo>
                      <a:pt x="312739" y="765786"/>
                    </a:lnTo>
                    <a:lnTo>
                      <a:pt x="297890" y="770786"/>
                    </a:lnTo>
                    <a:lnTo>
                      <a:pt x="291374" y="773968"/>
                    </a:lnTo>
                    <a:lnTo>
                      <a:pt x="286980" y="778210"/>
                    </a:lnTo>
                    <a:lnTo>
                      <a:pt x="283041" y="782453"/>
                    </a:lnTo>
                    <a:lnTo>
                      <a:pt x="277131" y="790332"/>
                    </a:lnTo>
                    <a:lnTo>
                      <a:pt x="276071" y="791999"/>
                    </a:lnTo>
                    <a:lnTo>
                      <a:pt x="274556" y="795635"/>
                    </a:lnTo>
                    <a:lnTo>
                      <a:pt x="274253" y="793514"/>
                    </a:lnTo>
                    <a:lnTo>
                      <a:pt x="274101" y="788211"/>
                    </a:lnTo>
                    <a:lnTo>
                      <a:pt x="273343" y="785029"/>
                    </a:lnTo>
                    <a:lnTo>
                      <a:pt x="271980" y="783968"/>
                    </a:lnTo>
                    <a:lnTo>
                      <a:pt x="270616" y="783513"/>
                    </a:lnTo>
                    <a:lnTo>
                      <a:pt x="269252" y="783665"/>
                    </a:lnTo>
                    <a:lnTo>
                      <a:pt x="267889" y="784726"/>
                    </a:lnTo>
                    <a:lnTo>
                      <a:pt x="265616" y="788059"/>
                    </a:lnTo>
                    <a:lnTo>
                      <a:pt x="264707" y="788211"/>
                    </a:lnTo>
                    <a:lnTo>
                      <a:pt x="265313" y="785635"/>
                    </a:lnTo>
                    <a:lnTo>
                      <a:pt x="264252" y="784574"/>
                    </a:lnTo>
                    <a:lnTo>
                      <a:pt x="258191" y="783362"/>
                    </a:lnTo>
                    <a:lnTo>
                      <a:pt x="256525" y="783513"/>
                    </a:lnTo>
                    <a:lnTo>
                      <a:pt x="252282" y="784877"/>
                    </a:lnTo>
                    <a:lnTo>
                      <a:pt x="251373" y="786392"/>
                    </a:lnTo>
                    <a:lnTo>
                      <a:pt x="252434" y="786847"/>
                    </a:lnTo>
                    <a:lnTo>
                      <a:pt x="252282" y="787756"/>
                    </a:lnTo>
                    <a:lnTo>
                      <a:pt x="251070" y="789423"/>
                    </a:lnTo>
                    <a:lnTo>
                      <a:pt x="248646" y="791696"/>
                    </a:lnTo>
                    <a:lnTo>
                      <a:pt x="242736" y="794423"/>
                    </a:lnTo>
                    <a:lnTo>
                      <a:pt x="240615" y="795938"/>
                    </a:lnTo>
                    <a:lnTo>
                      <a:pt x="236675" y="797605"/>
                    </a:lnTo>
                    <a:lnTo>
                      <a:pt x="231524" y="798817"/>
                    </a:lnTo>
                    <a:lnTo>
                      <a:pt x="226827" y="801847"/>
                    </a:lnTo>
                    <a:lnTo>
                      <a:pt x="225766" y="803666"/>
                    </a:lnTo>
                    <a:lnTo>
                      <a:pt x="225311" y="805029"/>
                    </a:lnTo>
                    <a:lnTo>
                      <a:pt x="225463" y="806999"/>
                    </a:lnTo>
                    <a:lnTo>
                      <a:pt x="226220" y="809423"/>
                    </a:lnTo>
                    <a:lnTo>
                      <a:pt x="227130" y="810636"/>
                    </a:lnTo>
                    <a:lnTo>
                      <a:pt x="231524" y="810939"/>
                    </a:lnTo>
                    <a:lnTo>
                      <a:pt x="231827" y="811696"/>
                    </a:lnTo>
                    <a:lnTo>
                      <a:pt x="230615" y="813060"/>
                    </a:lnTo>
                    <a:lnTo>
                      <a:pt x="227130" y="814575"/>
                    </a:lnTo>
                    <a:lnTo>
                      <a:pt x="210765" y="813060"/>
                    </a:lnTo>
                    <a:lnTo>
                      <a:pt x="209856" y="813666"/>
                    </a:lnTo>
                    <a:lnTo>
                      <a:pt x="210311" y="814424"/>
                    </a:lnTo>
                    <a:lnTo>
                      <a:pt x="213796" y="816545"/>
                    </a:lnTo>
                    <a:lnTo>
                      <a:pt x="215311" y="817909"/>
                    </a:lnTo>
                    <a:lnTo>
                      <a:pt x="213644" y="818212"/>
                    </a:lnTo>
                    <a:lnTo>
                      <a:pt x="209553" y="816848"/>
                    </a:lnTo>
                    <a:lnTo>
                      <a:pt x="208796" y="815939"/>
                    </a:lnTo>
                    <a:lnTo>
                      <a:pt x="207583" y="813211"/>
                    </a:lnTo>
                    <a:lnTo>
                      <a:pt x="208644" y="811242"/>
                    </a:lnTo>
                    <a:lnTo>
                      <a:pt x="212735" y="807454"/>
                    </a:lnTo>
                    <a:lnTo>
                      <a:pt x="216523" y="804423"/>
                    </a:lnTo>
                    <a:lnTo>
                      <a:pt x="219857" y="800938"/>
                    </a:lnTo>
                    <a:lnTo>
                      <a:pt x="223948" y="795938"/>
                    </a:lnTo>
                    <a:lnTo>
                      <a:pt x="227584" y="793362"/>
                    </a:lnTo>
                    <a:lnTo>
                      <a:pt x="233191" y="792756"/>
                    </a:lnTo>
                    <a:lnTo>
                      <a:pt x="237282" y="790786"/>
                    </a:lnTo>
                    <a:lnTo>
                      <a:pt x="240918" y="788059"/>
                    </a:lnTo>
                    <a:lnTo>
                      <a:pt x="242736" y="786241"/>
                    </a:lnTo>
                    <a:lnTo>
                      <a:pt x="246524" y="780635"/>
                    </a:lnTo>
                    <a:lnTo>
                      <a:pt x="247888" y="779877"/>
                    </a:lnTo>
                    <a:lnTo>
                      <a:pt x="250009" y="779119"/>
                    </a:lnTo>
                    <a:lnTo>
                      <a:pt x="260616" y="777604"/>
                    </a:lnTo>
                    <a:lnTo>
                      <a:pt x="265161" y="776695"/>
                    </a:lnTo>
                    <a:lnTo>
                      <a:pt x="267889" y="775786"/>
                    </a:lnTo>
                    <a:lnTo>
                      <a:pt x="274707" y="775028"/>
                    </a:lnTo>
                    <a:lnTo>
                      <a:pt x="278192" y="774119"/>
                    </a:lnTo>
                    <a:lnTo>
                      <a:pt x="281526" y="772452"/>
                    </a:lnTo>
                    <a:lnTo>
                      <a:pt x="288344" y="767907"/>
                    </a:lnTo>
                    <a:lnTo>
                      <a:pt x="310466" y="757300"/>
                    </a:lnTo>
                    <a:lnTo>
                      <a:pt x="313496" y="753512"/>
                    </a:lnTo>
                    <a:lnTo>
                      <a:pt x="313496" y="751997"/>
                    </a:lnTo>
                    <a:lnTo>
                      <a:pt x="311224" y="748967"/>
                    </a:lnTo>
                    <a:lnTo>
                      <a:pt x="309708" y="747755"/>
                    </a:lnTo>
                    <a:lnTo>
                      <a:pt x="308193" y="747755"/>
                    </a:lnTo>
                    <a:lnTo>
                      <a:pt x="303648" y="751997"/>
                    </a:lnTo>
                    <a:lnTo>
                      <a:pt x="302436" y="752755"/>
                    </a:lnTo>
                    <a:lnTo>
                      <a:pt x="299708" y="752603"/>
                    </a:lnTo>
                    <a:lnTo>
                      <a:pt x="296072" y="753058"/>
                    </a:lnTo>
                    <a:lnTo>
                      <a:pt x="293344" y="752452"/>
                    </a:lnTo>
                    <a:lnTo>
                      <a:pt x="290011" y="750936"/>
                    </a:lnTo>
                    <a:lnTo>
                      <a:pt x="287283" y="750179"/>
                    </a:lnTo>
                    <a:lnTo>
                      <a:pt x="282738" y="750936"/>
                    </a:lnTo>
                    <a:lnTo>
                      <a:pt x="275616" y="754573"/>
                    </a:lnTo>
                    <a:lnTo>
                      <a:pt x="273798" y="756240"/>
                    </a:lnTo>
                    <a:lnTo>
                      <a:pt x="272737" y="758058"/>
                    </a:lnTo>
                    <a:lnTo>
                      <a:pt x="269859" y="761543"/>
                    </a:lnTo>
                    <a:lnTo>
                      <a:pt x="267737" y="761846"/>
                    </a:lnTo>
                    <a:lnTo>
                      <a:pt x="264858" y="760634"/>
                    </a:lnTo>
                    <a:lnTo>
                      <a:pt x="261525" y="760937"/>
                    </a:lnTo>
                    <a:lnTo>
                      <a:pt x="257737" y="762755"/>
                    </a:lnTo>
                    <a:lnTo>
                      <a:pt x="248039" y="768967"/>
                    </a:lnTo>
                    <a:lnTo>
                      <a:pt x="241827" y="771392"/>
                    </a:lnTo>
                    <a:lnTo>
                      <a:pt x="240009" y="771240"/>
                    </a:lnTo>
                    <a:lnTo>
                      <a:pt x="237282" y="769271"/>
                    </a:lnTo>
                    <a:lnTo>
                      <a:pt x="233039" y="769877"/>
                    </a:lnTo>
                    <a:lnTo>
                      <a:pt x="231675" y="770483"/>
                    </a:lnTo>
                    <a:lnTo>
                      <a:pt x="230766" y="771392"/>
                    </a:lnTo>
                    <a:lnTo>
                      <a:pt x="230766" y="771846"/>
                    </a:lnTo>
                    <a:lnTo>
                      <a:pt x="233191" y="772149"/>
                    </a:lnTo>
                    <a:lnTo>
                      <a:pt x="235009" y="773059"/>
                    </a:lnTo>
                    <a:lnTo>
                      <a:pt x="235312" y="773816"/>
                    </a:lnTo>
                    <a:lnTo>
                      <a:pt x="233948" y="774422"/>
                    </a:lnTo>
                    <a:lnTo>
                      <a:pt x="231978" y="774574"/>
                    </a:lnTo>
                    <a:lnTo>
                      <a:pt x="223342" y="774271"/>
                    </a:lnTo>
                    <a:lnTo>
                      <a:pt x="221220" y="775331"/>
                    </a:lnTo>
                    <a:lnTo>
                      <a:pt x="218190" y="781241"/>
                    </a:lnTo>
                    <a:lnTo>
                      <a:pt x="216675" y="783059"/>
                    </a:lnTo>
                    <a:lnTo>
                      <a:pt x="214553" y="784877"/>
                    </a:lnTo>
                    <a:lnTo>
                      <a:pt x="210917" y="785938"/>
                    </a:lnTo>
                    <a:lnTo>
                      <a:pt x="205917" y="786241"/>
                    </a:lnTo>
                    <a:lnTo>
                      <a:pt x="200007" y="788059"/>
                    </a:lnTo>
                    <a:lnTo>
                      <a:pt x="193037" y="791241"/>
                    </a:lnTo>
                    <a:lnTo>
                      <a:pt x="186825" y="793514"/>
                    </a:lnTo>
                    <a:lnTo>
                      <a:pt x="187128" y="792150"/>
                    </a:lnTo>
                    <a:lnTo>
                      <a:pt x="191068" y="786998"/>
                    </a:lnTo>
                    <a:lnTo>
                      <a:pt x="193037" y="785029"/>
                    </a:lnTo>
                    <a:lnTo>
                      <a:pt x="194856" y="781241"/>
                    </a:lnTo>
                    <a:lnTo>
                      <a:pt x="194250" y="780180"/>
                    </a:lnTo>
                    <a:lnTo>
                      <a:pt x="189401" y="778665"/>
                    </a:lnTo>
                    <a:lnTo>
                      <a:pt x="187886" y="777301"/>
                    </a:lnTo>
                    <a:lnTo>
                      <a:pt x="186371" y="774725"/>
                    </a:lnTo>
                    <a:lnTo>
                      <a:pt x="185007" y="773210"/>
                    </a:lnTo>
                    <a:lnTo>
                      <a:pt x="180461" y="772604"/>
                    </a:lnTo>
                    <a:lnTo>
                      <a:pt x="179249" y="773362"/>
                    </a:lnTo>
                    <a:lnTo>
                      <a:pt x="178643" y="774877"/>
                    </a:lnTo>
                    <a:lnTo>
                      <a:pt x="178037" y="777907"/>
                    </a:lnTo>
                    <a:lnTo>
                      <a:pt x="178188" y="779271"/>
                    </a:lnTo>
                    <a:lnTo>
                      <a:pt x="179098" y="782604"/>
                    </a:lnTo>
                    <a:lnTo>
                      <a:pt x="178037" y="783059"/>
                    </a:lnTo>
                    <a:lnTo>
                      <a:pt x="168188" y="782150"/>
                    </a:lnTo>
                    <a:lnTo>
                      <a:pt x="160309" y="783059"/>
                    </a:lnTo>
                    <a:lnTo>
                      <a:pt x="158642" y="783968"/>
                    </a:lnTo>
                    <a:lnTo>
                      <a:pt x="157733" y="785180"/>
                    </a:lnTo>
                    <a:lnTo>
                      <a:pt x="156976" y="790029"/>
                    </a:lnTo>
                    <a:lnTo>
                      <a:pt x="155915" y="790786"/>
                    </a:lnTo>
                    <a:lnTo>
                      <a:pt x="150309" y="789423"/>
                    </a:lnTo>
                    <a:lnTo>
                      <a:pt x="147127" y="791696"/>
                    </a:lnTo>
                    <a:lnTo>
                      <a:pt x="145005" y="790786"/>
                    </a:lnTo>
                    <a:lnTo>
                      <a:pt x="138945" y="800484"/>
                    </a:lnTo>
                    <a:lnTo>
                      <a:pt x="140611" y="801999"/>
                    </a:lnTo>
                    <a:lnTo>
                      <a:pt x="143490" y="803514"/>
                    </a:lnTo>
                    <a:lnTo>
                      <a:pt x="145915" y="804423"/>
                    </a:lnTo>
                    <a:lnTo>
                      <a:pt x="148036" y="804575"/>
                    </a:lnTo>
                    <a:lnTo>
                      <a:pt x="147581" y="805484"/>
                    </a:lnTo>
                    <a:lnTo>
                      <a:pt x="144702" y="805787"/>
                    </a:lnTo>
                    <a:lnTo>
                      <a:pt x="139854" y="805787"/>
                    </a:lnTo>
                    <a:lnTo>
                      <a:pt x="138490" y="806242"/>
                    </a:lnTo>
                    <a:lnTo>
                      <a:pt x="138035" y="807151"/>
                    </a:lnTo>
                    <a:lnTo>
                      <a:pt x="139248" y="809423"/>
                    </a:lnTo>
                    <a:lnTo>
                      <a:pt x="139702" y="809878"/>
                    </a:lnTo>
                    <a:lnTo>
                      <a:pt x="146218" y="811090"/>
                    </a:lnTo>
                    <a:lnTo>
                      <a:pt x="151824" y="813515"/>
                    </a:lnTo>
                    <a:lnTo>
                      <a:pt x="153188" y="813818"/>
                    </a:lnTo>
                    <a:lnTo>
                      <a:pt x="158036" y="820333"/>
                    </a:lnTo>
                    <a:lnTo>
                      <a:pt x="157279" y="820788"/>
                    </a:lnTo>
                    <a:lnTo>
                      <a:pt x="154400" y="820181"/>
                    </a:lnTo>
                    <a:lnTo>
                      <a:pt x="140611" y="813666"/>
                    </a:lnTo>
                    <a:lnTo>
                      <a:pt x="133641" y="811242"/>
                    </a:lnTo>
                    <a:lnTo>
                      <a:pt x="123338" y="810484"/>
                    </a:lnTo>
                    <a:lnTo>
                      <a:pt x="117429" y="810939"/>
                    </a:lnTo>
                    <a:lnTo>
                      <a:pt x="107731" y="807908"/>
                    </a:lnTo>
                    <a:lnTo>
                      <a:pt x="102580" y="807302"/>
                    </a:lnTo>
                    <a:lnTo>
                      <a:pt x="85761" y="801241"/>
                    </a:lnTo>
                    <a:lnTo>
                      <a:pt x="78639" y="798362"/>
                    </a:lnTo>
                    <a:lnTo>
                      <a:pt x="74245" y="795181"/>
                    </a:lnTo>
                    <a:lnTo>
                      <a:pt x="63336" y="790483"/>
                    </a:lnTo>
                    <a:lnTo>
                      <a:pt x="49850" y="780786"/>
                    </a:lnTo>
                    <a:lnTo>
                      <a:pt x="28031" y="775634"/>
                    </a:lnTo>
                    <a:lnTo>
                      <a:pt x="16364" y="776544"/>
                    </a:lnTo>
                    <a:lnTo>
                      <a:pt x="3940" y="774877"/>
                    </a:lnTo>
                    <a:lnTo>
                      <a:pt x="0" y="774119"/>
                    </a:lnTo>
                    <a:lnTo>
                      <a:pt x="0" y="1191407"/>
                    </a:lnTo>
                    <a:lnTo>
                      <a:pt x="6515" y="1193074"/>
                    </a:lnTo>
                    <a:lnTo>
                      <a:pt x="13031" y="1194741"/>
                    </a:lnTo>
                    <a:lnTo>
                      <a:pt x="15001" y="1191407"/>
                    </a:lnTo>
                    <a:lnTo>
                      <a:pt x="21971" y="1193983"/>
                    </a:lnTo>
                    <a:lnTo>
                      <a:pt x="28031" y="1196256"/>
                    </a:lnTo>
                    <a:lnTo>
                      <a:pt x="31971" y="1193377"/>
                    </a:lnTo>
                    <a:lnTo>
                      <a:pt x="36213" y="1190346"/>
                    </a:lnTo>
                    <a:lnTo>
                      <a:pt x="41971" y="1190195"/>
                    </a:lnTo>
                    <a:lnTo>
                      <a:pt x="48335" y="1189892"/>
                    </a:lnTo>
                    <a:lnTo>
                      <a:pt x="52578" y="1189740"/>
                    </a:lnTo>
                    <a:lnTo>
                      <a:pt x="52578" y="1192316"/>
                    </a:lnTo>
                    <a:lnTo>
                      <a:pt x="51062" y="1196710"/>
                    </a:lnTo>
                    <a:lnTo>
                      <a:pt x="49699" y="1200347"/>
                    </a:lnTo>
                    <a:lnTo>
                      <a:pt x="53638" y="1203983"/>
                    </a:lnTo>
                    <a:lnTo>
                      <a:pt x="58487" y="1205953"/>
                    </a:lnTo>
                    <a:lnTo>
                      <a:pt x="62881" y="1207771"/>
                    </a:lnTo>
                    <a:lnTo>
                      <a:pt x="64851" y="1212772"/>
                    </a:lnTo>
                    <a:lnTo>
                      <a:pt x="69700" y="1216711"/>
                    </a:lnTo>
                    <a:lnTo>
                      <a:pt x="73488" y="1219590"/>
                    </a:lnTo>
                    <a:lnTo>
                      <a:pt x="77124" y="1222469"/>
                    </a:lnTo>
                    <a:lnTo>
                      <a:pt x="82276" y="1226560"/>
                    </a:lnTo>
                    <a:lnTo>
                      <a:pt x="85761" y="1229287"/>
                    </a:lnTo>
                    <a:lnTo>
                      <a:pt x="90458" y="1233075"/>
                    </a:lnTo>
                    <a:lnTo>
                      <a:pt x="93337" y="1235348"/>
                    </a:lnTo>
                    <a:lnTo>
                      <a:pt x="94700" y="1239591"/>
                    </a:lnTo>
                    <a:lnTo>
                      <a:pt x="96367" y="1244742"/>
                    </a:lnTo>
                    <a:lnTo>
                      <a:pt x="95307" y="1247773"/>
                    </a:lnTo>
                    <a:lnTo>
                      <a:pt x="97579" y="1248227"/>
                    </a:lnTo>
                    <a:lnTo>
                      <a:pt x="101973" y="1244742"/>
                    </a:lnTo>
                    <a:lnTo>
                      <a:pt x="106065" y="1242621"/>
                    </a:lnTo>
                    <a:lnTo>
                      <a:pt x="111216" y="1240045"/>
                    </a:lnTo>
                    <a:lnTo>
                      <a:pt x="114701" y="1238227"/>
                    </a:lnTo>
                    <a:lnTo>
                      <a:pt x="121065" y="1238076"/>
                    </a:lnTo>
                    <a:lnTo>
                      <a:pt x="124095" y="1232924"/>
                    </a:lnTo>
                    <a:lnTo>
                      <a:pt x="124095" y="1225651"/>
                    </a:lnTo>
                    <a:lnTo>
                      <a:pt x="127277" y="1225802"/>
                    </a:lnTo>
                    <a:lnTo>
                      <a:pt x="129247" y="1224742"/>
                    </a:lnTo>
                    <a:lnTo>
                      <a:pt x="130156" y="1222923"/>
                    </a:lnTo>
                    <a:lnTo>
                      <a:pt x="128187" y="1219893"/>
                    </a:lnTo>
                    <a:lnTo>
                      <a:pt x="134399" y="1218529"/>
                    </a:lnTo>
                    <a:lnTo>
                      <a:pt x="138793" y="1217469"/>
                    </a:lnTo>
                    <a:lnTo>
                      <a:pt x="145157" y="1214741"/>
                    </a:lnTo>
                    <a:lnTo>
                      <a:pt x="151369" y="1212165"/>
                    </a:lnTo>
                    <a:lnTo>
                      <a:pt x="154400" y="1214135"/>
                    </a:lnTo>
                    <a:lnTo>
                      <a:pt x="157279" y="1216105"/>
                    </a:lnTo>
                    <a:lnTo>
                      <a:pt x="163036" y="1220802"/>
                    </a:lnTo>
                    <a:lnTo>
                      <a:pt x="163491" y="1222014"/>
                    </a:lnTo>
                    <a:lnTo>
                      <a:pt x="163036" y="1224287"/>
                    </a:lnTo>
                    <a:lnTo>
                      <a:pt x="162430" y="1226560"/>
                    </a:lnTo>
                    <a:lnTo>
                      <a:pt x="165915" y="1232772"/>
                    </a:lnTo>
                    <a:lnTo>
                      <a:pt x="166976" y="1233530"/>
                    </a:lnTo>
                    <a:lnTo>
                      <a:pt x="169855" y="1234439"/>
                    </a:lnTo>
                    <a:lnTo>
                      <a:pt x="173340" y="1236560"/>
                    </a:lnTo>
                    <a:lnTo>
                      <a:pt x="174855" y="1238379"/>
                    </a:lnTo>
                    <a:lnTo>
                      <a:pt x="179855" y="1241257"/>
                    </a:lnTo>
                    <a:lnTo>
                      <a:pt x="180764" y="1242470"/>
                    </a:lnTo>
                    <a:lnTo>
                      <a:pt x="181219" y="1244439"/>
                    </a:lnTo>
                    <a:lnTo>
                      <a:pt x="181976" y="1246106"/>
                    </a:lnTo>
                    <a:lnTo>
                      <a:pt x="182886" y="1247318"/>
                    </a:lnTo>
                    <a:lnTo>
                      <a:pt x="183795" y="1248985"/>
                    </a:lnTo>
                    <a:lnTo>
                      <a:pt x="185916" y="1250955"/>
                    </a:lnTo>
                    <a:lnTo>
                      <a:pt x="190007" y="1253076"/>
                    </a:lnTo>
                    <a:lnTo>
                      <a:pt x="192886" y="1254591"/>
                    </a:lnTo>
                    <a:lnTo>
                      <a:pt x="196826" y="1256713"/>
                    </a:lnTo>
                    <a:lnTo>
                      <a:pt x="200917" y="1261107"/>
                    </a:lnTo>
                    <a:lnTo>
                      <a:pt x="204402" y="1264895"/>
                    </a:lnTo>
                    <a:lnTo>
                      <a:pt x="208341" y="1268531"/>
                    </a:lnTo>
                    <a:lnTo>
                      <a:pt x="207735" y="1271410"/>
                    </a:lnTo>
                    <a:lnTo>
                      <a:pt x="211826" y="1275956"/>
                    </a:lnTo>
                    <a:lnTo>
                      <a:pt x="216069" y="1281713"/>
                    </a:lnTo>
                    <a:lnTo>
                      <a:pt x="219251" y="1286865"/>
                    </a:lnTo>
                    <a:lnTo>
                      <a:pt x="221523" y="1289744"/>
                    </a:lnTo>
                    <a:lnTo>
                      <a:pt x="224251" y="1293835"/>
                    </a:lnTo>
                    <a:lnTo>
                      <a:pt x="227584" y="1298835"/>
                    </a:lnTo>
                    <a:lnTo>
                      <a:pt x="231372" y="1304593"/>
                    </a:lnTo>
                    <a:lnTo>
                      <a:pt x="234403" y="1308230"/>
                    </a:lnTo>
                    <a:lnTo>
                      <a:pt x="238191" y="1313381"/>
                    </a:lnTo>
                    <a:lnTo>
                      <a:pt x="240160" y="1316412"/>
                    </a:lnTo>
                    <a:lnTo>
                      <a:pt x="238797" y="1318533"/>
                    </a:lnTo>
                    <a:lnTo>
                      <a:pt x="237130" y="1321109"/>
                    </a:lnTo>
                    <a:lnTo>
                      <a:pt x="242130" y="1322321"/>
                    </a:lnTo>
                    <a:lnTo>
                      <a:pt x="245615" y="1323230"/>
                    </a:lnTo>
                    <a:lnTo>
                      <a:pt x="244706" y="1326109"/>
                    </a:lnTo>
                    <a:lnTo>
                      <a:pt x="243645" y="1329897"/>
                    </a:lnTo>
                    <a:lnTo>
                      <a:pt x="247585" y="1331412"/>
                    </a:lnTo>
                    <a:lnTo>
                      <a:pt x="250161" y="1332473"/>
                    </a:lnTo>
                    <a:lnTo>
                      <a:pt x="249555" y="1334443"/>
                    </a:lnTo>
                    <a:lnTo>
                      <a:pt x="251070" y="1336716"/>
                    </a:lnTo>
                    <a:lnTo>
                      <a:pt x="251373" y="1340352"/>
                    </a:lnTo>
                    <a:lnTo>
                      <a:pt x="256070" y="1340049"/>
                    </a:lnTo>
                    <a:lnTo>
                      <a:pt x="258191" y="1339897"/>
                    </a:lnTo>
                    <a:lnTo>
                      <a:pt x="261070" y="1341564"/>
                    </a:lnTo>
                    <a:lnTo>
                      <a:pt x="264858" y="1343685"/>
                    </a:lnTo>
                    <a:lnTo>
                      <a:pt x="268646" y="1345655"/>
                    </a:lnTo>
                    <a:lnTo>
                      <a:pt x="271828" y="1347322"/>
                    </a:lnTo>
                    <a:lnTo>
                      <a:pt x="276071" y="1348383"/>
                    </a:lnTo>
                    <a:lnTo>
                      <a:pt x="281223" y="1349898"/>
                    </a:lnTo>
                    <a:lnTo>
                      <a:pt x="283798" y="1352928"/>
                    </a:lnTo>
                    <a:lnTo>
                      <a:pt x="288496" y="1354140"/>
                    </a:lnTo>
                    <a:lnTo>
                      <a:pt x="290314" y="1358383"/>
                    </a:lnTo>
                    <a:lnTo>
                      <a:pt x="295769" y="1359898"/>
                    </a:lnTo>
                    <a:lnTo>
                      <a:pt x="298950" y="1358838"/>
                    </a:lnTo>
                    <a:lnTo>
                      <a:pt x="300163" y="1360504"/>
                    </a:lnTo>
                    <a:lnTo>
                      <a:pt x="301072" y="1362474"/>
                    </a:lnTo>
                    <a:lnTo>
                      <a:pt x="301375" y="1364898"/>
                    </a:lnTo>
                    <a:lnTo>
                      <a:pt x="301072" y="1367323"/>
                    </a:lnTo>
                    <a:lnTo>
                      <a:pt x="301223" y="1367626"/>
                    </a:lnTo>
                    <a:lnTo>
                      <a:pt x="300163" y="1370202"/>
                    </a:lnTo>
                    <a:lnTo>
                      <a:pt x="299557" y="1372626"/>
                    </a:lnTo>
                    <a:lnTo>
                      <a:pt x="298496" y="1374444"/>
                    </a:lnTo>
                    <a:lnTo>
                      <a:pt x="298496" y="1376869"/>
                    </a:lnTo>
                    <a:lnTo>
                      <a:pt x="298799" y="1379444"/>
                    </a:lnTo>
                    <a:lnTo>
                      <a:pt x="299708" y="1382929"/>
                    </a:lnTo>
                    <a:lnTo>
                      <a:pt x="301375" y="1387323"/>
                    </a:lnTo>
                    <a:lnTo>
                      <a:pt x="301072" y="1390960"/>
                    </a:lnTo>
                    <a:lnTo>
                      <a:pt x="299405" y="1393536"/>
                    </a:lnTo>
                    <a:lnTo>
                      <a:pt x="298496" y="1396869"/>
                    </a:lnTo>
                    <a:lnTo>
                      <a:pt x="299708" y="1398839"/>
                    </a:lnTo>
                    <a:lnTo>
                      <a:pt x="301375" y="1396718"/>
                    </a:lnTo>
                    <a:lnTo>
                      <a:pt x="304405" y="1391414"/>
                    </a:lnTo>
                    <a:lnTo>
                      <a:pt x="305466" y="1388839"/>
                    </a:lnTo>
                    <a:lnTo>
                      <a:pt x="306072" y="1385051"/>
                    </a:lnTo>
                    <a:lnTo>
                      <a:pt x="306224" y="1380657"/>
                    </a:lnTo>
                    <a:lnTo>
                      <a:pt x="306678" y="1379596"/>
                    </a:lnTo>
                    <a:lnTo>
                      <a:pt x="307436" y="1382020"/>
                    </a:lnTo>
                    <a:lnTo>
                      <a:pt x="308345" y="1383535"/>
                    </a:lnTo>
                    <a:lnTo>
                      <a:pt x="309254" y="1384293"/>
                    </a:lnTo>
                    <a:lnTo>
                      <a:pt x="310163" y="1384293"/>
                    </a:lnTo>
                    <a:lnTo>
                      <a:pt x="311224" y="1383687"/>
                    </a:lnTo>
                    <a:lnTo>
                      <a:pt x="313193" y="1383232"/>
                    </a:lnTo>
                    <a:lnTo>
                      <a:pt x="307133" y="1390202"/>
                    </a:lnTo>
                    <a:lnTo>
                      <a:pt x="304102" y="1394596"/>
                    </a:lnTo>
                    <a:lnTo>
                      <a:pt x="302436" y="1397778"/>
                    </a:lnTo>
                    <a:lnTo>
                      <a:pt x="298041" y="1405203"/>
                    </a:lnTo>
                    <a:lnTo>
                      <a:pt x="297132" y="1407627"/>
                    </a:lnTo>
                    <a:lnTo>
                      <a:pt x="295011" y="1411112"/>
                    </a:lnTo>
                    <a:lnTo>
                      <a:pt x="292587" y="1412173"/>
                    </a:lnTo>
                    <a:lnTo>
                      <a:pt x="291374" y="1413839"/>
                    </a:lnTo>
                    <a:lnTo>
                      <a:pt x="290768" y="1415203"/>
                    </a:lnTo>
                    <a:lnTo>
                      <a:pt x="290314" y="1418234"/>
                    </a:lnTo>
                    <a:lnTo>
                      <a:pt x="290162" y="1420506"/>
                    </a:lnTo>
                    <a:lnTo>
                      <a:pt x="289102" y="1422779"/>
                    </a:lnTo>
                    <a:lnTo>
                      <a:pt x="290011" y="1425355"/>
                    </a:lnTo>
                    <a:lnTo>
                      <a:pt x="292890" y="1428385"/>
                    </a:lnTo>
                    <a:lnTo>
                      <a:pt x="298496" y="1431719"/>
                    </a:lnTo>
                    <a:lnTo>
                      <a:pt x="303648" y="1430052"/>
                    </a:lnTo>
                    <a:lnTo>
                      <a:pt x="306527" y="1429749"/>
                    </a:lnTo>
                    <a:lnTo>
                      <a:pt x="311224" y="1429901"/>
                    </a:lnTo>
                    <a:lnTo>
                      <a:pt x="306678" y="1432325"/>
                    </a:lnTo>
                    <a:lnTo>
                      <a:pt x="299708" y="1433537"/>
                    </a:lnTo>
                    <a:lnTo>
                      <a:pt x="299102" y="1434598"/>
                    </a:lnTo>
                    <a:lnTo>
                      <a:pt x="298496" y="1439447"/>
                    </a:lnTo>
                    <a:lnTo>
                      <a:pt x="294405" y="1443538"/>
                    </a:lnTo>
                    <a:lnTo>
                      <a:pt x="291677" y="1448841"/>
                    </a:lnTo>
                    <a:lnTo>
                      <a:pt x="293647" y="1451417"/>
                    </a:lnTo>
                    <a:lnTo>
                      <a:pt x="298799" y="1454295"/>
                    </a:lnTo>
                    <a:lnTo>
                      <a:pt x="303193" y="1455205"/>
                    </a:lnTo>
                    <a:lnTo>
                      <a:pt x="305617" y="1460356"/>
                    </a:lnTo>
                    <a:lnTo>
                      <a:pt x="309254" y="1463235"/>
                    </a:lnTo>
                    <a:lnTo>
                      <a:pt x="312587" y="1466266"/>
                    </a:lnTo>
                    <a:lnTo>
                      <a:pt x="315315" y="1462781"/>
                    </a:lnTo>
                    <a:lnTo>
                      <a:pt x="320163" y="1461114"/>
                    </a:lnTo>
                    <a:lnTo>
                      <a:pt x="320921" y="1460205"/>
                    </a:lnTo>
                    <a:lnTo>
                      <a:pt x="321376" y="1457932"/>
                    </a:lnTo>
                    <a:lnTo>
                      <a:pt x="321679" y="1454295"/>
                    </a:lnTo>
                    <a:lnTo>
                      <a:pt x="322285" y="1451871"/>
                    </a:lnTo>
                    <a:lnTo>
                      <a:pt x="326376" y="1446719"/>
                    </a:lnTo>
                    <a:lnTo>
                      <a:pt x="327588" y="1445962"/>
                    </a:lnTo>
                    <a:lnTo>
                      <a:pt x="329103" y="1444295"/>
                    </a:lnTo>
                    <a:lnTo>
                      <a:pt x="329558" y="1444295"/>
                    </a:lnTo>
                    <a:lnTo>
                      <a:pt x="330012" y="1444901"/>
                    </a:lnTo>
                    <a:lnTo>
                      <a:pt x="331073" y="1444598"/>
                    </a:lnTo>
                    <a:lnTo>
                      <a:pt x="336073" y="1441265"/>
                    </a:lnTo>
                    <a:lnTo>
                      <a:pt x="337588" y="1441265"/>
                    </a:lnTo>
                    <a:lnTo>
                      <a:pt x="340770" y="1443538"/>
                    </a:lnTo>
                    <a:lnTo>
                      <a:pt x="340013" y="1443992"/>
                    </a:lnTo>
                    <a:lnTo>
                      <a:pt x="337437" y="1444447"/>
                    </a:lnTo>
                    <a:lnTo>
                      <a:pt x="335770" y="1445204"/>
                    </a:lnTo>
                    <a:lnTo>
                      <a:pt x="334861" y="1446265"/>
                    </a:lnTo>
                    <a:lnTo>
                      <a:pt x="334406" y="1447477"/>
                    </a:lnTo>
                    <a:lnTo>
                      <a:pt x="334255" y="1448841"/>
                    </a:lnTo>
                    <a:lnTo>
                      <a:pt x="334709" y="1450659"/>
                    </a:lnTo>
                    <a:lnTo>
                      <a:pt x="336831" y="1454599"/>
                    </a:lnTo>
                    <a:lnTo>
                      <a:pt x="338952" y="1456417"/>
                    </a:lnTo>
                    <a:lnTo>
                      <a:pt x="341376" y="1457478"/>
                    </a:lnTo>
                    <a:lnTo>
                      <a:pt x="342588" y="1457629"/>
                    </a:lnTo>
                    <a:lnTo>
                      <a:pt x="345316" y="1456871"/>
                    </a:lnTo>
                    <a:lnTo>
                      <a:pt x="349710" y="1457174"/>
                    </a:lnTo>
                    <a:lnTo>
                      <a:pt x="352286" y="1458538"/>
                    </a:lnTo>
                    <a:lnTo>
                      <a:pt x="356831" y="1462932"/>
                    </a:lnTo>
                    <a:lnTo>
                      <a:pt x="357438" y="1465054"/>
                    </a:lnTo>
                    <a:lnTo>
                      <a:pt x="353347" y="1461569"/>
                    </a:lnTo>
                    <a:lnTo>
                      <a:pt x="351831" y="1459750"/>
                    </a:lnTo>
                    <a:lnTo>
                      <a:pt x="347437" y="1458235"/>
                    </a:lnTo>
                    <a:lnTo>
                      <a:pt x="345619" y="1458235"/>
                    </a:lnTo>
                    <a:lnTo>
                      <a:pt x="342285" y="1460053"/>
                    </a:lnTo>
                    <a:lnTo>
                      <a:pt x="340619" y="1459599"/>
                    </a:lnTo>
                    <a:lnTo>
                      <a:pt x="332588" y="1454750"/>
                    </a:lnTo>
                    <a:lnTo>
                      <a:pt x="330618" y="1454447"/>
                    </a:lnTo>
                    <a:lnTo>
                      <a:pt x="332134" y="1450507"/>
                    </a:lnTo>
                    <a:lnTo>
                      <a:pt x="331982" y="1448992"/>
                    </a:lnTo>
                    <a:lnTo>
                      <a:pt x="329709" y="1448538"/>
                    </a:lnTo>
                    <a:lnTo>
                      <a:pt x="327891" y="1450204"/>
                    </a:lnTo>
                    <a:lnTo>
                      <a:pt x="325315" y="1452174"/>
                    </a:lnTo>
                    <a:lnTo>
                      <a:pt x="323800" y="1456114"/>
                    </a:lnTo>
                    <a:lnTo>
                      <a:pt x="325012" y="1459447"/>
                    </a:lnTo>
                    <a:lnTo>
                      <a:pt x="326376" y="1462175"/>
                    </a:lnTo>
                    <a:lnTo>
                      <a:pt x="332134" y="1463690"/>
                    </a:lnTo>
                    <a:lnTo>
                      <a:pt x="338043" y="1466872"/>
                    </a:lnTo>
                    <a:lnTo>
                      <a:pt x="341528" y="1470660"/>
                    </a:lnTo>
                    <a:lnTo>
                      <a:pt x="343498" y="1480509"/>
                    </a:lnTo>
                    <a:lnTo>
                      <a:pt x="345922" y="1482327"/>
                    </a:lnTo>
                    <a:lnTo>
                      <a:pt x="353043" y="1479296"/>
                    </a:lnTo>
                    <a:lnTo>
                      <a:pt x="354559" y="1479145"/>
                    </a:lnTo>
                    <a:lnTo>
                      <a:pt x="353043" y="1481115"/>
                    </a:lnTo>
                    <a:lnTo>
                      <a:pt x="352437" y="1483084"/>
                    </a:lnTo>
                    <a:lnTo>
                      <a:pt x="350619" y="1489751"/>
                    </a:lnTo>
                    <a:lnTo>
                      <a:pt x="348498" y="1496721"/>
                    </a:lnTo>
                    <a:lnTo>
                      <a:pt x="348649" y="1499449"/>
                    </a:lnTo>
                    <a:lnTo>
                      <a:pt x="349558" y="1499297"/>
                    </a:lnTo>
                    <a:lnTo>
                      <a:pt x="351074" y="1497782"/>
                    </a:lnTo>
                    <a:lnTo>
                      <a:pt x="355013" y="1493236"/>
                    </a:lnTo>
                    <a:lnTo>
                      <a:pt x="357589" y="1492479"/>
                    </a:lnTo>
                    <a:lnTo>
                      <a:pt x="357741" y="1492630"/>
                    </a:lnTo>
                    <a:lnTo>
                      <a:pt x="355468" y="1494600"/>
                    </a:lnTo>
                    <a:lnTo>
                      <a:pt x="354710" y="1495964"/>
                    </a:lnTo>
                    <a:lnTo>
                      <a:pt x="354407" y="1496873"/>
                    </a:lnTo>
                    <a:lnTo>
                      <a:pt x="355316" y="1500055"/>
                    </a:lnTo>
                    <a:lnTo>
                      <a:pt x="355013" y="1500964"/>
                    </a:lnTo>
                    <a:lnTo>
                      <a:pt x="346225" y="1506873"/>
                    </a:lnTo>
                    <a:lnTo>
                      <a:pt x="350771" y="1512782"/>
                    </a:lnTo>
                    <a:lnTo>
                      <a:pt x="353195" y="1520510"/>
                    </a:lnTo>
                    <a:lnTo>
                      <a:pt x="356074" y="1514601"/>
                    </a:lnTo>
                    <a:lnTo>
                      <a:pt x="358650" y="1507328"/>
                    </a:lnTo>
                    <a:lnTo>
                      <a:pt x="360468" y="1503691"/>
                    </a:lnTo>
                    <a:lnTo>
                      <a:pt x="361680" y="1502328"/>
                    </a:lnTo>
                    <a:lnTo>
                      <a:pt x="363801" y="1501267"/>
                    </a:lnTo>
                    <a:lnTo>
                      <a:pt x="368044" y="1500358"/>
                    </a:lnTo>
                    <a:lnTo>
                      <a:pt x="369105" y="1499752"/>
                    </a:lnTo>
                    <a:lnTo>
                      <a:pt x="380317" y="1489751"/>
                    </a:lnTo>
                    <a:lnTo>
                      <a:pt x="381378" y="1488994"/>
                    </a:lnTo>
                    <a:lnTo>
                      <a:pt x="382287" y="1487933"/>
                    </a:lnTo>
                    <a:lnTo>
                      <a:pt x="382893" y="1486569"/>
                    </a:lnTo>
                    <a:lnTo>
                      <a:pt x="383045" y="1485357"/>
                    </a:lnTo>
                    <a:lnTo>
                      <a:pt x="382741" y="1482175"/>
                    </a:lnTo>
                    <a:lnTo>
                      <a:pt x="383045" y="1482175"/>
                    </a:lnTo>
                    <a:lnTo>
                      <a:pt x="384257" y="1484297"/>
                    </a:lnTo>
                    <a:lnTo>
                      <a:pt x="384711" y="1485509"/>
                    </a:lnTo>
                    <a:lnTo>
                      <a:pt x="384711" y="1486569"/>
                    </a:lnTo>
                    <a:lnTo>
                      <a:pt x="383499" y="1488842"/>
                    </a:lnTo>
                    <a:lnTo>
                      <a:pt x="378196" y="1493236"/>
                    </a:lnTo>
                    <a:lnTo>
                      <a:pt x="377590" y="1494752"/>
                    </a:lnTo>
                    <a:lnTo>
                      <a:pt x="378044" y="1496267"/>
                    </a:lnTo>
                    <a:lnTo>
                      <a:pt x="378953" y="1498540"/>
                    </a:lnTo>
                    <a:lnTo>
                      <a:pt x="379863" y="1499449"/>
                    </a:lnTo>
                    <a:lnTo>
                      <a:pt x="385014" y="1501722"/>
                    </a:lnTo>
                    <a:lnTo>
                      <a:pt x="386075" y="1503237"/>
                    </a:lnTo>
                    <a:lnTo>
                      <a:pt x="386226" y="1504752"/>
                    </a:lnTo>
                    <a:lnTo>
                      <a:pt x="390166" y="1508843"/>
                    </a:lnTo>
                    <a:lnTo>
                      <a:pt x="391227" y="1510661"/>
                    </a:lnTo>
                    <a:lnTo>
                      <a:pt x="390621" y="1510510"/>
                    </a:lnTo>
                    <a:lnTo>
                      <a:pt x="388196" y="1508237"/>
                    </a:lnTo>
                    <a:lnTo>
                      <a:pt x="386226" y="1505964"/>
                    </a:lnTo>
                    <a:lnTo>
                      <a:pt x="384560" y="1503540"/>
                    </a:lnTo>
                    <a:lnTo>
                      <a:pt x="383196" y="1502176"/>
                    </a:lnTo>
                    <a:lnTo>
                      <a:pt x="378650" y="1501267"/>
                    </a:lnTo>
                    <a:lnTo>
                      <a:pt x="376832" y="1498388"/>
                    </a:lnTo>
                    <a:lnTo>
                      <a:pt x="371529" y="1499752"/>
                    </a:lnTo>
                    <a:lnTo>
                      <a:pt x="368499" y="1501873"/>
                    </a:lnTo>
                    <a:lnTo>
                      <a:pt x="365165" y="1503540"/>
                    </a:lnTo>
                    <a:lnTo>
                      <a:pt x="361832" y="1505813"/>
                    </a:lnTo>
                    <a:lnTo>
                      <a:pt x="360468" y="1509601"/>
                    </a:lnTo>
                    <a:lnTo>
                      <a:pt x="360013" y="1513086"/>
                    </a:lnTo>
                    <a:lnTo>
                      <a:pt x="363650" y="1512934"/>
                    </a:lnTo>
                    <a:lnTo>
                      <a:pt x="360923" y="1517177"/>
                    </a:lnTo>
                    <a:lnTo>
                      <a:pt x="360013" y="1519298"/>
                    </a:lnTo>
                    <a:lnTo>
                      <a:pt x="359862" y="1520965"/>
                    </a:lnTo>
                    <a:lnTo>
                      <a:pt x="360316" y="1524753"/>
                    </a:lnTo>
                    <a:lnTo>
                      <a:pt x="361226" y="1527328"/>
                    </a:lnTo>
                    <a:lnTo>
                      <a:pt x="363195" y="1529450"/>
                    </a:lnTo>
                    <a:lnTo>
                      <a:pt x="363650" y="1530813"/>
                    </a:lnTo>
                    <a:lnTo>
                      <a:pt x="364104" y="1531420"/>
                    </a:lnTo>
                    <a:lnTo>
                      <a:pt x="365317" y="1531874"/>
                    </a:lnTo>
                    <a:lnTo>
                      <a:pt x="365923" y="1531874"/>
                    </a:lnTo>
                    <a:lnTo>
                      <a:pt x="366832" y="1530510"/>
                    </a:lnTo>
                    <a:lnTo>
                      <a:pt x="367741" y="1528692"/>
                    </a:lnTo>
                    <a:lnTo>
                      <a:pt x="371377" y="1524450"/>
                    </a:lnTo>
                    <a:lnTo>
                      <a:pt x="374256" y="1523389"/>
                    </a:lnTo>
                    <a:lnTo>
                      <a:pt x="382590" y="1523086"/>
                    </a:lnTo>
                    <a:lnTo>
                      <a:pt x="391984" y="1523540"/>
                    </a:lnTo>
                    <a:lnTo>
                      <a:pt x="390772" y="1523995"/>
                    </a:lnTo>
                    <a:lnTo>
                      <a:pt x="384408" y="1524753"/>
                    </a:lnTo>
                    <a:lnTo>
                      <a:pt x="375923" y="1525359"/>
                    </a:lnTo>
                    <a:lnTo>
                      <a:pt x="373650" y="1525813"/>
                    </a:lnTo>
                    <a:lnTo>
                      <a:pt x="371681" y="1527025"/>
                    </a:lnTo>
                    <a:lnTo>
                      <a:pt x="365923" y="1533541"/>
                    </a:lnTo>
                    <a:lnTo>
                      <a:pt x="364407" y="1536571"/>
                    </a:lnTo>
                    <a:lnTo>
                      <a:pt x="363650" y="1539299"/>
                    </a:lnTo>
                    <a:lnTo>
                      <a:pt x="363801" y="1543541"/>
                    </a:lnTo>
                    <a:lnTo>
                      <a:pt x="366983" y="1545814"/>
                    </a:lnTo>
                    <a:lnTo>
                      <a:pt x="371074" y="1549299"/>
                    </a:lnTo>
                    <a:lnTo>
                      <a:pt x="373347" y="1550814"/>
                    </a:lnTo>
                    <a:lnTo>
                      <a:pt x="375772" y="1551875"/>
                    </a:lnTo>
                    <a:lnTo>
                      <a:pt x="381529" y="1553693"/>
                    </a:lnTo>
                    <a:lnTo>
                      <a:pt x="382741" y="1553693"/>
                    </a:lnTo>
                    <a:lnTo>
                      <a:pt x="384257" y="1552784"/>
                    </a:lnTo>
                    <a:lnTo>
                      <a:pt x="393196" y="1552026"/>
                    </a:lnTo>
                    <a:lnTo>
                      <a:pt x="395015" y="1550208"/>
                    </a:lnTo>
                    <a:lnTo>
                      <a:pt x="396227" y="1546875"/>
                    </a:lnTo>
                    <a:lnTo>
                      <a:pt x="397136" y="1550360"/>
                    </a:lnTo>
                    <a:lnTo>
                      <a:pt x="396075" y="1553693"/>
                    </a:lnTo>
                    <a:lnTo>
                      <a:pt x="396984" y="1554602"/>
                    </a:lnTo>
                    <a:lnTo>
                      <a:pt x="398954" y="1554299"/>
                    </a:lnTo>
                    <a:lnTo>
                      <a:pt x="400166" y="1554754"/>
                    </a:lnTo>
                    <a:lnTo>
                      <a:pt x="399560" y="1555814"/>
                    </a:lnTo>
                    <a:lnTo>
                      <a:pt x="397439" y="1557178"/>
                    </a:lnTo>
                    <a:lnTo>
                      <a:pt x="396227" y="1558693"/>
                    </a:lnTo>
                    <a:lnTo>
                      <a:pt x="396378" y="1560360"/>
                    </a:lnTo>
                    <a:lnTo>
                      <a:pt x="396984" y="1560663"/>
                    </a:lnTo>
                    <a:lnTo>
                      <a:pt x="400318" y="1560815"/>
                    </a:lnTo>
                    <a:lnTo>
                      <a:pt x="410924" y="1559148"/>
                    </a:lnTo>
                    <a:lnTo>
                      <a:pt x="413046" y="1559451"/>
                    </a:lnTo>
                    <a:lnTo>
                      <a:pt x="413197" y="1560209"/>
                    </a:lnTo>
                    <a:lnTo>
                      <a:pt x="408500" y="1560966"/>
                    </a:lnTo>
                    <a:lnTo>
                      <a:pt x="403803" y="1562481"/>
                    </a:lnTo>
                    <a:lnTo>
                      <a:pt x="398954" y="1563087"/>
                    </a:lnTo>
                    <a:lnTo>
                      <a:pt x="398045" y="1563845"/>
                    </a:lnTo>
                    <a:lnTo>
                      <a:pt x="398045" y="1565209"/>
                    </a:lnTo>
                    <a:lnTo>
                      <a:pt x="399257" y="1565966"/>
                    </a:lnTo>
                    <a:lnTo>
                      <a:pt x="403803" y="1566269"/>
                    </a:lnTo>
                    <a:lnTo>
                      <a:pt x="407742" y="1567178"/>
                    </a:lnTo>
                    <a:lnTo>
                      <a:pt x="409712" y="1567178"/>
                    </a:lnTo>
                    <a:lnTo>
                      <a:pt x="411379" y="1567481"/>
                    </a:lnTo>
                    <a:lnTo>
                      <a:pt x="414864" y="1566572"/>
                    </a:lnTo>
                    <a:lnTo>
                      <a:pt x="416682" y="1566724"/>
                    </a:lnTo>
                    <a:lnTo>
                      <a:pt x="417591" y="1567785"/>
                    </a:lnTo>
                    <a:lnTo>
                      <a:pt x="418803" y="1568239"/>
                    </a:lnTo>
                    <a:lnTo>
                      <a:pt x="420319" y="1568239"/>
                    </a:lnTo>
                    <a:lnTo>
                      <a:pt x="421228" y="1567481"/>
                    </a:lnTo>
                    <a:lnTo>
                      <a:pt x="421834" y="1564300"/>
                    </a:lnTo>
                    <a:lnTo>
                      <a:pt x="422591" y="1562027"/>
                    </a:lnTo>
                    <a:lnTo>
                      <a:pt x="423046" y="1561572"/>
                    </a:lnTo>
                    <a:lnTo>
                      <a:pt x="423349" y="1565663"/>
                    </a:lnTo>
                    <a:lnTo>
                      <a:pt x="423804" y="1566572"/>
                    </a:lnTo>
                    <a:lnTo>
                      <a:pt x="424713" y="1566875"/>
                    </a:lnTo>
                    <a:lnTo>
                      <a:pt x="431986" y="1567633"/>
                    </a:lnTo>
                    <a:lnTo>
                      <a:pt x="436077" y="1566269"/>
                    </a:lnTo>
                    <a:lnTo>
                      <a:pt x="438047" y="1563390"/>
                    </a:lnTo>
                    <a:lnTo>
                      <a:pt x="439259" y="1560815"/>
                    </a:lnTo>
                    <a:lnTo>
                      <a:pt x="439562" y="1558845"/>
                    </a:lnTo>
                    <a:lnTo>
                      <a:pt x="439107" y="1557178"/>
                    </a:lnTo>
                    <a:lnTo>
                      <a:pt x="439562" y="1555511"/>
                    </a:lnTo>
                    <a:lnTo>
                      <a:pt x="441532" y="1553239"/>
                    </a:lnTo>
                    <a:lnTo>
                      <a:pt x="441077" y="1554905"/>
                    </a:lnTo>
                    <a:lnTo>
                      <a:pt x="441532" y="1558845"/>
                    </a:lnTo>
                    <a:lnTo>
                      <a:pt x="441683" y="1560663"/>
                    </a:lnTo>
                    <a:lnTo>
                      <a:pt x="441380" y="1561724"/>
                    </a:lnTo>
                    <a:lnTo>
                      <a:pt x="439410" y="1565360"/>
                    </a:lnTo>
                    <a:lnTo>
                      <a:pt x="436077" y="1569603"/>
                    </a:lnTo>
                    <a:lnTo>
                      <a:pt x="436380" y="1571573"/>
                    </a:lnTo>
                    <a:lnTo>
                      <a:pt x="437895" y="1571876"/>
                    </a:lnTo>
                    <a:lnTo>
                      <a:pt x="439259" y="1573997"/>
                    </a:lnTo>
                    <a:lnTo>
                      <a:pt x="439259" y="1575361"/>
                    </a:lnTo>
                    <a:lnTo>
                      <a:pt x="443350" y="1582027"/>
                    </a:lnTo>
                    <a:lnTo>
                      <a:pt x="443350" y="1583846"/>
                    </a:lnTo>
                    <a:lnTo>
                      <a:pt x="445471" y="1586119"/>
                    </a:lnTo>
                    <a:lnTo>
                      <a:pt x="451532" y="1591422"/>
                    </a:lnTo>
                    <a:lnTo>
                      <a:pt x="453502" y="1592482"/>
                    </a:lnTo>
                    <a:lnTo>
                      <a:pt x="457138" y="1592634"/>
                    </a:lnTo>
                    <a:lnTo>
                      <a:pt x="460926" y="1591876"/>
                    </a:lnTo>
                    <a:lnTo>
                      <a:pt x="463199" y="1589755"/>
                    </a:lnTo>
                    <a:lnTo>
                      <a:pt x="465169" y="1588997"/>
                    </a:lnTo>
                    <a:lnTo>
                      <a:pt x="465472" y="1588391"/>
                    </a:lnTo>
                    <a:lnTo>
                      <a:pt x="465472" y="1585664"/>
                    </a:lnTo>
                    <a:lnTo>
                      <a:pt x="465926" y="1584906"/>
                    </a:lnTo>
                    <a:lnTo>
                      <a:pt x="468502" y="1582027"/>
                    </a:lnTo>
                    <a:lnTo>
                      <a:pt x="468502" y="1580967"/>
                    </a:lnTo>
                    <a:lnTo>
                      <a:pt x="466229" y="1578088"/>
                    </a:lnTo>
                    <a:lnTo>
                      <a:pt x="466532" y="1577936"/>
                    </a:lnTo>
                    <a:lnTo>
                      <a:pt x="468048" y="1578391"/>
                    </a:lnTo>
                    <a:lnTo>
                      <a:pt x="469563" y="1579452"/>
                    </a:lnTo>
                    <a:lnTo>
                      <a:pt x="470624" y="1580815"/>
                    </a:lnTo>
                    <a:lnTo>
                      <a:pt x="470775" y="1581421"/>
                    </a:lnTo>
                    <a:lnTo>
                      <a:pt x="469714" y="1582937"/>
                    </a:lnTo>
                    <a:lnTo>
                      <a:pt x="468048" y="1583846"/>
                    </a:lnTo>
                    <a:lnTo>
                      <a:pt x="467593" y="1585058"/>
                    </a:lnTo>
                    <a:lnTo>
                      <a:pt x="467593" y="1591725"/>
                    </a:lnTo>
                    <a:lnTo>
                      <a:pt x="468351" y="1593846"/>
                    </a:lnTo>
                    <a:lnTo>
                      <a:pt x="469866" y="1595664"/>
                    </a:lnTo>
                    <a:lnTo>
                      <a:pt x="471381" y="1596573"/>
                    </a:lnTo>
                    <a:lnTo>
                      <a:pt x="472896" y="1596573"/>
                    </a:lnTo>
                    <a:lnTo>
                      <a:pt x="476381" y="1595664"/>
                    </a:lnTo>
                    <a:lnTo>
                      <a:pt x="475624" y="1596573"/>
                    </a:lnTo>
                    <a:lnTo>
                      <a:pt x="472139" y="1598846"/>
                    </a:lnTo>
                    <a:lnTo>
                      <a:pt x="470017" y="1599149"/>
                    </a:lnTo>
                    <a:lnTo>
                      <a:pt x="469260" y="1597331"/>
                    </a:lnTo>
                    <a:lnTo>
                      <a:pt x="467139" y="1594452"/>
                    </a:lnTo>
                    <a:lnTo>
                      <a:pt x="466078" y="1593846"/>
                    </a:lnTo>
                    <a:lnTo>
                      <a:pt x="465169" y="1593846"/>
                    </a:lnTo>
                    <a:lnTo>
                      <a:pt x="464563" y="1595361"/>
                    </a:lnTo>
                    <a:lnTo>
                      <a:pt x="463805" y="1597179"/>
                    </a:lnTo>
                    <a:lnTo>
                      <a:pt x="464563" y="1599301"/>
                    </a:lnTo>
                    <a:lnTo>
                      <a:pt x="466684" y="1601725"/>
                    </a:lnTo>
                    <a:lnTo>
                      <a:pt x="468199" y="1603089"/>
                    </a:lnTo>
                    <a:lnTo>
                      <a:pt x="469108" y="1603543"/>
                    </a:lnTo>
                    <a:lnTo>
                      <a:pt x="478048" y="1606574"/>
                    </a:lnTo>
                    <a:lnTo>
                      <a:pt x="478654" y="1606422"/>
                    </a:lnTo>
                    <a:lnTo>
                      <a:pt x="480624" y="1604756"/>
                    </a:lnTo>
                    <a:lnTo>
                      <a:pt x="481684" y="1605059"/>
                    </a:lnTo>
                    <a:lnTo>
                      <a:pt x="483351" y="1604453"/>
                    </a:lnTo>
                    <a:lnTo>
                      <a:pt x="483654" y="1602331"/>
                    </a:lnTo>
                    <a:lnTo>
                      <a:pt x="483200" y="1601271"/>
                    </a:lnTo>
                    <a:lnTo>
                      <a:pt x="483503" y="1600058"/>
                    </a:lnTo>
                    <a:lnTo>
                      <a:pt x="487291" y="1596422"/>
                    </a:lnTo>
                    <a:lnTo>
                      <a:pt x="487442" y="1596725"/>
                    </a:lnTo>
                    <a:lnTo>
                      <a:pt x="487139" y="1597786"/>
                    </a:lnTo>
                    <a:lnTo>
                      <a:pt x="486230" y="1599755"/>
                    </a:lnTo>
                    <a:lnTo>
                      <a:pt x="485624" y="1605059"/>
                    </a:lnTo>
                    <a:lnTo>
                      <a:pt x="485170" y="1606877"/>
                    </a:lnTo>
                    <a:lnTo>
                      <a:pt x="484563" y="1607483"/>
                    </a:lnTo>
                    <a:lnTo>
                      <a:pt x="484412" y="1608089"/>
                    </a:lnTo>
                    <a:lnTo>
                      <a:pt x="484715" y="1608695"/>
                    </a:lnTo>
                    <a:lnTo>
                      <a:pt x="487594" y="1608544"/>
                    </a:lnTo>
                    <a:lnTo>
                      <a:pt x="491988" y="1609453"/>
                    </a:lnTo>
                    <a:lnTo>
                      <a:pt x="493352" y="1609150"/>
                    </a:lnTo>
                    <a:lnTo>
                      <a:pt x="495624" y="1606725"/>
                    </a:lnTo>
                    <a:lnTo>
                      <a:pt x="494715" y="1609453"/>
                    </a:lnTo>
                    <a:lnTo>
                      <a:pt x="493806" y="1610513"/>
                    </a:lnTo>
                    <a:lnTo>
                      <a:pt x="490473" y="1610513"/>
                    </a:lnTo>
                    <a:lnTo>
                      <a:pt x="487291" y="1610968"/>
                    </a:lnTo>
                    <a:lnTo>
                      <a:pt x="486079" y="1611574"/>
                    </a:lnTo>
                    <a:lnTo>
                      <a:pt x="487139" y="1613089"/>
                    </a:lnTo>
                    <a:lnTo>
                      <a:pt x="486988" y="1615665"/>
                    </a:lnTo>
                    <a:lnTo>
                      <a:pt x="487442" y="1616271"/>
                    </a:lnTo>
                    <a:lnTo>
                      <a:pt x="488351" y="1616574"/>
                    </a:lnTo>
                    <a:lnTo>
                      <a:pt x="490321" y="1616271"/>
                    </a:lnTo>
                    <a:lnTo>
                      <a:pt x="490321" y="1616726"/>
                    </a:lnTo>
                    <a:lnTo>
                      <a:pt x="489412" y="1617938"/>
                    </a:lnTo>
                    <a:lnTo>
                      <a:pt x="489109" y="1618998"/>
                    </a:lnTo>
                    <a:lnTo>
                      <a:pt x="490018" y="1621271"/>
                    </a:lnTo>
                    <a:lnTo>
                      <a:pt x="490321" y="1621726"/>
                    </a:lnTo>
                    <a:lnTo>
                      <a:pt x="490776" y="1621877"/>
                    </a:lnTo>
                    <a:lnTo>
                      <a:pt x="491230" y="1621271"/>
                    </a:lnTo>
                    <a:lnTo>
                      <a:pt x="491836" y="1619605"/>
                    </a:lnTo>
                    <a:lnTo>
                      <a:pt x="492594" y="1618847"/>
                    </a:lnTo>
                    <a:lnTo>
                      <a:pt x="493655" y="1618392"/>
                    </a:lnTo>
                    <a:lnTo>
                      <a:pt x="494715" y="1618392"/>
                    </a:lnTo>
                    <a:lnTo>
                      <a:pt x="497443" y="1620059"/>
                    </a:lnTo>
                    <a:lnTo>
                      <a:pt x="498503" y="1621271"/>
                    </a:lnTo>
                    <a:lnTo>
                      <a:pt x="582900" y="1621271"/>
                    </a:lnTo>
                    <a:lnTo>
                      <a:pt x="594568" y="1621271"/>
                    </a:lnTo>
                    <a:lnTo>
                      <a:pt x="862911" y="1621271"/>
                    </a:lnTo>
                    <a:lnTo>
                      <a:pt x="874578" y="1621271"/>
                    </a:lnTo>
                    <a:lnTo>
                      <a:pt x="1142921" y="1621271"/>
                    </a:lnTo>
                    <a:lnTo>
                      <a:pt x="1154588" y="1621271"/>
                    </a:lnTo>
                    <a:lnTo>
                      <a:pt x="1247925" y="1621271"/>
                    </a:lnTo>
                    <a:lnTo>
                      <a:pt x="1254441" y="1621271"/>
                    </a:lnTo>
                    <a:lnTo>
                      <a:pt x="1254592" y="1613847"/>
                    </a:lnTo>
                    <a:lnTo>
                      <a:pt x="1254743" y="1607938"/>
                    </a:lnTo>
                    <a:lnTo>
                      <a:pt x="1260653" y="1608695"/>
                    </a:lnTo>
                    <a:lnTo>
                      <a:pt x="1262471" y="1609756"/>
                    </a:lnTo>
                    <a:lnTo>
                      <a:pt x="1263077" y="1610210"/>
                    </a:lnTo>
                    <a:lnTo>
                      <a:pt x="1262926" y="1611877"/>
                    </a:lnTo>
                    <a:lnTo>
                      <a:pt x="1263380" y="1616877"/>
                    </a:lnTo>
                    <a:lnTo>
                      <a:pt x="1264441" y="1620968"/>
                    </a:lnTo>
                    <a:lnTo>
                      <a:pt x="1266865" y="1625817"/>
                    </a:lnTo>
                    <a:lnTo>
                      <a:pt x="1266865" y="1625817"/>
                    </a:lnTo>
                    <a:lnTo>
                      <a:pt x="1267017" y="1627787"/>
                    </a:lnTo>
                    <a:lnTo>
                      <a:pt x="1267774" y="1628999"/>
                    </a:lnTo>
                    <a:lnTo>
                      <a:pt x="1269290" y="1630060"/>
                    </a:lnTo>
                    <a:lnTo>
                      <a:pt x="1274896" y="1631423"/>
                    </a:lnTo>
                    <a:lnTo>
                      <a:pt x="1284745" y="1632938"/>
                    </a:lnTo>
                    <a:lnTo>
                      <a:pt x="1290351" y="1634757"/>
                    </a:lnTo>
                    <a:lnTo>
                      <a:pt x="1291715" y="1636878"/>
                    </a:lnTo>
                    <a:lnTo>
                      <a:pt x="1294290" y="1637636"/>
                    </a:lnTo>
                    <a:lnTo>
                      <a:pt x="1298230" y="1637181"/>
                    </a:lnTo>
                    <a:lnTo>
                      <a:pt x="1300957" y="1636272"/>
                    </a:lnTo>
                    <a:lnTo>
                      <a:pt x="1303230" y="1634302"/>
                    </a:lnTo>
                    <a:lnTo>
                      <a:pt x="1306564" y="1633848"/>
                    </a:lnTo>
                    <a:lnTo>
                      <a:pt x="1309442" y="1633999"/>
                    </a:lnTo>
                    <a:lnTo>
                      <a:pt x="1312321" y="1634151"/>
                    </a:lnTo>
                    <a:lnTo>
                      <a:pt x="1313837" y="1634454"/>
                    </a:lnTo>
                    <a:lnTo>
                      <a:pt x="1318231" y="1635969"/>
                    </a:lnTo>
                    <a:lnTo>
                      <a:pt x="1321110" y="1637181"/>
                    </a:lnTo>
                    <a:lnTo>
                      <a:pt x="1325201" y="1639454"/>
                    </a:lnTo>
                    <a:lnTo>
                      <a:pt x="1327473" y="1640514"/>
                    </a:lnTo>
                    <a:lnTo>
                      <a:pt x="1328534" y="1642939"/>
                    </a:lnTo>
                    <a:lnTo>
                      <a:pt x="1329746" y="1646121"/>
                    </a:lnTo>
                    <a:lnTo>
                      <a:pt x="1331565" y="1646121"/>
                    </a:lnTo>
                    <a:lnTo>
                      <a:pt x="1332928" y="1644302"/>
                    </a:lnTo>
                    <a:lnTo>
                      <a:pt x="1336413" y="1643999"/>
                    </a:lnTo>
                    <a:lnTo>
                      <a:pt x="1340959" y="1645212"/>
                    </a:lnTo>
                    <a:lnTo>
                      <a:pt x="1345050" y="1648848"/>
                    </a:lnTo>
                    <a:lnTo>
                      <a:pt x="1350808" y="1652030"/>
                    </a:lnTo>
                    <a:lnTo>
                      <a:pt x="1354293" y="1653697"/>
                    </a:lnTo>
                    <a:lnTo>
                      <a:pt x="1357929" y="1653697"/>
                    </a:lnTo>
                    <a:lnTo>
                      <a:pt x="1362475" y="1652030"/>
                    </a:lnTo>
                    <a:lnTo>
                      <a:pt x="1367324" y="1648848"/>
                    </a:lnTo>
                    <a:lnTo>
                      <a:pt x="1370808" y="1648242"/>
                    </a:lnTo>
                    <a:lnTo>
                      <a:pt x="1372930" y="1648545"/>
                    </a:lnTo>
                    <a:lnTo>
                      <a:pt x="1374142" y="1650969"/>
                    </a:lnTo>
                    <a:lnTo>
                      <a:pt x="1375657" y="1651878"/>
                    </a:lnTo>
                    <a:lnTo>
                      <a:pt x="1379445" y="1651575"/>
                    </a:lnTo>
                    <a:lnTo>
                      <a:pt x="1387324" y="1652030"/>
                    </a:lnTo>
                    <a:lnTo>
                      <a:pt x="1393537" y="1651424"/>
                    </a:lnTo>
                    <a:lnTo>
                      <a:pt x="1394900" y="1652788"/>
                    </a:lnTo>
                    <a:lnTo>
                      <a:pt x="1396112" y="1654909"/>
                    </a:lnTo>
                    <a:lnTo>
                      <a:pt x="1398688" y="1655666"/>
                    </a:lnTo>
                    <a:lnTo>
                      <a:pt x="1402173" y="1654909"/>
                    </a:lnTo>
                    <a:lnTo>
                      <a:pt x="1407628" y="1655363"/>
                    </a:lnTo>
                    <a:lnTo>
                      <a:pt x="1408386" y="1654909"/>
                    </a:lnTo>
                    <a:lnTo>
                      <a:pt x="1411113" y="1652182"/>
                    </a:lnTo>
                    <a:lnTo>
                      <a:pt x="1411416" y="1651878"/>
                    </a:lnTo>
                    <a:lnTo>
                      <a:pt x="1413992" y="1651121"/>
                    </a:lnTo>
                    <a:lnTo>
                      <a:pt x="1414750" y="1649757"/>
                    </a:lnTo>
                    <a:lnTo>
                      <a:pt x="1415204" y="1648242"/>
                    </a:lnTo>
                    <a:lnTo>
                      <a:pt x="1416416" y="1645666"/>
                    </a:lnTo>
                    <a:lnTo>
                      <a:pt x="1417325" y="1644606"/>
                    </a:lnTo>
                    <a:lnTo>
                      <a:pt x="1417477" y="1643393"/>
                    </a:lnTo>
                    <a:lnTo>
                      <a:pt x="1417022" y="1642030"/>
                    </a:lnTo>
                    <a:lnTo>
                      <a:pt x="1417174" y="1640818"/>
                    </a:lnTo>
                    <a:lnTo>
                      <a:pt x="1417780" y="1639605"/>
                    </a:lnTo>
                    <a:lnTo>
                      <a:pt x="1420962" y="1637939"/>
                    </a:lnTo>
                    <a:lnTo>
                      <a:pt x="1429447" y="1634908"/>
                    </a:lnTo>
                    <a:lnTo>
                      <a:pt x="1429750" y="1635211"/>
                    </a:lnTo>
                    <a:lnTo>
                      <a:pt x="1428235" y="1637484"/>
                    </a:lnTo>
                    <a:lnTo>
                      <a:pt x="1426568" y="1641878"/>
                    </a:lnTo>
                    <a:lnTo>
                      <a:pt x="1425962" y="1642030"/>
                    </a:lnTo>
                    <a:lnTo>
                      <a:pt x="1425507" y="1642636"/>
                    </a:lnTo>
                    <a:lnTo>
                      <a:pt x="1425053" y="1643545"/>
                    </a:lnTo>
                    <a:lnTo>
                      <a:pt x="1426265" y="1643545"/>
                    </a:lnTo>
                    <a:lnTo>
                      <a:pt x="1429144" y="1642484"/>
                    </a:lnTo>
                    <a:lnTo>
                      <a:pt x="1430508" y="1641878"/>
                    </a:lnTo>
                    <a:lnTo>
                      <a:pt x="1430811" y="1640818"/>
                    </a:lnTo>
                    <a:lnTo>
                      <a:pt x="1431265" y="1638696"/>
                    </a:lnTo>
                    <a:lnTo>
                      <a:pt x="1431871" y="1637484"/>
                    </a:lnTo>
                    <a:lnTo>
                      <a:pt x="1432629" y="1637332"/>
                    </a:lnTo>
                    <a:lnTo>
                      <a:pt x="1433083" y="1636272"/>
                    </a:lnTo>
                    <a:lnTo>
                      <a:pt x="1433387" y="1634454"/>
                    </a:lnTo>
                    <a:lnTo>
                      <a:pt x="1433993" y="1633393"/>
                    </a:lnTo>
                    <a:lnTo>
                      <a:pt x="1435053" y="1633090"/>
                    </a:lnTo>
                    <a:lnTo>
                      <a:pt x="1435508" y="1632484"/>
                    </a:lnTo>
                    <a:lnTo>
                      <a:pt x="1435508" y="1631575"/>
                    </a:lnTo>
                    <a:lnTo>
                      <a:pt x="1435811" y="1629150"/>
                    </a:lnTo>
                    <a:lnTo>
                      <a:pt x="1435962" y="1627938"/>
                    </a:lnTo>
                    <a:lnTo>
                      <a:pt x="1436871" y="1626272"/>
                    </a:lnTo>
                    <a:lnTo>
                      <a:pt x="1438084" y="1625817"/>
                    </a:lnTo>
                    <a:lnTo>
                      <a:pt x="1439750" y="1625968"/>
                    </a:lnTo>
                    <a:lnTo>
                      <a:pt x="1440963" y="1626878"/>
                    </a:lnTo>
                    <a:lnTo>
                      <a:pt x="1441569" y="1628393"/>
                    </a:lnTo>
                    <a:lnTo>
                      <a:pt x="1441720" y="1629756"/>
                    </a:lnTo>
                    <a:lnTo>
                      <a:pt x="1441417" y="1630817"/>
                    </a:lnTo>
                    <a:lnTo>
                      <a:pt x="1439750" y="1632635"/>
                    </a:lnTo>
                    <a:lnTo>
                      <a:pt x="1435053" y="1637181"/>
                    </a:lnTo>
                    <a:lnTo>
                      <a:pt x="1434599" y="1638393"/>
                    </a:lnTo>
                    <a:lnTo>
                      <a:pt x="1435053" y="1638999"/>
                    </a:lnTo>
                    <a:lnTo>
                      <a:pt x="1435356" y="1639908"/>
                    </a:lnTo>
                    <a:lnTo>
                      <a:pt x="1435962" y="1640060"/>
                    </a:lnTo>
                    <a:lnTo>
                      <a:pt x="1437023" y="1639302"/>
                    </a:lnTo>
                    <a:lnTo>
                      <a:pt x="1437478" y="1638545"/>
                    </a:lnTo>
                    <a:lnTo>
                      <a:pt x="1437326" y="1637939"/>
                    </a:lnTo>
                    <a:lnTo>
                      <a:pt x="1437629" y="1637029"/>
                    </a:lnTo>
                    <a:lnTo>
                      <a:pt x="1438538" y="1635969"/>
                    </a:lnTo>
                    <a:lnTo>
                      <a:pt x="1439296" y="1635666"/>
                    </a:lnTo>
                    <a:lnTo>
                      <a:pt x="1439750" y="1636120"/>
                    </a:lnTo>
                    <a:lnTo>
                      <a:pt x="1440660" y="1635969"/>
                    </a:lnTo>
                    <a:lnTo>
                      <a:pt x="1441872" y="1635211"/>
                    </a:lnTo>
                    <a:lnTo>
                      <a:pt x="1443993" y="1634757"/>
                    </a:lnTo>
                    <a:lnTo>
                      <a:pt x="1444448" y="1634757"/>
                    </a:lnTo>
                    <a:lnTo>
                      <a:pt x="1447023" y="1631726"/>
                    </a:lnTo>
                    <a:lnTo>
                      <a:pt x="1447781" y="1629908"/>
                    </a:lnTo>
                    <a:lnTo>
                      <a:pt x="1447781" y="1628393"/>
                    </a:lnTo>
                    <a:lnTo>
                      <a:pt x="1446720" y="1626878"/>
                    </a:lnTo>
                    <a:lnTo>
                      <a:pt x="1444599" y="1625211"/>
                    </a:lnTo>
                    <a:lnTo>
                      <a:pt x="1443993" y="1623393"/>
                    </a:lnTo>
                    <a:lnTo>
                      <a:pt x="1443993" y="1622484"/>
                    </a:lnTo>
                    <a:lnTo>
                      <a:pt x="1443538" y="1621423"/>
                    </a:lnTo>
                    <a:lnTo>
                      <a:pt x="1443993" y="1620968"/>
                    </a:lnTo>
                    <a:lnTo>
                      <a:pt x="1445357" y="1621271"/>
                    </a:lnTo>
                    <a:lnTo>
                      <a:pt x="1446417" y="1621120"/>
                    </a:lnTo>
                    <a:lnTo>
                      <a:pt x="1447326" y="1620514"/>
                    </a:lnTo>
                    <a:lnTo>
                      <a:pt x="1448993" y="1620362"/>
                    </a:lnTo>
                    <a:lnTo>
                      <a:pt x="1450357" y="1620514"/>
                    </a:lnTo>
                    <a:lnTo>
                      <a:pt x="1451872" y="1621877"/>
                    </a:lnTo>
                    <a:lnTo>
                      <a:pt x="1457478" y="1623241"/>
                    </a:lnTo>
                    <a:lnTo>
                      <a:pt x="1459600" y="1623999"/>
                    </a:lnTo>
                    <a:lnTo>
                      <a:pt x="1462175" y="1624756"/>
                    </a:lnTo>
                    <a:lnTo>
                      <a:pt x="1462782" y="1625059"/>
                    </a:lnTo>
                    <a:lnTo>
                      <a:pt x="1463236" y="1625817"/>
                    </a:lnTo>
                    <a:lnTo>
                      <a:pt x="1464145" y="1626120"/>
                    </a:lnTo>
                    <a:lnTo>
                      <a:pt x="1465661" y="1625968"/>
                    </a:lnTo>
                    <a:lnTo>
                      <a:pt x="1467176" y="1626272"/>
                    </a:lnTo>
                    <a:lnTo>
                      <a:pt x="1469751" y="1627484"/>
                    </a:lnTo>
                    <a:lnTo>
                      <a:pt x="1472176" y="1628241"/>
                    </a:lnTo>
                    <a:lnTo>
                      <a:pt x="1475964" y="1628090"/>
                    </a:lnTo>
                    <a:lnTo>
                      <a:pt x="1478085" y="1627787"/>
                    </a:lnTo>
                    <a:lnTo>
                      <a:pt x="1481419" y="1628393"/>
                    </a:lnTo>
                    <a:lnTo>
                      <a:pt x="1483237" y="1628393"/>
                    </a:lnTo>
                    <a:lnTo>
                      <a:pt x="1485055" y="1627332"/>
                    </a:lnTo>
                    <a:lnTo>
                      <a:pt x="1486722" y="1627029"/>
                    </a:lnTo>
                    <a:lnTo>
                      <a:pt x="1488086" y="1627484"/>
                    </a:lnTo>
                    <a:lnTo>
                      <a:pt x="1488692" y="1628090"/>
                    </a:lnTo>
                    <a:lnTo>
                      <a:pt x="1489752" y="1628999"/>
                    </a:lnTo>
                    <a:lnTo>
                      <a:pt x="1493086" y="1628544"/>
                    </a:lnTo>
                    <a:lnTo>
                      <a:pt x="1493843" y="1628847"/>
                    </a:lnTo>
                    <a:lnTo>
                      <a:pt x="1494904" y="1629756"/>
                    </a:lnTo>
                    <a:lnTo>
                      <a:pt x="1495055" y="1630363"/>
                    </a:lnTo>
                    <a:lnTo>
                      <a:pt x="1495510" y="1631272"/>
                    </a:lnTo>
                    <a:lnTo>
                      <a:pt x="1496722" y="1633090"/>
                    </a:lnTo>
                    <a:lnTo>
                      <a:pt x="1497025" y="1633696"/>
                    </a:lnTo>
                    <a:lnTo>
                      <a:pt x="1497934" y="1634454"/>
                    </a:lnTo>
                    <a:lnTo>
                      <a:pt x="1498692" y="1636120"/>
                    </a:lnTo>
                    <a:lnTo>
                      <a:pt x="1499298" y="1638848"/>
                    </a:lnTo>
                    <a:lnTo>
                      <a:pt x="1499904" y="1640514"/>
                    </a:lnTo>
                    <a:lnTo>
                      <a:pt x="1500510" y="1641120"/>
                    </a:lnTo>
                    <a:lnTo>
                      <a:pt x="1500813" y="1641878"/>
                    </a:lnTo>
                    <a:lnTo>
                      <a:pt x="1501419" y="1644757"/>
                    </a:lnTo>
                    <a:lnTo>
                      <a:pt x="1502935" y="1648090"/>
                    </a:lnTo>
                    <a:lnTo>
                      <a:pt x="1505207" y="1651272"/>
                    </a:lnTo>
                    <a:lnTo>
                      <a:pt x="1508238" y="1654454"/>
                    </a:lnTo>
                    <a:lnTo>
                      <a:pt x="1512026" y="1656576"/>
                    </a:lnTo>
                    <a:lnTo>
                      <a:pt x="1516420" y="1657636"/>
                    </a:lnTo>
                    <a:lnTo>
                      <a:pt x="1520359" y="1657939"/>
                    </a:lnTo>
                    <a:lnTo>
                      <a:pt x="1523844" y="1657333"/>
                    </a:lnTo>
                    <a:lnTo>
                      <a:pt x="1528390" y="1657030"/>
                    </a:lnTo>
                    <a:lnTo>
                      <a:pt x="1534148" y="1657030"/>
                    </a:lnTo>
                    <a:lnTo>
                      <a:pt x="1537178" y="1657333"/>
                    </a:lnTo>
                    <a:lnTo>
                      <a:pt x="1537330" y="1658091"/>
                    </a:lnTo>
                    <a:lnTo>
                      <a:pt x="1536724" y="1659151"/>
                    </a:lnTo>
                    <a:lnTo>
                      <a:pt x="1535360" y="1660515"/>
                    </a:lnTo>
                    <a:lnTo>
                      <a:pt x="1535209" y="1661424"/>
                    </a:lnTo>
                    <a:lnTo>
                      <a:pt x="1535209" y="1662636"/>
                    </a:lnTo>
                    <a:lnTo>
                      <a:pt x="1534148" y="1664303"/>
                    </a:lnTo>
                    <a:lnTo>
                      <a:pt x="1533542" y="1665212"/>
                    </a:lnTo>
                    <a:lnTo>
                      <a:pt x="1533693" y="1665818"/>
                    </a:lnTo>
                    <a:lnTo>
                      <a:pt x="1533390" y="1666728"/>
                    </a:lnTo>
                    <a:lnTo>
                      <a:pt x="1532633" y="1667940"/>
                    </a:lnTo>
                    <a:lnTo>
                      <a:pt x="1533087" y="1669455"/>
                    </a:lnTo>
                    <a:lnTo>
                      <a:pt x="1534754" y="1671425"/>
                    </a:lnTo>
                    <a:lnTo>
                      <a:pt x="1536875" y="1672940"/>
                    </a:lnTo>
                    <a:lnTo>
                      <a:pt x="1539299" y="1674152"/>
                    </a:lnTo>
                    <a:lnTo>
                      <a:pt x="1540815" y="1675364"/>
                    </a:lnTo>
                    <a:lnTo>
                      <a:pt x="1541421" y="1676576"/>
                    </a:lnTo>
                    <a:lnTo>
                      <a:pt x="1542027" y="1677334"/>
                    </a:lnTo>
                    <a:lnTo>
                      <a:pt x="1542785" y="1677485"/>
                    </a:lnTo>
                    <a:lnTo>
                      <a:pt x="1543391" y="1678092"/>
                    </a:lnTo>
                    <a:lnTo>
                      <a:pt x="1543997" y="1679152"/>
                    </a:lnTo>
                    <a:lnTo>
                      <a:pt x="1543391" y="1680971"/>
                    </a:lnTo>
                    <a:lnTo>
                      <a:pt x="1541421" y="1683546"/>
                    </a:lnTo>
                    <a:lnTo>
                      <a:pt x="1540512" y="1685213"/>
                    </a:lnTo>
                    <a:lnTo>
                      <a:pt x="1540663" y="1685971"/>
                    </a:lnTo>
                    <a:lnTo>
                      <a:pt x="1538997" y="1688850"/>
                    </a:lnTo>
                    <a:lnTo>
                      <a:pt x="1538845" y="1689910"/>
                    </a:lnTo>
                    <a:lnTo>
                      <a:pt x="1539451" y="1690668"/>
                    </a:lnTo>
                    <a:lnTo>
                      <a:pt x="1542027" y="1691728"/>
                    </a:lnTo>
                    <a:lnTo>
                      <a:pt x="1542936" y="1692638"/>
                    </a:lnTo>
                    <a:lnTo>
                      <a:pt x="1543542" y="1692789"/>
                    </a:lnTo>
                    <a:lnTo>
                      <a:pt x="1543997" y="1692183"/>
                    </a:lnTo>
                    <a:lnTo>
                      <a:pt x="1545057" y="1691880"/>
                    </a:lnTo>
                    <a:lnTo>
                      <a:pt x="1546573" y="1691880"/>
                    </a:lnTo>
                    <a:lnTo>
                      <a:pt x="1548088" y="1692335"/>
                    </a:lnTo>
                    <a:lnTo>
                      <a:pt x="1549452" y="1693244"/>
                    </a:lnTo>
                    <a:lnTo>
                      <a:pt x="1549906" y="1694153"/>
                    </a:lnTo>
                    <a:lnTo>
                      <a:pt x="1549452" y="1695062"/>
                    </a:lnTo>
                    <a:lnTo>
                      <a:pt x="1548694" y="1695365"/>
                    </a:lnTo>
                    <a:lnTo>
                      <a:pt x="1546573" y="1695213"/>
                    </a:lnTo>
                    <a:lnTo>
                      <a:pt x="1545360" y="1695668"/>
                    </a:lnTo>
                    <a:lnTo>
                      <a:pt x="1544603" y="1696577"/>
                    </a:lnTo>
                    <a:lnTo>
                      <a:pt x="1544451" y="1699153"/>
                    </a:lnTo>
                    <a:lnTo>
                      <a:pt x="1545057" y="1700214"/>
                    </a:lnTo>
                    <a:lnTo>
                      <a:pt x="1545360" y="1700214"/>
                    </a:lnTo>
                    <a:lnTo>
                      <a:pt x="1545815" y="1699759"/>
                    </a:lnTo>
                    <a:lnTo>
                      <a:pt x="1546421" y="1698698"/>
                    </a:lnTo>
                    <a:lnTo>
                      <a:pt x="1547027" y="1698547"/>
                    </a:lnTo>
                    <a:lnTo>
                      <a:pt x="1547785" y="1699304"/>
                    </a:lnTo>
                    <a:lnTo>
                      <a:pt x="1547027" y="1700971"/>
                    </a:lnTo>
                    <a:lnTo>
                      <a:pt x="1544754" y="1703547"/>
                    </a:lnTo>
                    <a:lnTo>
                      <a:pt x="1544148" y="1704305"/>
                    </a:lnTo>
                    <a:lnTo>
                      <a:pt x="1544148" y="1705517"/>
                    </a:lnTo>
                    <a:lnTo>
                      <a:pt x="1545966" y="1707638"/>
                    </a:lnTo>
                    <a:lnTo>
                      <a:pt x="1546724" y="1707487"/>
                    </a:lnTo>
                    <a:lnTo>
                      <a:pt x="1547179" y="1707032"/>
                    </a:lnTo>
                    <a:lnTo>
                      <a:pt x="1547936" y="1706426"/>
                    </a:lnTo>
                    <a:lnTo>
                      <a:pt x="1550361" y="1706123"/>
                    </a:lnTo>
                    <a:lnTo>
                      <a:pt x="1553391" y="1705214"/>
                    </a:lnTo>
                    <a:lnTo>
                      <a:pt x="1555361" y="1705062"/>
                    </a:lnTo>
                    <a:lnTo>
                      <a:pt x="1556724" y="1705820"/>
                    </a:lnTo>
                    <a:lnTo>
                      <a:pt x="1557634" y="1706881"/>
                    </a:lnTo>
                    <a:lnTo>
                      <a:pt x="1557785" y="1708093"/>
                    </a:lnTo>
                    <a:lnTo>
                      <a:pt x="1557179" y="1709608"/>
                    </a:lnTo>
                    <a:lnTo>
                      <a:pt x="1557179" y="1710820"/>
                    </a:lnTo>
                    <a:lnTo>
                      <a:pt x="1557634" y="1711881"/>
                    </a:lnTo>
                    <a:lnTo>
                      <a:pt x="1559300" y="1712487"/>
                    </a:lnTo>
                    <a:lnTo>
                      <a:pt x="1562028" y="1712487"/>
                    </a:lnTo>
                    <a:lnTo>
                      <a:pt x="1563391" y="1712790"/>
                    </a:lnTo>
                    <a:lnTo>
                      <a:pt x="1563846" y="1713699"/>
                    </a:lnTo>
                    <a:lnTo>
                      <a:pt x="1564452" y="1713850"/>
                    </a:lnTo>
                    <a:lnTo>
                      <a:pt x="1569452" y="1714305"/>
                    </a:lnTo>
                    <a:lnTo>
                      <a:pt x="1571270" y="1714760"/>
                    </a:lnTo>
                    <a:lnTo>
                      <a:pt x="1571877" y="1715366"/>
                    </a:lnTo>
                    <a:lnTo>
                      <a:pt x="1574907" y="1716123"/>
                    </a:lnTo>
                    <a:lnTo>
                      <a:pt x="1586726" y="1718093"/>
                    </a:lnTo>
                    <a:lnTo>
                      <a:pt x="1590362" y="1717790"/>
                    </a:lnTo>
                    <a:lnTo>
                      <a:pt x="1595211" y="1717184"/>
                    </a:lnTo>
                    <a:lnTo>
                      <a:pt x="1596726" y="1718245"/>
                    </a:lnTo>
                    <a:lnTo>
                      <a:pt x="1597484" y="1718396"/>
                    </a:lnTo>
                    <a:lnTo>
                      <a:pt x="1598544" y="1718245"/>
                    </a:lnTo>
                    <a:lnTo>
                      <a:pt x="1605363" y="1717638"/>
                    </a:lnTo>
                    <a:lnTo>
                      <a:pt x="1606272" y="1718699"/>
                    </a:lnTo>
                    <a:lnTo>
                      <a:pt x="1609605" y="1719760"/>
                    </a:lnTo>
                    <a:lnTo>
                      <a:pt x="1611727" y="1719911"/>
                    </a:lnTo>
                    <a:lnTo>
                      <a:pt x="1614605" y="1720063"/>
                    </a:lnTo>
                    <a:lnTo>
                      <a:pt x="1619909" y="1720517"/>
                    </a:lnTo>
                    <a:lnTo>
                      <a:pt x="1621272" y="1720820"/>
                    </a:lnTo>
                    <a:lnTo>
                      <a:pt x="1621424" y="1721881"/>
                    </a:lnTo>
                    <a:lnTo>
                      <a:pt x="1621424" y="1722336"/>
                    </a:lnTo>
                    <a:lnTo>
                      <a:pt x="1621878" y="1722336"/>
                    </a:lnTo>
                    <a:lnTo>
                      <a:pt x="1622484" y="1721729"/>
                    </a:lnTo>
                    <a:lnTo>
                      <a:pt x="1623545" y="1721578"/>
                    </a:lnTo>
                    <a:lnTo>
                      <a:pt x="1624303" y="1721123"/>
                    </a:lnTo>
                    <a:lnTo>
                      <a:pt x="1624757" y="1720366"/>
                    </a:lnTo>
                    <a:lnTo>
                      <a:pt x="1625666" y="1720214"/>
                    </a:lnTo>
                    <a:lnTo>
                      <a:pt x="1627636" y="1721275"/>
                    </a:lnTo>
                    <a:lnTo>
                      <a:pt x="1627788" y="1721881"/>
                    </a:lnTo>
                    <a:lnTo>
                      <a:pt x="1625060" y="1723093"/>
                    </a:lnTo>
                    <a:lnTo>
                      <a:pt x="1625363" y="1723548"/>
                    </a:lnTo>
                    <a:lnTo>
                      <a:pt x="1625515" y="1723851"/>
                    </a:lnTo>
                    <a:lnTo>
                      <a:pt x="1626272" y="1724002"/>
                    </a:lnTo>
                    <a:lnTo>
                      <a:pt x="1626272" y="1724457"/>
                    </a:lnTo>
                    <a:lnTo>
                      <a:pt x="1625363" y="1725063"/>
                    </a:lnTo>
                    <a:lnTo>
                      <a:pt x="1626121" y="1725518"/>
                    </a:lnTo>
                    <a:lnTo>
                      <a:pt x="1628697" y="1724608"/>
                    </a:lnTo>
                    <a:lnTo>
                      <a:pt x="1630212" y="1724608"/>
                    </a:lnTo>
                    <a:lnTo>
                      <a:pt x="1634152" y="1725366"/>
                    </a:lnTo>
                    <a:lnTo>
                      <a:pt x="1635970" y="1725366"/>
                    </a:lnTo>
                    <a:lnTo>
                      <a:pt x="1637031" y="1724760"/>
                    </a:lnTo>
                    <a:lnTo>
                      <a:pt x="1637182" y="1724305"/>
                    </a:lnTo>
                    <a:lnTo>
                      <a:pt x="1637637" y="1724002"/>
                    </a:lnTo>
                    <a:lnTo>
                      <a:pt x="1637940" y="1724154"/>
                    </a:lnTo>
                    <a:lnTo>
                      <a:pt x="1638091" y="1724911"/>
                    </a:lnTo>
                    <a:lnTo>
                      <a:pt x="1638091" y="1726124"/>
                    </a:lnTo>
                    <a:lnTo>
                      <a:pt x="1639758" y="1726578"/>
                    </a:lnTo>
                    <a:lnTo>
                      <a:pt x="1643243" y="1726275"/>
                    </a:lnTo>
                    <a:lnTo>
                      <a:pt x="1645364" y="1726275"/>
                    </a:lnTo>
                    <a:lnTo>
                      <a:pt x="1647334" y="1726275"/>
                    </a:lnTo>
                    <a:lnTo>
                      <a:pt x="1647637" y="1726578"/>
                    </a:lnTo>
                    <a:lnTo>
                      <a:pt x="1648091" y="1727336"/>
                    </a:lnTo>
                    <a:lnTo>
                      <a:pt x="1649607" y="1728699"/>
                    </a:lnTo>
                    <a:lnTo>
                      <a:pt x="1650061" y="1729306"/>
                    </a:lnTo>
                    <a:lnTo>
                      <a:pt x="1650516" y="1730821"/>
                    </a:lnTo>
                    <a:lnTo>
                      <a:pt x="1651576" y="1731730"/>
                    </a:lnTo>
                    <a:lnTo>
                      <a:pt x="1651879" y="1732487"/>
                    </a:lnTo>
                    <a:lnTo>
                      <a:pt x="1651879" y="1733094"/>
                    </a:lnTo>
                    <a:lnTo>
                      <a:pt x="1652183" y="1733851"/>
                    </a:lnTo>
                    <a:lnTo>
                      <a:pt x="1653243" y="1735366"/>
                    </a:lnTo>
                    <a:lnTo>
                      <a:pt x="1654607" y="1736427"/>
                    </a:lnTo>
                    <a:lnTo>
                      <a:pt x="1655364" y="1737336"/>
                    </a:lnTo>
                    <a:lnTo>
                      <a:pt x="1655668" y="1738397"/>
                    </a:lnTo>
                    <a:lnTo>
                      <a:pt x="1656425" y="1738851"/>
                    </a:lnTo>
                    <a:lnTo>
                      <a:pt x="1657486" y="1738548"/>
                    </a:lnTo>
                    <a:lnTo>
                      <a:pt x="1657940" y="1738094"/>
                    </a:lnTo>
                    <a:lnTo>
                      <a:pt x="1657940" y="1737185"/>
                    </a:lnTo>
                    <a:lnTo>
                      <a:pt x="1658395" y="1737336"/>
                    </a:lnTo>
                    <a:lnTo>
                      <a:pt x="1659152" y="1738851"/>
                    </a:lnTo>
                    <a:lnTo>
                      <a:pt x="1659001" y="1741276"/>
                    </a:lnTo>
                    <a:lnTo>
                      <a:pt x="1659152" y="1742639"/>
                    </a:lnTo>
                    <a:lnTo>
                      <a:pt x="1660062" y="1744609"/>
                    </a:lnTo>
                    <a:lnTo>
                      <a:pt x="1661425" y="1745215"/>
                    </a:lnTo>
                    <a:lnTo>
                      <a:pt x="1662334" y="1745973"/>
                    </a:lnTo>
                    <a:lnTo>
                      <a:pt x="1664910" y="1746579"/>
                    </a:lnTo>
                    <a:lnTo>
                      <a:pt x="1665213" y="1746427"/>
                    </a:lnTo>
                    <a:lnTo>
                      <a:pt x="1664759" y="1745064"/>
                    </a:lnTo>
                    <a:lnTo>
                      <a:pt x="1665062" y="1744761"/>
                    </a:lnTo>
                    <a:lnTo>
                      <a:pt x="1665971" y="1744609"/>
                    </a:lnTo>
                    <a:lnTo>
                      <a:pt x="1667486" y="1744761"/>
                    </a:lnTo>
                    <a:lnTo>
                      <a:pt x="1668395" y="1745367"/>
                    </a:lnTo>
                    <a:lnTo>
                      <a:pt x="1668850" y="1746427"/>
                    </a:lnTo>
                    <a:lnTo>
                      <a:pt x="1668547" y="1747791"/>
                    </a:lnTo>
                    <a:lnTo>
                      <a:pt x="1666880" y="1749155"/>
                    </a:lnTo>
                    <a:lnTo>
                      <a:pt x="1666577" y="1750367"/>
                    </a:lnTo>
                    <a:lnTo>
                      <a:pt x="1666880" y="1751125"/>
                    </a:lnTo>
                    <a:lnTo>
                      <a:pt x="1667335" y="1751276"/>
                    </a:lnTo>
                    <a:lnTo>
                      <a:pt x="1667789" y="1750821"/>
                    </a:lnTo>
                    <a:lnTo>
                      <a:pt x="1668547" y="1751125"/>
                    </a:lnTo>
                    <a:lnTo>
                      <a:pt x="1669456" y="1752034"/>
                    </a:lnTo>
                    <a:lnTo>
                      <a:pt x="1669759" y="1752791"/>
                    </a:lnTo>
                    <a:lnTo>
                      <a:pt x="1669304" y="1753397"/>
                    </a:lnTo>
                    <a:lnTo>
                      <a:pt x="1667638" y="1753700"/>
                    </a:lnTo>
                    <a:lnTo>
                      <a:pt x="1667638" y="1754306"/>
                    </a:lnTo>
                    <a:lnTo>
                      <a:pt x="1669456" y="1755519"/>
                    </a:lnTo>
                    <a:lnTo>
                      <a:pt x="1670820" y="1757185"/>
                    </a:lnTo>
                    <a:lnTo>
                      <a:pt x="1671577" y="1757337"/>
                    </a:lnTo>
                    <a:lnTo>
                      <a:pt x="1672032" y="1757943"/>
                    </a:lnTo>
                    <a:lnTo>
                      <a:pt x="1672183" y="1758852"/>
                    </a:lnTo>
                    <a:lnTo>
                      <a:pt x="1672941" y="1759458"/>
                    </a:lnTo>
                    <a:lnTo>
                      <a:pt x="1674911" y="1760064"/>
                    </a:lnTo>
                    <a:lnTo>
                      <a:pt x="1675668" y="1761731"/>
                    </a:lnTo>
                    <a:lnTo>
                      <a:pt x="1676123" y="1762792"/>
                    </a:lnTo>
                    <a:lnTo>
                      <a:pt x="1676426" y="1764004"/>
                    </a:lnTo>
                    <a:lnTo>
                      <a:pt x="1677032" y="1764155"/>
                    </a:lnTo>
                    <a:lnTo>
                      <a:pt x="1677487" y="1763549"/>
                    </a:lnTo>
                    <a:lnTo>
                      <a:pt x="1677487" y="1762489"/>
                    </a:lnTo>
                    <a:lnTo>
                      <a:pt x="1678547" y="1762034"/>
                    </a:lnTo>
                    <a:lnTo>
                      <a:pt x="1678699" y="1762640"/>
                    </a:lnTo>
                    <a:lnTo>
                      <a:pt x="1678093" y="1763852"/>
                    </a:lnTo>
                    <a:lnTo>
                      <a:pt x="1678244" y="1764913"/>
                    </a:lnTo>
                    <a:lnTo>
                      <a:pt x="1679153" y="1765671"/>
                    </a:lnTo>
                    <a:lnTo>
                      <a:pt x="1678093" y="1765973"/>
                    </a:lnTo>
                    <a:lnTo>
                      <a:pt x="1675062" y="1765671"/>
                    </a:lnTo>
                    <a:lnTo>
                      <a:pt x="1673699" y="1764610"/>
                    </a:lnTo>
                    <a:lnTo>
                      <a:pt x="1673244" y="1764307"/>
                    </a:lnTo>
                    <a:lnTo>
                      <a:pt x="1672335" y="1764155"/>
                    </a:lnTo>
                    <a:lnTo>
                      <a:pt x="1672032" y="1763852"/>
                    </a:lnTo>
                    <a:lnTo>
                      <a:pt x="1672486" y="1762792"/>
                    </a:lnTo>
                    <a:lnTo>
                      <a:pt x="1672183" y="1762489"/>
                    </a:lnTo>
                    <a:lnTo>
                      <a:pt x="1670365" y="1762792"/>
                    </a:lnTo>
                    <a:lnTo>
                      <a:pt x="1668547" y="1763549"/>
                    </a:lnTo>
                    <a:lnTo>
                      <a:pt x="1667335" y="1764458"/>
                    </a:lnTo>
                    <a:lnTo>
                      <a:pt x="1667335" y="1765519"/>
                    </a:lnTo>
                    <a:lnTo>
                      <a:pt x="1668092" y="1766580"/>
                    </a:lnTo>
                    <a:lnTo>
                      <a:pt x="1669607" y="1767640"/>
                    </a:lnTo>
                    <a:lnTo>
                      <a:pt x="1670214" y="1769610"/>
                    </a:lnTo>
                    <a:lnTo>
                      <a:pt x="1669911" y="1772337"/>
                    </a:lnTo>
                    <a:lnTo>
                      <a:pt x="1669153" y="1774156"/>
                    </a:lnTo>
                    <a:lnTo>
                      <a:pt x="1667789" y="1775065"/>
                    </a:lnTo>
                    <a:lnTo>
                      <a:pt x="1664001" y="1774459"/>
                    </a:lnTo>
                    <a:lnTo>
                      <a:pt x="1657637" y="1772186"/>
                    </a:lnTo>
                    <a:lnTo>
                      <a:pt x="1654001" y="1770216"/>
                    </a:lnTo>
                    <a:lnTo>
                      <a:pt x="1652485" y="1767489"/>
                    </a:lnTo>
                    <a:lnTo>
                      <a:pt x="1651879" y="1767337"/>
                    </a:lnTo>
                    <a:lnTo>
                      <a:pt x="1648546" y="1768246"/>
                    </a:lnTo>
                    <a:lnTo>
                      <a:pt x="1646728" y="1769459"/>
                    </a:lnTo>
                    <a:lnTo>
                      <a:pt x="1645213" y="1771125"/>
                    </a:lnTo>
                    <a:lnTo>
                      <a:pt x="1644758" y="1770671"/>
                    </a:lnTo>
                    <a:lnTo>
                      <a:pt x="1645364" y="1767943"/>
                    </a:lnTo>
                    <a:lnTo>
                      <a:pt x="1645667" y="1766277"/>
                    </a:lnTo>
                    <a:lnTo>
                      <a:pt x="1645516" y="1765671"/>
                    </a:lnTo>
                    <a:lnTo>
                      <a:pt x="1644909" y="1765064"/>
                    </a:lnTo>
                    <a:lnTo>
                      <a:pt x="1643697" y="1764610"/>
                    </a:lnTo>
                    <a:lnTo>
                      <a:pt x="1642031" y="1764913"/>
                    </a:lnTo>
                    <a:lnTo>
                      <a:pt x="1639606" y="1766125"/>
                    </a:lnTo>
                    <a:lnTo>
                      <a:pt x="1639000" y="1765973"/>
                    </a:lnTo>
                    <a:lnTo>
                      <a:pt x="1639000" y="1765519"/>
                    </a:lnTo>
                    <a:lnTo>
                      <a:pt x="1641425" y="1763549"/>
                    </a:lnTo>
                    <a:lnTo>
                      <a:pt x="1642182" y="1762489"/>
                    </a:lnTo>
                    <a:lnTo>
                      <a:pt x="1642182" y="1761428"/>
                    </a:lnTo>
                    <a:lnTo>
                      <a:pt x="1642485" y="1760519"/>
                    </a:lnTo>
                    <a:lnTo>
                      <a:pt x="1643243" y="1759761"/>
                    </a:lnTo>
                    <a:lnTo>
                      <a:pt x="1643091" y="1759458"/>
                    </a:lnTo>
                    <a:lnTo>
                      <a:pt x="1642031" y="1759610"/>
                    </a:lnTo>
                    <a:lnTo>
                      <a:pt x="1641425" y="1759913"/>
                    </a:lnTo>
                    <a:lnTo>
                      <a:pt x="1640212" y="1761428"/>
                    </a:lnTo>
                    <a:lnTo>
                      <a:pt x="1638546" y="1761276"/>
                    </a:lnTo>
                    <a:lnTo>
                      <a:pt x="1638394" y="1760973"/>
                    </a:lnTo>
                    <a:lnTo>
                      <a:pt x="1638849" y="1760064"/>
                    </a:lnTo>
                    <a:lnTo>
                      <a:pt x="1638546" y="1759610"/>
                    </a:lnTo>
                    <a:lnTo>
                      <a:pt x="1637333" y="1759458"/>
                    </a:lnTo>
                    <a:lnTo>
                      <a:pt x="1637031" y="1758549"/>
                    </a:lnTo>
                    <a:lnTo>
                      <a:pt x="1636576" y="1758397"/>
                    </a:lnTo>
                    <a:lnTo>
                      <a:pt x="1635212" y="1757791"/>
                    </a:lnTo>
                    <a:lnTo>
                      <a:pt x="1635061" y="1755973"/>
                    </a:lnTo>
                    <a:lnTo>
                      <a:pt x="1634606" y="1754458"/>
                    </a:lnTo>
                    <a:lnTo>
                      <a:pt x="1633697" y="1753397"/>
                    </a:lnTo>
                    <a:lnTo>
                      <a:pt x="1633545" y="1752337"/>
                    </a:lnTo>
                    <a:lnTo>
                      <a:pt x="1634455" y="1750518"/>
                    </a:lnTo>
                    <a:lnTo>
                      <a:pt x="1634152" y="1750215"/>
                    </a:lnTo>
                    <a:lnTo>
                      <a:pt x="1631273" y="1749912"/>
                    </a:lnTo>
                    <a:lnTo>
                      <a:pt x="1625969" y="1749761"/>
                    </a:lnTo>
                    <a:lnTo>
                      <a:pt x="1623242" y="1750064"/>
                    </a:lnTo>
                    <a:lnTo>
                      <a:pt x="1622939" y="1750973"/>
                    </a:lnTo>
                    <a:lnTo>
                      <a:pt x="1623545" y="1751731"/>
                    </a:lnTo>
                    <a:lnTo>
                      <a:pt x="1625060" y="1752185"/>
                    </a:lnTo>
                    <a:lnTo>
                      <a:pt x="1626121" y="1752943"/>
                    </a:lnTo>
                    <a:lnTo>
                      <a:pt x="1626424" y="1753700"/>
                    </a:lnTo>
                    <a:lnTo>
                      <a:pt x="1627333" y="1754458"/>
                    </a:lnTo>
                    <a:lnTo>
                      <a:pt x="1628545" y="1755973"/>
                    </a:lnTo>
                    <a:lnTo>
                      <a:pt x="1629909" y="1758246"/>
                    </a:lnTo>
                    <a:lnTo>
                      <a:pt x="1630818" y="1759155"/>
                    </a:lnTo>
                    <a:lnTo>
                      <a:pt x="1631879" y="1759307"/>
                    </a:lnTo>
                    <a:lnTo>
                      <a:pt x="1632485" y="1759458"/>
                    </a:lnTo>
                    <a:lnTo>
                      <a:pt x="1632333" y="1761731"/>
                    </a:lnTo>
                    <a:lnTo>
                      <a:pt x="1632788" y="1763095"/>
                    </a:lnTo>
                    <a:lnTo>
                      <a:pt x="1633848" y="1764307"/>
                    </a:lnTo>
                    <a:lnTo>
                      <a:pt x="1634455" y="1765671"/>
                    </a:lnTo>
                    <a:lnTo>
                      <a:pt x="1634455" y="1768095"/>
                    </a:lnTo>
                    <a:lnTo>
                      <a:pt x="1634606" y="1770519"/>
                    </a:lnTo>
                    <a:lnTo>
                      <a:pt x="1634000" y="1772034"/>
                    </a:lnTo>
                    <a:lnTo>
                      <a:pt x="1632485" y="1773853"/>
                    </a:lnTo>
                    <a:lnTo>
                      <a:pt x="1631576" y="1775368"/>
                    </a:lnTo>
                    <a:lnTo>
                      <a:pt x="1631121" y="1776580"/>
                    </a:lnTo>
                    <a:lnTo>
                      <a:pt x="1630364" y="1777338"/>
                    </a:lnTo>
                    <a:lnTo>
                      <a:pt x="1629151" y="1777792"/>
                    </a:lnTo>
                    <a:lnTo>
                      <a:pt x="1627939" y="1778701"/>
                    </a:lnTo>
                    <a:lnTo>
                      <a:pt x="1626727" y="1780065"/>
                    </a:lnTo>
                    <a:lnTo>
                      <a:pt x="1625969" y="1781732"/>
                    </a:lnTo>
                    <a:lnTo>
                      <a:pt x="1625515" y="1783702"/>
                    </a:lnTo>
                    <a:lnTo>
                      <a:pt x="1624454" y="1785671"/>
                    </a:lnTo>
                    <a:lnTo>
                      <a:pt x="1622788" y="1787793"/>
                    </a:lnTo>
                    <a:lnTo>
                      <a:pt x="1622181" y="1790217"/>
                    </a:lnTo>
                    <a:lnTo>
                      <a:pt x="1622484" y="1792793"/>
                    </a:lnTo>
                    <a:lnTo>
                      <a:pt x="1622484" y="1804157"/>
                    </a:lnTo>
                    <a:lnTo>
                      <a:pt x="1622788" y="1807036"/>
                    </a:lnTo>
                    <a:lnTo>
                      <a:pt x="1622636" y="1809763"/>
                    </a:lnTo>
                    <a:lnTo>
                      <a:pt x="1621878" y="1812490"/>
                    </a:lnTo>
                    <a:lnTo>
                      <a:pt x="1620666" y="1814612"/>
                    </a:lnTo>
                    <a:lnTo>
                      <a:pt x="1619000" y="1816127"/>
                    </a:lnTo>
                    <a:lnTo>
                      <a:pt x="1617333" y="1817339"/>
                    </a:lnTo>
                    <a:lnTo>
                      <a:pt x="1615666" y="1818097"/>
                    </a:lnTo>
                    <a:lnTo>
                      <a:pt x="1613999" y="1819309"/>
                    </a:lnTo>
                    <a:lnTo>
                      <a:pt x="1612484" y="1821127"/>
                    </a:lnTo>
                    <a:lnTo>
                      <a:pt x="1609908" y="1822642"/>
                    </a:lnTo>
                    <a:lnTo>
                      <a:pt x="1606272" y="1824006"/>
                    </a:lnTo>
                    <a:lnTo>
                      <a:pt x="1603393" y="1824915"/>
                    </a:lnTo>
                    <a:lnTo>
                      <a:pt x="1601423" y="1834158"/>
                    </a:lnTo>
                    <a:lnTo>
                      <a:pt x="1599908" y="1837946"/>
                    </a:lnTo>
                    <a:lnTo>
                      <a:pt x="1597180" y="1840067"/>
                    </a:lnTo>
                    <a:lnTo>
                      <a:pt x="1597484" y="1840522"/>
                    </a:lnTo>
                    <a:lnTo>
                      <a:pt x="1598090" y="1841128"/>
                    </a:lnTo>
                    <a:lnTo>
                      <a:pt x="1601726" y="1841885"/>
                    </a:lnTo>
                    <a:lnTo>
                      <a:pt x="1602484" y="1842037"/>
                    </a:lnTo>
                    <a:lnTo>
                      <a:pt x="1603090" y="1841885"/>
                    </a:lnTo>
                    <a:lnTo>
                      <a:pt x="1603393" y="1842795"/>
                    </a:lnTo>
                    <a:lnTo>
                      <a:pt x="1603544" y="1844764"/>
                    </a:lnTo>
                    <a:lnTo>
                      <a:pt x="1603090" y="1846280"/>
                    </a:lnTo>
                    <a:lnTo>
                      <a:pt x="1602181" y="1847189"/>
                    </a:lnTo>
                    <a:lnTo>
                      <a:pt x="1600665" y="1847795"/>
                    </a:lnTo>
                    <a:lnTo>
                      <a:pt x="1598696" y="1848098"/>
                    </a:lnTo>
                    <a:lnTo>
                      <a:pt x="1591120" y="1847492"/>
                    </a:lnTo>
                    <a:lnTo>
                      <a:pt x="1588241" y="1847795"/>
                    </a:lnTo>
                    <a:lnTo>
                      <a:pt x="1587029" y="1848249"/>
                    </a:lnTo>
                    <a:lnTo>
                      <a:pt x="1586120" y="1848704"/>
                    </a:lnTo>
                    <a:lnTo>
                      <a:pt x="1585362" y="1849461"/>
                    </a:lnTo>
                    <a:lnTo>
                      <a:pt x="1584604" y="1851431"/>
                    </a:lnTo>
                    <a:lnTo>
                      <a:pt x="1584301" y="1854613"/>
                    </a:lnTo>
                    <a:lnTo>
                      <a:pt x="1584604" y="1856280"/>
                    </a:lnTo>
                    <a:lnTo>
                      <a:pt x="1585816" y="1856886"/>
                    </a:lnTo>
                    <a:lnTo>
                      <a:pt x="1589301" y="1858250"/>
                    </a:lnTo>
                    <a:lnTo>
                      <a:pt x="1592180" y="1858553"/>
                    </a:lnTo>
                    <a:lnTo>
                      <a:pt x="1596120" y="1857341"/>
                    </a:lnTo>
                    <a:lnTo>
                      <a:pt x="1597332" y="1857341"/>
                    </a:lnTo>
                    <a:lnTo>
                      <a:pt x="1598393" y="1857795"/>
                    </a:lnTo>
                    <a:lnTo>
                      <a:pt x="1599453" y="1858553"/>
                    </a:lnTo>
                    <a:lnTo>
                      <a:pt x="1600969" y="1860825"/>
                    </a:lnTo>
                    <a:lnTo>
                      <a:pt x="1601423" y="1860371"/>
                    </a:lnTo>
                    <a:lnTo>
                      <a:pt x="1601574" y="1858401"/>
                    </a:lnTo>
                    <a:lnTo>
                      <a:pt x="1602332" y="1856734"/>
                    </a:lnTo>
                    <a:lnTo>
                      <a:pt x="1603696" y="1855219"/>
                    </a:lnTo>
                    <a:lnTo>
                      <a:pt x="1606423" y="1853401"/>
                    </a:lnTo>
                    <a:lnTo>
                      <a:pt x="1610514" y="1851280"/>
                    </a:lnTo>
                    <a:lnTo>
                      <a:pt x="1613696" y="1850219"/>
                    </a:lnTo>
                    <a:lnTo>
                      <a:pt x="1616575" y="1849765"/>
                    </a:lnTo>
                    <a:lnTo>
                      <a:pt x="1616878" y="1849461"/>
                    </a:lnTo>
                    <a:lnTo>
                      <a:pt x="1618393" y="1848249"/>
                    </a:lnTo>
                    <a:lnTo>
                      <a:pt x="1618696" y="1848552"/>
                    </a:lnTo>
                    <a:lnTo>
                      <a:pt x="1618090" y="1849613"/>
                    </a:lnTo>
                    <a:lnTo>
                      <a:pt x="1618090" y="1850219"/>
                    </a:lnTo>
                    <a:lnTo>
                      <a:pt x="1618696" y="1850219"/>
                    </a:lnTo>
                    <a:lnTo>
                      <a:pt x="1619454" y="1849007"/>
                    </a:lnTo>
                    <a:lnTo>
                      <a:pt x="1620363" y="1846583"/>
                    </a:lnTo>
                    <a:lnTo>
                      <a:pt x="1622484" y="1844007"/>
                    </a:lnTo>
                    <a:lnTo>
                      <a:pt x="1628848" y="1839310"/>
                    </a:lnTo>
                    <a:lnTo>
                      <a:pt x="1631273" y="1838097"/>
                    </a:lnTo>
                    <a:lnTo>
                      <a:pt x="1635364" y="1837340"/>
                    </a:lnTo>
                    <a:lnTo>
                      <a:pt x="1641273" y="1837037"/>
                    </a:lnTo>
                    <a:lnTo>
                      <a:pt x="1647031" y="1837643"/>
                    </a:lnTo>
                    <a:lnTo>
                      <a:pt x="1652789" y="1839158"/>
                    </a:lnTo>
                    <a:lnTo>
                      <a:pt x="1656728" y="1839916"/>
                    </a:lnTo>
                    <a:lnTo>
                      <a:pt x="1658850" y="1839764"/>
                    </a:lnTo>
                    <a:lnTo>
                      <a:pt x="1667183" y="1840825"/>
                    </a:lnTo>
                    <a:lnTo>
                      <a:pt x="1668092" y="1840522"/>
                    </a:lnTo>
                    <a:lnTo>
                      <a:pt x="1666880" y="1839916"/>
                    </a:lnTo>
                    <a:lnTo>
                      <a:pt x="1661425" y="1839310"/>
                    </a:lnTo>
                    <a:lnTo>
                      <a:pt x="1659759" y="1838703"/>
                    </a:lnTo>
                    <a:lnTo>
                      <a:pt x="1657637" y="1838855"/>
                    </a:lnTo>
                    <a:lnTo>
                      <a:pt x="1657486" y="1838552"/>
                    </a:lnTo>
                    <a:lnTo>
                      <a:pt x="1659001" y="1836431"/>
                    </a:lnTo>
                    <a:lnTo>
                      <a:pt x="1659910" y="1836128"/>
                    </a:lnTo>
                    <a:lnTo>
                      <a:pt x="1660971" y="1835370"/>
                    </a:lnTo>
                    <a:lnTo>
                      <a:pt x="1662031" y="1834309"/>
                    </a:lnTo>
                    <a:lnTo>
                      <a:pt x="1663850" y="1833097"/>
                    </a:lnTo>
                    <a:lnTo>
                      <a:pt x="1667183" y="1832188"/>
                    </a:lnTo>
                    <a:lnTo>
                      <a:pt x="1672032" y="1831582"/>
                    </a:lnTo>
                    <a:lnTo>
                      <a:pt x="1676880" y="1830370"/>
                    </a:lnTo>
                    <a:lnTo>
                      <a:pt x="1678244" y="1830218"/>
                    </a:lnTo>
                    <a:lnTo>
                      <a:pt x="1679305" y="1830521"/>
                    </a:lnTo>
                    <a:lnTo>
                      <a:pt x="1681123" y="1830370"/>
                    </a:lnTo>
                    <a:lnTo>
                      <a:pt x="1686881" y="1829461"/>
                    </a:lnTo>
                    <a:lnTo>
                      <a:pt x="1690214" y="1829461"/>
                    </a:lnTo>
                    <a:lnTo>
                      <a:pt x="1692639" y="1829764"/>
                    </a:lnTo>
                    <a:lnTo>
                      <a:pt x="1694154" y="1830218"/>
                    </a:lnTo>
                    <a:lnTo>
                      <a:pt x="1695972" y="1830067"/>
                    </a:lnTo>
                    <a:lnTo>
                      <a:pt x="1699306" y="1828552"/>
                    </a:lnTo>
                    <a:lnTo>
                      <a:pt x="1699760" y="1827946"/>
                    </a:lnTo>
                    <a:lnTo>
                      <a:pt x="1699154" y="1827036"/>
                    </a:lnTo>
                    <a:lnTo>
                      <a:pt x="1697487" y="1825673"/>
                    </a:lnTo>
                    <a:lnTo>
                      <a:pt x="1696730" y="1824612"/>
                    </a:lnTo>
                    <a:lnTo>
                      <a:pt x="1696881" y="1823855"/>
                    </a:lnTo>
                    <a:lnTo>
                      <a:pt x="1696578" y="1823248"/>
                    </a:lnTo>
                    <a:lnTo>
                      <a:pt x="1695820" y="1822339"/>
                    </a:lnTo>
                    <a:lnTo>
                      <a:pt x="1695972" y="1821885"/>
                    </a:lnTo>
                    <a:lnTo>
                      <a:pt x="1696124" y="1816127"/>
                    </a:lnTo>
                    <a:lnTo>
                      <a:pt x="1696124" y="1815975"/>
                    </a:lnTo>
                    <a:lnTo>
                      <a:pt x="1692032" y="1817339"/>
                    </a:lnTo>
                    <a:lnTo>
                      <a:pt x="1689911" y="1818551"/>
                    </a:lnTo>
                    <a:lnTo>
                      <a:pt x="1688699" y="1818854"/>
                    </a:lnTo>
                    <a:lnTo>
                      <a:pt x="1686881" y="1818551"/>
                    </a:lnTo>
                    <a:lnTo>
                      <a:pt x="1683396" y="1818551"/>
                    </a:lnTo>
                    <a:lnTo>
                      <a:pt x="1680365" y="1817642"/>
                    </a:lnTo>
                    <a:lnTo>
                      <a:pt x="1677941" y="1817036"/>
                    </a:lnTo>
                    <a:lnTo>
                      <a:pt x="1676729" y="1815369"/>
                    </a:lnTo>
                    <a:lnTo>
                      <a:pt x="1676729" y="1814763"/>
                    </a:lnTo>
                    <a:lnTo>
                      <a:pt x="1679911" y="1810369"/>
                    </a:lnTo>
                    <a:lnTo>
                      <a:pt x="1681123" y="1808399"/>
                    </a:lnTo>
                    <a:lnTo>
                      <a:pt x="1681426" y="1807187"/>
                    </a:lnTo>
                    <a:lnTo>
                      <a:pt x="1682184" y="1806278"/>
                    </a:lnTo>
                    <a:lnTo>
                      <a:pt x="1684153" y="1805217"/>
                    </a:lnTo>
                    <a:lnTo>
                      <a:pt x="1684608" y="1804460"/>
                    </a:lnTo>
                    <a:lnTo>
                      <a:pt x="1685517" y="1804157"/>
                    </a:lnTo>
                    <a:lnTo>
                      <a:pt x="1686881" y="1804157"/>
                    </a:lnTo>
                    <a:lnTo>
                      <a:pt x="1689457" y="1802642"/>
                    </a:lnTo>
                    <a:lnTo>
                      <a:pt x="1693245" y="1799611"/>
                    </a:lnTo>
                    <a:lnTo>
                      <a:pt x="1696124" y="1797793"/>
                    </a:lnTo>
                    <a:lnTo>
                      <a:pt x="1698093" y="1797187"/>
                    </a:lnTo>
                    <a:lnTo>
                      <a:pt x="1703396" y="1796429"/>
                    </a:lnTo>
                    <a:lnTo>
                      <a:pt x="1706730" y="1795520"/>
                    </a:lnTo>
                    <a:lnTo>
                      <a:pt x="1709154" y="1795217"/>
                    </a:lnTo>
                    <a:lnTo>
                      <a:pt x="1710670" y="1795520"/>
                    </a:lnTo>
                    <a:lnTo>
                      <a:pt x="1712942" y="1795217"/>
                    </a:lnTo>
                    <a:lnTo>
                      <a:pt x="1715973" y="1794308"/>
                    </a:lnTo>
                    <a:lnTo>
                      <a:pt x="1720064" y="1793550"/>
                    </a:lnTo>
                    <a:lnTo>
                      <a:pt x="1725215" y="1793096"/>
                    </a:lnTo>
                    <a:lnTo>
                      <a:pt x="1728549" y="1792641"/>
                    </a:lnTo>
                    <a:lnTo>
                      <a:pt x="1729913" y="1792035"/>
                    </a:lnTo>
                    <a:lnTo>
                      <a:pt x="1732792" y="1792035"/>
                    </a:lnTo>
                    <a:lnTo>
                      <a:pt x="1733246" y="1791278"/>
                    </a:lnTo>
                    <a:lnTo>
                      <a:pt x="1734004" y="1790823"/>
                    </a:lnTo>
                    <a:lnTo>
                      <a:pt x="1736731" y="1790974"/>
                    </a:lnTo>
                    <a:lnTo>
                      <a:pt x="1737640" y="1791429"/>
                    </a:lnTo>
                    <a:lnTo>
                      <a:pt x="1737792" y="1791732"/>
                    </a:lnTo>
                    <a:lnTo>
                      <a:pt x="1737186" y="1792035"/>
                    </a:lnTo>
                    <a:lnTo>
                      <a:pt x="1737489" y="1792641"/>
                    </a:lnTo>
                    <a:lnTo>
                      <a:pt x="1738853" y="1793550"/>
                    </a:lnTo>
                    <a:lnTo>
                      <a:pt x="1741125" y="1793853"/>
                    </a:lnTo>
                    <a:lnTo>
                      <a:pt x="1743701" y="1793247"/>
                    </a:lnTo>
                    <a:lnTo>
                      <a:pt x="1745519" y="1793550"/>
                    </a:lnTo>
                    <a:lnTo>
                      <a:pt x="1745065" y="1794005"/>
                    </a:lnTo>
                    <a:lnTo>
                      <a:pt x="1744156" y="1794005"/>
                    </a:lnTo>
                    <a:lnTo>
                      <a:pt x="1744004" y="1794156"/>
                    </a:lnTo>
                    <a:lnTo>
                      <a:pt x="1744762" y="1794914"/>
                    </a:lnTo>
                    <a:lnTo>
                      <a:pt x="1745368" y="1794914"/>
                    </a:lnTo>
                    <a:lnTo>
                      <a:pt x="1747489" y="1794005"/>
                    </a:lnTo>
                    <a:lnTo>
                      <a:pt x="1747641" y="1794308"/>
                    </a:lnTo>
                    <a:lnTo>
                      <a:pt x="1746731" y="1795520"/>
                    </a:lnTo>
                    <a:lnTo>
                      <a:pt x="1747035" y="1796278"/>
                    </a:lnTo>
                    <a:lnTo>
                      <a:pt x="1748550" y="1796581"/>
                    </a:lnTo>
                    <a:lnTo>
                      <a:pt x="1751126" y="1795975"/>
                    </a:lnTo>
                    <a:lnTo>
                      <a:pt x="1754459" y="1794459"/>
                    </a:lnTo>
                    <a:lnTo>
                      <a:pt x="1755974" y="1794005"/>
                    </a:lnTo>
                    <a:lnTo>
                      <a:pt x="1756277" y="1793247"/>
                    </a:lnTo>
                    <a:lnTo>
                      <a:pt x="1755217" y="1793247"/>
                    </a:lnTo>
                    <a:lnTo>
                      <a:pt x="1752338" y="1793550"/>
                    </a:lnTo>
                    <a:lnTo>
                      <a:pt x="1751580" y="1794005"/>
                    </a:lnTo>
                    <a:lnTo>
                      <a:pt x="1751580" y="1793702"/>
                    </a:lnTo>
                    <a:lnTo>
                      <a:pt x="1752186" y="1792490"/>
                    </a:lnTo>
                    <a:lnTo>
                      <a:pt x="1754762" y="1790823"/>
                    </a:lnTo>
                    <a:lnTo>
                      <a:pt x="1755974" y="1789762"/>
                    </a:lnTo>
                    <a:lnTo>
                      <a:pt x="1756732" y="1788702"/>
                    </a:lnTo>
                    <a:lnTo>
                      <a:pt x="1755974" y="1788702"/>
                    </a:lnTo>
                    <a:lnTo>
                      <a:pt x="1753853" y="1789762"/>
                    </a:lnTo>
                    <a:lnTo>
                      <a:pt x="1751883" y="1790368"/>
                    </a:lnTo>
                    <a:lnTo>
                      <a:pt x="1750217" y="1790520"/>
                    </a:lnTo>
                    <a:lnTo>
                      <a:pt x="1749762" y="1789459"/>
                    </a:lnTo>
                    <a:lnTo>
                      <a:pt x="1750671" y="1787186"/>
                    </a:lnTo>
                    <a:lnTo>
                      <a:pt x="1749762" y="1786429"/>
                    </a:lnTo>
                    <a:lnTo>
                      <a:pt x="1745519" y="1787641"/>
                    </a:lnTo>
                    <a:lnTo>
                      <a:pt x="1745065" y="1788096"/>
                    </a:lnTo>
                    <a:lnTo>
                      <a:pt x="1745065" y="1788399"/>
                    </a:lnTo>
                    <a:lnTo>
                      <a:pt x="1745519" y="1788702"/>
                    </a:lnTo>
                    <a:lnTo>
                      <a:pt x="1745519" y="1788853"/>
                    </a:lnTo>
                    <a:lnTo>
                      <a:pt x="1744913" y="1789005"/>
                    </a:lnTo>
                    <a:lnTo>
                      <a:pt x="1744004" y="1788853"/>
                    </a:lnTo>
                    <a:lnTo>
                      <a:pt x="1744004" y="1788399"/>
                    </a:lnTo>
                    <a:lnTo>
                      <a:pt x="1744459" y="1787641"/>
                    </a:lnTo>
                    <a:lnTo>
                      <a:pt x="1744004" y="1787338"/>
                    </a:lnTo>
                    <a:lnTo>
                      <a:pt x="1742641" y="1787641"/>
                    </a:lnTo>
                    <a:lnTo>
                      <a:pt x="1740822" y="1788096"/>
                    </a:lnTo>
                    <a:lnTo>
                      <a:pt x="1737034" y="1789611"/>
                    </a:lnTo>
                    <a:lnTo>
                      <a:pt x="1737034" y="1789308"/>
                    </a:lnTo>
                    <a:lnTo>
                      <a:pt x="1738095" y="1788399"/>
                    </a:lnTo>
                    <a:lnTo>
                      <a:pt x="1742186" y="1787186"/>
                    </a:lnTo>
                    <a:lnTo>
                      <a:pt x="1744156" y="1786580"/>
                    </a:lnTo>
                    <a:lnTo>
                      <a:pt x="1745368" y="1786732"/>
                    </a:lnTo>
                    <a:lnTo>
                      <a:pt x="1746125" y="1786277"/>
                    </a:lnTo>
                    <a:lnTo>
                      <a:pt x="1746883" y="1786277"/>
                    </a:lnTo>
                    <a:lnTo>
                      <a:pt x="1747489" y="1786732"/>
                    </a:lnTo>
                    <a:lnTo>
                      <a:pt x="1749004" y="1786580"/>
                    </a:lnTo>
                    <a:lnTo>
                      <a:pt x="1751429" y="1785823"/>
                    </a:lnTo>
                    <a:lnTo>
                      <a:pt x="1752489" y="1786126"/>
                    </a:lnTo>
                    <a:lnTo>
                      <a:pt x="1752186" y="1787490"/>
                    </a:lnTo>
                    <a:lnTo>
                      <a:pt x="1752792" y="1787641"/>
                    </a:lnTo>
                    <a:lnTo>
                      <a:pt x="1754459" y="1786580"/>
                    </a:lnTo>
                    <a:lnTo>
                      <a:pt x="1755520" y="1786126"/>
                    </a:lnTo>
                    <a:lnTo>
                      <a:pt x="1755974" y="1786429"/>
                    </a:lnTo>
                    <a:lnTo>
                      <a:pt x="1752489" y="1788247"/>
                    </a:lnTo>
                    <a:lnTo>
                      <a:pt x="1751580" y="1789156"/>
                    </a:lnTo>
                    <a:lnTo>
                      <a:pt x="1751429" y="1789611"/>
                    </a:lnTo>
                    <a:lnTo>
                      <a:pt x="1752035" y="1790217"/>
                    </a:lnTo>
                    <a:lnTo>
                      <a:pt x="1753398" y="1790065"/>
                    </a:lnTo>
                    <a:lnTo>
                      <a:pt x="1759005" y="1786429"/>
                    </a:lnTo>
                    <a:lnTo>
                      <a:pt x="1761732" y="1785217"/>
                    </a:lnTo>
                    <a:lnTo>
                      <a:pt x="1764459" y="1784459"/>
                    </a:lnTo>
                    <a:lnTo>
                      <a:pt x="1767187" y="1784308"/>
                    </a:lnTo>
                    <a:lnTo>
                      <a:pt x="1769460" y="1783702"/>
                    </a:lnTo>
                    <a:lnTo>
                      <a:pt x="1771278" y="1782641"/>
                    </a:lnTo>
                    <a:lnTo>
                      <a:pt x="1779005" y="1780216"/>
                    </a:lnTo>
                    <a:lnTo>
                      <a:pt x="1782187" y="1778701"/>
                    </a:lnTo>
                    <a:lnTo>
                      <a:pt x="1785218" y="1775974"/>
                    </a:lnTo>
                    <a:lnTo>
                      <a:pt x="1785975" y="1775822"/>
                    </a:lnTo>
                    <a:lnTo>
                      <a:pt x="1786127" y="1775974"/>
                    </a:lnTo>
                    <a:lnTo>
                      <a:pt x="1786278" y="1775822"/>
                    </a:lnTo>
                    <a:lnTo>
                      <a:pt x="1797036" y="1766580"/>
                    </a:lnTo>
                    <a:lnTo>
                      <a:pt x="1803097" y="1762337"/>
                    </a:lnTo>
                    <a:lnTo>
                      <a:pt x="1808097" y="1759913"/>
                    </a:lnTo>
                    <a:lnTo>
                      <a:pt x="1811885" y="1758701"/>
                    </a:lnTo>
                    <a:lnTo>
                      <a:pt x="1814461" y="1758852"/>
                    </a:lnTo>
                    <a:lnTo>
                      <a:pt x="1815977" y="1758701"/>
                    </a:lnTo>
                    <a:lnTo>
                      <a:pt x="1825522" y="1751882"/>
                    </a:lnTo>
                    <a:lnTo>
                      <a:pt x="1832644" y="1747943"/>
                    </a:lnTo>
                    <a:lnTo>
                      <a:pt x="1835977" y="1747185"/>
                    </a:lnTo>
                    <a:lnTo>
                      <a:pt x="1835220" y="1744155"/>
                    </a:lnTo>
                    <a:lnTo>
                      <a:pt x="1828401" y="1742185"/>
                    </a:lnTo>
                    <a:lnTo>
                      <a:pt x="1826583" y="1740821"/>
                    </a:lnTo>
                    <a:lnTo>
                      <a:pt x="1834159" y="1741882"/>
                    </a:lnTo>
                    <a:lnTo>
                      <a:pt x="1837947" y="1739760"/>
                    </a:lnTo>
                    <a:lnTo>
                      <a:pt x="1840674" y="1736730"/>
                    </a:lnTo>
                    <a:lnTo>
                      <a:pt x="1843099" y="1734760"/>
                    </a:lnTo>
                    <a:lnTo>
                      <a:pt x="1849462" y="1733851"/>
                    </a:lnTo>
                    <a:lnTo>
                      <a:pt x="1854766" y="1728396"/>
                    </a:lnTo>
                    <a:lnTo>
                      <a:pt x="1857645" y="1724154"/>
                    </a:lnTo>
                    <a:lnTo>
                      <a:pt x="1858554" y="1722790"/>
                    </a:lnTo>
                    <a:lnTo>
                      <a:pt x="1861887" y="1720972"/>
                    </a:lnTo>
                    <a:lnTo>
                      <a:pt x="1862948" y="1717941"/>
                    </a:lnTo>
                    <a:lnTo>
                      <a:pt x="1866736" y="1716123"/>
                    </a:lnTo>
                    <a:lnTo>
                      <a:pt x="1871130" y="1715214"/>
                    </a:lnTo>
                    <a:lnTo>
                      <a:pt x="1882646" y="1708396"/>
                    </a:lnTo>
                    <a:lnTo>
                      <a:pt x="1884009" y="1705820"/>
                    </a:lnTo>
                    <a:lnTo>
                      <a:pt x="1888858" y="1704153"/>
                    </a:lnTo>
                    <a:lnTo>
                      <a:pt x="1892949" y="1701426"/>
                    </a:lnTo>
                    <a:lnTo>
                      <a:pt x="1896283" y="1701880"/>
                    </a:lnTo>
                    <a:lnTo>
                      <a:pt x="1899919" y="1700971"/>
                    </a:lnTo>
                    <a:lnTo>
                      <a:pt x="1909616" y="1697638"/>
                    </a:lnTo>
                    <a:lnTo>
                      <a:pt x="1913707" y="1693244"/>
                    </a:lnTo>
                    <a:lnTo>
                      <a:pt x="1917647" y="1690365"/>
                    </a:lnTo>
                    <a:lnTo>
                      <a:pt x="1924920" y="1685819"/>
                    </a:lnTo>
                    <a:lnTo>
                      <a:pt x="1932041" y="1675970"/>
                    </a:lnTo>
                    <a:lnTo>
                      <a:pt x="1936132" y="1673243"/>
                    </a:lnTo>
                    <a:lnTo>
                      <a:pt x="1944466" y="1665061"/>
                    </a:lnTo>
                    <a:lnTo>
                      <a:pt x="1946890" y="1661879"/>
                    </a:lnTo>
                    <a:lnTo>
                      <a:pt x="1948709" y="1657636"/>
                    </a:lnTo>
                    <a:lnTo>
                      <a:pt x="1950527" y="1652636"/>
                    </a:lnTo>
                    <a:lnTo>
                      <a:pt x="1948103" y="1650060"/>
                    </a:lnTo>
                    <a:lnTo>
                      <a:pt x="1945224" y="1648848"/>
                    </a:lnTo>
                    <a:lnTo>
                      <a:pt x="1940527" y="1647484"/>
                    </a:lnTo>
                    <a:lnTo>
                      <a:pt x="1930829" y="1643545"/>
                    </a:lnTo>
                    <a:lnTo>
                      <a:pt x="1926132" y="1643545"/>
                    </a:lnTo>
                    <a:lnTo>
                      <a:pt x="1921587" y="1643090"/>
                    </a:lnTo>
                    <a:lnTo>
                      <a:pt x="1919314" y="1641120"/>
                    </a:lnTo>
                    <a:lnTo>
                      <a:pt x="1916738" y="1639908"/>
                    </a:lnTo>
                    <a:lnTo>
                      <a:pt x="1934163" y="1643090"/>
                    </a:lnTo>
                    <a:lnTo>
                      <a:pt x="1941587" y="1646121"/>
                    </a:lnTo>
                    <a:lnTo>
                      <a:pt x="1944618" y="1646424"/>
                    </a:lnTo>
                    <a:lnTo>
                      <a:pt x="1948709" y="1648697"/>
                    </a:lnTo>
                    <a:lnTo>
                      <a:pt x="1951133" y="1649303"/>
                    </a:lnTo>
                    <a:lnTo>
                      <a:pt x="1953557" y="1649000"/>
                    </a:lnTo>
                    <a:lnTo>
                      <a:pt x="1956891" y="1647181"/>
                    </a:lnTo>
                    <a:lnTo>
                      <a:pt x="1961739" y="1642484"/>
                    </a:lnTo>
                    <a:lnTo>
                      <a:pt x="1965679" y="1635969"/>
                    </a:lnTo>
                    <a:lnTo>
                      <a:pt x="1973861" y="1627029"/>
                    </a:lnTo>
                    <a:lnTo>
                      <a:pt x="1980983" y="1623090"/>
                    </a:lnTo>
                    <a:lnTo>
                      <a:pt x="1982043" y="1620665"/>
                    </a:lnTo>
                    <a:lnTo>
                      <a:pt x="1984316" y="1618998"/>
                    </a:lnTo>
                    <a:lnTo>
                      <a:pt x="1987801" y="1617483"/>
                    </a:lnTo>
                    <a:lnTo>
                      <a:pt x="1991134" y="1617029"/>
                    </a:lnTo>
                    <a:lnTo>
                      <a:pt x="1993104" y="1615817"/>
                    </a:lnTo>
                    <a:lnTo>
                      <a:pt x="1991438" y="1614150"/>
                    </a:lnTo>
                    <a:lnTo>
                      <a:pt x="1997650" y="1612029"/>
                    </a:lnTo>
                    <a:lnTo>
                      <a:pt x="2011590" y="1609301"/>
                    </a:lnTo>
                    <a:lnTo>
                      <a:pt x="2013711" y="1609150"/>
                    </a:lnTo>
                    <a:lnTo>
                      <a:pt x="2016438" y="1608695"/>
                    </a:lnTo>
                    <a:lnTo>
                      <a:pt x="2019469" y="1605059"/>
                    </a:lnTo>
                    <a:lnTo>
                      <a:pt x="2020226" y="1599755"/>
                    </a:lnTo>
                    <a:lnTo>
                      <a:pt x="2028257" y="1585815"/>
                    </a:lnTo>
                    <a:lnTo>
                      <a:pt x="2033712" y="1583240"/>
                    </a:lnTo>
                    <a:lnTo>
                      <a:pt x="2037045" y="1580058"/>
                    </a:lnTo>
                    <a:lnTo>
                      <a:pt x="2039015" y="1579906"/>
                    </a:lnTo>
                    <a:lnTo>
                      <a:pt x="2040530" y="1578088"/>
                    </a:lnTo>
                    <a:lnTo>
                      <a:pt x="2042803" y="1577633"/>
                    </a:lnTo>
                    <a:lnTo>
                      <a:pt x="2044015" y="1578239"/>
                    </a:lnTo>
                    <a:lnTo>
                      <a:pt x="2047500" y="1577785"/>
                    </a:lnTo>
                    <a:lnTo>
                      <a:pt x="2050682" y="1578542"/>
                    </a:lnTo>
                    <a:lnTo>
                      <a:pt x="2055379" y="1575209"/>
                    </a:lnTo>
                    <a:lnTo>
                      <a:pt x="2060682" y="1576421"/>
                    </a:lnTo>
                    <a:lnTo>
                      <a:pt x="2074168" y="1574300"/>
                    </a:lnTo>
                    <a:lnTo>
                      <a:pt x="2076592" y="1575057"/>
                    </a:lnTo>
                    <a:lnTo>
                      <a:pt x="2085229" y="1575815"/>
                    </a:lnTo>
                    <a:lnTo>
                      <a:pt x="2095078" y="1574603"/>
                    </a:lnTo>
                    <a:lnTo>
                      <a:pt x="2104321" y="1575967"/>
                    </a:lnTo>
                    <a:lnTo>
                      <a:pt x="2108563" y="1574754"/>
                    </a:lnTo>
                    <a:lnTo>
                      <a:pt x="2112957" y="1574451"/>
                    </a:lnTo>
                    <a:lnTo>
                      <a:pt x="2116291" y="1574754"/>
                    </a:lnTo>
                    <a:lnTo>
                      <a:pt x="2120382" y="1576421"/>
                    </a:lnTo>
                    <a:lnTo>
                      <a:pt x="2129928" y="1577027"/>
                    </a:lnTo>
                    <a:lnTo>
                      <a:pt x="2132807" y="1575209"/>
                    </a:lnTo>
                    <a:lnTo>
                      <a:pt x="2137958" y="1575361"/>
                    </a:lnTo>
                    <a:lnTo>
                      <a:pt x="2141292" y="1575057"/>
                    </a:lnTo>
                    <a:lnTo>
                      <a:pt x="2144473" y="1575057"/>
                    </a:lnTo>
                    <a:lnTo>
                      <a:pt x="2149322" y="1575664"/>
                    </a:lnTo>
                    <a:lnTo>
                      <a:pt x="2154171" y="1575967"/>
                    </a:lnTo>
                    <a:lnTo>
                      <a:pt x="2159474" y="1577330"/>
                    </a:lnTo>
                    <a:lnTo>
                      <a:pt x="2166141" y="1577482"/>
                    </a:lnTo>
                    <a:lnTo>
                      <a:pt x="2168414" y="1578694"/>
                    </a:lnTo>
                    <a:lnTo>
                      <a:pt x="2171444" y="1582027"/>
                    </a:lnTo>
                    <a:lnTo>
                      <a:pt x="2183414" y="1578542"/>
                    </a:lnTo>
                    <a:lnTo>
                      <a:pt x="2186445" y="1578845"/>
                    </a:lnTo>
                    <a:lnTo>
                      <a:pt x="2192657" y="1578391"/>
                    </a:lnTo>
                    <a:lnTo>
                      <a:pt x="2196748" y="1576876"/>
                    </a:lnTo>
                    <a:lnTo>
                      <a:pt x="2202203" y="1577936"/>
                    </a:lnTo>
                    <a:lnTo>
                      <a:pt x="2206900" y="1577330"/>
                    </a:lnTo>
                    <a:lnTo>
                      <a:pt x="2216749" y="1576724"/>
                    </a:lnTo>
                    <a:lnTo>
                      <a:pt x="2222052" y="1574451"/>
                    </a:lnTo>
                    <a:lnTo>
                      <a:pt x="2224022" y="1570815"/>
                    </a:lnTo>
                    <a:lnTo>
                      <a:pt x="2229628" y="1568239"/>
                    </a:lnTo>
                    <a:lnTo>
                      <a:pt x="2235992" y="1561724"/>
                    </a:lnTo>
                    <a:lnTo>
                      <a:pt x="2241750" y="1557936"/>
                    </a:lnTo>
                    <a:lnTo>
                      <a:pt x="2242205" y="1553542"/>
                    </a:lnTo>
                    <a:close/>
                    <a:moveTo>
                      <a:pt x="741846" y="391226"/>
                    </a:moveTo>
                    <a:lnTo>
                      <a:pt x="727451" y="392287"/>
                    </a:lnTo>
                    <a:lnTo>
                      <a:pt x="721239" y="393651"/>
                    </a:lnTo>
                    <a:lnTo>
                      <a:pt x="716087" y="396833"/>
                    </a:lnTo>
                    <a:lnTo>
                      <a:pt x="716845" y="398045"/>
                    </a:lnTo>
                    <a:lnTo>
                      <a:pt x="718360" y="398954"/>
                    </a:lnTo>
                    <a:lnTo>
                      <a:pt x="746846" y="401681"/>
                    </a:lnTo>
                    <a:lnTo>
                      <a:pt x="750937" y="399863"/>
                    </a:lnTo>
                    <a:lnTo>
                      <a:pt x="752907" y="397590"/>
                    </a:lnTo>
                    <a:lnTo>
                      <a:pt x="752149" y="395166"/>
                    </a:lnTo>
                    <a:lnTo>
                      <a:pt x="750331" y="393954"/>
                    </a:lnTo>
                    <a:lnTo>
                      <a:pt x="746997" y="392439"/>
                    </a:lnTo>
                    <a:lnTo>
                      <a:pt x="741846" y="391226"/>
                    </a:lnTo>
                    <a:close/>
                    <a:moveTo>
                      <a:pt x="761543" y="309860"/>
                    </a:moveTo>
                    <a:lnTo>
                      <a:pt x="766241" y="309254"/>
                    </a:lnTo>
                    <a:lnTo>
                      <a:pt x="778362" y="306375"/>
                    </a:lnTo>
                    <a:lnTo>
                      <a:pt x="790029" y="304860"/>
                    </a:lnTo>
                    <a:lnTo>
                      <a:pt x="800181" y="309860"/>
                    </a:lnTo>
                    <a:lnTo>
                      <a:pt x="806848" y="310314"/>
                    </a:lnTo>
                    <a:lnTo>
                      <a:pt x="809121" y="309557"/>
                    </a:lnTo>
                    <a:lnTo>
                      <a:pt x="812757" y="306678"/>
                    </a:lnTo>
                    <a:lnTo>
                      <a:pt x="814727" y="304254"/>
                    </a:lnTo>
                    <a:lnTo>
                      <a:pt x="816394" y="303647"/>
                    </a:lnTo>
                    <a:lnTo>
                      <a:pt x="820334" y="304708"/>
                    </a:lnTo>
                    <a:lnTo>
                      <a:pt x="825485" y="307435"/>
                    </a:lnTo>
                    <a:lnTo>
                      <a:pt x="827758" y="308193"/>
                    </a:lnTo>
                    <a:lnTo>
                      <a:pt x="837001" y="309102"/>
                    </a:lnTo>
                    <a:lnTo>
                      <a:pt x="840486" y="308951"/>
                    </a:lnTo>
                    <a:lnTo>
                      <a:pt x="847910" y="307435"/>
                    </a:lnTo>
                    <a:lnTo>
                      <a:pt x="856547" y="308648"/>
                    </a:lnTo>
                    <a:lnTo>
                      <a:pt x="862759" y="307890"/>
                    </a:lnTo>
                    <a:lnTo>
                      <a:pt x="865335" y="306678"/>
                    </a:lnTo>
                    <a:lnTo>
                      <a:pt x="866396" y="304708"/>
                    </a:lnTo>
                    <a:lnTo>
                      <a:pt x="866850" y="302284"/>
                    </a:lnTo>
                    <a:lnTo>
                      <a:pt x="866699" y="299405"/>
                    </a:lnTo>
                    <a:lnTo>
                      <a:pt x="866093" y="297132"/>
                    </a:lnTo>
                    <a:lnTo>
                      <a:pt x="863214" y="292586"/>
                    </a:lnTo>
                    <a:lnTo>
                      <a:pt x="862153" y="291677"/>
                    </a:lnTo>
                    <a:lnTo>
                      <a:pt x="860032" y="291071"/>
                    </a:lnTo>
                    <a:lnTo>
                      <a:pt x="858365" y="291071"/>
                    </a:lnTo>
                    <a:lnTo>
                      <a:pt x="853516" y="287586"/>
                    </a:lnTo>
                    <a:lnTo>
                      <a:pt x="850032" y="285920"/>
                    </a:lnTo>
                    <a:lnTo>
                      <a:pt x="844577" y="284404"/>
                    </a:lnTo>
                    <a:lnTo>
                      <a:pt x="837304" y="281222"/>
                    </a:lnTo>
                    <a:lnTo>
                      <a:pt x="831546" y="281222"/>
                    </a:lnTo>
                    <a:lnTo>
                      <a:pt x="824425" y="282586"/>
                    </a:lnTo>
                    <a:lnTo>
                      <a:pt x="819121" y="284253"/>
                    </a:lnTo>
                    <a:lnTo>
                      <a:pt x="810182" y="288192"/>
                    </a:lnTo>
                    <a:lnTo>
                      <a:pt x="806848" y="290617"/>
                    </a:lnTo>
                    <a:lnTo>
                      <a:pt x="801696" y="292283"/>
                    </a:lnTo>
                    <a:lnTo>
                      <a:pt x="787908" y="293950"/>
                    </a:lnTo>
                    <a:lnTo>
                      <a:pt x="776241" y="296829"/>
                    </a:lnTo>
                    <a:lnTo>
                      <a:pt x="770332" y="298799"/>
                    </a:lnTo>
                    <a:lnTo>
                      <a:pt x="762301" y="302284"/>
                    </a:lnTo>
                    <a:lnTo>
                      <a:pt x="758665" y="305617"/>
                    </a:lnTo>
                    <a:lnTo>
                      <a:pt x="758361" y="306678"/>
                    </a:lnTo>
                    <a:lnTo>
                      <a:pt x="760331" y="308799"/>
                    </a:lnTo>
                    <a:lnTo>
                      <a:pt x="761543" y="309860"/>
                    </a:lnTo>
                    <a:close/>
                    <a:moveTo>
                      <a:pt x="842910" y="332285"/>
                    </a:moveTo>
                    <a:lnTo>
                      <a:pt x="854577" y="329103"/>
                    </a:lnTo>
                    <a:lnTo>
                      <a:pt x="857153" y="326679"/>
                    </a:lnTo>
                    <a:lnTo>
                      <a:pt x="858820" y="323194"/>
                    </a:lnTo>
                    <a:lnTo>
                      <a:pt x="858668" y="322133"/>
                    </a:lnTo>
                    <a:lnTo>
                      <a:pt x="857759" y="321830"/>
                    </a:lnTo>
                    <a:lnTo>
                      <a:pt x="835789" y="320466"/>
                    </a:lnTo>
                    <a:lnTo>
                      <a:pt x="828364" y="320921"/>
                    </a:lnTo>
                    <a:lnTo>
                      <a:pt x="824425" y="321830"/>
                    </a:lnTo>
                    <a:lnTo>
                      <a:pt x="815333" y="321375"/>
                    </a:lnTo>
                    <a:lnTo>
                      <a:pt x="785332" y="326224"/>
                    </a:lnTo>
                    <a:lnTo>
                      <a:pt x="771695" y="330012"/>
                    </a:lnTo>
                    <a:lnTo>
                      <a:pt x="765786" y="331376"/>
                    </a:lnTo>
                    <a:lnTo>
                      <a:pt x="761240" y="331830"/>
                    </a:lnTo>
                    <a:lnTo>
                      <a:pt x="760483" y="332285"/>
                    </a:lnTo>
                    <a:lnTo>
                      <a:pt x="758968" y="334861"/>
                    </a:lnTo>
                    <a:lnTo>
                      <a:pt x="758665" y="336376"/>
                    </a:lnTo>
                    <a:lnTo>
                      <a:pt x="758665" y="337740"/>
                    </a:lnTo>
                    <a:lnTo>
                      <a:pt x="758968" y="339709"/>
                    </a:lnTo>
                    <a:lnTo>
                      <a:pt x="761240" y="343194"/>
                    </a:lnTo>
                    <a:lnTo>
                      <a:pt x="761846" y="345619"/>
                    </a:lnTo>
                    <a:lnTo>
                      <a:pt x="763210" y="348195"/>
                    </a:lnTo>
                    <a:lnTo>
                      <a:pt x="762756" y="349104"/>
                    </a:lnTo>
                    <a:lnTo>
                      <a:pt x="761392" y="350164"/>
                    </a:lnTo>
                    <a:lnTo>
                      <a:pt x="760786" y="351376"/>
                    </a:lnTo>
                    <a:lnTo>
                      <a:pt x="761089" y="352589"/>
                    </a:lnTo>
                    <a:lnTo>
                      <a:pt x="761998" y="354255"/>
                    </a:lnTo>
                    <a:lnTo>
                      <a:pt x="765180" y="355468"/>
                    </a:lnTo>
                    <a:lnTo>
                      <a:pt x="768513" y="357589"/>
                    </a:lnTo>
                    <a:lnTo>
                      <a:pt x="776241" y="359407"/>
                    </a:lnTo>
                    <a:lnTo>
                      <a:pt x="783665" y="364104"/>
                    </a:lnTo>
                    <a:lnTo>
                      <a:pt x="788969" y="365316"/>
                    </a:lnTo>
                    <a:lnTo>
                      <a:pt x="795181" y="365316"/>
                    </a:lnTo>
                    <a:lnTo>
                      <a:pt x="815030" y="360468"/>
                    </a:lnTo>
                    <a:lnTo>
                      <a:pt x="819576" y="360165"/>
                    </a:lnTo>
                    <a:lnTo>
                      <a:pt x="824122" y="360619"/>
                    </a:lnTo>
                    <a:lnTo>
                      <a:pt x="829879" y="359407"/>
                    </a:lnTo>
                    <a:lnTo>
                      <a:pt x="838364" y="356831"/>
                    </a:lnTo>
                    <a:lnTo>
                      <a:pt x="843062" y="354861"/>
                    </a:lnTo>
                    <a:lnTo>
                      <a:pt x="844728" y="352134"/>
                    </a:lnTo>
                    <a:lnTo>
                      <a:pt x="845334" y="349104"/>
                    </a:lnTo>
                    <a:lnTo>
                      <a:pt x="845334" y="343800"/>
                    </a:lnTo>
                    <a:lnTo>
                      <a:pt x="845031" y="342285"/>
                    </a:lnTo>
                    <a:lnTo>
                      <a:pt x="844425" y="341073"/>
                    </a:lnTo>
                    <a:lnTo>
                      <a:pt x="843365" y="340315"/>
                    </a:lnTo>
                    <a:lnTo>
                      <a:pt x="840486" y="339709"/>
                    </a:lnTo>
                    <a:lnTo>
                      <a:pt x="828819" y="340012"/>
                    </a:lnTo>
                    <a:lnTo>
                      <a:pt x="826243" y="338800"/>
                    </a:lnTo>
                    <a:lnTo>
                      <a:pt x="825031" y="337740"/>
                    </a:lnTo>
                    <a:lnTo>
                      <a:pt x="824728" y="336982"/>
                    </a:lnTo>
                    <a:lnTo>
                      <a:pt x="827910" y="335618"/>
                    </a:lnTo>
                    <a:lnTo>
                      <a:pt x="842910" y="332285"/>
                    </a:lnTo>
                    <a:close/>
                    <a:moveTo>
                      <a:pt x="1120345" y="211220"/>
                    </a:moveTo>
                    <a:lnTo>
                      <a:pt x="1121860" y="212129"/>
                    </a:lnTo>
                    <a:lnTo>
                      <a:pt x="1125799" y="212432"/>
                    </a:lnTo>
                    <a:lnTo>
                      <a:pt x="1135194" y="211977"/>
                    </a:lnTo>
                    <a:lnTo>
                      <a:pt x="1140194" y="215008"/>
                    </a:lnTo>
                    <a:lnTo>
                      <a:pt x="1140951" y="217281"/>
                    </a:lnTo>
                    <a:lnTo>
                      <a:pt x="1141103" y="218493"/>
                    </a:lnTo>
                    <a:lnTo>
                      <a:pt x="1143376" y="219856"/>
                    </a:lnTo>
                    <a:lnTo>
                      <a:pt x="1150800" y="222281"/>
                    </a:lnTo>
                    <a:lnTo>
                      <a:pt x="1152467" y="222129"/>
                    </a:lnTo>
                    <a:lnTo>
                      <a:pt x="1153679" y="221372"/>
                    </a:lnTo>
                    <a:lnTo>
                      <a:pt x="1155043" y="218341"/>
                    </a:lnTo>
                    <a:lnTo>
                      <a:pt x="1155649" y="214250"/>
                    </a:lnTo>
                    <a:lnTo>
                      <a:pt x="1155043" y="206068"/>
                    </a:lnTo>
                    <a:lnTo>
                      <a:pt x="1154134" y="202583"/>
                    </a:lnTo>
                    <a:lnTo>
                      <a:pt x="1152164" y="199856"/>
                    </a:lnTo>
                    <a:lnTo>
                      <a:pt x="1148831" y="198038"/>
                    </a:lnTo>
                    <a:lnTo>
                      <a:pt x="1145043" y="197280"/>
                    </a:lnTo>
                    <a:lnTo>
                      <a:pt x="1137618" y="197128"/>
                    </a:lnTo>
                    <a:lnTo>
                      <a:pt x="1129284" y="196068"/>
                    </a:lnTo>
                    <a:lnTo>
                      <a:pt x="1127315" y="196371"/>
                    </a:lnTo>
                    <a:lnTo>
                      <a:pt x="1120496" y="199250"/>
                    </a:lnTo>
                    <a:lnTo>
                      <a:pt x="1119739" y="200007"/>
                    </a:lnTo>
                    <a:lnTo>
                      <a:pt x="1118526" y="203189"/>
                    </a:lnTo>
                    <a:lnTo>
                      <a:pt x="1118375" y="205007"/>
                    </a:lnTo>
                    <a:lnTo>
                      <a:pt x="1119284" y="210159"/>
                    </a:lnTo>
                    <a:lnTo>
                      <a:pt x="1120345" y="211220"/>
                    </a:lnTo>
                    <a:close/>
                    <a:moveTo>
                      <a:pt x="970491" y="264555"/>
                    </a:moveTo>
                    <a:lnTo>
                      <a:pt x="976703" y="264555"/>
                    </a:lnTo>
                    <a:lnTo>
                      <a:pt x="987915" y="263494"/>
                    </a:lnTo>
                    <a:lnTo>
                      <a:pt x="992158" y="265010"/>
                    </a:lnTo>
                    <a:lnTo>
                      <a:pt x="992461" y="267131"/>
                    </a:lnTo>
                    <a:lnTo>
                      <a:pt x="988067" y="273343"/>
                    </a:lnTo>
                    <a:lnTo>
                      <a:pt x="985946" y="275465"/>
                    </a:lnTo>
                    <a:lnTo>
                      <a:pt x="985946" y="277131"/>
                    </a:lnTo>
                    <a:lnTo>
                      <a:pt x="987915" y="278343"/>
                    </a:lnTo>
                    <a:lnTo>
                      <a:pt x="990037" y="278343"/>
                    </a:lnTo>
                    <a:lnTo>
                      <a:pt x="992310" y="277131"/>
                    </a:lnTo>
                    <a:lnTo>
                      <a:pt x="1001704" y="269252"/>
                    </a:lnTo>
                    <a:lnTo>
                      <a:pt x="1008371" y="267131"/>
                    </a:lnTo>
                    <a:lnTo>
                      <a:pt x="1009431" y="267434"/>
                    </a:lnTo>
                    <a:lnTo>
                      <a:pt x="1012310" y="269707"/>
                    </a:lnTo>
                    <a:lnTo>
                      <a:pt x="1015644" y="271525"/>
                    </a:lnTo>
                    <a:lnTo>
                      <a:pt x="1015947" y="272434"/>
                    </a:lnTo>
                    <a:lnTo>
                      <a:pt x="1008371" y="277889"/>
                    </a:lnTo>
                    <a:lnTo>
                      <a:pt x="1007310" y="278950"/>
                    </a:lnTo>
                    <a:lnTo>
                      <a:pt x="1007613" y="279859"/>
                    </a:lnTo>
                    <a:lnTo>
                      <a:pt x="1012462" y="280919"/>
                    </a:lnTo>
                    <a:lnTo>
                      <a:pt x="1025947" y="280616"/>
                    </a:lnTo>
                    <a:lnTo>
                      <a:pt x="1028978" y="281677"/>
                    </a:lnTo>
                    <a:lnTo>
                      <a:pt x="1030038" y="282586"/>
                    </a:lnTo>
                    <a:lnTo>
                      <a:pt x="1024735" y="285162"/>
                    </a:lnTo>
                    <a:lnTo>
                      <a:pt x="1014735" y="286980"/>
                    </a:lnTo>
                    <a:lnTo>
                      <a:pt x="1012159" y="288647"/>
                    </a:lnTo>
                    <a:lnTo>
                      <a:pt x="1023977" y="289404"/>
                    </a:lnTo>
                    <a:lnTo>
                      <a:pt x="1026856" y="291223"/>
                    </a:lnTo>
                    <a:lnTo>
                      <a:pt x="1024432" y="294556"/>
                    </a:lnTo>
                    <a:lnTo>
                      <a:pt x="1019129" y="295768"/>
                    </a:lnTo>
                    <a:lnTo>
                      <a:pt x="1006856" y="294556"/>
                    </a:lnTo>
                    <a:lnTo>
                      <a:pt x="992764" y="292132"/>
                    </a:lnTo>
                    <a:lnTo>
                      <a:pt x="990188" y="292586"/>
                    </a:lnTo>
                    <a:lnTo>
                      <a:pt x="987764" y="293799"/>
                    </a:lnTo>
                    <a:lnTo>
                      <a:pt x="985340" y="295920"/>
                    </a:lnTo>
                    <a:lnTo>
                      <a:pt x="985643" y="298950"/>
                    </a:lnTo>
                    <a:lnTo>
                      <a:pt x="988522" y="302890"/>
                    </a:lnTo>
                    <a:lnTo>
                      <a:pt x="991703" y="305920"/>
                    </a:lnTo>
                    <a:lnTo>
                      <a:pt x="998522" y="309405"/>
                    </a:lnTo>
                    <a:lnTo>
                      <a:pt x="1003674" y="310920"/>
                    </a:lnTo>
                    <a:lnTo>
                      <a:pt x="1013977" y="311527"/>
                    </a:lnTo>
                    <a:lnTo>
                      <a:pt x="1021402" y="308042"/>
                    </a:lnTo>
                    <a:lnTo>
                      <a:pt x="1047312" y="305011"/>
                    </a:lnTo>
                    <a:lnTo>
                      <a:pt x="1045796" y="307435"/>
                    </a:lnTo>
                    <a:lnTo>
                      <a:pt x="1046099" y="308799"/>
                    </a:lnTo>
                    <a:lnTo>
                      <a:pt x="1047463" y="310617"/>
                    </a:lnTo>
                    <a:lnTo>
                      <a:pt x="1048978" y="311830"/>
                    </a:lnTo>
                    <a:lnTo>
                      <a:pt x="1050645" y="312284"/>
                    </a:lnTo>
                    <a:lnTo>
                      <a:pt x="1059433" y="310769"/>
                    </a:lnTo>
                    <a:lnTo>
                      <a:pt x="1065646" y="310466"/>
                    </a:lnTo>
                    <a:lnTo>
                      <a:pt x="1071858" y="311375"/>
                    </a:lnTo>
                    <a:lnTo>
                      <a:pt x="1086404" y="315163"/>
                    </a:lnTo>
                    <a:lnTo>
                      <a:pt x="1092465" y="315466"/>
                    </a:lnTo>
                    <a:lnTo>
                      <a:pt x="1095647" y="319254"/>
                    </a:lnTo>
                    <a:lnTo>
                      <a:pt x="1099283" y="321830"/>
                    </a:lnTo>
                    <a:lnTo>
                      <a:pt x="1099738" y="322739"/>
                    </a:lnTo>
                    <a:lnTo>
                      <a:pt x="1100647" y="327285"/>
                    </a:lnTo>
                    <a:lnTo>
                      <a:pt x="1101253" y="328345"/>
                    </a:lnTo>
                    <a:lnTo>
                      <a:pt x="1103374" y="331073"/>
                    </a:lnTo>
                    <a:lnTo>
                      <a:pt x="1105950" y="333346"/>
                    </a:lnTo>
                    <a:lnTo>
                      <a:pt x="1114435" y="336830"/>
                    </a:lnTo>
                    <a:lnTo>
                      <a:pt x="1123224" y="339103"/>
                    </a:lnTo>
                    <a:lnTo>
                      <a:pt x="1131406" y="337285"/>
                    </a:lnTo>
                    <a:lnTo>
                      <a:pt x="1140042" y="336376"/>
                    </a:lnTo>
                    <a:lnTo>
                      <a:pt x="1144891" y="335315"/>
                    </a:lnTo>
                    <a:lnTo>
                      <a:pt x="1145952" y="334103"/>
                    </a:lnTo>
                    <a:lnTo>
                      <a:pt x="1147770" y="328800"/>
                    </a:lnTo>
                    <a:lnTo>
                      <a:pt x="1149437" y="326982"/>
                    </a:lnTo>
                    <a:lnTo>
                      <a:pt x="1149285" y="325921"/>
                    </a:lnTo>
                    <a:lnTo>
                      <a:pt x="1147921" y="322588"/>
                    </a:lnTo>
                    <a:lnTo>
                      <a:pt x="1145800" y="319860"/>
                    </a:lnTo>
                    <a:lnTo>
                      <a:pt x="1133982" y="310163"/>
                    </a:lnTo>
                    <a:lnTo>
                      <a:pt x="1128830" y="308799"/>
                    </a:lnTo>
                    <a:lnTo>
                      <a:pt x="1128072" y="307435"/>
                    </a:lnTo>
                    <a:lnTo>
                      <a:pt x="1128375" y="305011"/>
                    </a:lnTo>
                    <a:lnTo>
                      <a:pt x="1128224" y="303344"/>
                    </a:lnTo>
                    <a:lnTo>
                      <a:pt x="1126254" y="300617"/>
                    </a:lnTo>
                    <a:lnTo>
                      <a:pt x="1127012" y="299556"/>
                    </a:lnTo>
                    <a:lnTo>
                      <a:pt x="1130800" y="297284"/>
                    </a:lnTo>
                    <a:lnTo>
                      <a:pt x="1132163" y="294253"/>
                    </a:lnTo>
                    <a:lnTo>
                      <a:pt x="1133527" y="293193"/>
                    </a:lnTo>
                    <a:lnTo>
                      <a:pt x="1132769" y="291980"/>
                    </a:lnTo>
                    <a:lnTo>
                      <a:pt x="1128072" y="289708"/>
                    </a:lnTo>
                    <a:lnTo>
                      <a:pt x="1121708" y="283192"/>
                    </a:lnTo>
                    <a:lnTo>
                      <a:pt x="1110193" y="277586"/>
                    </a:lnTo>
                    <a:lnTo>
                      <a:pt x="1097010" y="279859"/>
                    </a:lnTo>
                    <a:lnTo>
                      <a:pt x="1091253" y="278798"/>
                    </a:lnTo>
                    <a:lnTo>
                      <a:pt x="1090798" y="277434"/>
                    </a:lnTo>
                    <a:lnTo>
                      <a:pt x="1091707" y="275313"/>
                    </a:lnTo>
                    <a:lnTo>
                      <a:pt x="1093980" y="271828"/>
                    </a:lnTo>
                    <a:lnTo>
                      <a:pt x="1093828" y="270313"/>
                    </a:lnTo>
                    <a:lnTo>
                      <a:pt x="1092465" y="268949"/>
                    </a:lnTo>
                    <a:lnTo>
                      <a:pt x="1090950" y="268192"/>
                    </a:lnTo>
                    <a:lnTo>
                      <a:pt x="1086707" y="267586"/>
                    </a:lnTo>
                    <a:lnTo>
                      <a:pt x="1075646" y="261676"/>
                    </a:lnTo>
                    <a:lnTo>
                      <a:pt x="1070646" y="261222"/>
                    </a:lnTo>
                    <a:lnTo>
                      <a:pt x="1067918" y="261828"/>
                    </a:lnTo>
                    <a:lnTo>
                      <a:pt x="1062009" y="264252"/>
                    </a:lnTo>
                    <a:lnTo>
                      <a:pt x="1056403" y="265919"/>
                    </a:lnTo>
                    <a:lnTo>
                      <a:pt x="1055948" y="269404"/>
                    </a:lnTo>
                    <a:lnTo>
                      <a:pt x="1055494" y="270616"/>
                    </a:lnTo>
                    <a:lnTo>
                      <a:pt x="1053524" y="272586"/>
                    </a:lnTo>
                    <a:lnTo>
                      <a:pt x="1051251" y="273949"/>
                    </a:lnTo>
                    <a:lnTo>
                      <a:pt x="1050797" y="272586"/>
                    </a:lnTo>
                    <a:lnTo>
                      <a:pt x="1051100" y="270767"/>
                    </a:lnTo>
                    <a:lnTo>
                      <a:pt x="1050645" y="270010"/>
                    </a:lnTo>
                    <a:lnTo>
                      <a:pt x="1047009" y="268343"/>
                    </a:lnTo>
                    <a:lnTo>
                      <a:pt x="1048372" y="266979"/>
                    </a:lnTo>
                    <a:lnTo>
                      <a:pt x="1049281" y="264707"/>
                    </a:lnTo>
                    <a:lnTo>
                      <a:pt x="1049584" y="263040"/>
                    </a:lnTo>
                    <a:lnTo>
                      <a:pt x="1049584" y="261676"/>
                    </a:lnTo>
                    <a:lnTo>
                      <a:pt x="1049281" y="260616"/>
                    </a:lnTo>
                    <a:lnTo>
                      <a:pt x="1042160" y="252282"/>
                    </a:lnTo>
                    <a:lnTo>
                      <a:pt x="1034584" y="248342"/>
                    </a:lnTo>
                    <a:lnTo>
                      <a:pt x="1028220" y="247130"/>
                    </a:lnTo>
                    <a:lnTo>
                      <a:pt x="1020492" y="244857"/>
                    </a:lnTo>
                    <a:lnTo>
                      <a:pt x="1013371" y="245160"/>
                    </a:lnTo>
                    <a:lnTo>
                      <a:pt x="989279" y="247433"/>
                    </a:lnTo>
                    <a:lnTo>
                      <a:pt x="974430" y="246676"/>
                    </a:lnTo>
                    <a:lnTo>
                      <a:pt x="973066" y="248039"/>
                    </a:lnTo>
                    <a:lnTo>
                      <a:pt x="970945" y="251676"/>
                    </a:lnTo>
                    <a:lnTo>
                      <a:pt x="969430" y="256525"/>
                    </a:lnTo>
                    <a:lnTo>
                      <a:pt x="969127" y="259555"/>
                    </a:lnTo>
                    <a:lnTo>
                      <a:pt x="969430" y="262737"/>
                    </a:lnTo>
                    <a:lnTo>
                      <a:pt x="970491" y="264555"/>
                    </a:lnTo>
                    <a:close/>
                    <a:moveTo>
                      <a:pt x="961854" y="352437"/>
                    </a:moveTo>
                    <a:lnTo>
                      <a:pt x="964581" y="354710"/>
                    </a:lnTo>
                    <a:lnTo>
                      <a:pt x="965945" y="358498"/>
                    </a:lnTo>
                    <a:lnTo>
                      <a:pt x="969733" y="364862"/>
                    </a:lnTo>
                    <a:lnTo>
                      <a:pt x="974582" y="370620"/>
                    </a:lnTo>
                    <a:lnTo>
                      <a:pt x="979127" y="374862"/>
                    </a:lnTo>
                    <a:lnTo>
                      <a:pt x="984582" y="375923"/>
                    </a:lnTo>
                    <a:lnTo>
                      <a:pt x="992916" y="378347"/>
                    </a:lnTo>
                    <a:lnTo>
                      <a:pt x="997158" y="377287"/>
                    </a:lnTo>
                    <a:lnTo>
                      <a:pt x="998976" y="376074"/>
                    </a:lnTo>
                    <a:lnTo>
                      <a:pt x="1000037" y="372741"/>
                    </a:lnTo>
                    <a:lnTo>
                      <a:pt x="1000189" y="371074"/>
                    </a:lnTo>
                    <a:lnTo>
                      <a:pt x="998825" y="367589"/>
                    </a:lnTo>
                    <a:lnTo>
                      <a:pt x="997764" y="365922"/>
                    </a:lnTo>
                    <a:lnTo>
                      <a:pt x="991552" y="361528"/>
                    </a:lnTo>
                    <a:lnTo>
                      <a:pt x="986552" y="361225"/>
                    </a:lnTo>
                    <a:lnTo>
                      <a:pt x="985491" y="359407"/>
                    </a:lnTo>
                    <a:lnTo>
                      <a:pt x="985188" y="356074"/>
                    </a:lnTo>
                    <a:lnTo>
                      <a:pt x="983370" y="353649"/>
                    </a:lnTo>
                    <a:lnTo>
                      <a:pt x="977460" y="348195"/>
                    </a:lnTo>
                    <a:lnTo>
                      <a:pt x="972915" y="344710"/>
                    </a:lnTo>
                    <a:lnTo>
                      <a:pt x="969278" y="342588"/>
                    </a:lnTo>
                    <a:lnTo>
                      <a:pt x="961702" y="341528"/>
                    </a:lnTo>
                    <a:lnTo>
                      <a:pt x="957005" y="342437"/>
                    </a:lnTo>
                    <a:lnTo>
                      <a:pt x="956096" y="343346"/>
                    </a:lnTo>
                    <a:lnTo>
                      <a:pt x="961096" y="349104"/>
                    </a:lnTo>
                    <a:lnTo>
                      <a:pt x="961854" y="352437"/>
                    </a:lnTo>
                    <a:close/>
                    <a:moveTo>
                      <a:pt x="1403537" y="402439"/>
                    </a:moveTo>
                    <a:lnTo>
                      <a:pt x="1403992" y="401378"/>
                    </a:lnTo>
                    <a:lnTo>
                      <a:pt x="1403992" y="400166"/>
                    </a:lnTo>
                    <a:lnTo>
                      <a:pt x="1403234" y="398954"/>
                    </a:lnTo>
                    <a:lnTo>
                      <a:pt x="1401870" y="397893"/>
                    </a:lnTo>
                    <a:lnTo>
                      <a:pt x="1397173" y="394711"/>
                    </a:lnTo>
                    <a:lnTo>
                      <a:pt x="1392021" y="394711"/>
                    </a:lnTo>
                    <a:lnTo>
                      <a:pt x="1384597" y="396227"/>
                    </a:lnTo>
                    <a:lnTo>
                      <a:pt x="1381415" y="397439"/>
                    </a:lnTo>
                    <a:lnTo>
                      <a:pt x="1380354" y="399409"/>
                    </a:lnTo>
                    <a:lnTo>
                      <a:pt x="1380506" y="400469"/>
                    </a:lnTo>
                    <a:lnTo>
                      <a:pt x="1383688" y="404560"/>
                    </a:lnTo>
                    <a:lnTo>
                      <a:pt x="1387779" y="409257"/>
                    </a:lnTo>
                    <a:lnTo>
                      <a:pt x="1391264" y="412439"/>
                    </a:lnTo>
                    <a:lnTo>
                      <a:pt x="1394294" y="414106"/>
                    </a:lnTo>
                    <a:lnTo>
                      <a:pt x="1396415" y="414561"/>
                    </a:lnTo>
                    <a:lnTo>
                      <a:pt x="1397779" y="413803"/>
                    </a:lnTo>
                    <a:lnTo>
                      <a:pt x="1401870" y="414258"/>
                    </a:lnTo>
                    <a:lnTo>
                      <a:pt x="1403082" y="413500"/>
                    </a:lnTo>
                    <a:lnTo>
                      <a:pt x="1403082" y="412742"/>
                    </a:lnTo>
                    <a:lnTo>
                      <a:pt x="1401870" y="411985"/>
                    </a:lnTo>
                    <a:lnTo>
                      <a:pt x="1400961" y="410470"/>
                    </a:lnTo>
                    <a:lnTo>
                      <a:pt x="1400507" y="408045"/>
                    </a:lnTo>
                    <a:lnTo>
                      <a:pt x="1400507" y="406378"/>
                    </a:lnTo>
                    <a:lnTo>
                      <a:pt x="1401416" y="404712"/>
                    </a:lnTo>
                    <a:lnTo>
                      <a:pt x="1403537" y="402439"/>
                    </a:lnTo>
                    <a:close/>
                    <a:moveTo>
                      <a:pt x="722300" y="340315"/>
                    </a:moveTo>
                    <a:lnTo>
                      <a:pt x="731088" y="343194"/>
                    </a:lnTo>
                    <a:lnTo>
                      <a:pt x="736088" y="343194"/>
                    </a:lnTo>
                    <a:lnTo>
                      <a:pt x="743512" y="341225"/>
                    </a:lnTo>
                    <a:lnTo>
                      <a:pt x="746391" y="340012"/>
                    </a:lnTo>
                    <a:lnTo>
                      <a:pt x="749270" y="337740"/>
                    </a:lnTo>
                    <a:lnTo>
                      <a:pt x="749270" y="336679"/>
                    </a:lnTo>
                    <a:lnTo>
                      <a:pt x="747149" y="334558"/>
                    </a:lnTo>
                    <a:lnTo>
                      <a:pt x="746543" y="333346"/>
                    </a:lnTo>
                    <a:lnTo>
                      <a:pt x="745331" y="332588"/>
                    </a:lnTo>
                    <a:lnTo>
                      <a:pt x="741846" y="331830"/>
                    </a:lnTo>
                    <a:lnTo>
                      <a:pt x="736694" y="328194"/>
                    </a:lnTo>
                    <a:lnTo>
                      <a:pt x="734118" y="326982"/>
                    </a:lnTo>
                    <a:lnTo>
                      <a:pt x="731391" y="326679"/>
                    </a:lnTo>
                    <a:lnTo>
                      <a:pt x="730785" y="325012"/>
                    </a:lnTo>
                    <a:lnTo>
                      <a:pt x="730936" y="323194"/>
                    </a:lnTo>
                    <a:lnTo>
                      <a:pt x="730027" y="322284"/>
                    </a:lnTo>
                    <a:lnTo>
                      <a:pt x="722451" y="324557"/>
                    </a:lnTo>
                    <a:lnTo>
                      <a:pt x="719118" y="326073"/>
                    </a:lnTo>
                    <a:lnTo>
                      <a:pt x="717451" y="327436"/>
                    </a:lnTo>
                    <a:lnTo>
                      <a:pt x="714724" y="328345"/>
                    </a:lnTo>
                    <a:lnTo>
                      <a:pt x="710936" y="328951"/>
                    </a:lnTo>
                    <a:lnTo>
                      <a:pt x="712299" y="331982"/>
                    </a:lnTo>
                    <a:lnTo>
                      <a:pt x="722300" y="340315"/>
                    </a:lnTo>
                    <a:close/>
                    <a:moveTo>
                      <a:pt x="502897" y="432743"/>
                    </a:moveTo>
                    <a:lnTo>
                      <a:pt x="503807" y="433046"/>
                    </a:lnTo>
                    <a:lnTo>
                      <a:pt x="503958" y="433501"/>
                    </a:lnTo>
                    <a:lnTo>
                      <a:pt x="503352" y="434258"/>
                    </a:lnTo>
                    <a:lnTo>
                      <a:pt x="503352" y="435319"/>
                    </a:lnTo>
                    <a:lnTo>
                      <a:pt x="505019" y="436683"/>
                    </a:lnTo>
                    <a:lnTo>
                      <a:pt x="505019" y="437592"/>
                    </a:lnTo>
                    <a:lnTo>
                      <a:pt x="503352" y="440016"/>
                    </a:lnTo>
                    <a:lnTo>
                      <a:pt x="502291" y="440471"/>
                    </a:lnTo>
                    <a:lnTo>
                      <a:pt x="502443" y="441683"/>
                    </a:lnTo>
                    <a:lnTo>
                      <a:pt x="503807" y="443653"/>
                    </a:lnTo>
                    <a:lnTo>
                      <a:pt x="505322" y="444865"/>
                    </a:lnTo>
                    <a:lnTo>
                      <a:pt x="508958" y="445168"/>
                    </a:lnTo>
                    <a:lnTo>
                      <a:pt x="511686" y="444259"/>
                    </a:lnTo>
                    <a:lnTo>
                      <a:pt x="518353" y="440925"/>
                    </a:lnTo>
                    <a:lnTo>
                      <a:pt x="522444" y="440016"/>
                    </a:lnTo>
                    <a:lnTo>
                      <a:pt x="528353" y="440774"/>
                    </a:lnTo>
                    <a:lnTo>
                      <a:pt x="535626" y="443046"/>
                    </a:lnTo>
                    <a:lnTo>
                      <a:pt x="538505" y="443350"/>
                    </a:lnTo>
                    <a:lnTo>
                      <a:pt x="541384" y="443046"/>
                    </a:lnTo>
                    <a:lnTo>
                      <a:pt x="546687" y="440925"/>
                    </a:lnTo>
                    <a:lnTo>
                      <a:pt x="550020" y="432895"/>
                    </a:lnTo>
                    <a:lnTo>
                      <a:pt x="551384" y="431834"/>
                    </a:lnTo>
                    <a:lnTo>
                      <a:pt x="552293" y="431985"/>
                    </a:lnTo>
                    <a:lnTo>
                      <a:pt x="553505" y="432743"/>
                    </a:lnTo>
                    <a:lnTo>
                      <a:pt x="554718" y="434561"/>
                    </a:lnTo>
                    <a:lnTo>
                      <a:pt x="557293" y="440168"/>
                    </a:lnTo>
                    <a:lnTo>
                      <a:pt x="559263" y="441683"/>
                    </a:lnTo>
                    <a:lnTo>
                      <a:pt x="560627" y="444562"/>
                    </a:lnTo>
                    <a:lnTo>
                      <a:pt x="562142" y="449562"/>
                    </a:lnTo>
                    <a:lnTo>
                      <a:pt x="563506" y="451986"/>
                    </a:lnTo>
                    <a:lnTo>
                      <a:pt x="564718" y="451986"/>
                    </a:lnTo>
                    <a:lnTo>
                      <a:pt x="570324" y="450471"/>
                    </a:lnTo>
                    <a:lnTo>
                      <a:pt x="577143" y="450168"/>
                    </a:lnTo>
                    <a:lnTo>
                      <a:pt x="581991" y="446986"/>
                    </a:lnTo>
                    <a:lnTo>
                      <a:pt x="583810" y="445319"/>
                    </a:lnTo>
                    <a:lnTo>
                      <a:pt x="585476" y="443198"/>
                    </a:lnTo>
                    <a:lnTo>
                      <a:pt x="587446" y="443350"/>
                    </a:lnTo>
                    <a:lnTo>
                      <a:pt x="587749" y="442440"/>
                    </a:lnTo>
                    <a:lnTo>
                      <a:pt x="587749" y="440622"/>
                    </a:lnTo>
                    <a:lnTo>
                      <a:pt x="587143" y="439410"/>
                    </a:lnTo>
                    <a:lnTo>
                      <a:pt x="582294" y="436683"/>
                    </a:lnTo>
                    <a:lnTo>
                      <a:pt x="581840" y="435622"/>
                    </a:lnTo>
                    <a:lnTo>
                      <a:pt x="584567" y="433349"/>
                    </a:lnTo>
                    <a:lnTo>
                      <a:pt x="584719" y="431531"/>
                    </a:lnTo>
                    <a:lnTo>
                      <a:pt x="584264" y="428500"/>
                    </a:lnTo>
                    <a:lnTo>
                      <a:pt x="584264" y="426379"/>
                    </a:lnTo>
                    <a:lnTo>
                      <a:pt x="586082" y="423803"/>
                    </a:lnTo>
                    <a:lnTo>
                      <a:pt x="587598" y="423046"/>
                    </a:lnTo>
                    <a:lnTo>
                      <a:pt x="588507" y="424106"/>
                    </a:lnTo>
                    <a:lnTo>
                      <a:pt x="589567" y="426682"/>
                    </a:lnTo>
                    <a:lnTo>
                      <a:pt x="591689" y="429713"/>
                    </a:lnTo>
                    <a:lnTo>
                      <a:pt x="594871" y="433198"/>
                    </a:lnTo>
                    <a:lnTo>
                      <a:pt x="597143" y="435016"/>
                    </a:lnTo>
                    <a:lnTo>
                      <a:pt x="599568" y="435167"/>
                    </a:lnTo>
                    <a:lnTo>
                      <a:pt x="601992" y="433955"/>
                    </a:lnTo>
                    <a:lnTo>
                      <a:pt x="603053" y="432592"/>
                    </a:lnTo>
                    <a:lnTo>
                      <a:pt x="605932" y="427440"/>
                    </a:lnTo>
                    <a:lnTo>
                      <a:pt x="606992" y="426379"/>
                    </a:lnTo>
                    <a:lnTo>
                      <a:pt x="611538" y="423046"/>
                    </a:lnTo>
                    <a:lnTo>
                      <a:pt x="611992" y="421228"/>
                    </a:lnTo>
                    <a:lnTo>
                      <a:pt x="611538" y="418349"/>
                    </a:lnTo>
                    <a:lnTo>
                      <a:pt x="607295" y="415773"/>
                    </a:lnTo>
                    <a:lnTo>
                      <a:pt x="606689" y="414561"/>
                    </a:lnTo>
                    <a:lnTo>
                      <a:pt x="607447" y="413045"/>
                    </a:lnTo>
                    <a:lnTo>
                      <a:pt x="609114" y="412288"/>
                    </a:lnTo>
                    <a:lnTo>
                      <a:pt x="613508" y="412288"/>
                    </a:lnTo>
                    <a:lnTo>
                      <a:pt x="616386" y="411076"/>
                    </a:lnTo>
                    <a:lnTo>
                      <a:pt x="617447" y="408803"/>
                    </a:lnTo>
                    <a:lnTo>
                      <a:pt x="618205" y="404712"/>
                    </a:lnTo>
                    <a:lnTo>
                      <a:pt x="619265" y="402439"/>
                    </a:lnTo>
                    <a:lnTo>
                      <a:pt x="621235" y="400318"/>
                    </a:lnTo>
                    <a:lnTo>
                      <a:pt x="623963" y="398954"/>
                    </a:lnTo>
                    <a:lnTo>
                      <a:pt x="627448" y="398348"/>
                    </a:lnTo>
                    <a:lnTo>
                      <a:pt x="632751" y="396530"/>
                    </a:lnTo>
                    <a:lnTo>
                      <a:pt x="634417" y="396530"/>
                    </a:lnTo>
                    <a:lnTo>
                      <a:pt x="635478" y="397742"/>
                    </a:lnTo>
                    <a:lnTo>
                      <a:pt x="634721" y="400621"/>
                    </a:lnTo>
                    <a:lnTo>
                      <a:pt x="632145" y="405318"/>
                    </a:lnTo>
                    <a:lnTo>
                      <a:pt x="630326" y="409863"/>
                    </a:lnTo>
                    <a:lnTo>
                      <a:pt x="629266" y="414258"/>
                    </a:lnTo>
                    <a:lnTo>
                      <a:pt x="628811" y="417136"/>
                    </a:lnTo>
                    <a:lnTo>
                      <a:pt x="629569" y="419409"/>
                    </a:lnTo>
                    <a:lnTo>
                      <a:pt x="633660" y="422894"/>
                    </a:lnTo>
                    <a:lnTo>
                      <a:pt x="636690" y="424561"/>
                    </a:lnTo>
                    <a:lnTo>
                      <a:pt x="643206" y="426985"/>
                    </a:lnTo>
                    <a:lnTo>
                      <a:pt x="647145" y="426985"/>
                    </a:lnTo>
                    <a:lnTo>
                      <a:pt x="650176" y="426531"/>
                    </a:lnTo>
                    <a:lnTo>
                      <a:pt x="652297" y="425622"/>
                    </a:lnTo>
                    <a:lnTo>
                      <a:pt x="653509" y="424258"/>
                    </a:lnTo>
                    <a:lnTo>
                      <a:pt x="655176" y="421379"/>
                    </a:lnTo>
                    <a:lnTo>
                      <a:pt x="655630" y="419712"/>
                    </a:lnTo>
                    <a:lnTo>
                      <a:pt x="655933" y="415924"/>
                    </a:lnTo>
                    <a:lnTo>
                      <a:pt x="655782" y="414409"/>
                    </a:lnTo>
                    <a:lnTo>
                      <a:pt x="656237" y="412439"/>
                    </a:lnTo>
                    <a:lnTo>
                      <a:pt x="670782" y="409863"/>
                    </a:lnTo>
                    <a:lnTo>
                      <a:pt x="677601" y="407894"/>
                    </a:lnTo>
                    <a:lnTo>
                      <a:pt x="681540" y="405469"/>
                    </a:lnTo>
                    <a:lnTo>
                      <a:pt x="684116" y="403500"/>
                    </a:lnTo>
                    <a:lnTo>
                      <a:pt x="685177" y="402136"/>
                    </a:lnTo>
                    <a:lnTo>
                      <a:pt x="685177" y="400772"/>
                    </a:lnTo>
                    <a:lnTo>
                      <a:pt x="683207" y="398045"/>
                    </a:lnTo>
                    <a:lnTo>
                      <a:pt x="677298" y="392893"/>
                    </a:lnTo>
                    <a:lnTo>
                      <a:pt x="676843" y="391378"/>
                    </a:lnTo>
                    <a:lnTo>
                      <a:pt x="678813" y="390620"/>
                    </a:lnTo>
                    <a:lnTo>
                      <a:pt x="680783" y="390469"/>
                    </a:lnTo>
                    <a:lnTo>
                      <a:pt x="686238" y="391075"/>
                    </a:lnTo>
                    <a:lnTo>
                      <a:pt x="689116" y="389257"/>
                    </a:lnTo>
                    <a:lnTo>
                      <a:pt x="687904" y="387590"/>
                    </a:lnTo>
                    <a:lnTo>
                      <a:pt x="681995" y="384105"/>
                    </a:lnTo>
                    <a:lnTo>
                      <a:pt x="676237" y="380014"/>
                    </a:lnTo>
                    <a:lnTo>
                      <a:pt x="675025" y="377893"/>
                    </a:lnTo>
                    <a:lnTo>
                      <a:pt x="678207" y="375468"/>
                    </a:lnTo>
                    <a:lnTo>
                      <a:pt x="694420" y="370317"/>
                    </a:lnTo>
                    <a:lnTo>
                      <a:pt x="697602" y="368801"/>
                    </a:lnTo>
                    <a:lnTo>
                      <a:pt x="698662" y="367892"/>
                    </a:lnTo>
                    <a:lnTo>
                      <a:pt x="698511" y="366983"/>
                    </a:lnTo>
                    <a:lnTo>
                      <a:pt x="696390" y="364710"/>
                    </a:lnTo>
                    <a:lnTo>
                      <a:pt x="683965" y="358952"/>
                    </a:lnTo>
                    <a:lnTo>
                      <a:pt x="678510" y="355771"/>
                    </a:lnTo>
                    <a:lnTo>
                      <a:pt x="674267" y="354255"/>
                    </a:lnTo>
                    <a:lnTo>
                      <a:pt x="670176" y="353952"/>
                    </a:lnTo>
                    <a:lnTo>
                      <a:pt x="661388" y="355013"/>
                    </a:lnTo>
                    <a:lnTo>
                      <a:pt x="658358" y="356528"/>
                    </a:lnTo>
                    <a:lnTo>
                      <a:pt x="655782" y="358801"/>
                    </a:lnTo>
                    <a:lnTo>
                      <a:pt x="655630" y="359710"/>
                    </a:lnTo>
                    <a:lnTo>
                      <a:pt x="656085" y="360771"/>
                    </a:lnTo>
                    <a:lnTo>
                      <a:pt x="663358" y="362741"/>
                    </a:lnTo>
                    <a:lnTo>
                      <a:pt x="665025" y="363801"/>
                    </a:lnTo>
                    <a:lnTo>
                      <a:pt x="662449" y="365771"/>
                    </a:lnTo>
                    <a:lnTo>
                      <a:pt x="661085" y="366225"/>
                    </a:lnTo>
                    <a:lnTo>
                      <a:pt x="655176" y="365771"/>
                    </a:lnTo>
                    <a:lnTo>
                      <a:pt x="652751" y="365013"/>
                    </a:lnTo>
                    <a:lnTo>
                      <a:pt x="651085" y="366680"/>
                    </a:lnTo>
                    <a:lnTo>
                      <a:pt x="649267" y="367741"/>
                    </a:lnTo>
                    <a:lnTo>
                      <a:pt x="645479" y="367438"/>
                    </a:lnTo>
                    <a:lnTo>
                      <a:pt x="629417" y="363650"/>
                    </a:lnTo>
                    <a:lnTo>
                      <a:pt x="607144" y="366529"/>
                    </a:lnTo>
                    <a:lnTo>
                      <a:pt x="599719" y="368195"/>
                    </a:lnTo>
                    <a:lnTo>
                      <a:pt x="593355" y="371983"/>
                    </a:lnTo>
                    <a:lnTo>
                      <a:pt x="588658" y="375620"/>
                    </a:lnTo>
                    <a:lnTo>
                      <a:pt x="579415" y="381529"/>
                    </a:lnTo>
                    <a:lnTo>
                      <a:pt x="569264" y="389711"/>
                    </a:lnTo>
                    <a:lnTo>
                      <a:pt x="566233" y="391226"/>
                    </a:lnTo>
                    <a:lnTo>
                      <a:pt x="565021" y="392287"/>
                    </a:lnTo>
                    <a:lnTo>
                      <a:pt x="562900" y="396378"/>
                    </a:lnTo>
                    <a:lnTo>
                      <a:pt x="561536" y="397742"/>
                    </a:lnTo>
                    <a:lnTo>
                      <a:pt x="547596" y="403651"/>
                    </a:lnTo>
                    <a:lnTo>
                      <a:pt x="544566" y="404712"/>
                    </a:lnTo>
                    <a:lnTo>
                      <a:pt x="541838" y="406985"/>
                    </a:lnTo>
                    <a:lnTo>
                      <a:pt x="531989" y="416682"/>
                    </a:lnTo>
                    <a:lnTo>
                      <a:pt x="530474" y="417439"/>
                    </a:lnTo>
                    <a:lnTo>
                      <a:pt x="510019" y="419561"/>
                    </a:lnTo>
                    <a:lnTo>
                      <a:pt x="508504" y="420167"/>
                    </a:lnTo>
                    <a:lnTo>
                      <a:pt x="505928" y="422288"/>
                    </a:lnTo>
                    <a:lnTo>
                      <a:pt x="498958" y="429410"/>
                    </a:lnTo>
                    <a:lnTo>
                      <a:pt x="496079" y="432895"/>
                    </a:lnTo>
                    <a:lnTo>
                      <a:pt x="495473" y="434561"/>
                    </a:lnTo>
                    <a:lnTo>
                      <a:pt x="501382" y="433046"/>
                    </a:lnTo>
                    <a:lnTo>
                      <a:pt x="502897" y="432743"/>
                    </a:lnTo>
                    <a:close/>
                    <a:moveTo>
                      <a:pt x="740937" y="429258"/>
                    </a:moveTo>
                    <a:lnTo>
                      <a:pt x="737300" y="425167"/>
                    </a:lnTo>
                    <a:lnTo>
                      <a:pt x="736088" y="423500"/>
                    </a:lnTo>
                    <a:lnTo>
                      <a:pt x="735785" y="422440"/>
                    </a:lnTo>
                    <a:lnTo>
                      <a:pt x="735785" y="419864"/>
                    </a:lnTo>
                    <a:lnTo>
                      <a:pt x="735027" y="418349"/>
                    </a:lnTo>
                    <a:lnTo>
                      <a:pt x="733512" y="416682"/>
                    </a:lnTo>
                    <a:lnTo>
                      <a:pt x="730633" y="415318"/>
                    </a:lnTo>
                    <a:lnTo>
                      <a:pt x="724118" y="413803"/>
                    </a:lnTo>
                    <a:lnTo>
                      <a:pt x="717754" y="413651"/>
                    </a:lnTo>
                    <a:lnTo>
                      <a:pt x="711390" y="414106"/>
                    </a:lnTo>
                    <a:lnTo>
                      <a:pt x="695480" y="417591"/>
                    </a:lnTo>
                    <a:lnTo>
                      <a:pt x="690026" y="421682"/>
                    </a:lnTo>
                    <a:lnTo>
                      <a:pt x="688813" y="423652"/>
                    </a:lnTo>
                    <a:lnTo>
                      <a:pt x="688662" y="425622"/>
                    </a:lnTo>
                    <a:lnTo>
                      <a:pt x="688965" y="427137"/>
                    </a:lnTo>
                    <a:lnTo>
                      <a:pt x="689723" y="428197"/>
                    </a:lnTo>
                    <a:lnTo>
                      <a:pt x="693359" y="428955"/>
                    </a:lnTo>
                    <a:lnTo>
                      <a:pt x="710936" y="430622"/>
                    </a:lnTo>
                    <a:lnTo>
                      <a:pt x="714875" y="431531"/>
                    </a:lnTo>
                    <a:lnTo>
                      <a:pt x="717602" y="432743"/>
                    </a:lnTo>
                    <a:lnTo>
                      <a:pt x="713208" y="433046"/>
                    </a:lnTo>
                    <a:lnTo>
                      <a:pt x="690480" y="431985"/>
                    </a:lnTo>
                    <a:lnTo>
                      <a:pt x="682450" y="430925"/>
                    </a:lnTo>
                    <a:lnTo>
                      <a:pt x="678359" y="431379"/>
                    </a:lnTo>
                    <a:lnTo>
                      <a:pt x="671692" y="434258"/>
                    </a:lnTo>
                    <a:lnTo>
                      <a:pt x="667904" y="436986"/>
                    </a:lnTo>
                    <a:lnTo>
                      <a:pt x="667449" y="438198"/>
                    </a:lnTo>
                    <a:lnTo>
                      <a:pt x="669116" y="441380"/>
                    </a:lnTo>
                    <a:lnTo>
                      <a:pt x="668207" y="442743"/>
                    </a:lnTo>
                    <a:lnTo>
                      <a:pt x="665934" y="444713"/>
                    </a:lnTo>
                    <a:lnTo>
                      <a:pt x="666237" y="446228"/>
                    </a:lnTo>
                    <a:lnTo>
                      <a:pt x="671995" y="448350"/>
                    </a:lnTo>
                    <a:lnTo>
                      <a:pt x="674873" y="448956"/>
                    </a:lnTo>
                    <a:lnTo>
                      <a:pt x="695026" y="448198"/>
                    </a:lnTo>
                    <a:lnTo>
                      <a:pt x="711693" y="448047"/>
                    </a:lnTo>
                    <a:lnTo>
                      <a:pt x="706693" y="449713"/>
                    </a:lnTo>
                    <a:lnTo>
                      <a:pt x="698359" y="451229"/>
                    </a:lnTo>
                    <a:lnTo>
                      <a:pt x="688510" y="451229"/>
                    </a:lnTo>
                    <a:lnTo>
                      <a:pt x="673358" y="453047"/>
                    </a:lnTo>
                    <a:lnTo>
                      <a:pt x="662146" y="455168"/>
                    </a:lnTo>
                    <a:lnTo>
                      <a:pt x="657449" y="456683"/>
                    </a:lnTo>
                    <a:lnTo>
                      <a:pt x="655630" y="458199"/>
                    </a:lnTo>
                    <a:lnTo>
                      <a:pt x="652145" y="462290"/>
                    </a:lnTo>
                    <a:lnTo>
                      <a:pt x="652903" y="463805"/>
                    </a:lnTo>
                    <a:lnTo>
                      <a:pt x="655933" y="464714"/>
                    </a:lnTo>
                    <a:lnTo>
                      <a:pt x="672298" y="465623"/>
                    </a:lnTo>
                    <a:lnTo>
                      <a:pt x="683056" y="464411"/>
                    </a:lnTo>
                    <a:lnTo>
                      <a:pt x="708057" y="458805"/>
                    </a:lnTo>
                    <a:lnTo>
                      <a:pt x="708208" y="459411"/>
                    </a:lnTo>
                    <a:lnTo>
                      <a:pt x="707602" y="460320"/>
                    </a:lnTo>
                    <a:lnTo>
                      <a:pt x="704572" y="462593"/>
                    </a:lnTo>
                    <a:lnTo>
                      <a:pt x="702299" y="463805"/>
                    </a:lnTo>
                    <a:lnTo>
                      <a:pt x="681995" y="470775"/>
                    </a:lnTo>
                    <a:lnTo>
                      <a:pt x="678359" y="471381"/>
                    </a:lnTo>
                    <a:lnTo>
                      <a:pt x="659873" y="471532"/>
                    </a:lnTo>
                    <a:lnTo>
                      <a:pt x="652600" y="471987"/>
                    </a:lnTo>
                    <a:lnTo>
                      <a:pt x="649721" y="472745"/>
                    </a:lnTo>
                    <a:lnTo>
                      <a:pt x="647600" y="473654"/>
                    </a:lnTo>
                    <a:lnTo>
                      <a:pt x="646236" y="474866"/>
                    </a:lnTo>
                    <a:lnTo>
                      <a:pt x="642751" y="478502"/>
                    </a:lnTo>
                    <a:lnTo>
                      <a:pt x="641084" y="480472"/>
                    </a:lnTo>
                    <a:lnTo>
                      <a:pt x="640478" y="481684"/>
                    </a:lnTo>
                    <a:lnTo>
                      <a:pt x="640327" y="482896"/>
                    </a:lnTo>
                    <a:lnTo>
                      <a:pt x="641236" y="485018"/>
                    </a:lnTo>
                    <a:lnTo>
                      <a:pt x="642903" y="486684"/>
                    </a:lnTo>
                    <a:lnTo>
                      <a:pt x="656539" y="489260"/>
                    </a:lnTo>
                    <a:lnTo>
                      <a:pt x="661085" y="489563"/>
                    </a:lnTo>
                    <a:lnTo>
                      <a:pt x="671085" y="488503"/>
                    </a:lnTo>
                    <a:lnTo>
                      <a:pt x="680177" y="495624"/>
                    </a:lnTo>
                    <a:lnTo>
                      <a:pt x="691541" y="499715"/>
                    </a:lnTo>
                    <a:lnTo>
                      <a:pt x="692753" y="499412"/>
                    </a:lnTo>
                    <a:lnTo>
                      <a:pt x="694723" y="497442"/>
                    </a:lnTo>
                    <a:lnTo>
                      <a:pt x="695632" y="494867"/>
                    </a:lnTo>
                    <a:lnTo>
                      <a:pt x="696693" y="493503"/>
                    </a:lnTo>
                    <a:lnTo>
                      <a:pt x="698359" y="492291"/>
                    </a:lnTo>
                    <a:lnTo>
                      <a:pt x="700178" y="491685"/>
                    </a:lnTo>
                    <a:lnTo>
                      <a:pt x="702147" y="491836"/>
                    </a:lnTo>
                    <a:lnTo>
                      <a:pt x="703814" y="492442"/>
                    </a:lnTo>
                    <a:lnTo>
                      <a:pt x="706693" y="495321"/>
                    </a:lnTo>
                    <a:lnTo>
                      <a:pt x="707905" y="497442"/>
                    </a:lnTo>
                    <a:lnTo>
                      <a:pt x="709269" y="498806"/>
                    </a:lnTo>
                    <a:lnTo>
                      <a:pt x="710784" y="499261"/>
                    </a:lnTo>
                    <a:lnTo>
                      <a:pt x="715178" y="497897"/>
                    </a:lnTo>
                    <a:lnTo>
                      <a:pt x="726391" y="493048"/>
                    </a:lnTo>
                    <a:lnTo>
                      <a:pt x="728966" y="490169"/>
                    </a:lnTo>
                    <a:lnTo>
                      <a:pt x="728966" y="488503"/>
                    </a:lnTo>
                    <a:lnTo>
                      <a:pt x="725027" y="483654"/>
                    </a:lnTo>
                    <a:lnTo>
                      <a:pt x="724724" y="482745"/>
                    </a:lnTo>
                    <a:lnTo>
                      <a:pt x="725633" y="482139"/>
                    </a:lnTo>
                    <a:lnTo>
                      <a:pt x="727148" y="482442"/>
                    </a:lnTo>
                    <a:lnTo>
                      <a:pt x="731088" y="484109"/>
                    </a:lnTo>
                    <a:lnTo>
                      <a:pt x="734270" y="484715"/>
                    </a:lnTo>
                    <a:lnTo>
                      <a:pt x="735482" y="481836"/>
                    </a:lnTo>
                    <a:lnTo>
                      <a:pt x="736846" y="476230"/>
                    </a:lnTo>
                    <a:lnTo>
                      <a:pt x="737452" y="474866"/>
                    </a:lnTo>
                    <a:lnTo>
                      <a:pt x="738512" y="473957"/>
                    </a:lnTo>
                    <a:lnTo>
                      <a:pt x="739421" y="474260"/>
                    </a:lnTo>
                    <a:lnTo>
                      <a:pt x="741240" y="476533"/>
                    </a:lnTo>
                    <a:lnTo>
                      <a:pt x="742300" y="477290"/>
                    </a:lnTo>
                    <a:lnTo>
                      <a:pt x="750179" y="475320"/>
                    </a:lnTo>
                    <a:lnTo>
                      <a:pt x="753513" y="475169"/>
                    </a:lnTo>
                    <a:lnTo>
                      <a:pt x="752452" y="475926"/>
                    </a:lnTo>
                    <a:lnTo>
                      <a:pt x="745482" y="480018"/>
                    </a:lnTo>
                    <a:lnTo>
                      <a:pt x="744118" y="481381"/>
                    </a:lnTo>
                    <a:lnTo>
                      <a:pt x="742906" y="483351"/>
                    </a:lnTo>
                    <a:lnTo>
                      <a:pt x="741997" y="486078"/>
                    </a:lnTo>
                    <a:lnTo>
                      <a:pt x="742755" y="487291"/>
                    </a:lnTo>
                    <a:lnTo>
                      <a:pt x="742906" y="490472"/>
                    </a:lnTo>
                    <a:lnTo>
                      <a:pt x="743209" y="491382"/>
                    </a:lnTo>
                    <a:lnTo>
                      <a:pt x="744573" y="492897"/>
                    </a:lnTo>
                    <a:lnTo>
                      <a:pt x="746846" y="493806"/>
                    </a:lnTo>
                    <a:lnTo>
                      <a:pt x="756998" y="492442"/>
                    </a:lnTo>
                    <a:lnTo>
                      <a:pt x="767604" y="491685"/>
                    </a:lnTo>
                    <a:lnTo>
                      <a:pt x="770180" y="490927"/>
                    </a:lnTo>
                    <a:lnTo>
                      <a:pt x="771695" y="490018"/>
                    </a:lnTo>
                    <a:lnTo>
                      <a:pt x="774271" y="487291"/>
                    </a:lnTo>
                    <a:lnTo>
                      <a:pt x="775635" y="486381"/>
                    </a:lnTo>
                    <a:lnTo>
                      <a:pt x="777150" y="485927"/>
                    </a:lnTo>
                    <a:lnTo>
                      <a:pt x="780332" y="486533"/>
                    </a:lnTo>
                    <a:lnTo>
                      <a:pt x="786393" y="490169"/>
                    </a:lnTo>
                    <a:lnTo>
                      <a:pt x="787453" y="490169"/>
                    </a:lnTo>
                    <a:lnTo>
                      <a:pt x="793363" y="489715"/>
                    </a:lnTo>
                    <a:lnTo>
                      <a:pt x="799424" y="488351"/>
                    </a:lnTo>
                    <a:lnTo>
                      <a:pt x="803818" y="488200"/>
                    </a:lnTo>
                    <a:lnTo>
                      <a:pt x="807909" y="486987"/>
                    </a:lnTo>
                    <a:lnTo>
                      <a:pt x="815939" y="483199"/>
                    </a:lnTo>
                    <a:lnTo>
                      <a:pt x="818364" y="483503"/>
                    </a:lnTo>
                    <a:lnTo>
                      <a:pt x="820030" y="485169"/>
                    </a:lnTo>
                    <a:lnTo>
                      <a:pt x="818818" y="486836"/>
                    </a:lnTo>
                    <a:lnTo>
                      <a:pt x="813970" y="490624"/>
                    </a:lnTo>
                    <a:lnTo>
                      <a:pt x="807303" y="494564"/>
                    </a:lnTo>
                    <a:lnTo>
                      <a:pt x="802757" y="496533"/>
                    </a:lnTo>
                    <a:lnTo>
                      <a:pt x="799727" y="497291"/>
                    </a:lnTo>
                    <a:lnTo>
                      <a:pt x="795029" y="497594"/>
                    </a:lnTo>
                    <a:lnTo>
                      <a:pt x="788514" y="497139"/>
                    </a:lnTo>
                    <a:lnTo>
                      <a:pt x="775635" y="498048"/>
                    </a:lnTo>
                    <a:lnTo>
                      <a:pt x="770938" y="499109"/>
                    </a:lnTo>
                    <a:lnTo>
                      <a:pt x="757604" y="504564"/>
                    </a:lnTo>
                    <a:lnTo>
                      <a:pt x="742906" y="508049"/>
                    </a:lnTo>
                    <a:lnTo>
                      <a:pt x="735482" y="510625"/>
                    </a:lnTo>
                    <a:lnTo>
                      <a:pt x="730482" y="513352"/>
                    </a:lnTo>
                    <a:lnTo>
                      <a:pt x="728663" y="515776"/>
                    </a:lnTo>
                    <a:lnTo>
                      <a:pt x="731694" y="519413"/>
                    </a:lnTo>
                    <a:lnTo>
                      <a:pt x="734270" y="521080"/>
                    </a:lnTo>
                    <a:lnTo>
                      <a:pt x="743512" y="525625"/>
                    </a:lnTo>
                    <a:lnTo>
                      <a:pt x="748058" y="527595"/>
                    </a:lnTo>
                    <a:lnTo>
                      <a:pt x="752301" y="528807"/>
                    </a:lnTo>
                    <a:lnTo>
                      <a:pt x="765938" y="530322"/>
                    </a:lnTo>
                    <a:lnTo>
                      <a:pt x="779574" y="529565"/>
                    </a:lnTo>
                    <a:lnTo>
                      <a:pt x="801242" y="525019"/>
                    </a:lnTo>
                    <a:lnTo>
                      <a:pt x="813363" y="520474"/>
                    </a:lnTo>
                    <a:lnTo>
                      <a:pt x="822909" y="517595"/>
                    </a:lnTo>
                    <a:lnTo>
                      <a:pt x="828213" y="514867"/>
                    </a:lnTo>
                    <a:lnTo>
                      <a:pt x="831546" y="511382"/>
                    </a:lnTo>
                    <a:lnTo>
                      <a:pt x="833819" y="509867"/>
                    </a:lnTo>
                    <a:lnTo>
                      <a:pt x="838061" y="508049"/>
                    </a:lnTo>
                    <a:lnTo>
                      <a:pt x="843819" y="506685"/>
                    </a:lnTo>
                    <a:lnTo>
                      <a:pt x="862153" y="504412"/>
                    </a:lnTo>
                    <a:lnTo>
                      <a:pt x="875790" y="497442"/>
                    </a:lnTo>
                    <a:lnTo>
                      <a:pt x="880487" y="494412"/>
                    </a:lnTo>
                    <a:lnTo>
                      <a:pt x="885033" y="495776"/>
                    </a:lnTo>
                    <a:lnTo>
                      <a:pt x="885942" y="496685"/>
                    </a:lnTo>
                    <a:lnTo>
                      <a:pt x="884881" y="497594"/>
                    </a:lnTo>
                    <a:lnTo>
                      <a:pt x="882608" y="498352"/>
                    </a:lnTo>
                    <a:lnTo>
                      <a:pt x="886851" y="500170"/>
                    </a:lnTo>
                    <a:lnTo>
                      <a:pt x="890184" y="500776"/>
                    </a:lnTo>
                    <a:lnTo>
                      <a:pt x="893518" y="501079"/>
                    </a:lnTo>
                    <a:lnTo>
                      <a:pt x="897003" y="500624"/>
                    </a:lnTo>
                    <a:lnTo>
                      <a:pt x="902609" y="498655"/>
                    </a:lnTo>
                    <a:lnTo>
                      <a:pt x="908216" y="497897"/>
                    </a:lnTo>
                    <a:lnTo>
                      <a:pt x="918064" y="500473"/>
                    </a:lnTo>
                    <a:lnTo>
                      <a:pt x="926550" y="501836"/>
                    </a:lnTo>
                    <a:lnTo>
                      <a:pt x="929277" y="501836"/>
                    </a:lnTo>
                    <a:lnTo>
                      <a:pt x="931853" y="501230"/>
                    </a:lnTo>
                    <a:lnTo>
                      <a:pt x="942005" y="497139"/>
                    </a:lnTo>
                    <a:lnTo>
                      <a:pt x="955490" y="493048"/>
                    </a:lnTo>
                    <a:lnTo>
                      <a:pt x="958823" y="490775"/>
                    </a:lnTo>
                    <a:lnTo>
                      <a:pt x="961854" y="487442"/>
                    </a:lnTo>
                    <a:lnTo>
                      <a:pt x="966248" y="475169"/>
                    </a:lnTo>
                    <a:lnTo>
                      <a:pt x="966854" y="470169"/>
                    </a:lnTo>
                    <a:lnTo>
                      <a:pt x="971248" y="462896"/>
                    </a:lnTo>
                    <a:lnTo>
                      <a:pt x="972309" y="458956"/>
                    </a:lnTo>
                    <a:lnTo>
                      <a:pt x="972309" y="456532"/>
                    </a:lnTo>
                    <a:lnTo>
                      <a:pt x="970036" y="448956"/>
                    </a:lnTo>
                    <a:lnTo>
                      <a:pt x="968975" y="446228"/>
                    </a:lnTo>
                    <a:lnTo>
                      <a:pt x="968218" y="445319"/>
                    </a:lnTo>
                    <a:lnTo>
                      <a:pt x="966096" y="444107"/>
                    </a:lnTo>
                    <a:lnTo>
                      <a:pt x="960793" y="441683"/>
                    </a:lnTo>
                    <a:lnTo>
                      <a:pt x="947308" y="438804"/>
                    </a:lnTo>
                    <a:lnTo>
                      <a:pt x="943671" y="439258"/>
                    </a:lnTo>
                    <a:lnTo>
                      <a:pt x="939580" y="440925"/>
                    </a:lnTo>
                    <a:lnTo>
                      <a:pt x="936095" y="443653"/>
                    </a:lnTo>
                    <a:lnTo>
                      <a:pt x="934883" y="445016"/>
                    </a:lnTo>
                    <a:lnTo>
                      <a:pt x="934429" y="446228"/>
                    </a:lnTo>
                    <a:lnTo>
                      <a:pt x="935641" y="449410"/>
                    </a:lnTo>
                    <a:lnTo>
                      <a:pt x="937307" y="451077"/>
                    </a:lnTo>
                    <a:lnTo>
                      <a:pt x="939277" y="452289"/>
                    </a:lnTo>
                    <a:lnTo>
                      <a:pt x="939126" y="452744"/>
                    </a:lnTo>
                    <a:lnTo>
                      <a:pt x="933671" y="454259"/>
                    </a:lnTo>
                    <a:lnTo>
                      <a:pt x="933368" y="456532"/>
                    </a:lnTo>
                    <a:lnTo>
                      <a:pt x="933368" y="459411"/>
                    </a:lnTo>
                    <a:lnTo>
                      <a:pt x="933065" y="460017"/>
                    </a:lnTo>
                    <a:lnTo>
                      <a:pt x="931550" y="454865"/>
                    </a:lnTo>
                    <a:lnTo>
                      <a:pt x="929428" y="450774"/>
                    </a:lnTo>
                    <a:lnTo>
                      <a:pt x="928671" y="449713"/>
                    </a:lnTo>
                    <a:lnTo>
                      <a:pt x="927156" y="448804"/>
                    </a:lnTo>
                    <a:lnTo>
                      <a:pt x="924883" y="448047"/>
                    </a:lnTo>
                    <a:lnTo>
                      <a:pt x="919428" y="447138"/>
                    </a:lnTo>
                    <a:lnTo>
                      <a:pt x="916095" y="447441"/>
                    </a:lnTo>
                    <a:lnTo>
                      <a:pt x="911701" y="448804"/>
                    </a:lnTo>
                    <a:lnTo>
                      <a:pt x="905791" y="453047"/>
                    </a:lnTo>
                    <a:lnTo>
                      <a:pt x="904882" y="453350"/>
                    </a:lnTo>
                    <a:lnTo>
                      <a:pt x="902912" y="452895"/>
                    </a:lnTo>
                    <a:lnTo>
                      <a:pt x="904276" y="450926"/>
                    </a:lnTo>
                    <a:lnTo>
                      <a:pt x="910185" y="445319"/>
                    </a:lnTo>
                    <a:lnTo>
                      <a:pt x="910791" y="444410"/>
                    </a:lnTo>
                    <a:lnTo>
                      <a:pt x="911094" y="443350"/>
                    </a:lnTo>
                    <a:lnTo>
                      <a:pt x="911094" y="442137"/>
                    </a:lnTo>
                    <a:lnTo>
                      <a:pt x="909579" y="439865"/>
                    </a:lnTo>
                    <a:lnTo>
                      <a:pt x="907458" y="438652"/>
                    </a:lnTo>
                    <a:lnTo>
                      <a:pt x="902912" y="438198"/>
                    </a:lnTo>
                    <a:lnTo>
                      <a:pt x="898821" y="438804"/>
                    </a:lnTo>
                    <a:lnTo>
                      <a:pt x="895336" y="438652"/>
                    </a:lnTo>
                    <a:lnTo>
                      <a:pt x="892760" y="438046"/>
                    </a:lnTo>
                    <a:lnTo>
                      <a:pt x="892306" y="436986"/>
                    </a:lnTo>
                    <a:lnTo>
                      <a:pt x="892912" y="435319"/>
                    </a:lnTo>
                    <a:lnTo>
                      <a:pt x="895033" y="433198"/>
                    </a:lnTo>
                    <a:lnTo>
                      <a:pt x="898518" y="430622"/>
                    </a:lnTo>
                    <a:lnTo>
                      <a:pt x="900033" y="428804"/>
                    </a:lnTo>
                    <a:lnTo>
                      <a:pt x="898064" y="423349"/>
                    </a:lnTo>
                    <a:lnTo>
                      <a:pt x="893973" y="419864"/>
                    </a:lnTo>
                    <a:lnTo>
                      <a:pt x="889427" y="417136"/>
                    </a:lnTo>
                    <a:lnTo>
                      <a:pt x="889124" y="416682"/>
                    </a:lnTo>
                    <a:lnTo>
                      <a:pt x="888669" y="413500"/>
                    </a:lnTo>
                    <a:lnTo>
                      <a:pt x="888063" y="411682"/>
                    </a:lnTo>
                    <a:lnTo>
                      <a:pt x="886245" y="408803"/>
                    </a:lnTo>
                    <a:lnTo>
                      <a:pt x="886093" y="407591"/>
                    </a:lnTo>
                    <a:lnTo>
                      <a:pt x="886700" y="406378"/>
                    </a:lnTo>
                    <a:lnTo>
                      <a:pt x="889427" y="403500"/>
                    </a:lnTo>
                    <a:lnTo>
                      <a:pt x="890336" y="401833"/>
                    </a:lnTo>
                    <a:lnTo>
                      <a:pt x="890639" y="400166"/>
                    </a:lnTo>
                    <a:lnTo>
                      <a:pt x="889882" y="399257"/>
                    </a:lnTo>
                    <a:lnTo>
                      <a:pt x="888215" y="399105"/>
                    </a:lnTo>
                    <a:lnTo>
                      <a:pt x="880639" y="395469"/>
                    </a:lnTo>
                    <a:lnTo>
                      <a:pt x="873366" y="396075"/>
                    </a:lnTo>
                    <a:lnTo>
                      <a:pt x="870032" y="397287"/>
                    </a:lnTo>
                    <a:lnTo>
                      <a:pt x="866850" y="399105"/>
                    </a:lnTo>
                    <a:lnTo>
                      <a:pt x="862305" y="403045"/>
                    </a:lnTo>
                    <a:lnTo>
                      <a:pt x="852456" y="412742"/>
                    </a:lnTo>
                    <a:lnTo>
                      <a:pt x="849274" y="414864"/>
                    </a:lnTo>
                    <a:lnTo>
                      <a:pt x="841395" y="418652"/>
                    </a:lnTo>
                    <a:lnTo>
                      <a:pt x="840334" y="419712"/>
                    </a:lnTo>
                    <a:lnTo>
                      <a:pt x="840183" y="421379"/>
                    </a:lnTo>
                    <a:lnTo>
                      <a:pt x="840940" y="423500"/>
                    </a:lnTo>
                    <a:lnTo>
                      <a:pt x="842001" y="425016"/>
                    </a:lnTo>
                    <a:lnTo>
                      <a:pt x="843213" y="425925"/>
                    </a:lnTo>
                    <a:lnTo>
                      <a:pt x="851244" y="429713"/>
                    </a:lnTo>
                    <a:lnTo>
                      <a:pt x="856698" y="430319"/>
                    </a:lnTo>
                    <a:lnTo>
                      <a:pt x="862759" y="434107"/>
                    </a:lnTo>
                    <a:lnTo>
                      <a:pt x="864274" y="436077"/>
                    </a:lnTo>
                    <a:lnTo>
                      <a:pt x="864578" y="438198"/>
                    </a:lnTo>
                    <a:lnTo>
                      <a:pt x="864426" y="439865"/>
                    </a:lnTo>
                    <a:lnTo>
                      <a:pt x="863668" y="441077"/>
                    </a:lnTo>
                    <a:lnTo>
                      <a:pt x="852304" y="446228"/>
                    </a:lnTo>
                    <a:lnTo>
                      <a:pt x="854274" y="449865"/>
                    </a:lnTo>
                    <a:lnTo>
                      <a:pt x="877608" y="459108"/>
                    </a:lnTo>
                    <a:lnTo>
                      <a:pt x="878366" y="460471"/>
                    </a:lnTo>
                    <a:lnTo>
                      <a:pt x="878820" y="463350"/>
                    </a:lnTo>
                    <a:lnTo>
                      <a:pt x="878063" y="465320"/>
                    </a:lnTo>
                    <a:lnTo>
                      <a:pt x="877154" y="467896"/>
                    </a:lnTo>
                    <a:lnTo>
                      <a:pt x="875639" y="469411"/>
                    </a:lnTo>
                    <a:lnTo>
                      <a:pt x="873366" y="469866"/>
                    </a:lnTo>
                    <a:lnTo>
                      <a:pt x="835789" y="467138"/>
                    </a:lnTo>
                    <a:lnTo>
                      <a:pt x="828516" y="466835"/>
                    </a:lnTo>
                    <a:lnTo>
                      <a:pt x="823970" y="467593"/>
                    </a:lnTo>
                    <a:lnTo>
                      <a:pt x="819576" y="467441"/>
                    </a:lnTo>
                    <a:lnTo>
                      <a:pt x="816546" y="466229"/>
                    </a:lnTo>
                    <a:lnTo>
                      <a:pt x="813515" y="463805"/>
                    </a:lnTo>
                    <a:lnTo>
                      <a:pt x="810788" y="460168"/>
                    </a:lnTo>
                    <a:lnTo>
                      <a:pt x="808515" y="455320"/>
                    </a:lnTo>
                    <a:lnTo>
                      <a:pt x="806848" y="452592"/>
                    </a:lnTo>
                    <a:lnTo>
                      <a:pt x="805939" y="451986"/>
                    </a:lnTo>
                    <a:lnTo>
                      <a:pt x="801545" y="451380"/>
                    </a:lnTo>
                    <a:lnTo>
                      <a:pt x="796999" y="451683"/>
                    </a:lnTo>
                    <a:lnTo>
                      <a:pt x="792151" y="451229"/>
                    </a:lnTo>
                    <a:lnTo>
                      <a:pt x="791545" y="450471"/>
                    </a:lnTo>
                    <a:lnTo>
                      <a:pt x="792454" y="449410"/>
                    </a:lnTo>
                    <a:lnTo>
                      <a:pt x="797302" y="446986"/>
                    </a:lnTo>
                    <a:lnTo>
                      <a:pt x="797302" y="445319"/>
                    </a:lnTo>
                    <a:lnTo>
                      <a:pt x="784423" y="437895"/>
                    </a:lnTo>
                    <a:lnTo>
                      <a:pt x="774423" y="430622"/>
                    </a:lnTo>
                    <a:lnTo>
                      <a:pt x="766695" y="428197"/>
                    </a:lnTo>
                    <a:lnTo>
                      <a:pt x="761392" y="427440"/>
                    </a:lnTo>
                    <a:lnTo>
                      <a:pt x="756089" y="427894"/>
                    </a:lnTo>
                    <a:lnTo>
                      <a:pt x="743512" y="430319"/>
                    </a:lnTo>
                    <a:lnTo>
                      <a:pt x="740937" y="429258"/>
                    </a:lnTo>
                    <a:close/>
                    <a:moveTo>
                      <a:pt x="642751" y="436683"/>
                    </a:moveTo>
                    <a:lnTo>
                      <a:pt x="639418" y="435773"/>
                    </a:lnTo>
                    <a:lnTo>
                      <a:pt x="636236" y="435925"/>
                    </a:lnTo>
                    <a:lnTo>
                      <a:pt x="632448" y="438046"/>
                    </a:lnTo>
                    <a:lnTo>
                      <a:pt x="625629" y="442592"/>
                    </a:lnTo>
                    <a:lnTo>
                      <a:pt x="618962" y="444713"/>
                    </a:lnTo>
                    <a:lnTo>
                      <a:pt x="612144" y="447592"/>
                    </a:lnTo>
                    <a:lnTo>
                      <a:pt x="601840" y="455320"/>
                    </a:lnTo>
                    <a:lnTo>
                      <a:pt x="595780" y="459259"/>
                    </a:lnTo>
                    <a:lnTo>
                      <a:pt x="593204" y="461229"/>
                    </a:lnTo>
                    <a:lnTo>
                      <a:pt x="591234" y="463805"/>
                    </a:lnTo>
                    <a:lnTo>
                      <a:pt x="591537" y="464714"/>
                    </a:lnTo>
                    <a:lnTo>
                      <a:pt x="593658" y="465623"/>
                    </a:lnTo>
                    <a:lnTo>
                      <a:pt x="599719" y="466532"/>
                    </a:lnTo>
                    <a:lnTo>
                      <a:pt x="607144" y="469108"/>
                    </a:lnTo>
                    <a:lnTo>
                      <a:pt x="612750" y="469411"/>
                    </a:lnTo>
                    <a:lnTo>
                      <a:pt x="620629" y="465775"/>
                    </a:lnTo>
                    <a:lnTo>
                      <a:pt x="623357" y="463956"/>
                    </a:lnTo>
                    <a:lnTo>
                      <a:pt x="632599" y="453047"/>
                    </a:lnTo>
                    <a:lnTo>
                      <a:pt x="637448" y="446531"/>
                    </a:lnTo>
                    <a:lnTo>
                      <a:pt x="639872" y="443956"/>
                    </a:lnTo>
                    <a:lnTo>
                      <a:pt x="643357" y="437743"/>
                    </a:lnTo>
                    <a:lnTo>
                      <a:pt x="642751" y="436683"/>
                    </a:lnTo>
                    <a:close/>
                    <a:moveTo>
                      <a:pt x="1148679" y="407439"/>
                    </a:moveTo>
                    <a:lnTo>
                      <a:pt x="1150194" y="411833"/>
                    </a:lnTo>
                    <a:lnTo>
                      <a:pt x="1152467" y="415924"/>
                    </a:lnTo>
                    <a:lnTo>
                      <a:pt x="1144891" y="416530"/>
                    </a:lnTo>
                    <a:lnTo>
                      <a:pt x="1140497" y="412742"/>
                    </a:lnTo>
                    <a:lnTo>
                      <a:pt x="1131254" y="406833"/>
                    </a:lnTo>
                    <a:lnTo>
                      <a:pt x="1127315" y="406378"/>
                    </a:lnTo>
                    <a:lnTo>
                      <a:pt x="1120345" y="406227"/>
                    </a:lnTo>
                    <a:lnTo>
                      <a:pt x="1111556" y="407439"/>
                    </a:lnTo>
                    <a:lnTo>
                      <a:pt x="1106405" y="409106"/>
                    </a:lnTo>
                    <a:lnTo>
                      <a:pt x="1099435" y="412591"/>
                    </a:lnTo>
                    <a:lnTo>
                      <a:pt x="1097768" y="415318"/>
                    </a:lnTo>
                    <a:lnTo>
                      <a:pt x="1098223" y="416379"/>
                    </a:lnTo>
                    <a:lnTo>
                      <a:pt x="1099738" y="417439"/>
                    </a:lnTo>
                    <a:lnTo>
                      <a:pt x="1104435" y="419712"/>
                    </a:lnTo>
                    <a:lnTo>
                      <a:pt x="1117466" y="421834"/>
                    </a:lnTo>
                    <a:lnTo>
                      <a:pt x="1120042" y="422743"/>
                    </a:lnTo>
                    <a:lnTo>
                      <a:pt x="1122920" y="424409"/>
                    </a:lnTo>
                    <a:lnTo>
                      <a:pt x="1122769" y="425167"/>
                    </a:lnTo>
                    <a:lnTo>
                      <a:pt x="1121102" y="425622"/>
                    </a:lnTo>
                    <a:lnTo>
                      <a:pt x="1112466" y="426834"/>
                    </a:lnTo>
                    <a:lnTo>
                      <a:pt x="1110950" y="427591"/>
                    </a:lnTo>
                    <a:lnTo>
                      <a:pt x="1110950" y="428349"/>
                    </a:lnTo>
                    <a:lnTo>
                      <a:pt x="1117314" y="430925"/>
                    </a:lnTo>
                    <a:lnTo>
                      <a:pt x="1122314" y="431076"/>
                    </a:lnTo>
                    <a:lnTo>
                      <a:pt x="1127315" y="432743"/>
                    </a:lnTo>
                    <a:lnTo>
                      <a:pt x="1134891" y="433955"/>
                    </a:lnTo>
                    <a:lnTo>
                      <a:pt x="1128072" y="434713"/>
                    </a:lnTo>
                    <a:lnTo>
                      <a:pt x="1122314" y="434410"/>
                    </a:lnTo>
                    <a:lnTo>
                      <a:pt x="1120042" y="434713"/>
                    </a:lnTo>
                    <a:lnTo>
                      <a:pt x="1119284" y="435622"/>
                    </a:lnTo>
                    <a:lnTo>
                      <a:pt x="1120951" y="438501"/>
                    </a:lnTo>
                    <a:lnTo>
                      <a:pt x="1122920" y="440622"/>
                    </a:lnTo>
                    <a:lnTo>
                      <a:pt x="1130800" y="444562"/>
                    </a:lnTo>
                    <a:lnTo>
                      <a:pt x="1130496" y="445622"/>
                    </a:lnTo>
                    <a:lnTo>
                      <a:pt x="1128527" y="446380"/>
                    </a:lnTo>
                    <a:lnTo>
                      <a:pt x="1126102" y="446531"/>
                    </a:lnTo>
                    <a:lnTo>
                      <a:pt x="1121860" y="445622"/>
                    </a:lnTo>
                    <a:lnTo>
                      <a:pt x="1119587" y="444410"/>
                    </a:lnTo>
                    <a:lnTo>
                      <a:pt x="1116102" y="441683"/>
                    </a:lnTo>
                    <a:lnTo>
                      <a:pt x="1097768" y="430470"/>
                    </a:lnTo>
                    <a:lnTo>
                      <a:pt x="1093525" y="428349"/>
                    </a:lnTo>
                    <a:lnTo>
                      <a:pt x="1092465" y="426834"/>
                    </a:lnTo>
                    <a:lnTo>
                      <a:pt x="1092616" y="424864"/>
                    </a:lnTo>
                    <a:lnTo>
                      <a:pt x="1091253" y="422743"/>
                    </a:lnTo>
                    <a:lnTo>
                      <a:pt x="1085798" y="418955"/>
                    </a:lnTo>
                    <a:lnTo>
                      <a:pt x="1083677" y="418197"/>
                    </a:lnTo>
                    <a:lnTo>
                      <a:pt x="1076555" y="416682"/>
                    </a:lnTo>
                    <a:lnTo>
                      <a:pt x="1073525" y="416682"/>
                    </a:lnTo>
                    <a:lnTo>
                      <a:pt x="1071555" y="417439"/>
                    </a:lnTo>
                    <a:lnTo>
                      <a:pt x="1068676" y="419712"/>
                    </a:lnTo>
                    <a:lnTo>
                      <a:pt x="1064888" y="423500"/>
                    </a:lnTo>
                    <a:lnTo>
                      <a:pt x="1063979" y="426076"/>
                    </a:lnTo>
                    <a:lnTo>
                      <a:pt x="1068070" y="428500"/>
                    </a:lnTo>
                    <a:lnTo>
                      <a:pt x="1070191" y="428955"/>
                    </a:lnTo>
                    <a:lnTo>
                      <a:pt x="1079889" y="428804"/>
                    </a:lnTo>
                    <a:lnTo>
                      <a:pt x="1080646" y="429864"/>
                    </a:lnTo>
                    <a:lnTo>
                      <a:pt x="1073979" y="433652"/>
                    </a:lnTo>
                    <a:lnTo>
                      <a:pt x="1071555" y="436380"/>
                    </a:lnTo>
                    <a:lnTo>
                      <a:pt x="1070646" y="437592"/>
                    </a:lnTo>
                    <a:lnTo>
                      <a:pt x="1072009" y="440016"/>
                    </a:lnTo>
                    <a:lnTo>
                      <a:pt x="1074888" y="441834"/>
                    </a:lnTo>
                    <a:lnTo>
                      <a:pt x="1082768" y="442743"/>
                    </a:lnTo>
                    <a:lnTo>
                      <a:pt x="1080646" y="445471"/>
                    </a:lnTo>
                    <a:lnTo>
                      <a:pt x="1080646" y="446835"/>
                    </a:lnTo>
                    <a:lnTo>
                      <a:pt x="1081555" y="448804"/>
                    </a:lnTo>
                    <a:lnTo>
                      <a:pt x="1083071" y="450774"/>
                    </a:lnTo>
                    <a:lnTo>
                      <a:pt x="1086556" y="453956"/>
                    </a:lnTo>
                    <a:lnTo>
                      <a:pt x="1087313" y="454259"/>
                    </a:lnTo>
                    <a:lnTo>
                      <a:pt x="1094132" y="453198"/>
                    </a:lnTo>
                    <a:lnTo>
                      <a:pt x="1095192" y="453350"/>
                    </a:lnTo>
                    <a:lnTo>
                      <a:pt x="1091253" y="455320"/>
                    </a:lnTo>
                    <a:lnTo>
                      <a:pt x="1087313" y="455623"/>
                    </a:lnTo>
                    <a:lnTo>
                      <a:pt x="1082919" y="454259"/>
                    </a:lnTo>
                    <a:lnTo>
                      <a:pt x="1078070" y="451380"/>
                    </a:lnTo>
                    <a:lnTo>
                      <a:pt x="1068676" y="448501"/>
                    </a:lnTo>
                    <a:lnTo>
                      <a:pt x="1063221" y="448956"/>
                    </a:lnTo>
                    <a:lnTo>
                      <a:pt x="1059736" y="452441"/>
                    </a:lnTo>
                    <a:lnTo>
                      <a:pt x="1060191" y="454411"/>
                    </a:lnTo>
                    <a:lnTo>
                      <a:pt x="1055797" y="458047"/>
                    </a:lnTo>
                    <a:lnTo>
                      <a:pt x="1047160" y="462138"/>
                    </a:lnTo>
                    <a:lnTo>
                      <a:pt x="1045190" y="464259"/>
                    </a:lnTo>
                    <a:lnTo>
                      <a:pt x="1047918" y="467441"/>
                    </a:lnTo>
                    <a:lnTo>
                      <a:pt x="1050948" y="469108"/>
                    </a:lnTo>
                    <a:lnTo>
                      <a:pt x="1052160" y="469108"/>
                    </a:lnTo>
                    <a:lnTo>
                      <a:pt x="1081707" y="463805"/>
                    </a:lnTo>
                    <a:lnTo>
                      <a:pt x="1088677" y="464714"/>
                    </a:lnTo>
                    <a:lnTo>
                      <a:pt x="1097010" y="463047"/>
                    </a:lnTo>
                    <a:lnTo>
                      <a:pt x="1123981" y="459714"/>
                    </a:lnTo>
                    <a:lnTo>
                      <a:pt x="1143679" y="458805"/>
                    </a:lnTo>
                    <a:lnTo>
                      <a:pt x="1143224" y="460471"/>
                    </a:lnTo>
                    <a:lnTo>
                      <a:pt x="1132769" y="461229"/>
                    </a:lnTo>
                    <a:lnTo>
                      <a:pt x="1128224" y="462441"/>
                    </a:lnTo>
                    <a:lnTo>
                      <a:pt x="1127769" y="463653"/>
                    </a:lnTo>
                    <a:lnTo>
                      <a:pt x="1122466" y="466078"/>
                    </a:lnTo>
                    <a:lnTo>
                      <a:pt x="1113829" y="471987"/>
                    </a:lnTo>
                    <a:lnTo>
                      <a:pt x="1102011" y="475017"/>
                    </a:lnTo>
                    <a:lnTo>
                      <a:pt x="1102162" y="475623"/>
                    </a:lnTo>
                    <a:lnTo>
                      <a:pt x="1101405" y="478199"/>
                    </a:lnTo>
                    <a:lnTo>
                      <a:pt x="1104586" y="479563"/>
                    </a:lnTo>
                    <a:lnTo>
                      <a:pt x="1111405" y="481381"/>
                    </a:lnTo>
                    <a:lnTo>
                      <a:pt x="1117314" y="483806"/>
                    </a:lnTo>
                    <a:lnTo>
                      <a:pt x="1117163" y="484412"/>
                    </a:lnTo>
                    <a:lnTo>
                      <a:pt x="1108678" y="485321"/>
                    </a:lnTo>
                    <a:lnTo>
                      <a:pt x="1108071" y="486987"/>
                    </a:lnTo>
                    <a:lnTo>
                      <a:pt x="1111556" y="493654"/>
                    </a:lnTo>
                    <a:lnTo>
                      <a:pt x="1113375" y="495776"/>
                    </a:lnTo>
                    <a:lnTo>
                      <a:pt x="1114890" y="496836"/>
                    </a:lnTo>
                    <a:lnTo>
                      <a:pt x="1122769" y="497139"/>
                    </a:lnTo>
                    <a:lnTo>
                      <a:pt x="1131557" y="498200"/>
                    </a:lnTo>
                    <a:lnTo>
                      <a:pt x="1137163" y="494867"/>
                    </a:lnTo>
                    <a:lnTo>
                      <a:pt x="1139739" y="494564"/>
                    </a:lnTo>
                    <a:lnTo>
                      <a:pt x="1142012" y="495927"/>
                    </a:lnTo>
                    <a:lnTo>
                      <a:pt x="1144436" y="496533"/>
                    </a:lnTo>
                    <a:lnTo>
                      <a:pt x="1148376" y="496230"/>
                    </a:lnTo>
                    <a:lnTo>
                      <a:pt x="1153225" y="496382"/>
                    </a:lnTo>
                    <a:lnTo>
                      <a:pt x="1156861" y="496988"/>
                    </a:lnTo>
                    <a:lnTo>
                      <a:pt x="1160498" y="496836"/>
                    </a:lnTo>
                    <a:lnTo>
                      <a:pt x="1167922" y="495624"/>
                    </a:lnTo>
                    <a:lnTo>
                      <a:pt x="1172619" y="495624"/>
                    </a:lnTo>
                    <a:lnTo>
                      <a:pt x="1176104" y="494867"/>
                    </a:lnTo>
                    <a:lnTo>
                      <a:pt x="1177165" y="494109"/>
                    </a:lnTo>
                    <a:lnTo>
                      <a:pt x="1176104" y="491382"/>
                    </a:lnTo>
                    <a:lnTo>
                      <a:pt x="1173680" y="489109"/>
                    </a:lnTo>
                    <a:lnTo>
                      <a:pt x="1173225" y="487897"/>
                    </a:lnTo>
                    <a:lnTo>
                      <a:pt x="1173831" y="486684"/>
                    </a:lnTo>
                    <a:lnTo>
                      <a:pt x="1174438" y="486533"/>
                    </a:lnTo>
                    <a:lnTo>
                      <a:pt x="1176407" y="489109"/>
                    </a:lnTo>
                    <a:lnTo>
                      <a:pt x="1179892" y="490775"/>
                    </a:lnTo>
                    <a:lnTo>
                      <a:pt x="1181104" y="491079"/>
                    </a:lnTo>
                    <a:lnTo>
                      <a:pt x="1184589" y="490472"/>
                    </a:lnTo>
                    <a:lnTo>
                      <a:pt x="1185044" y="489109"/>
                    </a:lnTo>
                    <a:lnTo>
                      <a:pt x="1183832" y="486987"/>
                    </a:lnTo>
                    <a:lnTo>
                      <a:pt x="1179741" y="483199"/>
                    </a:lnTo>
                    <a:lnTo>
                      <a:pt x="1178983" y="474563"/>
                    </a:lnTo>
                    <a:lnTo>
                      <a:pt x="1185195" y="469411"/>
                    </a:lnTo>
                    <a:lnTo>
                      <a:pt x="1190347" y="472138"/>
                    </a:lnTo>
                    <a:lnTo>
                      <a:pt x="1193075" y="474411"/>
                    </a:lnTo>
                    <a:lnTo>
                      <a:pt x="1193832" y="474260"/>
                    </a:lnTo>
                    <a:lnTo>
                      <a:pt x="1191862" y="466835"/>
                    </a:lnTo>
                    <a:lnTo>
                      <a:pt x="1191862" y="460168"/>
                    </a:lnTo>
                    <a:lnTo>
                      <a:pt x="1190953" y="459562"/>
                    </a:lnTo>
                    <a:lnTo>
                      <a:pt x="1179438" y="456532"/>
                    </a:lnTo>
                    <a:lnTo>
                      <a:pt x="1178680" y="455320"/>
                    </a:lnTo>
                    <a:lnTo>
                      <a:pt x="1183983" y="452895"/>
                    </a:lnTo>
                    <a:lnTo>
                      <a:pt x="1186559" y="450168"/>
                    </a:lnTo>
                    <a:lnTo>
                      <a:pt x="1186559" y="448653"/>
                    </a:lnTo>
                    <a:lnTo>
                      <a:pt x="1185195" y="445168"/>
                    </a:lnTo>
                    <a:lnTo>
                      <a:pt x="1185195" y="443046"/>
                    </a:lnTo>
                    <a:lnTo>
                      <a:pt x="1186256" y="438955"/>
                    </a:lnTo>
                    <a:lnTo>
                      <a:pt x="1188529" y="435773"/>
                    </a:lnTo>
                    <a:lnTo>
                      <a:pt x="1188681" y="434107"/>
                    </a:lnTo>
                    <a:lnTo>
                      <a:pt x="1188529" y="431682"/>
                    </a:lnTo>
                    <a:lnTo>
                      <a:pt x="1187317" y="429258"/>
                    </a:lnTo>
                    <a:lnTo>
                      <a:pt x="1183680" y="424712"/>
                    </a:lnTo>
                    <a:lnTo>
                      <a:pt x="1182771" y="422894"/>
                    </a:lnTo>
                    <a:lnTo>
                      <a:pt x="1182771" y="421379"/>
                    </a:lnTo>
                    <a:lnTo>
                      <a:pt x="1183680" y="420015"/>
                    </a:lnTo>
                    <a:lnTo>
                      <a:pt x="1183983" y="418046"/>
                    </a:lnTo>
                    <a:lnTo>
                      <a:pt x="1183680" y="415470"/>
                    </a:lnTo>
                    <a:lnTo>
                      <a:pt x="1182923" y="413803"/>
                    </a:lnTo>
                    <a:lnTo>
                      <a:pt x="1180650" y="412439"/>
                    </a:lnTo>
                    <a:lnTo>
                      <a:pt x="1176256" y="411682"/>
                    </a:lnTo>
                    <a:lnTo>
                      <a:pt x="1168831" y="409257"/>
                    </a:lnTo>
                    <a:lnTo>
                      <a:pt x="1167468" y="407894"/>
                    </a:lnTo>
                    <a:lnTo>
                      <a:pt x="1160952" y="403954"/>
                    </a:lnTo>
                    <a:lnTo>
                      <a:pt x="1155952" y="402439"/>
                    </a:lnTo>
                    <a:lnTo>
                      <a:pt x="1149588" y="405318"/>
                    </a:lnTo>
                    <a:lnTo>
                      <a:pt x="1148679" y="407439"/>
                    </a:lnTo>
                    <a:close/>
                    <a:moveTo>
                      <a:pt x="1696275" y="433955"/>
                    </a:moveTo>
                    <a:lnTo>
                      <a:pt x="1691578" y="436986"/>
                    </a:lnTo>
                    <a:lnTo>
                      <a:pt x="1685972" y="441531"/>
                    </a:lnTo>
                    <a:lnTo>
                      <a:pt x="1681275" y="444410"/>
                    </a:lnTo>
                    <a:lnTo>
                      <a:pt x="1677183" y="448653"/>
                    </a:lnTo>
                    <a:lnTo>
                      <a:pt x="1678850" y="450926"/>
                    </a:lnTo>
                    <a:lnTo>
                      <a:pt x="1681426" y="451835"/>
                    </a:lnTo>
                    <a:lnTo>
                      <a:pt x="1686578" y="451532"/>
                    </a:lnTo>
                    <a:lnTo>
                      <a:pt x="1692942" y="449410"/>
                    </a:lnTo>
                    <a:lnTo>
                      <a:pt x="1694911" y="449562"/>
                    </a:lnTo>
                    <a:lnTo>
                      <a:pt x="1694608" y="446228"/>
                    </a:lnTo>
                    <a:lnTo>
                      <a:pt x="1694760" y="442895"/>
                    </a:lnTo>
                    <a:lnTo>
                      <a:pt x="1697790" y="440622"/>
                    </a:lnTo>
                    <a:lnTo>
                      <a:pt x="1700518" y="436077"/>
                    </a:lnTo>
                    <a:lnTo>
                      <a:pt x="1698245" y="434410"/>
                    </a:lnTo>
                    <a:lnTo>
                      <a:pt x="1696275" y="433955"/>
                    </a:lnTo>
                    <a:close/>
                    <a:moveTo>
                      <a:pt x="354559" y="1532026"/>
                    </a:moveTo>
                    <a:lnTo>
                      <a:pt x="356225" y="1532632"/>
                    </a:lnTo>
                    <a:lnTo>
                      <a:pt x="357286" y="1532632"/>
                    </a:lnTo>
                    <a:lnTo>
                      <a:pt x="357741" y="1532026"/>
                    </a:lnTo>
                    <a:lnTo>
                      <a:pt x="358044" y="1530813"/>
                    </a:lnTo>
                    <a:lnTo>
                      <a:pt x="358044" y="1527935"/>
                    </a:lnTo>
                    <a:lnTo>
                      <a:pt x="357589" y="1527177"/>
                    </a:lnTo>
                    <a:lnTo>
                      <a:pt x="356074" y="1524753"/>
                    </a:lnTo>
                    <a:lnTo>
                      <a:pt x="355771" y="1523692"/>
                    </a:lnTo>
                    <a:lnTo>
                      <a:pt x="354862" y="1523540"/>
                    </a:lnTo>
                    <a:lnTo>
                      <a:pt x="352437" y="1525056"/>
                    </a:lnTo>
                    <a:lnTo>
                      <a:pt x="351831" y="1525813"/>
                    </a:lnTo>
                    <a:lnTo>
                      <a:pt x="351680" y="1526571"/>
                    </a:lnTo>
                    <a:lnTo>
                      <a:pt x="353195" y="1530813"/>
                    </a:lnTo>
                    <a:lnTo>
                      <a:pt x="354559" y="1532026"/>
                    </a:lnTo>
                    <a:close/>
                    <a:moveTo>
                      <a:pt x="1403234" y="359559"/>
                    </a:moveTo>
                    <a:lnTo>
                      <a:pt x="1399900" y="356680"/>
                    </a:lnTo>
                    <a:lnTo>
                      <a:pt x="1390809" y="350619"/>
                    </a:lnTo>
                    <a:lnTo>
                      <a:pt x="1383991" y="348649"/>
                    </a:lnTo>
                    <a:lnTo>
                      <a:pt x="1377021" y="347437"/>
                    </a:lnTo>
                    <a:lnTo>
                      <a:pt x="1372475" y="347134"/>
                    </a:lnTo>
                    <a:lnTo>
                      <a:pt x="1367627" y="347740"/>
                    </a:lnTo>
                    <a:lnTo>
                      <a:pt x="1365202" y="348801"/>
                    </a:lnTo>
                    <a:lnTo>
                      <a:pt x="1364141" y="349861"/>
                    </a:lnTo>
                    <a:lnTo>
                      <a:pt x="1363232" y="352892"/>
                    </a:lnTo>
                    <a:lnTo>
                      <a:pt x="1363232" y="357286"/>
                    </a:lnTo>
                    <a:lnTo>
                      <a:pt x="1363535" y="360468"/>
                    </a:lnTo>
                    <a:lnTo>
                      <a:pt x="1364293" y="362741"/>
                    </a:lnTo>
                    <a:lnTo>
                      <a:pt x="1368536" y="366074"/>
                    </a:lnTo>
                    <a:lnTo>
                      <a:pt x="1389445" y="372892"/>
                    </a:lnTo>
                    <a:lnTo>
                      <a:pt x="1393082" y="373044"/>
                    </a:lnTo>
                    <a:lnTo>
                      <a:pt x="1400203" y="369710"/>
                    </a:lnTo>
                    <a:lnTo>
                      <a:pt x="1402628" y="368195"/>
                    </a:lnTo>
                    <a:lnTo>
                      <a:pt x="1403537" y="367135"/>
                    </a:lnTo>
                    <a:lnTo>
                      <a:pt x="1403992" y="365468"/>
                    </a:lnTo>
                    <a:lnTo>
                      <a:pt x="1403992" y="363195"/>
                    </a:lnTo>
                    <a:lnTo>
                      <a:pt x="1403234" y="359559"/>
                    </a:lnTo>
                    <a:close/>
                    <a:moveTo>
                      <a:pt x="1999923" y="772604"/>
                    </a:moveTo>
                    <a:lnTo>
                      <a:pt x="1997801" y="772755"/>
                    </a:lnTo>
                    <a:lnTo>
                      <a:pt x="1994923" y="773816"/>
                    </a:lnTo>
                    <a:lnTo>
                      <a:pt x="1991438" y="775786"/>
                    </a:lnTo>
                    <a:lnTo>
                      <a:pt x="1991892" y="777604"/>
                    </a:lnTo>
                    <a:lnTo>
                      <a:pt x="1999014" y="779877"/>
                    </a:lnTo>
                    <a:lnTo>
                      <a:pt x="1999771" y="779574"/>
                    </a:lnTo>
                    <a:lnTo>
                      <a:pt x="2001741" y="777150"/>
                    </a:lnTo>
                    <a:lnTo>
                      <a:pt x="2004165" y="775180"/>
                    </a:lnTo>
                    <a:lnTo>
                      <a:pt x="2002195" y="773059"/>
                    </a:lnTo>
                    <a:lnTo>
                      <a:pt x="1999923" y="772604"/>
                    </a:lnTo>
                    <a:close/>
                    <a:moveTo>
                      <a:pt x="2142958" y="897305"/>
                    </a:moveTo>
                    <a:lnTo>
                      <a:pt x="2148413" y="893669"/>
                    </a:lnTo>
                    <a:lnTo>
                      <a:pt x="2150837" y="891699"/>
                    </a:lnTo>
                    <a:lnTo>
                      <a:pt x="2150231" y="891245"/>
                    </a:lnTo>
                    <a:lnTo>
                      <a:pt x="2148716" y="891245"/>
                    </a:lnTo>
                    <a:lnTo>
                      <a:pt x="2144473" y="891851"/>
                    </a:lnTo>
                    <a:lnTo>
                      <a:pt x="2143413" y="893214"/>
                    </a:lnTo>
                    <a:lnTo>
                      <a:pt x="2140837" y="894881"/>
                    </a:lnTo>
                    <a:lnTo>
                      <a:pt x="2139019" y="896699"/>
                    </a:lnTo>
                    <a:lnTo>
                      <a:pt x="2137807" y="897154"/>
                    </a:lnTo>
                    <a:lnTo>
                      <a:pt x="2139625" y="898669"/>
                    </a:lnTo>
                    <a:lnTo>
                      <a:pt x="2142958" y="897305"/>
                    </a:lnTo>
                    <a:close/>
                    <a:moveTo>
                      <a:pt x="1173983" y="291677"/>
                    </a:moveTo>
                    <a:lnTo>
                      <a:pt x="1174892" y="293344"/>
                    </a:lnTo>
                    <a:lnTo>
                      <a:pt x="1167922" y="295768"/>
                    </a:lnTo>
                    <a:lnTo>
                      <a:pt x="1167771" y="296981"/>
                    </a:lnTo>
                    <a:lnTo>
                      <a:pt x="1167922" y="298193"/>
                    </a:lnTo>
                    <a:lnTo>
                      <a:pt x="1169134" y="300466"/>
                    </a:lnTo>
                    <a:lnTo>
                      <a:pt x="1169740" y="300920"/>
                    </a:lnTo>
                    <a:lnTo>
                      <a:pt x="1173528" y="302435"/>
                    </a:lnTo>
                    <a:lnTo>
                      <a:pt x="1174741" y="303496"/>
                    </a:lnTo>
                    <a:lnTo>
                      <a:pt x="1175347" y="307132"/>
                    </a:lnTo>
                    <a:lnTo>
                      <a:pt x="1180953" y="310920"/>
                    </a:lnTo>
                    <a:lnTo>
                      <a:pt x="1181559" y="312890"/>
                    </a:lnTo>
                    <a:lnTo>
                      <a:pt x="1195196" y="314557"/>
                    </a:lnTo>
                    <a:lnTo>
                      <a:pt x="1203226" y="317284"/>
                    </a:lnTo>
                    <a:lnTo>
                      <a:pt x="1205499" y="317587"/>
                    </a:lnTo>
                    <a:lnTo>
                      <a:pt x="1205196" y="318345"/>
                    </a:lnTo>
                    <a:lnTo>
                      <a:pt x="1202923" y="319709"/>
                    </a:lnTo>
                    <a:lnTo>
                      <a:pt x="1197772" y="320466"/>
                    </a:lnTo>
                    <a:lnTo>
                      <a:pt x="1185953" y="321224"/>
                    </a:lnTo>
                    <a:lnTo>
                      <a:pt x="1186256" y="322284"/>
                    </a:lnTo>
                    <a:lnTo>
                      <a:pt x="1187014" y="323497"/>
                    </a:lnTo>
                    <a:lnTo>
                      <a:pt x="1192317" y="327588"/>
                    </a:lnTo>
                    <a:lnTo>
                      <a:pt x="1201408" y="330467"/>
                    </a:lnTo>
                    <a:lnTo>
                      <a:pt x="1203378" y="331982"/>
                    </a:lnTo>
                    <a:lnTo>
                      <a:pt x="1202469" y="333649"/>
                    </a:lnTo>
                    <a:lnTo>
                      <a:pt x="1202166" y="335012"/>
                    </a:lnTo>
                    <a:lnTo>
                      <a:pt x="1202772" y="336830"/>
                    </a:lnTo>
                    <a:lnTo>
                      <a:pt x="1204136" y="338043"/>
                    </a:lnTo>
                    <a:lnTo>
                      <a:pt x="1208378" y="337740"/>
                    </a:lnTo>
                    <a:lnTo>
                      <a:pt x="1214742" y="335467"/>
                    </a:lnTo>
                    <a:lnTo>
                      <a:pt x="1218227" y="334103"/>
                    </a:lnTo>
                    <a:lnTo>
                      <a:pt x="1230955" y="333194"/>
                    </a:lnTo>
                    <a:lnTo>
                      <a:pt x="1240349" y="331073"/>
                    </a:lnTo>
                    <a:lnTo>
                      <a:pt x="1246410" y="328800"/>
                    </a:lnTo>
                    <a:lnTo>
                      <a:pt x="1248683" y="328345"/>
                    </a:lnTo>
                    <a:lnTo>
                      <a:pt x="1253380" y="328497"/>
                    </a:lnTo>
                    <a:lnTo>
                      <a:pt x="1256410" y="326982"/>
                    </a:lnTo>
                    <a:lnTo>
                      <a:pt x="1260653" y="321981"/>
                    </a:lnTo>
                    <a:lnTo>
                      <a:pt x="1260653" y="320163"/>
                    </a:lnTo>
                    <a:lnTo>
                      <a:pt x="1259289" y="318345"/>
                    </a:lnTo>
                    <a:lnTo>
                      <a:pt x="1256107" y="315921"/>
                    </a:lnTo>
                    <a:lnTo>
                      <a:pt x="1249895" y="313193"/>
                    </a:lnTo>
                    <a:lnTo>
                      <a:pt x="1251562" y="310920"/>
                    </a:lnTo>
                    <a:lnTo>
                      <a:pt x="1258531" y="307890"/>
                    </a:lnTo>
                    <a:lnTo>
                      <a:pt x="1262017" y="305920"/>
                    </a:lnTo>
                    <a:lnTo>
                      <a:pt x="1262017" y="305011"/>
                    </a:lnTo>
                    <a:lnTo>
                      <a:pt x="1261259" y="303193"/>
                    </a:lnTo>
                    <a:lnTo>
                      <a:pt x="1258077" y="300769"/>
                    </a:lnTo>
                    <a:lnTo>
                      <a:pt x="1247622" y="296678"/>
                    </a:lnTo>
                    <a:lnTo>
                      <a:pt x="1243531" y="295465"/>
                    </a:lnTo>
                    <a:lnTo>
                      <a:pt x="1232318" y="296223"/>
                    </a:lnTo>
                    <a:lnTo>
                      <a:pt x="1225803" y="294708"/>
                    </a:lnTo>
                    <a:lnTo>
                      <a:pt x="1224439" y="293496"/>
                    </a:lnTo>
                    <a:lnTo>
                      <a:pt x="1224894" y="292132"/>
                    </a:lnTo>
                    <a:lnTo>
                      <a:pt x="1224288" y="290768"/>
                    </a:lnTo>
                    <a:lnTo>
                      <a:pt x="1218530" y="286526"/>
                    </a:lnTo>
                    <a:lnTo>
                      <a:pt x="1215500" y="285162"/>
                    </a:lnTo>
                    <a:lnTo>
                      <a:pt x="1205954" y="283192"/>
                    </a:lnTo>
                    <a:lnTo>
                      <a:pt x="1199590" y="280919"/>
                    </a:lnTo>
                    <a:lnTo>
                      <a:pt x="1193832" y="279404"/>
                    </a:lnTo>
                    <a:lnTo>
                      <a:pt x="1187923" y="278647"/>
                    </a:lnTo>
                    <a:lnTo>
                      <a:pt x="1175650" y="278040"/>
                    </a:lnTo>
                    <a:lnTo>
                      <a:pt x="1170953" y="278040"/>
                    </a:lnTo>
                    <a:lnTo>
                      <a:pt x="1167619" y="279859"/>
                    </a:lnTo>
                    <a:lnTo>
                      <a:pt x="1167468" y="281222"/>
                    </a:lnTo>
                    <a:lnTo>
                      <a:pt x="1168831" y="284707"/>
                    </a:lnTo>
                    <a:lnTo>
                      <a:pt x="1173983" y="291677"/>
                    </a:lnTo>
                    <a:close/>
                    <a:moveTo>
                      <a:pt x="1268380" y="201674"/>
                    </a:moveTo>
                    <a:lnTo>
                      <a:pt x="1247925" y="201371"/>
                    </a:lnTo>
                    <a:lnTo>
                      <a:pt x="1237319" y="200613"/>
                    </a:lnTo>
                    <a:lnTo>
                      <a:pt x="1210197" y="196219"/>
                    </a:lnTo>
                    <a:lnTo>
                      <a:pt x="1213833" y="203189"/>
                    </a:lnTo>
                    <a:lnTo>
                      <a:pt x="1214742" y="206068"/>
                    </a:lnTo>
                    <a:lnTo>
                      <a:pt x="1215197" y="209856"/>
                    </a:lnTo>
                    <a:lnTo>
                      <a:pt x="1218682" y="214250"/>
                    </a:lnTo>
                    <a:lnTo>
                      <a:pt x="1231409" y="223190"/>
                    </a:lnTo>
                    <a:lnTo>
                      <a:pt x="1235349" y="225160"/>
                    </a:lnTo>
                    <a:lnTo>
                      <a:pt x="1238531" y="226069"/>
                    </a:lnTo>
                    <a:lnTo>
                      <a:pt x="1243683" y="226523"/>
                    </a:lnTo>
                    <a:lnTo>
                      <a:pt x="1250653" y="226523"/>
                    </a:lnTo>
                    <a:lnTo>
                      <a:pt x="1259441" y="225008"/>
                    </a:lnTo>
                    <a:lnTo>
                      <a:pt x="1270199" y="221978"/>
                    </a:lnTo>
                    <a:lnTo>
                      <a:pt x="1275047" y="221372"/>
                    </a:lnTo>
                    <a:lnTo>
                      <a:pt x="1273078" y="224554"/>
                    </a:lnTo>
                    <a:lnTo>
                      <a:pt x="1271865" y="225766"/>
                    </a:lnTo>
                    <a:lnTo>
                      <a:pt x="1250501" y="231978"/>
                    </a:lnTo>
                    <a:lnTo>
                      <a:pt x="1243379" y="233039"/>
                    </a:lnTo>
                    <a:lnTo>
                      <a:pt x="1240652" y="234402"/>
                    </a:lnTo>
                    <a:lnTo>
                      <a:pt x="1238682" y="241069"/>
                    </a:lnTo>
                    <a:lnTo>
                      <a:pt x="1240804" y="242736"/>
                    </a:lnTo>
                    <a:lnTo>
                      <a:pt x="1250046" y="244857"/>
                    </a:lnTo>
                    <a:lnTo>
                      <a:pt x="1255956" y="248797"/>
                    </a:lnTo>
                    <a:lnTo>
                      <a:pt x="1257622" y="248645"/>
                    </a:lnTo>
                    <a:lnTo>
                      <a:pt x="1263077" y="246070"/>
                    </a:lnTo>
                    <a:lnTo>
                      <a:pt x="1275199" y="242585"/>
                    </a:lnTo>
                    <a:lnTo>
                      <a:pt x="1278532" y="241979"/>
                    </a:lnTo>
                    <a:lnTo>
                      <a:pt x="1283229" y="241979"/>
                    </a:lnTo>
                    <a:lnTo>
                      <a:pt x="1287321" y="242282"/>
                    </a:lnTo>
                    <a:lnTo>
                      <a:pt x="1287927" y="242888"/>
                    </a:lnTo>
                    <a:lnTo>
                      <a:pt x="1285199" y="244706"/>
                    </a:lnTo>
                    <a:lnTo>
                      <a:pt x="1283381" y="247282"/>
                    </a:lnTo>
                    <a:lnTo>
                      <a:pt x="1283836" y="248039"/>
                    </a:lnTo>
                    <a:lnTo>
                      <a:pt x="1285351" y="248494"/>
                    </a:lnTo>
                    <a:lnTo>
                      <a:pt x="1288230" y="248797"/>
                    </a:lnTo>
                    <a:lnTo>
                      <a:pt x="1298685" y="244857"/>
                    </a:lnTo>
                    <a:lnTo>
                      <a:pt x="1303382" y="243948"/>
                    </a:lnTo>
                    <a:lnTo>
                      <a:pt x="1313079" y="240160"/>
                    </a:lnTo>
                    <a:lnTo>
                      <a:pt x="1318685" y="238948"/>
                    </a:lnTo>
                    <a:lnTo>
                      <a:pt x="1323534" y="238948"/>
                    </a:lnTo>
                    <a:lnTo>
                      <a:pt x="1327928" y="239706"/>
                    </a:lnTo>
                    <a:lnTo>
                      <a:pt x="1334444" y="243797"/>
                    </a:lnTo>
                    <a:lnTo>
                      <a:pt x="1349596" y="244403"/>
                    </a:lnTo>
                    <a:lnTo>
                      <a:pt x="1360353" y="243948"/>
                    </a:lnTo>
                    <a:lnTo>
                      <a:pt x="1359141" y="244706"/>
                    </a:lnTo>
                    <a:lnTo>
                      <a:pt x="1344747" y="247433"/>
                    </a:lnTo>
                    <a:lnTo>
                      <a:pt x="1326110" y="249555"/>
                    </a:lnTo>
                    <a:lnTo>
                      <a:pt x="1322322" y="255464"/>
                    </a:lnTo>
                    <a:lnTo>
                      <a:pt x="1317928" y="257282"/>
                    </a:lnTo>
                    <a:lnTo>
                      <a:pt x="1311715" y="257282"/>
                    </a:lnTo>
                    <a:lnTo>
                      <a:pt x="1305503" y="258191"/>
                    </a:lnTo>
                    <a:lnTo>
                      <a:pt x="1287472" y="264404"/>
                    </a:lnTo>
                    <a:lnTo>
                      <a:pt x="1281714" y="266979"/>
                    </a:lnTo>
                    <a:lnTo>
                      <a:pt x="1281563" y="268343"/>
                    </a:lnTo>
                    <a:lnTo>
                      <a:pt x="1282017" y="269707"/>
                    </a:lnTo>
                    <a:lnTo>
                      <a:pt x="1283078" y="271071"/>
                    </a:lnTo>
                    <a:lnTo>
                      <a:pt x="1288836" y="274555"/>
                    </a:lnTo>
                    <a:lnTo>
                      <a:pt x="1304291" y="278495"/>
                    </a:lnTo>
                    <a:lnTo>
                      <a:pt x="1309140" y="280465"/>
                    </a:lnTo>
                    <a:lnTo>
                      <a:pt x="1307776" y="280919"/>
                    </a:lnTo>
                    <a:lnTo>
                      <a:pt x="1298078" y="280465"/>
                    </a:lnTo>
                    <a:lnTo>
                      <a:pt x="1296412" y="281071"/>
                    </a:lnTo>
                    <a:lnTo>
                      <a:pt x="1296109" y="282132"/>
                    </a:lnTo>
                    <a:lnTo>
                      <a:pt x="1298382" y="284707"/>
                    </a:lnTo>
                    <a:lnTo>
                      <a:pt x="1302776" y="288647"/>
                    </a:lnTo>
                    <a:lnTo>
                      <a:pt x="1306109" y="290768"/>
                    </a:lnTo>
                    <a:lnTo>
                      <a:pt x="1310352" y="291223"/>
                    </a:lnTo>
                    <a:lnTo>
                      <a:pt x="1314140" y="290465"/>
                    </a:lnTo>
                    <a:lnTo>
                      <a:pt x="1321110" y="290920"/>
                    </a:lnTo>
                    <a:lnTo>
                      <a:pt x="1342474" y="293496"/>
                    </a:lnTo>
                    <a:lnTo>
                      <a:pt x="1344292" y="294708"/>
                    </a:lnTo>
                    <a:lnTo>
                      <a:pt x="1332474" y="296071"/>
                    </a:lnTo>
                    <a:lnTo>
                      <a:pt x="1320807" y="298193"/>
                    </a:lnTo>
                    <a:lnTo>
                      <a:pt x="1317473" y="299859"/>
                    </a:lnTo>
                    <a:lnTo>
                      <a:pt x="1318534" y="301678"/>
                    </a:lnTo>
                    <a:lnTo>
                      <a:pt x="1322019" y="304102"/>
                    </a:lnTo>
                    <a:lnTo>
                      <a:pt x="1330958" y="308648"/>
                    </a:lnTo>
                    <a:lnTo>
                      <a:pt x="1343383" y="313193"/>
                    </a:lnTo>
                    <a:lnTo>
                      <a:pt x="1356717" y="316072"/>
                    </a:lnTo>
                    <a:lnTo>
                      <a:pt x="1370202" y="317890"/>
                    </a:lnTo>
                    <a:lnTo>
                      <a:pt x="1378536" y="318345"/>
                    </a:lnTo>
                    <a:lnTo>
                      <a:pt x="1384748" y="317587"/>
                    </a:lnTo>
                    <a:lnTo>
                      <a:pt x="1386415" y="316375"/>
                    </a:lnTo>
                    <a:lnTo>
                      <a:pt x="1385506" y="314405"/>
                    </a:lnTo>
                    <a:lnTo>
                      <a:pt x="1384142" y="312739"/>
                    </a:lnTo>
                    <a:lnTo>
                      <a:pt x="1382324" y="311375"/>
                    </a:lnTo>
                    <a:lnTo>
                      <a:pt x="1377324" y="309102"/>
                    </a:lnTo>
                    <a:lnTo>
                      <a:pt x="1378233" y="308193"/>
                    </a:lnTo>
                    <a:lnTo>
                      <a:pt x="1382627" y="307587"/>
                    </a:lnTo>
                    <a:lnTo>
                      <a:pt x="1387021" y="307739"/>
                    </a:lnTo>
                    <a:lnTo>
                      <a:pt x="1391415" y="308648"/>
                    </a:lnTo>
                    <a:lnTo>
                      <a:pt x="1394446" y="310011"/>
                    </a:lnTo>
                    <a:lnTo>
                      <a:pt x="1396112" y="311678"/>
                    </a:lnTo>
                    <a:lnTo>
                      <a:pt x="1398688" y="313193"/>
                    </a:lnTo>
                    <a:lnTo>
                      <a:pt x="1404749" y="315921"/>
                    </a:lnTo>
                    <a:lnTo>
                      <a:pt x="1406719" y="317436"/>
                    </a:lnTo>
                    <a:lnTo>
                      <a:pt x="1408234" y="317890"/>
                    </a:lnTo>
                    <a:lnTo>
                      <a:pt x="1409143" y="317133"/>
                    </a:lnTo>
                    <a:lnTo>
                      <a:pt x="1408689" y="315315"/>
                    </a:lnTo>
                    <a:lnTo>
                      <a:pt x="1405810" y="310769"/>
                    </a:lnTo>
                    <a:lnTo>
                      <a:pt x="1401870" y="305314"/>
                    </a:lnTo>
                    <a:lnTo>
                      <a:pt x="1395203" y="297738"/>
                    </a:lnTo>
                    <a:lnTo>
                      <a:pt x="1393082" y="294556"/>
                    </a:lnTo>
                    <a:lnTo>
                      <a:pt x="1394143" y="291071"/>
                    </a:lnTo>
                    <a:lnTo>
                      <a:pt x="1395355" y="291374"/>
                    </a:lnTo>
                    <a:lnTo>
                      <a:pt x="1397173" y="293041"/>
                    </a:lnTo>
                    <a:lnTo>
                      <a:pt x="1404597" y="301072"/>
                    </a:lnTo>
                    <a:lnTo>
                      <a:pt x="1409598" y="305163"/>
                    </a:lnTo>
                    <a:lnTo>
                      <a:pt x="1419901" y="314708"/>
                    </a:lnTo>
                    <a:lnTo>
                      <a:pt x="1423386" y="316224"/>
                    </a:lnTo>
                    <a:lnTo>
                      <a:pt x="1427477" y="316072"/>
                    </a:lnTo>
                    <a:lnTo>
                      <a:pt x="1428386" y="315618"/>
                    </a:lnTo>
                    <a:lnTo>
                      <a:pt x="1429902" y="312739"/>
                    </a:lnTo>
                    <a:lnTo>
                      <a:pt x="1432174" y="307284"/>
                    </a:lnTo>
                    <a:lnTo>
                      <a:pt x="1433387" y="303799"/>
                    </a:lnTo>
                    <a:lnTo>
                      <a:pt x="1432932" y="299556"/>
                    </a:lnTo>
                    <a:lnTo>
                      <a:pt x="1430508" y="294556"/>
                    </a:lnTo>
                    <a:lnTo>
                      <a:pt x="1429750" y="292283"/>
                    </a:lnTo>
                    <a:lnTo>
                      <a:pt x="1430659" y="291526"/>
                    </a:lnTo>
                    <a:lnTo>
                      <a:pt x="1434144" y="291223"/>
                    </a:lnTo>
                    <a:lnTo>
                      <a:pt x="1442175" y="297587"/>
                    </a:lnTo>
                    <a:lnTo>
                      <a:pt x="1445963" y="298799"/>
                    </a:lnTo>
                    <a:lnTo>
                      <a:pt x="1448842" y="297738"/>
                    </a:lnTo>
                    <a:lnTo>
                      <a:pt x="1450357" y="295162"/>
                    </a:lnTo>
                    <a:lnTo>
                      <a:pt x="1450660" y="293496"/>
                    </a:lnTo>
                    <a:lnTo>
                      <a:pt x="1450357" y="291677"/>
                    </a:lnTo>
                    <a:lnTo>
                      <a:pt x="1449751" y="290465"/>
                    </a:lnTo>
                    <a:lnTo>
                      <a:pt x="1448842" y="289708"/>
                    </a:lnTo>
                    <a:lnTo>
                      <a:pt x="1443690" y="288192"/>
                    </a:lnTo>
                    <a:lnTo>
                      <a:pt x="1442932" y="286980"/>
                    </a:lnTo>
                    <a:lnTo>
                      <a:pt x="1444751" y="285465"/>
                    </a:lnTo>
                    <a:lnTo>
                      <a:pt x="1445357" y="282435"/>
                    </a:lnTo>
                    <a:lnTo>
                      <a:pt x="1444751" y="275010"/>
                    </a:lnTo>
                    <a:lnTo>
                      <a:pt x="1445508" y="271071"/>
                    </a:lnTo>
                    <a:lnTo>
                      <a:pt x="1447175" y="268646"/>
                    </a:lnTo>
                    <a:lnTo>
                      <a:pt x="1448993" y="267282"/>
                    </a:lnTo>
                    <a:lnTo>
                      <a:pt x="1453387" y="264707"/>
                    </a:lnTo>
                    <a:lnTo>
                      <a:pt x="1454751" y="264252"/>
                    </a:lnTo>
                    <a:lnTo>
                      <a:pt x="1455054" y="264858"/>
                    </a:lnTo>
                    <a:lnTo>
                      <a:pt x="1452175" y="270010"/>
                    </a:lnTo>
                    <a:lnTo>
                      <a:pt x="1451266" y="272131"/>
                    </a:lnTo>
                    <a:lnTo>
                      <a:pt x="1451114" y="273495"/>
                    </a:lnTo>
                    <a:lnTo>
                      <a:pt x="1451266" y="276071"/>
                    </a:lnTo>
                    <a:lnTo>
                      <a:pt x="1452175" y="282132"/>
                    </a:lnTo>
                    <a:lnTo>
                      <a:pt x="1453842" y="284859"/>
                    </a:lnTo>
                    <a:lnTo>
                      <a:pt x="1460509" y="286677"/>
                    </a:lnTo>
                    <a:lnTo>
                      <a:pt x="1464297" y="284101"/>
                    </a:lnTo>
                    <a:lnTo>
                      <a:pt x="1470661" y="278343"/>
                    </a:lnTo>
                    <a:lnTo>
                      <a:pt x="1475206" y="275162"/>
                    </a:lnTo>
                    <a:lnTo>
                      <a:pt x="1477025" y="273192"/>
                    </a:lnTo>
                    <a:lnTo>
                      <a:pt x="1478691" y="268495"/>
                    </a:lnTo>
                    <a:lnTo>
                      <a:pt x="1479903" y="268040"/>
                    </a:lnTo>
                    <a:lnTo>
                      <a:pt x="1485207" y="268495"/>
                    </a:lnTo>
                    <a:lnTo>
                      <a:pt x="1487631" y="267586"/>
                    </a:lnTo>
                    <a:lnTo>
                      <a:pt x="1492480" y="264707"/>
                    </a:lnTo>
                    <a:lnTo>
                      <a:pt x="1502329" y="260919"/>
                    </a:lnTo>
                    <a:lnTo>
                      <a:pt x="1524299" y="254252"/>
                    </a:lnTo>
                    <a:lnTo>
                      <a:pt x="1527329" y="252736"/>
                    </a:lnTo>
                    <a:lnTo>
                      <a:pt x="1531117" y="249555"/>
                    </a:lnTo>
                    <a:lnTo>
                      <a:pt x="1530511" y="246827"/>
                    </a:lnTo>
                    <a:lnTo>
                      <a:pt x="1527481" y="243191"/>
                    </a:lnTo>
                    <a:lnTo>
                      <a:pt x="1518541" y="234402"/>
                    </a:lnTo>
                    <a:lnTo>
                      <a:pt x="1514602" y="229402"/>
                    </a:lnTo>
                    <a:lnTo>
                      <a:pt x="1513693" y="229099"/>
                    </a:lnTo>
                    <a:lnTo>
                      <a:pt x="1511723" y="230311"/>
                    </a:lnTo>
                    <a:lnTo>
                      <a:pt x="1510207" y="231675"/>
                    </a:lnTo>
                    <a:lnTo>
                      <a:pt x="1506268" y="237130"/>
                    </a:lnTo>
                    <a:lnTo>
                      <a:pt x="1504753" y="237584"/>
                    </a:lnTo>
                    <a:lnTo>
                      <a:pt x="1502631" y="233190"/>
                    </a:lnTo>
                    <a:lnTo>
                      <a:pt x="1500056" y="229857"/>
                    </a:lnTo>
                    <a:lnTo>
                      <a:pt x="1498692" y="228796"/>
                    </a:lnTo>
                    <a:lnTo>
                      <a:pt x="1495813" y="228039"/>
                    </a:lnTo>
                    <a:lnTo>
                      <a:pt x="1487328" y="227281"/>
                    </a:lnTo>
                    <a:lnTo>
                      <a:pt x="1481570" y="230311"/>
                    </a:lnTo>
                    <a:lnTo>
                      <a:pt x="1479752" y="230766"/>
                    </a:lnTo>
                    <a:lnTo>
                      <a:pt x="1471115" y="231978"/>
                    </a:lnTo>
                    <a:lnTo>
                      <a:pt x="1469751" y="231372"/>
                    </a:lnTo>
                    <a:lnTo>
                      <a:pt x="1471873" y="228342"/>
                    </a:lnTo>
                    <a:lnTo>
                      <a:pt x="1473994" y="226372"/>
                    </a:lnTo>
                    <a:lnTo>
                      <a:pt x="1476570" y="217432"/>
                    </a:lnTo>
                    <a:lnTo>
                      <a:pt x="1478540" y="211826"/>
                    </a:lnTo>
                    <a:lnTo>
                      <a:pt x="1475812" y="207280"/>
                    </a:lnTo>
                    <a:lnTo>
                      <a:pt x="1472327" y="202432"/>
                    </a:lnTo>
                    <a:lnTo>
                      <a:pt x="1468842" y="202280"/>
                    </a:lnTo>
                    <a:lnTo>
                      <a:pt x="1460054" y="200159"/>
                    </a:lnTo>
                    <a:lnTo>
                      <a:pt x="1454297" y="199704"/>
                    </a:lnTo>
                    <a:lnTo>
                      <a:pt x="1452630" y="199098"/>
                    </a:lnTo>
                    <a:lnTo>
                      <a:pt x="1454145" y="196825"/>
                    </a:lnTo>
                    <a:lnTo>
                      <a:pt x="1460812" y="193492"/>
                    </a:lnTo>
                    <a:lnTo>
                      <a:pt x="1460963" y="192280"/>
                    </a:lnTo>
                    <a:lnTo>
                      <a:pt x="1460660" y="186370"/>
                    </a:lnTo>
                    <a:lnTo>
                      <a:pt x="1460206" y="183340"/>
                    </a:lnTo>
                    <a:lnTo>
                      <a:pt x="1459448" y="181825"/>
                    </a:lnTo>
                    <a:lnTo>
                      <a:pt x="1451720" y="179097"/>
                    </a:lnTo>
                    <a:lnTo>
                      <a:pt x="1447175" y="178188"/>
                    </a:lnTo>
                    <a:lnTo>
                      <a:pt x="1438993" y="178340"/>
                    </a:lnTo>
                    <a:lnTo>
                      <a:pt x="1436266" y="178946"/>
                    </a:lnTo>
                    <a:lnTo>
                      <a:pt x="1433083" y="180916"/>
                    </a:lnTo>
                    <a:lnTo>
                      <a:pt x="1432477" y="183340"/>
                    </a:lnTo>
                    <a:lnTo>
                      <a:pt x="1432932" y="186977"/>
                    </a:lnTo>
                    <a:lnTo>
                      <a:pt x="1433841" y="189098"/>
                    </a:lnTo>
                    <a:lnTo>
                      <a:pt x="1440205" y="191068"/>
                    </a:lnTo>
                    <a:lnTo>
                      <a:pt x="1443690" y="194704"/>
                    </a:lnTo>
                    <a:lnTo>
                      <a:pt x="1445357" y="197280"/>
                    </a:lnTo>
                    <a:lnTo>
                      <a:pt x="1445205" y="198189"/>
                    </a:lnTo>
                    <a:lnTo>
                      <a:pt x="1441720" y="196825"/>
                    </a:lnTo>
                    <a:lnTo>
                      <a:pt x="1435962" y="196977"/>
                    </a:lnTo>
                    <a:lnTo>
                      <a:pt x="1427174" y="194704"/>
                    </a:lnTo>
                    <a:lnTo>
                      <a:pt x="1422780" y="192734"/>
                    </a:lnTo>
                    <a:lnTo>
                      <a:pt x="1417931" y="188643"/>
                    </a:lnTo>
                    <a:lnTo>
                      <a:pt x="1417477" y="186977"/>
                    </a:lnTo>
                    <a:lnTo>
                      <a:pt x="1419447" y="182431"/>
                    </a:lnTo>
                    <a:lnTo>
                      <a:pt x="1419295" y="181219"/>
                    </a:lnTo>
                    <a:lnTo>
                      <a:pt x="1418083" y="180310"/>
                    </a:lnTo>
                    <a:lnTo>
                      <a:pt x="1417931" y="179552"/>
                    </a:lnTo>
                    <a:lnTo>
                      <a:pt x="1419901" y="177431"/>
                    </a:lnTo>
                    <a:lnTo>
                      <a:pt x="1419144" y="175916"/>
                    </a:lnTo>
                    <a:lnTo>
                      <a:pt x="1418386" y="174552"/>
                    </a:lnTo>
                    <a:lnTo>
                      <a:pt x="1416568" y="172582"/>
                    </a:lnTo>
                    <a:lnTo>
                      <a:pt x="1413992" y="171218"/>
                    </a:lnTo>
                    <a:lnTo>
                      <a:pt x="1408689" y="170764"/>
                    </a:lnTo>
                    <a:lnTo>
                      <a:pt x="1404597" y="171218"/>
                    </a:lnTo>
                    <a:lnTo>
                      <a:pt x="1401264" y="173037"/>
                    </a:lnTo>
                    <a:lnTo>
                      <a:pt x="1399446" y="173188"/>
                    </a:lnTo>
                    <a:lnTo>
                      <a:pt x="1389749" y="170006"/>
                    </a:lnTo>
                    <a:lnTo>
                      <a:pt x="1380960" y="168188"/>
                    </a:lnTo>
                    <a:lnTo>
                      <a:pt x="1378081" y="167127"/>
                    </a:lnTo>
                    <a:lnTo>
                      <a:pt x="1378384" y="164097"/>
                    </a:lnTo>
                    <a:lnTo>
                      <a:pt x="1378233" y="163188"/>
                    </a:lnTo>
                    <a:lnTo>
                      <a:pt x="1377021" y="161066"/>
                    </a:lnTo>
                    <a:lnTo>
                      <a:pt x="1366869" y="155309"/>
                    </a:lnTo>
                    <a:lnTo>
                      <a:pt x="1360960" y="150612"/>
                    </a:lnTo>
                    <a:lnTo>
                      <a:pt x="1347777" y="137732"/>
                    </a:lnTo>
                    <a:lnTo>
                      <a:pt x="1344141" y="132278"/>
                    </a:lnTo>
                    <a:lnTo>
                      <a:pt x="1341110" y="128793"/>
                    </a:lnTo>
                    <a:lnTo>
                      <a:pt x="1335201" y="125005"/>
                    </a:lnTo>
                    <a:lnTo>
                      <a:pt x="1329746" y="122732"/>
                    </a:lnTo>
                    <a:lnTo>
                      <a:pt x="1312776" y="118338"/>
                    </a:lnTo>
                    <a:lnTo>
                      <a:pt x="1304594" y="117125"/>
                    </a:lnTo>
                    <a:lnTo>
                      <a:pt x="1297169" y="118035"/>
                    </a:lnTo>
                    <a:lnTo>
                      <a:pt x="1284745" y="118186"/>
                    </a:lnTo>
                    <a:lnTo>
                      <a:pt x="1281411" y="118792"/>
                    </a:lnTo>
                    <a:lnTo>
                      <a:pt x="1280351" y="119398"/>
                    </a:lnTo>
                    <a:lnTo>
                      <a:pt x="1280048" y="120459"/>
                    </a:lnTo>
                    <a:lnTo>
                      <a:pt x="1280048" y="122126"/>
                    </a:lnTo>
                    <a:lnTo>
                      <a:pt x="1280351" y="123792"/>
                    </a:lnTo>
                    <a:lnTo>
                      <a:pt x="1280957" y="125308"/>
                    </a:lnTo>
                    <a:lnTo>
                      <a:pt x="1283229" y="126368"/>
                    </a:lnTo>
                    <a:lnTo>
                      <a:pt x="1289139" y="127126"/>
                    </a:lnTo>
                    <a:lnTo>
                      <a:pt x="1302473" y="127429"/>
                    </a:lnTo>
                    <a:lnTo>
                      <a:pt x="1305806" y="129399"/>
                    </a:lnTo>
                    <a:lnTo>
                      <a:pt x="1307170" y="130914"/>
                    </a:lnTo>
                    <a:lnTo>
                      <a:pt x="1307170" y="132581"/>
                    </a:lnTo>
                    <a:lnTo>
                      <a:pt x="1305806" y="134399"/>
                    </a:lnTo>
                    <a:lnTo>
                      <a:pt x="1304139" y="135308"/>
                    </a:lnTo>
                    <a:lnTo>
                      <a:pt x="1301412" y="135459"/>
                    </a:lnTo>
                    <a:lnTo>
                      <a:pt x="1290957" y="133944"/>
                    </a:lnTo>
                    <a:lnTo>
                      <a:pt x="1280351" y="137126"/>
                    </a:lnTo>
                    <a:lnTo>
                      <a:pt x="1272017" y="138793"/>
                    </a:lnTo>
                    <a:lnTo>
                      <a:pt x="1259441" y="137581"/>
                    </a:lnTo>
                    <a:lnTo>
                      <a:pt x="1251562" y="140763"/>
                    </a:lnTo>
                    <a:lnTo>
                      <a:pt x="1245046" y="149551"/>
                    </a:lnTo>
                    <a:lnTo>
                      <a:pt x="1244895" y="151218"/>
                    </a:lnTo>
                    <a:lnTo>
                      <a:pt x="1253683" y="153187"/>
                    </a:lnTo>
                    <a:lnTo>
                      <a:pt x="1264896" y="156824"/>
                    </a:lnTo>
                    <a:lnTo>
                      <a:pt x="1270199" y="163945"/>
                    </a:lnTo>
                    <a:lnTo>
                      <a:pt x="1280957" y="165915"/>
                    </a:lnTo>
                    <a:lnTo>
                      <a:pt x="1285654" y="167430"/>
                    </a:lnTo>
                    <a:lnTo>
                      <a:pt x="1288381" y="169097"/>
                    </a:lnTo>
                    <a:lnTo>
                      <a:pt x="1273078" y="169097"/>
                    </a:lnTo>
                    <a:lnTo>
                      <a:pt x="1266259" y="168188"/>
                    </a:lnTo>
                    <a:lnTo>
                      <a:pt x="1261865" y="168339"/>
                    </a:lnTo>
                    <a:lnTo>
                      <a:pt x="1258229" y="163491"/>
                    </a:lnTo>
                    <a:lnTo>
                      <a:pt x="1252774" y="160915"/>
                    </a:lnTo>
                    <a:lnTo>
                      <a:pt x="1245198" y="160612"/>
                    </a:lnTo>
                    <a:lnTo>
                      <a:pt x="1239440" y="158339"/>
                    </a:lnTo>
                    <a:lnTo>
                      <a:pt x="1233531" y="158642"/>
                    </a:lnTo>
                    <a:lnTo>
                      <a:pt x="1227924" y="160460"/>
                    </a:lnTo>
                    <a:lnTo>
                      <a:pt x="1227470" y="169249"/>
                    </a:lnTo>
                    <a:lnTo>
                      <a:pt x="1234288" y="174552"/>
                    </a:lnTo>
                    <a:lnTo>
                      <a:pt x="1242167" y="179249"/>
                    </a:lnTo>
                    <a:lnTo>
                      <a:pt x="1243986" y="181067"/>
                    </a:lnTo>
                    <a:lnTo>
                      <a:pt x="1238531" y="181219"/>
                    </a:lnTo>
                    <a:lnTo>
                      <a:pt x="1231258" y="180158"/>
                    </a:lnTo>
                    <a:lnTo>
                      <a:pt x="1228530" y="180310"/>
                    </a:lnTo>
                    <a:lnTo>
                      <a:pt x="1222470" y="182128"/>
                    </a:lnTo>
                    <a:lnTo>
                      <a:pt x="1221106" y="183340"/>
                    </a:lnTo>
                    <a:lnTo>
                      <a:pt x="1220803" y="184401"/>
                    </a:lnTo>
                    <a:lnTo>
                      <a:pt x="1221561" y="185764"/>
                    </a:lnTo>
                    <a:lnTo>
                      <a:pt x="1223227" y="187431"/>
                    </a:lnTo>
                    <a:lnTo>
                      <a:pt x="1225803" y="188795"/>
                    </a:lnTo>
                    <a:lnTo>
                      <a:pt x="1230955" y="190310"/>
                    </a:lnTo>
                    <a:lnTo>
                      <a:pt x="1234288" y="190765"/>
                    </a:lnTo>
                    <a:lnTo>
                      <a:pt x="1241410" y="189704"/>
                    </a:lnTo>
                    <a:lnTo>
                      <a:pt x="1248077" y="195765"/>
                    </a:lnTo>
                    <a:lnTo>
                      <a:pt x="1253834" y="195765"/>
                    </a:lnTo>
                    <a:lnTo>
                      <a:pt x="1270350" y="191522"/>
                    </a:lnTo>
                    <a:lnTo>
                      <a:pt x="1279290" y="191977"/>
                    </a:lnTo>
                    <a:lnTo>
                      <a:pt x="1278078" y="192886"/>
                    </a:lnTo>
                    <a:lnTo>
                      <a:pt x="1270502" y="195462"/>
                    </a:lnTo>
                    <a:lnTo>
                      <a:pt x="1269896" y="196522"/>
                    </a:lnTo>
                    <a:lnTo>
                      <a:pt x="1269744" y="197886"/>
                    </a:lnTo>
                    <a:lnTo>
                      <a:pt x="1270047" y="199704"/>
                    </a:lnTo>
                    <a:lnTo>
                      <a:pt x="1269744" y="200916"/>
                    </a:lnTo>
                    <a:lnTo>
                      <a:pt x="1268380" y="201674"/>
                    </a:lnTo>
                    <a:close/>
                    <a:moveTo>
                      <a:pt x="1769460" y="599870"/>
                    </a:moveTo>
                    <a:lnTo>
                      <a:pt x="1765975" y="598810"/>
                    </a:lnTo>
                    <a:lnTo>
                      <a:pt x="1762944" y="596840"/>
                    </a:lnTo>
                    <a:lnTo>
                      <a:pt x="1761581" y="593355"/>
                    </a:lnTo>
                    <a:lnTo>
                      <a:pt x="1760671" y="591840"/>
                    </a:lnTo>
                    <a:lnTo>
                      <a:pt x="1757944" y="588961"/>
                    </a:lnTo>
                    <a:lnTo>
                      <a:pt x="1751126" y="586537"/>
                    </a:lnTo>
                    <a:lnTo>
                      <a:pt x="1750065" y="585627"/>
                    </a:lnTo>
                    <a:lnTo>
                      <a:pt x="1747944" y="581536"/>
                    </a:lnTo>
                    <a:lnTo>
                      <a:pt x="1745519" y="578961"/>
                    </a:lnTo>
                    <a:lnTo>
                      <a:pt x="1740671" y="576991"/>
                    </a:lnTo>
                    <a:lnTo>
                      <a:pt x="1722185" y="570930"/>
                    </a:lnTo>
                    <a:lnTo>
                      <a:pt x="1716124" y="570021"/>
                    </a:lnTo>
                    <a:lnTo>
                      <a:pt x="1686578" y="571385"/>
                    </a:lnTo>
                    <a:lnTo>
                      <a:pt x="1681881" y="570627"/>
                    </a:lnTo>
                    <a:lnTo>
                      <a:pt x="1672183" y="568051"/>
                    </a:lnTo>
                    <a:lnTo>
                      <a:pt x="1665819" y="567748"/>
                    </a:lnTo>
                    <a:lnTo>
                      <a:pt x="1657789" y="564566"/>
                    </a:lnTo>
                    <a:lnTo>
                      <a:pt x="1652031" y="564415"/>
                    </a:lnTo>
                    <a:lnTo>
                      <a:pt x="1648091" y="564869"/>
                    </a:lnTo>
                    <a:lnTo>
                      <a:pt x="1646425" y="565627"/>
                    </a:lnTo>
                    <a:lnTo>
                      <a:pt x="1645667" y="566839"/>
                    </a:lnTo>
                    <a:lnTo>
                      <a:pt x="1645364" y="569566"/>
                    </a:lnTo>
                    <a:lnTo>
                      <a:pt x="1645364" y="573809"/>
                    </a:lnTo>
                    <a:lnTo>
                      <a:pt x="1646273" y="576839"/>
                    </a:lnTo>
                    <a:lnTo>
                      <a:pt x="1648697" y="579567"/>
                    </a:lnTo>
                    <a:lnTo>
                      <a:pt x="1647637" y="579567"/>
                    </a:lnTo>
                    <a:lnTo>
                      <a:pt x="1647031" y="580173"/>
                    </a:lnTo>
                    <a:lnTo>
                      <a:pt x="1646273" y="582446"/>
                    </a:lnTo>
                    <a:lnTo>
                      <a:pt x="1646273" y="585021"/>
                    </a:lnTo>
                    <a:lnTo>
                      <a:pt x="1647637" y="587446"/>
                    </a:lnTo>
                    <a:lnTo>
                      <a:pt x="1649001" y="588961"/>
                    </a:lnTo>
                    <a:lnTo>
                      <a:pt x="1652031" y="590779"/>
                    </a:lnTo>
                    <a:lnTo>
                      <a:pt x="1660971" y="592143"/>
                    </a:lnTo>
                    <a:lnTo>
                      <a:pt x="1664001" y="593203"/>
                    </a:lnTo>
                    <a:lnTo>
                      <a:pt x="1665062" y="596537"/>
                    </a:lnTo>
                    <a:lnTo>
                      <a:pt x="1665971" y="600931"/>
                    </a:lnTo>
                    <a:lnTo>
                      <a:pt x="1667638" y="606234"/>
                    </a:lnTo>
                    <a:lnTo>
                      <a:pt x="1669759" y="610628"/>
                    </a:lnTo>
                    <a:lnTo>
                      <a:pt x="1670820" y="612144"/>
                    </a:lnTo>
                    <a:lnTo>
                      <a:pt x="1674002" y="614113"/>
                    </a:lnTo>
                    <a:lnTo>
                      <a:pt x="1682790" y="617750"/>
                    </a:lnTo>
                    <a:lnTo>
                      <a:pt x="1687790" y="617598"/>
                    </a:lnTo>
                    <a:lnTo>
                      <a:pt x="1692790" y="616841"/>
                    </a:lnTo>
                    <a:lnTo>
                      <a:pt x="1708700" y="612295"/>
                    </a:lnTo>
                    <a:lnTo>
                      <a:pt x="1715215" y="611083"/>
                    </a:lnTo>
                    <a:lnTo>
                      <a:pt x="1728246" y="610325"/>
                    </a:lnTo>
                    <a:lnTo>
                      <a:pt x="1750671" y="613053"/>
                    </a:lnTo>
                    <a:lnTo>
                      <a:pt x="1767490" y="614265"/>
                    </a:lnTo>
                    <a:lnTo>
                      <a:pt x="1773399" y="613053"/>
                    </a:lnTo>
                    <a:lnTo>
                      <a:pt x="1775975" y="611083"/>
                    </a:lnTo>
                    <a:lnTo>
                      <a:pt x="1774763" y="609416"/>
                    </a:lnTo>
                    <a:lnTo>
                      <a:pt x="1771429" y="606992"/>
                    </a:lnTo>
                    <a:lnTo>
                      <a:pt x="1769914" y="605022"/>
                    </a:lnTo>
                    <a:lnTo>
                      <a:pt x="1770520" y="600628"/>
                    </a:lnTo>
                    <a:lnTo>
                      <a:pt x="1769460" y="599870"/>
                    </a:lnTo>
                    <a:close/>
                    <a:moveTo>
                      <a:pt x="323951" y="1471569"/>
                    </a:moveTo>
                    <a:lnTo>
                      <a:pt x="323648" y="1466266"/>
                    </a:lnTo>
                    <a:lnTo>
                      <a:pt x="323194" y="1465054"/>
                    </a:lnTo>
                    <a:lnTo>
                      <a:pt x="321982" y="1463690"/>
                    </a:lnTo>
                    <a:lnTo>
                      <a:pt x="321679" y="1464144"/>
                    </a:lnTo>
                    <a:lnTo>
                      <a:pt x="321679" y="1465357"/>
                    </a:lnTo>
                    <a:lnTo>
                      <a:pt x="320012" y="1468084"/>
                    </a:lnTo>
                    <a:lnTo>
                      <a:pt x="319557" y="1469448"/>
                    </a:lnTo>
                    <a:lnTo>
                      <a:pt x="319709" y="1470660"/>
                    </a:lnTo>
                    <a:lnTo>
                      <a:pt x="320163" y="1471417"/>
                    </a:lnTo>
                    <a:lnTo>
                      <a:pt x="320921" y="1471720"/>
                    </a:lnTo>
                    <a:lnTo>
                      <a:pt x="323800" y="1471720"/>
                    </a:lnTo>
                    <a:lnTo>
                      <a:pt x="323951" y="1471569"/>
                    </a:lnTo>
                    <a:close/>
                    <a:moveTo>
                      <a:pt x="338497" y="1471872"/>
                    </a:moveTo>
                    <a:lnTo>
                      <a:pt x="335618" y="1469448"/>
                    </a:lnTo>
                    <a:lnTo>
                      <a:pt x="332437" y="1467629"/>
                    </a:lnTo>
                    <a:lnTo>
                      <a:pt x="329406" y="1465963"/>
                    </a:lnTo>
                    <a:lnTo>
                      <a:pt x="327739" y="1465811"/>
                    </a:lnTo>
                    <a:lnTo>
                      <a:pt x="326982" y="1467326"/>
                    </a:lnTo>
                    <a:lnTo>
                      <a:pt x="326376" y="1471114"/>
                    </a:lnTo>
                    <a:lnTo>
                      <a:pt x="325618" y="1472933"/>
                    </a:lnTo>
                    <a:lnTo>
                      <a:pt x="323800" y="1475660"/>
                    </a:lnTo>
                    <a:lnTo>
                      <a:pt x="323648" y="1476721"/>
                    </a:lnTo>
                    <a:lnTo>
                      <a:pt x="323951" y="1477630"/>
                    </a:lnTo>
                    <a:lnTo>
                      <a:pt x="326224" y="1480357"/>
                    </a:lnTo>
                    <a:lnTo>
                      <a:pt x="326527" y="1482933"/>
                    </a:lnTo>
                    <a:lnTo>
                      <a:pt x="328194" y="1485357"/>
                    </a:lnTo>
                    <a:lnTo>
                      <a:pt x="331527" y="1488388"/>
                    </a:lnTo>
                    <a:lnTo>
                      <a:pt x="333346" y="1488236"/>
                    </a:lnTo>
                    <a:lnTo>
                      <a:pt x="335012" y="1485509"/>
                    </a:lnTo>
                    <a:lnTo>
                      <a:pt x="335618" y="1485054"/>
                    </a:lnTo>
                    <a:lnTo>
                      <a:pt x="335012" y="1491115"/>
                    </a:lnTo>
                    <a:lnTo>
                      <a:pt x="335467" y="1492630"/>
                    </a:lnTo>
                    <a:lnTo>
                      <a:pt x="335770" y="1495661"/>
                    </a:lnTo>
                    <a:lnTo>
                      <a:pt x="335922" y="1499752"/>
                    </a:lnTo>
                    <a:lnTo>
                      <a:pt x="337285" y="1502176"/>
                    </a:lnTo>
                    <a:lnTo>
                      <a:pt x="338800" y="1500358"/>
                    </a:lnTo>
                    <a:lnTo>
                      <a:pt x="340164" y="1496267"/>
                    </a:lnTo>
                    <a:lnTo>
                      <a:pt x="341982" y="1493842"/>
                    </a:lnTo>
                    <a:lnTo>
                      <a:pt x="342134" y="1490054"/>
                    </a:lnTo>
                    <a:lnTo>
                      <a:pt x="340922" y="1478236"/>
                    </a:lnTo>
                    <a:lnTo>
                      <a:pt x="338497" y="1471872"/>
                    </a:lnTo>
                    <a:close/>
                    <a:moveTo>
                      <a:pt x="328649" y="1488539"/>
                    </a:moveTo>
                    <a:lnTo>
                      <a:pt x="323345" y="1483691"/>
                    </a:lnTo>
                    <a:lnTo>
                      <a:pt x="322588" y="1483236"/>
                    </a:lnTo>
                    <a:lnTo>
                      <a:pt x="321679" y="1482933"/>
                    </a:lnTo>
                    <a:lnTo>
                      <a:pt x="321224" y="1483388"/>
                    </a:lnTo>
                    <a:lnTo>
                      <a:pt x="321073" y="1484448"/>
                    </a:lnTo>
                    <a:lnTo>
                      <a:pt x="321527" y="1486266"/>
                    </a:lnTo>
                    <a:lnTo>
                      <a:pt x="324254" y="1490509"/>
                    </a:lnTo>
                    <a:lnTo>
                      <a:pt x="325618" y="1491721"/>
                    </a:lnTo>
                    <a:lnTo>
                      <a:pt x="329255" y="1495812"/>
                    </a:lnTo>
                    <a:lnTo>
                      <a:pt x="330164" y="1494145"/>
                    </a:lnTo>
                    <a:lnTo>
                      <a:pt x="330012" y="1490812"/>
                    </a:lnTo>
                    <a:lnTo>
                      <a:pt x="328649" y="1488539"/>
                    </a:lnTo>
                    <a:close/>
                    <a:moveTo>
                      <a:pt x="316072" y="1469448"/>
                    </a:moveTo>
                    <a:lnTo>
                      <a:pt x="315466" y="1469145"/>
                    </a:lnTo>
                    <a:lnTo>
                      <a:pt x="314709" y="1468993"/>
                    </a:lnTo>
                    <a:lnTo>
                      <a:pt x="314406" y="1469296"/>
                    </a:lnTo>
                    <a:lnTo>
                      <a:pt x="314860" y="1471114"/>
                    </a:lnTo>
                    <a:lnTo>
                      <a:pt x="315466" y="1472326"/>
                    </a:lnTo>
                    <a:lnTo>
                      <a:pt x="317284" y="1475054"/>
                    </a:lnTo>
                    <a:lnTo>
                      <a:pt x="318345" y="1475963"/>
                    </a:lnTo>
                    <a:lnTo>
                      <a:pt x="319406" y="1476418"/>
                    </a:lnTo>
                    <a:lnTo>
                      <a:pt x="319860" y="1476114"/>
                    </a:lnTo>
                    <a:lnTo>
                      <a:pt x="319103" y="1473842"/>
                    </a:lnTo>
                    <a:lnTo>
                      <a:pt x="316072" y="1469448"/>
                    </a:lnTo>
                    <a:close/>
                    <a:moveTo>
                      <a:pt x="481988" y="1632029"/>
                    </a:moveTo>
                    <a:lnTo>
                      <a:pt x="481230" y="1631120"/>
                    </a:lnTo>
                    <a:lnTo>
                      <a:pt x="480472" y="1631423"/>
                    </a:lnTo>
                    <a:lnTo>
                      <a:pt x="480018" y="1632029"/>
                    </a:lnTo>
                    <a:lnTo>
                      <a:pt x="479715" y="1634454"/>
                    </a:lnTo>
                    <a:lnTo>
                      <a:pt x="479109" y="1635211"/>
                    </a:lnTo>
                    <a:lnTo>
                      <a:pt x="475624" y="1626726"/>
                    </a:lnTo>
                    <a:lnTo>
                      <a:pt x="472139" y="1622180"/>
                    </a:lnTo>
                    <a:lnTo>
                      <a:pt x="470320" y="1617483"/>
                    </a:lnTo>
                    <a:lnTo>
                      <a:pt x="469411" y="1616271"/>
                    </a:lnTo>
                    <a:lnTo>
                      <a:pt x="467139" y="1614453"/>
                    </a:lnTo>
                    <a:lnTo>
                      <a:pt x="465472" y="1612635"/>
                    </a:lnTo>
                    <a:lnTo>
                      <a:pt x="460320" y="1609907"/>
                    </a:lnTo>
                    <a:lnTo>
                      <a:pt x="451835" y="1607028"/>
                    </a:lnTo>
                    <a:lnTo>
                      <a:pt x="447744" y="1605362"/>
                    </a:lnTo>
                    <a:lnTo>
                      <a:pt x="442592" y="1601725"/>
                    </a:lnTo>
                    <a:lnTo>
                      <a:pt x="439865" y="1597786"/>
                    </a:lnTo>
                    <a:lnTo>
                      <a:pt x="439865" y="1596876"/>
                    </a:lnTo>
                    <a:lnTo>
                      <a:pt x="440622" y="1596422"/>
                    </a:lnTo>
                    <a:lnTo>
                      <a:pt x="439865" y="1594755"/>
                    </a:lnTo>
                    <a:lnTo>
                      <a:pt x="436228" y="1590664"/>
                    </a:lnTo>
                    <a:lnTo>
                      <a:pt x="431683" y="1584755"/>
                    </a:lnTo>
                    <a:lnTo>
                      <a:pt x="429410" y="1581421"/>
                    </a:lnTo>
                    <a:lnTo>
                      <a:pt x="426531" y="1576118"/>
                    </a:lnTo>
                    <a:lnTo>
                      <a:pt x="424864" y="1573845"/>
                    </a:lnTo>
                    <a:lnTo>
                      <a:pt x="423501" y="1572936"/>
                    </a:lnTo>
                    <a:lnTo>
                      <a:pt x="421228" y="1572330"/>
                    </a:lnTo>
                    <a:lnTo>
                      <a:pt x="415167" y="1571573"/>
                    </a:lnTo>
                    <a:lnTo>
                      <a:pt x="405167" y="1568997"/>
                    </a:lnTo>
                    <a:lnTo>
                      <a:pt x="391530" y="1566724"/>
                    </a:lnTo>
                    <a:lnTo>
                      <a:pt x="377893" y="1562178"/>
                    </a:lnTo>
                    <a:lnTo>
                      <a:pt x="363801" y="1555663"/>
                    </a:lnTo>
                    <a:lnTo>
                      <a:pt x="358195" y="1554299"/>
                    </a:lnTo>
                    <a:lnTo>
                      <a:pt x="353195" y="1554451"/>
                    </a:lnTo>
                    <a:lnTo>
                      <a:pt x="349407" y="1555511"/>
                    </a:lnTo>
                    <a:lnTo>
                      <a:pt x="347740" y="1556723"/>
                    </a:lnTo>
                    <a:lnTo>
                      <a:pt x="346528" y="1558542"/>
                    </a:lnTo>
                    <a:lnTo>
                      <a:pt x="346376" y="1560209"/>
                    </a:lnTo>
                    <a:lnTo>
                      <a:pt x="348649" y="1563390"/>
                    </a:lnTo>
                    <a:lnTo>
                      <a:pt x="352286" y="1566572"/>
                    </a:lnTo>
                    <a:lnTo>
                      <a:pt x="354407" y="1567330"/>
                    </a:lnTo>
                    <a:lnTo>
                      <a:pt x="356983" y="1567481"/>
                    </a:lnTo>
                    <a:lnTo>
                      <a:pt x="359710" y="1567330"/>
                    </a:lnTo>
                    <a:lnTo>
                      <a:pt x="363347" y="1565966"/>
                    </a:lnTo>
                    <a:lnTo>
                      <a:pt x="362892" y="1564451"/>
                    </a:lnTo>
                    <a:lnTo>
                      <a:pt x="362892" y="1563390"/>
                    </a:lnTo>
                    <a:lnTo>
                      <a:pt x="369105" y="1563845"/>
                    </a:lnTo>
                    <a:lnTo>
                      <a:pt x="370771" y="1564300"/>
                    </a:lnTo>
                    <a:lnTo>
                      <a:pt x="369105" y="1565966"/>
                    </a:lnTo>
                    <a:lnTo>
                      <a:pt x="369256" y="1567481"/>
                    </a:lnTo>
                    <a:lnTo>
                      <a:pt x="370165" y="1569906"/>
                    </a:lnTo>
                    <a:lnTo>
                      <a:pt x="370317" y="1570663"/>
                    </a:lnTo>
                    <a:lnTo>
                      <a:pt x="367741" y="1568542"/>
                    </a:lnTo>
                    <a:lnTo>
                      <a:pt x="366074" y="1568088"/>
                    </a:lnTo>
                    <a:lnTo>
                      <a:pt x="360923" y="1568391"/>
                    </a:lnTo>
                    <a:lnTo>
                      <a:pt x="359710" y="1568694"/>
                    </a:lnTo>
                    <a:lnTo>
                      <a:pt x="358801" y="1569300"/>
                    </a:lnTo>
                    <a:lnTo>
                      <a:pt x="357286" y="1572785"/>
                    </a:lnTo>
                    <a:lnTo>
                      <a:pt x="357741" y="1573542"/>
                    </a:lnTo>
                    <a:lnTo>
                      <a:pt x="360316" y="1573997"/>
                    </a:lnTo>
                    <a:lnTo>
                      <a:pt x="360619" y="1574754"/>
                    </a:lnTo>
                    <a:lnTo>
                      <a:pt x="360923" y="1577633"/>
                    </a:lnTo>
                    <a:lnTo>
                      <a:pt x="359710" y="1579755"/>
                    </a:lnTo>
                    <a:lnTo>
                      <a:pt x="360013" y="1580512"/>
                    </a:lnTo>
                    <a:lnTo>
                      <a:pt x="361377" y="1580815"/>
                    </a:lnTo>
                    <a:lnTo>
                      <a:pt x="362589" y="1580664"/>
                    </a:lnTo>
                    <a:lnTo>
                      <a:pt x="365165" y="1579149"/>
                    </a:lnTo>
                    <a:lnTo>
                      <a:pt x="370923" y="1579149"/>
                    </a:lnTo>
                    <a:lnTo>
                      <a:pt x="371983" y="1580361"/>
                    </a:lnTo>
                    <a:lnTo>
                      <a:pt x="372893" y="1582027"/>
                    </a:lnTo>
                    <a:lnTo>
                      <a:pt x="374256" y="1583240"/>
                    </a:lnTo>
                    <a:lnTo>
                      <a:pt x="375923" y="1582634"/>
                    </a:lnTo>
                    <a:lnTo>
                      <a:pt x="376378" y="1581724"/>
                    </a:lnTo>
                    <a:lnTo>
                      <a:pt x="376529" y="1580512"/>
                    </a:lnTo>
                    <a:lnTo>
                      <a:pt x="376984" y="1580209"/>
                    </a:lnTo>
                    <a:lnTo>
                      <a:pt x="377893" y="1580815"/>
                    </a:lnTo>
                    <a:lnTo>
                      <a:pt x="378499" y="1581573"/>
                    </a:lnTo>
                    <a:lnTo>
                      <a:pt x="378802" y="1582482"/>
                    </a:lnTo>
                    <a:lnTo>
                      <a:pt x="378802" y="1583240"/>
                    </a:lnTo>
                    <a:lnTo>
                      <a:pt x="378044" y="1585361"/>
                    </a:lnTo>
                    <a:lnTo>
                      <a:pt x="378347" y="1586876"/>
                    </a:lnTo>
                    <a:lnTo>
                      <a:pt x="379105" y="1588240"/>
                    </a:lnTo>
                    <a:lnTo>
                      <a:pt x="380469" y="1589300"/>
                    </a:lnTo>
                    <a:lnTo>
                      <a:pt x="382287" y="1589603"/>
                    </a:lnTo>
                    <a:lnTo>
                      <a:pt x="384257" y="1589149"/>
                    </a:lnTo>
                    <a:lnTo>
                      <a:pt x="385014" y="1588391"/>
                    </a:lnTo>
                    <a:lnTo>
                      <a:pt x="385620" y="1587179"/>
                    </a:lnTo>
                    <a:lnTo>
                      <a:pt x="386226" y="1586876"/>
                    </a:lnTo>
                    <a:lnTo>
                      <a:pt x="387742" y="1587634"/>
                    </a:lnTo>
                    <a:lnTo>
                      <a:pt x="390621" y="1588240"/>
                    </a:lnTo>
                    <a:lnTo>
                      <a:pt x="392287" y="1589300"/>
                    </a:lnTo>
                    <a:lnTo>
                      <a:pt x="394712" y="1593240"/>
                    </a:lnTo>
                    <a:lnTo>
                      <a:pt x="395621" y="1594301"/>
                    </a:lnTo>
                    <a:lnTo>
                      <a:pt x="396530" y="1594755"/>
                    </a:lnTo>
                    <a:lnTo>
                      <a:pt x="398197" y="1594755"/>
                    </a:lnTo>
                    <a:lnTo>
                      <a:pt x="399863" y="1596270"/>
                    </a:lnTo>
                    <a:lnTo>
                      <a:pt x="401379" y="1596876"/>
                    </a:lnTo>
                    <a:lnTo>
                      <a:pt x="407288" y="1596422"/>
                    </a:lnTo>
                    <a:lnTo>
                      <a:pt x="406682" y="1597179"/>
                    </a:lnTo>
                    <a:lnTo>
                      <a:pt x="398954" y="1598240"/>
                    </a:lnTo>
                    <a:lnTo>
                      <a:pt x="396227" y="1599301"/>
                    </a:lnTo>
                    <a:lnTo>
                      <a:pt x="395772" y="1599755"/>
                    </a:lnTo>
                    <a:lnTo>
                      <a:pt x="395621" y="1600967"/>
                    </a:lnTo>
                    <a:lnTo>
                      <a:pt x="396075" y="1605362"/>
                    </a:lnTo>
                    <a:lnTo>
                      <a:pt x="396833" y="1606119"/>
                    </a:lnTo>
                    <a:lnTo>
                      <a:pt x="397287" y="1605968"/>
                    </a:lnTo>
                    <a:lnTo>
                      <a:pt x="398803" y="1604150"/>
                    </a:lnTo>
                    <a:lnTo>
                      <a:pt x="399560" y="1604150"/>
                    </a:lnTo>
                    <a:lnTo>
                      <a:pt x="402742" y="1606574"/>
                    </a:lnTo>
                    <a:lnTo>
                      <a:pt x="403348" y="1606271"/>
                    </a:lnTo>
                    <a:lnTo>
                      <a:pt x="403651" y="1604907"/>
                    </a:lnTo>
                    <a:lnTo>
                      <a:pt x="404409" y="1604453"/>
                    </a:lnTo>
                    <a:lnTo>
                      <a:pt x="406530" y="1605362"/>
                    </a:lnTo>
                    <a:lnTo>
                      <a:pt x="408349" y="1605210"/>
                    </a:lnTo>
                    <a:lnTo>
                      <a:pt x="409106" y="1605665"/>
                    </a:lnTo>
                    <a:lnTo>
                      <a:pt x="409864" y="1606725"/>
                    </a:lnTo>
                    <a:lnTo>
                      <a:pt x="410621" y="1607180"/>
                    </a:lnTo>
                    <a:lnTo>
                      <a:pt x="412894" y="1605968"/>
                    </a:lnTo>
                    <a:lnTo>
                      <a:pt x="412894" y="1606725"/>
                    </a:lnTo>
                    <a:lnTo>
                      <a:pt x="411682" y="1609907"/>
                    </a:lnTo>
                    <a:lnTo>
                      <a:pt x="412591" y="1611271"/>
                    </a:lnTo>
                    <a:lnTo>
                      <a:pt x="413500" y="1611271"/>
                    </a:lnTo>
                    <a:lnTo>
                      <a:pt x="415773" y="1610362"/>
                    </a:lnTo>
                    <a:lnTo>
                      <a:pt x="416834" y="1610968"/>
                    </a:lnTo>
                    <a:lnTo>
                      <a:pt x="418652" y="1613089"/>
                    </a:lnTo>
                    <a:lnTo>
                      <a:pt x="419561" y="1613392"/>
                    </a:lnTo>
                    <a:lnTo>
                      <a:pt x="420622" y="1613241"/>
                    </a:lnTo>
                    <a:lnTo>
                      <a:pt x="420925" y="1613544"/>
                    </a:lnTo>
                    <a:lnTo>
                      <a:pt x="419409" y="1615210"/>
                    </a:lnTo>
                    <a:lnTo>
                      <a:pt x="416379" y="1616271"/>
                    </a:lnTo>
                    <a:lnTo>
                      <a:pt x="415925" y="1616877"/>
                    </a:lnTo>
                    <a:lnTo>
                      <a:pt x="420470" y="1619150"/>
                    </a:lnTo>
                    <a:lnTo>
                      <a:pt x="423652" y="1621877"/>
                    </a:lnTo>
                    <a:lnTo>
                      <a:pt x="425167" y="1622484"/>
                    </a:lnTo>
                    <a:lnTo>
                      <a:pt x="425925" y="1622180"/>
                    </a:lnTo>
                    <a:lnTo>
                      <a:pt x="428652" y="1620211"/>
                    </a:lnTo>
                    <a:lnTo>
                      <a:pt x="433956" y="1620514"/>
                    </a:lnTo>
                    <a:lnTo>
                      <a:pt x="440471" y="1619756"/>
                    </a:lnTo>
                    <a:lnTo>
                      <a:pt x="441077" y="1619150"/>
                    </a:lnTo>
                    <a:lnTo>
                      <a:pt x="442138" y="1617483"/>
                    </a:lnTo>
                    <a:lnTo>
                      <a:pt x="442895" y="1615362"/>
                    </a:lnTo>
                    <a:lnTo>
                      <a:pt x="443350" y="1612938"/>
                    </a:lnTo>
                    <a:lnTo>
                      <a:pt x="443501" y="1612786"/>
                    </a:lnTo>
                    <a:lnTo>
                      <a:pt x="443804" y="1615362"/>
                    </a:lnTo>
                    <a:lnTo>
                      <a:pt x="443350" y="1617483"/>
                    </a:lnTo>
                    <a:lnTo>
                      <a:pt x="442441" y="1619453"/>
                    </a:lnTo>
                    <a:lnTo>
                      <a:pt x="440168" y="1622029"/>
                    </a:lnTo>
                    <a:lnTo>
                      <a:pt x="434259" y="1626726"/>
                    </a:lnTo>
                    <a:lnTo>
                      <a:pt x="434107" y="1627484"/>
                    </a:lnTo>
                    <a:lnTo>
                      <a:pt x="434713" y="1628999"/>
                    </a:lnTo>
                    <a:lnTo>
                      <a:pt x="437592" y="1630666"/>
                    </a:lnTo>
                    <a:lnTo>
                      <a:pt x="441683" y="1632635"/>
                    </a:lnTo>
                    <a:lnTo>
                      <a:pt x="446532" y="1634605"/>
                    </a:lnTo>
                    <a:lnTo>
                      <a:pt x="455168" y="1637484"/>
                    </a:lnTo>
                    <a:lnTo>
                      <a:pt x="462290" y="1640211"/>
                    </a:lnTo>
                    <a:lnTo>
                      <a:pt x="467745" y="1642030"/>
                    </a:lnTo>
                    <a:lnTo>
                      <a:pt x="476533" y="1643848"/>
                    </a:lnTo>
                    <a:lnTo>
                      <a:pt x="477139" y="1644151"/>
                    </a:lnTo>
                    <a:lnTo>
                      <a:pt x="478200" y="1643393"/>
                    </a:lnTo>
                    <a:lnTo>
                      <a:pt x="479563" y="1641424"/>
                    </a:lnTo>
                    <a:lnTo>
                      <a:pt x="480624" y="1640514"/>
                    </a:lnTo>
                    <a:lnTo>
                      <a:pt x="483654" y="1641272"/>
                    </a:lnTo>
                    <a:lnTo>
                      <a:pt x="484260" y="1641120"/>
                    </a:lnTo>
                    <a:lnTo>
                      <a:pt x="485018" y="1639605"/>
                    </a:lnTo>
                    <a:lnTo>
                      <a:pt x="482745" y="1634302"/>
                    </a:lnTo>
                    <a:lnTo>
                      <a:pt x="481988" y="1632029"/>
                    </a:lnTo>
                    <a:close/>
                    <a:moveTo>
                      <a:pt x="407439" y="1607634"/>
                    </a:moveTo>
                    <a:lnTo>
                      <a:pt x="404863" y="1607180"/>
                    </a:lnTo>
                    <a:lnTo>
                      <a:pt x="404257" y="1608695"/>
                    </a:lnTo>
                    <a:lnTo>
                      <a:pt x="404257" y="1610210"/>
                    </a:lnTo>
                    <a:lnTo>
                      <a:pt x="405470" y="1610816"/>
                    </a:lnTo>
                    <a:lnTo>
                      <a:pt x="408803" y="1611271"/>
                    </a:lnTo>
                    <a:lnTo>
                      <a:pt x="408045" y="1608089"/>
                    </a:lnTo>
                    <a:lnTo>
                      <a:pt x="407439" y="1607634"/>
                    </a:lnTo>
                    <a:close/>
                    <a:moveTo>
                      <a:pt x="300163" y="1458083"/>
                    </a:moveTo>
                    <a:lnTo>
                      <a:pt x="295769" y="1455508"/>
                    </a:lnTo>
                    <a:lnTo>
                      <a:pt x="290314" y="1452932"/>
                    </a:lnTo>
                    <a:lnTo>
                      <a:pt x="288799" y="1452477"/>
                    </a:lnTo>
                    <a:lnTo>
                      <a:pt x="286980" y="1455659"/>
                    </a:lnTo>
                    <a:lnTo>
                      <a:pt x="289859" y="1457629"/>
                    </a:lnTo>
                    <a:lnTo>
                      <a:pt x="292738" y="1460811"/>
                    </a:lnTo>
                    <a:lnTo>
                      <a:pt x="296981" y="1463084"/>
                    </a:lnTo>
                    <a:lnTo>
                      <a:pt x="302890" y="1469296"/>
                    </a:lnTo>
                    <a:lnTo>
                      <a:pt x="304708" y="1469751"/>
                    </a:lnTo>
                    <a:lnTo>
                      <a:pt x="305314" y="1469599"/>
                    </a:lnTo>
                    <a:lnTo>
                      <a:pt x="307436" y="1467781"/>
                    </a:lnTo>
                    <a:lnTo>
                      <a:pt x="307890" y="1466720"/>
                    </a:lnTo>
                    <a:lnTo>
                      <a:pt x="302739" y="1459599"/>
                    </a:lnTo>
                    <a:lnTo>
                      <a:pt x="300163" y="1458083"/>
                    </a:lnTo>
                    <a:close/>
                    <a:moveTo>
                      <a:pt x="346983" y="1495964"/>
                    </a:moveTo>
                    <a:lnTo>
                      <a:pt x="347740" y="1492630"/>
                    </a:lnTo>
                    <a:lnTo>
                      <a:pt x="349104" y="1485509"/>
                    </a:lnTo>
                    <a:lnTo>
                      <a:pt x="349104" y="1483842"/>
                    </a:lnTo>
                    <a:lnTo>
                      <a:pt x="345922" y="1483994"/>
                    </a:lnTo>
                    <a:lnTo>
                      <a:pt x="343801" y="1487176"/>
                    </a:lnTo>
                    <a:lnTo>
                      <a:pt x="343952" y="1492176"/>
                    </a:lnTo>
                    <a:lnTo>
                      <a:pt x="344255" y="1494297"/>
                    </a:lnTo>
                    <a:lnTo>
                      <a:pt x="344558" y="1495358"/>
                    </a:lnTo>
                    <a:lnTo>
                      <a:pt x="344407" y="1496570"/>
                    </a:lnTo>
                    <a:lnTo>
                      <a:pt x="343649" y="1498540"/>
                    </a:lnTo>
                    <a:lnTo>
                      <a:pt x="345770" y="1498085"/>
                    </a:lnTo>
                    <a:lnTo>
                      <a:pt x="346528" y="1497176"/>
                    </a:lnTo>
                    <a:lnTo>
                      <a:pt x="346983" y="1495964"/>
                    </a:lnTo>
                    <a:close/>
                    <a:moveTo>
                      <a:pt x="392742" y="1593998"/>
                    </a:moveTo>
                    <a:lnTo>
                      <a:pt x="391378" y="1591725"/>
                    </a:lnTo>
                    <a:lnTo>
                      <a:pt x="390317" y="1590513"/>
                    </a:lnTo>
                    <a:lnTo>
                      <a:pt x="387893" y="1589452"/>
                    </a:lnTo>
                    <a:lnTo>
                      <a:pt x="385166" y="1590664"/>
                    </a:lnTo>
                    <a:lnTo>
                      <a:pt x="385923" y="1592634"/>
                    </a:lnTo>
                    <a:lnTo>
                      <a:pt x="385772" y="1593391"/>
                    </a:lnTo>
                    <a:lnTo>
                      <a:pt x="384863" y="1593846"/>
                    </a:lnTo>
                    <a:lnTo>
                      <a:pt x="384560" y="1594301"/>
                    </a:lnTo>
                    <a:lnTo>
                      <a:pt x="384863" y="1594907"/>
                    </a:lnTo>
                    <a:lnTo>
                      <a:pt x="388196" y="1597634"/>
                    </a:lnTo>
                    <a:lnTo>
                      <a:pt x="390166" y="1598695"/>
                    </a:lnTo>
                    <a:lnTo>
                      <a:pt x="391833" y="1599149"/>
                    </a:lnTo>
                    <a:lnTo>
                      <a:pt x="392893" y="1598998"/>
                    </a:lnTo>
                    <a:lnTo>
                      <a:pt x="393348" y="1598240"/>
                    </a:lnTo>
                    <a:lnTo>
                      <a:pt x="393348" y="1596573"/>
                    </a:lnTo>
                    <a:lnTo>
                      <a:pt x="392742" y="1593998"/>
                    </a:lnTo>
                    <a:close/>
                    <a:moveTo>
                      <a:pt x="51366" y="779574"/>
                    </a:moveTo>
                    <a:lnTo>
                      <a:pt x="53638" y="777756"/>
                    </a:lnTo>
                    <a:lnTo>
                      <a:pt x="58184" y="777150"/>
                    </a:lnTo>
                    <a:lnTo>
                      <a:pt x="56669" y="775786"/>
                    </a:lnTo>
                    <a:lnTo>
                      <a:pt x="52881" y="774271"/>
                    </a:lnTo>
                    <a:lnTo>
                      <a:pt x="51062" y="774119"/>
                    </a:lnTo>
                    <a:lnTo>
                      <a:pt x="46971" y="776695"/>
                    </a:lnTo>
                    <a:lnTo>
                      <a:pt x="47881" y="777604"/>
                    </a:lnTo>
                    <a:lnTo>
                      <a:pt x="51366" y="779574"/>
                    </a:lnTo>
                    <a:close/>
                    <a:moveTo>
                      <a:pt x="541384" y="454714"/>
                    </a:moveTo>
                    <a:lnTo>
                      <a:pt x="540778" y="456077"/>
                    </a:lnTo>
                    <a:lnTo>
                      <a:pt x="543202" y="456683"/>
                    </a:lnTo>
                    <a:lnTo>
                      <a:pt x="545323" y="456380"/>
                    </a:lnTo>
                    <a:lnTo>
                      <a:pt x="547293" y="455168"/>
                    </a:lnTo>
                    <a:lnTo>
                      <a:pt x="548657" y="453804"/>
                    </a:lnTo>
                    <a:lnTo>
                      <a:pt x="549566" y="452441"/>
                    </a:lnTo>
                    <a:lnTo>
                      <a:pt x="550172" y="450774"/>
                    </a:lnTo>
                    <a:lnTo>
                      <a:pt x="550627" y="447289"/>
                    </a:lnTo>
                    <a:lnTo>
                      <a:pt x="550324" y="446077"/>
                    </a:lnTo>
                    <a:lnTo>
                      <a:pt x="549566" y="445471"/>
                    </a:lnTo>
                    <a:lnTo>
                      <a:pt x="547445" y="446077"/>
                    </a:lnTo>
                    <a:lnTo>
                      <a:pt x="546081" y="447441"/>
                    </a:lnTo>
                    <a:lnTo>
                      <a:pt x="546687" y="448501"/>
                    </a:lnTo>
                    <a:lnTo>
                      <a:pt x="546687" y="449410"/>
                    </a:lnTo>
                    <a:lnTo>
                      <a:pt x="546384" y="450471"/>
                    </a:lnTo>
                    <a:lnTo>
                      <a:pt x="541384" y="454714"/>
                    </a:lnTo>
                    <a:close/>
                    <a:moveTo>
                      <a:pt x="269859" y="1502176"/>
                    </a:moveTo>
                    <a:lnTo>
                      <a:pt x="266677" y="1502176"/>
                    </a:lnTo>
                    <a:lnTo>
                      <a:pt x="265010" y="1501722"/>
                    </a:lnTo>
                    <a:lnTo>
                      <a:pt x="264858" y="1501267"/>
                    </a:lnTo>
                    <a:lnTo>
                      <a:pt x="266677" y="1498540"/>
                    </a:lnTo>
                    <a:lnTo>
                      <a:pt x="266677" y="1497630"/>
                    </a:lnTo>
                    <a:lnTo>
                      <a:pt x="266222" y="1497327"/>
                    </a:lnTo>
                    <a:lnTo>
                      <a:pt x="263192" y="1497630"/>
                    </a:lnTo>
                    <a:lnTo>
                      <a:pt x="261979" y="1497327"/>
                    </a:lnTo>
                    <a:lnTo>
                      <a:pt x="261525" y="1496115"/>
                    </a:lnTo>
                    <a:lnTo>
                      <a:pt x="257585" y="1491570"/>
                    </a:lnTo>
                    <a:lnTo>
                      <a:pt x="258040" y="1489903"/>
                    </a:lnTo>
                    <a:lnTo>
                      <a:pt x="261222" y="1487024"/>
                    </a:lnTo>
                    <a:lnTo>
                      <a:pt x="256979" y="1485357"/>
                    </a:lnTo>
                    <a:lnTo>
                      <a:pt x="253797" y="1484903"/>
                    </a:lnTo>
                    <a:lnTo>
                      <a:pt x="251525" y="1482630"/>
                    </a:lnTo>
                    <a:lnTo>
                      <a:pt x="248949" y="1480812"/>
                    </a:lnTo>
                    <a:lnTo>
                      <a:pt x="247130" y="1480509"/>
                    </a:lnTo>
                    <a:lnTo>
                      <a:pt x="248646" y="1479448"/>
                    </a:lnTo>
                    <a:lnTo>
                      <a:pt x="249706" y="1479296"/>
                    </a:lnTo>
                    <a:lnTo>
                      <a:pt x="251979" y="1480357"/>
                    </a:lnTo>
                    <a:lnTo>
                      <a:pt x="256373" y="1478993"/>
                    </a:lnTo>
                    <a:lnTo>
                      <a:pt x="256676" y="1475357"/>
                    </a:lnTo>
                    <a:lnTo>
                      <a:pt x="255919" y="1472326"/>
                    </a:lnTo>
                    <a:lnTo>
                      <a:pt x="253191" y="1468842"/>
                    </a:lnTo>
                    <a:lnTo>
                      <a:pt x="250464" y="1467629"/>
                    </a:lnTo>
                    <a:lnTo>
                      <a:pt x="249403" y="1467629"/>
                    </a:lnTo>
                    <a:lnTo>
                      <a:pt x="246827" y="1468690"/>
                    </a:lnTo>
                    <a:lnTo>
                      <a:pt x="245615" y="1469599"/>
                    </a:lnTo>
                    <a:lnTo>
                      <a:pt x="242433" y="1470357"/>
                    </a:lnTo>
                    <a:lnTo>
                      <a:pt x="237130" y="1471266"/>
                    </a:lnTo>
                    <a:lnTo>
                      <a:pt x="232281" y="1470963"/>
                    </a:lnTo>
                    <a:lnTo>
                      <a:pt x="231675" y="1471266"/>
                    </a:lnTo>
                    <a:lnTo>
                      <a:pt x="232887" y="1473084"/>
                    </a:lnTo>
                    <a:lnTo>
                      <a:pt x="233948" y="1473690"/>
                    </a:lnTo>
                    <a:lnTo>
                      <a:pt x="242888" y="1476418"/>
                    </a:lnTo>
                    <a:lnTo>
                      <a:pt x="242888" y="1477933"/>
                    </a:lnTo>
                    <a:lnTo>
                      <a:pt x="240615" y="1478236"/>
                    </a:lnTo>
                    <a:lnTo>
                      <a:pt x="239857" y="1478690"/>
                    </a:lnTo>
                    <a:lnTo>
                      <a:pt x="239857" y="1479751"/>
                    </a:lnTo>
                    <a:lnTo>
                      <a:pt x="240463" y="1481266"/>
                    </a:lnTo>
                    <a:lnTo>
                      <a:pt x="242433" y="1484297"/>
                    </a:lnTo>
                    <a:lnTo>
                      <a:pt x="244403" y="1485357"/>
                    </a:lnTo>
                    <a:lnTo>
                      <a:pt x="252131" y="1493085"/>
                    </a:lnTo>
                    <a:lnTo>
                      <a:pt x="257282" y="1496721"/>
                    </a:lnTo>
                    <a:lnTo>
                      <a:pt x="258949" y="1498388"/>
                    </a:lnTo>
                    <a:lnTo>
                      <a:pt x="260313" y="1501267"/>
                    </a:lnTo>
                    <a:lnTo>
                      <a:pt x="262737" y="1504297"/>
                    </a:lnTo>
                    <a:lnTo>
                      <a:pt x="268192" y="1507328"/>
                    </a:lnTo>
                    <a:lnTo>
                      <a:pt x="271071" y="1504903"/>
                    </a:lnTo>
                    <a:lnTo>
                      <a:pt x="269859" y="1502176"/>
                    </a:lnTo>
                    <a:close/>
                    <a:moveTo>
                      <a:pt x="295465" y="1402930"/>
                    </a:moveTo>
                    <a:lnTo>
                      <a:pt x="295162" y="1399900"/>
                    </a:lnTo>
                    <a:lnTo>
                      <a:pt x="292435" y="1402930"/>
                    </a:lnTo>
                    <a:lnTo>
                      <a:pt x="287435" y="1407173"/>
                    </a:lnTo>
                    <a:lnTo>
                      <a:pt x="285162" y="1409597"/>
                    </a:lnTo>
                    <a:lnTo>
                      <a:pt x="286223" y="1410355"/>
                    </a:lnTo>
                    <a:lnTo>
                      <a:pt x="291374" y="1407930"/>
                    </a:lnTo>
                    <a:lnTo>
                      <a:pt x="295465" y="1402930"/>
                    </a:lnTo>
                    <a:close/>
                    <a:moveTo>
                      <a:pt x="416985" y="658812"/>
                    </a:moveTo>
                    <a:lnTo>
                      <a:pt x="429864" y="658206"/>
                    </a:lnTo>
                    <a:lnTo>
                      <a:pt x="432137" y="659115"/>
                    </a:lnTo>
                    <a:lnTo>
                      <a:pt x="434562" y="660782"/>
                    </a:lnTo>
                    <a:lnTo>
                      <a:pt x="444562" y="665327"/>
                    </a:lnTo>
                    <a:lnTo>
                      <a:pt x="465169" y="673358"/>
                    </a:lnTo>
                    <a:lnTo>
                      <a:pt x="466684" y="674570"/>
                    </a:lnTo>
                    <a:lnTo>
                      <a:pt x="472139" y="680934"/>
                    </a:lnTo>
                    <a:lnTo>
                      <a:pt x="474108" y="682752"/>
                    </a:lnTo>
                    <a:lnTo>
                      <a:pt x="476533" y="686237"/>
                    </a:lnTo>
                    <a:lnTo>
                      <a:pt x="481988" y="696541"/>
                    </a:lnTo>
                    <a:lnTo>
                      <a:pt x="484109" y="698965"/>
                    </a:lnTo>
                    <a:lnTo>
                      <a:pt x="486988" y="701238"/>
                    </a:lnTo>
                    <a:lnTo>
                      <a:pt x="490170" y="702753"/>
                    </a:lnTo>
                    <a:lnTo>
                      <a:pt x="494564" y="703056"/>
                    </a:lnTo>
                    <a:lnTo>
                      <a:pt x="497140" y="702601"/>
                    </a:lnTo>
                    <a:lnTo>
                      <a:pt x="500473" y="701086"/>
                    </a:lnTo>
                    <a:lnTo>
                      <a:pt x="505170" y="697753"/>
                    </a:lnTo>
                    <a:lnTo>
                      <a:pt x="515928" y="694116"/>
                    </a:lnTo>
                    <a:lnTo>
                      <a:pt x="527141" y="685025"/>
                    </a:lnTo>
                    <a:lnTo>
                      <a:pt x="528504" y="684722"/>
                    </a:lnTo>
                    <a:lnTo>
                      <a:pt x="530626" y="684874"/>
                    </a:lnTo>
                    <a:lnTo>
                      <a:pt x="532747" y="686995"/>
                    </a:lnTo>
                    <a:lnTo>
                      <a:pt x="534717" y="687904"/>
                    </a:lnTo>
                    <a:lnTo>
                      <a:pt x="543202" y="686540"/>
                    </a:lnTo>
                    <a:lnTo>
                      <a:pt x="549414" y="685025"/>
                    </a:lnTo>
                    <a:lnTo>
                      <a:pt x="557900" y="681995"/>
                    </a:lnTo>
                    <a:lnTo>
                      <a:pt x="560627" y="679419"/>
                    </a:lnTo>
                    <a:lnTo>
                      <a:pt x="562294" y="676994"/>
                    </a:lnTo>
                    <a:lnTo>
                      <a:pt x="562748" y="675631"/>
                    </a:lnTo>
                    <a:lnTo>
                      <a:pt x="564869" y="662600"/>
                    </a:lnTo>
                    <a:lnTo>
                      <a:pt x="566385" y="657751"/>
                    </a:lnTo>
                    <a:lnTo>
                      <a:pt x="569567" y="650478"/>
                    </a:lnTo>
                    <a:lnTo>
                      <a:pt x="570021" y="646084"/>
                    </a:lnTo>
                    <a:lnTo>
                      <a:pt x="572446" y="645175"/>
                    </a:lnTo>
                    <a:lnTo>
                      <a:pt x="581234" y="644417"/>
                    </a:lnTo>
                    <a:lnTo>
                      <a:pt x="588204" y="641387"/>
                    </a:lnTo>
                    <a:lnTo>
                      <a:pt x="591083" y="638357"/>
                    </a:lnTo>
                    <a:lnTo>
                      <a:pt x="598659" y="625477"/>
                    </a:lnTo>
                    <a:lnTo>
                      <a:pt x="600174" y="623811"/>
                    </a:lnTo>
                    <a:lnTo>
                      <a:pt x="603356" y="621538"/>
                    </a:lnTo>
                    <a:lnTo>
                      <a:pt x="630175" y="610174"/>
                    </a:lnTo>
                    <a:lnTo>
                      <a:pt x="644418" y="603052"/>
                    </a:lnTo>
                    <a:lnTo>
                      <a:pt x="655327" y="599416"/>
                    </a:lnTo>
                    <a:lnTo>
                      <a:pt x="671237" y="591688"/>
                    </a:lnTo>
                    <a:lnTo>
                      <a:pt x="677904" y="589567"/>
                    </a:lnTo>
                    <a:lnTo>
                      <a:pt x="684571" y="588052"/>
                    </a:lnTo>
                    <a:lnTo>
                      <a:pt x="697299" y="583052"/>
                    </a:lnTo>
                    <a:lnTo>
                      <a:pt x="699420" y="581839"/>
                    </a:lnTo>
                    <a:lnTo>
                      <a:pt x="700329" y="580476"/>
                    </a:lnTo>
                    <a:lnTo>
                      <a:pt x="700784" y="578506"/>
                    </a:lnTo>
                    <a:lnTo>
                      <a:pt x="700329" y="576385"/>
                    </a:lnTo>
                    <a:lnTo>
                      <a:pt x="698965" y="574112"/>
                    </a:lnTo>
                    <a:lnTo>
                      <a:pt x="697450" y="572294"/>
                    </a:lnTo>
                    <a:lnTo>
                      <a:pt x="694117" y="569869"/>
                    </a:lnTo>
                    <a:lnTo>
                      <a:pt x="685328" y="565475"/>
                    </a:lnTo>
                    <a:lnTo>
                      <a:pt x="664419" y="550475"/>
                    </a:lnTo>
                    <a:lnTo>
                      <a:pt x="658206" y="546535"/>
                    </a:lnTo>
                    <a:lnTo>
                      <a:pt x="651388" y="542747"/>
                    </a:lnTo>
                    <a:lnTo>
                      <a:pt x="642751" y="539414"/>
                    </a:lnTo>
                    <a:lnTo>
                      <a:pt x="637448" y="538353"/>
                    </a:lnTo>
                    <a:lnTo>
                      <a:pt x="630326" y="537595"/>
                    </a:lnTo>
                    <a:lnTo>
                      <a:pt x="623963" y="537595"/>
                    </a:lnTo>
                    <a:lnTo>
                      <a:pt x="614568" y="538808"/>
                    </a:lnTo>
                    <a:lnTo>
                      <a:pt x="612295" y="539414"/>
                    </a:lnTo>
                    <a:lnTo>
                      <a:pt x="609114" y="541535"/>
                    </a:lnTo>
                    <a:lnTo>
                      <a:pt x="601386" y="549414"/>
                    </a:lnTo>
                    <a:lnTo>
                      <a:pt x="599871" y="550626"/>
                    </a:lnTo>
                    <a:lnTo>
                      <a:pt x="598962" y="550929"/>
                    </a:lnTo>
                    <a:lnTo>
                      <a:pt x="598507" y="550323"/>
                    </a:lnTo>
                    <a:lnTo>
                      <a:pt x="598356" y="545020"/>
                    </a:lnTo>
                    <a:lnTo>
                      <a:pt x="598052" y="542899"/>
                    </a:lnTo>
                    <a:lnTo>
                      <a:pt x="597446" y="541838"/>
                    </a:lnTo>
                    <a:lnTo>
                      <a:pt x="596537" y="541232"/>
                    </a:lnTo>
                    <a:lnTo>
                      <a:pt x="593507" y="540777"/>
                    </a:lnTo>
                    <a:lnTo>
                      <a:pt x="589264" y="541080"/>
                    </a:lnTo>
                    <a:lnTo>
                      <a:pt x="582294" y="546081"/>
                    </a:lnTo>
                    <a:lnTo>
                      <a:pt x="582143" y="545929"/>
                    </a:lnTo>
                    <a:lnTo>
                      <a:pt x="582143" y="545020"/>
                    </a:lnTo>
                    <a:lnTo>
                      <a:pt x="582749" y="543808"/>
                    </a:lnTo>
                    <a:lnTo>
                      <a:pt x="586992" y="539565"/>
                    </a:lnTo>
                    <a:lnTo>
                      <a:pt x="576537" y="538505"/>
                    </a:lnTo>
                    <a:lnTo>
                      <a:pt x="559869" y="533201"/>
                    </a:lnTo>
                    <a:lnTo>
                      <a:pt x="550929" y="529565"/>
                    </a:lnTo>
                    <a:lnTo>
                      <a:pt x="544111" y="525777"/>
                    </a:lnTo>
                    <a:lnTo>
                      <a:pt x="538959" y="523655"/>
                    </a:lnTo>
                    <a:lnTo>
                      <a:pt x="533808" y="522898"/>
                    </a:lnTo>
                    <a:lnTo>
                      <a:pt x="527141" y="523201"/>
                    </a:lnTo>
                    <a:lnTo>
                      <a:pt x="503201" y="527292"/>
                    </a:lnTo>
                    <a:lnTo>
                      <a:pt x="480018" y="528807"/>
                    </a:lnTo>
                    <a:lnTo>
                      <a:pt x="446380" y="533504"/>
                    </a:lnTo>
                    <a:lnTo>
                      <a:pt x="446077" y="534717"/>
                    </a:lnTo>
                    <a:lnTo>
                      <a:pt x="447895" y="535929"/>
                    </a:lnTo>
                    <a:lnTo>
                      <a:pt x="448350" y="537747"/>
                    </a:lnTo>
                    <a:lnTo>
                      <a:pt x="449865" y="538959"/>
                    </a:lnTo>
                    <a:lnTo>
                      <a:pt x="458502" y="554869"/>
                    </a:lnTo>
                    <a:lnTo>
                      <a:pt x="460320" y="557596"/>
                    </a:lnTo>
                    <a:lnTo>
                      <a:pt x="463199" y="560020"/>
                    </a:lnTo>
                    <a:lnTo>
                      <a:pt x="469108" y="561536"/>
                    </a:lnTo>
                    <a:lnTo>
                      <a:pt x="471230" y="563808"/>
                    </a:lnTo>
                    <a:lnTo>
                      <a:pt x="471230" y="564718"/>
                    </a:lnTo>
                    <a:lnTo>
                      <a:pt x="464866" y="571385"/>
                    </a:lnTo>
                    <a:lnTo>
                      <a:pt x="462593" y="577597"/>
                    </a:lnTo>
                    <a:lnTo>
                      <a:pt x="454108" y="583355"/>
                    </a:lnTo>
                    <a:lnTo>
                      <a:pt x="449411" y="592597"/>
                    </a:lnTo>
                    <a:lnTo>
                      <a:pt x="447895" y="594719"/>
                    </a:lnTo>
                    <a:lnTo>
                      <a:pt x="443653" y="598810"/>
                    </a:lnTo>
                    <a:lnTo>
                      <a:pt x="442744" y="601386"/>
                    </a:lnTo>
                    <a:lnTo>
                      <a:pt x="443198" y="602295"/>
                    </a:lnTo>
                    <a:lnTo>
                      <a:pt x="445471" y="604113"/>
                    </a:lnTo>
                    <a:lnTo>
                      <a:pt x="448047" y="604264"/>
                    </a:lnTo>
                    <a:lnTo>
                      <a:pt x="449562" y="605022"/>
                    </a:lnTo>
                    <a:lnTo>
                      <a:pt x="450017" y="605931"/>
                    </a:lnTo>
                    <a:lnTo>
                      <a:pt x="450320" y="607143"/>
                    </a:lnTo>
                    <a:lnTo>
                      <a:pt x="450168" y="608204"/>
                    </a:lnTo>
                    <a:lnTo>
                      <a:pt x="449411" y="608962"/>
                    </a:lnTo>
                    <a:lnTo>
                      <a:pt x="439865" y="612295"/>
                    </a:lnTo>
                    <a:lnTo>
                      <a:pt x="438804" y="613356"/>
                    </a:lnTo>
                    <a:lnTo>
                      <a:pt x="437895" y="614871"/>
                    </a:lnTo>
                    <a:lnTo>
                      <a:pt x="437440" y="616841"/>
                    </a:lnTo>
                    <a:lnTo>
                      <a:pt x="437440" y="619114"/>
                    </a:lnTo>
                    <a:lnTo>
                      <a:pt x="436986" y="623659"/>
                    </a:lnTo>
                    <a:lnTo>
                      <a:pt x="437289" y="625174"/>
                    </a:lnTo>
                    <a:lnTo>
                      <a:pt x="438198" y="625780"/>
                    </a:lnTo>
                    <a:lnTo>
                      <a:pt x="438198" y="626690"/>
                    </a:lnTo>
                    <a:lnTo>
                      <a:pt x="435925" y="628508"/>
                    </a:lnTo>
                    <a:lnTo>
                      <a:pt x="433198" y="630023"/>
                    </a:lnTo>
                    <a:lnTo>
                      <a:pt x="429410" y="633811"/>
                    </a:lnTo>
                    <a:lnTo>
                      <a:pt x="427289" y="635175"/>
                    </a:lnTo>
                    <a:lnTo>
                      <a:pt x="425773" y="637296"/>
                    </a:lnTo>
                    <a:lnTo>
                      <a:pt x="423804" y="641084"/>
                    </a:lnTo>
                    <a:lnTo>
                      <a:pt x="422137" y="643205"/>
                    </a:lnTo>
                    <a:lnTo>
                      <a:pt x="420773" y="643811"/>
                    </a:lnTo>
                    <a:lnTo>
                      <a:pt x="420167" y="644721"/>
                    </a:lnTo>
                    <a:lnTo>
                      <a:pt x="420470" y="646084"/>
                    </a:lnTo>
                    <a:lnTo>
                      <a:pt x="421076" y="646993"/>
                    </a:lnTo>
                    <a:lnTo>
                      <a:pt x="421834" y="647448"/>
                    </a:lnTo>
                    <a:lnTo>
                      <a:pt x="416985" y="649721"/>
                    </a:lnTo>
                    <a:lnTo>
                      <a:pt x="416834" y="650175"/>
                    </a:lnTo>
                    <a:lnTo>
                      <a:pt x="416985" y="652600"/>
                    </a:lnTo>
                    <a:lnTo>
                      <a:pt x="416834" y="654115"/>
                    </a:lnTo>
                    <a:lnTo>
                      <a:pt x="416228" y="655630"/>
                    </a:lnTo>
                    <a:lnTo>
                      <a:pt x="414712" y="658054"/>
                    </a:lnTo>
                    <a:lnTo>
                      <a:pt x="415167" y="658660"/>
                    </a:lnTo>
                    <a:lnTo>
                      <a:pt x="416985" y="658812"/>
                    </a:lnTo>
                    <a:close/>
                    <a:moveTo>
                      <a:pt x="236827" y="1468993"/>
                    </a:moveTo>
                    <a:lnTo>
                      <a:pt x="246070" y="1466114"/>
                    </a:lnTo>
                    <a:lnTo>
                      <a:pt x="247585" y="1464447"/>
                    </a:lnTo>
                    <a:lnTo>
                      <a:pt x="248343" y="1461872"/>
                    </a:lnTo>
                    <a:lnTo>
                      <a:pt x="248494" y="1454144"/>
                    </a:lnTo>
                    <a:lnTo>
                      <a:pt x="249403" y="1449447"/>
                    </a:lnTo>
                    <a:lnTo>
                      <a:pt x="251221" y="1444750"/>
                    </a:lnTo>
                    <a:lnTo>
                      <a:pt x="254403" y="1439295"/>
                    </a:lnTo>
                    <a:lnTo>
                      <a:pt x="254858" y="1437931"/>
                    </a:lnTo>
                    <a:lnTo>
                      <a:pt x="255313" y="1433537"/>
                    </a:lnTo>
                    <a:lnTo>
                      <a:pt x="254555" y="1433537"/>
                    </a:lnTo>
                    <a:lnTo>
                      <a:pt x="251221" y="1435961"/>
                    </a:lnTo>
                    <a:lnTo>
                      <a:pt x="247888" y="1437325"/>
                    </a:lnTo>
                    <a:lnTo>
                      <a:pt x="242585" y="1437628"/>
                    </a:lnTo>
                    <a:lnTo>
                      <a:pt x="242585" y="1439143"/>
                    </a:lnTo>
                    <a:lnTo>
                      <a:pt x="243342" y="1442780"/>
                    </a:lnTo>
                    <a:lnTo>
                      <a:pt x="243191" y="1444295"/>
                    </a:lnTo>
                    <a:lnTo>
                      <a:pt x="242130" y="1446265"/>
                    </a:lnTo>
                    <a:lnTo>
                      <a:pt x="241524" y="1450053"/>
                    </a:lnTo>
                    <a:lnTo>
                      <a:pt x="241070" y="1450811"/>
                    </a:lnTo>
                    <a:lnTo>
                      <a:pt x="233494" y="1452023"/>
                    </a:lnTo>
                    <a:lnTo>
                      <a:pt x="231524" y="1452023"/>
                    </a:lnTo>
                    <a:lnTo>
                      <a:pt x="230615" y="1451568"/>
                    </a:lnTo>
                    <a:lnTo>
                      <a:pt x="230463" y="1451114"/>
                    </a:lnTo>
                    <a:lnTo>
                      <a:pt x="230766" y="1450659"/>
                    </a:lnTo>
                    <a:lnTo>
                      <a:pt x="240312" y="1445962"/>
                    </a:lnTo>
                    <a:lnTo>
                      <a:pt x="241373" y="1444750"/>
                    </a:lnTo>
                    <a:lnTo>
                      <a:pt x="241979" y="1443689"/>
                    </a:lnTo>
                    <a:lnTo>
                      <a:pt x="241676" y="1440659"/>
                    </a:lnTo>
                    <a:lnTo>
                      <a:pt x="240312" y="1437931"/>
                    </a:lnTo>
                    <a:lnTo>
                      <a:pt x="239100" y="1436113"/>
                    </a:lnTo>
                    <a:lnTo>
                      <a:pt x="238039" y="1435052"/>
                    </a:lnTo>
                    <a:lnTo>
                      <a:pt x="236979" y="1434749"/>
                    </a:lnTo>
                    <a:lnTo>
                      <a:pt x="230918" y="1436113"/>
                    </a:lnTo>
                    <a:lnTo>
                      <a:pt x="228342" y="1433840"/>
                    </a:lnTo>
                    <a:lnTo>
                      <a:pt x="221826" y="1433386"/>
                    </a:lnTo>
                    <a:lnTo>
                      <a:pt x="219099" y="1432780"/>
                    </a:lnTo>
                    <a:lnTo>
                      <a:pt x="217584" y="1432780"/>
                    </a:lnTo>
                    <a:lnTo>
                      <a:pt x="217129" y="1433386"/>
                    </a:lnTo>
                    <a:lnTo>
                      <a:pt x="216220" y="1438537"/>
                    </a:lnTo>
                    <a:lnTo>
                      <a:pt x="216220" y="1441719"/>
                    </a:lnTo>
                    <a:lnTo>
                      <a:pt x="216675" y="1444901"/>
                    </a:lnTo>
                    <a:lnTo>
                      <a:pt x="217432" y="1447174"/>
                    </a:lnTo>
                    <a:lnTo>
                      <a:pt x="221220" y="1452780"/>
                    </a:lnTo>
                    <a:lnTo>
                      <a:pt x="221523" y="1453689"/>
                    </a:lnTo>
                    <a:lnTo>
                      <a:pt x="221523" y="1455356"/>
                    </a:lnTo>
                    <a:lnTo>
                      <a:pt x="223039" y="1457478"/>
                    </a:lnTo>
                    <a:lnTo>
                      <a:pt x="227887" y="1459296"/>
                    </a:lnTo>
                    <a:lnTo>
                      <a:pt x="234403" y="1463387"/>
                    </a:lnTo>
                    <a:lnTo>
                      <a:pt x="234554" y="1463841"/>
                    </a:lnTo>
                    <a:lnTo>
                      <a:pt x="233494" y="1463841"/>
                    </a:lnTo>
                    <a:lnTo>
                      <a:pt x="231221" y="1463084"/>
                    </a:lnTo>
                    <a:lnTo>
                      <a:pt x="228190" y="1462629"/>
                    </a:lnTo>
                    <a:lnTo>
                      <a:pt x="227130" y="1462781"/>
                    </a:lnTo>
                    <a:lnTo>
                      <a:pt x="225614" y="1464902"/>
                    </a:lnTo>
                    <a:lnTo>
                      <a:pt x="227584" y="1466720"/>
                    </a:lnTo>
                    <a:lnTo>
                      <a:pt x="231827" y="1469296"/>
                    </a:lnTo>
                    <a:lnTo>
                      <a:pt x="236827" y="1468993"/>
                    </a:lnTo>
                    <a:close/>
                    <a:moveTo>
                      <a:pt x="290011" y="1444144"/>
                    </a:moveTo>
                    <a:lnTo>
                      <a:pt x="290617" y="1444598"/>
                    </a:lnTo>
                    <a:lnTo>
                      <a:pt x="291829" y="1443689"/>
                    </a:lnTo>
                    <a:lnTo>
                      <a:pt x="293799" y="1441568"/>
                    </a:lnTo>
                    <a:lnTo>
                      <a:pt x="294708" y="1440204"/>
                    </a:lnTo>
                    <a:lnTo>
                      <a:pt x="293041" y="1437325"/>
                    </a:lnTo>
                    <a:lnTo>
                      <a:pt x="292587" y="1436871"/>
                    </a:lnTo>
                    <a:lnTo>
                      <a:pt x="290314" y="1435355"/>
                    </a:lnTo>
                    <a:lnTo>
                      <a:pt x="288950" y="1435204"/>
                    </a:lnTo>
                    <a:lnTo>
                      <a:pt x="287738" y="1435810"/>
                    </a:lnTo>
                    <a:lnTo>
                      <a:pt x="283647" y="1438992"/>
                    </a:lnTo>
                    <a:lnTo>
                      <a:pt x="282283" y="1440507"/>
                    </a:lnTo>
                    <a:lnTo>
                      <a:pt x="281980" y="1441568"/>
                    </a:lnTo>
                    <a:lnTo>
                      <a:pt x="282132" y="1442628"/>
                    </a:lnTo>
                    <a:lnTo>
                      <a:pt x="282738" y="1443689"/>
                    </a:lnTo>
                    <a:lnTo>
                      <a:pt x="283344" y="1444295"/>
                    </a:lnTo>
                    <a:lnTo>
                      <a:pt x="283950" y="1444447"/>
                    </a:lnTo>
                    <a:lnTo>
                      <a:pt x="284101" y="1443841"/>
                    </a:lnTo>
                    <a:lnTo>
                      <a:pt x="283798" y="1442628"/>
                    </a:lnTo>
                    <a:lnTo>
                      <a:pt x="283950" y="1441568"/>
                    </a:lnTo>
                    <a:lnTo>
                      <a:pt x="284405" y="1440810"/>
                    </a:lnTo>
                    <a:lnTo>
                      <a:pt x="285314" y="1440810"/>
                    </a:lnTo>
                    <a:lnTo>
                      <a:pt x="286677" y="1441719"/>
                    </a:lnTo>
                    <a:lnTo>
                      <a:pt x="288496" y="1443841"/>
                    </a:lnTo>
                    <a:lnTo>
                      <a:pt x="290011" y="1444144"/>
                    </a:lnTo>
                    <a:close/>
                    <a:moveTo>
                      <a:pt x="279859" y="1415355"/>
                    </a:moveTo>
                    <a:lnTo>
                      <a:pt x="276374" y="1414900"/>
                    </a:lnTo>
                    <a:lnTo>
                      <a:pt x="275919" y="1415506"/>
                    </a:lnTo>
                    <a:lnTo>
                      <a:pt x="275010" y="1418234"/>
                    </a:lnTo>
                    <a:lnTo>
                      <a:pt x="274859" y="1419900"/>
                    </a:lnTo>
                    <a:lnTo>
                      <a:pt x="275162" y="1420658"/>
                    </a:lnTo>
                    <a:lnTo>
                      <a:pt x="275768" y="1420658"/>
                    </a:lnTo>
                    <a:lnTo>
                      <a:pt x="279101" y="1418234"/>
                    </a:lnTo>
                    <a:lnTo>
                      <a:pt x="280313" y="1417021"/>
                    </a:lnTo>
                    <a:lnTo>
                      <a:pt x="280616" y="1416112"/>
                    </a:lnTo>
                    <a:lnTo>
                      <a:pt x="280465" y="1415506"/>
                    </a:lnTo>
                    <a:lnTo>
                      <a:pt x="279859" y="1415355"/>
                    </a:lnTo>
                    <a:close/>
                    <a:moveTo>
                      <a:pt x="270768" y="1507782"/>
                    </a:moveTo>
                    <a:lnTo>
                      <a:pt x="270465" y="1509146"/>
                    </a:lnTo>
                    <a:lnTo>
                      <a:pt x="270919" y="1512328"/>
                    </a:lnTo>
                    <a:lnTo>
                      <a:pt x="271525" y="1513540"/>
                    </a:lnTo>
                    <a:lnTo>
                      <a:pt x="272434" y="1514298"/>
                    </a:lnTo>
                    <a:lnTo>
                      <a:pt x="272889" y="1514298"/>
                    </a:lnTo>
                    <a:lnTo>
                      <a:pt x="273343" y="1509449"/>
                    </a:lnTo>
                    <a:lnTo>
                      <a:pt x="270919" y="1507479"/>
                    </a:lnTo>
                    <a:lnTo>
                      <a:pt x="270768" y="15077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2" name="Freeform: Shape 3321">
                <a:extLst>
                  <a:ext uri="{FF2B5EF4-FFF2-40B4-BE49-F238E27FC236}">
                    <a16:creationId xmlns:a16="http://schemas.microsoft.com/office/drawing/2014/main" id="{5B84742A-EA36-4A33-8A75-7D24117FE698}"/>
                  </a:ext>
                </a:extLst>
              </p:cNvPr>
              <p:cNvSpPr/>
              <p:nvPr/>
            </p:nvSpPr>
            <p:spPr>
              <a:xfrm>
                <a:off x="3335897" y="4053944"/>
                <a:ext cx="39395" cy="72881"/>
              </a:xfrm>
              <a:custGeom>
                <a:avLst/>
                <a:gdLst>
                  <a:gd name="connsiteX0" fmla="*/ 37426 w 39395"/>
                  <a:gd name="connsiteY0" fmla="*/ 9243 h 72881"/>
                  <a:gd name="connsiteX1" fmla="*/ 36365 w 39395"/>
                  <a:gd name="connsiteY1" fmla="*/ 9243 h 72881"/>
                  <a:gd name="connsiteX2" fmla="*/ 34850 w 39395"/>
                  <a:gd name="connsiteY2" fmla="*/ 13637 h 72881"/>
                  <a:gd name="connsiteX3" fmla="*/ 34698 w 39395"/>
                  <a:gd name="connsiteY3" fmla="*/ 14698 h 72881"/>
                  <a:gd name="connsiteX4" fmla="*/ 33638 w 39395"/>
                  <a:gd name="connsiteY4" fmla="*/ 16364 h 72881"/>
                  <a:gd name="connsiteX5" fmla="*/ 35001 w 39395"/>
                  <a:gd name="connsiteY5" fmla="*/ 15910 h 72881"/>
                  <a:gd name="connsiteX6" fmla="*/ 37729 w 39395"/>
                  <a:gd name="connsiteY6" fmla="*/ 9849 h 72881"/>
                  <a:gd name="connsiteX7" fmla="*/ 37426 w 39395"/>
                  <a:gd name="connsiteY7" fmla="*/ 9243 h 72881"/>
                  <a:gd name="connsiteX8" fmla="*/ 26819 w 39395"/>
                  <a:gd name="connsiteY8" fmla="*/ 3637 h 72881"/>
                  <a:gd name="connsiteX9" fmla="*/ 25456 w 39395"/>
                  <a:gd name="connsiteY9" fmla="*/ 3939 h 72881"/>
                  <a:gd name="connsiteX10" fmla="*/ 23940 w 39395"/>
                  <a:gd name="connsiteY10" fmla="*/ 3485 h 72881"/>
                  <a:gd name="connsiteX11" fmla="*/ 25456 w 39395"/>
                  <a:gd name="connsiteY11" fmla="*/ 303 h 72881"/>
                  <a:gd name="connsiteX12" fmla="*/ 23334 w 39395"/>
                  <a:gd name="connsiteY12" fmla="*/ 0 h 72881"/>
                  <a:gd name="connsiteX13" fmla="*/ 20910 w 39395"/>
                  <a:gd name="connsiteY13" fmla="*/ 151 h 72881"/>
                  <a:gd name="connsiteX14" fmla="*/ 19243 w 39395"/>
                  <a:gd name="connsiteY14" fmla="*/ 1061 h 72881"/>
                  <a:gd name="connsiteX15" fmla="*/ 17576 w 39395"/>
                  <a:gd name="connsiteY15" fmla="*/ 5455 h 72881"/>
                  <a:gd name="connsiteX16" fmla="*/ 13334 w 39395"/>
                  <a:gd name="connsiteY16" fmla="*/ 11667 h 72881"/>
                  <a:gd name="connsiteX17" fmla="*/ 11667 w 39395"/>
                  <a:gd name="connsiteY17" fmla="*/ 14698 h 72881"/>
                  <a:gd name="connsiteX18" fmla="*/ 10304 w 39395"/>
                  <a:gd name="connsiteY18" fmla="*/ 15758 h 72881"/>
                  <a:gd name="connsiteX19" fmla="*/ 9243 w 39395"/>
                  <a:gd name="connsiteY19" fmla="*/ 16213 h 72881"/>
                  <a:gd name="connsiteX20" fmla="*/ 8031 w 39395"/>
                  <a:gd name="connsiteY20" fmla="*/ 15455 h 72881"/>
                  <a:gd name="connsiteX21" fmla="*/ 5152 w 39395"/>
                  <a:gd name="connsiteY21" fmla="*/ 13788 h 72881"/>
                  <a:gd name="connsiteX22" fmla="*/ 2879 w 39395"/>
                  <a:gd name="connsiteY22" fmla="*/ 14546 h 72881"/>
                  <a:gd name="connsiteX23" fmla="*/ 2121 w 39395"/>
                  <a:gd name="connsiteY23" fmla="*/ 16516 h 72881"/>
                  <a:gd name="connsiteX24" fmla="*/ 2121 w 39395"/>
                  <a:gd name="connsiteY24" fmla="*/ 18940 h 72881"/>
                  <a:gd name="connsiteX25" fmla="*/ 1818 w 39395"/>
                  <a:gd name="connsiteY25" fmla="*/ 25758 h 72881"/>
                  <a:gd name="connsiteX26" fmla="*/ 1515 w 39395"/>
                  <a:gd name="connsiteY26" fmla="*/ 33638 h 72881"/>
                  <a:gd name="connsiteX27" fmla="*/ 1364 w 39395"/>
                  <a:gd name="connsiteY27" fmla="*/ 39395 h 72881"/>
                  <a:gd name="connsiteX28" fmla="*/ 1061 w 39395"/>
                  <a:gd name="connsiteY28" fmla="*/ 47123 h 72881"/>
                  <a:gd name="connsiteX29" fmla="*/ 758 w 39395"/>
                  <a:gd name="connsiteY29" fmla="*/ 55002 h 72881"/>
                  <a:gd name="connsiteX30" fmla="*/ 303 w 39395"/>
                  <a:gd name="connsiteY30" fmla="*/ 65760 h 72881"/>
                  <a:gd name="connsiteX31" fmla="*/ 0 w 39395"/>
                  <a:gd name="connsiteY31" fmla="*/ 72730 h 72881"/>
                  <a:gd name="connsiteX32" fmla="*/ 152 w 39395"/>
                  <a:gd name="connsiteY32" fmla="*/ 72881 h 72881"/>
                  <a:gd name="connsiteX33" fmla="*/ 3485 w 39395"/>
                  <a:gd name="connsiteY33" fmla="*/ 72578 h 72881"/>
                  <a:gd name="connsiteX34" fmla="*/ 8334 w 39395"/>
                  <a:gd name="connsiteY34" fmla="*/ 72881 h 72881"/>
                  <a:gd name="connsiteX35" fmla="*/ 9546 w 39395"/>
                  <a:gd name="connsiteY35" fmla="*/ 72881 h 72881"/>
                  <a:gd name="connsiteX36" fmla="*/ 9091 w 39395"/>
                  <a:gd name="connsiteY36" fmla="*/ 71063 h 72881"/>
                  <a:gd name="connsiteX37" fmla="*/ 10000 w 39395"/>
                  <a:gd name="connsiteY37" fmla="*/ 69397 h 72881"/>
                  <a:gd name="connsiteX38" fmla="*/ 15001 w 39395"/>
                  <a:gd name="connsiteY38" fmla="*/ 62881 h 72881"/>
                  <a:gd name="connsiteX39" fmla="*/ 18637 w 39395"/>
                  <a:gd name="connsiteY39" fmla="*/ 61669 h 72881"/>
                  <a:gd name="connsiteX40" fmla="*/ 21364 w 39395"/>
                  <a:gd name="connsiteY40" fmla="*/ 57729 h 72881"/>
                  <a:gd name="connsiteX41" fmla="*/ 22880 w 39395"/>
                  <a:gd name="connsiteY41" fmla="*/ 56214 h 72881"/>
                  <a:gd name="connsiteX42" fmla="*/ 25304 w 39395"/>
                  <a:gd name="connsiteY42" fmla="*/ 52123 h 72881"/>
                  <a:gd name="connsiteX43" fmla="*/ 26668 w 39395"/>
                  <a:gd name="connsiteY43" fmla="*/ 42880 h 72881"/>
                  <a:gd name="connsiteX44" fmla="*/ 25758 w 39395"/>
                  <a:gd name="connsiteY44" fmla="*/ 36517 h 72881"/>
                  <a:gd name="connsiteX45" fmla="*/ 25910 w 39395"/>
                  <a:gd name="connsiteY45" fmla="*/ 33183 h 72881"/>
                  <a:gd name="connsiteX46" fmla="*/ 26516 w 39395"/>
                  <a:gd name="connsiteY46" fmla="*/ 30910 h 72881"/>
                  <a:gd name="connsiteX47" fmla="*/ 28335 w 39395"/>
                  <a:gd name="connsiteY47" fmla="*/ 27425 h 72881"/>
                  <a:gd name="connsiteX48" fmla="*/ 26516 w 39395"/>
                  <a:gd name="connsiteY48" fmla="*/ 24849 h 72881"/>
                  <a:gd name="connsiteX49" fmla="*/ 27880 w 39395"/>
                  <a:gd name="connsiteY49" fmla="*/ 20910 h 72881"/>
                  <a:gd name="connsiteX50" fmla="*/ 28335 w 39395"/>
                  <a:gd name="connsiteY50" fmla="*/ 18182 h 72881"/>
                  <a:gd name="connsiteX51" fmla="*/ 31365 w 39395"/>
                  <a:gd name="connsiteY51" fmla="*/ 10455 h 72881"/>
                  <a:gd name="connsiteX52" fmla="*/ 31668 w 39395"/>
                  <a:gd name="connsiteY52" fmla="*/ 7576 h 72881"/>
                  <a:gd name="connsiteX53" fmla="*/ 30456 w 39395"/>
                  <a:gd name="connsiteY53" fmla="*/ 4091 h 72881"/>
                  <a:gd name="connsiteX54" fmla="*/ 26819 w 39395"/>
                  <a:gd name="connsiteY54" fmla="*/ 3637 h 72881"/>
                  <a:gd name="connsiteX55" fmla="*/ 38335 w 39395"/>
                  <a:gd name="connsiteY55" fmla="*/ 26213 h 72881"/>
                  <a:gd name="connsiteX56" fmla="*/ 38183 w 39395"/>
                  <a:gd name="connsiteY56" fmla="*/ 27425 h 72881"/>
                  <a:gd name="connsiteX57" fmla="*/ 37426 w 39395"/>
                  <a:gd name="connsiteY57" fmla="*/ 28486 h 72881"/>
                  <a:gd name="connsiteX58" fmla="*/ 36213 w 39395"/>
                  <a:gd name="connsiteY58" fmla="*/ 29546 h 72881"/>
                  <a:gd name="connsiteX59" fmla="*/ 35304 w 39395"/>
                  <a:gd name="connsiteY59" fmla="*/ 32425 h 72881"/>
                  <a:gd name="connsiteX60" fmla="*/ 35456 w 39395"/>
                  <a:gd name="connsiteY60" fmla="*/ 33486 h 72881"/>
                  <a:gd name="connsiteX61" fmla="*/ 37577 w 39395"/>
                  <a:gd name="connsiteY61" fmla="*/ 29546 h 72881"/>
                  <a:gd name="connsiteX62" fmla="*/ 39092 w 39395"/>
                  <a:gd name="connsiteY62" fmla="*/ 28031 h 72881"/>
                  <a:gd name="connsiteX63" fmla="*/ 39395 w 39395"/>
                  <a:gd name="connsiteY63" fmla="*/ 26819 h 72881"/>
                  <a:gd name="connsiteX64" fmla="*/ 38335 w 39395"/>
                  <a:gd name="connsiteY64" fmla="*/ 26213 h 7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395" h="72881">
                    <a:moveTo>
                      <a:pt x="37426" y="9243"/>
                    </a:moveTo>
                    <a:lnTo>
                      <a:pt x="36365" y="9243"/>
                    </a:lnTo>
                    <a:lnTo>
                      <a:pt x="34850" y="13637"/>
                    </a:lnTo>
                    <a:lnTo>
                      <a:pt x="34698" y="14698"/>
                    </a:lnTo>
                    <a:lnTo>
                      <a:pt x="33638" y="16364"/>
                    </a:lnTo>
                    <a:lnTo>
                      <a:pt x="35001" y="15910"/>
                    </a:lnTo>
                    <a:lnTo>
                      <a:pt x="37729" y="9849"/>
                    </a:lnTo>
                    <a:lnTo>
                      <a:pt x="37426" y="9243"/>
                    </a:lnTo>
                    <a:close/>
                    <a:moveTo>
                      <a:pt x="26819" y="3637"/>
                    </a:moveTo>
                    <a:lnTo>
                      <a:pt x="25456" y="3939"/>
                    </a:lnTo>
                    <a:lnTo>
                      <a:pt x="23940" y="3485"/>
                    </a:lnTo>
                    <a:lnTo>
                      <a:pt x="25456" y="303"/>
                    </a:lnTo>
                    <a:lnTo>
                      <a:pt x="23334" y="0"/>
                    </a:lnTo>
                    <a:lnTo>
                      <a:pt x="20910" y="151"/>
                    </a:lnTo>
                    <a:lnTo>
                      <a:pt x="19243" y="1061"/>
                    </a:lnTo>
                    <a:lnTo>
                      <a:pt x="17576" y="5455"/>
                    </a:lnTo>
                    <a:lnTo>
                      <a:pt x="13334" y="11667"/>
                    </a:lnTo>
                    <a:lnTo>
                      <a:pt x="11667" y="14698"/>
                    </a:lnTo>
                    <a:lnTo>
                      <a:pt x="10304" y="15758"/>
                    </a:lnTo>
                    <a:lnTo>
                      <a:pt x="9243" y="16213"/>
                    </a:lnTo>
                    <a:lnTo>
                      <a:pt x="8031" y="15455"/>
                    </a:lnTo>
                    <a:lnTo>
                      <a:pt x="5152" y="13788"/>
                    </a:lnTo>
                    <a:lnTo>
                      <a:pt x="2879" y="14546"/>
                    </a:lnTo>
                    <a:lnTo>
                      <a:pt x="2121" y="16516"/>
                    </a:lnTo>
                    <a:lnTo>
                      <a:pt x="2121" y="18940"/>
                    </a:lnTo>
                    <a:lnTo>
                      <a:pt x="1818" y="25758"/>
                    </a:lnTo>
                    <a:lnTo>
                      <a:pt x="1515" y="33638"/>
                    </a:lnTo>
                    <a:lnTo>
                      <a:pt x="1364" y="39395"/>
                    </a:lnTo>
                    <a:lnTo>
                      <a:pt x="1061" y="47123"/>
                    </a:lnTo>
                    <a:lnTo>
                      <a:pt x="758" y="55002"/>
                    </a:lnTo>
                    <a:lnTo>
                      <a:pt x="303" y="65760"/>
                    </a:lnTo>
                    <a:lnTo>
                      <a:pt x="0" y="72730"/>
                    </a:lnTo>
                    <a:lnTo>
                      <a:pt x="152" y="72881"/>
                    </a:lnTo>
                    <a:lnTo>
                      <a:pt x="3485" y="72578"/>
                    </a:lnTo>
                    <a:lnTo>
                      <a:pt x="8334" y="72881"/>
                    </a:lnTo>
                    <a:lnTo>
                      <a:pt x="9546" y="72881"/>
                    </a:lnTo>
                    <a:lnTo>
                      <a:pt x="9091" y="71063"/>
                    </a:lnTo>
                    <a:lnTo>
                      <a:pt x="10000" y="69397"/>
                    </a:lnTo>
                    <a:lnTo>
                      <a:pt x="15001" y="62881"/>
                    </a:lnTo>
                    <a:lnTo>
                      <a:pt x="18637" y="61669"/>
                    </a:lnTo>
                    <a:lnTo>
                      <a:pt x="21364" y="57729"/>
                    </a:lnTo>
                    <a:lnTo>
                      <a:pt x="22880" y="56214"/>
                    </a:lnTo>
                    <a:lnTo>
                      <a:pt x="25304" y="52123"/>
                    </a:lnTo>
                    <a:lnTo>
                      <a:pt x="26668" y="42880"/>
                    </a:lnTo>
                    <a:lnTo>
                      <a:pt x="25758" y="36517"/>
                    </a:lnTo>
                    <a:lnTo>
                      <a:pt x="25910" y="33183"/>
                    </a:lnTo>
                    <a:lnTo>
                      <a:pt x="26516" y="30910"/>
                    </a:lnTo>
                    <a:lnTo>
                      <a:pt x="28335" y="27425"/>
                    </a:lnTo>
                    <a:lnTo>
                      <a:pt x="26516" y="24849"/>
                    </a:lnTo>
                    <a:lnTo>
                      <a:pt x="27880" y="20910"/>
                    </a:lnTo>
                    <a:lnTo>
                      <a:pt x="28335" y="18182"/>
                    </a:lnTo>
                    <a:lnTo>
                      <a:pt x="31365" y="10455"/>
                    </a:lnTo>
                    <a:lnTo>
                      <a:pt x="31668" y="7576"/>
                    </a:lnTo>
                    <a:lnTo>
                      <a:pt x="30456" y="4091"/>
                    </a:lnTo>
                    <a:lnTo>
                      <a:pt x="26819" y="3637"/>
                    </a:lnTo>
                    <a:close/>
                    <a:moveTo>
                      <a:pt x="38335" y="26213"/>
                    </a:moveTo>
                    <a:lnTo>
                      <a:pt x="38183" y="27425"/>
                    </a:lnTo>
                    <a:lnTo>
                      <a:pt x="37426" y="28486"/>
                    </a:lnTo>
                    <a:lnTo>
                      <a:pt x="36213" y="29546"/>
                    </a:lnTo>
                    <a:lnTo>
                      <a:pt x="35304" y="32425"/>
                    </a:lnTo>
                    <a:lnTo>
                      <a:pt x="35456" y="33486"/>
                    </a:lnTo>
                    <a:lnTo>
                      <a:pt x="37577" y="29546"/>
                    </a:lnTo>
                    <a:lnTo>
                      <a:pt x="39092" y="28031"/>
                    </a:lnTo>
                    <a:lnTo>
                      <a:pt x="39395" y="26819"/>
                    </a:lnTo>
                    <a:lnTo>
                      <a:pt x="38335" y="26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3" name="Freeform: Shape 3322">
                <a:extLst>
                  <a:ext uri="{FF2B5EF4-FFF2-40B4-BE49-F238E27FC236}">
                    <a16:creationId xmlns:a16="http://schemas.microsoft.com/office/drawing/2014/main" id="{343372E9-F7A0-450B-8AE3-A46347A137A2}"/>
                  </a:ext>
                </a:extLst>
              </p:cNvPr>
              <p:cNvSpPr/>
              <p:nvPr/>
            </p:nvSpPr>
            <p:spPr>
              <a:xfrm>
                <a:off x="6411314" y="2845870"/>
                <a:ext cx="260918" cy="182582"/>
              </a:xfrm>
              <a:custGeom>
                <a:avLst/>
                <a:gdLst>
                  <a:gd name="connsiteX0" fmla="*/ 260767 w 260918"/>
                  <a:gd name="connsiteY0" fmla="*/ 103337 h 182582"/>
                  <a:gd name="connsiteX1" fmla="*/ 260161 w 260918"/>
                  <a:gd name="connsiteY1" fmla="*/ 102276 h 182582"/>
                  <a:gd name="connsiteX2" fmla="*/ 254252 w 260918"/>
                  <a:gd name="connsiteY2" fmla="*/ 98640 h 182582"/>
                  <a:gd name="connsiteX3" fmla="*/ 253494 w 260918"/>
                  <a:gd name="connsiteY3" fmla="*/ 97428 h 182582"/>
                  <a:gd name="connsiteX4" fmla="*/ 253040 w 260918"/>
                  <a:gd name="connsiteY4" fmla="*/ 96064 h 182582"/>
                  <a:gd name="connsiteX5" fmla="*/ 253797 w 260918"/>
                  <a:gd name="connsiteY5" fmla="*/ 94700 h 182582"/>
                  <a:gd name="connsiteX6" fmla="*/ 253797 w 260918"/>
                  <a:gd name="connsiteY6" fmla="*/ 93185 h 182582"/>
                  <a:gd name="connsiteX7" fmla="*/ 246827 w 260918"/>
                  <a:gd name="connsiteY7" fmla="*/ 89852 h 182582"/>
                  <a:gd name="connsiteX8" fmla="*/ 241221 w 260918"/>
                  <a:gd name="connsiteY8" fmla="*/ 89246 h 182582"/>
                  <a:gd name="connsiteX9" fmla="*/ 236524 w 260918"/>
                  <a:gd name="connsiteY9" fmla="*/ 89549 h 182582"/>
                  <a:gd name="connsiteX10" fmla="*/ 234706 w 260918"/>
                  <a:gd name="connsiteY10" fmla="*/ 88791 h 182582"/>
                  <a:gd name="connsiteX11" fmla="*/ 235463 w 260918"/>
                  <a:gd name="connsiteY11" fmla="*/ 87124 h 182582"/>
                  <a:gd name="connsiteX12" fmla="*/ 236675 w 260918"/>
                  <a:gd name="connsiteY12" fmla="*/ 84094 h 182582"/>
                  <a:gd name="connsiteX13" fmla="*/ 236979 w 260918"/>
                  <a:gd name="connsiteY13" fmla="*/ 81670 h 182582"/>
                  <a:gd name="connsiteX14" fmla="*/ 236675 w 260918"/>
                  <a:gd name="connsiteY14" fmla="*/ 80609 h 182582"/>
                  <a:gd name="connsiteX15" fmla="*/ 235766 w 260918"/>
                  <a:gd name="connsiteY15" fmla="*/ 79548 h 182582"/>
                  <a:gd name="connsiteX16" fmla="*/ 231221 w 260918"/>
                  <a:gd name="connsiteY16" fmla="*/ 77579 h 182582"/>
                  <a:gd name="connsiteX17" fmla="*/ 225160 w 260918"/>
                  <a:gd name="connsiteY17" fmla="*/ 74397 h 182582"/>
                  <a:gd name="connsiteX18" fmla="*/ 222281 w 260918"/>
                  <a:gd name="connsiteY18" fmla="*/ 70760 h 182582"/>
                  <a:gd name="connsiteX19" fmla="*/ 220766 w 260918"/>
                  <a:gd name="connsiteY19" fmla="*/ 66972 h 182582"/>
                  <a:gd name="connsiteX20" fmla="*/ 219099 w 260918"/>
                  <a:gd name="connsiteY20" fmla="*/ 64699 h 182582"/>
                  <a:gd name="connsiteX21" fmla="*/ 216069 w 260918"/>
                  <a:gd name="connsiteY21" fmla="*/ 63184 h 182582"/>
                  <a:gd name="connsiteX22" fmla="*/ 216372 w 260918"/>
                  <a:gd name="connsiteY22" fmla="*/ 62275 h 182582"/>
                  <a:gd name="connsiteX23" fmla="*/ 218341 w 260918"/>
                  <a:gd name="connsiteY23" fmla="*/ 58639 h 182582"/>
                  <a:gd name="connsiteX24" fmla="*/ 218190 w 260918"/>
                  <a:gd name="connsiteY24" fmla="*/ 58184 h 182582"/>
                  <a:gd name="connsiteX25" fmla="*/ 217432 w 260918"/>
                  <a:gd name="connsiteY25" fmla="*/ 57275 h 182582"/>
                  <a:gd name="connsiteX26" fmla="*/ 213644 w 260918"/>
                  <a:gd name="connsiteY26" fmla="*/ 55457 h 182582"/>
                  <a:gd name="connsiteX27" fmla="*/ 208493 w 260918"/>
                  <a:gd name="connsiteY27" fmla="*/ 52123 h 182582"/>
                  <a:gd name="connsiteX28" fmla="*/ 208341 w 260918"/>
                  <a:gd name="connsiteY28" fmla="*/ 51214 h 182582"/>
                  <a:gd name="connsiteX29" fmla="*/ 208644 w 260918"/>
                  <a:gd name="connsiteY29" fmla="*/ 49244 h 182582"/>
                  <a:gd name="connsiteX30" fmla="*/ 209402 w 260918"/>
                  <a:gd name="connsiteY30" fmla="*/ 47123 h 182582"/>
                  <a:gd name="connsiteX31" fmla="*/ 210463 w 260918"/>
                  <a:gd name="connsiteY31" fmla="*/ 46214 h 182582"/>
                  <a:gd name="connsiteX32" fmla="*/ 213493 w 260918"/>
                  <a:gd name="connsiteY32" fmla="*/ 41971 h 182582"/>
                  <a:gd name="connsiteX33" fmla="*/ 213493 w 260918"/>
                  <a:gd name="connsiteY33" fmla="*/ 40608 h 182582"/>
                  <a:gd name="connsiteX34" fmla="*/ 212887 w 260918"/>
                  <a:gd name="connsiteY34" fmla="*/ 38638 h 182582"/>
                  <a:gd name="connsiteX35" fmla="*/ 210765 w 260918"/>
                  <a:gd name="connsiteY35" fmla="*/ 35456 h 182582"/>
                  <a:gd name="connsiteX36" fmla="*/ 208947 w 260918"/>
                  <a:gd name="connsiteY36" fmla="*/ 33335 h 182582"/>
                  <a:gd name="connsiteX37" fmla="*/ 208947 w 260918"/>
                  <a:gd name="connsiteY37" fmla="*/ 32274 h 182582"/>
                  <a:gd name="connsiteX38" fmla="*/ 209098 w 260918"/>
                  <a:gd name="connsiteY38" fmla="*/ 31365 h 182582"/>
                  <a:gd name="connsiteX39" fmla="*/ 210311 w 260918"/>
                  <a:gd name="connsiteY39" fmla="*/ 30153 h 182582"/>
                  <a:gd name="connsiteX40" fmla="*/ 211372 w 260918"/>
                  <a:gd name="connsiteY40" fmla="*/ 28789 h 182582"/>
                  <a:gd name="connsiteX41" fmla="*/ 211523 w 260918"/>
                  <a:gd name="connsiteY41" fmla="*/ 23940 h 182582"/>
                  <a:gd name="connsiteX42" fmla="*/ 211523 w 260918"/>
                  <a:gd name="connsiteY42" fmla="*/ 22122 h 182582"/>
                  <a:gd name="connsiteX43" fmla="*/ 210765 w 260918"/>
                  <a:gd name="connsiteY43" fmla="*/ 21213 h 182582"/>
                  <a:gd name="connsiteX44" fmla="*/ 210159 w 260918"/>
                  <a:gd name="connsiteY44" fmla="*/ 20758 h 182582"/>
                  <a:gd name="connsiteX45" fmla="*/ 208644 w 260918"/>
                  <a:gd name="connsiteY45" fmla="*/ 20910 h 182582"/>
                  <a:gd name="connsiteX46" fmla="*/ 206371 w 260918"/>
                  <a:gd name="connsiteY46" fmla="*/ 20152 h 182582"/>
                  <a:gd name="connsiteX47" fmla="*/ 204856 w 260918"/>
                  <a:gd name="connsiteY47" fmla="*/ 18940 h 182582"/>
                  <a:gd name="connsiteX48" fmla="*/ 203796 w 260918"/>
                  <a:gd name="connsiteY48" fmla="*/ 18486 h 182582"/>
                  <a:gd name="connsiteX49" fmla="*/ 202735 w 260918"/>
                  <a:gd name="connsiteY49" fmla="*/ 17122 h 182582"/>
                  <a:gd name="connsiteX50" fmla="*/ 199704 w 260918"/>
                  <a:gd name="connsiteY50" fmla="*/ 14546 h 182582"/>
                  <a:gd name="connsiteX51" fmla="*/ 199250 w 260918"/>
                  <a:gd name="connsiteY51" fmla="*/ 13788 h 182582"/>
                  <a:gd name="connsiteX52" fmla="*/ 193037 w 260918"/>
                  <a:gd name="connsiteY52" fmla="*/ 11516 h 182582"/>
                  <a:gd name="connsiteX53" fmla="*/ 187886 w 260918"/>
                  <a:gd name="connsiteY53" fmla="*/ 11970 h 182582"/>
                  <a:gd name="connsiteX54" fmla="*/ 185007 w 260918"/>
                  <a:gd name="connsiteY54" fmla="*/ 11516 h 182582"/>
                  <a:gd name="connsiteX55" fmla="*/ 183492 w 260918"/>
                  <a:gd name="connsiteY55" fmla="*/ 12122 h 182582"/>
                  <a:gd name="connsiteX56" fmla="*/ 181825 w 260918"/>
                  <a:gd name="connsiteY56" fmla="*/ 13485 h 182582"/>
                  <a:gd name="connsiteX57" fmla="*/ 179704 w 260918"/>
                  <a:gd name="connsiteY57" fmla="*/ 14395 h 182582"/>
                  <a:gd name="connsiteX58" fmla="*/ 178037 w 260918"/>
                  <a:gd name="connsiteY58" fmla="*/ 14546 h 182582"/>
                  <a:gd name="connsiteX59" fmla="*/ 176522 w 260918"/>
                  <a:gd name="connsiteY59" fmla="*/ 15152 h 182582"/>
                  <a:gd name="connsiteX60" fmla="*/ 172582 w 260918"/>
                  <a:gd name="connsiteY60" fmla="*/ 17728 h 182582"/>
                  <a:gd name="connsiteX61" fmla="*/ 170613 w 260918"/>
                  <a:gd name="connsiteY61" fmla="*/ 16213 h 182582"/>
                  <a:gd name="connsiteX62" fmla="*/ 168946 w 260918"/>
                  <a:gd name="connsiteY62" fmla="*/ 13940 h 182582"/>
                  <a:gd name="connsiteX63" fmla="*/ 169552 w 260918"/>
                  <a:gd name="connsiteY63" fmla="*/ 11970 h 182582"/>
                  <a:gd name="connsiteX64" fmla="*/ 170158 w 260918"/>
                  <a:gd name="connsiteY64" fmla="*/ 10152 h 182582"/>
                  <a:gd name="connsiteX65" fmla="*/ 170158 w 260918"/>
                  <a:gd name="connsiteY65" fmla="*/ 8940 h 182582"/>
                  <a:gd name="connsiteX66" fmla="*/ 169552 w 260918"/>
                  <a:gd name="connsiteY66" fmla="*/ 8031 h 182582"/>
                  <a:gd name="connsiteX67" fmla="*/ 167127 w 260918"/>
                  <a:gd name="connsiteY67" fmla="*/ 6819 h 182582"/>
                  <a:gd name="connsiteX68" fmla="*/ 161673 w 260918"/>
                  <a:gd name="connsiteY68" fmla="*/ 4849 h 182582"/>
                  <a:gd name="connsiteX69" fmla="*/ 160158 w 260918"/>
                  <a:gd name="connsiteY69" fmla="*/ 4849 h 182582"/>
                  <a:gd name="connsiteX70" fmla="*/ 157885 w 260918"/>
                  <a:gd name="connsiteY70" fmla="*/ 5606 h 182582"/>
                  <a:gd name="connsiteX71" fmla="*/ 153793 w 260918"/>
                  <a:gd name="connsiteY71" fmla="*/ 7879 h 182582"/>
                  <a:gd name="connsiteX72" fmla="*/ 152278 w 260918"/>
                  <a:gd name="connsiteY72" fmla="*/ 7273 h 182582"/>
                  <a:gd name="connsiteX73" fmla="*/ 150915 w 260918"/>
                  <a:gd name="connsiteY73" fmla="*/ 5455 h 182582"/>
                  <a:gd name="connsiteX74" fmla="*/ 149400 w 260918"/>
                  <a:gd name="connsiteY74" fmla="*/ 3182 h 182582"/>
                  <a:gd name="connsiteX75" fmla="*/ 147430 w 260918"/>
                  <a:gd name="connsiteY75" fmla="*/ 2121 h 182582"/>
                  <a:gd name="connsiteX76" fmla="*/ 143187 w 260918"/>
                  <a:gd name="connsiteY76" fmla="*/ 2121 h 182582"/>
                  <a:gd name="connsiteX77" fmla="*/ 142733 w 260918"/>
                  <a:gd name="connsiteY77" fmla="*/ 2273 h 182582"/>
                  <a:gd name="connsiteX78" fmla="*/ 140611 w 260918"/>
                  <a:gd name="connsiteY78" fmla="*/ 3636 h 182582"/>
                  <a:gd name="connsiteX79" fmla="*/ 139702 w 260918"/>
                  <a:gd name="connsiteY79" fmla="*/ 3485 h 182582"/>
                  <a:gd name="connsiteX80" fmla="*/ 136066 w 260918"/>
                  <a:gd name="connsiteY80" fmla="*/ 152 h 182582"/>
                  <a:gd name="connsiteX81" fmla="*/ 135157 w 260918"/>
                  <a:gd name="connsiteY81" fmla="*/ 0 h 182582"/>
                  <a:gd name="connsiteX82" fmla="*/ 132884 w 260918"/>
                  <a:gd name="connsiteY82" fmla="*/ 455 h 182582"/>
                  <a:gd name="connsiteX83" fmla="*/ 129096 w 260918"/>
                  <a:gd name="connsiteY83" fmla="*/ 2727 h 182582"/>
                  <a:gd name="connsiteX84" fmla="*/ 123641 w 260918"/>
                  <a:gd name="connsiteY84" fmla="*/ 7879 h 182582"/>
                  <a:gd name="connsiteX85" fmla="*/ 122126 w 260918"/>
                  <a:gd name="connsiteY85" fmla="*/ 9091 h 182582"/>
                  <a:gd name="connsiteX86" fmla="*/ 120762 w 260918"/>
                  <a:gd name="connsiteY86" fmla="*/ 13031 h 182582"/>
                  <a:gd name="connsiteX87" fmla="*/ 120459 w 260918"/>
                  <a:gd name="connsiteY87" fmla="*/ 13334 h 182582"/>
                  <a:gd name="connsiteX88" fmla="*/ 117126 w 260918"/>
                  <a:gd name="connsiteY88" fmla="*/ 13182 h 182582"/>
                  <a:gd name="connsiteX89" fmla="*/ 116368 w 260918"/>
                  <a:gd name="connsiteY89" fmla="*/ 13031 h 182582"/>
                  <a:gd name="connsiteX90" fmla="*/ 113034 w 260918"/>
                  <a:gd name="connsiteY90" fmla="*/ 13182 h 182582"/>
                  <a:gd name="connsiteX91" fmla="*/ 106065 w 260918"/>
                  <a:gd name="connsiteY91" fmla="*/ 12122 h 182582"/>
                  <a:gd name="connsiteX92" fmla="*/ 103337 w 260918"/>
                  <a:gd name="connsiteY92" fmla="*/ 12879 h 182582"/>
                  <a:gd name="connsiteX93" fmla="*/ 99701 w 260918"/>
                  <a:gd name="connsiteY93" fmla="*/ 16819 h 182582"/>
                  <a:gd name="connsiteX94" fmla="*/ 98337 w 260918"/>
                  <a:gd name="connsiteY94" fmla="*/ 17425 h 182582"/>
                  <a:gd name="connsiteX95" fmla="*/ 94246 w 260918"/>
                  <a:gd name="connsiteY95" fmla="*/ 17879 h 182582"/>
                  <a:gd name="connsiteX96" fmla="*/ 93489 w 260918"/>
                  <a:gd name="connsiteY96" fmla="*/ 18486 h 182582"/>
                  <a:gd name="connsiteX97" fmla="*/ 93489 w 260918"/>
                  <a:gd name="connsiteY97" fmla="*/ 20152 h 182582"/>
                  <a:gd name="connsiteX98" fmla="*/ 92731 w 260918"/>
                  <a:gd name="connsiteY98" fmla="*/ 23031 h 182582"/>
                  <a:gd name="connsiteX99" fmla="*/ 91519 w 260918"/>
                  <a:gd name="connsiteY99" fmla="*/ 26819 h 182582"/>
                  <a:gd name="connsiteX100" fmla="*/ 90155 w 260918"/>
                  <a:gd name="connsiteY100" fmla="*/ 29698 h 182582"/>
                  <a:gd name="connsiteX101" fmla="*/ 89701 w 260918"/>
                  <a:gd name="connsiteY101" fmla="*/ 30910 h 182582"/>
                  <a:gd name="connsiteX102" fmla="*/ 90761 w 260918"/>
                  <a:gd name="connsiteY102" fmla="*/ 31819 h 182582"/>
                  <a:gd name="connsiteX103" fmla="*/ 95913 w 260918"/>
                  <a:gd name="connsiteY103" fmla="*/ 32274 h 182582"/>
                  <a:gd name="connsiteX104" fmla="*/ 98034 w 260918"/>
                  <a:gd name="connsiteY104" fmla="*/ 32729 h 182582"/>
                  <a:gd name="connsiteX105" fmla="*/ 98489 w 260918"/>
                  <a:gd name="connsiteY105" fmla="*/ 33486 h 182582"/>
                  <a:gd name="connsiteX106" fmla="*/ 97277 w 260918"/>
                  <a:gd name="connsiteY106" fmla="*/ 34547 h 182582"/>
                  <a:gd name="connsiteX107" fmla="*/ 95761 w 260918"/>
                  <a:gd name="connsiteY107" fmla="*/ 35304 h 182582"/>
                  <a:gd name="connsiteX108" fmla="*/ 95003 w 260918"/>
                  <a:gd name="connsiteY108" fmla="*/ 36213 h 182582"/>
                  <a:gd name="connsiteX109" fmla="*/ 93640 w 260918"/>
                  <a:gd name="connsiteY109" fmla="*/ 38941 h 182582"/>
                  <a:gd name="connsiteX110" fmla="*/ 85306 w 260918"/>
                  <a:gd name="connsiteY110" fmla="*/ 38638 h 182582"/>
                  <a:gd name="connsiteX111" fmla="*/ 84094 w 260918"/>
                  <a:gd name="connsiteY111" fmla="*/ 39244 h 182582"/>
                  <a:gd name="connsiteX112" fmla="*/ 83639 w 260918"/>
                  <a:gd name="connsiteY112" fmla="*/ 40456 h 182582"/>
                  <a:gd name="connsiteX113" fmla="*/ 83185 w 260918"/>
                  <a:gd name="connsiteY113" fmla="*/ 41971 h 182582"/>
                  <a:gd name="connsiteX114" fmla="*/ 81973 w 260918"/>
                  <a:gd name="connsiteY114" fmla="*/ 43789 h 182582"/>
                  <a:gd name="connsiteX115" fmla="*/ 79851 w 260918"/>
                  <a:gd name="connsiteY115" fmla="*/ 45305 h 182582"/>
                  <a:gd name="connsiteX116" fmla="*/ 76215 w 260918"/>
                  <a:gd name="connsiteY116" fmla="*/ 45911 h 182582"/>
                  <a:gd name="connsiteX117" fmla="*/ 73336 w 260918"/>
                  <a:gd name="connsiteY117" fmla="*/ 46971 h 182582"/>
                  <a:gd name="connsiteX118" fmla="*/ 71215 w 260918"/>
                  <a:gd name="connsiteY118" fmla="*/ 50305 h 182582"/>
                  <a:gd name="connsiteX119" fmla="*/ 69700 w 260918"/>
                  <a:gd name="connsiteY119" fmla="*/ 54699 h 182582"/>
                  <a:gd name="connsiteX120" fmla="*/ 69700 w 260918"/>
                  <a:gd name="connsiteY120" fmla="*/ 57729 h 182582"/>
                  <a:gd name="connsiteX121" fmla="*/ 69851 w 260918"/>
                  <a:gd name="connsiteY121" fmla="*/ 59396 h 182582"/>
                  <a:gd name="connsiteX122" fmla="*/ 69700 w 260918"/>
                  <a:gd name="connsiteY122" fmla="*/ 60457 h 182582"/>
                  <a:gd name="connsiteX123" fmla="*/ 68639 w 260918"/>
                  <a:gd name="connsiteY123" fmla="*/ 61517 h 182582"/>
                  <a:gd name="connsiteX124" fmla="*/ 66821 w 260918"/>
                  <a:gd name="connsiteY124" fmla="*/ 64396 h 182582"/>
                  <a:gd name="connsiteX125" fmla="*/ 65457 w 260918"/>
                  <a:gd name="connsiteY125" fmla="*/ 67578 h 182582"/>
                  <a:gd name="connsiteX126" fmla="*/ 64851 w 260918"/>
                  <a:gd name="connsiteY126" fmla="*/ 69245 h 182582"/>
                  <a:gd name="connsiteX127" fmla="*/ 65154 w 260918"/>
                  <a:gd name="connsiteY127" fmla="*/ 70003 h 182582"/>
                  <a:gd name="connsiteX128" fmla="*/ 66821 w 260918"/>
                  <a:gd name="connsiteY128" fmla="*/ 70003 h 182582"/>
                  <a:gd name="connsiteX129" fmla="*/ 69093 w 260918"/>
                  <a:gd name="connsiteY129" fmla="*/ 70609 h 182582"/>
                  <a:gd name="connsiteX130" fmla="*/ 70306 w 260918"/>
                  <a:gd name="connsiteY130" fmla="*/ 71972 h 182582"/>
                  <a:gd name="connsiteX131" fmla="*/ 70760 w 260918"/>
                  <a:gd name="connsiteY131" fmla="*/ 73336 h 182582"/>
                  <a:gd name="connsiteX132" fmla="*/ 70760 w 260918"/>
                  <a:gd name="connsiteY132" fmla="*/ 75003 h 182582"/>
                  <a:gd name="connsiteX133" fmla="*/ 70457 w 260918"/>
                  <a:gd name="connsiteY133" fmla="*/ 75760 h 182582"/>
                  <a:gd name="connsiteX134" fmla="*/ 68487 w 260918"/>
                  <a:gd name="connsiteY134" fmla="*/ 76366 h 182582"/>
                  <a:gd name="connsiteX135" fmla="*/ 65609 w 260918"/>
                  <a:gd name="connsiteY135" fmla="*/ 76366 h 182582"/>
                  <a:gd name="connsiteX136" fmla="*/ 63790 w 260918"/>
                  <a:gd name="connsiteY136" fmla="*/ 75760 h 182582"/>
                  <a:gd name="connsiteX137" fmla="*/ 63487 w 260918"/>
                  <a:gd name="connsiteY137" fmla="*/ 75154 h 182582"/>
                  <a:gd name="connsiteX138" fmla="*/ 64396 w 260918"/>
                  <a:gd name="connsiteY138" fmla="*/ 73639 h 182582"/>
                  <a:gd name="connsiteX139" fmla="*/ 63790 w 260918"/>
                  <a:gd name="connsiteY139" fmla="*/ 71669 h 182582"/>
                  <a:gd name="connsiteX140" fmla="*/ 62578 w 260918"/>
                  <a:gd name="connsiteY140" fmla="*/ 70760 h 182582"/>
                  <a:gd name="connsiteX141" fmla="*/ 60002 w 260918"/>
                  <a:gd name="connsiteY141" fmla="*/ 72275 h 182582"/>
                  <a:gd name="connsiteX142" fmla="*/ 57729 w 260918"/>
                  <a:gd name="connsiteY142" fmla="*/ 72275 h 182582"/>
                  <a:gd name="connsiteX143" fmla="*/ 54850 w 260918"/>
                  <a:gd name="connsiteY143" fmla="*/ 73639 h 182582"/>
                  <a:gd name="connsiteX144" fmla="*/ 52881 w 260918"/>
                  <a:gd name="connsiteY144" fmla="*/ 75912 h 182582"/>
                  <a:gd name="connsiteX145" fmla="*/ 51214 w 260918"/>
                  <a:gd name="connsiteY145" fmla="*/ 76670 h 182582"/>
                  <a:gd name="connsiteX146" fmla="*/ 46365 w 260918"/>
                  <a:gd name="connsiteY146" fmla="*/ 76215 h 182582"/>
                  <a:gd name="connsiteX147" fmla="*/ 45153 w 260918"/>
                  <a:gd name="connsiteY147" fmla="*/ 77276 h 182582"/>
                  <a:gd name="connsiteX148" fmla="*/ 44093 w 260918"/>
                  <a:gd name="connsiteY148" fmla="*/ 81821 h 182582"/>
                  <a:gd name="connsiteX149" fmla="*/ 43486 w 260918"/>
                  <a:gd name="connsiteY149" fmla="*/ 82579 h 182582"/>
                  <a:gd name="connsiteX150" fmla="*/ 39547 w 260918"/>
                  <a:gd name="connsiteY150" fmla="*/ 82427 h 182582"/>
                  <a:gd name="connsiteX151" fmla="*/ 35607 w 260918"/>
                  <a:gd name="connsiteY151" fmla="*/ 84246 h 182582"/>
                  <a:gd name="connsiteX152" fmla="*/ 31213 w 260918"/>
                  <a:gd name="connsiteY152" fmla="*/ 85761 h 182582"/>
                  <a:gd name="connsiteX153" fmla="*/ 28941 w 260918"/>
                  <a:gd name="connsiteY153" fmla="*/ 84700 h 182582"/>
                  <a:gd name="connsiteX154" fmla="*/ 27729 w 260918"/>
                  <a:gd name="connsiteY154" fmla="*/ 83488 h 182582"/>
                  <a:gd name="connsiteX155" fmla="*/ 25304 w 260918"/>
                  <a:gd name="connsiteY155" fmla="*/ 83791 h 182582"/>
                  <a:gd name="connsiteX156" fmla="*/ 22728 w 260918"/>
                  <a:gd name="connsiteY156" fmla="*/ 84246 h 182582"/>
                  <a:gd name="connsiteX157" fmla="*/ 21062 w 260918"/>
                  <a:gd name="connsiteY157" fmla="*/ 83942 h 182582"/>
                  <a:gd name="connsiteX158" fmla="*/ 19092 w 260918"/>
                  <a:gd name="connsiteY158" fmla="*/ 84094 h 182582"/>
                  <a:gd name="connsiteX159" fmla="*/ 15304 w 260918"/>
                  <a:gd name="connsiteY159" fmla="*/ 85003 h 182582"/>
                  <a:gd name="connsiteX160" fmla="*/ 10455 w 260918"/>
                  <a:gd name="connsiteY160" fmla="*/ 84700 h 182582"/>
                  <a:gd name="connsiteX161" fmla="*/ 8485 w 260918"/>
                  <a:gd name="connsiteY161" fmla="*/ 83942 h 182582"/>
                  <a:gd name="connsiteX162" fmla="*/ 11516 w 260918"/>
                  <a:gd name="connsiteY162" fmla="*/ 96670 h 182582"/>
                  <a:gd name="connsiteX163" fmla="*/ 16819 w 260918"/>
                  <a:gd name="connsiteY163" fmla="*/ 108943 h 182582"/>
                  <a:gd name="connsiteX164" fmla="*/ 18637 w 260918"/>
                  <a:gd name="connsiteY164" fmla="*/ 114853 h 182582"/>
                  <a:gd name="connsiteX165" fmla="*/ 19395 w 260918"/>
                  <a:gd name="connsiteY165" fmla="*/ 117883 h 182582"/>
                  <a:gd name="connsiteX166" fmla="*/ 20001 w 260918"/>
                  <a:gd name="connsiteY166" fmla="*/ 122429 h 182582"/>
                  <a:gd name="connsiteX167" fmla="*/ 20304 w 260918"/>
                  <a:gd name="connsiteY167" fmla="*/ 125611 h 182582"/>
                  <a:gd name="connsiteX168" fmla="*/ 20153 w 260918"/>
                  <a:gd name="connsiteY168" fmla="*/ 127429 h 182582"/>
                  <a:gd name="connsiteX169" fmla="*/ 19849 w 260918"/>
                  <a:gd name="connsiteY169" fmla="*/ 129853 h 182582"/>
                  <a:gd name="connsiteX170" fmla="*/ 18334 w 260918"/>
                  <a:gd name="connsiteY170" fmla="*/ 131368 h 182582"/>
                  <a:gd name="connsiteX171" fmla="*/ 8333 w 260918"/>
                  <a:gd name="connsiteY171" fmla="*/ 135460 h 182582"/>
                  <a:gd name="connsiteX172" fmla="*/ 6364 w 260918"/>
                  <a:gd name="connsiteY172" fmla="*/ 136823 h 182582"/>
                  <a:gd name="connsiteX173" fmla="*/ 3485 w 260918"/>
                  <a:gd name="connsiteY173" fmla="*/ 140005 h 182582"/>
                  <a:gd name="connsiteX174" fmla="*/ 757 w 260918"/>
                  <a:gd name="connsiteY174" fmla="*/ 143339 h 182582"/>
                  <a:gd name="connsiteX175" fmla="*/ 152 w 260918"/>
                  <a:gd name="connsiteY175" fmla="*/ 144551 h 182582"/>
                  <a:gd name="connsiteX176" fmla="*/ 0 w 260918"/>
                  <a:gd name="connsiteY176" fmla="*/ 145308 h 182582"/>
                  <a:gd name="connsiteX177" fmla="*/ 606 w 260918"/>
                  <a:gd name="connsiteY177" fmla="*/ 146369 h 182582"/>
                  <a:gd name="connsiteX178" fmla="*/ 4091 w 260918"/>
                  <a:gd name="connsiteY178" fmla="*/ 148187 h 182582"/>
                  <a:gd name="connsiteX179" fmla="*/ 7728 w 260918"/>
                  <a:gd name="connsiteY179" fmla="*/ 149551 h 182582"/>
                  <a:gd name="connsiteX180" fmla="*/ 8940 w 260918"/>
                  <a:gd name="connsiteY180" fmla="*/ 150612 h 182582"/>
                  <a:gd name="connsiteX181" fmla="*/ 11516 w 260918"/>
                  <a:gd name="connsiteY181" fmla="*/ 151975 h 182582"/>
                  <a:gd name="connsiteX182" fmla="*/ 12425 w 260918"/>
                  <a:gd name="connsiteY182" fmla="*/ 153187 h 182582"/>
                  <a:gd name="connsiteX183" fmla="*/ 13031 w 260918"/>
                  <a:gd name="connsiteY183" fmla="*/ 154248 h 182582"/>
                  <a:gd name="connsiteX184" fmla="*/ 13031 w 260918"/>
                  <a:gd name="connsiteY184" fmla="*/ 156824 h 182582"/>
                  <a:gd name="connsiteX185" fmla="*/ 11819 w 260918"/>
                  <a:gd name="connsiteY185" fmla="*/ 160157 h 182582"/>
                  <a:gd name="connsiteX186" fmla="*/ 12273 w 260918"/>
                  <a:gd name="connsiteY186" fmla="*/ 162733 h 182582"/>
                  <a:gd name="connsiteX187" fmla="*/ 11061 w 260918"/>
                  <a:gd name="connsiteY187" fmla="*/ 164400 h 182582"/>
                  <a:gd name="connsiteX188" fmla="*/ 10152 w 260918"/>
                  <a:gd name="connsiteY188" fmla="*/ 166370 h 182582"/>
                  <a:gd name="connsiteX189" fmla="*/ 10000 w 260918"/>
                  <a:gd name="connsiteY189" fmla="*/ 169703 h 182582"/>
                  <a:gd name="connsiteX190" fmla="*/ 11667 w 260918"/>
                  <a:gd name="connsiteY190" fmla="*/ 173340 h 182582"/>
                  <a:gd name="connsiteX191" fmla="*/ 11970 w 260918"/>
                  <a:gd name="connsiteY191" fmla="*/ 173037 h 182582"/>
                  <a:gd name="connsiteX192" fmla="*/ 11819 w 260918"/>
                  <a:gd name="connsiteY192" fmla="*/ 170006 h 182582"/>
                  <a:gd name="connsiteX193" fmla="*/ 12879 w 260918"/>
                  <a:gd name="connsiteY193" fmla="*/ 169249 h 182582"/>
                  <a:gd name="connsiteX194" fmla="*/ 14546 w 260918"/>
                  <a:gd name="connsiteY194" fmla="*/ 168794 h 182582"/>
                  <a:gd name="connsiteX195" fmla="*/ 16819 w 260918"/>
                  <a:gd name="connsiteY195" fmla="*/ 168946 h 182582"/>
                  <a:gd name="connsiteX196" fmla="*/ 18788 w 260918"/>
                  <a:gd name="connsiteY196" fmla="*/ 169552 h 182582"/>
                  <a:gd name="connsiteX197" fmla="*/ 21213 w 260918"/>
                  <a:gd name="connsiteY197" fmla="*/ 170915 h 182582"/>
                  <a:gd name="connsiteX198" fmla="*/ 21971 w 260918"/>
                  <a:gd name="connsiteY198" fmla="*/ 170612 h 182582"/>
                  <a:gd name="connsiteX199" fmla="*/ 26062 w 260918"/>
                  <a:gd name="connsiteY199" fmla="*/ 168036 h 182582"/>
                  <a:gd name="connsiteX200" fmla="*/ 30152 w 260918"/>
                  <a:gd name="connsiteY200" fmla="*/ 163945 h 182582"/>
                  <a:gd name="connsiteX201" fmla="*/ 31365 w 260918"/>
                  <a:gd name="connsiteY201" fmla="*/ 161673 h 182582"/>
                  <a:gd name="connsiteX202" fmla="*/ 32426 w 260918"/>
                  <a:gd name="connsiteY202" fmla="*/ 160612 h 182582"/>
                  <a:gd name="connsiteX203" fmla="*/ 36062 w 260918"/>
                  <a:gd name="connsiteY203" fmla="*/ 160006 h 182582"/>
                  <a:gd name="connsiteX204" fmla="*/ 39244 w 260918"/>
                  <a:gd name="connsiteY204" fmla="*/ 159854 h 182582"/>
                  <a:gd name="connsiteX205" fmla="*/ 41214 w 260918"/>
                  <a:gd name="connsiteY205" fmla="*/ 159854 h 182582"/>
                  <a:gd name="connsiteX206" fmla="*/ 46214 w 260918"/>
                  <a:gd name="connsiteY206" fmla="*/ 159400 h 182582"/>
                  <a:gd name="connsiteX207" fmla="*/ 49244 w 260918"/>
                  <a:gd name="connsiteY207" fmla="*/ 158945 h 182582"/>
                  <a:gd name="connsiteX208" fmla="*/ 51669 w 260918"/>
                  <a:gd name="connsiteY208" fmla="*/ 158339 h 182582"/>
                  <a:gd name="connsiteX209" fmla="*/ 57275 w 260918"/>
                  <a:gd name="connsiteY209" fmla="*/ 158036 h 182582"/>
                  <a:gd name="connsiteX210" fmla="*/ 65760 w 260918"/>
                  <a:gd name="connsiteY210" fmla="*/ 158491 h 182582"/>
                  <a:gd name="connsiteX211" fmla="*/ 71366 w 260918"/>
                  <a:gd name="connsiteY211" fmla="*/ 158491 h 182582"/>
                  <a:gd name="connsiteX212" fmla="*/ 75154 w 260918"/>
                  <a:gd name="connsiteY212" fmla="*/ 158945 h 182582"/>
                  <a:gd name="connsiteX213" fmla="*/ 84549 w 260918"/>
                  <a:gd name="connsiteY213" fmla="*/ 161067 h 182582"/>
                  <a:gd name="connsiteX214" fmla="*/ 88034 w 260918"/>
                  <a:gd name="connsiteY214" fmla="*/ 161521 h 182582"/>
                  <a:gd name="connsiteX215" fmla="*/ 89701 w 260918"/>
                  <a:gd name="connsiteY215" fmla="*/ 162582 h 182582"/>
                  <a:gd name="connsiteX216" fmla="*/ 92731 w 260918"/>
                  <a:gd name="connsiteY216" fmla="*/ 163036 h 182582"/>
                  <a:gd name="connsiteX217" fmla="*/ 98489 w 260918"/>
                  <a:gd name="connsiteY217" fmla="*/ 164097 h 182582"/>
                  <a:gd name="connsiteX218" fmla="*/ 103337 w 260918"/>
                  <a:gd name="connsiteY218" fmla="*/ 164703 h 182582"/>
                  <a:gd name="connsiteX219" fmla="*/ 106671 w 260918"/>
                  <a:gd name="connsiteY219" fmla="*/ 164551 h 182582"/>
                  <a:gd name="connsiteX220" fmla="*/ 108489 w 260918"/>
                  <a:gd name="connsiteY220" fmla="*/ 164855 h 182582"/>
                  <a:gd name="connsiteX221" fmla="*/ 111974 w 260918"/>
                  <a:gd name="connsiteY221" fmla="*/ 169855 h 182582"/>
                  <a:gd name="connsiteX222" fmla="*/ 112731 w 260918"/>
                  <a:gd name="connsiteY222" fmla="*/ 170461 h 182582"/>
                  <a:gd name="connsiteX223" fmla="*/ 114095 w 260918"/>
                  <a:gd name="connsiteY223" fmla="*/ 170612 h 182582"/>
                  <a:gd name="connsiteX224" fmla="*/ 116974 w 260918"/>
                  <a:gd name="connsiteY224" fmla="*/ 170158 h 182582"/>
                  <a:gd name="connsiteX225" fmla="*/ 121065 w 260918"/>
                  <a:gd name="connsiteY225" fmla="*/ 170309 h 182582"/>
                  <a:gd name="connsiteX226" fmla="*/ 123489 w 260918"/>
                  <a:gd name="connsiteY226" fmla="*/ 171370 h 182582"/>
                  <a:gd name="connsiteX227" fmla="*/ 123186 w 260918"/>
                  <a:gd name="connsiteY227" fmla="*/ 174400 h 182582"/>
                  <a:gd name="connsiteX228" fmla="*/ 123793 w 260918"/>
                  <a:gd name="connsiteY228" fmla="*/ 174855 h 182582"/>
                  <a:gd name="connsiteX229" fmla="*/ 124853 w 260918"/>
                  <a:gd name="connsiteY229" fmla="*/ 174552 h 182582"/>
                  <a:gd name="connsiteX230" fmla="*/ 126217 w 260918"/>
                  <a:gd name="connsiteY230" fmla="*/ 172885 h 182582"/>
                  <a:gd name="connsiteX231" fmla="*/ 127277 w 260918"/>
                  <a:gd name="connsiteY231" fmla="*/ 171218 h 182582"/>
                  <a:gd name="connsiteX232" fmla="*/ 128035 w 260918"/>
                  <a:gd name="connsiteY232" fmla="*/ 170612 h 182582"/>
                  <a:gd name="connsiteX233" fmla="*/ 132278 w 260918"/>
                  <a:gd name="connsiteY233" fmla="*/ 171825 h 182582"/>
                  <a:gd name="connsiteX234" fmla="*/ 134248 w 260918"/>
                  <a:gd name="connsiteY234" fmla="*/ 171673 h 182582"/>
                  <a:gd name="connsiteX235" fmla="*/ 135914 w 260918"/>
                  <a:gd name="connsiteY235" fmla="*/ 170309 h 182582"/>
                  <a:gd name="connsiteX236" fmla="*/ 136975 w 260918"/>
                  <a:gd name="connsiteY236" fmla="*/ 170006 h 182582"/>
                  <a:gd name="connsiteX237" fmla="*/ 140005 w 260918"/>
                  <a:gd name="connsiteY237" fmla="*/ 171067 h 182582"/>
                  <a:gd name="connsiteX238" fmla="*/ 143642 w 260918"/>
                  <a:gd name="connsiteY238" fmla="*/ 171673 h 182582"/>
                  <a:gd name="connsiteX239" fmla="*/ 146521 w 260918"/>
                  <a:gd name="connsiteY239" fmla="*/ 171673 h 182582"/>
                  <a:gd name="connsiteX240" fmla="*/ 148339 w 260918"/>
                  <a:gd name="connsiteY240" fmla="*/ 172431 h 182582"/>
                  <a:gd name="connsiteX241" fmla="*/ 149703 w 260918"/>
                  <a:gd name="connsiteY241" fmla="*/ 175613 h 182582"/>
                  <a:gd name="connsiteX242" fmla="*/ 150915 w 260918"/>
                  <a:gd name="connsiteY242" fmla="*/ 176219 h 182582"/>
                  <a:gd name="connsiteX243" fmla="*/ 151975 w 260918"/>
                  <a:gd name="connsiteY243" fmla="*/ 176370 h 182582"/>
                  <a:gd name="connsiteX244" fmla="*/ 153642 w 260918"/>
                  <a:gd name="connsiteY244" fmla="*/ 173643 h 182582"/>
                  <a:gd name="connsiteX245" fmla="*/ 155157 w 260918"/>
                  <a:gd name="connsiteY245" fmla="*/ 172582 h 182582"/>
                  <a:gd name="connsiteX246" fmla="*/ 157279 w 260918"/>
                  <a:gd name="connsiteY246" fmla="*/ 171673 h 182582"/>
                  <a:gd name="connsiteX247" fmla="*/ 158794 w 260918"/>
                  <a:gd name="connsiteY247" fmla="*/ 171370 h 182582"/>
                  <a:gd name="connsiteX248" fmla="*/ 159703 w 260918"/>
                  <a:gd name="connsiteY248" fmla="*/ 170461 h 182582"/>
                  <a:gd name="connsiteX249" fmla="*/ 161067 w 260918"/>
                  <a:gd name="connsiteY249" fmla="*/ 169400 h 182582"/>
                  <a:gd name="connsiteX250" fmla="*/ 162127 w 260918"/>
                  <a:gd name="connsiteY250" fmla="*/ 169400 h 182582"/>
                  <a:gd name="connsiteX251" fmla="*/ 163037 w 260918"/>
                  <a:gd name="connsiteY251" fmla="*/ 169703 h 182582"/>
                  <a:gd name="connsiteX252" fmla="*/ 164097 w 260918"/>
                  <a:gd name="connsiteY252" fmla="*/ 171067 h 182582"/>
                  <a:gd name="connsiteX253" fmla="*/ 165612 w 260918"/>
                  <a:gd name="connsiteY253" fmla="*/ 174097 h 182582"/>
                  <a:gd name="connsiteX254" fmla="*/ 167582 w 260918"/>
                  <a:gd name="connsiteY254" fmla="*/ 177128 h 182582"/>
                  <a:gd name="connsiteX255" fmla="*/ 168794 w 260918"/>
                  <a:gd name="connsiteY255" fmla="*/ 178188 h 182582"/>
                  <a:gd name="connsiteX256" fmla="*/ 172128 w 260918"/>
                  <a:gd name="connsiteY256" fmla="*/ 177279 h 182582"/>
                  <a:gd name="connsiteX257" fmla="*/ 174401 w 260918"/>
                  <a:gd name="connsiteY257" fmla="*/ 176370 h 182582"/>
                  <a:gd name="connsiteX258" fmla="*/ 178643 w 260918"/>
                  <a:gd name="connsiteY258" fmla="*/ 176219 h 182582"/>
                  <a:gd name="connsiteX259" fmla="*/ 184249 w 260918"/>
                  <a:gd name="connsiteY259" fmla="*/ 175461 h 182582"/>
                  <a:gd name="connsiteX260" fmla="*/ 188492 w 260918"/>
                  <a:gd name="connsiteY260" fmla="*/ 174703 h 182582"/>
                  <a:gd name="connsiteX261" fmla="*/ 191068 w 260918"/>
                  <a:gd name="connsiteY261" fmla="*/ 174855 h 182582"/>
                  <a:gd name="connsiteX262" fmla="*/ 192734 w 260918"/>
                  <a:gd name="connsiteY262" fmla="*/ 175764 h 182582"/>
                  <a:gd name="connsiteX263" fmla="*/ 195159 w 260918"/>
                  <a:gd name="connsiteY263" fmla="*/ 177582 h 182582"/>
                  <a:gd name="connsiteX264" fmla="*/ 195765 w 260918"/>
                  <a:gd name="connsiteY264" fmla="*/ 180310 h 182582"/>
                  <a:gd name="connsiteX265" fmla="*/ 198947 w 260918"/>
                  <a:gd name="connsiteY265" fmla="*/ 182128 h 182582"/>
                  <a:gd name="connsiteX266" fmla="*/ 201522 w 260918"/>
                  <a:gd name="connsiteY266" fmla="*/ 182582 h 182582"/>
                  <a:gd name="connsiteX267" fmla="*/ 202432 w 260918"/>
                  <a:gd name="connsiteY267" fmla="*/ 180613 h 182582"/>
                  <a:gd name="connsiteX268" fmla="*/ 203947 w 260918"/>
                  <a:gd name="connsiteY268" fmla="*/ 179249 h 182582"/>
                  <a:gd name="connsiteX269" fmla="*/ 203492 w 260918"/>
                  <a:gd name="connsiteY269" fmla="*/ 177431 h 182582"/>
                  <a:gd name="connsiteX270" fmla="*/ 203189 w 260918"/>
                  <a:gd name="connsiteY270" fmla="*/ 175006 h 182582"/>
                  <a:gd name="connsiteX271" fmla="*/ 201977 w 260918"/>
                  <a:gd name="connsiteY271" fmla="*/ 172885 h 182582"/>
                  <a:gd name="connsiteX272" fmla="*/ 201220 w 260918"/>
                  <a:gd name="connsiteY272" fmla="*/ 170461 h 182582"/>
                  <a:gd name="connsiteX273" fmla="*/ 202735 w 260918"/>
                  <a:gd name="connsiteY273" fmla="*/ 167127 h 182582"/>
                  <a:gd name="connsiteX274" fmla="*/ 204250 w 260918"/>
                  <a:gd name="connsiteY274" fmla="*/ 164097 h 182582"/>
                  <a:gd name="connsiteX275" fmla="*/ 205008 w 260918"/>
                  <a:gd name="connsiteY275" fmla="*/ 162582 h 182582"/>
                  <a:gd name="connsiteX276" fmla="*/ 207432 w 260918"/>
                  <a:gd name="connsiteY276" fmla="*/ 159551 h 182582"/>
                  <a:gd name="connsiteX277" fmla="*/ 209856 w 260918"/>
                  <a:gd name="connsiteY277" fmla="*/ 157430 h 182582"/>
                  <a:gd name="connsiteX278" fmla="*/ 213493 w 260918"/>
                  <a:gd name="connsiteY278" fmla="*/ 154097 h 182582"/>
                  <a:gd name="connsiteX279" fmla="*/ 216220 w 260918"/>
                  <a:gd name="connsiteY279" fmla="*/ 152884 h 182582"/>
                  <a:gd name="connsiteX280" fmla="*/ 218644 w 260918"/>
                  <a:gd name="connsiteY280" fmla="*/ 153491 h 182582"/>
                  <a:gd name="connsiteX281" fmla="*/ 220008 w 260918"/>
                  <a:gd name="connsiteY281" fmla="*/ 153945 h 182582"/>
                  <a:gd name="connsiteX282" fmla="*/ 223493 w 260918"/>
                  <a:gd name="connsiteY282" fmla="*/ 151975 h 182582"/>
                  <a:gd name="connsiteX283" fmla="*/ 229706 w 260918"/>
                  <a:gd name="connsiteY283" fmla="*/ 151824 h 182582"/>
                  <a:gd name="connsiteX284" fmla="*/ 235009 w 260918"/>
                  <a:gd name="connsiteY284" fmla="*/ 152127 h 182582"/>
                  <a:gd name="connsiteX285" fmla="*/ 234857 w 260918"/>
                  <a:gd name="connsiteY285" fmla="*/ 151218 h 182582"/>
                  <a:gd name="connsiteX286" fmla="*/ 232887 w 260918"/>
                  <a:gd name="connsiteY286" fmla="*/ 147733 h 182582"/>
                  <a:gd name="connsiteX287" fmla="*/ 231827 w 260918"/>
                  <a:gd name="connsiteY287" fmla="*/ 146217 h 182582"/>
                  <a:gd name="connsiteX288" fmla="*/ 230463 w 260918"/>
                  <a:gd name="connsiteY288" fmla="*/ 145308 h 182582"/>
                  <a:gd name="connsiteX289" fmla="*/ 229857 w 260918"/>
                  <a:gd name="connsiteY289" fmla="*/ 144399 h 182582"/>
                  <a:gd name="connsiteX290" fmla="*/ 229857 w 260918"/>
                  <a:gd name="connsiteY290" fmla="*/ 140157 h 182582"/>
                  <a:gd name="connsiteX291" fmla="*/ 230008 w 260918"/>
                  <a:gd name="connsiteY291" fmla="*/ 136217 h 182582"/>
                  <a:gd name="connsiteX292" fmla="*/ 230918 w 260918"/>
                  <a:gd name="connsiteY292" fmla="*/ 135763 h 182582"/>
                  <a:gd name="connsiteX293" fmla="*/ 228494 w 260918"/>
                  <a:gd name="connsiteY293" fmla="*/ 132581 h 182582"/>
                  <a:gd name="connsiteX294" fmla="*/ 228342 w 260918"/>
                  <a:gd name="connsiteY294" fmla="*/ 130156 h 182582"/>
                  <a:gd name="connsiteX295" fmla="*/ 229403 w 260918"/>
                  <a:gd name="connsiteY295" fmla="*/ 128944 h 182582"/>
                  <a:gd name="connsiteX296" fmla="*/ 229554 w 260918"/>
                  <a:gd name="connsiteY296" fmla="*/ 127883 h 182582"/>
                  <a:gd name="connsiteX297" fmla="*/ 228645 w 260918"/>
                  <a:gd name="connsiteY297" fmla="*/ 126368 h 182582"/>
                  <a:gd name="connsiteX298" fmla="*/ 226220 w 260918"/>
                  <a:gd name="connsiteY298" fmla="*/ 124095 h 182582"/>
                  <a:gd name="connsiteX299" fmla="*/ 223645 w 260918"/>
                  <a:gd name="connsiteY299" fmla="*/ 121368 h 182582"/>
                  <a:gd name="connsiteX300" fmla="*/ 222130 w 260918"/>
                  <a:gd name="connsiteY300" fmla="*/ 119398 h 182582"/>
                  <a:gd name="connsiteX301" fmla="*/ 221069 w 260918"/>
                  <a:gd name="connsiteY301" fmla="*/ 118338 h 182582"/>
                  <a:gd name="connsiteX302" fmla="*/ 222281 w 260918"/>
                  <a:gd name="connsiteY302" fmla="*/ 116671 h 182582"/>
                  <a:gd name="connsiteX303" fmla="*/ 224099 w 260918"/>
                  <a:gd name="connsiteY303" fmla="*/ 113792 h 182582"/>
                  <a:gd name="connsiteX304" fmla="*/ 224706 w 260918"/>
                  <a:gd name="connsiteY304" fmla="*/ 112125 h 182582"/>
                  <a:gd name="connsiteX305" fmla="*/ 225463 w 260918"/>
                  <a:gd name="connsiteY305" fmla="*/ 111671 h 182582"/>
                  <a:gd name="connsiteX306" fmla="*/ 229403 w 260918"/>
                  <a:gd name="connsiteY306" fmla="*/ 111519 h 182582"/>
                  <a:gd name="connsiteX307" fmla="*/ 232282 w 260918"/>
                  <a:gd name="connsiteY307" fmla="*/ 111519 h 182582"/>
                  <a:gd name="connsiteX308" fmla="*/ 234554 w 260918"/>
                  <a:gd name="connsiteY308" fmla="*/ 112125 h 182582"/>
                  <a:gd name="connsiteX309" fmla="*/ 235312 w 260918"/>
                  <a:gd name="connsiteY309" fmla="*/ 113489 h 182582"/>
                  <a:gd name="connsiteX310" fmla="*/ 237282 w 260918"/>
                  <a:gd name="connsiteY310" fmla="*/ 115004 h 182582"/>
                  <a:gd name="connsiteX311" fmla="*/ 242888 w 260918"/>
                  <a:gd name="connsiteY311" fmla="*/ 115610 h 182582"/>
                  <a:gd name="connsiteX312" fmla="*/ 245312 w 260918"/>
                  <a:gd name="connsiteY312" fmla="*/ 115610 h 182582"/>
                  <a:gd name="connsiteX313" fmla="*/ 248343 w 260918"/>
                  <a:gd name="connsiteY313" fmla="*/ 114247 h 182582"/>
                  <a:gd name="connsiteX314" fmla="*/ 253040 w 260918"/>
                  <a:gd name="connsiteY314" fmla="*/ 111216 h 182582"/>
                  <a:gd name="connsiteX315" fmla="*/ 254252 w 260918"/>
                  <a:gd name="connsiteY315" fmla="*/ 108943 h 182582"/>
                  <a:gd name="connsiteX316" fmla="*/ 257282 w 260918"/>
                  <a:gd name="connsiteY316" fmla="*/ 107428 h 182582"/>
                  <a:gd name="connsiteX317" fmla="*/ 259101 w 260918"/>
                  <a:gd name="connsiteY317" fmla="*/ 106822 h 182582"/>
                  <a:gd name="connsiteX318" fmla="*/ 260616 w 260918"/>
                  <a:gd name="connsiteY318" fmla="*/ 106519 h 182582"/>
                  <a:gd name="connsiteX319" fmla="*/ 260919 w 260918"/>
                  <a:gd name="connsiteY319" fmla="*/ 105155 h 18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260918" h="182582">
                    <a:moveTo>
                      <a:pt x="260767" y="103337"/>
                    </a:moveTo>
                    <a:lnTo>
                      <a:pt x="260161" y="102276"/>
                    </a:lnTo>
                    <a:lnTo>
                      <a:pt x="254252" y="98640"/>
                    </a:lnTo>
                    <a:lnTo>
                      <a:pt x="253494" y="97428"/>
                    </a:lnTo>
                    <a:lnTo>
                      <a:pt x="253040" y="96064"/>
                    </a:lnTo>
                    <a:lnTo>
                      <a:pt x="253797" y="94700"/>
                    </a:lnTo>
                    <a:lnTo>
                      <a:pt x="253797" y="93185"/>
                    </a:lnTo>
                    <a:lnTo>
                      <a:pt x="246827" y="89852"/>
                    </a:lnTo>
                    <a:lnTo>
                      <a:pt x="241221" y="89246"/>
                    </a:lnTo>
                    <a:lnTo>
                      <a:pt x="236524" y="89549"/>
                    </a:lnTo>
                    <a:lnTo>
                      <a:pt x="234706" y="88791"/>
                    </a:lnTo>
                    <a:lnTo>
                      <a:pt x="235463" y="87124"/>
                    </a:lnTo>
                    <a:lnTo>
                      <a:pt x="236675" y="84094"/>
                    </a:lnTo>
                    <a:lnTo>
                      <a:pt x="236979" y="81670"/>
                    </a:lnTo>
                    <a:lnTo>
                      <a:pt x="236675" y="80609"/>
                    </a:lnTo>
                    <a:lnTo>
                      <a:pt x="235766" y="79548"/>
                    </a:lnTo>
                    <a:lnTo>
                      <a:pt x="231221" y="77579"/>
                    </a:lnTo>
                    <a:lnTo>
                      <a:pt x="225160" y="74397"/>
                    </a:lnTo>
                    <a:lnTo>
                      <a:pt x="222281" y="70760"/>
                    </a:lnTo>
                    <a:lnTo>
                      <a:pt x="220766" y="66972"/>
                    </a:lnTo>
                    <a:lnTo>
                      <a:pt x="219099" y="64699"/>
                    </a:lnTo>
                    <a:lnTo>
                      <a:pt x="216069" y="63184"/>
                    </a:lnTo>
                    <a:lnTo>
                      <a:pt x="216372" y="62275"/>
                    </a:lnTo>
                    <a:lnTo>
                      <a:pt x="218341" y="58639"/>
                    </a:lnTo>
                    <a:lnTo>
                      <a:pt x="218190" y="58184"/>
                    </a:lnTo>
                    <a:lnTo>
                      <a:pt x="217432" y="57275"/>
                    </a:lnTo>
                    <a:lnTo>
                      <a:pt x="213644" y="55457"/>
                    </a:lnTo>
                    <a:lnTo>
                      <a:pt x="208493" y="52123"/>
                    </a:lnTo>
                    <a:lnTo>
                      <a:pt x="208341" y="51214"/>
                    </a:lnTo>
                    <a:lnTo>
                      <a:pt x="208644" y="49244"/>
                    </a:lnTo>
                    <a:lnTo>
                      <a:pt x="209402" y="47123"/>
                    </a:lnTo>
                    <a:lnTo>
                      <a:pt x="210463" y="46214"/>
                    </a:lnTo>
                    <a:lnTo>
                      <a:pt x="213493" y="41971"/>
                    </a:lnTo>
                    <a:lnTo>
                      <a:pt x="213493" y="40608"/>
                    </a:lnTo>
                    <a:lnTo>
                      <a:pt x="212887" y="38638"/>
                    </a:lnTo>
                    <a:lnTo>
                      <a:pt x="210765" y="35456"/>
                    </a:lnTo>
                    <a:lnTo>
                      <a:pt x="208947" y="33335"/>
                    </a:lnTo>
                    <a:lnTo>
                      <a:pt x="208947" y="32274"/>
                    </a:lnTo>
                    <a:lnTo>
                      <a:pt x="209098" y="31365"/>
                    </a:lnTo>
                    <a:lnTo>
                      <a:pt x="210311" y="30153"/>
                    </a:lnTo>
                    <a:lnTo>
                      <a:pt x="211372" y="28789"/>
                    </a:lnTo>
                    <a:lnTo>
                      <a:pt x="211523" y="23940"/>
                    </a:lnTo>
                    <a:lnTo>
                      <a:pt x="211523" y="22122"/>
                    </a:lnTo>
                    <a:lnTo>
                      <a:pt x="210765" y="21213"/>
                    </a:lnTo>
                    <a:lnTo>
                      <a:pt x="210159" y="20758"/>
                    </a:lnTo>
                    <a:lnTo>
                      <a:pt x="208644" y="20910"/>
                    </a:lnTo>
                    <a:lnTo>
                      <a:pt x="206371" y="20152"/>
                    </a:lnTo>
                    <a:lnTo>
                      <a:pt x="204856" y="18940"/>
                    </a:lnTo>
                    <a:lnTo>
                      <a:pt x="203796" y="18486"/>
                    </a:lnTo>
                    <a:lnTo>
                      <a:pt x="202735" y="17122"/>
                    </a:lnTo>
                    <a:lnTo>
                      <a:pt x="199704" y="14546"/>
                    </a:lnTo>
                    <a:lnTo>
                      <a:pt x="199250" y="13788"/>
                    </a:lnTo>
                    <a:lnTo>
                      <a:pt x="193037" y="11516"/>
                    </a:lnTo>
                    <a:lnTo>
                      <a:pt x="187886" y="11970"/>
                    </a:lnTo>
                    <a:lnTo>
                      <a:pt x="185007" y="11516"/>
                    </a:lnTo>
                    <a:lnTo>
                      <a:pt x="183492" y="12122"/>
                    </a:lnTo>
                    <a:lnTo>
                      <a:pt x="181825" y="13485"/>
                    </a:lnTo>
                    <a:lnTo>
                      <a:pt x="179704" y="14395"/>
                    </a:lnTo>
                    <a:lnTo>
                      <a:pt x="178037" y="14546"/>
                    </a:lnTo>
                    <a:lnTo>
                      <a:pt x="176522" y="15152"/>
                    </a:lnTo>
                    <a:lnTo>
                      <a:pt x="172582" y="17728"/>
                    </a:lnTo>
                    <a:lnTo>
                      <a:pt x="170613" y="16213"/>
                    </a:lnTo>
                    <a:lnTo>
                      <a:pt x="168946" y="13940"/>
                    </a:lnTo>
                    <a:lnTo>
                      <a:pt x="169552" y="11970"/>
                    </a:lnTo>
                    <a:lnTo>
                      <a:pt x="170158" y="10152"/>
                    </a:lnTo>
                    <a:lnTo>
                      <a:pt x="170158" y="8940"/>
                    </a:lnTo>
                    <a:lnTo>
                      <a:pt x="169552" y="8031"/>
                    </a:lnTo>
                    <a:lnTo>
                      <a:pt x="167127" y="6819"/>
                    </a:lnTo>
                    <a:lnTo>
                      <a:pt x="161673" y="4849"/>
                    </a:lnTo>
                    <a:lnTo>
                      <a:pt x="160158" y="4849"/>
                    </a:lnTo>
                    <a:lnTo>
                      <a:pt x="157885" y="5606"/>
                    </a:lnTo>
                    <a:lnTo>
                      <a:pt x="153793" y="7879"/>
                    </a:lnTo>
                    <a:lnTo>
                      <a:pt x="152278" y="7273"/>
                    </a:lnTo>
                    <a:lnTo>
                      <a:pt x="150915" y="5455"/>
                    </a:lnTo>
                    <a:lnTo>
                      <a:pt x="149400" y="3182"/>
                    </a:lnTo>
                    <a:lnTo>
                      <a:pt x="147430" y="2121"/>
                    </a:lnTo>
                    <a:lnTo>
                      <a:pt x="143187" y="2121"/>
                    </a:lnTo>
                    <a:lnTo>
                      <a:pt x="142733" y="2273"/>
                    </a:lnTo>
                    <a:lnTo>
                      <a:pt x="140611" y="3636"/>
                    </a:lnTo>
                    <a:lnTo>
                      <a:pt x="139702" y="3485"/>
                    </a:lnTo>
                    <a:lnTo>
                      <a:pt x="136066" y="152"/>
                    </a:lnTo>
                    <a:lnTo>
                      <a:pt x="135157" y="0"/>
                    </a:lnTo>
                    <a:lnTo>
                      <a:pt x="132884" y="455"/>
                    </a:lnTo>
                    <a:lnTo>
                      <a:pt x="129096" y="2727"/>
                    </a:lnTo>
                    <a:lnTo>
                      <a:pt x="123641" y="7879"/>
                    </a:lnTo>
                    <a:lnTo>
                      <a:pt x="122126" y="9091"/>
                    </a:lnTo>
                    <a:lnTo>
                      <a:pt x="120762" y="13031"/>
                    </a:lnTo>
                    <a:lnTo>
                      <a:pt x="120459" y="13334"/>
                    </a:lnTo>
                    <a:lnTo>
                      <a:pt x="117126" y="13182"/>
                    </a:lnTo>
                    <a:lnTo>
                      <a:pt x="116368" y="13031"/>
                    </a:lnTo>
                    <a:lnTo>
                      <a:pt x="113034" y="13182"/>
                    </a:lnTo>
                    <a:lnTo>
                      <a:pt x="106065" y="12122"/>
                    </a:lnTo>
                    <a:lnTo>
                      <a:pt x="103337" y="12879"/>
                    </a:lnTo>
                    <a:lnTo>
                      <a:pt x="99701" y="16819"/>
                    </a:lnTo>
                    <a:lnTo>
                      <a:pt x="98337" y="17425"/>
                    </a:lnTo>
                    <a:lnTo>
                      <a:pt x="94246" y="17879"/>
                    </a:lnTo>
                    <a:lnTo>
                      <a:pt x="93489" y="18486"/>
                    </a:lnTo>
                    <a:lnTo>
                      <a:pt x="93489" y="20152"/>
                    </a:lnTo>
                    <a:lnTo>
                      <a:pt x="92731" y="23031"/>
                    </a:lnTo>
                    <a:lnTo>
                      <a:pt x="91519" y="26819"/>
                    </a:lnTo>
                    <a:lnTo>
                      <a:pt x="90155" y="29698"/>
                    </a:lnTo>
                    <a:lnTo>
                      <a:pt x="89701" y="30910"/>
                    </a:lnTo>
                    <a:lnTo>
                      <a:pt x="90761" y="31819"/>
                    </a:lnTo>
                    <a:lnTo>
                      <a:pt x="95913" y="32274"/>
                    </a:lnTo>
                    <a:lnTo>
                      <a:pt x="98034" y="32729"/>
                    </a:lnTo>
                    <a:lnTo>
                      <a:pt x="98489" y="33486"/>
                    </a:lnTo>
                    <a:lnTo>
                      <a:pt x="97277" y="34547"/>
                    </a:lnTo>
                    <a:lnTo>
                      <a:pt x="95761" y="35304"/>
                    </a:lnTo>
                    <a:lnTo>
                      <a:pt x="95003" y="36213"/>
                    </a:lnTo>
                    <a:lnTo>
                      <a:pt x="93640" y="38941"/>
                    </a:lnTo>
                    <a:lnTo>
                      <a:pt x="85306" y="38638"/>
                    </a:lnTo>
                    <a:lnTo>
                      <a:pt x="84094" y="39244"/>
                    </a:lnTo>
                    <a:lnTo>
                      <a:pt x="83639" y="40456"/>
                    </a:lnTo>
                    <a:lnTo>
                      <a:pt x="83185" y="41971"/>
                    </a:lnTo>
                    <a:lnTo>
                      <a:pt x="81973" y="43789"/>
                    </a:lnTo>
                    <a:lnTo>
                      <a:pt x="79851" y="45305"/>
                    </a:lnTo>
                    <a:lnTo>
                      <a:pt x="76215" y="45911"/>
                    </a:lnTo>
                    <a:lnTo>
                      <a:pt x="73336" y="46971"/>
                    </a:lnTo>
                    <a:lnTo>
                      <a:pt x="71215" y="50305"/>
                    </a:lnTo>
                    <a:lnTo>
                      <a:pt x="69700" y="54699"/>
                    </a:lnTo>
                    <a:lnTo>
                      <a:pt x="69700" y="57729"/>
                    </a:lnTo>
                    <a:lnTo>
                      <a:pt x="69851" y="59396"/>
                    </a:lnTo>
                    <a:lnTo>
                      <a:pt x="69700" y="60457"/>
                    </a:lnTo>
                    <a:lnTo>
                      <a:pt x="68639" y="61517"/>
                    </a:lnTo>
                    <a:lnTo>
                      <a:pt x="66821" y="64396"/>
                    </a:lnTo>
                    <a:lnTo>
                      <a:pt x="65457" y="67578"/>
                    </a:lnTo>
                    <a:lnTo>
                      <a:pt x="64851" y="69245"/>
                    </a:lnTo>
                    <a:lnTo>
                      <a:pt x="65154" y="70003"/>
                    </a:lnTo>
                    <a:lnTo>
                      <a:pt x="66821" y="70003"/>
                    </a:lnTo>
                    <a:lnTo>
                      <a:pt x="69093" y="70609"/>
                    </a:lnTo>
                    <a:lnTo>
                      <a:pt x="70306" y="71972"/>
                    </a:lnTo>
                    <a:lnTo>
                      <a:pt x="70760" y="73336"/>
                    </a:lnTo>
                    <a:lnTo>
                      <a:pt x="70760" y="75003"/>
                    </a:lnTo>
                    <a:lnTo>
                      <a:pt x="70457" y="75760"/>
                    </a:lnTo>
                    <a:lnTo>
                      <a:pt x="68487" y="76366"/>
                    </a:lnTo>
                    <a:lnTo>
                      <a:pt x="65609" y="76366"/>
                    </a:lnTo>
                    <a:lnTo>
                      <a:pt x="63790" y="75760"/>
                    </a:lnTo>
                    <a:lnTo>
                      <a:pt x="63487" y="75154"/>
                    </a:lnTo>
                    <a:lnTo>
                      <a:pt x="64396" y="73639"/>
                    </a:lnTo>
                    <a:lnTo>
                      <a:pt x="63790" y="71669"/>
                    </a:lnTo>
                    <a:lnTo>
                      <a:pt x="62578" y="70760"/>
                    </a:lnTo>
                    <a:lnTo>
                      <a:pt x="60002" y="72275"/>
                    </a:lnTo>
                    <a:lnTo>
                      <a:pt x="57729" y="72275"/>
                    </a:lnTo>
                    <a:lnTo>
                      <a:pt x="54850" y="73639"/>
                    </a:lnTo>
                    <a:lnTo>
                      <a:pt x="52881" y="75912"/>
                    </a:lnTo>
                    <a:lnTo>
                      <a:pt x="51214" y="76670"/>
                    </a:lnTo>
                    <a:lnTo>
                      <a:pt x="46365" y="76215"/>
                    </a:lnTo>
                    <a:lnTo>
                      <a:pt x="45153" y="77276"/>
                    </a:lnTo>
                    <a:lnTo>
                      <a:pt x="44093" y="81821"/>
                    </a:lnTo>
                    <a:lnTo>
                      <a:pt x="43486" y="82579"/>
                    </a:lnTo>
                    <a:lnTo>
                      <a:pt x="39547" y="82427"/>
                    </a:lnTo>
                    <a:lnTo>
                      <a:pt x="35607" y="84246"/>
                    </a:lnTo>
                    <a:lnTo>
                      <a:pt x="31213" y="85761"/>
                    </a:lnTo>
                    <a:lnTo>
                      <a:pt x="28941" y="84700"/>
                    </a:lnTo>
                    <a:lnTo>
                      <a:pt x="27729" y="83488"/>
                    </a:lnTo>
                    <a:lnTo>
                      <a:pt x="25304" y="83791"/>
                    </a:lnTo>
                    <a:lnTo>
                      <a:pt x="22728" y="84246"/>
                    </a:lnTo>
                    <a:lnTo>
                      <a:pt x="21062" y="83942"/>
                    </a:lnTo>
                    <a:lnTo>
                      <a:pt x="19092" y="84094"/>
                    </a:lnTo>
                    <a:lnTo>
                      <a:pt x="15304" y="85003"/>
                    </a:lnTo>
                    <a:lnTo>
                      <a:pt x="10455" y="84700"/>
                    </a:lnTo>
                    <a:lnTo>
                      <a:pt x="8485" y="83942"/>
                    </a:lnTo>
                    <a:lnTo>
                      <a:pt x="11516" y="96670"/>
                    </a:lnTo>
                    <a:lnTo>
                      <a:pt x="16819" y="108943"/>
                    </a:lnTo>
                    <a:lnTo>
                      <a:pt x="18637" y="114853"/>
                    </a:lnTo>
                    <a:lnTo>
                      <a:pt x="19395" y="117883"/>
                    </a:lnTo>
                    <a:lnTo>
                      <a:pt x="20001" y="122429"/>
                    </a:lnTo>
                    <a:lnTo>
                      <a:pt x="20304" y="125611"/>
                    </a:lnTo>
                    <a:lnTo>
                      <a:pt x="20153" y="127429"/>
                    </a:lnTo>
                    <a:lnTo>
                      <a:pt x="19849" y="129853"/>
                    </a:lnTo>
                    <a:lnTo>
                      <a:pt x="18334" y="131368"/>
                    </a:lnTo>
                    <a:lnTo>
                      <a:pt x="8333" y="135460"/>
                    </a:lnTo>
                    <a:lnTo>
                      <a:pt x="6364" y="136823"/>
                    </a:lnTo>
                    <a:lnTo>
                      <a:pt x="3485" y="140005"/>
                    </a:lnTo>
                    <a:lnTo>
                      <a:pt x="757" y="143339"/>
                    </a:lnTo>
                    <a:lnTo>
                      <a:pt x="152" y="144551"/>
                    </a:lnTo>
                    <a:lnTo>
                      <a:pt x="0" y="145308"/>
                    </a:lnTo>
                    <a:lnTo>
                      <a:pt x="606" y="146369"/>
                    </a:lnTo>
                    <a:lnTo>
                      <a:pt x="4091" y="148187"/>
                    </a:lnTo>
                    <a:lnTo>
                      <a:pt x="7728" y="149551"/>
                    </a:lnTo>
                    <a:lnTo>
                      <a:pt x="8940" y="150612"/>
                    </a:lnTo>
                    <a:lnTo>
                      <a:pt x="11516" y="151975"/>
                    </a:lnTo>
                    <a:lnTo>
                      <a:pt x="12425" y="153187"/>
                    </a:lnTo>
                    <a:lnTo>
                      <a:pt x="13031" y="154248"/>
                    </a:lnTo>
                    <a:lnTo>
                      <a:pt x="13031" y="156824"/>
                    </a:lnTo>
                    <a:lnTo>
                      <a:pt x="11819" y="160157"/>
                    </a:lnTo>
                    <a:lnTo>
                      <a:pt x="12273" y="162733"/>
                    </a:lnTo>
                    <a:lnTo>
                      <a:pt x="11061" y="164400"/>
                    </a:lnTo>
                    <a:lnTo>
                      <a:pt x="10152" y="166370"/>
                    </a:lnTo>
                    <a:lnTo>
                      <a:pt x="10000" y="169703"/>
                    </a:lnTo>
                    <a:lnTo>
                      <a:pt x="11667" y="173340"/>
                    </a:lnTo>
                    <a:lnTo>
                      <a:pt x="11970" y="173037"/>
                    </a:lnTo>
                    <a:lnTo>
                      <a:pt x="11819" y="170006"/>
                    </a:lnTo>
                    <a:lnTo>
                      <a:pt x="12879" y="169249"/>
                    </a:lnTo>
                    <a:lnTo>
                      <a:pt x="14546" y="168794"/>
                    </a:lnTo>
                    <a:lnTo>
                      <a:pt x="16819" y="168946"/>
                    </a:lnTo>
                    <a:lnTo>
                      <a:pt x="18788" y="169552"/>
                    </a:lnTo>
                    <a:lnTo>
                      <a:pt x="21213" y="170915"/>
                    </a:lnTo>
                    <a:lnTo>
                      <a:pt x="21971" y="170612"/>
                    </a:lnTo>
                    <a:lnTo>
                      <a:pt x="26062" y="168036"/>
                    </a:lnTo>
                    <a:lnTo>
                      <a:pt x="30152" y="163945"/>
                    </a:lnTo>
                    <a:lnTo>
                      <a:pt x="31365" y="161673"/>
                    </a:lnTo>
                    <a:lnTo>
                      <a:pt x="32426" y="160612"/>
                    </a:lnTo>
                    <a:lnTo>
                      <a:pt x="36062" y="160006"/>
                    </a:lnTo>
                    <a:lnTo>
                      <a:pt x="39244" y="159854"/>
                    </a:lnTo>
                    <a:lnTo>
                      <a:pt x="41214" y="159854"/>
                    </a:lnTo>
                    <a:lnTo>
                      <a:pt x="46214" y="159400"/>
                    </a:lnTo>
                    <a:lnTo>
                      <a:pt x="49244" y="158945"/>
                    </a:lnTo>
                    <a:lnTo>
                      <a:pt x="51669" y="158339"/>
                    </a:lnTo>
                    <a:lnTo>
                      <a:pt x="57275" y="158036"/>
                    </a:lnTo>
                    <a:lnTo>
                      <a:pt x="65760" y="158491"/>
                    </a:lnTo>
                    <a:lnTo>
                      <a:pt x="71366" y="158491"/>
                    </a:lnTo>
                    <a:lnTo>
                      <a:pt x="75154" y="158945"/>
                    </a:lnTo>
                    <a:lnTo>
                      <a:pt x="84549" y="161067"/>
                    </a:lnTo>
                    <a:lnTo>
                      <a:pt x="88034" y="161521"/>
                    </a:lnTo>
                    <a:lnTo>
                      <a:pt x="89701" y="162582"/>
                    </a:lnTo>
                    <a:lnTo>
                      <a:pt x="92731" y="163036"/>
                    </a:lnTo>
                    <a:lnTo>
                      <a:pt x="98489" y="164097"/>
                    </a:lnTo>
                    <a:lnTo>
                      <a:pt x="103337" y="164703"/>
                    </a:lnTo>
                    <a:lnTo>
                      <a:pt x="106671" y="164551"/>
                    </a:lnTo>
                    <a:lnTo>
                      <a:pt x="108489" y="164855"/>
                    </a:lnTo>
                    <a:lnTo>
                      <a:pt x="111974" y="169855"/>
                    </a:lnTo>
                    <a:lnTo>
                      <a:pt x="112731" y="170461"/>
                    </a:lnTo>
                    <a:lnTo>
                      <a:pt x="114095" y="170612"/>
                    </a:lnTo>
                    <a:lnTo>
                      <a:pt x="116974" y="170158"/>
                    </a:lnTo>
                    <a:lnTo>
                      <a:pt x="121065" y="170309"/>
                    </a:lnTo>
                    <a:lnTo>
                      <a:pt x="123489" y="171370"/>
                    </a:lnTo>
                    <a:lnTo>
                      <a:pt x="123186" y="174400"/>
                    </a:lnTo>
                    <a:lnTo>
                      <a:pt x="123793" y="174855"/>
                    </a:lnTo>
                    <a:lnTo>
                      <a:pt x="124853" y="174552"/>
                    </a:lnTo>
                    <a:lnTo>
                      <a:pt x="126217" y="172885"/>
                    </a:lnTo>
                    <a:lnTo>
                      <a:pt x="127277" y="171218"/>
                    </a:lnTo>
                    <a:lnTo>
                      <a:pt x="128035" y="170612"/>
                    </a:lnTo>
                    <a:lnTo>
                      <a:pt x="132278" y="171825"/>
                    </a:lnTo>
                    <a:lnTo>
                      <a:pt x="134248" y="171673"/>
                    </a:lnTo>
                    <a:lnTo>
                      <a:pt x="135914" y="170309"/>
                    </a:lnTo>
                    <a:lnTo>
                      <a:pt x="136975" y="170006"/>
                    </a:lnTo>
                    <a:lnTo>
                      <a:pt x="140005" y="171067"/>
                    </a:lnTo>
                    <a:lnTo>
                      <a:pt x="143642" y="171673"/>
                    </a:lnTo>
                    <a:lnTo>
                      <a:pt x="146521" y="171673"/>
                    </a:lnTo>
                    <a:lnTo>
                      <a:pt x="148339" y="172431"/>
                    </a:lnTo>
                    <a:lnTo>
                      <a:pt x="149703" y="175613"/>
                    </a:lnTo>
                    <a:lnTo>
                      <a:pt x="150915" y="176219"/>
                    </a:lnTo>
                    <a:lnTo>
                      <a:pt x="151975" y="176370"/>
                    </a:lnTo>
                    <a:lnTo>
                      <a:pt x="153642" y="173643"/>
                    </a:lnTo>
                    <a:lnTo>
                      <a:pt x="155157" y="172582"/>
                    </a:lnTo>
                    <a:lnTo>
                      <a:pt x="157279" y="171673"/>
                    </a:lnTo>
                    <a:lnTo>
                      <a:pt x="158794" y="171370"/>
                    </a:lnTo>
                    <a:lnTo>
                      <a:pt x="159703" y="170461"/>
                    </a:lnTo>
                    <a:lnTo>
                      <a:pt x="161067" y="169400"/>
                    </a:lnTo>
                    <a:lnTo>
                      <a:pt x="162127" y="169400"/>
                    </a:lnTo>
                    <a:lnTo>
                      <a:pt x="163037" y="169703"/>
                    </a:lnTo>
                    <a:lnTo>
                      <a:pt x="164097" y="171067"/>
                    </a:lnTo>
                    <a:lnTo>
                      <a:pt x="165612" y="174097"/>
                    </a:lnTo>
                    <a:lnTo>
                      <a:pt x="167582" y="177128"/>
                    </a:lnTo>
                    <a:lnTo>
                      <a:pt x="168794" y="178188"/>
                    </a:lnTo>
                    <a:lnTo>
                      <a:pt x="172128" y="177279"/>
                    </a:lnTo>
                    <a:lnTo>
                      <a:pt x="174401" y="176370"/>
                    </a:lnTo>
                    <a:lnTo>
                      <a:pt x="178643" y="176219"/>
                    </a:lnTo>
                    <a:lnTo>
                      <a:pt x="184249" y="175461"/>
                    </a:lnTo>
                    <a:lnTo>
                      <a:pt x="188492" y="174703"/>
                    </a:lnTo>
                    <a:lnTo>
                      <a:pt x="191068" y="174855"/>
                    </a:lnTo>
                    <a:lnTo>
                      <a:pt x="192734" y="175764"/>
                    </a:lnTo>
                    <a:lnTo>
                      <a:pt x="195159" y="177582"/>
                    </a:lnTo>
                    <a:lnTo>
                      <a:pt x="195765" y="180310"/>
                    </a:lnTo>
                    <a:lnTo>
                      <a:pt x="198947" y="182128"/>
                    </a:lnTo>
                    <a:lnTo>
                      <a:pt x="201522" y="182582"/>
                    </a:lnTo>
                    <a:lnTo>
                      <a:pt x="202432" y="180613"/>
                    </a:lnTo>
                    <a:lnTo>
                      <a:pt x="203947" y="179249"/>
                    </a:lnTo>
                    <a:lnTo>
                      <a:pt x="203492" y="177431"/>
                    </a:lnTo>
                    <a:lnTo>
                      <a:pt x="203189" y="175006"/>
                    </a:lnTo>
                    <a:lnTo>
                      <a:pt x="201977" y="172885"/>
                    </a:lnTo>
                    <a:lnTo>
                      <a:pt x="201220" y="170461"/>
                    </a:lnTo>
                    <a:lnTo>
                      <a:pt x="202735" y="167127"/>
                    </a:lnTo>
                    <a:lnTo>
                      <a:pt x="204250" y="164097"/>
                    </a:lnTo>
                    <a:lnTo>
                      <a:pt x="205008" y="162582"/>
                    </a:lnTo>
                    <a:lnTo>
                      <a:pt x="207432" y="159551"/>
                    </a:lnTo>
                    <a:lnTo>
                      <a:pt x="209856" y="157430"/>
                    </a:lnTo>
                    <a:lnTo>
                      <a:pt x="213493" y="154097"/>
                    </a:lnTo>
                    <a:lnTo>
                      <a:pt x="216220" y="152884"/>
                    </a:lnTo>
                    <a:lnTo>
                      <a:pt x="218644" y="153491"/>
                    </a:lnTo>
                    <a:lnTo>
                      <a:pt x="220008" y="153945"/>
                    </a:lnTo>
                    <a:lnTo>
                      <a:pt x="223493" y="151975"/>
                    </a:lnTo>
                    <a:lnTo>
                      <a:pt x="229706" y="151824"/>
                    </a:lnTo>
                    <a:lnTo>
                      <a:pt x="235009" y="152127"/>
                    </a:lnTo>
                    <a:lnTo>
                      <a:pt x="234857" y="151218"/>
                    </a:lnTo>
                    <a:lnTo>
                      <a:pt x="232887" y="147733"/>
                    </a:lnTo>
                    <a:lnTo>
                      <a:pt x="231827" y="146217"/>
                    </a:lnTo>
                    <a:lnTo>
                      <a:pt x="230463" y="145308"/>
                    </a:lnTo>
                    <a:lnTo>
                      <a:pt x="229857" y="144399"/>
                    </a:lnTo>
                    <a:lnTo>
                      <a:pt x="229857" y="140157"/>
                    </a:lnTo>
                    <a:lnTo>
                      <a:pt x="230008" y="136217"/>
                    </a:lnTo>
                    <a:lnTo>
                      <a:pt x="230918" y="135763"/>
                    </a:lnTo>
                    <a:lnTo>
                      <a:pt x="228494" y="132581"/>
                    </a:lnTo>
                    <a:lnTo>
                      <a:pt x="228342" y="130156"/>
                    </a:lnTo>
                    <a:lnTo>
                      <a:pt x="229403" y="128944"/>
                    </a:lnTo>
                    <a:lnTo>
                      <a:pt x="229554" y="127883"/>
                    </a:lnTo>
                    <a:lnTo>
                      <a:pt x="228645" y="126368"/>
                    </a:lnTo>
                    <a:lnTo>
                      <a:pt x="226220" y="124095"/>
                    </a:lnTo>
                    <a:lnTo>
                      <a:pt x="223645" y="121368"/>
                    </a:lnTo>
                    <a:lnTo>
                      <a:pt x="222130" y="119398"/>
                    </a:lnTo>
                    <a:lnTo>
                      <a:pt x="221069" y="118338"/>
                    </a:lnTo>
                    <a:lnTo>
                      <a:pt x="222281" y="116671"/>
                    </a:lnTo>
                    <a:lnTo>
                      <a:pt x="224099" y="113792"/>
                    </a:lnTo>
                    <a:lnTo>
                      <a:pt x="224706" y="112125"/>
                    </a:lnTo>
                    <a:lnTo>
                      <a:pt x="225463" y="111671"/>
                    </a:lnTo>
                    <a:lnTo>
                      <a:pt x="229403" y="111519"/>
                    </a:lnTo>
                    <a:lnTo>
                      <a:pt x="232282" y="111519"/>
                    </a:lnTo>
                    <a:lnTo>
                      <a:pt x="234554" y="112125"/>
                    </a:lnTo>
                    <a:lnTo>
                      <a:pt x="235312" y="113489"/>
                    </a:lnTo>
                    <a:lnTo>
                      <a:pt x="237282" y="115004"/>
                    </a:lnTo>
                    <a:lnTo>
                      <a:pt x="242888" y="115610"/>
                    </a:lnTo>
                    <a:lnTo>
                      <a:pt x="245312" y="115610"/>
                    </a:lnTo>
                    <a:lnTo>
                      <a:pt x="248343" y="114247"/>
                    </a:lnTo>
                    <a:lnTo>
                      <a:pt x="253040" y="111216"/>
                    </a:lnTo>
                    <a:lnTo>
                      <a:pt x="254252" y="108943"/>
                    </a:lnTo>
                    <a:lnTo>
                      <a:pt x="257282" y="107428"/>
                    </a:lnTo>
                    <a:lnTo>
                      <a:pt x="259101" y="106822"/>
                    </a:lnTo>
                    <a:lnTo>
                      <a:pt x="260616" y="106519"/>
                    </a:lnTo>
                    <a:lnTo>
                      <a:pt x="260919" y="1051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4" name="Freeform: Shape 3323">
                <a:extLst>
                  <a:ext uri="{FF2B5EF4-FFF2-40B4-BE49-F238E27FC236}">
                    <a16:creationId xmlns:a16="http://schemas.microsoft.com/office/drawing/2014/main" id="{BF716106-00E7-4414-8A17-D32EF6F1A81B}"/>
                  </a:ext>
                </a:extLst>
              </p:cNvPr>
              <p:cNvSpPr/>
              <p:nvPr/>
            </p:nvSpPr>
            <p:spPr>
              <a:xfrm>
                <a:off x="6323735" y="5050647"/>
                <a:ext cx="256827" cy="259403"/>
              </a:xfrm>
              <a:custGeom>
                <a:avLst/>
                <a:gdLst>
                  <a:gd name="connsiteX0" fmla="*/ 255615 w 256827"/>
                  <a:gd name="connsiteY0" fmla="*/ 123792 h 259403"/>
                  <a:gd name="connsiteX1" fmla="*/ 253343 w 256827"/>
                  <a:gd name="connsiteY1" fmla="*/ 121520 h 259403"/>
                  <a:gd name="connsiteX2" fmla="*/ 249858 w 256827"/>
                  <a:gd name="connsiteY2" fmla="*/ 121065 h 259403"/>
                  <a:gd name="connsiteX3" fmla="*/ 248797 w 256827"/>
                  <a:gd name="connsiteY3" fmla="*/ 120611 h 259403"/>
                  <a:gd name="connsiteX4" fmla="*/ 248039 w 256827"/>
                  <a:gd name="connsiteY4" fmla="*/ 119701 h 259403"/>
                  <a:gd name="connsiteX5" fmla="*/ 247585 w 256827"/>
                  <a:gd name="connsiteY5" fmla="*/ 118641 h 259403"/>
                  <a:gd name="connsiteX6" fmla="*/ 247282 w 256827"/>
                  <a:gd name="connsiteY6" fmla="*/ 117580 h 259403"/>
                  <a:gd name="connsiteX7" fmla="*/ 247888 w 256827"/>
                  <a:gd name="connsiteY7" fmla="*/ 113792 h 259403"/>
                  <a:gd name="connsiteX8" fmla="*/ 247585 w 256827"/>
                  <a:gd name="connsiteY8" fmla="*/ 113489 h 259403"/>
                  <a:gd name="connsiteX9" fmla="*/ 246676 w 256827"/>
                  <a:gd name="connsiteY9" fmla="*/ 113035 h 259403"/>
                  <a:gd name="connsiteX10" fmla="*/ 244706 w 256827"/>
                  <a:gd name="connsiteY10" fmla="*/ 112580 h 259403"/>
                  <a:gd name="connsiteX11" fmla="*/ 240009 w 256827"/>
                  <a:gd name="connsiteY11" fmla="*/ 110913 h 259403"/>
                  <a:gd name="connsiteX12" fmla="*/ 234100 w 256827"/>
                  <a:gd name="connsiteY12" fmla="*/ 109247 h 259403"/>
                  <a:gd name="connsiteX13" fmla="*/ 224554 w 256827"/>
                  <a:gd name="connsiteY13" fmla="*/ 107580 h 259403"/>
                  <a:gd name="connsiteX14" fmla="*/ 220766 w 256827"/>
                  <a:gd name="connsiteY14" fmla="*/ 107125 h 259403"/>
                  <a:gd name="connsiteX15" fmla="*/ 220008 w 256827"/>
                  <a:gd name="connsiteY15" fmla="*/ 106519 h 259403"/>
                  <a:gd name="connsiteX16" fmla="*/ 218796 w 256827"/>
                  <a:gd name="connsiteY16" fmla="*/ 105155 h 259403"/>
                  <a:gd name="connsiteX17" fmla="*/ 216978 w 256827"/>
                  <a:gd name="connsiteY17" fmla="*/ 100913 h 259403"/>
                  <a:gd name="connsiteX18" fmla="*/ 215311 w 256827"/>
                  <a:gd name="connsiteY18" fmla="*/ 98185 h 259403"/>
                  <a:gd name="connsiteX19" fmla="*/ 211220 w 256827"/>
                  <a:gd name="connsiteY19" fmla="*/ 93943 h 259403"/>
                  <a:gd name="connsiteX20" fmla="*/ 210463 w 256827"/>
                  <a:gd name="connsiteY20" fmla="*/ 92579 h 259403"/>
                  <a:gd name="connsiteX21" fmla="*/ 210765 w 256827"/>
                  <a:gd name="connsiteY21" fmla="*/ 89246 h 259403"/>
                  <a:gd name="connsiteX22" fmla="*/ 211068 w 256827"/>
                  <a:gd name="connsiteY22" fmla="*/ 86367 h 259403"/>
                  <a:gd name="connsiteX23" fmla="*/ 211523 w 256827"/>
                  <a:gd name="connsiteY23" fmla="*/ 84094 h 259403"/>
                  <a:gd name="connsiteX24" fmla="*/ 211220 w 256827"/>
                  <a:gd name="connsiteY24" fmla="*/ 81973 h 259403"/>
                  <a:gd name="connsiteX25" fmla="*/ 211220 w 256827"/>
                  <a:gd name="connsiteY25" fmla="*/ 79245 h 259403"/>
                  <a:gd name="connsiteX26" fmla="*/ 211372 w 256827"/>
                  <a:gd name="connsiteY26" fmla="*/ 77427 h 259403"/>
                  <a:gd name="connsiteX27" fmla="*/ 210765 w 256827"/>
                  <a:gd name="connsiteY27" fmla="*/ 76669 h 259403"/>
                  <a:gd name="connsiteX28" fmla="*/ 209250 w 256827"/>
                  <a:gd name="connsiteY28" fmla="*/ 76063 h 259403"/>
                  <a:gd name="connsiteX29" fmla="*/ 205008 w 256827"/>
                  <a:gd name="connsiteY29" fmla="*/ 75760 h 259403"/>
                  <a:gd name="connsiteX30" fmla="*/ 199856 w 256827"/>
                  <a:gd name="connsiteY30" fmla="*/ 75912 h 259403"/>
                  <a:gd name="connsiteX31" fmla="*/ 199704 w 256827"/>
                  <a:gd name="connsiteY31" fmla="*/ 73185 h 259403"/>
                  <a:gd name="connsiteX32" fmla="*/ 199250 w 256827"/>
                  <a:gd name="connsiteY32" fmla="*/ 68942 h 259403"/>
                  <a:gd name="connsiteX33" fmla="*/ 198189 w 256827"/>
                  <a:gd name="connsiteY33" fmla="*/ 66518 h 259403"/>
                  <a:gd name="connsiteX34" fmla="*/ 197129 w 256827"/>
                  <a:gd name="connsiteY34" fmla="*/ 65305 h 259403"/>
                  <a:gd name="connsiteX35" fmla="*/ 194704 w 256827"/>
                  <a:gd name="connsiteY35" fmla="*/ 63942 h 259403"/>
                  <a:gd name="connsiteX36" fmla="*/ 189856 w 256827"/>
                  <a:gd name="connsiteY36" fmla="*/ 62124 h 259403"/>
                  <a:gd name="connsiteX37" fmla="*/ 183340 w 256827"/>
                  <a:gd name="connsiteY37" fmla="*/ 59396 h 259403"/>
                  <a:gd name="connsiteX38" fmla="*/ 177885 w 256827"/>
                  <a:gd name="connsiteY38" fmla="*/ 55305 h 259403"/>
                  <a:gd name="connsiteX39" fmla="*/ 171370 w 256827"/>
                  <a:gd name="connsiteY39" fmla="*/ 50153 h 259403"/>
                  <a:gd name="connsiteX40" fmla="*/ 169400 w 256827"/>
                  <a:gd name="connsiteY40" fmla="*/ 49396 h 259403"/>
                  <a:gd name="connsiteX41" fmla="*/ 167127 w 256827"/>
                  <a:gd name="connsiteY41" fmla="*/ 44547 h 259403"/>
                  <a:gd name="connsiteX42" fmla="*/ 163491 w 256827"/>
                  <a:gd name="connsiteY42" fmla="*/ 36517 h 259403"/>
                  <a:gd name="connsiteX43" fmla="*/ 163642 w 256827"/>
                  <a:gd name="connsiteY43" fmla="*/ 33789 h 259403"/>
                  <a:gd name="connsiteX44" fmla="*/ 163188 w 256827"/>
                  <a:gd name="connsiteY44" fmla="*/ 32425 h 259403"/>
                  <a:gd name="connsiteX45" fmla="*/ 159703 w 256827"/>
                  <a:gd name="connsiteY45" fmla="*/ 28486 h 259403"/>
                  <a:gd name="connsiteX46" fmla="*/ 158945 w 256827"/>
                  <a:gd name="connsiteY46" fmla="*/ 26365 h 259403"/>
                  <a:gd name="connsiteX47" fmla="*/ 158339 w 256827"/>
                  <a:gd name="connsiteY47" fmla="*/ 24243 h 259403"/>
                  <a:gd name="connsiteX48" fmla="*/ 152733 w 256827"/>
                  <a:gd name="connsiteY48" fmla="*/ 18486 h 259403"/>
                  <a:gd name="connsiteX49" fmla="*/ 150915 w 256827"/>
                  <a:gd name="connsiteY49" fmla="*/ 15910 h 259403"/>
                  <a:gd name="connsiteX50" fmla="*/ 149400 w 256827"/>
                  <a:gd name="connsiteY50" fmla="*/ 12576 h 259403"/>
                  <a:gd name="connsiteX51" fmla="*/ 148036 w 256827"/>
                  <a:gd name="connsiteY51" fmla="*/ 10000 h 259403"/>
                  <a:gd name="connsiteX52" fmla="*/ 146824 w 256827"/>
                  <a:gd name="connsiteY52" fmla="*/ 8940 h 259403"/>
                  <a:gd name="connsiteX53" fmla="*/ 145157 w 256827"/>
                  <a:gd name="connsiteY53" fmla="*/ 7121 h 259403"/>
                  <a:gd name="connsiteX54" fmla="*/ 144096 w 256827"/>
                  <a:gd name="connsiteY54" fmla="*/ 5152 h 259403"/>
                  <a:gd name="connsiteX55" fmla="*/ 143642 w 256827"/>
                  <a:gd name="connsiteY55" fmla="*/ 3637 h 259403"/>
                  <a:gd name="connsiteX56" fmla="*/ 143945 w 256827"/>
                  <a:gd name="connsiteY56" fmla="*/ 1667 h 259403"/>
                  <a:gd name="connsiteX57" fmla="*/ 144551 w 256827"/>
                  <a:gd name="connsiteY57" fmla="*/ 151 h 259403"/>
                  <a:gd name="connsiteX58" fmla="*/ 143339 w 256827"/>
                  <a:gd name="connsiteY58" fmla="*/ 0 h 259403"/>
                  <a:gd name="connsiteX59" fmla="*/ 135005 w 256827"/>
                  <a:gd name="connsiteY59" fmla="*/ 1061 h 259403"/>
                  <a:gd name="connsiteX60" fmla="*/ 131823 w 256827"/>
                  <a:gd name="connsiteY60" fmla="*/ 2273 h 259403"/>
                  <a:gd name="connsiteX61" fmla="*/ 124702 w 256827"/>
                  <a:gd name="connsiteY61" fmla="*/ 7425 h 259403"/>
                  <a:gd name="connsiteX62" fmla="*/ 123035 w 256827"/>
                  <a:gd name="connsiteY62" fmla="*/ 6818 h 259403"/>
                  <a:gd name="connsiteX63" fmla="*/ 121368 w 256827"/>
                  <a:gd name="connsiteY63" fmla="*/ 5758 h 259403"/>
                  <a:gd name="connsiteX64" fmla="*/ 120005 w 256827"/>
                  <a:gd name="connsiteY64" fmla="*/ 5455 h 259403"/>
                  <a:gd name="connsiteX65" fmla="*/ 116822 w 256827"/>
                  <a:gd name="connsiteY65" fmla="*/ 6667 h 259403"/>
                  <a:gd name="connsiteX66" fmla="*/ 113641 w 256827"/>
                  <a:gd name="connsiteY66" fmla="*/ 8182 h 259403"/>
                  <a:gd name="connsiteX67" fmla="*/ 110155 w 256827"/>
                  <a:gd name="connsiteY67" fmla="*/ 10303 h 259403"/>
                  <a:gd name="connsiteX68" fmla="*/ 107277 w 256827"/>
                  <a:gd name="connsiteY68" fmla="*/ 12425 h 259403"/>
                  <a:gd name="connsiteX69" fmla="*/ 106367 w 256827"/>
                  <a:gd name="connsiteY69" fmla="*/ 13637 h 259403"/>
                  <a:gd name="connsiteX70" fmla="*/ 101974 w 256827"/>
                  <a:gd name="connsiteY70" fmla="*/ 17879 h 259403"/>
                  <a:gd name="connsiteX71" fmla="*/ 100458 w 256827"/>
                  <a:gd name="connsiteY71" fmla="*/ 18637 h 259403"/>
                  <a:gd name="connsiteX72" fmla="*/ 99095 w 256827"/>
                  <a:gd name="connsiteY72" fmla="*/ 18940 h 259403"/>
                  <a:gd name="connsiteX73" fmla="*/ 98640 w 256827"/>
                  <a:gd name="connsiteY73" fmla="*/ 18789 h 259403"/>
                  <a:gd name="connsiteX74" fmla="*/ 98034 w 256827"/>
                  <a:gd name="connsiteY74" fmla="*/ 16819 h 259403"/>
                  <a:gd name="connsiteX75" fmla="*/ 95307 w 256827"/>
                  <a:gd name="connsiteY75" fmla="*/ 12425 h 259403"/>
                  <a:gd name="connsiteX76" fmla="*/ 90912 w 256827"/>
                  <a:gd name="connsiteY76" fmla="*/ 6818 h 259403"/>
                  <a:gd name="connsiteX77" fmla="*/ 89701 w 256827"/>
                  <a:gd name="connsiteY77" fmla="*/ 6212 h 259403"/>
                  <a:gd name="connsiteX78" fmla="*/ 88791 w 256827"/>
                  <a:gd name="connsiteY78" fmla="*/ 6061 h 259403"/>
                  <a:gd name="connsiteX79" fmla="*/ 85458 w 256827"/>
                  <a:gd name="connsiteY79" fmla="*/ 6212 h 259403"/>
                  <a:gd name="connsiteX80" fmla="*/ 75912 w 256827"/>
                  <a:gd name="connsiteY80" fmla="*/ 7879 h 259403"/>
                  <a:gd name="connsiteX81" fmla="*/ 68033 w 256827"/>
                  <a:gd name="connsiteY81" fmla="*/ 9243 h 259403"/>
                  <a:gd name="connsiteX82" fmla="*/ 55760 w 256827"/>
                  <a:gd name="connsiteY82" fmla="*/ 11515 h 259403"/>
                  <a:gd name="connsiteX83" fmla="*/ 42577 w 256827"/>
                  <a:gd name="connsiteY83" fmla="*/ 13485 h 259403"/>
                  <a:gd name="connsiteX84" fmla="*/ 34395 w 256827"/>
                  <a:gd name="connsiteY84" fmla="*/ 14698 h 259403"/>
                  <a:gd name="connsiteX85" fmla="*/ 27274 w 256827"/>
                  <a:gd name="connsiteY85" fmla="*/ 15001 h 259403"/>
                  <a:gd name="connsiteX86" fmla="*/ 27274 w 256827"/>
                  <a:gd name="connsiteY86" fmla="*/ 20607 h 259403"/>
                  <a:gd name="connsiteX87" fmla="*/ 27274 w 256827"/>
                  <a:gd name="connsiteY87" fmla="*/ 32122 h 259403"/>
                  <a:gd name="connsiteX88" fmla="*/ 27425 w 256827"/>
                  <a:gd name="connsiteY88" fmla="*/ 43638 h 259403"/>
                  <a:gd name="connsiteX89" fmla="*/ 27425 w 256827"/>
                  <a:gd name="connsiteY89" fmla="*/ 55154 h 259403"/>
                  <a:gd name="connsiteX90" fmla="*/ 27425 w 256827"/>
                  <a:gd name="connsiteY90" fmla="*/ 66669 h 259403"/>
                  <a:gd name="connsiteX91" fmla="*/ 27425 w 256827"/>
                  <a:gd name="connsiteY91" fmla="*/ 78185 h 259403"/>
                  <a:gd name="connsiteX92" fmla="*/ 27425 w 256827"/>
                  <a:gd name="connsiteY92" fmla="*/ 89852 h 259403"/>
                  <a:gd name="connsiteX93" fmla="*/ 27425 w 256827"/>
                  <a:gd name="connsiteY93" fmla="*/ 101519 h 259403"/>
                  <a:gd name="connsiteX94" fmla="*/ 27425 w 256827"/>
                  <a:gd name="connsiteY94" fmla="*/ 113035 h 259403"/>
                  <a:gd name="connsiteX95" fmla="*/ 27425 w 256827"/>
                  <a:gd name="connsiteY95" fmla="*/ 118186 h 259403"/>
                  <a:gd name="connsiteX96" fmla="*/ 27274 w 256827"/>
                  <a:gd name="connsiteY96" fmla="*/ 119247 h 259403"/>
                  <a:gd name="connsiteX97" fmla="*/ 23183 w 256827"/>
                  <a:gd name="connsiteY97" fmla="*/ 119247 h 259403"/>
                  <a:gd name="connsiteX98" fmla="*/ 13940 w 256827"/>
                  <a:gd name="connsiteY98" fmla="*/ 119247 h 259403"/>
                  <a:gd name="connsiteX99" fmla="*/ 6212 w 256827"/>
                  <a:gd name="connsiteY99" fmla="*/ 119247 h 259403"/>
                  <a:gd name="connsiteX100" fmla="*/ 0 w 256827"/>
                  <a:gd name="connsiteY100" fmla="*/ 119247 h 259403"/>
                  <a:gd name="connsiteX101" fmla="*/ 0 w 256827"/>
                  <a:gd name="connsiteY101" fmla="*/ 126217 h 259403"/>
                  <a:gd name="connsiteX102" fmla="*/ 0 w 256827"/>
                  <a:gd name="connsiteY102" fmla="*/ 134399 h 259403"/>
                  <a:gd name="connsiteX103" fmla="*/ 0 w 256827"/>
                  <a:gd name="connsiteY103" fmla="*/ 142581 h 259403"/>
                  <a:gd name="connsiteX104" fmla="*/ 152 w 256827"/>
                  <a:gd name="connsiteY104" fmla="*/ 150763 h 259403"/>
                  <a:gd name="connsiteX105" fmla="*/ 152 w 256827"/>
                  <a:gd name="connsiteY105" fmla="*/ 158945 h 259403"/>
                  <a:gd name="connsiteX106" fmla="*/ 152 w 256827"/>
                  <a:gd name="connsiteY106" fmla="*/ 167279 h 259403"/>
                  <a:gd name="connsiteX107" fmla="*/ 152 w 256827"/>
                  <a:gd name="connsiteY107" fmla="*/ 175461 h 259403"/>
                  <a:gd name="connsiteX108" fmla="*/ 152 w 256827"/>
                  <a:gd name="connsiteY108" fmla="*/ 183795 h 259403"/>
                  <a:gd name="connsiteX109" fmla="*/ 152 w 256827"/>
                  <a:gd name="connsiteY109" fmla="*/ 192128 h 259403"/>
                  <a:gd name="connsiteX110" fmla="*/ 152 w 256827"/>
                  <a:gd name="connsiteY110" fmla="*/ 198341 h 259403"/>
                  <a:gd name="connsiteX111" fmla="*/ 152 w 256827"/>
                  <a:gd name="connsiteY111" fmla="*/ 199098 h 259403"/>
                  <a:gd name="connsiteX112" fmla="*/ 1515 w 256827"/>
                  <a:gd name="connsiteY112" fmla="*/ 199856 h 259403"/>
                  <a:gd name="connsiteX113" fmla="*/ 10152 w 256827"/>
                  <a:gd name="connsiteY113" fmla="*/ 206371 h 259403"/>
                  <a:gd name="connsiteX114" fmla="*/ 12425 w 256827"/>
                  <a:gd name="connsiteY114" fmla="*/ 209705 h 259403"/>
                  <a:gd name="connsiteX115" fmla="*/ 13637 w 256827"/>
                  <a:gd name="connsiteY115" fmla="*/ 211978 h 259403"/>
                  <a:gd name="connsiteX116" fmla="*/ 17274 w 256827"/>
                  <a:gd name="connsiteY116" fmla="*/ 219705 h 259403"/>
                  <a:gd name="connsiteX117" fmla="*/ 20152 w 256827"/>
                  <a:gd name="connsiteY117" fmla="*/ 226826 h 259403"/>
                  <a:gd name="connsiteX118" fmla="*/ 22425 w 256827"/>
                  <a:gd name="connsiteY118" fmla="*/ 232130 h 259403"/>
                  <a:gd name="connsiteX119" fmla="*/ 22576 w 256827"/>
                  <a:gd name="connsiteY119" fmla="*/ 234554 h 259403"/>
                  <a:gd name="connsiteX120" fmla="*/ 22880 w 256827"/>
                  <a:gd name="connsiteY120" fmla="*/ 236827 h 259403"/>
                  <a:gd name="connsiteX121" fmla="*/ 23183 w 256827"/>
                  <a:gd name="connsiteY121" fmla="*/ 238039 h 259403"/>
                  <a:gd name="connsiteX122" fmla="*/ 23031 w 256827"/>
                  <a:gd name="connsiteY122" fmla="*/ 239403 h 259403"/>
                  <a:gd name="connsiteX123" fmla="*/ 21364 w 256827"/>
                  <a:gd name="connsiteY123" fmla="*/ 242282 h 259403"/>
                  <a:gd name="connsiteX124" fmla="*/ 19698 w 256827"/>
                  <a:gd name="connsiteY124" fmla="*/ 244403 h 259403"/>
                  <a:gd name="connsiteX125" fmla="*/ 17879 w 256827"/>
                  <a:gd name="connsiteY125" fmla="*/ 247433 h 259403"/>
                  <a:gd name="connsiteX126" fmla="*/ 17576 w 256827"/>
                  <a:gd name="connsiteY126" fmla="*/ 251524 h 259403"/>
                  <a:gd name="connsiteX127" fmla="*/ 18183 w 256827"/>
                  <a:gd name="connsiteY127" fmla="*/ 256222 h 259403"/>
                  <a:gd name="connsiteX128" fmla="*/ 19395 w 256827"/>
                  <a:gd name="connsiteY128" fmla="*/ 258494 h 259403"/>
                  <a:gd name="connsiteX129" fmla="*/ 20910 w 256827"/>
                  <a:gd name="connsiteY129" fmla="*/ 259252 h 259403"/>
                  <a:gd name="connsiteX130" fmla="*/ 24546 w 256827"/>
                  <a:gd name="connsiteY130" fmla="*/ 258191 h 259403"/>
                  <a:gd name="connsiteX131" fmla="*/ 26819 w 256827"/>
                  <a:gd name="connsiteY131" fmla="*/ 258494 h 259403"/>
                  <a:gd name="connsiteX132" fmla="*/ 30001 w 256827"/>
                  <a:gd name="connsiteY132" fmla="*/ 259403 h 259403"/>
                  <a:gd name="connsiteX133" fmla="*/ 40456 w 256827"/>
                  <a:gd name="connsiteY133" fmla="*/ 258797 h 259403"/>
                  <a:gd name="connsiteX134" fmla="*/ 41820 w 256827"/>
                  <a:gd name="connsiteY134" fmla="*/ 259100 h 259403"/>
                  <a:gd name="connsiteX135" fmla="*/ 45759 w 256827"/>
                  <a:gd name="connsiteY135" fmla="*/ 259403 h 259403"/>
                  <a:gd name="connsiteX136" fmla="*/ 46972 w 256827"/>
                  <a:gd name="connsiteY136" fmla="*/ 259100 h 259403"/>
                  <a:gd name="connsiteX137" fmla="*/ 48183 w 256827"/>
                  <a:gd name="connsiteY137" fmla="*/ 258040 h 259403"/>
                  <a:gd name="connsiteX138" fmla="*/ 49547 w 256827"/>
                  <a:gd name="connsiteY138" fmla="*/ 255312 h 259403"/>
                  <a:gd name="connsiteX139" fmla="*/ 50760 w 256827"/>
                  <a:gd name="connsiteY139" fmla="*/ 254403 h 259403"/>
                  <a:gd name="connsiteX140" fmla="*/ 53032 w 256827"/>
                  <a:gd name="connsiteY140" fmla="*/ 253797 h 259403"/>
                  <a:gd name="connsiteX141" fmla="*/ 55760 w 256827"/>
                  <a:gd name="connsiteY141" fmla="*/ 253039 h 259403"/>
                  <a:gd name="connsiteX142" fmla="*/ 57881 w 256827"/>
                  <a:gd name="connsiteY142" fmla="*/ 251524 h 259403"/>
                  <a:gd name="connsiteX143" fmla="*/ 61366 w 256827"/>
                  <a:gd name="connsiteY143" fmla="*/ 245918 h 259403"/>
                  <a:gd name="connsiteX144" fmla="*/ 68336 w 256827"/>
                  <a:gd name="connsiteY144" fmla="*/ 240918 h 259403"/>
                  <a:gd name="connsiteX145" fmla="*/ 70457 w 256827"/>
                  <a:gd name="connsiteY145" fmla="*/ 239706 h 259403"/>
                  <a:gd name="connsiteX146" fmla="*/ 71669 w 256827"/>
                  <a:gd name="connsiteY146" fmla="*/ 238342 h 259403"/>
                  <a:gd name="connsiteX147" fmla="*/ 72881 w 256827"/>
                  <a:gd name="connsiteY147" fmla="*/ 236675 h 259403"/>
                  <a:gd name="connsiteX148" fmla="*/ 75306 w 256827"/>
                  <a:gd name="connsiteY148" fmla="*/ 230311 h 259403"/>
                  <a:gd name="connsiteX149" fmla="*/ 77124 w 256827"/>
                  <a:gd name="connsiteY149" fmla="*/ 225160 h 259403"/>
                  <a:gd name="connsiteX150" fmla="*/ 77730 w 256827"/>
                  <a:gd name="connsiteY150" fmla="*/ 222735 h 259403"/>
                  <a:gd name="connsiteX151" fmla="*/ 79397 w 256827"/>
                  <a:gd name="connsiteY151" fmla="*/ 218796 h 259403"/>
                  <a:gd name="connsiteX152" fmla="*/ 81367 w 256827"/>
                  <a:gd name="connsiteY152" fmla="*/ 216220 h 259403"/>
                  <a:gd name="connsiteX153" fmla="*/ 83336 w 256827"/>
                  <a:gd name="connsiteY153" fmla="*/ 214856 h 259403"/>
                  <a:gd name="connsiteX154" fmla="*/ 84397 w 256827"/>
                  <a:gd name="connsiteY154" fmla="*/ 214553 h 259403"/>
                  <a:gd name="connsiteX155" fmla="*/ 86822 w 256827"/>
                  <a:gd name="connsiteY155" fmla="*/ 213796 h 259403"/>
                  <a:gd name="connsiteX156" fmla="*/ 90003 w 256827"/>
                  <a:gd name="connsiteY156" fmla="*/ 213189 h 259403"/>
                  <a:gd name="connsiteX157" fmla="*/ 93337 w 256827"/>
                  <a:gd name="connsiteY157" fmla="*/ 213947 h 259403"/>
                  <a:gd name="connsiteX158" fmla="*/ 96973 w 256827"/>
                  <a:gd name="connsiteY158" fmla="*/ 215462 h 259403"/>
                  <a:gd name="connsiteX159" fmla="*/ 101065 w 256827"/>
                  <a:gd name="connsiteY159" fmla="*/ 218038 h 259403"/>
                  <a:gd name="connsiteX160" fmla="*/ 105307 w 256827"/>
                  <a:gd name="connsiteY160" fmla="*/ 221220 h 259403"/>
                  <a:gd name="connsiteX161" fmla="*/ 107277 w 256827"/>
                  <a:gd name="connsiteY161" fmla="*/ 222887 h 259403"/>
                  <a:gd name="connsiteX162" fmla="*/ 109246 w 256827"/>
                  <a:gd name="connsiteY162" fmla="*/ 223644 h 259403"/>
                  <a:gd name="connsiteX163" fmla="*/ 113034 w 256827"/>
                  <a:gd name="connsiteY163" fmla="*/ 223948 h 259403"/>
                  <a:gd name="connsiteX164" fmla="*/ 115459 w 256827"/>
                  <a:gd name="connsiteY164" fmla="*/ 223796 h 259403"/>
                  <a:gd name="connsiteX165" fmla="*/ 119096 w 256827"/>
                  <a:gd name="connsiteY165" fmla="*/ 227130 h 259403"/>
                  <a:gd name="connsiteX166" fmla="*/ 121065 w 256827"/>
                  <a:gd name="connsiteY166" fmla="*/ 227281 h 259403"/>
                  <a:gd name="connsiteX167" fmla="*/ 125308 w 256827"/>
                  <a:gd name="connsiteY167" fmla="*/ 228190 h 259403"/>
                  <a:gd name="connsiteX168" fmla="*/ 130611 w 256827"/>
                  <a:gd name="connsiteY168" fmla="*/ 229251 h 259403"/>
                  <a:gd name="connsiteX169" fmla="*/ 133944 w 256827"/>
                  <a:gd name="connsiteY169" fmla="*/ 229099 h 259403"/>
                  <a:gd name="connsiteX170" fmla="*/ 137429 w 256827"/>
                  <a:gd name="connsiteY170" fmla="*/ 227432 h 259403"/>
                  <a:gd name="connsiteX171" fmla="*/ 140005 w 256827"/>
                  <a:gd name="connsiteY171" fmla="*/ 227281 h 259403"/>
                  <a:gd name="connsiteX172" fmla="*/ 143339 w 256827"/>
                  <a:gd name="connsiteY172" fmla="*/ 227432 h 259403"/>
                  <a:gd name="connsiteX173" fmla="*/ 146975 w 256827"/>
                  <a:gd name="connsiteY173" fmla="*/ 226978 h 259403"/>
                  <a:gd name="connsiteX174" fmla="*/ 149551 w 256827"/>
                  <a:gd name="connsiteY174" fmla="*/ 226220 h 259403"/>
                  <a:gd name="connsiteX175" fmla="*/ 151672 w 256827"/>
                  <a:gd name="connsiteY175" fmla="*/ 224705 h 259403"/>
                  <a:gd name="connsiteX176" fmla="*/ 153491 w 256827"/>
                  <a:gd name="connsiteY176" fmla="*/ 223038 h 259403"/>
                  <a:gd name="connsiteX177" fmla="*/ 155460 w 256827"/>
                  <a:gd name="connsiteY177" fmla="*/ 218190 h 259403"/>
                  <a:gd name="connsiteX178" fmla="*/ 156672 w 256827"/>
                  <a:gd name="connsiteY178" fmla="*/ 214250 h 259403"/>
                  <a:gd name="connsiteX179" fmla="*/ 158491 w 256827"/>
                  <a:gd name="connsiteY179" fmla="*/ 209705 h 259403"/>
                  <a:gd name="connsiteX180" fmla="*/ 160764 w 256827"/>
                  <a:gd name="connsiteY180" fmla="*/ 203644 h 259403"/>
                  <a:gd name="connsiteX181" fmla="*/ 161673 w 256827"/>
                  <a:gd name="connsiteY181" fmla="*/ 199401 h 259403"/>
                  <a:gd name="connsiteX182" fmla="*/ 162430 w 256827"/>
                  <a:gd name="connsiteY182" fmla="*/ 198189 h 259403"/>
                  <a:gd name="connsiteX183" fmla="*/ 165764 w 256827"/>
                  <a:gd name="connsiteY183" fmla="*/ 196825 h 259403"/>
                  <a:gd name="connsiteX184" fmla="*/ 168340 w 256827"/>
                  <a:gd name="connsiteY184" fmla="*/ 195916 h 259403"/>
                  <a:gd name="connsiteX185" fmla="*/ 175764 w 256827"/>
                  <a:gd name="connsiteY185" fmla="*/ 194249 h 259403"/>
                  <a:gd name="connsiteX186" fmla="*/ 177128 w 256827"/>
                  <a:gd name="connsiteY186" fmla="*/ 193492 h 259403"/>
                  <a:gd name="connsiteX187" fmla="*/ 178491 w 256827"/>
                  <a:gd name="connsiteY187" fmla="*/ 191371 h 259403"/>
                  <a:gd name="connsiteX188" fmla="*/ 181673 w 256827"/>
                  <a:gd name="connsiteY188" fmla="*/ 188037 h 259403"/>
                  <a:gd name="connsiteX189" fmla="*/ 185613 w 256827"/>
                  <a:gd name="connsiteY189" fmla="*/ 185158 h 259403"/>
                  <a:gd name="connsiteX190" fmla="*/ 187734 w 256827"/>
                  <a:gd name="connsiteY190" fmla="*/ 183492 h 259403"/>
                  <a:gd name="connsiteX191" fmla="*/ 191371 w 256827"/>
                  <a:gd name="connsiteY191" fmla="*/ 169855 h 259403"/>
                  <a:gd name="connsiteX192" fmla="*/ 191825 w 256827"/>
                  <a:gd name="connsiteY192" fmla="*/ 168036 h 259403"/>
                  <a:gd name="connsiteX193" fmla="*/ 194553 w 256827"/>
                  <a:gd name="connsiteY193" fmla="*/ 164400 h 259403"/>
                  <a:gd name="connsiteX194" fmla="*/ 196220 w 256827"/>
                  <a:gd name="connsiteY194" fmla="*/ 162885 h 259403"/>
                  <a:gd name="connsiteX195" fmla="*/ 197280 w 256827"/>
                  <a:gd name="connsiteY195" fmla="*/ 162885 h 259403"/>
                  <a:gd name="connsiteX196" fmla="*/ 198795 w 256827"/>
                  <a:gd name="connsiteY196" fmla="*/ 161976 h 259403"/>
                  <a:gd name="connsiteX197" fmla="*/ 200765 w 256827"/>
                  <a:gd name="connsiteY197" fmla="*/ 160006 h 259403"/>
                  <a:gd name="connsiteX198" fmla="*/ 203189 w 256827"/>
                  <a:gd name="connsiteY198" fmla="*/ 158794 h 259403"/>
                  <a:gd name="connsiteX199" fmla="*/ 205765 w 256827"/>
                  <a:gd name="connsiteY199" fmla="*/ 158491 h 259403"/>
                  <a:gd name="connsiteX200" fmla="*/ 207584 w 256827"/>
                  <a:gd name="connsiteY200" fmla="*/ 157127 h 259403"/>
                  <a:gd name="connsiteX201" fmla="*/ 208341 w 256827"/>
                  <a:gd name="connsiteY201" fmla="*/ 155157 h 259403"/>
                  <a:gd name="connsiteX202" fmla="*/ 209856 w 256827"/>
                  <a:gd name="connsiteY202" fmla="*/ 154097 h 259403"/>
                  <a:gd name="connsiteX203" fmla="*/ 211826 w 256827"/>
                  <a:gd name="connsiteY203" fmla="*/ 154097 h 259403"/>
                  <a:gd name="connsiteX204" fmla="*/ 212887 w 256827"/>
                  <a:gd name="connsiteY204" fmla="*/ 153491 h 259403"/>
                  <a:gd name="connsiteX205" fmla="*/ 213190 w 256827"/>
                  <a:gd name="connsiteY205" fmla="*/ 152127 h 259403"/>
                  <a:gd name="connsiteX206" fmla="*/ 214402 w 256827"/>
                  <a:gd name="connsiteY206" fmla="*/ 150915 h 259403"/>
                  <a:gd name="connsiteX207" fmla="*/ 216523 w 256827"/>
                  <a:gd name="connsiteY207" fmla="*/ 150005 h 259403"/>
                  <a:gd name="connsiteX208" fmla="*/ 217735 w 256827"/>
                  <a:gd name="connsiteY208" fmla="*/ 148793 h 259403"/>
                  <a:gd name="connsiteX209" fmla="*/ 217735 w 256827"/>
                  <a:gd name="connsiteY209" fmla="*/ 147430 h 259403"/>
                  <a:gd name="connsiteX210" fmla="*/ 220311 w 256827"/>
                  <a:gd name="connsiteY210" fmla="*/ 144248 h 259403"/>
                  <a:gd name="connsiteX211" fmla="*/ 225311 w 256827"/>
                  <a:gd name="connsiteY211" fmla="*/ 139096 h 259403"/>
                  <a:gd name="connsiteX212" fmla="*/ 230008 w 256827"/>
                  <a:gd name="connsiteY212" fmla="*/ 136217 h 259403"/>
                  <a:gd name="connsiteX213" fmla="*/ 234403 w 256827"/>
                  <a:gd name="connsiteY213" fmla="*/ 135611 h 259403"/>
                  <a:gd name="connsiteX214" fmla="*/ 238645 w 256827"/>
                  <a:gd name="connsiteY214" fmla="*/ 134550 h 259403"/>
                  <a:gd name="connsiteX215" fmla="*/ 242585 w 256827"/>
                  <a:gd name="connsiteY215" fmla="*/ 133035 h 259403"/>
                  <a:gd name="connsiteX216" fmla="*/ 245464 w 256827"/>
                  <a:gd name="connsiteY216" fmla="*/ 130459 h 259403"/>
                  <a:gd name="connsiteX217" fmla="*/ 247282 w 256827"/>
                  <a:gd name="connsiteY217" fmla="*/ 127126 h 259403"/>
                  <a:gd name="connsiteX218" fmla="*/ 250464 w 256827"/>
                  <a:gd name="connsiteY218" fmla="*/ 125308 h 259403"/>
                  <a:gd name="connsiteX219" fmla="*/ 256828 w 256827"/>
                  <a:gd name="connsiteY219" fmla="*/ 124701 h 25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256827" h="259403">
                    <a:moveTo>
                      <a:pt x="255615" y="123792"/>
                    </a:moveTo>
                    <a:lnTo>
                      <a:pt x="253343" y="121520"/>
                    </a:lnTo>
                    <a:lnTo>
                      <a:pt x="249858" y="121065"/>
                    </a:lnTo>
                    <a:lnTo>
                      <a:pt x="248797" y="120611"/>
                    </a:lnTo>
                    <a:lnTo>
                      <a:pt x="248039" y="119701"/>
                    </a:lnTo>
                    <a:lnTo>
                      <a:pt x="247585" y="118641"/>
                    </a:lnTo>
                    <a:lnTo>
                      <a:pt x="247282" y="117580"/>
                    </a:lnTo>
                    <a:lnTo>
                      <a:pt x="247888" y="113792"/>
                    </a:lnTo>
                    <a:lnTo>
                      <a:pt x="247585" y="113489"/>
                    </a:lnTo>
                    <a:lnTo>
                      <a:pt x="246676" y="113035"/>
                    </a:lnTo>
                    <a:lnTo>
                      <a:pt x="244706" y="112580"/>
                    </a:lnTo>
                    <a:lnTo>
                      <a:pt x="240009" y="110913"/>
                    </a:lnTo>
                    <a:lnTo>
                      <a:pt x="234100" y="109247"/>
                    </a:lnTo>
                    <a:lnTo>
                      <a:pt x="224554" y="107580"/>
                    </a:lnTo>
                    <a:lnTo>
                      <a:pt x="220766" y="107125"/>
                    </a:lnTo>
                    <a:lnTo>
                      <a:pt x="220008" y="106519"/>
                    </a:lnTo>
                    <a:lnTo>
                      <a:pt x="218796" y="105155"/>
                    </a:lnTo>
                    <a:lnTo>
                      <a:pt x="216978" y="100913"/>
                    </a:lnTo>
                    <a:lnTo>
                      <a:pt x="215311" y="98185"/>
                    </a:lnTo>
                    <a:lnTo>
                      <a:pt x="211220" y="93943"/>
                    </a:lnTo>
                    <a:lnTo>
                      <a:pt x="210463" y="92579"/>
                    </a:lnTo>
                    <a:lnTo>
                      <a:pt x="210765" y="89246"/>
                    </a:lnTo>
                    <a:lnTo>
                      <a:pt x="211068" y="86367"/>
                    </a:lnTo>
                    <a:lnTo>
                      <a:pt x="211523" y="84094"/>
                    </a:lnTo>
                    <a:lnTo>
                      <a:pt x="211220" y="81973"/>
                    </a:lnTo>
                    <a:lnTo>
                      <a:pt x="211220" y="79245"/>
                    </a:lnTo>
                    <a:lnTo>
                      <a:pt x="211372" y="77427"/>
                    </a:lnTo>
                    <a:lnTo>
                      <a:pt x="210765" y="76669"/>
                    </a:lnTo>
                    <a:lnTo>
                      <a:pt x="209250" y="76063"/>
                    </a:lnTo>
                    <a:lnTo>
                      <a:pt x="205008" y="75760"/>
                    </a:lnTo>
                    <a:lnTo>
                      <a:pt x="199856" y="75912"/>
                    </a:lnTo>
                    <a:lnTo>
                      <a:pt x="199704" y="73185"/>
                    </a:lnTo>
                    <a:lnTo>
                      <a:pt x="199250" y="68942"/>
                    </a:lnTo>
                    <a:lnTo>
                      <a:pt x="198189" y="66518"/>
                    </a:lnTo>
                    <a:lnTo>
                      <a:pt x="197129" y="65305"/>
                    </a:lnTo>
                    <a:lnTo>
                      <a:pt x="194704" y="63942"/>
                    </a:lnTo>
                    <a:lnTo>
                      <a:pt x="189856" y="62124"/>
                    </a:lnTo>
                    <a:lnTo>
                      <a:pt x="183340" y="59396"/>
                    </a:lnTo>
                    <a:lnTo>
                      <a:pt x="177885" y="55305"/>
                    </a:lnTo>
                    <a:lnTo>
                      <a:pt x="171370" y="50153"/>
                    </a:lnTo>
                    <a:lnTo>
                      <a:pt x="169400" y="49396"/>
                    </a:lnTo>
                    <a:lnTo>
                      <a:pt x="167127" y="44547"/>
                    </a:lnTo>
                    <a:lnTo>
                      <a:pt x="163491" y="36517"/>
                    </a:lnTo>
                    <a:lnTo>
                      <a:pt x="163642" y="33789"/>
                    </a:lnTo>
                    <a:lnTo>
                      <a:pt x="163188" y="32425"/>
                    </a:lnTo>
                    <a:lnTo>
                      <a:pt x="159703" y="28486"/>
                    </a:lnTo>
                    <a:lnTo>
                      <a:pt x="158945" y="26365"/>
                    </a:lnTo>
                    <a:lnTo>
                      <a:pt x="158339" y="24243"/>
                    </a:lnTo>
                    <a:lnTo>
                      <a:pt x="152733" y="18486"/>
                    </a:lnTo>
                    <a:lnTo>
                      <a:pt x="150915" y="15910"/>
                    </a:lnTo>
                    <a:lnTo>
                      <a:pt x="149400" y="12576"/>
                    </a:lnTo>
                    <a:lnTo>
                      <a:pt x="148036" y="10000"/>
                    </a:lnTo>
                    <a:lnTo>
                      <a:pt x="146824" y="8940"/>
                    </a:lnTo>
                    <a:lnTo>
                      <a:pt x="145157" y="7121"/>
                    </a:lnTo>
                    <a:lnTo>
                      <a:pt x="144096" y="5152"/>
                    </a:lnTo>
                    <a:lnTo>
                      <a:pt x="143642" y="3637"/>
                    </a:lnTo>
                    <a:lnTo>
                      <a:pt x="143945" y="1667"/>
                    </a:lnTo>
                    <a:lnTo>
                      <a:pt x="144551" y="151"/>
                    </a:lnTo>
                    <a:lnTo>
                      <a:pt x="143339" y="0"/>
                    </a:lnTo>
                    <a:lnTo>
                      <a:pt x="135005" y="1061"/>
                    </a:lnTo>
                    <a:lnTo>
                      <a:pt x="131823" y="2273"/>
                    </a:lnTo>
                    <a:lnTo>
                      <a:pt x="124702" y="7425"/>
                    </a:lnTo>
                    <a:lnTo>
                      <a:pt x="123035" y="6818"/>
                    </a:lnTo>
                    <a:lnTo>
                      <a:pt x="121368" y="5758"/>
                    </a:lnTo>
                    <a:lnTo>
                      <a:pt x="120005" y="5455"/>
                    </a:lnTo>
                    <a:lnTo>
                      <a:pt x="116822" y="6667"/>
                    </a:lnTo>
                    <a:lnTo>
                      <a:pt x="113641" y="8182"/>
                    </a:lnTo>
                    <a:lnTo>
                      <a:pt x="110155" y="10303"/>
                    </a:lnTo>
                    <a:lnTo>
                      <a:pt x="107277" y="12425"/>
                    </a:lnTo>
                    <a:lnTo>
                      <a:pt x="106367" y="13637"/>
                    </a:lnTo>
                    <a:lnTo>
                      <a:pt x="101974" y="17879"/>
                    </a:lnTo>
                    <a:lnTo>
                      <a:pt x="100458" y="18637"/>
                    </a:lnTo>
                    <a:lnTo>
                      <a:pt x="99095" y="18940"/>
                    </a:lnTo>
                    <a:lnTo>
                      <a:pt x="98640" y="18789"/>
                    </a:lnTo>
                    <a:lnTo>
                      <a:pt x="98034" y="16819"/>
                    </a:lnTo>
                    <a:lnTo>
                      <a:pt x="95307" y="12425"/>
                    </a:lnTo>
                    <a:lnTo>
                      <a:pt x="90912" y="6818"/>
                    </a:lnTo>
                    <a:lnTo>
                      <a:pt x="89701" y="6212"/>
                    </a:lnTo>
                    <a:lnTo>
                      <a:pt x="88791" y="6061"/>
                    </a:lnTo>
                    <a:lnTo>
                      <a:pt x="85458" y="6212"/>
                    </a:lnTo>
                    <a:lnTo>
                      <a:pt x="75912" y="7879"/>
                    </a:lnTo>
                    <a:lnTo>
                      <a:pt x="68033" y="9243"/>
                    </a:lnTo>
                    <a:lnTo>
                      <a:pt x="55760" y="11515"/>
                    </a:lnTo>
                    <a:lnTo>
                      <a:pt x="42577" y="13485"/>
                    </a:lnTo>
                    <a:lnTo>
                      <a:pt x="34395" y="14698"/>
                    </a:lnTo>
                    <a:lnTo>
                      <a:pt x="27274" y="15001"/>
                    </a:lnTo>
                    <a:lnTo>
                      <a:pt x="27274" y="20607"/>
                    </a:lnTo>
                    <a:lnTo>
                      <a:pt x="27274" y="32122"/>
                    </a:lnTo>
                    <a:lnTo>
                      <a:pt x="27425" y="43638"/>
                    </a:lnTo>
                    <a:lnTo>
                      <a:pt x="27425" y="55154"/>
                    </a:lnTo>
                    <a:lnTo>
                      <a:pt x="27425" y="66669"/>
                    </a:lnTo>
                    <a:lnTo>
                      <a:pt x="27425" y="78185"/>
                    </a:lnTo>
                    <a:lnTo>
                      <a:pt x="27425" y="89852"/>
                    </a:lnTo>
                    <a:lnTo>
                      <a:pt x="27425" y="101519"/>
                    </a:lnTo>
                    <a:lnTo>
                      <a:pt x="27425" y="113035"/>
                    </a:lnTo>
                    <a:lnTo>
                      <a:pt x="27425" y="118186"/>
                    </a:lnTo>
                    <a:lnTo>
                      <a:pt x="27274" y="119247"/>
                    </a:lnTo>
                    <a:lnTo>
                      <a:pt x="23183" y="119247"/>
                    </a:lnTo>
                    <a:lnTo>
                      <a:pt x="13940" y="119247"/>
                    </a:lnTo>
                    <a:lnTo>
                      <a:pt x="6212" y="119247"/>
                    </a:lnTo>
                    <a:lnTo>
                      <a:pt x="0" y="119247"/>
                    </a:lnTo>
                    <a:lnTo>
                      <a:pt x="0" y="126217"/>
                    </a:lnTo>
                    <a:lnTo>
                      <a:pt x="0" y="134399"/>
                    </a:lnTo>
                    <a:lnTo>
                      <a:pt x="0" y="142581"/>
                    </a:lnTo>
                    <a:lnTo>
                      <a:pt x="152" y="150763"/>
                    </a:lnTo>
                    <a:lnTo>
                      <a:pt x="152" y="158945"/>
                    </a:lnTo>
                    <a:lnTo>
                      <a:pt x="152" y="167279"/>
                    </a:lnTo>
                    <a:lnTo>
                      <a:pt x="152" y="175461"/>
                    </a:lnTo>
                    <a:lnTo>
                      <a:pt x="152" y="183795"/>
                    </a:lnTo>
                    <a:lnTo>
                      <a:pt x="152" y="192128"/>
                    </a:lnTo>
                    <a:lnTo>
                      <a:pt x="152" y="198341"/>
                    </a:lnTo>
                    <a:lnTo>
                      <a:pt x="152" y="199098"/>
                    </a:lnTo>
                    <a:lnTo>
                      <a:pt x="1515" y="199856"/>
                    </a:lnTo>
                    <a:lnTo>
                      <a:pt x="10152" y="206371"/>
                    </a:lnTo>
                    <a:lnTo>
                      <a:pt x="12425" y="209705"/>
                    </a:lnTo>
                    <a:lnTo>
                      <a:pt x="13637" y="211978"/>
                    </a:lnTo>
                    <a:lnTo>
                      <a:pt x="17274" y="219705"/>
                    </a:lnTo>
                    <a:lnTo>
                      <a:pt x="20152" y="226826"/>
                    </a:lnTo>
                    <a:lnTo>
                      <a:pt x="22425" y="232130"/>
                    </a:lnTo>
                    <a:lnTo>
                      <a:pt x="22576" y="234554"/>
                    </a:lnTo>
                    <a:lnTo>
                      <a:pt x="22880" y="236827"/>
                    </a:lnTo>
                    <a:lnTo>
                      <a:pt x="23183" y="238039"/>
                    </a:lnTo>
                    <a:lnTo>
                      <a:pt x="23031" y="239403"/>
                    </a:lnTo>
                    <a:lnTo>
                      <a:pt x="21364" y="242282"/>
                    </a:lnTo>
                    <a:lnTo>
                      <a:pt x="19698" y="244403"/>
                    </a:lnTo>
                    <a:lnTo>
                      <a:pt x="17879" y="247433"/>
                    </a:lnTo>
                    <a:lnTo>
                      <a:pt x="17576" y="251524"/>
                    </a:lnTo>
                    <a:lnTo>
                      <a:pt x="18183" y="256222"/>
                    </a:lnTo>
                    <a:lnTo>
                      <a:pt x="19395" y="258494"/>
                    </a:lnTo>
                    <a:lnTo>
                      <a:pt x="20910" y="259252"/>
                    </a:lnTo>
                    <a:lnTo>
                      <a:pt x="24546" y="258191"/>
                    </a:lnTo>
                    <a:lnTo>
                      <a:pt x="26819" y="258494"/>
                    </a:lnTo>
                    <a:lnTo>
                      <a:pt x="30001" y="259403"/>
                    </a:lnTo>
                    <a:lnTo>
                      <a:pt x="40456" y="258797"/>
                    </a:lnTo>
                    <a:lnTo>
                      <a:pt x="41820" y="259100"/>
                    </a:lnTo>
                    <a:lnTo>
                      <a:pt x="45759" y="259403"/>
                    </a:lnTo>
                    <a:lnTo>
                      <a:pt x="46972" y="259100"/>
                    </a:lnTo>
                    <a:lnTo>
                      <a:pt x="48183" y="258040"/>
                    </a:lnTo>
                    <a:lnTo>
                      <a:pt x="49547" y="255312"/>
                    </a:lnTo>
                    <a:lnTo>
                      <a:pt x="50760" y="254403"/>
                    </a:lnTo>
                    <a:lnTo>
                      <a:pt x="53032" y="253797"/>
                    </a:lnTo>
                    <a:lnTo>
                      <a:pt x="55760" y="253039"/>
                    </a:lnTo>
                    <a:lnTo>
                      <a:pt x="57881" y="251524"/>
                    </a:lnTo>
                    <a:lnTo>
                      <a:pt x="61366" y="245918"/>
                    </a:lnTo>
                    <a:lnTo>
                      <a:pt x="68336" y="240918"/>
                    </a:lnTo>
                    <a:lnTo>
                      <a:pt x="70457" y="239706"/>
                    </a:lnTo>
                    <a:lnTo>
                      <a:pt x="71669" y="238342"/>
                    </a:lnTo>
                    <a:lnTo>
                      <a:pt x="72881" y="236675"/>
                    </a:lnTo>
                    <a:lnTo>
                      <a:pt x="75306" y="230311"/>
                    </a:lnTo>
                    <a:lnTo>
                      <a:pt x="77124" y="225160"/>
                    </a:lnTo>
                    <a:lnTo>
                      <a:pt x="77730" y="222735"/>
                    </a:lnTo>
                    <a:lnTo>
                      <a:pt x="79397" y="218796"/>
                    </a:lnTo>
                    <a:lnTo>
                      <a:pt x="81367" y="216220"/>
                    </a:lnTo>
                    <a:lnTo>
                      <a:pt x="83336" y="214856"/>
                    </a:lnTo>
                    <a:lnTo>
                      <a:pt x="84397" y="214553"/>
                    </a:lnTo>
                    <a:lnTo>
                      <a:pt x="86822" y="213796"/>
                    </a:lnTo>
                    <a:lnTo>
                      <a:pt x="90003" y="213189"/>
                    </a:lnTo>
                    <a:lnTo>
                      <a:pt x="93337" y="213947"/>
                    </a:lnTo>
                    <a:lnTo>
                      <a:pt x="96973" y="215462"/>
                    </a:lnTo>
                    <a:lnTo>
                      <a:pt x="101065" y="218038"/>
                    </a:lnTo>
                    <a:lnTo>
                      <a:pt x="105307" y="221220"/>
                    </a:lnTo>
                    <a:lnTo>
                      <a:pt x="107277" y="222887"/>
                    </a:lnTo>
                    <a:lnTo>
                      <a:pt x="109246" y="223644"/>
                    </a:lnTo>
                    <a:lnTo>
                      <a:pt x="113034" y="223948"/>
                    </a:lnTo>
                    <a:lnTo>
                      <a:pt x="115459" y="223796"/>
                    </a:lnTo>
                    <a:lnTo>
                      <a:pt x="119096" y="227130"/>
                    </a:lnTo>
                    <a:lnTo>
                      <a:pt x="121065" y="227281"/>
                    </a:lnTo>
                    <a:lnTo>
                      <a:pt x="125308" y="228190"/>
                    </a:lnTo>
                    <a:lnTo>
                      <a:pt x="130611" y="229251"/>
                    </a:lnTo>
                    <a:lnTo>
                      <a:pt x="133944" y="229099"/>
                    </a:lnTo>
                    <a:lnTo>
                      <a:pt x="137429" y="227432"/>
                    </a:lnTo>
                    <a:lnTo>
                      <a:pt x="140005" y="227281"/>
                    </a:lnTo>
                    <a:lnTo>
                      <a:pt x="143339" y="227432"/>
                    </a:lnTo>
                    <a:lnTo>
                      <a:pt x="146975" y="226978"/>
                    </a:lnTo>
                    <a:lnTo>
                      <a:pt x="149551" y="226220"/>
                    </a:lnTo>
                    <a:lnTo>
                      <a:pt x="151672" y="224705"/>
                    </a:lnTo>
                    <a:lnTo>
                      <a:pt x="153491" y="223038"/>
                    </a:lnTo>
                    <a:lnTo>
                      <a:pt x="155460" y="218190"/>
                    </a:lnTo>
                    <a:lnTo>
                      <a:pt x="156672" y="214250"/>
                    </a:lnTo>
                    <a:lnTo>
                      <a:pt x="158491" y="209705"/>
                    </a:lnTo>
                    <a:lnTo>
                      <a:pt x="160764" y="203644"/>
                    </a:lnTo>
                    <a:lnTo>
                      <a:pt x="161673" y="199401"/>
                    </a:lnTo>
                    <a:lnTo>
                      <a:pt x="162430" y="198189"/>
                    </a:lnTo>
                    <a:lnTo>
                      <a:pt x="165764" y="196825"/>
                    </a:lnTo>
                    <a:lnTo>
                      <a:pt x="168340" y="195916"/>
                    </a:lnTo>
                    <a:lnTo>
                      <a:pt x="175764" y="194249"/>
                    </a:lnTo>
                    <a:lnTo>
                      <a:pt x="177128" y="193492"/>
                    </a:lnTo>
                    <a:lnTo>
                      <a:pt x="178491" y="191371"/>
                    </a:lnTo>
                    <a:lnTo>
                      <a:pt x="181673" y="188037"/>
                    </a:lnTo>
                    <a:lnTo>
                      <a:pt x="185613" y="185158"/>
                    </a:lnTo>
                    <a:lnTo>
                      <a:pt x="187734" y="183492"/>
                    </a:lnTo>
                    <a:lnTo>
                      <a:pt x="191371" y="169855"/>
                    </a:lnTo>
                    <a:lnTo>
                      <a:pt x="191825" y="168036"/>
                    </a:lnTo>
                    <a:lnTo>
                      <a:pt x="194553" y="164400"/>
                    </a:lnTo>
                    <a:lnTo>
                      <a:pt x="196220" y="162885"/>
                    </a:lnTo>
                    <a:lnTo>
                      <a:pt x="197280" y="162885"/>
                    </a:lnTo>
                    <a:lnTo>
                      <a:pt x="198795" y="161976"/>
                    </a:lnTo>
                    <a:lnTo>
                      <a:pt x="200765" y="160006"/>
                    </a:lnTo>
                    <a:lnTo>
                      <a:pt x="203189" y="158794"/>
                    </a:lnTo>
                    <a:lnTo>
                      <a:pt x="205765" y="158491"/>
                    </a:lnTo>
                    <a:lnTo>
                      <a:pt x="207584" y="157127"/>
                    </a:lnTo>
                    <a:lnTo>
                      <a:pt x="208341" y="155157"/>
                    </a:lnTo>
                    <a:lnTo>
                      <a:pt x="209856" y="154097"/>
                    </a:lnTo>
                    <a:lnTo>
                      <a:pt x="211826" y="154097"/>
                    </a:lnTo>
                    <a:lnTo>
                      <a:pt x="212887" y="153491"/>
                    </a:lnTo>
                    <a:lnTo>
                      <a:pt x="213190" y="152127"/>
                    </a:lnTo>
                    <a:lnTo>
                      <a:pt x="214402" y="150915"/>
                    </a:lnTo>
                    <a:lnTo>
                      <a:pt x="216523" y="150005"/>
                    </a:lnTo>
                    <a:lnTo>
                      <a:pt x="217735" y="148793"/>
                    </a:lnTo>
                    <a:lnTo>
                      <a:pt x="217735" y="147430"/>
                    </a:lnTo>
                    <a:lnTo>
                      <a:pt x="220311" y="144248"/>
                    </a:lnTo>
                    <a:lnTo>
                      <a:pt x="225311" y="139096"/>
                    </a:lnTo>
                    <a:lnTo>
                      <a:pt x="230008" y="136217"/>
                    </a:lnTo>
                    <a:lnTo>
                      <a:pt x="234403" y="135611"/>
                    </a:lnTo>
                    <a:lnTo>
                      <a:pt x="238645" y="134550"/>
                    </a:lnTo>
                    <a:lnTo>
                      <a:pt x="242585" y="133035"/>
                    </a:lnTo>
                    <a:lnTo>
                      <a:pt x="245464" y="130459"/>
                    </a:lnTo>
                    <a:lnTo>
                      <a:pt x="247282" y="127126"/>
                    </a:lnTo>
                    <a:lnTo>
                      <a:pt x="250464" y="125308"/>
                    </a:lnTo>
                    <a:lnTo>
                      <a:pt x="256828" y="12470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5" name="Freeform: Shape 3324">
                <a:extLst>
                  <a:ext uri="{FF2B5EF4-FFF2-40B4-BE49-F238E27FC236}">
                    <a16:creationId xmlns:a16="http://schemas.microsoft.com/office/drawing/2014/main" id="{35D567F9-5CB6-40A2-B4C0-70C10A7B491D}"/>
                  </a:ext>
                </a:extLst>
              </p:cNvPr>
              <p:cNvSpPr/>
              <p:nvPr/>
            </p:nvSpPr>
            <p:spPr>
              <a:xfrm>
                <a:off x="8205169" y="3771207"/>
                <a:ext cx="91518" cy="47274"/>
              </a:xfrm>
              <a:custGeom>
                <a:avLst/>
                <a:gdLst>
                  <a:gd name="connsiteX0" fmla="*/ 90003 w 91518"/>
                  <a:gd name="connsiteY0" fmla="*/ 37426 h 47274"/>
                  <a:gd name="connsiteX1" fmla="*/ 89245 w 91518"/>
                  <a:gd name="connsiteY1" fmla="*/ 36213 h 47274"/>
                  <a:gd name="connsiteX2" fmla="*/ 88943 w 91518"/>
                  <a:gd name="connsiteY2" fmla="*/ 35607 h 47274"/>
                  <a:gd name="connsiteX3" fmla="*/ 89245 w 91518"/>
                  <a:gd name="connsiteY3" fmla="*/ 34244 h 47274"/>
                  <a:gd name="connsiteX4" fmla="*/ 90003 w 91518"/>
                  <a:gd name="connsiteY4" fmla="*/ 32274 h 47274"/>
                  <a:gd name="connsiteX5" fmla="*/ 91518 w 91518"/>
                  <a:gd name="connsiteY5" fmla="*/ 30001 h 47274"/>
                  <a:gd name="connsiteX6" fmla="*/ 90458 w 91518"/>
                  <a:gd name="connsiteY6" fmla="*/ 27880 h 47274"/>
                  <a:gd name="connsiteX7" fmla="*/ 88943 w 91518"/>
                  <a:gd name="connsiteY7" fmla="*/ 25304 h 47274"/>
                  <a:gd name="connsiteX8" fmla="*/ 87882 w 91518"/>
                  <a:gd name="connsiteY8" fmla="*/ 25152 h 47274"/>
                  <a:gd name="connsiteX9" fmla="*/ 85155 w 91518"/>
                  <a:gd name="connsiteY9" fmla="*/ 25758 h 47274"/>
                  <a:gd name="connsiteX10" fmla="*/ 82124 w 91518"/>
                  <a:gd name="connsiteY10" fmla="*/ 25607 h 47274"/>
                  <a:gd name="connsiteX11" fmla="*/ 79851 w 91518"/>
                  <a:gd name="connsiteY11" fmla="*/ 24092 h 47274"/>
                  <a:gd name="connsiteX12" fmla="*/ 78184 w 91518"/>
                  <a:gd name="connsiteY12" fmla="*/ 22122 h 47274"/>
                  <a:gd name="connsiteX13" fmla="*/ 77730 w 91518"/>
                  <a:gd name="connsiteY13" fmla="*/ 20607 h 47274"/>
                  <a:gd name="connsiteX14" fmla="*/ 78184 w 91518"/>
                  <a:gd name="connsiteY14" fmla="*/ 18637 h 47274"/>
                  <a:gd name="connsiteX15" fmla="*/ 78942 w 91518"/>
                  <a:gd name="connsiteY15" fmla="*/ 16970 h 47274"/>
                  <a:gd name="connsiteX16" fmla="*/ 79094 w 91518"/>
                  <a:gd name="connsiteY16" fmla="*/ 16213 h 47274"/>
                  <a:gd name="connsiteX17" fmla="*/ 79094 w 91518"/>
                  <a:gd name="connsiteY17" fmla="*/ 15001 h 47274"/>
                  <a:gd name="connsiteX18" fmla="*/ 79397 w 91518"/>
                  <a:gd name="connsiteY18" fmla="*/ 11364 h 47274"/>
                  <a:gd name="connsiteX19" fmla="*/ 78488 w 91518"/>
                  <a:gd name="connsiteY19" fmla="*/ 10606 h 47274"/>
                  <a:gd name="connsiteX20" fmla="*/ 75306 w 91518"/>
                  <a:gd name="connsiteY20" fmla="*/ 9697 h 47274"/>
                  <a:gd name="connsiteX21" fmla="*/ 71972 w 91518"/>
                  <a:gd name="connsiteY21" fmla="*/ 8485 h 47274"/>
                  <a:gd name="connsiteX22" fmla="*/ 70305 w 91518"/>
                  <a:gd name="connsiteY22" fmla="*/ 7273 h 47274"/>
                  <a:gd name="connsiteX23" fmla="*/ 69245 w 91518"/>
                  <a:gd name="connsiteY23" fmla="*/ 6818 h 47274"/>
                  <a:gd name="connsiteX24" fmla="*/ 68033 w 91518"/>
                  <a:gd name="connsiteY24" fmla="*/ 7121 h 47274"/>
                  <a:gd name="connsiteX25" fmla="*/ 65911 w 91518"/>
                  <a:gd name="connsiteY25" fmla="*/ 8334 h 47274"/>
                  <a:gd name="connsiteX26" fmla="*/ 63942 w 91518"/>
                  <a:gd name="connsiteY26" fmla="*/ 10000 h 47274"/>
                  <a:gd name="connsiteX27" fmla="*/ 62426 w 91518"/>
                  <a:gd name="connsiteY27" fmla="*/ 10000 h 47274"/>
                  <a:gd name="connsiteX28" fmla="*/ 60760 w 91518"/>
                  <a:gd name="connsiteY28" fmla="*/ 9394 h 47274"/>
                  <a:gd name="connsiteX29" fmla="*/ 59244 w 91518"/>
                  <a:gd name="connsiteY29" fmla="*/ 8334 h 47274"/>
                  <a:gd name="connsiteX30" fmla="*/ 54093 w 91518"/>
                  <a:gd name="connsiteY30" fmla="*/ 7121 h 47274"/>
                  <a:gd name="connsiteX31" fmla="*/ 51668 w 91518"/>
                  <a:gd name="connsiteY31" fmla="*/ 6818 h 47274"/>
                  <a:gd name="connsiteX32" fmla="*/ 47577 w 91518"/>
                  <a:gd name="connsiteY32" fmla="*/ 7121 h 47274"/>
                  <a:gd name="connsiteX33" fmla="*/ 44092 w 91518"/>
                  <a:gd name="connsiteY33" fmla="*/ 6818 h 47274"/>
                  <a:gd name="connsiteX34" fmla="*/ 43638 w 91518"/>
                  <a:gd name="connsiteY34" fmla="*/ 6364 h 47274"/>
                  <a:gd name="connsiteX35" fmla="*/ 43638 w 91518"/>
                  <a:gd name="connsiteY35" fmla="*/ 5606 h 47274"/>
                  <a:gd name="connsiteX36" fmla="*/ 44092 w 91518"/>
                  <a:gd name="connsiteY36" fmla="*/ 4243 h 47274"/>
                  <a:gd name="connsiteX37" fmla="*/ 44395 w 91518"/>
                  <a:gd name="connsiteY37" fmla="*/ 2727 h 47274"/>
                  <a:gd name="connsiteX38" fmla="*/ 43941 w 91518"/>
                  <a:gd name="connsiteY38" fmla="*/ 1970 h 47274"/>
                  <a:gd name="connsiteX39" fmla="*/ 40456 w 91518"/>
                  <a:gd name="connsiteY39" fmla="*/ 1061 h 47274"/>
                  <a:gd name="connsiteX40" fmla="*/ 37274 w 91518"/>
                  <a:gd name="connsiteY40" fmla="*/ 303 h 47274"/>
                  <a:gd name="connsiteX41" fmla="*/ 33941 w 91518"/>
                  <a:gd name="connsiteY41" fmla="*/ 0 h 47274"/>
                  <a:gd name="connsiteX42" fmla="*/ 31668 w 91518"/>
                  <a:gd name="connsiteY42" fmla="*/ 455 h 47274"/>
                  <a:gd name="connsiteX43" fmla="*/ 29546 w 91518"/>
                  <a:gd name="connsiteY43" fmla="*/ 1667 h 47274"/>
                  <a:gd name="connsiteX44" fmla="*/ 27576 w 91518"/>
                  <a:gd name="connsiteY44" fmla="*/ 3637 h 47274"/>
                  <a:gd name="connsiteX45" fmla="*/ 25001 w 91518"/>
                  <a:gd name="connsiteY45" fmla="*/ 4546 h 47274"/>
                  <a:gd name="connsiteX46" fmla="*/ 21819 w 91518"/>
                  <a:gd name="connsiteY46" fmla="*/ 6061 h 47274"/>
                  <a:gd name="connsiteX47" fmla="*/ 20304 w 91518"/>
                  <a:gd name="connsiteY47" fmla="*/ 7425 h 47274"/>
                  <a:gd name="connsiteX48" fmla="*/ 18031 w 91518"/>
                  <a:gd name="connsiteY48" fmla="*/ 10455 h 47274"/>
                  <a:gd name="connsiteX49" fmla="*/ 14546 w 91518"/>
                  <a:gd name="connsiteY49" fmla="*/ 14092 h 47274"/>
                  <a:gd name="connsiteX50" fmla="*/ 11515 w 91518"/>
                  <a:gd name="connsiteY50" fmla="*/ 17728 h 47274"/>
                  <a:gd name="connsiteX51" fmla="*/ 10000 w 91518"/>
                  <a:gd name="connsiteY51" fmla="*/ 21213 h 47274"/>
                  <a:gd name="connsiteX52" fmla="*/ 7879 w 91518"/>
                  <a:gd name="connsiteY52" fmla="*/ 23334 h 47274"/>
                  <a:gd name="connsiteX53" fmla="*/ 5757 w 91518"/>
                  <a:gd name="connsiteY53" fmla="*/ 25001 h 47274"/>
                  <a:gd name="connsiteX54" fmla="*/ 4091 w 91518"/>
                  <a:gd name="connsiteY54" fmla="*/ 29244 h 47274"/>
                  <a:gd name="connsiteX55" fmla="*/ 3939 w 91518"/>
                  <a:gd name="connsiteY55" fmla="*/ 29850 h 47274"/>
                  <a:gd name="connsiteX56" fmla="*/ 606 w 91518"/>
                  <a:gd name="connsiteY56" fmla="*/ 32122 h 47274"/>
                  <a:gd name="connsiteX57" fmla="*/ 0 w 91518"/>
                  <a:gd name="connsiteY57" fmla="*/ 33335 h 47274"/>
                  <a:gd name="connsiteX58" fmla="*/ 757 w 91518"/>
                  <a:gd name="connsiteY58" fmla="*/ 34547 h 47274"/>
                  <a:gd name="connsiteX59" fmla="*/ 1969 w 91518"/>
                  <a:gd name="connsiteY59" fmla="*/ 35607 h 47274"/>
                  <a:gd name="connsiteX60" fmla="*/ 2576 w 91518"/>
                  <a:gd name="connsiteY60" fmla="*/ 36668 h 47274"/>
                  <a:gd name="connsiteX61" fmla="*/ 3182 w 91518"/>
                  <a:gd name="connsiteY61" fmla="*/ 39698 h 47274"/>
                  <a:gd name="connsiteX62" fmla="*/ 4848 w 91518"/>
                  <a:gd name="connsiteY62" fmla="*/ 40608 h 47274"/>
                  <a:gd name="connsiteX63" fmla="*/ 8182 w 91518"/>
                  <a:gd name="connsiteY63" fmla="*/ 42426 h 47274"/>
                  <a:gd name="connsiteX64" fmla="*/ 11212 w 91518"/>
                  <a:gd name="connsiteY64" fmla="*/ 43941 h 47274"/>
                  <a:gd name="connsiteX65" fmla="*/ 16212 w 91518"/>
                  <a:gd name="connsiteY65" fmla="*/ 43032 h 47274"/>
                  <a:gd name="connsiteX66" fmla="*/ 17576 w 91518"/>
                  <a:gd name="connsiteY66" fmla="*/ 43638 h 47274"/>
                  <a:gd name="connsiteX67" fmla="*/ 20152 w 91518"/>
                  <a:gd name="connsiteY67" fmla="*/ 44244 h 47274"/>
                  <a:gd name="connsiteX68" fmla="*/ 21970 w 91518"/>
                  <a:gd name="connsiteY68" fmla="*/ 44547 h 47274"/>
                  <a:gd name="connsiteX69" fmla="*/ 23183 w 91518"/>
                  <a:gd name="connsiteY69" fmla="*/ 45002 h 47274"/>
                  <a:gd name="connsiteX70" fmla="*/ 23788 w 91518"/>
                  <a:gd name="connsiteY70" fmla="*/ 45456 h 47274"/>
                  <a:gd name="connsiteX71" fmla="*/ 23637 w 91518"/>
                  <a:gd name="connsiteY71" fmla="*/ 46062 h 47274"/>
                  <a:gd name="connsiteX72" fmla="*/ 23788 w 91518"/>
                  <a:gd name="connsiteY72" fmla="*/ 46820 h 47274"/>
                  <a:gd name="connsiteX73" fmla="*/ 26516 w 91518"/>
                  <a:gd name="connsiteY73" fmla="*/ 46972 h 47274"/>
                  <a:gd name="connsiteX74" fmla="*/ 28031 w 91518"/>
                  <a:gd name="connsiteY74" fmla="*/ 47274 h 47274"/>
                  <a:gd name="connsiteX75" fmla="*/ 32880 w 91518"/>
                  <a:gd name="connsiteY75" fmla="*/ 46668 h 47274"/>
                  <a:gd name="connsiteX76" fmla="*/ 37880 w 91518"/>
                  <a:gd name="connsiteY76" fmla="*/ 45759 h 47274"/>
                  <a:gd name="connsiteX77" fmla="*/ 40153 w 91518"/>
                  <a:gd name="connsiteY77" fmla="*/ 43032 h 47274"/>
                  <a:gd name="connsiteX78" fmla="*/ 41062 w 91518"/>
                  <a:gd name="connsiteY78" fmla="*/ 42880 h 47274"/>
                  <a:gd name="connsiteX79" fmla="*/ 43941 w 91518"/>
                  <a:gd name="connsiteY79" fmla="*/ 41820 h 47274"/>
                  <a:gd name="connsiteX80" fmla="*/ 46668 w 91518"/>
                  <a:gd name="connsiteY80" fmla="*/ 42880 h 47274"/>
                  <a:gd name="connsiteX81" fmla="*/ 49850 w 91518"/>
                  <a:gd name="connsiteY81" fmla="*/ 44547 h 47274"/>
                  <a:gd name="connsiteX82" fmla="*/ 51517 w 91518"/>
                  <a:gd name="connsiteY82" fmla="*/ 45002 h 47274"/>
                  <a:gd name="connsiteX83" fmla="*/ 54699 w 91518"/>
                  <a:gd name="connsiteY83" fmla="*/ 45305 h 47274"/>
                  <a:gd name="connsiteX84" fmla="*/ 57881 w 91518"/>
                  <a:gd name="connsiteY84" fmla="*/ 45002 h 47274"/>
                  <a:gd name="connsiteX85" fmla="*/ 65457 w 91518"/>
                  <a:gd name="connsiteY85" fmla="*/ 44244 h 47274"/>
                  <a:gd name="connsiteX86" fmla="*/ 69699 w 91518"/>
                  <a:gd name="connsiteY86" fmla="*/ 44699 h 47274"/>
                  <a:gd name="connsiteX87" fmla="*/ 73487 w 91518"/>
                  <a:gd name="connsiteY87" fmla="*/ 42426 h 47274"/>
                  <a:gd name="connsiteX88" fmla="*/ 74396 w 91518"/>
                  <a:gd name="connsiteY88" fmla="*/ 42426 h 47274"/>
                  <a:gd name="connsiteX89" fmla="*/ 76063 w 91518"/>
                  <a:gd name="connsiteY89" fmla="*/ 44244 h 47274"/>
                  <a:gd name="connsiteX90" fmla="*/ 80154 w 91518"/>
                  <a:gd name="connsiteY90" fmla="*/ 44396 h 47274"/>
                  <a:gd name="connsiteX91" fmla="*/ 82427 w 91518"/>
                  <a:gd name="connsiteY91" fmla="*/ 43486 h 47274"/>
                  <a:gd name="connsiteX92" fmla="*/ 84851 w 91518"/>
                  <a:gd name="connsiteY92" fmla="*/ 42880 h 47274"/>
                  <a:gd name="connsiteX93" fmla="*/ 86367 w 91518"/>
                  <a:gd name="connsiteY93" fmla="*/ 42577 h 47274"/>
                  <a:gd name="connsiteX94" fmla="*/ 87730 w 91518"/>
                  <a:gd name="connsiteY94" fmla="*/ 42577 h 47274"/>
                  <a:gd name="connsiteX95" fmla="*/ 89094 w 91518"/>
                  <a:gd name="connsiteY95" fmla="*/ 42729 h 47274"/>
                  <a:gd name="connsiteX96" fmla="*/ 90609 w 91518"/>
                  <a:gd name="connsiteY96" fmla="*/ 42274 h 47274"/>
                  <a:gd name="connsiteX97" fmla="*/ 91215 w 91518"/>
                  <a:gd name="connsiteY97" fmla="*/ 41062 h 47274"/>
                  <a:gd name="connsiteX98" fmla="*/ 91064 w 91518"/>
                  <a:gd name="connsiteY98" fmla="*/ 39244 h 4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518" h="47274">
                    <a:moveTo>
                      <a:pt x="90003" y="37426"/>
                    </a:moveTo>
                    <a:lnTo>
                      <a:pt x="89245" y="36213"/>
                    </a:lnTo>
                    <a:lnTo>
                      <a:pt x="88943" y="35607"/>
                    </a:lnTo>
                    <a:lnTo>
                      <a:pt x="89245" y="34244"/>
                    </a:lnTo>
                    <a:lnTo>
                      <a:pt x="90003" y="32274"/>
                    </a:lnTo>
                    <a:lnTo>
                      <a:pt x="91518" y="30001"/>
                    </a:lnTo>
                    <a:lnTo>
                      <a:pt x="90458" y="27880"/>
                    </a:lnTo>
                    <a:lnTo>
                      <a:pt x="88943" y="25304"/>
                    </a:lnTo>
                    <a:lnTo>
                      <a:pt x="87882" y="25152"/>
                    </a:lnTo>
                    <a:lnTo>
                      <a:pt x="85155" y="25758"/>
                    </a:lnTo>
                    <a:lnTo>
                      <a:pt x="82124" y="25607"/>
                    </a:lnTo>
                    <a:lnTo>
                      <a:pt x="79851" y="24092"/>
                    </a:lnTo>
                    <a:lnTo>
                      <a:pt x="78184" y="22122"/>
                    </a:lnTo>
                    <a:lnTo>
                      <a:pt x="77730" y="20607"/>
                    </a:lnTo>
                    <a:lnTo>
                      <a:pt x="78184" y="18637"/>
                    </a:lnTo>
                    <a:lnTo>
                      <a:pt x="78942" y="16970"/>
                    </a:lnTo>
                    <a:lnTo>
                      <a:pt x="79094" y="16213"/>
                    </a:lnTo>
                    <a:lnTo>
                      <a:pt x="79094" y="15001"/>
                    </a:lnTo>
                    <a:lnTo>
                      <a:pt x="79397" y="11364"/>
                    </a:lnTo>
                    <a:lnTo>
                      <a:pt x="78488" y="10606"/>
                    </a:lnTo>
                    <a:lnTo>
                      <a:pt x="75306" y="9697"/>
                    </a:lnTo>
                    <a:lnTo>
                      <a:pt x="71972" y="8485"/>
                    </a:lnTo>
                    <a:lnTo>
                      <a:pt x="70305" y="7273"/>
                    </a:lnTo>
                    <a:lnTo>
                      <a:pt x="69245" y="6818"/>
                    </a:lnTo>
                    <a:lnTo>
                      <a:pt x="68033" y="7121"/>
                    </a:lnTo>
                    <a:lnTo>
                      <a:pt x="65911" y="8334"/>
                    </a:lnTo>
                    <a:lnTo>
                      <a:pt x="63942" y="10000"/>
                    </a:lnTo>
                    <a:lnTo>
                      <a:pt x="62426" y="10000"/>
                    </a:lnTo>
                    <a:lnTo>
                      <a:pt x="60760" y="9394"/>
                    </a:lnTo>
                    <a:lnTo>
                      <a:pt x="59244" y="8334"/>
                    </a:lnTo>
                    <a:lnTo>
                      <a:pt x="54093" y="7121"/>
                    </a:lnTo>
                    <a:lnTo>
                      <a:pt x="51668" y="6818"/>
                    </a:lnTo>
                    <a:lnTo>
                      <a:pt x="47577" y="7121"/>
                    </a:lnTo>
                    <a:lnTo>
                      <a:pt x="44092" y="6818"/>
                    </a:lnTo>
                    <a:lnTo>
                      <a:pt x="43638" y="6364"/>
                    </a:lnTo>
                    <a:lnTo>
                      <a:pt x="43638" y="5606"/>
                    </a:lnTo>
                    <a:lnTo>
                      <a:pt x="44092" y="4243"/>
                    </a:lnTo>
                    <a:lnTo>
                      <a:pt x="44395" y="2727"/>
                    </a:lnTo>
                    <a:lnTo>
                      <a:pt x="43941" y="1970"/>
                    </a:lnTo>
                    <a:lnTo>
                      <a:pt x="40456" y="1061"/>
                    </a:lnTo>
                    <a:lnTo>
                      <a:pt x="37274" y="303"/>
                    </a:lnTo>
                    <a:lnTo>
                      <a:pt x="33941" y="0"/>
                    </a:lnTo>
                    <a:lnTo>
                      <a:pt x="31668" y="455"/>
                    </a:lnTo>
                    <a:lnTo>
                      <a:pt x="29546" y="1667"/>
                    </a:lnTo>
                    <a:lnTo>
                      <a:pt x="27576" y="3637"/>
                    </a:lnTo>
                    <a:lnTo>
                      <a:pt x="25001" y="4546"/>
                    </a:lnTo>
                    <a:lnTo>
                      <a:pt x="21819" y="6061"/>
                    </a:lnTo>
                    <a:lnTo>
                      <a:pt x="20304" y="7425"/>
                    </a:lnTo>
                    <a:lnTo>
                      <a:pt x="18031" y="10455"/>
                    </a:lnTo>
                    <a:lnTo>
                      <a:pt x="14546" y="14092"/>
                    </a:lnTo>
                    <a:lnTo>
                      <a:pt x="11515" y="17728"/>
                    </a:lnTo>
                    <a:lnTo>
                      <a:pt x="10000" y="21213"/>
                    </a:lnTo>
                    <a:lnTo>
                      <a:pt x="7879" y="23334"/>
                    </a:lnTo>
                    <a:lnTo>
                      <a:pt x="5757" y="25001"/>
                    </a:lnTo>
                    <a:lnTo>
                      <a:pt x="4091" y="29244"/>
                    </a:lnTo>
                    <a:lnTo>
                      <a:pt x="3939" y="29850"/>
                    </a:lnTo>
                    <a:lnTo>
                      <a:pt x="606" y="32122"/>
                    </a:lnTo>
                    <a:lnTo>
                      <a:pt x="0" y="33335"/>
                    </a:lnTo>
                    <a:lnTo>
                      <a:pt x="757" y="34547"/>
                    </a:lnTo>
                    <a:lnTo>
                      <a:pt x="1969" y="35607"/>
                    </a:lnTo>
                    <a:lnTo>
                      <a:pt x="2576" y="36668"/>
                    </a:lnTo>
                    <a:lnTo>
                      <a:pt x="3182" y="39698"/>
                    </a:lnTo>
                    <a:lnTo>
                      <a:pt x="4848" y="40608"/>
                    </a:lnTo>
                    <a:lnTo>
                      <a:pt x="8182" y="42426"/>
                    </a:lnTo>
                    <a:lnTo>
                      <a:pt x="11212" y="43941"/>
                    </a:lnTo>
                    <a:lnTo>
                      <a:pt x="16212" y="43032"/>
                    </a:lnTo>
                    <a:lnTo>
                      <a:pt x="17576" y="43638"/>
                    </a:lnTo>
                    <a:lnTo>
                      <a:pt x="20152" y="44244"/>
                    </a:lnTo>
                    <a:lnTo>
                      <a:pt x="21970" y="44547"/>
                    </a:lnTo>
                    <a:lnTo>
                      <a:pt x="23183" y="45002"/>
                    </a:lnTo>
                    <a:lnTo>
                      <a:pt x="23788" y="45456"/>
                    </a:lnTo>
                    <a:lnTo>
                      <a:pt x="23637" y="46062"/>
                    </a:lnTo>
                    <a:lnTo>
                      <a:pt x="23788" y="46820"/>
                    </a:lnTo>
                    <a:lnTo>
                      <a:pt x="26516" y="46972"/>
                    </a:lnTo>
                    <a:lnTo>
                      <a:pt x="28031" y="47274"/>
                    </a:lnTo>
                    <a:lnTo>
                      <a:pt x="32880" y="46668"/>
                    </a:lnTo>
                    <a:lnTo>
                      <a:pt x="37880" y="45759"/>
                    </a:lnTo>
                    <a:lnTo>
                      <a:pt x="40153" y="43032"/>
                    </a:lnTo>
                    <a:lnTo>
                      <a:pt x="41062" y="42880"/>
                    </a:lnTo>
                    <a:lnTo>
                      <a:pt x="43941" y="41820"/>
                    </a:lnTo>
                    <a:lnTo>
                      <a:pt x="46668" y="42880"/>
                    </a:lnTo>
                    <a:lnTo>
                      <a:pt x="49850" y="44547"/>
                    </a:lnTo>
                    <a:lnTo>
                      <a:pt x="51517" y="45002"/>
                    </a:lnTo>
                    <a:lnTo>
                      <a:pt x="54699" y="45305"/>
                    </a:lnTo>
                    <a:lnTo>
                      <a:pt x="57881" y="45002"/>
                    </a:lnTo>
                    <a:lnTo>
                      <a:pt x="65457" y="44244"/>
                    </a:lnTo>
                    <a:lnTo>
                      <a:pt x="69699" y="44699"/>
                    </a:lnTo>
                    <a:lnTo>
                      <a:pt x="73487" y="42426"/>
                    </a:lnTo>
                    <a:lnTo>
                      <a:pt x="74396" y="42426"/>
                    </a:lnTo>
                    <a:lnTo>
                      <a:pt x="76063" y="44244"/>
                    </a:lnTo>
                    <a:lnTo>
                      <a:pt x="80154" y="44396"/>
                    </a:lnTo>
                    <a:lnTo>
                      <a:pt x="82427" y="43486"/>
                    </a:lnTo>
                    <a:lnTo>
                      <a:pt x="84851" y="42880"/>
                    </a:lnTo>
                    <a:lnTo>
                      <a:pt x="86367" y="42577"/>
                    </a:lnTo>
                    <a:lnTo>
                      <a:pt x="87730" y="42577"/>
                    </a:lnTo>
                    <a:lnTo>
                      <a:pt x="89094" y="42729"/>
                    </a:lnTo>
                    <a:lnTo>
                      <a:pt x="90609" y="42274"/>
                    </a:lnTo>
                    <a:lnTo>
                      <a:pt x="91215" y="41062"/>
                    </a:lnTo>
                    <a:lnTo>
                      <a:pt x="91064" y="392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6" name="Freeform: Shape 3325">
                <a:extLst>
                  <a:ext uri="{FF2B5EF4-FFF2-40B4-BE49-F238E27FC236}">
                    <a16:creationId xmlns:a16="http://schemas.microsoft.com/office/drawing/2014/main" id="{CA7A013E-E71F-47E2-BF41-BC5103382EB5}"/>
                  </a:ext>
                </a:extLst>
              </p:cNvPr>
              <p:cNvSpPr/>
              <p:nvPr/>
            </p:nvSpPr>
            <p:spPr>
              <a:xfrm>
                <a:off x="3616211" y="3811511"/>
                <a:ext cx="170612" cy="172885"/>
              </a:xfrm>
              <a:custGeom>
                <a:avLst/>
                <a:gdLst>
                  <a:gd name="connsiteX0" fmla="*/ 49699 w 170612"/>
                  <a:gd name="connsiteY0" fmla="*/ 10000 h 172885"/>
                  <a:gd name="connsiteX1" fmla="*/ 47123 w 170612"/>
                  <a:gd name="connsiteY1" fmla="*/ 8788 h 172885"/>
                  <a:gd name="connsiteX2" fmla="*/ 46820 w 170612"/>
                  <a:gd name="connsiteY2" fmla="*/ 8031 h 172885"/>
                  <a:gd name="connsiteX3" fmla="*/ 46972 w 170612"/>
                  <a:gd name="connsiteY3" fmla="*/ 7273 h 172885"/>
                  <a:gd name="connsiteX4" fmla="*/ 46214 w 170612"/>
                  <a:gd name="connsiteY4" fmla="*/ 6667 h 172885"/>
                  <a:gd name="connsiteX5" fmla="*/ 44244 w 170612"/>
                  <a:gd name="connsiteY5" fmla="*/ 5606 h 172885"/>
                  <a:gd name="connsiteX6" fmla="*/ 41971 w 170612"/>
                  <a:gd name="connsiteY6" fmla="*/ 3030 h 172885"/>
                  <a:gd name="connsiteX7" fmla="*/ 39699 w 170612"/>
                  <a:gd name="connsiteY7" fmla="*/ 1061 h 172885"/>
                  <a:gd name="connsiteX8" fmla="*/ 35911 w 170612"/>
                  <a:gd name="connsiteY8" fmla="*/ 758 h 172885"/>
                  <a:gd name="connsiteX9" fmla="*/ 32729 w 170612"/>
                  <a:gd name="connsiteY9" fmla="*/ 151 h 172885"/>
                  <a:gd name="connsiteX10" fmla="*/ 30607 w 170612"/>
                  <a:gd name="connsiteY10" fmla="*/ 0 h 172885"/>
                  <a:gd name="connsiteX11" fmla="*/ 28335 w 170612"/>
                  <a:gd name="connsiteY11" fmla="*/ 1061 h 172885"/>
                  <a:gd name="connsiteX12" fmla="*/ 32425 w 170612"/>
                  <a:gd name="connsiteY12" fmla="*/ 1061 h 172885"/>
                  <a:gd name="connsiteX13" fmla="*/ 40305 w 170612"/>
                  <a:gd name="connsiteY13" fmla="*/ 2727 h 172885"/>
                  <a:gd name="connsiteX14" fmla="*/ 45305 w 170612"/>
                  <a:gd name="connsiteY14" fmla="*/ 9394 h 172885"/>
                  <a:gd name="connsiteX15" fmla="*/ 47729 w 170612"/>
                  <a:gd name="connsiteY15" fmla="*/ 11061 h 172885"/>
                  <a:gd name="connsiteX16" fmla="*/ 48638 w 170612"/>
                  <a:gd name="connsiteY16" fmla="*/ 13182 h 172885"/>
                  <a:gd name="connsiteX17" fmla="*/ 48032 w 170612"/>
                  <a:gd name="connsiteY17" fmla="*/ 15001 h 172885"/>
                  <a:gd name="connsiteX18" fmla="*/ 48335 w 170612"/>
                  <a:gd name="connsiteY18" fmla="*/ 16819 h 172885"/>
                  <a:gd name="connsiteX19" fmla="*/ 47578 w 170612"/>
                  <a:gd name="connsiteY19" fmla="*/ 18940 h 172885"/>
                  <a:gd name="connsiteX20" fmla="*/ 47578 w 170612"/>
                  <a:gd name="connsiteY20" fmla="*/ 22880 h 172885"/>
                  <a:gd name="connsiteX21" fmla="*/ 46214 w 170612"/>
                  <a:gd name="connsiteY21" fmla="*/ 24698 h 172885"/>
                  <a:gd name="connsiteX22" fmla="*/ 43184 w 170612"/>
                  <a:gd name="connsiteY22" fmla="*/ 26819 h 172885"/>
                  <a:gd name="connsiteX23" fmla="*/ 45153 w 170612"/>
                  <a:gd name="connsiteY23" fmla="*/ 27728 h 172885"/>
                  <a:gd name="connsiteX24" fmla="*/ 47578 w 170612"/>
                  <a:gd name="connsiteY24" fmla="*/ 30607 h 172885"/>
                  <a:gd name="connsiteX25" fmla="*/ 48184 w 170612"/>
                  <a:gd name="connsiteY25" fmla="*/ 30304 h 172885"/>
                  <a:gd name="connsiteX26" fmla="*/ 49093 w 170612"/>
                  <a:gd name="connsiteY26" fmla="*/ 28789 h 172885"/>
                  <a:gd name="connsiteX27" fmla="*/ 49699 w 170612"/>
                  <a:gd name="connsiteY27" fmla="*/ 20455 h 172885"/>
                  <a:gd name="connsiteX28" fmla="*/ 53184 w 170612"/>
                  <a:gd name="connsiteY28" fmla="*/ 17728 h 172885"/>
                  <a:gd name="connsiteX29" fmla="*/ 52426 w 170612"/>
                  <a:gd name="connsiteY29" fmla="*/ 11970 h 172885"/>
                  <a:gd name="connsiteX30" fmla="*/ 49699 w 170612"/>
                  <a:gd name="connsiteY30" fmla="*/ 10000 h 172885"/>
                  <a:gd name="connsiteX31" fmla="*/ 45153 w 170612"/>
                  <a:gd name="connsiteY31" fmla="*/ 54093 h 172885"/>
                  <a:gd name="connsiteX32" fmla="*/ 41820 w 170612"/>
                  <a:gd name="connsiteY32" fmla="*/ 54093 h 172885"/>
                  <a:gd name="connsiteX33" fmla="*/ 39699 w 170612"/>
                  <a:gd name="connsiteY33" fmla="*/ 54699 h 172885"/>
                  <a:gd name="connsiteX34" fmla="*/ 38789 w 170612"/>
                  <a:gd name="connsiteY34" fmla="*/ 55457 h 172885"/>
                  <a:gd name="connsiteX35" fmla="*/ 39395 w 170612"/>
                  <a:gd name="connsiteY35" fmla="*/ 55911 h 172885"/>
                  <a:gd name="connsiteX36" fmla="*/ 41668 w 170612"/>
                  <a:gd name="connsiteY36" fmla="*/ 56517 h 172885"/>
                  <a:gd name="connsiteX37" fmla="*/ 44699 w 170612"/>
                  <a:gd name="connsiteY37" fmla="*/ 55911 h 172885"/>
                  <a:gd name="connsiteX38" fmla="*/ 46820 w 170612"/>
                  <a:gd name="connsiteY38" fmla="*/ 55002 h 172885"/>
                  <a:gd name="connsiteX39" fmla="*/ 46668 w 170612"/>
                  <a:gd name="connsiteY39" fmla="*/ 54699 h 172885"/>
                  <a:gd name="connsiteX40" fmla="*/ 45153 w 170612"/>
                  <a:gd name="connsiteY40" fmla="*/ 54093 h 172885"/>
                  <a:gd name="connsiteX41" fmla="*/ 86822 w 170612"/>
                  <a:gd name="connsiteY41" fmla="*/ 98488 h 172885"/>
                  <a:gd name="connsiteX42" fmla="*/ 83034 w 170612"/>
                  <a:gd name="connsiteY42" fmla="*/ 95458 h 172885"/>
                  <a:gd name="connsiteX43" fmla="*/ 81367 w 170612"/>
                  <a:gd name="connsiteY43" fmla="*/ 94700 h 172885"/>
                  <a:gd name="connsiteX44" fmla="*/ 80609 w 170612"/>
                  <a:gd name="connsiteY44" fmla="*/ 96670 h 172885"/>
                  <a:gd name="connsiteX45" fmla="*/ 82882 w 170612"/>
                  <a:gd name="connsiteY45" fmla="*/ 96973 h 172885"/>
                  <a:gd name="connsiteX46" fmla="*/ 87731 w 170612"/>
                  <a:gd name="connsiteY46" fmla="*/ 100458 h 172885"/>
                  <a:gd name="connsiteX47" fmla="*/ 89700 w 170612"/>
                  <a:gd name="connsiteY47" fmla="*/ 101216 h 172885"/>
                  <a:gd name="connsiteX48" fmla="*/ 90912 w 170612"/>
                  <a:gd name="connsiteY48" fmla="*/ 101064 h 172885"/>
                  <a:gd name="connsiteX49" fmla="*/ 88488 w 170612"/>
                  <a:gd name="connsiteY49" fmla="*/ 99852 h 172885"/>
                  <a:gd name="connsiteX50" fmla="*/ 86822 w 170612"/>
                  <a:gd name="connsiteY50" fmla="*/ 98488 h 172885"/>
                  <a:gd name="connsiteX51" fmla="*/ 76367 w 170612"/>
                  <a:gd name="connsiteY51" fmla="*/ 50911 h 172885"/>
                  <a:gd name="connsiteX52" fmla="*/ 72275 w 170612"/>
                  <a:gd name="connsiteY52" fmla="*/ 46820 h 172885"/>
                  <a:gd name="connsiteX53" fmla="*/ 68487 w 170612"/>
                  <a:gd name="connsiteY53" fmla="*/ 45608 h 172885"/>
                  <a:gd name="connsiteX54" fmla="*/ 63942 w 170612"/>
                  <a:gd name="connsiteY54" fmla="*/ 42274 h 172885"/>
                  <a:gd name="connsiteX55" fmla="*/ 62275 w 170612"/>
                  <a:gd name="connsiteY55" fmla="*/ 40001 h 172885"/>
                  <a:gd name="connsiteX56" fmla="*/ 61821 w 170612"/>
                  <a:gd name="connsiteY56" fmla="*/ 40456 h 172885"/>
                  <a:gd name="connsiteX57" fmla="*/ 61215 w 170612"/>
                  <a:gd name="connsiteY57" fmla="*/ 42577 h 172885"/>
                  <a:gd name="connsiteX58" fmla="*/ 60305 w 170612"/>
                  <a:gd name="connsiteY58" fmla="*/ 44093 h 172885"/>
                  <a:gd name="connsiteX59" fmla="*/ 62730 w 170612"/>
                  <a:gd name="connsiteY59" fmla="*/ 43638 h 172885"/>
                  <a:gd name="connsiteX60" fmla="*/ 64699 w 170612"/>
                  <a:gd name="connsiteY60" fmla="*/ 43941 h 172885"/>
                  <a:gd name="connsiteX61" fmla="*/ 68033 w 170612"/>
                  <a:gd name="connsiteY61" fmla="*/ 46517 h 172885"/>
                  <a:gd name="connsiteX62" fmla="*/ 71669 w 170612"/>
                  <a:gd name="connsiteY62" fmla="*/ 47426 h 172885"/>
                  <a:gd name="connsiteX63" fmla="*/ 73942 w 170612"/>
                  <a:gd name="connsiteY63" fmla="*/ 50002 h 172885"/>
                  <a:gd name="connsiteX64" fmla="*/ 77276 w 170612"/>
                  <a:gd name="connsiteY64" fmla="*/ 53032 h 172885"/>
                  <a:gd name="connsiteX65" fmla="*/ 77427 w 170612"/>
                  <a:gd name="connsiteY65" fmla="*/ 55760 h 172885"/>
                  <a:gd name="connsiteX66" fmla="*/ 76063 w 170612"/>
                  <a:gd name="connsiteY66" fmla="*/ 58335 h 172885"/>
                  <a:gd name="connsiteX67" fmla="*/ 75760 w 170612"/>
                  <a:gd name="connsiteY67" fmla="*/ 61669 h 172885"/>
                  <a:gd name="connsiteX68" fmla="*/ 72881 w 170612"/>
                  <a:gd name="connsiteY68" fmla="*/ 61820 h 172885"/>
                  <a:gd name="connsiteX69" fmla="*/ 73488 w 170612"/>
                  <a:gd name="connsiteY69" fmla="*/ 62426 h 172885"/>
                  <a:gd name="connsiteX70" fmla="*/ 75154 w 170612"/>
                  <a:gd name="connsiteY70" fmla="*/ 63639 h 172885"/>
                  <a:gd name="connsiteX71" fmla="*/ 76215 w 170612"/>
                  <a:gd name="connsiteY71" fmla="*/ 65760 h 172885"/>
                  <a:gd name="connsiteX72" fmla="*/ 77124 w 170612"/>
                  <a:gd name="connsiteY72" fmla="*/ 66669 h 172885"/>
                  <a:gd name="connsiteX73" fmla="*/ 76973 w 170612"/>
                  <a:gd name="connsiteY73" fmla="*/ 63487 h 172885"/>
                  <a:gd name="connsiteX74" fmla="*/ 77882 w 170612"/>
                  <a:gd name="connsiteY74" fmla="*/ 59851 h 172885"/>
                  <a:gd name="connsiteX75" fmla="*/ 78639 w 170612"/>
                  <a:gd name="connsiteY75" fmla="*/ 53790 h 172885"/>
                  <a:gd name="connsiteX76" fmla="*/ 78336 w 170612"/>
                  <a:gd name="connsiteY76" fmla="*/ 52426 h 172885"/>
                  <a:gd name="connsiteX77" fmla="*/ 76367 w 170612"/>
                  <a:gd name="connsiteY77" fmla="*/ 50911 h 172885"/>
                  <a:gd name="connsiteX78" fmla="*/ 39699 w 170612"/>
                  <a:gd name="connsiteY78" fmla="*/ 87124 h 172885"/>
                  <a:gd name="connsiteX79" fmla="*/ 39547 w 170612"/>
                  <a:gd name="connsiteY79" fmla="*/ 86518 h 172885"/>
                  <a:gd name="connsiteX80" fmla="*/ 39699 w 170612"/>
                  <a:gd name="connsiteY80" fmla="*/ 85761 h 172885"/>
                  <a:gd name="connsiteX81" fmla="*/ 38941 w 170612"/>
                  <a:gd name="connsiteY81" fmla="*/ 81518 h 172885"/>
                  <a:gd name="connsiteX82" fmla="*/ 37426 w 170612"/>
                  <a:gd name="connsiteY82" fmla="*/ 79245 h 172885"/>
                  <a:gd name="connsiteX83" fmla="*/ 35607 w 170612"/>
                  <a:gd name="connsiteY83" fmla="*/ 82124 h 172885"/>
                  <a:gd name="connsiteX84" fmla="*/ 33638 w 170612"/>
                  <a:gd name="connsiteY84" fmla="*/ 80761 h 172885"/>
                  <a:gd name="connsiteX85" fmla="*/ 36365 w 170612"/>
                  <a:gd name="connsiteY85" fmla="*/ 78942 h 172885"/>
                  <a:gd name="connsiteX86" fmla="*/ 36365 w 170612"/>
                  <a:gd name="connsiteY86" fmla="*/ 78336 h 172885"/>
                  <a:gd name="connsiteX87" fmla="*/ 35153 w 170612"/>
                  <a:gd name="connsiteY87" fmla="*/ 77275 h 172885"/>
                  <a:gd name="connsiteX88" fmla="*/ 33638 w 170612"/>
                  <a:gd name="connsiteY88" fmla="*/ 77730 h 172885"/>
                  <a:gd name="connsiteX89" fmla="*/ 31062 w 170612"/>
                  <a:gd name="connsiteY89" fmla="*/ 78033 h 172885"/>
                  <a:gd name="connsiteX90" fmla="*/ 30153 w 170612"/>
                  <a:gd name="connsiteY90" fmla="*/ 78488 h 172885"/>
                  <a:gd name="connsiteX91" fmla="*/ 28335 w 170612"/>
                  <a:gd name="connsiteY91" fmla="*/ 78185 h 172885"/>
                  <a:gd name="connsiteX92" fmla="*/ 26971 w 170612"/>
                  <a:gd name="connsiteY92" fmla="*/ 79094 h 172885"/>
                  <a:gd name="connsiteX93" fmla="*/ 29395 w 170612"/>
                  <a:gd name="connsiteY93" fmla="*/ 82882 h 172885"/>
                  <a:gd name="connsiteX94" fmla="*/ 31062 w 170612"/>
                  <a:gd name="connsiteY94" fmla="*/ 84397 h 172885"/>
                  <a:gd name="connsiteX95" fmla="*/ 32274 w 170612"/>
                  <a:gd name="connsiteY95" fmla="*/ 88943 h 172885"/>
                  <a:gd name="connsiteX96" fmla="*/ 33183 w 170612"/>
                  <a:gd name="connsiteY96" fmla="*/ 89549 h 172885"/>
                  <a:gd name="connsiteX97" fmla="*/ 33335 w 170612"/>
                  <a:gd name="connsiteY97" fmla="*/ 92731 h 172885"/>
                  <a:gd name="connsiteX98" fmla="*/ 38789 w 170612"/>
                  <a:gd name="connsiteY98" fmla="*/ 93185 h 172885"/>
                  <a:gd name="connsiteX99" fmla="*/ 40305 w 170612"/>
                  <a:gd name="connsiteY99" fmla="*/ 89397 h 172885"/>
                  <a:gd name="connsiteX100" fmla="*/ 40305 w 170612"/>
                  <a:gd name="connsiteY100" fmla="*/ 88185 h 172885"/>
                  <a:gd name="connsiteX101" fmla="*/ 39699 w 170612"/>
                  <a:gd name="connsiteY101" fmla="*/ 87124 h 172885"/>
                  <a:gd name="connsiteX102" fmla="*/ 28789 w 170612"/>
                  <a:gd name="connsiteY102" fmla="*/ 8031 h 172885"/>
                  <a:gd name="connsiteX103" fmla="*/ 28941 w 170612"/>
                  <a:gd name="connsiteY103" fmla="*/ 7273 h 172885"/>
                  <a:gd name="connsiteX104" fmla="*/ 28335 w 170612"/>
                  <a:gd name="connsiteY104" fmla="*/ 5758 h 172885"/>
                  <a:gd name="connsiteX105" fmla="*/ 24395 w 170612"/>
                  <a:gd name="connsiteY105" fmla="*/ 6667 h 172885"/>
                  <a:gd name="connsiteX106" fmla="*/ 19546 w 170612"/>
                  <a:gd name="connsiteY106" fmla="*/ 6364 h 172885"/>
                  <a:gd name="connsiteX107" fmla="*/ 18486 w 170612"/>
                  <a:gd name="connsiteY107" fmla="*/ 6970 h 172885"/>
                  <a:gd name="connsiteX108" fmla="*/ 16667 w 170612"/>
                  <a:gd name="connsiteY108" fmla="*/ 7121 h 172885"/>
                  <a:gd name="connsiteX109" fmla="*/ 13334 w 170612"/>
                  <a:gd name="connsiteY109" fmla="*/ 6212 h 172885"/>
                  <a:gd name="connsiteX110" fmla="*/ 10455 w 170612"/>
                  <a:gd name="connsiteY110" fmla="*/ 4243 h 172885"/>
                  <a:gd name="connsiteX111" fmla="*/ 9546 w 170612"/>
                  <a:gd name="connsiteY111" fmla="*/ 6364 h 172885"/>
                  <a:gd name="connsiteX112" fmla="*/ 9849 w 170612"/>
                  <a:gd name="connsiteY112" fmla="*/ 6970 h 172885"/>
                  <a:gd name="connsiteX113" fmla="*/ 9546 w 170612"/>
                  <a:gd name="connsiteY113" fmla="*/ 8334 h 172885"/>
                  <a:gd name="connsiteX114" fmla="*/ 7425 w 170612"/>
                  <a:gd name="connsiteY114" fmla="*/ 10152 h 172885"/>
                  <a:gd name="connsiteX115" fmla="*/ 5152 w 170612"/>
                  <a:gd name="connsiteY115" fmla="*/ 10606 h 172885"/>
                  <a:gd name="connsiteX116" fmla="*/ 1364 w 170612"/>
                  <a:gd name="connsiteY116" fmla="*/ 7879 h 172885"/>
                  <a:gd name="connsiteX117" fmla="*/ 0 w 170612"/>
                  <a:gd name="connsiteY117" fmla="*/ 7425 h 172885"/>
                  <a:gd name="connsiteX118" fmla="*/ 5152 w 170612"/>
                  <a:gd name="connsiteY118" fmla="*/ 12122 h 172885"/>
                  <a:gd name="connsiteX119" fmla="*/ 6667 w 170612"/>
                  <a:gd name="connsiteY119" fmla="*/ 12879 h 172885"/>
                  <a:gd name="connsiteX120" fmla="*/ 8637 w 170612"/>
                  <a:gd name="connsiteY120" fmla="*/ 12728 h 172885"/>
                  <a:gd name="connsiteX121" fmla="*/ 12879 w 170612"/>
                  <a:gd name="connsiteY121" fmla="*/ 11213 h 172885"/>
                  <a:gd name="connsiteX122" fmla="*/ 20607 w 170612"/>
                  <a:gd name="connsiteY122" fmla="*/ 8940 h 172885"/>
                  <a:gd name="connsiteX123" fmla="*/ 28789 w 170612"/>
                  <a:gd name="connsiteY123" fmla="*/ 8031 h 172885"/>
                  <a:gd name="connsiteX124" fmla="*/ 30153 w 170612"/>
                  <a:gd name="connsiteY124" fmla="*/ 74700 h 172885"/>
                  <a:gd name="connsiteX125" fmla="*/ 30910 w 170612"/>
                  <a:gd name="connsiteY125" fmla="*/ 73790 h 172885"/>
                  <a:gd name="connsiteX126" fmla="*/ 33941 w 170612"/>
                  <a:gd name="connsiteY126" fmla="*/ 71972 h 172885"/>
                  <a:gd name="connsiteX127" fmla="*/ 34244 w 170612"/>
                  <a:gd name="connsiteY127" fmla="*/ 71063 h 172885"/>
                  <a:gd name="connsiteX128" fmla="*/ 33941 w 170612"/>
                  <a:gd name="connsiteY128" fmla="*/ 68487 h 172885"/>
                  <a:gd name="connsiteX129" fmla="*/ 33941 w 170612"/>
                  <a:gd name="connsiteY129" fmla="*/ 65002 h 172885"/>
                  <a:gd name="connsiteX130" fmla="*/ 31365 w 170612"/>
                  <a:gd name="connsiteY130" fmla="*/ 62426 h 172885"/>
                  <a:gd name="connsiteX131" fmla="*/ 29244 w 170612"/>
                  <a:gd name="connsiteY131" fmla="*/ 58184 h 172885"/>
                  <a:gd name="connsiteX132" fmla="*/ 27728 w 170612"/>
                  <a:gd name="connsiteY132" fmla="*/ 56366 h 172885"/>
                  <a:gd name="connsiteX133" fmla="*/ 27728 w 170612"/>
                  <a:gd name="connsiteY133" fmla="*/ 54093 h 172885"/>
                  <a:gd name="connsiteX134" fmla="*/ 26213 w 170612"/>
                  <a:gd name="connsiteY134" fmla="*/ 52426 h 172885"/>
                  <a:gd name="connsiteX135" fmla="*/ 22728 w 170612"/>
                  <a:gd name="connsiteY135" fmla="*/ 50759 h 172885"/>
                  <a:gd name="connsiteX136" fmla="*/ 21364 w 170612"/>
                  <a:gd name="connsiteY136" fmla="*/ 51062 h 172885"/>
                  <a:gd name="connsiteX137" fmla="*/ 22728 w 170612"/>
                  <a:gd name="connsiteY137" fmla="*/ 55911 h 172885"/>
                  <a:gd name="connsiteX138" fmla="*/ 22122 w 170612"/>
                  <a:gd name="connsiteY138" fmla="*/ 58942 h 172885"/>
                  <a:gd name="connsiteX139" fmla="*/ 18940 w 170612"/>
                  <a:gd name="connsiteY139" fmla="*/ 63639 h 172885"/>
                  <a:gd name="connsiteX140" fmla="*/ 19698 w 170612"/>
                  <a:gd name="connsiteY140" fmla="*/ 65457 h 172885"/>
                  <a:gd name="connsiteX141" fmla="*/ 20001 w 170612"/>
                  <a:gd name="connsiteY141" fmla="*/ 65608 h 172885"/>
                  <a:gd name="connsiteX142" fmla="*/ 20455 w 170612"/>
                  <a:gd name="connsiteY142" fmla="*/ 66518 h 172885"/>
                  <a:gd name="connsiteX143" fmla="*/ 18334 w 170612"/>
                  <a:gd name="connsiteY143" fmla="*/ 68336 h 172885"/>
                  <a:gd name="connsiteX144" fmla="*/ 17728 w 170612"/>
                  <a:gd name="connsiteY144" fmla="*/ 66821 h 172885"/>
                  <a:gd name="connsiteX145" fmla="*/ 15152 w 170612"/>
                  <a:gd name="connsiteY145" fmla="*/ 67275 h 172885"/>
                  <a:gd name="connsiteX146" fmla="*/ 16970 w 170612"/>
                  <a:gd name="connsiteY146" fmla="*/ 69699 h 172885"/>
                  <a:gd name="connsiteX147" fmla="*/ 20001 w 170612"/>
                  <a:gd name="connsiteY147" fmla="*/ 71518 h 172885"/>
                  <a:gd name="connsiteX148" fmla="*/ 21819 w 170612"/>
                  <a:gd name="connsiteY148" fmla="*/ 71972 h 172885"/>
                  <a:gd name="connsiteX149" fmla="*/ 23031 w 170612"/>
                  <a:gd name="connsiteY149" fmla="*/ 71215 h 172885"/>
                  <a:gd name="connsiteX150" fmla="*/ 23334 w 170612"/>
                  <a:gd name="connsiteY150" fmla="*/ 73487 h 172885"/>
                  <a:gd name="connsiteX151" fmla="*/ 25001 w 170612"/>
                  <a:gd name="connsiteY151" fmla="*/ 74851 h 172885"/>
                  <a:gd name="connsiteX152" fmla="*/ 25910 w 170612"/>
                  <a:gd name="connsiteY152" fmla="*/ 77124 h 172885"/>
                  <a:gd name="connsiteX153" fmla="*/ 27577 w 170612"/>
                  <a:gd name="connsiteY153" fmla="*/ 75760 h 172885"/>
                  <a:gd name="connsiteX154" fmla="*/ 30153 w 170612"/>
                  <a:gd name="connsiteY154" fmla="*/ 74700 h 172885"/>
                  <a:gd name="connsiteX155" fmla="*/ 161976 w 170612"/>
                  <a:gd name="connsiteY155" fmla="*/ 156521 h 172885"/>
                  <a:gd name="connsiteX156" fmla="*/ 162279 w 170612"/>
                  <a:gd name="connsiteY156" fmla="*/ 158188 h 172885"/>
                  <a:gd name="connsiteX157" fmla="*/ 165915 w 170612"/>
                  <a:gd name="connsiteY157" fmla="*/ 156824 h 172885"/>
                  <a:gd name="connsiteX158" fmla="*/ 163794 w 170612"/>
                  <a:gd name="connsiteY158" fmla="*/ 155309 h 172885"/>
                  <a:gd name="connsiteX159" fmla="*/ 161976 w 170612"/>
                  <a:gd name="connsiteY159" fmla="*/ 156521 h 172885"/>
                  <a:gd name="connsiteX160" fmla="*/ 159854 w 170612"/>
                  <a:gd name="connsiteY160" fmla="*/ 165461 h 172885"/>
                  <a:gd name="connsiteX161" fmla="*/ 157127 w 170612"/>
                  <a:gd name="connsiteY161" fmla="*/ 166824 h 172885"/>
                  <a:gd name="connsiteX162" fmla="*/ 155309 w 170612"/>
                  <a:gd name="connsiteY162" fmla="*/ 166824 h 172885"/>
                  <a:gd name="connsiteX163" fmla="*/ 151975 w 170612"/>
                  <a:gd name="connsiteY163" fmla="*/ 165461 h 172885"/>
                  <a:gd name="connsiteX164" fmla="*/ 149248 w 170612"/>
                  <a:gd name="connsiteY164" fmla="*/ 165764 h 172885"/>
                  <a:gd name="connsiteX165" fmla="*/ 147581 w 170612"/>
                  <a:gd name="connsiteY165" fmla="*/ 167582 h 172885"/>
                  <a:gd name="connsiteX166" fmla="*/ 145005 w 170612"/>
                  <a:gd name="connsiteY166" fmla="*/ 168188 h 172885"/>
                  <a:gd name="connsiteX167" fmla="*/ 145308 w 170612"/>
                  <a:gd name="connsiteY167" fmla="*/ 168794 h 172885"/>
                  <a:gd name="connsiteX168" fmla="*/ 145308 w 170612"/>
                  <a:gd name="connsiteY168" fmla="*/ 169400 h 172885"/>
                  <a:gd name="connsiteX169" fmla="*/ 144854 w 170612"/>
                  <a:gd name="connsiteY169" fmla="*/ 170915 h 172885"/>
                  <a:gd name="connsiteX170" fmla="*/ 145005 w 170612"/>
                  <a:gd name="connsiteY170" fmla="*/ 171824 h 172885"/>
                  <a:gd name="connsiteX171" fmla="*/ 145611 w 170612"/>
                  <a:gd name="connsiteY171" fmla="*/ 172885 h 172885"/>
                  <a:gd name="connsiteX172" fmla="*/ 152733 w 170612"/>
                  <a:gd name="connsiteY172" fmla="*/ 172733 h 172885"/>
                  <a:gd name="connsiteX173" fmla="*/ 159248 w 170612"/>
                  <a:gd name="connsiteY173" fmla="*/ 171673 h 172885"/>
                  <a:gd name="connsiteX174" fmla="*/ 162127 w 170612"/>
                  <a:gd name="connsiteY174" fmla="*/ 167733 h 172885"/>
                  <a:gd name="connsiteX175" fmla="*/ 163037 w 170612"/>
                  <a:gd name="connsiteY175" fmla="*/ 165612 h 172885"/>
                  <a:gd name="connsiteX176" fmla="*/ 163491 w 170612"/>
                  <a:gd name="connsiteY176" fmla="*/ 162582 h 172885"/>
                  <a:gd name="connsiteX177" fmla="*/ 162279 w 170612"/>
                  <a:gd name="connsiteY177" fmla="*/ 162127 h 172885"/>
                  <a:gd name="connsiteX178" fmla="*/ 159854 w 170612"/>
                  <a:gd name="connsiteY178" fmla="*/ 165461 h 172885"/>
                  <a:gd name="connsiteX179" fmla="*/ 100458 w 170612"/>
                  <a:gd name="connsiteY179" fmla="*/ 79548 h 172885"/>
                  <a:gd name="connsiteX180" fmla="*/ 94700 w 170612"/>
                  <a:gd name="connsiteY180" fmla="*/ 73033 h 172885"/>
                  <a:gd name="connsiteX181" fmla="*/ 94398 w 170612"/>
                  <a:gd name="connsiteY181" fmla="*/ 72427 h 172885"/>
                  <a:gd name="connsiteX182" fmla="*/ 90912 w 170612"/>
                  <a:gd name="connsiteY182" fmla="*/ 65760 h 172885"/>
                  <a:gd name="connsiteX183" fmla="*/ 89397 w 170612"/>
                  <a:gd name="connsiteY183" fmla="*/ 65305 h 172885"/>
                  <a:gd name="connsiteX184" fmla="*/ 88943 w 170612"/>
                  <a:gd name="connsiteY184" fmla="*/ 65608 h 172885"/>
                  <a:gd name="connsiteX185" fmla="*/ 88488 w 170612"/>
                  <a:gd name="connsiteY185" fmla="*/ 66669 h 172885"/>
                  <a:gd name="connsiteX186" fmla="*/ 90761 w 170612"/>
                  <a:gd name="connsiteY186" fmla="*/ 68487 h 172885"/>
                  <a:gd name="connsiteX187" fmla="*/ 91367 w 170612"/>
                  <a:gd name="connsiteY187" fmla="*/ 70306 h 172885"/>
                  <a:gd name="connsiteX188" fmla="*/ 92579 w 170612"/>
                  <a:gd name="connsiteY188" fmla="*/ 71366 h 172885"/>
                  <a:gd name="connsiteX189" fmla="*/ 95307 w 170612"/>
                  <a:gd name="connsiteY189" fmla="*/ 76063 h 172885"/>
                  <a:gd name="connsiteX190" fmla="*/ 97579 w 170612"/>
                  <a:gd name="connsiteY190" fmla="*/ 77882 h 172885"/>
                  <a:gd name="connsiteX191" fmla="*/ 97428 w 170612"/>
                  <a:gd name="connsiteY191" fmla="*/ 79245 h 172885"/>
                  <a:gd name="connsiteX192" fmla="*/ 95610 w 170612"/>
                  <a:gd name="connsiteY192" fmla="*/ 80609 h 172885"/>
                  <a:gd name="connsiteX193" fmla="*/ 95004 w 170612"/>
                  <a:gd name="connsiteY193" fmla="*/ 81670 h 172885"/>
                  <a:gd name="connsiteX194" fmla="*/ 95913 w 170612"/>
                  <a:gd name="connsiteY194" fmla="*/ 81670 h 172885"/>
                  <a:gd name="connsiteX195" fmla="*/ 98640 w 170612"/>
                  <a:gd name="connsiteY195" fmla="*/ 81063 h 172885"/>
                  <a:gd name="connsiteX196" fmla="*/ 100458 w 170612"/>
                  <a:gd name="connsiteY196" fmla="*/ 81367 h 172885"/>
                  <a:gd name="connsiteX197" fmla="*/ 100458 w 170612"/>
                  <a:gd name="connsiteY197" fmla="*/ 79548 h 172885"/>
                  <a:gd name="connsiteX198" fmla="*/ 140460 w 170612"/>
                  <a:gd name="connsiteY198" fmla="*/ 121823 h 172885"/>
                  <a:gd name="connsiteX199" fmla="*/ 137581 w 170612"/>
                  <a:gd name="connsiteY199" fmla="*/ 122277 h 172885"/>
                  <a:gd name="connsiteX200" fmla="*/ 136975 w 170612"/>
                  <a:gd name="connsiteY200" fmla="*/ 123186 h 172885"/>
                  <a:gd name="connsiteX201" fmla="*/ 136975 w 170612"/>
                  <a:gd name="connsiteY201" fmla="*/ 124550 h 172885"/>
                  <a:gd name="connsiteX202" fmla="*/ 138642 w 170612"/>
                  <a:gd name="connsiteY202" fmla="*/ 126520 h 172885"/>
                  <a:gd name="connsiteX203" fmla="*/ 138793 w 170612"/>
                  <a:gd name="connsiteY203" fmla="*/ 127732 h 172885"/>
                  <a:gd name="connsiteX204" fmla="*/ 138035 w 170612"/>
                  <a:gd name="connsiteY204" fmla="*/ 129096 h 172885"/>
                  <a:gd name="connsiteX205" fmla="*/ 136369 w 170612"/>
                  <a:gd name="connsiteY205" fmla="*/ 129853 h 172885"/>
                  <a:gd name="connsiteX206" fmla="*/ 135914 w 170612"/>
                  <a:gd name="connsiteY206" fmla="*/ 130459 h 172885"/>
                  <a:gd name="connsiteX207" fmla="*/ 134702 w 170612"/>
                  <a:gd name="connsiteY207" fmla="*/ 131217 h 172885"/>
                  <a:gd name="connsiteX208" fmla="*/ 132732 w 170612"/>
                  <a:gd name="connsiteY208" fmla="*/ 133490 h 172885"/>
                  <a:gd name="connsiteX209" fmla="*/ 129096 w 170612"/>
                  <a:gd name="connsiteY209" fmla="*/ 136066 h 172885"/>
                  <a:gd name="connsiteX210" fmla="*/ 128641 w 170612"/>
                  <a:gd name="connsiteY210" fmla="*/ 137581 h 172885"/>
                  <a:gd name="connsiteX211" fmla="*/ 130611 w 170612"/>
                  <a:gd name="connsiteY211" fmla="*/ 136672 h 172885"/>
                  <a:gd name="connsiteX212" fmla="*/ 133793 w 170612"/>
                  <a:gd name="connsiteY212" fmla="*/ 134096 h 172885"/>
                  <a:gd name="connsiteX213" fmla="*/ 136975 w 170612"/>
                  <a:gd name="connsiteY213" fmla="*/ 132581 h 172885"/>
                  <a:gd name="connsiteX214" fmla="*/ 140763 w 170612"/>
                  <a:gd name="connsiteY214" fmla="*/ 127580 h 172885"/>
                  <a:gd name="connsiteX215" fmla="*/ 139702 w 170612"/>
                  <a:gd name="connsiteY215" fmla="*/ 123489 h 172885"/>
                  <a:gd name="connsiteX216" fmla="*/ 140460 w 170612"/>
                  <a:gd name="connsiteY216" fmla="*/ 121823 h 172885"/>
                  <a:gd name="connsiteX217" fmla="*/ 170158 w 170612"/>
                  <a:gd name="connsiteY217" fmla="*/ 132884 h 172885"/>
                  <a:gd name="connsiteX218" fmla="*/ 168340 w 170612"/>
                  <a:gd name="connsiteY218" fmla="*/ 131672 h 172885"/>
                  <a:gd name="connsiteX219" fmla="*/ 165158 w 170612"/>
                  <a:gd name="connsiteY219" fmla="*/ 130762 h 172885"/>
                  <a:gd name="connsiteX220" fmla="*/ 164248 w 170612"/>
                  <a:gd name="connsiteY220" fmla="*/ 130762 h 172885"/>
                  <a:gd name="connsiteX221" fmla="*/ 162582 w 170612"/>
                  <a:gd name="connsiteY221" fmla="*/ 130308 h 172885"/>
                  <a:gd name="connsiteX222" fmla="*/ 160158 w 170612"/>
                  <a:gd name="connsiteY222" fmla="*/ 129550 h 172885"/>
                  <a:gd name="connsiteX223" fmla="*/ 159248 w 170612"/>
                  <a:gd name="connsiteY223" fmla="*/ 131672 h 172885"/>
                  <a:gd name="connsiteX224" fmla="*/ 160612 w 170612"/>
                  <a:gd name="connsiteY224" fmla="*/ 131974 h 172885"/>
                  <a:gd name="connsiteX225" fmla="*/ 164097 w 170612"/>
                  <a:gd name="connsiteY225" fmla="*/ 131974 h 172885"/>
                  <a:gd name="connsiteX226" fmla="*/ 166673 w 170612"/>
                  <a:gd name="connsiteY226" fmla="*/ 132277 h 172885"/>
                  <a:gd name="connsiteX227" fmla="*/ 169552 w 170612"/>
                  <a:gd name="connsiteY227" fmla="*/ 134247 h 172885"/>
                  <a:gd name="connsiteX228" fmla="*/ 170613 w 170612"/>
                  <a:gd name="connsiteY228" fmla="*/ 133187 h 172885"/>
                  <a:gd name="connsiteX229" fmla="*/ 170158 w 170612"/>
                  <a:gd name="connsiteY229" fmla="*/ 132884 h 172885"/>
                  <a:gd name="connsiteX230" fmla="*/ 110610 w 170612"/>
                  <a:gd name="connsiteY230" fmla="*/ 111671 h 172885"/>
                  <a:gd name="connsiteX231" fmla="*/ 107125 w 170612"/>
                  <a:gd name="connsiteY231" fmla="*/ 109852 h 172885"/>
                  <a:gd name="connsiteX232" fmla="*/ 105913 w 170612"/>
                  <a:gd name="connsiteY232" fmla="*/ 104549 h 172885"/>
                  <a:gd name="connsiteX233" fmla="*/ 104095 w 170612"/>
                  <a:gd name="connsiteY233" fmla="*/ 101519 h 172885"/>
                  <a:gd name="connsiteX234" fmla="*/ 103034 w 170612"/>
                  <a:gd name="connsiteY234" fmla="*/ 98337 h 172885"/>
                  <a:gd name="connsiteX235" fmla="*/ 100307 w 170612"/>
                  <a:gd name="connsiteY235" fmla="*/ 94852 h 172885"/>
                  <a:gd name="connsiteX236" fmla="*/ 100458 w 170612"/>
                  <a:gd name="connsiteY236" fmla="*/ 97125 h 172885"/>
                  <a:gd name="connsiteX237" fmla="*/ 101064 w 170612"/>
                  <a:gd name="connsiteY237" fmla="*/ 97731 h 172885"/>
                  <a:gd name="connsiteX238" fmla="*/ 102277 w 170612"/>
                  <a:gd name="connsiteY238" fmla="*/ 100458 h 172885"/>
                  <a:gd name="connsiteX239" fmla="*/ 104549 w 170612"/>
                  <a:gd name="connsiteY239" fmla="*/ 104398 h 172885"/>
                  <a:gd name="connsiteX240" fmla="*/ 105307 w 170612"/>
                  <a:gd name="connsiteY240" fmla="*/ 106368 h 172885"/>
                  <a:gd name="connsiteX241" fmla="*/ 105004 w 170612"/>
                  <a:gd name="connsiteY241" fmla="*/ 108186 h 172885"/>
                  <a:gd name="connsiteX242" fmla="*/ 103337 w 170612"/>
                  <a:gd name="connsiteY242" fmla="*/ 108489 h 172885"/>
                  <a:gd name="connsiteX243" fmla="*/ 102883 w 170612"/>
                  <a:gd name="connsiteY243" fmla="*/ 109246 h 172885"/>
                  <a:gd name="connsiteX244" fmla="*/ 105307 w 170612"/>
                  <a:gd name="connsiteY244" fmla="*/ 110610 h 172885"/>
                  <a:gd name="connsiteX245" fmla="*/ 109701 w 170612"/>
                  <a:gd name="connsiteY245" fmla="*/ 111974 h 172885"/>
                  <a:gd name="connsiteX246" fmla="*/ 113186 w 170612"/>
                  <a:gd name="connsiteY246" fmla="*/ 117732 h 172885"/>
                  <a:gd name="connsiteX247" fmla="*/ 113338 w 170612"/>
                  <a:gd name="connsiteY247" fmla="*/ 116974 h 172885"/>
                  <a:gd name="connsiteX248" fmla="*/ 113186 w 170612"/>
                  <a:gd name="connsiteY248" fmla="*/ 113944 h 172885"/>
                  <a:gd name="connsiteX249" fmla="*/ 110610 w 170612"/>
                  <a:gd name="connsiteY249" fmla="*/ 111671 h 172885"/>
                  <a:gd name="connsiteX250" fmla="*/ 123338 w 170612"/>
                  <a:gd name="connsiteY250" fmla="*/ 81670 h 172885"/>
                  <a:gd name="connsiteX251" fmla="*/ 121823 w 170612"/>
                  <a:gd name="connsiteY251" fmla="*/ 82276 h 172885"/>
                  <a:gd name="connsiteX252" fmla="*/ 121217 w 170612"/>
                  <a:gd name="connsiteY252" fmla="*/ 86215 h 172885"/>
                  <a:gd name="connsiteX253" fmla="*/ 122429 w 170612"/>
                  <a:gd name="connsiteY253" fmla="*/ 86518 h 172885"/>
                  <a:gd name="connsiteX254" fmla="*/ 124550 w 170612"/>
                  <a:gd name="connsiteY254" fmla="*/ 83336 h 172885"/>
                  <a:gd name="connsiteX255" fmla="*/ 123944 w 170612"/>
                  <a:gd name="connsiteY255" fmla="*/ 81670 h 172885"/>
                  <a:gd name="connsiteX256" fmla="*/ 123338 w 170612"/>
                  <a:gd name="connsiteY256" fmla="*/ 81670 h 172885"/>
                  <a:gd name="connsiteX257" fmla="*/ 129702 w 170612"/>
                  <a:gd name="connsiteY257" fmla="*/ 122277 h 172885"/>
                  <a:gd name="connsiteX258" fmla="*/ 133641 w 170612"/>
                  <a:gd name="connsiteY258" fmla="*/ 123641 h 172885"/>
                  <a:gd name="connsiteX259" fmla="*/ 135460 w 170612"/>
                  <a:gd name="connsiteY259" fmla="*/ 122429 h 172885"/>
                  <a:gd name="connsiteX260" fmla="*/ 134854 w 170612"/>
                  <a:gd name="connsiteY260" fmla="*/ 121974 h 172885"/>
                  <a:gd name="connsiteX261" fmla="*/ 131672 w 170612"/>
                  <a:gd name="connsiteY261" fmla="*/ 120913 h 172885"/>
                  <a:gd name="connsiteX262" fmla="*/ 130459 w 170612"/>
                  <a:gd name="connsiteY262" fmla="*/ 119398 h 172885"/>
                  <a:gd name="connsiteX263" fmla="*/ 128187 w 170612"/>
                  <a:gd name="connsiteY263" fmla="*/ 118641 h 172885"/>
                  <a:gd name="connsiteX264" fmla="*/ 128035 w 170612"/>
                  <a:gd name="connsiteY264" fmla="*/ 119701 h 172885"/>
                  <a:gd name="connsiteX265" fmla="*/ 128338 w 170612"/>
                  <a:gd name="connsiteY265" fmla="*/ 120762 h 172885"/>
                  <a:gd name="connsiteX266" fmla="*/ 129096 w 170612"/>
                  <a:gd name="connsiteY266" fmla="*/ 122277 h 172885"/>
                  <a:gd name="connsiteX267" fmla="*/ 129702 w 170612"/>
                  <a:gd name="connsiteY267" fmla="*/ 122277 h 17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70612" h="172885">
                    <a:moveTo>
                      <a:pt x="49699" y="10000"/>
                    </a:moveTo>
                    <a:lnTo>
                      <a:pt x="47123" y="8788"/>
                    </a:lnTo>
                    <a:lnTo>
                      <a:pt x="46820" y="8031"/>
                    </a:lnTo>
                    <a:lnTo>
                      <a:pt x="46972" y="7273"/>
                    </a:lnTo>
                    <a:lnTo>
                      <a:pt x="46214" y="6667"/>
                    </a:lnTo>
                    <a:lnTo>
                      <a:pt x="44244" y="5606"/>
                    </a:lnTo>
                    <a:lnTo>
                      <a:pt x="41971" y="3030"/>
                    </a:lnTo>
                    <a:lnTo>
                      <a:pt x="39699" y="1061"/>
                    </a:lnTo>
                    <a:lnTo>
                      <a:pt x="35911" y="758"/>
                    </a:lnTo>
                    <a:lnTo>
                      <a:pt x="32729" y="151"/>
                    </a:lnTo>
                    <a:lnTo>
                      <a:pt x="30607" y="0"/>
                    </a:lnTo>
                    <a:lnTo>
                      <a:pt x="28335" y="1061"/>
                    </a:lnTo>
                    <a:lnTo>
                      <a:pt x="32425" y="1061"/>
                    </a:lnTo>
                    <a:lnTo>
                      <a:pt x="40305" y="2727"/>
                    </a:lnTo>
                    <a:lnTo>
                      <a:pt x="45305" y="9394"/>
                    </a:lnTo>
                    <a:lnTo>
                      <a:pt x="47729" y="11061"/>
                    </a:lnTo>
                    <a:lnTo>
                      <a:pt x="48638" y="13182"/>
                    </a:lnTo>
                    <a:lnTo>
                      <a:pt x="48032" y="15001"/>
                    </a:lnTo>
                    <a:lnTo>
                      <a:pt x="48335" y="16819"/>
                    </a:lnTo>
                    <a:lnTo>
                      <a:pt x="47578" y="18940"/>
                    </a:lnTo>
                    <a:lnTo>
                      <a:pt x="47578" y="22880"/>
                    </a:lnTo>
                    <a:lnTo>
                      <a:pt x="46214" y="24698"/>
                    </a:lnTo>
                    <a:lnTo>
                      <a:pt x="43184" y="26819"/>
                    </a:lnTo>
                    <a:lnTo>
                      <a:pt x="45153" y="27728"/>
                    </a:lnTo>
                    <a:lnTo>
                      <a:pt x="47578" y="30607"/>
                    </a:lnTo>
                    <a:lnTo>
                      <a:pt x="48184" y="30304"/>
                    </a:lnTo>
                    <a:lnTo>
                      <a:pt x="49093" y="28789"/>
                    </a:lnTo>
                    <a:lnTo>
                      <a:pt x="49699" y="20455"/>
                    </a:lnTo>
                    <a:lnTo>
                      <a:pt x="53184" y="17728"/>
                    </a:lnTo>
                    <a:lnTo>
                      <a:pt x="52426" y="11970"/>
                    </a:lnTo>
                    <a:lnTo>
                      <a:pt x="49699" y="10000"/>
                    </a:lnTo>
                    <a:close/>
                    <a:moveTo>
                      <a:pt x="45153" y="54093"/>
                    </a:moveTo>
                    <a:lnTo>
                      <a:pt x="41820" y="54093"/>
                    </a:lnTo>
                    <a:lnTo>
                      <a:pt x="39699" y="54699"/>
                    </a:lnTo>
                    <a:lnTo>
                      <a:pt x="38789" y="55457"/>
                    </a:lnTo>
                    <a:lnTo>
                      <a:pt x="39395" y="55911"/>
                    </a:lnTo>
                    <a:lnTo>
                      <a:pt x="41668" y="56517"/>
                    </a:lnTo>
                    <a:lnTo>
                      <a:pt x="44699" y="55911"/>
                    </a:lnTo>
                    <a:lnTo>
                      <a:pt x="46820" y="55002"/>
                    </a:lnTo>
                    <a:lnTo>
                      <a:pt x="46668" y="54699"/>
                    </a:lnTo>
                    <a:lnTo>
                      <a:pt x="45153" y="54093"/>
                    </a:lnTo>
                    <a:close/>
                    <a:moveTo>
                      <a:pt x="86822" y="98488"/>
                    </a:moveTo>
                    <a:lnTo>
                      <a:pt x="83034" y="95458"/>
                    </a:lnTo>
                    <a:lnTo>
                      <a:pt x="81367" y="94700"/>
                    </a:lnTo>
                    <a:lnTo>
                      <a:pt x="80609" y="96670"/>
                    </a:lnTo>
                    <a:lnTo>
                      <a:pt x="82882" y="96973"/>
                    </a:lnTo>
                    <a:lnTo>
                      <a:pt x="87731" y="100458"/>
                    </a:lnTo>
                    <a:lnTo>
                      <a:pt x="89700" y="101216"/>
                    </a:lnTo>
                    <a:lnTo>
                      <a:pt x="90912" y="101064"/>
                    </a:lnTo>
                    <a:lnTo>
                      <a:pt x="88488" y="99852"/>
                    </a:lnTo>
                    <a:lnTo>
                      <a:pt x="86822" y="98488"/>
                    </a:lnTo>
                    <a:close/>
                    <a:moveTo>
                      <a:pt x="76367" y="50911"/>
                    </a:moveTo>
                    <a:lnTo>
                      <a:pt x="72275" y="46820"/>
                    </a:lnTo>
                    <a:lnTo>
                      <a:pt x="68487" y="45608"/>
                    </a:lnTo>
                    <a:lnTo>
                      <a:pt x="63942" y="42274"/>
                    </a:lnTo>
                    <a:lnTo>
                      <a:pt x="62275" y="40001"/>
                    </a:lnTo>
                    <a:lnTo>
                      <a:pt x="61821" y="40456"/>
                    </a:lnTo>
                    <a:lnTo>
                      <a:pt x="61215" y="42577"/>
                    </a:lnTo>
                    <a:lnTo>
                      <a:pt x="60305" y="44093"/>
                    </a:lnTo>
                    <a:lnTo>
                      <a:pt x="62730" y="43638"/>
                    </a:lnTo>
                    <a:lnTo>
                      <a:pt x="64699" y="43941"/>
                    </a:lnTo>
                    <a:lnTo>
                      <a:pt x="68033" y="46517"/>
                    </a:lnTo>
                    <a:lnTo>
                      <a:pt x="71669" y="47426"/>
                    </a:lnTo>
                    <a:lnTo>
                      <a:pt x="73942" y="50002"/>
                    </a:lnTo>
                    <a:lnTo>
                      <a:pt x="77276" y="53032"/>
                    </a:lnTo>
                    <a:lnTo>
                      <a:pt x="77427" y="55760"/>
                    </a:lnTo>
                    <a:lnTo>
                      <a:pt x="76063" y="58335"/>
                    </a:lnTo>
                    <a:lnTo>
                      <a:pt x="75760" y="61669"/>
                    </a:lnTo>
                    <a:lnTo>
                      <a:pt x="72881" y="61820"/>
                    </a:lnTo>
                    <a:lnTo>
                      <a:pt x="73488" y="62426"/>
                    </a:lnTo>
                    <a:lnTo>
                      <a:pt x="75154" y="63639"/>
                    </a:lnTo>
                    <a:lnTo>
                      <a:pt x="76215" y="65760"/>
                    </a:lnTo>
                    <a:lnTo>
                      <a:pt x="77124" y="66669"/>
                    </a:lnTo>
                    <a:lnTo>
                      <a:pt x="76973" y="63487"/>
                    </a:lnTo>
                    <a:lnTo>
                      <a:pt x="77882" y="59851"/>
                    </a:lnTo>
                    <a:lnTo>
                      <a:pt x="78639" y="53790"/>
                    </a:lnTo>
                    <a:lnTo>
                      <a:pt x="78336" y="52426"/>
                    </a:lnTo>
                    <a:lnTo>
                      <a:pt x="76367" y="50911"/>
                    </a:lnTo>
                    <a:close/>
                    <a:moveTo>
                      <a:pt x="39699" y="87124"/>
                    </a:moveTo>
                    <a:lnTo>
                      <a:pt x="39547" y="86518"/>
                    </a:lnTo>
                    <a:lnTo>
                      <a:pt x="39699" y="85761"/>
                    </a:lnTo>
                    <a:lnTo>
                      <a:pt x="38941" y="81518"/>
                    </a:lnTo>
                    <a:lnTo>
                      <a:pt x="37426" y="79245"/>
                    </a:lnTo>
                    <a:lnTo>
                      <a:pt x="35607" y="82124"/>
                    </a:lnTo>
                    <a:lnTo>
                      <a:pt x="33638" y="80761"/>
                    </a:lnTo>
                    <a:lnTo>
                      <a:pt x="36365" y="78942"/>
                    </a:lnTo>
                    <a:lnTo>
                      <a:pt x="36365" y="78336"/>
                    </a:lnTo>
                    <a:lnTo>
                      <a:pt x="35153" y="77275"/>
                    </a:lnTo>
                    <a:lnTo>
                      <a:pt x="33638" y="77730"/>
                    </a:lnTo>
                    <a:lnTo>
                      <a:pt x="31062" y="78033"/>
                    </a:lnTo>
                    <a:lnTo>
                      <a:pt x="30153" y="78488"/>
                    </a:lnTo>
                    <a:lnTo>
                      <a:pt x="28335" y="78185"/>
                    </a:lnTo>
                    <a:lnTo>
                      <a:pt x="26971" y="79094"/>
                    </a:lnTo>
                    <a:lnTo>
                      <a:pt x="29395" y="82882"/>
                    </a:lnTo>
                    <a:lnTo>
                      <a:pt x="31062" y="84397"/>
                    </a:lnTo>
                    <a:lnTo>
                      <a:pt x="32274" y="88943"/>
                    </a:lnTo>
                    <a:lnTo>
                      <a:pt x="33183" y="89549"/>
                    </a:lnTo>
                    <a:lnTo>
                      <a:pt x="33335" y="92731"/>
                    </a:lnTo>
                    <a:lnTo>
                      <a:pt x="38789" y="93185"/>
                    </a:lnTo>
                    <a:lnTo>
                      <a:pt x="40305" y="89397"/>
                    </a:lnTo>
                    <a:lnTo>
                      <a:pt x="40305" y="88185"/>
                    </a:lnTo>
                    <a:lnTo>
                      <a:pt x="39699" y="87124"/>
                    </a:lnTo>
                    <a:close/>
                    <a:moveTo>
                      <a:pt x="28789" y="8031"/>
                    </a:moveTo>
                    <a:lnTo>
                      <a:pt x="28941" y="7273"/>
                    </a:lnTo>
                    <a:lnTo>
                      <a:pt x="28335" y="5758"/>
                    </a:lnTo>
                    <a:lnTo>
                      <a:pt x="24395" y="6667"/>
                    </a:lnTo>
                    <a:lnTo>
                      <a:pt x="19546" y="6364"/>
                    </a:lnTo>
                    <a:lnTo>
                      <a:pt x="18486" y="6970"/>
                    </a:lnTo>
                    <a:lnTo>
                      <a:pt x="16667" y="7121"/>
                    </a:lnTo>
                    <a:lnTo>
                      <a:pt x="13334" y="6212"/>
                    </a:lnTo>
                    <a:lnTo>
                      <a:pt x="10455" y="4243"/>
                    </a:lnTo>
                    <a:lnTo>
                      <a:pt x="9546" y="6364"/>
                    </a:lnTo>
                    <a:lnTo>
                      <a:pt x="9849" y="6970"/>
                    </a:lnTo>
                    <a:lnTo>
                      <a:pt x="9546" y="8334"/>
                    </a:lnTo>
                    <a:lnTo>
                      <a:pt x="7425" y="10152"/>
                    </a:lnTo>
                    <a:lnTo>
                      <a:pt x="5152" y="10606"/>
                    </a:lnTo>
                    <a:lnTo>
                      <a:pt x="1364" y="7879"/>
                    </a:lnTo>
                    <a:lnTo>
                      <a:pt x="0" y="7425"/>
                    </a:lnTo>
                    <a:lnTo>
                      <a:pt x="5152" y="12122"/>
                    </a:lnTo>
                    <a:lnTo>
                      <a:pt x="6667" y="12879"/>
                    </a:lnTo>
                    <a:lnTo>
                      <a:pt x="8637" y="12728"/>
                    </a:lnTo>
                    <a:lnTo>
                      <a:pt x="12879" y="11213"/>
                    </a:lnTo>
                    <a:lnTo>
                      <a:pt x="20607" y="8940"/>
                    </a:lnTo>
                    <a:lnTo>
                      <a:pt x="28789" y="8031"/>
                    </a:lnTo>
                    <a:close/>
                    <a:moveTo>
                      <a:pt x="30153" y="74700"/>
                    </a:moveTo>
                    <a:lnTo>
                      <a:pt x="30910" y="73790"/>
                    </a:lnTo>
                    <a:lnTo>
                      <a:pt x="33941" y="71972"/>
                    </a:lnTo>
                    <a:lnTo>
                      <a:pt x="34244" y="71063"/>
                    </a:lnTo>
                    <a:lnTo>
                      <a:pt x="33941" y="68487"/>
                    </a:lnTo>
                    <a:lnTo>
                      <a:pt x="33941" y="65002"/>
                    </a:lnTo>
                    <a:lnTo>
                      <a:pt x="31365" y="62426"/>
                    </a:lnTo>
                    <a:lnTo>
                      <a:pt x="29244" y="58184"/>
                    </a:lnTo>
                    <a:lnTo>
                      <a:pt x="27728" y="56366"/>
                    </a:lnTo>
                    <a:lnTo>
                      <a:pt x="27728" y="54093"/>
                    </a:lnTo>
                    <a:lnTo>
                      <a:pt x="26213" y="52426"/>
                    </a:lnTo>
                    <a:lnTo>
                      <a:pt x="22728" y="50759"/>
                    </a:lnTo>
                    <a:lnTo>
                      <a:pt x="21364" y="51062"/>
                    </a:lnTo>
                    <a:lnTo>
                      <a:pt x="22728" y="55911"/>
                    </a:lnTo>
                    <a:lnTo>
                      <a:pt x="22122" y="58942"/>
                    </a:lnTo>
                    <a:lnTo>
                      <a:pt x="18940" y="63639"/>
                    </a:lnTo>
                    <a:lnTo>
                      <a:pt x="19698" y="65457"/>
                    </a:lnTo>
                    <a:lnTo>
                      <a:pt x="20001" y="65608"/>
                    </a:lnTo>
                    <a:lnTo>
                      <a:pt x="20455" y="66518"/>
                    </a:lnTo>
                    <a:lnTo>
                      <a:pt x="18334" y="68336"/>
                    </a:lnTo>
                    <a:lnTo>
                      <a:pt x="17728" y="66821"/>
                    </a:lnTo>
                    <a:lnTo>
                      <a:pt x="15152" y="67275"/>
                    </a:lnTo>
                    <a:lnTo>
                      <a:pt x="16970" y="69699"/>
                    </a:lnTo>
                    <a:lnTo>
                      <a:pt x="20001" y="71518"/>
                    </a:lnTo>
                    <a:lnTo>
                      <a:pt x="21819" y="71972"/>
                    </a:lnTo>
                    <a:lnTo>
                      <a:pt x="23031" y="71215"/>
                    </a:lnTo>
                    <a:lnTo>
                      <a:pt x="23334" y="73487"/>
                    </a:lnTo>
                    <a:lnTo>
                      <a:pt x="25001" y="74851"/>
                    </a:lnTo>
                    <a:lnTo>
                      <a:pt x="25910" y="77124"/>
                    </a:lnTo>
                    <a:lnTo>
                      <a:pt x="27577" y="75760"/>
                    </a:lnTo>
                    <a:lnTo>
                      <a:pt x="30153" y="74700"/>
                    </a:lnTo>
                    <a:close/>
                    <a:moveTo>
                      <a:pt x="161976" y="156521"/>
                    </a:moveTo>
                    <a:lnTo>
                      <a:pt x="162279" y="158188"/>
                    </a:lnTo>
                    <a:lnTo>
                      <a:pt x="165915" y="156824"/>
                    </a:lnTo>
                    <a:lnTo>
                      <a:pt x="163794" y="155309"/>
                    </a:lnTo>
                    <a:lnTo>
                      <a:pt x="161976" y="156521"/>
                    </a:lnTo>
                    <a:close/>
                    <a:moveTo>
                      <a:pt x="159854" y="165461"/>
                    </a:moveTo>
                    <a:lnTo>
                      <a:pt x="157127" y="166824"/>
                    </a:lnTo>
                    <a:lnTo>
                      <a:pt x="155309" y="166824"/>
                    </a:lnTo>
                    <a:lnTo>
                      <a:pt x="151975" y="165461"/>
                    </a:lnTo>
                    <a:lnTo>
                      <a:pt x="149248" y="165764"/>
                    </a:lnTo>
                    <a:lnTo>
                      <a:pt x="147581" y="167582"/>
                    </a:lnTo>
                    <a:lnTo>
                      <a:pt x="145005" y="168188"/>
                    </a:lnTo>
                    <a:lnTo>
                      <a:pt x="145308" y="168794"/>
                    </a:lnTo>
                    <a:lnTo>
                      <a:pt x="145308" y="169400"/>
                    </a:lnTo>
                    <a:lnTo>
                      <a:pt x="144854" y="170915"/>
                    </a:lnTo>
                    <a:lnTo>
                      <a:pt x="145005" y="171824"/>
                    </a:lnTo>
                    <a:lnTo>
                      <a:pt x="145611" y="172885"/>
                    </a:lnTo>
                    <a:lnTo>
                      <a:pt x="152733" y="172733"/>
                    </a:lnTo>
                    <a:lnTo>
                      <a:pt x="159248" y="171673"/>
                    </a:lnTo>
                    <a:lnTo>
                      <a:pt x="162127" y="167733"/>
                    </a:lnTo>
                    <a:lnTo>
                      <a:pt x="163037" y="165612"/>
                    </a:lnTo>
                    <a:lnTo>
                      <a:pt x="163491" y="162582"/>
                    </a:lnTo>
                    <a:lnTo>
                      <a:pt x="162279" y="162127"/>
                    </a:lnTo>
                    <a:lnTo>
                      <a:pt x="159854" y="165461"/>
                    </a:lnTo>
                    <a:close/>
                    <a:moveTo>
                      <a:pt x="100458" y="79548"/>
                    </a:moveTo>
                    <a:lnTo>
                      <a:pt x="94700" y="73033"/>
                    </a:lnTo>
                    <a:lnTo>
                      <a:pt x="94398" y="72427"/>
                    </a:lnTo>
                    <a:lnTo>
                      <a:pt x="90912" y="65760"/>
                    </a:lnTo>
                    <a:lnTo>
                      <a:pt x="89397" y="65305"/>
                    </a:lnTo>
                    <a:lnTo>
                      <a:pt x="88943" y="65608"/>
                    </a:lnTo>
                    <a:lnTo>
                      <a:pt x="88488" y="66669"/>
                    </a:lnTo>
                    <a:lnTo>
                      <a:pt x="90761" y="68487"/>
                    </a:lnTo>
                    <a:lnTo>
                      <a:pt x="91367" y="70306"/>
                    </a:lnTo>
                    <a:lnTo>
                      <a:pt x="92579" y="71366"/>
                    </a:lnTo>
                    <a:lnTo>
                      <a:pt x="95307" y="76063"/>
                    </a:lnTo>
                    <a:lnTo>
                      <a:pt x="97579" y="77882"/>
                    </a:lnTo>
                    <a:lnTo>
                      <a:pt x="97428" y="79245"/>
                    </a:lnTo>
                    <a:lnTo>
                      <a:pt x="95610" y="80609"/>
                    </a:lnTo>
                    <a:lnTo>
                      <a:pt x="95004" y="81670"/>
                    </a:lnTo>
                    <a:lnTo>
                      <a:pt x="95913" y="81670"/>
                    </a:lnTo>
                    <a:lnTo>
                      <a:pt x="98640" y="81063"/>
                    </a:lnTo>
                    <a:lnTo>
                      <a:pt x="100458" y="81367"/>
                    </a:lnTo>
                    <a:lnTo>
                      <a:pt x="100458" y="79548"/>
                    </a:lnTo>
                    <a:close/>
                    <a:moveTo>
                      <a:pt x="140460" y="121823"/>
                    </a:moveTo>
                    <a:lnTo>
                      <a:pt x="137581" y="122277"/>
                    </a:lnTo>
                    <a:lnTo>
                      <a:pt x="136975" y="123186"/>
                    </a:lnTo>
                    <a:lnTo>
                      <a:pt x="136975" y="124550"/>
                    </a:lnTo>
                    <a:lnTo>
                      <a:pt x="138642" y="126520"/>
                    </a:lnTo>
                    <a:lnTo>
                      <a:pt x="138793" y="127732"/>
                    </a:lnTo>
                    <a:lnTo>
                      <a:pt x="138035" y="129096"/>
                    </a:lnTo>
                    <a:lnTo>
                      <a:pt x="136369" y="129853"/>
                    </a:lnTo>
                    <a:lnTo>
                      <a:pt x="135914" y="130459"/>
                    </a:lnTo>
                    <a:lnTo>
                      <a:pt x="134702" y="131217"/>
                    </a:lnTo>
                    <a:lnTo>
                      <a:pt x="132732" y="133490"/>
                    </a:lnTo>
                    <a:lnTo>
                      <a:pt x="129096" y="136066"/>
                    </a:lnTo>
                    <a:lnTo>
                      <a:pt x="128641" y="137581"/>
                    </a:lnTo>
                    <a:lnTo>
                      <a:pt x="130611" y="136672"/>
                    </a:lnTo>
                    <a:lnTo>
                      <a:pt x="133793" y="134096"/>
                    </a:lnTo>
                    <a:lnTo>
                      <a:pt x="136975" y="132581"/>
                    </a:lnTo>
                    <a:lnTo>
                      <a:pt x="140763" y="127580"/>
                    </a:lnTo>
                    <a:lnTo>
                      <a:pt x="139702" y="123489"/>
                    </a:lnTo>
                    <a:lnTo>
                      <a:pt x="140460" y="121823"/>
                    </a:lnTo>
                    <a:close/>
                    <a:moveTo>
                      <a:pt x="170158" y="132884"/>
                    </a:moveTo>
                    <a:lnTo>
                      <a:pt x="168340" y="131672"/>
                    </a:lnTo>
                    <a:lnTo>
                      <a:pt x="165158" y="130762"/>
                    </a:lnTo>
                    <a:lnTo>
                      <a:pt x="164248" y="130762"/>
                    </a:lnTo>
                    <a:lnTo>
                      <a:pt x="162582" y="130308"/>
                    </a:lnTo>
                    <a:lnTo>
                      <a:pt x="160158" y="129550"/>
                    </a:lnTo>
                    <a:lnTo>
                      <a:pt x="159248" y="131672"/>
                    </a:lnTo>
                    <a:lnTo>
                      <a:pt x="160612" y="131974"/>
                    </a:lnTo>
                    <a:lnTo>
                      <a:pt x="164097" y="131974"/>
                    </a:lnTo>
                    <a:lnTo>
                      <a:pt x="166673" y="132277"/>
                    </a:lnTo>
                    <a:lnTo>
                      <a:pt x="169552" y="134247"/>
                    </a:lnTo>
                    <a:lnTo>
                      <a:pt x="170613" y="133187"/>
                    </a:lnTo>
                    <a:lnTo>
                      <a:pt x="170158" y="132884"/>
                    </a:lnTo>
                    <a:close/>
                    <a:moveTo>
                      <a:pt x="110610" y="111671"/>
                    </a:moveTo>
                    <a:lnTo>
                      <a:pt x="107125" y="109852"/>
                    </a:lnTo>
                    <a:lnTo>
                      <a:pt x="105913" y="104549"/>
                    </a:lnTo>
                    <a:lnTo>
                      <a:pt x="104095" y="101519"/>
                    </a:lnTo>
                    <a:lnTo>
                      <a:pt x="103034" y="98337"/>
                    </a:lnTo>
                    <a:lnTo>
                      <a:pt x="100307" y="94852"/>
                    </a:lnTo>
                    <a:lnTo>
                      <a:pt x="100458" y="97125"/>
                    </a:lnTo>
                    <a:lnTo>
                      <a:pt x="101064" y="97731"/>
                    </a:lnTo>
                    <a:lnTo>
                      <a:pt x="102277" y="100458"/>
                    </a:lnTo>
                    <a:lnTo>
                      <a:pt x="104549" y="104398"/>
                    </a:lnTo>
                    <a:lnTo>
                      <a:pt x="105307" y="106368"/>
                    </a:lnTo>
                    <a:lnTo>
                      <a:pt x="105004" y="108186"/>
                    </a:lnTo>
                    <a:lnTo>
                      <a:pt x="103337" y="108489"/>
                    </a:lnTo>
                    <a:lnTo>
                      <a:pt x="102883" y="109246"/>
                    </a:lnTo>
                    <a:lnTo>
                      <a:pt x="105307" y="110610"/>
                    </a:lnTo>
                    <a:lnTo>
                      <a:pt x="109701" y="111974"/>
                    </a:lnTo>
                    <a:lnTo>
                      <a:pt x="113186" y="117732"/>
                    </a:lnTo>
                    <a:lnTo>
                      <a:pt x="113338" y="116974"/>
                    </a:lnTo>
                    <a:lnTo>
                      <a:pt x="113186" y="113944"/>
                    </a:lnTo>
                    <a:lnTo>
                      <a:pt x="110610" y="111671"/>
                    </a:lnTo>
                    <a:close/>
                    <a:moveTo>
                      <a:pt x="123338" y="81670"/>
                    </a:moveTo>
                    <a:lnTo>
                      <a:pt x="121823" y="82276"/>
                    </a:lnTo>
                    <a:lnTo>
                      <a:pt x="121217" y="86215"/>
                    </a:lnTo>
                    <a:lnTo>
                      <a:pt x="122429" y="86518"/>
                    </a:lnTo>
                    <a:lnTo>
                      <a:pt x="124550" y="83336"/>
                    </a:lnTo>
                    <a:lnTo>
                      <a:pt x="123944" y="81670"/>
                    </a:lnTo>
                    <a:lnTo>
                      <a:pt x="123338" y="81670"/>
                    </a:lnTo>
                    <a:close/>
                    <a:moveTo>
                      <a:pt x="129702" y="122277"/>
                    </a:moveTo>
                    <a:lnTo>
                      <a:pt x="133641" y="123641"/>
                    </a:lnTo>
                    <a:lnTo>
                      <a:pt x="135460" y="122429"/>
                    </a:lnTo>
                    <a:lnTo>
                      <a:pt x="134854" y="121974"/>
                    </a:lnTo>
                    <a:lnTo>
                      <a:pt x="131672" y="120913"/>
                    </a:lnTo>
                    <a:lnTo>
                      <a:pt x="130459" y="119398"/>
                    </a:lnTo>
                    <a:lnTo>
                      <a:pt x="128187" y="118641"/>
                    </a:lnTo>
                    <a:lnTo>
                      <a:pt x="128035" y="119701"/>
                    </a:lnTo>
                    <a:lnTo>
                      <a:pt x="128338" y="120762"/>
                    </a:lnTo>
                    <a:lnTo>
                      <a:pt x="129096" y="122277"/>
                    </a:lnTo>
                    <a:lnTo>
                      <a:pt x="129702" y="1222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7" name="Freeform: Shape 3326">
                <a:extLst>
                  <a:ext uri="{FF2B5EF4-FFF2-40B4-BE49-F238E27FC236}">
                    <a16:creationId xmlns:a16="http://schemas.microsoft.com/office/drawing/2014/main" id="{F55D5392-D7D7-4594-A8F2-B5D9BA9ED3C2}"/>
                  </a:ext>
                </a:extLst>
              </p:cNvPr>
              <p:cNvSpPr/>
              <p:nvPr/>
            </p:nvSpPr>
            <p:spPr>
              <a:xfrm>
                <a:off x="3753185" y="4418654"/>
                <a:ext cx="1071706" cy="1095797"/>
              </a:xfrm>
              <a:custGeom>
                <a:avLst/>
                <a:gdLst>
                  <a:gd name="connsiteX0" fmla="*/ 648509 w 1071706"/>
                  <a:gd name="connsiteY0" fmla="*/ 137126 h 1095797"/>
                  <a:gd name="connsiteX1" fmla="*/ 646539 w 1071706"/>
                  <a:gd name="connsiteY1" fmla="*/ 139702 h 1095797"/>
                  <a:gd name="connsiteX2" fmla="*/ 646691 w 1071706"/>
                  <a:gd name="connsiteY2" fmla="*/ 142126 h 1095797"/>
                  <a:gd name="connsiteX3" fmla="*/ 648206 w 1071706"/>
                  <a:gd name="connsiteY3" fmla="*/ 142581 h 1095797"/>
                  <a:gd name="connsiteX4" fmla="*/ 652903 w 1071706"/>
                  <a:gd name="connsiteY4" fmla="*/ 142430 h 1095797"/>
                  <a:gd name="connsiteX5" fmla="*/ 655933 w 1071706"/>
                  <a:gd name="connsiteY5" fmla="*/ 144096 h 1095797"/>
                  <a:gd name="connsiteX6" fmla="*/ 658206 w 1071706"/>
                  <a:gd name="connsiteY6" fmla="*/ 143945 h 1095797"/>
                  <a:gd name="connsiteX7" fmla="*/ 660328 w 1071706"/>
                  <a:gd name="connsiteY7" fmla="*/ 143187 h 1095797"/>
                  <a:gd name="connsiteX8" fmla="*/ 664267 w 1071706"/>
                  <a:gd name="connsiteY8" fmla="*/ 137429 h 1095797"/>
                  <a:gd name="connsiteX9" fmla="*/ 663206 w 1071706"/>
                  <a:gd name="connsiteY9" fmla="*/ 136066 h 1095797"/>
                  <a:gd name="connsiteX10" fmla="*/ 659418 w 1071706"/>
                  <a:gd name="connsiteY10" fmla="*/ 135005 h 1095797"/>
                  <a:gd name="connsiteX11" fmla="*/ 652600 w 1071706"/>
                  <a:gd name="connsiteY11" fmla="*/ 137126 h 1095797"/>
                  <a:gd name="connsiteX12" fmla="*/ 648509 w 1071706"/>
                  <a:gd name="connsiteY12" fmla="*/ 137126 h 1095797"/>
                  <a:gd name="connsiteX13" fmla="*/ 651842 w 1071706"/>
                  <a:gd name="connsiteY13" fmla="*/ 132732 h 1095797"/>
                  <a:gd name="connsiteX14" fmla="*/ 654873 w 1071706"/>
                  <a:gd name="connsiteY14" fmla="*/ 129247 h 1095797"/>
                  <a:gd name="connsiteX15" fmla="*/ 655024 w 1071706"/>
                  <a:gd name="connsiteY15" fmla="*/ 127278 h 1095797"/>
                  <a:gd name="connsiteX16" fmla="*/ 654418 w 1071706"/>
                  <a:gd name="connsiteY16" fmla="*/ 126065 h 1095797"/>
                  <a:gd name="connsiteX17" fmla="*/ 653358 w 1071706"/>
                  <a:gd name="connsiteY17" fmla="*/ 126368 h 1095797"/>
                  <a:gd name="connsiteX18" fmla="*/ 652903 w 1071706"/>
                  <a:gd name="connsiteY18" fmla="*/ 126974 h 1095797"/>
                  <a:gd name="connsiteX19" fmla="*/ 649115 w 1071706"/>
                  <a:gd name="connsiteY19" fmla="*/ 127429 h 1095797"/>
                  <a:gd name="connsiteX20" fmla="*/ 648206 w 1071706"/>
                  <a:gd name="connsiteY20" fmla="*/ 129247 h 1095797"/>
                  <a:gd name="connsiteX21" fmla="*/ 648206 w 1071706"/>
                  <a:gd name="connsiteY21" fmla="*/ 132732 h 1095797"/>
                  <a:gd name="connsiteX22" fmla="*/ 648812 w 1071706"/>
                  <a:gd name="connsiteY22" fmla="*/ 133641 h 1095797"/>
                  <a:gd name="connsiteX23" fmla="*/ 651842 w 1071706"/>
                  <a:gd name="connsiteY23" fmla="*/ 132732 h 1095797"/>
                  <a:gd name="connsiteX24" fmla="*/ 645024 w 1071706"/>
                  <a:gd name="connsiteY24" fmla="*/ 91973 h 1095797"/>
                  <a:gd name="connsiteX25" fmla="*/ 647751 w 1071706"/>
                  <a:gd name="connsiteY25" fmla="*/ 90761 h 1095797"/>
                  <a:gd name="connsiteX26" fmla="*/ 647903 w 1071706"/>
                  <a:gd name="connsiteY26" fmla="*/ 89700 h 1095797"/>
                  <a:gd name="connsiteX27" fmla="*/ 646539 w 1071706"/>
                  <a:gd name="connsiteY27" fmla="*/ 85306 h 1095797"/>
                  <a:gd name="connsiteX28" fmla="*/ 645933 w 1071706"/>
                  <a:gd name="connsiteY28" fmla="*/ 85003 h 1095797"/>
                  <a:gd name="connsiteX29" fmla="*/ 644418 w 1071706"/>
                  <a:gd name="connsiteY29" fmla="*/ 84852 h 1095797"/>
                  <a:gd name="connsiteX30" fmla="*/ 642448 w 1071706"/>
                  <a:gd name="connsiteY30" fmla="*/ 85761 h 1095797"/>
                  <a:gd name="connsiteX31" fmla="*/ 641993 w 1071706"/>
                  <a:gd name="connsiteY31" fmla="*/ 88488 h 1095797"/>
                  <a:gd name="connsiteX32" fmla="*/ 643509 w 1071706"/>
                  <a:gd name="connsiteY32" fmla="*/ 91670 h 1095797"/>
                  <a:gd name="connsiteX33" fmla="*/ 645024 w 1071706"/>
                  <a:gd name="connsiteY33" fmla="*/ 91973 h 1095797"/>
                  <a:gd name="connsiteX34" fmla="*/ 644266 w 1071706"/>
                  <a:gd name="connsiteY34" fmla="*/ 139702 h 1095797"/>
                  <a:gd name="connsiteX35" fmla="*/ 646842 w 1071706"/>
                  <a:gd name="connsiteY35" fmla="*/ 136520 h 1095797"/>
                  <a:gd name="connsiteX36" fmla="*/ 646539 w 1071706"/>
                  <a:gd name="connsiteY36" fmla="*/ 133187 h 1095797"/>
                  <a:gd name="connsiteX37" fmla="*/ 646236 w 1071706"/>
                  <a:gd name="connsiteY37" fmla="*/ 127732 h 1095797"/>
                  <a:gd name="connsiteX38" fmla="*/ 645630 w 1071706"/>
                  <a:gd name="connsiteY38" fmla="*/ 127429 h 1095797"/>
                  <a:gd name="connsiteX39" fmla="*/ 645024 w 1071706"/>
                  <a:gd name="connsiteY39" fmla="*/ 127732 h 1095797"/>
                  <a:gd name="connsiteX40" fmla="*/ 644266 w 1071706"/>
                  <a:gd name="connsiteY40" fmla="*/ 128338 h 1095797"/>
                  <a:gd name="connsiteX41" fmla="*/ 644266 w 1071706"/>
                  <a:gd name="connsiteY41" fmla="*/ 131975 h 1095797"/>
                  <a:gd name="connsiteX42" fmla="*/ 643509 w 1071706"/>
                  <a:gd name="connsiteY42" fmla="*/ 134702 h 1095797"/>
                  <a:gd name="connsiteX43" fmla="*/ 641539 w 1071706"/>
                  <a:gd name="connsiteY43" fmla="*/ 136823 h 1095797"/>
                  <a:gd name="connsiteX44" fmla="*/ 639266 w 1071706"/>
                  <a:gd name="connsiteY44" fmla="*/ 138035 h 1095797"/>
                  <a:gd name="connsiteX45" fmla="*/ 638963 w 1071706"/>
                  <a:gd name="connsiteY45" fmla="*/ 142126 h 1095797"/>
                  <a:gd name="connsiteX46" fmla="*/ 643812 w 1071706"/>
                  <a:gd name="connsiteY46" fmla="*/ 143793 h 1095797"/>
                  <a:gd name="connsiteX47" fmla="*/ 644266 w 1071706"/>
                  <a:gd name="connsiteY47" fmla="*/ 139702 h 1095797"/>
                  <a:gd name="connsiteX48" fmla="*/ 697905 w 1071706"/>
                  <a:gd name="connsiteY48" fmla="*/ 908518 h 1095797"/>
                  <a:gd name="connsiteX49" fmla="*/ 696844 w 1071706"/>
                  <a:gd name="connsiteY49" fmla="*/ 910185 h 1095797"/>
                  <a:gd name="connsiteX50" fmla="*/ 695783 w 1071706"/>
                  <a:gd name="connsiteY50" fmla="*/ 912458 h 1095797"/>
                  <a:gd name="connsiteX51" fmla="*/ 695480 w 1071706"/>
                  <a:gd name="connsiteY51" fmla="*/ 919427 h 1095797"/>
                  <a:gd name="connsiteX52" fmla="*/ 697298 w 1071706"/>
                  <a:gd name="connsiteY52" fmla="*/ 918064 h 1095797"/>
                  <a:gd name="connsiteX53" fmla="*/ 696996 w 1071706"/>
                  <a:gd name="connsiteY53" fmla="*/ 916246 h 1095797"/>
                  <a:gd name="connsiteX54" fmla="*/ 699420 w 1071706"/>
                  <a:gd name="connsiteY54" fmla="*/ 912155 h 1095797"/>
                  <a:gd name="connsiteX55" fmla="*/ 700329 w 1071706"/>
                  <a:gd name="connsiteY55" fmla="*/ 908821 h 1095797"/>
                  <a:gd name="connsiteX56" fmla="*/ 699268 w 1071706"/>
                  <a:gd name="connsiteY56" fmla="*/ 907306 h 1095797"/>
                  <a:gd name="connsiteX57" fmla="*/ 697905 w 1071706"/>
                  <a:gd name="connsiteY57" fmla="*/ 908518 h 1095797"/>
                  <a:gd name="connsiteX58" fmla="*/ 668661 w 1071706"/>
                  <a:gd name="connsiteY58" fmla="*/ 149703 h 1095797"/>
                  <a:gd name="connsiteX59" fmla="*/ 666085 w 1071706"/>
                  <a:gd name="connsiteY59" fmla="*/ 149551 h 1095797"/>
                  <a:gd name="connsiteX60" fmla="*/ 649115 w 1071706"/>
                  <a:gd name="connsiteY60" fmla="*/ 146521 h 1095797"/>
                  <a:gd name="connsiteX61" fmla="*/ 643206 w 1071706"/>
                  <a:gd name="connsiteY61" fmla="*/ 147581 h 1095797"/>
                  <a:gd name="connsiteX62" fmla="*/ 638205 w 1071706"/>
                  <a:gd name="connsiteY62" fmla="*/ 150763 h 1095797"/>
                  <a:gd name="connsiteX63" fmla="*/ 636842 w 1071706"/>
                  <a:gd name="connsiteY63" fmla="*/ 153187 h 1095797"/>
                  <a:gd name="connsiteX64" fmla="*/ 636236 w 1071706"/>
                  <a:gd name="connsiteY64" fmla="*/ 156066 h 1095797"/>
                  <a:gd name="connsiteX65" fmla="*/ 636539 w 1071706"/>
                  <a:gd name="connsiteY65" fmla="*/ 157582 h 1095797"/>
                  <a:gd name="connsiteX66" fmla="*/ 636084 w 1071706"/>
                  <a:gd name="connsiteY66" fmla="*/ 159097 h 1095797"/>
                  <a:gd name="connsiteX67" fmla="*/ 634721 w 1071706"/>
                  <a:gd name="connsiteY67" fmla="*/ 160763 h 1095797"/>
                  <a:gd name="connsiteX68" fmla="*/ 634417 w 1071706"/>
                  <a:gd name="connsiteY68" fmla="*/ 161976 h 1095797"/>
                  <a:gd name="connsiteX69" fmla="*/ 633963 w 1071706"/>
                  <a:gd name="connsiteY69" fmla="*/ 167885 h 1095797"/>
                  <a:gd name="connsiteX70" fmla="*/ 634266 w 1071706"/>
                  <a:gd name="connsiteY70" fmla="*/ 170764 h 1095797"/>
                  <a:gd name="connsiteX71" fmla="*/ 636236 w 1071706"/>
                  <a:gd name="connsiteY71" fmla="*/ 172582 h 1095797"/>
                  <a:gd name="connsiteX72" fmla="*/ 639418 w 1071706"/>
                  <a:gd name="connsiteY72" fmla="*/ 172431 h 1095797"/>
                  <a:gd name="connsiteX73" fmla="*/ 639872 w 1071706"/>
                  <a:gd name="connsiteY73" fmla="*/ 173188 h 1095797"/>
                  <a:gd name="connsiteX74" fmla="*/ 639721 w 1071706"/>
                  <a:gd name="connsiteY74" fmla="*/ 174249 h 1095797"/>
                  <a:gd name="connsiteX75" fmla="*/ 639266 w 1071706"/>
                  <a:gd name="connsiteY75" fmla="*/ 174400 h 1095797"/>
                  <a:gd name="connsiteX76" fmla="*/ 637296 w 1071706"/>
                  <a:gd name="connsiteY76" fmla="*/ 173946 h 1095797"/>
                  <a:gd name="connsiteX77" fmla="*/ 635630 w 1071706"/>
                  <a:gd name="connsiteY77" fmla="*/ 173794 h 1095797"/>
                  <a:gd name="connsiteX78" fmla="*/ 634872 w 1071706"/>
                  <a:gd name="connsiteY78" fmla="*/ 176825 h 1095797"/>
                  <a:gd name="connsiteX79" fmla="*/ 635781 w 1071706"/>
                  <a:gd name="connsiteY79" fmla="*/ 180461 h 1095797"/>
                  <a:gd name="connsiteX80" fmla="*/ 637145 w 1071706"/>
                  <a:gd name="connsiteY80" fmla="*/ 184401 h 1095797"/>
                  <a:gd name="connsiteX81" fmla="*/ 638660 w 1071706"/>
                  <a:gd name="connsiteY81" fmla="*/ 187734 h 1095797"/>
                  <a:gd name="connsiteX82" fmla="*/ 639115 w 1071706"/>
                  <a:gd name="connsiteY82" fmla="*/ 189401 h 1095797"/>
                  <a:gd name="connsiteX83" fmla="*/ 641690 w 1071706"/>
                  <a:gd name="connsiteY83" fmla="*/ 191825 h 1095797"/>
                  <a:gd name="connsiteX84" fmla="*/ 643509 w 1071706"/>
                  <a:gd name="connsiteY84" fmla="*/ 192128 h 1095797"/>
                  <a:gd name="connsiteX85" fmla="*/ 646387 w 1071706"/>
                  <a:gd name="connsiteY85" fmla="*/ 190916 h 1095797"/>
                  <a:gd name="connsiteX86" fmla="*/ 652600 w 1071706"/>
                  <a:gd name="connsiteY86" fmla="*/ 190765 h 1095797"/>
                  <a:gd name="connsiteX87" fmla="*/ 653812 w 1071706"/>
                  <a:gd name="connsiteY87" fmla="*/ 189553 h 1095797"/>
                  <a:gd name="connsiteX88" fmla="*/ 655327 w 1071706"/>
                  <a:gd name="connsiteY88" fmla="*/ 189704 h 1095797"/>
                  <a:gd name="connsiteX89" fmla="*/ 658055 w 1071706"/>
                  <a:gd name="connsiteY89" fmla="*/ 191219 h 1095797"/>
                  <a:gd name="connsiteX90" fmla="*/ 660934 w 1071706"/>
                  <a:gd name="connsiteY90" fmla="*/ 191977 h 1095797"/>
                  <a:gd name="connsiteX91" fmla="*/ 662449 w 1071706"/>
                  <a:gd name="connsiteY91" fmla="*/ 191068 h 1095797"/>
                  <a:gd name="connsiteX92" fmla="*/ 665176 w 1071706"/>
                  <a:gd name="connsiteY92" fmla="*/ 190613 h 1095797"/>
                  <a:gd name="connsiteX93" fmla="*/ 666843 w 1071706"/>
                  <a:gd name="connsiteY93" fmla="*/ 189855 h 1095797"/>
                  <a:gd name="connsiteX94" fmla="*/ 668510 w 1071706"/>
                  <a:gd name="connsiteY94" fmla="*/ 187583 h 1095797"/>
                  <a:gd name="connsiteX95" fmla="*/ 668964 w 1071706"/>
                  <a:gd name="connsiteY95" fmla="*/ 184401 h 1095797"/>
                  <a:gd name="connsiteX96" fmla="*/ 671692 w 1071706"/>
                  <a:gd name="connsiteY96" fmla="*/ 185613 h 1095797"/>
                  <a:gd name="connsiteX97" fmla="*/ 673358 w 1071706"/>
                  <a:gd name="connsiteY97" fmla="*/ 186674 h 1095797"/>
                  <a:gd name="connsiteX98" fmla="*/ 676389 w 1071706"/>
                  <a:gd name="connsiteY98" fmla="*/ 186825 h 1095797"/>
                  <a:gd name="connsiteX99" fmla="*/ 677146 w 1071706"/>
                  <a:gd name="connsiteY99" fmla="*/ 185765 h 1095797"/>
                  <a:gd name="connsiteX100" fmla="*/ 677752 w 1071706"/>
                  <a:gd name="connsiteY100" fmla="*/ 183795 h 1095797"/>
                  <a:gd name="connsiteX101" fmla="*/ 678055 w 1071706"/>
                  <a:gd name="connsiteY101" fmla="*/ 181825 h 1095797"/>
                  <a:gd name="connsiteX102" fmla="*/ 680328 w 1071706"/>
                  <a:gd name="connsiteY102" fmla="*/ 184401 h 1095797"/>
                  <a:gd name="connsiteX103" fmla="*/ 681692 w 1071706"/>
                  <a:gd name="connsiteY103" fmla="*/ 184704 h 1095797"/>
                  <a:gd name="connsiteX104" fmla="*/ 683056 w 1071706"/>
                  <a:gd name="connsiteY104" fmla="*/ 184401 h 1095797"/>
                  <a:gd name="connsiteX105" fmla="*/ 684571 w 1071706"/>
                  <a:gd name="connsiteY105" fmla="*/ 183795 h 1095797"/>
                  <a:gd name="connsiteX106" fmla="*/ 687147 w 1071706"/>
                  <a:gd name="connsiteY106" fmla="*/ 181219 h 1095797"/>
                  <a:gd name="connsiteX107" fmla="*/ 687904 w 1071706"/>
                  <a:gd name="connsiteY107" fmla="*/ 179552 h 1095797"/>
                  <a:gd name="connsiteX108" fmla="*/ 687147 w 1071706"/>
                  <a:gd name="connsiteY108" fmla="*/ 178188 h 1095797"/>
                  <a:gd name="connsiteX109" fmla="*/ 686844 w 1071706"/>
                  <a:gd name="connsiteY109" fmla="*/ 176825 h 1095797"/>
                  <a:gd name="connsiteX110" fmla="*/ 688207 w 1071706"/>
                  <a:gd name="connsiteY110" fmla="*/ 175310 h 1095797"/>
                  <a:gd name="connsiteX111" fmla="*/ 689874 w 1071706"/>
                  <a:gd name="connsiteY111" fmla="*/ 174249 h 1095797"/>
                  <a:gd name="connsiteX112" fmla="*/ 690480 w 1071706"/>
                  <a:gd name="connsiteY112" fmla="*/ 173491 h 1095797"/>
                  <a:gd name="connsiteX113" fmla="*/ 692753 w 1071706"/>
                  <a:gd name="connsiteY113" fmla="*/ 170309 h 1095797"/>
                  <a:gd name="connsiteX114" fmla="*/ 694268 w 1071706"/>
                  <a:gd name="connsiteY114" fmla="*/ 167734 h 1095797"/>
                  <a:gd name="connsiteX115" fmla="*/ 694874 w 1071706"/>
                  <a:gd name="connsiteY115" fmla="*/ 166521 h 1095797"/>
                  <a:gd name="connsiteX116" fmla="*/ 695177 w 1071706"/>
                  <a:gd name="connsiteY116" fmla="*/ 165309 h 1095797"/>
                  <a:gd name="connsiteX117" fmla="*/ 694420 w 1071706"/>
                  <a:gd name="connsiteY117" fmla="*/ 162127 h 1095797"/>
                  <a:gd name="connsiteX118" fmla="*/ 695632 w 1071706"/>
                  <a:gd name="connsiteY118" fmla="*/ 162279 h 1095797"/>
                  <a:gd name="connsiteX119" fmla="*/ 696389 w 1071706"/>
                  <a:gd name="connsiteY119" fmla="*/ 161521 h 1095797"/>
                  <a:gd name="connsiteX120" fmla="*/ 697298 w 1071706"/>
                  <a:gd name="connsiteY120" fmla="*/ 158036 h 1095797"/>
                  <a:gd name="connsiteX121" fmla="*/ 698208 w 1071706"/>
                  <a:gd name="connsiteY121" fmla="*/ 155460 h 1095797"/>
                  <a:gd name="connsiteX122" fmla="*/ 699571 w 1071706"/>
                  <a:gd name="connsiteY122" fmla="*/ 153036 h 1095797"/>
                  <a:gd name="connsiteX123" fmla="*/ 699268 w 1071706"/>
                  <a:gd name="connsiteY123" fmla="*/ 151521 h 1095797"/>
                  <a:gd name="connsiteX124" fmla="*/ 697905 w 1071706"/>
                  <a:gd name="connsiteY124" fmla="*/ 150763 h 1095797"/>
                  <a:gd name="connsiteX125" fmla="*/ 695935 w 1071706"/>
                  <a:gd name="connsiteY125" fmla="*/ 150157 h 1095797"/>
                  <a:gd name="connsiteX126" fmla="*/ 693965 w 1071706"/>
                  <a:gd name="connsiteY126" fmla="*/ 149703 h 1095797"/>
                  <a:gd name="connsiteX127" fmla="*/ 688510 w 1071706"/>
                  <a:gd name="connsiteY127" fmla="*/ 149248 h 1095797"/>
                  <a:gd name="connsiteX128" fmla="*/ 679419 w 1071706"/>
                  <a:gd name="connsiteY128" fmla="*/ 147884 h 1095797"/>
                  <a:gd name="connsiteX129" fmla="*/ 676692 w 1071706"/>
                  <a:gd name="connsiteY129" fmla="*/ 147733 h 1095797"/>
                  <a:gd name="connsiteX130" fmla="*/ 673964 w 1071706"/>
                  <a:gd name="connsiteY130" fmla="*/ 148036 h 1095797"/>
                  <a:gd name="connsiteX131" fmla="*/ 671540 w 1071706"/>
                  <a:gd name="connsiteY131" fmla="*/ 149248 h 1095797"/>
                  <a:gd name="connsiteX132" fmla="*/ 668661 w 1071706"/>
                  <a:gd name="connsiteY132" fmla="*/ 149703 h 1095797"/>
                  <a:gd name="connsiteX133" fmla="*/ 794272 w 1071706"/>
                  <a:gd name="connsiteY133" fmla="*/ 180613 h 1095797"/>
                  <a:gd name="connsiteX134" fmla="*/ 796090 w 1071706"/>
                  <a:gd name="connsiteY134" fmla="*/ 179249 h 1095797"/>
                  <a:gd name="connsiteX135" fmla="*/ 795939 w 1071706"/>
                  <a:gd name="connsiteY135" fmla="*/ 178188 h 1095797"/>
                  <a:gd name="connsiteX136" fmla="*/ 793514 w 1071706"/>
                  <a:gd name="connsiteY136" fmla="*/ 177885 h 1095797"/>
                  <a:gd name="connsiteX137" fmla="*/ 793060 w 1071706"/>
                  <a:gd name="connsiteY137" fmla="*/ 180007 h 1095797"/>
                  <a:gd name="connsiteX138" fmla="*/ 792605 w 1071706"/>
                  <a:gd name="connsiteY138" fmla="*/ 179855 h 1095797"/>
                  <a:gd name="connsiteX139" fmla="*/ 792302 w 1071706"/>
                  <a:gd name="connsiteY139" fmla="*/ 180613 h 1095797"/>
                  <a:gd name="connsiteX140" fmla="*/ 793817 w 1071706"/>
                  <a:gd name="connsiteY140" fmla="*/ 181067 h 1095797"/>
                  <a:gd name="connsiteX141" fmla="*/ 794272 w 1071706"/>
                  <a:gd name="connsiteY141" fmla="*/ 180613 h 1095797"/>
                  <a:gd name="connsiteX142" fmla="*/ 628054 w 1071706"/>
                  <a:gd name="connsiteY142" fmla="*/ 150612 h 1095797"/>
                  <a:gd name="connsiteX143" fmla="*/ 630629 w 1071706"/>
                  <a:gd name="connsiteY143" fmla="*/ 152430 h 1095797"/>
                  <a:gd name="connsiteX144" fmla="*/ 638054 w 1071706"/>
                  <a:gd name="connsiteY144" fmla="*/ 147127 h 1095797"/>
                  <a:gd name="connsiteX145" fmla="*/ 638054 w 1071706"/>
                  <a:gd name="connsiteY145" fmla="*/ 146369 h 1095797"/>
                  <a:gd name="connsiteX146" fmla="*/ 637599 w 1071706"/>
                  <a:gd name="connsiteY146" fmla="*/ 145005 h 1095797"/>
                  <a:gd name="connsiteX147" fmla="*/ 634872 w 1071706"/>
                  <a:gd name="connsiteY147" fmla="*/ 144551 h 1095797"/>
                  <a:gd name="connsiteX148" fmla="*/ 632751 w 1071706"/>
                  <a:gd name="connsiteY148" fmla="*/ 144854 h 1095797"/>
                  <a:gd name="connsiteX149" fmla="*/ 628508 w 1071706"/>
                  <a:gd name="connsiteY149" fmla="*/ 146369 h 1095797"/>
                  <a:gd name="connsiteX150" fmla="*/ 627599 w 1071706"/>
                  <a:gd name="connsiteY150" fmla="*/ 148187 h 1095797"/>
                  <a:gd name="connsiteX151" fmla="*/ 627750 w 1071706"/>
                  <a:gd name="connsiteY151" fmla="*/ 148642 h 1095797"/>
                  <a:gd name="connsiteX152" fmla="*/ 627296 w 1071706"/>
                  <a:gd name="connsiteY152" fmla="*/ 149703 h 1095797"/>
                  <a:gd name="connsiteX153" fmla="*/ 628054 w 1071706"/>
                  <a:gd name="connsiteY153" fmla="*/ 150612 h 1095797"/>
                  <a:gd name="connsiteX154" fmla="*/ 661388 w 1071706"/>
                  <a:gd name="connsiteY154" fmla="*/ 144854 h 1095797"/>
                  <a:gd name="connsiteX155" fmla="*/ 660630 w 1071706"/>
                  <a:gd name="connsiteY155" fmla="*/ 146066 h 1095797"/>
                  <a:gd name="connsiteX156" fmla="*/ 663964 w 1071706"/>
                  <a:gd name="connsiteY156" fmla="*/ 147430 h 1095797"/>
                  <a:gd name="connsiteX157" fmla="*/ 671237 w 1071706"/>
                  <a:gd name="connsiteY157" fmla="*/ 146521 h 1095797"/>
                  <a:gd name="connsiteX158" fmla="*/ 672904 w 1071706"/>
                  <a:gd name="connsiteY158" fmla="*/ 145005 h 1095797"/>
                  <a:gd name="connsiteX159" fmla="*/ 673207 w 1071706"/>
                  <a:gd name="connsiteY159" fmla="*/ 143490 h 1095797"/>
                  <a:gd name="connsiteX160" fmla="*/ 672449 w 1071706"/>
                  <a:gd name="connsiteY160" fmla="*/ 141975 h 1095797"/>
                  <a:gd name="connsiteX161" fmla="*/ 669570 w 1071706"/>
                  <a:gd name="connsiteY161" fmla="*/ 141217 h 1095797"/>
                  <a:gd name="connsiteX162" fmla="*/ 666843 w 1071706"/>
                  <a:gd name="connsiteY162" fmla="*/ 141823 h 1095797"/>
                  <a:gd name="connsiteX163" fmla="*/ 663812 w 1071706"/>
                  <a:gd name="connsiteY163" fmla="*/ 143187 h 1095797"/>
                  <a:gd name="connsiteX164" fmla="*/ 661388 w 1071706"/>
                  <a:gd name="connsiteY164" fmla="*/ 144854 h 1095797"/>
                  <a:gd name="connsiteX165" fmla="*/ 613659 w 1071706"/>
                  <a:gd name="connsiteY165" fmla="*/ 161067 h 1095797"/>
                  <a:gd name="connsiteX166" fmla="*/ 610023 w 1071706"/>
                  <a:gd name="connsiteY166" fmla="*/ 166673 h 1095797"/>
                  <a:gd name="connsiteX167" fmla="*/ 610023 w 1071706"/>
                  <a:gd name="connsiteY167" fmla="*/ 172885 h 1095797"/>
                  <a:gd name="connsiteX168" fmla="*/ 606689 w 1071706"/>
                  <a:gd name="connsiteY168" fmla="*/ 176067 h 1095797"/>
                  <a:gd name="connsiteX169" fmla="*/ 602901 w 1071706"/>
                  <a:gd name="connsiteY169" fmla="*/ 182886 h 1095797"/>
                  <a:gd name="connsiteX170" fmla="*/ 605780 w 1071706"/>
                  <a:gd name="connsiteY170" fmla="*/ 182431 h 1095797"/>
                  <a:gd name="connsiteX171" fmla="*/ 611083 w 1071706"/>
                  <a:gd name="connsiteY171" fmla="*/ 180007 h 1095797"/>
                  <a:gd name="connsiteX172" fmla="*/ 615780 w 1071706"/>
                  <a:gd name="connsiteY172" fmla="*/ 176522 h 1095797"/>
                  <a:gd name="connsiteX173" fmla="*/ 620023 w 1071706"/>
                  <a:gd name="connsiteY173" fmla="*/ 171370 h 1095797"/>
                  <a:gd name="connsiteX174" fmla="*/ 620932 w 1071706"/>
                  <a:gd name="connsiteY174" fmla="*/ 171370 h 1095797"/>
                  <a:gd name="connsiteX175" fmla="*/ 624114 w 1071706"/>
                  <a:gd name="connsiteY175" fmla="*/ 161673 h 1095797"/>
                  <a:gd name="connsiteX176" fmla="*/ 621538 w 1071706"/>
                  <a:gd name="connsiteY176" fmla="*/ 158339 h 1095797"/>
                  <a:gd name="connsiteX177" fmla="*/ 616841 w 1071706"/>
                  <a:gd name="connsiteY177" fmla="*/ 158945 h 1095797"/>
                  <a:gd name="connsiteX178" fmla="*/ 613659 w 1071706"/>
                  <a:gd name="connsiteY178" fmla="*/ 161067 h 1095797"/>
                  <a:gd name="connsiteX179" fmla="*/ 956702 w 1071706"/>
                  <a:gd name="connsiteY179" fmla="*/ 510170 h 1095797"/>
                  <a:gd name="connsiteX180" fmla="*/ 956248 w 1071706"/>
                  <a:gd name="connsiteY180" fmla="*/ 510928 h 1095797"/>
                  <a:gd name="connsiteX181" fmla="*/ 957005 w 1071706"/>
                  <a:gd name="connsiteY181" fmla="*/ 511989 h 1095797"/>
                  <a:gd name="connsiteX182" fmla="*/ 957460 w 1071706"/>
                  <a:gd name="connsiteY182" fmla="*/ 513049 h 1095797"/>
                  <a:gd name="connsiteX183" fmla="*/ 958520 w 1071706"/>
                  <a:gd name="connsiteY183" fmla="*/ 513352 h 1095797"/>
                  <a:gd name="connsiteX184" fmla="*/ 959429 w 1071706"/>
                  <a:gd name="connsiteY184" fmla="*/ 511685 h 1095797"/>
                  <a:gd name="connsiteX185" fmla="*/ 959278 w 1071706"/>
                  <a:gd name="connsiteY185" fmla="*/ 509716 h 1095797"/>
                  <a:gd name="connsiteX186" fmla="*/ 957308 w 1071706"/>
                  <a:gd name="connsiteY186" fmla="*/ 509716 h 1095797"/>
                  <a:gd name="connsiteX187" fmla="*/ 956702 w 1071706"/>
                  <a:gd name="connsiteY187" fmla="*/ 510170 h 1095797"/>
                  <a:gd name="connsiteX188" fmla="*/ 1071403 w 1071706"/>
                  <a:gd name="connsiteY188" fmla="*/ 344710 h 1095797"/>
                  <a:gd name="connsiteX189" fmla="*/ 1071706 w 1071706"/>
                  <a:gd name="connsiteY189" fmla="*/ 341831 h 1095797"/>
                  <a:gd name="connsiteX190" fmla="*/ 1070949 w 1071706"/>
                  <a:gd name="connsiteY190" fmla="*/ 334558 h 1095797"/>
                  <a:gd name="connsiteX191" fmla="*/ 1069737 w 1071706"/>
                  <a:gd name="connsiteY191" fmla="*/ 333952 h 1095797"/>
                  <a:gd name="connsiteX192" fmla="*/ 1069585 w 1071706"/>
                  <a:gd name="connsiteY192" fmla="*/ 331376 h 1095797"/>
                  <a:gd name="connsiteX193" fmla="*/ 1068221 w 1071706"/>
                  <a:gd name="connsiteY193" fmla="*/ 328042 h 1095797"/>
                  <a:gd name="connsiteX194" fmla="*/ 1066555 w 1071706"/>
                  <a:gd name="connsiteY194" fmla="*/ 317436 h 1095797"/>
                  <a:gd name="connsiteX195" fmla="*/ 1063676 w 1071706"/>
                  <a:gd name="connsiteY195" fmla="*/ 311678 h 1095797"/>
                  <a:gd name="connsiteX196" fmla="*/ 1062464 w 1071706"/>
                  <a:gd name="connsiteY196" fmla="*/ 304405 h 1095797"/>
                  <a:gd name="connsiteX197" fmla="*/ 1059888 w 1071706"/>
                  <a:gd name="connsiteY197" fmla="*/ 294859 h 1095797"/>
                  <a:gd name="connsiteX198" fmla="*/ 1055645 w 1071706"/>
                  <a:gd name="connsiteY198" fmla="*/ 286223 h 1095797"/>
                  <a:gd name="connsiteX199" fmla="*/ 1053221 w 1071706"/>
                  <a:gd name="connsiteY199" fmla="*/ 283950 h 1095797"/>
                  <a:gd name="connsiteX200" fmla="*/ 1051403 w 1071706"/>
                  <a:gd name="connsiteY200" fmla="*/ 282889 h 1095797"/>
                  <a:gd name="connsiteX201" fmla="*/ 1039584 w 1071706"/>
                  <a:gd name="connsiteY201" fmla="*/ 280919 h 1095797"/>
                  <a:gd name="connsiteX202" fmla="*/ 1034584 w 1071706"/>
                  <a:gd name="connsiteY202" fmla="*/ 281980 h 1095797"/>
                  <a:gd name="connsiteX203" fmla="*/ 1028371 w 1071706"/>
                  <a:gd name="connsiteY203" fmla="*/ 281677 h 1095797"/>
                  <a:gd name="connsiteX204" fmla="*/ 1022765 w 1071706"/>
                  <a:gd name="connsiteY204" fmla="*/ 281980 h 1095797"/>
                  <a:gd name="connsiteX205" fmla="*/ 1018523 w 1071706"/>
                  <a:gd name="connsiteY205" fmla="*/ 280768 h 1095797"/>
                  <a:gd name="connsiteX206" fmla="*/ 1015341 w 1071706"/>
                  <a:gd name="connsiteY206" fmla="*/ 278495 h 1095797"/>
                  <a:gd name="connsiteX207" fmla="*/ 1012765 w 1071706"/>
                  <a:gd name="connsiteY207" fmla="*/ 277737 h 1095797"/>
                  <a:gd name="connsiteX208" fmla="*/ 1006704 w 1071706"/>
                  <a:gd name="connsiteY208" fmla="*/ 277131 h 1095797"/>
                  <a:gd name="connsiteX209" fmla="*/ 1003219 w 1071706"/>
                  <a:gd name="connsiteY209" fmla="*/ 271677 h 1095797"/>
                  <a:gd name="connsiteX210" fmla="*/ 994279 w 1071706"/>
                  <a:gd name="connsiteY210" fmla="*/ 268343 h 1095797"/>
                  <a:gd name="connsiteX211" fmla="*/ 989582 w 1071706"/>
                  <a:gd name="connsiteY211" fmla="*/ 263192 h 1095797"/>
                  <a:gd name="connsiteX212" fmla="*/ 982612 w 1071706"/>
                  <a:gd name="connsiteY212" fmla="*/ 258040 h 1095797"/>
                  <a:gd name="connsiteX213" fmla="*/ 976551 w 1071706"/>
                  <a:gd name="connsiteY213" fmla="*/ 250767 h 1095797"/>
                  <a:gd name="connsiteX214" fmla="*/ 974127 w 1071706"/>
                  <a:gd name="connsiteY214" fmla="*/ 248797 h 1095797"/>
                  <a:gd name="connsiteX215" fmla="*/ 970945 w 1071706"/>
                  <a:gd name="connsiteY215" fmla="*/ 244403 h 1095797"/>
                  <a:gd name="connsiteX216" fmla="*/ 965187 w 1071706"/>
                  <a:gd name="connsiteY216" fmla="*/ 242736 h 1095797"/>
                  <a:gd name="connsiteX217" fmla="*/ 959429 w 1071706"/>
                  <a:gd name="connsiteY217" fmla="*/ 238645 h 1095797"/>
                  <a:gd name="connsiteX218" fmla="*/ 956248 w 1071706"/>
                  <a:gd name="connsiteY218" fmla="*/ 235615 h 1095797"/>
                  <a:gd name="connsiteX219" fmla="*/ 947005 w 1071706"/>
                  <a:gd name="connsiteY219" fmla="*/ 230312 h 1095797"/>
                  <a:gd name="connsiteX220" fmla="*/ 942611 w 1071706"/>
                  <a:gd name="connsiteY220" fmla="*/ 228342 h 1095797"/>
                  <a:gd name="connsiteX221" fmla="*/ 939883 w 1071706"/>
                  <a:gd name="connsiteY221" fmla="*/ 226524 h 1095797"/>
                  <a:gd name="connsiteX222" fmla="*/ 935489 w 1071706"/>
                  <a:gd name="connsiteY222" fmla="*/ 224554 h 1095797"/>
                  <a:gd name="connsiteX223" fmla="*/ 930186 w 1071706"/>
                  <a:gd name="connsiteY223" fmla="*/ 221220 h 1095797"/>
                  <a:gd name="connsiteX224" fmla="*/ 922761 w 1071706"/>
                  <a:gd name="connsiteY224" fmla="*/ 219857 h 1095797"/>
                  <a:gd name="connsiteX225" fmla="*/ 916246 w 1071706"/>
                  <a:gd name="connsiteY225" fmla="*/ 219402 h 1095797"/>
                  <a:gd name="connsiteX226" fmla="*/ 905337 w 1071706"/>
                  <a:gd name="connsiteY226" fmla="*/ 221372 h 1095797"/>
                  <a:gd name="connsiteX227" fmla="*/ 896548 w 1071706"/>
                  <a:gd name="connsiteY227" fmla="*/ 221826 h 1095797"/>
                  <a:gd name="connsiteX228" fmla="*/ 893215 w 1071706"/>
                  <a:gd name="connsiteY228" fmla="*/ 223190 h 1095797"/>
                  <a:gd name="connsiteX229" fmla="*/ 888821 w 1071706"/>
                  <a:gd name="connsiteY229" fmla="*/ 222584 h 1095797"/>
                  <a:gd name="connsiteX230" fmla="*/ 884427 w 1071706"/>
                  <a:gd name="connsiteY230" fmla="*/ 221523 h 1095797"/>
                  <a:gd name="connsiteX231" fmla="*/ 882154 w 1071706"/>
                  <a:gd name="connsiteY231" fmla="*/ 219554 h 1095797"/>
                  <a:gd name="connsiteX232" fmla="*/ 877911 w 1071706"/>
                  <a:gd name="connsiteY232" fmla="*/ 217887 h 1095797"/>
                  <a:gd name="connsiteX233" fmla="*/ 874578 w 1071706"/>
                  <a:gd name="connsiteY233" fmla="*/ 219554 h 1095797"/>
                  <a:gd name="connsiteX234" fmla="*/ 867759 w 1071706"/>
                  <a:gd name="connsiteY234" fmla="*/ 219099 h 1095797"/>
                  <a:gd name="connsiteX235" fmla="*/ 858365 w 1071706"/>
                  <a:gd name="connsiteY235" fmla="*/ 215462 h 1095797"/>
                  <a:gd name="connsiteX236" fmla="*/ 856092 w 1071706"/>
                  <a:gd name="connsiteY236" fmla="*/ 213493 h 1095797"/>
                  <a:gd name="connsiteX237" fmla="*/ 851850 w 1071706"/>
                  <a:gd name="connsiteY237" fmla="*/ 211826 h 1095797"/>
                  <a:gd name="connsiteX238" fmla="*/ 848971 w 1071706"/>
                  <a:gd name="connsiteY238" fmla="*/ 210008 h 1095797"/>
                  <a:gd name="connsiteX239" fmla="*/ 840940 w 1071706"/>
                  <a:gd name="connsiteY239" fmla="*/ 207886 h 1095797"/>
                  <a:gd name="connsiteX240" fmla="*/ 836849 w 1071706"/>
                  <a:gd name="connsiteY240" fmla="*/ 207584 h 1095797"/>
                  <a:gd name="connsiteX241" fmla="*/ 835334 w 1071706"/>
                  <a:gd name="connsiteY241" fmla="*/ 208644 h 1095797"/>
                  <a:gd name="connsiteX242" fmla="*/ 834728 w 1071706"/>
                  <a:gd name="connsiteY242" fmla="*/ 211068 h 1095797"/>
                  <a:gd name="connsiteX243" fmla="*/ 827303 w 1071706"/>
                  <a:gd name="connsiteY243" fmla="*/ 211523 h 1095797"/>
                  <a:gd name="connsiteX244" fmla="*/ 823515 w 1071706"/>
                  <a:gd name="connsiteY244" fmla="*/ 213644 h 1095797"/>
                  <a:gd name="connsiteX245" fmla="*/ 821697 w 1071706"/>
                  <a:gd name="connsiteY245" fmla="*/ 213341 h 1095797"/>
                  <a:gd name="connsiteX246" fmla="*/ 819424 w 1071706"/>
                  <a:gd name="connsiteY246" fmla="*/ 215008 h 1095797"/>
                  <a:gd name="connsiteX247" fmla="*/ 814576 w 1071706"/>
                  <a:gd name="connsiteY247" fmla="*/ 219554 h 1095797"/>
                  <a:gd name="connsiteX248" fmla="*/ 813667 w 1071706"/>
                  <a:gd name="connsiteY248" fmla="*/ 218038 h 1095797"/>
                  <a:gd name="connsiteX249" fmla="*/ 814576 w 1071706"/>
                  <a:gd name="connsiteY249" fmla="*/ 216523 h 1095797"/>
                  <a:gd name="connsiteX250" fmla="*/ 816697 w 1071706"/>
                  <a:gd name="connsiteY250" fmla="*/ 213796 h 1095797"/>
                  <a:gd name="connsiteX251" fmla="*/ 817000 w 1071706"/>
                  <a:gd name="connsiteY251" fmla="*/ 212735 h 1095797"/>
                  <a:gd name="connsiteX252" fmla="*/ 816848 w 1071706"/>
                  <a:gd name="connsiteY252" fmla="*/ 210917 h 1095797"/>
                  <a:gd name="connsiteX253" fmla="*/ 814879 w 1071706"/>
                  <a:gd name="connsiteY253" fmla="*/ 210311 h 1095797"/>
                  <a:gd name="connsiteX254" fmla="*/ 813515 w 1071706"/>
                  <a:gd name="connsiteY254" fmla="*/ 210311 h 1095797"/>
                  <a:gd name="connsiteX255" fmla="*/ 811394 w 1071706"/>
                  <a:gd name="connsiteY255" fmla="*/ 211978 h 1095797"/>
                  <a:gd name="connsiteX256" fmla="*/ 809424 w 1071706"/>
                  <a:gd name="connsiteY256" fmla="*/ 217432 h 1095797"/>
                  <a:gd name="connsiteX257" fmla="*/ 807909 w 1071706"/>
                  <a:gd name="connsiteY257" fmla="*/ 223038 h 1095797"/>
                  <a:gd name="connsiteX258" fmla="*/ 802908 w 1071706"/>
                  <a:gd name="connsiteY258" fmla="*/ 228342 h 1095797"/>
                  <a:gd name="connsiteX259" fmla="*/ 800181 w 1071706"/>
                  <a:gd name="connsiteY259" fmla="*/ 230160 h 1095797"/>
                  <a:gd name="connsiteX260" fmla="*/ 800181 w 1071706"/>
                  <a:gd name="connsiteY260" fmla="*/ 228493 h 1095797"/>
                  <a:gd name="connsiteX261" fmla="*/ 802454 w 1071706"/>
                  <a:gd name="connsiteY261" fmla="*/ 218190 h 1095797"/>
                  <a:gd name="connsiteX262" fmla="*/ 803212 w 1071706"/>
                  <a:gd name="connsiteY262" fmla="*/ 215917 h 1095797"/>
                  <a:gd name="connsiteX263" fmla="*/ 803818 w 1071706"/>
                  <a:gd name="connsiteY263" fmla="*/ 213038 h 1095797"/>
                  <a:gd name="connsiteX264" fmla="*/ 804575 w 1071706"/>
                  <a:gd name="connsiteY264" fmla="*/ 211674 h 1095797"/>
                  <a:gd name="connsiteX265" fmla="*/ 805636 w 1071706"/>
                  <a:gd name="connsiteY265" fmla="*/ 210462 h 1095797"/>
                  <a:gd name="connsiteX266" fmla="*/ 805636 w 1071706"/>
                  <a:gd name="connsiteY266" fmla="*/ 208341 h 1095797"/>
                  <a:gd name="connsiteX267" fmla="*/ 809424 w 1071706"/>
                  <a:gd name="connsiteY267" fmla="*/ 207280 h 1095797"/>
                  <a:gd name="connsiteX268" fmla="*/ 809121 w 1071706"/>
                  <a:gd name="connsiteY268" fmla="*/ 204705 h 1095797"/>
                  <a:gd name="connsiteX269" fmla="*/ 807909 w 1071706"/>
                  <a:gd name="connsiteY269" fmla="*/ 201977 h 1095797"/>
                  <a:gd name="connsiteX270" fmla="*/ 805636 w 1071706"/>
                  <a:gd name="connsiteY270" fmla="*/ 202583 h 1095797"/>
                  <a:gd name="connsiteX271" fmla="*/ 803969 w 1071706"/>
                  <a:gd name="connsiteY271" fmla="*/ 203644 h 1095797"/>
                  <a:gd name="connsiteX272" fmla="*/ 801696 w 1071706"/>
                  <a:gd name="connsiteY272" fmla="*/ 207584 h 1095797"/>
                  <a:gd name="connsiteX273" fmla="*/ 800636 w 1071706"/>
                  <a:gd name="connsiteY273" fmla="*/ 206220 h 1095797"/>
                  <a:gd name="connsiteX274" fmla="*/ 799120 w 1071706"/>
                  <a:gd name="connsiteY274" fmla="*/ 204705 h 1095797"/>
                  <a:gd name="connsiteX275" fmla="*/ 800484 w 1071706"/>
                  <a:gd name="connsiteY275" fmla="*/ 204098 h 1095797"/>
                  <a:gd name="connsiteX276" fmla="*/ 801848 w 1071706"/>
                  <a:gd name="connsiteY276" fmla="*/ 203796 h 1095797"/>
                  <a:gd name="connsiteX277" fmla="*/ 802908 w 1071706"/>
                  <a:gd name="connsiteY277" fmla="*/ 201674 h 1095797"/>
                  <a:gd name="connsiteX278" fmla="*/ 803969 w 1071706"/>
                  <a:gd name="connsiteY278" fmla="*/ 200613 h 1095797"/>
                  <a:gd name="connsiteX279" fmla="*/ 805181 w 1071706"/>
                  <a:gd name="connsiteY279" fmla="*/ 198947 h 1095797"/>
                  <a:gd name="connsiteX280" fmla="*/ 804878 w 1071706"/>
                  <a:gd name="connsiteY280" fmla="*/ 196068 h 1095797"/>
                  <a:gd name="connsiteX281" fmla="*/ 803666 w 1071706"/>
                  <a:gd name="connsiteY281" fmla="*/ 193189 h 1095797"/>
                  <a:gd name="connsiteX282" fmla="*/ 801999 w 1071706"/>
                  <a:gd name="connsiteY282" fmla="*/ 190613 h 1095797"/>
                  <a:gd name="connsiteX283" fmla="*/ 800030 w 1071706"/>
                  <a:gd name="connsiteY283" fmla="*/ 191825 h 1095797"/>
                  <a:gd name="connsiteX284" fmla="*/ 798514 w 1071706"/>
                  <a:gd name="connsiteY284" fmla="*/ 191977 h 1095797"/>
                  <a:gd name="connsiteX285" fmla="*/ 800030 w 1071706"/>
                  <a:gd name="connsiteY285" fmla="*/ 190159 h 1095797"/>
                  <a:gd name="connsiteX286" fmla="*/ 798211 w 1071706"/>
                  <a:gd name="connsiteY286" fmla="*/ 189855 h 1095797"/>
                  <a:gd name="connsiteX287" fmla="*/ 797151 w 1071706"/>
                  <a:gd name="connsiteY287" fmla="*/ 188340 h 1095797"/>
                  <a:gd name="connsiteX288" fmla="*/ 794575 w 1071706"/>
                  <a:gd name="connsiteY288" fmla="*/ 186067 h 1095797"/>
                  <a:gd name="connsiteX289" fmla="*/ 791696 w 1071706"/>
                  <a:gd name="connsiteY289" fmla="*/ 183946 h 1095797"/>
                  <a:gd name="connsiteX290" fmla="*/ 790332 w 1071706"/>
                  <a:gd name="connsiteY290" fmla="*/ 182734 h 1095797"/>
                  <a:gd name="connsiteX291" fmla="*/ 787453 w 1071706"/>
                  <a:gd name="connsiteY291" fmla="*/ 183795 h 1095797"/>
                  <a:gd name="connsiteX292" fmla="*/ 785938 w 1071706"/>
                  <a:gd name="connsiteY292" fmla="*/ 187128 h 1095797"/>
                  <a:gd name="connsiteX293" fmla="*/ 784726 w 1071706"/>
                  <a:gd name="connsiteY293" fmla="*/ 188946 h 1095797"/>
                  <a:gd name="connsiteX294" fmla="*/ 783514 w 1071706"/>
                  <a:gd name="connsiteY294" fmla="*/ 189553 h 1095797"/>
                  <a:gd name="connsiteX295" fmla="*/ 782908 w 1071706"/>
                  <a:gd name="connsiteY295" fmla="*/ 185461 h 1095797"/>
                  <a:gd name="connsiteX296" fmla="*/ 780029 w 1071706"/>
                  <a:gd name="connsiteY296" fmla="*/ 179704 h 1095797"/>
                  <a:gd name="connsiteX297" fmla="*/ 777301 w 1071706"/>
                  <a:gd name="connsiteY297" fmla="*/ 178946 h 1095797"/>
                  <a:gd name="connsiteX298" fmla="*/ 774877 w 1071706"/>
                  <a:gd name="connsiteY298" fmla="*/ 179401 h 1095797"/>
                  <a:gd name="connsiteX299" fmla="*/ 771241 w 1071706"/>
                  <a:gd name="connsiteY299" fmla="*/ 176825 h 1095797"/>
                  <a:gd name="connsiteX300" fmla="*/ 765937 w 1071706"/>
                  <a:gd name="connsiteY300" fmla="*/ 175158 h 1095797"/>
                  <a:gd name="connsiteX301" fmla="*/ 763968 w 1071706"/>
                  <a:gd name="connsiteY301" fmla="*/ 172885 h 1095797"/>
                  <a:gd name="connsiteX302" fmla="*/ 761392 w 1071706"/>
                  <a:gd name="connsiteY302" fmla="*/ 173340 h 1095797"/>
                  <a:gd name="connsiteX303" fmla="*/ 759422 w 1071706"/>
                  <a:gd name="connsiteY303" fmla="*/ 172885 h 1095797"/>
                  <a:gd name="connsiteX304" fmla="*/ 759271 w 1071706"/>
                  <a:gd name="connsiteY304" fmla="*/ 171067 h 1095797"/>
                  <a:gd name="connsiteX305" fmla="*/ 756543 w 1071706"/>
                  <a:gd name="connsiteY305" fmla="*/ 171218 h 1095797"/>
                  <a:gd name="connsiteX306" fmla="*/ 753816 w 1071706"/>
                  <a:gd name="connsiteY306" fmla="*/ 170915 h 1095797"/>
                  <a:gd name="connsiteX307" fmla="*/ 751240 w 1071706"/>
                  <a:gd name="connsiteY307" fmla="*/ 170006 h 1095797"/>
                  <a:gd name="connsiteX308" fmla="*/ 748513 w 1071706"/>
                  <a:gd name="connsiteY308" fmla="*/ 169249 h 1095797"/>
                  <a:gd name="connsiteX309" fmla="*/ 747755 w 1071706"/>
                  <a:gd name="connsiteY309" fmla="*/ 167734 h 1095797"/>
                  <a:gd name="connsiteX310" fmla="*/ 744270 w 1071706"/>
                  <a:gd name="connsiteY310" fmla="*/ 165612 h 1095797"/>
                  <a:gd name="connsiteX311" fmla="*/ 743209 w 1071706"/>
                  <a:gd name="connsiteY311" fmla="*/ 164097 h 1095797"/>
                  <a:gd name="connsiteX312" fmla="*/ 740937 w 1071706"/>
                  <a:gd name="connsiteY312" fmla="*/ 164097 h 1095797"/>
                  <a:gd name="connsiteX313" fmla="*/ 739573 w 1071706"/>
                  <a:gd name="connsiteY313" fmla="*/ 163036 h 1095797"/>
                  <a:gd name="connsiteX314" fmla="*/ 737452 w 1071706"/>
                  <a:gd name="connsiteY314" fmla="*/ 163188 h 1095797"/>
                  <a:gd name="connsiteX315" fmla="*/ 734724 w 1071706"/>
                  <a:gd name="connsiteY315" fmla="*/ 163036 h 1095797"/>
                  <a:gd name="connsiteX316" fmla="*/ 732754 w 1071706"/>
                  <a:gd name="connsiteY316" fmla="*/ 161218 h 1095797"/>
                  <a:gd name="connsiteX317" fmla="*/ 730936 w 1071706"/>
                  <a:gd name="connsiteY317" fmla="*/ 160309 h 1095797"/>
                  <a:gd name="connsiteX318" fmla="*/ 727451 w 1071706"/>
                  <a:gd name="connsiteY318" fmla="*/ 159854 h 1095797"/>
                  <a:gd name="connsiteX319" fmla="*/ 726391 w 1071706"/>
                  <a:gd name="connsiteY319" fmla="*/ 160461 h 1095797"/>
                  <a:gd name="connsiteX320" fmla="*/ 725784 w 1071706"/>
                  <a:gd name="connsiteY320" fmla="*/ 161370 h 1095797"/>
                  <a:gd name="connsiteX321" fmla="*/ 726542 w 1071706"/>
                  <a:gd name="connsiteY321" fmla="*/ 162430 h 1095797"/>
                  <a:gd name="connsiteX322" fmla="*/ 726997 w 1071706"/>
                  <a:gd name="connsiteY322" fmla="*/ 163642 h 1095797"/>
                  <a:gd name="connsiteX323" fmla="*/ 725633 w 1071706"/>
                  <a:gd name="connsiteY323" fmla="*/ 163188 h 1095797"/>
                  <a:gd name="connsiteX324" fmla="*/ 723209 w 1071706"/>
                  <a:gd name="connsiteY324" fmla="*/ 161067 h 1095797"/>
                  <a:gd name="connsiteX325" fmla="*/ 720633 w 1071706"/>
                  <a:gd name="connsiteY325" fmla="*/ 162430 h 1095797"/>
                  <a:gd name="connsiteX326" fmla="*/ 719572 w 1071706"/>
                  <a:gd name="connsiteY326" fmla="*/ 162582 h 1095797"/>
                  <a:gd name="connsiteX327" fmla="*/ 718360 w 1071706"/>
                  <a:gd name="connsiteY327" fmla="*/ 162127 h 1095797"/>
                  <a:gd name="connsiteX328" fmla="*/ 717148 w 1071706"/>
                  <a:gd name="connsiteY328" fmla="*/ 161218 h 1095797"/>
                  <a:gd name="connsiteX329" fmla="*/ 716239 w 1071706"/>
                  <a:gd name="connsiteY329" fmla="*/ 160915 h 1095797"/>
                  <a:gd name="connsiteX330" fmla="*/ 714117 w 1071706"/>
                  <a:gd name="connsiteY330" fmla="*/ 161673 h 1095797"/>
                  <a:gd name="connsiteX331" fmla="*/ 711996 w 1071706"/>
                  <a:gd name="connsiteY331" fmla="*/ 163794 h 1095797"/>
                  <a:gd name="connsiteX332" fmla="*/ 710026 w 1071706"/>
                  <a:gd name="connsiteY332" fmla="*/ 161976 h 1095797"/>
                  <a:gd name="connsiteX333" fmla="*/ 708966 w 1071706"/>
                  <a:gd name="connsiteY333" fmla="*/ 162279 h 1095797"/>
                  <a:gd name="connsiteX334" fmla="*/ 707753 w 1071706"/>
                  <a:gd name="connsiteY334" fmla="*/ 162885 h 1095797"/>
                  <a:gd name="connsiteX335" fmla="*/ 707451 w 1071706"/>
                  <a:gd name="connsiteY335" fmla="*/ 164400 h 1095797"/>
                  <a:gd name="connsiteX336" fmla="*/ 705481 w 1071706"/>
                  <a:gd name="connsiteY336" fmla="*/ 165309 h 1095797"/>
                  <a:gd name="connsiteX337" fmla="*/ 703663 w 1071706"/>
                  <a:gd name="connsiteY337" fmla="*/ 167127 h 1095797"/>
                  <a:gd name="connsiteX338" fmla="*/ 702299 w 1071706"/>
                  <a:gd name="connsiteY338" fmla="*/ 168946 h 1095797"/>
                  <a:gd name="connsiteX339" fmla="*/ 702602 w 1071706"/>
                  <a:gd name="connsiteY339" fmla="*/ 171067 h 1095797"/>
                  <a:gd name="connsiteX340" fmla="*/ 698662 w 1071706"/>
                  <a:gd name="connsiteY340" fmla="*/ 173946 h 1095797"/>
                  <a:gd name="connsiteX341" fmla="*/ 699723 w 1071706"/>
                  <a:gd name="connsiteY341" fmla="*/ 176219 h 1095797"/>
                  <a:gd name="connsiteX342" fmla="*/ 697905 w 1071706"/>
                  <a:gd name="connsiteY342" fmla="*/ 178794 h 1095797"/>
                  <a:gd name="connsiteX343" fmla="*/ 698208 w 1071706"/>
                  <a:gd name="connsiteY343" fmla="*/ 180764 h 1095797"/>
                  <a:gd name="connsiteX344" fmla="*/ 698662 w 1071706"/>
                  <a:gd name="connsiteY344" fmla="*/ 181976 h 1095797"/>
                  <a:gd name="connsiteX345" fmla="*/ 701390 w 1071706"/>
                  <a:gd name="connsiteY345" fmla="*/ 183189 h 1095797"/>
                  <a:gd name="connsiteX346" fmla="*/ 698814 w 1071706"/>
                  <a:gd name="connsiteY346" fmla="*/ 184249 h 1095797"/>
                  <a:gd name="connsiteX347" fmla="*/ 698359 w 1071706"/>
                  <a:gd name="connsiteY347" fmla="*/ 186825 h 1095797"/>
                  <a:gd name="connsiteX348" fmla="*/ 696541 w 1071706"/>
                  <a:gd name="connsiteY348" fmla="*/ 185613 h 1095797"/>
                  <a:gd name="connsiteX349" fmla="*/ 694571 w 1071706"/>
                  <a:gd name="connsiteY349" fmla="*/ 183492 h 1095797"/>
                  <a:gd name="connsiteX350" fmla="*/ 691541 w 1071706"/>
                  <a:gd name="connsiteY350" fmla="*/ 183492 h 1095797"/>
                  <a:gd name="connsiteX351" fmla="*/ 683813 w 1071706"/>
                  <a:gd name="connsiteY351" fmla="*/ 192734 h 1095797"/>
                  <a:gd name="connsiteX352" fmla="*/ 679268 w 1071706"/>
                  <a:gd name="connsiteY352" fmla="*/ 194098 h 1095797"/>
                  <a:gd name="connsiteX353" fmla="*/ 677752 w 1071706"/>
                  <a:gd name="connsiteY353" fmla="*/ 195159 h 1095797"/>
                  <a:gd name="connsiteX354" fmla="*/ 672298 w 1071706"/>
                  <a:gd name="connsiteY354" fmla="*/ 206826 h 1095797"/>
                  <a:gd name="connsiteX355" fmla="*/ 670934 w 1071706"/>
                  <a:gd name="connsiteY355" fmla="*/ 211220 h 1095797"/>
                  <a:gd name="connsiteX356" fmla="*/ 669116 w 1071706"/>
                  <a:gd name="connsiteY356" fmla="*/ 213796 h 1095797"/>
                  <a:gd name="connsiteX357" fmla="*/ 667752 w 1071706"/>
                  <a:gd name="connsiteY357" fmla="*/ 214705 h 1095797"/>
                  <a:gd name="connsiteX358" fmla="*/ 666085 w 1071706"/>
                  <a:gd name="connsiteY358" fmla="*/ 215462 h 1095797"/>
                  <a:gd name="connsiteX359" fmla="*/ 667146 w 1071706"/>
                  <a:gd name="connsiteY359" fmla="*/ 213493 h 1095797"/>
                  <a:gd name="connsiteX360" fmla="*/ 668358 w 1071706"/>
                  <a:gd name="connsiteY360" fmla="*/ 211826 h 1095797"/>
                  <a:gd name="connsiteX361" fmla="*/ 669570 w 1071706"/>
                  <a:gd name="connsiteY361" fmla="*/ 205311 h 1095797"/>
                  <a:gd name="connsiteX362" fmla="*/ 670782 w 1071706"/>
                  <a:gd name="connsiteY362" fmla="*/ 202886 h 1095797"/>
                  <a:gd name="connsiteX363" fmla="*/ 672449 w 1071706"/>
                  <a:gd name="connsiteY363" fmla="*/ 196977 h 1095797"/>
                  <a:gd name="connsiteX364" fmla="*/ 674722 w 1071706"/>
                  <a:gd name="connsiteY364" fmla="*/ 190462 h 1095797"/>
                  <a:gd name="connsiteX365" fmla="*/ 667297 w 1071706"/>
                  <a:gd name="connsiteY365" fmla="*/ 194098 h 1095797"/>
                  <a:gd name="connsiteX366" fmla="*/ 663661 w 1071706"/>
                  <a:gd name="connsiteY366" fmla="*/ 195765 h 1095797"/>
                  <a:gd name="connsiteX367" fmla="*/ 658661 w 1071706"/>
                  <a:gd name="connsiteY367" fmla="*/ 194250 h 1095797"/>
                  <a:gd name="connsiteX368" fmla="*/ 656085 w 1071706"/>
                  <a:gd name="connsiteY368" fmla="*/ 193189 h 1095797"/>
                  <a:gd name="connsiteX369" fmla="*/ 652903 w 1071706"/>
                  <a:gd name="connsiteY369" fmla="*/ 193947 h 1095797"/>
                  <a:gd name="connsiteX370" fmla="*/ 651388 w 1071706"/>
                  <a:gd name="connsiteY370" fmla="*/ 195007 h 1095797"/>
                  <a:gd name="connsiteX371" fmla="*/ 648964 w 1071706"/>
                  <a:gd name="connsiteY371" fmla="*/ 195765 h 1095797"/>
                  <a:gd name="connsiteX372" fmla="*/ 645024 w 1071706"/>
                  <a:gd name="connsiteY372" fmla="*/ 198341 h 1095797"/>
                  <a:gd name="connsiteX373" fmla="*/ 640024 w 1071706"/>
                  <a:gd name="connsiteY373" fmla="*/ 193795 h 1095797"/>
                  <a:gd name="connsiteX374" fmla="*/ 638509 w 1071706"/>
                  <a:gd name="connsiteY374" fmla="*/ 192886 h 1095797"/>
                  <a:gd name="connsiteX375" fmla="*/ 637145 w 1071706"/>
                  <a:gd name="connsiteY375" fmla="*/ 191371 h 1095797"/>
                  <a:gd name="connsiteX376" fmla="*/ 637599 w 1071706"/>
                  <a:gd name="connsiteY376" fmla="*/ 189553 h 1095797"/>
                  <a:gd name="connsiteX377" fmla="*/ 637448 w 1071706"/>
                  <a:gd name="connsiteY377" fmla="*/ 188189 h 1095797"/>
                  <a:gd name="connsiteX378" fmla="*/ 634569 w 1071706"/>
                  <a:gd name="connsiteY378" fmla="*/ 183946 h 1095797"/>
                  <a:gd name="connsiteX379" fmla="*/ 633660 w 1071706"/>
                  <a:gd name="connsiteY379" fmla="*/ 180916 h 1095797"/>
                  <a:gd name="connsiteX380" fmla="*/ 633508 w 1071706"/>
                  <a:gd name="connsiteY380" fmla="*/ 179098 h 1095797"/>
                  <a:gd name="connsiteX381" fmla="*/ 633054 w 1071706"/>
                  <a:gd name="connsiteY381" fmla="*/ 176825 h 1095797"/>
                  <a:gd name="connsiteX382" fmla="*/ 631690 w 1071706"/>
                  <a:gd name="connsiteY382" fmla="*/ 175158 h 1095797"/>
                  <a:gd name="connsiteX383" fmla="*/ 631084 w 1071706"/>
                  <a:gd name="connsiteY383" fmla="*/ 173794 h 1095797"/>
                  <a:gd name="connsiteX384" fmla="*/ 633205 w 1071706"/>
                  <a:gd name="connsiteY384" fmla="*/ 171673 h 1095797"/>
                  <a:gd name="connsiteX385" fmla="*/ 633054 w 1071706"/>
                  <a:gd name="connsiteY385" fmla="*/ 170612 h 1095797"/>
                  <a:gd name="connsiteX386" fmla="*/ 631538 w 1071706"/>
                  <a:gd name="connsiteY386" fmla="*/ 168946 h 1095797"/>
                  <a:gd name="connsiteX387" fmla="*/ 628811 w 1071706"/>
                  <a:gd name="connsiteY387" fmla="*/ 170309 h 1095797"/>
                  <a:gd name="connsiteX388" fmla="*/ 627750 w 1071706"/>
                  <a:gd name="connsiteY388" fmla="*/ 171522 h 1095797"/>
                  <a:gd name="connsiteX389" fmla="*/ 623053 w 1071706"/>
                  <a:gd name="connsiteY389" fmla="*/ 174400 h 1095797"/>
                  <a:gd name="connsiteX390" fmla="*/ 620478 w 1071706"/>
                  <a:gd name="connsiteY390" fmla="*/ 176825 h 1095797"/>
                  <a:gd name="connsiteX391" fmla="*/ 614114 w 1071706"/>
                  <a:gd name="connsiteY391" fmla="*/ 180310 h 1095797"/>
                  <a:gd name="connsiteX392" fmla="*/ 610932 w 1071706"/>
                  <a:gd name="connsiteY392" fmla="*/ 181370 h 1095797"/>
                  <a:gd name="connsiteX393" fmla="*/ 602750 w 1071706"/>
                  <a:gd name="connsiteY393" fmla="*/ 186674 h 1095797"/>
                  <a:gd name="connsiteX394" fmla="*/ 595931 w 1071706"/>
                  <a:gd name="connsiteY394" fmla="*/ 188189 h 1095797"/>
                  <a:gd name="connsiteX395" fmla="*/ 592749 w 1071706"/>
                  <a:gd name="connsiteY395" fmla="*/ 186067 h 1095797"/>
                  <a:gd name="connsiteX396" fmla="*/ 583052 w 1071706"/>
                  <a:gd name="connsiteY396" fmla="*/ 185916 h 1095797"/>
                  <a:gd name="connsiteX397" fmla="*/ 586082 w 1071706"/>
                  <a:gd name="connsiteY397" fmla="*/ 184855 h 1095797"/>
                  <a:gd name="connsiteX398" fmla="*/ 595022 w 1071706"/>
                  <a:gd name="connsiteY398" fmla="*/ 180764 h 1095797"/>
                  <a:gd name="connsiteX399" fmla="*/ 600780 w 1071706"/>
                  <a:gd name="connsiteY399" fmla="*/ 181825 h 1095797"/>
                  <a:gd name="connsiteX400" fmla="*/ 601841 w 1071706"/>
                  <a:gd name="connsiteY400" fmla="*/ 180916 h 1095797"/>
                  <a:gd name="connsiteX401" fmla="*/ 603053 w 1071706"/>
                  <a:gd name="connsiteY401" fmla="*/ 179552 h 1095797"/>
                  <a:gd name="connsiteX402" fmla="*/ 603356 w 1071706"/>
                  <a:gd name="connsiteY402" fmla="*/ 175764 h 1095797"/>
                  <a:gd name="connsiteX403" fmla="*/ 606235 w 1071706"/>
                  <a:gd name="connsiteY403" fmla="*/ 174097 h 1095797"/>
                  <a:gd name="connsiteX404" fmla="*/ 608962 w 1071706"/>
                  <a:gd name="connsiteY404" fmla="*/ 171370 h 1095797"/>
                  <a:gd name="connsiteX405" fmla="*/ 608962 w 1071706"/>
                  <a:gd name="connsiteY405" fmla="*/ 166976 h 1095797"/>
                  <a:gd name="connsiteX406" fmla="*/ 609417 w 1071706"/>
                  <a:gd name="connsiteY406" fmla="*/ 164400 h 1095797"/>
                  <a:gd name="connsiteX407" fmla="*/ 613507 w 1071706"/>
                  <a:gd name="connsiteY407" fmla="*/ 158642 h 1095797"/>
                  <a:gd name="connsiteX408" fmla="*/ 615174 w 1071706"/>
                  <a:gd name="connsiteY408" fmla="*/ 157582 h 1095797"/>
                  <a:gd name="connsiteX409" fmla="*/ 617750 w 1071706"/>
                  <a:gd name="connsiteY409" fmla="*/ 154400 h 1095797"/>
                  <a:gd name="connsiteX410" fmla="*/ 620629 w 1071706"/>
                  <a:gd name="connsiteY410" fmla="*/ 148642 h 1095797"/>
                  <a:gd name="connsiteX411" fmla="*/ 621084 w 1071706"/>
                  <a:gd name="connsiteY411" fmla="*/ 146066 h 1095797"/>
                  <a:gd name="connsiteX412" fmla="*/ 626084 w 1071706"/>
                  <a:gd name="connsiteY412" fmla="*/ 144551 h 1095797"/>
                  <a:gd name="connsiteX413" fmla="*/ 629720 w 1071706"/>
                  <a:gd name="connsiteY413" fmla="*/ 140157 h 1095797"/>
                  <a:gd name="connsiteX414" fmla="*/ 631235 w 1071706"/>
                  <a:gd name="connsiteY414" fmla="*/ 139248 h 1095797"/>
                  <a:gd name="connsiteX415" fmla="*/ 633811 w 1071706"/>
                  <a:gd name="connsiteY415" fmla="*/ 138945 h 1095797"/>
                  <a:gd name="connsiteX416" fmla="*/ 635478 w 1071706"/>
                  <a:gd name="connsiteY416" fmla="*/ 137581 h 1095797"/>
                  <a:gd name="connsiteX417" fmla="*/ 640175 w 1071706"/>
                  <a:gd name="connsiteY417" fmla="*/ 132126 h 1095797"/>
                  <a:gd name="connsiteX418" fmla="*/ 643357 w 1071706"/>
                  <a:gd name="connsiteY418" fmla="*/ 126217 h 1095797"/>
                  <a:gd name="connsiteX419" fmla="*/ 646691 w 1071706"/>
                  <a:gd name="connsiteY419" fmla="*/ 123186 h 1095797"/>
                  <a:gd name="connsiteX420" fmla="*/ 648054 w 1071706"/>
                  <a:gd name="connsiteY420" fmla="*/ 120914 h 1095797"/>
                  <a:gd name="connsiteX421" fmla="*/ 654115 w 1071706"/>
                  <a:gd name="connsiteY421" fmla="*/ 116065 h 1095797"/>
                  <a:gd name="connsiteX422" fmla="*/ 654721 w 1071706"/>
                  <a:gd name="connsiteY422" fmla="*/ 115004 h 1095797"/>
                  <a:gd name="connsiteX423" fmla="*/ 657752 w 1071706"/>
                  <a:gd name="connsiteY423" fmla="*/ 113186 h 1095797"/>
                  <a:gd name="connsiteX424" fmla="*/ 658812 w 1071706"/>
                  <a:gd name="connsiteY424" fmla="*/ 112125 h 1095797"/>
                  <a:gd name="connsiteX425" fmla="*/ 658661 w 1071706"/>
                  <a:gd name="connsiteY425" fmla="*/ 109247 h 1095797"/>
                  <a:gd name="connsiteX426" fmla="*/ 659267 w 1071706"/>
                  <a:gd name="connsiteY426" fmla="*/ 105155 h 1095797"/>
                  <a:gd name="connsiteX427" fmla="*/ 657146 w 1071706"/>
                  <a:gd name="connsiteY427" fmla="*/ 98640 h 1095797"/>
                  <a:gd name="connsiteX428" fmla="*/ 654418 w 1071706"/>
                  <a:gd name="connsiteY428" fmla="*/ 96670 h 1095797"/>
                  <a:gd name="connsiteX429" fmla="*/ 650782 w 1071706"/>
                  <a:gd name="connsiteY429" fmla="*/ 95155 h 1095797"/>
                  <a:gd name="connsiteX430" fmla="*/ 647600 w 1071706"/>
                  <a:gd name="connsiteY430" fmla="*/ 94852 h 1095797"/>
                  <a:gd name="connsiteX431" fmla="*/ 643357 w 1071706"/>
                  <a:gd name="connsiteY431" fmla="*/ 93943 h 1095797"/>
                  <a:gd name="connsiteX432" fmla="*/ 641236 w 1071706"/>
                  <a:gd name="connsiteY432" fmla="*/ 91216 h 1095797"/>
                  <a:gd name="connsiteX433" fmla="*/ 640175 w 1071706"/>
                  <a:gd name="connsiteY433" fmla="*/ 89246 h 1095797"/>
                  <a:gd name="connsiteX434" fmla="*/ 639266 w 1071706"/>
                  <a:gd name="connsiteY434" fmla="*/ 86367 h 1095797"/>
                  <a:gd name="connsiteX435" fmla="*/ 637902 w 1071706"/>
                  <a:gd name="connsiteY435" fmla="*/ 85609 h 1095797"/>
                  <a:gd name="connsiteX436" fmla="*/ 636387 w 1071706"/>
                  <a:gd name="connsiteY436" fmla="*/ 85458 h 1095797"/>
                  <a:gd name="connsiteX437" fmla="*/ 637448 w 1071706"/>
                  <a:gd name="connsiteY437" fmla="*/ 84246 h 1095797"/>
                  <a:gd name="connsiteX438" fmla="*/ 637448 w 1071706"/>
                  <a:gd name="connsiteY438" fmla="*/ 83336 h 1095797"/>
                  <a:gd name="connsiteX439" fmla="*/ 635781 w 1071706"/>
                  <a:gd name="connsiteY439" fmla="*/ 78791 h 1095797"/>
                  <a:gd name="connsiteX440" fmla="*/ 634266 w 1071706"/>
                  <a:gd name="connsiteY440" fmla="*/ 76063 h 1095797"/>
                  <a:gd name="connsiteX441" fmla="*/ 633508 w 1071706"/>
                  <a:gd name="connsiteY441" fmla="*/ 73488 h 1095797"/>
                  <a:gd name="connsiteX442" fmla="*/ 633205 w 1071706"/>
                  <a:gd name="connsiteY442" fmla="*/ 71366 h 1095797"/>
                  <a:gd name="connsiteX443" fmla="*/ 628660 w 1071706"/>
                  <a:gd name="connsiteY443" fmla="*/ 59851 h 1095797"/>
                  <a:gd name="connsiteX444" fmla="*/ 626993 w 1071706"/>
                  <a:gd name="connsiteY444" fmla="*/ 54244 h 1095797"/>
                  <a:gd name="connsiteX445" fmla="*/ 626387 w 1071706"/>
                  <a:gd name="connsiteY445" fmla="*/ 43638 h 1095797"/>
                  <a:gd name="connsiteX446" fmla="*/ 622447 w 1071706"/>
                  <a:gd name="connsiteY446" fmla="*/ 32123 h 1095797"/>
                  <a:gd name="connsiteX447" fmla="*/ 619568 w 1071706"/>
                  <a:gd name="connsiteY447" fmla="*/ 28486 h 1095797"/>
                  <a:gd name="connsiteX448" fmla="*/ 615932 w 1071706"/>
                  <a:gd name="connsiteY448" fmla="*/ 26062 h 1095797"/>
                  <a:gd name="connsiteX449" fmla="*/ 613659 w 1071706"/>
                  <a:gd name="connsiteY449" fmla="*/ 26213 h 1095797"/>
                  <a:gd name="connsiteX450" fmla="*/ 613356 w 1071706"/>
                  <a:gd name="connsiteY450" fmla="*/ 28335 h 1095797"/>
                  <a:gd name="connsiteX451" fmla="*/ 610780 w 1071706"/>
                  <a:gd name="connsiteY451" fmla="*/ 33032 h 1095797"/>
                  <a:gd name="connsiteX452" fmla="*/ 609871 w 1071706"/>
                  <a:gd name="connsiteY452" fmla="*/ 33638 h 1095797"/>
                  <a:gd name="connsiteX453" fmla="*/ 607598 w 1071706"/>
                  <a:gd name="connsiteY453" fmla="*/ 34850 h 1095797"/>
                  <a:gd name="connsiteX454" fmla="*/ 606538 w 1071706"/>
                  <a:gd name="connsiteY454" fmla="*/ 36517 h 1095797"/>
                  <a:gd name="connsiteX455" fmla="*/ 605931 w 1071706"/>
                  <a:gd name="connsiteY455" fmla="*/ 38183 h 1095797"/>
                  <a:gd name="connsiteX456" fmla="*/ 604568 w 1071706"/>
                  <a:gd name="connsiteY456" fmla="*/ 39244 h 1095797"/>
                  <a:gd name="connsiteX457" fmla="*/ 603204 w 1071706"/>
                  <a:gd name="connsiteY457" fmla="*/ 40608 h 1095797"/>
                  <a:gd name="connsiteX458" fmla="*/ 602750 w 1071706"/>
                  <a:gd name="connsiteY458" fmla="*/ 41820 h 1095797"/>
                  <a:gd name="connsiteX459" fmla="*/ 601537 w 1071706"/>
                  <a:gd name="connsiteY459" fmla="*/ 42729 h 1095797"/>
                  <a:gd name="connsiteX460" fmla="*/ 601234 w 1071706"/>
                  <a:gd name="connsiteY460" fmla="*/ 44244 h 1095797"/>
                  <a:gd name="connsiteX461" fmla="*/ 598053 w 1071706"/>
                  <a:gd name="connsiteY461" fmla="*/ 49547 h 1095797"/>
                  <a:gd name="connsiteX462" fmla="*/ 596840 w 1071706"/>
                  <a:gd name="connsiteY462" fmla="*/ 51972 h 1095797"/>
                  <a:gd name="connsiteX463" fmla="*/ 595022 w 1071706"/>
                  <a:gd name="connsiteY463" fmla="*/ 54548 h 1095797"/>
                  <a:gd name="connsiteX464" fmla="*/ 593810 w 1071706"/>
                  <a:gd name="connsiteY464" fmla="*/ 55457 h 1095797"/>
                  <a:gd name="connsiteX465" fmla="*/ 592295 w 1071706"/>
                  <a:gd name="connsiteY465" fmla="*/ 56972 h 1095797"/>
                  <a:gd name="connsiteX466" fmla="*/ 591537 w 1071706"/>
                  <a:gd name="connsiteY466" fmla="*/ 58639 h 1095797"/>
                  <a:gd name="connsiteX467" fmla="*/ 591537 w 1071706"/>
                  <a:gd name="connsiteY467" fmla="*/ 60457 h 1095797"/>
                  <a:gd name="connsiteX468" fmla="*/ 590476 w 1071706"/>
                  <a:gd name="connsiteY468" fmla="*/ 62578 h 1095797"/>
                  <a:gd name="connsiteX469" fmla="*/ 589870 w 1071706"/>
                  <a:gd name="connsiteY469" fmla="*/ 64396 h 1095797"/>
                  <a:gd name="connsiteX470" fmla="*/ 588810 w 1071706"/>
                  <a:gd name="connsiteY470" fmla="*/ 65457 h 1095797"/>
                  <a:gd name="connsiteX471" fmla="*/ 586082 w 1071706"/>
                  <a:gd name="connsiteY471" fmla="*/ 71366 h 1095797"/>
                  <a:gd name="connsiteX472" fmla="*/ 585931 w 1071706"/>
                  <a:gd name="connsiteY472" fmla="*/ 73336 h 1095797"/>
                  <a:gd name="connsiteX473" fmla="*/ 585325 w 1071706"/>
                  <a:gd name="connsiteY473" fmla="*/ 74548 h 1095797"/>
                  <a:gd name="connsiteX474" fmla="*/ 583355 w 1071706"/>
                  <a:gd name="connsiteY474" fmla="*/ 77427 h 1095797"/>
                  <a:gd name="connsiteX475" fmla="*/ 581991 w 1071706"/>
                  <a:gd name="connsiteY475" fmla="*/ 79094 h 1095797"/>
                  <a:gd name="connsiteX476" fmla="*/ 579718 w 1071706"/>
                  <a:gd name="connsiteY476" fmla="*/ 80306 h 1095797"/>
                  <a:gd name="connsiteX477" fmla="*/ 577294 w 1071706"/>
                  <a:gd name="connsiteY477" fmla="*/ 81670 h 1095797"/>
                  <a:gd name="connsiteX478" fmla="*/ 576385 w 1071706"/>
                  <a:gd name="connsiteY478" fmla="*/ 83185 h 1095797"/>
                  <a:gd name="connsiteX479" fmla="*/ 574718 w 1071706"/>
                  <a:gd name="connsiteY479" fmla="*/ 83943 h 1095797"/>
                  <a:gd name="connsiteX480" fmla="*/ 573506 w 1071706"/>
                  <a:gd name="connsiteY480" fmla="*/ 83943 h 1095797"/>
                  <a:gd name="connsiteX481" fmla="*/ 571536 w 1071706"/>
                  <a:gd name="connsiteY481" fmla="*/ 83336 h 1095797"/>
                  <a:gd name="connsiteX482" fmla="*/ 568809 w 1071706"/>
                  <a:gd name="connsiteY482" fmla="*/ 83034 h 1095797"/>
                  <a:gd name="connsiteX483" fmla="*/ 567445 w 1071706"/>
                  <a:gd name="connsiteY483" fmla="*/ 83185 h 1095797"/>
                  <a:gd name="connsiteX484" fmla="*/ 566839 w 1071706"/>
                  <a:gd name="connsiteY484" fmla="*/ 82427 h 1095797"/>
                  <a:gd name="connsiteX485" fmla="*/ 565930 w 1071706"/>
                  <a:gd name="connsiteY485" fmla="*/ 80761 h 1095797"/>
                  <a:gd name="connsiteX486" fmla="*/ 564566 w 1071706"/>
                  <a:gd name="connsiteY486" fmla="*/ 79548 h 1095797"/>
                  <a:gd name="connsiteX487" fmla="*/ 563657 w 1071706"/>
                  <a:gd name="connsiteY487" fmla="*/ 80003 h 1095797"/>
                  <a:gd name="connsiteX488" fmla="*/ 561839 w 1071706"/>
                  <a:gd name="connsiteY488" fmla="*/ 81215 h 1095797"/>
                  <a:gd name="connsiteX489" fmla="*/ 559718 w 1071706"/>
                  <a:gd name="connsiteY489" fmla="*/ 81973 h 1095797"/>
                  <a:gd name="connsiteX490" fmla="*/ 558202 w 1071706"/>
                  <a:gd name="connsiteY490" fmla="*/ 81670 h 1095797"/>
                  <a:gd name="connsiteX491" fmla="*/ 554869 w 1071706"/>
                  <a:gd name="connsiteY491" fmla="*/ 80761 h 1095797"/>
                  <a:gd name="connsiteX492" fmla="*/ 553505 w 1071706"/>
                  <a:gd name="connsiteY492" fmla="*/ 80306 h 1095797"/>
                  <a:gd name="connsiteX493" fmla="*/ 553051 w 1071706"/>
                  <a:gd name="connsiteY493" fmla="*/ 79548 h 1095797"/>
                  <a:gd name="connsiteX494" fmla="*/ 552596 w 1071706"/>
                  <a:gd name="connsiteY494" fmla="*/ 78942 h 1095797"/>
                  <a:gd name="connsiteX495" fmla="*/ 551839 w 1071706"/>
                  <a:gd name="connsiteY495" fmla="*/ 79245 h 1095797"/>
                  <a:gd name="connsiteX496" fmla="*/ 550930 w 1071706"/>
                  <a:gd name="connsiteY496" fmla="*/ 80155 h 1095797"/>
                  <a:gd name="connsiteX497" fmla="*/ 549566 w 1071706"/>
                  <a:gd name="connsiteY497" fmla="*/ 81064 h 1095797"/>
                  <a:gd name="connsiteX498" fmla="*/ 547596 w 1071706"/>
                  <a:gd name="connsiteY498" fmla="*/ 82276 h 1095797"/>
                  <a:gd name="connsiteX499" fmla="*/ 543656 w 1071706"/>
                  <a:gd name="connsiteY499" fmla="*/ 84549 h 1095797"/>
                  <a:gd name="connsiteX500" fmla="*/ 542596 w 1071706"/>
                  <a:gd name="connsiteY500" fmla="*/ 85306 h 1095797"/>
                  <a:gd name="connsiteX501" fmla="*/ 541535 w 1071706"/>
                  <a:gd name="connsiteY501" fmla="*/ 84852 h 1095797"/>
                  <a:gd name="connsiteX502" fmla="*/ 539868 w 1071706"/>
                  <a:gd name="connsiteY502" fmla="*/ 84397 h 1095797"/>
                  <a:gd name="connsiteX503" fmla="*/ 538050 w 1071706"/>
                  <a:gd name="connsiteY503" fmla="*/ 84397 h 1095797"/>
                  <a:gd name="connsiteX504" fmla="*/ 534262 w 1071706"/>
                  <a:gd name="connsiteY504" fmla="*/ 82882 h 1095797"/>
                  <a:gd name="connsiteX505" fmla="*/ 531989 w 1071706"/>
                  <a:gd name="connsiteY505" fmla="*/ 81821 h 1095797"/>
                  <a:gd name="connsiteX506" fmla="*/ 531080 w 1071706"/>
                  <a:gd name="connsiteY506" fmla="*/ 80458 h 1095797"/>
                  <a:gd name="connsiteX507" fmla="*/ 530020 w 1071706"/>
                  <a:gd name="connsiteY507" fmla="*/ 79851 h 1095797"/>
                  <a:gd name="connsiteX508" fmla="*/ 529414 w 1071706"/>
                  <a:gd name="connsiteY508" fmla="*/ 79548 h 1095797"/>
                  <a:gd name="connsiteX509" fmla="*/ 528201 w 1071706"/>
                  <a:gd name="connsiteY509" fmla="*/ 79548 h 1095797"/>
                  <a:gd name="connsiteX510" fmla="*/ 527292 w 1071706"/>
                  <a:gd name="connsiteY510" fmla="*/ 78639 h 1095797"/>
                  <a:gd name="connsiteX511" fmla="*/ 527141 w 1071706"/>
                  <a:gd name="connsiteY511" fmla="*/ 77579 h 1095797"/>
                  <a:gd name="connsiteX512" fmla="*/ 526686 w 1071706"/>
                  <a:gd name="connsiteY512" fmla="*/ 76367 h 1095797"/>
                  <a:gd name="connsiteX513" fmla="*/ 525474 w 1071706"/>
                  <a:gd name="connsiteY513" fmla="*/ 76063 h 1095797"/>
                  <a:gd name="connsiteX514" fmla="*/ 523201 w 1071706"/>
                  <a:gd name="connsiteY514" fmla="*/ 76518 h 1095797"/>
                  <a:gd name="connsiteX515" fmla="*/ 522595 w 1071706"/>
                  <a:gd name="connsiteY515" fmla="*/ 76215 h 1095797"/>
                  <a:gd name="connsiteX516" fmla="*/ 521231 w 1071706"/>
                  <a:gd name="connsiteY516" fmla="*/ 75003 h 1095797"/>
                  <a:gd name="connsiteX517" fmla="*/ 520019 w 1071706"/>
                  <a:gd name="connsiteY517" fmla="*/ 73639 h 1095797"/>
                  <a:gd name="connsiteX518" fmla="*/ 519716 w 1071706"/>
                  <a:gd name="connsiteY518" fmla="*/ 72275 h 1095797"/>
                  <a:gd name="connsiteX519" fmla="*/ 518959 w 1071706"/>
                  <a:gd name="connsiteY519" fmla="*/ 72427 h 1095797"/>
                  <a:gd name="connsiteX520" fmla="*/ 517140 w 1071706"/>
                  <a:gd name="connsiteY520" fmla="*/ 73639 h 1095797"/>
                  <a:gd name="connsiteX521" fmla="*/ 515928 w 1071706"/>
                  <a:gd name="connsiteY521" fmla="*/ 73942 h 1095797"/>
                  <a:gd name="connsiteX522" fmla="*/ 515019 w 1071706"/>
                  <a:gd name="connsiteY522" fmla="*/ 73639 h 1095797"/>
                  <a:gd name="connsiteX523" fmla="*/ 513958 w 1071706"/>
                  <a:gd name="connsiteY523" fmla="*/ 73791 h 1095797"/>
                  <a:gd name="connsiteX524" fmla="*/ 511231 w 1071706"/>
                  <a:gd name="connsiteY524" fmla="*/ 75154 h 1095797"/>
                  <a:gd name="connsiteX525" fmla="*/ 509716 w 1071706"/>
                  <a:gd name="connsiteY525" fmla="*/ 75457 h 1095797"/>
                  <a:gd name="connsiteX526" fmla="*/ 508655 w 1071706"/>
                  <a:gd name="connsiteY526" fmla="*/ 76821 h 1095797"/>
                  <a:gd name="connsiteX527" fmla="*/ 501231 w 1071706"/>
                  <a:gd name="connsiteY527" fmla="*/ 77427 h 1095797"/>
                  <a:gd name="connsiteX528" fmla="*/ 499261 w 1071706"/>
                  <a:gd name="connsiteY528" fmla="*/ 77730 h 1095797"/>
                  <a:gd name="connsiteX529" fmla="*/ 494867 w 1071706"/>
                  <a:gd name="connsiteY529" fmla="*/ 75457 h 1095797"/>
                  <a:gd name="connsiteX530" fmla="*/ 493655 w 1071706"/>
                  <a:gd name="connsiteY530" fmla="*/ 74700 h 1095797"/>
                  <a:gd name="connsiteX531" fmla="*/ 493048 w 1071706"/>
                  <a:gd name="connsiteY531" fmla="*/ 74548 h 1095797"/>
                  <a:gd name="connsiteX532" fmla="*/ 492594 w 1071706"/>
                  <a:gd name="connsiteY532" fmla="*/ 74700 h 1095797"/>
                  <a:gd name="connsiteX533" fmla="*/ 492139 w 1071706"/>
                  <a:gd name="connsiteY533" fmla="*/ 75154 h 1095797"/>
                  <a:gd name="connsiteX534" fmla="*/ 491382 w 1071706"/>
                  <a:gd name="connsiteY534" fmla="*/ 78033 h 1095797"/>
                  <a:gd name="connsiteX535" fmla="*/ 490776 w 1071706"/>
                  <a:gd name="connsiteY535" fmla="*/ 78791 h 1095797"/>
                  <a:gd name="connsiteX536" fmla="*/ 489564 w 1071706"/>
                  <a:gd name="connsiteY536" fmla="*/ 79397 h 1095797"/>
                  <a:gd name="connsiteX537" fmla="*/ 488351 w 1071706"/>
                  <a:gd name="connsiteY537" fmla="*/ 80458 h 1095797"/>
                  <a:gd name="connsiteX538" fmla="*/ 488200 w 1071706"/>
                  <a:gd name="connsiteY538" fmla="*/ 81518 h 1095797"/>
                  <a:gd name="connsiteX539" fmla="*/ 490018 w 1071706"/>
                  <a:gd name="connsiteY539" fmla="*/ 82124 h 1095797"/>
                  <a:gd name="connsiteX540" fmla="*/ 491533 w 1071706"/>
                  <a:gd name="connsiteY540" fmla="*/ 84246 h 1095797"/>
                  <a:gd name="connsiteX541" fmla="*/ 493048 w 1071706"/>
                  <a:gd name="connsiteY541" fmla="*/ 85912 h 1095797"/>
                  <a:gd name="connsiteX542" fmla="*/ 494261 w 1071706"/>
                  <a:gd name="connsiteY542" fmla="*/ 87427 h 1095797"/>
                  <a:gd name="connsiteX543" fmla="*/ 494109 w 1071706"/>
                  <a:gd name="connsiteY543" fmla="*/ 89094 h 1095797"/>
                  <a:gd name="connsiteX544" fmla="*/ 493958 w 1071706"/>
                  <a:gd name="connsiteY544" fmla="*/ 91519 h 1095797"/>
                  <a:gd name="connsiteX545" fmla="*/ 493048 w 1071706"/>
                  <a:gd name="connsiteY545" fmla="*/ 92276 h 1095797"/>
                  <a:gd name="connsiteX546" fmla="*/ 491533 w 1071706"/>
                  <a:gd name="connsiteY546" fmla="*/ 92731 h 1095797"/>
                  <a:gd name="connsiteX547" fmla="*/ 485927 w 1071706"/>
                  <a:gd name="connsiteY547" fmla="*/ 91519 h 1095797"/>
                  <a:gd name="connsiteX548" fmla="*/ 481533 w 1071706"/>
                  <a:gd name="connsiteY548" fmla="*/ 90458 h 1095797"/>
                  <a:gd name="connsiteX549" fmla="*/ 479715 w 1071706"/>
                  <a:gd name="connsiteY549" fmla="*/ 90155 h 1095797"/>
                  <a:gd name="connsiteX550" fmla="*/ 478957 w 1071706"/>
                  <a:gd name="connsiteY550" fmla="*/ 89852 h 1095797"/>
                  <a:gd name="connsiteX551" fmla="*/ 477745 w 1071706"/>
                  <a:gd name="connsiteY551" fmla="*/ 90306 h 1095797"/>
                  <a:gd name="connsiteX552" fmla="*/ 476684 w 1071706"/>
                  <a:gd name="connsiteY552" fmla="*/ 90912 h 1095797"/>
                  <a:gd name="connsiteX553" fmla="*/ 475169 w 1071706"/>
                  <a:gd name="connsiteY553" fmla="*/ 90458 h 1095797"/>
                  <a:gd name="connsiteX554" fmla="*/ 473199 w 1071706"/>
                  <a:gd name="connsiteY554" fmla="*/ 90610 h 1095797"/>
                  <a:gd name="connsiteX555" fmla="*/ 471078 w 1071706"/>
                  <a:gd name="connsiteY555" fmla="*/ 91216 h 1095797"/>
                  <a:gd name="connsiteX556" fmla="*/ 469108 w 1071706"/>
                  <a:gd name="connsiteY556" fmla="*/ 91519 h 1095797"/>
                  <a:gd name="connsiteX557" fmla="*/ 465472 w 1071706"/>
                  <a:gd name="connsiteY557" fmla="*/ 90610 h 1095797"/>
                  <a:gd name="connsiteX558" fmla="*/ 464411 w 1071706"/>
                  <a:gd name="connsiteY558" fmla="*/ 90458 h 1095797"/>
                  <a:gd name="connsiteX559" fmla="*/ 463653 w 1071706"/>
                  <a:gd name="connsiteY559" fmla="*/ 90003 h 1095797"/>
                  <a:gd name="connsiteX560" fmla="*/ 462138 w 1071706"/>
                  <a:gd name="connsiteY560" fmla="*/ 88185 h 1095797"/>
                  <a:gd name="connsiteX561" fmla="*/ 461381 w 1071706"/>
                  <a:gd name="connsiteY561" fmla="*/ 88034 h 1095797"/>
                  <a:gd name="connsiteX562" fmla="*/ 459411 w 1071706"/>
                  <a:gd name="connsiteY562" fmla="*/ 88943 h 1095797"/>
                  <a:gd name="connsiteX563" fmla="*/ 456986 w 1071706"/>
                  <a:gd name="connsiteY563" fmla="*/ 89549 h 1095797"/>
                  <a:gd name="connsiteX564" fmla="*/ 455775 w 1071706"/>
                  <a:gd name="connsiteY564" fmla="*/ 89397 h 1095797"/>
                  <a:gd name="connsiteX565" fmla="*/ 454411 w 1071706"/>
                  <a:gd name="connsiteY565" fmla="*/ 90003 h 1095797"/>
                  <a:gd name="connsiteX566" fmla="*/ 453198 w 1071706"/>
                  <a:gd name="connsiteY566" fmla="*/ 90912 h 1095797"/>
                  <a:gd name="connsiteX567" fmla="*/ 450774 w 1071706"/>
                  <a:gd name="connsiteY567" fmla="*/ 94549 h 1095797"/>
                  <a:gd name="connsiteX568" fmla="*/ 449562 w 1071706"/>
                  <a:gd name="connsiteY568" fmla="*/ 95913 h 1095797"/>
                  <a:gd name="connsiteX569" fmla="*/ 448198 w 1071706"/>
                  <a:gd name="connsiteY569" fmla="*/ 96519 h 1095797"/>
                  <a:gd name="connsiteX570" fmla="*/ 445471 w 1071706"/>
                  <a:gd name="connsiteY570" fmla="*/ 96519 h 1095797"/>
                  <a:gd name="connsiteX571" fmla="*/ 442592 w 1071706"/>
                  <a:gd name="connsiteY571" fmla="*/ 96670 h 1095797"/>
                  <a:gd name="connsiteX572" fmla="*/ 440471 w 1071706"/>
                  <a:gd name="connsiteY572" fmla="*/ 97579 h 1095797"/>
                  <a:gd name="connsiteX573" fmla="*/ 438501 w 1071706"/>
                  <a:gd name="connsiteY573" fmla="*/ 98034 h 1095797"/>
                  <a:gd name="connsiteX574" fmla="*/ 437440 w 1071706"/>
                  <a:gd name="connsiteY574" fmla="*/ 98034 h 1095797"/>
                  <a:gd name="connsiteX575" fmla="*/ 437137 w 1071706"/>
                  <a:gd name="connsiteY575" fmla="*/ 100004 h 1095797"/>
                  <a:gd name="connsiteX576" fmla="*/ 436683 w 1071706"/>
                  <a:gd name="connsiteY576" fmla="*/ 100913 h 1095797"/>
                  <a:gd name="connsiteX577" fmla="*/ 436077 w 1071706"/>
                  <a:gd name="connsiteY577" fmla="*/ 101519 h 1095797"/>
                  <a:gd name="connsiteX578" fmla="*/ 434561 w 1071706"/>
                  <a:gd name="connsiteY578" fmla="*/ 101670 h 1095797"/>
                  <a:gd name="connsiteX579" fmla="*/ 433198 w 1071706"/>
                  <a:gd name="connsiteY579" fmla="*/ 101670 h 1095797"/>
                  <a:gd name="connsiteX580" fmla="*/ 432289 w 1071706"/>
                  <a:gd name="connsiteY580" fmla="*/ 100761 h 1095797"/>
                  <a:gd name="connsiteX581" fmla="*/ 430773 w 1071706"/>
                  <a:gd name="connsiteY581" fmla="*/ 100307 h 1095797"/>
                  <a:gd name="connsiteX582" fmla="*/ 429410 w 1071706"/>
                  <a:gd name="connsiteY582" fmla="*/ 100004 h 1095797"/>
                  <a:gd name="connsiteX583" fmla="*/ 428501 w 1071706"/>
                  <a:gd name="connsiteY583" fmla="*/ 99549 h 1095797"/>
                  <a:gd name="connsiteX584" fmla="*/ 427743 w 1071706"/>
                  <a:gd name="connsiteY584" fmla="*/ 99701 h 1095797"/>
                  <a:gd name="connsiteX585" fmla="*/ 427137 w 1071706"/>
                  <a:gd name="connsiteY585" fmla="*/ 100610 h 1095797"/>
                  <a:gd name="connsiteX586" fmla="*/ 426682 w 1071706"/>
                  <a:gd name="connsiteY586" fmla="*/ 101367 h 1095797"/>
                  <a:gd name="connsiteX587" fmla="*/ 426228 w 1071706"/>
                  <a:gd name="connsiteY587" fmla="*/ 102731 h 1095797"/>
                  <a:gd name="connsiteX588" fmla="*/ 424107 w 1071706"/>
                  <a:gd name="connsiteY588" fmla="*/ 103186 h 1095797"/>
                  <a:gd name="connsiteX589" fmla="*/ 423197 w 1071706"/>
                  <a:gd name="connsiteY589" fmla="*/ 103943 h 1095797"/>
                  <a:gd name="connsiteX590" fmla="*/ 423652 w 1071706"/>
                  <a:gd name="connsiteY590" fmla="*/ 106368 h 1095797"/>
                  <a:gd name="connsiteX591" fmla="*/ 423349 w 1071706"/>
                  <a:gd name="connsiteY591" fmla="*/ 107277 h 1095797"/>
                  <a:gd name="connsiteX592" fmla="*/ 422894 w 1071706"/>
                  <a:gd name="connsiteY592" fmla="*/ 108034 h 1095797"/>
                  <a:gd name="connsiteX593" fmla="*/ 420318 w 1071706"/>
                  <a:gd name="connsiteY593" fmla="*/ 108186 h 1095797"/>
                  <a:gd name="connsiteX594" fmla="*/ 418197 w 1071706"/>
                  <a:gd name="connsiteY594" fmla="*/ 108186 h 1095797"/>
                  <a:gd name="connsiteX595" fmla="*/ 416985 w 1071706"/>
                  <a:gd name="connsiteY595" fmla="*/ 109095 h 1095797"/>
                  <a:gd name="connsiteX596" fmla="*/ 415470 w 1071706"/>
                  <a:gd name="connsiteY596" fmla="*/ 110156 h 1095797"/>
                  <a:gd name="connsiteX597" fmla="*/ 414561 w 1071706"/>
                  <a:gd name="connsiteY597" fmla="*/ 110307 h 1095797"/>
                  <a:gd name="connsiteX598" fmla="*/ 413500 w 1071706"/>
                  <a:gd name="connsiteY598" fmla="*/ 110307 h 1095797"/>
                  <a:gd name="connsiteX599" fmla="*/ 411985 w 1071706"/>
                  <a:gd name="connsiteY599" fmla="*/ 109095 h 1095797"/>
                  <a:gd name="connsiteX600" fmla="*/ 410621 w 1071706"/>
                  <a:gd name="connsiteY600" fmla="*/ 107580 h 1095797"/>
                  <a:gd name="connsiteX601" fmla="*/ 406985 w 1071706"/>
                  <a:gd name="connsiteY601" fmla="*/ 106519 h 1095797"/>
                  <a:gd name="connsiteX602" fmla="*/ 403348 w 1071706"/>
                  <a:gd name="connsiteY602" fmla="*/ 105610 h 1095797"/>
                  <a:gd name="connsiteX603" fmla="*/ 401076 w 1071706"/>
                  <a:gd name="connsiteY603" fmla="*/ 103186 h 1095797"/>
                  <a:gd name="connsiteX604" fmla="*/ 400469 w 1071706"/>
                  <a:gd name="connsiteY604" fmla="*/ 101974 h 1095797"/>
                  <a:gd name="connsiteX605" fmla="*/ 399409 w 1071706"/>
                  <a:gd name="connsiteY605" fmla="*/ 101519 h 1095797"/>
                  <a:gd name="connsiteX606" fmla="*/ 396681 w 1071706"/>
                  <a:gd name="connsiteY606" fmla="*/ 98640 h 1095797"/>
                  <a:gd name="connsiteX607" fmla="*/ 395166 w 1071706"/>
                  <a:gd name="connsiteY607" fmla="*/ 96822 h 1095797"/>
                  <a:gd name="connsiteX608" fmla="*/ 393499 w 1071706"/>
                  <a:gd name="connsiteY608" fmla="*/ 96367 h 1095797"/>
                  <a:gd name="connsiteX609" fmla="*/ 391530 w 1071706"/>
                  <a:gd name="connsiteY609" fmla="*/ 95610 h 1095797"/>
                  <a:gd name="connsiteX610" fmla="*/ 391681 w 1071706"/>
                  <a:gd name="connsiteY610" fmla="*/ 94246 h 1095797"/>
                  <a:gd name="connsiteX611" fmla="*/ 391530 w 1071706"/>
                  <a:gd name="connsiteY611" fmla="*/ 93034 h 1095797"/>
                  <a:gd name="connsiteX612" fmla="*/ 390772 w 1071706"/>
                  <a:gd name="connsiteY612" fmla="*/ 92579 h 1095797"/>
                  <a:gd name="connsiteX613" fmla="*/ 389560 w 1071706"/>
                  <a:gd name="connsiteY613" fmla="*/ 92276 h 1095797"/>
                  <a:gd name="connsiteX614" fmla="*/ 389105 w 1071706"/>
                  <a:gd name="connsiteY614" fmla="*/ 91519 h 1095797"/>
                  <a:gd name="connsiteX615" fmla="*/ 389257 w 1071706"/>
                  <a:gd name="connsiteY615" fmla="*/ 89852 h 1095797"/>
                  <a:gd name="connsiteX616" fmla="*/ 389408 w 1071706"/>
                  <a:gd name="connsiteY616" fmla="*/ 85458 h 1095797"/>
                  <a:gd name="connsiteX617" fmla="*/ 389105 w 1071706"/>
                  <a:gd name="connsiteY617" fmla="*/ 81367 h 1095797"/>
                  <a:gd name="connsiteX618" fmla="*/ 386529 w 1071706"/>
                  <a:gd name="connsiteY618" fmla="*/ 79851 h 1095797"/>
                  <a:gd name="connsiteX619" fmla="*/ 385469 w 1071706"/>
                  <a:gd name="connsiteY619" fmla="*/ 78942 h 1095797"/>
                  <a:gd name="connsiteX620" fmla="*/ 383499 w 1071706"/>
                  <a:gd name="connsiteY620" fmla="*/ 72882 h 1095797"/>
                  <a:gd name="connsiteX621" fmla="*/ 382590 w 1071706"/>
                  <a:gd name="connsiteY621" fmla="*/ 70154 h 1095797"/>
                  <a:gd name="connsiteX622" fmla="*/ 382590 w 1071706"/>
                  <a:gd name="connsiteY622" fmla="*/ 68033 h 1095797"/>
                  <a:gd name="connsiteX623" fmla="*/ 383196 w 1071706"/>
                  <a:gd name="connsiteY623" fmla="*/ 61972 h 1095797"/>
                  <a:gd name="connsiteX624" fmla="*/ 383954 w 1071706"/>
                  <a:gd name="connsiteY624" fmla="*/ 59396 h 1095797"/>
                  <a:gd name="connsiteX625" fmla="*/ 385923 w 1071706"/>
                  <a:gd name="connsiteY625" fmla="*/ 54093 h 1095797"/>
                  <a:gd name="connsiteX626" fmla="*/ 387135 w 1071706"/>
                  <a:gd name="connsiteY626" fmla="*/ 52275 h 1095797"/>
                  <a:gd name="connsiteX627" fmla="*/ 387135 w 1071706"/>
                  <a:gd name="connsiteY627" fmla="*/ 50911 h 1095797"/>
                  <a:gd name="connsiteX628" fmla="*/ 386984 w 1071706"/>
                  <a:gd name="connsiteY628" fmla="*/ 49244 h 1095797"/>
                  <a:gd name="connsiteX629" fmla="*/ 386378 w 1071706"/>
                  <a:gd name="connsiteY629" fmla="*/ 45759 h 1095797"/>
                  <a:gd name="connsiteX630" fmla="*/ 389711 w 1071706"/>
                  <a:gd name="connsiteY630" fmla="*/ 43638 h 1095797"/>
                  <a:gd name="connsiteX631" fmla="*/ 391227 w 1071706"/>
                  <a:gd name="connsiteY631" fmla="*/ 42729 h 1095797"/>
                  <a:gd name="connsiteX632" fmla="*/ 391530 w 1071706"/>
                  <a:gd name="connsiteY632" fmla="*/ 41214 h 1095797"/>
                  <a:gd name="connsiteX633" fmla="*/ 393348 w 1071706"/>
                  <a:gd name="connsiteY633" fmla="*/ 39395 h 1095797"/>
                  <a:gd name="connsiteX634" fmla="*/ 394105 w 1071706"/>
                  <a:gd name="connsiteY634" fmla="*/ 37729 h 1095797"/>
                  <a:gd name="connsiteX635" fmla="*/ 394711 w 1071706"/>
                  <a:gd name="connsiteY635" fmla="*/ 36365 h 1095797"/>
                  <a:gd name="connsiteX636" fmla="*/ 394560 w 1071706"/>
                  <a:gd name="connsiteY636" fmla="*/ 35607 h 1095797"/>
                  <a:gd name="connsiteX637" fmla="*/ 393802 w 1071706"/>
                  <a:gd name="connsiteY637" fmla="*/ 35153 h 1095797"/>
                  <a:gd name="connsiteX638" fmla="*/ 392893 w 1071706"/>
                  <a:gd name="connsiteY638" fmla="*/ 33789 h 1095797"/>
                  <a:gd name="connsiteX639" fmla="*/ 390923 w 1071706"/>
                  <a:gd name="connsiteY639" fmla="*/ 30001 h 1095797"/>
                  <a:gd name="connsiteX640" fmla="*/ 390166 w 1071706"/>
                  <a:gd name="connsiteY640" fmla="*/ 29244 h 1095797"/>
                  <a:gd name="connsiteX641" fmla="*/ 389560 w 1071706"/>
                  <a:gd name="connsiteY641" fmla="*/ 28183 h 1095797"/>
                  <a:gd name="connsiteX642" fmla="*/ 389863 w 1071706"/>
                  <a:gd name="connsiteY642" fmla="*/ 26516 h 1095797"/>
                  <a:gd name="connsiteX643" fmla="*/ 390621 w 1071706"/>
                  <a:gd name="connsiteY643" fmla="*/ 24698 h 1095797"/>
                  <a:gd name="connsiteX644" fmla="*/ 390469 w 1071706"/>
                  <a:gd name="connsiteY644" fmla="*/ 23940 h 1095797"/>
                  <a:gd name="connsiteX645" fmla="*/ 389257 w 1071706"/>
                  <a:gd name="connsiteY645" fmla="*/ 23031 h 1095797"/>
                  <a:gd name="connsiteX646" fmla="*/ 386833 w 1071706"/>
                  <a:gd name="connsiteY646" fmla="*/ 21364 h 1095797"/>
                  <a:gd name="connsiteX647" fmla="*/ 384863 w 1071706"/>
                  <a:gd name="connsiteY647" fmla="*/ 21213 h 1095797"/>
                  <a:gd name="connsiteX648" fmla="*/ 383347 w 1071706"/>
                  <a:gd name="connsiteY648" fmla="*/ 20607 h 1095797"/>
                  <a:gd name="connsiteX649" fmla="*/ 381075 w 1071706"/>
                  <a:gd name="connsiteY649" fmla="*/ 20455 h 1095797"/>
                  <a:gd name="connsiteX650" fmla="*/ 379256 w 1071706"/>
                  <a:gd name="connsiteY650" fmla="*/ 20304 h 1095797"/>
                  <a:gd name="connsiteX651" fmla="*/ 378196 w 1071706"/>
                  <a:gd name="connsiteY651" fmla="*/ 19698 h 1095797"/>
                  <a:gd name="connsiteX652" fmla="*/ 378347 w 1071706"/>
                  <a:gd name="connsiteY652" fmla="*/ 18637 h 1095797"/>
                  <a:gd name="connsiteX653" fmla="*/ 378802 w 1071706"/>
                  <a:gd name="connsiteY653" fmla="*/ 17880 h 1095797"/>
                  <a:gd name="connsiteX654" fmla="*/ 380317 w 1071706"/>
                  <a:gd name="connsiteY654" fmla="*/ 16061 h 1095797"/>
                  <a:gd name="connsiteX655" fmla="*/ 381378 w 1071706"/>
                  <a:gd name="connsiteY655" fmla="*/ 14092 h 1095797"/>
                  <a:gd name="connsiteX656" fmla="*/ 381529 w 1071706"/>
                  <a:gd name="connsiteY656" fmla="*/ 12122 h 1095797"/>
                  <a:gd name="connsiteX657" fmla="*/ 381832 w 1071706"/>
                  <a:gd name="connsiteY657" fmla="*/ 9546 h 1095797"/>
                  <a:gd name="connsiteX658" fmla="*/ 382287 w 1071706"/>
                  <a:gd name="connsiteY658" fmla="*/ 7273 h 1095797"/>
                  <a:gd name="connsiteX659" fmla="*/ 382590 w 1071706"/>
                  <a:gd name="connsiteY659" fmla="*/ 4697 h 1095797"/>
                  <a:gd name="connsiteX660" fmla="*/ 380166 w 1071706"/>
                  <a:gd name="connsiteY660" fmla="*/ 3031 h 1095797"/>
                  <a:gd name="connsiteX661" fmla="*/ 379408 w 1071706"/>
                  <a:gd name="connsiteY661" fmla="*/ 1667 h 1095797"/>
                  <a:gd name="connsiteX662" fmla="*/ 378347 w 1071706"/>
                  <a:gd name="connsiteY662" fmla="*/ 455 h 1095797"/>
                  <a:gd name="connsiteX663" fmla="*/ 377287 w 1071706"/>
                  <a:gd name="connsiteY663" fmla="*/ 455 h 1095797"/>
                  <a:gd name="connsiteX664" fmla="*/ 375620 w 1071706"/>
                  <a:gd name="connsiteY664" fmla="*/ 0 h 1095797"/>
                  <a:gd name="connsiteX665" fmla="*/ 373044 w 1071706"/>
                  <a:gd name="connsiteY665" fmla="*/ 1667 h 1095797"/>
                  <a:gd name="connsiteX666" fmla="*/ 371074 w 1071706"/>
                  <a:gd name="connsiteY666" fmla="*/ 1364 h 1095797"/>
                  <a:gd name="connsiteX667" fmla="*/ 369711 w 1071706"/>
                  <a:gd name="connsiteY667" fmla="*/ 1970 h 1095797"/>
                  <a:gd name="connsiteX668" fmla="*/ 366529 w 1071706"/>
                  <a:gd name="connsiteY668" fmla="*/ 1818 h 1095797"/>
                  <a:gd name="connsiteX669" fmla="*/ 364407 w 1071706"/>
                  <a:gd name="connsiteY669" fmla="*/ 1061 h 1095797"/>
                  <a:gd name="connsiteX670" fmla="*/ 361983 w 1071706"/>
                  <a:gd name="connsiteY670" fmla="*/ 1515 h 1095797"/>
                  <a:gd name="connsiteX671" fmla="*/ 362741 w 1071706"/>
                  <a:gd name="connsiteY671" fmla="*/ 1818 h 1095797"/>
                  <a:gd name="connsiteX672" fmla="*/ 363801 w 1071706"/>
                  <a:gd name="connsiteY672" fmla="*/ 2576 h 1095797"/>
                  <a:gd name="connsiteX673" fmla="*/ 364862 w 1071706"/>
                  <a:gd name="connsiteY673" fmla="*/ 4849 h 1095797"/>
                  <a:gd name="connsiteX674" fmla="*/ 365771 w 1071706"/>
                  <a:gd name="connsiteY674" fmla="*/ 7273 h 1095797"/>
                  <a:gd name="connsiteX675" fmla="*/ 365771 w 1071706"/>
                  <a:gd name="connsiteY675" fmla="*/ 8485 h 1095797"/>
                  <a:gd name="connsiteX676" fmla="*/ 365165 w 1071706"/>
                  <a:gd name="connsiteY676" fmla="*/ 10000 h 1095797"/>
                  <a:gd name="connsiteX677" fmla="*/ 363801 w 1071706"/>
                  <a:gd name="connsiteY677" fmla="*/ 11819 h 1095797"/>
                  <a:gd name="connsiteX678" fmla="*/ 362135 w 1071706"/>
                  <a:gd name="connsiteY678" fmla="*/ 13334 h 1095797"/>
                  <a:gd name="connsiteX679" fmla="*/ 359559 w 1071706"/>
                  <a:gd name="connsiteY679" fmla="*/ 14546 h 1095797"/>
                  <a:gd name="connsiteX680" fmla="*/ 357589 w 1071706"/>
                  <a:gd name="connsiteY680" fmla="*/ 15758 h 1095797"/>
                  <a:gd name="connsiteX681" fmla="*/ 355922 w 1071706"/>
                  <a:gd name="connsiteY681" fmla="*/ 18789 h 1095797"/>
                  <a:gd name="connsiteX682" fmla="*/ 354862 w 1071706"/>
                  <a:gd name="connsiteY682" fmla="*/ 19849 h 1095797"/>
                  <a:gd name="connsiteX683" fmla="*/ 353953 w 1071706"/>
                  <a:gd name="connsiteY683" fmla="*/ 20304 h 1095797"/>
                  <a:gd name="connsiteX684" fmla="*/ 352134 w 1071706"/>
                  <a:gd name="connsiteY684" fmla="*/ 20758 h 1095797"/>
                  <a:gd name="connsiteX685" fmla="*/ 349255 w 1071706"/>
                  <a:gd name="connsiteY685" fmla="*/ 20607 h 1095797"/>
                  <a:gd name="connsiteX686" fmla="*/ 347286 w 1071706"/>
                  <a:gd name="connsiteY686" fmla="*/ 20304 h 1095797"/>
                  <a:gd name="connsiteX687" fmla="*/ 344861 w 1071706"/>
                  <a:gd name="connsiteY687" fmla="*/ 22577 h 1095797"/>
                  <a:gd name="connsiteX688" fmla="*/ 341831 w 1071706"/>
                  <a:gd name="connsiteY688" fmla="*/ 23486 h 1095797"/>
                  <a:gd name="connsiteX689" fmla="*/ 339710 w 1071706"/>
                  <a:gd name="connsiteY689" fmla="*/ 26668 h 1095797"/>
                  <a:gd name="connsiteX690" fmla="*/ 332437 w 1071706"/>
                  <a:gd name="connsiteY690" fmla="*/ 29092 h 1095797"/>
                  <a:gd name="connsiteX691" fmla="*/ 325315 w 1071706"/>
                  <a:gd name="connsiteY691" fmla="*/ 31062 h 1095797"/>
                  <a:gd name="connsiteX692" fmla="*/ 323345 w 1071706"/>
                  <a:gd name="connsiteY692" fmla="*/ 31819 h 1095797"/>
                  <a:gd name="connsiteX693" fmla="*/ 316224 w 1071706"/>
                  <a:gd name="connsiteY693" fmla="*/ 30304 h 1095797"/>
                  <a:gd name="connsiteX694" fmla="*/ 314557 w 1071706"/>
                  <a:gd name="connsiteY694" fmla="*/ 30759 h 1095797"/>
                  <a:gd name="connsiteX695" fmla="*/ 312587 w 1071706"/>
                  <a:gd name="connsiteY695" fmla="*/ 32274 h 1095797"/>
                  <a:gd name="connsiteX696" fmla="*/ 310769 w 1071706"/>
                  <a:gd name="connsiteY696" fmla="*/ 33486 h 1095797"/>
                  <a:gd name="connsiteX697" fmla="*/ 309254 w 1071706"/>
                  <a:gd name="connsiteY697" fmla="*/ 33486 h 1095797"/>
                  <a:gd name="connsiteX698" fmla="*/ 308042 w 1071706"/>
                  <a:gd name="connsiteY698" fmla="*/ 34092 h 1095797"/>
                  <a:gd name="connsiteX699" fmla="*/ 307284 w 1071706"/>
                  <a:gd name="connsiteY699" fmla="*/ 36213 h 1095797"/>
                  <a:gd name="connsiteX700" fmla="*/ 306678 w 1071706"/>
                  <a:gd name="connsiteY700" fmla="*/ 43487 h 1095797"/>
                  <a:gd name="connsiteX701" fmla="*/ 304102 w 1071706"/>
                  <a:gd name="connsiteY701" fmla="*/ 45608 h 1095797"/>
                  <a:gd name="connsiteX702" fmla="*/ 301072 w 1071706"/>
                  <a:gd name="connsiteY702" fmla="*/ 45608 h 1095797"/>
                  <a:gd name="connsiteX703" fmla="*/ 298950 w 1071706"/>
                  <a:gd name="connsiteY703" fmla="*/ 43032 h 1095797"/>
                  <a:gd name="connsiteX704" fmla="*/ 296526 w 1071706"/>
                  <a:gd name="connsiteY704" fmla="*/ 41062 h 1095797"/>
                  <a:gd name="connsiteX705" fmla="*/ 292132 w 1071706"/>
                  <a:gd name="connsiteY705" fmla="*/ 36517 h 1095797"/>
                  <a:gd name="connsiteX706" fmla="*/ 290920 w 1071706"/>
                  <a:gd name="connsiteY706" fmla="*/ 35911 h 1095797"/>
                  <a:gd name="connsiteX707" fmla="*/ 289859 w 1071706"/>
                  <a:gd name="connsiteY707" fmla="*/ 35911 h 1095797"/>
                  <a:gd name="connsiteX708" fmla="*/ 285768 w 1071706"/>
                  <a:gd name="connsiteY708" fmla="*/ 37274 h 1095797"/>
                  <a:gd name="connsiteX709" fmla="*/ 283798 w 1071706"/>
                  <a:gd name="connsiteY709" fmla="*/ 36668 h 1095797"/>
                  <a:gd name="connsiteX710" fmla="*/ 282283 w 1071706"/>
                  <a:gd name="connsiteY710" fmla="*/ 35911 h 1095797"/>
                  <a:gd name="connsiteX711" fmla="*/ 279707 w 1071706"/>
                  <a:gd name="connsiteY711" fmla="*/ 36062 h 1095797"/>
                  <a:gd name="connsiteX712" fmla="*/ 275162 w 1071706"/>
                  <a:gd name="connsiteY712" fmla="*/ 36062 h 1095797"/>
                  <a:gd name="connsiteX713" fmla="*/ 272283 w 1071706"/>
                  <a:gd name="connsiteY713" fmla="*/ 36062 h 1095797"/>
                  <a:gd name="connsiteX714" fmla="*/ 270919 w 1071706"/>
                  <a:gd name="connsiteY714" fmla="*/ 34850 h 1095797"/>
                  <a:gd name="connsiteX715" fmla="*/ 269555 w 1071706"/>
                  <a:gd name="connsiteY715" fmla="*/ 32274 h 1095797"/>
                  <a:gd name="connsiteX716" fmla="*/ 268646 w 1071706"/>
                  <a:gd name="connsiteY716" fmla="*/ 31365 h 1095797"/>
                  <a:gd name="connsiteX717" fmla="*/ 267586 w 1071706"/>
                  <a:gd name="connsiteY717" fmla="*/ 30607 h 1095797"/>
                  <a:gd name="connsiteX718" fmla="*/ 265919 w 1071706"/>
                  <a:gd name="connsiteY718" fmla="*/ 30304 h 1095797"/>
                  <a:gd name="connsiteX719" fmla="*/ 258494 w 1071706"/>
                  <a:gd name="connsiteY719" fmla="*/ 30304 h 1095797"/>
                  <a:gd name="connsiteX720" fmla="*/ 257131 w 1071706"/>
                  <a:gd name="connsiteY720" fmla="*/ 30304 h 1095797"/>
                  <a:gd name="connsiteX721" fmla="*/ 256070 w 1071706"/>
                  <a:gd name="connsiteY721" fmla="*/ 29850 h 1095797"/>
                  <a:gd name="connsiteX722" fmla="*/ 254706 w 1071706"/>
                  <a:gd name="connsiteY722" fmla="*/ 27728 h 1095797"/>
                  <a:gd name="connsiteX723" fmla="*/ 253191 w 1071706"/>
                  <a:gd name="connsiteY723" fmla="*/ 26668 h 1095797"/>
                  <a:gd name="connsiteX724" fmla="*/ 251373 w 1071706"/>
                  <a:gd name="connsiteY724" fmla="*/ 26668 h 1095797"/>
                  <a:gd name="connsiteX725" fmla="*/ 250615 w 1071706"/>
                  <a:gd name="connsiteY725" fmla="*/ 27880 h 1095797"/>
                  <a:gd name="connsiteX726" fmla="*/ 253797 w 1071706"/>
                  <a:gd name="connsiteY726" fmla="*/ 31819 h 1095797"/>
                  <a:gd name="connsiteX727" fmla="*/ 254706 w 1071706"/>
                  <a:gd name="connsiteY727" fmla="*/ 33941 h 1095797"/>
                  <a:gd name="connsiteX728" fmla="*/ 257434 w 1071706"/>
                  <a:gd name="connsiteY728" fmla="*/ 36971 h 1095797"/>
                  <a:gd name="connsiteX729" fmla="*/ 265464 w 1071706"/>
                  <a:gd name="connsiteY729" fmla="*/ 43487 h 1095797"/>
                  <a:gd name="connsiteX730" fmla="*/ 266980 w 1071706"/>
                  <a:gd name="connsiteY730" fmla="*/ 45608 h 1095797"/>
                  <a:gd name="connsiteX731" fmla="*/ 266828 w 1071706"/>
                  <a:gd name="connsiteY731" fmla="*/ 48184 h 1095797"/>
                  <a:gd name="connsiteX732" fmla="*/ 266828 w 1071706"/>
                  <a:gd name="connsiteY732" fmla="*/ 52123 h 1095797"/>
                  <a:gd name="connsiteX733" fmla="*/ 267131 w 1071706"/>
                  <a:gd name="connsiteY733" fmla="*/ 55911 h 1095797"/>
                  <a:gd name="connsiteX734" fmla="*/ 269252 w 1071706"/>
                  <a:gd name="connsiteY734" fmla="*/ 61366 h 1095797"/>
                  <a:gd name="connsiteX735" fmla="*/ 272131 w 1071706"/>
                  <a:gd name="connsiteY735" fmla="*/ 66972 h 1095797"/>
                  <a:gd name="connsiteX736" fmla="*/ 272889 w 1071706"/>
                  <a:gd name="connsiteY736" fmla="*/ 70457 h 1095797"/>
                  <a:gd name="connsiteX737" fmla="*/ 272283 w 1071706"/>
                  <a:gd name="connsiteY737" fmla="*/ 73033 h 1095797"/>
                  <a:gd name="connsiteX738" fmla="*/ 271677 w 1071706"/>
                  <a:gd name="connsiteY738" fmla="*/ 74397 h 1095797"/>
                  <a:gd name="connsiteX739" fmla="*/ 271677 w 1071706"/>
                  <a:gd name="connsiteY739" fmla="*/ 75003 h 1095797"/>
                  <a:gd name="connsiteX740" fmla="*/ 272283 w 1071706"/>
                  <a:gd name="connsiteY740" fmla="*/ 75609 h 1095797"/>
                  <a:gd name="connsiteX741" fmla="*/ 275010 w 1071706"/>
                  <a:gd name="connsiteY741" fmla="*/ 76367 h 1095797"/>
                  <a:gd name="connsiteX742" fmla="*/ 280768 w 1071706"/>
                  <a:gd name="connsiteY742" fmla="*/ 76821 h 1095797"/>
                  <a:gd name="connsiteX743" fmla="*/ 284253 w 1071706"/>
                  <a:gd name="connsiteY743" fmla="*/ 76821 h 1095797"/>
                  <a:gd name="connsiteX744" fmla="*/ 289556 w 1071706"/>
                  <a:gd name="connsiteY744" fmla="*/ 77427 h 1095797"/>
                  <a:gd name="connsiteX745" fmla="*/ 290011 w 1071706"/>
                  <a:gd name="connsiteY745" fmla="*/ 79397 h 1095797"/>
                  <a:gd name="connsiteX746" fmla="*/ 289556 w 1071706"/>
                  <a:gd name="connsiteY746" fmla="*/ 82579 h 1095797"/>
                  <a:gd name="connsiteX747" fmla="*/ 288495 w 1071706"/>
                  <a:gd name="connsiteY747" fmla="*/ 84397 h 1095797"/>
                  <a:gd name="connsiteX748" fmla="*/ 287586 w 1071706"/>
                  <a:gd name="connsiteY748" fmla="*/ 85003 h 1095797"/>
                  <a:gd name="connsiteX749" fmla="*/ 284707 w 1071706"/>
                  <a:gd name="connsiteY749" fmla="*/ 85458 h 1095797"/>
                  <a:gd name="connsiteX750" fmla="*/ 281677 w 1071706"/>
                  <a:gd name="connsiteY750" fmla="*/ 87427 h 1095797"/>
                  <a:gd name="connsiteX751" fmla="*/ 277283 w 1071706"/>
                  <a:gd name="connsiteY751" fmla="*/ 89397 h 1095797"/>
                  <a:gd name="connsiteX752" fmla="*/ 274707 w 1071706"/>
                  <a:gd name="connsiteY752" fmla="*/ 89700 h 1095797"/>
                  <a:gd name="connsiteX753" fmla="*/ 273646 w 1071706"/>
                  <a:gd name="connsiteY753" fmla="*/ 90155 h 1095797"/>
                  <a:gd name="connsiteX754" fmla="*/ 272737 w 1071706"/>
                  <a:gd name="connsiteY754" fmla="*/ 90761 h 1095797"/>
                  <a:gd name="connsiteX755" fmla="*/ 271980 w 1071706"/>
                  <a:gd name="connsiteY755" fmla="*/ 91519 h 1095797"/>
                  <a:gd name="connsiteX756" fmla="*/ 271071 w 1071706"/>
                  <a:gd name="connsiteY756" fmla="*/ 95155 h 1095797"/>
                  <a:gd name="connsiteX757" fmla="*/ 269707 w 1071706"/>
                  <a:gd name="connsiteY757" fmla="*/ 99246 h 1095797"/>
                  <a:gd name="connsiteX758" fmla="*/ 267283 w 1071706"/>
                  <a:gd name="connsiteY758" fmla="*/ 101670 h 1095797"/>
                  <a:gd name="connsiteX759" fmla="*/ 264555 w 1071706"/>
                  <a:gd name="connsiteY759" fmla="*/ 103640 h 1095797"/>
                  <a:gd name="connsiteX760" fmla="*/ 261828 w 1071706"/>
                  <a:gd name="connsiteY760" fmla="*/ 103943 h 1095797"/>
                  <a:gd name="connsiteX761" fmla="*/ 259555 w 1071706"/>
                  <a:gd name="connsiteY761" fmla="*/ 103792 h 1095797"/>
                  <a:gd name="connsiteX762" fmla="*/ 258494 w 1071706"/>
                  <a:gd name="connsiteY762" fmla="*/ 104398 h 1095797"/>
                  <a:gd name="connsiteX763" fmla="*/ 256979 w 1071706"/>
                  <a:gd name="connsiteY763" fmla="*/ 106064 h 1095797"/>
                  <a:gd name="connsiteX764" fmla="*/ 254706 w 1071706"/>
                  <a:gd name="connsiteY764" fmla="*/ 108186 h 1095797"/>
                  <a:gd name="connsiteX765" fmla="*/ 252888 w 1071706"/>
                  <a:gd name="connsiteY765" fmla="*/ 109247 h 1095797"/>
                  <a:gd name="connsiteX766" fmla="*/ 250464 w 1071706"/>
                  <a:gd name="connsiteY766" fmla="*/ 109095 h 1095797"/>
                  <a:gd name="connsiteX767" fmla="*/ 247888 w 1071706"/>
                  <a:gd name="connsiteY767" fmla="*/ 110156 h 1095797"/>
                  <a:gd name="connsiteX768" fmla="*/ 244706 w 1071706"/>
                  <a:gd name="connsiteY768" fmla="*/ 111822 h 1095797"/>
                  <a:gd name="connsiteX769" fmla="*/ 242585 w 1071706"/>
                  <a:gd name="connsiteY769" fmla="*/ 113186 h 1095797"/>
                  <a:gd name="connsiteX770" fmla="*/ 240767 w 1071706"/>
                  <a:gd name="connsiteY770" fmla="*/ 115459 h 1095797"/>
                  <a:gd name="connsiteX771" fmla="*/ 238191 w 1071706"/>
                  <a:gd name="connsiteY771" fmla="*/ 117883 h 1095797"/>
                  <a:gd name="connsiteX772" fmla="*/ 235615 w 1071706"/>
                  <a:gd name="connsiteY772" fmla="*/ 119550 h 1095797"/>
                  <a:gd name="connsiteX773" fmla="*/ 234403 w 1071706"/>
                  <a:gd name="connsiteY773" fmla="*/ 121671 h 1095797"/>
                  <a:gd name="connsiteX774" fmla="*/ 232584 w 1071706"/>
                  <a:gd name="connsiteY774" fmla="*/ 124399 h 1095797"/>
                  <a:gd name="connsiteX775" fmla="*/ 230312 w 1071706"/>
                  <a:gd name="connsiteY775" fmla="*/ 124550 h 1095797"/>
                  <a:gd name="connsiteX776" fmla="*/ 230160 w 1071706"/>
                  <a:gd name="connsiteY776" fmla="*/ 122883 h 1095797"/>
                  <a:gd name="connsiteX777" fmla="*/ 231221 w 1071706"/>
                  <a:gd name="connsiteY777" fmla="*/ 120307 h 1095797"/>
                  <a:gd name="connsiteX778" fmla="*/ 230008 w 1071706"/>
                  <a:gd name="connsiteY778" fmla="*/ 118035 h 1095797"/>
                  <a:gd name="connsiteX779" fmla="*/ 227887 w 1071706"/>
                  <a:gd name="connsiteY779" fmla="*/ 116823 h 1095797"/>
                  <a:gd name="connsiteX780" fmla="*/ 226827 w 1071706"/>
                  <a:gd name="connsiteY780" fmla="*/ 116519 h 1095797"/>
                  <a:gd name="connsiteX781" fmla="*/ 225766 w 1071706"/>
                  <a:gd name="connsiteY781" fmla="*/ 116671 h 1095797"/>
                  <a:gd name="connsiteX782" fmla="*/ 223190 w 1071706"/>
                  <a:gd name="connsiteY782" fmla="*/ 117732 h 1095797"/>
                  <a:gd name="connsiteX783" fmla="*/ 220008 w 1071706"/>
                  <a:gd name="connsiteY783" fmla="*/ 119701 h 1095797"/>
                  <a:gd name="connsiteX784" fmla="*/ 218038 w 1071706"/>
                  <a:gd name="connsiteY784" fmla="*/ 121217 h 1095797"/>
                  <a:gd name="connsiteX785" fmla="*/ 216220 w 1071706"/>
                  <a:gd name="connsiteY785" fmla="*/ 121823 h 1095797"/>
                  <a:gd name="connsiteX786" fmla="*/ 212584 w 1071706"/>
                  <a:gd name="connsiteY786" fmla="*/ 122429 h 1095797"/>
                  <a:gd name="connsiteX787" fmla="*/ 209553 w 1071706"/>
                  <a:gd name="connsiteY787" fmla="*/ 122732 h 1095797"/>
                  <a:gd name="connsiteX788" fmla="*/ 208341 w 1071706"/>
                  <a:gd name="connsiteY788" fmla="*/ 122277 h 1095797"/>
                  <a:gd name="connsiteX789" fmla="*/ 206068 w 1071706"/>
                  <a:gd name="connsiteY789" fmla="*/ 120762 h 1095797"/>
                  <a:gd name="connsiteX790" fmla="*/ 200916 w 1071706"/>
                  <a:gd name="connsiteY790" fmla="*/ 116065 h 1095797"/>
                  <a:gd name="connsiteX791" fmla="*/ 193946 w 1071706"/>
                  <a:gd name="connsiteY791" fmla="*/ 109852 h 1095797"/>
                  <a:gd name="connsiteX792" fmla="*/ 188795 w 1071706"/>
                  <a:gd name="connsiteY792" fmla="*/ 111065 h 1095797"/>
                  <a:gd name="connsiteX793" fmla="*/ 188340 w 1071706"/>
                  <a:gd name="connsiteY793" fmla="*/ 110913 h 1095797"/>
                  <a:gd name="connsiteX794" fmla="*/ 188037 w 1071706"/>
                  <a:gd name="connsiteY794" fmla="*/ 110307 h 1095797"/>
                  <a:gd name="connsiteX795" fmla="*/ 188189 w 1071706"/>
                  <a:gd name="connsiteY795" fmla="*/ 105155 h 1095797"/>
                  <a:gd name="connsiteX796" fmla="*/ 188189 w 1071706"/>
                  <a:gd name="connsiteY796" fmla="*/ 99246 h 1095797"/>
                  <a:gd name="connsiteX797" fmla="*/ 187431 w 1071706"/>
                  <a:gd name="connsiteY797" fmla="*/ 96822 h 1095797"/>
                  <a:gd name="connsiteX798" fmla="*/ 185007 w 1071706"/>
                  <a:gd name="connsiteY798" fmla="*/ 93034 h 1095797"/>
                  <a:gd name="connsiteX799" fmla="*/ 181825 w 1071706"/>
                  <a:gd name="connsiteY799" fmla="*/ 87882 h 1095797"/>
                  <a:gd name="connsiteX800" fmla="*/ 180916 w 1071706"/>
                  <a:gd name="connsiteY800" fmla="*/ 86367 h 1095797"/>
                  <a:gd name="connsiteX801" fmla="*/ 179552 w 1071706"/>
                  <a:gd name="connsiteY801" fmla="*/ 85458 h 1095797"/>
                  <a:gd name="connsiteX802" fmla="*/ 178037 w 1071706"/>
                  <a:gd name="connsiteY802" fmla="*/ 85306 h 1095797"/>
                  <a:gd name="connsiteX803" fmla="*/ 176825 w 1071706"/>
                  <a:gd name="connsiteY803" fmla="*/ 85609 h 1095797"/>
                  <a:gd name="connsiteX804" fmla="*/ 175309 w 1071706"/>
                  <a:gd name="connsiteY804" fmla="*/ 86518 h 1095797"/>
                  <a:gd name="connsiteX805" fmla="*/ 173794 w 1071706"/>
                  <a:gd name="connsiteY805" fmla="*/ 87579 h 1095797"/>
                  <a:gd name="connsiteX806" fmla="*/ 170915 w 1071706"/>
                  <a:gd name="connsiteY806" fmla="*/ 90610 h 1095797"/>
                  <a:gd name="connsiteX807" fmla="*/ 168036 w 1071706"/>
                  <a:gd name="connsiteY807" fmla="*/ 94246 h 1095797"/>
                  <a:gd name="connsiteX808" fmla="*/ 166370 w 1071706"/>
                  <a:gd name="connsiteY808" fmla="*/ 95004 h 1095797"/>
                  <a:gd name="connsiteX809" fmla="*/ 164703 w 1071706"/>
                  <a:gd name="connsiteY809" fmla="*/ 95307 h 1095797"/>
                  <a:gd name="connsiteX810" fmla="*/ 163188 w 1071706"/>
                  <a:gd name="connsiteY810" fmla="*/ 95155 h 1095797"/>
                  <a:gd name="connsiteX811" fmla="*/ 161976 w 1071706"/>
                  <a:gd name="connsiteY811" fmla="*/ 94246 h 1095797"/>
                  <a:gd name="connsiteX812" fmla="*/ 160764 w 1071706"/>
                  <a:gd name="connsiteY812" fmla="*/ 92276 h 1095797"/>
                  <a:gd name="connsiteX813" fmla="*/ 159248 w 1071706"/>
                  <a:gd name="connsiteY813" fmla="*/ 89700 h 1095797"/>
                  <a:gd name="connsiteX814" fmla="*/ 157582 w 1071706"/>
                  <a:gd name="connsiteY814" fmla="*/ 88791 h 1095797"/>
                  <a:gd name="connsiteX815" fmla="*/ 156976 w 1071706"/>
                  <a:gd name="connsiteY815" fmla="*/ 89549 h 1095797"/>
                  <a:gd name="connsiteX816" fmla="*/ 156369 w 1071706"/>
                  <a:gd name="connsiteY816" fmla="*/ 91064 h 1095797"/>
                  <a:gd name="connsiteX817" fmla="*/ 155915 w 1071706"/>
                  <a:gd name="connsiteY817" fmla="*/ 92579 h 1095797"/>
                  <a:gd name="connsiteX818" fmla="*/ 157127 w 1071706"/>
                  <a:gd name="connsiteY818" fmla="*/ 94549 h 1095797"/>
                  <a:gd name="connsiteX819" fmla="*/ 158188 w 1071706"/>
                  <a:gd name="connsiteY819" fmla="*/ 96064 h 1095797"/>
                  <a:gd name="connsiteX820" fmla="*/ 156521 w 1071706"/>
                  <a:gd name="connsiteY820" fmla="*/ 96064 h 1095797"/>
                  <a:gd name="connsiteX821" fmla="*/ 150915 w 1071706"/>
                  <a:gd name="connsiteY821" fmla="*/ 96064 h 1095797"/>
                  <a:gd name="connsiteX822" fmla="*/ 144551 w 1071706"/>
                  <a:gd name="connsiteY822" fmla="*/ 96064 h 1095797"/>
                  <a:gd name="connsiteX823" fmla="*/ 138187 w 1071706"/>
                  <a:gd name="connsiteY823" fmla="*/ 96064 h 1095797"/>
                  <a:gd name="connsiteX824" fmla="*/ 132429 w 1071706"/>
                  <a:gd name="connsiteY824" fmla="*/ 96064 h 1095797"/>
                  <a:gd name="connsiteX825" fmla="*/ 127126 w 1071706"/>
                  <a:gd name="connsiteY825" fmla="*/ 96064 h 1095797"/>
                  <a:gd name="connsiteX826" fmla="*/ 125156 w 1071706"/>
                  <a:gd name="connsiteY826" fmla="*/ 95913 h 1095797"/>
                  <a:gd name="connsiteX827" fmla="*/ 123035 w 1071706"/>
                  <a:gd name="connsiteY827" fmla="*/ 95004 h 1095797"/>
                  <a:gd name="connsiteX828" fmla="*/ 121065 w 1071706"/>
                  <a:gd name="connsiteY828" fmla="*/ 94549 h 1095797"/>
                  <a:gd name="connsiteX829" fmla="*/ 120004 w 1071706"/>
                  <a:gd name="connsiteY829" fmla="*/ 94549 h 1095797"/>
                  <a:gd name="connsiteX830" fmla="*/ 118186 w 1071706"/>
                  <a:gd name="connsiteY830" fmla="*/ 95458 h 1095797"/>
                  <a:gd name="connsiteX831" fmla="*/ 115762 w 1071706"/>
                  <a:gd name="connsiteY831" fmla="*/ 95610 h 1095797"/>
                  <a:gd name="connsiteX832" fmla="*/ 114095 w 1071706"/>
                  <a:gd name="connsiteY832" fmla="*/ 96367 h 1095797"/>
                  <a:gd name="connsiteX833" fmla="*/ 112731 w 1071706"/>
                  <a:gd name="connsiteY833" fmla="*/ 96216 h 1095797"/>
                  <a:gd name="connsiteX834" fmla="*/ 112731 w 1071706"/>
                  <a:gd name="connsiteY834" fmla="*/ 100761 h 1095797"/>
                  <a:gd name="connsiteX835" fmla="*/ 112731 w 1071706"/>
                  <a:gd name="connsiteY835" fmla="*/ 107125 h 1095797"/>
                  <a:gd name="connsiteX836" fmla="*/ 112731 w 1071706"/>
                  <a:gd name="connsiteY836" fmla="*/ 113944 h 1095797"/>
                  <a:gd name="connsiteX837" fmla="*/ 114247 w 1071706"/>
                  <a:gd name="connsiteY837" fmla="*/ 113489 h 1095797"/>
                  <a:gd name="connsiteX838" fmla="*/ 115459 w 1071706"/>
                  <a:gd name="connsiteY838" fmla="*/ 113489 h 1095797"/>
                  <a:gd name="connsiteX839" fmla="*/ 116368 w 1071706"/>
                  <a:gd name="connsiteY839" fmla="*/ 113944 h 1095797"/>
                  <a:gd name="connsiteX840" fmla="*/ 118944 w 1071706"/>
                  <a:gd name="connsiteY840" fmla="*/ 113489 h 1095797"/>
                  <a:gd name="connsiteX841" fmla="*/ 120459 w 1071706"/>
                  <a:gd name="connsiteY841" fmla="*/ 113641 h 1095797"/>
                  <a:gd name="connsiteX842" fmla="*/ 121823 w 1071706"/>
                  <a:gd name="connsiteY842" fmla="*/ 113792 h 1095797"/>
                  <a:gd name="connsiteX843" fmla="*/ 123035 w 1071706"/>
                  <a:gd name="connsiteY843" fmla="*/ 113792 h 1095797"/>
                  <a:gd name="connsiteX844" fmla="*/ 123792 w 1071706"/>
                  <a:gd name="connsiteY844" fmla="*/ 114398 h 1095797"/>
                  <a:gd name="connsiteX845" fmla="*/ 124853 w 1071706"/>
                  <a:gd name="connsiteY845" fmla="*/ 114247 h 1095797"/>
                  <a:gd name="connsiteX846" fmla="*/ 125914 w 1071706"/>
                  <a:gd name="connsiteY846" fmla="*/ 113641 h 1095797"/>
                  <a:gd name="connsiteX847" fmla="*/ 127277 w 1071706"/>
                  <a:gd name="connsiteY847" fmla="*/ 113944 h 1095797"/>
                  <a:gd name="connsiteX848" fmla="*/ 128793 w 1071706"/>
                  <a:gd name="connsiteY848" fmla="*/ 114853 h 1095797"/>
                  <a:gd name="connsiteX849" fmla="*/ 129702 w 1071706"/>
                  <a:gd name="connsiteY849" fmla="*/ 116217 h 1095797"/>
                  <a:gd name="connsiteX850" fmla="*/ 130611 w 1071706"/>
                  <a:gd name="connsiteY850" fmla="*/ 118035 h 1095797"/>
                  <a:gd name="connsiteX851" fmla="*/ 131520 w 1071706"/>
                  <a:gd name="connsiteY851" fmla="*/ 118944 h 1095797"/>
                  <a:gd name="connsiteX852" fmla="*/ 131520 w 1071706"/>
                  <a:gd name="connsiteY852" fmla="*/ 120611 h 1095797"/>
                  <a:gd name="connsiteX853" fmla="*/ 131520 w 1071706"/>
                  <a:gd name="connsiteY853" fmla="*/ 121974 h 1095797"/>
                  <a:gd name="connsiteX854" fmla="*/ 131217 w 1071706"/>
                  <a:gd name="connsiteY854" fmla="*/ 123035 h 1095797"/>
                  <a:gd name="connsiteX855" fmla="*/ 131520 w 1071706"/>
                  <a:gd name="connsiteY855" fmla="*/ 123793 h 1095797"/>
                  <a:gd name="connsiteX856" fmla="*/ 131823 w 1071706"/>
                  <a:gd name="connsiteY856" fmla="*/ 124550 h 1095797"/>
                  <a:gd name="connsiteX857" fmla="*/ 131823 w 1071706"/>
                  <a:gd name="connsiteY857" fmla="*/ 125005 h 1095797"/>
                  <a:gd name="connsiteX858" fmla="*/ 131368 w 1071706"/>
                  <a:gd name="connsiteY858" fmla="*/ 125156 h 1095797"/>
                  <a:gd name="connsiteX859" fmla="*/ 130308 w 1071706"/>
                  <a:gd name="connsiteY859" fmla="*/ 125308 h 1095797"/>
                  <a:gd name="connsiteX860" fmla="*/ 129247 w 1071706"/>
                  <a:gd name="connsiteY860" fmla="*/ 125459 h 1095797"/>
                  <a:gd name="connsiteX861" fmla="*/ 128490 w 1071706"/>
                  <a:gd name="connsiteY861" fmla="*/ 125459 h 1095797"/>
                  <a:gd name="connsiteX862" fmla="*/ 127884 w 1071706"/>
                  <a:gd name="connsiteY862" fmla="*/ 124702 h 1095797"/>
                  <a:gd name="connsiteX863" fmla="*/ 127277 w 1071706"/>
                  <a:gd name="connsiteY863" fmla="*/ 124702 h 1095797"/>
                  <a:gd name="connsiteX864" fmla="*/ 126368 w 1071706"/>
                  <a:gd name="connsiteY864" fmla="*/ 124853 h 1095797"/>
                  <a:gd name="connsiteX865" fmla="*/ 125459 w 1071706"/>
                  <a:gd name="connsiteY865" fmla="*/ 124399 h 1095797"/>
                  <a:gd name="connsiteX866" fmla="*/ 124702 w 1071706"/>
                  <a:gd name="connsiteY866" fmla="*/ 123489 h 1095797"/>
                  <a:gd name="connsiteX867" fmla="*/ 123338 w 1071706"/>
                  <a:gd name="connsiteY867" fmla="*/ 122580 h 1095797"/>
                  <a:gd name="connsiteX868" fmla="*/ 121823 w 1071706"/>
                  <a:gd name="connsiteY868" fmla="*/ 122883 h 1095797"/>
                  <a:gd name="connsiteX869" fmla="*/ 120762 w 1071706"/>
                  <a:gd name="connsiteY869" fmla="*/ 123338 h 1095797"/>
                  <a:gd name="connsiteX870" fmla="*/ 119701 w 1071706"/>
                  <a:gd name="connsiteY870" fmla="*/ 123944 h 1095797"/>
                  <a:gd name="connsiteX871" fmla="*/ 118792 w 1071706"/>
                  <a:gd name="connsiteY871" fmla="*/ 124550 h 1095797"/>
                  <a:gd name="connsiteX872" fmla="*/ 117883 w 1071706"/>
                  <a:gd name="connsiteY872" fmla="*/ 124399 h 1095797"/>
                  <a:gd name="connsiteX873" fmla="*/ 116671 w 1071706"/>
                  <a:gd name="connsiteY873" fmla="*/ 124853 h 1095797"/>
                  <a:gd name="connsiteX874" fmla="*/ 115610 w 1071706"/>
                  <a:gd name="connsiteY874" fmla="*/ 125459 h 1095797"/>
                  <a:gd name="connsiteX875" fmla="*/ 114247 w 1071706"/>
                  <a:gd name="connsiteY875" fmla="*/ 125914 h 1095797"/>
                  <a:gd name="connsiteX876" fmla="*/ 112731 w 1071706"/>
                  <a:gd name="connsiteY876" fmla="*/ 126217 h 1095797"/>
                  <a:gd name="connsiteX877" fmla="*/ 111065 w 1071706"/>
                  <a:gd name="connsiteY877" fmla="*/ 126520 h 1095797"/>
                  <a:gd name="connsiteX878" fmla="*/ 109398 w 1071706"/>
                  <a:gd name="connsiteY878" fmla="*/ 126671 h 1095797"/>
                  <a:gd name="connsiteX879" fmla="*/ 107580 w 1071706"/>
                  <a:gd name="connsiteY879" fmla="*/ 126823 h 1095797"/>
                  <a:gd name="connsiteX880" fmla="*/ 107428 w 1071706"/>
                  <a:gd name="connsiteY880" fmla="*/ 130459 h 1095797"/>
                  <a:gd name="connsiteX881" fmla="*/ 107277 w 1071706"/>
                  <a:gd name="connsiteY881" fmla="*/ 137429 h 1095797"/>
                  <a:gd name="connsiteX882" fmla="*/ 107125 w 1071706"/>
                  <a:gd name="connsiteY882" fmla="*/ 142126 h 1095797"/>
                  <a:gd name="connsiteX883" fmla="*/ 107125 w 1071706"/>
                  <a:gd name="connsiteY883" fmla="*/ 146369 h 1095797"/>
                  <a:gd name="connsiteX884" fmla="*/ 107883 w 1071706"/>
                  <a:gd name="connsiteY884" fmla="*/ 147884 h 1095797"/>
                  <a:gd name="connsiteX885" fmla="*/ 111216 w 1071706"/>
                  <a:gd name="connsiteY885" fmla="*/ 151218 h 1095797"/>
                  <a:gd name="connsiteX886" fmla="*/ 113792 w 1071706"/>
                  <a:gd name="connsiteY886" fmla="*/ 152885 h 1095797"/>
                  <a:gd name="connsiteX887" fmla="*/ 116065 w 1071706"/>
                  <a:gd name="connsiteY887" fmla="*/ 154854 h 1095797"/>
                  <a:gd name="connsiteX888" fmla="*/ 118186 w 1071706"/>
                  <a:gd name="connsiteY888" fmla="*/ 155612 h 1095797"/>
                  <a:gd name="connsiteX889" fmla="*/ 119095 w 1071706"/>
                  <a:gd name="connsiteY889" fmla="*/ 156369 h 1095797"/>
                  <a:gd name="connsiteX890" fmla="*/ 119701 w 1071706"/>
                  <a:gd name="connsiteY890" fmla="*/ 157582 h 1095797"/>
                  <a:gd name="connsiteX891" fmla="*/ 120004 w 1071706"/>
                  <a:gd name="connsiteY891" fmla="*/ 158794 h 1095797"/>
                  <a:gd name="connsiteX892" fmla="*/ 120308 w 1071706"/>
                  <a:gd name="connsiteY892" fmla="*/ 159854 h 1095797"/>
                  <a:gd name="connsiteX893" fmla="*/ 120004 w 1071706"/>
                  <a:gd name="connsiteY893" fmla="*/ 161067 h 1095797"/>
                  <a:gd name="connsiteX894" fmla="*/ 119398 w 1071706"/>
                  <a:gd name="connsiteY894" fmla="*/ 162127 h 1095797"/>
                  <a:gd name="connsiteX895" fmla="*/ 119701 w 1071706"/>
                  <a:gd name="connsiteY895" fmla="*/ 163339 h 1095797"/>
                  <a:gd name="connsiteX896" fmla="*/ 120459 w 1071706"/>
                  <a:gd name="connsiteY896" fmla="*/ 164249 h 1095797"/>
                  <a:gd name="connsiteX897" fmla="*/ 120762 w 1071706"/>
                  <a:gd name="connsiteY897" fmla="*/ 165461 h 1095797"/>
                  <a:gd name="connsiteX898" fmla="*/ 121368 w 1071706"/>
                  <a:gd name="connsiteY898" fmla="*/ 166521 h 1095797"/>
                  <a:gd name="connsiteX899" fmla="*/ 121671 w 1071706"/>
                  <a:gd name="connsiteY899" fmla="*/ 167582 h 1095797"/>
                  <a:gd name="connsiteX900" fmla="*/ 122277 w 1071706"/>
                  <a:gd name="connsiteY900" fmla="*/ 168339 h 1095797"/>
                  <a:gd name="connsiteX901" fmla="*/ 123186 w 1071706"/>
                  <a:gd name="connsiteY901" fmla="*/ 168946 h 1095797"/>
                  <a:gd name="connsiteX902" fmla="*/ 124247 w 1071706"/>
                  <a:gd name="connsiteY902" fmla="*/ 169855 h 1095797"/>
                  <a:gd name="connsiteX903" fmla="*/ 124398 w 1071706"/>
                  <a:gd name="connsiteY903" fmla="*/ 170764 h 1095797"/>
                  <a:gd name="connsiteX904" fmla="*/ 124247 w 1071706"/>
                  <a:gd name="connsiteY904" fmla="*/ 171673 h 1095797"/>
                  <a:gd name="connsiteX905" fmla="*/ 124247 w 1071706"/>
                  <a:gd name="connsiteY905" fmla="*/ 172431 h 1095797"/>
                  <a:gd name="connsiteX906" fmla="*/ 125308 w 1071706"/>
                  <a:gd name="connsiteY906" fmla="*/ 174097 h 1095797"/>
                  <a:gd name="connsiteX907" fmla="*/ 125611 w 1071706"/>
                  <a:gd name="connsiteY907" fmla="*/ 175310 h 1095797"/>
                  <a:gd name="connsiteX908" fmla="*/ 125156 w 1071706"/>
                  <a:gd name="connsiteY908" fmla="*/ 176673 h 1095797"/>
                  <a:gd name="connsiteX909" fmla="*/ 124702 w 1071706"/>
                  <a:gd name="connsiteY909" fmla="*/ 181522 h 1095797"/>
                  <a:gd name="connsiteX910" fmla="*/ 123489 w 1071706"/>
                  <a:gd name="connsiteY910" fmla="*/ 186977 h 1095797"/>
                  <a:gd name="connsiteX911" fmla="*/ 122732 w 1071706"/>
                  <a:gd name="connsiteY911" fmla="*/ 191068 h 1095797"/>
                  <a:gd name="connsiteX912" fmla="*/ 121519 w 1071706"/>
                  <a:gd name="connsiteY912" fmla="*/ 197886 h 1095797"/>
                  <a:gd name="connsiteX913" fmla="*/ 120004 w 1071706"/>
                  <a:gd name="connsiteY913" fmla="*/ 205765 h 1095797"/>
                  <a:gd name="connsiteX914" fmla="*/ 118186 w 1071706"/>
                  <a:gd name="connsiteY914" fmla="*/ 215311 h 1095797"/>
                  <a:gd name="connsiteX915" fmla="*/ 116520 w 1071706"/>
                  <a:gd name="connsiteY915" fmla="*/ 224857 h 1095797"/>
                  <a:gd name="connsiteX916" fmla="*/ 114853 w 1071706"/>
                  <a:gd name="connsiteY916" fmla="*/ 234100 h 1095797"/>
                  <a:gd name="connsiteX917" fmla="*/ 113337 w 1071706"/>
                  <a:gd name="connsiteY917" fmla="*/ 242433 h 1095797"/>
                  <a:gd name="connsiteX918" fmla="*/ 111671 w 1071706"/>
                  <a:gd name="connsiteY918" fmla="*/ 251524 h 1095797"/>
                  <a:gd name="connsiteX919" fmla="*/ 110610 w 1071706"/>
                  <a:gd name="connsiteY919" fmla="*/ 257131 h 1095797"/>
                  <a:gd name="connsiteX920" fmla="*/ 110155 w 1071706"/>
                  <a:gd name="connsiteY920" fmla="*/ 258040 h 1095797"/>
                  <a:gd name="connsiteX921" fmla="*/ 110004 w 1071706"/>
                  <a:gd name="connsiteY921" fmla="*/ 259858 h 1095797"/>
                  <a:gd name="connsiteX922" fmla="*/ 109095 w 1071706"/>
                  <a:gd name="connsiteY922" fmla="*/ 260616 h 1095797"/>
                  <a:gd name="connsiteX923" fmla="*/ 107731 w 1071706"/>
                  <a:gd name="connsiteY923" fmla="*/ 260767 h 1095797"/>
                  <a:gd name="connsiteX924" fmla="*/ 105610 w 1071706"/>
                  <a:gd name="connsiteY924" fmla="*/ 259555 h 1095797"/>
                  <a:gd name="connsiteX925" fmla="*/ 104095 w 1071706"/>
                  <a:gd name="connsiteY925" fmla="*/ 259858 h 1095797"/>
                  <a:gd name="connsiteX926" fmla="*/ 102579 w 1071706"/>
                  <a:gd name="connsiteY926" fmla="*/ 260010 h 1095797"/>
                  <a:gd name="connsiteX927" fmla="*/ 100458 w 1071706"/>
                  <a:gd name="connsiteY927" fmla="*/ 258494 h 1095797"/>
                  <a:gd name="connsiteX928" fmla="*/ 99701 w 1071706"/>
                  <a:gd name="connsiteY928" fmla="*/ 256979 h 1095797"/>
                  <a:gd name="connsiteX929" fmla="*/ 98034 w 1071706"/>
                  <a:gd name="connsiteY929" fmla="*/ 255767 h 1095797"/>
                  <a:gd name="connsiteX930" fmla="*/ 94549 w 1071706"/>
                  <a:gd name="connsiteY930" fmla="*/ 256222 h 1095797"/>
                  <a:gd name="connsiteX931" fmla="*/ 91670 w 1071706"/>
                  <a:gd name="connsiteY931" fmla="*/ 256222 h 1095797"/>
                  <a:gd name="connsiteX932" fmla="*/ 89246 w 1071706"/>
                  <a:gd name="connsiteY932" fmla="*/ 255918 h 1095797"/>
                  <a:gd name="connsiteX933" fmla="*/ 87124 w 1071706"/>
                  <a:gd name="connsiteY933" fmla="*/ 256373 h 1095797"/>
                  <a:gd name="connsiteX934" fmla="*/ 85306 w 1071706"/>
                  <a:gd name="connsiteY934" fmla="*/ 257888 h 1095797"/>
                  <a:gd name="connsiteX935" fmla="*/ 83942 w 1071706"/>
                  <a:gd name="connsiteY935" fmla="*/ 259706 h 1095797"/>
                  <a:gd name="connsiteX936" fmla="*/ 82427 w 1071706"/>
                  <a:gd name="connsiteY936" fmla="*/ 261222 h 1095797"/>
                  <a:gd name="connsiteX937" fmla="*/ 77730 w 1071706"/>
                  <a:gd name="connsiteY937" fmla="*/ 262283 h 1095797"/>
                  <a:gd name="connsiteX938" fmla="*/ 75306 w 1071706"/>
                  <a:gd name="connsiteY938" fmla="*/ 262283 h 1095797"/>
                  <a:gd name="connsiteX939" fmla="*/ 73033 w 1071706"/>
                  <a:gd name="connsiteY939" fmla="*/ 263192 h 1095797"/>
                  <a:gd name="connsiteX940" fmla="*/ 69699 w 1071706"/>
                  <a:gd name="connsiteY940" fmla="*/ 263494 h 1095797"/>
                  <a:gd name="connsiteX941" fmla="*/ 67427 w 1071706"/>
                  <a:gd name="connsiteY941" fmla="*/ 264404 h 1095797"/>
                  <a:gd name="connsiteX942" fmla="*/ 63336 w 1071706"/>
                  <a:gd name="connsiteY942" fmla="*/ 264858 h 1095797"/>
                  <a:gd name="connsiteX943" fmla="*/ 58487 w 1071706"/>
                  <a:gd name="connsiteY943" fmla="*/ 265313 h 1095797"/>
                  <a:gd name="connsiteX944" fmla="*/ 55760 w 1071706"/>
                  <a:gd name="connsiteY944" fmla="*/ 266676 h 1095797"/>
                  <a:gd name="connsiteX945" fmla="*/ 54699 w 1071706"/>
                  <a:gd name="connsiteY945" fmla="*/ 267282 h 1095797"/>
                  <a:gd name="connsiteX946" fmla="*/ 51972 w 1071706"/>
                  <a:gd name="connsiteY946" fmla="*/ 269101 h 1095797"/>
                  <a:gd name="connsiteX947" fmla="*/ 47274 w 1071706"/>
                  <a:gd name="connsiteY947" fmla="*/ 271980 h 1095797"/>
                  <a:gd name="connsiteX948" fmla="*/ 44699 w 1071706"/>
                  <a:gd name="connsiteY948" fmla="*/ 273040 h 1095797"/>
                  <a:gd name="connsiteX949" fmla="*/ 41517 w 1071706"/>
                  <a:gd name="connsiteY949" fmla="*/ 276222 h 1095797"/>
                  <a:gd name="connsiteX950" fmla="*/ 37729 w 1071706"/>
                  <a:gd name="connsiteY950" fmla="*/ 279101 h 1095797"/>
                  <a:gd name="connsiteX951" fmla="*/ 35304 w 1071706"/>
                  <a:gd name="connsiteY951" fmla="*/ 280616 h 1095797"/>
                  <a:gd name="connsiteX952" fmla="*/ 31668 w 1071706"/>
                  <a:gd name="connsiteY952" fmla="*/ 281374 h 1095797"/>
                  <a:gd name="connsiteX953" fmla="*/ 30152 w 1071706"/>
                  <a:gd name="connsiteY953" fmla="*/ 282132 h 1095797"/>
                  <a:gd name="connsiteX954" fmla="*/ 29547 w 1071706"/>
                  <a:gd name="connsiteY954" fmla="*/ 283041 h 1095797"/>
                  <a:gd name="connsiteX955" fmla="*/ 29850 w 1071706"/>
                  <a:gd name="connsiteY955" fmla="*/ 284101 h 1095797"/>
                  <a:gd name="connsiteX956" fmla="*/ 29243 w 1071706"/>
                  <a:gd name="connsiteY956" fmla="*/ 286980 h 1095797"/>
                  <a:gd name="connsiteX957" fmla="*/ 28183 w 1071706"/>
                  <a:gd name="connsiteY957" fmla="*/ 292284 h 1095797"/>
                  <a:gd name="connsiteX958" fmla="*/ 27880 w 1071706"/>
                  <a:gd name="connsiteY958" fmla="*/ 294859 h 1095797"/>
                  <a:gd name="connsiteX959" fmla="*/ 27577 w 1071706"/>
                  <a:gd name="connsiteY959" fmla="*/ 296072 h 1095797"/>
                  <a:gd name="connsiteX960" fmla="*/ 25152 w 1071706"/>
                  <a:gd name="connsiteY960" fmla="*/ 300314 h 1095797"/>
                  <a:gd name="connsiteX961" fmla="*/ 22576 w 1071706"/>
                  <a:gd name="connsiteY961" fmla="*/ 304254 h 1095797"/>
                  <a:gd name="connsiteX962" fmla="*/ 21364 w 1071706"/>
                  <a:gd name="connsiteY962" fmla="*/ 306829 h 1095797"/>
                  <a:gd name="connsiteX963" fmla="*/ 20607 w 1071706"/>
                  <a:gd name="connsiteY963" fmla="*/ 308799 h 1095797"/>
                  <a:gd name="connsiteX964" fmla="*/ 21364 w 1071706"/>
                  <a:gd name="connsiteY964" fmla="*/ 310315 h 1095797"/>
                  <a:gd name="connsiteX965" fmla="*/ 22425 w 1071706"/>
                  <a:gd name="connsiteY965" fmla="*/ 313193 h 1095797"/>
                  <a:gd name="connsiteX966" fmla="*/ 23334 w 1071706"/>
                  <a:gd name="connsiteY966" fmla="*/ 315466 h 1095797"/>
                  <a:gd name="connsiteX967" fmla="*/ 23637 w 1071706"/>
                  <a:gd name="connsiteY967" fmla="*/ 316981 h 1095797"/>
                  <a:gd name="connsiteX968" fmla="*/ 23334 w 1071706"/>
                  <a:gd name="connsiteY968" fmla="*/ 318800 h 1095797"/>
                  <a:gd name="connsiteX969" fmla="*/ 22274 w 1071706"/>
                  <a:gd name="connsiteY969" fmla="*/ 320466 h 1095797"/>
                  <a:gd name="connsiteX970" fmla="*/ 20607 w 1071706"/>
                  <a:gd name="connsiteY970" fmla="*/ 321527 h 1095797"/>
                  <a:gd name="connsiteX971" fmla="*/ 18334 w 1071706"/>
                  <a:gd name="connsiteY971" fmla="*/ 321830 h 1095797"/>
                  <a:gd name="connsiteX972" fmla="*/ 13637 w 1071706"/>
                  <a:gd name="connsiteY972" fmla="*/ 324709 h 1095797"/>
                  <a:gd name="connsiteX973" fmla="*/ 8333 w 1071706"/>
                  <a:gd name="connsiteY973" fmla="*/ 328952 h 1095797"/>
                  <a:gd name="connsiteX974" fmla="*/ 6667 w 1071706"/>
                  <a:gd name="connsiteY974" fmla="*/ 330921 h 1095797"/>
                  <a:gd name="connsiteX975" fmla="*/ 6212 w 1071706"/>
                  <a:gd name="connsiteY975" fmla="*/ 332740 h 1095797"/>
                  <a:gd name="connsiteX976" fmla="*/ 5455 w 1071706"/>
                  <a:gd name="connsiteY976" fmla="*/ 335618 h 1095797"/>
                  <a:gd name="connsiteX977" fmla="*/ 5758 w 1071706"/>
                  <a:gd name="connsiteY977" fmla="*/ 337134 h 1095797"/>
                  <a:gd name="connsiteX978" fmla="*/ 6667 w 1071706"/>
                  <a:gd name="connsiteY978" fmla="*/ 338194 h 1095797"/>
                  <a:gd name="connsiteX979" fmla="*/ 7576 w 1071706"/>
                  <a:gd name="connsiteY979" fmla="*/ 340619 h 1095797"/>
                  <a:gd name="connsiteX980" fmla="*/ 7727 w 1071706"/>
                  <a:gd name="connsiteY980" fmla="*/ 341831 h 1095797"/>
                  <a:gd name="connsiteX981" fmla="*/ 6970 w 1071706"/>
                  <a:gd name="connsiteY981" fmla="*/ 342588 h 1095797"/>
                  <a:gd name="connsiteX982" fmla="*/ 5455 w 1071706"/>
                  <a:gd name="connsiteY982" fmla="*/ 342740 h 1095797"/>
                  <a:gd name="connsiteX983" fmla="*/ 4091 w 1071706"/>
                  <a:gd name="connsiteY983" fmla="*/ 343043 h 1095797"/>
                  <a:gd name="connsiteX984" fmla="*/ 3030 w 1071706"/>
                  <a:gd name="connsiteY984" fmla="*/ 343649 h 1095797"/>
                  <a:gd name="connsiteX985" fmla="*/ 1970 w 1071706"/>
                  <a:gd name="connsiteY985" fmla="*/ 343498 h 1095797"/>
                  <a:gd name="connsiteX986" fmla="*/ 1061 w 1071706"/>
                  <a:gd name="connsiteY986" fmla="*/ 343800 h 1095797"/>
                  <a:gd name="connsiteX987" fmla="*/ 1061 w 1071706"/>
                  <a:gd name="connsiteY987" fmla="*/ 344861 h 1095797"/>
                  <a:gd name="connsiteX988" fmla="*/ 1364 w 1071706"/>
                  <a:gd name="connsiteY988" fmla="*/ 346073 h 1095797"/>
                  <a:gd name="connsiteX989" fmla="*/ 1212 w 1071706"/>
                  <a:gd name="connsiteY989" fmla="*/ 347286 h 1095797"/>
                  <a:gd name="connsiteX990" fmla="*/ 606 w 1071706"/>
                  <a:gd name="connsiteY990" fmla="*/ 348043 h 1095797"/>
                  <a:gd name="connsiteX991" fmla="*/ 0 w 1071706"/>
                  <a:gd name="connsiteY991" fmla="*/ 348649 h 1095797"/>
                  <a:gd name="connsiteX992" fmla="*/ 606 w 1071706"/>
                  <a:gd name="connsiteY992" fmla="*/ 349407 h 1095797"/>
                  <a:gd name="connsiteX993" fmla="*/ 1515 w 1071706"/>
                  <a:gd name="connsiteY993" fmla="*/ 350164 h 1095797"/>
                  <a:gd name="connsiteX994" fmla="*/ 2879 w 1071706"/>
                  <a:gd name="connsiteY994" fmla="*/ 351377 h 1095797"/>
                  <a:gd name="connsiteX995" fmla="*/ 4849 w 1071706"/>
                  <a:gd name="connsiteY995" fmla="*/ 353649 h 1095797"/>
                  <a:gd name="connsiteX996" fmla="*/ 6364 w 1071706"/>
                  <a:gd name="connsiteY996" fmla="*/ 354104 h 1095797"/>
                  <a:gd name="connsiteX997" fmla="*/ 7576 w 1071706"/>
                  <a:gd name="connsiteY997" fmla="*/ 354862 h 1095797"/>
                  <a:gd name="connsiteX998" fmla="*/ 7727 w 1071706"/>
                  <a:gd name="connsiteY998" fmla="*/ 356074 h 1095797"/>
                  <a:gd name="connsiteX999" fmla="*/ 7273 w 1071706"/>
                  <a:gd name="connsiteY999" fmla="*/ 357286 h 1095797"/>
                  <a:gd name="connsiteX1000" fmla="*/ 6212 w 1071706"/>
                  <a:gd name="connsiteY1000" fmla="*/ 357892 h 1095797"/>
                  <a:gd name="connsiteX1001" fmla="*/ 6061 w 1071706"/>
                  <a:gd name="connsiteY1001" fmla="*/ 358953 h 1095797"/>
                  <a:gd name="connsiteX1002" fmla="*/ 7576 w 1071706"/>
                  <a:gd name="connsiteY1002" fmla="*/ 360316 h 1095797"/>
                  <a:gd name="connsiteX1003" fmla="*/ 8637 w 1071706"/>
                  <a:gd name="connsiteY1003" fmla="*/ 361225 h 1095797"/>
                  <a:gd name="connsiteX1004" fmla="*/ 9697 w 1071706"/>
                  <a:gd name="connsiteY1004" fmla="*/ 362589 h 1095797"/>
                  <a:gd name="connsiteX1005" fmla="*/ 10606 w 1071706"/>
                  <a:gd name="connsiteY1005" fmla="*/ 364559 h 1095797"/>
                  <a:gd name="connsiteX1006" fmla="*/ 10606 w 1071706"/>
                  <a:gd name="connsiteY1006" fmla="*/ 365771 h 1095797"/>
                  <a:gd name="connsiteX1007" fmla="*/ 11667 w 1071706"/>
                  <a:gd name="connsiteY1007" fmla="*/ 367286 h 1095797"/>
                  <a:gd name="connsiteX1008" fmla="*/ 12273 w 1071706"/>
                  <a:gd name="connsiteY1008" fmla="*/ 368650 h 1095797"/>
                  <a:gd name="connsiteX1009" fmla="*/ 12273 w 1071706"/>
                  <a:gd name="connsiteY1009" fmla="*/ 369862 h 1095797"/>
                  <a:gd name="connsiteX1010" fmla="*/ 13940 w 1071706"/>
                  <a:gd name="connsiteY1010" fmla="*/ 371074 h 1095797"/>
                  <a:gd name="connsiteX1011" fmla="*/ 15304 w 1071706"/>
                  <a:gd name="connsiteY1011" fmla="*/ 371983 h 1095797"/>
                  <a:gd name="connsiteX1012" fmla="*/ 16364 w 1071706"/>
                  <a:gd name="connsiteY1012" fmla="*/ 372892 h 1095797"/>
                  <a:gd name="connsiteX1013" fmla="*/ 17425 w 1071706"/>
                  <a:gd name="connsiteY1013" fmla="*/ 373499 h 1095797"/>
                  <a:gd name="connsiteX1014" fmla="*/ 17728 w 1071706"/>
                  <a:gd name="connsiteY1014" fmla="*/ 374408 h 1095797"/>
                  <a:gd name="connsiteX1015" fmla="*/ 17576 w 1071706"/>
                  <a:gd name="connsiteY1015" fmla="*/ 375923 h 1095797"/>
                  <a:gd name="connsiteX1016" fmla="*/ 19092 w 1071706"/>
                  <a:gd name="connsiteY1016" fmla="*/ 378347 h 1095797"/>
                  <a:gd name="connsiteX1017" fmla="*/ 21819 w 1071706"/>
                  <a:gd name="connsiteY1017" fmla="*/ 380166 h 1095797"/>
                  <a:gd name="connsiteX1018" fmla="*/ 24092 w 1071706"/>
                  <a:gd name="connsiteY1018" fmla="*/ 382741 h 1095797"/>
                  <a:gd name="connsiteX1019" fmla="*/ 25455 w 1071706"/>
                  <a:gd name="connsiteY1019" fmla="*/ 384560 h 1095797"/>
                  <a:gd name="connsiteX1020" fmla="*/ 28031 w 1071706"/>
                  <a:gd name="connsiteY1020" fmla="*/ 387590 h 1095797"/>
                  <a:gd name="connsiteX1021" fmla="*/ 28183 w 1071706"/>
                  <a:gd name="connsiteY1021" fmla="*/ 391075 h 1095797"/>
                  <a:gd name="connsiteX1022" fmla="*/ 24849 w 1071706"/>
                  <a:gd name="connsiteY1022" fmla="*/ 395015 h 1095797"/>
                  <a:gd name="connsiteX1023" fmla="*/ 21516 w 1071706"/>
                  <a:gd name="connsiteY1023" fmla="*/ 398954 h 1095797"/>
                  <a:gd name="connsiteX1024" fmla="*/ 26819 w 1071706"/>
                  <a:gd name="connsiteY1024" fmla="*/ 398803 h 1095797"/>
                  <a:gd name="connsiteX1025" fmla="*/ 32274 w 1071706"/>
                  <a:gd name="connsiteY1025" fmla="*/ 398954 h 1095797"/>
                  <a:gd name="connsiteX1026" fmla="*/ 38032 w 1071706"/>
                  <a:gd name="connsiteY1026" fmla="*/ 400166 h 1095797"/>
                  <a:gd name="connsiteX1027" fmla="*/ 41820 w 1071706"/>
                  <a:gd name="connsiteY1027" fmla="*/ 401227 h 1095797"/>
                  <a:gd name="connsiteX1028" fmla="*/ 44092 w 1071706"/>
                  <a:gd name="connsiteY1028" fmla="*/ 401681 h 1095797"/>
                  <a:gd name="connsiteX1029" fmla="*/ 45759 w 1071706"/>
                  <a:gd name="connsiteY1029" fmla="*/ 402894 h 1095797"/>
                  <a:gd name="connsiteX1030" fmla="*/ 46517 w 1071706"/>
                  <a:gd name="connsiteY1030" fmla="*/ 404863 h 1095797"/>
                  <a:gd name="connsiteX1031" fmla="*/ 47123 w 1071706"/>
                  <a:gd name="connsiteY1031" fmla="*/ 406530 h 1095797"/>
                  <a:gd name="connsiteX1032" fmla="*/ 47274 w 1071706"/>
                  <a:gd name="connsiteY1032" fmla="*/ 408954 h 1095797"/>
                  <a:gd name="connsiteX1033" fmla="*/ 49699 w 1071706"/>
                  <a:gd name="connsiteY1033" fmla="*/ 410924 h 1095797"/>
                  <a:gd name="connsiteX1034" fmla="*/ 49547 w 1071706"/>
                  <a:gd name="connsiteY1034" fmla="*/ 412742 h 1095797"/>
                  <a:gd name="connsiteX1035" fmla="*/ 49547 w 1071706"/>
                  <a:gd name="connsiteY1035" fmla="*/ 415318 h 1095797"/>
                  <a:gd name="connsiteX1036" fmla="*/ 50608 w 1071706"/>
                  <a:gd name="connsiteY1036" fmla="*/ 415318 h 1095797"/>
                  <a:gd name="connsiteX1037" fmla="*/ 57578 w 1071706"/>
                  <a:gd name="connsiteY1037" fmla="*/ 415318 h 1095797"/>
                  <a:gd name="connsiteX1038" fmla="*/ 65154 w 1071706"/>
                  <a:gd name="connsiteY1038" fmla="*/ 415318 h 1095797"/>
                  <a:gd name="connsiteX1039" fmla="*/ 72578 w 1071706"/>
                  <a:gd name="connsiteY1039" fmla="*/ 414864 h 1095797"/>
                  <a:gd name="connsiteX1040" fmla="*/ 75306 w 1071706"/>
                  <a:gd name="connsiteY1040" fmla="*/ 414258 h 1095797"/>
                  <a:gd name="connsiteX1041" fmla="*/ 78639 w 1071706"/>
                  <a:gd name="connsiteY1041" fmla="*/ 411076 h 1095797"/>
                  <a:gd name="connsiteX1042" fmla="*/ 80609 w 1071706"/>
                  <a:gd name="connsiteY1042" fmla="*/ 410167 h 1095797"/>
                  <a:gd name="connsiteX1043" fmla="*/ 82579 w 1071706"/>
                  <a:gd name="connsiteY1043" fmla="*/ 408651 h 1095797"/>
                  <a:gd name="connsiteX1044" fmla="*/ 85003 w 1071706"/>
                  <a:gd name="connsiteY1044" fmla="*/ 405924 h 1095797"/>
                  <a:gd name="connsiteX1045" fmla="*/ 86821 w 1071706"/>
                  <a:gd name="connsiteY1045" fmla="*/ 404712 h 1095797"/>
                  <a:gd name="connsiteX1046" fmla="*/ 88337 w 1071706"/>
                  <a:gd name="connsiteY1046" fmla="*/ 403197 h 1095797"/>
                  <a:gd name="connsiteX1047" fmla="*/ 90761 w 1071706"/>
                  <a:gd name="connsiteY1047" fmla="*/ 401681 h 1095797"/>
                  <a:gd name="connsiteX1048" fmla="*/ 91670 w 1071706"/>
                  <a:gd name="connsiteY1048" fmla="*/ 400621 h 1095797"/>
                  <a:gd name="connsiteX1049" fmla="*/ 92428 w 1071706"/>
                  <a:gd name="connsiteY1049" fmla="*/ 400166 h 1095797"/>
                  <a:gd name="connsiteX1050" fmla="*/ 94246 w 1071706"/>
                  <a:gd name="connsiteY1050" fmla="*/ 399409 h 1095797"/>
                  <a:gd name="connsiteX1051" fmla="*/ 93488 w 1071706"/>
                  <a:gd name="connsiteY1051" fmla="*/ 400772 h 1095797"/>
                  <a:gd name="connsiteX1052" fmla="*/ 92882 w 1071706"/>
                  <a:gd name="connsiteY1052" fmla="*/ 402287 h 1095797"/>
                  <a:gd name="connsiteX1053" fmla="*/ 92731 w 1071706"/>
                  <a:gd name="connsiteY1053" fmla="*/ 404409 h 1095797"/>
                  <a:gd name="connsiteX1054" fmla="*/ 93640 w 1071706"/>
                  <a:gd name="connsiteY1054" fmla="*/ 406682 h 1095797"/>
                  <a:gd name="connsiteX1055" fmla="*/ 92882 w 1071706"/>
                  <a:gd name="connsiteY1055" fmla="*/ 408348 h 1095797"/>
                  <a:gd name="connsiteX1056" fmla="*/ 91670 w 1071706"/>
                  <a:gd name="connsiteY1056" fmla="*/ 409863 h 1095797"/>
                  <a:gd name="connsiteX1057" fmla="*/ 91670 w 1071706"/>
                  <a:gd name="connsiteY1057" fmla="*/ 413955 h 1095797"/>
                  <a:gd name="connsiteX1058" fmla="*/ 91670 w 1071706"/>
                  <a:gd name="connsiteY1058" fmla="*/ 419712 h 1095797"/>
                  <a:gd name="connsiteX1059" fmla="*/ 91670 w 1071706"/>
                  <a:gd name="connsiteY1059" fmla="*/ 424712 h 1095797"/>
                  <a:gd name="connsiteX1060" fmla="*/ 91670 w 1071706"/>
                  <a:gd name="connsiteY1060" fmla="*/ 430925 h 1095797"/>
                  <a:gd name="connsiteX1061" fmla="*/ 91670 w 1071706"/>
                  <a:gd name="connsiteY1061" fmla="*/ 437895 h 1095797"/>
                  <a:gd name="connsiteX1062" fmla="*/ 91670 w 1071706"/>
                  <a:gd name="connsiteY1062" fmla="*/ 442592 h 1095797"/>
                  <a:gd name="connsiteX1063" fmla="*/ 92882 w 1071706"/>
                  <a:gd name="connsiteY1063" fmla="*/ 441683 h 1095797"/>
                  <a:gd name="connsiteX1064" fmla="*/ 94549 w 1071706"/>
                  <a:gd name="connsiteY1064" fmla="*/ 440925 h 1095797"/>
                  <a:gd name="connsiteX1065" fmla="*/ 96822 w 1071706"/>
                  <a:gd name="connsiteY1065" fmla="*/ 443047 h 1095797"/>
                  <a:gd name="connsiteX1066" fmla="*/ 98489 w 1071706"/>
                  <a:gd name="connsiteY1066" fmla="*/ 443956 h 1095797"/>
                  <a:gd name="connsiteX1067" fmla="*/ 99852 w 1071706"/>
                  <a:gd name="connsiteY1067" fmla="*/ 444107 h 1095797"/>
                  <a:gd name="connsiteX1068" fmla="*/ 101216 w 1071706"/>
                  <a:gd name="connsiteY1068" fmla="*/ 444107 h 1095797"/>
                  <a:gd name="connsiteX1069" fmla="*/ 103186 w 1071706"/>
                  <a:gd name="connsiteY1069" fmla="*/ 443653 h 1095797"/>
                  <a:gd name="connsiteX1070" fmla="*/ 107428 w 1071706"/>
                  <a:gd name="connsiteY1070" fmla="*/ 441834 h 1095797"/>
                  <a:gd name="connsiteX1071" fmla="*/ 110307 w 1071706"/>
                  <a:gd name="connsiteY1071" fmla="*/ 440319 h 1095797"/>
                  <a:gd name="connsiteX1072" fmla="*/ 113641 w 1071706"/>
                  <a:gd name="connsiteY1072" fmla="*/ 440471 h 1095797"/>
                  <a:gd name="connsiteX1073" fmla="*/ 118186 w 1071706"/>
                  <a:gd name="connsiteY1073" fmla="*/ 441077 h 1095797"/>
                  <a:gd name="connsiteX1074" fmla="*/ 120762 w 1071706"/>
                  <a:gd name="connsiteY1074" fmla="*/ 441077 h 1095797"/>
                  <a:gd name="connsiteX1075" fmla="*/ 123944 w 1071706"/>
                  <a:gd name="connsiteY1075" fmla="*/ 440925 h 1095797"/>
                  <a:gd name="connsiteX1076" fmla="*/ 130308 w 1071706"/>
                  <a:gd name="connsiteY1076" fmla="*/ 441077 h 1095797"/>
                  <a:gd name="connsiteX1077" fmla="*/ 136520 w 1071706"/>
                  <a:gd name="connsiteY1077" fmla="*/ 442137 h 1095797"/>
                  <a:gd name="connsiteX1078" fmla="*/ 140763 w 1071706"/>
                  <a:gd name="connsiteY1078" fmla="*/ 442592 h 1095797"/>
                  <a:gd name="connsiteX1079" fmla="*/ 142581 w 1071706"/>
                  <a:gd name="connsiteY1079" fmla="*/ 443501 h 1095797"/>
                  <a:gd name="connsiteX1080" fmla="*/ 143036 w 1071706"/>
                  <a:gd name="connsiteY1080" fmla="*/ 445016 h 1095797"/>
                  <a:gd name="connsiteX1081" fmla="*/ 144248 w 1071706"/>
                  <a:gd name="connsiteY1081" fmla="*/ 445622 h 1095797"/>
                  <a:gd name="connsiteX1082" fmla="*/ 145611 w 1071706"/>
                  <a:gd name="connsiteY1082" fmla="*/ 445319 h 1095797"/>
                  <a:gd name="connsiteX1083" fmla="*/ 147127 w 1071706"/>
                  <a:gd name="connsiteY1083" fmla="*/ 445168 h 1095797"/>
                  <a:gd name="connsiteX1084" fmla="*/ 150460 w 1071706"/>
                  <a:gd name="connsiteY1084" fmla="*/ 443653 h 1095797"/>
                  <a:gd name="connsiteX1085" fmla="*/ 153188 w 1071706"/>
                  <a:gd name="connsiteY1085" fmla="*/ 442592 h 1095797"/>
                  <a:gd name="connsiteX1086" fmla="*/ 155612 w 1071706"/>
                  <a:gd name="connsiteY1086" fmla="*/ 441380 h 1095797"/>
                  <a:gd name="connsiteX1087" fmla="*/ 156824 w 1071706"/>
                  <a:gd name="connsiteY1087" fmla="*/ 440168 h 1095797"/>
                  <a:gd name="connsiteX1088" fmla="*/ 159703 w 1071706"/>
                  <a:gd name="connsiteY1088" fmla="*/ 436077 h 1095797"/>
                  <a:gd name="connsiteX1089" fmla="*/ 162127 w 1071706"/>
                  <a:gd name="connsiteY1089" fmla="*/ 433804 h 1095797"/>
                  <a:gd name="connsiteX1090" fmla="*/ 164248 w 1071706"/>
                  <a:gd name="connsiteY1090" fmla="*/ 433046 h 1095797"/>
                  <a:gd name="connsiteX1091" fmla="*/ 168491 w 1071706"/>
                  <a:gd name="connsiteY1091" fmla="*/ 432743 h 1095797"/>
                  <a:gd name="connsiteX1092" fmla="*/ 169855 w 1071706"/>
                  <a:gd name="connsiteY1092" fmla="*/ 433349 h 1095797"/>
                  <a:gd name="connsiteX1093" fmla="*/ 171673 w 1071706"/>
                  <a:gd name="connsiteY1093" fmla="*/ 433198 h 1095797"/>
                  <a:gd name="connsiteX1094" fmla="*/ 173188 w 1071706"/>
                  <a:gd name="connsiteY1094" fmla="*/ 430925 h 1095797"/>
                  <a:gd name="connsiteX1095" fmla="*/ 175461 w 1071706"/>
                  <a:gd name="connsiteY1095" fmla="*/ 428349 h 1095797"/>
                  <a:gd name="connsiteX1096" fmla="*/ 180007 w 1071706"/>
                  <a:gd name="connsiteY1096" fmla="*/ 425167 h 1095797"/>
                  <a:gd name="connsiteX1097" fmla="*/ 182279 w 1071706"/>
                  <a:gd name="connsiteY1097" fmla="*/ 424258 h 1095797"/>
                  <a:gd name="connsiteX1098" fmla="*/ 183643 w 1071706"/>
                  <a:gd name="connsiteY1098" fmla="*/ 423197 h 1095797"/>
                  <a:gd name="connsiteX1099" fmla="*/ 186067 w 1071706"/>
                  <a:gd name="connsiteY1099" fmla="*/ 423046 h 1095797"/>
                  <a:gd name="connsiteX1100" fmla="*/ 188189 w 1071706"/>
                  <a:gd name="connsiteY1100" fmla="*/ 421834 h 1095797"/>
                  <a:gd name="connsiteX1101" fmla="*/ 198644 w 1071706"/>
                  <a:gd name="connsiteY1101" fmla="*/ 413803 h 1095797"/>
                  <a:gd name="connsiteX1102" fmla="*/ 202886 w 1071706"/>
                  <a:gd name="connsiteY1102" fmla="*/ 411682 h 1095797"/>
                  <a:gd name="connsiteX1103" fmla="*/ 205462 w 1071706"/>
                  <a:gd name="connsiteY1103" fmla="*/ 411379 h 1095797"/>
                  <a:gd name="connsiteX1104" fmla="*/ 207583 w 1071706"/>
                  <a:gd name="connsiteY1104" fmla="*/ 410924 h 1095797"/>
                  <a:gd name="connsiteX1105" fmla="*/ 211220 w 1071706"/>
                  <a:gd name="connsiteY1105" fmla="*/ 409712 h 1095797"/>
                  <a:gd name="connsiteX1106" fmla="*/ 220463 w 1071706"/>
                  <a:gd name="connsiteY1106" fmla="*/ 408651 h 1095797"/>
                  <a:gd name="connsiteX1107" fmla="*/ 226372 w 1071706"/>
                  <a:gd name="connsiteY1107" fmla="*/ 408197 h 1095797"/>
                  <a:gd name="connsiteX1108" fmla="*/ 228342 w 1071706"/>
                  <a:gd name="connsiteY1108" fmla="*/ 409258 h 1095797"/>
                  <a:gd name="connsiteX1109" fmla="*/ 230463 w 1071706"/>
                  <a:gd name="connsiteY1109" fmla="*/ 408954 h 1095797"/>
                  <a:gd name="connsiteX1110" fmla="*/ 232281 w 1071706"/>
                  <a:gd name="connsiteY1110" fmla="*/ 407136 h 1095797"/>
                  <a:gd name="connsiteX1111" fmla="*/ 233796 w 1071706"/>
                  <a:gd name="connsiteY1111" fmla="*/ 406530 h 1095797"/>
                  <a:gd name="connsiteX1112" fmla="*/ 234857 w 1071706"/>
                  <a:gd name="connsiteY1112" fmla="*/ 406530 h 1095797"/>
                  <a:gd name="connsiteX1113" fmla="*/ 236524 w 1071706"/>
                  <a:gd name="connsiteY1113" fmla="*/ 408651 h 1095797"/>
                  <a:gd name="connsiteX1114" fmla="*/ 237281 w 1071706"/>
                  <a:gd name="connsiteY1114" fmla="*/ 410924 h 1095797"/>
                  <a:gd name="connsiteX1115" fmla="*/ 236827 w 1071706"/>
                  <a:gd name="connsiteY1115" fmla="*/ 412591 h 1095797"/>
                  <a:gd name="connsiteX1116" fmla="*/ 236978 w 1071706"/>
                  <a:gd name="connsiteY1116" fmla="*/ 415167 h 1095797"/>
                  <a:gd name="connsiteX1117" fmla="*/ 237736 w 1071706"/>
                  <a:gd name="connsiteY1117" fmla="*/ 418500 h 1095797"/>
                  <a:gd name="connsiteX1118" fmla="*/ 237281 w 1071706"/>
                  <a:gd name="connsiteY1118" fmla="*/ 421379 h 1095797"/>
                  <a:gd name="connsiteX1119" fmla="*/ 235009 w 1071706"/>
                  <a:gd name="connsiteY1119" fmla="*/ 425167 h 1095797"/>
                  <a:gd name="connsiteX1120" fmla="*/ 233948 w 1071706"/>
                  <a:gd name="connsiteY1120" fmla="*/ 426682 h 1095797"/>
                  <a:gd name="connsiteX1121" fmla="*/ 233645 w 1071706"/>
                  <a:gd name="connsiteY1121" fmla="*/ 428349 h 1095797"/>
                  <a:gd name="connsiteX1122" fmla="*/ 233796 w 1071706"/>
                  <a:gd name="connsiteY1122" fmla="*/ 430470 h 1095797"/>
                  <a:gd name="connsiteX1123" fmla="*/ 234857 w 1071706"/>
                  <a:gd name="connsiteY1123" fmla="*/ 433955 h 1095797"/>
                  <a:gd name="connsiteX1124" fmla="*/ 236675 w 1071706"/>
                  <a:gd name="connsiteY1124" fmla="*/ 438804 h 1095797"/>
                  <a:gd name="connsiteX1125" fmla="*/ 236978 w 1071706"/>
                  <a:gd name="connsiteY1125" fmla="*/ 442441 h 1095797"/>
                  <a:gd name="connsiteX1126" fmla="*/ 235615 w 1071706"/>
                  <a:gd name="connsiteY1126" fmla="*/ 444865 h 1095797"/>
                  <a:gd name="connsiteX1127" fmla="*/ 235009 w 1071706"/>
                  <a:gd name="connsiteY1127" fmla="*/ 446835 h 1095797"/>
                  <a:gd name="connsiteX1128" fmla="*/ 235160 w 1071706"/>
                  <a:gd name="connsiteY1128" fmla="*/ 448501 h 1095797"/>
                  <a:gd name="connsiteX1129" fmla="*/ 235615 w 1071706"/>
                  <a:gd name="connsiteY1129" fmla="*/ 449714 h 1095797"/>
                  <a:gd name="connsiteX1130" fmla="*/ 236372 w 1071706"/>
                  <a:gd name="connsiteY1130" fmla="*/ 450471 h 1095797"/>
                  <a:gd name="connsiteX1131" fmla="*/ 236827 w 1071706"/>
                  <a:gd name="connsiteY1131" fmla="*/ 451835 h 1095797"/>
                  <a:gd name="connsiteX1132" fmla="*/ 236978 w 1071706"/>
                  <a:gd name="connsiteY1132" fmla="*/ 453956 h 1095797"/>
                  <a:gd name="connsiteX1133" fmla="*/ 238039 w 1071706"/>
                  <a:gd name="connsiteY1133" fmla="*/ 455926 h 1095797"/>
                  <a:gd name="connsiteX1134" fmla="*/ 240160 w 1071706"/>
                  <a:gd name="connsiteY1134" fmla="*/ 457896 h 1095797"/>
                  <a:gd name="connsiteX1135" fmla="*/ 241069 w 1071706"/>
                  <a:gd name="connsiteY1135" fmla="*/ 459714 h 1095797"/>
                  <a:gd name="connsiteX1136" fmla="*/ 240615 w 1071706"/>
                  <a:gd name="connsiteY1136" fmla="*/ 461381 h 1095797"/>
                  <a:gd name="connsiteX1137" fmla="*/ 240767 w 1071706"/>
                  <a:gd name="connsiteY1137" fmla="*/ 462441 h 1095797"/>
                  <a:gd name="connsiteX1138" fmla="*/ 241372 w 1071706"/>
                  <a:gd name="connsiteY1138" fmla="*/ 462896 h 1095797"/>
                  <a:gd name="connsiteX1139" fmla="*/ 241979 w 1071706"/>
                  <a:gd name="connsiteY1139" fmla="*/ 462593 h 1095797"/>
                  <a:gd name="connsiteX1140" fmla="*/ 242736 w 1071706"/>
                  <a:gd name="connsiteY1140" fmla="*/ 462138 h 1095797"/>
                  <a:gd name="connsiteX1141" fmla="*/ 243342 w 1071706"/>
                  <a:gd name="connsiteY1141" fmla="*/ 462290 h 1095797"/>
                  <a:gd name="connsiteX1142" fmla="*/ 244857 w 1071706"/>
                  <a:gd name="connsiteY1142" fmla="*/ 464714 h 1095797"/>
                  <a:gd name="connsiteX1143" fmla="*/ 245009 w 1071706"/>
                  <a:gd name="connsiteY1143" fmla="*/ 465169 h 1095797"/>
                  <a:gd name="connsiteX1144" fmla="*/ 245767 w 1071706"/>
                  <a:gd name="connsiteY1144" fmla="*/ 467138 h 1095797"/>
                  <a:gd name="connsiteX1145" fmla="*/ 246070 w 1071706"/>
                  <a:gd name="connsiteY1145" fmla="*/ 468654 h 1095797"/>
                  <a:gd name="connsiteX1146" fmla="*/ 248191 w 1071706"/>
                  <a:gd name="connsiteY1146" fmla="*/ 469563 h 1095797"/>
                  <a:gd name="connsiteX1147" fmla="*/ 250464 w 1071706"/>
                  <a:gd name="connsiteY1147" fmla="*/ 470169 h 1095797"/>
                  <a:gd name="connsiteX1148" fmla="*/ 251676 w 1071706"/>
                  <a:gd name="connsiteY1148" fmla="*/ 470926 h 1095797"/>
                  <a:gd name="connsiteX1149" fmla="*/ 254252 w 1071706"/>
                  <a:gd name="connsiteY1149" fmla="*/ 473351 h 1095797"/>
                  <a:gd name="connsiteX1150" fmla="*/ 256373 w 1071706"/>
                  <a:gd name="connsiteY1150" fmla="*/ 474866 h 1095797"/>
                  <a:gd name="connsiteX1151" fmla="*/ 259100 w 1071706"/>
                  <a:gd name="connsiteY1151" fmla="*/ 476230 h 1095797"/>
                  <a:gd name="connsiteX1152" fmla="*/ 260009 w 1071706"/>
                  <a:gd name="connsiteY1152" fmla="*/ 478351 h 1095797"/>
                  <a:gd name="connsiteX1153" fmla="*/ 261676 w 1071706"/>
                  <a:gd name="connsiteY1153" fmla="*/ 481533 h 1095797"/>
                  <a:gd name="connsiteX1154" fmla="*/ 266222 w 1071706"/>
                  <a:gd name="connsiteY1154" fmla="*/ 482745 h 1095797"/>
                  <a:gd name="connsiteX1155" fmla="*/ 271525 w 1071706"/>
                  <a:gd name="connsiteY1155" fmla="*/ 483351 h 1095797"/>
                  <a:gd name="connsiteX1156" fmla="*/ 274859 w 1071706"/>
                  <a:gd name="connsiteY1156" fmla="*/ 483957 h 1095797"/>
                  <a:gd name="connsiteX1157" fmla="*/ 278950 w 1071706"/>
                  <a:gd name="connsiteY1157" fmla="*/ 482290 h 1095797"/>
                  <a:gd name="connsiteX1158" fmla="*/ 281677 w 1071706"/>
                  <a:gd name="connsiteY1158" fmla="*/ 482593 h 1095797"/>
                  <a:gd name="connsiteX1159" fmla="*/ 284556 w 1071706"/>
                  <a:gd name="connsiteY1159" fmla="*/ 483654 h 1095797"/>
                  <a:gd name="connsiteX1160" fmla="*/ 285768 w 1071706"/>
                  <a:gd name="connsiteY1160" fmla="*/ 484412 h 1095797"/>
                  <a:gd name="connsiteX1161" fmla="*/ 287889 w 1071706"/>
                  <a:gd name="connsiteY1161" fmla="*/ 486078 h 1095797"/>
                  <a:gd name="connsiteX1162" fmla="*/ 291071 w 1071706"/>
                  <a:gd name="connsiteY1162" fmla="*/ 488200 h 1095797"/>
                  <a:gd name="connsiteX1163" fmla="*/ 293799 w 1071706"/>
                  <a:gd name="connsiteY1163" fmla="*/ 488957 h 1095797"/>
                  <a:gd name="connsiteX1164" fmla="*/ 295617 w 1071706"/>
                  <a:gd name="connsiteY1164" fmla="*/ 487745 h 1095797"/>
                  <a:gd name="connsiteX1165" fmla="*/ 297435 w 1071706"/>
                  <a:gd name="connsiteY1165" fmla="*/ 487291 h 1095797"/>
                  <a:gd name="connsiteX1166" fmla="*/ 298799 w 1071706"/>
                  <a:gd name="connsiteY1166" fmla="*/ 487745 h 1095797"/>
                  <a:gd name="connsiteX1167" fmla="*/ 299556 w 1071706"/>
                  <a:gd name="connsiteY1167" fmla="*/ 490018 h 1095797"/>
                  <a:gd name="connsiteX1168" fmla="*/ 300314 w 1071706"/>
                  <a:gd name="connsiteY1168" fmla="*/ 491533 h 1095797"/>
                  <a:gd name="connsiteX1169" fmla="*/ 301829 w 1071706"/>
                  <a:gd name="connsiteY1169" fmla="*/ 492745 h 1095797"/>
                  <a:gd name="connsiteX1170" fmla="*/ 305163 w 1071706"/>
                  <a:gd name="connsiteY1170" fmla="*/ 495624 h 1095797"/>
                  <a:gd name="connsiteX1171" fmla="*/ 307132 w 1071706"/>
                  <a:gd name="connsiteY1171" fmla="*/ 496836 h 1095797"/>
                  <a:gd name="connsiteX1172" fmla="*/ 309254 w 1071706"/>
                  <a:gd name="connsiteY1172" fmla="*/ 496685 h 1095797"/>
                  <a:gd name="connsiteX1173" fmla="*/ 313648 w 1071706"/>
                  <a:gd name="connsiteY1173" fmla="*/ 498655 h 1095797"/>
                  <a:gd name="connsiteX1174" fmla="*/ 318345 w 1071706"/>
                  <a:gd name="connsiteY1174" fmla="*/ 500473 h 1095797"/>
                  <a:gd name="connsiteX1175" fmla="*/ 320769 w 1071706"/>
                  <a:gd name="connsiteY1175" fmla="*/ 500776 h 1095797"/>
                  <a:gd name="connsiteX1176" fmla="*/ 323194 w 1071706"/>
                  <a:gd name="connsiteY1176" fmla="*/ 500473 h 1095797"/>
                  <a:gd name="connsiteX1177" fmla="*/ 324709 w 1071706"/>
                  <a:gd name="connsiteY1177" fmla="*/ 501230 h 1095797"/>
                  <a:gd name="connsiteX1178" fmla="*/ 325315 w 1071706"/>
                  <a:gd name="connsiteY1178" fmla="*/ 503503 h 1095797"/>
                  <a:gd name="connsiteX1179" fmla="*/ 329406 w 1071706"/>
                  <a:gd name="connsiteY1179" fmla="*/ 508049 h 1095797"/>
                  <a:gd name="connsiteX1180" fmla="*/ 331376 w 1071706"/>
                  <a:gd name="connsiteY1180" fmla="*/ 509867 h 1095797"/>
                  <a:gd name="connsiteX1181" fmla="*/ 333649 w 1071706"/>
                  <a:gd name="connsiteY1181" fmla="*/ 511382 h 1095797"/>
                  <a:gd name="connsiteX1182" fmla="*/ 339558 w 1071706"/>
                  <a:gd name="connsiteY1182" fmla="*/ 511382 h 1095797"/>
                  <a:gd name="connsiteX1183" fmla="*/ 341376 w 1071706"/>
                  <a:gd name="connsiteY1183" fmla="*/ 511837 h 1095797"/>
                  <a:gd name="connsiteX1184" fmla="*/ 343952 w 1071706"/>
                  <a:gd name="connsiteY1184" fmla="*/ 511382 h 1095797"/>
                  <a:gd name="connsiteX1185" fmla="*/ 351831 w 1071706"/>
                  <a:gd name="connsiteY1185" fmla="*/ 510625 h 1095797"/>
                  <a:gd name="connsiteX1186" fmla="*/ 353195 w 1071706"/>
                  <a:gd name="connsiteY1186" fmla="*/ 510322 h 1095797"/>
                  <a:gd name="connsiteX1187" fmla="*/ 357589 w 1071706"/>
                  <a:gd name="connsiteY1187" fmla="*/ 512292 h 1095797"/>
                  <a:gd name="connsiteX1188" fmla="*/ 362892 w 1071706"/>
                  <a:gd name="connsiteY1188" fmla="*/ 515170 h 1095797"/>
                  <a:gd name="connsiteX1189" fmla="*/ 366377 w 1071706"/>
                  <a:gd name="connsiteY1189" fmla="*/ 517443 h 1095797"/>
                  <a:gd name="connsiteX1190" fmla="*/ 368802 w 1071706"/>
                  <a:gd name="connsiteY1190" fmla="*/ 518655 h 1095797"/>
                  <a:gd name="connsiteX1191" fmla="*/ 370014 w 1071706"/>
                  <a:gd name="connsiteY1191" fmla="*/ 520625 h 1095797"/>
                  <a:gd name="connsiteX1192" fmla="*/ 371074 w 1071706"/>
                  <a:gd name="connsiteY1192" fmla="*/ 522746 h 1095797"/>
                  <a:gd name="connsiteX1193" fmla="*/ 371529 w 1071706"/>
                  <a:gd name="connsiteY1193" fmla="*/ 525019 h 1095797"/>
                  <a:gd name="connsiteX1194" fmla="*/ 370923 w 1071706"/>
                  <a:gd name="connsiteY1194" fmla="*/ 527292 h 1095797"/>
                  <a:gd name="connsiteX1195" fmla="*/ 370014 w 1071706"/>
                  <a:gd name="connsiteY1195" fmla="*/ 528201 h 1095797"/>
                  <a:gd name="connsiteX1196" fmla="*/ 369711 w 1071706"/>
                  <a:gd name="connsiteY1196" fmla="*/ 529716 h 1095797"/>
                  <a:gd name="connsiteX1197" fmla="*/ 370165 w 1071706"/>
                  <a:gd name="connsiteY1197" fmla="*/ 531838 h 1095797"/>
                  <a:gd name="connsiteX1198" fmla="*/ 371983 w 1071706"/>
                  <a:gd name="connsiteY1198" fmla="*/ 533808 h 1095797"/>
                  <a:gd name="connsiteX1199" fmla="*/ 372590 w 1071706"/>
                  <a:gd name="connsiteY1199" fmla="*/ 536232 h 1095797"/>
                  <a:gd name="connsiteX1200" fmla="*/ 373499 w 1071706"/>
                  <a:gd name="connsiteY1200" fmla="*/ 540474 h 1095797"/>
                  <a:gd name="connsiteX1201" fmla="*/ 374559 w 1071706"/>
                  <a:gd name="connsiteY1201" fmla="*/ 541838 h 1095797"/>
                  <a:gd name="connsiteX1202" fmla="*/ 375317 w 1071706"/>
                  <a:gd name="connsiteY1202" fmla="*/ 554869 h 1095797"/>
                  <a:gd name="connsiteX1203" fmla="*/ 371832 w 1071706"/>
                  <a:gd name="connsiteY1203" fmla="*/ 555020 h 1095797"/>
                  <a:gd name="connsiteX1204" fmla="*/ 366832 w 1071706"/>
                  <a:gd name="connsiteY1204" fmla="*/ 555172 h 1095797"/>
                  <a:gd name="connsiteX1205" fmla="*/ 368347 w 1071706"/>
                  <a:gd name="connsiteY1205" fmla="*/ 556384 h 1095797"/>
                  <a:gd name="connsiteX1206" fmla="*/ 372438 w 1071706"/>
                  <a:gd name="connsiteY1206" fmla="*/ 561233 h 1095797"/>
                  <a:gd name="connsiteX1207" fmla="*/ 376226 w 1071706"/>
                  <a:gd name="connsiteY1207" fmla="*/ 565778 h 1095797"/>
                  <a:gd name="connsiteX1208" fmla="*/ 376832 w 1071706"/>
                  <a:gd name="connsiteY1208" fmla="*/ 573051 h 1095797"/>
                  <a:gd name="connsiteX1209" fmla="*/ 377135 w 1071706"/>
                  <a:gd name="connsiteY1209" fmla="*/ 577597 h 1095797"/>
                  <a:gd name="connsiteX1210" fmla="*/ 377741 w 1071706"/>
                  <a:gd name="connsiteY1210" fmla="*/ 583961 h 1095797"/>
                  <a:gd name="connsiteX1211" fmla="*/ 378044 w 1071706"/>
                  <a:gd name="connsiteY1211" fmla="*/ 587749 h 1095797"/>
                  <a:gd name="connsiteX1212" fmla="*/ 387439 w 1071706"/>
                  <a:gd name="connsiteY1212" fmla="*/ 588052 h 1095797"/>
                  <a:gd name="connsiteX1213" fmla="*/ 398348 w 1071706"/>
                  <a:gd name="connsiteY1213" fmla="*/ 588507 h 1095797"/>
                  <a:gd name="connsiteX1214" fmla="*/ 411379 w 1071706"/>
                  <a:gd name="connsiteY1214" fmla="*/ 588961 h 1095797"/>
                  <a:gd name="connsiteX1215" fmla="*/ 422894 w 1071706"/>
                  <a:gd name="connsiteY1215" fmla="*/ 589416 h 1095797"/>
                  <a:gd name="connsiteX1216" fmla="*/ 423955 w 1071706"/>
                  <a:gd name="connsiteY1216" fmla="*/ 589416 h 1095797"/>
                  <a:gd name="connsiteX1217" fmla="*/ 425925 w 1071706"/>
                  <a:gd name="connsiteY1217" fmla="*/ 588961 h 1095797"/>
                  <a:gd name="connsiteX1218" fmla="*/ 427289 w 1071706"/>
                  <a:gd name="connsiteY1218" fmla="*/ 588355 h 1095797"/>
                  <a:gd name="connsiteX1219" fmla="*/ 428046 w 1071706"/>
                  <a:gd name="connsiteY1219" fmla="*/ 588355 h 1095797"/>
                  <a:gd name="connsiteX1220" fmla="*/ 428198 w 1071706"/>
                  <a:gd name="connsiteY1220" fmla="*/ 589870 h 1095797"/>
                  <a:gd name="connsiteX1221" fmla="*/ 427895 w 1071706"/>
                  <a:gd name="connsiteY1221" fmla="*/ 591840 h 1095797"/>
                  <a:gd name="connsiteX1222" fmla="*/ 427895 w 1071706"/>
                  <a:gd name="connsiteY1222" fmla="*/ 594113 h 1095797"/>
                  <a:gd name="connsiteX1223" fmla="*/ 424561 w 1071706"/>
                  <a:gd name="connsiteY1223" fmla="*/ 598507 h 1095797"/>
                  <a:gd name="connsiteX1224" fmla="*/ 424410 w 1071706"/>
                  <a:gd name="connsiteY1224" fmla="*/ 599871 h 1095797"/>
                  <a:gd name="connsiteX1225" fmla="*/ 424864 w 1071706"/>
                  <a:gd name="connsiteY1225" fmla="*/ 605780 h 1095797"/>
                  <a:gd name="connsiteX1226" fmla="*/ 426076 w 1071706"/>
                  <a:gd name="connsiteY1226" fmla="*/ 610477 h 1095797"/>
                  <a:gd name="connsiteX1227" fmla="*/ 426682 w 1071706"/>
                  <a:gd name="connsiteY1227" fmla="*/ 614720 h 1095797"/>
                  <a:gd name="connsiteX1228" fmla="*/ 428046 w 1071706"/>
                  <a:gd name="connsiteY1228" fmla="*/ 616083 h 1095797"/>
                  <a:gd name="connsiteX1229" fmla="*/ 431986 w 1071706"/>
                  <a:gd name="connsiteY1229" fmla="*/ 618356 h 1095797"/>
                  <a:gd name="connsiteX1230" fmla="*/ 437895 w 1071706"/>
                  <a:gd name="connsiteY1230" fmla="*/ 622599 h 1095797"/>
                  <a:gd name="connsiteX1231" fmla="*/ 440319 w 1071706"/>
                  <a:gd name="connsiteY1231" fmla="*/ 623205 h 1095797"/>
                  <a:gd name="connsiteX1232" fmla="*/ 442289 w 1071706"/>
                  <a:gd name="connsiteY1232" fmla="*/ 622599 h 1095797"/>
                  <a:gd name="connsiteX1233" fmla="*/ 443501 w 1071706"/>
                  <a:gd name="connsiteY1233" fmla="*/ 624265 h 1095797"/>
                  <a:gd name="connsiteX1234" fmla="*/ 443804 w 1071706"/>
                  <a:gd name="connsiteY1234" fmla="*/ 626993 h 1095797"/>
                  <a:gd name="connsiteX1235" fmla="*/ 446986 w 1071706"/>
                  <a:gd name="connsiteY1235" fmla="*/ 634720 h 1095797"/>
                  <a:gd name="connsiteX1236" fmla="*/ 449108 w 1071706"/>
                  <a:gd name="connsiteY1236" fmla="*/ 639569 h 1095797"/>
                  <a:gd name="connsiteX1237" fmla="*/ 450017 w 1071706"/>
                  <a:gd name="connsiteY1237" fmla="*/ 641236 h 1095797"/>
                  <a:gd name="connsiteX1238" fmla="*/ 451532 w 1071706"/>
                  <a:gd name="connsiteY1238" fmla="*/ 642145 h 1095797"/>
                  <a:gd name="connsiteX1239" fmla="*/ 451229 w 1071706"/>
                  <a:gd name="connsiteY1239" fmla="*/ 642751 h 1095797"/>
                  <a:gd name="connsiteX1240" fmla="*/ 450017 w 1071706"/>
                  <a:gd name="connsiteY1240" fmla="*/ 643054 h 1095797"/>
                  <a:gd name="connsiteX1241" fmla="*/ 449410 w 1071706"/>
                  <a:gd name="connsiteY1241" fmla="*/ 643963 h 1095797"/>
                  <a:gd name="connsiteX1242" fmla="*/ 447592 w 1071706"/>
                  <a:gd name="connsiteY1242" fmla="*/ 649418 h 1095797"/>
                  <a:gd name="connsiteX1243" fmla="*/ 445320 w 1071706"/>
                  <a:gd name="connsiteY1243" fmla="*/ 656691 h 1095797"/>
                  <a:gd name="connsiteX1244" fmla="*/ 443804 w 1071706"/>
                  <a:gd name="connsiteY1244" fmla="*/ 661842 h 1095797"/>
                  <a:gd name="connsiteX1245" fmla="*/ 445168 w 1071706"/>
                  <a:gd name="connsiteY1245" fmla="*/ 661994 h 1095797"/>
                  <a:gd name="connsiteX1246" fmla="*/ 445168 w 1071706"/>
                  <a:gd name="connsiteY1246" fmla="*/ 663358 h 1095797"/>
                  <a:gd name="connsiteX1247" fmla="*/ 445471 w 1071706"/>
                  <a:gd name="connsiteY1247" fmla="*/ 665479 h 1095797"/>
                  <a:gd name="connsiteX1248" fmla="*/ 443653 w 1071706"/>
                  <a:gd name="connsiteY1248" fmla="*/ 665782 h 1095797"/>
                  <a:gd name="connsiteX1249" fmla="*/ 443198 w 1071706"/>
                  <a:gd name="connsiteY1249" fmla="*/ 666540 h 1095797"/>
                  <a:gd name="connsiteX1250" fmla="*/ 441228 w 1071706"/>
                  <a:gd name="connsiteY1250" fmla="*/ 670782 h 1095797"/>
                  <a:gd name="connsiteX1251" fmla="*/ 438501 w 1071706"/>
                  <a:gd name="connsiteY1251" fmla="*/ 676237 h 1095797"/>
                  <a:gd name="connsiteX1252" fmla="*/ 435774 w 1071706"/>
                  <a:gd name="connsiteY1252" fmla="*/ 681843 h 1095797"/>
                  <a:gd name="connsiteX1253" fmla="*/ 434107 w 1071706"/>
                  <a:gd name="connsiteY1253" fmla="*/ 685177 h 1095797"/>
                  <a:gd name="connsiteX1254" fmla="*/ 436834 w 1071706"/>
                  <a:gd name="connsiteY1254" fmla="*/ 687601 h 1095797"/>
                  <a:gd name="connsiteX1255" fmla="*/ 441532 w 1071706"/>
                  <a:gd name="connsiteY1255" fmla="*/ 691692 h 1095797"/>
                  <a:gd name="connsiteX1256" fmla="*/ 440774 w 1071706"/>
                  <a:gd name="connsiteY1256" fmla="*/ 692904 h 1095797"/>
                  <a:gd name="connsiteX1257" fmla="*/ 438804 w 1071706"/>
                  <a:gd name="connsiteY1257" fmla="*/ 693510 h 1095797"/>
                  <a:gd name="connsiteX1258" fmla="*/ 437137 w 1071706"/>
                  <a:gd name="connsiteY1258" fmla="*/ 693965 h 1095797"/>
                  <a:gd name="connsiteX1259" fmla="*/ 435925 w 1071706"/>
                  <a:gd name="connsiteY1259" fmla="*/ 695480 h 1095797"/>
                  <a:gd name="connsiteX1260" fmla="*/ 435168 w 1071706"/>
                  <a:gd name="connsiteY1260" fmla="*/ 696692 h 1095797"/>
                  <a:gd name="connsiteX1261" fmla="*/ 433349 w 1071706"/>
                  <a:gd name="connsiteY1261" fmla="*/ 697147 h 1095797"/>
                  <a:gd name="connsiteX1262" fmla="*/ 433955 w 1071706"/>
                  <a:gd name="connsiteY1262" fmla="*/ 699268 h 1095797"/>
                  <a:gd name="connsiteX1263" fmla="*/ 434258 w 1071706"/>
                  <a:gd name="connsiteY1263" fmla="*/ 700783 h 1095797"/>
                  <a:gd name="connsiteX1264" fmla="*/ 435168 w 1071706"/>
                  <a:gd name="connsiteY1264" fmla="*/ 701844 h 1095797"/>
                  <a:gd name="connsiteX1265" fmla="*/ 436077 w 1071706"/>
                  <a:gd name="connsiteY1265" fmla="*/ 703359 h 1095797"/>
                  <a:gd name="connsiteX1266" fmla="*/ 436986 w 1071706"/>
                  <a:gd name="connsiteY1266" fmla="*/ 704268 h 1095797"/>
                  <a:gd name="connsiteX1267" fmla="*/ 437592 w 1071706"/>
                  <a:gd name="connsiteY1267" fmla="*/ 705632 h 1095797"/>
                  <a:gd name="connsiteX1268" fmla="*/ 437440 w 1071706"/>
                  <a:gd name="connsiteY1268" fmla="*/ 707299 h 1095797"/>
                  <a:gd name="connsiteX1269" fmla="*/ 437744 w 1071706"/>
                  <a:gd name="connsiteY1269" fmla="*/ 709420 h 1095797"/>
                  <a:gd name="connsiteX1270" fmla="*/ 438198 w 1071706"/>
                  <a:gd name="connsiteY1270" fmla="*/ 711238 h 1095797"/>
                  <a:gd name="connsiteX1271" fmla="*/ 438653 w 1071706"/>
                  <a:gd name="connsiteY1271" fmla="*/ 711693 h 1095797"/>
                  <a:gd name="connsiteX1272" fmla="*/ 440016 w 1071706"/>
                  <a:gd name="connsiteY1272" fmla="*/ 712147 h 1095797"/>
                  <a:gd name="connsiteX1273" fmla="*/ 440622 w 1071706"/>
                  <a:gd name="connsiteY1273" fmla="*/ 713814 h 1095797"/>
                  <a:gd name="connsiteX1274" fmla="*/ 440168 w 1071706"/>
                  <a:gd name="connsiteY1274" fmla="*/ 714572 h 1095797"/>
                  <a:gd name="connsiteX1275" fmla="*/ 440319 w 1071706"/>
                  <a:gd name="connsiteY1275" fmla="*/ 715481 h 1095797"/>
                  <a:gd name="connsiteX1276" fmla="*/ 440774 w 1071706"/>
                  <a:gd name="connsiteY1276" fmla="*/ 716390 h 1095797"/>
                  <a:gd name="connsiteX1277" fmla="*/ 440319 w 1071706"/>
                  <a:gd name="connsiteY1277" fmla="*/ 717299 h 1095797"/>
                  <a:gd name="connsiteX1278" fmla="*/ 440471 w 1071706"/>
                  <a:gd name="connsiteY1278" fmla="*/ 718057 h 1095797"/>
                  <a:gd name="connsiteX1279" fmla="*/ 441380 w 1071706"/>
                  <a:gd name="connsiteY1279" fmla="*/ 718663 h 1095797"/>
                  <a:gd name="connsiteX1280" fmla="*/ 442138 w 1071706"/>
                  <a:gd name="connsiteY1280" fmla="*/ 720935 h 1095797"/>
                  <a:gd name="connsiteX1281" fmla="*/ 442289 w 1071706"/>
                  <a:gd name="connsiteY1281" fmla="*/ 724723 h 1095797"/>
                  <a:gd name="connsiteX1282" fmla="*/ 441380 w 1071706"/>
                  <a:gd name="connsiteY1282" fmla="*/ 726845 h 1095797"/>
                  <a:gd name="connsiteX1283" fmla="*/ 440622 w 1071706"/>
                  <a:gd name="connsiteY1283" fmla="*/ 728511 h 1095797"/>
                  <a:gd name="connsiteX1284" fmla="*/ 440471 w 1071706"/>
                  <a:gd name="connsiteY1284" fmla="*/ 729572 h 1095797"/>
                  <a:gd name="connsiteX1285" fmla="*/ 441077 w 1071706"/>
                  <a:gd name="connsiteY1285" fmla="*/ 731087 h 1095797"/>
                  <a:gd name="connsiteX1286" fmla="*/ 440168 w 1071706"/>
                  <a:gd name="connsiteY1286" fmla="*/ 732906 h 1095797"/>
                  <a:gd name="connsiteX1287" fmla="*/ 439107 w 1071706"/>
                  <a:gd name="connsiteY1287" fmla="*/ 735027 h 1095797"/>
                  <a:gd name="connsiteX1288" fmla="*/ 439410 w 1071706"/>
                  <a:gd name="connsiteY1288" fmla="*/ 736542 h 1095797"/>
                  <a:gd name="connsiteX1289" fmla="*/ 439562 w 1071706"/>
                  <a:gd name="connsiteY1289" fmla="*/ 737906 h 1095797"/>
                  <a:gd name="connsiteX1290" fmla="*/ 439713 w 1071706"/>
                  <a:gd name="connsiteY1290" fmla="*/ 739421 h 1095797"/>
                  <a:gd name="connsiteX1291" fmla="*/ 440016 w 1071706"/>
                  <a:gd name="connsiteY1291" fmla="*/ 740785 h 1095797"/>
                  <a:gd name="connsiteX1292" fmla="*/ 439713 w 1071706"/>
                  <a:gd name="connsiteY1292" fmla="*/ 742300 h 1095797"/>
                  <a:gd name="connsiteX1293" fmla="*/ 439410 w 1071706"/>
                  <a:gd name="connsiteY1293" fmla="*/ 743664 h 1095797"/>
                  <a:gd name="connsiteX1294" fmla="*/ 439259 w 1071706"/>
                  <a:gd name="connsiteY1294" fmla="*/ 745179 h 1095797"/>
                  <a:gd name="connsiteX1295" fmla="*/ 439713 w 1071706"/>
                  <a:gd name="connsiteY1295" fmla="*/ 746846 h 1095797"/>
                  <a:gd name="connsiteX1296" fmla="*/ 438956 w 1071706"/>
                  <a:gd name="connsiteY1296" fmla="*/ 748512 h 1095797"/>
                  <a:gd name="connsiteX1297" fmla="*/ 438501 w 1071706"/>
                  <a:gd name="connsiteY1297" fmla="*/ 749573 h 1095797"/>
                  <a:gd name="connsiteX1298" fmla="*/ 438349 w 1071706"/>
                  <a:gd name="connsiteY1298" fmla="*/ 750634 h 1095797"/>
                  <a:gd name="connsiteX1299" fmla="*/ 439107 w 1071706"/>
                  <a:gd name="connsiteY1299" fmla="*/ 752452 h 1095797"/>
                  <a:gd name="connsiteX1300" fmla="*/ 441228 w 1071706"/>
                  <a:gd name="connsiteY1300" fmla="*/ 753209 h 1095797"/>
                  <a:gd name="connsiteX1301" fmla="*/ 442895 w 1071706"/>
                  <a:gd name="connsiteY1301" fmla="*/ 753361 h 1095797"/>
                  <a:gd name="connsiteX1302" fmla="*/ 444410 w 1071706"/>
                  <a:gd name="connsiteY1302" fmla="*/ 752452 h 1095797"/>
                  <a:gd name="connsiteX1303" fmla="*/ 445622 w 1071706"/>
                  <a:gd name="connsiteY1303" fmla="*/ 752149 h 1095797"/>
                  <a:gd name="connsiteX1304" fmla="*/ 447744 w 1071706"/>
                  <a:gd name="connsiteY1304" fmla="*/ 753058 h 1095797"/>
                  <a:gd name="connsiteX1305" fmla="*/ 449714 w 1071706"/>
                  <a:gd name="connsiteY1305" fmla="*/ 754573 h 1095797"/>
                  <a:gd name="connsiteX1306" fmla="*/ 452289 w 1071706"/>
                  <a:gd name="connsiteY1306" fmla="*/ 754725 h 1095797"/>
                  <a:gd name="connsiteX1307" fmla="*/ 454562 w 1071706"/>
                  <a:gd name="connsiteY1307" fmla="*/ 755028 h 1095797"/>
                  <a:gd name="connsiteX1308" fmla="*/ 456229 w 1071706"/>
                  <a:gd name="connsiteY1308" fmla="*/ 755482 h 1095797"/>
                  <a:gd name="connsiteX1309" fmla="*/ 458805 w 1071706"/>
                  <a:gd name="connsiteY1309" fmla="*/ 754876 h 1095797"/>
                  <a:gd name="connsiteX1310" fmla="*/ 461381 w 1071706"/>
                  <a:gd name="connsiteY1310" fmla="*/ 755482 h 1095797"/>
                  <a:gd name="connsiteX1311" fmla="*/ 464411 w 1071706"/>
                  <a:gd name="connsiteY1311" fmla="*/ 756391 h 1095797"/>
                  <a:gd name="connsiteX1312" fmla="*/ 466987 w 1071706"/>
                  <a:gd name="connsiteY1312" fmla="*/ 757149 h 1095797"/>
                  <a:gd name="connsiteX1313" fmla="*/ 469563 w 1071706"/>
                  <a:gd name="connsiteY1313" fmla="*/ 756997 h 1095797"/>
                  <a:gd name="connsiteX1314" fmla="*/ 471533 w 1071706"/>
                  <a:gd name="connsiteY1314" fmla="*/ 756846 h 1095797"/>
                  <a:gd name="connsiteX1315" fmla="*/ 473502 w 1071706"/>
                  <a:gd name="connsiteY1315" fmla="*/ 755937 h 1095797"/>
                  <a:gd name="connsiteX1316" fmla="*/ 475472 w 1071706"/>
                  <a:gd name="connsiteY1316" fmla="*/ 756088 h 1095797"/>
                  <a:gd name="connsiteX1317" fmla="*/ 476987 w 1071706"/>
                  <a:gd name="connsiteY1317" fmla="*/ 754573 h 1095797"/>
                  <a:gd name="connsiteX1318" fmla="*/ 477745 w 1071706"/>
                  <a:gd name="connsiteY1318" fmla="*/ 753209 h 1095797"/>
                  <a:gd name="connsiteX1319" fmla="*/ 478503 w 1071706"/>
                  <a:gd name="connsiteY1319" fmla="*/ 752300 h 1095797"/>
                  <a:gd name="connsiteX1320" fmla="*/ 480624 w 1071706"/>
                  <a:gd name="connsiteY1320" fmla="*/ 751543 h 1095797"/>
                  <a:gd name="connsiteX1321" fmla="*/ 482139 w 1071706"/>
                  <a:gd name="connsiteY1321" fmla="*/ 751997 h 1095797"/>
                  <a:gd name="connsiteX1322" fmla="*/ 483351 w 1071706"/>
                  <a:gd name="connsiteY1322" fmla="*/ 754422 h 1095797"/>
                  <a:gd name="connsiteX1323" fmla="*/ 485472 w 1071706"/>
                  <a:gd name="connsiteY1323" fmla="*/ 755785 h 1095797"/>
                  <a:gd name="connsiteX1324" fmla="*/ 486230 w 1071706"/>
                  <a:gd name="connsiteY1324" fmla="*/ 756846 h 1095797"/>
                  <a:gd name="connsiteX1325" fmla="*/ 487745 w 1071706"/>
                  <a:gd name="connsiteY1325" fmla="*/ 757301 h 1095797"/>
                  <a:gd name="connsiteX1326" fmla="*/ 491079 w 1071706"/>
                  <a:gd name="connsiteY1326" fmla="*/ 757452 h 1095797"/>
                  <a:gd name="connsiteX1327" fmla="*/ 493200 w 1071706"/>
                  <a:gd name="connsiteY1327" fmla="*/ 757301 h 1095797"/>
                  <a:gd name="connsiteX1328" fmla="*/ 495624 w 1071706"/>
                  <a:gd name="connsiteY1328" fmla="*/ 758058 h 1095797"/>
                  <a:gd name="connsiteX1329" fmla="*/ 497140 w 1071706"/>
                  <a:gd name="connsiteY1329" fmla="*/ 758058 h 1095797"/>
                  <a:gd name="connsiteX1330" fmla="*/ 498503 w 1071706"/>
                  <a:gd name="connsiteY1330" fmla="*/ 759422 h 1095797"/>
                  <a:gd name="connsiteX1331" fmla="*/ 499715 w 1071706"/>
                  <a:gd name="connsiteY1331" fmla="*/ 761089 h 1095797"/>
                  <a:gd name="connsiteX1332" fmla="*/ 499867 w 1071706"/>
                  <a:gd name="connsiteY1332" fmla="*/ 763967 h 1095797"/>
                  <a:gd name="connsiteX1333" fmla="*/ 501079 w 1071706"/>
                  <a:gd name="connsiteY1333" fmla="*/ 766240 h 1095797"/>
                  <a:gd name="connsiteX1334" fmla="*/ 502594 w 1071706"/>
                  <a:gd name="connsiteY1334" fmla="*/ 767149 h 1095797"/>
                  <a:gd name="connsiteX1335" fmla="*/ 503352 w 1071706"/>
                  <a:gd name="connsiteY1335" fmla="*/ 768513 h 1095797"/>
                  <a:gd name="connsiteX1336" fmla="*/ 503049 w 1071706"/>
                  <a:gd name="connsiteY1336" fmla="*/ 770483 h 1095797"/>
                  <a:gd name="connsiteX1337" fmla="*/ 502291 w 1071706"/>
                  <a:gd name="connsiteY1337" fmla="*/ 772453 h 1095797"/>
                  <a:gd name="connsiteX1338" fmla="*/ 502443 w 1071706"/>
                  <a:gd name="connsiteY1338" fmla="*/ 774574 h 1095797"/>
                  <a:gd name="connsiteX1339" fmla="*/ 503200 w 1071706"/>
                  <a:gd name="connsiteY1339" fmla="*/ 776544 h 1095797"/>
                  <a:gd name="connsiteX1340" fmla="*/ 503200 w 1071706"/>
                  <a:gd name="connsiteY1340" fmla="*/ 778513 h 1095797"/>
                  <a:gd name="connsiteX1341" fmla="*/ 503807 w 1071706"/>
                  <a:gd name="connsiteY1341" fmla="*/ 780483 h 1095797"/>
                  <a:gd name="connsiteX1342" fmla="*/ 504867 w 1071706"/>
                  <a:gd name="connsiteY1342" fmla="*/ 782150 h 1095797"/>
                  <a:gd name="connsiteX1343" fmla="*/ 505170 w 1071706"/>
                  <a:gd name="connsiteY1343" fmla="*/ 784877 h 1095797"/>
                  <a:gd name="connsiteX1344" fmla="*/ 505019 w 1071706"/>
                  <a:gd name="connsiteY1344" fmla="*/ 786847 h 1095797"/>
                  <a:gd name="connsiteX1345" fmla="*/ 505776 w 1071706"/>
                  <a:gd name="connsiteY1345" fmla="*/ 788059 h 1095797"/>
                  <a:gd name="connsiteX1346" fmla="*/ 506079 w 1071706"/>
                  <a:gd name="connsiteY1346" fmla="*/ 789726 h 1095797"/>
                  <a:gd name="connsiteX1347" fmla="*/ 505625 w 1071706"/>
                  <a:gd name="connsiteY1347" fmla="*/ 791090 h 1095797"/>
                  <a:gd name="connsiteX1348" fmla="*/ 505473 w 1071706"/>
                  <a:gd name="connsiteY1348" fmla="*/ 792908 h 1095797"/>
                  <a:gd name="connsiteX1349" fmla="*/ 505625 w 1071706"/>
                  <a:gd name="connsiteY1349" fmla="*/ 794574 h 1095797"/>
                  <a:gd name="connsiteX1350" fmla="*/ 506231 w 1071706"/>
                  <a:gd name="connsiteY1350" fmla="*/ 795938 h 1095797"/>
                  <a:gd name="connsiteX1351" fmla="*/ 507897 w 1071706"/>
                  <a:gd name="connsiteY1351" fmla="*/ 797605 h 1095797"/>
                  <a:gd name="connsiteX1352" fmla="*/ 508352 w 1071706"/>
                  <a:gd name="connsiteY1352" fmla="*/ 800635 h 1095797"/>
                  <a:gd name="connsiteX1353" fmla="*/ 508352 w 1071706"/>
                  <a:gd name="connsiteY1353" fmla="*/ 802757 h 1095797"/>
                  <a:gd name="connsiteX1354" fmla="*/ 509110 w 1071706"/>
                  <a:gd name="connsiteY1354" fmla="*/ 805181 h 1095797"/>
                  <a:gd name="connsiteX1355" fmla="*/ 510474 w 1071706"/>
                  <a:gd name="connsiteY1355" fmla="*/ 806393 h 1095797"/>
                  <a:gd name="connsiteX1356" fmla="*/ 512595 w 1071706"/>
                  <a:gd name="connsiteY1356" fmla="*/ 806848 h 1095797"/>
                  <a:gd name="connsiteX1357" fmla="*/ 515171 w 1071706"/>
                  <a:gd name="connsiteY1357" fmla="*/ 807302 h 1095797"/>
                  <a:gd name="connsiteX1358" fmla="*/ 518201 w 1071706"/>
                  <a:gd name="connsiteY1358" fmla="*/ 806696 h 1095797"/>
                  <a:gd name="connsiteX1359" fmla="*/ 520928 w 1071706"/>
                  <a:gd name="connsiteY1359" fmla="*/ 806090 h 1095797"/>
                  <a:gd name="connsiteX1360" fmla="*/ 522444 w 1071706"/>
                  <a:gd name="connsiteY1360" fmla="*/ 805484 h 1095797"/>
                  <a:gd name="connsiteX1361" fmla="*/ 525474 w 1071706"/>
                  <a:gd name="connsiteY1361" fmla="*/ 803666 h 1095797"/>
                  <a:gd name="connsiteX1362" fmla="*/ 528050 w 1071706"/>
                  <a:gd name="connsiteY1362" fmla="*/ 802605 h 1095797"/>
                  <a:gd name="connsiteX1363" fmla="*/ 529414 w 1071706"/>
                  <a:gd name="connsiteY1363" fmla="*/ 801999 h 1095797"/>
                  <a:gd name="connsiteX1364" fmla="*/ 530626 w 1071706"/>
                  <a:gd name="connsiteY1364" fmla="*/ 801545 h 1095797"/>
                  <a:gd name="connsiteX1365" fmla="*/ 533202 w 1071706"/>
                  <a:gd name="connsiteY1365" fmla="*/ 802757 h 1095797"/>
                  <a:gd name="connsiteX1366" fmla="*/ 535626 w 1071706"/>
                  <a:gd name="connsiteY1366" fmla="*/ 804120 h 1095797"/>
                  <a:gd name="connsiteX1367" fmla="*/ 537596 w 1071706"/>
                  <a:gd name="connsiteY1367" fmla="*/ 806090 h 1095797"/>
                  <a:gd name="connsiteX1368" fmla="*/ 541081 w 1071706"/>
                  <a:gd name="connsiteY1368" fmla="*/ 808211 h 1095797"/>
                  <a:gd name="connsiteX1369" fmla="*/ 540323 w 1071706"/>
                  <a:gd name="connsiteY1369" fmla="*/ 808817 h 1095797"/>
                  <a:gd name="connsiteX1370" fmla="*/ 538959 w 1071706"/>
                  <a:gd name="connsiteY1370" fmla="*/ 810636 h 1095797"/>
                  <a:gd name="connsiteX1371" fmla="*/ 538959 w 1071706"/>
                  <a:gd name="connsiteY1371" fmla="*/ 812757 h 1095797"/>
                  <a:gd name="connsiteX1372" fmla="*/ 540020 w 1071706"/>
                  <a:gd name="connsiteY1372" fmla="*/ 815788 h 1095797"/>
                  <a:gd name="connsiteX1373" fmla="*/ 539111 w 1071706"/>
                  <a:gd name="connsiteY1373" fmla="*/ 822151 h 1095797"/>
                  <a:gd name="connsiteX1374" fmla="*/ 536383 w 1071706"/>
                  <a:gd name="connsiteY1374" fmla="*/ 832000 h 1095797"/>
                  <a:gd name="connsiteX1375" fmla="*/ 535323 w 1071706"/>
                  <a:gd name="connsiteY1375" fmla="*/ 837758 h 1095797"/>
                  <a:gd name="connsiteX1376" fmla="*/ 535777 w 1071706"/>
                  <a:gd name="connsiteY1376" fmla="*/ 839425 h 1095797"/>
                  <a:gd name="connsiteX1377" fmla="*/ 534717 w 1071706"/>
                  <a:gd name="connsiteY1377" fmla="*/ 842304 h 1095797"/>
                  <a:gd name="connsiteX1378" fmla="*/ 530929 w 1071706"/>
                  <a:gd name="connsiteY1378" fmla="*/ 848516 h 1095797"/>
                  <a:gd name="connsiteX1379" fmla="*/ 530777 w 1071706"/>
                  <a:gd name="connsiteY1379" fmla="*/ 852607 h 1095797"/>
                  <a:gd name="connsiteX1380" fmla="*/ 532899 w 1071706"/>
                  <a:gd name="connsiteY1380" fmla="*/ 852607 h 1095797"/>
                  <a:gd name="connsiteX1381" fmla="*/ 533959 w 1071706"/>
                  <a:gd name="connsiteY1381" fmla="*/ 853516 h 1095797"/>
                  <a:gd name="connsiteX1382" fmla="*/ 535474 w 1071706"/>
                  <a:gd name="connsiteY1382" fmla="*/ 853971 h 1095797"/>
                  <a:gd name="connsiteX1383" fmla="*/ 537141 w 1071706"/>
                  <a:gd name="connsiteY1383" fmla="*/ 852910 h 1095797"/>
                  <a:gd name="connsiteX1384" fmla="*/ 538505 w 1071706"/>
                  <a:gd name="connsiteY1384" fmla="*/ 852456 h 1095797"/>
                  <a:gd name="connsiteX1385" fmla="*/ 540778 w 1071706"/>
                  <a:gd name="connsiteY1385" fmla="*/ 852456 h 1095797"/>
                  <a:gd name="connsiteX1386" fmla="*/ 541990 w 1071706"/>
                  <a:gd name="connsiteY1386" fmla="*/ 851243 h 1095797"/>
                  <a:gd name="connsiteX1387" fmla="*/ 543354 w 1071706"/>
                  <a:gd name="connsiteY1387" fmla="*/ 851092 h 1095797"/>
                  <a:gd name="connsiteX1388" fmla="*/ 544263 w 1071706"/>
                  <a:gd name="connsiteY1388" fmla="*/ 851698 h 1095797"/>
                  <a:gd name="connsiteX1389" fmla="*/ 545172 w 1071706"/>
                  <a:gd name="connsiteY1389" fmla="*/ 852456 h 1095797"/>
                  <a:gd name="connsiteX1390" fmla="*/ 547142 w 1071706"/>
                  <a:gd name="connsiteY1390" fmla="*/ 852607 h 1095797"/>
                  <a:gd name="connsiteX1391" fmla="*/ 548657 w 1071706"/>
                  <a:gd name="connsiteY1391" fmla="*/ 854577 h 1095797"/>
                  <a:gd name="connsiteX1392" fmla="*/ 550323 w 1071706"/>
                  <a:gd name="connsiteY1392" fmla="*/ 855183 h 1095797"/>
                  <a:gd name="connsiteX1393" fmla="*/ 551081 w 1071706"/>
                  <a:gd name="connsiteY1393" fmla="*/ 857456 h 1095797"/>
                  <a:gd name="connsiteX1394" fmla="*/ 552142 w 1071706"/>
                  <a:gd name="connsiteY1394" fmla="*/ 863516 h 1095797"/>
                  <a:gd name="connsiteX1395" fmla="*/ 554263 w 1071706"/>
                  <a:gd name="connsiteY1395" fmla="*/ 867153 h 1095797"/>
                  <a:gd name="connsiteX1396" fmla="*/ 556384 w 1071706"/>
                  <a:gd name="connsiteY1396" fmla="*/ 871244 h 1095797"/>
                  <a:gd name="connsiteX1397" fmla="*/ 556384 w 1071706"/>
                  <a:gd name="connsiteY1397" fmla="*/ 873062 h 1095797"/>
                  <a:gd name="connsiteX1398" fmla="*/ 555172 w 1071706"/>
                  <a:gd name="connsiteY1398" fmla="*/ 874881 h 1095797"/>
                  <a:gd name="connsiteX1399" fmla="*/ 555020 w 1071706"/>
                  <a:gd name="connsiteY1399" fmla="*/ 877608 h 1095797"/>
                  <a:gd name="connsiteX1400" fmla="*/ 554263 w 1071706"/>
                  <a:gd name="connsiteY1400" fmla="*/ 884123 h 1095797"/>
                  <a:gd name="connsiteX1401" fmla="*/ 553960 w 1071706"/>
                  <a:gd name="connsiteY1401" fmla="*/ 886548 h 1095797"/>
                  <a:gd name="connsiteX1402" fmla="*/ 554718 w 1071706"/>
                  <a:gd name="connsiteY1402" fmla="*/ 888214 h 1095797"/>
                  <a:gd name="connsiteX1403" fmla="*/ 555020 w 1071706"/>
                  <a:gd name="connsiteY1403" fmla="*/ 890487 h 1095797"/>
                  <a:gd name="connsiteX1404" fmla="*/ 553960 w 1071706"/>
                  <a:gd name="connsiteY1404" fmla="*/ 893215 h 1095797"/>
                  <a:gd name="connsiteX1405" fmla="*/ 551839 w 1071706"/>
                  <a:gd name="connsiteY1405" fmla="*/ 897457 h 1095797"/>
                  <a:gd name="connsiteX1406" fmla="*/ 549717 w 1071706"/>
                  <a:gd name="connsiteY1406" fmla="*/ 898518 h 1095797"/>
                  <a:gd name="connsiteX1407" fmla="*/ 549111 w 1071706"/>
                  <a:gd name="connsiteY1407" fmla="*/ 898518 h 1095797"/>
                  <a:gd name="connsiteX1408" fmla="*/ 546232 w 1071706"/>
                  <a:gd name="connsiteY1408" fmla="*/ 900942 h 1095797"/>
                  <a:gd name="connsiteX1409" fmla="*/ 544263 w 1071706"/>
                  <a:gd name="connsiteY1409" fmla="*/ 901851 h 1095797"/>
                  <a:gd name="connsiteX1410" fmla="*/ 543050 w 1071706"/>
                  <a:gd name="connsiteY1410" fmla="*/ 901245 h 1095797"/>
                  <a:gd name="connsiteX1411" fmla="*/ 541687 w 1071706"/>
                  <a:gd name="connsiteY1411" fmla="*/ 902306 h 1095797"/>
                  <a:gd name="connsiteX1412" fmla="*/ 540171 w 1071706"/>
                  <a:gd name="connsiteY1412" fmla="*/ 905033 h 1095797"/>
                  <a:gd name="connsiteX1413" fmla="*/ 538353 w 1071706"/>
                  <a:gd name="connsiteY1413" fmla="*/ 906245 h 1095797"/>
                  <a:gd name="connsiteX1414" fmla="*/ 535020 w 1071706"/>
                  <a:gd name="connsiteY1414" fmla="*/ 906851 h 1095797"/>
                  <a:gd name="connsiteX1415" fmla="*/ 533959 w 1071706"/>
                  <a:gd name="connsiteY1415" fmla="*/ 907154 h 1095797"/>
                  <a:gd name="connsiteX1416" fmla="*/ 531989 w 1071706"/>
                  <a:gd name="connsiteY1416" fmla="*/ 907003 h 1095797"/>
                  <a:gd name="connsiteX1417" fmla="*/ 530323 w 1071706"/>
                  <a:gd name="connsiteY1417" fmla="*/ 907609 h 1095797"/>
                  <a:gd name="connsiteX1418" fmla="*/ 528959 w 1071706"/>
                  <a:gd name="connsiteY1418" fmla="*/ 909124 h 1095797"/>
                  <a:gd name="connsiteX1419" fmla="*/ 527444 w 1071706"/>
                  <a:gd name="connsiteY1419" fmla="*/ 909730 h 1095797"/>
                  <a:gd name="connsiteX1420" fmla="*/ 525928 w 1071706"/>
                  <a:gd name="connsiteY1420" fmla="*/ 909427 h 1095797"/>
                  <a:gd name="connsiteX1421" fmla="*/ 524565 w 1071706"/>
                  <a:gd name="connsiteY1421" fmla="*/ 910033 h 1095797"/>
                  <a:gd name="connsiteX1422" fmla="*/ 523353 w 1071706"/>
                  <a:gd name="connsiteY1422" fmla="*/ 911397 h 1095797"/>
                  <a:gd name="connsiteX1423" fmla="*/ 522595 w 1071706"/>
                  <a:gd name="connsiteY1423" fmla="*/ 912912 h 1095797"/>
                  <a:gd name="connsiteX1424" fmla="*/ 522444 w 1071706"/>
                  <a:gd name="connsiteY1424" fmla="*/ 914579 h 1095797"/>
                  <a:gd name="connsiteX1425" fmla="*/ 521231 w 1071706"/>
                  <a:gd name="connsiteY1425" fmla="*/ 915639 h 1095797"/>
                  <a:gd name="connsiteX1426" fmla="*/ 518959 w 1071706"/>
                  <a:gd name="connsiteY1426" fmla="*/ 916246 h 1095797"/>
                  <a:gd name="connsiteX1427" fmla="*/ 518201 w 1071706"/>
                  <a:gd name="connsiteY1427" fmla="*/ 917155 h 1095797"/>
                  <a:gd name="connsiteX1428" fmla="*/ 518352 w 1071706"/>
                  <a:gd name="connsiteY1428" fmla="*/ 918367 h 1095797"/>
                  <a:gd name="connsiteX1429" fmla="*/ 517292 w 1071706"/>
                  <a:gd name="connsiteY1429" fmla="*/ 919276 h 1095797"/>
                  <a:gd name="connsiteX1430" fmla="*/ 513352 w 1071706"/>
                  <a:gd name="connsiteY1430" fmla="*/ 920185 h 1095797"/>
                  <a:gd name="connsiteX1431" fmla="*/ 510474 w 1071706"/>
                  <a:gd name="connsiteY1431" fmla="*/ 921852 h 1095797"/>
                  <a:gd name="connsiteX1432" fmla="*/ 508807 w 1071706"/>
                  <a:gd name="connsiteY1432" fmla="*/ 924276 h 1095797"/>
                  <a:gd name="connsiteX1433" fmla="*/ 506988 w 1071706"/>
                  <a:gd name="connsiteY1433" fmla="*/ 925791 h 1095797"/>
                  <a:gd name="connsiteX1434" fmla="*/ 504109 w 1071706"/>
                  <a:gd name="connsiteY1434" fmla="*/ 926701 h 1095797"/>
                  <a:gd name="connsiteX1435" fmla="*/ 500170 w 1071706"/>
                  <a:gd name="connsiteY1435" fmla="*/ 929125 h 1095797"/>
                  <a:gd name="connsiteX1436" fmla="*/ 499564 w 1071706"/>
                  <a:gd name="connsiteY1436" fmla="*/ 930640 h 1095797"/>
                  <a:gd name="connsiteX1437" fmla="*/ 501079 w 1071706"/>
                  <a:gd name="connsiteY1437" fmla="*/ 932004 h 1095797"/>
                  <a:gd name="connsiteX1438" fmla="*/ 501685 w 1071706"/>
                  <a:gd name="connsiteY1438" fmla="*/ 933216 h 1095797"/>
                  <a:gd name="connsiteX1439" fmla="*/ 501231 w 1071706"/>
                  <a:gd name="connsiteY1439" fmla="*/ 934277 h 1095797"/>
                  <a:gd name="connsiteX1440" fmla="*/ 500019 w 1071706"/>
                  <a:gd name="connsiteY1440" fmla="*/ 934428 h 1095797"/>
                  <a:gd name="connsiteX1441" fmla="*/ 498049 w 1071706"/>
                  <a:gd name="connsiteY1441" fmla="*/ 933670 h 1095797"/>
                  <a:gd name="connsiteX1442" fmla="*/ 496533 w 1071706"/>
                  <a:gd name="connsiteY1442" fmla="*/ 933519 h 1095797"/>
                  <a:gd name="connsiteX1443" fmla="*/ 495624 w 1071706"/>
                  <a:gd name="connsiteY1443" fmla="*/ 933974 h 1095797"/>
                  <a:gd name="connsiteX1444" fmla="*/ 495170 w 1071706"/>
                  <a:gd name="connsiteY1444" fmla="*/ 934883 h 1095797"/>
                  <a:gd name="connsiteX1445" fmla="*/ 495170 w 1071706"/>
                  <a:gd name="connsiteY1445" fmla="*/ 936246 h 1095797"/>
                  <a:gd name="connsiteX1446" fmla="*/ 494412 w 1071706"/>
                  <a:gd name="connsiteY1446" fmla="*/ 937156 h 1095797"/>
                  <a:gd name="connsiteX1447" fmla="*/ 492897 w 1071706"/>
                  <a:gd name="connsiteY1447" fmla="*/ 937610 h 1095797"/>
                  <a:gd name="connsiteX1448" fmla="*/ 491988 w 1071706"/>
                  <a:gd name="connsiteY1448" fmla="*/ 938671 h 1095797"/>
                  <a:gd name="connsiteX1449" fmla="*/ 491533 w 1071706"/>
                  <a:gd name="connsiteY1449" fmla="*/ 940337 h 1095797"/>
                  <a:gd name="connsiteX1450" fmla="*/ 489715 w 1071706"/>
                  <a:gd name="connsiteY1450" fmla="*/ 942459 h 1095797"/>
                  <a:gd name="connsiteX1451" fmla="*/ 486382 w 1071706"/>
                  <a:gd name="connsiteY1451" fmla="*/ 945034 h 1095797"/>
                  <a:gd name="connsiteX1452" fmla="*/ 483806 w 1071706"/>
                  <a:gd name="connsiteY1452" fmla="*/ 948520 h 1095797"/>
                  <a:gd name="connsiteX1453" fmla="*/ 481836 w 1071706"/>
                  <a:gd name="connsiteY1453" fmla="*/ 952762 h 1095797"/>
                  <a:gd name="connsiteX1454" fmla="*/ 479563 w 1071706"/>
                  <a:gd name="connsiteY1454" fmla="*/ 955641 h 1095797"/>
                  <a:gd name="connsiteX1455" fmla="*/ 476987 w 1071706"/>
                  <a:gd name="connsiteY1455" fmla="*/ 957005 h 1095797"/>
                  <a:gd name="connsiteX1456" fmla="*/ 475169 w 1071706"/>
                  <a:gd name="connsiteY1456" fmla="*/ 958975 h 1095797"/>
                  <a:gd name="connsiteX1457" fmla="*/ 474260 w 1071706"/>
                  <a:gd name="connsiteY1457" fmla="*/ 961550 h 1095797"/>
                  <a:gd name="connsiteX1458" fmla="*/ 471533 w 1071706"/>
                  <a:gd name="connsiteY1458" fmla="*/ 965490 h 1095797"/>
                  <a:gd name="connsiteX1459" fmla="*/ 466987 w 1071706"/>
                  <a:gd name="connsiteY1459" fmla="*/ 970793 h 1095797"/>
                  <a:gd name="connsiteX1460" fmla="*/ 462896 w 1071706"/>
                  <a:gd name="connsiteY1460" fmla="*/ 974429 h 1095797"/>
                  <a:gd name="connsiteX1461" fmla="*/ 459259 w 1071706"/>
                  <a:gd name="connsiteY1461" fmla="*/ 976399 h 1095797"/>
                  <a:gd name="connsiteX1462" fmla="*/ 457138 w 1071706"/>
                  <a:gd name="connsiteY1462" fmla="*/ 978672 h 1095797"/>
                  <a:gd name="connsiteX1463" fmla="*/ 456684 w 1071706"/>
                  <a:gd name="connsiteY1463" fmla="*/ 981096 h 1095797"/>
                  <a:gd name="connsiteX1464" fmla="*/ 454259 w 1071706"/>
                  <a:gd name="connsiteY1464" fmla="*/ 983975 h 1095797"/>
                  <a:gd name="connsiteX1465" fmla="*/ 449865 w 1071706"/>
                  <a:gd name="connsiteY1465" fmla="*/ 987157 h 1095797"/>
                  <a:gd name="connsiteX1466" fmla="*/ 448653 w 1071706"/>
                  <a:gd name="connsiteY1466" fmla="*/ 988521 h 1095797"/>
                  <a:gd name="connsiteX1467" fmla="*/ 450168 w 1071706"/>
                  <a:gd name="connsiteY1467" fmla="*/ 990642 h 1095797"/>
                  <a:gd name="connsiteX1468" fmla="*/ 454714 w 1071706"/>
                  <a:gd name="connsiteY1468" fmla="*/ 991249 h 1095797"/>
                  <a:gd name="connsiteX1469" fmla="*/ 459411 w 1071706"/>
                  <a:gd name="connsiteY1469" fmla="*/ 991400 h 1095797"/>
                  <a:gd name="connsiteX1470" fmla="*/ 460169 w 1071706"/>
                  <a:gd name="connsiteY1470" fmla="*/ 990794 h 1095797"/>
                  <a:gd name="connsiteX1471" fmla="*/ 461987 w 1071706"/>
                  <a:gd name="connsiteY1471" fmla="*/ 987157 h 1095797"/>
                  <a:gd name="connsiteX1472" fmla="*/ 464411 w 1071706"/>
                  <a:gd name="connsiteY1472" fmla="*/ 986097 h 1095797"/>
                  <a:gd name="connsiteX1473" fmla="*/ 466987 w 1071706"/>
                  <a:gd name="connsiteY1473" fmla="*/ 985794 h 1095797"/>
                  <a:gd name="connsiteX1474" fmla="*/ 469866 w 1071706"/>
                  <a:gd name="connsiteY1474" fmla="*/ 985945 h 1095797"/>
                  <a:gd name="connsiteX1475" fmla="*/ 472896 w 1071706"/>
                  <a:gd name="connsiteY1475" fmla="*/ 988370 h 1095797"/>
                  <a:gd name="connsiteX1476" fmla="*/ 481533 w 1071706"/>
                  <a:gd name="connsiteY1476" fmla="*/ 996097 h 1095797"/>
                  <a:gd name="connsiteX1477" fmla="*/ 487897 w 1071706"/>
                  <a:gd name="connsiteY1477" fmla="*/ 1001552 h 1095797"/>
                  <a:gd name="connsiteX1478" fmla="*/ 489867 w 1071706"/>
                  <a:gd name="connsiteY1478" fmla="*/ 1004128 h 1095797"/>
                  <a:gd name="connsiteX1479" fmla="*/ 491533 w 1071706"/>
                  <a:gd name="connsiteY1479" fmla="*/ 1006097 h 1095797"/>
                  <a:gd name="connsiteX1480" fmla="*/ 492745 w 1071706"/>
                  <a:gd name="connsiteY1480" fmla="*/ 1007916 h 1095797"/>
                  <a:gd name="connsiteX1481" fmla="*/ 492139 w 1071706"/>
                  <a:gd name="connsiteY1481" fmla="*/ 1012613 h 1095797"/>
                  <a:gd name="connsiteX1482" fmla="*/ 492291 w 1071706"/>
                  <a:gd name="connsiteY1482" fmla="*/ 1014582 h 1095797"/>
                  <a:gd name="connsiteX1483" fmla="*/ 492594 w 1071706"/>
                  <a:gd name="connsiteY1483" fmla="*/ 1015189 h 1095797"/>
                  <a:gd name="connsiteX1484" fmla="*/ 494109 w 1071706"/>
                  <a:gd name="connsiteY1484" fmla="*/ 1015189 h 1095797"/>
                  <a:gd name="connsiteX1485" fmla="*/ 496231 w 1071706"/>
                  <a:gd name="connsiteY1485" fmla="*/ 1014886 h 1095797"/>
                  <a:gd name="connsiteX1486" fmla="*/ 498049 w 1071706"/>
                  <a:gd name="connsiteY1486" fmla="*/ 1013825 h 1095797"/>
                  <a:gd name="connsiteX1487" fmla="*/ 499412 w 1071706"/>
                  <a:gd name="connsiteY1487" fmla="*/ 1012310 h 1095797"/>
                  <a:gd name="connsiteX1488" fmla="*/ 500776 w 1071706"/>
                  <a:gd name="connsiteY1488" fmla="*/ 1011098 h 1095797"/>
                  <a:gd name="connsiteX1489" fmla="*/ 501837 w 1071706"/>
                  <a:gd name="connsiteY1489" fmla="*/ 1010491 h 1095797"/>
                  <a:gd name="connsiteX1490" fmla="*/ 502291 w 1071706"/>
                  <a:gd name="connsiteY1490" fmla="*/ 1009582 h 1095797"/>
                  <a:gd name="connsiteX1491" fmla="*/ 502897 w 1071706"/>
                  <a:gd name="connsiteY1491" fmla="*/ 1008522 h 1095797"/>
                  <a:gd name="connsiteX1492" fmla="*/ 503503 w 1071706"/>
                  <a:gd name="connsiteY1492" fmla="*/ 1008370 h 1095797"/>
                  <a:gd name="connsiteX1493" fmla="*/ 504716 w 1071706"/>
                  <a:gd name="connsiteY1493" fmla="*/ 1009128 h 1095797"/>
                  <a:gd name="connsiteX1494" fmla="*/ 507595 w 1071706"/>
                  <a:gd name="connsiteY1494" fmla="*/ 1011855 h 1095797"/>
                  <a:gd name="connsiteX1495" fmla="*/ 509867 w 1071706"/>
                  <a:gd name="connsiteY1495" fmla="*/ 1014279 h 1095797"/>
                  <a:gd name="connsiteX1496" fmla="*/ 510474 w 1071706"/>
                  <a:gd name="connsiteY1496" fmla="*/ 1015643 h 1095797"/>
                  <a:gd name="connsiteX1497" fmla="*/ 511383 w 1071706"/>
                  <a:gd name="connsiteY1497" fmla="*/ 1017158 h 1095797"/>
                  <a:gd name="connsiteX1498" fmla="*/ 512292 w 1071706"/>
                  <a:gd name="connsiteY1498" fmla="*/ 1018370 h 1095797"/>
                  <a:gd name="connsiteX1499" fmla="*/ 512898 w 1071706"/>
                  <a:gd name="connsiteY1499" fmla="*/ 1019583 h 1095797"/>
                  <a:gd name="connsiteX1500" fmla="*/ 515171 w 1071706"/>
                  <a:gd name="connsiteY1500" fmla="*/ 1021249 h 1095797"/>
                  <a:gd name="connsiteX1501" fmla="*/ 517443 w 1071706"/>
                  <a:gd name="connsiteY1501" fmla="*/ 1022310 h 1095797"/>
                  <a:gd name="connsiteX1502" fmla="*/ 518959 w 1071706"/>
                  <a:gd name="connsiteY1502" fmla="*/ 1021249 h 1095797"/>
                  <a:gd name="connsiteX1503" fmla="*/ 522747 w 1071706"/>
                  <a:gd name="connsiteY1503" fmla="*/ 1024583 h 1095797"/>
                  <a:gd name="connsiteX1504" fmla="*/ 531232 w 1071706"/>
                  <a:gd name="connsiteY1504" fmla="*/ 1027462 h 1095797"/>
                  <a:gd name="connsiteX1505" fmla="*/ 532747 w 1071706"/>
                  <a:gd name="connsiteY1505" fmla="*/ 1029129 h 1095797"/>
                  <a:gd name="connsiteX1506" fmla="*/ 534262 w 1071706"/>
                  <a:gd name="connsiteY1506" fmla="*/ 1031553 h 1095797"/>
                  <a:gd name="connsiteX1507" fmla="*/ 537141 w 1071706"/>
                  <a:gd name="connsiteY1507" fmla="*/ 1035189 h 1095797"/>
                  <a:gd name="connsiteX1508" fmla="*/ 541232 w 1071706"/>
                  <a:gd name="connsiteY1508" fmla="*/ 1038523 h 1095797"/>
                  <a:gd name="connsiteX1509" fmla="*/ 544566 w 1071706"/>
                  <a:gd name="connsiteY1509" fmla="*/ 1039887 h 1095797"/>
                  <a:gd name="connsiteX1510" fmla="*/ 547748 w 1071706"/>
                  <a:gd name="connsiteY1510" fmla="*/ 1040644 h 1095797"/>
                  <a:gd name="connsiteX1511" fmla="*/ 549566 w 1071706"/>
                  <a:gd name="connsiteY1511" fmla="*/ 1041402 h 1095797"/>
                  <a:gd name="connsiteX1512" fmla="*/ 550778 w 1071706"/>
                  <a:gd name="connsiteY1512" fmla="*/ 1042614 h 1095797"/>
                  <a:gd name="connsiteX1513" fmla="*/ 552748 w 1071706"/>
                  <a:gd name="connsiteY1513" fmla="*/ 1043977 h 1095797"/>
                  <a:gd name="connsiteX1514" fmla="*/ 553960 w 1071706"/>
                  <a:gd name="connsiteY1514" fmla="*/ 1044432 h 1095797"/>
                  <a:gd name="connsiteX1515" fmla="*/ 554414 w 1071706"/>
                  <a:gd name="connsiteY1515" fmla="*/ 1045644 h 1095797"/>
                  <a:gd name="connsiteX1516" fmla="*/ 555627 w 1071706"/>
                  <a:gd name="connsiteY1516" fmla="*/ 1048372 h 1095797"/>
                  <a:gd name="connsiteX1517" fmla="*/ 556990 w 1071706"/>
                  <a:gd name="connsiteY1517" fmla="*/ 1051705 h 1095797"/>
                  <a:gd name="connsiteX1518" fmla="*/ 558354 w 1071706"/>
                  <a:gd name="connsiteY1518" fmla="*/ 1054887 h 1095797"/>
                  <a:gd name="connsiteX1519" fmla="*/ 561384 w 1071706"/>
                  <a:gd name="connsiteY1519" fmla="*/ 1057918 h 1095797"/>
                  <a:gd name="connsiteX1520" fmla="*/ 564869 w 1071706"/>
                  <a:gd name="connsiteY1520" fmla="*/ 1060342 h 1095797"/>
                  <a:gd name="connsiteX1521" fmla="*/ 568506 w 1071706"/>
                  <a:gd name="connsiteY1521" fmla="*/ 1061706 h 1095797"/>
                  <a:gd name="connsiteX1522" fmla="*/ 570173 w 1071706"/>
                  <a:gd name="connsiteY1522" fmla="*/ 1063069 h 1095797"/>
                  <a:gd name="connsiteX1523" fmla="*/ 570930 w 1071706"/>
                  <a:gd name="connsiteY1523" fmla="*/ 1062312 h 1095797"/>
                  <a:gd name="connsiteX1524" fmla="*/ 572294 w 1071706"/>
                  <a:gd name="connsiteY1524" fmla="*/ 1061403 h 1095797"/>
                  <a:gd name="connsiteX1525" fmla="*/ 573961 w 1071706"/>
                  <a:gd name="connsiteY1525" fmla="*/ 1060796 h 1095797"/>
                  <a:gd name="connsiteX1526" fmla="*/ 575021 w 1071706"/>
                  <a:gd name="connsiteY1526" fmla="*/ 1058827 h 1095797"/>
                  <a:gd name="connsiteX1527" fmla="*/ 575930 w 1071706"/>
                  <a:gd name="connsiteY1527" fmla="*/ 1056857 h 1095797"/>
                  <a:gd name="connsiteX1528" fmla="*/ 578203 w 1071706"/>
                  <a:gd name="connsiteY1528" fmla="*/ 1055796 h 1095797"/>
                  <a:gd name="connsiteX1529" fmla="*/ 580022 w 1071706"/>
                  <a:gd name="connsiteY1529" fmla="*/ 1054584 h 1095797"/>
                  <a:gd name="connsiteX1530" fmla="*/ 580173 w 1071706"/>
                  <a:gd name="connsiteY1530" fmla="*/ 1053220 h 1095797"/>
                  <a:gd name="connsiteX1531" fmla="*/ 580476 w 1071706"/>
                  <a:gd name="connsiteY1531" fmla="*/ 1052160 h 1095797"/>
                  <a:gd name="connsiteX1532" fmla="*/ 580779 w 1071706"/>
                  <a:gd name="connsiteY1532" fmla="*/ 1050796 h 1095797"/>
                  <a:gd name="connsiteX1533" fmla="*/ 581688 w 1071706"/>
                  <a:gd name="connsiteY1533" fmla="*/ 1049432 h 1095797"/>
                  <a:gd name="connsiteX1534" fmla="*/ 582294 w 1071706"/>
                  <a:gd name="connsiteY1534" fmla="*/ 1048826 h 1095797"/>
                  <a:gd name="connsiteX1535" fmla="*/ 582749 w 1071706"/>
                  <a:gd name="connsiteY1535" fmla="*/ 1048978 h 1095797"/>
                  <a:gd name="connsiteX1536" fmla="*/ 583052 w 1071706"/>
                  <a:gd name="connsiteY1536" fmla="*/ 1050039 h 1095797"/>
                  <a:gd name="connsiteX1537" fmla="*/ 583052 w 1071706"/>
                  <a:gd name="connsiteY1537" fmla="*/ 1053372 h 1095797"/>
                  <a:gd name="connsiteX1538" fmla="*/ 584112 w 1071706"/>
                  <a:gd name="connsiteY1538" fmla="*/ 1054736 h 1095797"/>
                  <a:gd name="connsiteX1539" fmla="*/ 584870 w 1071706"/>
                  <a:gd name="connsiteY1539" fmla="*/ 1056554 h 1095797"/>
                  <a:gd name="connsiteX1540" fmla="*/ 585779 w 1071706"/>
                  <a:gd name="connsiteY1540" fmla="*/ 1057918 h 1095797"/>
                  <a:gd name="connsiteX1541" fmla="*/ 585779 w 1071706"/>
                  <a:gd name="connsiteY1541" fmla="*/ 1059130 h 1095797"/>
                  <a:gd name="connsiteX1542" fmla="*/ 585628 w 1071706"/>
                  <a:gd name="connsiteY1542" fmla="*/ 1060494 h 1095797"/>
                  <a:gd name="connsiteX1543" fmla="*/ 585173 w 1071706"/>
                  <a:gd name="connsiteY1543" fmla="*/ 1062160 h 1095797"/>
                  <a:gd name="connsiteX1544" fmla="*/ 583961 w 1071706"/>
                  <a:gd name="connsiteY1544" fmla="*/ 1063978 h 1095797"/>
                  <a:gd name="connsiteX1545" fmla="*/ 583052 w 1071706"/>
                  <a:gd name="connsiteY1545" fmla="*/ 1065796 h 1095797"/>
                  <a:gd name="connsiteX1546" fmla="*/ 581991 w 1071706"/>
                  <a:gd name="connsiteY1546" fmla="*/ 1067463 h 1095797"/>
                  <a:gd name="connsiteX1547" fmla="*/ 580931 w 1071706"/>
                  <a:gd name="connsiteY1547" fmla="*/ 1069433 h 1095797"/>
                  <a:gd name="connsiteX1548" fmla="*/ 580022 w 1071706"/>
                  <a:gd name="connsiteY1548" fmla="*/ 1070342 h 1095797"/>
                  <a:gd name="connsiteX1549" fmla="*/ 578961 w 1071706"/>
                  <a:gd name="connsiteY1549" fmla="*/ 1070645 h 1095797"/>
                  <a:gd name="connsiteX1550" fmla="*/ 577597 w 1071706"/>
                  <a:gd name="connsiteY1550" fmla="*/ 1070494 h 1095797"/>
                  <a:gd name="connsiteX1551" fmla="*/ 576385 w 1071706"/>
                  <a:gd name="connsiteY1551" fmla="*/ 1068979 h 1095797"/>
                  <a:gd name="connsiteX1552" fmla="*/ 575324 w 1071706"/>
                  <a:gd name="connsiteY1552" fmla="*/ 1067766 h 1095797"/>
                  <a:gd name="connsiteX1553" fmla="*/ 574264 w 1071706"/>
                  <a:gd name="connsiteY1553" fmla="*/ 1067009 h 1095797"/>
                  <a:gd name="connsiteX1554" fmla="*/ 572900 w 1071706"/>
                  <a:gd name="connsiteY1554" fmla="*/ 1067312 h 1095797"/>
                  <a:gd name="connsiteX1555" fmla="*/ 571233 w 1071706"/>
                  <a:gd name="connsiteY1555" fmla="*/ 1068373 h 1095797"/>
                  <a:gd name="connsiteX1556" fmla="*/ 570021 w 1071706"/>
                  <a:gd name="connsiteY1556" fmla="*/ 1071706 h 1095797"/>
                  <a:gd name="connsiteX1557" fmla="*/ 568506 w 1071706"/>
                  <a:gd name="connsiteY1557" fmla="*/ 1074736 h 1095797"/>
                  <a:gd name="connsiteX1558" fmla="*/ 566688 w 1071706"/>
                  <a:gd name="connsiteY1558" fmla="*/ 1075494 h 1095797"/>
                  <a:gd name="connsiteX1559" fmla="*/ 565779 w 1071706"/>
                  <a:gd name="connsiteY1559" fmla="*/ 1075646 h 1095797"/>
                  <a:gd name="connsiteX1560" fmla="*/ 565021 w 1071706"/>
                  <a:gd name="connsiteY1560" fmla="*/ 1075949 h 1095797"/>
                  <a:gd name="connsiteX1561" fmla="*/ 564263 w 1071706"/>
                  <a:gd name="connsiteY1561" fmla="*/ 1076706 h 1095797"/>
                  <a:gd name="connsiteX1562" fmla="*/ 563354 w 1071706"/>
                  <a:gd name="connsiteY1562" fmla="*/ 1077918 h 1095797"/>
                  <a:gd name="connsiteX1563" fmla="*/ 562596 w 1071706"/>
                  <a:gd name="connsiteY1563" fmla="*/ 1080191 h 1095797"/>
                  <a:gd name="connsiteX1564" fmla="*/ 562142 w 1071706"/>
                  <a:gd name="connsiteY1564" fmla="*/ 1083676 h 1095797"/>
                  <a:gd name="connsiteX1565" fmla="*/ 562596 w 1071706"/>
                  <a:gd name="connsiteY1565" fmla="*/ 1087464 h 1095797"/>
                  <a:gd name="connsiteX1566" fmla="*/ 562142 w 1071706"/>
                  <a:gd name="connsiteY1566" fmla="*/ 1089282 h 1095797"/>
                  <a:gd name="connsiteX1567" fmla="*/ 561081 w 1071706"/>
                  <a:gd name="connsiteY1567" fmla="*/ 1089737 h 1095797"/>
                  <a:gd name="connsiteX1568" fmla="*/ 560627 w 1071706"/>
                  <a:gd name="connsiteY1568" fmla="*/ 1090040 h 1095797"/>
                  <a:gd name="connsiteX1569" fmla="*/ 560172 w 1071706"/>
                  <a:gd name="connsiteY1569" fmla="*/ 1089888 h 1095797"/>
                  <a:gd name="connsiteX1570" fmla="*/ 560021 w 1071706"/>
                  <a:gd name="connsiteY1570" fmla="*/ 1089737 h 1095797"/>
                  <a:gd name="connsiteX1571" fmla="*/ 559869 w 1071706"/>
                  <a:gd name="connsiteY1571" fmla="*/ 1092010 h 1095797"/>
                  <a:gd name="connsiteX1572" fmla="*/ 560021 w 1071706"/>
                  <a:gd name="connsiteY1572" fmla="*/ 1093070 h 1095797"/>
                  <a:gd name="connsiteX1573" fmla="*/ 560324 w 1071706"/>
                  <a:gd name="connsiteY1573" fmla="*/ 1093676 h 1095797"/>
                  <a:gd name="connsiteX1574" fmla="*/ 561839 w 1071706"/>
                  <a:gd name="connsiteY1574" fmla="*/ 1094737 h 1095797"/>
                  <a:gd name="connsiteX1575" fmla="*/ 563657 w 1071706"/>
                  <a:gd name="connsiteY1575" fmla="*/ 1095646 h 1095797"/>
                  <a:gd name="connsiteX1576" fmla="*/ 564415 w 1071706"/>
                  <a:gd name="connsiteY1576" fmla="*/ 1095798 h 1095797"/>
                  <a:gd name="connsiteX1577" fmla="*/ 576688 w 1071706"/>
                  <a:gd name="connsiteY1577" fmla="*/ 1085343 h 1095797"/>
                  <a:gd name="connsiteX1578" fmla="*/ 581082 w 1071706"/>
                  <a:gd name="connsiteY1578" fmla="*/ 1081252 h 1095797"/>
                  <a:gd name="connsiteX1579" fmla="*/ 584112 w 1071706"/>
                  <a:gd name="connsiteY1579" fmla="*/ 1077312 h 1095797"/>
                  <a:gd name="connsiteX1580" fmla="*/ 588052 w 1071706"/>
                  <a:gd name="connsiteY1580" fmla="*/ 1069282 h 1095797"/>
                  <a:gd name="connsiteX1581" fmla="*/ 592598 w 1071706"/>
                  <a:gd name="connsiteY1581" fmla="*/ 1056099 h 1095797"/>
                  <a:gd name="connsiteX1582" fmla="*/ 594416 w 1071706"/>
                  <a:gd name="connsiteY1582" fmla="*/ 1052614 h 1095797"/>
                  <a:gd name="connsiteX1583" fmla="*/ 596689 w 1071706"/>
                  <a:gd name="connsiteY1583" fmla="*/ 1049432 h 1095797"/>
                  <a:gd name="connsiteX1584" fmla="*/ 598355 w 1071706"/>
                  <a:gd name="connsiteY1584" fmla="*/ 1047765 h 1095797"/>
                  <a:gd name="connsiteX1585" fmla="*/ 597295 w 1071706"/>
                  <a:gd name="connsiteY1585" fmla="*/ 1045341 h 1095797"/>
                  <a:gd name="connsiteX1586" fmla="*/ 596689 w 1071706"/>
                  <a:gd name="connsiteY1586" fmla="*/ 1041705 h 1095797"/>
                  <a:gd name="connsiteX1587" fmla="*/ 596689 w 1071706"/>
                  <a:gd name="connsiteY1587" fmla="*/ 1039280 h 1095797"/>
                  <a:gd name="connsiteX1588" fmla="*/ 598659 w 1071706"/>
                  <a:gd name="connsiteY1588" fmla="*/ 1033522 h 1095797"/>
                  <a:gd name="connsiteX1589" fmla="*/ 601234 w 1071706"/>
                  <a:gd name="connsiteY1589" fmla="*/ 1030644 h 1095797"/>
                  <a:gd name="connsiteX1590" fmla="*/ 602143 w 1071706"/>
                  <a:gd name="connsiteY1590" fmla="*/ 1027310 h 1095797"/>
                  <a:gd name="connsiteX1591" fmla="*/ 602750 w 1071706"/>
                  <a:gd name="connsiteY1591" fmla="*/ 1024128 h 1095797"/>
                  <a:gd name="connsiteX1592" fmla="*/ 603962 w 1071706"/>
                  <a:gd name="connsiteY1592" fmla="*/ 1022765 h 1095797"/>
                  <a:gd name="connsiteX1593" fmla="*/ 609719 w 1071706"/>
                  <a:gd name="connsiteY1593" fmla="*/ 1019886 h 1095797"/>
                  <a:gd name="connsiteX1594" fmla="*/ 615477 w 1071706"/>
                  <a:gd name="connsiteY1594" fmla="*/ 1015643 h 1095797"/>
                  <a:gd name="connsiteX1595" fmla="*/ 616690 w 1071706"/>
                  <a:gd name="connsiteY1595" fmla="*/ 1014128 h 1095797"/>
                  <a:gd name="connsiteX1596" fmla="*/ 616083 w 1071706"/>
                  <a:gd name="connsiteY1596" fmla="*/ 1011855 h 1095797"/>
                  <a:gd name="connsiteX1597" fmla="*/ 616841 w 1071706"/>
                  <a:gd name="connsiteY1597" fmla="*/ 1009885 h 1095797"/>
                  <a:gd name="connsiteX1598" fmla="*/ 619114 w 1071706"/>
                  <a:gd name="connsiteY1598" fmla="*/ 1007916 h 1095797"/>
                  <a:gd name="connsiteX1599" fmla="*/ 619568 w 1071706"/>
                  <a:gd name="connsiteY1599" fmla="*/ 1002764 h 1095797"/>
                  <a:gd name="connsiteX1600" fmla="*/ 620781 w 1071706"/>
                  <a:gd name="connsiteY1600" fmla="*/ 1003673 h 1095797"/>
                  <a:gd name="connsiteX1601" fmla="*/ 621690 w 1071706"/>
                  <a:gd name="connsiteY1601" fmla="*/ 1005188 h 1095797"/>
                  <a:gd name="connsiteX1602" fmla="*/ 621538 w 1071706"/>
                  <a:gd name="connsiteY1602" fmla="*/ 1000340 h 1095797"/>
                  <a:gd name="connsiteX1603" fmla="*/ 622599 w 1071706"/>
                  <a:gd name="connsiteY1603" fmla="*/ 996703 h 1095797"/>
                  <a:gd name="connsiteX1604" fmla="*/ 624266 w 1071706"/>
                  <a:gd name="connsiteY1604" fmla="*/ 995037 h 1095797"/>
                  <a:gd name="connsiteX1605" fmla="*/ 625023 w 1071706"/>
                  <a:gd name="connsiteY1605" fmla="*/ 993673 h 1095797"/>
                  <a:gd name="connsiteX1606" fmla="*/ 621690 w 1071706"/>
                  <a:gd name="connsiteY1606" fmla="*/ 990036 h 1095797"/>
                  <a:gd name="connsiteX1607" fmla="*/ 621387 w 1071706"/>
                  <a:gd name="connsiteY1607" fmla="*/ 987006 h 1095797"/>
                  <a:gd name="connsiteX1608" fmla="*/ 621235 w 1071706"/>
                  <a:gd name="connsiteY1608" fmla="*/ 983824 h 1095797"/>
                  <a:gd name="connsiteX1609" fmla="*/ 622599 w 1071706"/>
                  <a:gd name="connsiteY1609" fmla="*/ 984582 h 1095797"/>
                  <a:gd name="connsiteX1610" fmla="*/ 623053 w 1071706"/>
                  <a:gd name="connsiteY1610" fmla="*/ 986400 h 1095797"/>
                  <a:gd name="connsiteX1611" fmla="*/ 624569 w 1071706"/>
                  <a:gd name="connsiteY1611" fmla="*/ 989127 h 1095797"/>
                  <a:gd name="connsiteX1612" fmla="*/ 628357 w 1071706"/>
                  <a:gd name="connsiteY1612" fmla="*/ 990642 h 1095797"/>
                  <a:gd name="connsiteX1613" fmla="*/ 628811 w 1071706"/>
                  <a:gd name="connsiteY1613" fmla="*/ 993824 h 1095797"/>
                  <a:gd name="connsiteX1614" fmla="*/ 631387 w 1071706"/>
                  <a:gd name="connsiteY1614" fmla="*/ 993976 h 1095797"/>
                  <a:gd name="connsiteX1615" fmla="*/ 639266 w 1071706"/>
                  <a:gd name="connsiteY1615" fmla="*/ 989885 h 1095797"/>
                  <a:gd name="connsiteX1616" fmla="*/ 641539 w 1071706"/>
                  <a:gd name="connsiteY1616" fmla="*/ 990339 h 1095797"/>
                  <a:gd name="connsiteX1617" fmla="*/ 641993 w 1071706"/>
                  <a:gd name="connsiteY1617" fmla="*/ 992158 h 1095797"/>
                  <a:gd name="connsiteX1618" fmla="*/ 641084 w 1071706"/>
                  <a:gd name="connsiteY1618" fmla="*/ 995794 h 1095797"/>
                  <a:gd name="connsiteX1619" fmla="*/ 640175 w 1071706"/>
                  <a:gd name="connsiteY1619" fmla="*/ 996400 h 1095797"/>
                  <a:gd name="connsiteX1620" fmla="*/ 638205 w 1071706"/>
                  <a:gd name="connsiteY1620" fmla="*/ 995037 h 1095797"/>
                  <a:gd name="connsiteX1621" fmla="*/ 637296 w 1071706"/>
                  <a:gd name="connsiteY1621" fmla="*/ 995339 h 1095797"/>
                  <a:gd name="connsiteX1622" fmla="*/ 638054 w 1071706"/>
                  <a:gd name="connsiteY1622" fmla="*/ 1003673 h 1095797"/>
                  <a:gd name="connsiteX1623" fmla="*/ 635781 w 1071706"/>
                  <a:gd name="connsiteY1623" fmla="*/ 1007006 h 1095797"/>
                  <a:gd name="connsiteX1624" fmla="*/ 631084 w 1071706"/>
                  <a:gd name="connsiteY1624" fmla="*/ 1009734 h 1095797"/>
                  <a:gd name="connsiteX1625" fmla="*/ 630478 w 1071706"/>
                  <a:gd name="connsiteY1625" fmla="*/ 1012764 h 1095797"/>
                  <a:gd name="connsiteX1626" fmla="*/ 630781 w 1071706"/>
                  <a:gd name="connsiteY1626" fmla="*/ 1014128 h 1095797"/>
                  <a:gd name="connsiteX1627" fmla="*/ 630023 w 1071706"/>
                  <a:gd name="connsiteY1627" fmla="*/ 1015340 h 1095797"/>
                  <a:gd name="connsiteX1628" fmla="*/ 626538 w 1071706"/>
                  <a:gd name="connsiteY1628" fmla="*/ 1014886 h 1095797"/>
                  <a:gd name="connsiteX1629" fmla="*/ 625023 w 1071706"/>
                  <a:gd name="connsiteY1629" fmla="*/ 1015946 h 1095797"/>
                  <a:gd name="connsiteX1630" fmla="*/ 625175 w 1071706"/>
                  <a:gd name="connsiteY1630" fmla="*/ 1020340 h 1095797"/>
                  <a:gd name="connsiteX1631" fmla="*/ 624720 w 1071706"/>
                  <a:gd name="connsiteY1631" fmla="*/ 1022462 h 1095797"/>
                  <a:gd name="connsiteX1632" fmla="*/ 621993 w 1071706"/>
                  <a:gd name="connsiteY1632" fmla="*/ 1026553 h 1095797"/>
                  <a:gd name="connsiteX1633" fmla="*/ 617295 w 1071706"/>
                  <a:gd name="connsiteY1633" fmla="*/ 1028977 h 1095797"/>
                  <a:gd name="connsiteX1634" fmla="*/ 610932 w 1071706"/>
                  <a:gd name="connsiteY1634" fmla="*/ 1035492 h 1095797"/>
                  <a:gd name="connsiteX1635" fmla="*/ 607598 w 1071706"/>
                  <a:gd name="connsiteY1635" fmla="*/ 1036098 h 1095797"/>
                  <a:gd name="connsiteX1636" fmla="*/ 606538 w 1071706"/>
                  <a:gd name="connsiteY1636" fmla="*/ 1037159 h 1095797"/>
                  <a:gd name="connsiteX1637" fmla="*/ 605174 w 1071706"/>
                  <a:gd name="connsiteY1637" fmla="*/ 1038220 h 1095797"/>
                  <a:gd name="connsiteX1638" fmla="*/ 602447 w 1071706"/>
                  <a:gd name="connsiteY1638" fmla="*/ 1036553 h 1095797"/>
                  <a:gd name="connsiteX1639" fmla="*/ 600628 w 1071706"/>
                  <a:gd name="connsiteY1639" fmla="*/ 1037008 h 1095797"/>
                  <a:gd name="connsiteX1640" fmla="*/ 600780 w 1071706"/>
                  <a:gd name="connsiteY1640" fmla="*/ 1039584 h 1095797"/>
                  <a:gd name="connsiteX1641" fmla="*/ 601234 w 1071706"/>
                  <a:gd name="connsiteY1641" fmla="*/ 1041553 h 1095797"/>
                  <a:gd name="connsiteX1642" fmla="*/ 600477 w 1071706"/>
                  <a:gd name="connsiteY1642" fmla="*/ 1044129 h 1095797"/>
                  <a:gd name="connsiteX1643" fmla="*/ 601234 w 1071706"/>
                  <a:gd name="connsiteY1643" fmla="*/ 1045644 h 1095797"/>
                  <a:gd name="connsiteX1644" fmla="*/ 604416 w 1071706"/>
                  <a:gd name="connsiteY1644" fmla="*/ 1041856 h 1095797"/>
                  <a:gd name="connsiteX1645" fmla="*/ 607750 w 1071706"/>
                  <a:gd name="connsiteY1645" fmla="*/ 1039129 h 1095797"/>
                  <a:gd name="connsiteX1646" fmla="*/ 616993 w 1071706"/>
                  <a:gd name="connsiteY1646" fmla="*/ 1033220 h 1095797"/>
                  <a:gd name="connsiteX1647" fmla="*/ 625478 w 1071706"/>
                  <a:gd name="connsiteY1647" fmla="*/ 1026553 h 1095797"/>
                  <a:gd name="connsiteX1648" fmla="*/ 631842 w 1071706"/>
                  <a:gd name="connsiteY1648" fmla="*/ 1019886 h 1095797"/>
                  <a:gd name="connsiteX1649" fmla="*/ 636539 w 1071706"/>
                  <a:gd name="connsiteY1649" fmla="*/ 1014128 h 1095797"/>
                  <a:gd name="connsiteX1650" fmla="*/ 640024 w 1071706"/>
                  <a:gd name="connsiteY1650" fmla="*/ 1008976 h 1095797"/>
                  <a:gd name="connsiteX1651" fmla="*/ 648812 w 1071706"/>
                  <a:gd name="connsiteY1651" fmla="*/ 994885 h 1095797"/>
                  <a:gd name="connsiteX1652" fmla="*/ 656085 w 1071706"/>
                  <a:gd name="connsiteY1652" fmla="*/ 976248 h 1095797"/>
                  <a:gd name="connsiteX1653" fmla="*/ 663964 w 1071706"/>
                  <a:gd name="connsiteY1653" fmla="*/ 963217 h 1095797"/>
                  <a:gd name="connsiteX1654" fmla="*/ 670631 w 1071706"/>
                  <a:gd name="connsiteY1654" fmla="*/ 954732 h 1095797"/>
                  <a:gd name="connsiteX1655" fmla="*/ 676843 w 1071706"/>
                  <a:gd name="connsiteY1655" fmla="*/ 948671 h 1095797"/>
                  <a:gd name="connsiteX1656" fmla="*/ 683662 w 1071706"/>
                  <a:gd name="connsiteY1656" fmla="*/ 943520 h 1095797"/>
                  <a:gd name="connsiteX1657" fmla="*/ 689722 w 1071706"/>
                  <a:gd name="connsiteY1657" fmla="*/ 939883 h 1095797"/>
                  <a:gd name="connsiteX1658" fmla="*/ 689722 w 1071706"/>
                  <a:gd name="connsiteY1658" fmla="*/ 935944 h 1095797"/>
                  <a:gd name="connsiteX1659" fmla="*/ 692601 w 1071706"/>
                  <a:gd name="connsiteY1659" fmla="*/ 932004 h 1095797"/>
                  <a:gd name="connsiteX1660" fmla="*/ 693814 w 1071706"/>
                  <a:gd name="connsiteY1660" fmla="*/ 928973 h 1095797"/>
                  <a:gd name="connsiteX1661" fmla="*/ 694571 w 1071706"/>
                  <a:gd name="connsiteY1661" fmla="*/ 925034 h 1095797"/>
                  <a:gd name="connsiteX1662" fmla="*/ 695026 w 1071706"/>
                  <a:gd name="connsiteY1662" fmla="*/ 917609 h 1095797"/>
                  <a:gd name="connsiteX1663" fmla="*/ 693965 w 1071706"/>
                  <a:gd name="connsiteY1663" fmla="*/ 909730 h 1095797"/>
                  <a:gd name="connsiteX1664" fmla="*/ 695935 w 1071706"/>
                  <a:gd name="connsiteY1664" fmla="*/ 904276 h 1095797"/>
                  <a:gd name="connsiteX1665" fmla="*/ 695329 w 1071706"/>
                  <a:gd name="connsiteY1665" fmla="*/ 901094 h 1095797"/>
                  <a:gd name="connsiteX1666" fmla="*/ 696389 w 1071706"/>
                  <a:gd name="connsiteY1666" fmla="*/ 899124 h 1095797"/>
                  <a:gd name="connsiteX1667" fmla="*/ 695935 w 1071706"/>
                  <a:gd name="connsiteY1667" fmla="*/ 897003 h 1095797"/>
                  <a:gd name="connsiteX1668" fmla="*/ 695177 w 1071706"/>
                  <a:gd name="connsiteY1668" fmla="*/ 895033 h 1095797"/>
                  <a:gd name="connsiteX1669" fmla="*/ 694571 w 1071706"/>
                  <a:gd name="connsiteY1669" fmla="*/ 889729 h 1095797"/>
                  <a:gd name="connsiteX1670" fmla="*/ 692904 w 1071706"/>
                  <a:gd name="connsiteY1670" fmla="*/ 884578 h 1095797"/>
                  <a:gd name="connsiteX1671" fmla="*/ 692904 w 1071706"/>
                  <a:gd name="connsiteY1671" fmla="*/ 882002 h 1095797"/>
                  <a:gd name="connsiteX1672" fmla="*/ 693359 w 1071706"/>
                  <a:gd name="connsiteY1672" fmla="*/ 879275 h 1095797"/>
                  <a:gd name="connsiteX1673" fmla="*/ 693510 w 1071706"/>
                  <a:gd name="connsiteY1673" fmla="*/ 875941 h 1095797"/>
                  <a:gd name="connsiteX1674" fmla="*/ 692147 w 1071706"/>
                  <a:gd name="connsiteY1674" fmla="*/ 874275 h 1095797"/>
                  <a:gd name="connsiteX1675" fmla="*/ 690783 w 1071706"/>
                  <a:gd name="connsiteY1675" fmla="*/ 872002 h 1095797"/>
                  <a:gd name="connsiteX1676" fmla="*/ 691692 w 1071706"/>
                  <a:gd name="connsiteY1676" fmla="*/ 870789 h 1095797"/>
                  <a:gd name="connsiteX1677" fmla="*/ 692601 w 1071706"/>
                  <a:gd name="connsiteY1677" fmla="*/ 870789 h 1095797"/>
                  <a:gd name="connsiteX1678" fmla="*/ 694268 w 1071706"/>
                  <a:gd name="connsiteY1678" fmla="*/ 869426 h 1095797"/>
                  <a:gd name="connsiteX1679" fmla="*/ 695480 w 1071706"/>
                  <a:gd name="connsiteY1679" fmla="*/ 862304 h 1095797"/>
                  <a:gd name="connsiteX1680" fmla="*/ 694420 w 1071706"/>
                  <a:gd name="connsiteY1680" fmla="*/ 860486 h 1095797"/>
                  <a:gd name="connsiteX1681" fmla="*/ 692601 w 1071706"/>
                  <a:gd name="connsiteY1681" fmla="*/ 860486 h 1095797"/>
                  <a:gd name="connsiteX1682" fmla="*/ 692904 w 1071706"/>
                  <a:gd name="connsiteY1682" fmla="*/ 859577 h 1095797"/>
                  <a:gd name="connsiteX1683" fmla="*/ 696238 w 1071706"/>
                  <a:gd name="connsiteY1683" fmla="*/ 858819 h 1095797"/>
                  <a:gd name="connsiteX1684" fmla="*/ 700177 w 1071706"/>
                  <a:gd name="connsiteY1684" fmla="*/ 852456 h 1095797"/>
                  <a:gd name="connsiteX1685" fmla="*/ 699420 w 1071706"/>
                  <a:gd name="connsiteY1685" fmla="*/ 851092 h 1095797"/>
                  <a:gd name="connsiteX1686" fmla="*/ 697298 w 1071706"/>
                  <a:gd name="connsiteY1686" fmla="*/ 850183 h 1095797"/>
                  <a:gd name="connsiteX1687" fmla="*/ 692298 w 1071706"/>
                  <a:gd name="connsiteY1687" fmla="*/ 849273 h 1095797"/>
                  <a:gd name="connsiteX1688" fmla="*/ 691238 w 1071706"/>
                  <a:gd name="connsiteY1688" fmla="*/ 845637 h 1095797"/>
                  <a:gd name="connsiteX1689" fmla="*/ 693662 w 1071706"/>
                  <a:gd name="connsiteY1689" fmla="*/ 847607 h 1095797"/>
                  <a:gd name="connsiteX1690" fmla="*/ 695783 w 1071706"/>
                  <a:gd name="connsiteY1690" fmla="*/ 847910 h 1095797"/>
                  <a:gd name="connsiteX1691" fmla="*/ 698208 w 1071706"/>
                  <a:gd name="connsiteY1691" fmla="*/ 847758 h 1095797"/>
                  <a:gd name="connsiteX1692" fmla="*/ 699571 w 1071706"/>
                  <a:gd name="connsiteY1692" fmla="*/ 846546 h 1095797"/>
                  <a:gd name="connsiteX1693" fmla="*/ 698662 w 1071706"/>
                  <a:gd name="connsiteY1693" fmla="*/ 843819 h 1095797"/>
                  <a:gd name="connsiteX1694" fmla="*/ 700177 w 1071706"/>
                  <a:gd name="connsiteY1694" fmla="*/ 842758 h 1095797"/>
                  <a:gd name="connsiteX1695" fmla="*/ 703663 w 1071706"/>
                  <a:gd name="connsiteY1695" fmla="*/ 843819 h 1095797"/>
                  <a:gd name="connsiteX1696" fmla="*/ 706087 w 1071706"/>
                  <a:gd name="connsiteY1696" fmla="*/ 843970 h 1095797"/>
                  <a:gd name="connsiteX1697" fmla="*/ 704572 w 1071706"/>
                  <a:gd name="connsiteY1697" fmla="*/ 846698 h 1095797"/>
                  <a:gd name="connsiteX1698" fmla="*/ 705632 w 1071706"/>
                  <a:gd name="connsiteY1698" fmla="*/ 847152 h 1095797"/>
                  <a:gd name="connsiteX1699" fmla="*/ 710481 w 1071706"/>
                  <a:gd name="connsiteY1699" fmla="*/ 842001 h 1095797"/>
                  <a:gd name="connsiteX1700" fmla="*/ 713057 w 1071706"/>
                  <a:gd name="connsiteY1700" fmla="*/ 840031 h 1095797"/>
                  <a:gd name="connsiteX1701" fmla="*/ 713663 w 1071706"/>
                  <a:gd name="connsiteY1701" fmla="*/ 837152 h 1095797"/>
                  <a:gd name="connsiteX1702" fmla="*/ 712299 w 1071706"/>
                  <a:gd name="connsiteY1702" fmla="*/ 837000 h 1095797"/>
                  <a:gd name="connsiteX1703" fmla="*/ 711541 w 1071706"/>
                  <a:gd name="connsiteY1703" fmla="*/ 836091 h 1095797"/>
                  <a:gd name="connsiteX1704" fmla="*/ 713663 w 1071706"/>
                  <a:gd name="connsiteY1704" fmla="*/ 835030 h 1095797"/>
                  <a:gd name="connsiteX1705" fmla="*/ 714723 w 1071706"/>
                  <a:gd name="connsiteY1705" fmla="*/ 835030 h 1095797"/>
                  <a:gd name="connsiteX1706" fmla="*/ 715936 w 1071706"/>
                  <a:gd name="connsiteY1706" fmla="*/ 833667 h 1095797"/>
                  <a:gd name="connsiteX1707" fmla="*/ 722451 w 1071706"/>
                  <a:gd name="connsiteY1707" fmla="*/ 828667 h 1095797"/>
                  <a:gd name="connsiteX1708" fmla="*/ 734876 w 1071706"/>
                  <a:gd name="connsiteY1708" fmla="*/ 820333 h 1095797"/>
                  <a:gd name="connsiteX1709" fmla="*/ 742300 w 1071706"/>
                  <a:gd name="connsiteY1709" fmla="*/ 812909 h 1095797"/>
                  <a:gd name="connsiteX1710" fmla="*/ 748816 w 1071706"/>
                  <a:gd name="connsiteY1710" fmla="*/ 809272 h 1095797"/>
                  <a:gd name="connsiteX1711" fmla="*/ 766847 w 1071706"/>
                  <a:gd name="connsiteY1711" fmla="*/ 800181 h 1095797"/>
                  <a:gd name="connsiteX1712" fmla="*/ 770332 w 1071706"/>
                  <a:gd name="connsiteY1712" fmla="*/ 799272 h 1095797"/>
                  <a:gd name="connsiteX1713" fmla="*/ 775180 w 1071706"/>
                  <a:gd name="connsiteY1713" fmla="*/ 799272 h 1095797"/>
                  <a:gd name="connsiteX1714" fmla="*/ 778968 w 1071706"/>
                  <a:gd name="connsiteY1714" fmla="*/ 800484 h 1095797"/>
                  <a:gd name="connsiteX1715" fmla="*/ 780635 w 1071706"/>
                  <a:gd name="connsiteY1715" fmla="*/ 800484 h 1095797"/>
                  <a:gd name="connsiteX1716" fmla="*/ 781544 w 1071706"/>
                  <a:gd name="connsiteY1716" fmla="*/ 799272 h 1095797"/>
                  <a:gd name="connsiteX1717" fmla="*/ 781847 w 1071706"/>
                  <a:gd name="connsiteY1717" fmla="*/ 797150 h 1095797"/>
                  <a:gd name="connsiteX1718" fmla="*/ 784575 w 1071706"/>
                  <a:gd name="connsiteY1718" fmla="*/ 794726 h 1095797"/>
                  <a:gd name="connsiteX1719" fmla="*/ 787605 w 1071706"/>
                  <a:gd name="connsiteY1719" fmla="*/ 793969 h 1095797"/>
                  <a:gd name="connsiteX1720" fmla="*/ 794878 w 1071706"/>
                  <a:gd name="connsiteY1720" fmla="*/ 788362 h 1095797"/>
                  <a:gd name="connsiteX1721" fmla="*/ 802606 w 1071706"/>
                  <a:gd name="connsiteY1721" fmla="*/ 786998 h 1095797"/>
                  <a:gd name="connsiteX1722" fmla="*/ 803969 w 1071706"/>
                  <a:gd name="connsiteY1722" fmla="*/ 786392 h 1095797"/>
                  <a:gd name="connsiteX1723" fmla="*/ 805333 w 1071706"/>
                  <a:gd name="connsiteY1723" fmla="*/ 785180 h 1095797"/>
                  <a:gd name="connsiteX1724" fmla="*/ 803969 w 1071706"/>
                  <a:gd name="connsiteY1724" fmla="*/ 783817 h 1095797"/>
                  <a:gd name="connsiteX1725" fmla="*/ 802454 w 1071706"/>
                  <a:gd name="connsiteY1725" fmla="*/ 783210 h 1095797"/>
                  <a:gd name="connsiteX1726" fmla="*/ 802302 w 1071706"/>
                  <a:gd name="connsiteY1726" fmla="*/ 780332 h 1095797"/>
                  <a:gd name="connsiteX1727" fmla="*/ 803515 w 1071706"/>
                  <a:gd name="connsiteY1727" fmla="*/ 778816 h 1095797"/>
                  <a:gd name="connsiteX1728" fmla="*/ 810939 w 1071706"/>
                  <a:gd name="connsiteY1728" fmla="*/ 777301 h 1095797"/>
                  <a:gd name="connsiteX1729" fmla="*/ 817000 w 1071706"/>
                  <a:gd name="connsiteY1729" fmla="*/ 777453 h 1095797"/>
                  <a:gd name="connsiteX1730" fmla="*/ 819727 w 1071706"/>
                  <a:gd name="connsiteY1730" fmla="*/ 775483 h 1095797"/>
                  <a:gd name="connsiteX1731" fmla="*/ 824727 w 1071706"/>
                  <a:gd name="connsiteY1731" fmla="*/ 774574 h 1095797"/>
                  <a:gd name="connsiteX1732" fmla="*/ 829122 w 1071706"/>
                  <a:gd name="connsiteY1732" fmla="*/ 776241 h 1095797"/>
                  <a:gd name="connsiteX1733" fmla="*/ 829879 w 1071706"/>
                  <a:gd name="connsiteY1733" fmla="*/ 777453 h 1095797"/>
                  <a:gd name="connsiteX1734" fmla="*/ 826697 w 1071706"/>
                  <a:gd name="connsiteY1734" fmla="*/ 778513 h 1095797"/>
                  <a:gd name="connsiteX1735" fmla="*/ 823818 w 1071706"/>
                  <a:gd name="connsiteY1735" fmla="*/ 778210 h 1095797"/>
                  <a:gd name="connsiteX1736" fmla="*/ 821697 w 1071706"/>
                  <a:gd name="connsiteY1736" fmla="*/ 778816 h 1095797"/>
                  <a:gd name="connsiteX1737" fmla="*/ 823818 w 1071706"/>
                  <a:gd name="connsiteY1737" fmla="*/ 780029 h 1095797"/>
                  <a:gd name="connsiteX1738" fmla="*/ 828212 w 1071706"/>
                  <a:gd name="connsiteY1738" fmla="*/ 778968 h 1095797"/>
                  <a:gd name="connsiteX1739" fmla="*/ 833819 w 1071706"/>
                  <a:gd name="connsiteY1739" fmla="*/ 778362 h 1095797"/>
                  <a:gd name="connsiteX1740" fmla="*/ 838213 w 1071706"/>
                  <a:gd name="connsiteY1740" fmla="*/ 776998 h 1095797"/>
                  <a:gd name="connsiteX1741" fmla="*/ 842152 w 1071706"/>
                  <a:gd name="connsiteY1741" fmla="*/ 776847 h 1095797"/>
                  <a:gd name="connsiteX1742" fmla="*/ 843062 w 1071706"/>
                  <a:gd name="connsiteY1742" fmla="*/ 775332 h 1095797"/>
                  <a:gd name="connsiteX1743" fmla="*/ 842607 w 1071706"/>
                  <a:gd name="connsiteY1743" fmla="*/ 773665 h 1095797"/>
                  <a:gd name="connsiteX1744" fmla="*/ 841849 w 1071706"/>
                  <a:gd name="connsiteY1744" fmla="*/ 772301 h 1095797"/>
                  <a:gd name="connsiteX1745" fmla="*/ 841698 w 1071706"/>
                  <a:gd name="connsiteY1745" fmla="*/ 771392 h 1095797"/>
                  <a:gd name="connsiteX1746" fmla="*/ 842001 w 1071706"/>
                  <a:gd name="connsiteY1746" fmla="*/ 770028 h 1095797"/>
                  <a:gd name="connsiteX1747" fmla="*/ 843971 w 1071706"/>
                  <a:gd name="connsiteY1747" fmla="*/ 769422 h 1095797"/>
                  <a:gd name="connsiteX1748" fmla="*/ 845789 w 1071706"/>
                  <a:gd name="connsiteY1748" fmla="*/ 769422 h 1095797"/>
                  <a:gd name="connsiteX1749" fmla="*/ 846395 w 1071706"/>
                  <a:gd name="connsiteY1749" fmla="*/ 770786 h 1095797"/>
                  <a:gd name="connsiteX1750" fmla="*/ 845486 w 1071706"/>
                  <a:gd name="connsiteY1750" fmla="*/ 773059 h 1095797"/>
                  <a:gd name="connsiteX1751" fmla="*/ 846092 w 1071706"/>
                  <a:gd name="connsiteY1751" fmla="*/ 774574 h 1095797"/>
                  <a:gd name="connsiteX1752" fmla="*/ 847910 w 1071706"/>
                  <a:gd name="connsiteY1752" fmla="*/ 775786 h 1095797"/>
                  <a:gd name="connsiteX1753" fmla="*/ 849425 w 1071706"/>
                  <a:gd name="connsiteY1753" fmla="*/ 776544 h 1095797"/>
                  <a:gd name="connsiteX1754" fmla="*/ 852910 w 1071706"/>
                  <a:gd name="connsiteY1754" fmla="*/ 776695 h 1095797"/>
                  <a:gd name="connsiteX1755" fmla="*/ 859729 w 1071706"/>
                  <a:gd name="connsiteY1755" fmla="*/ 775786 h 1095797"/>
                  <a:gd name="connsiteX1756" fmla="*/ 872305 w 1071706"/>
                  <a:gd name="connsiteY1756" fmla="*/ 775786 h 1095797"/>
                  <a:gd name="connsiteX1757" fmla="*/ 874426 w 1071706"/>
                  <a:gd name="connsiteY1757" fmla="*/ 775938 h 1095797"/>
                  <a:gd name="connsiteX1758" fmla="*/ 875942 w 1071706"/>
                  <a:gd name="connsiteY1758" fmla="*/ 773059 h 1095797"/>
                  <a:gd name="connsiteX1759" fmla="*/ 877154 w 1071706"/>
                  <a:gd name="connsiteY1759" fmla="*/ 771392 h 1095797"/>
                  <a:gd name="connsiteX1760" fmla="*/ 875942 w 1071706"/>
                  <a:gd name="connsiteY1760" fmla="*/ 769877 h 1095797"/>
                  <a:gd name="connsiteX1761" fmla="*/ 875638 w 1071706"/>
                  <a:gd name="connsiteY1761" fmla="*/ 767301 h 1095797"/>
                  <a:gd name="connsiteX1762" fmla="*/ 876093 w 1071706"/>
                  <a:gd name="connsiteY1762" fmla="*/ 765483 h 1095797"/>
                  <a:gd name="connsiteX1763" fmla="*/ 883669 w 1071706"/>
                  <a:gd name="connsiteY1763" fmla="*/ 757755 h 1095797"/>
                  <a:gd name="connsiteX1764" fmla="*/ 887003 w 1071706"/>
                  <a:gd name="connsiteY1764" fmla="*/ 755937 h 1095797"/>
                  <a:gd name="connsiteX1765" fmla="*/ 899579 w 1071706"/>
                  <a:gd name="connsiteY1765" fmla="*/ 751391 h 1095797"/>
                  <a:gd name="connsiteX1766" fmla="*/ 902912 w 1071706"/>
                  <a:gd name="connsiteY1766" fmla="*/ 748967 h 1095797"/>
                  <a:gd name="connsiteX1767" fmla="*/ 903215 w 1071706"/>
                  <a:gd name="connsiteY1767" fmla="*/ 746694 h 1095797"/>
                  <a:gd name="connsiteX1768" fmla="*/ 902306 w 1071706"/>
                  <a:gd name="connsiteY1768" fmla="*/ 737906 h 1095797"/>
                  <a:gd name="connsiteX1769" fmla="*/ 902306 w 1071706"/>
                  <a:gd name="connsiteY1769" fmla="*/ 737451 h 1095797"/>
                  <a:gd name="connsiteX1770" fmla="*/ 901700 w 1071706"/>
                  <a:gd name="connsiteY1770" fmla="*/ 734875 h 1095797"/>
                  <a:gd name="connsiteX1771" fmla="*/ 904276 w 1071706"/>
                  <a:gd name="connsiteY1771" fmla="*/ 727299 h 1095797"/>
                  <a:gd name="connsiteX1772" fmla="*/ 907761 w 1071706"/>
                  <a:gd name="connsiteY1772" fmla="*/ 721390 h 1095797"/>
                  <a:gd name="connsiteX1773" fmla="*/ 908822 w 1071706"/>
                  <a:gd name="connsiteY1773" fmla="*/ 717905 h 1095797"/>
                  <a:gd name="connsiteX1774" fmla="*/ 910488 w 1071706"/>
                  <a:gd name="connsiteY1774" fmla="*/ 716238 h 1095797"/>
                  <a:gd name="connsiteX1775" fmla="*/ 914125 w 1071706"/>
                  <a:gd name="connsiteY1775" fmla="*/ 714420 h 1095797"/>
                  <a:gd name="connsiteX1776" fmla="*/ 919580 w 1071706"/>
                  <a:gd name="connsiteY1776" fmla="*/ 708359 h 1095797"/>
                  <a:gd name="connsiteX1777" fmla="*/ 921701 w 1071706"/>
                  <a:gd name="connsiteY1777" fmla="*/ 704268 h 1095797"/>
                  <a:gd name="connsiteX1778" fmla="*/ 922307 w 1071706"/>
                  <a:gd name="connsiteY1778" fmla="*/ 700480 h 1095797"/>
                  <a:gd name="connsiteX1779" fmla="*/ 924883 w 1071706"/>
                  <a:gd name="connsiteY1779" fmla="*/ 698056 h 1095797"/>
                  <a:gd name="connsiteX1780" fmla="*/ 926549 w 1071706"/>
                  <a:gd name="connsiteY1780" fmla="*/ 691389 h 1095797"/>
                  <a:gd name="connsiteX1781" fmla="*/ 930337 w 1071706"/>
                  <a:gd name="connsiteY1781" fmla="*/ 685025 h 1095797"/>
                  <a:gd name="connsiteX1782" fmla="*/ 934580 w 1071706"/>
                  <a:gd name="connsiteY1782" fmla="*/ 682449 h 1095797"/>
                  <a:gd name="connsiteX1783" fmla="*/ 936247 w 1071706"/>
                  <a:gd name="connsiteY1783" fmla="*/ 680328 h 1095797"/>
                  <a:gd name="connsiteX1784" fmla="*/ 937610 w 1071706"/>
                  <a:gd name="connsiteY1784" fmla="*/ 676995 h 1095797"/>
                  <a:gd name="connsiteX1785" fmla="*/ 938520 w 1071706"/>
                  <a:gd name="connsiteY1785" fmla="*/ 671994 h 1095797"/>
                  <a:gd name="connsiteX1786" fmla="*/ 937308 w 1071706"/>
                  <a:gd name="connsiteY1786" fmla="*/ 659873 h 1095797"/>
                  <a:gd name="connsiteX1787" fmla="*/ 937308 w 1071706"/>
                  <a:gd name="connsiteY1787" fmla="*/ 654115 h 1095797"/>
                  <a:gd name="connsiteX1788" fmla="*/ 939732 w 1071706"/>
                  <a:gd name="connsiteY1788" fmla="*/ 643205 h 1095797"/>
                  <a:gd name="connsiteX1789" fmla="*/ 944277 w 1071706"/>
                  <a:gd name="connsiteY1789" fmla="*/ 635781 h 1095797"/>
                  <a:gd name="connsiteX1790" fmla="*/ 946247 w 1071706"/>
                  <a:gd name="connsiteY1790" fmla="*/ 633811 h 1095797"/>
                  <a:gd name="connsiteX1791" fmla="*/ 949884 w 1071706"/>
                  <a:gd name="connsiteY1791" fmla="*/ 631841 h 1095797"/>
                  <a:gd name="connsiteX1792" fmla="*/ 953217 w 1071706"/>
                  <a:gd name="connsiteY1792" fmla="*/ 627750 h 1095797"/>
                  <a:gd name="connsiteX1793" fmla="*/ 952762 w 1071706"/>
                  <a:gd name="connsiteY1793" fmla="*/ 626084 h 1095797"/>
                  <a:gd name="connsiteX1794" fmla="*/ 951550 w 1071706"/>
                  <a:gd name="connsiteY1794" fmla="*/ 616992 h 1095797"/>
                  <a:gd name="connsiteX1795" fmla="*/ 951853 w 1071706"/>
                  <a:gd name="connsiteY1795" fmla="*/ 613204 h 1095797"/>
                  <a:gd name="connsiteX1796" fmla="*/ 952914 w 1071706"/>
                  <a:gd name="connsiteY1796" fmla="*/ 609416 h 1095797"/>
                  <a:gd name="connsiteX1797" fmla="*/ 953975 w 1071706"/>
                  <a:gd name="connsiteY1797" fmla="*/ 601537 h 1095797"/>
                  <a:gd name="connsiteX1798" fmla="*/ 955641 w 1071706"/>
                  <a:gd name="connsiteY1798" fmla="*/ 594264 h 1095797"/>
                  <a:gd name="connsiteX1799" fmla="*/ 958520 w 1071706"/>
                  <a:gd name="connsiteY1799" fmla="*/ 585324 h 1095797"/>
                  <a:gd name="connsiteX1800" fmla="*/ 960642 w 1071706"/>
                  <a:gd name="connsiteY1800" fmla="*/ 576385 h 1095797"/>
                  <a:gd name="connsiteX1801" fmla="*/ 960490 w 1071706"/>
                  <a:gd name="connsiteY1801" fmla="*/ 575779 h 1095797"/>
                  <a:gd name="connsiteX1802" fmla="*/ 958975 w 1071706"/>
                  <a:gd name="connsiteY1802" fmla="*/ 568051 h 1095797"/>
                  <a:gd name="connsiteX1803" fmla="*/ 957460 w 1071706"/>
                  <a:gd name="connsiteY1803" fmla="*/ 559415 h 1095797"/>
                  <a:gd name="connsiteX1804" fmla="*/ 957005 w 1071706"/>
                  <a:gd name="connsiteY1804" fmla="*/ 550626 h 1095797"/>
                  <a:gd name="connsiteX1805" fmla="*/ 955793 w 1071706"/>
                  <a:gd name="connsiteY1805" fmla="*/ 542747 h 1095797"/>
                  <a:gd name="connsiteX1806" fmla="*/ 958975 w 1071706"/>
                  <a:gd name="connsiteY1806" fmla="*/ 525474 h 1095797"/>
                  <a:gd name="connsiteX1807" fmla="*/ 958369 w 1071706"/>
                  <a:gd name="connsiteY1807" fmla="*/ 524716 h 1095797"/>
                  <a:gd name="connsiteX1808" fmla="*/ 957157 w 1071706"/>
                  <a:gd name="connsiteY1808" fmla="*/ 527444 h 1095797"/>
                  <a:gd name="connsiteX1809" fmla="*/ 956096 w 1071706"/>
                  <a:gd name="connsiteY1809" fmla="*/ 525928 h 1095797"/>
                  <a:gd name="connsiteX1810" fmla="*/ 956399 w 1071706"/>
                  <a:gd name="connsiteY1810" fmla="*/ 524413 h 1095797"/>
                  <a:gd name="connsiteX1811" fmla="*/ 956248 w 1071706"/>
                  <a:gd name="connsiteY1811" fmla="*/ 517898 h 1095797"/>
                  <a:gd name="connsiteX1812" fmla="*/ 957308 w 1071706"/>
                  <a:gd name="connsiteY1812" fmla="*/ 515322 h 1095797"/>
                  <a:gd name="connsiteX1813" fmla="*/ 957611 w 1071706"/>
                  <a:gd name="connsiteY1813" fmla="*/ 513958 h 1095797"/>
                  <a:gd name="connsiteX1814" fmla="*/ 957005 w 1071706"/>
                  <a:gd name="connsiteY1814" fmla="*/ 513049 h 1095797"/>
                  <a:gd name="connsiteX1815" fmla="*/ 956248 w 1071706"/>
                  <a:gd name="connsiteY1815" fmla="*/ 512443 h 1095797"/>
                  <a:gd name="connsiteX1816" fmla="*/ 954732 w 1071706"/>
                  <a:gd name="connsiteY1816" fmla="*/ 513201 h 1095797"/>
                  <a:gd name="connsiteX1817" fmla="*/ 955338 w 1071706"/>
                  <a:gd name="connsiteY1817" fmla="*/ 510170 h 1095797"/>
                  <a:gd name="connsiteX1818" fmla="*/ 956399 w 1071706"/>
                  <a:gd name="connsiteY1818" fmla="*/ 506988 h 1095797"/>
                  <a:gd name="connsiteX1819" fmla="*/ 958369 w 1071706"/>
                  <a:gd name="connsiteY1819" fmla="*/ 504412 h 1095797"/>
                  <a:gd name="connsiteX1820" fmla="*/ 961702 w 1071706"/>
                  <a:gd name="connsiteY1820" fmla="*/ 500928 h 1095797"/>
                  <a:gd name="connsiteX1821" fmla="*/ 961702 w 1071706"/>
                  <a:gd name="connsiteY1821" fmla="*/ 497746 h 1095797"/>
                  <a:gd name="connsiteX1822" fmla="*/ 963672 w 1071706"/>
                  <a:gd name="connsiteY1822" fmla="*/ 494261 h 1095797"/>
                  <a:gd name="connsiteX1823" fmla="*/ 963066 w 1071706"/>
                  <a:gd name="connsiteY1823" fmla="*/ 492594 h 1095797"/>
                  <a:gd name="connsiteX1824" fmla="*/ 961248 w 1071706"/>
                  <a:gd name="connsiteY1824" fmla="*/ 491079 h 1095797"/>
                  <a:gd name="connsiteX1825" fmla="*/ 963066 w 1071706"/>
                  <a:gd name="connsiteY1825" fmla="*/ 490927 h 1095797"/>
                  <a:gd name="connsiteX1826" fmla="*/ 964278 w 1071706"/>
                  <a:gd name="connsiteY1826" fmla="*/ 490018 h 1095797"/>
                  <a:gd name="connsiteX1827" fmla="*/ 965793 w 1071706"/>
                  <a:gd name="connsiteY1827" fmla="*/ 486533 h 1095797"/>
                  <a:gd name="connsiteX1828" fmla="*/ 966854 w 1071706"/>
                  <a:gd name="connsiteY1828" fmla="*/ 487139 h 1095797"/>
                  <a:gd name="connsiteX1829" fmla="*/ 970339 w 1071706"/>
                  <a:gd name="connsiteY1829" fmla="*/ 490321 h 1095797"/>
                  <a:gd name="connsiteX1830" fmla="*/ 971097 w 1071706"/>
                  <a:gd name="connsiteY1830" fmla="*/ 495624 h 1095797"/>
                  <a:gd name="connsiteX1831" fmla="*/ 972460 w 1071706"/>
                  <a:gd name="connsiteY1831" fmla="*/ 495927 h 1095797"/>
                  <a:gd name="connsiteX1832" fmla="*/ 973672 w 1071706"/>
                  <a:gd name="connsiteY1832" fmla="*/ 495927 h 1095797"/>
                  <a:gd name="connsiteX1833" fmla="*/ 978066 w 1071706"/>
                  <a:gd name="connsiteY1833" fmla="*/ 492594 h 1095797"/>
                  <a:gd name="connsiteX1834" fmla="*/ 984127 w 1071706"/>
                  <a:gd name="connsiteY1834" fmla="*/ 485624 h 1095797"/>
                  <a:gd name="connsiteX1835" fmla="*/ 985794 w 1071706"/>
                  <a:gd name="connsiteY1835" fmla="*/ 482442 h 1095797"/>
                  <a:gd name="connsiteX1836" fmla="*/ 993067 w 1071706"/>
                  <a:gd name="connsiteY1836" fmla="*/ 472139 h 1095797"/>
                  <a:gd name="connsiteX1837" fmla="*/ 999128 w 1071706"/>
                  <a:gd name="connsiteY1837" fmla="*/ 459865 h 1095797"/>
                  <a:gd name="connsiteX1838" fmla="*/ 1000643 w 1071706"/>
                  <a:gd name="connsiteY1838" fmla="*/ 455623 h 1095797"/>
                  <a:gd name="connsiteX1839" fmla="*/ 999885 w 1071706"/>
                  <a:gd name="connsiteY1839" fmla="*/ 452744 h 1095797"/>
                  <a:gd name="connsiteX1840" fmla="*/ 1002007 w 1071706"/>
                  <a:gd name="connsiteY1840" fmla="*/ 448804 h 1095797"/>
                  <a:gd name="connsiteX1841" fmla="*/ 1003067 w 1071706"/>
                  <a:gd name="connsiteY1841" fmla="*/ 447744 h 1095797"/>
                  <a:gd name="connsiteX1842" fmla="*/ 1003067 w 1071706"/>
                  <a:gd name="connsiteY1842" fmla="*/ 449107 h 1095797"/>
                  <a:gd name="connsiteX1843" fmla="*/ 1002764 w 1071706"/>
                  <a:gd name="connsiteY1843" fmla="*/ 450319 h 1095797"/>
                  <a:gd name="connsiteX1844" fmla="*/ 1002158 w 1071706"/>
                  <a:gd name="connsiteY1844" fmla="*/ 451380 h 1095797"/>
                  <a:gd name="connsiteX1845" fmla="*/ 1002158 w 1071706"/>
                  <a:gd name="connsiteY1845" fmla="*/ 452895 h 1095797"/>
                  <a:gd name="connsiteX1846" fmla="*/ 1003219 w 1071706"/>
                  <a:gd name="connsiteY1846" fmla="*/ 452138 h 1095797"/>
                  <a:gd name="connsiteX1847" fmla="*/ 1006855 w 1071706"/>
                  <a:gd name="connsiteY1847" fmla="*/ 446986 h 1095797"/>
                  <a:gd name="connsiteX1848" fmla="*/ 1006855 w 1071706"/>
                  <a:gd name="connsiteY1848" fmla="*/ 443653 h 1095797"/>
                  <a:gd name="connsiteX1849" fmla="*/ 1008371 w 1071706"/>
                  <a:gd name="connsiteY1849" fmla="*/ 444107 h 1095797"/>
                  <a:gd name="connsiteX1850" fmla="*/ 1009280 w 1071706"/>
                  <a:gd name="connsiteY1850" fmla="*/ 443350 h 1095797"/>
                  <a:gd name="connsiteX1851" fmla="*/ 1013522 w 1071706"/>
                  <a:gd name="connsiteY1851" fmla="*/ 436834 h 1095797"/>
                  <a:gd name="connsiteX1852" fmla="*/ 1018220 w 1071706"/>
                  <a:gd name="connsiteY1852" fmla="*/ 432743 h 1095797"/>
                  <a:gd name="connsiteX1853" fmla="*/ 1021856 w 1071706"/>
                  <a:gd name="connsiteY1853" fmla="*/ 430470 h 1095797"/>
                  <a:gd name="connsiteX1854" fmla="*/ 1027917 w 1071706"/>
                  <a:gd name="connsiteY1854" fmla="*/ 427743 h 1095797"/>
                  <a:gd name="connsiteX1855" fmla="*/ 1028220 w 1071706"/>
                  <a:gd name="connsiteY1855" fmla="*/ 427591 h 1095797"/>
                  <a:gd name="connsiteX1856" fmla="*/ 1033069 w 1071706"/>
                  <a:gd name="connsiteY1856" fmla="*/ 420470 h 1095797"/>
                  <a:gd name="connsiteX1857" fmla="*/ 1037614 w 1071706"/>
                  <a:gd name="connsiteY1857" fmla="*/ 416379 h 1095797"/>
                  <a:gd name="connsiteX1858" fmla="*/ 1042311 w 1071706"/>
                  <a:gd name="connsiteY1858" fmla="*/ 410167 h 1095797"/>
                  <a:gd name="connsiteX1859" fmla="*/ 1043372 w 1071706"/>
                  <a:gd name="connsiteY1859" fmla="*/ 408045 h 1095797"/>
                  <a:gd name="connsiteX1860" fmla="*/ 1042160 w 1071706"/>
                  <a:gd name="connsiteY1860" fmla="*/ 405772 h 1095797"/>
                  <a:gd name="connsiteX1861" fmla="*/ 1043827 w 1071706"/>
                  <a:gd name="connsiteY1861" fmla="*/ 406682 h 1095797"/>
                  <a:gd name="connsiteX1862" fmla="*/ 1045645 w 1071706"/>
                  <a:gd name="connsiteY1862" fmla="*/ 406227 h 1095797"/>
                  <a:gd name="connsiteX1863" fmla="*/ 1050190 w 1071706"/>
                  <a:gd name="connsiteY1863" fmla="*/ 401833 h 1095797"/>
                  <a:gd name="connsiteX1864" fmla="*/ 1057160 w 1071706"/>
                  <a:gd name="connsiteY1864" fmla="*/ 393348 h 1095797"/>
                  <a:gd name="connsiteX1865" fmla="*/ 1062161 w 1071706"/>
                  <a:gd name="connsiteY1865" fmla="*/ 385166 h 1095797"/>
                  <a:gd name="connsiteX1866" fmla="*/ 1067464 w 1071706"/>
                  <a:gd name="connsiteY1866" fmla="*/ 370771 h 1095797"/>
                  <a:gd name="connsiteX1867" fmla="*/ 1069585 w 1071706"/>
                  <a:gd name="connsiteY1867" fmla="*/ 362135 h 1095797"/>
                  <a:gd name="connsiteX1868" fmla="*/ 1071100 w 1071706"/>
                  <a:gd name="connsiteY1868" fmla="*/ 358801 h 1095797"/>
                  <a:gd name="connsiteX1869" fmla="*/ 1071100 w 1071706"/>
                  <a:gd name="connsiteY1869" fmla="*/ 356074 h 1095797"/>
                  <a:gd name="connsiteX1870" fmla="*/ 1069888 w 1071706"/>
                  <a:gd name="connsiteY1870" fmla="*/ 352740 h 1095797"/>
                  <a:gd name="connsiteX1871" fmla="*/ 1070040 w 1071706"/>
                  <a:gd name="connsiteY1871" fmla="*/ 351225 h 1095797"/>
                  <a:gd name="connsiteX1872" fmla="*/ 1070494 w 1071706"/>
                  <a:gd name="connsiteY1872" fmla="*/ 349710 h 1095797"/>
                  <a:gd name="connsiteX1873" fmla="*/ 1070343 w 1071706"/>
                  <a:gd name="connsiteY1873" fmla="*/ 348649 h 1095797"/>
                  <a:gd name="connsiteX1874" fmla="*/ 1070494 w 1071706"/>
                  <a:gd name="connsiteY1874" fmla="*/ 346983 h 1095797"/>
                  <a:gd name="connsiteX1875" fmla="*/ 1071403 w 1071706"/>
                  <a:gd name="connsiteY1875" fmla="*/ 344710 h 1095797"/>
                  <a:gd name="connsiteX1876" fmla="*/ 806394 w 1071706"/>
                  <a:gd name="connsiteY1876" fmla="*/ 217584 h 1095797"/>
                  <a:gd name="connsiteX1877" fmla="*/ 804575 w 1071706"/>
                  <a:gd name="connsiteY1877" fmla="*/ 219250 h 1095797"/>
                  <a:gd name="connsiteX1878" fmla="*/ 804272 w 1071706"/>
                  <a:gd name="connsiteY1878" fmla="*/ 220917 h 1095797"/>
                  <a:gd name="connsiteX1879" fmla="*/ 804727 w 1071706"/>
                  <a:gd name="connsiteY1879" fmla="*/ 223038 h 1095797"/>
                  <a:gd name="connsiteX1880" fmla="*/ 803818 w 1071706"/>
                  <a:gd name="connsiteY1880" fmla="*/ 226069 h 1095797"/>
                  <a:gd name="connsiteX1881" fmla="*/ 806545 w 1071706"/>
                  <a:gd name="connsiteY1881" fmla="*/ 223342 h 1095797"/>
                  <a:gd name="connsiteX1882" fmla="*/ 807000 w 1071706"/>
                  <a:gd name="connsiteY1882" fmla="*/ 219857 h 1095797"/>
                  <a:gd name="connsiteX1883" fmla="*/ 806848 w 1071706"/>
                  <a:gd name="connsiteY1883" fmla="*/ 219250 h 1095797"/>
                  <a:gd name="connsiteX1884" fmla="*/ 807000 w 1071706"/>
                  <a:gd name="connsiteY1884" fmla="*/ 217281 h 1095797"/>
                  <a:gd name="connsiteX1885" fmla="*/ 806394 w 1071706"/>
                  <a:gd name="connsiteY1885" fmla="*/ 217584 h 1095797"/>
                  <a:gd name="connsiteX1886" fmla="*/ 785332 w 1071706"/>
                  <a:gd name="connsiteY1886" fmla="*/ 801393 h 1095797"/>
                  <a:gd name="connsiteX1887" fmla="*/ 784575 w 1071706"/>
                  <a:gd name="connsiteY1887" fmla="*/ 800635 h 1095797"/>
                  <a:gd name="connsiteX1888" fmla="*/ 780483 w 1071706"/>
                  <a:gd name="connsiteY1888" fmla="*/ 805484 h 1095797"/>
                  <a:gd name="connsiteX1889" fmla="*/ 781544 w 1071706"/>
                  <a:gd name="connsiteY1889" fmla="*/ 806545 h 1095797"/>
                  <a:gd name="connsiteX1890" fmla="*/ 784575 w 1071706"/>
                  <a:gd name="connsiteY1890" fmla="*/ 805939 h 1095797"/>
                  <a:gd name="connsiteX1891" fmla="*/ 785787 w 1071706"/>
                  <a:gd name="connsiteY1891" fmla="*/ 806696 h 1095797"/>
                  <a:gd name="connsiteX1892" fmla="*/ 785787 w 1071706"/>
                  <a:gd name="connsiteY1892" fmla="*/ 805181 h 1095797"/>
                  <a:gd name="connsiteX1893" fmla="*/ 786090 w 1071706"/>
                  <a:gd name="connsiteY1893" fmla="*/ 804120 h 1095797"/>
                  <a:gd name="connsiteX1894" fmla="*/ 786544 w 1071706"/>
                  <a:gd name="connsiteY1894" fmla="*/ 803363 h 1095797"/>
                  <a:gd name="connsiteX1895" fmla="*/ 786090 w 1071706"/>
                  <a:gd name="connsiteY1895" fmla="*/ 802151 h 1095797"/>
                  <a:gd name="connsiteX1896" fmla="*/ 785332 w 1071706"/>
                  <a:gd name="connsiteY1896" fmla="*/ 801393 h 1095797"/>
                  <a:gd name="connsiteX1897" fmla="*/ 695935 w 1071706"/>
                  <a:gd name="connsiteY1897" fmla="*/ 871547 h 1095797"/>
                  <a:gd name="connsiteX1898" fmla="*/ 692450 w 1071706"/>
                  <a:gd name="connsiteY1898" fmla="*/ 875032 h 1095797"/>
                  <a:gd name="connsiteX1899" fmla="*/ 694117 w 1071706"/>
                  <a:gd name="connsiteY1899" fmla="*/ 878669 h 1095797"/>
                  <a:gd name="connsiteX1900" fmla="*/ 694571 w 1071706"/>
                  <a:gd name="connsiteY1900" fmla="*/ 878365 h 1095797"/>
                  <a:gd name="connsiteX1901" fmla="*/ 695026 w 1071706"/>
                  <a:gd name="connsiteY1901" fmla="*/ 877759 h 1095797"/>
                  <a:gd name="connsiteX1902" fmla="*/ 696086 w 1071706"/>
                  <a:gd name="connsiteY1902" fmla="*/ 875790 h 1095797"/>
                  <a:gd name="connsiteX1903" fmla="*/ 696996 w 1071706"/>
                  <a:gd name="connsiteY1903" fmla="*/ 873062 h 1095797"/>
                  <a:gd name="connsiteX1904" fmla="*/ 695935 w 1071706"/>
                  <a:gd name="connsiteY1904" fmla="*/ 871547 h 1095797"/>
                  <a:gd name="connsiteX1905" fmla="*/ 965945 w 1071706"/>
                  <a:gd name="connsiteY1905" fmla="*/ 495473 h 1095797"/>
                  <a:gd name="connsiteX1906" fmla="*/ 965490 w 1071706"/>
                  <a:gd name="connsiteY1906" fmla="*/ 498049 h 1095797"/>
                  <a:gd name="connsiteX1907" fmla="*/ 962763 w 1071706"/>
                  <a:gd name="connsiteY1907" fmla="*/ 500321 h 1095797"/>
                  <a:gd name="connsiteX1908" fmla="*/ 962914 w 1071706"/>
                  <a:gd name="connsiteY1908" fmla="*/ 502140 h 1095797"/>
                  <a:gd name="connsiteX1909" fmla="*/ 963975 w 1071706"/>
                  <a:gd name="connsiteY1909" fmla="*/ 501534 h 1095797"/>
                  <a:gd name="connsiteX1910" fmla="*/ 967915 w 1071706"/>
                  <a:gd name="connsiteY1910" fmla="*/ 498655 h 1095797"/>
                  <a:gd name="connsiteX1911" fmla="*/ 967915 w 1071706"/>
                  <a:gd name="connsiteY1911" fmla="*/ 498049 h 1095797"/>
                  <a:gd name="connsiteX1912" fmla="*/ 967460 w 1071706"/>
                  <a:gd name="connsiteY1912" fmla="*/ 496685 h 1095797"/>
                  <a:gd name="connsiteX1913" fmla="*/ 965945 w 1071706"/>
                  <a:gd name="connsiteY1913" fmla="*/ 495473 h 1095797"/>
                  <a:gd name="connsiteX1914" fmla="*/ 814879 w 1071706"/>
                  <a:gd name="connsiteY1914" fmla="*/ 783059 h 1095797"/>
                  <a:gd name="connsiteX1915" fmla="*/ 814121 w 1071706"/>
                  <a:gd name="connsiteY1915" fmla="*/ 782150 h 1095797"/>
                  <a:gd name="connsiteX1916" fmla="*/ 813515 w 1071706"/>
                  <a:gd name="connsiteY1916" fmla="*/ 781847 h 1095797"/>
                  <a:gd name="connsiteX1917" fmla="*/ 812606 w 1071706"/>
                  <a:gd name="connsiteY1917" fmla="*/ 783059 h 1095797"/>
                  <a:gd name="connsiteX1918" fmla="*/ 810182 w 1071706"/>
                  <a:gd name="connsiteY1918" fmla="*/ 784726 h 1095797"/>
                  <a:gd name="connsiteX1919" fmla="*/ 811242 w 1071706"/>
                  <a:gd name="connsiteY1919" fmla="*/ 785938 h 1095797"/>
                  <a:gd name="connsiteX1920" fmla="*/ 813970 w 1071706"/>
                  <a:gd name="connsiteY1920" fmla="*/ 785332 h 1095797"/>
                  <a:gd name="connsiteX1921" fmla="*/ 815788 w 1071706"/>
                  <a:gd name="connsiteY1921" fmla="*/ 784574 h 1095797"/>
                  <a:gd name="connsiteX1922" fmla="*/ 817303 w 1071706"/>
                  <a:gd name="connsiteY1922" fmla="*/ 784726 h 1095797"/>
                  <a:gd name="connsiteX1923" fmla="*/ 816394 w 1071706"/>
                  <a:gd name="connsiteY1923" fmla="*/ 783968 h 1095797"/>
                  <a:gd name="connsiteX1924" fmla="*/ 814879 w 1071706"/>
                  <a:gd name="connsiteY1924" fmla="*/ 783059 h 109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Lst>
                <a:rect l="l" t="t" r="r" b="b"/>
                <a:pathLst>
                  <a:path w="1071706" h="1095797">
                    <a:moveTo>
                      <a:pt x="648509" y="137126"/>
                    </a:moveTo>
                    <a:lnTo>
                      <a:pt x="646539" y="139702"/>
                    </a:lnTo>
                    <a:lnTo>
                      <a:pt x="646691" y="142126"/>
                    </a:lnTo>
                    <a:lnTo>
                      <a:pt x="648206" y="142581"/>
                    </a:lnTo>
                    <a:lnTo>
                      <a:pt x="652903" y="142430"/>
                    </a:lnTo>
                    <a:lnTo>
                      <a:pt x="655933" y="144096"/>
                    </a:lnTo>
                    <a:lnTo>
                      <a:pt x="658206" y="143945"/>
                    </a:lnTo>
                    <a:lnTo>
                      <a:pt x="660328" y="143187"/>
                    </a:lnTo>
                    <a:lnTo>
                      <a:pt x="664267" y="137429"/>
                    </a:lnTo>
                    <a:lnTo>
                      <a:pt x="663206" y="136066"/>
                    </a:lnTo>
                    <a:lnTo>
                      <a:pt x="659418" y="135005"/>
                    </a:lnTo>
                    <a:lnTo>
                      <a:pt x="652600" y="137126"/>
                    </a:lnTo>
                    <a:lnTo>
                      <a:pt x="648509" y="137126"/>
                    </a:lnTo>
                    <a:close/>
                    <a:moveTo>
                      <a:pt x="651842" y="132732"/>
                    </a:moveTo>
                    <a:lnTo>
                      <a:pt x="654873" y="129247"/>
                    </a:lnTo>
                    <a:lnTo>
                      <a:pt x="655024" y="127278"/>
                    </a:lnTo>
                    <a:lnTo>
                      <a:pt x="654418" y="126065"/>
                    </a:lnTo>
                    <a:lnTo>
                      <a:pt x="653358" y="126368"/>
                    </a:lnTo>
                    <a:lnTo>
                      <a:pt x="652903" y="126974"/>
                    </a:lnTo>
                    <a:lnTo>
                      <a:pt x="649115" y="127429"/>
                    </a:lnTo>
                    <a:lnTo>
                      <a:pt x="648206" y="129247"/>
                    </a:lnTo>
                    <a:lnTo>
                      <a:pt x="648206" y="132732"/>
                    </a:lnTo>
                    <a:lnTo>
                      <a:pt x="648812" y="133641"/>
                    </a:lnTo>
                    <a:lnTo>
                      <a:pt x="651842" y="132732"/>
                    </a:lnTo>
                    <a:close/>
                    <a:moveTo>
                      <a:pt x="645024" y="91973"/>
                    </a:moveTo>
                    <a:lnTo>
                      <a:pt x="647751" y="90761"/>
                    </a:lnTo>
                    <a:lnTo>
                      <a:pt x="647903" y="89700"/>
                    </a:lnTo>
                    <a:lnTo>
                      <a:pt x="646539" y="85306"/>
                    </a:lnTo>
                    <a:lnTo>
                      <a:pt x="645933" y="85003"/>
                    </a:lnTo>
                    <a:lnTo>
                      <a:pt x="644418" y="84852"/>
                    </a:lnTo>
                    <a:lnTo>
                      <a:pt x="642448" y="85761"/>
                    </a:lnTo>
                    <a:lnTo>
                      <a:pt x="641993" y="88488"/>
                    </a:lnTo>
                    <a:lnTo>
                      <a:pt x="643509" y="91670"/>
                    </a:lnTo>
                    <a:lnTo>
                      <a:pt x="645024" y="91973"/>
                    </a:lnTo>
                    <a:close/>
                    <a:moveTo>
                      <a:pt x="644266" y="139702"/>
                    </a:moveTo>
                    <a:lnTo>
                      <a:pt x="646842" y="136520"/>
                    </a:lnTo>
                    <a:lnTo>
                      <a:pt x="646539" y="133187"/>
                    </a:lnTo>
                    <a:lnTo>
                      <a:pt x="646236" y="127732"/>
                    </a:lnTo>
                    <a:lnTo>
                      <a:pt x="645630" y="127429"/>
                    </a:lnTo>
                    <a:lnTo>
                      <a:pt x="645024" y="127732"/>
                    </a:lnTo>
                    <a:lnTo>
                      <a:pt x="644266" y="128338"/>
                    </a:lnTo>
                    <a:lnTo>
                      <a:pt x="644266" y="131975"/>
                    </a:lnTo>
                    <a:lnTo>
                      <a:pt x="643509" y="134702"/>
                    </a:lnTo>
                    <a:lnTo>
                      <a:pt x="641539" y="136823"/>
                    </a:lnTo>
                    <a:lnTo>
                      <a:pt x="639266" y="138035"/>
                    </a:lnTo>
                    <a:lnTo>
                      <a:pt x="638963" y="142126"/>
                    </a:lnTo>
                    <a:lnTo>
                      <a:pt x="643812" y="143793"/>
                    </a:lnTo>
                    <a:lnTo>
                      <a:pt x="644266" y="139702"/>
                    </a:lnTo>
                    <a:close/>
                    <a:moveTo>
                      <a:pt x="697905" y="908518"/>
                    </a:moveTo>
                    <a:lnTo>
                      <a:pt x="696844" y="910185"/>
                    </a:lnTo>
                    <a:lnTo>
                      <a:pt x="695783" y="912458"/>
                    </a:lnTo>
                    <a:lnTo>
                      <a:pt x="695480" y="919427"/>
                    </a:lnTo>
                    <a:lnTo>
                      <a:pt x="697298" y="918064"/>
                    </a:lnTo>
                    <a:lnTo>
                      <a:pt x="696996" y="916246"/>
                    </a:lnTo>
                    <a:lnTo>
                      <a:pt x="699420" y="912155"/>
                    </a:lnTo>
                    <a:lnTo>
                      <a:pt x="700329" y="908821"/>
                    </a:lnTo>
                    <a:lnTo>
                      <a:pt x="699268" y="907306"/>
                    </a:lnTo>
                    <a:lnTo>
                      <a:pt x="697905" y="908518"/>
                    </a:lnTo>
                    <a:close/>
                    <a:moveTo>
                      <a:pt x="668661" y="149703"/>
                    </a:moveTo>
                    <a:lnTo>
                      <a:pt x="666085" y="149551"/>
                    </a:lnTo>
                    <a:lnTo>
                      <a:pt x="649115" y="146521"/>
                    </a:lnTo>
                    <a:lnTo>
                      <a:pt x="643206" y="147581"/>
                    </a:lnTo>
                    <a:lnTo>
                      <a:pt x="638205" y="150763"/>
                    </a:lnTo>
                    <a:lnTo>
                      <a:pt x="636842" y="153187"/>
                    </a:lnTo>
                    <a:lnTo>
                      <a:pt x="636236" y="156066"/>
                    </a:lnTo>
                    <a:lnTo>
                      <a:pt x="636539" y="157582"/>
                    </a:lnTo>
                    <a:lnTo>
                      <a:pt x="636084" y="159097"/>
                    </a:lnTo>
                    <a:lnTo>
                      <a:pt x="634721" y="160763"/>
                    </a:lnTo>
                    <a:lnTo>
                      <a:pt x="634417" y="161976"/>
                    </a:lnTo>
                    <a:lnTo>
                      <a:pt x="633963" y="167885"/>
                    </a:lnTo>
                    <a:lnTo>
                      <a:pt x="634266" y="170764"/>
                    </a:lnTo>
                    <a:lnTo>
                      <a:pt x="636236" y="172582"/>
                    </a:lnTo>
                    <a:lnTo>
                      <a:pt x="639418" y="172431"/>
                    </a:lnTo>
                    <a:lnTo>
                      <a:pt x="639872" y="173188"/>
                    </a:lnTo>
                    <a:lnTo>
                      <a:pt x="639721" y="174249"/>
                    </a:lnTo>
                    <a:lnTo>
                      <a:pt x="639266" y="174400"/>
                    </a:lnTo>
                    <a:lnTo>
                      <a:pt x="637296" y="173946"/>
                    </a:lnTo>
                    <a:lnTo>
                      <a:pt x="635630" y="173794"/>
                    </a:lnTo>
                    <a:lnTo>
                      <a:pt x="634872" y="176825"/>
                    </a:lnTo>
                    <a:lnTo>
                      <a:pt x="635781" y="180461"/>
                    </a:lnTo>
                    <a:lnTo>
                      <a:pt x="637145" y="184401"/>
                    </a:lnTo>
                    <a:lnTo>
                      <a:pt x="638660" y="187734"/>
                    </a:lnTo>
                    <a:lnTo>
                      <a:pt x="639115" y="189401"/>
                    </a:lnTo>
                    <a:lnTo>
                      <a:pt x="641690" y="191825"/>
                    </a:lnTo>
                    <a:lnTo>
                      <a:pt x="643509" y="192128"/>
                    </a:lnTo>
                    <a:lnTo>
                      <a:pt x="646387" y="190916"/>
                    </a:lnTo>
                    <a:lnTo>
                      <a:pt x="652600" y="190765"/>
                    </a:lnTo>
                    <a:lnTo>
                      <a:pt x="653812" y="189553"/>
                    </a:lnTo>
                    <a:lnTo>
                      <a:pt x="655327" y="189704"/>
                    </a:lnTo>
                    <a:lnTo>
                      <a:pt x="658055" y="191219"/>
                    </a:lnTo>
                    <a:lnTo>
                      <a:pt x="660934" y="191977"/>
                    </a:lnTo>
                    <a:lnTo>
                      <a:pt x="662449" y="191068"/>
                    </a:lnTo>
                    <a:lnTo>
                      <a:pt x="665176" y="190613"/>
                    </a:lnTo>
                    <a:lnTo>
                      <a:pt x="666843" y="189855"/>
                    </a:lnTo>
                    <a:lnTo>
                      <a:pt x="668510" y="187583"/>
                    </a:lnTo>
                    <a:lnTo>
                      <a:pt x="668964" y="184401"/>
                    </a:lnTo>
                    <a:lnTo>
                      <a:pt x="671692" y="185613"/>
                    </a:lnTo>
                    <a:lnTo>
                      <a:pt x="673358" y="186674"/>
                    </a:lnTo>
                    <a:lnTo>
                      <a:pt x="676389" y="186825"/>
                    </a:lnTo>
                    <a:lnTo>
                      <a:pt x="677146" y="185765"/>
                    </a:lnTo>
                    <a:lnTo>
                      <a:pt x="677752" y="183795"/>
                    </a:lnTo>
                    <a:lnTo>
                      <a:pt x="678055" y="181825"/>
                    </a:lnTo>
                    <a:lnTo>
                      <a:pt x="680328" y="184401"/>
                    </a:lnTo>
                    <a:lnTo>
                      <a:pt x="681692" y="184704"/>
                    </a:lnTo>
                    <a:lnTo>
                      <a:pt x="683056" y="184401"/>
                    </a:lnTo>
                    <a:lnTo>
                      <a:pt x="684571" y="183795"/>
                    </a:lnTo>
                    <a:lnTo>
                      <a:pt x="687147" y="181219"/>
                    </a:lnTo>
                    <a:lnTo>
                      <a:pt x="687904" y="179552"/>
                    </a:lnTo>
                    <a:lnTo>
                      <a:pt x="687147" y="178188"/>
                    </a:lnTo>
                    <a:lnTo>
                      <a:pt x="686844" y="176825"/>
                    </a:lnTo>
                    <a:lnTo>
                      <a:pt x="688207" y="175310"/>
                    </a:lnTo>
                    <a:lnTo>
                      <a:pt x="689874" y="174249"/>
                    </a:lnTo>
                    <a:lnTo>
                      <a:pt x="690480" y="173491"/>
                    </a:lnTo>
                    <a:lnTo>
                      <a:pt x="692753" y="170309"/>
                    </a:lnTo>
                    <a:lnTo>
                      <a:pt x="694268" y="167734"/>
                    </a:lnTo>
                    <a:lnTo>
                      <a:pt x="694874" y="166521"/>
                    </a:lnTo>
                    <a:lnTo>
                      <a:pt x="695177" y="165309"/>
                    </a:lnTo>
                    <a:lnTo>
                      <a:pt x="694420" y="162127"/>
                    </a:lnTo>
                    <a:lnTo>
                      <a:pt x="695632" y="162279"/>
                    </a:lnTo>
                    <a:lnTo>
                      <a:pt x="696389" y="161521"/>
                    </a:lnTo>
                    <a:lnTo>
                      <a:pt x="697298" y="158036"/>
                    </a:lnTo>
                    <a:lnTo>
                      <a:pt x="698208" y="155460"/>
                    </a:lnTo>
                    <a:lnTo>
                      <a:pt x="699571" y="153036"/>
                    </a:lnTo>
                    <a:lnTo>
                      <a:pt x="699268" y="151521"/>
                    </a:lnTo>
                    <a:lnTo>
                      <a:pt x="697905" y="150763"/>
                    </a:lnTo>
                    <a:lnTo>
                      <a:pt x="695935" y="150157"/>
                    </a:lnTo>
                    <a:lnTo>
                      <a:pt x="693965" y="149703"/>
                    </a:lnTo>
                    <a:lnTo>
                      <a:pt x="688510" y="149248"/>
                    </a:lnTo>
                    <a:lnTo>
                      <a:pt x="679419" y="147884"/>
                    </a:lnTo>
                    <a:lnTo>
                      <a:pt x="676692" y="147733"/>
                    </a:lnTo>
                    <a:lnTo>
                      <a:pt x="673964" y="148036"/>
                    </a:lnTo>
                    <a:lnTo>
                      <a:pt x="671540" y="149248"/>
                    </a:lnTo>
                    <a:lnTo>
                      <a:pt x="668661" y="149703"/>
                    </a:lnTo>
                    <a:close/>
                    <a:moveTo>
                      <a:pt x="794272" y="180613"/>
                    </a:moveTo>
                    <a:lnTo>
                      <a:pt x="796090" y="179249"/>
                    </a:lnTo>
                    <a:lnTo>
                      <a:pt x="795939" y="178188"/>
                    </a:lnTo>
                    <a:lnTo>
                      <a:pt x="793514" y="177885"/>
                    </a:lnTo>
                    <a:lnTo>
                      <a:pt x="793060" y="180007"/>
                    </a:lnTo>
                    <a:lnTo>
                      <a:pt x="792605" y="179855"/>
                    </a:lnTo>
                    <a:lnTo>
                      <a:pt x="792302" y="180613"/>
                    </a:lnTo>
                    <a:lnTo>
                      <a:pt x="793817" y="181067"/>
                    </a:lnTo>
                    <a:lnTo>
                      <a:pt x="794272" y="180613"/>
                    </a:lnTo>
                    <a:close/>
                    <a:moveTo>
                      <a:pt x="628054" y="150612"/>
                    </a:moveTo>
                    <a:lnTo>
                      <a:pt x="630629" y="152430"/>
                    </a:lnTo>
                    <a:lnTo>
                      <a:pt x="638054" y="147127"/>
                    </a:lnTo>
                    <a:lnTo>
                      <a:pt x="638054" y="146369"/>
                    </a:lnTo>
                    <a:lnTo>
                      <a:pt x="637599" y="145005"/>
                    </a:lnTo>
                    <a:lnTo>
                      <a:pt x="634872" y="144551"/>
                    </a:lnTo>
                    <a:lnTo>
                      <a:pt x="632751" y="144854"/>
                    </a:lnTo>
                    <a:lnTo>
                      <a:pt x="628508" y="146369"/>
                    </a:lnTo>
                    <a:lnTo>
                      <a:pt x="627599" y="148187"/>
                    </a:lnTo>
                    <a:lnTo>
                      <a:pt x="627750" y="148642"/>
                    </a:lnTo>
                    <a:lnTo>
                      <a:pt x="627296" y="149703"/>
                    </a:lnTo>
                    <a:lnTo>
                      <a:pt x="628054" y="150612"/>
                    </a:lnTo>
                    <a:close/>
                    <a:moveTo>
                      <a:pt x="661388" y="144854"/>
                    </a:moveTo>
                    <a:lnTo>
                      <a:pt x="660630" y="146066"/>
                    </a:lnTo>
                    <a:lnTo>
                      <a:pt x="663964" y="147430"/>
                    </a:lnTo>
                    <a:lnTo>
                      <a:pt x="671237" y="146521"/>
                    </a:lnTo>
                    <a:lnTo>
                      <a:pt x="672904" y="145005"/>
                    </a:lnTo>
                    <a:lnTo>
                      <a:pt x="673207" y="143490"/>
                    </a:lnTo>
                    <a:lnTo>
                      <a:pt x="672449" y="141975"/>
                    </a:lnTo>
                    <a:lnTo>
                      <a:pt x="669570" y="141217"/>
                    </a:lnTo>
                    <a:lnTo>
                      <a:pt x="666843" y="141823"/>
                    </a:lnTo>
                    <a:lnTo>
                      <a:pt x="663812" y="143187"/>
                    </a:lnTo>
                    <a:lnTo>
                      <a:pt x="661388" y="144854"/>
                    </a:lnTo>
                    <a:close/>
                    <a:moveTo>
                      <a:pt x="613659" y="161067"/>
                    </a:moveTo>
                    <a:lnTo>
                      <a:pt x="610023" y="166673"/>
                    </a:lnTo>
                    <a:lnTo>
                      <a:pt x="610023" y="172885"/>
                    </a:lnTo>
                    <a:lnTo>
                      <a:pt x="606689" y="176067"/>
                    </a:lnTo>
                    <a:lnTo>
                      <a:pt x="602901" y="182886"/>
                    </a:lnTo>
                    <a:lnTo>
                      <a:pt x="605780" y="182431"/>
                    </a:lnTo>
                    <a:lnTo>
                      <a:pt x="611083" y="180007"/>
                    </a:lnTo>
                    <a:lnTo>
                      <a:pt x="615780" y="176522"/>
                    </a:lnTo>
                    <a:lnTo>
                      <a:pt x="620023" y="171370"/>
                    </a:lnTo>
                    <a:lnTo>
                      <a:pt x="620932" y="171370"/>
                    </a:lnTo>
                    <a:lnTo>
                      <a:pt x="624114" y="161673"/>
                    </a:lnTo>
                    <a:lnTo>
                      <a:pt x="621538" y="158339"/>
                    </a:lnTo>
                    <a:lnTo>
                      <a:pt x="616841" y="158945"/>
                    </a:lnTo>
                    <a:lnTo>
                      <a:pt x="613659" y="161067"/>
                    </a:lnTo>
                    <a:close/>
                    <a:moveTo>
                      <a:pt x="956702" y="510170"/>
                    </a:moveTo>
                    <a:lnTo>
                      <a:pt x="956248" y="510928"/>
                    </a:lnTo>
                    <a:lnTo>
                      <a:pt x="957005" y="511989"/>
                    </a:lnTo>
                    <a:lnTo>
                      <a:pt x="957460" y="513049"/>
                    </a:lnTo>
                    <a:lnTo>
                      <a:pt x="958520" y="513352"/>
                    </a:lnTo>
                    <a:lnTo>
                      <a:pt x="959429" y="511685"/>
                    </a:lnTo>
                    <a:lnTo>
                      <a:pt x="959278" y="509716"/>
                    </a:lnTo>
                    <a:lnTo>
                      <a:pt x="957308" y="509716"/>
                    </a:lnTo>
                    <a:lnTo>
                      <a:pt x="956702" y="510170"/>
                    </a:lnTo>
                    <a:close/>
                    <a:moveTo>
                      <a:pt x="1071403" y="344710"/>
                    </a:moveTo>
                    <a:lnTo>
                      <a:pt x="1071706" y="341831"/>
                    </a:lnTo>
                    <a:lnTo>
                      <a:pt x="1070949" y="334558"/>
                    </a:lnTo>
                    <a:lnTo>
                      <a:pt x="1069737" y="333952"/>
                    </a:lnTo>
                    <a:lnTo>
                      <a:pt x="1069585" y="331376"/>
                    </a:lnTo>
                    <a:lnTo>
                      <a:pt x="1068221" y="328042"/>
                    </a:lnTo>
                    <a:lnTo>
                      <a:pt x="1066555" y="317436"/>
                    </a:lnTo>
                    <a:lnTo>
                      <a:pt x="1063676" y="311678"/>
                    </a:lnTo>
                    <a:lnTo>
                      <a:pt x="1062464" y="304405"/>
                    </a:lnTo>
                    <a:lnTo>
                      <a:pt x="1059888" y="294859"/>
                    </a:lnTo>
                    <a:lnTo>
                      <a:pt x="1055645" y="286223"/>
                    </a:lnTo>
                    <a:lnTo>
                      <a:pt x="1053221" y="283950"/>
                    </a:lnTo>
                    <a:lnTo>
                      <a:pt x="1051403" y="282889"/>
                    </a:lnTo>
                    <a:lnTo>
                      <a:pt x="1039584" y="280919"/>
                    </a:lnTo>
                    <a:lnTo>
                      <a:pt x="1034584" y="281980"/>
                    </a:lnTo>
                    <a:lnTo>
                      <a:pt x="1028371" y="281677"/>
                    </a:lnTo>
                    <a:lnTo>
                      <a:pt x="1022765" y="281980"/>
                    </a:lnTo>
                    <a:lnTo>
                      <a:pt x="1018523" y="280768"/>
                    </a:lnTo>
                    <a:lnTo>
                      <a:pt x="1015341" y="278495"/>
                    </a:lnTo>
                    <a:lnTo>
                      <a:pt x="1012765" y="277737"/>
                    </a:lnTo>
                    <a:lnTo>
                      <a:pt x="1006704" y="277131"/>
                    </a:lnTo>
                    <a:lnTo>
                      <a:pt x="1003219" y="271677"/>
                    </a:lnTo>
                    <a:lnTo>
                      <a:pt x="994279" y="268343"/>
                    </a:lnTo>
                    <a:lnTo>
                      <a:pt x="989582" y="263192"/>
                    </a:lnTo>
                    <a:lnTo>
                      <a:pt x="982612" y="258040"/>
                    </a:lnTo>
                    <a:lnTo>
                      <a:pt x="976551" y="250767"/>
                    </a:lnTo>
                    <a:lnTo>
                      <a:pt x="974127" y="248797"/>
                    </a:lnTo>
                    <a:lnTo>
                      <a:pt x="970945" y="244403"/>
                    </a:lnTo>
                    <a:lnTo>
                      <a:pt x="965187" y="242736"/>
                    </a:lnTo>
                    <a:lnTo>
                      <a:pt x="959429" y="238645"/>
                    </a:lnTo>
                    <a:lnTo>
                      <a:pt x="956248" y="235615"/>
                    </a:lnTo>
                    <a:lnTo>
                      <a:pt x="947005" y="230312"/>
                    </a:lnTo>
                    <a:lnTo>
                      <a:pt x="942611" y="228342"/>
                    </a:lnTo>
                    <a:lnTo>
                      <a:pt x="939883" y="226524"/>
                    </a:lnTo>
                    <a:lnTo>
                      <a:pt x="935489" y="224554"/>
                    </a:lnTo>
                    <a:lnTo>
                      <a:pt x="930186" y="221220"/>
                    </a:lnTo>
                    <a:lnTo>
                      <a:pt x="922761" y="219857"/>
                    </a:lnTo>
                    <a:lnTo>
                      <a:pt x="916246" y="219402"/>
                    </a:lnTo>
                    <a:lnTo>
                      <a:pt x="905337" y="221372"/>
                    </a:lnTo>
                    <a:lnTo>
                      <a:pt x="896548" y="221826"/>
                    </a:lnTo>
                    <a:lnTo>
                      <a:pt x="893215" y="223190"/>
                    </a:lnTo>
                    <a:lnTo>
                      <a:pt x="888821" y="222584"/>
                    </a:lnTo>
                    <a:lnTo>
                      <a:pt x="884427" y="221523"/>
                    </a:lnTo>
                    <a:lnTo>
                      <a:pt x="882154" y="219554"/>
                    </a:lnTo>
                    <a:lnTo>
                      <a:pt x="877911" y="217887"/>
                    </a:lnTo>
                    <a:lnTo>
                      <a:pt x="874578" y="219554"/>
                    </a:lnTo>
                    <a:lnTo>
                      <a:pt x="867759" y="219099"/>
                    </a:lnTo>
                    <a:lnTo>
                      <a:pt x="858365" y="215462"/>
                    </a:lnTo>
                    <a:lnTo>
                      <a:pt x="856092" y="213493"/>
                    </a:lnTo>
                    <a:lnTo>
                      <a:pt x="851850" y="211826"/>
                    </a:lnTo>
                    <a:lnTo>
                      <a:pt x="848971" y="210008"/>
                    </a:lnTo>
                    <a:lnTo>
                      <a:pt x="840940" y="207886"/>
                    </a:lnTo>
                    <a:lnTo>
                      <a:pt x="836849" y="207584"/>
                    </a:lnTo>
                    <a:lnTo>
                      <a:pt x="835334" y="208644"/>
                    </a:lnTo>
                    <a:lnTo>
                      <a:pt x="834728" y="211068"/>
                    </a:lnTo>
                    <a:lnTo>
                      <a:pt x="827303" y="211523"/>
                    </a:lnTo>
                    <a:lnTo>
                      <a:pt x="823515" y="213644"/>
                    </a:lnTo>
                    <a:lnTo>
                      <a:pt x="821697" y="213341"/>
                    </a:lnTo>
                    <a:lnTo>
                      <a:pt x="819424" y="215008"/>
                    </a:lnTo>
                    <a:lnTo>
                      <a:pt x="814576" y="219554"/>
                    </a:lnTo>
                    <a:lnTo>
                      <a:pt x="813667" y="218038"/>
                    </a:lnTo>
                    <a:lnTo>
                      <a:pt x="814576" y="216523"/>
                    </a:lnTo>
                    <a:lnTo>
                      <a:pt x="816697" y="213796"/>
                    </a:lnTo>
                    <a:lnTo>
                      <a:pt x="817000" y="212735"/>
                    </a:lnTo>
                    <a:lnTo>
                      <a:pt x="816848" y="210917"/>
                    </a:lnTo>
                    <a:lnTo>
                      <a:pt x="814879" y="210311"/>
                    </a:lnTo>
                    <a:lnTo>
                      <a:pt x="813515" y="210311"/>
                    </a:lnTo>
                    <a:lnTo>
                      <a:pt x="811394" y="211978"/>
                    </a:lnTo>
                    <a:lnTo>
                      <a:pt x="809424" y="217432"/>
                    </a:lnTo>
                    <a:lnTo>
                      <a:pt x="807909" y="223038"/>
                    </a:lnTo>
                    <a:lnTo>
                      <a:pt x="802908" y="228342"/>
                    </a:lnTo>
                    <a:lnTo>
                      <a:pt x="800181" y="230160"/>
                    </a:lnTo>
                    <a:lnTo>
                      <a:pt x="800181" y="228493"/>
                    </a:lnTo>
                    <a:lnTo>
                      <a:pt x="802454" y="218190"/>
                    </a:lnTo>
                    <a:lnTo>
                      <a:pt x="803212" y="215917"/>
                    </a:lnTo>
                    <a:lnTo>
                      <a:pt x="803818" y="213038"/>
                    </a:lnTo>
                    <a:lnTo>
                      <a:pt x="804575" y="211674"/>
                    </a:lnTo>
                    <a:lnTo>
                      <a:pt x="805636" y="210462"/>
                    </a:lnTo>
                    <a:lnTo>
                      <a:pt x="805636" y="208341"/>
                    </a:lnTo>
                    <a:lnTo>
                      <a:pt x="809424" y="207280"/>
                    </a:lnTo>
                    <a:lnTo>
                      <a:pt x="809121" y="204705"/>
                    </a:lnTo>
                    <a:lnTo>
                      <a:pt x="807909" y="201977"/>
                    </a:lnTo>
                    <a:lnTo>
                      <a:pt x="805636" y="202583"/>
                    </a:lnTo>
                    <a:lnTo>
                      <a:pt x="803969" y="203644"/>
                    </a:lnTo>
                    <a:lnTo>
                      <a:pt x="801696" y="207584"/>
                    </a:lnTo>
                    <a:lnTo>
                      <a:pt x="800636" y="206220"/>
                    </a:lnTo>
                    <a:lnTo>
                      <a:pt x="799120" y="204705"/>
                    </a:lnTo>
                    <a:lnTo>
                      <a:pt x="800484" y="204098"/>
                    </a:lnTo>
                    <a:lnTo>
                      <a:pt x="801848" y="203796"/>
                    </a:lnTo>
                    <a:lnTo>
                      <a:pt x="802908" y="201674"/>
                    </a:lnTo>
                    <a:lnTo>
                      <a:pt x="803969" y="200613"/>
                    </a:lnTo>
                    <a:lnTo>
                      <a:pt x="805181" y="198947"/>
                    </a:lnTo>
                    <a:lnTo>
                      <a:pt x="804878" y="196068"/>
                    </a:lnTo>
                    <a:lnTo>
                      <a:pt x="803666" y="193189"/>
                    </a:lnTo>
                    <a:lnTo>
                      <a:pt x="801999" y="190613"/>
                    </a:lnTo>
                    <a:lnTo>
                      <a:pt x="800030" y="191825"/>
                    </a:lnTo>
                    <a:lnTo>
                      <a:pt x="798514" y="191977"/>
                    </a:lnTo>
                    <a:lnTo>
                      <a:pt x="800030" y="190159"/>
                    </a:lnTo>
                    <a:lnTo>
                      <a:pt x="798211" y="189855"/>
                    </a:lnTo>
                    <a:lnTo>
                      <a:pt x="797151" y="188340"/>
                    </a:lnTo>
                    <a:lnTo>
                      <a:pt x="794575" y="186067"/>
                    </a:lnTo>
                    <a:lnTo>
                      <a:pt x="791696" y="183946"/>
                    </a:lnTo>
                    <a:lnTo>
                      <a:pt x="790332" y="182734"/>
                    </a:lnTo>
                    <a:lnTo>
                      <a:pt x="787453" y="183795"/>
                    </a:lnTo>
                    <a:lnTo>
                      <a:pt x="785938" y="187128"/>
                    </a:lnTo>
                    <a:lnTo>
                      <a:pt x="784726" y="188946"/>
                    </a:lnTo>
                    <a:lnTo>
                      <a:pt x="783514" y="189553"/>
                    </a:lnTo>
                    <a:lnTo>
                      <a:pt x="782908" y="185461"/>
                    </a:lnTo>
                    <a:lnTo>
                      <a:pt x="780029" y="179704"/>
                    </a:lnTo>
                    <a:lnTo>
                      <a:pt x="777301" y="178946"/>
                    </a:lnTo>
                    <a:lnTo>
                      <a:pt x="774877" y="179401"/>
                    </a:lnTo>
                    <a:lnTo>
                      <a:pt x="771241" y="176825"/>
                    </a:lnTo>
                    <a:lnTo>
                      <a:pt x="765937" y="175158"/>
                    </a:lnTo>
                    <a:lnTo>
                      <a:pt x="763968" y="172885"/>
                    </a:lnTo>
                    <a:lnTo>
                      <a:pt x="761392" y="173340"/>
                    </a:lnTo>
                    <a:lnTo>
                      <a:pt x="759422" y="172885"/>
                    </a:lnTo>
                    <a:lnTo>
                      <a:pt x="759271" y="171067"/>
                    </a:lnTo>
                    <a:lnTo>
                      <a:pt x="756543" y="171218"/>
                    </a:lnTo>
                    <a:lnTo>
                      <a:pt x="753816" y="170915"/>
                    </a:lnTo>
                    <a:lnTo>
                      <a:pt x="751240" y="170006"/>
                    </a:lnTo>
                    <a:lnTo>
                      <a:pt x="748513" y="169249"/>
                    </a:lnTo>
                    <a:lnTo>
                      <a:pt x="747755" y="167734"/>
                    </a:lnTo>
                    <a:lnTo>
                      <a:pt x="744270" y="165612"/>
                    </a:lnTo>
                    <a:lnTo>
                      <a:pt x="743209" y="164097"/>
                    </a:lnTo>
                    <a:lnTo>
                      <a:pt x="740937" y="164097"/>
                    </a:lnTo>
                    <a:lnTo>
                      <a:pt x="739573" y="163036"/>
                    </a:lnTo>
                    <a:lnTo>
                      <a:pt x="737452" y="163188"/>
                    </a:lnTo>
                    <a:lnTo>
                      <a:pt x="734724" y="163036"/>
                    </a:lnTo>
                    <a:lnTo>
                      <a:pt x="732754" y="161218"/>
                    </a:lnTo>
                    <a:lnTo>
                      <a:pt x="730936" y="160309"/>
                    </a:lnTo>
                    <a:lnTo>
                      <a:pt x="727451" y="159854"/>
                    </a:lnTo>
                    <a:lnTo>
                      <a:pt x="726391" y="160461"/>
                    </a:lnTo>
                    <a:lnTo>
                      <a:pt x="725784" y="161370"/>
                    </a:lnTo>
                    <a:lnTo>
                      <a:pt x="726542" y="162430"/>
                    </a:lnTo>
                    <a:lnTo>
                      <a:pt x="726997" y="163642"/>
                    </a:lnTo>
                    <a:lnTo>
                      <a:pt x="725633" y="163188"/>
                    </a:lnTo>
                    <a:lnTo>
                      <a:pt x="723209" y="161067"/>
                    </a:lnTo>
                    <a:lnTo>
                      <a:pt x="720633" y="162430"/>
                    </a:lnTo>
                    <a:lnTo>
                      <a:pt x="719572" y="162582"/>
                    </a:lnTo>
                    <a:lnTo>
                      <a:pt x="718360" y="162127"/>
                    </a:lnTo>
                    <a:lnTo>
                      <a:pt x="717148" y="161218"/>
                    </a:lnTo>
                    <a:lnTo>
                      <a:pt x="716239" y="160915"/>
                    </a:lnTo>
                    <a:lnTo>
                      <a:pt x="714117" y="161673"/>
                    </a:lnTo>
                    <a:lnTo>
                      <a:pt x="711996" y="163794"/>
                    </a:lnTo>
                    <a:lnTo>
                      <a:pt x="710026" y="161976"/>
                    </a:lnTo>
                    <a:lnTo>
                      <a:pt x="708966" y="162279"/>
                    </a:lnTo>
                    <a:lnTo>
                      <a:pt x="707753" y="162885"/>
                    </a:lnTo>
                    <a:lnTo>
                      <a:pt x="707451" y="164400"/>
                    </a:lnTo>
                    <a:lnTo>
                      <a:pt x="705481" y="165309"/>
                    </a:lnTo>
                    <a:lnTo>
                      <a:pt x="703663" y="167127"/>
                    </a:lnTo>
                    <a:lnTo>
                      <a:pt x="702299" y="168946"/>
                    </a:lnTo>
                    <a:lnTo>
                      <a:pt x="702602" y="171067"/>
                    </a:lnTo>
                    <a:lnTo>
                      <a:pt x="698662" y="173946"/>
                    </a:lnTo>
                    <a:lnTo>
                      <a:pt x="699723" y="176219"/>
                    </a:lnTo>
                    <a:lnTo>
                      <a:pt x="697905" y="178794"/>
                    </a:lnTo>
                    <a:lnTo>
                      <a:pt x="698208" y="180764"/>
                    </a:lnTo>
                    <a:lnTo>
                      <a:pt x="698662" y="181976"/>
                    </a:lnTo>
                    <a:lnTo>
                      <a:pt x="701390" y="183189"/>
                    </a:lnTo>
                    <a:lnTo>
                      <a:pt x="698814" y="184249"/>
                    </a:lnTo>
                    <a:lnTo>
                      <a:pt x="698359" y="186825"/>
                    </a:lnTo>
                    <a:lnTo>
                      <a:pt x="696541" y="185613"/>
                    </a:lnTo>
                    <a:lnTo>
                      <a:pt x="694571" y="183492"/>
                    </a:lnTo>
                    <a:lnTo>
                      <a:pt x="691541" y="183492"/>
                    </a:lnTo>
                    <a:lnTo>
                      <a:pt x="683813" y="192734"/>
                    </a:lnTo>
                    <a:lnTo>
                      <a:pt x="679268" y="194098"/>
                    </a:lnTo>
                    <a:lnTo>
                      <a:pt x="677752" y="195159"/>
                    </a:lnTo>
                    <a:lnTo>
                      <a:pt x="672298" y="206826"/>
                    </a:lnTo>
                    <a:lnTo>
                      <a:pt x="670934" y="211220"/>
                    </a:lnTo>
                    <a:lnTo>
                      <a:pt x="669116" y="213796"/>
                    </a:lnTo>
                    <a:lnTo>
                      <a:pt x="667752" y="214705"/>
                    </a:lnTo>
                    <a:lnTo>
                      <a:pt x="666085" y="215462"/>
                    </a:lnTo>
                    <a:lnTo>
                      <a:pt x="667146" y="213493"/>
                    </a:lnTo>
                    <a:lnTo>
                      <a:pt x="668358" y="211826"/>
                    </a:lnTo>
                    <a:lnTo>
                      <a:pt x="669570" y="205311"/>
                    </a:lnTo>
                    <a:lnTo>
                      <a:pt x="670782" y="202886"/>
                    </a:lnTo>
                    <a:lnTo>
                      <a:pt x="672449" y="196977"/>
                    </a:lnTo>
                    <a:lnTo>
                      <a:pt x="674722" y="190462"/>
                    </a:lnTo>
                    <a:lnTo>
                      <a:pt x="667297" y="194098"/>
                    </a:lnTo>
                    <a:lnTo>
                      <a:pt x="663661" y="195765"/>
                    </a:lnTo>
                    <a:lnTo>
                      <a:pt x="658661" y="194250"/>
                    </a:lnTo>
                    <a:lnTo>
                      <a:pt x="656085" y="193189"/>
                    </a:lnTo>
                    <a:lnTo>
                      <a:pt x="652903" y="193947"/>
                    </a:lnTo>
                    <a:lnTo>
                      <a:pt x="651388" y="195007"/>
                    </a:lnTo>
                    <a:lnTo>
                      <a:pt x="648964" y="195765"/>
                    </a:lnTo>
                    <a:lnTo>
                      <a:pt x="645024" y="198341"/>
                    </a:lnTo>
                    <a:lnTo>
                      <a:pt x="640024" y="193795"/>
                    </a:lnTo>
                    <a:lnTo>
                      <a:pt x="638509" y="192886"/>
                    </a:lnTo>
                    <a:lnTo>
                      <a:pt x="637145" y="191371"/>
                    </a:lnTo>
                    <a:lnTo>
                      <a:pt x="637599" y="189553"/>
                    </a:lnTo>
                    <a:lnTo>
                      <a:pt x="637448" y="188189"/>
                    </a:lnTo>
                    <a:lnTo>
                      <a:pt x="634569" y="183946"/>
                    </a:lnTo>
                    <a:lnTo>
                      <a:pt x="633660" y="180916"/>
                    </a:lnTo>
                    <a:lnTo>
                      <a:pt x="633508" y="179098"/>
                    </a:lnTo>
                    <a:lnTo>
                      <a:pt x="633054" y="176825"/>
                    </a:lnTo>
                    <a:lnTo>
                      <a:pt x="631690" y="175158"/>
                    </a:lnTo>
                    <a:lnTo>
                      <a:pt x="631084" y="173794"/>
                    </a:lnTo>
                    <a:lnTo>
                      <a:pt x="633205" y="171673"/>
                    </a:lnTo>
                    <a:lnTo>
                      <a:pt x="633054" y="170612"/>
                    </a:lnTo>
                    <a:lnTo>
                      <a:pt x="631538" y="168946"/>
                    </a:lnTo>
                    <a:lnTo>
                      <a:pt x="628811" y="170309"/>
                    </a:lnTo>
                    <a:lnTo>
                      <a:pt x="627750" y="171522"/>
                    </a:lnTo>
                    <a:lnTo>
                      <a:pt x="623053" y="174400"/>
                    </a:lnTo>
                    <a:lnTo>
                      <a:pt x="620478" y="176825"/>
                    </a:lnTo>
                    <a:lnTo>
                      <a:pt x="614114" y="180310"/>
                    </a:lnTo>
                    <a:lnTo>
                      <a:pt x="610932" y="181370"/>
                    </a:lnTo>
                    <a:lnTo>
                      <a:pt x="602750" y="186674"/>
                    </a:lnTo>
                    <a:lnTo>
                      <a:pt x="595931" y="188189"/>
                    </a:lnTo>
                    <a:lnTo>
                      <a:pt x="592749" y="186067"/>
                    </a:lnTo>
                    <a:lnTo>
                      <a:pt x="583052" y="185916"/>
                    </a:lnTo>
                    <a:lnTo>
                      <a:pt x="586082" y="184855"/>
                    </a:lnTo>
                    <a:lnTo>
                      <a:pt x="595022" y="180764"/>
                    </a:lnTo>
                    <a:lnTo>
                      <a:pt x="600780" y="181825"/>
                    </a:lnTo>
                    <a:lnTo>
                      <a:pt x="601841" y="180916"/>
                    </a:lnTo>
                    <a:lnTo>
                      <a:pt x="603053" y="179552"/>
                    </a:lnTo>
                    <a:lnTo>
                      <a:pt x="603356" y="175764"/>
                    </a:lnTo>
                    <a:lnTo>
                      <a:pt x="606235" y="174097"/>
                    </a:lnTo>
                    <a:lnTo>
                      <a:pt x="608962" y="171370"/>
                    </a:lnTo>
                    <a:lnTo>
                      <a:pt x="608962" y="166976"/>
                    </a:lnTo>
                    <a:lnTo>
                      <a:pt x="609417" y="164400"/>
                    </a:lnTo>
                    <a:lnTo>
                      <a:pt x="613507" y="158642"/>
                    </a:lnTo>
                    <a:lnTo>
                      <a:pt x="615174" y="157582"/>
                    </a:lnTo>
                    <a:lnTo>
                      <a:pt x="617750" y="154400"/>
                    </a:lnTo>
                    <a:lnTo>
                      <a:pt x="620629" y="148642"/>
                    </a:lnTo>
                    <a:lnTo>
                      <a:pt x="621084" y="146066"/>
                    </a:lnTo>
                    <a:lnTo>
                      <a:pt x="626084" y="144551"/>
                    </a:lnTo>
                    <a:lnTo>
                      <a:pt x="629720" y="140157"/>
                    </a:lnTo>
                    <a:lnTo>
                      <a:pt x="631235" y="139248"/>
                    </a:lnTo>
                    <a:lnTo>
                      <a:pt x="633811" y="138945"/>
                    </a:lnTo>
                    <a:lnTo>
                      <a:pt x="635478" y="137581"/>
                    </a:lnTo>
                    <a:lnTo>
                      <a:pt x="640175" y="132126"/>
                    </a:lnTo>
                    <a:lnTo>
                      <a:pt x="643357" y="126217"/>
                    </a:lnTo>
                    <a:lnTo>
                      <a:pt x="646691" y="123186"/>
                    </a:lnTo>
                    <a:lnTo>
                      <a:pt x="648054" y="120914"/>
                    </a:lnTo>
                    <a:lnTo>
                      <a:pt x="654115" y="116065"/>
                    </a:lnTo>
                    <a:lnTo>
                      <a:pt x="654721" y="115004"/>
                    </a:lnTo>
                    <a:lnTo>
                      <a:pt x="657752" y="113186"/>
                    </a:lnTo>
                    <a:lnTo>
                      <a:pt x="658812" y="112125"/>
                    </a:lnTo>
                    <a:lnTo>
                      <a:pt x="658661" y="109247"/>
                    </a:lnTo>
                    <a:lnTo>
                      <a:pt x="659267" y="105155"/>
                    </a:lnTo>
                    <a:lnTo>
                      <a:pt x="657146" y="98640"/>
                    </a:lnTo>
                    <a:lnTo>
                      <a:pt x="654418" y="96670"/>
                    </a:lnTo>
                    <a:lnTo>
                      <a:pt x="650782" y="95155"/>
                    </a:lnTo>
                    <a:lnTo>
                      <a:pt x="647600" y="94852"/>
                    </a:lnTo>
                    <a:lnTo>
                      <a:pt x="643357" y="93943"/>
                    </a:lnTo>
                    <a:lnTo>
                      <a:pt x="641236" y="91216"/>
                    </a:lnTo>
                    <a:lnTo>
                      <a:pt x="640175" y="89246"/>
                    </a:lnTo>
                    <a:lnTo>
                      <a:pt x="639266" y="86367"/>
                    </a:lnTo>
                    <a:lnTo>
                      <a:pt x="637902" y="85609"/>
                    </a:lnTo>
                    <a:lnTo>
                      <a:pt x="636387" y="85458"/>
                    </a:lnTo>
                    <a:lnTo>
                      <a:pt x="637448" y="84246"/>
                    </a:lnTo>
                    <a:lnTo>
                      <a:pt x="637448" y="83336"/>
                    </a:lnTo>
                    <a:lnTo>
                      <a:pt x="635781" y="78791"/>
                    </a:lnTo>
                    <a:lnTo>
                      <a:pt x="634266" y="76063"/>
                    </a:lnTo>
                    <a:lnTo>
                      <a:pt x="633508" y="73488"/>
                    </a:lnTo>
                    <a:lnTo>
                      <a:pt x="633205" y="71366"/>
                    </a:lnTo>
                    <a:lnTo>
                      <a:pt x="628660" y="59851"/>
                    </a:lnTo>
                    <a:lnTo>
                      <a:pt x="626993" y="54244"/>
                    </a:lnTo>
                    <a:lnTo>
                      <a:pt x="626387" y="43638"/>
                    </a:lnTo>
                    <a:lnTo>
                      <a:pt x="622447" y="32123"/>
                    </a:lnTo>
                    <a:lnTo>
                      <a:pt x="619568" y="28486"/>
                    </a:lnTo>
                    <a:lnTo>
                      <a:pt x="615932" y="26062"/>
                    </a:lnTo>
                    <a:lnTo>
                      <a:pt x="613659" y="26213"/>
                    </a:lnTo>
                    <a:lnTo>
                      <a:pt x="613356" y="28335"/>
                    </a:lnTo>
                    <a:lnTo>
                      <a:pt x="610780" y="33032"/>
                    </a:lnTo>
                    <a:lnTo>
                      <a:pt x="609871" y="33638"/>
                    </a:lnTo>
                    <a:lnTo>
                      <a:pt x="607598" y="34850"/>
                    </a:lnTo>
                    <a:lnTo>
                      <a:pt x="606538" y="36517"/>
                    </a:lnTo>
                    <a:lnTo>
                      <a:pt x="605931" y="38183"/>
                    </a:lnTo>
                    <a:lnTo>
                      <a:pt x="604568" y="39244"/>
                    </a:lnTo>
                    <a:lnTo>
                      <a:pt x="603204" y="40608"/>
                    </a:lnTo>
                    <a:lnTo>
                      <a:pt x="602750" y="41820"/>
                    </a:lnTo>
                    <a:lnTo>
                      <a:pt x="601537" y="42729"/>
                    </a:lnTo>
                    <a:lnTo>
                      <a:pt x="601234" y="44244"/>
                    </a:lnTo>
                    <a:lnTo>
                      <a:pt x="598053" y="49547"/>
                    </a:lnTo>
                    <a:lnTo>
                      <a:pt x="596840" y="51972"/>
                    </a:lnTo>
                    <a:lnTo>
                      <a:pt x="595022" y="54548"/>
                    </a:lnTo>
                    <a:lnTo>
                      <a:pt x="593810" y="55457"/>
                    </a:lnTo>
                    <a:lnTo>
                      <a:pt x="592295" y="56972"/>
                    </a:lnTo>
                    <a:lnTo>
                      <a:pt x="591537" y="58639"/>
                    </a:lnTo>
                    <a:lnTo>
                      <a:pt x="591537" y="60457"/>
                    </a:lnTo>
                    <a:lnTo>
                      <a:pt x="590476" y="62578"/>
                    </a:lnTo>
                    <a:lnTo>
                      <a:pt x="589870" y="64396"/>
                    </a:lnTo>
                    <a:lnTo>
                      <a:pt x="588810" y="65457"/>
                    </a:lnTo>
                    <a:lnTo>
                      <a:pt x="586082" y="71366"/>
                    </a:lnTo>
                    <a:lnTo>
                      <a:pt x="585931" y="73336"/>
                    </a:lnTo>
                    <a:lnTo>
                      <a:pt x="585325" y="74548"/>
                    </a:lnTo>
                    <a:lnTo>
                      <a:pt x="583355" y="77427"/>
                    </a:lnTo>
                    <a:lnTo>
                      <a:pt x="581991" y="79094"/>
                    </a:lnTo>
                    <a:lnTo>
                      <a:pt x="579718" y="80306"/>
                    </a:lnTo>
                    <a:lnTo>
                      <a:pt x="577294" y="81670"/>
                    </a:lnTo>
                    <a:lnTo>
                      <a:pt x="576385" y="83185"/>
                    </a:lnTo>
                    <a:lnTo>
                      <a:pt x="574718" y="83943"/>
                    </a:lnTo>
                    <a:lnTo>
                      <a:pt x="573506" y="83943"/>
                    </a:lnTo>
                    <a:lnTo>
                      <a:pt x="571536" y="83336"/>
                    </a:lnTo>
                    <a:lnTo>
                      <a:pt x="568809" y="83034"/>
                    </a:lnTo>
                    <a:lnTo>
                      <a:pt x="567445" y="83185"/>
                    </a:lnTo>
                    <a:lnTo>
                      <a:pt x="566839" y="82427"/>
                    </a:lnTo>
                    <a:lnTo>
                      <a:pt x="565930" y="80761"/>
                    </a:lnTo>
                    <a:lnTo>
                      <a:pt x="564566" y="79548"/>
                    </a:lnTo>
                    <a:lnTo>
                      <a:pt x="563657" y="80003"/>
                    </a:lnTo>
                    <a:lnTo>
                      <a:pt x="561839" y="81215"/>
                    </a:lnTo>
                    <a:lnTo>
                      <a:pt x="559718" y="81973"/>
                    </a:lnTo>
                    <a:lnTo>
                      <a:pt x="558202" y="81670"/>
                    </a:lnTo>
                    <a:lnTo>
                      <a:pt x="554869" y="80761"/>
                    </a:lnTo>
                    <a:lnTo>
                      <a:pt x="553505" y="80306"/>
                    </a:lnTo>
                    <a:lnTo>
                      <a:pt x="553051" y="79548"/>
                    </a:lnTo>
                    <a:lnTo>
                      <a:pt x="552596" y="78942"/>
                    </a:lnTo>
                    <a:lnTo>
                      <a:pt x="551839" y="79245"/>
                    </a:lnTo>
                    <a:lnTo>
                      <a:pt x="550930" y="80155"/>
                    </a:lnTo>
                    <a:lnTo>
                      <a:pt x="549566" y="81064"/>
                    </a:lnTo>
                    <a:lnTo>
                      <a:pt x="547596" y="82276"/>
                    </a:lnTo>
                    <a:lnTo>
                      <a:pt x="543656" y="84549"/>
                    </a:lnTo>
                    <a:lnTo>
                      <a:pt x="542596" y="85306"/>
                    </a:lnTo>
                    <a:lnTo>
                      <a:pt x="541535" y="84852"/>
                    </a:lnTo>
                    <a:lnTo>
                      <a:pt x="539868" y="84397"/>
                    </a:lnTo>
                    <a:lnTo>
                      <a:pt x="538050" y="84397"/>
                    </a:lnTo>
                    <a:lnTo>
                      <a:pt x="534262" y="82882"/>
                    </a:lnTo>
                    <a:lnTo>
                      <a:pt x="531989" y="81821"/>
                    </a:lnTo>
                    <a:lnTo>
                      <a:pt x="531080" y="80458"/>
                    </a:lnTo>
                    <a:lnTo>
                      <a:pt x="530020" y="79851"/>
                    </a:lnTo>
                    <a:lnTo>
                      <a:pt x="529414" y="79548"/>
                    </a:lnTo>
                    <a:lnTo>
                      <a:pt x="528201" y="79548"/>
                    </a:lnTo>
                    <a:lnTo>
                      <a:pt x="527292" y="78639"/>
                    </a:lnTo>
                    <a:lnTo>
                      <a:pt x="527141" y="77579"/>
                    </a:lnTo>
                    <a:lnTo>
                      <a:pt x="526686" y="76367"/>
                    </a:lnTo>
                    <a:lnTo>
                      <a:pt x="525474" y="76063"/>
                    </a:lnTo>
                    <a:lnTo>
                      <a:pt x="523201" y="76518"/>
                    </a:lnTo>
                    <a:lnTo>
                      <a:pt x="522595" y="76215"/>
                    </a:lnTo>
                    <a:lnTo>
                      <a:pt x="521231" y="75003"/>
                    </a:lnTo>
                    <a:lnTo>
                      <a:pt x="520019" y="73639"/>
                    </a:lnTo>
                    <a:lnTo>
                      <a:pt x="519716" y="72275"/>
                    </a:lnTo>
                    <a:lnTo>
                      <a:pt x="518959" y="72427"/>
                    </a:lnTo>
                    <a:lnTo>
                      <a:pt x="517140" y="73639"/>
                    </a:lnTo>
                    <a:lnTo>
                      <a:pt x="515928" y="73942"/>
                    </a:lnTo>
                    <a:lnTo>
                      <a:pt x="515019" y="73639"/>
                    </a:lnTo>
                    <a:lnTo>
                      <a:pt x="513958" y="73791"/>
                    </a:lnTo>
                    <a:lnTo>
                      <a:pt x="511231" y="75154"/>
                    </a:lnTo>
                    <a:lnTo>
                      <a:pt x="509716" y="75457"/>
                    </a:lnTo>
                    <a:lnTo>
                      <a:pt x="508655" y="76821"/>
                    </a:lnTo>
                    <a:lnTo>
                      <a:pt x="501231" y="77427"/>
                    </a:lnTo>
                    <a:lnTo>
                      <a:pt x="499261" y="77730"/>
                    </a:lnTo>
                    <a:lnTo>
                      <a:pt x="494867" y="75457"/>
                    </a:lnTo>
                    <a:lnTo>
                      <a:pt x="493655" y="74700"/>
                    </a:lnTo>
                    <a:lnTo>
                      <a:pt x="493048" y="74548"/>
                    </a:lnTo>
                    <a:lnTo>
                      <a:pt x="492594" y="74700"/>
                    </a:lnTo>
                    <a:lnTo>
                      <a:pt x="492139" y="75154"/>
                    </a:lnTo>
                    <a:lnTo>
                      <a:pt x="491382" y="78033"/>
                    </a:lnTo>
                    <a:lnTo>
                      <a:pt x="490776" y="78791"/>
                    </a:lnTo>
                    <a:lnTo>
                      <a:pt x="489564" y="79397"/>
                    </a:lnTo>
                    <a:lnTo>
                      <a:pt x="488351" y="80458"/>
                    </a:lnTo>
                    <a:lnTo>
                      <a:pt x="488200" y="81518"/>
                    </a:lnTo>
                    <a:lnTo>
                      <a:pt x="490018" y="82124"/>
                    </a:lnTo>
                    <a:lnTo>
                      <a:pt x="491533" y="84246"/>
                    </a:lnTo>
                    <a:lnTo>
                      <a:pt x="493048" y="85912"/>
                    </a:lnTo>
                    <a:lnTo>
                      <a:pt x="494261" y="87427"/>
                    </a:lnTo>
                    <a:lnTo>
                      <a:pt x="494109" y="89094"/>
                    </a:lnTo>
                    <a:lnTo>
                      <a:pt x="493958" y="91519"/>
                    </a:lnTo>
                    <a:lnTo>
                      <a:pt x="493048" y="92276"/>
                    </a:lnTo>
                    <a:lnTo>
                      <a:pt x="491533" y="92731"/>
                    </a:lnTo>
                    <a:lnTo>
                      <a:pt x="485927" y="91519"/>
                    </a:lnTo>
                    <a:lnTo>
                      <a:pt x="481533" y="90458"/>
                    </a:lnTo>
                    <a:lnTo>
                      <a:pt x="479715" y="90155"/>
                    </a:lnTo>
                    <a:lnTo>
                      <a:pt x="478957" y="89852"/>
                    </a:lnTo>
                    <a:lnTo>
                      <a:pt x="477745" y="90306"/>
                    </a:lnTo>
                    <a:lnTo>
                      <a:pt x="476684" y="90912"/>
                    </a:lnTo>
                    <a:lnTo>
                      <a:pt x="475169" y="90458"/>
                    </a:lnTo>
                    <a:lnTo>
                      <a:pt x="473199" y="90610"/>
                    </a:lnTo>
                    <a:lnTo>
                      <a:pt x="471078" y="91216"/>
                    </a:lnTo>
                    <a:lnTo>
                      <a:pt x="469108" y="91519"/>
                    </a:lnTo>
                    <a:lnTo>
                      <a:pt x="465472" y="90610"/>
                    </a:lnTo>
                    <a:lnTo>
                      <a:pt x="464411" y="90458"/>
                    </a:lnTo>
                    <a:lnTo>
                      <a:pt x="463653" y="90003"/>
                    </a:lnTo>
                    <a:lnTo>
                      <a:pt x="462138" y="88185"/>
                    </a:lnTo>
                    <a:lnTo>
                      <a:pt x="461381" y="88034"/>
                    </a:lnTo>
                    <a:lnTo>
                      <a:pt x="459411" y="88943"/>
                    </a:lnTo>
                    <a:lnTo>
                      <a:pt x="456986" y="89549"/>
                    </a:lnTo>
                    <a:lnTo>
                      <a:pt x="455775" y="89397"/>
                    </a:lnTo>
                    <a:lnTo>
                      <a:pt x="454411" y="90003"/>
                    </a:lnTo>
                    <a:lnTo>
                      <a:pt x="453198" y="90912"/>
                    </a:lnTo>
                    <a:lnTo>
                      <a:pt x="450774" y="94549"/>
                    </a:lnTo>
                    <a:lnTo>
                      <a:pt x="449562" y="95913"/>
                    </a:lnTo>
                    <a:lnTo>
                      <a:pt x="448198" y="96519"/>
                    </a:lnTo>
                    <a:lnTo>
                      <a:pt x="445471" y="96519"/>
                    </a:lnTo>
                    <a:lnTo>
                      <a:pt x="442592" y="96670"/>
                    </a:lnTo>
                    <a:lnTo>
                      <a:pt x="440471" y="97579"/>
                    </a:lnTo>
                    <a:lnTo>
                      <a:pt x="438501" y="98034"/>
                    </a:lnTo>
                    <a:lnTo>
                      <a:pt x="437440" y="98034"/>
                    </a:lnTo>
                    <a:lnTo>
                      <a:pt x="437137" y="100004"/>
                    </a:lnTo>
                    <a:lnTo>
                      <a:pt x="436683" y="100913"/>
                    </a:lnTo>
                    <a:lnTo>
                      <a:pt x="436077" y="101519"/>
                    </a:lnTo>
                    <a:lnTo>
                      <a:pt x="434561" y="101670"/>
                    </a:lnTo>
                    <a:lnTo>
                      <a:pt x="433198" y="101670"/>
                    </a:lnTo>
                    <a:lnTo>
                      <a:pt x="432289" y="100761"/>
                    </a:lnTo>
                    <a:lnTo>
                      <a:pt x="430773" y="100307"/>
                    </a:lnTo>
                    <a:lnTo>
                      <a:pt x="429410" y="100004"/>
                    </a:lnTo>
                    <a:lnTo>
                      <a:pt x="428501" y="99549"/>
                    </a:lnTo>
                    <a:lnTo>
                      <a:pt x="427743" y="99701"/>
                    </a:lnTo>
                    <a:lnTo>
                      <a:pt x="427137" y="100610"/>
                    </a:lnTo>
                    <a:lnTo>
                      <a:pt x="426682" y="101367"/>
                    </a:lnTo>
                    <a:lnTo>
                      <a:pt x="426228" y="102731"/>
                    </a:lnTo>
                    <a:lnTo>
                      <a:pt x="424107" y="103186"/>
                    </a:lnTo>
                    <a:lnTo>
                      <a:pt x="423197" y="103943"/>
                    </a:lnTo>
                    <a:lnTo>
                      <a:pt x="423652" y="106368"/>
                    </a:lnTo>
                    <a:lnTo>
                      <a:pt x="423349" y="107277"/>
                    </a:lnTo>
                    <a:lnTo>
                      <a:pt x="422894" y="108034"/>
                    </a:lnTo>
                    <a:lnTo>
                      <a:pt x="420318" y="108186"/>
                    </a:lnTo>
                    <a:lnTo>
                      <a:pt x="418197" y="108186"/>
                    </a:lnTo>
                    <a:lnTo>
                      <a:pt x="416985" y="109095"/>
                    </a:lnTo>
                    <a:lnTo>
                      <a:pt x="415470" y="110156"/>
                    </a:lnTo>
                    <a:lnTo>
                      <a:pt x="414561" y="110307"/>
                    </a:lnTo>
                    <a:lnTo>
                      <a:pt x="413500" y="110307"/>
                    </a:lnTo>
                    <a:lnTo>
                      <a:pt x="411985" y="109095"/>
                    </a:lnTo>
                    <a:lnTo>
                      <a:pt x="410621" y="107580"/>
                    </a:lnTo>
                    <a:lnTo>
                      <a:pt x="406985" y="106519"/>
                    </a:lnTo>
                    <a:lnTo>
                      <a:pt x="403348" y="105610"/>
                    </a:lnTo>
                    <a:lnTo>
                      <a:pt x="401076" y="103186"/>
                    </a:lnTo>
                    <a:lnTo>
                      <a:pt x="400469" y="101974"/>
                    </a:lnTo>
                    <a:lnTo>
                      <a:pt x="399409" y="101519"/>
                    </a:lnTo>
                    <a:lnTo>
                      <a:pt x="396681" y="98640"/>
                    </a:lnTo>
                    <a:lnTo>
                      <a:pt x="395166" y="96822"/>
                    </a:lnTo>
                    <a:lnTo>
                      <a:pt x="393499" y="96367"/>
                    </a:lnTo>
                    <a:lnTo>
                      <a:pt x="391530" y="95610"/>
                    </a:lnTo>
                    <a:lnTo>
                      <a:pt x="391681" y="94246"/>
                    </a:lnTo>
                    <a:lnTo>
                      <a:pt x="391530" y="93034"/>
                    </a:lnTo>
                    <a:lnTo>
                      <a:pt x="390772" y="92579"/>
                    </a:lnTo>
                    <a:lnTo>
                      <a:pt x="389560" y="92276"/>
                    </a:lnTo>
                    <a:lnTo>
                      <a:pt x="389105" y="91519"/>
                    </a:lnTo>
                    <a:lnTo>
                      <a:pt x="389257" y="89852"/>
                    </a:lnTo>
                    <a:lnTo>
                      <a:pt x="389408" y="85458"/>
                    </a:lnTo>
                    <a:lnTo>
                      <a:pt x="389105" y="81367"/>
                    </a:lnTo>
                    <a:lnTo>
                      <a:pt x="386529" y="79851"/>
                    </a:lnTo>
                    <a:lnTo>
                      <a:pt x="385469" y="78942"/>
                    </a:lnTo>
                    <a:lnTo>
                      <a:pt x="383499" y="72882"/>
                    </a:lnTo>
                    <a:lnTo>
                      <a:pt x="382590" y="70154"/>
                    </a:lnTo>
                    <a:lnTo>
                      <a:pt x="382590" y="68033"/>
                    </a:lnTo>
                    <a:lnTo>
                      <a:pt x="383196" y="61972"/>
                    </a:lnTo>
                    <a:lnTo>
                      <a:pt x="383954" y="59396"/>
                    </a:lnTo>
                    <a:lnTo>
                      <a:pt x="385923" y="54093"/>
                    </a:lnTo>
                    <a:lnTo>
                      <a:pt x="387135" y="52275"/>
                    </a:lnTo>
                    <a:lnTo>
                      <a:pt x="387135" y="50911"/>
                    </a:lnTo>
                    <a:lnTo>
                      <a:pt x="386984" y="49244"/>
                    </a:lnTo>
                    <a:lnTo>
                      <a:pt x="386378" y="45759"/>
                    </a:lnTo>
                    <a:lnTo>
                      <a:pt x="389711" y="43638"/>
                    </a:lnTo>
                    <a:lnTo>
                      <a:pt x="391227" y="42729"/>
                    </a:lnTo>
                    <a:lnTo>
                      <a:pt x="391530" y="41214"/>
                    </a:lnTo>
                    <a:lnTo>
                      <a:pt x="393348" y="39395"/>
                    </a:lnTo>
                    <a:lnTo>
                      <a:pt x="394105" y="37729"/>
                    </a:lnTo>
                    <a:lnTo>
                      <a:pt x="394711" y="36365"/>
                    </a:lnTo>
                    <a:lnTo>
                      <a:pt x="394560" y="35607"/>
                    </a:lnTo>
                    <a:lnTo>
                      <a:pt x="393802" y="35153"/>
                    </a:lnTo>
                    <a:lnTo>
                      <a:pt x="392893" y="33789"/>
                    </a:lnTo>
                    <a:lnTo>
                      <a:pt x="390923" y="30001"/>
                    </a:lnTo>
                    <a:lnTo>
                      <a:pt x="390166" y="29244"/>
                    </a:lnTo>
                    <a:lnTo>
                      <a:pt x="389560" y="28183"/>
                    </a:lnTo>
                    <a:lnTo>
                      <a:pt x="389863" y="26516"/>
                    </a:lnTo>
                    <a:lnTo>
                      <a:pt x="390621" y="24698"/>
                    </a:lnTo>
                    <a:lnTo>
                      <a:pt x="390469" y="23940"/>
                    </a:lnTo>
                    <a:lnTo>
                      <a:pt x="389257" y="23031"/>
                    </a:lnTo>
                    <a:lnTo>
                      <a:pt x="386833" y="21364"/>
                    </a:lnTo>
                    <a:lnTo>
                      <a:pt x="384863" y="21213"/>
                    </a:lnTo>
                    <a:lnTo>
                      <a:pt x="383347" y="20607"/>
                    </a:lnTo>
                    <a:lnTo>
                      <a:pt x="381075" y="20455"/>
                    </a:lnTo>
                    <a:lnTo>
                      <a:pt x="379256" y="20304"/>
                    </a:lnTo>
                    <a:lnTo>
                      <a:pt x="378196" y="19698"/>
                    </a:lnTo>
                    <a:lnTo>
                      <a:pt x="378347" y="18637"/>
                    </a:lnTo>
                    <a:lnTo>
                      <a:pt x="378802" y="17880"/>
                    </a:lnTo>
                    <a:lnTo>
                      <a:pt x="380317" y="16061"/>
                    </a:lnTo>
                    <a:lnTo>
                      <a:pt x="381378" y="14092"/>
                    </a:lnTo>
                    <a:lnTo>
                      <a:pt x="381529" y="12122"/>
                    </a:lnTo>
                    <a:lnTo>
                      <a:pt x="381832" y="9546"/>
                    </a:lnTo>
                    <a:lnTo>
                      <a:pt x="382287" y="7273"/>
                    </a:lnTo>
                    <a:lnTo>
                      <a:pt x="382590" y="4697"/>
                    </a:lnTo>
                    <a:lnTo>
                      <a:pt x="380166" y="3031"/>
                    </a:lnTo>
                    <a:lnTo>
                      <a:pt x="379408" y="1667"/>
                    </a:lnTo>
                    <a:lnTo>
                      <a:pt x="378347" y="455"/>
                    </a:lnTo>
                    <a:lnTo>
                      <a:pt x="377287" y="455"/>
                    </a:lnTo>
                    <a:lnTo>
                      <a:pt x="375620" y="0"/>
                    </a:lnTo>
                    <a:lnTo>
                      <a:pt x="373044" y="1667"/>
                    </a:lnTo>
                    <a:lnTo>
                      <a:pt x="371074" y="1364"/>
                    </a:lnTo>
                    <a:lnTo>
                      <a:pt x="369711" y="1970"/>
                    </a:lnTo>
                    <a:lnTo>
                      <a:pt x="366529" y="1818"/>
                    </a:lnTo>
                    <a:lnTo>
                      <a:pt x="364407" y="1061"/>
                    </a:lnTo>
                    <a:lnTo>
                      <a:pt x="361983" y="1515"/>
                    </a:lnTo>
                    <a:lnTo>
                      <a:pt x="362741" y="1818"/>
                    </a:lnTo>
                    <a:lnTo>
                      <a:pt x="363801" y="2576"/>
                    </a:lnTo>
                    <a:lnTo>
                      <a:pt x="364862" y="4849"/>
                    </a:lnTo>
                    <a:lnTo>
                      <a:pt x="365771" y="7273"/>
                    </a:lnTo>
                    <a:lnTo>
                      <a:pt x="365771" y="8485"/>
                    </a:lnTo>
                    <a:lnTo>
                      <a:pt x="365165" y="10000"/>
                    </a:lnTo>
                    <a:lnTo>
                      <a:pt x="363801" y="11819"/>
                    </a:lnTo>
                    <a:lnTo>
                      <a:pt x="362135" y="13334"/>
                    </a:lnTo>
                    <a:lnTo>
                      <a:pt x="359559" y="14546"/>
                    </a:lnTo>
                    <a:lnTo>
                      <a:pt x="357589" y="15758"/>
                    </a:lnTo>
                    <a:lnTo>
                      <a:pt x="355922" y="18789"/>
                    </a:lnTo>
                    <a:lnTo>
                      <a:pt x="354862" y="19849"/>
                    </a:lnTo>
                    <a:lnTo>
                      <a:pt x="353953" y="20304"/>
                    </a:lnTo>
                    <a:lnTo>
                      <a:pt x="352134" y="20758"/>
                    </a:lnTo>
                    <a:lnTo>
                      <a:pt x="349255" y="20607"/>
                    </a:lnTo>
                    <a:lnTo>
                      <a:pt x="347286" y="20304"/>
                    </a:lnTo>
                    <a:lnTo>
                      <a:pt x="344861" y="22577"/>
                    </a:lnTo>
                    <a:lnTo>
                      <a:pt x="341831" y="23486"/>
                    </a:lnTo>
                    <a:lnTo>
                      <a:pt x="339710" y="26668"/>
                    </a:lnTo>
                    <a:lnTo>
                      <a:pt x="332437" y="29092"/>
                    </a:lnTo>
                    <a:lnTo>
                      <a:pt x="325315" y="31062"/>
                    </a:lnTo>
                    <a:lnTo>
                      <a:pt x="323345" y="31819"/>
                    </a:lnTo>
                    <a:lnTo>
                      <a:pt x="316224" y="30304"/>
                    </a:lnTo>
                    <a:lnTo>
                      <a:pt x="314557" y="30759"/>
                    </a:lnTo>
                    <a:lnTo>
                      <a:pt x="312587" y="32274"/>
                    </a:lnTo>
                    <a:lnTo>
                      <a:pt x="310769" y="33486"/>
                    </a:lnTo>
                    <a:lnTo>
                      <a:pt x="309254" y="33486"/>
                    </a:lnTo>
                    <a:lnTo>
                      <a:pt x="308042" y="34092"/>
                    </a:lnTo>
                    <a:lnTo>
                      <a:pt x="307284" y="36213"/>
                    </a:lnTo>
                    <a:lnTo>
                      <a:pt x="306678" y="43487"/>
                    </a:lnTo>
                    <a:lnTo>
                      <a:pt x="304102" y="45608"/>
                    </a:lnTo>
                    <a:lnTo>
                      <a:pt x="301072" y="45608"/>
                    </a:lnTo>
                    <a:lnTo>
                      <a:pt x="298950" y="43032"/>
                    </a:lnTo>
                    <a:lnTo>
                      <a:pt x="296526" y="41062"/>
                    </a:lnTo>
                    <a:lnTo>
                      <a:pt x="292132" y="36517"/>
                    </a:lnTo>
                    <a:lnTo>
                      <a:pt x="290920" y="35911"/>
                    </a:lnTo>
                    <a:lnTo>
                      <a:pt x="289859" y="35911"/>
                    </a:lnTo>
                    <a:lnTo>
                      <a:pt x="285768" y="37274"/>
                    </a:lnTo>
                    <a:lnTo>
                      <a:pt x="283798" y="36668"/>
                    </a:lnTo>
                    <a:lnTo>
                      <a:pt x="282283" y="35911"/>
                    </a:lnTo>
                    <a:lnTo>
                      <a:pt x="279707" y="36062"/>
                    </a:lnTo>
                    <a:lnTo>
                      <a:pt x="275162" y="36062"/>
                    </a:lnTo>
                    <a:lnTo>
                      <a:pt x="272283" y="36062"/>
                    </a:lnTo>
                    <a:lnTo>
                      <a:pt x="270919" y="34850"/>
                    </a:lnTo>
                    <a:lnTo>
                      <a:pt x="269555" y="32274"/>
                    </a:lnTo>
                    <a:lnTo>
                      <a:pt x="268646" y="31365"/>
                    </a:lnTo>
                    <a:lnTo>
                      <a:pt x="267586" y="30607"/>
                    </a:lnTo>
                    <a:lnTo>
                      <a:pt x="265919" y="30304"/>
                    </a:lnTo>
                    <a:lnTo>
                      <a:pt x="258494" y="30304"/>
                    </a:lnTo>
                    <a:lnTo>
                      <a:pt x="257131" y="30304"/>
                    </a:lnTo>
                    <a:lnTo>
                      <a:pt x="256070" y="29850"/>
                    </a:lnTo>
                    <a:lnTo>
                      <a:pt x="254706" y="27728"/>
                    </a:lnTo>
                    <a:lnTo>
                      <a:pt x="253191" y="26668"/>
                    </a:lnTo>
                    <a:lnTo>
                      <a:pt x="251373" y="26668"/>
                    </a:lnTo>
                    <a:lnTo>
                      <a:pt x="250615" y="27880"/>
                    </a:lnTo>
                    <a:lnTo>
                      <a:pt x="253797" y="31819"/>
                    </a:lnTo>
                    <a:lnTo>
                      <a:pt x="254706" y="33941"/>
                    </a:lnTo>
                    <a:lnTo>
                      <a:pt x="257434" y="36971"/>
                    </a:lnTo>
                    <a:lnTo>
                      <a:pt x="265464" y="43487"/>
                    </a:lnTo>
                    <a:lnTo>
                      <a:pt x="266980" y="45608"/>
                    </a:lnTo>
                    <a:lnTo>
                      <a:pt x="266828" y="48184"/>
                    </a:lnTo>
                    <a:lnTo>
                      <a:pt x="266828" y="52123"/>
                    </a:lnTo>
                    <a:lnTo>
                      <a:pt x="267131" y="55911"/>
                    </a:lnTo>
                    <a:lnTo>
                      <a:pt x="269252" y="61366"/>
                    </a:lnTo>
                    <a:lnTo>
                      <a:pt x="272131" y="66972"/>
                    </a:lnTo>
                    <a:lnTo>
                      <a:pt x="272889" y="70457"/>
                    </a:lnTo>
                    <a:lnTo>
                      <a:pt x="272283" y="73033"/>
                    </a:lnTo>
                    <a:lnTo>
                      <a:pt x="271677" y="74397"/>
                    </a:lnTo>
                    <a:lnTo>
                      <a:pt x="271677" y="75003"/>
                    </a:lnTo>
                    <a:lnTo>
                      <a:pt x="272283" y="75609"/>
                    </a:lnTo>
                    <a:lnTo>
                      <a:pt x="275010" y="76367"/>
                    </a:lnTo>
                    <a:lnTo>
                      <a:pt x="280768" y="76821"/>
                    </a:lnTo>
                    <a:lnTo>
                      <a:pt x="284253" y="76821"/>
                    </a:lnTo>
                    <a:lnTo>
                      <a:pt x="289556" y="77427"/>
                    </a:lnTo>
                    <a:lnTo>
                      <a:pt x="290011" y="79397"/>
                    </a:lnTo>
                    <a:lnTo>
                      <a:pt x="289556" y="82579"/>
                    </a:lnTo>
                    <a:lnTo>
                      <a:pt x="288495" y="84397"/>
                    </a:lnTo>
                    <a:lnTo>
                      <a:pt x="287586" y="85003"/>
                    </a:lnTo>
                    <a:lnTo>
                      <a:pt x="284707" y="85458"/>
                    </a:lnTo>
                    <a:lnTo>
                      <a:pt x="281677" y="87427"/>
                    </a:lnTo>
                    <a:lnTo>
                      <a:pt x="277283" y="89397"/>
                    </a:lnTo>
                    <a:lnTo>
                      <a:pt x="274707" y="89700"/>
                    </a:lnTo>
                    <a:lnTo>
                      <a:pt x="273646" y="90155"/>
                    </a:lnTo>
                    <a:lnTo>
                      <a:pt x="272737" y="90761"/>
                    </a:lnTo>
                    <a:lnTo>
                      <a:pt x="271980" y="91519"/>
                    </a:lnTo>
                    <a:lnTo>
                      <a:pt x="271071" y="95155"/>
                    </a:lnTo>
                    <a:lnTo>
                      <a:pt x="269707" y="99246"/>
                    </a:lnTo>
                    <a:lnTo>
                      <a:pt x="267283" y="101670"/>
                    </a:lnTo>
                    <a:lnTo>
                      <a:pt x="264555" y="103640"/>
                    </a:lnTo>
                    <a:lnTo>
                      <a:pt x="261828" y="103943"/>
                    </a:lnTo>
                    <a:lnTo>
                      <a:pt x="259555" y="103792"/>
                    </a:lnTo>
                    <a:lnTo>
                      <a:pt x="258494" y="104398"/>
                    </a:lnTo>
                    <a:lnTo>
                      <a:pt x="256979" y="106064"/>
                    </a:lnTo>
                    <a:lnTo>
                      <a:pt x="254706" y="108186"/>
                    </a:lnTo>
                    <a:lnTo>
                      <a:pt x="252888" y="109247"/>
                    </a:lnTo>
                    <a:lnTo>
                      <a:pt x="250464" y="109095"/>
                    </a:lnTo>
                    <a:lnTo>
                      <a:pt x="247888" y="110156"/>
                    </a:lnTo>
                    <a:lnTo>
                      <a:pt x="244706" y="111822"/>
                    </a:lnTo>
                    <a:lnTo>
                      <a:pt x="242585" y="113186"/>
                    </a:lnTo>
                    <a:lnTo>
                      <a:pt x="240767" y="115459"/>
                    </a:lnTo>
                    <a:lnTo>
                      <a:pt x="238191" y="117883"/>
                    </a:lnTo>
                    <a:lnTo>
                      <a:pt x="235615" y="119550"/>
                    </a:lnTo>
                    <a:lnTo>
                      <a:pt x="234403" y="121671"/>
                    </a:lnTo>
                    <a:lnTo>
                      <a:pt x="232584" y="124399"/>
                    </a:lnTo>
                    <a:lnTo>
                      <a:pt x="230312" y="124550"/>
                    </a:lnTo>
                    <a:lnTo>
                      <a:pt x="230160" y="122883"/>
                    </a:lnTo>
                    <a:lnTo>
                      <a:pt x="231221" y="120307"/>
                    </a:lnTo>
                    <a:lnTo>
                      <a:pt x="230008" y="118035"/>
                    </a:lnTo>
                    <a:lnTo>
                      <a:pt x="227887" y="116823"/>
                    </a:lnTo>
                    <a:lnTo>
                      <a:pt x="226827" y="116519"/>
                    </a:lnTo>
                    <a:lnTo>
                      <a:pt x="225766" y="116671"/>
                    </a:lnTo>
                    <a:lnTo>
                      <a:pt x="223190" y="117732"/>
                    </a:lnTo>
                    <a:lnTo>
                      <a:pt x="220008" y="119701"/>
                    </a:lnTo>
                    <a:lnTo>
                      <a:pt x="218038" y="121217"/>
                    </a:lnTo>
                    <a:lnTo>
                      <a:pt x="216220" y="121823"/>
                    </a:lnTo>
                    <a:lnTo>
                      <a:pt x="212584" y="122429"/>
                    </a:lnTo>
                    <a:lnTo>
                      <a:pt x="209553" y="122732"/>
                    </a:lnTo>
                    <a:lnTo>
                      <a:pt x="208341" y="122277"/>
                    </a:lnTo>
                    <a:lnTo>
                      <a:pt x="206068" y="120762"/>
                    </a:lnTo>
                    <a:lnTo>
                      <a:pt x="200916" y="116065"/>
                    </a:lnTo>
                    <a:lnTo>
                      <a:pt x="193946" y="109852"/>
                    </a:lnTo>
                    <a:lnTo>
                      <a:pt x="188795" y="111065"/>
                    </a:lnTo>
                    <a:lnTo>
                      <a:pt x="188340" y="110913"/>
                    </a:lnTo>
                    <a:lnTo>
                      <a:pt x="188037" y="110307"/>
                    </a:lnTo>
                    <a:lnTo>
                      <a:pt x="188189" y="105155"/>
                    </a:lnTo>
                    <a:lnTo>
                      <a:pt x="188189" y="99246"/>
                    </a:lnTo>
                    <a:lnTo>
                      <a:pt x="187431" y="96822"/>
                    </a:lnTo>
                    <a:lnTo>
                      <a:pt x="185007" y="93034"/>
                    </a:lnTo>
                    <a:lnTo>
                      <a:pt x="181825" y="87882"/>
                    </a:lnTo>
                    <a:lnTo>
                      <a:pt x="180916" y="86367"/>
                    </a:lnTo>
                    <a:lnTo>
                      <a:pt x="179552" y="85458"/>
                    </a:lnTo>
                    <a:lnTo>
                      <a:pt x="178037" y="85306"/>
                    </a:lnTo>
                    <a:lnTo>
                      <a:pt x="176825" y="85609"/>
                    </a:lnTo>
                    <a:lnTo>
                      <a:pt x="175309" y="86518"/>
                    </a:lnTo>
                    <a:lnTo>
                      <a:pt x="173794" y="87579"/>
                    </a:lnTo>
                    <a:lnTo>
                      <a:pt x="170915" y="90610"/>
                    </a:lnTo>
                    <a:lnTo>
                      <a:pt x="168036" y="94246"/>
                    </a:lnTo>
                    <a:lnTo>
                      <a:pt x="166370" y="95004"/>
                    </a:lnTo>
                    <a:lnTo>
                      <a:pt x="164703" y="95307"/>
                    </a:lnTo>
                    <a:lnTo>
                      <a:pt x="163188" y="95155"/>
                    </a:lnTo>
                    <a:lnTo>
                      <a:pt x="161976" y="94246"/>
                    </a:lnTo>
                    <a:lnTo>
                      <a:pt x="160764" y="92276"/>
                    </a:lnTo>
                    <a:lnTo>
                      <a:pt x="159248" y="89700"/>
                    </a:lnTo>
                    <a:lnTo>
                      <a:pt x="157582" y="88791"/>
                    </a:lnTo>
                    <a:lnTo>
                      <a:pt x="156976" y="89549"/>
                    </a:lnTo>
                    <a:lnTo>
                      <a:pt x="156369" y="91064"/>
                    </a:lnTo>
                    <a:lnTo>
                      <a:pt x="155915" y="92579"/>
                    </a:lnTo>
                    <a:lnTo>
                      <a:pt x="157127" y="94549"/>
                    </a:lnTo>
                    <a:lnTo>
                      <a:pt x="158188" y="96064"/>
                    </a:lnTo>
                    <a:lnTo>
                      <a:pt x="156521" y="96064"/>
                    </a:lnTo>
                    <a:lnTo>
                      <a:pt x="150915" y="96064"/>
                    </a:lnTo>
                    <a:lnTo>
                      <a:pt x="144551" y="96064"/>
                    </a:lnTo>
                    <a:lnTo>
                      <a:pt x="138187" y="96064"/>
                    </a:lnTo>
                    <a:lnTo>
                      <a:pt x="132429" y="96064"/>
                    </a:lnTo>
                    <a:lnTo>
                      <a:pt x="127126" y="96064"/>
                    </a:lnTo>
                    <a:lnTo>
                      <a:pt x="125156" y="95913"/>
                    </a:lnTo>
                    <a:lnTo>
                      <a:pt x="123035" y="95004"/>
                    </a:lnTo>
                    <a:lnTo>
                      <a:pt x="121065" y="94549"/>
                    </a:lnTo>
                    <a:lnTo>
                      <a:pt x="120004" y="94549"/>
                    </a:lnTo>
                    <a:lnTo>
                      <a:pt x="118186" y="95458"/>
                    </a:lnTo>
                    <a:lnTo>
                      <a:pt x="115762" y="95610"/>
                    </a:lnTo>
                    <a:lnTo>
                      <a:pt x="114095" y="96367"/>
                    </a:lnTo>
                    <a:lnTo>
                      <a:pt x="112731" y="96216"/>
                    </a:lnTo>
                    <a:lnTo>
                      <a:pt x="112731" y="100761"/>
                    </a:lnTo>
                    <a:lnTo>
                      <a:pt x="112731" y="107125"/>
                    </a:lnTo>
                    <a:lnTo>
                      <a:pt x="112731" y="113944"/>
                    </a:lnTo>
                    <a:lnTo>
                      <a:pt x="114247" y="113489"/>
                    </a:lnTo>
                    <a:lnTo>
                      <a:pt x="115459" y="113489"/>
                    </a:lnTo>
                    <a:lnTo>
                      <a:pt x="116368" y="113944"/>
                    </a:lnTo>
                    <a:lnTo>
                      <a:pt x="118944" y="113489"/>
                    </a:lnTo>
                    <a:lnTo>
                      <a:pt x="120459" y="113641"/>
                    </a:lnTo>
                    <a:lnTo>
                      <a:pt x="121823" y="113792"/>
                    </a:lnTo>
                    <a:lnTo>
                      <a:pt x="123035" y="113792"/>
                    </a:lnTo>
                    <a:lnTo>
                      <a:pt x="123792" y="114398"/>
                    </a:lnTo>
                    <a:lnTo>
                      <a:pt x="124853" y="114247"/>
                    </a:lnTo>
                    <a:lnTo>
                      <a:pt x="125914" y="113641"/>
                    </a:lnTo>
                    <a:lnTo>
                      <a:pt x="127277" y="113944"/>
                    </a:lnTo>
                    <a:lnTo>
                      <a:pt x="128793" y="114853"/>
                    </a:lnTo>
                    <a:lnTo>
                      <a:pt x="129702" y="116217"/>
                    </a:lnTo>
                    <a:lnTo>
                      <a:pt x="130611" y="118035"/>
                    </a:lnTo>
                    <a:lnTo>
                      <a:pt x="131520" y="118944"/>
                    </a:lnTo>
                    <a:lnTo>
                      <a:pt x="131520" y="120611"/>
                    </a:lnTo>
                    <a:lnTo>
                      <a:pt x="131520" y="121974"/>
                    </a:lnTo>
                    <a:lnTo>
                      <a:pt x="131217" y="123035"/>
                    </a:lnTo>
                    <a:lnTo>
                      <a:pt x="131520" y="123793"/>
                    </a:lnTo>
                    <a:lnTo>
                      <a:pt x="131823" y="124550"/>
                    </a:lnTo>
                    <a:lnTo>
                      <a:pt x="131823" y="125005"/>
                    </a:lnTo>
                    <a:lnTo>
                      <a:pt x="131368" y="125156"/>
                    </a:lnTo>
                    <a:lnTo>
                      <a:pt x="130308" y="125308"/>
                    </a:lnTo>
                    <a:lnTo>
                      <a:pt x="129247" y="125459"/>
                    </a:lnTo>
                    <a:lnTo>
                      <a:pt x="128490" y="125459"/>
                    </a:lnTo>
                    <a:lnTo>
                      <a:pt x="127884" y="124702"/>
                    </a:lnTo>
                    <a:lnTo>
                      <a:pt x="127277" y="124702"/>
                    </a:lnTo>
                    <a:lnTo>
                      <a:pt x="126368" y="124853"/>
                    </a:lnTo>
                    <a:lnTo>
                      <a:pt x="125459" y="124399"/>
                    </a:lnTo>
                    <a:lnTo>
                      <a:pt x="124702" y="123489"/>
                    </a:lnTo>
                    <a:lnTo>
                      <a:pt x="123338" y="122580"/>
                    </a:lnTo>
                    <a:lnTo>
                      <a:pt x="121823" y="122883"/>
                    </a:lnTo>
                    <a:lnTo>
                      <a:pt x="120762" y="123338"/>
                    </a:lnTo>
                    <a:lnTo>
                      <a:pt x="119701" y="123944"/>
                    </a:lnTo>
                    <a:lnTo>
                      <a:pt x="118792" y="124550"/>
                    </a:lnTo>
                    <a:lnTo>
                      <a:pt x="117883" y="124399"/>
                    </a:lnTo>
                    <a:lnTo>
                      <a:pt x="116671" y="124853"/>
                    </a:lnTo>
                    <a:lnTo>
                      <a:pt x="115610" y="125459"/>
                    </a:lnTo>
                    <a:lnTo>
                      <a:pt x="114247" y="125914"/>
                    </a:lnTo>
                    <a:lnTo>
                      <a:pt x="112731" y="126217"/>
                    </a:lnTo>
                    <a:lnTo>
                      <a:pt x="111065" y="126520"/>
                    </a:lnTo>
                    <a:lnTo>
                      <a:pt x="109398" y="126671"/>
                    </a:lnTo>
                    <a:lnTo>
                      <a:pt x="107580" y="126823"/>
                    </a:lnTo>
                    <a:lnTo>
                      <a:pt x="107428" y="130459"/>
                    </a:lnTo>
                    <a:lnTo>
                      <a:pt x="107277" y="137429"/>
                    </a:lnTo>
                    <a:lnTo>
                      <a:pt x="107125" y="142126"/>
                    </a:lnTo>
                    <a:lnTo>
                      <a:pt x="107125" y="146369"/>
                    </a:lnTo>
                    <a:lnTo>
                      <a:pt x="107883" y="147884"/>
                    </a:lnTo>
                    <a:lnTo>
                      <a:pt x="111216" y="151218"/>
                    </a:lnTo>
                    <a:lnTo>
                      <a:pt x="113792" y="152885"/>
                    </a:lnTo>
                    <a:lnTo>
                      <a:pt x="116065" y="154854"/>
                    </a:lnTo>
                    <a:lnTo>
                      <a:pt x="118186" y="155612"/>
                    </a:lnTo>
                    <a:lnTo>
                      <a:pt x="119095" y="156369"/>
                    </a:lnTo>
                    <a:lnTo>
                      <a:pt x="119701" y="157582"/>
                    </a:lnTo>
                    <a:lnTo>
                      <a:pt x="120004" y="158794"/>
                    </a:lnTo>
                    <a:lnTo>
                      <a:pt x="120308" y="159854"/>
                    </a:lnTo>
                    <a:lnTo>
                      <a:pt x="120004" y="161067"/>
                    </a:lnTo>
                    <a:lnTo>
                      <a:pt x="119398" y="162127"/>
                    </a:lnTo>
                    <a:lnTo>
                      <a:pt x="119701" y="163339"/>
                    </a:lnTo>
                    <a:lnTo>
                      <a:pt x="120459" y="164249"/>
                    </a:lnTo>
                    <a:lnTo>
                      <a:pt x="120762" y="165461"/>
                    </a:lnTo>
                    <a:lnTo>
                      <a:pt x="121368" y="166521"/>
                    </a:lnTo>
                    <a:lnTo>
                      <a:pt x="121671" y="167582"/>
                    </a:lnTo>
                    <a:lnTo>
                      <a:pt x="122277" y="168339"/>
                    </a:lnTo>
                    <a:lnTo>
                      <a:pt x="123186" y="168946"/>
                    </a:lnTo>
                    <a:lnTo>
                      <a:pt x="124247" y="169855"/>
                    </a:lnTo>
                    <a:lnTo>
                      <a:pt x="124398" y="170764"/>
                    </a:lnTo>
                    <a:lnTo>
                      <a:pt x="124247" y="171673"/>
                    </a:lnTo>
                    <a:lnTo>
                      <a:pt x="124247" y="172431"/>
                    </a:lnTo>
                    <a:lnTo>
                      <a:pt x="125308" y="174097"/>
                    </a:lnTo>
                    <a:lnTo>
                      <a:pt x="125611" y="175310"/>
                    </a:lnTo>
                    <a:lnTo>
                      <a:pt x="125156" y="176673"/>
                    </a:lnTo>
                    <a:lnTo>
                      <a:pt x="124702" y="181522"/>
                    </a:lnTo>
                    <a:lnTo>
                      <a:pt x="123489" y="186977"/>
                    </a:lnTo>
                    <a:lnTo>
                      <a:pt x="122732" y="191068"/>
                    </a:lnTo>
                    <a:lnTo>
                      <a:pt x="121519" y="197886"/>
                    </a:lnTo>
                    <a:lnTo>
                      <a:pt x="120004" y="205765"/>
                    </a:lnTo>
                    <a:lnTo>
                      <a:pt x="118186" y="215311"/>
                    </a:lnTo>
                    <a:lnTo>
                      <a:pt x="116520" y="224857"/>
                    </a:lnTo>
                    <a:lnTo>
                      <a:pt x="114853" y="234100"/>
                    </a:lnTo>
                    <a:lnTo>
                      <a:pt x="113337" y="242433"/>
                    </a:lnTo>
                    <a:lnTo>
                      <a:pt x="111671" y="251524"/>
                    </a:lnTo>
                    <a:lnTo>
                      <a:pt x="110610" y="257131"/>
                    </a:lnTo>
                    <a:lnTo>
                      <a:pt x="110155" y="258040"/>
                    </a:lnTo>
                    <a:lnTo>
                      <a:pt x="110004" y="259858"/>
                    </a:lnTo>
                    <a:lnTo>
                      <a:pt x="109095" y="260616"/>
                    </a:lnTo>
                    <a:lnTo>
                      <a:pt x="107731" y="260767"/>
                    </a:lnTo>
                    <a:lnTo>
                      <a:pt x="105610" y="259555"/>
                    </a:lnTo>
                    <a:lnTo>
                      <a:pt x="104095" y="259858"/>
                    </a:lnTo>
                    <a:lnTo>
                      <a:pt x="102579" y="260010"/>
                    </a:lnTo>
                    <a:lnTo>
                      <a:pt x="100458" y="258494"/>
                    </a:lnTo>
                    <a:lnTo>
                      <a:pt x="99701" y="256979"/>
                    </a:lnTo>
                    <a:lnTo>
                      <a:pt x="98034" y="255767"/>
                    </a:lnTo>
                    <a:lnTo>
                      <a:pt x="94549" y="256222"/>
                    </a:lnTo>
                    <a:lnTo>
                      <a:pt x="91670" y="256222"/>
                    </a:lnTo>
                    <a:lnTo>
                      <a:pt x="89246" y="255918"/>
                    </a:lnTo>
                    <a:lnTo>
                      <a:pt x="87124" y="256373"/>
                    </a:lnTo>
                    <a:lnTo>
                      <a:pt x="85306" y="257888"/>
                    </a:lnTo>
                    <a:lnTo>
                      <a:pt x="83942" y="259706"/>
                    </a:lnTo>
                    <a:lnTo>
                      <a:pt x="82427" y="261222"/>
                    </a:lnTo>
                    <a:lnTo>
                      <a:pt x="77730" y="262283"/>
                    </a:lnTo>
                    <a:lnTo>
                      <a:pt x="75306" y="262283"/>
                    </a:lnTo>
                    <a:lnTo>
                      <a:pt x="73033" y="263192"/>
                    </a:lnTo>
                    <a:lnTo>
                      <a:pt x="69699" y="263494"/>
                    </a:lnTo>
                    <a:lnTo>
                      <a:pt x="67427" y="264404"/>
                    </a:lnTo>
                    <a:lnTo>
                      <a:pt x="63336" y="264858"/>
                    </a:lnTo>
                    <a:lnTo>
                      <a:pt x="58487" y="265313"/>
                    </a:lnTo>
                    <a:lnTo>
                      <a:pt x="55760" y="266676"/>
                    </a:lnTo>
                    <a:lnTo>
                      <a:pt x="54699" y="267282"/>
                    </a:lnTo>
                    <a:lnTo>
                      <a:pt x="51972" y="269101"/>
                    </a:lnTo>
                    <a:lnTo>
                      <a:pt x="47274" y="271980"/>
                    </a:lnTo>
                    <a:lnTo>
                      <a:pt x="44699" y="273040"/>
                    </a:lnTo>
                    <a:lnTo>
                      <a:pt x="41517" y="276222"/>
                    </a:lnTo>
                    <a:lnTo>
                      <a:pt x="37729" y="279101"/>
                    </a:lnTo>
                    <a:lnTo>
                      <a:pt x="35304" y="280616"/>
                    </a:lnTo>
                    <a:lnTo>
                      <a:pt x="31668" y="281374"/>
                    </a:lnTo>
                    <a:lnTo>
                      <a:pt x="30152" y="282132"/>
                    </a:lnTo>
                    <a:lnTo>
                      <a:pt x="29547" y="283041"/>
                    </a:lnTo>
                    <a:lnTo>
                      <a:pt x="29850" y="284101"/>
                    </a:lnTo>
                    <a:lnTo>
                      <a:pt x="29243" y="286980"/>
                    </a:lnTo>
                    <a:lnTo>
                      <a:pt x="28183" y="292284"/>
                    </a:lnTo>
                    <a:lnTo>
                      <a:pt x="27880" y="294859"/>
                    </a:lnTo>
                    <a:lnTo>
                      <a:pt x="27577" y="296072"/>
                    </a:lnTo>
                    <a:lnTo>
                      <a:pt x="25152" y="300314"/>
                    </a:lnTo>
                    <a:lnTo>
                      <a:pt x="22576" y="304254"/>
                    </a:lnTo>
                    <a:lnTo>
                      <a:pt x="21364" y="306829"/>
                    </a:lnTo>
                    <a:lnTo>
                      <a:pt x="20607" y="308799"/>
                    </a:lnTo>
                    <a:lnTo>
                      <a:pt x="21364" y="310315"/>
                    </a:lnTo>
                    <a:lnTo>
                      <a:pt x="22425" y="313193"/>
                    </a:lnTo>
                    <a:lnTo>
                      <a:pt x="23334" y="315466"/>
                    </a:lnTo>
                    <a:lnTo>
                      <a:pt x="23637" y="316981"/>
                    </a:lnTo>
                    <a:lnTo>
                      <a:pt x="23334" y="318800"/>
                    </a:lnTo>
                    <a:lnTo>
                      <a:pt x="22274" y="320466"/>
                    </a:lnTo>
                    <a:lnTo>
                      <a:pt x="20607" y="321527"/>
                    </a:lnTo>
                    <a:lnTo>
                      <a:pt x="18334" y="321830"/>
                    </a:lnTo>
                    <a:lnTo>
                      <a:pt x="13637" y="324709"/>
                    </a:lnTo>
                    <a:lnTo>
                      <a:pt x="8333" y="328952"/>
                    </a:lnTo>
                    <a:lnTo>
                      <a:pt x="6667" y="330921"/>
                    </a:lnTo>
                    <a:lnTo>
                      <a:pt x="6212" y="332740"/>
                    </a:lnTo>
                    <a:lnTo>
                      <a:pt x="5455" y="335618"/>
                    </a:lnTo>
                    <a:lnTo>
                      <a:pt x="5758" y="337134"/>
                    </a:lnTo>
                    <a:lnTo>
                      <a:pt x="6667" y="338194"/>
                    </a:lnTo>
                    <a:lnTo>
                      <a:pt x="7576" y="340619"/>
                    </a:lnTo>
                    <a:lnTo>
                      <a:pt x="7727" y="341831"/>
                    </a:lnTo>
                    <a:lnTo>
                      <a:pt x="6970" y="342588"/>
                    </a:lnTo>
                    <a:lnTo>
                      <a:pt x="5455" y="342740"/>
                    </a:lnTo>
                    <a:lnTo>
                      <a:pt x="4091" y="343043"/>
                    </a:lnTo>
                    <a:lnTo>
                      <a:pt x="3030" y="343649"/>
                    </a:lnTo>
                    <a:lnTo>
                      <a:pt x="1970" y="343498"/>
                    </a:lnTo>
                    <a:lnTo>
                      <a:pt x="1061" y="343800"/>
                    </a:lnTo>
                    <a:lnTo>
                      <a:pt x="1061" y="344861"/>
                    </a:lnTo>
                    <a:lnTo>
                      <a:pt x="1364" y="346073"/>
                    </a:lnTo>
                    <a:lnTo>
                      <a:pt x="1212" y="347286"/>
                    </a:lnTo>
                    <a:lnTo>
                      <a:pt x="606" y="348043"/>
                    </a:lnTo>
                    <a:lnTo>
                      <a:pt x="0" y="348649"/>
                    </a:lnTo>
                    <a:lnTo>
                      <a:pt x="606" y="349407"/>
                    </a:lnTo>
                    <a:lnTo>
                      <a:pt x="1515" y="350164"/>
                    </a:lnTo>
                    <a:lnTo>
                      <a:pt x="2879" y="351377"/>
                    </a:lnTo>
                    <a:lnTo>
                      <a:pt x="4849" y="353649"/>
                    </a:lnTo>
                    <a:lnTo>
                      <a:pt x="6364" y="354104"/>
                    </a:lnTo>
                    <a:lnTo>
                      <a:pt x="7576" y="354862"/>
                    </a:lnTo>
                    <a:lnTo>
                      <a:pt x="7727" y="356074"/>
                    </a:lnTo>
                    <a:lnTo>
                      <a:pt x="7273" y="357286"/>
                    </a:lnTo>
                    <a:lnTo>
                      <a:pt x="6212" y="357892"/>
                    </a:lnTo>
                    <a:lnTo>
                      <a:pt x="6061" y="358953"/>
                    </a:lnTo>
                    <a:lnTo>
                      <a:pt x="7576" y="360316"/>
                    </a:lnTo>
                    <a:lnTo>
                      <a:pt x="8637" y="361225"/>
                    </a:lnTo>
                    <a:lnTo>
                      <a:pt x="9697" y="362589"/>
                    </a:lnTo>
                    <a:lnTo>
                      <a:pt x="10606" y="364559"/>
                    </a:lnTo>
                    <a:lnTo>
                      <a:pt x="10606" y="365771"/>
                    </a:lnTo>
                    <a:lnTo>
                      <a:pt x="11667" y="367286"/>
                    </a:lnTo>
                    <a:lnTo>
                      <a:pt x="12273" y="368650"/>
                    </a:lnTo>
                    <a:lnTo>
                      <a:pt x="12273" y="369862"/>
                    </a:lnTo>
                    <a:lnTo>
                      <a:pt x="13940" y="371074"/>
                    </a:lnTo>
                    <a:lnTo>
                      <a:pt x="15304" y="371983"/>
                    </a:lnTo>
                    <a:lnTo>
                      <a:pt x="16364" y="372892"/>
                    </a:lnTo>
                    <a:lnTo>
                      <a:pt x="17425" y="373499"/>
                    </a:lnTo>
                    <a:lnTo>
                      <a:pt x="17728" y="374408"/>
                    </a:lnTo>
                    <a:lnTo>
                      <a:pt x="17576" y="375923"/>
                    </a:lnTo>
                    <a:lnTo>
                      <a:pt x="19092" y="378347"/>
                    </a:lnTo>
                    <a:lnTo>
                      <a:pt x="21819" y="380166"/>
                    </a:lnTo>
                    <a:lnTo>
                      <a:pt x="24092" y="382741"/>
                    </a:lnTo>
                    <a:lnTo>
                      <a:pt x="25455" y="384560"/>
                    </a:lnTo>
                    <a:lnTo>
                      <a:pt x="28031" y="387590"/>
                    </a:lnTo>
                    <a:lnTo>
                      <a:pt x="28183" y="391075"/>
                    </a:lnTo>
                    <a:lnTo>
                      <a:pt x="24849" y="395015"/>
                    </a:lnTo>
                    <a:lnTo>
                      <a:pt x="21516" y="398954"/>
                    </a:lnTo>
                    <a:lnTo>
                      <a:pt x="26819" y="398803"/>
                    </a:lnTo>
                    <a:lnTo>
                      <a:pt x="32274" y="398954"/>
                    </a:lnTo>
                    <a:lnTo>
                      <a:pt x="38032" y="400166"/>
                    </a:lnTo>
                    <a:lnTo>
                      <a:pt x="41820" y="401227"/>
                    </a:lnTo>
                    <a:lnTo>
                      <a:pt x="44092" y="401681"/>
                    </a:lnTo>
                    <a:lnTo>
                      <a:pt x="45759" y="402894"/>
                    </a:lnTo>
                    <a:lnTo>
                      <a:pt x="46517" y="404863"/>
                    </a:lnTo>
                    <a:lnTo>
                      <a:pt x="47123" y="406530"/>
                    </a:lnTo>
                    <a:lnTo>
                      <a:pt x="47274" y="408954"/>
                    </a:lnTo>
                    <a:lnTo>
                      <a:pt x="49699" y="410924"/>
                    </a:lnTo>
                    <a:lnTo>
                      <a:pt x="49547" y="412742"/>
                    </a:lnTo>
                    <a:lnTo>
                      <a:pt x="49547" y="415318"/>
                    </a:lnTo>
                    <a:lnTo>
                      <a:pt x="50608" y="415318"/>
                    </a:lnTo>
                    <a:lnTo>
                      <a:pt x="57578" y="415318"/>
                    </a:lnTo>
                    <a:lnTo>
                      <a:pt x="65154" y="415318"/>
                    </a:lnTo>
                    <a:lnTo>
                      <a:pt x="72578" y="414864"/>
                    </a:lnTo>
                    <a:lnTo>
                      <a:pt x="75306" y="414258"/>
                    </a:lnTo>
                    <a:lnTo>
                      <a:pt x="78639" y="411076"/>
                    </a:lnTo>
                    <a:lnTo>
                      <a:pt x="80609" y="410167"/>
                    </a:lnTo>
                    <a:lnTo>
                      <a:pt x="82579" y="408651"/>
                    </a:lnTo>
                    <a:lnTo>
                      <a:pt x="85003" y="405924"/>
                    </a:lnTo>
                    <a:lnTo>
                      <a:pt x="86821" y="404712"/>
                    </a:lnTo>
                    <a:lnTo>
                      <a:pt x="88337" y="403197"/>
                    </a:lnTo>
                    <a:lnTo>
                      <a:pt x="90761" y="401681"/>
                    </a:lnTo>
                    <a:lnTo>
                      <a:pt x="91670" y="400621"/>
                    </a:lnTo>
                    <a:lnTo>
                      <a:pt x="92428" y="400166"/>
                    </a:lnTo>
                    <a:lnTo>
                      <a:pt x="94246" y="399409"/>
                    </a:lnTo>
                    <a:lnTo>
                      <a:pt x="93488" y="400772"/>
                    </a:lnTo>
                    <a:lnTo>
                      <a:pt x="92882" y="402287"/>
                    </a:lnTo>
                    <a:lnTo>
                      <a:pt x="92731" y="404409"/>
                    </a:lnTo>
                    <a:lnTo>
                      <a:pt x="93640" y="406682"/>
                    </a:lnTo>
                    <a:lnTo>
                      <a:pt x="92882" y="408348"/>
                    </a:lnTo>
                    <a:lnTo>
                      <a:pt x="91670" y="409863"/>
                    </a:lnTo>
                    <a:lnTo>
                      <a:pt x="91670" y="413955"/>
                    </a:lnTo>
                    <a:lnTo>
                      <a:pt x="91670" y="419712"/>
                    </a:lnTo>
                    <a:lnTo>
                      <a:pt x="91670" y="424712"/>
                    </a:lnTo>
                    <a:lnTo>
                      <a:pt x="91670" y="430925"/>
                    </a:lnTo>
                    <a:lnTo>
                      <a:pt x="91670" y="437895"/>
                    </a:lnTo>
                    <a:lnTo>
                      <a:pt x="91670" y="442592"/>
                    </a:lnTo>
                    <a:lnTo>
                      <a:pt x="92882" y="441683"/>
                    </a:lnTo>
                    <a:lnTo>
                      <a:pt x="94549" y="440925"/>
                    </a:lnTo>
                    <a:lnTo>
                      <a:pt x="96822" y="443047"/>
                    </a:lnTo>
                    <a:lnTo>
                      <a:pt x="98489" y="443956"/>
                    </a:lnTo>
                    <a:lnTo>
                      <a:pt x="99852" y="444107"/>
                    </a:lnTo>
                    <a:lnTo>
                      <a:pt x="101216" y="444107"/>
                    </a:lnTo>
                    <a:lnTo>
                      <a:pt x="103186" y="443653"/>
                    </a:lnTo>
                    <a:lnTo>
                      <a:pt x="107428" y="441834"/>
                    </a:lnTo>
                    <a:lnTo>
                      <a:pt x="110307" y="440319"/>
                    </a:lnTo>
                    <a:lnTo>
                      <a:pt x="113641" y="440471"/>
                    </a:lnTo>
                    <a:lnTo>
                      <a:pt x="118186" y="441077"/>
                    </a:lnTo>
                    <a:lnTo>
                      <a:pt x="120762" y="441077"/>
                    </a:lnTo>
                    <a:lnTo>
                      <a:pt x="123944" y="440925"/>
                    </a:lnTo>
                    <a:lnTo>
                      <a:pt x="130308" y="441077"/>
                    </a:lnTo>
                    <a:lnTo>
                      <a:pt x="136520" y="442137"/>
                    </a:lnTo>
                    <a:lnTo>
                      <a:pt x="140763" y="442592"/>
                    </a:lnTo>
                    <a:lnTo>
                      <a:pt x="142581" y="443501"/>
                    </a:lnTo>
                    <a:lnTo>
                      <a:pt x="143036" y="445016"/>
                    </a:lnTo>
                    <a:lnTo>
                      <a:pt x="144248" y="445622"/>
                    </a:lnTo>
                    <a:lnTo>
                      <a:pt x="145611" y="445319"/>
                    </a:lnTo>
                    <a:lnTo>
                      <a:pt x="147127" y="445168"/>
                    </a:lnTo>
                    <a:lnTo>
                      <a:pt x="150460" y="443653"/>
                    </a:lnTo>
                    <a:lnTo>
                      <a:pt x="153188" y="442592"/>
                    </a:lnTo>
                    <a:lnTo>
                      <a:pt x="155612" y="441380"/>
                    </a:lnTo>
                    <a:lnTo>
                      <a:pt x="156824" y="440168"/>
                    </a:lnTo>
                    <a:lnTo>
                      <a:pt x="159703" y="436077"/>
                    </a:lnTo>
                    <a:lnTo>
                      <a:pt x="162127" y="433804"/>
                    </a:lnTo>
                    <a:lnTo>
                      <a:pt x="164248" y="433046"/>
                    </a:lnTo>
                    <a:lnTo>
                      <a:pt x="168491" y="432743"/>
                    </a:lnTo>
                    <a:lnTo>
                      <a:pt x="169855" y="433349"/>
                    </a:lnTo>
                    <a:lnTo>
                      <a:pt x="171673" y="433198"/>
                    </a:lnTo>
                    <a:lnTo>
                      <a:pt x="173188" y="430925"/>
                    </a:lnTo>
                    <a:lnTo>
                      <a:pt x="175461" y="428349"/>
                    </a:lnTo>
                    <a:lnTo>
                      <a:pt x="180007" y="425167"/>
                    </a:lnTo>
                    <a:lnTo>
                      <a:pt x="182279" y="424258"/>
                    </a:lnTo>
                    <a:lnTo>
                      <a:pt x="183643" y="423197"/>
                    </a:lnTo>
                    <a:lnTo>
                      <a:pt x="186067" y="423046"/>
                    </a:lnTo>
                    <a:lnTo>
                      <a:pt x="188189" y="421834"/>
                    </a:lnTo>
                    <a:lnTo>
                      <a:pt x="198644" y="413803"/>
                    </a:lnTo>
                    <a:lnTo>
                      <a:pt x="202886" y="411682"/>
                    </a:lnTo>
                    <a:lnTo>
                      <a:pt x="205462" y="411379"/>
                    </a:lnTo>
                    <a:lnTo>
                      <a:pt x="207583" y="410924"/>
                    </a:lnTo>
                    <a:lnTo>
                      <a:pt x="211220" y="409712"/>
                    </a:lnTo>
                    <a:lnTo>
                      <a:pt x="220463" y="408651"/>
                    </a:lnTo>
                    <a:lnTo>
                      <a:pt x="226372" y="408197"/>
                    </a:lnTo>
                    <a:lnTo>
                      <a:pt x="228342" y="409258"/>
                    </a:lnTo>
                    <a:lnTo>
                      <a:pt x="230463" y="408954"/>
                    </a:lnTo>
                    <a:lnTo>
                      <a:pt x="232281" y="407136"/>
                    </a:lnTo>
                    <a:lnTo>
                      <a:pt x="233796" y="406530"/>
                    </a:lnTo>
                    <a:lnTo>
                      <a:pt x="234857" y="406530"/>
                    </a:lnTo>
                    <a:lnTo>
                      <a:pt x="236524" y="408651"/>
                    </a:lnTo>
                    <a:lnTo>
                      <a:pt x="237281" y="410924"/>
                    </a:lnTo>
                    <a:lnTo>
                      <a:pt x="236827" y="412591"/>
                    </a:lnTo>
                    <a:lnTo>
                      <a:pt x="236978" y="415167"/>
                    </a:lnTo>
                    <a:lnTo>
                      <a:pt x="237736" y="418500"/>
                    </a:lnTo>
                    <a:lnTo>
                      <a:pt x="237281" y="421379"/>
                    </a:lnTo>
                    <a:lnTo>
                      <a:pt x="235009" y="425167"/>
                    </a:lnTo>
                    <a:lnTo>
                      <a:pt x="233948" y="426682"/>
                    </a:lnTo>
                    <a:lnTo>
                      <a:pt x="233645" y="428349"/>
                    </a:lnTo>
                    <a:lnTo>
                      <a:pt x="233796" y="430470"/>
                    </a:lnTo>
                    <a:lnTo>
                      <a:pt x="234857" y="433955"/>
                    </a:lnTo>
                    <a:lnTo>
                      <a:pt x="236675" y="438804"/>
                    </a:lnTo>
                    <a:lnTo>
                      <a:pt x="236978" y="442441"/>
                    </a:lnTo>
                    <a:lnTo>
                      <a:pt x="235615" y="444865"/>
                    </a:lnTo>
                    <a:lnTo>
                      <a:pt x="235009" y="446835"/>
                    </a:lnTo>
                    <a:lnTo>
                      <a:pt x="235160" y="448501"/>
                    </a:lnTo>
                    <a:lnTo>
                      <a:pt x="235615" y="449714"/>
                    </a:lnTo>
                    <a:lnTo>
                      <a:pt x="236372" y="450471"/>
                    </a:lnTo>
                    <a:lnTo>
                      <a:pt x="236827" y="451835"/>
                    </a:lnTo>
                    <a:lnTo>
                      <a:pt x="236978" y="453956"/>
                    </a:lnTo>
                    <a:lnTo>
                      <a:pt x="238039" y="455926"/>
                    </a:lnTo>
                    <a:lnTo>
                      <a:pt x="240160" y="457896"/>
                    </a:lnTo>
                    <a:lnTo>
                      <a:pt x="241069" y="459714"/>
                    </a:lnTo>
                    <a:lnTo>
                      <a:pt x="240615" y="461381"/>
                    </a:lnTo>
                    <a:lnTo>
                      <a:pt x="240767" y="462441"/>
                    </a:lnTo>
                    <a:lnTo>
                      <a:pt x="241372" y="462896"/>
                    </a:lnTo>
                    <a:lnTo>
                      <a:pt x="241979" y="462593"/>
                    </a:lnTo>
                    <a:lnTo>
                      <a:pt x="242736" y="462138"/>
                    </a:lnTo>
                    <a:lnTo>
                      <a:pt x="243342" y="462290"/>
                    </a:lnTo>
                    <a:lnTo>
                      <a:pt x="244857" y="464714"/>
                    </a:lnTo>
                    <a:lnTo>
                      <a:pt x="245009" y="465169"/>
                    </a:lnTo>
                    <a:lnTo>
                      <a:pt x="245767" y="467138"/>
                    </a:lnTo>
                    <a:lnTo>
                      <a:pt x="246070" y="468654"/>
                    </a:lnTo>
                    <a:lnTo>
                      <a:pt x="248191" y="469563"/>
                    </a:lnTo>
                    <a:lnTo>
                      <a:pt x="250464" y="470169"/>
                    </a:lnTo>
                    <a:lnTo>
                      <a:pt x="251676" y="470926"/>
                    </a:lnTo>
                    <a:lnTo>
                      <a:pt x="254252" y="473351"/>
                    </a:lnTo>
                    <a:lnTo>
                      <a:pt x="256373" y="474866"/>
                    </a:lnTo>
                    <a:lnTo>
                      <a:pt x="259100" y="476230"/>
                    </a:lnTo>
                    <a:lnTo>
                      <a:pt x="260009" y="478351"/>
                    </a:lnTo>
                    <a:lnTo>
                      <a:pt x="261676" y="481533"/>
                    </a:lnTo>
                    <a:lnTo>
                      <a:pt x="266222" y="482745"/>
                    </a:lnTo>
                    <a:lnTo>
                      <a:pt x="271525" y="483351"/>
                    </a:lnTo>
                    <a:lnTo>
                      <a:pt x="274859" y="483957"/>
                    </a:lnTo>
                    <a:lnTo>
                      <a:pt x="278950" y="482290"/>
                    </a:lnTo>
                    <a:lnTo>
                      <a:pt x="281677" y="482593"/>
                    </a:lnTo>
                    <a:lnTo>
                      <a:pt x="284556" y="483654"/>
                    </a:lnTo>
                    <a:lnTo>
                      <a:pt x="285768" y="484412"/>
                    </a:lnTo>
                    <a:lnTo>
                      <a:pt x="287889" y="486078"/>
                    </a:lnTo>
                    <a:lnTo>
                      <a:pt x="291071" y="488200"/>
                    </a:lnTo>
                    <a:lnTo>
                      <a:pt x="293799" y="488957"/>
                    </a:lnTo>
                    <a:lnTo>
                      <a:pt x="295617" y="487745"/>
                    </a:lnTo>
                    <a:lnTo>
                      <a:pt x="297435" y="487291"/>
                    </a:lnTo>
                    <a:lnTo>
                      <a:pt x="298799" y="487745"/>
                    </a:lnTo>
                    <a:lnTo>
                      <a:pt x="299556" y="490018"/>
                    </a:lnTo>
                    <a:lnTo>
                      <a:pt x="300314" y="491533"/>
                    </a:lnTo>
                    <a:lnTo>
                      <a:pt x="301829" y="492745"/>
                    </a:lnTo>
                    <a:lnTo>
                      <a:pt x="305163" y="495624"/>
                    </a:lnTo>
                    <a:lnTo>
                      <a:pt x="307132" y="496836"/>
                    </a:lnTo>
                    <a:lnTo>
                      <a:pt x="309254" y="496685"/>
                    </a:lnTo>
                    <a:lnTo>
                      <a:pt x="313648" y="498655"/>
                    </a:lnTo>
                    <a:lnTo>
                      <a:pt x="318345" y="500473"/>
                    </a:lnTo>
                    <a:lnTo>
                      <a:pt x="320769" y="500776"/>
                    </a:lnTo>
                    <a:lnTo>
                      <a:pt x="323194" y="500473"/>
                    </a:lnTo>
                    <a:lnTo>
                      <a:pt x="324709" y="501230"/>
                    </a:lnTo>
                    <a:lnTo>
                      <a:pt x="325315" y="503503"/>
                    </a:lnTo>
                    <a:lnTo>
                      <a:pt x="329406" y="508049"/>
                    </a:lnTo>
                    <a:lnTo>
                      <a:pt x="331376" y="509867"/>
                    </a:lnTo>
                    <a:lnTo>
                      <a:pt x="333649" y="511382"/>
                    </a:lnTo>
                    <a:lnTo>
                      <a:pt x="339558" y="511382"/>
                    </a:lnTo>
                    <a:lnTo>
                      <a:pt x="341376" y="511837"/>
                    </a:lnTo>
                    <a:lnTo>
                      <a:pt x="343952" y="511382"/>
                    </a:lnTo>
                    <a:lnTo>
                      <a:pt x="351831" y="510625"/>
                    </a:lnTo>
                    <a:lnTo>
                      <a:pt x="353195" y="510322"/>
                    </a:lnTo>
                    <a:lnTo>
                      <a:pt x="357589" y="512292"/>
                    </a:lnTo>
                    <a:lnTo>
                      <a:pt x="362892" y="515170"/>
                    </a:lnTo>
                    <a:lnTo>
                      <a:pt x="366377" y="517443"/>
                    </a:lnTo>
                    <a:lnTo>
                      <a:pt x="368802" y="518655"/>
                    </a:lnTo>
                    <a:lnTo>
                      <a:pt x="370014" y="520625"/>
                    </a:lnTo>
                    <a:lnTo>
                      <a:pt x="371074" y="522746"/>
                    </a:lnTo>
                    <a:lnTo>
                      <a:pt x="371529" y="525019"/>
                    </a:lnTo>
                    <a:lnTo>
                      <a:pt x="370923" y="527292"/>
                    </a:lnTo>
                    <a:lnTo>
                      <a:pt x="370014" y="528201"/>
                    </a:lnTo>
                    <a:lnTo>
                      <a:pt x="369711" y="529716"/>
                    </a:lnTo>
                    <a:lnTo>
                      <a:pt x="370165" y="531838"/>
                    </a:lnTo>
                    <a:lnTo>
                      <a:pt x="371983" y="533808"/>
                    </a:lnTo>
                    <a:lnTo>
                      <a:pt x="372590" y="536232"/>
                    </a:lnTo>
                    <a:lnTo>
                      <a:pt x="373499" y="540474"/>
                    </a:lnTo>
                    <a:lnTo>
                      <a:pt x="374559" y="541838"/>
                    </a:lnTo>
                    <a:lnTo>
                      <a:pt x="375317" y="554869"/>
                    </a:lnTo>
                    <a:lnTo>
                      <a:pt x="371832" y="555020"/>
                    </a:lnTo>
                    <a:lnTo>
                      <a:pt x="366832" y="555172"/>
                    </a:lnTo>
                    <a:lnTo>
                      <a:pt x="368347" y="556384"/>
                    </a:lnTo>
                    <a:lnTo>
                      <a:pt x="372438" y="561233"/>
                    </a:lnTo>
                    <a:lnTo>
                      <a:pt x="376226" y="565778"/>
                    </a:lnTo>
                    <a:lnTo>
                      <a:pt x="376832" y="573051"/>
                    </a:lnTo>
                    <a:lnTo>
                      <a:pt x="377135" y="577597"/>
                    </a:lnTo>
                    <a:lnTo>
                      <a:pt x="377741" y="583961"/>
                    </a:lnTo>
                    <a:lnTo>
                      <a:pt x="378044" y="587749"/>
                    </a:lnTo>
                    <a:lnTo>
                      <a:pt x="387439" y="588052"/>
                    </a:lnTo>
                    <a:lnTo>
                      <a:pt x="398348" y="588507"/>
                    </a:lnTo>
                    <a:lnTo>
                      <a:pt x="411379" y="588961"/>
                    </a:lnTo>
                    <a:lnTo>
                      <a:pt x="422894" y="589416"/>
                    </a:lnTo>
                    <a:lnTo>
                      <a:pt x="423955" y="589416"/>
                    </a:lnTo>
                    <a:lnTo>
                      <a:pt x="425925" y="588961"/>
                    </a:lnTo>
                    <a:lnTo>
                      <a:pt x="427289" y="588355"/>
                    </a:lnTo>
                    <a:lnTo>
                      <a:pt x="428046" y="588355"/>
                    </a:lnTo>
                    <a:lnTo>
                      <a:pt x="428198" y="589870"/>
                    </a:lnTo>
                    <a:lnTo>
                      <a:pt x="427895" y="591840"/>
                    </a:lnTo>
                    <a:lnTo>
                      <a:pt x="427895" y="594113"/>
                    </a:lnTo>
                    <a:lnTo>
                      <a:pt x="424561" y="598507"/>
                    </a:lnTo>
                    <a:lnTo>
                      <a:pt x="424410" y="599871"/>
                    </a:lnTo>
                    <a:lnTo>
                      <a:pt x="424864" y="605780"/>
                    </a:lnTo>
                    <a:lnTo>
                      <a:pt x="426076" y="610477"/>
                    </a:lnTo>
                    <a:lnTo>
                      <a:pt x="426682" y="614720"/>
                    </a:lnTo>
                    <a:lnTo>
                      <a:pt x="428046" y="616083"/>
                    </a:lnTo>
                    <a:lnTo>
                      <a:pt x="431986" y="618356"/>
                    </a:lnTo>
                    <a:lnTo>
                      <a:pt x="437895" y="622599"/>
                    </a:lnTo>
                    <a:lnTo>
                      <a:pt x="440319" y="623205"/>
                    </a:lnTo>
                    <a:lnTo>
                      <a:pt x="442289" y="622599"/>
                    </a:lnTo>
                    <a:lnTo>
                      <a:pt x="443501" y="624265"/>
                    </a:lnTo>
                    <a:lnTo>
                      <a:pt x="443804" y="626993"/>
                    </a:lnTo>
                    <a:lnTo>
                      <a:pt x="446986" y="634720"/>
                    </a:lnTo>
                    <a:lnTo>
                      <a:pt x="449108" y="639569"/>
                    </a:lnTo>
                    <a:lnTo>
                      <a:pt x="450017" y="641236"/>
                    </a:lnTo>
                    <a:lnTo>
                      <a:pt x="451532" y="642145"/>
                    </a:lnTo>
                    <a:lnTo>
                      <a:pt x="451229" y="642751"/>
                    </a:lnTo>
                    <a:lnTo>
                      <a:pt x="450017" y="643054"/>
                    </a:lnTo>
                    <a:lnTo>
                      <a:pt x="449410" y="643963"/>
                    </a:lnTo>
                    <a:lnTo>
                      <a:pt x="447592" y="649418"/>
                    </a:lnTo>
                    <a:lnTo>
                      <a:pt x="445320" y="656691"/>
                    </a:lnTo>
                    <a:lnTo>
                      <a:pt x="443804" y="661842"/>
                    </a:lnTo>
                    <a:lnTo>
                      <a:pt x="445168" y="661994"/>
                    </a:lnTo>
                    <a:lnTo>
                      <a:pt x="445168" y="663358"/>
                    </a:lnTo>
                    <a:lnTo>
                      <a:pt x="445471" y="665479"/>
                    </a:lnTo>
                    <a:lnTo>
                      <a:pt x="443653" y="665782"/>
                    </a:lnTo>
                    <a:lnTo>
                      <a:pt x="443198" y="666540"/>
                    </a:lnTo>
                    <a:lnTo>
                      <a:pt x="441228" y="670782"/>
                    </a:lnTo>
                    <a:lnTo>
                      <a:pt x="438501" y="676237"/>
                    </a:lnTo>
                    <a:lnTo>
                      <a:pt x="435774" y="681843"/>
                    </a:lnTo>
                    <a:lnTo>
                      <a:pt x="434107" y="685177"/>
                    </a:lnTo>
                    <a:lnTo>
                      <a:pt x="436834" y="687601"/>
                    </a:lnTo>
                    <a:lnTo>
                      <a:pt x="441532" y="691692"/>
                    </a:lnTo>
                    <a:lnTo>
                      <a:pt x="440774" y="692904"/>
                    </a:lnTo>
                    <a:lnTo>
                      <a:pt x="438804" y="693510"/>
                    </a:lnTo>
                    <a:lnTo>
                      <a:pt x="437137" y="693965"/>
                    </a:lnTo>
                    <a:lnTo>
                      <a:pt x="435925" y="695480"/>
                    </a:lnTo>
                    <a:lnTo>
                      <a:pt x="435168" y="696692"/>
                    </a:lnTo>
                    <a:lnTo>
                      <a:pt x="433349" y="697147"/>
                    </a:lnTo>
                    <a:lnTo>
                      <a:pt x="433955" y="699268"/>
                    </a:lnTo>
                    <a:lnTo>
                      <a:pt x="434258" y="700783"/>
                    </a:lnTo>
                    <a:lnTo>
                      <a:pt x="435168" y="701844"/>
                    </a:lnTo>
                    <a:lnTo>
                      <a:pt x="436077" y="703359"/>
                    </a:lnTo>
                    <a:lnTo>
                      <a:pt x="436986" y="704268"/>
                    </a:lnTo>
                    <a:lnTo>
                      <a:pt x="437592" y="705632"/>
                    </a:lnTo>
                    <a:lnTo>
                      <a:pt x="437440" y="707299"/>
                    </a:lnTo>
                    <a:lnTo>
                      <a:pt x="437744" y="709420"/>
                    </a:lnTo>
                    <a:lnTo>
                      <a:pt x="438198" y="711238"/>
                    </a:lnTo>
                    <a:lnTo>
                      <a:pt x="438653" y="711693"/>
                    </a:lnTo>
                    <a:lnTo>
                      <a:pt x="440016" y="712147"/>
                    </a:lnTo>
                    <a:lnTo>
                      <a:pt x="440622" y="713814"/>
                    </a:lnTo>
                    <a:lnTo>
                      <a:pt x="440168" y="714572"/>
                    </a:lnTo>
                    <a:lnTo>
                      <a:pt x="440319" y="715481"/>
                    </a:lnTo>
                    <a:lnTo>
                      <a:pt x="440774" y="716390"/>
                    </a:lnTo>
                    <a:lnTo>
                      <a:pt x="440319" y="717299"/>
                    </a:lnTo>
                    <a:lnTo>
                      <a:pt x="440471" y="718057"/>
                    </a:lnTo>
                    <a:lnTo>
                      <a:pt x="441380" y="718663"/>
                    </a:lnTo>
                    <a:lnTo>
                      <a:pt x="442138" y="720935"/>
                    </a:lnTo>
                    <a:lnTo>
                      <a:pt x="442289" y="724723"/>
                    </a:lnTo>
                    <a:lnTo>
                      <a:pt x="441380" y="726845"/>
                    </a:lnTo>
                    <a:lnTo>
                      <a:pt x="440622" y="728511"/>
                    </a:lnTo>
                    <a:lnTo>
                      <a:pt x="440471" y="729572"/>
                    </a:lnTo>
                    <a:lnTo>
                      <a:pt x="441077" y="731087"/>
                    </a:lnTo>
                    <a:lnTo>
                      <a:pt x="440168" y="732906"/>
                    </a:lnTo>
                    <a:lnTo>
                      <a:pt x="439107" y="735027"/>
                    </a:lnTo>
                    <a:lnTo>
                      <a:pt x="439410" y="736542"/>
                    </a:lnTo>
                    <a:lnTo>
                      <a:pt x="439562" y="737906"/>
                    </a:lnTo>
                    <a:lnTo>
                      <a:pt x="439713" y="739421"/>
                    </a:lnTo>
                    <a:lnTo>
                      <a:pt x="440016" y="740785"/>
                    </a:lnTo>
                    <a:lnTo>
                      <a:pt x="439713" y="742300"/>
                    </a:lnTo>
                    <a:lnTo>
                      <a:pt x="439410" y="743664"/>
                    </a:lnTo>
                    <a:lnTo>
                      <a:pt x="439259" y="745179"/>
                    </a:lnTo>
                    <a:lnTo>
                      <a:pt x="439713" y="746846"/>
                    </a:lnTo>
                    <a:lnTo>
                      <a:pt x="438956" y="748512"/>
                    </a:lnTo>
                    <a:lnTo>
                      <a:pt x="438501" y="749573"/>
                    </a:lnTo>
                    <a:lnTo>
                      <a:pt x="438349" y="750634"/>
                    </a:lnTo>
                    <a:lnTo>
                      <a:pt x="439107" y="752452"/>
                    </a:lnTo>
                    <a:lnTo>
                      <a:pt x="441228" y="753209"/>
                    </a:lnTo>
                    <a:lnTo>
                      <a:pt x="442895" y="753361"/>
                    </a:lnTo>
                    <a:lnTo>
                      <a:pt x="444410" y="752452"/>
                    </a:lnTo>
                    <a:lnTo>
                      <a:pt x="445622" y="752149"/>
                    </a:lnTo>
                    <a:lnTo>
                      <a:pt x="447744" y="753058"/>
                    </a:lnTo>
                    <a:lnTo>
                      <a:pt x="449714" y="754573"/>
                    </a:lnTo>
                    <a:lnTo>
                      <a:pt x="452289" y="754725"/>
                    </a:lnTo>
                    <a:lnTo>
                      <a:pt x="454562" y="755028"/>
                    </a:lnTo>
                    <a:lnTo>
                      <a:pt x="456229" y="755482"/>
                    </a:lnTo>
                    <a:lnTo>
                      <a:pt x="458805" y="754876"/>
                    </a:lnTo>
                    <a:lnTo>
                      <a:pt x="461381" y="755482"/>
                    </a:lnTo>
                    <a:lnTo>
                      <a:pt x="464411" y="756391"/>
                    </a:lnTo>
                    <a:lnTo>
                      <a:pt x="466987" y="757149"/>
                    </a:lnTo>
                    <a:lnTo>
                      <a:pt x="469563" y="756997"/>
                    </a:lnTo>
                    <a:lnTo>
                      <a:pt x="471533" y="756846"/>
                    </a:lnTo>
                    <a:lnTo>
                      <a:pt x="473502" y="755937"/>
                    </a:lnTo>
                    <a:lnTo>
                      <a:pt x="475472" y="756088"/>
                    </a:lnTo>
                    <a:lnTo>
                      <a:pt x="476987" y="754573"/>
                    </a:lnTo>
                    <a:lnTo>
                      <a:pt x="477745" y="753209"/>
                    </a:lnTo>
                    <a:lnTo>
                      <a:pt x="478503" y="752300"/>
                    </a:lnTo>
                    <a:lnTo>
                      <a:pt x="480624" y="751543"/>
                    </a:lnTo>
                    <a:lnTo>
                      <a:pt x="482139" y="751997"/>
                    </a:lnTo>
                    <a:lnTo>
                      <a:pt x="483351" y="754422"/>
                    </a:lnTo>
                    <a:lnTo>
                      <a:pt x="485472" y="755785"/>
                    </a:lnTo>
                    <a:lnTo>
                      <a:pt x="486230" y="756846"/>
                    </a:lnTo>
                    <a:lnTo>
                      <a:pt x="487745" y="757301"/>
                    </a:lnTo>
                    <a:lnTo>
                      <a:pt x="491079" y="757452"/>
                    </a:lnTo>
                    <a:lnTo>
                      <a:pt x="493200" y="757301"/>
                    </a:lnTo>
                    <a:lnTo>
                      <a:pt x="495624" y="758058"/>
                    </a:lnTo>
                    <a:lnTo>
                      <a:pt x="497140" y="758058"/>
                    </a:lnTo>
                    <a:lnTo>
                      <a:pt x="498503" y="759422"/>
                    </a:lnTo>
                    <a:lnTo>
                      <a:pt x="499715" y="761089"/>
                    </a:lnTo>
                    <a:lnTo>
                      <a:pt x="499867" y="763967"/>
                    </a:lnTo>
                    <a:lnTo>
                      <a:pt x="501079" y="766240"/>
                    </a:lnTo>
                    <a:lnTo>
                      <a:pt x="502594" y="767149"/>
                    </a:lnTo>
                    <a:lnTo>
                      <a:pt x="503352" y="768513"/>
                    </a:lnTo>
                    <a:lnTo>
                      <a:pt x="503049" y="770483"/>
                    </a:lnTo>
                    <a:lnTo>
                      <a:pt x="502291" y="772453"/>
                    </a:lnTo>
                    <a:lnTo>
                      <a:pt x="502443" y="774574"/>
                    </a:lnTo>
                    <a:lnTo>
                      <a:pt x="503200" y="776544"/>
                    </a:lnTo>
                    <a:lnTo>
                      <a:pt x="503200" y="778513"/>
                    </a:lnTo>
                    <a:lnTo>
                      <a:pt x="503807" y="780483"/>
                    </a:lnTo>
                    <a:lnTo>
                      <a:pt x="504867" y="782150"/>
                    </a:lnTo>
                    <a:lnTo>
                      <a:pt x="505170" y="784877"/>
                    </a:lnTo>
                    <a:lnTo>
                      <a:pt x="505019" y="786847"/>
                    </a:lnTo>
                    <a:lnTo>
                      <a:pt x="505776" y="788059"/>
                    </a:lnTo>
                    <a:lnTo>
                      <a:pt x="506079" y="789726"/>
                    </a:lnTo>
                    <a:lnTo>
                      <a:pt x="505625" y="791090"/>
                    </a:lnTo>
                    <a:lnTo>
                      <a:pt x="505473" y="792908"/>
                    </a:lnTo>
                    <a:lnTo>
                      <a:pt x="505625" y="794574"/>
                    </a:lnTo>
                    <a:lnTo>
                      <a:pt x="506231" y="795938"/>
                    </a:lnTo>
                    <a:lnTo>
                      <a:pt x="507897" y="797605"/>
                    </a:lnTo>
                    <a:lnTo>
                      <a:pt x="508352" y="800635"/>
                    </a:lnTo>
                    <a:lnTo>
                      <a:pt x="508352" y="802757"/>
                    </a:lnTo>
                    <a:lnTo>
                      <a:pt x="509110" y="805181"/>
                    </a:lnTo>
                    <a:lnTo>
                      <a:pt x="510474" y="806393"/>
                    </a:lnTo>
                    <a:lnTo>
                      <a:pt x="512595" y="806848"/>
                    </a:lnTo>
                    <a:lnTo>
                      <a:pt x="515171" y="807302"/>
                    </a:lnTo>
                    <a:lnTo>
                      <a:pt x="518201" y="806696"/>
                    </a:lnTo>
                    <a:lnTo>
                      <a:pt x="520928" y="806090"/>
                    </a:lnTo>
                    <a:lnTo>
                      <a:pt x="522444" y="805484"/>
                    </a:lnTo>
                    <a:lnTo>
                      <a:pt x="525474" y="803666"/>
                    </a:lnTo>
                    <a:lnTo>
                      <a:pt x="528050" y="802605"/>
                    </a:lnTo>
                    <a:lnTo>
                      <a:pt x="529414" y="801999"/>
                    </a:lnTo>
                    <a:lnTo>
                      <a:pt x="530626" y="801545"/>
                    </a:lnTo>
                    <a:lnTo>
                      <a:pt x="533202" y="802757"/>
                    </a:lnTo>
                    <a:lnTo>
                      <a:pt x="535626" y="804120"/>
                    </a:lnTo>
                    <a:lnTo>
                      <a:pt x="537596" y="806090"/>
                    </a:lnTo>
                    <a:lnTo>
                      <a:pt x="541081" y="808211"/>
                    </a:lnTo>
                    <a:lnTo>
                      <a:pt x="540323" y="808817"/>
                    </a:lnTo>
                    <a:lnTo>
                      <a:pt x="538959" y="810636"/>
                    </a:lnTo>
                    <a:lnTo>
                      <a:pt x="538959" y="812757"/>
                    </a:lnTo>
                    <a:lnTo>
                      <a:pt x="540020" y="815788"/>
                    </a:lnTo>
                    <a:lnTo>
                      <a:pt x="539111" y="822151"/>
                    </a:lnTo>
                    <a:lnTo>
                      <a:pt x="536383" y="832000"/>
                    </a:lnTo>
                    <a:lnTo>
                      <a:pt x="535323" y="837758"/>
                    </a:lnTo>
                    <a:lnTo>
                      <a:pt x="535777" y="839425"/>
                    </a:lnTo>
                    <a:lnTo>
                      <a:pt x="534717" y="842304"/>
                    </a:lnTo>
                    <a:lnTo>
                      <a:pt x="530929" y="848516"/>
                    </a:lnTo>
                    <a:lnTo>
                      <a:pt x="530777" y="852607"/>
                    </a:lnTo>
                    <a:lnTo>
                      <a:pt x="532899" y="852607"/>
                    </a:lnTo>
                    <a:lnTo>
                      <a:pt x="533959" y="853516"/>
                    </a:lnTo>
                    <a:lnTo>
                      <a:pt x="535474" y="853971"/>
                    </a:lnTo>
                    <a:lnTo>
                      <a:pt x="537141" y="852910"/>
                    </a:lnTo>
                    <a:lnTo>
                      <a:pt x="538505" y="852456"/>
                    </a:lnTo>
                    <a:lnTo>
                      <a:pt x="540778" y="852456"/>
                    </a:lnTo>
                    <a:lnTo>
                      <a:pt x="541990" y="851243"/>
                    </a:lnTo>
                    <a:lnTo>
                      <a:pt x="543354" y="851092"/>
                    </a:lnTo>
                    <a:lnTo>
                      <a:pt x="544263" y="851698"/>
                    </a:lnTo>
                    <a:lnTo>
                      <a:pt x="545172" y="852456"/>
                    </a:lnTo>
                    <a:lnTo>
                      <a:pt x="547142" y="852607"/>
                    </a:lnTo>
                    <a:lnTo>
                      <a:pt x="548657" y="854577"/>
                    </a:lnTo>
                    <a:lnTo>
                      <a:pt x="550323" y="855183"/>
                    </a:lnTo>
                    <a:lnTo>
                      <a:pt x="551081" y="857456"/>
                    </a:lnTo>
                    <a:lnTo>
                      <a:pt x="552142" y="863516"/>
                    </a:lnTo>
                    <a:lnTo>
                      <a:pt x="554263" y="867153"/>
                    </a:lnTo>
                    <a:lnTo>
                      <a:pt x="556384" y="871244"/>
                    </a:lnTo>
                    <a:lnTo>
                      <a:pt x="556384" y="873062"/>
                    </a:lnTo>
                    <a:lnTo>
                      <a:pt x="555172" y="874881"/>
                    </a:lnTo>
                    <a:lnTo>
                      <a:pt x="555020" y="877608"/>
                    </a:lnTo>
                    <a:lnTo>
                      <a:pt x="554263" y="884123"/>
                    </a:lnTo>
                    <a:lnTo>
                      <a:pt x="553960" y="886548"/>
                    </a:lnTo>
                    <a:lnTo>
                      <a:pt x="554718" y="888214"/>
                    </a:lnTo>
                    <a:lnTo>
                      <a:pt x="555020" y="890487"/>
                    </a:lnTo>
                    <a:lnTo>
                      <a:pt x="553960" y="893215"/>
                    </a:lnTo>
                    <a:lnTo>
                      <a:pt x="551839" y="897457"/>
                    </a:lnTo>
                    <a:lnTo>
                      <a:pt x="549717" y="898518"/>
                    </a:lnTo>
                    <a:lnTo>
                      <a:pt x="549111" y="898518"/>
                    </a:lnTo>
                    <a:lnTo>
                      <a:pt x="546232" y="900942"/>
                    </a:lnTo>
                    <a:lnTo>
                      <a:pt x="544263" y="901851"/>
                    </a:lnTo>
                    <a:lnTo>
                      <a:pt x="543050" y="901245"/>
                    </a:lnTo>
                    <a:lnTo>
                      <a:pt x="541687" y="902306"/>
                    </a:lnTo>
                    <a:lnTo>
                      <a:pt x="540171" y="905033"/>
                    </a:lnTo>
                    <a:lnTo>
                      <a:pt x="538353" y="906245"/>
                    </a:lnTo>
                    <a:lnTo>
                      <a:pt x="535020" y="906851"/>
                    </a:lnTo>
                    <a:lnTo>
                      <a:pt x="533959" y="907154"/>
                    </a:lnTo>
                    <a:lnTo>
                      <a:pt x="531989" y="907003"/>
                    </a:lnTo>
                    <a:lnTo>
                      <a:pt x="530323" y="907609"/>
                    </a:lnTo>
                    <a:lnTo>
                      <a:pt x="528959" y="909124"/>
                    </a:lnTo>
                    <a:lnTo>
                      <a:pt x="527444" y="909730"/>
                    </a:lnTo>
                    <a:lnTo>
                      <a:pt x="525928" y="909427"/>
                    </a:lnTo>
                    <a:lnTo>
                      <a:pt x="524565" y="910033"/>
                    </a:lnTo>
                    <a:lnTo>
                      <a:pt x="523353" y="911397"/>
                    </a:lnTo>
                    <a:lnTo>
                      <a:pt x="522595" y="912912"/>
                    </a:lnTo>
                    <a:lnTo>
                      <a:pt x="522444" y="914579"/>
                    </a:lnTo>
                    <a:lnTo>
                      <a:pt x="521231" y="915639"/>
                    </a:lnTo>
                    <a:lnTo>
                      <a:pt x="518959" y="916246"/>
                    </a:lnTo>
                    <a:lnTo>
                      <a:pt x="518201" y="917155"/>
                    </a:lnTo>
                    <a:lnTo>
                      <a:pt x="518352" y="918367"/>
                    </a:lnTo>
                    <a:lnTo>
                      <a:pt x="517292" y="919276"/>
                    </a:lnTo>
                    <a:lnTo>
                      <a:pt x="513352" y="920185"/>
                    </a:lnTo>
                    <a:lnTo>
                      <a:pt x="510474" y="921852"/>
                    </a:lnTo>
                    <a:lnTo>
                      <a:pt x="508807" y="924276"/>
                    </a:lnTo>
                    <a:lnTo>
                      <a:pt x="506988" y="925791"/>
                    </a:lnTo>
                    <a:lnTo>
                      <a:pt x="504109" y="926701"/>
                    </a:lnTo>
                    <a:lnTo>
                      <a:pt x="500170" y="929125"/>
                    </a:lnTo>
                    <a:lnTo>
                      <a:pt x="499564" y="930640"/>
                    </a:lnTo>
                    <a:lnTo>
                      <a:pt x="501079" y="932004"/>
                    </a:lnTo>
                    <a:lnTo>
                      <a:pt x="501685" y="933216"/>
                    </a:lnTo>
                    <a:lnTo>
                      <a:pt x="501231" y="934277"/>
                    </a:lnTo>
                    <a:lnTo>
                      <a:pt x="500019" y="934428"/>
                    </a:lnTo>
                    <a:lnTo>
                      <a:pt x="498049" y="933670"/>
                    </a:lnTo>
                    <a:lnTo>
                      <a:pt x="496533" y="933519"/>
                    </a:lnTo>
                    <a:lnTo>
                      <a:pt x="495624" y="933974"/>
                    </a:lnTo>
                    <a:lnTo>
                      <a:pt x="495170" y="934883"/>
                    </a:lnTo>
                    <a:lnTo>
                      <a:pt x="495170" y="936246"/>
                    </a:lnTo>
                    <a:lnTo>
                      <a:pt x="494412" y="937156"/>
                    </a:lnTo>
                    <a:lnTo>
                      <a:pt x="492897" y="937610"/>
                    </a:lnTo>
                    <a:lnTo>
                      <a:pt x="491988" y="938671"/>
                    </a:lnTo>
                    <a:lnTo>
                      <a:pt x="491533" y="940337"/>
                    </a:lnTo>
                    <a:lnTo>
                      <a:pt x="489715" y="942459"/>
                    </a:lnTo>
                    <a:lnTo>
                      <a:pt x="486382" y="945034"/>
                    </a:lnTo>
                    <a:lnTo>
                      <a:pt x="483806" y="948520"/>
                    </a:lnTo>
                    <a:lnTo>
                      <a:pt x="481836" y="952762"/>
                    </a:lnTo>
                    <a:lnTo>
                      <a:pt x="479563" y="955641"/>
                    </a:lnTo>
                    <a:lnTo>
                      <a:pt x="476987" y="957005"/>
                    </a:lnTo>
                    <a:lnTo>
                      <a:pt x="475169" y="958975"/>
                    </a:lnTo>
                    <a:lnTo>
                      <a:pt x="474260" y="961550"/>
                    </a:lnTo>
                    <a:lnTo>
                      <a:pt x="471533" y="965490"/>
                    </a:lnTo>
                    <a:lnTo>
                      <a:pt x="466987" y="970793"/>
                    </a:lnTo>
                    <a:lnTo>
                      <a:pt x="462896" y="974429"/>
                    </a:lnTo>
                    <a:lnTo>
                      <a:pt x="459259" y="976399"/>
                    </a:lnTo>
                    <a:lnTo>
                      <a:pt x="457138" y="978672"/>
                    </a:lnTo>
                    <a:lnTo>
                      <a:pt x="456684" y="981096"/>
                    </a:lnTo>
                    <a:lnTo>
                      <a:pt x="454259" y="983975"/>
                    </a:lnTo>
                    <a:lnTo>
                      <a:pt x="449865" y="987157"/>
                    </a:lnTo>
                    <a:lnTo>
                      <a:pt x="448653" y="988521"/>
                    </a:lnTo>
                    <a:lnTo>
                      <a:pt x="450168" y="990642"/>
                    </a:lnTo>
                    <a:lnTo>
                      <a:pt x="454714" y="991249"/>
                    </a:lnTo>
                    <a:lnTo>
                      <a:pt x="459411" y="991400"/>
                    </a:lnTo>
                    <a:lnTo>
                      <a:pt x="460169" y="990794"/>
                    </a:lnTo>
                    <a:lnTo>
                      <a:pt x="461987" y="987157"/>
                    </a:lnTo>
                    <a:lnTo>
                      <a:pt x="464411" y="986097"/>
                    </a:lnTo>
                    <a:lnTo>
                      <a:pt x="466987" y="985794"/>
                    </a:lnTo>
                    <a:lnTo>
                      <a:pt x="469866" y="985945"/>
                    </a:lnTo>
                    <a:lnTo>
                      <a:pt x="472896" y="988370"/>
                    </a:lnTo>
                    <a:lnTo>
                      <a:pt x="481533" y="996097"/>
                    </a:lnTo>
                    <a:lnTo>
                      <a:pt x="487897" y="1001552"/>
                    </a:lnTo>
                    <a:lnTo>
                      <a:pt x="489867" y="1004128"/>
                    </a:lnTo>
                    <a:lnTo>
                      <a:pt x="491533" y="1006097"/>
                    </a:lnTo>
                    <a:lnTo>
                      <a:pt x="492745" y="1007916"/>
                    </a:lnTo>
                    <a:lnTo>
                      <a:pt x="492139" y="1012613"/>
                    </a:lnTo>
                    <a:lnTo>
                      <a:pt x="492291" y="1014582"/>
                    </a:lnTo>
                    <a:lnTo>
                      <a:pt x="492594" y="1015189"/>
                    </a:lnTo>
                    <a:lnTo>
                      <a:pt x="494109" y="1015189"/>
                    </a:lnTo>
                    <a:lnTo>
                      <a:pt x="496231" y="1014886"/>
                    </a:lnTo>
                    <a:lnTo>
                      <a:pt x="498049" y="1013825"/>
                    </a:lnTo>
                    <a:lnTo>
                      <a:pt x="499412" y="1012310"/>
                    </a:lnTo>
                    <a:lnTo>
                      <a:pt x="500776" y="1011098"/>
                    </a:lnTo>
                    <a:lnTo>
                      <a:pt x="501837" y="1010491"/>
                    </a:lnTo>
                    <a:lnTo>
                      <a:pt x="502291" y="1009582"/>
                    </a:lnTo>
                    <a:lnTo>
                      <a:pt x="502897" y="1008522"/>
                    </a:lnTo>
                    <a:lnTo>
                      <a:pt x="503503" y="1008370"/>
                    </a:lnTo>
                    <a:lnTo>
                      <a:pt x="504716" y="1009128"/>
                    </a:lnTo>
                    <a:lnTo>
                      <a:pt x="507595" y="1011855"/>
                    </a:lnTo>
                    <a:lnTo>
                      <a:pt x="509867" y="1014279"/>
                    </a:lnTo>
                    <a:lnTo>
                      <a:pt x="510474" y="1015643"/>
                    </a:lnTo>
                    <a:lnTo>
                      <a:pt x="511383" y="1017158"/>
                    </a:lnTo>
                    <a:lnTo>
                      <a:pt x="512292" y="1018370"/>
                    </a:lnTo>
                    <a:lnTo>
                      <a:pt x="512898" y="1019583"/>
                    </a:lnTo>
                    <a:lnTo>
                      <a:pt x="515171" y="1021249"/>
                    </a:lnTo>
                    <a:lnTo>
                      <a:pt x="517443" y="1022310"/>
                    </a:lnTo>
                    <a:lnTo>
                      <a:pt x="518959" y="1021249"/>
                    </a:lnTo>
                    <a:lnTo>
                      <a:pt x="522747" y="1024583"/>
                    </a:lnTo>
                    <a:lnTo>
                      <a:pt x="531232" y="1027462"/>
                    </a:lnTo>
                    <a:lnTo>
                      <a:pt x="532747" y="1029129"/>
                    </a:lnTo>
                    <a:lnTo>
                      <a:pt x="534262" y="1031553"/>
                    </a:lnTo>
                    <a:lnTo>
                      <a:pt x="537141" y="1035189"/>
                    </a:lnTo>
                    <a:lnTo>
                      <a:pt x="541232" y="1038523"/>
                    </a:lnTo>
                    <a:lnTo>
                      <a:pt x="544566" y="1039887"/>
                    </a:lnTo>
                    <a:lnTo>
                      <a:pt x="547748" y="1040644"/>
                    </a:lnTo>
                    <a:lnTo>
                      <a:pt x="549566" y="1041402"/>
                    </a:lnTo>
                    <a:lnTo>
                      <a:pt x="550778" y="1042614"/>
                    </a:lnTo>
                    <a:lnTo>
                      <a:pt x="552748" y="1043977"/>
                    </a:lnTo>
                    <a:lnTo>
                      <a:pt x="553960" y="1044432"/>
                    </a:lnTo>
                    <a:lnTo>
                      <a:pt x="554414" y="1045644"/>
                    </a:lnTo>
                    <a:lnTo>
                      <a:pt x="555627" y="1048372"/>
                    </a:lnTo>
                    <a:lnTo>
                      <a:pt x="556990" y="1051705"/>
                    </a:lnTo>
                    <a:lnTo>
                      <a:pt x="558354" y="1054887"/>
                    </a:lnTo>
                    <a:lnTo>
                      <a:pt x="561384" y="1057918"/>
                    </a:lnTo>
                    <a:lnTo>
                      <a:pt x="564869" y="1060342"/>
                    </a:lnTo>
                    <a:lnTo>
                      <a:pt x="568506" y="1061706"/>
                    </a:lnTo>
                    <a:lnTo>
                      <a:pt x="570173" y="1063069"/>
                    </a:lnTo>
                    <a:lnTo>
                      <a:pt x="570930" y="1062312"/>
                    </a:lnTo>
                    <a:lnTo>
                      <a:pt x="572294" y="1061403"/>
                    </a:lnTo>
                    <a:lnTo>
                      <a:pt x="573961" y="1060796"/>
                    </a:lnTo>
                    <a:lnTo>
                      <a:pt x="575021" y="1058827"/>
                    </a:lnTo>
                    <a:lnTo>
                      <a:pt x="575930" y="1056857"/>
                    </a:lnTo>
                    <a:lnTo>
                      <a:pt x="578203" y="1055796"/>
                    </a:lnTo>
                    <a:lnTo>
                      <a:pt x="580022" y="1054584"/>
                    </a:lnTo>
                    <a:lnTo>
                      <a:pt x="580173" y="1053220"/>
                    </a:lnTo>
                    <a:lnTo>
                      <a:pt x="580476" y="1052160"/>
                    </a:lnTo>
                    <a:lnTo>
                      <a:pt x="580779" y="1050796"/>
                    </a:lnTo>
                    <a:lnTo>
                      <a:pt x="581688" y="1049432"/>
                    </a:lnTo>
                    <a:lnTo>
                      <a:pt x="582294" y="1048826"/>
                    </a:lnTo>
                    <a:lnTo>
                      <a:pt x="582749" y="1048978"/>
                    </a:lnTo>
                    <a:lnTo>
                      <a:pt x="583052" y="1050039"/>
                    </a:lnTo>
                    <a:lnTo>
                      <a:pt x="583052" y="1053372"/>
                    </a:lnTo>
                    <a:lnTo>
                      <a:pt x="584112" y="1054736"/>
                    </a:lnTo>
                    <a:lnTo>
                      <a:pt x="584870" y="1056554"/>
                    </a:lnTo>
                    <a:lnTo>
                      <a:pt x="585779" y="1057918"/>
                    </a:lnTo>
                    <a:lnTo>
                      <a:pt x="585779" y="1059130"/>
                    </a:lnTo>
                    <a:lnTo>
                      <a:pt x="585628" y="1060494"/>
                    </a:lnTo>
                    <a:lnTo>
                      <a:pt x="585173" y="1062160"/>
                    </a:lnTo>
                    <a:lnTo>
                      <a:pt x="583961" y="1063978"/>
                    </a:lnTo>
                    <a:lnTo>
                      <a:pt x="583052" y="1065796"/>
                    </a:lnTo>
                    <a:lnTo>
                      <a:pt x="581991" y="1067463"/>
                    </a:lnTo>
                    <a:lnTo>
                      <a:pt x="580931" y="1069433"/>
                    </a:lnTo>
                    <a:lnTo>
                      <a:pt x="580022" y="1070342"/>
                    </a:lnTo>
                    <a:lnTo>
                      <a:pt x="578961" y="1070645"/>
                    </a:lnTo>
                    <a:lnTo>
                      <a:pt x="577597" y="1070494"/>
                    </a:lnTo>
                    <a:lnTo>
                      <a:pt x="576385" y="1068979"/>
                    </a:lnTo>
                    <a:lnTo>
                      <a:pt x="575324" y="1067766"/>
                    </a:lnTo>
                    <a:lnTo>
                      <a:pt x="574264" y="1067009"/>
                    </a:lnTo>
                    <a:lnTo>
                      <a:pt x="572900" y="1067312"/>
                    </a:lnTo>
                    <a:lnTo>
                      <a:pt x="571233" y="1068373"/>
                    </a:lnTo>
                    <a:lnTo>
                      <a:pt x="570021" y="1071706"/>
                    </a:lnTo>
                    <a:lnTo>
                      <a:pt x="568506" y="1074736"/>
                    </a:lnTo>
                    <a:lnTo>
                      <a:pt x="566688" y="1075494"/>
                    </a:lnTo>
                    <a:lnTo>
                      <a:pt x="565779" y="1075646"/>
                    </a:lnTo>
                    <a:lnTo>
                      <a:pt x="565021" y="1075949"/>
                    </a:lnTo>
                    <a:lnTo>
                      <a:pt x="564263" y="1076706"/>
                    </a:lnTo>
                    <a:lnTo>
                      <a:pt x="563354" y="1077918"/>
                    </a:lnTo>
                    <a:lnTo>
                      <a:pt x="562596" y="1080191"/>
                    </a:lnTo>
                    <a:lnTo>
                      <a:pt x="562142" y="1083676"/>
                    </a:lnTo>
                    <a:lnTo>
                      <a:pt x="562596" y="1087464"/>
                    </a:lnTo>
                    <a:lnTo>
                      <a:pt x="562142" y="1089282"/>
                    </a:lnTo>
                    <a:lnTo>
                      <a:pt x="561081" y="1089737"/>
                    </a:lnTo>
                    <a:lnTo>
                      <a:pt x="560627" y="1090040"/>
                    </a:lnTo>
                    <a:lnTo>
                      <a:pt x="560172" y="1089888"/>
                    </a:lnTo>
                    <a:lnTo>
                      <a:pt x="560021" y="1089737"/>
                    </a:lnTo>
                    <a:lnTo>
                      <a:pt x="559869" y="1092010"/>
                    </a:lnTo>
                    <a:lnTo>
                      <a:pt x="560021" y="1093070"/>
                    </a:lnTo>
                    <a:lnTo>
                      <a:pt x="560324" y="1093676"/>
                    </a:lnTo>
                    <a:lnTo>
                      <a:pt x="561839" y="1094737"/>
                    </a:lnTo>
                    <a:lnTo>
                      <a:pt x="563657" y="1095646"/>
                    </a:lnTo>
                    <a:lnTo>
                      <a:pt x="564415" y="1095798"/>
                    </a:lnTo>
                    <a:lnTo>
                      <a:pt x="576688" y="1085343"/>
                    </a:lnTo>
                    <a:lnTo>
                      <a:pt x="581082" y="1081252"/>
                    </a:lnTo>
                    <a:lnTo>
                      <a:pt x="584112" y="1077312"/>
                    </a:lnTo>
                    <a:lnTo>
                      <a:pt x="588052" y="1069282"/>
                    </a:lnTo>
                    <a:lnTo>
                      <a:pt x="592598" y="1056099"/>
                    </a:lnTo>
                    <a:lnTo>
                      <a:pt x="594416" y="1052614"/>
                    </a:lnTo>
                    <a:lnTo>
                      <a:pt x="596689" y="1049432"/>
                    </a:lnTo>
                    <a:lnTo>
                      <a:pt x="598355" y="1047765"/>
                    </a:lnTo>
                    <a:lnTo>
                      <a:pt x="597295" y="1045341"/>
                    </a:lnTo>
                    <a:lnTo>
                      <a:pt x="596689" y="1041705"/>
                    </a:lnTo>
                    <a:lnTo>
                      <a:pt x="596689" y="1039280"/>
                    </a:lnTo>
                    <a:lnTo>
                      <a:pt x="598659" y="1033522"/>
                    </a:lnTo>
                    <a:lnTo>
                      <a:pt x="601234" y="1030644"/>
                    </a:lnTo>
                    <a:lnTo>
                      <a:pt x="602143" y="1027310"/>
                    </a:lnTo>
                    <a:lnTo>
                      <a:pt x="602750" y="1024128"/>
                    </a:lnTo>
                    <a:lnTo>
                      <a:pt x="603962" y="1022765"/>
                    </a:lnTo>
                    <a:lnTo>
                      <a:pt x="609719" y="1019886"/>
                    </a:lnTo>
                    <a:lnTo>
                      <a:pt x="615477" y="1015643"/>
                    </a:lnTo>
                    <a:lnTo>
                      <a:pt x="616690" y="1014128"/>
                    </a:lnTo>
                    <a:lnTo>
                      <a:pt x="616083" y="1011855"/>
                    </a:lnTo>
                    <a:lnTo>
                      <a:pt x="616841" y="1009885"/>
                    </a:lnTo>
                    <a:lnTo>
                      <a:pt x="619114" y="1007916"/>
                    </a:lnTo>
                    <a:lnTo>
                      <a:pt x="619568" y="1002764"/>
                    </a:lnTo>
                    <a:lnTo>
                      <a:pt x="620781" y="1003673"/>
                    </a:lnTo>
                    <a:lnTo>
                      <a:pt x="621690" y="1005188"/>
                    </a:lnTo>
                    <a:lnTo>
                      <a:pt x="621538" y="1000340"/>
                    </a:lnTo>
                    <a:lnTo>
                      <a:pt x="622599" y="996703"/>
                    </a:lnTo>
                    <a:lnTo>
                      <a:pt x="624266" y="995037"/>
                    </a:lnTo>
                    <a:lnTo>
                      <a:pt x="625023" y="993673"/>
                    </a:lnTo>
                    <a:lnTo>
                      <a:pt x="621690" y="990036"/>
                    </a:lnTo>
                    <a:lnTo>
                      <a:pt x="621387" y="987006"/>
                    </a:lnTo>
                    <a:lnTo>
                      <a:pt x="621235" y="983824"/>
                    </a:lnTo>
                    <a:lnTo>
                      <a:pt x="622599" y="984582"/>
                    </a:lnTo>
                    <a:lnTo>
                      <a:pt x="623053" y="986400"/>
                    </a:lnTo>
                    <a:lnTo>
                      <a:pt x="624569" y="989127"/>
                    </a:lnTo>
                    <a:lnTo>
                      <a:pt x="628357" y="990642"/>
                    </a:lnTo>
                    <a:lnTo>
                      <a:pt x="628811" y="993824"/>
                    </a:lnTo>
                    <a:lnTo>
                      <a:pt x="631387" y="993976"/>
                    </a:lnTo>
                    <a:lnTo>
                      <a:pt x="639266" y="989885"/>
                    </a:lnTo>
                    <a:lnTo>
                      <a:pt x="641539" y="990339"/>
                    </a:lnTo>
                    <a:lnTo>
                      <a:pt x="641993" y="992158"/>
                    </a:lnTo>
                    <a:lnTo>
                      <a:pt x="641084" y="995794"/>
                    </a:lnTo>
                    <a:lnTo>
                      <a:pt x="640175" y="996400"/>
                    </a:lnTo>
                    <a:lnTo>
                      <a:pt x="638205" y="995037"/>
                    </a:lnTo>
                    <a:lnTo>
                      <a:pt x="637296" y="995339"/>
                    </a:lnTo>
                    <a:lnTo>
                      <a:pt x="638054" y="1003673"/>
                    </a:lnTo>
                    <a:lnTo>
                      <a:pt x="635781" y="1007006"/>
                    </a:lnTo>
                    <a:lnTo>
                      <a:pt x="631084" y="1009734"/>
                    </a:lnTo>
                    <a:lnTo>
                      <a:pt x="630478" y="1012764"/>
                    </a:lnTo>
                    <a:lnTo>
                      <a:pt x="630781" y="1014128"/>
                    </a:lnTo>
                    <a:lnTo>
                      <a:pt x="630023" y="1015340"/>
                    </a:lnTo>
                    <a:lnTo>
                      <a:pt x="626538" y="1014886"/>
                    </a:lnTo>
                    <a:lnTo>
                      <a:pt x="625023" y="1015946"/>
                    </a:lnTo>
                    <a:lnTo>
                      <a:pt x="625175" y="1020340"/>
                    </a:lnTo>
                    <a:lnTo>
                      <a:pt x="624720" y="1022462"/>
                    </a:lnTo>
                    <a:lnTo>
                      <a:pt x="621993" y="1026553"/>
                    </a:lnTo>
                    <a:lnTo>
                      <a:pt x="617295" y="1028977"/>
                    </a:lnTo>
                    <a:lnTo>
                      <a:pt x="610932" y="1035492"/>
                    </a:lnTo>
                    <a:lnTo>
                      <a:pt x="607598" y="1036098"/>
                    </a:lnTo>
                    <a:lnTo>
                      <a:pt x="606538" y="1037159"/>
                    </a:lnTo>
                    <a:lnTo>
                      <a:pt x="605174" y="1038220"/>
                    </a:lnTo>
                    <a:lnTo>
                      <a:pt x="602447" y="1036553"/>
                    </a:lnTo>
                    <a:lnTo>
                      <a:pt x="600628" y="1037008"/>
                    </a:lnTo>
                    <a:lnTo>
                      <a:pt x="600780" y="1039584"/>
                    </a:lnTo>
                    <a:lnTo>
                      <a:pt x="601234" y="1041553"/>
                    </a:lnTo>
                    <a:lnTo>
                      <a:pt x="600477" y="1044129"/>
                    </a:lnTo>
                    <a:lnTo>
                      <a:pt x="601234" y="1045644"/>
                    </a:lnTo>
                    <a:lnTo>
                      <a:pt x="604416" y="1041856"/>
                    </a:lnTo>
                    <a:lnTo>
                      <a:pt x="607750" y="1039129"/>
                    </a:lnTo>
                    <a:lnTo>
                      <a:pt x="616993" y="1033220"/>
                    </a:lnTo>
                    <a:lnTo>
                      <a:pt x="625478" y="1026553"/>
                    </a:lnTo>
                    <a:lnTo>
                      <a:pt x="631842" y="1019886"/>
                    </a:lnTo>
                    <a:lnTo>
                      <a:pt x="636539" y="1014128"/>
                    </a:lnTo>
                    <a:lnTo>
                      <a:pt x="640024" y="1008976"/>
                    </a:lnTo>
                    <a:lnTo>
                      <a:pt x="648812" y="994885"/>
                    </a:lnTo>
                    <a:lnTo>
                      <a:pt x="656085" y="976248"/>
                    </a:lnTo>
                    <a:lnTo>
                      <a:pt x="663964" y="963217"/>
                    </a:lnTo>
                    <a:lnTo>
                      <a:pt x="670631" y="954732"/>
                    </a:lnTo>
                    <a:lnTo>
                      <a:pt x="676843" y="948671"/>
                    </a:lnTo>
                    <a:lnTo>
                      <a:pt x="683662" y="943520"/>
                    </a:lnTo>
                    <a:lnTo>
                      <a:pt x="689722" y="939883"/>
                    </a:lnTo>
                    <a:lnTo>
                      <a:pt x="689722" y="935944"/>
                    </a:lnTo>
                    <a:lnTo>
                      <a:pt x="692601" y="932004"/>
                    </a:lnTo>
                    <a:lnTo>
                      <a:pt x="693814" y="928973"/>
                    </a:lnTo>
                    <a:lnTo>
                      <a:pt x="694571" y="925034"/>
                    </a:lnTo>
                    <a:lnTo>
                      <a:pt x="695026" y="917609"/>
                    </a:lnTo>
                    <a:lnTo>
                      <a:pt x="693965" y="909730"/>
                    </a:lnTo>
                    <a:lnTo>
                      <a:pt x="695935" y="904276"/>
                    </a:lnTo>
                    <a:lnTo>
                      <a:pt x="695329" y="901094"/>
                    </a:lnTo>
                    <a:lnTo>
                      <a:pt x="696389" y="899124"/>
                    </a:lnTo>
                    <a:lnTo>
                      <a:pt x="695935" y="897003"/>
                    </a:lnTo>
                    <a:lnTo>
                      <a:pt x="695177" y="895033"/>
                    </a:lnTo>
                    <a:lnTo>
                      <a:pt x="694571" y="889729"/>
                    </a:lnTo>
                    <a:lnTo>
                      <a:pt x="692904" y="884578"/>
                    </a:lnTo>
                    <a:lnTo>
                      <a:pt x="692904" y="882002"/>
                    </a:lnTo>
                    <a:lnTo>
                      <a:pt x="693359" y="879275"/>
                    </a:lnTo>
                    <a:lnTo>
                      <a:pt x="693510" y="875941"/>
                    </a:lnTo>
                    <a:lnTo>
                      <a:pt x="692147" y="874275"/>
                    </a:lnTo>
                    <a:lnTo>
                      <a:pt x="690783" y="872002"/>
                    </a:lnTo>
                    <a:lnTo>
                      <a:pt x="691692" y="870789"/>
                    </a:lnTo>
                    <a:lnTo>
                      <a:pt x="692601" y="870789"/>
                    </a:lnTo>
                    <a:lnTo>
                      <a:pt x="694268" y="869426"/>
                    </a:lnTo>
                    <a:lnTo>
                      <a:pt x="695480" y="862304"/>
                    </a:lnTo>
                    <a:lnTo>
                      <a:pt x="694420" y="860486"/>
                    </a:lnTo>
                    <a:lnTo>
                      <a:pt x="692601" y="860486"/>
                    </a:lnTo>
                    <a:lnTo>
                      <a:pt x="692904" y="859577"/>
                    </a:lnTo>
                    <a:lnTo>
                      <a:pt x="696238" y="858819"/>
                    </a:lnTo>
                    <a:lnTo>
                      <a:pt x="700177" y="852456"/>
                    </a:lnTo>
                    <a:lnTo>
                      <a:pt x="699420" y="851092"/>
                    </a:lnTo>
                    <a:lnTo>
                      <a:pt x="697298" y="850183"/>
                    </a:lnTo>
                    <a:lnTo>
                      <a:pt x="692298" y="849273"/>
                    </a:lnTo>
                    <a:lnTo>
                      <a:pt x="691238" y="845637"/>
                    </a:lnTo>
                    <a:lnTo>
                      <a:pt x="693662" y="847607"/>
                    </a:lnTo>
                    <a:lnTo>
                      <a:pt x="695783" y="847910"/>
                    </a:lnTo>
                    <a:lnTo>
                      <a:pt x="698208" y="847758"/>
                    </a:lnTo>
                    <a:lnTo>
                      <a:pt x="699571" y="846546"/>
                    </a:lnTo>
                    <a:lnTo>
                      <a:pt x="698662" y="843819"/>
                    </a:lnTo>
                    <a:lnTo>
                      <a:pt x="700177" y="842758"/>
                    </a:lnTo>
                    <a:lnTo>
                      <a:pt x="703663" y="843819"/>
                    </a:lnTo>
                    <a:lnTo>
                      <a:pt x="706087" y="843970"/>
                    </a:lnTo>
                    <a:lnTo>
                      <a:pt x="704572" y="846698"/>
                    </a:lnTo>
                    <a:lnTo>
                      <a:pt x="705632" y="847152"/>
                    </a:lnTo>
                    <a:lnTo>
                      <a:pt x="710481" y="842001"/>
                    </a:lnTo>
                    <a:lnTo>
                      <a:pt x="713057" y="840031"/>
                    </a:lnTo>
                    <a:lnTo>
                      <a:pt x="713663" y="837152"/>
                    </a:lnTo>
                    <a:lnTo>
                      <a:pt x="712299" y="837000"/>
                    </a:lnTo>
                    <a:lnTo>
                      <a:pt x="711541" y="836091"/>
                    </a:lnTo>
                    <a:lnTo>
                      <a:pt x="713663" y="835030"/>
                    </a:lnTo>
                    <a:lnTo>
                      <a:pt x="714723" y="835030"/>
                    </a:lnTo>
                    <a:lnTo>
                      <a:pt x="715936" y="833667"/>
                    </a:lnTo>
                    <a:lnTo>
                      <a:pt x="722451" y="828667"/>
                    </a:lnTo>
                    <a:lnTo>
                      <a:pt x="734876" y="820333"/>
                    </a:lnTo>
                    <a:lnTo>
                      <a:pt x="742300" y="812909"/>
                    </a:lnTo>
                    <a:lnTo>
                      <a:pt x="748816" y="809272"/>
                    </a:lnTo>
                    <a:lnTo>
                      <a:pt x="766847" y="800181"/>
                    </a:lnTo>
                    <a:lnTo>
                      <a:pt x="770332" y="799272"/>
                    </a:lnTo>
                    <a:lnTo>
                      <a:pt x="775180" y="799272"/>
                    </a:lnTo>
                    <a:lnTo>
                      <a:pt x="778968" y="800484"/>
                    </a:lnTo>
                    <a:lnTo>
                      <a:pt x="780635" y="800484"/>
                    </a:lnTo>
                    <a:lnTo>
                      <a:pt x="781544" y="799272"/>
                    </a:lnTo>
                    <a:lnTo>
                      <a:pt x="781847" y="797150"/>
                    </a:lnTo>
                    <a:lnTo>
                      <a:pt x="784575" y="794726"/>
                    </a:lnTo>
                    <a:lnTo>
                      <a:pt x="787605" y="793969"/>
                    </a:lnTo>
                    <a:lnTo>
                      <a:pt x="794878" y="788362"/>
                    </a:lnTo>
                    <a:lnTo>
                      <a:pt x="802606" y="786998"/>
                    </a:lnTo>
                    <a:lnTo>
                      <a:pt x="803969" y="786392"/>
                    </a:lnTo>
                    <a:lnTo>
                      <a:pt x="805333" y="785180"/>
                    </a:lnTo>
                    <a:lnTo>
                      <a:pt x="803969" y="783817"/>
                    </a:lnTo>
                    <a:lnTo>
                      <a:pt x="802454" y="783210"/>
                    </a:lnTo>
                    <a:lnTo>
                      <a:pt x="802302" y="780332"/>
                    </a:lnTo>
                    <a:lnTo>
                      <a:pt x="803515" y="778816"/>
                    </a:lnTo>
                    <a:lnTo>
                      <a:pt x="810939" y="777301"/>
                    </a:lnTo>
                    <a:lnTo>
                      <a:pt x="817000" y="777453"/>
                    </a:lnTo>
                    <a:lnTo>
                      <a:pt x="819727" y="775483"/>
                    </a:lnTo>
                    <a:lnTo>
                      <a:pt x="824727" y="774574"/>
                    </a:lnTo>
                    <a:lnTo>
                      <a:pt x="829122" y="776241"/>
                    </a:lnTo>
                    <a:lnTo>
                      <a:pt x="829879" y="777453"/>
                    </a:lnTo>
                    <a:lnTo>
                      <a:pt x="826697" y="778513"/>
                    </a:lnTo>
                    <a:lnTo>
                      <a:pt x="823818" y="778210"/>
                    </a:lnTo>
                    <a:lnTo>
                      <a:pt x="821697" y="778816"/>
                    </a:lnTo>
                    <a:lnTo>
                      <a:pt x="823818" y="780029"/>
                    </a:lnTo>
                    <a:lnTo>
                      <a:pt x="828212" y="778968"/>
                    </a:lnTo>
                    <a:lnTo>
                      <a:pt x="833819" y="778362"/>
                    </a:lnTo>
                    <a:lnTo>
                      <a:pt x="838213" y="776998"/>
                    </a:lnTo>
                    <a:lnTo>
                      <a:pt x="842152" y="776847"/>
                    </a:lnTo>
                    <a:lnTo>
                      <a:pt x="843062" y="775332"/>
                    </a:lnTo>
                    <a:lnTo>
                      <a:pt x="842607" y="773665"/>
                    </a:lnTo>
                    <a:lnTo>
                      <a:pt x="841849" y="772301"/>
                    </a:lnTo>
                    <a:lnTo>
                      <a:pt x="841698" y="771392"/>
                    </a:lnTo>
                    <a:lnTo>
                      <a:pt x="842001" y="770028"/>
                    </a:lnTo>
                    <a:lnTo>
                      <a:pt x="843971" y="769422"/>
                    </a:lnTo>
                    <a:lnTo>
                      <a:pt x="845789" y="769422"/>
                    </a:lnTo>
                    <a:lnTo>
                      <a:pt x="846395" y="770786"/>
                    </a:lnTo>
                    <a:lnTo>
                      <a:pt x="845486" y="773059"/>
                    </a:lnTo>
                    <a:lnTo>
                      <a:pt x="846092" y="774574"/>
                    </a:lnTo>
                    <a:lnTo>
                      <a:pt x="847910" y="775786"/>
                    </a:lnTo>
                    <a:lnTo>
                      <a:pt x="849425" y="776544"/>
                    </a:lnTo>
                    <a:lnTo>
                      <a:pt x="852910" y="776695"/>
                    </a:lnTo>
                    <a:lnTo>
                      <a:pt x="859729" y="775786"/>
                    </a:lnTo>
                    <a:lnTo>
                      <a:pt x="872305" y="775786"/>
                    </a:lnTo>
                    <a:lnTo>
                      <a:pt x="874426" y="775938"/>
                    </a:lnTo>
                    <a:lnTo>
                      <a:pt x="875942" y="773059"/>
                    </a:lnTo>
                    <a:lnTo>
                      <a:pt x="877154" y="771392"/>
                    </a:lnTo>
                    <a:lnTo>
                      <a:pt x="875942" y="769877"/>
                    </a:lnTo>
                    <a:lnTo>
                      <a:pt x="875638" y="767301"/>
                    </a:lnTo>
                    <a:lnTo>
                      <a:pt x="876093" y="765483"/>
                    </a:lnTo>
                    <a:lnTo>
                      <a:pt x="883669" y="757755"/>
                    </a:lnTo>
                    <a:lnTo>
                      <a:pt x="887003" y="755937"/>
                    </a:lnTo>
                    <a:lnTo>
                      <a:pt x="899579" y="751391"/>
                    </a:lnTo>
                    <a:lnTo>
                      <a:pt x="902912" y="748967"/>
                    </a:lnTo>
                    <a:lnTo>
                      <a:pt x="903215" y="746694"/>
                    </a:lnTo>
                    <a:lnTo>
                      <a:pt x="902306" y="737906"/>
                    </a:lnTo>
                    <a:lnTo>
                      <a:pt x="902306" y="737451"/>
                    </a:lnTo>
                    <a:lnTo>
                      <a:pt x="901700" y="734875"/>
                    </a:lnTo>
                    <a:lnTo>
                      <a:pt x="904276" y="727299"/>
                    </a:lnTo>
                    <a:lnTo>
                      <a:pt x="907761" y="721390"/>
                    </a:lnTo>
                    <a:lnTo>
                      <a:pt x="908822" y="717905"/>
                    </a:lnTo>
                    <a:lnTo>
                      <a:pt x="910488" y="716238"/>
                    </a:lnTo>
                    <a:lnTo>
                      <a:pt x="914125" y="714420"/>
                    </a:lnTo>
                    <a:lnTo>
                      <a:pt x="919580" y="708359"/>
                    </a:lnTo>
                    <a:lnTo>
                      <a:pt x="921701" y="704268"/>
                    </a:lnTo>
                    <a:lnTo>
                      <a:pt x="922307" y="700480"/>
                    </a:lnTo>
                    <a:lnTo>
                      <a:pt x="924883" y="698056"/>
                    </a:lnTo>
                    <a:lnTo>
                      <a:pt x="926549" y="691389"/>
                    </a:lnTo>
                    <a:lnTo>
                      <a:pt x="930337" y="685025"/>
                    </a:lnTo>
                    <a:lnTo>
                      <a:pt x="934580" y="682449"/>
                    </a:lnTo>
                    <a:lnTo>
                      <a:pt x="936247" y="680328"/>
                    </a:lnTo>
                    <a:lnTo>
                      <a:pt x="937610" y="676995"/>
                    </a:lnTo>
                    <a:lnTo>
                      <a:pt x="938520" y="671994"/>
                    </a:lnTo>
                    <a:lnTo>
                      <a:pt x="937308" y="659873"/>
                    </a:lnTo>
                    <a:lnTo>
                      <a:pt x="937308" y="654115"/>
                    </a:lnTo>
                    <a:lnTo>
                      <a:pt x="939732" y="643205"/>
                    </a:lnTo>
                    <a:lnTo>
                      <a:pt x="944277" y="635781"/>
                    </a:lnTo>
                    <a:lnTo>
                      <a:pt x="946247" y="633811"/>
                    </a:lnTo>
                    <a:lnTo>
                      <a:pt x="949884" y="631841"/>
                    </a:lnTo>
                    <a:lnTo>
                      <a:pt x="953217" y="627750"/>
                    </a:lnTo>
                    <a:lnTo>
                      <a:pt x="952762" y="626084"/>
                    </a:lnTo>
                    <a:lnTo>
                      <a:pt x="951550" y="616992"/>
                    </a:lnTo>
                    <a:lnTo>
                      <a:pt x="951853" y="613204"/>
                    </a:lnTo>
                    <a:lnTo>
                      <a:pt x="952914" y="609416"/>
                    </a:lnTo>
                    <a:lnTo>
                      <a:pt x="953975" y="601537"/>
                    </a:lnTo>
                    <a:lnTo>
                      <a:pt x="955641" y="594264"/>
                    </a:lnTo>
                    <a:lnTo>
                      <a:pt x="958520" y="585324"/>
                    </a:lnTo>
                    <a:lnTo>
                      <a:pt x="960642" y="576385"/>
                    </a:lnTo>
                    <a:lnTo>
                      <a:pt x="960490" y="575779"/>
                    </a:lnTo>
                    <a:lnTo>
                      <a:pt x="958975" y="568051"/>
                    </a:lnTo>
                    <a:lnTo>
                      <a:pt x="957460" y="559415"/>
                    </a:lnTo>
                    <a:lnTo>
                      <a:pt x="957005" y="550626"/>
                    </a:lnTo>
                    <a:lnTo>
                      <a:pt x="955793" y="542747"/>
                    </a:lnTo>
                    <a:lnTo>
                      <a:pt x="958975" y="525474"/>
                    </a:lnTo>
                    <a:lnTo>
                      <a:pt x="958369" y="524716"/>
                    </a:lnTo>
                    <a:lnTo>
                      <a:pt x="957157" y="527444"/>
                    </a:lnTo>
                    <a:lnTo>
                      <a:pt x="956096" y="525928"/>
                    </a:lnTo>
                    <a:lnTo>
                      <a:pt x="956399" y="524413"/>
                    </a:lnTo>
                    <a:lnTo>
                      <a:pt x="956248" y="517898"/>
                    </a:lnTo>
                    <a:lnTo>
                      <a:pt x="957308" y="515322"/>
                    </a:lnTo>
                    <a:lnTo>
                      <a:pt x="957611" y="513958"/>
                    </a:lnTo>
                    <a:lnTo>
                      <a:pt x="957005" y="513049"/>
                    </a:lnTo>
                    <a:lnTo>
                      <a:pt x="956248" y="512443"/>
                    </a:lnTo>
                    <a:lnTo>
                      <a:pt x="954732" y="513201"/>
                    </a:lnTo>
                    <a:lnTo>
                      <a:pt x="955338" y="510170"/>
                    </a:lnTo>
                    <a:lnTo>
                      <a:pt x="956399" y="506988"/>
                    </a:lnTo>
                    <a:lnTo>
                      <a:pt x="958369" y="504412"/>
                    </a:lnTo>
                    <a:lnTo>
                      <a:pt x="961702" y="500928"/>
                    </a:lnTo>
                    <a:lnTo>
                      <a:pt x="961702" y="497746"/>
                    </a:lnTo>
                    <a:lnTo>
                      <a:pt x="963672" y="494261"/>
                    </a:lnTo>
                    <a:lnTo>
                      <a:pt x="963066" y="492594"/>
                    </a:lnTo>
                    <a:lnTo>
                      <a:pt x="961248" y="491079"/>
                    </a:lnTo>
                    <a:lnTo>
                      <a:pt x="963066" y="490927"/>
                    </a:lnTo>
                    <a:lnTo>
                      <a:pt x="964278" y="490018"/>
                    </a:lnTo>
                    <a:lnTo>
                      <a:pt x="965793" y="486533"/>
                    </a:lnTo>
                    <a:lnTo>
                      <a:pt x="966854" y="487139"/>
                    </a:lnTo>
                    <a:lnTo>
                      <a:pt x="970339" y="490321"/>
                    </a:lnTo>
                    <a:lnTo>
                      <a:pt x="971097" y="495624"/>
                    </a:lnTo>
                    <a:lnTo>
                      <a:pt x="972460" y="495927"/>
                    </a:lnTo>
                    <a:lnTo>
                      <a:pt x="973672" y="495927"/>
                    </a:lnTo>
                    <a:lnTo>
                      <a:pt x="978066" y="492594"/>
                    </a:lnTo>
                    <a:lnTo>
                      <a:pt x="984127" y="485624"/>
                    </a:lnTo>
                    <a:lnTo>
                      <a:pt x="985794" y="482442"/>
                    </a:lnTo>
                    <a:lnTo>
                      <a:pt x="993067" y="472139"/>
                    </a:lnTo>
                    <a:lnTo>
                      <a:pt x="999128" y="459865"/>
                    </a:lnTo>
                    <a:lnTo>
                      <a:pt x="1000643" y="455623"/>
                    </a:lnTo>
                    <a:lnTo>
                      <a:pt x="999885" y="452744"/>
                    </a:lnTo>
                    <a:lnTo>
                      <a:pt x="1002007" y="448804"/>
                    </a:lnTo>
                    <a:lnTo>
                      <a:pt x="1003067" y="447744"/>
                    </a:lnTo>
                    <a:lnTo>
                      <a:pt x="1003067" y="449107"/>
                    </a:lnTo>
                    <a:lnTo>
                      <a:pt x="1002764" y="450319"/>
                    </a:lnTo>
                    <a:lnTo>
                      <a:pt x="1002158" y="451380"/>
                    </a:lnTo>
                    <a:lnTo>
                      <a:pt x="1002158" y="452895"/>
                    </a:lnTo>
                    <a:lnTo>
                      <a:pt x="1003219" y="452138"/>
                    </a:lnTo>
                    <a:lnTo>
                      <a:pt x="1006855" y="446986"/>
                    </a:lnTo>
                    <a:lnTo>
                      <a:pt x="1006855" y="443653"/>
                    </a:lnTo>
                    <a:lnTo>
                      <a:pt x="1008371" y="444107"/>
                    </a:lnTo>
                    <a:lnTo>
                      <a:pt x="1009280" y="443350"/>
                    </a:lnTo>
                    <a:lnTo>
                      <a:pt x="1013522" y="436834"/>
                    </a:lnTo>
                    <a:lnTo>
                      <a:pt x="1018220" y="432743"/>
                    </a:lnTo>
                    <a:lnTo>
                      <a:pt x="1021856" y="430470"/>
                    </a:lnTo>
                    <a:lnTo>
                      <a:pt x="1027917" y="427743"/>
                    </a:lnTo>
                    <a:lnTo>
                      <a:pt x="1028220" y="427591"/>
                    </a:lnTo>
                    <a:lnTo>
                      <a:pt x="1033069" y="420470"/>
                    </a:lnTo>
                    <a:lnTo>
                      <a:pt x="1037614" y="416379"/>
                    </a:lnTo>
                    <a:lnTo>
                      <a:pt x="1042311" y="410167"/>
                    </a:lnTo>
                    <a:lnTo>
                      <a:pt x="1043372" y="408045"/>
                    </a:lnTo>
                    <a:lnTo>
                      <a:pt x="1042160" y="405772"/>
                    </a:lnTo>
                    <a:lnTo>
                      <a:pt x="1043827" y="406682"/>
                    </a:lnTo>
                    <a:lnTo>
                      <a:pt x="1045645" y="406227"/>
                    </a:lnTo>
                    <a:lnTo>
                      <a:pt x="1050190" y="401833"/>
                    </a:lnTo>
                    <a:lnTo>
                      <a:pt x="1057160" y="393348"/>
                    </a:lnTo>
                    <a:lnTo>
                      <a:pt x="1062161" y="385166"/>
                    </a:lnTo>
                    <a:lnTo>
                      <a:pt x="1067464" y="370771"/>
                    </a:lnTo>
                    <a:lnTo>
                      <a:pt x="1069585" y="362135"/>
                    </a:lnTo>
                    <a:lnTo>
                      <a:pt x="1071100" y="358801"/>
                    </a:lnTo>
                    <a:lnTo>
                      <a:pt x="1071100" y="356074"/>
                    </a:lnTo>
                    <a:lnTo>
                      <a:pt x="1069888" y="352740"/>
                    </a:lnTo>
                    <a:lnTo>
                      <a:pt x="1070040" y="351225"/>
                    </a:lnTo>
                    <a:lnTo>
                      <a:pt x="1070494" y="349710"/>
                    </a:lnTo>
                    <a:lnTo>
                      <a:pt x="1070343" y="348649"/>
                    </a:lnTo>
                    <a:lnTo>
                      <a:pt x="1070494" y="346983"/>
                    </a:lnTo>
                    <a:lnTo>
                      <a:pt x="1071403" y="344710"/>
                    </a:lnTo>
                    <a:close/>
                    <a:moveTo>
                      <a:pt x="806394" y="217584"/>
                    </a:moveTo>
                    <a:lnTo>
                      <a:pt x="804575" y="219250"/>
                    </a:lnTo>
                    <a:lnTo>
                      <a:pt x="804272" y="220917"/>
                    </a:lnTo>
                    <a:lnTo>
                      <a:pt x="804727" y="223038"/>
                    </a:lnTo>
                    <a:lnTo>
                      <a:pt x="803818" y="226069"/>
                    </a:lnTo>
                    <a:lnTo>
                      <a:pt x="806545" y="223342"/>
                    </a:lnTo>
                    <a:lnTo>
                      <a:pt x="807000" y="219857"/>
                    </a:lnTo>
                    <a:lnTo>
                      <a:pt x="806848" y="219250"/>
                    </a:lnTo>
                    <a:lnTo>
                      <a:pt x="807000" y="217281"/>
                    </a:lnTo>
                    <a:lnTo>
                      <a:pt x="806394" y="217584"/>
                    </a:lnTo>
                    <a:close/>
                    <a:moveTo>
                      <a:pt x="785332" y="801393"/>
                    </a:moveTo>
                    <a:lnTo>
                      <a:pt x="784575" y="800635"/>
                    </a:lnTo>
                    <a:lnTo>
                      <a:pt x="780483" y="805484"/>
                    </a:lnTo>
                    <a:lnTo>
                      <a:pt x="781544" y="806545"/>
                    </a:lnTo>
                    <a:lnTo>
                      <a:pt x="784575" y="805939"/>
                    </a:lnTo>
                    <a:lnTo>
                      <a:pt x="785787" y="806696"/>
                    </a:lnTo>
                    <a:lnTo>
                      <a:pt x="785787" y="805181"/>
                    </a:lnTo>
                    <a:lnTo>
                      <a:pt x="786090" y="804120"/>
                    </a:lnTo>
                    <a:lnTo>
                      <a:pt x="786544" y="803363"/>
                    </a:lnTo>
                    <a:lnTo>
                      <a:pt x="786090" y="802151"/>
                    </a:lnTo>
                    <a:lnTo>
                      <a:pt x="785332" y="801393"/>
                    </a:lnTo>
                    <a:close/>
                    <a:moveTo>
                      <a:pt x="695935" y="871547"/>
                    </a:moveTo>
                    <a:lnTo>
                      <a:pt x="692450" y="875032"/>
                    </a:lnTo>
                    <a:lnTo>
                      <a:pt x="694117" y="878669"/>
                    </a:lnTo>
                    <a:lnTo>
                      <a:pt x="694571" y="878365"/>
                    </a:lnTo>
                    <a:lnTo>
                      <a:pt x="695026" y="877759"/>
                    </a:lnTo>
                    <a:lnTo>
                      <a:pt x="696086" y="875790"/>
                    </a:lnTo>
                    <a:lnTo>
                      <a:pt x="696996" y="873062"/>
                    </a:lnTo>
                    <a:lnTo>
                      <a:pt x="695935" y="871547"/>
                    </a:lnTo>
                    <a:close/>
                    <a:moveTo>
                      <a:pt x="965945" y="495473"/>
                    </a:moveTo>
                    <a:lnTo>
                      <a:pt x="965490" y="498049"/>
                    </a:lnTo>
                    <a:lnTo>
                      <a:pt x="962763" y="500321"/>
                    </a:lnTo>
                    <a:lnTo>
                      <a:pt x="962914" y="502140"/>
                    </a:lnTo>
                    <a:lnTo>
                      <a:pt x="963975" y="501534"/>
                    </a:lnTo>
                    <a:lnTo>
                      <a:pt x="967915" y="498655"/>
                    </a:lnTo>
                    <a:lnTo>
                      <a:pt x="967915" y="498049"/>
                    </a:lnTo>
                    <a:lnTo>
                      <a:pt x="967460" y="496685"/>
                    </a:lnTo>
                    <a:lnTo>
                      <a:pt x="965945" y="495473"/>
                    </a:lnTo>
                    <a:close/>
                    <a:moveTo>
                      <a:pt x="814879" y="783059"/>
                    </a:moveTo>
                    <a:lnTo>
                      <a:pt x="814121" y="782150"/>
                    </a:lnTo>
                    <a:lnTo>
                      <a:pt x="813515" y="781847"/>
                    </a:lnTo>
                    <a:lnTo>
                      <a:pt x="812606" y="783059"/>
                    </a:lnTo>
                    <a:lnTo>
                      <a:pt x="810182" y="784726"/>
                    </a:lnTo>
                    <a:lnTo>
                      <a:pt x="811242" y="785938"/>
                    </a:lnTo>
                    <a:lnTo>
                      <a:pt x="813970" y="785332"/>
                    </a:lnTo>
                    <a:lnTo>
                      <a:pt x="815788" y="784574"/>
                    </a:lnTo>
                    <a:lnTo>
                      <a:pt x="817303" y="784726"/>
                    </a:lnTo>
                    <a:lnTo>
                      <a:pt x="816394" y="783968"/>
                    </a:lnTo>
                    <a:lnTo>
                      <a:pt x="814879" y="7830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8" name="Freeform: Shape 3327">
                <a:extLst>
                  <a:ext uri="{FF2B5EF4-FFF2-40B4-BE49-F238E27FC236}">
                    <a16:creationId xmlns:a16="http://schemas.microsoft.com/office/drawing/2014/main" id="{F250F1EC-E207-4B13-8F41-6E08F48808BD}"/>
                  </a:ext>
                </a:extLst>
              </p:cNvPr>
              <p:cNvSpPr/>
              <p:nvPr/>
            </p:nvSpPr>
            <p:spPr>
              <a:xfrm>
                <a:off x="3906524" y="4226072"/>
                <a:ext cx="4545" cy="7424"/>
              </a:xfrm>
              <a:custGeom>
                <a:avLst/>
                <a:gdLst>
                  <a:gd name="connsiteX0" fmla="*/ 0 w 4545"/>
                  <a:gd name="connsiteY0" fmla="*/ 0 h 7424"/>
                  <a:gd name="connsiteX1" fmla="*/ 0 w 4545"/>
                  <a:gd name="connsiteY1" fmla="*/ 1212 h 7424"/>
                  <a:gd name="connsiteX2" fmla="*/ 606 w 4545"/>
                  <a:gd name="connsiteY2" fmla="*/ 1970 h 7424"/>
                  <a:gd name="connsiteX3" fmla="*/ 1667 w 4545"/>
                  <a:gd name="connsiteY3" fmla="*/ 2576 h 7424"/>
                  <a:gd name="connsiteX4" fmla="*/ 2273 w 4545"/>
                  <a:gd name="connsiteY4" fmla="*/ 3485 h 7424"/>
                  <a:gd name="connsiteX5" fmla="*/ 2424 w 4545"/>
                  <a:gd name="connsiteY5" fmla="*/ 6061 h 7424"/>
                  <a:gd name="connsiteX6" fmla="*/ 3182 w 4545"/>
                  <a:gd name="connsiteY6" fmla="*/ 7424 h 7424"/>
                  <a:gd name="connsiteX7" fmla="*/ 4546 w 4545"/>
                  <a:gd name="connsiteY7" fmla="*/ 4243 h 7424"/>
                  <a:gd name="connsiteX8" fmla="*/ 4091 w 4545"/>
                  <a:gd name="connsiteY8" fmla="*/ 1970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5" h="7424">
                    <a:moveTo>
                      <a:pt x="0" y="0"/>
                    </a:moveTo>
                    <a:lnTo>
                      <a:pt x="0" y="1212"/>
                    </a:lnTo>
                    <a:lnTo>
                      <a:pt x="606" y="1970"/>
                    </a:lnTo>
                    <a:lnTo>
                      <a:pt x="1667" y="2576"/>
                    </a:lnTo>
                    <a:lnTo>
                      <a:pt x="2273" y="3485"/>
                    </a:lnTo>
                    <a:lnTo>
                      <a:pt x="2424" y="6061"/>
                    </a:lnTo>
                    <a:lnTo>
                      <a:pt x="3182" y="7424"/>
                    </a:lnTo>
                    <a:lnTo>
                      <a:pt x="4546" y="4243"/>
                    </a:lnTo>
                    <a:lnTo>
                      <a:pt x="4091" y="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9" name="Freeform: Shape 3328">
                <a:extLst>
                  <a:ext uri="{FF2B5EF4-FFF2-40B4-BE49-F238E27FC236}">
                    <a16:creationId xmlns:a16="http://schemas.microsoft.com/office/drawing/2014/main" id="{0D83E912-67E4-40BF-97EC-F0ABD9CBD5A0}"/>
                  </a:ext>
                </a:extLst>
              </p:cNvPr>
              <p:cNvSpPr/>
              <p:nvPr/>
            </p:nvSpPr>
            <p:spPr>
              <a:xfrm>
                <a:off x="3871826" y="4827003"/>
                <a:ext cx="332739" cy="369255"/>
              </a:xfrm>
              <a:custGeom>
                <a:avLst/>
                <a:gdLst>
                  <a:gd name="connsiteX0" fmla="*/ 330770 w 332739"/>
                  <a:gd name="connsiteY0" fmla="*/ 234857 h 369255"/>
                  <a:gd name="connsiteX1" fmla="*/ 329861 w 332739"/>
                  <a:gd name="connsiteY1" fmla="*/ 233190 h 369255"/>
                  <a:gd name="connsiteX2" fmla="*/ 327739 w 332739"/>
                  <a:gd name="connsiteY2" fmla="*/ 228342 h 369255"/>
                  <a:gd name="connsiteX3" fmla="*/ 324557 w 332739"/>
                  <a:gd name="connsiteY3" fmla="*/ 220614 h 369255"/>
                  <a:gd name="connsiteX4" fmla="*/ 324254 w 332739"/>
                  <a:gd name="connsiteY4" fmla="*/ 217887 h 369255"/>
                  <a:gd name="connsiteX5" fmla="*/ 323042 w 332739"/>
                  <a:gd name="connsiteY5" fmla="*/ 216220 h 369255"/>
                  <a:gd name="connsiteX6" fmla="*/ 321072 w 332739"/>
                  <a:gd name="connsiteY6" fmla="*/ 216826 h 369255"/>
                  <a:gd name="connsiteX7" fmla="*/ 318648 w 332739"/>
                  <a:gd name="connsiteY7" fmla="*/ 216220 h 369255"/>
                  <a:gd name="connsiteX8" fmla="*/ 312739 w 332739"/>
                  <a:gd name="connsiteY8" fmla="*/ 211977 h 369255"/>
                  <a:gd name="connsiteX9" fmla="*/ 308799 w 332739"/>
                  <a:gd name="connsiteY9" fmla="*/ 209705 h 369255"/>
                  <a:gd name="connsiteX10" fmla="*/ 307436 w 332739"/>
                  <a:gd name="connsiteY10" fmla="*/ 208341 h 369255"/>
                  <a:gd name="connsiteX11" fmla="*/ 306830 w 332739"/>
                  <a:gd name="connsiteY11" fmla="*/ 204098 h 369255"/>
                  <a:gd name="connsiteX12" fmla="*/ 305617 w 332739"/>
                  <a:gd name="connsiteY12" fmla="*/ 199401 h 369255"/>
                  <a:gd name="connsiteX13" fmla="*/ 305163 w 332739"/>
                  <a:gd name="connsiteY13" fmla="*/ 193492 h 369255"/>
                  <a:gd name="connsiteX14" fmla="*/ 305314 w 332739"/>
                  <a:gd name="connsiteY14" fmla="*/ 192128 h 369255"/>
                  <a:gd name="connsiteX15" fmla="*/ 308648 w 332739"/>
                  <a:gd name="connsiteY15" fmla="*/ 187734 h 369255"/>
                  <a:gd name="connsiteX16" fmla="*/ 308648 w 332739"/>
                  <a:gd name="connsiteY16" fmla="*/ 185461 h 369255"/>
                  <a:gd name="connsiteX17" fmla="*/ 308951 w 332739"/>
                  <a:gd name="connsiteY17" fmla="*/ 183492 h 369255"/>
                  <a:gd name="connsiteX18" fmla="*/ 308799 w 332739"/>
                  <a:gd name="connsiteY18" fmla="*/ 181976 h 369255"/>
                  <a:gd name="connsiteX19" fmla="*/ 308042 w 332739"/>
                  <a:gd name="connsiteY19" fmla="*/ 181976 h 369255"/>
                  <a:gd name="connsiteX20" fmla="*/ 306678 w 332739"/>
                  <a:gd name="connsiteY20" fmla="*/ 182582 h 369255"/>
                  <a:gd name="connsiteX21" fmla="*/ 304708 w 332739"/>
                  <a:gd name="connsiteY21" fmla="*/ 183037 h 369255"/>
                  <a:gd name="connsiteX22" fmla="*/ 303648 w 332739"/>
                  <a:gd name="connsiteY22" fmla="*/ 183037 h 369255"/>
                  <a:gd name="connsiteX23" fmla="*/ 292132 w 332739"/>
                  <a:gd name="connsiteY23" fmla="*/ 182582 h 369255"/>
                  <a:gd name="connsiteX24" fmla="*/ 279101 w 332739"/>
                  <a:gd name="connsiteY24" fmla="*/ 182128 h 369255"/>
                  <a:gd name="connsiteX25" fmla="*/ 268192 w 332739"/>
                  <a:gd name="connsiteY25" fmla="*/ 181673 h 369255"/>
                  <a:gd name="connsiteX26" fmla="*/ 258797 w 332739"/>
                  <a:gd name="connsiteY26" fmla="*/ 181370 h 369255"/>
                  <a:gd name="connsiteX27" fmla="*/ 258494 w 332739"/>
                  <a:gd name="connsiteY27" fmla="*/ 177582 h 369255"/>
                  <a:gd name="connsiteX28" fmla="*/ 257888 w 332739"/>
                  <a:gd name="connsiteY28" fmla="*/ 171218 h 369255"/>
                  <a:gd name="connsiteX29" fmla="*/ 257585 w 332739"/>
                  <a:gd name="connsiteY29" fmla="*/ 166673 h 369255"/>
                  <a:gd name="connsiteX30" fmla="*/ 256979 w 332739"/>
                  <a:gd name="connsiteY30" fmla="*/ 159400 h 369255"/>
                  <a:gd name="connsiteX31" fmla="*/ 253191 w 332739"/>
                  <a:gd name="connsiteY31" fmla="*/ 154854 h 369255"/>
                  <a:gd name="connsiteX32" fmla="*/ 249100 w 332739"/>
                  <a:gd name="connsiteY32" fmla="*/ 150005 h 369255"/>
                  <a:gd name="connsiteX33" fmla="*/ 247585 w 332739"/>
                  <a:gd name="connsiteY33" fmla="*/ 148793 h 369255"/>
                  <a:gd name="connsiteX34" fmla="*/ 252585 w 332739"/>
                  <a:gd name="connsiteY34" fmla="*/ 148642 h 369255"/>
                  <a:gd name="connsiteX35" fmla="*/ 256070 w 332739"/>
                  <a:gd name="connsiteY35" fmla="*/ 148490 h 369255"/>
                  <a:gd name="connsiteX36" fmla="*/ 255312 w 332739"/>
                  <a:gd name="connsiteY36" fmla="*/ 135459 h 369255"/>
                  <a:gd name="connsiteX37" fmla="*/ 254252 w 332739"/>
                  <a:gd name="connsiteY37" fmla="*/ 134096 h 369255"/>
                  <a:gd name="connsiteX38" fmla="*/ 253343 w 332739"/>
                  <a:gd name="connsiteY38" fmla="*/ 129853 h 369255"/>
                  <a:gd name="connsiteX39" fmla="*/ 252888 w 332739"/>
                  <a:gd name="connsiteY39" fmla="*/ 127277 h 369255"/>
                  <a:gd name="connsiteX40" fmla="*/ 251070 w 332739"/>
                  <a:gd name="connsiteY40" fmla="*/ 125307 h 369255"/>
                  <a:gd name="connsiteX41" fmla="*/ 250615 w 332739"/>
                  <a:gd name="connsiteY41" fmla="*/ 123186 h 369255"/>
                  <a:gd name="connsiteX42" fmla="*/ 250918 w 332739"/>
                  <a:gd name="connsiteY42" fmla="*/ 121671 h 369255"/>
                  <a:gd name="connsiteX43" fmla="*/ 251827 w 332739"/>
                  <a:gd name="connsiteY43" fmla="*/ 120762 h 369255"/>
                  <a:gd name="connsiteX44" fmla="*/ 252433 w 332739"/>
                  <a:gd name="connsiteY44" fmla="*/ 118489 h 369255"/>
                  <a:gd name="connsiteX45" fmla="*/ 251979 w 332739"/>
                  <a:gd name="connsiteY45" fmla="*/ 116216 h 369255"/>
                  <a:gd name="connsiteX46" fmla="*/ 250918 w 332739"/>
                  <a:gd name="connsiteY46" fmla="*/ 114095 h 369255"/>
                  <a:gd name="connsiteX47" fmla="*/ 249706 w 332739"/>
                  <a:gd name="connsiteY47" fmla="*/ 112125 h 369255"/>
                  <a:gd name="connsiteX48" fmla="*/ 247282 w 332739"/>
                  <a:gd name="connsiteY48" fmla="*/ 110913 h 369255"/>
                  <a:gd name="connsiteX49" fmla="*/ 243797 w 332739"/>
                  <a:gd name="connsiteY49" fmla="*/ 108640 h 369255"/>
                  <a:gd name="connsiteX50" fmla="*/ 238494 w 332739"/>
                  <a:gd name="connsiteY50" fmla="*/ 105761 h 369255"/>
                  <a:gd name="connsiteX51" fmla="*/ 234100 w 332739"/>
                  <a:gd name="connsiteY51" fmla="*/ 103792 h 369255"/>
                  <a:gd name="connsiteX52" fmla="*/ 232736 w 332739"/>
                  <a:gd name="connsiteY52" fmla="*/ 104095 h 369255"/>
                  <a:gd name="connsiteX53" fmla="*/ 224857 w 332739"/>
                  <a:gd name="connsiteY53" fmla="*/ 104852 h 369255"/>
                  <a:gd name="connsiteX54" fmla="*/ 222281 w 332739"/>
                  <a:gd name="connsiteY54" fmla="*/ 105307 h 369255"/>
                  <a:gd name="connsiteX55" fmla="*/ 220463 w 332739"/>
                  <a:gd name="connsiteY55" fmla="*/ 104852 h 369255"/>
                  <a:gd name="connsiteX56" fmla="*/ 214553 w 332739"/>
                  <a:gd name="connsiteY56" fmla="*/ 104852 h 369255"/>
                  <a:gd name="connsiteX57" fmla="*/ 212281 w 332739"/>
                  <a:gd name="connsiteY57" fmla="*/ 103337 h 369255"/>
                  <a:gd name="connsiteX58" fmla="*/ 210311 w 332739"/>
                  <a:gd name="connsiteY58" fmla="*/ 101519 h 369255"/>
                  <a:gd name="connsiteX59" fmla="*/ 206220 w 332739"/>
                  <a:gd name="connsiteY59" fmla="*/ 96973 h 369255"/>
                  <a:gd name="connsiteX60" fmla="*/ 205614 w 332739"/>
                  <a:gd name="connsiteY60" fmla="*/ 94700 h 369255"/>
                  <a:gd name="connsiteX61" fmla="*/ 204098 w 332739"/>
                  <a:gd name="connsiteY61" fmla="*/ 93943 h 369255"/>
                  <a:gd name="connsiteX62" fmla="*/ 201674 w 332739"/>
                  <a:gd name="connsiteY62" fmla="*/ 94246 h 369255"/>
                  <a:gd name="connsiteX63" fmla="*/ 199250 w 332739"/>
                  <a:gd name="connsiteY63" fmla="*/ 93943 h 369255"/>
                  <a:gd name="connsiteX64" fmla="*/ 194553 w 332739"/>
                  <a:gd name="connsiteY64" fmla="*/ 92124 h 369255"/>
                  <a:gd name="connsiteX65" fmla="*/ 190158 w 332739"/>
                  <a:gd name="connsiteY65" fmla="*/ 90155 h 369255"/>
                  <a:gd name="connsiteX66" fmla="*/ 188037 w 332739"/>
                  <a:gd name="connsiteY66" fmla="*/ 90306 h 369255"/>
                  <a:gd name="connsiteX67" fmla="*/ 186067 w 332739"/>
                  <a:gd name="connsiteY67" fmla="*/ 89094 h 369255"/>
                  <a:gd name="connsiteX68" fmla="*/ 182734 w 332739"/>
                  <a:gd name="connsiteY68" fmla="*/ 86215 h 369255"/>
                  <a:gd name="connsiteX69" fmla="*/ 181219 w 332739"/>
                  <a:gd name="connsiteY69" fmla="*/ 85003 h 369255"/>
                  <a:gd name="connsiteX70" fmla="*/ 180461 w 332739"/>
                  <a:gd name="connsiteY70" fmla="*/ 83488 h 369255"/>
                  <a:gd name="connsiteX71" fmla="*/ 179704 w 332739"/>
                  <a:gd name="connsiteY71" fmla="*/ 81215 h 369255"/>
                  <a:gd name="connsiteX72" fmla="*/ 178340 w 332739"/>
                  <a:gd name="connsiteY72" fmla="*/ 80760 h 369255"/>
                  <a:gd name="connsiteX73" fmla="*/ 176522 w 332739"/>
                  <a:gd name="connsiteY73" fmla="*/ 81215 h 369255"/>
                  <a:gd name="connsiteX74" fmla="*/ 174703 w 332739"/>
                  <a:gd name="connsiteY74" fmla="*/ 82427 h 369255"/>
                  <a:gd name="connsiteX75" fmla="*/ 171976 w 332739"/>
                  <a:gd name="connsiteY75" fmla="*/ 81670 h 369255"/>
                  <a:gd name="connsiteX76" fmla="*/ 168794 w 332739"/>
                  <a:gd name="connsiteY76" fmla="*/ 79548 h 369255"/>
                  <a:gd name="connsiteX77" fmla="*/ 166673 w 332739"/>
                  <a:gd name="connsiteY77" fmla="*/ 77882 h 369255"/>
                  <a:gd name="connsiteX78" fmla="*/ 165461 w 332739"/>
                  <a:gd name="connsiteY78" fmla="*/ 77124 h 369255"/>
                  <a:gd name="connsiteX79" fmla="*/ 162582 w 332739"/>
                  <a:gd name="connsiteY79" fmla="*/ 76063 h 369255"/>
                  <a:gd name="connsiteX80" fmla="*/ 159854 w 332739"/>
                  <a:gd name="connsiteY80" fmla="*/ 75760 h 369255"/>
                  <a:gd name="connsiteX81" fmla="*/ 155763 w 332739"/>
                  <a:gd name="connsiteY81" fmla="*/ 77427 h 369255"/>
                  <a:gd name="connsiteX82" fmla="*/ 152430 w 332739"/>
                  <a:gd name="connsiteY82" fmla="*/ 76821 h 369255"/>
                  <a:gd name="connsiteX83" fmla="*/ 147127 w 332739"/>
                  <a:gd name="connsiteY83" fmla="*/ 76215 h 369255"/>
                  <a:gd name="connsiteX84" fmla="*/ 142581 w 332739"/>
                  <a:gd name="connsiteY84" fmla="*/ 75003 h 369255"/>
                  <a:gd name="connsiteX85" fmla="*/ 140914 w 332739"/>
                  <a:gd name="connsiteY85" fmla="*/ 71821 h 369255"/>
                  <a:gd name="connsiteX86" fmla="*/ 140005 w 332739"/>
                  <a:gd name="connsiteY86" fmla="*/ 69699 h 369255"/>
                  <a:gd name="connsiteX87" fmla="*/ 137278 w 332739"/>
                  <a:gd name="connsiteY87" fmla="*/ 68336 h 369255"/>
                  <a:gd name="connsiteX88" fmla="*/ 135157 w 332739"/>
                  <a:gd name="connsiteY88" fmla="*/ 66820 h 369255"/>
                  <a:gd name="connsiteX89" fmla="*/ 132581 w 332739"/>
                  <a:gd name="connsiteY89" fmla="*/ 64396 h 369255"/>
                  <a:gd name="connsiteX90" fmla="*/ 131368 w 332739"/>
                  <a:gd name="connsiteY90" fmla="*/ 63639 h 369255"/>
                  <a:gd name="connsiteX91" fmla="*/ 129096 w 332739"/>
                  <a:gd name="connsiteY91" fmla="*/ 63032 h 369255"/>
                  <a:gd name="connsiteX92" fmla="*/ 126974 w 332739"/>
                  <a:gd name="connsiteY92" fmla="*/ 62123 h 369255"/>
                  <a:gd name="connsiteX93" fmla="*/ 126671 w 332739"/>
                  <a:gd name="connsiteY93" fmla="*/ 60608 h 369255"/>
                  <a:gd name="connsiteX94" fmla="*/ 125914 w 332739"/>
                  <a:gd name="connsiteY94" fmla="*/ 58638 h 369255"/>
                  <a:gd name="connsiteX95" fmla="*/ 125762 w 332739"/>
                  <a:gd name="connsiteY95" fmla="*/ 58184 h 369255"/>
                  <a:gd name="connsiteX96" fmla="*/ 124247 w 332739"/>
                  <a:gd name="connsiteY96" fmla="*/ 55760 h 369255"/>
                  <a:gd name="connsiteX97" fmla="*/ 123641 w 332739"/>
                  <a:gd name="connsiteY97" fmla="*/ 55608 h 369255"/>
                  <a:gd name="connsiteX98" fmla="*/ 122883 w 332739"/>
                  <a:gd name="connsiteY98" fmla="*/ 56063 h 369255"/>
                  <a:gd name="connsiteX99" fmla="*/ 122277 w 332739"/>
                  <a:gd name="connsiteY99" fmla="*/ 56366 h 369255"/>
                  <a:gd name="connsiteX100" fmla="*/ 121671 w 332739"/>
                  <a:gd name="connsiteY100" fmla="*/ 55911 h 369255"/>
                  <a:gd name="connsiteX101" fmla="*/ 121519 w 332739"/>
                  <a:gd name="connsiteY101" fmla="*/ 54850 h 369255"/>
                  <a:gd name="connsiteX102" fmla="*/ 121974 w 332739"/>
                  <a:gd name="connsiteY102" fmla="*/ 53184 h 369255"/>
                  <a:gd name="connsiteX103" fmla="*/ 121065 w 332739"/>
                  <a:gd name="connsiteY103" fmla="*/ 51366 h 369255"/>
                  <a:gd name="connsiteX104" fmla="*/ 118944 w 332739"/>
                  <a:gd name="connsiteY104" fmla="*/ 49396 h 369255"/>
                  <a:gd name="connsiteX105" fmla="*/ 117883 w 332739"/>
                  <a:gd name="connsiteY105" fmla="*/ 47426 h 369255"/>
                  <a:gd name="connsiteX106" fmla="*/ 117731 w 332739"/>
                  <a:gd name="connsiteY106" fmla="*/ 45305 h 369255"/>
                  <a:gd name="connsiteX107" fmla="*/ 117277 w 332739"/>
                  <a:gd name="connsiteY107" fmla="*/ 43941 h 369255"/>
                  <a:gd name="connsiteX108" fmla="*/ 116519 w 332739"/>
                  <a:gd name="connsiteY108" fmla="*/ 43183 h 369255"/>
                  <a:gd name="connsiteX109" fmla="*/ 116065 w 332739"/>
                  <a:gd name="connsiteY109" fmla="*/ 41971 h 369255"/>
                  <a:gd name="connsiteX110" fmla="*/ 115913 w 332739"/>
                  <a:gd name="connsiteY110" fmla="*/ 40304 h 369255"/>
                  <a:gd name="connsiteX111" fmla="*/ 116519 w 332739"/>
                  <a:gd name="connsiteY111" fmla="*/ 38335 h 369255"/>
                  <a:gd name="connsiteX112" fmla="*/ 117883 w 332739"/>
                  <a:gd name="connsiteY112" fmla="*/ 35910 h 369255"/>
                  <a:gd name="connsiteX113" fmla="*/ 117580 w 332739"/>
                  <a:gd name="connsiteY113" fmla="*/ 32274 h 369255"/>
                  <a:gd name="connsiteX114" fmla="*/ 115762 w 332739"/>
                  <a:gd name="connsiteY114" fmla="*/ 27425 h 369255"/>
                  <a:gd name="connsiteX115" fmla="*/ 114701 w 332739"/>
                  <a:gd name="connsiteY115" fmla="*/ 23940 h 369255"/>
                  <a:gd name="connsiteX116" fmla="*/ 114550 w 332739"/>
                  <a:gd name="connsiteY116" fmla="*/ 21819 h 369255"/>
                  <a:gd name="connsiteX117" fmla="*/ 114853 w 332739"/>
                  <a:gd name="connsiteY117" fmla="*/ 20152 h 369255"/>
                  <a:gd name="connsiteX118" fmla="*/ 115913 w 332739"/>
                  <a:gd name="connsiteY118" fmla="*/ 18637 h 369255"/>
                  <a:gd name="connsiteX119" fmla="*/ 118186 w 332739"/>
                  <a:gd name="connsiteY119" fmla="*/ 14849 h 369255"/>
                  <a:gd name="connsiteX120" fmla="*/ 118641 w 332739"/>
                  <a:gd name="connsiteY120" fmla="*/ 11970 h 369255"/>
                  <a:gd name="connsiteX121" fmla="*/ 117883 w 332739"/>
                  <a:gd name="connsiteY121" fmla="*/ 8637 h 369255"/>
                  <a:gd name="connsiteX122" fmla="*/ 117731 w 332739"/>
                  <a:gd name="connsiteY122" fmla="*/ 6061 h 369255"/>
                  <a:gd name="connsiteX123" fmla="*/ 118186 w 332739"/>
                  <a:gd name="connsiteY123" fmla="*/ 4394 h 369255"/>
                  <a:gd name="connsiteX124" fmla="*/ 117429 w 332739"/>
                  <a:gd name="connsiteY124" fmla="*/ 2121 h 369255"/>
                  <a:gd name="connsiteX125" fmla="*/ 115762 w 332739"/>
                  <a:gd name="connsiteY125" fmla="*/ 0 h 369255"/>
                  <a:gd name="connsiteX126" fmla="*/ 114701 w 332739"/>
                  <a:gd name="connsiteY126" fmla="*/ 0 h 369255"/>
                  <a:gd name="connsiteX127" fmla="*/ 113186 w 332739"/>
                  <a:gd name="connsiteY127" fmla="*/ 606 h 369255"/>
                  <a:gd name="connsiteX128" fmla="*/ 111368 w 332739"/>
                  <a:gd name="connsiteY128" fmla="*/ 2424 h 369255"/>
                  <a:gd name="connsiteX129" fmla="*/ 109246 w 332739"/>
                  <a:gd name="connsiteY129" fmla="*/ 2727 h 369255"/>
                  <a:gd name="connsiteX130" fmla="*/ 107277 w 332739"/>
                  <a:gd name="connsiteY130" fmla="*/ 1667 h 369255"/>
                  <a:gd name="connsiteX131" fmla="*/ 101367 w 332739"/>
                  <a:gd name="connsiteY131" fmla="*/ 2121 h 369255"/>
                  <a:gd name="connsiteX132" fmla="*/ 92124 w 332739"/>
                  <a:gd name="connsiteY132" fmla="*/ 3182 h 369255"/>
                  <a:gd name="connsiteX133" fmla="*/ 88488 w 332739"/>
                  <a:gd name="connsiteY133" fmla="*/ 4394 h 369255"/>
                  <a:gd name="connsiteX134" fmla="*/ 86367 w 332739"/>
                  <a:gd name="connsiteY134" fmla="*/ 4849 h 369255"/>
                  <a:gd name="connsiteX135" fmla="*/ 83791 w 332739"/>
                  <a:gd name="connsiteY135" fmla="*/ 5152 h 369255"/>
                  <a:gd name="connsiteX136" fmla="*/ 79548 w 332739"/>
                  <a:gd name="connsiteY136" fmla="*/ 7273 h 369255"/>
                  <a:gd name="connsiteX137" fmla="*/ 69093 w 332739"/>
                  <a:gd name="connsiteY137" fmla="*/ 15304 h 369255"/>
                  <a:gd name="connsiteX138" fmla="*/ 66972 w 332739"/>
                  <a:gd name="connsiteY138" fmla="*/ 16516 h 369255"/>
                  <a:gd name="connsiteX139" fmla="*/ 64548 w 332739"/>
                  <a:gd name="connsiteY139" fmla="*/ 16667 h 369255"/>
                  <a:gd name="connsiteX140" fmla="*/ 63184 w 332739"/>
                  <a:gd name="connsiteY140" fmla="*/ 17728 h 369255"/>
                  <a:gd name="connsiteX141" fmla="*/ 60911 w 332739"/>
                  <a:gd name="connsiteY141" fmla="*/ 18637 h 369255"/>
                  <a:gd name="connsiteX142" fmla="*/ 56366 w 332739"/>
                  <a:gd name="connsiteY142" fmla="*/ 21819 h 369255"/>
                  <a:gd name="connsiteX143" fmla="*/ 54093 w 332739"/>
                  <a:gd name="connsiteY143" fmla="*/ 24395 h 369255"/>
                  <a:gd name="connsiteX144" fmla="*/ 52577 w 332739"/>
                  <a:gd name="connsiteY144" fmla="*/ 26668 h 369255"/>
                  <a:gd name="connsiteX145" fmla="*/ 50759 w 332739"/>
                  <a:gd name="connsiteY145" fmla="*/ 26819 h 369255"/>
                  <a:gd name="connsiteX146" fmla="*/ 49396 w 332739"/>
                  <a:gd name="connsiteY146" fmla="*/ 26213 h 369255"/>
                  <a:gd name="connsiteX147" fmla="*/ 45153 w 332739"/>
                  <a:gd name="connsiteY147" fmla="*/ 26516 h 369255"/>
                  <a:gd name="connsiteX148" fmla="*/ 43032 w 332739"/>
                  <a:gd name="connsiteY148" fmla="*/ 27274 h 369255"/>
                  <a:gd name="connsiteX149" fmla="*/ 40607 w 332739"/>
                  <a:gd name="connsiteY149" fmla="*/ 29546 h 369255"/>
                  <a:gd name="connsiteX150" fmla="*/ 37729 w 332739"/>
                  <a:gd name="connsiteY150" fmla="*/ 33638 h 369255"/>
                  <a:gd name="connsiteX151" fmla="*/ 36516 w 332739"/>
                  <a:gd name="connsiteY151" fmla="*/ 34850 h 369255"/>
                  <a:gd name="connsiteX152" fmla="*/ 34092 w 332739"/>
                  <a:gd name="connsiteY152" fmla="*/ 36062 h 369255"/>
                  <a:gd name="connsiteX153" fmla="*/ 31365 w 332739"/>
                  <a:gd name="connsiteY153" fmla="*/ 37123 h 369255"/>
                  <a:gd name="connsiteX154" fmla="*/ 28031 w 332739"/>
                  <a:gd name="connsiteY154" fmla="*/ 38638 h 369255"/>
                  <a:gd name="connsiteX155" fmla="*/ 26516 w 332739"/>
                  <a:gd name="connsiteY155" fmla="*/ 38789 h 369255"/>
                  <a:gd name="connsiteX156" fmla="*/ 25152 w 332739"/>
                  <a:gd name="connsiteY156" fmla="*/ 39092 h 369255"/>
                  <a:gd name="connsiteX157" fmla="*/ 23940 w 332739"/>
                  <a:gd name="connsiteY157" fmla="*/ 38486 h 369255"/>
                  <a:gd name="connsiteX158" fmla="*/ 23486 w 332739"/>
                  <a:gd name="connsiteY158" fmla="*/ 36971 h 369255"/>
                  <a:gd name="connsiteX159" fmla="*/ 21667 w 332739"/>
                  <a:gd name="connsiteY159" fmla="*/ 36062 h 369255"/>
                  <a:gd name="connsiteX160" fmla="*/ 17425 w 332739"/>
                  <a:gd name="connsiteY160" fmla="*/ 35607 h 369255"/>
                  <a:gd name="connsiteX161" fmla="*/ 11212 w 332739"/>
                  <a:gd name="connsiteY161" fmla="*/ 34547 h 369255"/>
                  <a:gd name="connsiteX162" fmla="*/ 4849 w 332739"/>
                  <a:gd name="connsiteY162" fmla="*/ 34395 h 369255"/>
                  <a:gd name="connsiteX163" fmla="*/ 1667 w 332739"/>
                  <a:gd name="connsiteY163" fmla="*/ 34547 h 369255"/>
                  <a:gd name="connsiteX164" fmla="*/ 5152 w 332739"/>
                  <a:gd name="connsiteY164" fmla="*/ 40456 h 369255"/>
                  <a:gd name="connsiteX165" fmla="*/ 7727 w 332739"/>
                  <a:gd name="connsiteY165" fmla="*/ 44850 h 369255"/>
                  <a:gd name="connsiteX166" fmla="*/ 10606 w 332739"/>
                  <a:gd name="connsiteY166" fmla="*/ 49850 h 369255"/>
                  <a:gd name="connsiteX167" fmla="*/ 12879 w 332739"/>
                  <a:gd name="connsiteY167" fmla="*/ 53790 h 369255"/>
                  <a:gd name="connsiteX168" fmla="*/ 16364 w 332739"/>
                  <a:gd name="connsiteY168" fmla="*/ 59851 h 369255"/>
                  <a:gd name="connsiteX169" fmla="*/ 19395 w 332739"/>
                  <a:gd name="connsiteY169" fmla="*/ 65154 h 369255"/>
                  <a:gd name="connsiteX170" fmla="*/ 22576 w 332739"/>
                  <a:gd name="connsiteY170" fmla="*/ 70760 h 369255"/>
                  <a:gd name="connsiteX171" fmla="*/ 26213 w 332739"/>
                  <a:gd name="connsiteY171" fmla="*/ 77124 h 369255"/>
                  <a:gd name="connsiteX172" fmla="*/ 25001 w 332739"/>
                  <a:gd name="connsiteY172" fmla="*/ 78791 h 369255"/>
                  <a:gd name="connsiteX173" fmla="*/ 24092 w 332739"/>
                  <a:gd name="connsiteY173" fmla="*/ 80154 h 369255"/>
                  <a:gd name="connsiteX174" fmla="*/ 24243 w 332739"/>
                  <a:gd name="connsiteY174" fmla="*/ 82276 h 369255"/>
                  <a:gd name="connsiteX175" fmla="*/ 22728 w 332739"/>
                  <a:gd name="connsiteY175" fmla="*/ 83488 h 369255"/>
                  <a:gd name="connsiteX176" fmla="*/ 21213 w 332739"/>
                  <a:gd name="connsiteY176" fmla="*/ 84245 h 369255"/>
                  <a:gd name="connsiteX177" fmla="*/ 19395 w 332739"/>
                  <a:gd name="connsiteY177" fmla="*/ 86064 h 369255"/>
                  <a:gd name="connsiteX178" fmla="*/ 18182 w 332739"/>
                  <a:gd name="connsiteY178" fmla="*/ 87730 h 369255"/>
                  <a:gd name="connsiteX179" fmla="*/ 18182 w 332739"/>
                  <a:gd name="connsiteY179" fmla="*/ 90003 h 369255"/>
                  <a:gd name="connsiteX180" fmla="*/ 18334 w 332739"/>
                  <a:gd name="connsiteY180" fmla="*/ 101670 h 369255"/>
                  <a:gd name="connsiteX181" fmla="*/ 18031 w 332739"/>
                  <a:gd name="connsiteY181" fmla="*/ 104852 h 369255"/>
                  <a:gd name="connsiteX182" fmla="*/ 17122 w 332739"/>
                  <a:gd name="connsiteY182" fmla="*/ 107580 h 369255"/>
                  <a:gd name="connsiteX183" fmla="*/ 16213 w 332739"/>
                  <a:gd name="connsiteY183" fmla="*/ 108943 h 369255"/>
                  <a:gd name="connsiteX184" fmla="*/ 15607 w 332739"/>
                  <a:gd name="connsiteY184" fmla="*/ 110004 h 369255"/>
                  <a:gd name="connsiteX185" fmla="*/ 16970 w 332739"/>
                  <a:gd name="connsiteY185" fmla="*/ 112731 h 369255"/>
                  <a:gd name="connsiteX186" fmla="*/ 18334 w 332739"/>
                  <a:gd name="connsiteY186" fmla="*/ 118186 h 369255"/>
                  <a:gd name="connsiteX187" fmla="*/ 19395 w 332739"/>
                  <a:gd name="connsiteY187" fmla="*/ 119247 h 369255"/>
                  <a:gd name="connsiteX188" fmla="*/ 20607 w 332739"/>
                  <a:gd name="connsiteY188" fmla="*/ 121519 h 369255"/>
                  <a:gd name="connsiteX189" fmla="*/ 21213 w 332739"/>
                  <a:gd name="connsiteY189" fmla="*/ 123641 h 369255"/>
                  <a:gd name="connsiteX190" fmla="*/ 20910 w 332739"/>
                  <a:gd name="connsiteY190" fmla="*/ 124398 h 369255"/>
                  <a:gd name="connsiteX191" fmla="*/ 18334 w 332739"/>
                  <a:gd name="connsiteY191" fmla="*/ 125459 h 369255"/>
                  <a:gd name="connsiteX192" fmla="*/ 17425 w 332739"/>
                  <a:gd name="connsiteY192" fmla="*/ 126368 h 369255"/>
                  <a:gd name="connsiteX193" fmla="*/ 17122 w 332739"/>
                  <a:gd name="connsiteY193" fmla="*/ 129550 h 369255"/>
                  <a:gd name="connsiteX194" fmla="*/ 16061 w 332739"/>
                  <a:gd name="connsiteY194" fmla="*/ 130611 h 369255"/>
                  <a:gd name="connsiteX195" fmla="*/ 14243 w 332739"/>
                  <a:gd name="connsiteY195" fmla="*/ 132126 h 369255"/>
                  <a:gd name="connsiteX196" fmla="*/ 13031 w 332739"/>
                  <a:gd name="connsiteY196" fmla="*/ 133793 h 369255"/>
                  <a:gd name="connsiteX197" fmla="*/ 11970 w 332739"/>
                  <a:gd name="connsiteY197" fmla="*/ 135005 h 369255"/>
                  <a:gd name="connsiteX198" fmla="*/ 11061 w 332739"/>
                  <a:gd name="connsiteY198" fmla="*/ 135611 h 369255"/>
                  <a:gd name="connsiteX199" fmla="*/ 10606 w 332739"/>
                  <a:gd name="connsiteY199" fmla="*/ 137732 h 369255"/>
                  <a:gd name="connsiteX200" fmla="*/ 10000 w 332739"/>
                  <a:gd name="connsiteY200" fmla="*/ 139854 h 369255"/>
                  <a:gd name="connsiteX201" fmla="*/ 7727 w 332739"/>
                  <a:gd name="connsiteY201" fmla="*/ 141217 h 369255"/>
                  <a:gd name="connsiteX202" fmla="*/ 7273 w 332739"/>
                  <a:gd name="connsiteY202" fmla="*/ 143793 h 369255"/>
                  <a:gd name="connsiteX203" fmla="*/ 7273 w 332739"/>
                  <a:gd name="connsiteY203" fmla="*/ 145914 h 369255"/>
                  <a:gd name="connsiteX204" fmla="*/ 8485 w 332739"/>
                  <a:gd name="connsiteY204" fmla="*/ 148036 h 369255"/>
                  <a:gd name="connsiteX205" fmla="*/ 12425 w 332739"/>
                  <a:gd name="connsiteY205" fmla="*/ 152430 h 369255"/>
                  <a:gd name="connsiteX206" fmla="*/ 12879 w 332739"/>
                  <a:gd name="connsiteY206" fmla="*/ 153490 h 369255"/>
                  <a:gd name="connsiteX207" fmla="*/ 10606 w 332739"/>
                  <a:gd name="connsiteY207" fmla="*/ 156218 h 369255"/>
                  <a:gd name="connsiteX208" fmla="*/ 9243 w 332739"/>
                  <a:gd name="connsiteY208" fmla="*/ 158036 h 369255"/>
                  <a:gd name="connsiteX209" fmla="*/ 7576 w 332739"/>
                  <a:gd name="connsiteY209" fmla="*/ 161066 h 369255"/>
                  <a:gd name="connsiteX210" fmla="*/ 7727 w 332739"/>
                  <a:gd name="connsiteY210" fmla="*/ 161066 h 369255"/>
                  <a:gd name="connsiteX211" fmla="*/ 9394 w 332739"/>
                  <a:gd name="connsiteY211" fmla="*/ 164097 h 369255"/>
                  <a:gd name="connsiteX212" fmla="*/ 10152 w 332739"/>
                  <a:gd name="connsiteY212" fmla="*/ 164248 h 369255"/>
                  <a:gd name="connsiteX213" fmla="*/ 11364 w 332739"/>
                  <a:gd name="connsiteY213" fmla="*/ 165157 h 369255"/>
                  <a:gd name="connsiteX214" fmla="*/ 12273 w 332739"/>
                  <a:gd name="connsiteY214" fmla="*/ 165612 h 369255"/>
                  <a:gd name="connsiteX215" fmla="*/ 12879 w 332739"/>
                  <a:gd name="connsiteY215" fmla="*/ 166067 h 369255"/>
                  <a:gd name="connsiteX216" fmla="*/ 13485 w 332739"/>
                  <a:gd name="connsiteY216" fmla="*/ 166824 h 369255"/>
                  <a:gd name="connsiteX217" fmla="*/ 14697 w 332739"/>
                  <a:gd name="connsiteY217" fmla="*/ 167885 h 369255"/>
                  <a:gd name="connsiteX218" fmla="*/ 16516 w 332739"/>
                  <a:gd name="connsiteY218" fmla="*/ 168794 h 369255"/>
                  <a:gd name="connsiteX219" fmla="*/ 17122 w 332739"/>
                  <a:gd name="connsiteY219" fmla="*/ 170309 h 369255"/>
                  <a:gd name="connsiteX220" fmla="*/ 17122 w 332739"/>
                  <a:gd name="connsiteY220" fmla="*/ 171976 h 369255"/>
                  <a:gd name="connsiteX221" fmla="*/ 17728 w 332739"/>
                  <a:gd name="connsiteY221" fmla="*/ 172430 h 369255"/>
                  <a:gd name="connsiteX222" fmla="*/ 20152 w 332739"/>
                  <a:gd name="connsiteY222" fmla="*/ 172885 h 369255"/>
                  <a:gd name="connsiteX223" fmla="*/ 22122 w 332739"/>
                  <a:gd name="connsiteY223" fmla="*/ 173037 h 369255"/>
                  <a:gd name="connsiteX224" fmla="*/ 23031 w 332739"/>
                  <a:gd name="connsiteY224" fmla="*/ 173643 h 369255"/>
                  <a:gd name="connsiteX225" fmla="*/ 22728 w 332739"/>
                  <a:gd name="connsiteY225" fmla="*/ 174249 h 369255"/>
                  <a:gd name="connsiteX226" fmla="*/ 22273 w 332739"/>
                  <a:gd name="connsiteY226" fmla="*/ 174855 h 369255"/>
                  <a:gd name="connsiteX227" fmla="*/ 21516 w 332739"/>
                  <a:gd name="connsiteY227" fmla="*/ 175764 h 369255"/>
                  <a:gd name="connsiteX228" fmla="*/ 20607 w 332739"/>
                  <a:gd name="connsiteY228" fmla="*/ 176825 h 369255"/>
                  <a:gd name="connsiteX229" fmla="*/ 21061 w 332739"/>
                  <a:gd name="connsiteY229" fmla="*/ 178340 h 369255"/>
                  <a:gd name="connsiteX230" fmla="*/ 22273 w 332739"/>
                  <a:gd name="connsiteY230" fmla="*/ 179855 h 369255"/>
                  <a:gd name="connsiteX231" fmla="*/ 24092 w 332739"/>
                  <a:gd name="connsiteY231" fmla="*/ 180158 h 369255"/>
                  <a:gd name="connsiteX232" fmla="*/ 26061 w 332739"/>
                  <a:gd name="connsiteY232" fmla="*/ 180613 h 369255"/>
                  <a:gd name="connsiteX233" fmla="*/ 27728 w 332739"/>
                  <a:gd name="connsiteY233" fmla="*/ 180613 h 369255"/>
                  <a:gd name="connsiteX234" fmla="*/ 28940 w 332739"/>
                  <a:gd name="connsiteY234" fmla="*/ 181067 h 369255"/>
                  <a:gd name="connsiteX235" fmla="*/ 28940 w 332739"/>
                  <a:gd name="connsiteY235" fmla="*/ 181976 h 369255"/>
                  <a:gd name="connsiteX236" fmla="*/ 29092 w 332739"/>
                  <a:gd name="connsiteY236" fmla="*/ 182431 h 369255"/>
                  <a:gd name="connsiteX237" fmla="*/ 29092 w 332739"/>
                  <a:gd name="connsiteY237" fmla="*/ 182885 h 369255"/>
                  <a:gd name="connsiteX238" fmla="*/ 28486 w 332739"/>
                  <a:gd name="connsiteY238" fmla="*/ 183188 h 369255"/>
                  <a:gd name="connsiteX239" fmla="*/ 27274 w 332739"/>
                  <a:gd name="connsiteY239" fmla="*/ 183340 h 369255"/>
                  <a:gd name="connsiteX240" fmla="*/ 26213 w 332739"/>
                  <a:gd name="connsiteY240" fmla="*/ 183492 h 369255"/>
                  <a:gd name="connsiteX241" fmla="*/ 25910 w 332739"/>
                  <a:gd name="connsiteY241" fmla="*/ 183794 h 369255"/>
                  <a:gd name="connsiteX242" fmla="*/ 25758 w 332739"/>
                  <a:gd name="connsiteY242" fmla="*/ 184401 h 369255"/>
                  <a:gd name="connsiteX243" fmla="*/ 25001 w 332739"/>
                  <a:gd name="connsiteY243" fmla="*/ 185007 h 369255"/>
                  <a:gd name="connsiteX244" fmla="*/ 23637 w 332739"/>
                  <a:gd name="connsiteY244" fmla="*/ 185613 h 369255"/>
                  <a:gd name="connsiteX245" fmla="*/ 21667 w 332739"/>
                  <a:gd name="connsiteY245" fmla="*/ 185916 h 369255"/>
                  <a:gd name="connsiteX246" fmla="*/ 20455 w 332739"/>
                  <a:gd name="connsiteY246" fmla="*/ 186219 h 369255"/>
                  <a:gd name="connsiteX247" fmla="*/ 19849 w 332739"/>
                  <a:gd name="connsiteY247" fmla="*/ 186825 h 369255"/>
                  <a:gd name="connsiteX248" fmla="*/ 20758 w 332739"/>
                  <a:gd name="connsiteY248" fmla="*/ 187280 h 369255"/>
                  <a:gd name="connsiteX249" fmla="*/ 21516 w 332739"/>
                  <a:gd name="connsiteY249" fmla="*/ 188340 h 369255"/>
                  <a:gd name="connsiteX250" fmla="*/ 21819 w 332739"/>
                  <a:gd name="connsiteY250" fmla="*/ 188946 h 369255"/>
                  <a:gd name="connsiteX251" fmla="*/ 21819 w 332739"/>
                  <a:gd name="connsiteY251" fmla="*/ 189552 h 369255"/>
                  <a:gd name="connsiteX252" fmla="*/ 21667 w 332739"/>
                  <a:gd name="connsiteY252" fmla="*/ 190158 h 369255"/>
                  <a:gd name="connsiteX253" fmla="*/ 21364 w 332739"/>
                  <a:gd name="connsiteY253" fmla="*/ 190764 h 369255"/>
                  <a:gd name="connsiteX254" fmla="*/ 20455 w 332739"/>
                  <a:gd name="connsiteY254" fmla="*/ 190764 h 369255"/>
                  <a:gd name="connsiteX255" fmla="*/ 19395 w 332739"/>
                  <a:gd name="connsiteY255" fmla="*/ 190613 h 369255"/>
                  <a:gd name="connsiteX256" fmla="*/ 17576 w 332739"/>
                  <a:gd name="connsiteY256" fmla="*/ 189704 h 369255"/>
                  <a:gd name="connsiteX257" fmla="*/ 16667 w 332739"/>
                  <a:gd name="connsiteY257" fmla="*/ 189249 h 369255"/>
                  <a:gd name="connsiteX258" fmla="*/ 16667 w 332739"/>
                  <a:gd name="connsiteY258" fmla="*/ 189552 h 369255"/>
                  <a:gd name="connsiteX259" fmla="*/ 17122 w 332739"/>
                  <a:gd name="connsiteY259" fmla="*/ 192280 h 369255"/>
                  <a:gd name="connsiteX260" fmla="*/ 16213 w 332739"/>
                  <a:gd name="connsiteY260" fmla="*/ 193189 h 369255"/>
                  <a:gd name="connsiteX261" fmla="*/ 14091 w 332739"/>
                  <a:gd name="connsiteY261" fmla="*/ 194249 h 369255"/>
                  <a:gd name="connsiteX262" fmla="*/ 12273 w 332739"/>
                  <a:gd name="connsiteY262" fmla="*/ 195765 h 369255"/>
                  <a:gd name="connsiteX263" fmla="*/ 10455 w 332739"/>
                  <a:gd name="connsiteY263" fmla="*/ 198341 h 369255"/>
                  <a:gd name="connsiteX264" fmla="*/ 7273 w 332739"/>
                  <a:gd name="connsiteY264" fmla="*/ 202280 h 369255"/>
                  <a:gd name="connsiteX265" fmla="*/ 6212 w 332739"/>
                  <a:gd name="connsiteY265" fmla="*/ 203341 h 369255"/>
                  <a:gd name="connsiteX266" fmla="*/ 5758 w 332739"/>
                  <a:gd name="connsiteY266" fmla="*/ 204704 h 369255"/>
                  <a:gd name="connsiteX267" fmla="*/ 3939 w 332739"/>
                  <a:gd name="connsiteY267" fmla="*/ 205159 h 369255"/>
                  <a:gd name="connsiteX268" fmla="*/ 606 w 332739"/>
                  <a:gd name="connsiteY268" fmla="*/ 207886 h 369255"/>
                  <a:gd name="connsiteX269" fmla="*/ 0 w 332739"/>
                  <a:gd name="connsiteY269" fmla="*/ 209250 h 369255"/>
                  <a:gd name="connsiteX270" fmla="*/ 606 w 332739"/>
                  <a:gd name="connsiteY270" fmla="*/ 210462 h 369255"/>
                  <a:gd name="connsiteX271" fmla="*/ 2273 w 332739"/>
                  <a:gd name="connsiteY271" fmla="*/ 211523 h 369255"/>
                  <a:gd name="connsiteX272" fmla="*/ 3485 w 332739"/>
                  <a:gd name="connsiteY272" fmla="*/ 213038 h 369255"/>
                  <a:gd name="connsiteX273" fmla="*/ 3788 w 332739"/>
                  <a:gd name="connsiteY273" fmla="*/ 215008 h 369255"/>
                  <a:gd name="connsiteX274" fmla="*/ 3788 w 332739"/>
                  <a:gd name="connsiteY274" fmla="*/ 216220 h 369255"/>
                  <a:gd name="connsiteX275" fmla="*/ 3788 w 332739"/>
                  <a:gd name="connsiteY275" fmla="*/ 216220 h 369255"/>
                  <a:gd name="connsiteX276" fmla="*/ 4243 w 332739"/>
                  <a:gd name="connsiteY276" fmla="*/ 219402 h 369255"/>
                  <a:gd name="connsiteX277" fmla="*/ 8031 w 332739"/>
                  <a:gd name="connsiteY277" fmla="*/ 223644 h 369255"/>
                  <a:gd name="connsiteX278" fmla="*/ 9243 w 332739"/>
                  <a:gd name="connsiteY278" fmla="*/ 228493 h 369255"/>
                  <a:gd name="connsiteX279" fmla="*/ 10152 w 332739"/>
                  <a:gd name="connsiteY279" fmla="*/ 229099 h 369255"/>
                  <a:gd name="connsiteX280" fmla="*/ 15304 w 332739"/>
                  <a:gd name="connsiteY280" fmla="*/ 231524 h 369255"/>
                  <a:gd name="connsiteX281" fmla="*/ 15455 w 332739"/>
                  <a:gd name="connsiteY281" fmla="*/ 232130 h 369255"/>
                  <a:gd name="connsiteX282" fmla="*/ 14697 w 332739"/>
                  <a:gd name="connsiteY282" fmla="*/ 233039 h 369255"/>
                  <a:gd name="connsiteX283" fmla="*/ 13940 w 332739"/>
                  <a:gd name="connsiteY283" fmla="*/ 234251 h 369255"/>
                  <a:gd name="connsiteX284" fmla="*/ 14394 w 332739"/>
                  <a:gd name="connsiteY284" fmla="*/ 235918 h 369255"/>
                  <a:gd name="connsiteX285" fmla="*/ 15304 w 332739"/>
                  <a:gd name="connsiteY285" fmla="*/ 238191 h 369255"/>
                  <a:gd name="connsiteX286" fmla="*/ 15607 w 332739"/>
                  <a:gd name="connsiteY286" fmla="*/ 240312 h 369255"/>
                  <a:gd name="connsiteX287" fmla="*/ 16213 w 332739"/>
                  <a:gd name="connsiteY287" fmla="*/ 242433 h 369255"/>
                  <a:gd name="connsiteX288" fmla="*/ 16819 w 332739"/>
                  <a:gd name="connsiteY288" fmla="*/ 245767 h 369255"/>
                  <a:gd name="connsiteX289" fmla="*/ 17122 w 332739"/>
                  <a:gd name="connsiteY289" fmla="*/ 248797 h 369255"/>
                  <a:gd name="connsiteX290" fmla="*/ 18485 w 332739"/>
                  <a:gd name="connsiteY290" fmla="*/ 253191 h 369255"/>
                  <a:gd name="connsiteX291" fmla="*/ 18788 w 332739"/>
                  <a:gd name="connsiteY291" fmla="*/ 255918 h 369255"/>
                  <a:gd name="connsiteX292" fmla="*/ 18788 w 332739"/>
                  <a:gd name="connsiteY292" fmla="*/ 257585 h 369255"/>
                  <a:gd name="connsiteX293" fmla="*/ 19849 w 332739"/>
                  <a:gd name="connsiteY293" fmla="*/ 259252 h 369255"/>
                  <a:gd name="connsiteX294" fmla="*/ 21819 w 332739"/>
                  <a:gd name="connsiteY294" fmla="*/ 261222 h 369255"/>
                  <a:gd name="connsiteX295" fmla="*/ 24546 w 332739"/>
                  <a:gd name="connsiteY295" fmla="*/ 263191 h 369255"/>
                  <a:gd name="connsiteX296" fmla="*/ 26668 w 332739"/>
                  <a:gd name="connsiteY296" fmla="*/ 265464 h 369255"/>
                  <a:gd name="connsiteX297" fmla="*/ 28334 w 332739"/>
                  <a:gd name="connsiteY297" fmla="*/ 266979 h 369255"/>
                  <a:gd name="connsiteX298" fmla="*/ 30304 w 332739"/>
                  <a:gd name="connsiteY298" fmla="*/ 268192 h 369255"/>
                  <a:gd name="connsiteX299" fmla="*/ 31819 w 332739"/>
                  <a:gd name="connsiteY299" fmla="*/ 269404 h 369255"/>
                  <a:gd name="connsiteX300" fmla="*/ 32425 w 332739"/>
                  <a:gd name="connsiteY300" fmla="*/ 270161 h 369255"/>
                  <a:gd name="connsiteX301" fmla="*/ 32577 w 332739"/>
                  <a:gd name="connsiteY301" fmla="*/ 270767 h 369255"/>
                  <a:gd name="connsiteX302" fmla="*/ 31971 w 332739"/>
                  <a:gd name="connsiteY302" fmla="*/ 271373 h 369255"/>
                  <a:gd name="connsiteX303" fmla="*/ 29547 w 332739"/>
                  <a:gd name="connsiteY303" fmla="*/ 274404 h 369255"/>
                  <a:gd name="connsiteX304" fmla="*/ 26213 w 332739"/>
                  <a:gd name="connsiteY304" fmla="*/ 278949 h 369255"/>
                  <a:gd name="connsiteX305" fmla="*/ 26213 w 332739"/>
                  <a:gd name="connsiteY305" fmla="*/ 279556 h 369255"/>
                  <a:gd name="connsiteX306" fmla="*/ 29395 w 332739"/>
                  <a:gd name="connsiteY306" fmla="*/ 282889 h 369255"/>
                  <a:gd name="connsiteX307" fmla="*/ 29849 w 332739"/>
                  <a:gd name="connsiteY307" fmla="*/ 284253 h 369255"/>
                  <a:gd name="connsiteX308" fmla="*/ 29849 w 332739"/>
                  <a:gd name="connsiteY308" fmla="*/ 286071 h 369255"/>
                  <a:gd name="connsiteX309" fmla="*/ 28789 w 332739"/>
                  <a:gd name="connsiteY309" fmla="*/ 288344 h 369255"/>
                  <a:gd name="connsiteX310" fmla="*/ 25304 w 332739"/>
                  <a:gd name="connsiteY310" fmla="*/ 289101 h 369255"/>
                  <a:gd name="connsiteX311" fmla="*/ 24546 w 332739"/>
                  <a:gd name="connsiteY311" fmla="*/ 289707 h 369255"/>
                  <a:gd name="connsiteX312" fmla="*/ 24395 w 332739"/>
                  <a:gd name="connsiteY312" fmla="*/ 290465 h 369255"/>
                  <a:gd name="connsiteX313" fmla="*/ 25152 w 332739"/>
                  <a:gd name="connsiteY313" fmla="*/ 291374 h 369255"/>
                  <a:gd name="connsiteX314" fmla="*/ 25001 w 332739"/>
                  <a:gd name="connsiteY314" fmla="*/ 293495 h 369255"/>
                  <a:gd name="connsiteX315" fmla="*/ 26213 w 332739"/>
                  <a:gd name="connsiteY315" fmla="*/ 295920 h 369255"/>
                  <a:gd name="connsiteX316" fmla="*/ 25607 w 332739"/>
                  <a:gd name="connsiteY316" fmla="*/ 296677 h 369255"/>
                  <a:gd name="connsiteX317" fmla="*/ 24395 w 332739"/>
                  <a:gd name="connsiteY317" fmla="*/ 297738 h 369255"/>
                  <a:gd name="connsiteX318" fmla="*/ 24395 w 332739"/>
                  <a:gd name="connsiteY318" fmla="*/ 298799 h 369255"/>
                  <a:gd name="connsiteX319" fmla="*/ 24849 w 332739"/>
                  <a:gd name="connsiteY319" fmla="*/ 300011 h 369255"/>
                  <a:gd name="connsiteX320" fmla="*/ 26213 w 332739"/>
                  <a:gd name="connsiteY320" fmla="*/ 300920 h 369255"/>
                  <a:gd name="connsiteX321" fmla="*/ 31516 w 332739"/>
                  <a:gd name="connsiteY321" fmla="*/ 304253 h 369255"/>
                  <a:gd name="connsiteX322" fmla="*/ 31971 w 332739"/>
                  <a:gd name="connsiteY322" fmla="*/ 304708 h 369255"/>
                  <a:gd name="connsiteX323" fmla="*/ 31819 w 332739"/>
                  <a:gd name="connsiteY323" fmla="*/ 305011 h 369255"/>
                  <a:gd name="connsiteX324" fmla="*/ 29698 w 332739"/>
                  <a:gd name="connsiteY324" fmla="*/ 307284 h 369255"/>
                  <a:gd name="connsiteX325" fmla="*/ 29547 w 332739"/>
                  <a:gd name="connsiteY325" fmla="*/ 308648 h 369255"/>
                  <a:gd name="connsiteX326" fmla="*/ 29547 w 332739"/>
                  <a:gd name="connsiteY326" fmla="*/ 310920 h 369255"/>
                  <a:gd name="connsiteX327" fmla="*/ 29849 w 332739"/>
                  <a:gd name="connsiteY327" fmla="*/ 312436 h 369255"/>
                  <a:gd name="connsiteX328" fmla="*/ 30456 w 332739"/>
                  <a:gd name="connsiteY328" fmla="*/ 313042 h 369255"/>
                  <a:gd name="connsiteX329" fmla="*/ 33183 w 332739"/>
                  <a:gd name="connsiteY329" fmla="*/ 313799 h 369255"/>
                  <a:gd name="connsiteX330" fmla="*/ 36516 w 332739"/>
                  <a:gd name="connsiteY330" fmla="*/ 318951 h 369255"/>
                  <a:gd name="connsiteX331" fmla="*/ 39698 w 332739"/>
                  <a:gd name="connsiteY331" fmla="*/ 323800 h 369255"/>
                  <a:gd name="connsiteX332" fmla="*/ 39698 w 332739"/>
                  <a:gd name="connsiteY332" fmla="*/ 328042 h 369255"/>
                  <a:gd name="connsiteX333" fmla="*/ 40001 w 332739"/>
                  <a:gd name="connsiteY333" fmla="*/ 332891 h 369255"/>
                  <a:gd name="connsiteX334" fmla="*/ 41971 w 332739"/>
                  <a:gd name="connsiteY334" fmla="*/ 336679 h 369255"/>
                  <a:gd name="connsiteX335" fmla="*/ 42274 w 332739"/>
                  <a:gd name="connsiteY335" fmla="*/ 339709 h 369255"/>
                  <a:gd name="connsiteX336" fmla="*/ 43032 w 332739"/>
                  <a:gd name="connsiteY336" fmla="*/ 343194 h 369255"/>
                  <a:gd name="connsiteX337" fmla="*/ 45456 w 332739"/>
                  <a:gd name="connsiteY337" fmla="*/ 345316 h 369255"/>
                  <a:gd name="connsiteX338" fmla="*/ 46365 w 332739"/>
                  <a:gd name="connsiteY338" fmla="*/ 349558 h 369255"/>
                  <a:gd name="connsiteX339" fmla="*/ 46668 w 332739"/>
                  <a:gd name="connsiteY339" fmla="*/ 351831 h 369255"/>
                  <a:gd name="connsiteX340" fmla="*/ 46517 w 332739"/>
                  <a:gd name="connsiteY340" fmla="*/ 353346 h 369255"/>
                  <a:gd name="connsiteX341" fmla="*/ 48335 w 332739"/>
                  <a:gd name="connsiteY341" fmla="*/ 357892 h 369255"/>
                  <a:gd name="connsiteX342" fmla="*/ 48487 w 332739"/>
                  <a:gd name="connsiteY342" fmla="*/ 361831 h 369255"/>
                  <a:gd name="connsiteX343" fmla="*/ 48032 w 332739"/>
                  <a:gd name="connsiteY343" fmla="*/ 364710 h 369255"/>
                  <a:gd name="connsiteX344" fmla="*/ 48032 w 332739"/>
                  <a:gd name="connsiteY344" fmla="*/ 366225 h 369255"/>
                  <a:gd name="connsiteX345" fmla="*/ 48335 w 332739"/>
                  <a:gd name="connsiteY345" fmla="*/ 367286 h 369255"/>
                  <a:gd name="connsiteX346" fmla="*/ 50002 w 332739"/>
                  <a:gd name="connsiteY346" fmla="*/ 368347 h 369255"/>
                  <a:gd name="connsiteX347" fmla="*/ 50759 w 332739"/>
                  <a:gd name="connsiteY347" fmla="*/ 368953 h 369255"/>
                  <a:gd name="connsiteX348" fmla="*/ 53184 w 332739"/>
                  <a:gd name="connsiteY348" fmla="*/ 369256 h 369255"/>
                  <a:gd name="connsiteX349" fmla="*/ 56669 w 332739"/>
                  <a:gd name="connsiteY349" fmla="*/ 369256 h 369255"/>
                  <a:gd name="connsiteX350" fmla="*/ 62578 w 332739"/>
                  <a:gd name="connsiteY350" fmla="*/ 368195 h 369255"/>
                  <a:gd name="connsiteX351" fmla="*/ 67124 w 332739"/>
                  <a:gd name="connsiteY351" fmla="*/ 367286 h 369255"/>
                  <a:gd name="connsiteX352" fmla="*/ 68033 w 332739"/>
                  <a:gd name="connsiteY352" fmla="*/ 365922 h 369255"/>
                  <a:gd name="connsiteX353" fmla="*/ 70912 w 332739"/>
                  <a:gd name="connsiteY353" fmla="*/ 362437 h 369255"/>
                  <a:gd name="connsiteX354" fmla="*/ 71518 w 332739"/>
                  <a:gd name="connsiteY354" fmla="*/ 359559 h 369255"/>
                  <a:gd name="connsiteX355" fmla="*/ 72730 w 332739"/>
                  <a:gd name="connsiteY355" fmla="*/ 358346 h 369255"/>
                  <a:gd name="connsiteX356" fmla="*/ 77882 w 332739"/>
                  <a:gd name="connsiteY356" fmla="*/ 355467 h 369255"/>
                  <a:gd name="connsiteX357" fmla="*/ 78791 w 332739"/>
                  <a:gd name="connsiteY357" fmla="*/ 353498 h 369255"/>
                  <a:gd name="connsiteX358" fmla="*/ 79245 w 332739"/>
                  <a:gd name="connsiteY358" fmla="*/ 351376 h 369255"/>
                  <a:gd name="connsiteX359" fmla="*/ 80306 w 332739"/>
                  <a:gd name="connsiteY359" fmla="*/ 349861 h 369255"/>
                  <a:gd name="connsiteX360" fmla="*/ 82276 w 332739"/>
                  <a:gd name="connsiteY360" fmla="*/ 349558 h 369255"/>
                  <a:gd name="connsiteX361" fmla="*/ 85912 w 332739"/>
                  <a:gd name="connsiteY361" fmla="*/ 348194 h 369255"/>
                  <a:gd name="connsiteX362" fmla="*/ 89852 w 332739"/>
                  <a:gd name="connsiteY362" fmla="*/ 346982 h 369255"/>
                  <a:gd name="connsiteX363" fmla="*/ 91064 w 332739"/>
                  <a:gd name="connsiteY363" fmla="*/ 345316 h 369255"/>
                  <a:gd name="connsiteX364" fmla="*/ 92124 w 332739"/>
                  <a:gd name="connsiteY364" fmla="*/ 342285 h 369255"/>
                  <a:gd name="connsiteX365" fmla="*/ 93034 w 332739"/>
                  <a:gd name="connsiteY365" fmla="*/ 338952 h 369255"/>
                  <a:gd name="connsiteX366" fmla="*/ 93791 w 332739"/>
                  <a:gd name="connsiteY366" fmla="*/ 338194 h 369255"/>
                  <a:gd name="connsiteX367" fmla="*/ 95003 w 332739"/>
                  <a:gd name="connsiteY367" fmla="*/ 338345 h 369255"/>
                  <a:gd name="connsiteX368" fmla="*/ 97125 w 332739"/>
                  <a:gd name="connsiteY368" fmla="*/ 339255 h 369255"/>
                  <a:gd name="connsiteX369" fmla="*/ 98185 w 332739"/>
                  <a:gd name="connsiteY369" fmla="*/ 340467 h 369255"/>
                  <a:gd name="connsiteX370" fmla="*/ 103640 w 332739"/>
                  <a:gd name="connsiteY370" fmla="*/ 344406 h 369255"/>
                  <a:gd name="connsiteX371" fmla="*/ 106065 w 332739"/>
                  <a:gd name="connsiteY371" fmla="*/ 346679 h 369255"/>
                  <a:gd name="connsiteX372" fmla="*/ 108337 w 332739"/>
                  <a:gd name="connsiteY372" fmla="*/ 346982 h 369255"/>
                  <a:gd name="connsiteX373" fmla="*/ 112883 w 332739"/>
                  <a:gd name="connsiteY373" fmla="*/ 346528 h 369255"/>
                  <a:gd name="connsiteX374" fmla="*/ 113792 w 332739"/>
                  <a:gd name="connsiteY374" fmla="*/ 346679 h 369255"/>
                  <a:gd name="connsiteX375" fmla="*/ 125459 w 332739"/>
                  <a:gd name="connsiteY375" fmla="*/ 346831 h 369255"/>
                  <a:gd name="connsiteX376" fmla="*/ 127277 w 332739"/>
                  <a:gd name="connsiteY376" fmla="*/ 346982 h 369255"/>
                  <a:gd name="connsiteX377" fmla="*/ 131368 w 332739"/>
                  <a:gd name="connsiteY377" fmla="*/ 347891 h 369255"/>
                  <a:gd name="connsiteX378" fmla="*/ 133641 w 332739"/>
                  <a:gd name="connsiteY378" fmla="*/ 348649 h 369255"/>
                  <a:gd name="connsiteX379" fmla="*/ 135308 w 332739"/>
                  <a:gd name="connsiteY379" fmla="*/ 349104 h 369255"/>
                  <a:gd name="connsiteX380" fmla="*/ 137884 w 332739"/>
                  <a:gd name="connsiteY380" fmla="*/ 350316 h 369255"/>
                  <a:gd name="connsiteX381" fmla="*/ 140157 w 332739"/>
                  <a:gd name="connsiteY381" fmla="*/ 354407 h 369255"/>
                  <a:gd name="connsiteX382" fmla="*/ 141369 w 332739"/>
                  <a:gd name="connsiteY382" fmla="*/ 357589 h 369255"/>
                  <a:gd name="connsiteX383" fmla="*/ 142278 w 332739"/>
                  <a:gd name="connsiteY383" fmla="*/ 360468 h 369255"/>
                  <a:gd name="connsiteX384" fmla="*/ 144248 w 332739"/>
                  <a:gd name="connsiteY384" fmla="*/ 365468 h 369255"/>
                  <a:gd name="connsiteX385" fmla="*/ 145611 w 332739"/>
                  <a:gd name="connsiteY385" fmla="*/ 367438 h 369255"/>
                  <a:gd name="connsiteX386" fmla="*/ 146066 w 332739"/>
                  <a:gd name="connsiteY386" fmla="*/ 366528 h 369255"/>
                  <a:gd name="connsiteX387" fmla="*/ 147278 w 332739"/>
                  <a:gd name="connsiteY387" fmla="*/ 361074 h 369255"/>
                  <a:gd name="connsiteX388" fmla="*/ 148793 w 332739"/>
                  <a:gd name="connsiteY388" fmla="*/ 357892 h 369255"/>
                  <a:gd name="connsiteX389" fmla="*/ 150915 w 332739"/>
                  <a:gd name="connsiteY389" fmla="*/ 354255 h 369255"/>
                  <a:gd name="connsiteX390" fmla="*/ 155157 w 332739"/>
                  <a:gd name="connsiteY390" fmla="*/ 345922 h 369255"/>
                  <a:gd name="connsiteX391" fmla="*/ 156672 w 332739"/>
                  <a:gd name="connsiteY391" fmla="*/ 344710 h 369255"/>
                  <a:gd name="connsiteX392" fmla="*/ 158339 w 332739"/>
                  <a:gd name="connsiteY392" fmla="*/ 344103 h 369255"/>
                  <a:gd name="connsiteX393" fmla="*/ 159551 w 332739"/>
                  <a:gd name="connsiteY393" fmla="*/ 344103 h 369255"/>
                  <a:gd name="connsiteX394" fmla="*/ 160764 w 332739"/>
                  <a:gd name="connsiteY394" fmla="*/ 344710 h 369255"/>
                  <a:gd name="connsiteX395" fmla="*/ 162430 w 332739"/>
                  <a:gd name="connsiteY395" fmla="*/ 344710 h 369255"/>
                  <a:gd name="connsiteX396" fmla="*/ 163642 w 332739"/>
                  <a:gd name="connsiteY396" fmla="*/ 344103 h 369255"/>
                  <a:gd name="connsiteX397" fmla="*/ 174855 w 332739"/>
                  <a:gd name="connsiteY397" fmla="*/ 343952 h 369255"/>
                  <a:gd name="connsiteX398" fmla="*/ 186522 w 332739"/>
                  <a:gd name="connsiteY398" fmla="*/ 343800 h 369255"/>
                  <a:gd name="connsiteX399" fmla="*/ 186825 w 332739"/>
                  <a:gd name="connsiteY399" fmla="*/ 343800 h 369255"/>
                  <a:gd name="connsiteX400" fmla="*/ 187280 w 332739"/>
                  <a:gd name="connsiteY400" fmla="*/ 345316 h 369255"/>
                  <a:gd name="connsiteX401" fmla="*/ 189249 w 332739"/>
                  <a:gd name="connsiteY401" fmla="*/ 348498 h 369255"/>
                  <a:gd name="connsiteX402" fmla="*/ 191371 w 332739"/>
                  <a:gd name="connsiteY402" fmla="*/ 350164 h 369255"/>
                  <a:gd name="connsiteX403" fmla="*/ 191825 w 332739"/>
                  <a:gd name="connsiteY403" fmla="*/ 350619 h 369255"/>
                  <a:gd name="connsiteX404" fmla="*/ 192431 w 332739"/>
                  <a:gd name="connsiteY404" fmla="*/ 349255 h 369255"/>
                  <a:gd name="connsiteX405" fmla="*/ 194098 w 332739"/>
                  <a:gd name="connsiteY405" fmla="*/ 343649 h 369255"/>
                  <a:gd name="connsiteX406" fmla="*/ 196522 w 332739"/>
                  <a:gd name="connsiteY406" fmla="*/ 335618 h 369255"/>
                  <a:gd name="connsiteX407" fmla="*/ 199098 w 332739"/>
                  <a:gd name="connsiteY407" fmla="*/ 327285 h 369255"/>
                  <a:gd name="connsiteX408" fmla="*/ 202129 w 332739"/>
                  <a:gd name="connsiteY408" fmla="*/ 317436 h 369255"/>
                  <a:gd name="connsiteX409" fmla="*/ 202129 w 332739"/>
                  <a:gd name="connsiteY409" fmla="*/ 310466 h 369255"/>
                  <a:gd name="connsiteX410" fmla="*/ 202129 w 332739"/>
                  <a:gd name="connsiteY410" fmla="*/ 303193 h 369255"/>
                  <a:gd name="connsiteX411" fmla="*/ 206371 w 332739"/>
                  <a:gd name="connsiteY411" fmla="*/ 297132 h 369255"/>
                  <a:gd name="connsiteX412" fmla="*/ 209402 w 332739"/>
                  <a:gd name="connsiteY412" fmla="*/ 292889 h 369255"/>
                  <a:gd name="connsiteX413" fmla="*/ 211977 w 332739"/>
                  <a:gd name="connsiteY413" fmla="*/ 288798 h 369255"/>
                  <a:gd name="connsiteX414" fmla="*/ 214553 w 332739"/>
                  <a:gd name="connsiteY414" fmla="*/ 281828 h 369255"/>
                  <a:gd name="connsiteX415" fmla="*/ 216372 w 332739"/>
                  <a:gd name="connsiteY415" fmla="*/ 277131 h 369255"/>
                  <a:gd name="connsiteX416" fmla="*/ 223038 w 332739"/>
                  <a:gd name="connsiteY416" fmla="*/ 276071 h 369255"/>
                  <a:gd name="connsiteX417" fmla="*/ 234402 w 332739"/>
                  <a:gd name="connsiteY417" fmla="*/ 273646 h 369255"/>
                  <a:gd name="connsiteX418" fmla="*/ 240009 w 332739"/>
                  <a:gd name="connsiteY418" fmla="*/ 272434 h 369255"/>
                  <a:gd name="connsiteX419" fmla="*/ 251979 w 332739"/>
                  <a:gd name="connsiteY419" fmla="*/ 269858 h 369255"/>
                  <a:gd name="connsiteX420" fmla="*/ 264101 w 332739"/>
                  <a:gd name="connsiteY420" fmla="*/ 267282 h 369255"/>
                  <a:gd name="connsiteX421" fmla="*/ 276828 w 332739"/>
                  <a:gd name="connsiteY421" fmla="*/ 267131 h 369255"/>
                  <a:gd name="connsiteX422" fmla="*/ 289101 w 332739"/>
                  <a:gd name="connsiteY422" fmla="*/ 266979 h 369255"/>
                  <a:gd name="connsiteX423" fmla="*/ 298647 w 332739"/>
                  <a:gd name="connsiteY423" fmla="*/ 272737 h 369255"/>
                  <a:gd name="connsiteX424" fmla="*/ 305920 w 332739"/>
                  <a:gd name="connsiteY424" fmla="*/ 277131 h 369255"/>
                  <a:gd name="connsiteX425" fmla="*/ 313951 w 332739"/>
                  <a:gd name="connsiteY425" fmla="*/ 281980 h 369255"/>
                  <a:gd name="connsiteX426" fmla="*/ 314557 w 332739"/>
                  <a:gd name="connsiteY426" fmla="*/ 283041 h 369255"/>
                  <a:gd name="connsiteX427" fmla="*/ 315163 w 332739"/>
                  <a:gd name="connsiteY427" fmla="*/ 287132 h 369255"/>
                  <a:gd name="connsiteX428" fmla="*/ 314557 w 332739"/>
                  <a:gd name="connsiteY428" fmla="*/ 291829 h 369255"/>
                  <a:gd name="connsiteX429" fmla="*/ 316375 w 332739"/>
                  <a:gd name="connsiteY429" fmla="*/ 291374 h 369255"/>
                  <a:gd name="connsiteX430" fmla="*/ 317133 w 332739"/>
                  <a:gd name="connsiteY430" fmla="*/ 290162 h 369255"/>
                  <a:gd name="connsiteX431" fmla="*/ 318345 w 332739"/>
                  <a:gd name="connsiteY431" fmla="*/ 288647 h 369255"/>
                  <a:gd name="connsiteX432" fmla="*/ 320012 w 332739"/>
                  <a:gd name="connsiteY432" fmla="*/ 288192 h 369255"/>
                  <a:gd name="connsiteX433" fmla="*/ 321982 w 332739"/>
                  <a:gd name="connsiteY433" fmla="*/ 287586 h 369255"/>
                  <a:gd name="connsiteX434" fmla="*/ 322739 w 332739"/>
                  <a:gd name="connsiteY434" fmla="*/ 286374 h 369255"/>
                  <a:gd name="connsiteX435" fmla="*/ 318042 w 332739"/>
                  <a:gd name="connsiteY435" fmla="*/ 282283 h 369255"/>
                  <a:gd name="connsiteX436" fmla="*/ 315315 w 332739"/>
                  <a:gd name="connsiteY436" fmla="*/ 279859 h 369255"/>
                  <a:gd name="connsiteX437" fmla="*/ 316981 w 332739"/>
                  <a:gd name="connsiteY437" fmla="*/ 276525 h 369255"/>
                  <a:gd name="connsiteX438" fmla="*/ 319709 w 332739"/>
                  <a:gd name="connsiteY438" fmla="*/ 270919 h 369255"/>
                  <a:gd name="connsiteX439" fmla="*/ 322436 w 332739"/>
                  <a:gd name="connsiteY439" fmla="*/ 265464 h 369255"/>
                  <a:gd name="connsiteX440" fmla="*/ 324406 w 332739"/>
                  <a:gd name="connsiteY440" fmla="*/ 261222 h 369255"/>
                  <a:gd name="connsiteX441" fmla="*/ 324860 w 332739"/>
                  <a:gd name="connsiteY441" fmla="*/ 260464 h 369255"/>
                  <a:gd name="connsiteX442" fmla="*/ 326679 w 332739"/>
                  <a:gd name="connsiteY442" fmla="*/ 260161 h 369255"/>
                  <a:gd name="connsiteX443" fmla="*/ 326376 w 332739"/>
                  <a:gd name="connsiteY443" fmla="*/ 258040 h 369255"/>
                  <a:gd name="connsiteX444" fmla="*/ 326376 w 332739"/>
                  <a:gd name="connsiteY444" fmla="*/ 256676 h 369255"/>
                  <a:gd name="connsiteX445" fmla="*/ 325012 w 332739"/>
                  <a:gd name="connsiteY445" fmla="*/ 256524 h 369255"/>
                  <a:gd name="connsiteX446" fmla="*/ 326527 w 332739"/>
                  <a:gd name="connsiteY446" fmla="*/ 251373 h 369255"/>
                  <a:gd name="connsiteX447" fmla="*/ 328800 w 332739"/>
                  <a:gd name="connsiteY447" fmla="*/ 244100 h 369255"/>
                  <a:gd name="connsiteX448" fmla="*/ 330618 w 332739"/>
                  <a:gd name="connsiteY448" fmla="*/ 238645 h 369255"/>
                  <a:gd name="connsiteX449" fmla="*/ 331224 w 332739"/>
                  <a:gd name="connsiteY449" fmla="*/ 237736 h 369255"/>
                  <a:gd name="connsiteX450" fmla="*/ 332436 w 332739"/>
                  <a:gd name="connsiteY450" fmla="*/ 237433 h 369255"/>
                  <a:gd name="connsiteX451" fmla="*/ 332739 w 332739"/>
                  <a:gd name="connsiteY451" fmla="*/ 236827 h 369255"/>
                  <a:gd name="connsiteX452" fmla="*/ 330770 w 332739"/>
                  <a:gd name="connsiteY452" fmla="*/ 234857 h 369255"/>
                  <a:gd name="connsiteX453" fmla="*/ 18031 w 332739"/>
                  <a:gd name="connsiteY453" fmla="*/ 180310 h 369255"/>
                  <a:gd name="connsiteX454" fmla="*/ 18940 w 332739"/>
                  <a:gd name="connsiteY454" fmla="*/ 179855 h 369255"/>
                  <a:gd name="connsiteX455" fmla="*/ 20001 w 332739"/>
                  <a:gd name="connsiteY455" fmla="*/ 180310 h 369255"/>
                  <a:gd name="connsiteX456" fmla="*/ 20607 w 332739"/>
                  <a:gd name="connsiteY456" fmla="*/ 180310 h 369255"/>
                  <a:gd name="connsiteX457" fmla="*/ 20455 w 332739"/>
                  <a:gd name="connsiteY457" fmla="*/ 179400 h 369255"/>
                  <a:gd name="connsiteX458" fmla="*/ 18940 w 332739"/>
                  <a:gd name="connsiteY458" fmla="*/ 178643 h 369255"/>
                  <a:gd name="connsiteX459" fmla="*/ 17122 w 332739"/>
                  <a:gd name="connsiteY459" fmla="*/ 176825 h 369255"/>
                  <a:gd name="connsiteX460" fmla="*/ 15455 w 332739"/>
                  <a:gd name="connsiteY460" fmla="*/ 176067 h 369255"/>
                  <a:gd name="connsiteX461" fmla="*/ 14697 w 332739"/>
                  <a:gd name="connsiteY461" fmla="*/ 176218 h 369255"/>
                  <a:gd name="connsiteX462" fmla="*/ 14546 w 332739"/>
                  <a:gd name="connsiteY462" fmla="*/ 177431 h 369255"/>
                  <a:gd name="connsiteX463" fmla="*/ 14243 w 332739"/>
                  <a:gd name="connsiteY463" fmla="*/ 178643 h 369255"/>
                  <a:gd name="connsiteX464" fmla="*/ 13940 w 332739"/>
                  <a:gd name="connsiteY464" fmla="*/ 179855 h 369255"/>
                  <a:gd name="connsiteX465" fmla="*/ 16364 w 332739"/>
                  <a:gd name="connsiteY465" fmla="*/ 179704 h 369255"/>
                  <a:gd name="connsiteX466" fmla="*/ 18031 w 332739"/>
                  <a:gd name="connsiteY466" fmla="*/ 180310 h 36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Lst>
                <a:rect l="l" t="t" r="r" b="b"/>
                <a:pathLst>
                  <a:path w="332739" h="369255">
                    <a:moveTo>
                      <a:pt x="330770" y="234857"/>
                    </a:moveTo>
                    <a:lnTo>
                      <a:pt x="329861" y="233190"/>
                    </a:lnTo>
                    <a:lnTo>
                      <a:pt x="327739" y="228342"/>
                    </a:lnTo>
                    <a:lnTo>
                      <a:pt x="324557" y="220614"/>
                    </a:lnTo>
                    <a:lnTo>
                      <a:pt x="324254" y="217887"/>
                    </a:lnTo>
                    <a:lnTo>
                      <a:pt x="323042" y="216220"/>
                    </a:lnTo>
                    <a:lnTo>
                      <a:pt x="321072" y="216826"/>
                    </a:lnTo>
                    <a:lnTo>
                      <a:pt x="318648" y="216220"/>
                    </a:lnTo>
                    <a:lnTo>
                      <a:pt x="312739" y="211977"/>
                    </a:lnTo>
                    <a:lnTo>
                      <a:pt x="308799" y="209705"/>
                    </a:lnTo>
                    <a:lnTo>
                      <a:pt x="307436" y="208341"/>
                    </a:lnTo>
                    <a:lnTo>
                      <a:pt x="306830" y="204098"/>
                    </a:lnTo>
                    <a:lnTo>
                      <a:pt x="305617" y="199401"/>
                    </a:lnTo>
                    <a:lnTo>
                      <a:pt x="305163" y="193492"/>
                    </a:lnTo>
                    <a:lnTo>
                      <a:pt x="305314" y="192128"/>
                    </a:lnTo>
                    <a:lnTo>
                      <a:pt x="308648" y="187734"/>
                    </a:lnTo>
                    <a:lnTo>
                      <a:pt x="308648" y="185461"/>
                    </a:lnTo>
                    <a:lnTo>
                      <a:pt x="308951" y="183492"/>
                    </a:lnTo>
                    <a:lnTo>
                      <a:pt x="308799" y="181976"/>
                    </a:lnTo>
                    <a:lnTo>
                      <a:pt x="308042" y="181976"/>
                    </a:lnTo>
                    <a:lnTo>
                      <a:pt x="306678" y="182582"/>
                    </a:lnTo>
                    <a:lnTo>
                      <a:pt x="304708" y="183037"/>
                    </a:lnTo>
                    <a:lnTo>
                      <a:pt x="303648" y="183037"/>
                    </a:lnTo>
                    <a:lnTo>
                      <a:pt x="292132" y="182582"/>
                    </a:lnTo>
                    <a:lnTo>
                      <a:pt x="279101" y="182128"/>
                    </a:lnTo>
                    <a:lnTo>
                      <a:pt x="268192" y="181673"/>
                    </a:lnTo>
                    <a:lnTo>
                      <a:pt x="258797" y="181370"/>
                    </a:lnTo>
                    <a:lnTo>
                      <a:pt x="258494" y="177582"/>
                    </a:lnTo>
                    <a:lnTo>
                      <a:pt x="257888" y="171218"/>
                    </a:lnTo>
                    <a:lnTo>
                      <a:pt x="257585" y="166673"/>
                    </a:lnTo>
                    <a:lnTo>
                      <a:pt x="256979" y="159400"/>
                    </a:lnTo>
                    <a:lnTo>
                      <a:pt x="253191" y="154854"/>
                    </a:lnTo>
                    <a:lnTo>
                      <a:pt x="249100" y="150005"/>
                    </a:lnTo>
                    <a:lnTo>
                      <a:pt x="247585" y="148793"/>
                    </a:lnTo>
                    <a:lnTo>
                      <a:pt x="252585" y="148642"/>
                    </a:lnTo>
                    <a:lnTo>
                      <a:pt x="256070" y="148490"/>
                    </a:lnTo>
                    <a:lnTo>
                      <a:pt x="255312" y="135459"/>
                    </a:lnTo>
                    <a:lnTo>
                      <a:pt x="254252" y="134096"/>
                    </a:lnTo>
                    <a:lnTo>
                      <a:pt x="253343" y="129853"/>
                    </a:lnTo>
                    <a:lnTo>
                      <a:pt x="252888" y="127277"/>
                    </a:lnTo>
                    <a:lnTo>
                      <a:pt x="251070" y="125307"/>
                    </a:lnTo>
                    <a:lnTo>
                      <a:pt x="250615" y="123186"/>
                    </a:lnTo>
                    <a:lnTo>
                      <a:pt x="250918" y="121671"/>
                    </a:lnTo>
                    <a:lnTo>
                      <a:pt x="251827" y="120762"/>
                    </a:lnTo>
                    <a:lnTo>
                      <a:pt x="252433" y="118489"/>
                    </a:lnTo>
                    <a:lnTo>
                      <a:pt x="251979" y="116216"/>
                    </a:lnTo>
                    <a:lnTo>
                      <a:pt x="250918" y="114095"/>
                    </a:lnTo>
                    <a:lnTo>
                      <a:pt x="249706" y="112125"/>
                    </a:lnTo>
                    <a:lnTo>
                      <a:pt x="247282" y="110913"/>
                    </a:lnTo>
                    <a:lnTo>
                      <a:pt x="243797" y="108640"/>
                    </a:lnTo>
                    <a:lnTo>
                      <a:pt x="238494" y="105761"/>
                    </a:lnTo>
                    <a:lnTo>
                      <a:pt x="234100" y="103792"/>
                    </a:lnTo>
                    <a:lnTo>
                      <a:pt x="232736" y="104095"/>
                    </a:lnTo>
                    <a:lnTo>
                      <a:pt x="224857" y="104852"/>
                    </a:lnTo>
                    <a:lnTo>
                      <a:pt x="222281" y="105307"/>
                    </a:lnTo>
                    <a:lnTo>
                      <a:pt x="220463" y="104852"/>
                    </a:lnTo>
                    <a:lnTo>
                      <a:pt x="214553" y="104852"/>
                    </a:lnTo>
                    <a:lnTo>
                      <a:pt x="212281" y="103337"/>
                    </a:lnTo>
                    <a:lnTo>
                      <a:pt x="210311" y="101519"/>
                    </a:lnTo>
                    <a:lnTo>
                      <a:pt x="206220" y="96973"/>
                    </a:lnTo>
                    <a:lnTo>
                      <a:pt x="205614" y="94700"/>
                    </a:lnTo>
                    <a:lnTo>
                      <a:pt x="204098" y="93943"/>
                    </a:lnTo>
                    <a:lnTo>
                      <a:pt x="201674" y="94246"/>
                    </a:lnTo>
                    <a:lnTo>
                      <a:pt x="199250" y="93943"/>
                    </a:lnTo>
                    <a:lnTo>
                      <a:pt x="194553" y="92124"/>
                    </a:lnTo>
                    <a:lnTo>
                      <a:pt x="190158" y="90155"/>
                    </a:lnTo>
                    <a:lnTo>
                      <a:pt x="188037" y="90306"/>
                    </a:lnTo>
                    <a:lnTo>
                      <a:pt x="186067" y="89094"/>
                    </a:lnTo>
                    <a:lnTo>
                      <a:pt x="182734" y="86215"/>
                    </a:lnTo>
                    <a:lnTo>
                      <a:pt x="181219" y="85003"/>
                    </a:lnTo>
                    <a:lnTo>
                      <a:pt x="180461" y="83488"/>
                    </a:lnTo>
                    <a:lnTo>
                      <a:pt x="179704" y="81215"/>
                    </a:lnTo>
                    <a:lnTo>
                      <a:pt x="178340" y="80760"/>
                    </a:lnTo>
                    <a:lnTo>
                      <a:pt x="176522" y="81215"/>
                    </a:lnTo>
                    <a:lnTo>
                      <a:pt x="174703" y="82427"/>
                    </a:lnTo>
                    <a:lnTo>
                      <a:pt x="171976" y="81670"/>
                    </a:lnTo>
                    <a:lnTo>
                      <a:pt x="168794" y="79548"/>
                    </a:lnTo>
                    <a:lnTo>
                      <a:pt x="166673" y="77882"/>
                    </a:lnTo>
                    <a:lnTo>
                      <a:pt x="165461" y="77124"/>
                    </a:lnTo>
                    <a:lnTo>
                      <a:pt x="162582" y="76063"/>
                    </a:lnTo>
                    <a:lnTo>
                      <a:pt x="159854" y="75760"/>
                    </a:lnTo>
                    <a:lnTo>
                      <a:pt x="155763" y="77427"/>
                    </a:lnTo>
                    <a:lnTo>
                      <a:pt x="152430" y="76821"/>
                    </a:lnTo>
                    <a:lnTo>
                      <a:pt x="147127" y="76215"/>
                    </a:lnTo>
                    <a:lnTo>
                      <a:pt x="142581" y="75003"/>
                    </a:lnTo>
                    <a:lnTo>
                      <a:pt x="140914" y="71821"/>
                    </a:lnTo>
                    <a:lnTo>
                      <a:pt x="140005" y="69699"/>
                    </a:lnTo>
                    <a:lnTo>
                      <a:pt x="137278" y="68336"/>
                    </a:lnTo>
                    <a:lnTo>
                      <a:pt x="135157" y="66820"/>
                    </a:lnTo>
                    <a:lnTo>
                      <a:pt x="132581" y="64396"/>
                    </a:lnTo>
                    <a:lnTo>
                      <a:pt x="131368" y="63639"/>
                    </a:lnTo>
                    <a:lnTo>
                      <a:pt x="129096" y="63032"/>
                    </a:lnTo>
                    <a:lnTo>
                      <a:pt x="126974" y="62123"/>
                    </a:lnTo>
                    <a:lnTo>
                      <a:pt x="126671" y="60608"/>
                    </a:lnTo>
                    <a:lnTo>
                      <a:pt x="125914" y="58638"/>
                    </a:lnTo>
                    <a:lnTo>
                      <a:pt x="125762" y="58184"/>
                    </a:lnTo>
                    <a:lnTo>
                      <a:pt x="124247" y="55760"/>
                    </a:lnTo>
                    <a:lnTo>
                      <a:pt x="123641" y="55608"/>
                    </a:lnTo>
                    <a:lnTo>
                      <a:pt x="122883" y="56063"/>
                    </a:lnTo>
                    <a:lnTo>
                      <a:pt x="122277" y="56366"/>
                    </a:lnTo>
                    <a:lnTo>
                      <a:pt x="121671" y="55911"/>
                    </a:lnTo>
                    <a:lnTo>
                      <a:pt x="121519" y="54850"/>
                    </a:lnTo>
                    <a:lnTo>
                      <a:pt x="121974" y="53184"/>
                    </a:lnTo>
                    <a:lnTo>
                      <a:pt x="121065" y="51366"/>
                    </a:lnTo>
                    <a:lnTo>
                      <a:pt x="118944" y="49396"/>
                    </a:lnTo>
                    <a:lnTo>
                      <a:pt x="117883" y="47426"/>
                    </a:lnTo>
                    <a:lnTo>
                      <a:pt x="117731" y="45305"/>
                    </a:lnTo>
                    <a:lnTo>
                      <a:pt x="117277" y="43941"/>
                    </a:lnTo>
                    <a:lnTo>
                      <a:pt x="116519" y="43183"/>
                    </a:lnTo>
                    <a:lnTo>
                      <a:pt x="116065" y="41971"/>
                    </a:lnTo>
                    <a:lnTo>
                      <a:pt x="115913" y="40304"/>
                    </a:lnTo>
                    <a:lnTo>
                      <a:pt x="116519" y="38335"/>
                    </a:lnTo>
                    <a:lnTo>
                      <a:pt x="117883" y="35910"/>
                    </a:lnTo>
                    <a:lnTo>
                      <a:pt x="117580" y="32274"/>
                    </a:lnTo>
                    <a:lnTo>
                      <a:pt x="115762" y="27425"/>
                    </a:lnTo>
                    <a:lnTo>
                      <a:pt x="114701" y="23940"/>
                    </a:lnTo>
                    <a:lnTo>
                      <a:pt x="114550" y="21819"/>
                    </a:lnTo>
                    <a:lnTo>
                      <a:pt x="114853" y="20152"/>
                    </a:lnTo>
                    <a:lnTo>
                      <a:pt x="115913" y="18637"/>
                    </a:lnTo>
                    <a:lnTo>
                      <a:pt x="118186" y="14849"/>
                    </a:lnTo>
                    <a:lnTo>
                      <a:pt x="118641" y="11970"/>
                    </a:lnTo>
                    <a:lnTo>
                      <a:pt x="117883" y="8637"/>
                    </a:lnTo>
                    <a:lnTo>
                      <a:pt x="117731" y="6061"/>
                    </a:lnTo>
                    <a:lnTo>
                      <a:pt x="118186" y="4394"/>
                    </a:lnTo>
                    <a:lnTo>
                      <a:pt x="117429" y="2121"/>
                    </a:lnTo>
                    <a:lnTo>
                      <a:pt x="115762" y="0"/>
                    </a:lnTo>
                    <a:lnTo>
                      <a:pt x="114701" y="0"/>
                    </a:lnTo>
                    <a:lnTo>
                      <a:pt x="113186" y="606"/>
                    </a:lnTo>
                    <a:lnTo>
                      <a:pt x="111368" y="2424"/>
                    </a:lnTo>
                    <a:lnTo>
                      <a:pt x="109246" y="2727"/>
                    </a:lnTo>
                    <a:lnTo>
                      <a:pt x="107277" y="1667"/>
                    </a:lnTo>
                    <a:lnTo>
                      <a:pt x="101367" y="2121"/>
                    </a:lnTo>
                    <a:lnTo>
                      <a:pt x="92124" y="3182"/>
                    </a:lnTo>
                    <a:lnTo>
                      <a:pt x="88488" y="4394"/>
                    </a:lnTo>
                    <a:lnTo>
                      <a:pt x="86367" y="4849"/>
                    </a:lnTo>
                    <a:lnTo>
                      <a:pt x="83791" y="5152"/>
                    </a:lnTo>
                    <a:lnTo>
                      <a:pt x="79548" y="7273"/>
                    </a:lnTo>
                    <a:lnTo>
                      <a:pt x="69093" y="15304"/>
                    </a:lnTo>
                    <a:lnTo>
                      <a:pt x="66972" y="16516"/>
                    </a:lnTo>
                    <a:lnTo>
                      <a:pt x="64548" y="16667"/>
                    </a:lnTo>
                    <a:lnTo>
                      <a:pt x="63184" y="17728"/>
                    </a:lnTo>
                    <a:lnTo>
                      <a:pt x="60911" y="18637"/>
                    </a:lnTo>
                    <a:lnTo>
                      <a:pt x="56366" y="21819"/>
                    </a:lnTo>
                    <a:lnTo>
                      <a:pt x="54093" y="24395"/>
                    </a:lnTo>
                    <a:lnTo>
                      <a:pt x="52577" y="26668"/>
                    </a:lnTo>
                    <a:lnTo>
                      <a:pt x="50759" y="26819"/>
                    </a:lnTo>
                    <a:lnTo>
                      <a:pt x="49396" y="26213"/>
                    </a:lnTo>
                    <a:lnTo>
                      <a:pt x="45153" y="26516"/>
                    </a:lnTo>
                    <a:lnTo>
                      <a:pt x="43032" y="27274"/>
                    </a:lnTo>
                    <a:lnTo>
                      <a:pt x="40607" y="29546"/>
                    </a:lnTo>
                    <a:lnTo>
                      <a:pt x="37729" y="33638"/>
                    </a:lnTo>
                    <a:lnTo>
                      <a:pt x="36516" y="34850"/>
                    </a:lnTo>
                    <a:lnTo>
                      <a:pt x="34092" y="36062"/>
                    </a:lnTo>
                    <a:lnTo>
                      <a:pt x="31365" y="37123"/>
                    </a:lnTo>
                    <a:lnTo>
                      <a:pt x="28031" y="38638"/>
                    </a:lnTo>
                    <a:lnTo>
                      <a:pt x="26516" y="38789"/>
                    </a:lnTo>
                    <a:lnTo>
                      <a:pt x="25152" y="39092"/>
                    </a:lnTo>
                    <a:lnTo>
                      <a:pt x="23940" y="38486"/>
                    </a:lnTo>
                    <a:lnTo>
                      <a:pt x="23486" y="36971"/>
                    </a:lnTo>
                    <a:lnTo>
                      <a:pt x="21667" y="36062"/>
                    </a:lnTo>
                    <a:lnTo>
                      <a:pt x="17425" y="35607"/>
                    </a:lnTo>
                    <a:lnTo>
                      <a:pt x="11212" y="34547"/>
                    </a:lnTo>
                    <a:lnTo>
                      <a:pt x="4849" y="34395"/>
                    </a:lnTo>
                    <a:lnTo>
                      <a:pt x="1667" y="34547"/>
                    </a:lnTo>
                    <a:lnTo>
                      <a:pt x="5152" y="40456"/>
                    </a:lnTo>
                    <a:lnTo>
                      <a:pt x="7727" y="44850"/>
                    </a:lnTo>
                    <a:lnTo>
                      <a:pt x="10606" y="49850"/>
                    </a:lnTo>
                    <a:lnTo>
                      <a:pt x="12879" y="53790"/>
                    </a:lnTo>
                    <a:lnTo>
                      <a:pt x="16364" y="59851"/>
                    </a:lnTo>
                    <a:lnTo>
                      <a:pt x="19395" y="65154"/>
                    </a:lnTo>
                    <a:lnTo>
                      <a:pt x="22576" y="70760"/>
                    </a:lnTo>
                    <a:lnTo>
                      <a:pt x="26213" y="77124"/>
                    </a:lnTo>
                    <a:lnTo>
                      <a:pt x="25001" y="78791"/>
                    </a:lnTo>
                    <a:lnTo>
                      <a:pt x="24092" y="80154"/>
                    </a:lnTo>
                    <a:lnTo>
                      <a:pt x="24243" y="82276"/>
                    </a:lnTo>
                    <a:lnTo>
                      <a:pt x="22728" y="83488"/>
                    </a:lnTo>
                    <a:lnTo>
                      <a:pt x="21213" y="84245"/>
                    </a:lnTo>
                    <a:lnTo>
                      <a:pt x="19395" y="86064"/>
                    </a:lnTo>
                    <a:lnTo>
                      <a:pt x="18182" y="87730"/>
                    </a:lnTo>
                    <a:lnTo>
                      <a:pt x="18182" y="90003"/>
                    </a:lnTo>
                    <a:lnTo>
                      <a:pt x="18334" y="101670"/>
                    </a:lnTo>
                    <a:lnTo>
                      <a:pt x="18031" y="104852"/>
                    </a:lnTo>
                    <a:lnTo>
                      <a:pt x="17122" y="107580"/>
                    </a:lnTo>
                    <a:lnTo>
                      <a:pt x="16213" y="108943"/>
                    </a:lnTo>
                    <a:lnTo>
                      <a:pt x="15607" y="110004"/>
                    </a:lnTo>
                    <a:lnTo>
                      <a:pt x="16970" y="112731"/>
                    </a:lnTo>
                    <a:lnTo>
                      <a:pt x="18334" y="118186"/>
                    </a:lnTo>
                    <a:lnTo>
                      <a:pt x="19395" y="119247"/>
                    </a:lnTo>
                    <a:lnTo>
                      <a:pt x="20607" y="121519"/>
                    </a:lnTo>
                    <a:lnTo>
                      <a:pt x="21213" y="123641"/>
                    </a:lnTo>
                    <a:lnTo>
                      <a:pt x="20910" y="124398"/>
                    </a:lnTo>
                    <a:lnTo>
                      <a:pt x="18334" y="125459"/>
                    </a:lnTo>
                    <a:lnTo>
                      <a:pt x="17425" y="126368"/>
                    </a:lnTo>
                    <a:lnTo>
                      <a:pt x="17122" y="129550"/>
                    </a:lnTo>
                    <a:lnTo>
                      <a:pt x="16061" y="130611"/>
                    </a:lnTo>
                    <a:lnTo>
                      <a:pt x="14243" y="132126"/>
                    </a:lnTo>
                    <a:lnTo>
                      <a:pt x="13031" y="133793"/>
                    </a:lnTo>
                    <a:lnTo>
                      <a:pt x="11970" y="135005"/>
                    </a:lnTo>
                    <a:lnTo>
                      <a:pt x="11061" y="135611"/>
                    </a:lnTo>
                    <a:lnTo>
                      <a:pt x="10606" y="137732"/>
                    </a:lnTo>
                    <a:lnTo>
                      <a:pt x="10000" y="139854"/>
                    </a:lnTo>
                    <a:lnTo>
                      <a:pt x="7727" y="141217"/>
                    </a:lnTo>
                    <a:lnTo>
                      <a:pt x="7273" y="143793"/>
                    </a:lnTo>
                    <a:lnTo>
                      <a:pt x="7273" y="145914"/>
                    </a:lnTo>
                    <a:lnTo>
                      <a:pt x="8485" y="148036"/>
                    </a:lnTo>
                    <a:lnTo>
                      <a:pt x="12425" y="152430"/>
                    </a:lnTo>
                    <a:lnTo>
                      <a:pt x="12879" y="153490"/>
                    </a:lnTo>
                    <a:lnTo>
                      <a:pt x="10606" y="156218"/>
                    </a:lnTo>
                    <a:lnTo>
                      <a:pt x="9243" y="158036"/>
                    </a:lnTo>
                    <a:lnTo>
                      <a:pt x="7576" y="161066"/>
                    </a:lnTo>
                    <a:lnTo>
                      <a:pt x="7727" y="161066"/>
                    </a:lnTo>
                    <a:lnTo>
                      <a:pt x="9394" y="164097"/>
                    </a:lnTo>
                    <a:lnTo>
                      <a:pt x="10152" y="164248"/>
                    </a:lnTo>
                    <a:lnTo>
                      <a:pt x="11364" y="165157"/>
                    </a:lnTo>
                    <a:lnTo>
                      <a:pt x="12273" y="165612"/>
                    </a:lnTo>
                    <a:lnTo>
                      <a:pt x="12879" y="166067"/>
                    </a:lnTo>
                    <a:lnTo>
                      <a:pt x="13485" y="166824"/>
                    </a:lnTo>
                    <a:lnTo>
                      <a:pt x="14697" y="167885"/>
                    </a:lnTo>
                    <a:lnTo>
                      <a:pt x="16516" y="168794"/>
                    </a:lnTo>
                    <a:lnTo>
                      <a:pt x="17122" y="170309"/>
                    </a:lnTo>
                    <a:lnTo>
                      <a:pt x="17122" y="171976"/>
                    </a:lnTo>
                    <a:lnTo>
                      <a:pt x="17728" y="172430"/>
                    </a:lnTo>
                    <a:lnTo>
                      <a:pt x="20152" y="172885"/>
                    </a:lnTo>
                    <a:lnTo>
                      <a:pt x="22122" y="173037"/>
                    </a:lnTo>
                    <a:lnTo>
                      <a:pt x="23031" y="173643"/>
                    </a:lnTo>
                    <a:lnTo>
                      <a:pt x="22728" y="174249"/>
                    </a:lnTo>
                    <a:lnTo>
                      <a:pt x="22273" y="174855"/>
                    </a:lnTo>
                    <a:lnTo>
                      <a:pt x="21516" y="175764"/>
                    </a:lnTo>
                    <a:lnTo>
                      <a:pt x="20607" y="176825"/>
                    </a:lnTo>
                    <a:lnTo>
                      <a:pt x="21061" y="178340"/>
                    </a:lnTo>
                    <a:lnTo>
                      <a:pt x="22273" y="179855"/>
                    </a:lnTo>
                    <a:lnTo>
                      <a:pt x="24092" y="180158"/>
                    </a:lnTo>
                    <a:lnTo>
                      <a:pt x="26061" y="180613"/>
                    </a:lnTo>
                    <a:lnTo>
                      <a:pt x="27728" y="180613"/>
                    </a:lnTo>
                    <a:lnTo>
                      <a:pt x="28940" y="181067"/>
                    </a:lnTo>
                    <a:lnTo>
                      <a:pt x="28940" y="181976"/>
                    </a:lnTo>
                    <a:lnTo>
                      <a:pt x="29092" y="182431"/>
                    </a:lnTo>
                    <a:lnTo>
                      <a:pt x="29092" y="182885"/>
                    </a:lnTo>
                    <a:lnTo>
                      <a:pt x="28486" y="183188"/>
                    </a:lnTo>
                    <a:lnTo>
                      <a:pt x="27274" y="183340"/>
                    </a:lnTo>
                    <a:lnTo>
                      <a:pt x="26213" y="183492"/>
                    </a:lnTo>
                    <a:lnTo>
                      <a:pt x="25910" y="183794"/>
                    </a:lnTo>
                    <a:lnTo>
                      <a:pt x="25758" y="184401"/>
                    </a:lnTo>
                    <a:lnTo>
                      <a:pt x="25001" y="185007"/>
                    </a:lnTo>
                    <a:lnTo>
                      <a:pt x="23637" y="185613"/>
                    </a:lnTo>
                    <a:lnTo>
                      <a:pt x="21667" y="185916"/>
                    </a:lnTo>
                    <a:lnTo>
                      <a:pt x="20455" y="186219"/>
                    </a:lnTo>
                    <a:lnTo>
                      <a:pt x="19849" y="186825"/>
                    </a:lnTo>
                    <a:lnTo>
                      <a:pt x="20758" y="187280"/>
                    </a:lnTo>
                    <a:lnTo>
                      <a:pt x="21516" y="188340"/>
                    </a:lnTo>
                    <a:lnTo>
                      <a:pt x="21819" y="188946"/>
                    </a:lnTo>
                    <a:lnTo>
                      <a:pt x="21819" y="189552"/>
                    </a:lnTo>
                    <a:lnTo>
                      <a:pt x="21667" y="190158"/>
                    </a:lnTo>
                    <a:lnTo>
                      <a:pt x="21364" y="190764"/>
                    </a:lnTo>
                    <a:lnTo>
                      <a:pt x="20455" y="190764"/>
                    </a:lnTo>
                    <a:lnTo>
                      <a:pt x="19395" y="190613"/>
                    </a:lnTo>
                    <a:lnTo>
                      <a:pt x="17576" y="189704"/>
                    </a:lnTo>
                    <a:lnTo>
                      <a:pt x="16667" y="189249"/>
                    </a:lnTo>
                    <a:lnTo>
                      <a:pt x="16667" y="189552"/>
                    </a:lnTo>
                    <a:lnTo>
                      <a:pt x="17122" y="192280"/>
                    </a:lnTo>
                    <a:lnTo>
                      <a:pt x="16213" y="193189"/>
                    </a:lnTo>
                    <a:lnTo>
                      <a:pt x="14091" y="194249"/>
                    </a:lnTo>
                    <a:lnTo>
                      <a:pt x="12273" y="195765"/>
                    </a:lnTo>
                    <a:lnTo>
                      <a:pt x="10455" y="198341"/>
                    </a:lnTo>
                    <a:lnTo>
                      <a:pt x="7273" y="202280"/>
                    </a:lnTo>
                    <a:lnTo>
                      <a:pt x="6212" y="203341"/>
                    </a:lnTo>
                    <a:lnTo>
                      <a:pt x="5758" y="204704"/>
                    </a:lnTo>
                    <a:lnTo>
                      <a:pt x="3939" y="205159"/>
                    </a:lnTo>
                    <a:lnTo>
                      <a:pt x="606" y="207886"/>
                    </a:lnTo>
                    <a:lnTo>
                      <a:pt x="0" y="209250"/>
                    </a:lnTo>
                    <a:lnTo>
                      <a:pt x="606" y="210462"/>
                    </a:lnTo>
                    <a:lnTo>
                      <a:pt x="2273" y="211523"/>
                    </a:lnTo>
                    <a:lnTo>
                      <a:pt x="3485" y="213038"/>
                    </a:lnTo>
                    <a:lnTo>
                      <a:pt x="3788" y="215008"/>
                    </a:lnTo>
                    <a:lnTo>
                      <a:pt x="3788" y="216220"/>
                    </a:lnTo>
                    <a:lnTo>
                      <a:pt x="3788" y="216220"/>
                    </a:lnTo>
                    <a:lnTo>
                      <a:pt x="4243" y="219402"/>
                    </a:lnTo>
                    <a:lnTo>
                      <a:pt x="8031" y="223644"/>
                    </a:lnTo>
                    <a:lnTo>
                      <a:pt x="9243" y="228493"/>
                    </a:lnTo>
                    <a:lnTo>
                      <a:pt x="10152" y="229099"/>
                    </a:lnTo>
                    <a:lnTo>
                      <a:pt x="15304" y="231524"/>
                    </a:lnTo>
                    <a:lnTo>
                      <a:pt x="15455" y="232130"/>
                    </a:lnTo>
                    <a:lnTo>
                      <a:pt x="14697" y="233039"/>
                    </a:lnTo>
                    <a:lnTo>
                      <a:pt x="13940" y="234251"/>
                    </a:lnTo>
                    <a:lnTo>
                      <a:pt x="14394" y="235918"/>
                    </a:lnTo>
                    <a:lnTo>
                      <a:pt x="15304" y="238191"/>
                    </a:lnTo>
                    <a:lnTo>
                      <a:pt x="15607" y="240312"/>
                    </a:lnTo>
                    <a:lnTo>
                      <a:pt x="16213" y="242433"/>
                    </a:lnTo>
                    <a:lnTo>
                      <a:pt x="16819" y="245767"/>
                    </a:lnTo>
                    <a:lnTo>
                      <a:pt x="17122" y="248797"/>
                    </a:lnTo>
                    <a:lnTo>
                      <a:pt x="18485" y="253191"/>
                    </a:lnTo>
                    <a:lnTo>
                      <a:pt x="18788" y="255918"/>
                    </a:lnTo>
                    <a:lnTo>
                      <a:pt x="18788" y="257585"/>
                    </a:lnTo>
                    <a:lnTo>
                      <a:pt x="19849" y="259252"/>
                    </a:lnTo>
                    <a:lnTo>
                      <a:pt x="21819" y="261222"/>
                    </a:lnTo>
                    <a:lnTo>
                      <a:pt x="24546" y="263191"/>
                    </a:lnTo>
                    <a:lnTo>
                      <a:pt x="26668" y="265464"/>
                    </a:lnTo>
                    <a:lnTo>
                      <a:pt x="28334" y="266979"/>
                    </a:lnTo>
                    <a:lnTo>
                      <a:pt x="30304" y="268192"/>
                    </a:lnTo>
                    <a:lnTo>
                      <a:pt x="31819" y="269404"/>
                    </a:lnTo>
                    <a:lnTo>
                      <a:pt x="32425" y="270161"/>
                    </a:lnTo>
                    <a:lnTo>
                      <a:pt x="32577" y="270767"/>
                    </a:lnTo>
                    <a:lnTo>
                      <a:pt x="31971" y="271373"/>
                    </a:lnTo>
                    <a:lnTo>
                      <a:pt x="29547" y="274404"/>
                    </a:lnTo>
                    <a:lnTo>
                      <a:pt x="26213" y="278949"/>
                    </a:lnTo>
                    <a:lnTo>
                      <a:pt x="26213" y="279556"/>
                    </a:lnTo>
                    <a:lnTo>
                      <a:pt x="29395" y="282889"/>
                    </a:lnTo>
                    <a:lnTo>
                      <a:pt x="29849" y="284253"/>
                    </a:lnTo>
                    <a:lnTo>
                      <a:pt x="29849" y="286071"/>
                    </a:lnTo>
                    <a:lnTo>
                      <a:pt x="28789" y="288344"/>
                    </a:lnTo>
                    <a:lnTo>
                      <a:pt x="25304" y="289101"/>
                    </a:lnTo>
                    <a:lnTo>
                      <a:pt x="24546" y="289707"/>
                    </a:lnTo>
                    <a:lnTo>
                      <a:pt x="24395" y="290465"/>
                    </a:lnTo>
                    <a:lnTo>
                      <a:pt x="25152" y="291374"/>
                    </a:lnTo>
                    <a:lnTo>
                      <a:pt x="25001" y="293495"/>
                    </a:lnTo>
                    <a:lnTo>
                      <a:pt x="26213" y="295920"/>
                    </a:lnTo>
                    <a:lnTo>
                      <a:pt x="25607" y="296677"/>
                    </a:lnTo>
                    <a:lnTo>
                      <a:pt x="24395" y="297738"/>
                    </a:lnTo>
                    <a:lnTo>
                      <a:pt x="24395" y="298799"/>
                    </a:lnTo>
                    <a:lnTo>
                      <a:pt x="24849" y="300011"/>
                    </a:lnTo>
                    <a:lnTo>
                      <a:pt x="26213" y="300920"/>
                    </a:lnTo>
                    <a:lnTo>
                      <a:pt x="31516" y="304253"/>
                    </a:lnTo>
                    <a:lnTo>
                      <a:pt x="31971" y="304708"/>
                    </a:lnTo>
                    <a:lnTo>
                      <a:pt x="31819" y="305011"/>
                    </a:lnTo>
                    <a:lnTo>
                      <a:pt x="29698" y="307284"/>
                    </a:lnTo>
                    <a:lnTo>
                      <a:pt x="29547" y="308648"/>
                    </a:lnTo>
                    <a:lnTo>
                      <a:pt x="29547" y="310920"/>
                    </a:lnTo>
                    <a:lnTo>
                      <a:pt x="29849" y="312436"/>
                    </a:lnTo>
                    <a:lnTo>
                      <a:pt x="30456" y="313042"/>
                    </a:lnTo>
                    <a:lnTo>
                      <a:pt x="33183" y="313799"/>
                    </a:lnTo>
                    <a:lnTo>
                      <a:pt x="36516" y="318951"/>
                    </a:lnTo>
                    <a:lnTo>
                      <a:pt x="39698" y="323800"/>
                    </a:lnTo>
                    <a:lnTo>
                      <a:pt x="39698" y="328042"/>
                    </a:lnTo>
                    <a:lnTo>
                      <a:pt x="40001" y="332891"/>
                    </a:lnTo>
                    <a:lnTo>
                      <a:pt x="41971" y="336679"/>
                    </a:lnTo>
                    <a:lnTo>
                      <a:pt x="42274" y="339709"/>
                    </a:lnTo>
                    <a:lnTo>
                      <a:pt x="43032" y="343194"/>
                    </a:lnTo>
                    <a:lnTo>
                      <a:pt x="45456" y="345316"/>
                    </a:lnTo>
                    <a:lnTo>
                      <a:pt x="46365" y="349558"/>
                    </a:lnTo>
                    <a:lnTo>
                      <a:pt x="46668" y="351831"/>
                    </a:lnTo>
                    <a:lnTo>
                      <a:pt x="46517" y="353346"/>
                    </a:lnTo>
                    <a:lnTo>
                      <a:pt x="48335" y="357892"/>
                    </a:lnTo>
                    <a:lnTo>
                      <a:pt x="48487" y="361831"/>
                    </a:lnTo>
                    <a:lnTo>
                      <a:pt x="48032" y="364710"/>
                    </a:lnTo>
                    <a:lnTo>
                      <a:pt x="48032" y="366225"/>
                    </a:lnTo>
                    <a:lnTo>
                      <a:pt x="48335" y="367286"/>
                    </a:lnTo>
                    <a:lnTo>
                      <a:pt x="50002" y="368347"/>
                    </a:lnTo>
                    <a:lnTo>
                      <a:pt x="50759" y="368953"/>
                    </a:lnTo>
                    <a:lnTo>
                      <a:pt x="53184" y="369256"/>
                    </a:lnTo>
                    <a:lnTo>
                      <a:pt x="56669" y="369256"/>
                    </a:lnTo>
                    <a:lnTo>
                      <a:pt x="62578" y="368195"/>
                    </a:lnTo>
                    <a:lnTo>
                      <a:pt x="67124" y="367286"/>
                    </a:lnTo>
                    <a:lnTo>
                      <a:pt x="68033" y="365922"/>
                    </a:lnTo>
                    <a:lnTo>
                      <a:pt x="70912" y="362437"/>
                    </a:lnTo>
                    <a:lnTo>
                      <a:pt x="71518" y="359559"/>
                    </a:lnTo>
                    <a:lnTo>
                      <a:pt x="72730" y="358346"/>
                    </a:lnTo>
                    <a:lnTo>
                      <a:pt x="77882" y="355467"/>
                    </a:lnTo>
                    <a:lnTo>
                      <a:pt x="78791" y="353498"/>
                    </a:lnTo>
                    <a:lnTo>
                      <a:pt x="79245" y="351376"/>
                    </a:lnTo>
                    <a:lnTo>
                      <a:pt x="80306" y="349861"/>
                    </a:lnTo>
                    <a:lnTo>
                      <a:pt x="82276" y="349558"/>
                    </a:lnTo>
                    <a:lnTo>
                      <a:pt x="85912" y="348194"/>
                    </a:lnTo>
                    <a:lnTo>
                      <a:pt x="89852" y="346982"/>
                    </a:lnTo>
                    <a:lnTo>
                      <a:pt x="91064" y="345316"/>
                    </a:lnTo>
                    <a:lnTo>
                      <a:pt x="92124" y="342285"/>
                    </a:lnTo>
                    <a:lnTo>
                      <a:pt x="93034" y="338952"/>
                    </a:lnTo>
                    <a:lnTo>
                      <a:pt x="93791" y="338194"/>
                    </a:lnTo>
                    <a:lnTo>
                      <a:pt x="95003" y="338345"/>
                    </a:lnTo>
                    <a:lnTo>
                      <a:pt x="97125" y="339255"/>
                    </a:lnTo>
                    <a:lnTo>
                      <a:pt x="98185" y="340467"/>
                    </a:lnTo>
                    <a:lnTo>
                      <a:pt x="103640" y="344406"/>
                    </a:lnTo>
                    <a:lnTo>
                      <a:pt x="106065" y="346679"/>
                    </a:lnTo>
                    <a:lnTo>
                      <a:pt x="108337" y="346982"/>
                    </a:lnTo>
                    <a:lnTo>
                      <a:pt x="112883" y="346528"/>
                    </a:lnTo>
                    <a:lnTo>
                      <a:pt x="113792" y="346679"/>
                    </a:lnTo>
                    <a:lnTo>
                      <a:pt x="125459" y="346831"/>
                    </a:lnTo>
                    <a:lnTo>
                      <a:pt x="127277" y="346982"/>
                    </a:lnTo>
                    <a:lnTo>
                      <a:pt x="131368" y="347891"/>
                    </a:lnTo>
                    <a:lnTo>
                      <a:pt x="133641" y="348649"/>
                    </a:lnTo>
                    <a:lnTo>
                      <a:pt x="135308" y="349104"/>
                    </a:lnTo>
                    <a:lnTo>
                      <a:pt x="137884" y="350316"/>
                    </a:lnTo>
                    <a:lnTo>
                      <a:pt x="140157" y="354407"/>
                    </a:lnTo>
                    <a:lnTo>
                      <a:pt x="141369" y="357589"/>
                    </a:lnTo>
                    <a:lnTo>
                      <a:pt x="142278" y="360468"/>
                    </a:lnTo>
                    <a:lnTo>
                      <a:pt x="144248" y="365468"/>
                    </a:lnTo>
                    <a:lnTo>
                      <a:pt x="145611" y="367438"/>
                    </a:lnTo>
                    <a:lnTo>
                      <a:pt x="146066" y="366528"/>
                    </a:lnTo>
                    <a:lnTo>
                      <a:pt x="147278" y="361074"/>
                    </a:lnTo>
                    <a:lnTo>
                      <a:pt x="148793" y="357892"/>
                    </a:lnTo>
                    <a:lnTo>
                      <a:pt x="150915" y="354255"/>
                    </a:lnTo>
                    <a:lnTo>
                      <a:pt x="155157" y="345922"/>
                    </a:lnTo>
                    <a:lnTo>
                      <a:pt x="156672" y="344710"/>
                    </a:lnTo>
                    <a:lnTo>
                      <a:pt x="158339" y="344103"/>
                    </a:lnTo>
                    <a:lnTo>
                      <a:pt x="159551" y="344103"/>
                    </a:lnTo>
                    <a:lnTo>
                      <a:pt x="160764" y="344710"/>
                    </a:lnTo>
                    <a:lnTo>
                      <a:pt x="162430" y="344710"/>
                    </a:lnTo>
                    <a:lnTo>
                      <a:pt x="163642" y="344103"/>
                    </a:lnTo>
                    <a:lnTo>
                      <a:pt x="174855" y="343952"/>
                    </a:lnTo>
                    <a:lnTo>
                      <a:pt x="186522" y="343800"/>
                    </a:lnTo>
                    <a:lnTo>
                      <a:pt x="186825" y="343800"/>
                    </a:lnTo>
                    <a:lnTo>
                      <a:pt x="187280" y="345316"/>
                    </a:lnTo>
                    <a:lnTo>
                      <a:pt x="189249" y="348498"/>
                    </a:lnTo>
                    <a:lnTo>
                      <a:pt x="191371" y="350164"/>
                    </a:lnTo>
                    <a:lnTo>
                      <a:pt x="191825" y="350619"/>
                    </a:lnTo>
                    <a:lnTo>
                      <a:pt x="192431" y="349255"/>
                    </a:lnTo>
                    <a:lnTo>
                      <a:pt x="194098" y="343649"/>
                    </a:lnTo>
                    <a:lnTo>
                      <a:pt x="196522" y="335618"/>
                    </a:lnTo>
                    <a:lnTo>
                      <a:pt x="199098" y="327285"/>
                    </a:lnTo>
                    <a:lnTo>
                      <a:pt x="202129" y="317436"/>
                    </a:lnTo>
                    <a:lnTo>
                      <a:pt x="202129" y="310466"/>
                    </a:lnTo>
                    <a:lnTo>
                      <a:pt x="202129" y="303193"/>
                    </a:lnTo>
                    <a:lnTo>
                      <a:pt x="206371" y="297132"/>
                    </a:lnTo>
                    <a:lnTo>
                      <a:pt x="209402" y="292889"/>
                    </a:lnTo>
                    <a:lnTo>
                      <a:pt x="211977" y="288798"/>
                    </a:lnTo>
                    <a:lnTo>
                      <a:pt x="214553" y="281828"/>
                    </a:lnTo>
                    <a:lnTo>
                      <a:pt x="216372" y="277131"/>
                    </a:lnTo>
                    <a:lnTo>
                      <a:pt x="223038" y="276071"/>
                    </a:lnTo>
                    <a:lnTo>
                      <a:pt x="234402" y="273646"/>
                    </a:lnTo>
                    <a:lnTo>
                      <a:pt x="240009" y="272434"/>
                    </a:lnTo>
                    <a:lnTo>
                      <a:pt x="251979" y="269858"/>
                    </a:lnTo>
                    <a:lnTo>
                      <a:pt x="264101" y="267282"/>
                    </a:lnTo>
                    <a:lnTo>
                      <a:pt x="276828" y="267131"/>
                    </a:lnTo>
                    <a:lnTo>
                      <a:pt x="289101" y="266979"/>
                    </a:lnTo>
                    <a:lnTo>
                      <a:pt x="298647" y="272737"/>
                    </a:lnTo>
                    <a:lnTo>
                      <a:pt x="305920" y="277131"/>
                    </a:lnTo>
                    <a:lnTo>
                      <a:pt x="313951" y="281980"/>
                    </a:lnTo>
                    <a:lnTo>
                      <a:pt x="314557" y="283041"/>
                    </a:lnTo>
                    <a:lnTo>
                      <a:pt x="315163" y="287132"/>
                    </a:lnTo>
                    <a:lnTo>
                      <a:pt x="314557" y="291829"/>
                    </a:lnTo>
                    <a:lnTo>
                      <a:pt x="316375" y="291374"/>
                    </a:lnTo>
                    <a:lnTo>
                      <a:pt x="317133" y="290162"/>
                    </a:lnTo>
                    <a:lnTo>
                      <a:pt x="318345" y="288647"/>
                    </a:lnTo>
                    <a:lnTo>
                      <a:pt x="320012" y="288192"/>
                    </a:lnTo>
                    <a:lnTo>
                      <a:pt x="321982" y="287586"/>
                    </a:lnTo>
                    <a:lnTo>
                      <a:pt x="322739" y="286374"/>
                    </a:lnTo>
                    <a:lnTo>
                      <a:pt x="318042" y="282283"/>
                    </a:lnTo>
                    <a:lnTo>
                      <a:pt x="315315" y="279859"/>
                    </a:lnTo>
                    <a:lnTo>
                      <a:pt x="316981" y="276525"/>
                    </a:lnTo>
                    <a:lnTo>
                      <a:pt x="319709" y="270919"/>
                    </a:lnTo>
                    <a:lnTo>
                      <a:pt x="322436" y="265464"/>
                    </a:lnTo>
                    <a:lnTo>
                      <a:pt x="324406" y="261222"/>
                    </a:lnTo>
                    <a:lnTo>
                      <a:pt x="324860" y="260464"/>
                    </a:lnTo>
                    <a:lnTo>
                      <a:pt x="326679" y="260161"/>
                    </a:lnTo>
                    <a:lnTo>
                      <a:pt x="326376" y="258040"/>
                    </a:lnTo>
                    <a:lnTo>
                      <a:pt x="326376" y="256676"/>
                    </a:lnTo>
                    <a:lnTo>
                      <a:pt x="325012" y="256524"/>
                    </a:lnTo>
                    <a:lnTo>
                      <a:pt x="326527" y="251373"/>
                    </a:lnTo>
                    <a:lnTo>
                      <a:pt x="328800" y="244100"/>
                    </a:lnTo>
                    <a:lnTo>
                      <a:pt x="330618" y="238645"/>
                    </a:lnTo>
                    <a:lnTo>
                      <a:pt x="331224" y="237736"/>
                    </a:lnTo>
                    <a:lnTo>
                      <a:pt x="332436" y="237433"/>
                    </a:lnTo>
                    <a:lnTo>
                      <a:pt x="332739" y="236827"/>
                    </a:lnTo>
                    <a:lnTo>
                      <a:pt x="330770" y="234857"/>
                    </a:lnTo>
                    <a:close/>
                    <a:moveTo>
                      <a:pt x="18031" y="180310"/>
                    </a:moveTo>
                    <a:lnTo>
                      <a:pt x="18940" y="179855"/>
                    </a:lnTo>
                    <a:lnTo>
                      <a:pt x="20001" y="180310"/>
                    </a:lnTo>
                    <a:lnTo>
                      <a:pt x="20607" y="180310"/>
                    </a:lnTo>
                    <a:lnTo>
                      <a:pt x="20455" y="179400"/>
                    </a:lnTo>
                    <a:lnTo>
                      <a:pt x="18940" y="178643"/>
                    </a:lnTo>
                    <a:lnTo>
                      <a:pt x="17122" y="176825"/>
                    </a:lnTo>
                    <a:lnTo>
                      <a:pt x="15455" y="176067"/>
                    </a:lnTo>
                    <a:lnTo>
                      <a:pt x="14697" y="176218"/>
                    </a:lnTo>
                    <a:lnTo>
                      <a:pt x="14546" y="177431"/>
                    </a:lnTo>
                    <a:lnTo>
                      <a:pt x="14243" y="178643"/>
                    </a:lnTo>
                    <a:lnTo>
                      <a:pt x="13940" y="179855"/>
                    </a:lnTo>
                    <a:lnTo>
                      <a:pt x="16364" y="179704"/>
                    </a:lnTo>
                    <a:lnTo>
                      <a:pt x="18031" y="1803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0" name="Freeform: Shape 3329">
                <a:extLst>
                  <a:ext uri="{FF2B5EF4-FFF2-40B4-BE49-F238E27FC236}">
                    <a16:creationId xmlns:a16="http://schemas.microsoft.com/office/drawing/2014/main" id="{C7B02110-2D0D-405F-9825-8A5A691173B9}"/>
                  </a:ext>
                </a:extLst>
              </p:cNvPr>
              <p:cNvSpPr/>
              <p:nvPr/>
            </p:nvSpPr>
            <p:spPr>
              <a:xfrm>
                <a:off x="8898073" y="4425473"/>
                <a:ext cx="34395" cy="27425"/>
              </a:xfrm>
              <a:custGeom>
                <a:avLst/>
                <a:gdLst>
                  <a:gd name="connsiteX0" fmla="*/ 26971 w 34395"/>
                  <a:gd name="connsiteY0" fmla="*/ 151 h 27425"/>
                  <a:gd name="connsiteX1" fmla="*/ 25607 w 34395"/>
                  <a:gd name="connsiteY1" fmla="*/ 0 h 27425"/>
                  <a:gd name="connsiteX2" fmla="*/ 21364 w 34395"/>
                  <a:gd name="connsiteY2" fmla="*/ 2121 h 27425"/>
                  <a:gd name="connsiteX3" fmla="*/ 18637 w 34395"/>
                  <a:gd name="connsiteY3" fmla="*/ 3939 h 27425"/>
                  <a:gd name="connsiteX4" fmla="*/ 16061 w 34395"/>
                  <a:gd name="connsiteY4" fmla="*/ 6212 h 27425"/>
                  <a:gd name="connsiteX5" fmla="*/ 13334 w 34395"/>
                  <a:gd name="connsiteY5" fmla="*/ 8182 h 27425"/>
                  <a:gd name="connsiteX6" fmla="*/ 10000 w 34395"/>
                  <a:gd name="connsiteY6" fmla="*/ 10000 h 27425"/>
                  <a:gd name="connsiteX7" fmla="*/ 6515 w 34395"/>
                  <a:gd name="connsiteY7" fmla="*/ 11515 h 27425"/>
                  <a:gd name="connsiteX8" fmla="*/ 3182 w 34395"/>
                  <a:gd name="connsiteY8" fmla="*/ 11970 h 27425"/>
                  <a:gd name="connsiteX9" fmla="*/ 0 w 34395"/>
                  <a:gd name="connsiteY9" fmla="*/ 11970 h 27425"/>
                  <a:gd name="connsiteX10" fmla="*/ 909 w 34395"/>
                  <a:gd name="connsiteY10" fmla="*/ 12728 h 27425"/>
                  <a:gd name="connsiteX11" fmla="*/ 2879 w 34395"/>
                  <a:gd name="connsiteY11" fmla="*/ 13788 h 27425"/>
                  <a:gd name="connsiteX12" fmla="*/ 4394 w 34395"/>
                  <a:gd name="connsiteY12" fmla="*/ 15152 h 27425"/>
                  <a:gd name="connsiteX13" fmla="*/ 5455 w 34395"/>
                  <a:gd name="connsiteY13" fmla="*/ 16819 h 27425"/>
                  <a:gd name="connsiteX14" fmla="*/ 6212 w 34395"/>
                  <a:gd name="connsiteY14" fmla="*/ 18486 h 27425"/>
                  <a:gd name="connsiteX15" fmla="*/ 6212 w 34395"/>
                  <a:gd name="connsiteY15" fmla="*/ 19849 h 27425"/>
                  <a:gd name="connsiteX16" fmla="*/ 7121 w 34395"/>
                  <a:gd name="connsiteY16" fmla="*/ 20910 h 27425"/>
                  <a:gd name="connsiteX17" fmla="*/ 9698 w 34395"/>
                  <a:gd name="connsiteY17" fmla="*/ 21061 h 27425"/>
                  <a:gd name="connsiteX18" fmla="*/ 10607 w 34395"/>
                  <a:gd name="connsiteY18" fmla="*/ 22425 h 27425"/>
                  <a:gd name="connsiteX19" fmla="*/ 12425 w 34395"/>
                  <a:gd name="connsiteY19" fmla="*/ 24849 h 27425"/>
                  <a:gd name="connsiteX20" fmla="*/ 14091 w 34395"/>
                  <a:gd name="connsiteY20" fmla="*/ 26668 h 27425"/>
                  <a:gd name="connsiteX21" fmla="*/ 15152 w 34395"/>
                  <a:gd name="connsiteY21" fmla="*/ 27425 h 27425"/>
                  <a:gd name="connsiteX22" fmla="*/ 16365 w 34395"/>
                  <a:gd name="connsiteY22" fmla="*/ 27122 h 27425"/>
                  <a:gd name="connsiteX23" fmla="*/ 18334 w 34395"/>
                  <a:gd name="connsiteY23" fmla="*/ 25455 h 27425"/>
                  <a:gd name="connsiteX24" fmla="*/ 19698 w 34395"/>
                  <a:gd name="connsiteY24" fmla="*/ 23486 h 27425"/>
                  <a:gd name="connsiteX25" fmla="*/ 20607 w 34395"/>
                  <a:gd name="connsiteY25" fmla="*/ 20758 h 27425"/>
                  <a:gd name="connsiteX26" fmla="*/ 19849 w 34395"/>
                  <a:gd name="connsiteY26" fmla="*/ 20304 h 27425"/>
                  <a:gd name="connsiteX27" fmla="*/ 21213 w 34395"/>
                  <a:gd name="connsiteY27" fmla="*/ 18334 h 27425"/>
                  <a:gd name="connsiteX28" fmla="*/ 21516 w 34395"/>
                  <a:gd name="connsiteY28" fmla="*/ 17273 h 27425"/>
                  <a:gd name="connsiteX29" fmla="*/ 20910 w 34395"/>
                  <a:gd name="connsiteY29" fmla="*/ 16364 h 27425"/>
                  <a:gd name="connsiteX30" fmla="*/ 20153 w 34395"/>
                  <a:gd name="connsiteY30" fmla="*/ 15455 h 27425"/>
                  <a:gd name="connsiteX31" fmla="*/ 19849 w 34395"/>
                  <a:gd name="connsiteY31" fmla="*/ 13031 h 27425"/>
                  <a:gd name="connsiteX32" fmla="*/ 19395 w 34395"/>
                  <a:gd name="connsiteY32" fmla="*/ 10000 h 27425"/>
                  <a:gd name="connsiteX33" fmla="*/ 19092 w 34395"/>
                  <a:gd name="connsiteY33" fmla="*/ 8637 h 27425"/>
                  <a:gd name="connsiteX34" fmla="*/ 20153 w 34395"/>
                  <a:gd name="connsiteY34" fmla="*/ 7576 h 27425"/>
                  <a:gd name="connsiteX35" fmla="*/ 22425 w 34395"/>
                  <a:gd name="connsiteY35" fmla="*/ 6364 h 27425"/>
                  <a:gd name="connsiteX36" fmla="*/ 24546 w 34395"/>
                  <a:gd name="connsiteY36" fmla="*/ 4849 h 27425"/>
                  <a:gd name="connsiteX37" fmla="*/ 26819 w 34395"/>
                  <a:gd name="connsiteY37" fmla="*/ 3636 h 27425"/>
                  <a:gd name="connsiteX38" fmla="*/ 27425 w 34395"/>
                  <a:gd name="connsiteY38" fmla="*/ 1970 h 27425"/>
                  <a:gd name="connsiteX39" fmla="*/ 26971 w 34395"/>
                  <a:gd name="connsiteY39" fmla="*/ 151 h 27425"/>
                  <a:gd name="connsiteX40" fmla="*/ 33183 w 34395"/>
                  <a:gd name="connsiteY40" fmla="*/ 15455 h 27425"/>
                  <a:gd name="connsiteX41" fmla="*/ 32880 w 34395"/>
                  <a:gd name="connsiteY41" fmla="*/ 10606 h 27425"/>
                  <a:gd name="connsiteX42" fmla="*/ 31820 w 34395"/>
                  <a:gd name="connsiteY42" fmla="*/ 7424 h 27425"/>
                  <a:gd name="connsiteX43" fmla="*/ 30153 w 34395"/>
                  <a:gd name="connsiteY43" fmla="*/ 4243 h 27425"/>
                  <a:gd name="connsiteX44" fmla="*/ 29395 w 34395"/>
                  <a:gd name="connsiteY44" fmla="*/ 3333 h 27425"/>
                  <a:gd name="connsiteX45" fmla="*/ 26365 w 34395"/>
                  <a:gd name="connsiteY45" fmla="*/ 3333 h 27425"/>
                  <a:gd name="connsiteX46" fmla="*/ 26365 w 34395"/>
                  <a:gd name="connsiteY46" fmla="*/ 5455 h 27425"/>
                  <a:gd name="connsiteX47" fmla="*/ 26365 w 34395"/>
                  <a:gd name="connsiteY47" fmla="*/ 8940 h 27425"/>
                  <a:gd name="connsiteX48" fmla="*/ 26971 w 34395"/>
                  <a:gd name="connsiteY48" fmla="*/ 11970 h 27425"/>
                  <a:gd name="connsiteX49" fmla="*/ 28486 w 34395"/>
                  <a:gd name="connsiteY49" fmla="*/ 17273 h 27425"/>
                  <a:gd name="connsiteX50" fmla="*/ 30153 w 34395"/>
                  <a:gd name="connsiteY50" fmla="*/ 18031 h 27425"/>
                  <a:gd name="connsiteX51" fmla="*/ 32274 w 34395"/>
                  <a:gd name="connsiteY51" fmla="*/ 18486 h 27425"/>
                  <a:gd name="connsiteX52" fmla="*/ 33486 w 34395"/>
                  <a:gd name="connsiteY52" fmla="*/ 18334 h 27425"/>
                  <a:gd name="connsiteX53" fmla="*/ 34244 w 34395"/>
                  <a:gd name="connsiteY53" fmla="*/ 18031 h 27425"/>
                  <a:gd name="connsiteX54" fmla="*/ 34396 w 34395"/>
                  <a:gd name="connsiteY54" fmla="*/ 17576 h 27425"/>
                  <a:gd name="connsiteX55" fmla="*/ 33183 w 34395"/>
                  <a:gd name="connsiteY55" fmla="*/ 15455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4395" h="27425">
                    <a:moveTo>
                      <a:pt x="26971" y="151"/>
                    </a:moveTo>
                    <a:lnTo>
                      <a:pt x="25607" y="0"/>
                    </a:lnTo>
                    <a:lnTo>
                      <a:pt x="21364" y="2121"/>
                    </a:lnTo>
                    <a:lnTo>
                      <a:pt x="18637" y="3939"/>
                    </a:lnTo>
                    <a:lnTo>
                      <a:pt x="16061" y="6212"/>
                    </a:lnTo>
                    <a:lnTo>
                      <a:pt x="13334" y="8182"/>
                    </a:lnTo>
                    <a:lnTo>
                      <a:pt x="10000" y="10000"/>
                    </a:lnTo>
                    <a:lnTo>
                      <a:pt x="6515" y="11515"/>
                    </a:lnTo>
                    <a:lnTo>
                      <a:pt x="3182" y="11970"/>
                    </a:lnTo>
                    <a:lnTo>
                      <a:pt x="0" y="11970"/>
                    </a:lnTo>
                    <a:lnTo>
                      <a:pt x="909" y="12728"/>
                    </a:lnTo>
                    <a:lnTo>
                      <a:pt x="2879" y="13788"/>
                    </a:lnTo>
                    <a:lnTo>
                      <a:pt x="4394" y="15152"/>
                    </a:lnTo>
                    <a:lnTo>
                      <a:pt x="5455" y="16819"/>
                    </a:lnTo>
                    <a:lnTo>
                      <a:pt x="6212" y="18486"/>
                    </a:lnTo>
                    <a:lnTo>
                      <a:pt x="6212" y="19849"/>
                    </a:lnTo>
                    <a:lnTo>
                      <a:pt x="7121" y="20910"/>
                    </a:lnTo>
                    <a:lnTo>
                      <a:pt x="9698" y="21061"/>
                    </a:lnTo>
                    <a:lnTo>
                      <a:pt x="10607" y="22425"/>
                    </a:lnTo>
                    <a:lnTo>
                      <a:pt x="12425" y="24849"/>
                    </a:lnTo>
                    <a:lnTo>
                      <a:pt x="14091" y="26668"/>
                    </a:lnTo>
                    <a:lnTo>
                      <a:pt x="15152" y="27425"/>
                    </a:lnTo>
                    <a:lnTo>
                      <a:pt x="16365" y="27122"/>
                    </a:lnTo>
                    <a:lnTo>
                      <a:pt x="18334" y="25455"/>
                    </a:lnTo>
                    <a:lnTo>
                      <a:pt x="19698" y="23486"/>
                    </a:lnTo>
                    <a:lnTo>
                      <a:pt x="20607" y="20758"/>
                    </a:lnTo>
                    <a:lnTo>
                      <a:pt x="19849" y="20304"/>
                    </a:lnTo>
                    <a:lnTo>
                      <a:pt x="21213" y="18334"/>
                    </a:lnTo>
                    <a:lnTo>
                      <a:pt x="21516" y="17273"/>
                    </a:lnTo>
                    <a:lnTo>
                      <a:pt x="20910" y="16364"/>
                    </a:lnTo>
                    <a:lnTo>
                      <a:pt x="20153" y="15455"/>
                    </a:lnTo>
                    <a:lnTo>
                      <a:pt x="19849" y="13031"/>
                    </a:lnTo>
                    <a:lnTo>
                      <a:pt x="19395" y="10000"/>
                    </a:lnTo>
                    <a:lnTo>
                      <a:pt x="19092" y="8637"/>
                    </a:lnTo>
                    <a:lnTo>
                      <a:pt x="20153" y="7576"/>
                    </a:lnTo>
                    <a:lnTo>
                      <a:pt x="22425" y="6364"/>
                    </a:lnTo>
                    <a:lnTo>
                      <a:pt x="24546" y="4849"/>
                    </a:lnTo>
                    <a:lnTo>
                      <a:pt x="26819" y="3636"/>
                    </a:lnTo>
                    <a:lnTo>
                      <a:pt x="27425" y="1970"/>
                    </a:lnTo>
                    <a:lnTo>
                      <a:pt x="26971" y="151"/>
                    </a:lnTo>
                    <a:close/>
                    <a:moveTo>
                      <a:pt x="33183" y="15455"/>
                    </a:moveTo>
                    <a:lnTo>
                      <a:pt x="32880" y="10606"/>
                    </a:lnTo>
                    <a:lnTo>
                      <a:pt x="31820" y="7424"/>
                    </a:lnTo>
                    <a:lnTo>
                      <a:pt x="30153" y="4243"/>
                    </a:lnTo>
                    <a:lnTo>
                      <a:pt x="29395" y="3333"/>
                    </a:lnTo>
                    <a:lnTo>
                      <a:pt x="26365" y="3333"/>
                    </a:lnTo>
                    <a:lnTo>
                      <a:pt x="26365" y="5455"/>
                    </a:lnTo>
                    <a:lnTo>
                      <a:pt x="26365" y="8940"/>
                    </a:lnTo>
                    <a:lnTo>
                      <a:pt x="26971" y="11970"/>
                    </a:lnTo>
                    <a:lnTo>
                      <a:pt x="28486" y="17273"/>
                    </a:lnTo>
                    <a:lnTo>
                      <a:pt x="30153" y="18031"/>
                    </a:lnTo>
                    <a:lnTo>
                      <a:pt x="32274" y="18486"/>
                    </a:lnTo>
                    <a:lnTo>
                      <a:pt x="33486" y="18334"/>
                    </a:lnTo>
                    <a:lnTo>
                      <a:pt x="34244" y="18031"/>
                    </a:lnTo>
                    <a:lnTo>
                      <a:pt x="34396" y="17576"/>
                    </a:lnTo>
                    <a:lnTo>
                      <a:pt x="33183" y="15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1" name="Freeform: Shape 3330">
                <a:extLst>
                  <a:ext uri="{FF2B5EF4-FFF2-40B4-BE49-F238E27FC236}">
                    <a16:creationId xmlns:a16="http://schemas.microsoft.com/office/drawing/2014/main" id="{8AD038E8-F142-4DDE-8B99-9B3A0287952B}"/>
                  </a:ext>
                </a:extLst>
              </p:cNvPr>
              <p:cNvSpPr/>
              <p:nvPr/>
            </p:nvSpPr>
            <p:spPr>
              <a:xfrm>
                <a:off x="4002437" y="3649384"/>
                <a:ext cx="5303" cy="3788"/>
              </a:xfrm>
              <a:custGeom>
                <a:avLst/>
                <a:gdLst>
                  <a:gd name="connsiteX0" fmla="*/ 4697 w 5303"/>
                  <a:gd name="connsiteY0" fmla="*/ 0 h 3788"/>
                  <a:gd name="connsiteX1" fmla="*/ 2576 w 5303"/>
                  <a:gd name="connsiteY1" fmla="*/ 2424 h 3788"/>
                  <a:gd name="connsiteX2" fmla="*/ 0 w 5303"/>
                  <a:gd name="connsiteY2" fmla="*/ 3485 h 3788"/>
                  <a:gd name="connsiteX3" fmla="*/ 606 w 5303"/>
                  <a:gd name="connsiteY3" fmla="*/ 3788 h 3788"/>
                  <a:gd name="connsiteX4" fmla="*/ 1212 w 5303"/>
                  <a:gd name="connsiteY4" fmla="*/ 3788 h 3788"/>
                  <a:gd name="connsiteX5" fmla="*/ 3637 w 5303"/>
                  <a:gd name="connsiteY5" fmla="*/ 2879 h 3788"/>
                  <a:gd name="connsiteX6" fmla="*/ 5303 w 5303"/>
                  <a:gd name="connsiteY6" fmla="*/ 151 h 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3" h="3788">
                    <a:moveTo>
                      <a:pt x="4697" y="0"/>
                    </a:moveTo>
                    <a:lnTo>
                      <a:pt x="2576" y="2424"/>
                    </a:lnTo>
                    <a:lnTo>
                      <a:pt x="0" y="3485"/>
                    </a:lnTo>
                    <a:lnTo>
                      <a:pt x="606" y="3788"/>
                    </a:lnTo>
                    <a:lnTo>
                      <a:pt x="1212" y="3788"/>
                    </a:lnTo>
                    <a:lnTo>
                      <a:pt x="3637" y="2879"/>
                    </a:lnTo>
                    <a:lnTo>
                      <a:pt x="5303"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2" name="Freeform: Shape 3331">
                <a:extLst>
                  <a:ext uri="{FF2B5EF4-FFF2-40B4-BE49-F238E27FC236}">
                    <a16:creationId xmlns:a16="http://schemas.microsoft.com/office/drawing/2014/main" id="{B6FBBA85-571B-46A7-969C-0780346A4DC0}"/>
                  </a:ext>
                </a:extLst>
              </p:cNvPr>
              <p:cNvSpPr/>
              <p:nvPr/>
            </p:nvSpPr>
            <p:spPr>
              <a:xfrm>
                <a:off x="4056833" y="4069702"/>
                <a:ext cx="2121" cy="1363"/>
              </a:xfrm>
              <a:custGeom>
                <a:avLst/>
                <a:gdLst>
                  <a:gd name="connsiteX0" fmla="*/ 303 w 2121"/>
                  <a:gd name="connsiteY0" fmla="*/ 152 h 1363"/>
                  <a:gd name="connsiteX1" fmla="*/ 0 w 2121"/>
                  <a:gd name="connsiteY1" fmla="*/ 0 h 1363"/>
                  <a:gd name="connsiteX2" fmla="*/ 0 w 2121"/>
                  <a:gd name="connsiteY2" fmla="*/ 152 h 1363"/>
                  <a:gd name="connsiteX3" fmla="*/ 151 w 2121"/>
                  <a:gd name="connsiteY3" fmla="*/ 606 h 1363"/>
                  <a:gd name="connsiteX4" fmla="*/ 455 w 2121"/>
                  <a:gd name="connsiteY4" fmla="*/ 1061 h 1363"/>
                  <a:gd name="connsiteX5" fmla="*/ 758 w 2121"/>
                  <a:gd name="connsiteY5" fmla="*/ 1364 h 1363"/>
                  <a:gd name="connsiteX6" fmla="*/ 1212 w 2121"/>
                  <a:gd name="connsiteY6" fmla="*/ 1212 h 1363"/>
                  <a:gd name="connsiteX7" fmla="*/ 1667 w 2121"/>
                  <a:gd name="connsiteY7" fmla="*/ 1061 h 1363"/>
                  <a:gd name="connsiteX8" fmla="*/ 1970 w 2121"/>
                  <a:gd name="connsiteY8" fmla="*/ 606 h 1363"/>
                  <a:gd name="connsiteX9" fmla="*/ 2121 w 2121"/>
                  <a:gd name="connsiteY9" fmla="*/ 303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1" h="1363">
                    <a:moveTo>
                      <a:pt x="303" y="152"/>
                    </a:moveTo>
                    <a:lnTo>
                      <a:pt x="0" y="0"/>
                    </a:lnTo>
                    <a:lnTo>
                      <a:pt x="0" y="152"/>
                    </a:lnTo>
                    <a:lnTo>
                      <a:pt x="151" y="606"/>
                    </a:lnTo>
                    <a:lnTo>
                      <a:pt x="455" y="1061"/>
                    </a:lnTo>
                    <a:lnTo>
                      <a:pt x="758" y="1364"/>
                    </a:lnTo>
                    <a:lnTo>
                      <a:pt x="1212" y="1212"/>
                    </a:lnTo>
                    <a:lnTo>
                      <a:pt x="1667" y="1061"/>
                    </a:lnTo>
                    <a:lnTo>
                      <a:pt x="1970" y="606"/>
                    </a:lnTo>
                    <a:lnTo>
                      <a:pt x="2121"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3" name="Freeform: Shape 3332">
                <a:extLst>
                  <a:ext uri="{FF2B5EF4-FFF2-40B4-BE49-F238E27FC236}">
                    <a16:creationId xmlns:a16="http://schemas.microsoft.com/office/drawing/2014/main" id="{4089386A-C0DB-4178-A366-1459ABBC3D01}"/>
                  </a:ext>
                </a:extLst>
              </p:cNvPr>
              <p:cNvSpPr/>
              <p:nvPr/>
            </p:nvSpPr>
            <p:spPr>
              <a:xfrm>
                <a:off x="5798110" y="4223799"/>
                <a:ext cx="83942" cy="169097"/>
              </a:xfrm>
              <a:custGeom>
                <a:avLst/>
                <a:gdLst>
                  <a:gd name="connsiteX0" fmla="*/ 83791 w 83942"/>
                  <a:gd name="connsiteY0" fmla="*/ 47577 h 169097"/>
                  <a:gd name="connsiteX1" fmla="*/ 81821 w 83942"/>
                  <a:gd name="connsiteY1" fmla="*/ 44396 h 169097"/>
                  <a:gd name="connsiteX2" fmla="*/ 81518 w 83942"/>
                  <a:gd name="connsiteY2" fmla="*/ 42274 h 169097"/>
                  <a:gd name="connsiteX3" fmla="*/ 81215 w 83942"/>
                  <a:gd name="connsiteY3" fmla="*/ 38941 h 169097"/>
                  <a:gd name="connsiteX4" fmla="*/ 80761 w 83942"/>
                  <a:gd name="connsiteY4" fmla="*/ 35911 h 169097"/>
                  <a:gd name="connsiteX5" fmla="*/ 80155 w 83942"/>
                  <a:gd name="connsiteY5" fmla="*/ 34850 h 169097"/>
                  <a:gd name="connsiteX6" fmla="*/ 79094 w 83942"/>
                  <a:gd name="connsiteY6" fmla="*/ 33789 h 169097"/>
                  <a:gd name="connsiteX7" fmla="*/ 78639 w 83942"/>
                  <a:gd name="connsiteY7" fmla="*/ 33183 h 169097"/>
                  <a:gd name="connsiteX8" fmla="*/ 74548 w 83942"/>
                  <a:gd name="connsiteY8" fmla="*/ 27274 h 169097"/>
                  <a:gd name="connsiteX9" fmla="*/ 74548 w 83942"/>
                  <a:gd name="connsiteY9" fmla="*/ 24395 h 169097"/>
                  <a:gd name="connsiteX10" fmla="*/ 76367 w 83942"/>
                  <a:gd name="connsiteY10" fmla="*/ 20758 h 169097"/>
                  <a:gd name="connsiteX11" fmla="*/ 77427 w 83942"/>
                  <a:gd name="connsiteY11" fmla="*/ 18940 h 169097"/>
                  <a:gd name="connsiteX12" fmla="*/ 75760 w 83942"/>
                  <a:gd name="connsiteY12" fmla="*/ 16364 h 169097"/>
                  <a:gd name="connsiteX13" fmla="*/ 73488 w 83942"/>
                  <a:gd name="connsiteY13" fmla="*/ 14698 h 169097"/>
                  <a:gd name="connsiteX14" fmla="*/ 71063 w 83942"/>
                  <a:gd name="connsiteY14" fmla="*/ 13788 h 169097"/>
                  <a:gd name="connsiteX15" fmla="*/ 69397 w 83942"/>
                  <a:gd name="connsiteY15" fmla="*/ 12576 h 169097"/>
                  <a:gd name="connsiteX16" fmla="*/ 68487 w 83942"/>
                  <a:gd name="connsiteY16" fmla="*/ 10758 h 169097"/>
                  <a:gd name="connsiteX17" fmla="*/ 65305 w 83942"/>
                  <a:gd name="connsiteY17" fmla="*/ 7273 h 169097"/>
                  <a:gd name="connsiteX18" fmla="*/ 57881 w 83942"/>
                  <a:gd name="connsiteY18" fmla="*/ 455 h 169097"/>
                  <a:gd name="connsiteX19" fmla="*/ 57123 w 83942"/>
                  <a:gd name="connsiteY19" fmla="*/ 303 h 169097"/>
                  <a:gd name="connsiteX20" fmla="*/ 55760 w 83942"/>
                  <a:gd name="connsiteY20" fmla="*/ 0 h 169097"/>
                  <a:gd name="connsiteX21" fmla="*/ 53790 w 83942"/>
                  <a:gd name="connsiteY21" fmla="*/ 758 h 169097"/>
                  <a:gd name="connsiteX22" fmla="*/ 52426 w 83942"/>
                  <a:gd name="connsiteY22" fmla="*/ 1970 h 169097"/>
                  <a:gd name="connsiteX23" fmla="*/ 51517 w 83942"/>
                  <a:gd name="connsiteY23" fmla="*/ 2424 h 169097"/>
                  <a:gd name="connsiteX24" fmla="*/ 50153 w 83942"/>
                  <a:gd name="connsiteY24" fmla="*/ 2424 h 169097"/>
                  <a:gd name="connsiteX25" fmla="*/ 46669 w 83942"/>
                  <a:gd name="connsiteY25" fmla="*/ 3333 h 169097"/>
                  <a:gd name="connsiteX26" fmla="*/ 43790 w 83942"/>
                  <a:gd name="connsiteY26" fmla="*/ 4394 h 169097"/>
                  <a:gd name="connsiteX27" fmla="*/ 43790 w 83942"/>
                  <a:gd name="connsiteY27" fmla="*/ 5303 h 169097"/>
                  <a:gd name="connsiteX28" fmla="*/ 45153 w 83942"/>
                  <a:gd name="connsiteY28" fmla="*/ 10607 h 169097"/>
                  <a:gd name="connsiteX29" fmla="*/ 44395 w 83942"/>
                  <a:gd name="connsiteY29" fmla="*/ 13334 h 169097"/>
                  <a:gd name="connsiteX30" fmla="*/ 43790 w 83942"/>
                  <a:gd name="connsiteY30" fmla="*/ 15001 h 169097"/>
                  <a:gd name="connsiteX31" fmla="*/ 41668 w 83942"/>
                  <a:gd name="connsiteY31" fmla="*/ 19092 h 169097"/>
                  <a:gd name="connsiteX32" fmla="*/ 40153 w 83942"/>
                  <a:gd name="connsiteY32" fmla="*/ 20758 h 169097"/>
                  <a:gd name="connsiteX33" fmla="*/ 33335 w 83942"/>
                  <a:gd name="connsiteY33" fmla="*/ 26516 h 169097"/>
                  <a:gd name="connsiteX34" fmla="*/ 29850 w 83942"/>
                  <a:gd name="connsiteY34" fmla="*/ 25910 h 169097"/>
                  <a:gd name="connsiteX35" fmla="*/ 22880 w 83942"/>
                  <a:gd name="connsiteY35" fmla="*/ 27122 h 169097"/>
                  <a:gd name="connsiteX36" fmla="*/ 21819 w 83942"/>
                  <a:gd name="connsiteY36" fmla="*/ 25759 h 169097"/>
                  <a:gd name="connsiteX37" fmla="*/ 20153 w 83942"/>
                  <a:gd name="connsiteY37" fmla="*/ 25607 h 169097"/>
                  <a:gd name="connsiteX38" fmla="*/ 18183 w 83942"/>
                  <a:gd name="connsiteY38" fmla="*/ 25759 h 169097"/>
                  <a:gd name="connsiteX39" fmla="*/ 17425 w 83942"/>
                  <a:gd name="connsiteY39" fmla="*/ 26365 h 169097"/>
                  <a:gd name="connsiteX40" fmla="*/ 17122 w 83942"/>
                  <a:gd name="connsiteY40" fmla="*/ 26819 h 169097"/>
                  <a:gd name="connsiteX41" fmla="*/ 16365 w 83942"/>
                  <a:gd name="connsiteY41" fmla="*/ 27728 h 169097"/>
                  <a:gd name="connsiteX42" fmla="*/ 15152 w 83942"/>
                  <a:gd name="connsiteY42" fmla="*/ 30001 h 169097"/>
                  <a:gd name="connsiteX43" fmla="*/ 14091 w 83942"/>
                  <a:gd name="connsiteY43" fmla="*/ 30607 h 169097"/>
                  <a:gd name="connsiteX44" fmla="*/ 12879 w 83942"/>
                  <a:gd name="connsiteY44" fmla="*/ 30910 h 169097"/>
                  <a:gd name="connsiteX45" fmla="*/ 11364 w 83942"/>
                  <a:gd name="connsiteY45" fmla="*/ 30910 h 169097"/>
                  <a:gd name="connsiteX46" fmla="*/ 10455 w 83942"/>
                  <a:gd name="connsiteY46" fmla="*/ 31213 h 169097"/>
                  <a:gd name="connsiteX47" fmla="*/ 10455 w 83942"/>
                  <a:gd name="connsiteY47" fmla="*/ 32274 h 169097"/>
                  <a:gd name="connsiteX48" fmla="*/ 10152 w 83942"/>
                  <a:gd name="connsiteY48" fmla="*/ 33335 h 169097"/>
                  <a:gd name="connsiteX49" fmla="*/ 9091 w 83942"/>
                  <a:gd name="connsiteY49" fmla="*/ 33789 h 169097"/>
                  <a:gd name="connsiteX50" fmla="*/ 8637 w 83942"/>
                  <a:gd name="connsiteY50" fmla="*/ 34850 h 169097"/>
                  <a:gd name="connsiteX51" fmla="*/ 8788 w 83942"/>
                  <a:gd name="connsiteY51" fmla="*/ 36062 h 169097"/>
                  <a:gd name="connsiteX52" fmla="*/ 8182 w 83942"/>
                  <a:gd name="connsiteY52" fmla="*/ 36517 h 169097"/>
                  <a:gd name="connsiteX53" fmla="*/ 6819 w 83942"/>
                  <a:gd name="connsiteY53" fmla="*/ 36213 h 169097"/>
                  <a:gd name="connsiteX54" fmla="*/ 6061 w 83942"/>
                  <a:gd name="connsiteY54" fmla="*/ 35911 h 169097"/>
                  <a:gd name="connsiteX55" fmla="*/ 5303 w 83942"/>
                  <a:gd name="connsiteY55" fmla="*/ 37274 h 169097"/>
                  <a:gd name="connsiteX56" fmla="*/ 4394 w 83942"/>
                  <a:gd name="connsiteY56" fmla="*/ 38335 h 169097"/>
                  <a:gd name="connsiteX57" fmla="*/ 3788 w 83942"/>
                  <a:gd name="connsiteY57" fmla="*/ 38335 h 169097"/>
                  <a:gd name="connsiteX58" fmla="*/ 3031 w 83942"/>
                  <a:gd name="connsiteY58" fmla="*/ 41214 h 169097"/>
                  <a:gd name="connsiteX59" fmla="*/ 1515 w 83942"/>
                  <a:gd name="connsiteY59" fmla="*/ 44850 h 169097"/>
                  <a:gd name="connsiteX60" fmla="*/ 606 w 83942"/>
                  <a:gd name="connsiteY60" fmla="*/ 46062 h 169097"/>
                  <a:gd name="connsiteX61" fmla="*/ 0 w 83942"/>
                  <a:gd name="connsiteY61" fmla="*/ 55002 h 169097"/>
                  <a:gd name="connsiteX62" fmla="*/ 455 w 83942"/>
                  <a:gd name="connsiteY62" fmla="*/ 55760 h 169097"/>
                  <a:gd name="connsiteX63" fmla="*/ 758 w 83942"/>
                  <a:gd name="connsiteY63" fmla="*/ 55911 h 169097"/>
                  <a:gd name="connsiteX64" fmla="*/ 5303 w 83942"/>
                  <a:gd name="connsiteY64" fmla="*/ 58942 h 169097"/>
                  <a:gd name="connsiteX65" fmla="*/ 11212 w 83942"/>
                  <a:gd name="connsiteY65" fmla="*/ 62881 h 169097"/>
                  <a:gd name="connsiteX66" fmla="*/ 15455 w 83942"/>
                  <a:gd name="connsiteY66" fmla="*/ 65608 h 169097"/>
                  <a:gd name="connsiteX67" fmla="*/ 15758 w 83942"/>
                  <a:gd name="connsiteY67" fmla="*/ 66669 h 169097"/>
                  <a:gd name="connsiteX68" fmla="*/ 15910 w 83942"/>
                  <a:gd name="connsiteY68" fmla="*/ 72427 h 169097"/>
                  <a:gd name="connsiteX69" fmla="*/ 15910 w 83942"/>
                  <a:gd name="connsiteY69" fmla="*/ 77427 h 169097"/>
                  <a:gd name="connsiteX70" fmla="*/ 16819 w 83942"/>
                  <a:gd name="connsiteY70" fmla="*/ 80306 h 169097"/>
                  <a:gd name="connsiteX71" fmla="*/ 16970 w 83942"/>
                  <a:gd name="connsiteY71" fmla="*/ 83034 h 169097"/>
                  <a:gd name="connsiteX72" fmla="*/ 18031 w 83942"/>
                  <a:gd name="connsiteY72" fmla="*/ 85155 h 169097"/>
                  <a:gd name="connsiteX73" fmla="*/ 21971 w 83942"/>
                  <a:gd name="connsiteY73" fmla="*/ 89246 h 169097"/>
                  <a:gd name="connsiteX74" fmla="*/ 22880 w 83942"/>
                  <a:gd name="connsiteY74" fmla="*/ 91670 h 169097"/>
                  <a:gd name="connsiteX75" fmla="*/ 23031 w 83942"/>
                  <a:gd name="connsiteY75" fmla="*/ 99246 h 169097"/>
                  <a:gd name="connsiteX76" fmla="*/ 23031 w 83942"/>
                  <a:gd name="connsiteY76" fmla="*/ 105155 h 169097"/>
                  <a:gd name="connsiteX77" fmla="*/ 23486 w 83942"/>
                  <a:gd name="connsiteY77" fmla="*/ 113035 h 169097"/>
                  <a:gd name="connsiteX78" fmla="*/ 23486 w 83942"/>
                  <a:gd name="connsiteY78" fmla="*/ 119550 h 169097"/>
                  <a:gd name="connsiteX79" fmla="*/ 23486 w 83942"/>
                  <a:gd name="connsiteY79" fmla="*/ 127883 h 169097"/>
                  <a:gd name="connsiteX80" fmla="*/ 23486 w 83942"/>
                  <a:gd name="connsiteY80" fmla="*/ 137581 h 169097"/>
                  <a:gd name="connsiteX81" fmla="*/ 23486 w 83942"/>
                  <a:gd name="connsiteY81" fmla="*/ 147733 h 169097"/>
                  <a:gd name="connsiteX82" fmla="*/ 20910 w 83942"/>
                  <a:gd name="connsiteY82" fmla="*/ 147884 h 169097"/>
                  <a:gd name="connsiteX83" fmla="*/ 22425 w 83942"/>
                  <a:gd name="connsiteY83" fmla="*/ 151066 h 169097"/>
                  <a:gd name="connsiteX84" fmla="*/ 22576 w 83942"/>
                  <a:gd name="connsiteY84" fmla="*/ 153945 h 169097"/>
                  <a:gd name="connsiteX85" fmla="*/ 22880 w 83942"/>
                  <a:gd name="connsiteY85" fmla="*/ 154854 h 169097"/>
                  <a:gd name="connsiteX86" fmla="*/ 22274 w 83942"/>
                  <a:gd name="connsiteY86" fmla="*/ 156218 h 169097"/>
                  <a:gd name="connsiteX87" fmla="*/ 22880 w 83942"/>
                  <a:gd name="connsiteY87" fmla="*/ 158339 h 169097"/>
                  <a:gd name="connsiteX88" fmla="*/ 23941 w 83942"/>
                  <a:gd name="connsiteY88" fmla="*/ 159097 h 169097"/>
                  <a:gd name="connsiteX89" fmla="*/ 26819 w 83942"/>
                  <a:gd name="connsiteY89" fmla="*/ 163340 h 169097"/>
                  <a:gd name="connsiteX90" fmla="*/ 27729 w 83942"/>
                  <a:gd name="connsiteY90" fmla="*/ 166976 h 169097"/>
                  <a:gd name="connsiteX91" fmla="*/ 23183 w 83942"/>
                  <a:gd name="connsiteY91" fmla="*/ 168188 h 169097"/>
                  <a:gd name="connsiteX92" fmla="*/ 23486 w 83942"/>
                  <a:gd name="connsiteY92" fmla="*/ 169097 h 169097"/>
                  <a:gd name="connsiteX93" fmla="*/ 28789 w 83942"/>
                  <a:gd name="connsiteY93" fmla="*/ 167885 h 169097"/>
                  <a:gd name="connsiteX94" fmla="*/ 41668 w 83942"/>
                  <a:gd name="connsiteY94" fmla="*/ 166067 h 169097"/>
                  <a:gd name="connsiteX95" fmla="*/ 53184 w 83942"/>
                  <a:gd name="connsiteY95" fmla="*/ 165006 h 169097"/>
                  <a:gd name="connsiteX96" fmla="*/ 53184 w 83942"/>
                  <a:gd name="connsiteY96" fmla="*/ 163340 h 169097"/>
                  <a:gd name="connsiteX97" fmla="*/ 53941 w 83942"/>
                  <a:gd name="connsiteY97" fmla="*/ 158794 h 169097"/>
                  <a:gd name="connsiteX98" fmla="*/ 54396 w 83942"/>
                  <a:gd name="connsiteY98" fmla="*/ 156975 h 169097"/>
                  <a:gd name="connsiteX99" fmla="*/ 55002 w 83942"/>
                  <a:gd name="connsiteY99" fmla="*/ 155612 h 169097"/>
                  <a:gd name="connsiteX100" fmla="*/ 54396 w 83942"/>
                  <a:gd name="connsiteY100" fmla="*/ 153945 h 169097"/>
                  <a:gd name="connsiteX101" fmla="*/ 53790 w 83942"/>
                  <a:gd name="connsiteY101" fmla="*/ 151672 h 169097"/>
                  <a:gd name="connsiteX102" fmla="*/ 53487 w 83942"/>
                  <a:gd name="connsiteY102" fmla="*/ 148187 h 169097"/>
                  <a:gd name="connsiteX103" fmla="*/ 54245 w 83942"/>
                  <a:gd name="connsiteY103" fmla="*/ 147127 h 169097"/>
                  <a:gd name="connsiteX104" fmla="*/ 54548 w 83942"/>
                  <a:gd name="connsiteY104" fmla="*/ 145914 h 169097"/>
                  <a:gd name="connsiteX105" fmla="*/ 54396 w 83942"/>
                  <a:gd name="connsiteY105" fmla="*/ 143793 h 169097"/>
                  <a:gd name="connsiteX106" fmla="*/ 54396 w 83942"/>
                  <a:gd name="connsiteY106" fmla="*/ 136975 h 169097"/>
                  <a:gd name="connsiteX107" fmla="*/ 54699 w 83942"/>
                  <a:gd name="connsiteY107" fmla="*/ 136217 h 169097"/>
                  <a:gd name="connsiteX108" fmla="*/ 55305 w 83942"/>
                  <a:gd name="connsiteY108" fmla="*/ 135611 h 169097"/>
                  <a:gd name="connsiteX109" fmla="*/ 55305 w 83942"/>
                  <a:gd name="connsiteY109" fmla="*/ 134702 h 169097"/>
                  <a:gd name="connsiteX110" fmla="*/ 54396 w 83942"/>
                  <a:gd name="connsiteY110" fmla="*/ 132884 h 169097"/>
                  <a:gd name="connsiteX111" fmla="*/ 53487 w 83942"/>
                  <a:gd name="connsiteY111" fmla="*/ 130914 h 169097"/>
                  <a:gd name="connsiteX112" fmla="*/ 53487 w 83942"/>
                  <a:gd name="connsiteY112" fmla="*/ 128035 h 169097"/>
                  <a:gd name="connsiteX113" fmla="*/ 53184 w 83942"/>
                  <a:gd name="connsiteY113" fmla="*/ 125156 h 169097"/>
                  <a:gd name="connsiteX114" fmla="*/ 52578 w 83942"/>
                  <a:gd name="connsiteY114" fmla="*/ 123793 h 169097"/>
                  <a:gd name="connsiteX115" fmla="*/ 53032 w 83942"/>
                  <a:gd name="connsiteY115" fmla="*/ 119095 h 169097"/>
                  <a:gd name="connsiteX116" fmla="*/ 53335 w 83942"/>
                  <a:gd name="connsiteY116" fmla="*/ 112883 h 169097"/>
                  <a:gd name="connsiteX117" fmla="*/ 53032 w 83942"/>
                  <a:gd name="connsiteY117" fmla="*/ 110156 h 169097"/>
                  <a:gd name="connsiteX118" fmla="*/ 53638 w 83942"/>
                  <a:gd name="connsiteY118" fmla="*/ 108337 h 169097"/>
                  <a:gd name="connsiteX119" fmla="*/ 53941 w 83942"/>
                  <a:gd name="connsiteY119" fmla="*/ 103640 h 169097"/>
                  <a:gd name="connsiteX120" fmla="*/ 53790 w 83942"/>
                  <a:gd name="connsiteY120" fmla="*/ 98943 h 169097"/>
                  <a:gd name="connsiteX121" fmla="*/ 55002 w 83942"/>
                  <a:gd name="connsiteY121" fmla="*/ 91670 h 169097"/>
                  <a:gd name="connsiteX122" fmla="*/ 58336 w 83942"/>
                  <a:gd name="connsiteY122" fmla="*/ 91367 h 169097"/>
                  <a:gd name="connsiteX123" fmla="*/ 62426 w 83942"/>
                  <a:gd name="connsiteY123" fmla="*/ 90761 h 169097"/>
                  <a:gd name="connsiteX124" fmla="*/ 64245 w 83942"/>
                  <a:gd name="connsiteY124" fmla="*/ 87882 h 169097"/>
                  <a:gd name="connsiteX125" fmla="*/ 65154 w 83942"/>
                  <a:gd name="connsiteY125" fmla="*/ 84246 h 169097"/>
                  <a:gd name="connsiteX126" fmla="*/ 64851 w 83942"/>
                  <a:gd name="connsiteY126" fmla="*/ 80609 h 169097"/>
                  <a:gd name="connsiteX127" fmla="*/ 65609 w 83942"/>
                  <a:gd name="connsiteY127" fmla="*/ 79397 h 169097"/>
                  <a:gd name="connsiteX128" fmla="*/ 67275 w 83942"/>
                  <a:gd name="connsiteY128" fmla="*/ 77579 h 169097"/>
                  <a:gd name="connsiteX129" fmla="*/ 70154 w 83942"/>
                  <a:gd name="connsiteY129" fmla="*/ 74700 h 169097"/>
                  <a:gd name="connsiteX130" fmla="*/ 70003 w 83942"/>
                  <a:gd name="connsiteY130" fmla="*/ 71669 h 169097"/>
                  <a:gd name="connsiteX131" fmla="*/ 70912 w 83942"/>
                  <a:gd name="connsiteY131" fmla="*/ 70760 h 169097"/>
                  <a:gd name="connsiteX132" fmla="*/ 72275 w 83942"/>
                  <a:gd name="connsiteY132" fmla="*/ 70003 h 169097"/>
                  <a:gd name="connsiteX133" fmla="*/ 74245 w 83942"/>
                  <a:gd name="connsiteY133" fmla="*/ 69700 h 169097"/>
                  <a:gd name="connsiteX134" fmla="*/ 76367 w 83942"/>
                  <a:gd name="connsiteY134" fmla="*/ 68184 h 169097"/>
                  <a:gd name="connsiteX135" fmla="*/ 77579 w 83942"/>
                  <a:gd name="connsiteY135" fmla="*/ 65457 h 169097"/>
                  <a:gd name="connsiteX136" fmla="*/ 78791 w 83942"/>
                  <a:gd name="connsiteY136" fmla="*/ 61214 h 169097"/>
                  <a:gd name="connsiteX137" fmla="*/ 76973 w 83942"/>
                  <a:gd name="connsiteY137" fmla="*/ 58184 h 169097"/>
                  <a:gd name="connsiteX138" fmla="*/ 76973 w 83942"/>
                  <a:gd name="connsiteY138" fmla="*/ 57578 h 169097"/>
                  <a:gd name="connsiteX139" fmla="*/ 77730 w 83942"/>
                  <a:gd name="connsiteY139" fmla="*/ 55911 h 169097"/>
                  <a:gd name="connsiteX140" fmla="*/ 78791 w 83942"/>
                  <a:gd name="connsiteY140" fmla="*/ 54396 h 169097"/>
                  <a:gd name="connsiteX141" fmla="*/ 79700 w 83942"/>
                  <a:gd name="connsiteY141" fmla="*/ 53790 h 169097"/>
                  <a:gd name="connsiteX142" fmla="*/ 81973 w 83942"/>
                  <a:gd name="connsiteY142" fmla="*/ 54244 h 169097"/>
                  <a:gd name="connsiteX143" fmla="*/ 82276 w 83942"/>
                  <a:gd name="connsiteY143" fmla="*/ 54093 h 169097"/>
                  <a:gd name="connsiteX144" fmla="*/ 82579 w 83942"/>
                  <a:gd name="connsiteY144" fmla="*/ 53638 h 169097"/>
                  <a:gd name="connsiteX145" fmla="*/ 83943 w 83942"/>
                  <a:gd name="connsiteY145" fmla="*/ 48941 h 16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3942" h="169097">
                    <a:moveTo>
                      <a:pt x="83791" y="47577"/>
                    </a:moveTo>
                    <a:lnTo>
                      <a:pt x="81821" y="44396"/>
                    </a:lnTo>
                    <a:lnTo>
                      <a:pt x="81518" y="42274"/>
                    </a:lnTo>
                    <a:lnTo>
                      <a:pt x="81215" y="38941"/>
                    </a:lnTo>
                    <a:lnTo>
                      <a:pt x="80761" y="35911"/>
                    </a:lnTo>
                    <a:lnTo>
                      <a:pt x="80155" y="34850"/>
                    </a:lnTo>
                    <a:lnTo>
                      <a:pt x="79094" y="33789"/>
                    </a:lnTo>
                    <a:lnTo>
                      <a:pt x="78639" y="33183"/>
                    </a:lnTo>
                    <a:lnTo>
                      <a:pt x="74548" y="27274"/>
                    </a:lnTo>
                    <a:lnTo>
                      <a:pt x="74548" y="24395"/>
                    </a:lnTo>
                    <a:lnTo>
                      <a:pt x="76367" y="20758"/>
                    </a:lnTo>
                    <a:lnTo>
                      <a:pt x="77427" y="18940"/>
                    </a:lnTo>
                    <a:lnTo>
                      <a:pt x="75760" y="16364"/>
                    </a:lnTo>
                    <a:lnTo>
                      <a:pt x="73488" y="14698"/>
                    </a:lnTo>
                    <a:lnTo>
                      <a:pt x="71063" y="13788"/>
                    </a:lnTo>
                    <a:lnTo>
                      <a:pt x="69397" y="12576"/>
                    </a:lnTo>
                    <a:lnTo>
                      <a:pt x="68487" y="10758"/>
                    </a:lnTo>
                    <a:lnTo>
                      <a:pt x="65305" y="7273"/>
                    </a:lnTo>
                    <a:lnTo>
                      <a:pt x="57881" y="455"/>
                    </a:lnTo>
                    <a:lnTo>
                      <a:pt x="57123" y="303"/>
                    </a:lnTo>
                    <a:lnTo>
                      <a:pt x="55760" y="0"/>
                    </a:lnTo>
                    <a:lnTo>
                      <a:pt x="53790" y="758"/>
                    </a:lnTo>
                    <a:lnTo>
                      <a:pt x="52426" y="1970"/>
                    </a:lnTo>
                    <a:lnTo>
                      <a:pt x="51517" y="2424"/>
                    </a:lnTo>
                    <a:lnTo>
                      <a:pt x="50153" y="2424"/>
                    </a:lnTo>
                    <a:lnTo>
                      <a:pt x="46669" y="3333"/>
                    </a:lnTo>
                    <a:lnTo>
                      <a:pt x="43790" y="4394"/>
                    </a:lnTo>
                    <a:lnTo>
                      <a:pt x="43790" y="5303"/>
                    </a:lnTo>
                    <a:lnTo>
                      <a:pt x="45153" y="10607"/>
                    </a:lnTo>
                    <a:lnTo>
                      <a:pt x="44395" y="13334"/>
                    </a:lnTo>
                    <a:lnTo>
                      <a:pt x="43790" y="15001"/>
                    </a:lnTo>
                    <a:lnTo>
                      <a:pt x="41668" y="19092"/>
                    </a:lnTo>
                    <a:lnTo>
                      <a:pt x="40153" y="20758"/>
                    </a:lnTo>
                    <a:lnTo>
                      <a:pt x="33335" y="26516"/>
                    </a:lnTo>
                    <a:lnTo>
                      <a:pt x="29850" y="25910"/>
                    </a:lnTo>
                    <a:lnTo>
                      <a:pt x="22880" y="27122"/>
                    </a:lnTo>
                    <a:lnTo>
                      <a:pt x="21819" y="25759"/>
                    </a:lnTo>
                    <a:lnTo>
                      <a:pt x="20153" y="25607"/>
                    </a:lnTo>
                    <a:lnTo>
                      <a:pt x="18183" y="25759"/>
                    </a:lnTo>
                    <a:lnTo>
                      <a:pt x="17425" y="26365"/>
                    </a:lnTo>
                    <a:lnTo>
                      <a:pt x="17122" y="26819"/>
                    </a:lnTo>
                    <a:lnTo>
                      <a:pt x="16365" y="27728"/>
                    </a:lnTo>
                    <a:lnTo>
                      <a:pt x="15152" y="30001"/>
                    </a:lnTo>
                    <a:lnTo>
                      <a:pt x="14091" y="30607"/>
                    </a:lnTo>
                    <a:lnTo>
                      <a:pt x="12879" y="30910"/>
                    </a:lnTo>
                    <a:lnTo>
                      <a:pt x="11364" y="30910"/>
                    </a:lnTo>
                    <a:lnTo>
                      <a:pt x="10455" y="31213"/>
                    </a:lnTo>
                    <a:lnTo>
                      <a:pt x="10455" y="32274"/>
                    </a:lnTo>
                    <a:lnTo>
                      <a:pt x="10152" y="33335"/>
                    </a:lnTo>
                    <a:lnTo>
                      <a:pt x="9091" y="33789"/>
                    </a:lnTo>
                    <a:lnTo>
                      <a:pt x="8637" y="34850"/>
                    </a:lnTo>
                    <a:lnTo>
                      <a:pt x="8788" y="36062"/>
                    </a:lnTo>
                    <a:lnTo>
                      <a:pt x="8182" y="36517"/>
                    </a:lnTo>
                    <a:lnTo>
                      <a:pt x="6819" y="36213"/>
                    </a:lnTo>
                    <a:lnTo>
                      <a:pt x="6061" y="35911"/>
                    </a:lnTo>
                    <a:lnTo>
                      <a:pt x="5303" y="37274"/>
                    </a:lnTo>
                    <a:lnTo>
                      <a:pt x="4394" y="38335"/>
                    </a:lnTo>
                    <a:lnTo>
                      <a:pt x="3788" y="38335"/>
                    </a:lnTo>
                    <a:lnTo>
                      <a:pt x="3031" y="41214"/>
                    </a:lnTo>
                    <a:lnTo>
                      <a:pt x="1515" y="44850"/>
                    </a:lnTo>
                    <a:lnTo>
                      <a:pt x="606" y="46062"/>
                    </a:lnTo>
                    <a:lnTo>
                      <a:pt x="0" y="55002"/>
                    </a:lnTo>
                    <a:lnTo>
                      <a:pt x="455" y="55760"/>
                    </a:lnTo>
                    <a:lnTo>
                      <a:pt x="758" y="55911"/>
                    </a:lnTo>
                    <a:lnTo>
                      <a:pt x="5303" y="58942"/>
                    </a:lnTo>
                    <a:lnTo>
                      <a:pt x="11212" y="62881"/>
                    </a:lnTo>
                    <a:lnTo>
                      <a:pt x="15455" y="65608"/>
                    </a:lnTo>
                    <a:lnTo>
                      <a:pt x="15758" y="66669"/>
                    </a:lnTo>
                    <a:lnTo>
                      <a:pt x="15910" y="72427"/>
                    </a:lnTo>
                    <a:lnTo>
                      <a:pt x="15910" y="77427"/>
                    </a:lnTo>
                    <a:lnTo>
                      <a:pt x="16819" y="80306"/>
                    </a:lnTo>
                    <a:lnTo>
                      <a:pt x="16970" y="83034"/>
                    </a:lnTo>
                    <a:lnTo>
                      <a:pt x="18031" y="85155"/>
                    </a:lnTo>
                    <a:lnTo>
                      <a:pt x="21971" y="89246"/>
                    </a:lnTo>
                    <a:lnTo>
                      <a:pt x="22880" y="91670"/>
                    </a:lnTo>
                    <a:lnTo>
                      <a:pt x="23031" y="99246"/>
                    </a:lnTo>
                    <a:lnTo>
                      <a:pt x="23031" y="105155"/>
                    </a:lnTo>
                    <a:lnTo>
                      <a:pt x="23486" y="113035"/>
                    </a:lnTo>
                    <a:lnTo>
                      <a:pt x="23486" y="119550"/>
                    </a:lnTo>
                    <a:lnTo>
                      <a:pt x="23486" y="127883"/>
                    </a:lnTo>
                    <a:lnTo>
                      <a:pt x="23486" y="137581"/>
                    </a:lnTo>
                    <a:lnTo>
                      <a:pt x="23486" y="147733"/>
                    </a:lnTo>
                    <a:lnTo>
                      <a:pt x="20910" y="147884"/>
                    </a:lnTo>
                    <a:lnTo>
                      <a:pt x="22425" y="151066"/>
                    </a:lnTo>
                    <a:lnTo>
                      <a:pt x="22576" y="153945"/>
                    </a:lnTo>
                    <a:lnTo>
                      <a:pt x="22880" y="154854"/>
                    </a:lnTo>
                    <a:lnTo>
                      <a:pt x="22274" y="156218"/>
                    </a:lnTo>
                    <a:lnTo>
                      <a:pt x="22880" y="158339"/>
                    </a:lnTo>
                    <a:lnTo>
                      <a:pt x="23941" y="159097"/>
                    </a:lnTo>
                    <a:lnTo>
                      <a:pt x="26819" y="163340"/>
                    </a:lnTo>
                    <a:lnTo>
                      <a:pt x="27729" y="166976"/>
                    </a:lnTo>
                    <a:lnTo>
                      <a:pt x="23183" y="168188"/>
                    </a:lnTo>
                    <a:lnTo>
                      <a:pt x="23486" y="169097"/>
                    </a:lnTo>
                    <a:lnTo>
                      <a:pt x="28789" y="167885"/>
                    </a:lnTo>
                    <a:lnTo>
                      <a:pt x="41668" y="166067"/>
                    </a:lnTo>
                    <a:lnTo>
                      <a:pt x="53184" y="165006"/>
                    </a:lnTo>
                    <a:lnTo>
                      <a:pt x="53184" y="163340"/>
                    </a:lnTo>
                    <a:lnTo>
                      <a:pt x="53941" y="158794"/>
                    </a:lnTo>
                    <a:lnTo>
                      <a:pt x="54396" y="156975"/>
                    </a:lnTo>
                    <a:lnTo>
                      <a:pt x="55002" y="155612"/>
                    </a:lnTo>
                    <a:lnTo>
                      <a:pt x="54396" y="153945"/>
                    </a:lnTo>
                    <a:lnTo>
                      <a:pt x="53790" y="151672"/>
                    </a:lnTo>
                    <a:lnTo>
                      <a:pt x="53487" y="148187"/>
                    </a:lnTo>
                    <a:lnTo>
                      <a:pt x="54245" y="147127"/>
                    </a:lnTo>
                    <a:lnTo>
                      <a:pt x="54548" y="145914"/>
                    </a:lnTo>
                    <a:lnTo>
                      <a:pt x="54396" y="143793"/>
                    </a:lnTo>
                    <a:lnTo>
                      <a:pt x="54396" y="136975"/>
                    </a:lnTo>
                    <a:lnTo>
                      <a:pt x="54699" y="136217"/>
                    </a:lnTo>
                    <a:lnTo>
                      <a:pt x="55305" y="135611"/>
                    </a:lnTo>
                    <a:lnTo>
                      <a:pt x="55305" y="134702"/>
                    </a:lnTo>
                    <a:lnTo>
                      <a:pt x="54396" y="132884"/>
                    </a:lnTo>
                    <a:lnTo>
                      <a:pt x="53487" y="130914"/>
                    </a:lnTo>
                    <a:lnTo>
                      <a:pt x="53487" y="128035"/>
                    </a:lnTo>
                    <a:lnTo>
                      <a:pt x="53184" y="125156"/>
                    </a:lnTo>
                    <a:lnTo>
                      <a:pt x="52578" y="123793"/>
                    </a:lnTo>
                    <a:lnTo>
                      <a:pt x="53032" y="119095"/>
                    </a:lnTo>
                    <a:lnTo>
                      <a:pt x="53335" y="112883"/>
                    </a:lnTo>
                    <a:lnTo>
                      <a:pt x="53032" y="110156"/>
                    </a:lnTo>
                    <a:lnTo>
                      <a:pt x="53638" y="108337"/>
                    </a:lnTo>
                    <a:lnTo>
                      <a:pt x="53941" y="103640"/>
                    </a:lnTo>
                    <a:lnTo>
                      <a:pt x="53790" y="98943"/>
                    </a:lnTo>
                    <a:lnTo>
                      <a:pt x="55002" y="91670"/>
                    </a:lnTo>
                    <a:lnTo>
                      <a:pt x="58336" y="91367"/>
                    </a:lnTo>
                    <a:lnTo>
                      <a:pt x="62426" y="90761"/>
                    </a:lnTo>
                    <a:lnTo>
                      <a:pt x="64245" y="87882"/>
                    </a:lnTo>
                    <a:lnTo>
                      <a:pt x="65154" y="84246"/>
                    </a:lnTo>
                    <a:lnTo>
                      <a:pt x="64851" y="80609"/>
                    </a:lnTo>
                    <a:lnTo>
                      <a:pt x="65609" y="79397"/>
                    </a:lnTo>
                    <a:lnTo>
                      <a:pt x="67275" y="77579"/>
                    </a:lnTo>
                    <a:lnTo>
                      <a:pt x="70154" y="74700"/>
                    </a:lnTo>
                    <a:lnTo>
                      <a:pt x="70003" y="71669"/>
                    </a:lnTo>
                    <a:lnTo>
                      <a:pt x="70912" y="70760"/>
                    </a:lnTo>
                    <a:lnTo>
                      <a:pt x="72275" y="70003"/>
                    </a:lnTo>
                    <a:lnTo>
                      <a:pt x="74245" y="69700"/>
                    </a:lnTo>
                    <a:lnTo>
                      <a:pt x="76367" y="68184"/>
                    </a:lnTo>
                    <a:lnTo>
                      <a:pt x="77579" y="65457"/>
                    </a:lnTo>
                    <a:lnTo>
                      <a:pt x="78791" y="61214"/>
                    </a:lnTo>
                    <a:lnTo>
                      <a:pt x="76973" y="58184"/>
                    </a:lnTo>
                    <a:lnTo>
                      <a:pt x="76973" y="57578"/>
                    </a:lnTo>
                    <a:lnTo>
                      <a:pt x="77730" y="55911"/>
                    </a:lnTo>
                    <a:lnTo>
                      <a:pt x="78791" y="54396"/>
                    </a:lnTo>
                    <a:lnTo>
                      <a:pt x="79700" y="53790"/>
                    </a:lnTo>
                    <a:lnTo>
                      <a:pt x="81973" y="54244"/>
                    </a:lnTo>
                    <a:lnTo>
                      <a:pt x="82276" y="54093"/>
                    </a:lnTo>
                    <a:lnTo>
                      <a:pt x="82579" y="53638"/>
                    </a:lnTo>
                    <a:lnTo>
                      <a:pt x="83943" y="4894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4" name="Freeform: Shape 3333">
                <a:extLst>
                  <a:ext uri="{FF2B5EF4-FFF2-40B4-BE49-F238E27FC236}">
                    <a16:creationId xmlns:a16="http://schemas.microsoft.com/office/drawing/2014/main" id="{592F509D-3A93-4BD6-AE29-9490845AA97B}"/>
                  </a:ext>
                </a:extLst>
              </p:cNvPr>
              <p:cNvSpPr/>
              <p:nvPr/>
            </p:nvSpPr>
            <p:spPr>
              <a:xfrm>
                <a:off x="6571017" y="4624874"/>
                <a:ext cx="49244" cy="58335"/>
              </a:xfrm>
              <a:custGeom>
                <a:avLst/>
                <a:gdLst>
                  <a:gd name="connsiteX0" fmla="*/ 49244 w 49244"/>
                  <a:gd name="connsiteY0" fmla="*/ 21971 h 58335"/>
                  <a:gd name="connsiteX1" fmla="*/ 48638 w 49244"/>
                  <a:gd name="connsiteY1" fmla="*/ 20607 h 58335"/>
                  <a:gd name="connsiteX2" fmla="*/ 48790 w 49244"/>
                  <a:gd name="connsiteY2" fmla="*/ 19243 h 58335"/>
                  <a:gd name="connsiteX3" fmla="*/ 48335 w 49244"/>
                  <a:gd name="connsiteY3" fmla="*/ 18334 h 58335"/>
                  <a:gd name="connsiteX4" fmla="*/ 46365 w 49244"/>
                  <a:gd name="connsiteY4" fmla="*/ 18183 h 58335"/>
                  <a:gd name="connsiteX5" fmla="*/ 43486 w 49244"/>
                  <a:gd name="connsiteY5" fmla="*/ 16970 h 58335"/>
                  <a:gd name="connsiteX6" fmla="*/ 41062 w 49244"/>
                  <a:gd name="connsiteY6" fmla="*/ 16516 h 58335"/>
                  <a:gd name="connsiteX7" fmla="*/ 39395 w 49244"/>
                  <a:gd name="connsiteY7" fmla="*/ 15910 h 58335"/>
                  <a:gd name="connsiteX8" fmla="*/ 38789 w 49244"/>
                  <a:gd name="connsiteY8" fmla="*/ 15304 h 58335"/>
                  <a:gd name="connsiteX9" fmla="*/ 38638 w 49244"/>
                  <a:gd name="connsiteY9" fmla="*/ 13940 h 58335"/>
                  <a:gd name="connsiteX10" fmla="*/ 39092 w 49244"/>
                  <a:gd name="connsiteY10" fmla="*/ 12425 h 58335"/>
                  <a:gd name="connsiteX11" fmla="*/ 39395 w 49244"/>
                  <a:gd name="connsiteY11" fmla="*/ 11970 h 58335"/>
                  <a:gd name="connsiteX12" fmla="*/ 40001 w 49244"/>
                  <a:gd name="connsiteY12" fmla="*/ 10455 h 58335"/>
                  <a:gd name="connsiteX13" fmla="*/ 38941 w 49244"/>
                  <a:gd name="connsiteY13" fmla="*/ 9546 h 58335"/>
                  <a:gd name="connsiteX14" fmla="*/ 38638 w 49244"/>
                  <a:gd name="connsiteY14" fmla="*/ 8940 h 58335"/>
                  <a:gd name="connsiteX15" fmla="*/ 39092 w 49244"/>
                  <a:gd name="connsiteY15" fmla="*/ 8182 h 58335"/>
                  <a:gd name="connsiteX16" fmla="*/ 41668 w 49244"/>
                  <a:gd name="connsiteY16" fmla="*/ 3182 h 58335"/>
                  <a:gd name="connsiteX17" fmla="*/ 42123 w 49244"/>
                  <a:gd name="connsiteY17" fmla="*/ 2424 h 58335"/>
                  <a:gd name="connsiteX18" fmla="*/ 41517 w 49244"/>
                  <a:gd name="connsiteY18" fmla="*/ 2273 h 58335"/>
                  <a:gd name="connsiteX19" fmla="*/ 40153 w 49244"/>
                  <a:gd name="connsiteY19" fmla="*/ 1818 h 58335"/>
                  <a:gd name="connsiteX20" fmla="*/ 38183 w 49244"/>
                  <a:gd name="connsiteY20" fmla="*/ 0 h 58335"/>
                  <a:gd name="connsiteX21" fmla="*/ 34395 w 49244"/>
                  <a:gd name="connsiteY21" fmla="*/ 1061 h 58335"/>
                  <a:gd name="connsiteX22" fmla="*/ 33334 w 49244"/>
                  <a:gd name="connsiteY22" fmla="*/ 1061 h 58335"/>
                  <a:gd name="connsiteX23" fmla="*/ 31971 w 49244"/>
                  <a:gd name="connsiteY23" fmla="*/ 1818 h 58335"/>
                  <a:gd name="connsiteX24" fmla="*/ 30910 w 49244"/>
                  <a:gd name="connsiteY24" fmla="*/ 2879 h 58335"/>
                  <a:gd name="connsiteX25" fmla="*/ 30152 w 49244"/>
                  <a:gd name="connsiteY25" fmla="*/ 2879 h 58335"/>
                  <a:gd name="connsiteX26" fmla="*/ 29546 w 49244"/>
                  <a:gd name="connsiteY26" fmla="*/ 2727 h 58335"/>
                  <a:gd name="connsiteX27" fmla="*/ 26213 w 49244"/>
                  <a:gd name="connsiteY27" fmla="*/ 758 h 58335"/>
                  <a:gd name="connsiteX28" fmla="*/ 25153 w 49244"/>
                  <a:gd name="connsiteY28" fmla="*/ 758 h 58335"/>
                  <a:gd name="connsiteX29" fmla="*/ 24546 w 49244"/>
                  <a:gd name="connsiteY29" fmla="*/ 6516 h 58335"/>
                  <a:gd name="connsiteX30" fmla="*/ 24092 w 49244"/>
                  <a:gd name="connsiteY30" fmla="*/ 9697 h 58335"/>
                  <a:gd name="connsiteX31" fmla="*/ 23334 w 49244"/>
                  <a:gd name="connsiteY31" fmla="*/ 11061 h 58335"/>
                  <a:gd name="connsiteX32" fmla="*/ 21061 w 49244"/>
                  <a:gd name="connsiteY32" fmla="*/ 12425 h 58335"/>
                  <a:gd name="connsiteX33" fmla="*/ 18788 w 49244"/>
                  <a:gd name="connsiteY33" fmla="*/ 13182 h 58335"/>
                  <a:gd name="connsiteX34" fmla="*/ 17425 w 49244"/>
                  <a:gd name="connsiteY34" fmla="*/ 13182 h 58335"/>
                  <a:gd name="connsiteX35" fmla="*/ 12273 w 49244"/>
                  <a:gd name="connsiteY35" fmla="*/ 13485 h 58335"/>
                  <a:gd name="connsiteX36" fmla="*/ 10303 w 49244"/>
                  <a:gd name="connsiteY36" fmla="*/ 13485 h 58335"/>
                  <a:gd name="connsiteX37" fmla="*/ 9243 w 49244"/>
                  <a:gd name="connsiteY37" fmla="*/ 13031 h 58335"/>
                  <a:gd name="connsiteX38" fmla="*/ 7727 w 49244"/>
                  <a:gd name="connsiteY38" fmla="*/ 9849 h 58335"/>
                  <a:gd name="connsiteX39" fmla="*/ 5000 w 49244"/>
                  <a:gd name="connsiteY39" fmla="*/ 8485 h 58335"/>
                  <a:gd name="connsiteX40" fmla="*/ 2424 w 49244"/>
                  <a:gd name="connsiteY40" fmla="*/ 7728 h 58335"/>
                  <a:gd name="connsiteX41" fmla="*/ 1364 w 49244"/>
                  <a:gd name="connsiteY41" fmla="*/ 7879 h 58335"/>
                  <a:gd name="connsiteX42" fmla="*/ 455 w 49244"/>
                  <a:gd name="connsiteY42" fmla="*/ 9697 h 58335"/>
                  <a:gd name="connsiteX43" fmla="*/ 0 w 49244"/>
                  <a:gd name="connsiteY43" fmla="*/ 11213 h 58335"/>
                  <a:gd name="connsiteX44" fmla="*/ 0 w 49244"/>
                  <a:gd name="connsiteY44" fmla="*/ 12122 h 58335"/>
                  <a:gd name="connsiteX45" fmla="*/ 151 w 49244"/>
                  <a:gd name="connsiteY45" fmla="*/ 13334 h 58335"/>
                  <a:gd name="connsiteX46" fmla="*/ 1364 w 49244"/>
                  <a:gd name="connsiteY46" fmla="*/ 14698 h 58335"/>
                  <a:gd name="connsiteX47" fmla="*/ 3788 w 49244"/>
                  <a:gd name="connsiteY47" fmla="*/ 17576 h 58335"/>
                  <a:gd name="connsiteX48" fmla="*/ 5758 w 49244"/>
                  <a:gd name="connsiteY48" fmla="*/ 20152 h 58335"/>
                  <a:gd name="connsiteX49" fmla="*/ 5758 w 49244"/>
                  <a:gd name="connsiteY49" fmla="*/ 22577 h 58335"/>
                  <a:gd name="connsiteX50" fmla="*/ 5455 w 49244"/>
                  <a:gd name="connsiteY50" fmla="*/ 26365 h 58335"/>
                  <a:gd name="connsiteX51" fmla="*/ 5455 w 49244"/>
                  <a:gd name="connsiteY51" fmla="*/ 28031 h 58335"/>
                  <a:gd name="connsiteX52" fmla="*/ 7727 w 49244"/>
                  <a:gd name="connsiteY52" fmla="*/ 28486 h 58335"/>
                  <a:gd name="connsiteX53" fmla="*/ 8788 w 49244"/>
                  <a:gd name="connsiteY53" fmla="*/ 29395 h 58335"/>
                  <a:gd name="connsiteX54" fmla="*/ 8637 w 49244"/>
                  <a:gd name="connsiteY54" fmla="*/ 31365 h 58335"/>
                  <a:gd name="connsiteX55" fmla="*/ 8788 w 49244"/>
                  <a:gd name="connsiteY55" fmla="*/ 36820 h 58335"/>
                  <a:gd name="connsiteX56" fmla="*/ 9091 w 49244"/>
                  <a:gd name="connsiteY56" fmla="*/ 40305 h 58335"/>
                  <a:gd name="connsiteX57" fmla="*/ 9546 w 49244"/>
                  <a:gd name="connsiteY57" fmla="*/ 42123 h 58335"/>
                  <a:gd name="connsiteX58" fmla="*/ 11515 w 49244"/>
                  <a:gd name="connsiteY58" fmla="*/ 45305 h 58335"/>
                  <a:gd name="connsiteX59" fmla="*/ 11515 w 49244"/>
                  <a:gd name="connsiteY59" fmla="*/ 46062 h 58335"/>
                  <a:gd name="connsiteX60" fmla="*/ 13940 w 49244"/>
                  <a:gd name="connsiteY60" fmla="*/ 51517 h 58335"/>
                  <a:gd name="connsiteX61" fmla="*/ 15455 w 49244"/>
                  <a:gd name="connsiteY61" fmla="*/ 54093 h 58335"/>
                  <a:gd name="connsiteX62" fmla="*/ 16819 w 49244"/>
                  <a:gd name="connsiteY62" fmla="*/ 55911 h 58335"/>
                  <a:gd name="connsiteX63" fmla="*/ 17425 w 49244"/>
                  <a:gd name="connsiteY63" fmla="*/ 57426 h 58335"/>
                  <a:gd name="connsiteX64" fmla="*/ 17273 w 49244"/>
                  <a:gd name="connsiteY64" fmla="*/ 58336 h 58335"/>
                  <a:gd name="connsiteX65" fmla="*/ 19243 w 49244"/>
                  <a:gd name="connsiteY65" fmla="*/ 58336 h 58335"/>
                  <a:gd name="connsiteX66" fmla="*/ 20758 w 49244"/>
                  <a:gd name="connsiteY66" fmla="*/ 57275 h 58335"/>
                  <a:gd name="connsiteX67" fmla="*/ 25607 w 49244"/>
                  <a:gd name="connsiteY67" fmla="*/ 54396 h 58335"/>
                  <a:gd name="connsiteX68" fmla="*/ 31062 w 49244"/>
                  <a:gd name="connsiteY68" fmla="*/ 48335 h 58335"/>
                  <a:gd name="connsiteX69" fmla="*/ 32122 w 49244"/>
                  <a:gd name="connsiteY69" fmla="*/ 45759 h 58335"/>
                  <a:gd name="connsiteX70" fmla="*/ 34395 w 49244"/>
                  <a:gd name="connsiteY70" fmla="*/ 41971 h 58335"/>
                  <a:gd name="connsiteX71" fmla="*/ 36517 w 49244"/>
                  <a:gd name="connsiteY71" fmla="*/ 40001 h 58335"/>
                  <a:gd name="connsiteX72" fmla="*/ 37426 w 49244"/>
                  <a:gd name="connsiteY72" fmla="*/ 38638 h 58335"/>
                  <a:gd name="connsiteX73" fmla="*/ 37880 w 49244"/>
                  <a:gd name="connsiteY73" fmla="*/ 36517 h 58335"/>
                  <a:gd name="connsiteX74" fmla="*/ 38638 w 49244"/>
                  <a:gd name="connsiteY74" fmla="*/ 34850 h 58335"/>
                  <a:gd name="connsiteX75" fmla="*/ 41517 w 49244"/>
                  <a:gd name="connsiteY75" fmla="*/ 32123 h 58335"/>
                  <a:gd name="connsiteX76" fmla="*/ 44244 w 49244"/>
                  <a:gd name="connsiteY76" fmla="*/ 30153 h 58335"/>
                  <a:gd name="connsiteX77" fmla="*/ 44093 w 49244"/>
                  <a:gd name="connsiteY77" fmla="*/ 29395 h 58335"/>
                  <a:gd name="connsiteX78" fmla="*/ 43638 w 49244"/>
                  <a:gd name="connsiteY78" fmla="*/ 28789 h 58335"/>
                  <a:gd name="connsiteX79" fmla="*/ 44093 w 49244"/>
                  <a:gd name="connsiteY79" fmla="*/ 28183 h 58335"/>
                  <a:gd name="connsiteX80" fmla="*/ 45607 w 49244"/>
                  <a:gd name="connsiteY80" fmla="*/ 27122 h 58335"/>
                  <a:gd name="connsiteX81" fmla="*/ 48638 w 49244"/>
                  <a:gd name="connsiteY81" fmla="*/ 26213 h 58335"/>
                  <a:gd name="connsiteX82" fmla="*/ 49244 w 49244"/>
                  <a:gd name="connsiteY82" fmla="*/ 24243 h 5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9244" h="58335">
                    <a:moveTo>
                      <a:pt x="49244" y="21971"/>
                    </a:moveTo>
                    <a:lnTo>
                      <a:pt x="48638" y="20607"/>
                    </a:lnTo>
                    <a:lnTo>
                      <a:pt x="48790" y="19243"/>
                    </a:lnTo>
                    <a:lnTo>
                      <a:pt x="48335" y="18334"/>
                    </a:lnTo>
                    <a:lnTo>
                      <a:pt x="46365" y="18183"/>
                    </a:lnTo>
                    <a:lnTo>
                      <a:pt x="43486" y="16970"/>
                    </a:lnTo>
                    <a:lnTo>
                      <a:pt x="41062" y="16516"/>
                    </a:lnTo>
                    <a:lnTo>
                      <a:pt x="39395" y="15910"/>
                    </a:lnTo>
                    <a:lnTo>
                      <a:pt x="38789" y="15304"/>
                    </a:lnTo>
                    <a:lnTo>
                      <a:pt x="38638" y="13940"/>
                    </a:lnTo>
                    <a:lnTo>
                      <a:pt x="39092" y="12425"/>
                    </a:lnTo>
                    <a:lnTo>
                      <a:pt x="39395" y="11970"/>
                    </a:lnTo>
                    <a:lnTo>
                      <a:pt x="40001" y="10455"/>
                    </a:lnTo>
                    <a:lnTo>
                      <a:pt x="38941" y="9546"/>
                    </a:lnTo>
                    <a:lnTo>
                      <a:pt x="38638" y="8940"/>
                    </a:lnTo>
                    <a:lnTo>
                      <a:pt x="39092" y="8182"/>
                    </a:lnTo>
                    <a:lnTo>
                      <a:pt x="41668" y="3182"/>
                    </a:lnTo>
                    <a:lnTo>
                      <a:pt x="42123" y="2424"/>
                    </a:lnTo>
                    <a:lnTo>
                      <a:pt x="41517" y="2273"/>
                    </a:lnTo>
                    <a:lnTo>
                      <a:pt x="40153" y="1818"/>
                    </a:lnTo>
                    <a:lnTo>
                      <a:pt x="38183" y="0"/>
                    </a:lnTo>
                    <a:lnTo>
                      <a:pt x="34395" y="1061"/>
                    </a:lnTo>
                    <a:lnTo>
                      <a:pt x="33334" y="1061"/>
                    </a:lnTo>
                    <a:lnTo>
                      <a:pt x="31971" y="1818"/>
                    </a:lnTo>
                    <a:lnTo>
                      <a:pt x="30910" y="2879"/>
                    </a:lnTo>
                    <a:lnTo>
                      <a:pt x="30152" y="2879"/>
                    </a:lnTo>
                    <a:lnTo>
                      <a:pt x="29546" y="2727"/>
                    </a:lnTo>
                    <a:lnTo>
                      <a:pt x="26213" y="758"/>
                    </a:lnTo>
                    <a:lnTo>
                      <a:pt x="25153" y="758"/>
                    </a:lnTo>
                    <a:lnTo>
                      <a:pt x="24546" y="6516"/>
                    </a:lnTo>
                    <a:lnTo>
                      <a:pt x="24092" y="9697"/>
                    </a:lnTo>
                    <a:lnTo>
                      <a:pt x="23334" y="11061"/>
                    </a:lnTo>
                    <a:lnTo>
                      <a:pt x="21061" y="12425"/>
                    </a:lnTo>
                    <a:lnTo>
                      <a:pt x="18788" y="13182"/>
                    </a:lnTo>
                    <a:lnTo>
                      <a:pt x="17425" y="13182"/>
                    </a:lnTo>
                    <a:lnTo>
                      <a:pt x="12273" y="13485"/>
                    </a:lnTo>
                    <a:lnTo>
                      <a:pt x="10303" y="13485"/>
                    </a:lnTo>
                    <a:lnTo>
                      <a:pt x="9243" y="13031"/>
                    </a:lnTo>
                    <a:lnTo>
                      <a:pt x="7727" y="9849"/>
                    </a:lnTo>
                    <a:lnTo>
                      <a:pt x="5000" y="8485"/>
                    </a:lnTo>
                    <a:lnTo>
                      <a:pt x="2424" y="7728"/>
                    </a:lnTo>
                    <a:lnTo>
                      <a:pt x="1364" y="7879"/>
                    </a:lnTo>
                    <a:lnTo>
                      <a:pt x="455" y="9697"/>
                    </a:lnTo>
                    <a:lnTo>
                      <a:pt x="0" y="11213"/>
                    </a:lnTo>
                    <a:lnTo>
                      <a:pt x="0" y="12122"/>
                    </a:lnTo>
                    <a:lnTo>
                      <a:pt x="151" y="13334"/>
                    </a:lnTo>
                    <a:lnTo>
                      <a:pt x="1364" y="14698"/>
                    </a:lnTo>
                    <a:lnTo>
                      <a:pt x="3788" y="17576"/>
                    </a:lnTo>
                    <a:lnTo>
                      <a:pt x="5758" y="20152"/>
                    </a:lnTo>
                    <a:lnTo>
                      <a:pt x="5758" y="22577"/>
                    </a:lnTo>
                    <a:lnTo>
                      <a:pt x="5455" y="26365"/>
                    </a:lnTo>
                    <a:lnTo>
                      <a:pt x="5455" y="28031"/>
                    </a:lnTo>
                    <a:lnTo>
                      <a:pt x="7727" y="28486"/>
                    </a:lnTo>
                    <a:lnTo>
                      <a:pt x="8788" y="29395"/>
                    </a:lnTo>
                    <a:lnTo>
                      <a:pt x="8637" y="31365"/>
                    </a:lnTo>
                    <a:lnTo>
                      <a:pt x="8788" y="36820"/>
                    </a:lnTo>
                    <a:lnTo>
                      <a:pt x="9091" y="40305"/>
                    </a:lnTo>
                    <a:lnTo>
                      <a:pt x="9546" y="42123"/>
                    </a:lnTo>
                    <a:lnTo>
                      <a:pt x="11515" y="45305"/>
                    </a:lnTo>
                    <a:lnTo>
                      <a:pt x="11515" y="46062"/>
                    </a:lnTo>
                    <a:lnTo>
                      <a:pt x="13940" y="51517"/>
                    </a:lnTo>
                    <a:lnTo>
                      <a:pt x="15455" y="54093"/>
                    </a:lnTo>
                    <a:lnTo>
                      <a:pt x="16819" y="55911"/>
                    </a:lnTo>
                    <a:lnTo>
                      <a:pt x="17425" y="57426"/>
                    </a:lnTo>
                    <a:lnTo>
                      <a:pt x="17273" y="58336"/>
                    </a:lnTo>
                    <a:lnTo>
                      <a:pt x="19243" y="58336"/>
                    </a:lnTo>
                    <a:lnTo>
                      <a:pt x="20758" y="57275"/>
                    </a:lnTo>
                    <a:lnTo>
                      <a:pt x="25607" y="54396"/>
                    </a:lnTo>
                    <a:lnTo>
                      <a:pt x="31062" y="48335"/>
                    </a:lnTo>
                    <a:lnTo>
                      <a:pt x="32122" y="45759"/>
                    </a:lnTo>
                    <a:lnTo>
                      <a:pt x="34395" y="41971"/>
                    </a:lnTo>
                    <a:lnTo>
                      <a:pt x="36517" y="40001"/>
                    </a:lnTo>
                    <a:lnTo>
                      <a:pt x="37426" y="38638"/>
                    </a:lnTo>
                    <a:lnTo>
                      <a:pt x="37880" y="36517"/>
                    </a:lnTo>
                    <a:lnTo>
                      <a:pt x="38638" y="34850"/>
                    </a:lnTo>
                    <a:lnTo>
                      <a:pt x="41517" y="32123"/>
                    </a:lnTo>
                    <a:lnTo>
                      <a:pt x="44244" y="30153"/>
                    </a:lnTo>
                    <a:lnTo>
                      <a:pt x="44093" y="29395"/>
                    </a:lnTo>
                    <a:lnTo>
                      <a:pt x="43638" y="28789"/>
                    </a:lnTo>
                    <a:lnTo>
                      <a:pt x="44093" y="28183"/>
                    </a:lnTo>
                    <a:lnTo>
                      <a:pt x="45607" y="27122"/>
                    </a:lnTo>
                    <a:lnTo>
                      <a:pt x="48638" y="26213"/>
                    </a:lnTo>
                    <a:lnTo>
                      <a:pt x="49244" y="2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5" name="Freeform: Shape 3334">
                <a:extLst>
                  <a:ext uri="{FF2B5EF4-FFF2-40B4-BE49-F238E27FC236}">
                    <a16:creationId xmlns:a16="http://schemas.microsoft.com/office/drawing/2014/main" id="{6941DB7A-B353-4A38-91E8-E702D4785C2F}"/>
                  </a:ext>
                </a:extLst>
              </p:cNvPr>
              <p:cNvSpPr/>
              <p:nvPr/>
            </p:nvSpPr>
            <p:spPr>
              <a:xfrm>
                <a:off x="7157554" y="3831815"/>
                <a:ext cx="4545" cy="12727"/>
              </a:xfrm>
              <a:custGeom>
                <a:avLst/>
                <a:gdLst>
                  <a:gd name="connsiteX0" fmla="*/ 4394 w 4545"/>
                  <a:gd name="connsiteY0" fmla="*/ 3485 h 12727"/>
                  <a:gd name="connsiteX1" fmla="*/ 2879 w 4545"/>
                  <a:gd name="connsiteY1" fmla="*/ 1364 h 12727"/>
                  <a:gd name="connsiteX2" fmla="*/ 3636 w 4545"/>
                  <a:gd name="connsiteY2" fmla="*/ 151 h 12727"/>
                  <a:gd name="connsiteX3" fmla="*/ 3031 w 4545"/>
                  <a:gd name="connsiteY3" fmla="*/ 0 h 12727"/>
                  <a:gd name="connsiteX4" fmla="*/ 606 w 4545"/>
                  <a:gd name="connsiteY4" fmla="*/ 455 h 12727"/>
                  <a:gd name="connsiteX5" fmla="*/ 0 w 4545"/>
                  <a:gd name="connsiteY5" fmla="*/ 1515 h 12727"/>
                  <a:gd name="connsiteX6" fmla="*/ 1061 w 4545"/>
                  <a:gd name="connsiteY6" fmla="*/ 5455 h 12727"/>
                  <a:gd name="connsiteX7" fmla="*/ 455 w 4545"/>
                  <a:gd name="connsiteY7" fmla="*/ 8182 h 12727"/>
                  <a:gd name="connsiteX8" fmla="*/ 2576 w 4545"/>
                  <a:gd name="connsiteY8" fmla="*/ 11970 h 12727"/>
                  <a:gd name="connsiteX9" fmla="*/ 3333 w 4545"/>
                  <a:gd name="connsiteY9" fmla="*/ 12728 h 12727"/>
                  <a:gd name="connsiteX10" fmla="*/ 4243 w 4545"/>
                  <a:gd name="connsiteY10" fmla="*/ 10606 h 12727"/>
                  <a:gd name="connsiteX11" fmla="*/ 4545 w 4545"/>
                  <a:gd name="connsiteY11" fmla="*/ 7121 h 1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5" h="12727">
                    <a:moveTo>
                      <a:pt x="4394" y="3485"/>
                    </a:moveTo>
                    <a:lnTo>
                      <a:pt x="2879" y="1364"/>
                    </a:lnTo>
                    <a:lnTo>
                      <a:pt x="3636" y="151"/>
                    </a:lnTo>
                    <a:lnTo>
                      <a:pt x="3031" y="0"/>
                    </a:lnTo>
                    <a:lnTo>
                      <a:pt x="606" y="455"/>
                    </a:lnTo>
                    <a:lnTo>
                      <a:pt x="0" y="1515"/>
                    </a:lnTo>
                    <a:lnTo>
                      <a:pt x="1061" y="5455"/>
                    </a:lnTo>
                    <a:lnTo>
                      <a:pt x="455" y="8182"/>
                    </a:lnTo>
                    <a:lnTo>
                      <a:pt x="2576" y="11970"/>
                    </a:lnTo>
                    <a:lnTo>
                      <a:pt x="3333" y="12728"/>
                    </a:lnTo>
                    <a:lnTo>
                      <a:pt x="4243" y="10606"/>
                    </a:lnTo>
                    <a:lnTo>
                      <a:pt x="4545" y="7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6" name="Freeform: Shape 3335">
                <a:extLst>
                  <a:ext uri="{FF2B5EF4-FFF2-40B4-BE49-F238E27FC236}">
                    <a16:creationId xmlns:a16="http://schemas.microsoft.com/office/drawing/2014/main" id="{3093A321-4CFC-4614-98C4-84F74F01487E}"/>
                  </a:ext>
                </a:extLst>
              </p:cNvPr>
              <p:cNvSpPr/>
              <p:nvPr/>
            </p:nvSpPr>
            <p:spPr>
              <a:xfrm>
                <a:off x="6388586" y="3272855"/>
                <a:ext cx="170763" cy="98942"/>
              </a:xfrm>
              <a:custGeom>
                <a:avLst/>
                <a:gdLst>
                  <a:gd name="connsiteX0" fmla="*/ 166218 w 170763"/>
                  <a:gd name="connsiteY0" fmla="*/ 16667 h 98942"/>
                  <a:gd name="connsiteX1" fmla="*/ 165006 w 170763"/>
                  <a:gd name="connsiteY1" fmla="*/ 16516 h 98942"/>
                  <a:gd name="connsiteX2" fmla="*/ 160764 w 170763"/>
                  <a:gd name="connsiteY2" fmla="*/ 15607 h 98942"/>
                  <a:gd name="connsiteX3" fmla="*/ 156066 w 170763"/>
                  <a:gd name="connsiteY3" fmla="*/ 13940 h 98942"/>
                  <a:gd name="connsiteX4" fmla="*/ 153339 w 170763"/>
                  <a:gd name="connsiteY4" fmla="*/ 10758 h 98942"/>
                  <a:gd name="connsiteX5" fmla="*/ 151521 w 170763"/>
                  <a:gd name="connsiteY5" fmla="*/ 8485 h 98942"/>
                  <a:gd name="connsiteX6" fmla="*/ 147581 w 170763"/>
                  <a:gd name="connsiteY6" fmla="*/ 9546 h 98942"/>
                  <a:gd name="connsiteX7" fmla="*/ 146824 w 170763"/>
                  <a:gd name="connsiteY7" fmla="*/ 9243 h 98942"/>
                  <a:gd name="connsiteX8" fmla="*/ 145763 w 170763"/>
                  <a:gd name="connsiteY8" fmla="*/ 8031 h 98942"/>
                  <a:gd name="connsiteX9" fmla="*/ 142733 w 170763"/>
                  <a:gd name="connsiteY9" fmla="*/ 7273 h 98942"/>
                  <a:gd name="connsiteX10" fmla="*/ 138945 w 170763"/>
                  <a:gd name="connsiteY10" fmla="*/ 7273 h 98942"/>
                  <a:gd name="connsiteX11" fmla="*/ 130611 w 170763"/>
                  <a:gd name="connsiteY11" fmla="*/ 3182 h 98942"/>
                  <a:gd name="connsiteX12" fmla="*/ 129702 w 170763"/>
                  <a:gd name="connsiteY12" fmla="*/ 2424 h 98942"/>
                  <a:gd name="connsiteX13" fmla="*/ 123186 w 170763"/>
                  <a:gd name="connsiteY13" fmla="*/ 3182 h 98942"/>
                  <a:gd name="connsiteX14" fmla="*/ 113338 w 170763"/>
                  <a:gd name="connsiteY14" fmla="*/ 5152 h 98942"/>
                  <a:gd name="connsiteX15" fmla="*/ 105913 w 170763"/>
                  <a:gd name="connsiteY15" fmla="*/ 7728 h 98942"/>
                  <a:gd name="connsiteX16" fmla="*/ 98186 w 170763"/>
                  <a:gd name="connsiteY16" fmla="*/ 12273 h 98942"/>
                  <a:gd name="connsiteX17" fmla="*/ 95003 w 170763"/>
                  <a:gd name="connsiteY17" fmla="*/ 15758 h 98942"/>
                  <a:gd name="connsiteX18" fmla="*/ 91367 w 170763"/>
                  <a:gd name="connsiteY18" fmla="*/ 17576 h 98942"/>
                  <a:gd name="connsiteX19" fmla="*/ 86215 w 170763"/>
                  <a:gd name="connsiteY19" fmla="*/ 18940 h 98942"/>
                  <a:gd name="connsiteX20" fmla="*/ 76973 w 170763"/>
                  <a:gd name="connsiteY20" fmla="*/ 18486 h 98942"/>
                  <a:gd name="connsiteX21" fmla="*/ 67427 w 170763"/>
                  <a:gd name="connsiteY21" fmla="*/ 16667 h 98942"/>
                  <a:gd name="connsiteX22" fmla="*/ 56972 w 170763"/>
                  <a:gd name="connsiteY22" fmla="*/ 14849 h 98942"/>
                  <a:gd name="connsiteX23" fmla="*/ 51517 w 170763"/>
                  <a:gd name="connsiteY23" fmla="*/ 15910 h 98942"/>
                  <a:gd name="connsiteX24" fmla="*/ 43941 w 170763"/>
                  <a:gd name="connsiteY24" fmla="*/ 15152 h 98942"/>
                  <a:gd name="connsiteX25" fmla="*/ 32577 w 170763"/>
                  <a:gd name="connsiteY25" fmla="*/ 12879 h 98942"/>
                  <a:gd name="connsiteX26" fmla="*/ 24092 w 170763"/>
                  <a:gd name="connsiteY26" fmla="*/ 12273 h 98942"/>
                  <a:gd name="connsiteX27" fmla="*/ 15758 w 170763"/>
                  <a:gd name="connsiteY27" fmla="*/ 13485 h 98942"/>
                  <a:gd name="connsiteX28" fmla="*/ 14243 w 170763"/>
                  <a:gd name="connsiteY28" fmla="*/ 12576 h 98942"/>
                  <a:gd name="connsiteX29" fmla="*/ 13940 w 170763"/>
                  <a:gd name="connsiteY29" fmla="*/ 11364 h 98942"/>
                  <a:gd name="connsiteX30" fmla="*/ 14243 w 170763"/>
                  <a:gd name="connsiteY30" fmla="*/ 9697 h 98942"/>
                  <a:gd name="connsiteX31" fmla="*/ 15455 w 170763"/>
                  <a:gd name="connsiteY31" fmla="*/ 8485 h 98942"/>
                  <a:gd name="connsiteX32" fmla="*/ 17425 w 170763"/>
                  <a:gd name="connsiteY32" fmla="*/ 7424 h 98942"/>
                  <a:gd name="connsiteX33" fmla="*/ 18637 w 170763"/>
                  <a:gd name="connsiteY33" fmla="*/ 6364 h 98942"/>
                  <a:gd name="connsiteX34" fmla="*/ 18637 w 170763"/>
                  <a:gd name="connsiteY34" fmla="*/ 5455 h 98942"/>
                  <a:gd name="connsiteX35" fmla="*/ 16365 w 170763"/>
                  <a:gd name="connsiteY35" fmla="*/ 3788 h 98942"/>
                  <a:gd name="connsiteX36" fmla="*/ 11819 w 170763"/>
                  <a:gd name="connsiteY36" fmla="*/ 1515 h 98942"/>
                  <a:gd name="connsiteX37" fmla="*/ 9849 w 170763"/>
                  <a:gd name="connsiteY37" fmla="*/ 0 h 98942"/>
                  <a:gd name="connsiteX38" fmla="*/ 8788 w 170763"/>
                  <a:gd name="connsiteY38" fmla="*/ 606 h 98942"/>
                  <a:gd name="connsiteX39" fmla="*/ 7728 w 170763"/>
                  <a:gd name="connsiteY39" fmla="*/ 1515 h 98942"/>
                  <a:gd name="connsiteX40" fmla="*/ 7121 w 170763"/>
                  <a:gd name="connsiteY40" fmla="*/ 3030 h 98942"/>
                  <a:gd name="connsiteX41" fmla="*/ 6819 w 170763"/>
                  <a:gd name="connsiteY41" fmla="*/ 5455 h 98942"/>
                  <a:gd name="connsiteX42" fmla="*/ 3333 w 170763"/>
                  <a:gd name="connsiteY42" fmla="*/ 7424 h 98942"/>
                  <a:gd name="connsiteX43" fmla="*/ 2122 w 170763"/>
                  <a:gd name="connsiteY43" fmla="*/ 7728 h 98942"/>
                  <a:gd name="connsiteX44" fmla="*/ 1515 w 170763"/>
                  <a:gd name="connsiteY44" fmla="*/ 9091 h 98942"/>
                  <a:gd name="connsiteX45" fmla="*/ 606 w 170763"/>
                  <a:gd name="connsiteY45" fmla="*/ 12576 h 98942"/>
                  <a:gd name="connsiteX46" fmla="*/ 606 w 170763"/>
                  <a:gd name="connsiteY46" fmla="*/ 15304 h 98942"/>
                  <a:gd name="connsiteX47" fmla="*/ 1061 w 170763"/>
                  <a:gd name="connsiteY47" fmla="*/ 16667 h 98942"/>
                  <a:gd name="connsiteX48" fmla="*/ 1364 w 170763"/>
                  <a:gd name="connsiteY48" fmla="*/ 17728 h 98942"/>
                  <a:gd name="connsiteX49" fmla="*/ 2424 w 170763"/>
                  <a:gd name="connsiteY49" fmla="*/ 19243 h 98942"/>
                  <a:gd name="connsiteX50" fmla="*/ 3485 w 170763"/>
                  <a:gd name="connsiteY50" fmla="*/ 21213 h 98942"/>
                  <a:gd name="connsiteX51" fmla="*/ 4243 w 170763"/>
                  <a:gd name="connsiteY51" fmla="*/ 24092 h 98942"/>
                  <a:gd name="connsiteX52" fmla="*/ 5758 w 170763"/>
                  <a:gd name="connsiteY52" fmla="*/ 26213 h 98942"/>
                  <a:gd name="connsiteX53" fmla="*/ 9546 w 170763"/>
                  <a:gd name="connsiteY53" fmla="*/ 28334 h 98942"/>
                  <a:gd name="connsiteX54" fmla="*/ 11516 w 170763"/>
                  <a:gd name="connsiteY54" fmla="*/ 29547 h 98942"/>
                  <a:gd name="connsiteX55" fmla="*/ 13031 w 170763"/>
                  <a:gd name="connsiteY55" fmla="*/ 31365 h 98942"/>
                  <a:gd name="connsiteX56" fmla="*/ 14091 w 170763"/>
                  <a:gd name="connsiteY56" fmla="*/ 32880 h 98942"/>
                  <a:gd name="connsiteX57" fmla="*/ 17274 w 170763"/>
                  <a:gd name="connsiteY57" fmla="*/ 35001 h 98942"/>
                  <a:gd name="connsiteX58" fmla="*/ 16970 w 170763"/>
                  <a:gd name="connsiteY58" fmla="*/ 36517 h 98942"/>
                  <a:gd name="connsiteX59" fmla="*/ 16365 w 170763"/>
                  <a:gd name="connsiteY59" fmla="*/ 38032 h 98942"/>
                  <a:gd name="connsiteX60" fmla="*/ 15607 w 170763"/>
                  <a:gd name="connsiteY60" fmla="*/ 38789 h 98942"/>
                  <a:gd name="connsiteX61" fmla="*/ 13940 w 170763"/>
                  <a:gd name="connsiteY61" fmla="*/ 40608 h 98942"/>
                  <a:gd name="connsiteX62" fmla="*/ 12425 w 170763"/>
                  <a:gd name="connsiteY62" fmla="*/ 41668 h 98942"/>
                  <a:gd name="connsiteX63" fmla="*/ 9849 w 170763"/>
                  <a:gd name="connsiteY63" fmla="*/ 45153 h 98942"/>
                  <a:gd name="connsiteX64" fmla="*/ 5758 w 170763"/>
                  <a:gd name="connsiteY64" fmla="*/ 45305 h 98942"/>
                  <a:gd name="connsiteX65" fmla="*/ 4849 w 170763"/>
                  <a:gd name="connsiteY65" fmla="*/ 45608 h 98942"/>
                  <a:gd name="connsiteX66" fmla="*/ 3333 w 170763"/>
                  <a:gd name="connsiteY66" fmla="*/ 46517 h 98942"/>
                  <a:gd name="connsiteX67" fmla="*/ 2576 w 170763"/>
                  <a:gd name="connsiteY67" fmla="*/ 48184 h 98942"/>
                  <a:gd name="connsiteX68" fmla="*/ 3333 w 170763"/>
                  <a:gd name="connsiteY68" fmla="*/ 49547 h 98942"/>
                  <a:gd name="connsiteX69" fmla="*/ 3182 w 170763"/>
                  <a:gd name="connsiteY69" fmla="*/ 50911 h 98942"/>
                  <a:gd name="connsiteX70" fmla="*/ 2424 w 170763"/>
                  <a:gd name="connsiteY70" fmla="*/ 53487 h 98942"/>
                  <a:gd name="connsiteX71" fmla="*/ 3485 w 170763"/>
                  <a:gd name="connsiteY71" fmla="*/ 56366 h 98942"/>
                  <a:gd name="connsiteX72" fmla="*/ 4849 w 170763"/>
                  <a:gd name="connsiteY72" fmla="*/ 57578 h 98942"/>
                  <a:gd name="connsiteX73" fmla="*/ 5152 w 170763"/>
                  <a:gd name="connsiteY73" fmla="*/ 58335 h 98942"/>
                  <a:gd name="connsiteX74" fmla="*/ 4849 w 170763"/>
                  <a:gd name="connsiteY74" fmla="*/ 59699 h 98942"/>
                  <a:gd name="connsiteX75" fmla="*/ 2727 w 170763"/>
                  <a:gd name="connsiteY75" fmla="*/ 62427 h 98942"/>
                  <a:gd name="connsiteX76" fmla="*/ 2122 w 170763"/>
                  <a:gd name="connsiteY76" fmla="*/ 63336 h 98942"/>
                  <a:gd name="connsiteX77" fmla="*/ 0 w 170763"/>
                  <a:gd name="connsiteY77" fmla="*/ 63942 h 98942"/>
                  <a:gd name="connsiteX78" fmla="*/ 4243 w 170763"/>
                  <a:gd name="connsiteY78" fmla="*/ 68790 h 98942"/>
                  <a:gd name="connsiteX79" fmla="*/ 6515 w 170763"/>
                  <a:gd name="connsiteY79" fmla="*/ 70760 h 98942"/>
                  <a:gd name="connsiteX80" fmla="*/ 9243 w 170763"/>
                  <a:gd name="connsiteY80" fmla="*/ 72275 h 98942"/>
                  <a:gd name="connsiteX81" fmla="*/ 12273 w 170763"/>
                  <a:gd name="connsiteY81" fmla="*/ 73336 h 98942"/>
                  <a:gd name="connsiteX82" fmla="*/ 13486 w 170763"/>
                  <a:gd name="connsiteY82" fmla="*/ 74397 h 98942"/>
                  <a:gd name="connsiteX83" fmla="*/ 15455 w 170763"/>
                  <a:gd name="connsiteY83" fmla="*/ 79548 h 98942"/>
                  <a:gd name="connsiteX84" fmla="*/ 16365 w 170763"/>
                  <a:gd name="connsiteY84" fmla="*/ 81518 h 98942"/>
                  <a:gd name="connsiteX85" fmla="*/ 17728 w 170763"/>
                  <a:gd name="connsiteY85" fmla="*/ 82124 h 98942"/>
                  <a:gd name="connsiteX86" fmla="*/ 18031 w 170763"/>
                  <a:gd name="connsiteY86" fmla="*/ 82730 h 98942"/>
                  <a:gd name="connsiteX87" fmla="*/ 18031 w 170763"/>
                  <a:gd name="connsiteY87" fmla="*/ 83488 h 98942"/>
                  <a:gd name="connsiteX88" fmla="*/ 16516 w 170763"/>
                  <a:gd name="connsiteY88" fmla="*/ 87124 h 98942"/>
                  <a:gd name="connsiteX89" fmla="*/ 15909 w 170763"/>
                  <a:gd name="connsiteY89" fmla="*/ 95155 h 98942"/>
                  <a:gd name="connsiteX90" fmla="*/ 15607 w 170763"/>
                  <a:gd name="connsiteY90" fmla="*/ 95913 h 98942"/>
                  <a:gd name="connsiteX91" fmla="*/ 18637 w 170763"/>
                  <a:gd name="connsiteY91" fmla="*/ 96216 h 98942"/>
                  <a:gd name="connsiteX92" fmla="*/ 22122 w 170763"/>
                  <a:gd name="connsiteY92" fmla="*/ 96367 h 98942"/>
                  <a:gd name="connsiteX93" fmla="*/ 24395 w 170763"/>
                  <a:gd name="connsiteY93" fmla="*/ 94246 h 98942"/>
                  <a:gd name="connsiteX94" fmla="*/ 28031 w 170763"/>
                  <a:gd name="connsiteY94" fmla="*/ 94094 h 98942"/>
                  <a:gd name="connsiteX95" fmla="*/ 29698 w 170763"/>
                  <a:gd name="connsiteY95" fmla="*/ 93791 h 98942"/>
                  <a:gd name="connsiteX96" fmla="*/ 32577 w 170763"/>
                  <a:gd name="connsiteY96" fmla="*/ 94246 h 98942"/>
                  <a:gd name="connsiteX97" fmla="*/ 35305 w 170763"/>
                  <a:gd name="connsiteY97" fmla="*/ 94246 h 98942"/>
                  <a:gd name="connsiteX98" fmla="*/ 38789 w 170763"/>
                  <a:gd name="connsiteY98" fmla="*/ 93337 h 98942"/>
                  <a:gd name="connsiteX99" fmla="*/ 41971 w 170763"/>
                  <a:gd name="connsiteY99" fmla="*/ 91973 h 98942"/>
                  <a:gd name="connsiteX100" fmla="*/ 44547 w 170763"/>
                  <a:gd name="connsiteY100" fmla="*/ 92125 h 98942"/>
                  <a:gd name="connsiteX101" fmla="*/ 45608 w 170763"/>
                  <a:gd name="connsiteY101" fmla="*/ 91821 h 98942"/>
                  <a:gd name="connsiteX102" fmla="*/ 46214 w 170763"/>
                  <a:gd name="connsiteY102" fmla="*/ 91519 h 98942"/>
                  <a:gd name="connsiteX103" fmla="*/ 46820 w 170763"/>
                  <a:gd name="connsiteY103" fmla="*/ 89700 h 98942"/>
                  <a:gd name="connsiteX104" fmla="*/ 51517 w 170763"/>
                  <a:gd name="connsiteY104" fmla="*/ 89549 h 98942"/>
                  <a:gd name="connsiteX105" fmla="*/ 53184 w 170763"/>
                  <a:gd name="connsiteY105" fmla="*/ 89700 h 98942"/>
                  <a:gd name="connsiteX106" fmla="*/ 55911 w 170763"/>
                  <a:gd name="connsiteY106" fmla="*/ 89700 h 98942"/>
                  <a:gd name="connsiteX107" fmla="*/ 58638 w 170763"/>
                  <a:gd name="connsiteY107" fmla="*/ 88791 h 98942"/>
                  <a:gd name="connsiteX108" fmla="*/ 59396 w 170763"/>
                  <a:gd name="connsiteY108" fmla="*/ 88791 h 98942"/>
                  <a:gd name="connsiteX109" fmla="*/ 60911 w 170763"/>
                  <a:gd name="connsiteY109" fmla="*/ 91519 h 98942"/>
                  <a:gd name="connsiteX110" fmla="*/ 61517 w 170763"/>
                  <a:gd name="connsiteY110" fmla="*/ 92428 h 98942"/>
                  <a:gd name="connsiteX111" fmla="*/ 63033 w 170763"/>
                  <a:gd name="connsiteY111" fmla="*/ 93185 h 98942"/>
                  <a:gd name="connsiteX112" fmla="*/ 66366 w 170763"/>
                  <a:gd name="connsiteY112" fmla="*/ 95155 h 98942"/>
                  <a:gd name="connsiteX113" fmla="*/ 66972 w 170763"/>
                  <a:gd name="connsiteY113" fmla="*/ 94700 h 98942"/>
                  <a:gd name="connsiteX114" fmla="*/ 68487 w 170763"/>
                  <a:gd name="connsiteY114" fmla="*/ 93943 h 98942"/>
                  <a:gd name="connsiteX115" fmla="*/ 72427 w 170763"/>
                  <a:gd name="connsiteY115" fmla="*/ 95004 h 98942"/>
                  <a:gd name="connsiteX116" fmla="*/ 76215 w 170763"/>
                  <a:gd name="connsiteY116" fmla="*/ 96519 h 98942"/>
                  <a:gd name="connsiteX117" fmla="*/ 79548 w 170763"/>
                  <a:gd name="connsiteY117" fmla="*/ 98943 h 98942"/>
                  <a:gd name="connsiteX118" fmla="*/ 83034 w 170763"/>
                  <a:gd name="connsiteY118" fmla="*/ 98185 h 98942"/>
                  <a:gd name="connsiteX119" fmla="*/ 86973 w 170763"/>
                  <a:gd name="connsiteY119" fmla="*/ 97125 h 98942"/>
                  <a:gd name="connsiteX120" fmla="*/ 89701 w 170763"/>
                  <a:gd name="connsiteY120" fmla="*/ 96670 h 98942"/>
                  <a:gd name="connsiteX121" fmla="*/ 92428 w 170763"/>
                  <a:gd name="connsiteY121" fmla="*/ 96519 h 98942"/>
                  <a:gd name="connsiteX122" fmla="*/ 94094 w 170763"/>
                  <a:gd name="connsiteY122" fmla="*/ 96064 h 98942"/>
                  <a:gd name="connsiteX123" fmla="*/ 97882 w 170763"/>
                  <a:gd name="connsiteY123" fmla="*/ 96670 h 98942"/>
                  <a:gd name="connsiteX124" fmla="*/ 101822 w 170763"/>
                  <a:gd name="connsiteY124" fmla="*/ 95458 h 98942"/>
                  <a:gd name="connsiteX125" fmla="*/ 103640 w 170763"/>
                  <a:gd name="connsiteY125" fmla="*/ 94246 h 98942"/>
                  <a:gd name="connsiteX126" fmla="*/ 104246 w 170763"/>
                  <a:gd name="connsiteY126" fmla="*/ 92579 h 98942"/>
                  <a:gd name="connsiteX127" fmla="*/ 103943 w 170763"/>
                  <a:gd name="connsiteY127" fmla="*/ 89852 h 98942"/>
                  <a:gd name="connsiteX128" fmla="*/ 103034 w 170763"/>
                  <a:gd name="connsiteY128" fmla="*/ 86973 h 98942"/>
                  <a:gd name="connsiteX129" fmla="*/ 102125 w 170763"/>
                  <a:gd name="connsiteY129" fmla="*/ 85912 h 98942"/>
                  <a:gd name="connsiteX130" fmla="*/ 101822 w 170763"/>
                  <a:gd name="connsiteY130" fmla="*/ 84852 h 98942"/>
                  <a:gd name="connsiteX131" fmla="*/ 102277 w 170763"/>
                  <a:gd name="connsiteY131" fmla="*/ 83791 h 98942"/>
                  <a:gd name="connsiteX132" fmla="*/ 102883 w 170763"/>
                  <a:gd name="connsiteY132" fmla="*/ 83185 h 98942"/>
                  <a:gd name="connsiteX133" fmla="*/ 105458 w 170763"/>
                  <a:gd name="connsiteY133" fmla="*/ 82579 h 98942"/>
                  <a:gd name="connsiteX134" fmla="*/ 108792 w 170763"/>
                  <a:gd name="connsiteY134" fmla="*/ 83488 h 98942"/>
                  <a:gd name="connsiteX135" fmla="*/ 108641 w 170763"/>
                  <a:gd name="connsiteY135" fmla="*/ 82579 h 98942"/>
                  <a:gd name="connsiteX136" fmla="*/ 108943 w 170763"/>
                  <a:gd name="connsiteY136" fmla="*/ 81670 h 98942"/>
                  <a:gd name="connsiteX137" fmla="*/ 109853 w 170763"/>
                  <a:gd name="connsiteY137" fmla="*/ 80609 h 98942"/>
                  <a:gd name="connsiteX138" fmla="*/ 113943 w 170763"/>
                  <a:gd name="connsiteY138" fmla="*/ 79851 h 98942"/>
                  <a:gd name="connsiteX139" fmla="*/ 114398 w 170763"/>
                  <a:gd name="connsiteY139" fmla="*/ 79245 h 98942"/>
                  <a:gd name="connsiteX140" fmla="*/ 115004 w 170763"/>
                  <a:gd name="connsiteY140" fmla="*/ 77579 h 98942"/>
                  <a:gd name="connsiteX141" fmla="*/ 115913 w 170763"/>
                  <a:gd name="connsiteY141" fmla="*/ 75912 h 98942"/>
                  <a:gd name="connsiteX142" fmla="*/ 116822 w 170763"/>
                  <a:gd name="connsiteY142" fmla="*/ 75306 h 98942"/>
                  <a:gd name="connsiteX143" fmla="*/ 118641 w 170763"/>
                  <a:gd name="connsiteY143" fmla="*/ 75457 h 98942"/>
                  <a:gd name="connsiteX144" fmla="*/ 121823 w 170763"/>
                  <a:gd name="connsiteY144" fmla="*/ 75003 h 98942"/>
                  <a:gd name="connsiteX145" fmla="*/ 124247 w 170763"/>
                  <a:gd name="connsiteY145" fmla="*/ 74397 h 98942"/>
                  <a:gd name="connsiteX146" fmla="*/ 126520 w 170763"/>
                  <a:gd name="connsiteY146" fmla="*/ 73336 h 98942"/>
                  <a:gd name="connsiteX147" fmla="*/ 127732 w 170763"/>
                  <a:gd name="connsiteY147" fmla="*/ 72275 h 98942"/>
                  <a:gd name="connsiteX148" fmla="*/ 132581 w 170763"/>
                  <a:gd name="connsiteY148" fmla="*/ 71669 h 98942"/>
                  <a:gd name="connsiteX149" fmla="*/ 134096 w 170763"/>
                  <a:gd name="connsiteY149" fmla="*/ 71063 h 98942"/>
                  <a:gd name="connsiteX150" fmla="*/ 135460 w 170763"/>
                  <a:gd name="connsiteY150" fmla="*/ 71518 h 98942"/>
                  <a:gd name="connsiteX151" fmla="*/ 137278 w 170763"/>
                  <a:gd name="connsiteY151" fmla="*/ 73336 h 98942"/>
                  <a:gd name="connsiteX152" fmla="*/ 140308 w 170763"/>
                  <a:gd name="connsiteY152" fmla="*/ 75912 h 98942"/>
                  <a:gd name="connsiteX153" fmla="*/ 141975 w 170763"/>
                  <a:gd name="connsiteY153" fmla="*/ 76821 h 98942"/>
                  <a:gd name="connsiteX154" fmla="*/ 143187 w 170763"/>
                  <a:gd name="connsiteY154" fmla="*/ 76366 h 98942"/>
                  <a:gd name="connsiteX155" fmla="*/ 145460 w 170763"/>
                  <a:gd name="connsiteY155" fmla="*/ 75457 h 98942"/>
                  <a:gd name="connsiteX156" fmla="*/ 147581 w 170763"/>
                  <a:gd name="connsiteY156" fmla="*/ 75457 h 98942"/>
                  <a:gd name="connsiteX157" fmla="*/ 149248 w 170763"/>
                  <a:gd name="connsiteY157" fmla="*/ 75609 h 98942"/>
                  <a:gd name="connsiteX158" fmla="*/ 150157 w 170763"/>
                  <a:gd name="connsiteY158" fmla="*/ 74851 h 98942"/>
                  <a:gd name="connsiteX159" fmla="*/ 151369 w 170763"/>
                  <a:gd name="connsiteY159" fmla="*/ 74548 h 98942"/>
                  <a:gd name="connsiteX160" fmla="*/ 155157 w 170763"/>
                  <a:gd name="connsiteY160" fmla="*/ 75154 h 98942"/>
                  <a:gd name="connsiteX161" fmla="*/ 154248 w 170763"/>
                  <a:gd name="connsiteY161" fmla="*/ 72578 h 98942"/>
                  <a:gd name="connsiteX162" fmla="*/ 149854 w 170763"/>
                  <a:gd name="connsiteY162" fmla="*/ 67427 h 98942"/>
                  <a:gd name="connsiteX163" fmla="*/ 146672 w 170763"/>
                  <a:gd name="connsiteY163" fmla="*/ 62730 h 98942"/>
                  <a:gd name="connsiteX164" fmla="*/ 144854 w 170763"/>
                  <a:gd name="connsiteY164" fmla="*/ 61063 h 98942"/>
                  <a:gd name="connsiteX165" fmla="*/ 140611 w 170763"/>
                  <a:gd name="connsiteY165" fmla="*/ 58790 h 98942"/>
                  <a:gd name="connsiteX166" fmla="*/ 148036 w 170763"/>
                  <a:gd name="connsiteY166" fmla="*/ 50911 h 98942"/>
                  <a:gd name="connsiteX167" fmla="*/ 149703 w 170763"/>
                  <a:gd name="connsiteY167" fmla="*/ 50608 h 98942"/>
                  <a:gd name="connsiteX168" fmla="*/ 151672 w 170763"/>
                  <a:gd name="connsiteY168" fmla="*/ 49547 h 98942"/>
                  <a:gd name="connsiteX169" fmla="*/ 151824 w 170763"/>
                  <a:gd name="connsiteY169" fmla="*/ 40608 h 98942"/>
                  <a:gd name="connsiteX170" fmla="*/ 152733 w 170763"/>
                  <a:gd name="connsiteY170" fmla="*/ 35153 h 98942"/>
                  <a:gd name="connsiteX171" fmla="*/ 154097 w 170763"/>
                  <a:gd name="connsiteY171" fmla="*/ 33638 h 98942"/>
                  <a:gd name="connsiteX172" fmla="*/ 155612 w 170763"/>
                  <a:gd name="connsiteY172" fmla="*/ 32425 h 98942"/>
                  <a:gd name="connsiteX173" fmla="*/ 158339 w 170763"/>
                  <a:gd name="connsiteY173" fmla="*/ 28183 h 98942"/>
                  <a:gd name="connsiteX174" fmla="*/ 163491 w 170763"/>
                  <a:gd name="connsiteY174" fmla="*/ 27122 h 98942"/>
                  <a:gd name="connsiteX175" fmla="*/ 167430 w 170763"/>
                  <a:gd name="connsiteY175" fmla="*/ 28334 h 98942"/>
                  <a:gd name="connsiteX176" fmla="*/ 170006 w 170763"/>
                  <a:gd name="connsiteY176" fmla="*/ 24698 h 98942"/>
                  <a:gd name="connsiteX177" fmla="*/ 170764 w 170763"/>
                  <a:gd name="connsiteY177" fmla="*/ 16667 h 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70763" h="98942">
                    <a:moveTo>
                      <a:pt x="166218" y="16667"/>
                    </a:moveTo>
                    <a:lnTo>
                      <a:pt x="165006" y="16516"/>
                    </a:lnTo>
                    <a:lnTo>
                      <a:pt x="160764" y="15607"/>
                    </a:lnTo>
                    <a:lnTo>
                      <a:pt x="156066" y="13940"/>
                    </a:lnTo>
                    <a:lnTo>
                      <a:pt x="153339" y="10758"/>
                    </a:lnTo>
                    <a:lnTo>
                      <a:pt x="151521" y="8485"/>
                    </a:lnTo>
                    <a:lnTo>
                      <a:pt x="147581" y="9546"/>
                    </a:lnTo>
                    <a:lnTo>
                      <a:pt x="146824" y="9243"/>
                    </a:lnTo>
                    <a:lnTo>
                      <a:pt x="145763" y="8031"/>
                    </a:lnTo>
                    <a:lnTo>
                      <a:pt x="142733" y="7273"/>
                    </a:lnTo>
                    <a:lnTo>
                      <a:pt x="138945" y="7273"/>
                    </a:lnTo>
                    <a:lnTo>
                      <a:pt x="130611" y="3182"/>
                    </a:lnTo>
                    <a:lnTo>
                      <a:pt x="129702" y="2424"/>
                    </a:lnTo>
                    <a:lnTo>
                      <a:pt x="123186" y="3182"/>
                    </a:lnTo>
                    <a:lnTo>
                      <a:pt x="113338" y="5152"/>
                    </a:lnTo>
                    <a:lnTo>
                      <a:pt x="105913" y="7728"/>
                    </a:lnTo>
                    <a:lnTo>
                      <a:pt x="98186" y="12273"/>
                    </a:lnTo>
                    <a:lnTo>
                      <a:pt x="95003" y="15758"/>
                    </a:lnTo>
                    <a:lnTo>
                      <a:pt x="91367" y="17576"/>
                    </a:lnTo>
                    <a:lnTo>
                      <a:pt x="86215" y="18940"/>
                    </a:lnTo>
                    <a:lnTo>
                      <a:pt x="76973" y="18486"/>
                    </a:lnTo>
                    <a:lnTo>
                      <a:pt x="67427" y="16667"/>
                    </a:lnTo>
                    <a:lnTo>
                      <a:pt x="56972" y="14849"/>
                    </a:lnTo>
                    <a:lnTo>
                      <a:pt x="51517" y="15910"/>
                    </a:lnTo>
                    <a:lnTo>
                      <a:pt x="43941" y="15152"/>
                    </a:lnTo>
                    <a:lnTo>
                      <a:pt x="32577" y="12879"/>
                    </a:lnTo>
                    <a:lnTo>
                      <a:pt x="24092" y="12273"/>
                    </a:lnTo>
                    <a:lnTo>
                      <a:pt x="15758" y="13485"/>
                    </a:lnTo>
                    <a:lnTo>
                      <a:pt x="14243" y="12576"/>
                    </a:lnTo>
                    <a:lnTo>
                      <a:pt x="13940" y="11364"/>
                    </a:lnTo>
                    <a:lnTo>
                      <a:pt x="14243" y="9697"/>
                    </a:lnTo>
                    <a:lnTo>
                      <a:pt x="15455" y="8485"/>
                    </a:lnTo>
                    <a:lnTo>
                      <a:pt x="17425" y="7424"/>
                    </a:lnTo>
                    <a:lnTo>
                      <a:pt x="18637" y="6364"/>
                    </a:lnTo>
                    <a:lnTo>
                      <a:pt x="18637" y="5455"/>
                    </a:lnTo>
                    <a:lnTo>
                      <a:pt x="16365" y="3788"/>
                    </a:lnTo>
                    <a:lnTo>
                      <a:pt x="11819" y="1515"/>
                    </a:lnTo>
                    <a:lnTo>
                      <a:pt x="9849" y="0"/>
                    </a:lnTo>
                    <a:lnTo>
                      <a:pt x="8788" y="606"/>
                    </a:lnTo>
                    <a:lnTo>
                      <a:pt x="7728" y="1515"/>
                    </a:lnTo>
                    <a:lnTo>
                      <a:pt x="7121" y="3030"/>
                    </a:lnTo>
                    <a:lnTo>
                      <a:pt x="6819" y="5455"/>
                    </a:lnTo>
                    <a:lnTo>
                      <a:pt x="3333" y="7424"/>
                    </a:lnTo>
                    <a:lnTo>
                      <a:pt x="2122" y="7728"/>
                    </a:lnTo>
                    <a:lnTo>
                      <a:pt x="1515" y="9091"/>
                    </a:lnTo>
                    <a:lnTo>
                      <a:pt x="606" y="12576"/>
                    </a:lnTo>
                    <a:lnTo>
                      <a:pt x="606" y="15304"/>
                    </a:lnTo>
                    <a:lnTo>
                      <a:pt x="1061" y="16667"/>
                    </a:lnTo>
                    <a:lnTo>
                      <a:pt x="1364" y="17728"/>
                    </a:lnTo>
                    <a:lnTo>
                      <a:pt x="2424" y="19243"/>
                    </a:lnTo>
                    <a:lnTo>
                      <a:pt x="3485" y="21213"/>
                    </a:lnTo>
                    <a:lnTo>
                      <a:pt x="4243" y="24092"/>
                    </a:lnTo>
                    <a:lnTo>
                      <a:pt x="5758" y="26213"/>
                    </a:lnTo>
                    <a:lnTo>
                      <a:pt x="9546" y="28334"/>
                    </a:lnTo>
                    <a:lnTo>
                      <a:pt x="11516" y="29547"/>
                    </a:lnTo>
                    <a:lnTo>
                      <a:pt x="13031" y="31365"/>
                    </a:lnTo>
                    <a:lnTo>
                      <a:pt x="14091" y="32880"/>
                    </a:lnTo>
                    <a:lnTo>
                      <a:pt x="17274" y="35001"/>
                    </a:lnTo>
                    <a:lnTo>
                      <a:pt x="16970" y="36517"/>
                    </a:lnTo>
                    <a:lnTo>
                      <a:pt x="16365" y="38032"/>
                    </a:lnTo>
                    <a:lnTo>
                      <a:pt x="15607" y="38789"/>
                    </a:lnTo>
                    <a:lnTo>
                      <a:pt x="13940" y="40608"/>
                    </a:lnTo>
                    <a:lnTo>
                      <a:pt x="12425" y="41668"/>
                    </a:lnTo>
                    <a:lnTo>
                      <a:pt x="9849" y="45153"/>
                    </a:lnTo>
                    <a:lnTo>
                      <a:pt x="5758" y="45305"/>
                    </a:lnTo>
                    <a:lnTo>
                      <a:pt x="4849" y="45608"/>
                    </a:lnTo>
                    <a:lnTo>
                      <a:pt x="3333" y="46517"/>
                    </a:lnTo>
                    <a:lnTo>
                      <a:pt x="2576" y="48184"/>
                    </a:lnTo>
                    <a:lnTo>
                      <a:pt x="3333" y="49547"/>
                    </a:lnTo>
                    <a:lnTo>
                      <a:pt x="3182" y="50911"/>
                    </a:lnTo>
                    <a:lnTo>
                      <a:pt x="2424" y="53487"/>
                    </a:lnTo>
                    <a:lnTo>
                      <a:pt x="3485" y="56366"/>
                    </a:lnTo>
                    <a:lnTo>
                      <a:pt x="4849" y="57578"/>
                    </a:lnTo>
                    <a:lnTo>
                      <a:pt x="5152" y="58335"/>
                    </a:lnTo>
                    <a:lnTo>
                      <a:pt x="4849" y="59699"/>
                    </a:lnTo>
                    <a:lnTo>
                      <a:pt x="2727" y="62427"/>
                    </a:lnTo>
                    <a:lnTo>
                      <a:pt x="2122" y="63336"/>
                    </a:lnTo>
                    <a:lnTo>
                      <a:pt x="0" y="63942"/>
                    </a:lnTo>
                    <a:lnTo>
                      <a:pt x="4243" y="68790"/>
                    </a:lnTo>
                    <a:lnTo>
                      <a:pt x="6515" y="70760"/>
                    </a:lnTo>
                    <a:lnTo>
                      <a:pt x="9243" y="72275"/>
                    </a:lnTo>
                    <a:lnTo>
                      <a:pt x="12273" y="73336"/>
                    </a:lnTo>
                    <a:lnTo>
                      <a:pt x="13486" y="74397"/>
                    </a:lnTo>
                    <a:lnTo>
                      <a:pt x="15455" y="79548"/>
                    </a:lnTo>
                    <a:lnTo>
                      <a:pt x="16365" y="81518"/>
                    </a:lnTo>
                    <a:lnTo>
                      <a:pt x="17728" y="82124"/>
                    </a:lnTo>
                    <a:lnTo>
                      <a:pt x="18031" y="82730"/>
                    </a:lnTo>
                    <a:lnTo>
                      <a:pt x="18031" y="83488"/>
                    </a:lnTo>
                    <a:lnTo>
                      <a:pt x="16516" y="87124"/>
                    </a:lnTo>
                    <a:lnTo>
                      <a:pt x="15909" y="95155"/>
                    </a:lnTo>
                    <a:lnTo>
                      <a:pt x="15607" y="95913"/>
                    </a:lnTo>
                    <a:lnTo>
                      <a:pt x="18637" y="96216"/>
                    </a:lnTo>
                    <a:lnTo>
                      <a:pt x="22122" y="96367"/>
                    </a:lnTo>
                    <a:lnTo>
                      <a:pt x="24395" y="94246"/>
                    </a:lnTo>
                    <a:lnTo>
                      <a:pt x="28031" y="94094"/>
                    </a:lnTo>
                    <a:lnTo>
                      <a:pt x="29698" y="93791"/>
                    </a:lnTo>
                    <a:lnTo>
                      <a:pt x="32577" y="94246"/>
                    </a:lnTo>
                    <a:lnTo>
                      <a:pt x="35305" y="94246"/>
                    </a:lnTo>
                    <a:lnTo>
                      <a:pt x="38789" y="93337"/>
                    </a:lnTo>
                    <a:lnTo>
                      <a:pt x="41971" y="91973"/>
                    </a:lnTo>
                    <a:lnTo>
                      <a:pt x="44547" y="92125"/>
                    </a:lnTo>
                    <a:lnTo>
                      <a:pt x="45608" y="91821"/>
                    </a:lnTo>
                    <a:lnTo>
                      <a:pt x="46214" y="91519"/>
                    </a:lnTo>
                    <a:lnTo>
                      <a:pt x="46820" y="89700"/>
                    </a:lnTo>
                    <a:lnTo>
                      <a:pt x="51517" y="89549"/>
                    </a:lnTo>
                    <a:lnTo>
                      <a:pt x="53184" y="89700"/>
                    </a:lnTo>
                    <a:lnTo>
                      <a:pt x="55911" y="89700"/>
                    </a:lnTo>
                    <a:lnTo>
                      <a:pt x="58638" y="88791"/>
                    </a:lnTo>
                    <a:lnTo>
                      <a:pt x="59396" y="88791"/>
                    </a:lnTo>
                    <a:lnTo>
                      <a:pt x="60911" y="91519"/>
                    </a:lnTo>
                    <a:lnTo>
                      <a:pt x="61517" y="92428"/>
                    </a:lnTo>
                    <a:lnTo>
                      <a:pt x="63033" y="93185"/>
                    </a:lnTo>
                    <a:lnTo>
                      <a:pt x="66366" y="95155"/>
                    </a:lnTo>
                    <a:lnTo>
                      <a:pt x="66972" y="94700"/>
                    </a:lnTo>
                    <a:lnTo>
                      <a:pt x="68487" y="93943"/>
                    </a:lnTo>
                    <a:lnTo>
                      <a:pt x="72427" y="95004"/>
                    </a:lnTo>
                    <a:lnTo>
                      <a:pt x="76215" y="96519"/>
                    </a:lnTo>
                    <a:lnTo>
                      <a:pt x="79548" y="98943"/>
                    </a:lnTo>
                    <a:lnTo>
                      <a:pt x="83034" y="98185"/>
                    </a:lnTo>
                    <a:lnTo>
                      <a:pt x="86973" y="97125"/>
                    </a:lnTo>
                    <a:lnTo>
                      <a:pt x="89701" y="96670"/>
                    </a:lnTo>
                    <a:lnTo>
                      <a:pt x="92428" y="96519"/>
                    </a:lnTo>
                    <a:lnTo>
                      <a:pt x="94094" y="96064"/>
                    </a:lnTo>
                    <a:lnTo>
                      <a:pt x="97882" y="96670"/>
                    </a:lnTo>
                    <a:lnTo>
                      <a:pt x="101822" y="95458"/>
                    </a:lnTo>
                    <a:lnTo>
                      <a:pt x="103640" y="94246"/>
                    </a:lnTo>
                    <a:lnTo>
                      <a:pt x="104246" y="92579"/>
                    </a:lnTo>
                    <a:lnTo>
                      <a:pt x="103943" y="89852"/>
                    </a:lnTo>
                    <a:lnTo>
                      <a:pt x="103034" y="86973"/>
                    </a:lnTo>
                    <a:lnTo>
                      <a:pt x="102125" y="85912"/>
                    </a:lnTo>
                    <a:lnTo>
                      <a:pt x="101822" y="84852"/>
                    </a:lnTo>
                    <a:lnTo>
                      <a:pt x="102277" y="83791"/>
                    </a:lnTo>
                    <a:lnTo>
                      <a:pt x="102883" y="83185"/>
                    </a:lnTo>
                    <a:lnTo>
                      <a:pt x="105458" y="82579"/>
                    </a:lnTo>
                    <a:lnTo>
                      <a:pt x="108792" y="83488"/>
                    </a:lnTo>
                    <a:lnTo>
                      <a:pt x="108641" y="82579"/>
                    </a:lnTo>
                    <a:lnTo>
                      <a:pt x="108943" y="81670"/>
                    </a:lnTo>
                    <a:lnTo>
                      <a:pt x="109853" y="80609"/>
                    </a:lnTo>
                    <a:lnTo>
                      <a:pt x="113943" y="79851"/>
                    </a:lnTo>
                    <a:lnTo>
                      <a:pt x="114398" y="79245"/>
                    </a:lnTo>
                    <a:lnTo>
                      <a:pt x="115004" y="77579"/>
                    </a:lnTo>
                    <a:lnTo>
                      <a:pt x="115913" y="75912"/>
                    </a:lnTo>
                    <a:lnTo>
                      <a:pt x="116822" y="75306"/>
                    </a:lnTo>
                    <a:lnTo>
                      <a:pt x="118641" y="75457"/>
                    </a:lnTo>
                    <a:lnTo>
                      <a:pt x="121823" y="75003"/>
                    </a:lnTo>
                    <a:lnTo>
                      <a:pt x="124247" y="74397"/>
                    </a:lnTo>
                    <a:lnTo>
                      <a:pt x="126520" y="73336"/>
                    </a:lnTo>
                    <a:lnTo>
                      <a:pt x="127732" y="72275"/>
                    </a:lnTo>
                    <a:lnTo>
                      <a:pt x="132581" y="71669"/>
                    </a:lnTo>
                    <a:lnTo>
                      <a:pt x="134096" y="71063"/>
                    </a:lnTo>
                    <a:lnTo>
                      <a:pt x="135460" y="71518"/>
                    </a:lnTo>
                    <a:lnTo>
                      <a:pt x="137278" y="73336"/>
                    </a:lnTo>
                    <a:lnTo>
                      <a:pt x="140308" y="75912"/>
                    </a:lnTo>
                    <a:lnTo>
                      <a:pt x="141975" y="76821"/>
                    </a:lnTo>
                    <a:lnTo>
                      <a:pt x="143187" y="76366"/>
                    </a:lnTo>
                    <a:lnTo>
                      <a:pt x="145460" y="75457"/>
                    </a:lnTo>
                    <a:lnTo>
                      <a:pt x="147581" y="75457"/>
                    </a:lnTo>
                    <a:lnTo>
                      <a:pt x="149248" y="75609"/>
                    </a:lnTo>
                    <a:lnTo>
                      <a:pt x="150157" y="74851"/>
                    </a:lnTo>
                    <a:lnTo>
                      <a:pt x="151369" y="74548"/>
                    </a:lnTo>
                    <a:lnTo>
                      <a:pt x="155157" y="75154"/>
                    </a:lnTo>
                    <a:lnTo>
                      <a:pt x="154248" y="72578"/>
                    </a:lnTo>
                    <a:lnTo>
                      <a:pt x="149854" y="67427"/>
                    </a:lnTo>
                    <a:lnTo>
                      <a:pt x="146672" y="62730"/>
                    </a:lnTo>
                    <a:lnTo>
                      <a:pt x="144854" y="61063"/>
                    </a:lnTo>
                    <a:lnTo>
                      <a:pt x="140611" y="58790"/>
                    </a:lnTo>
                    <a:lnTo>
                      <a:pt x="148036" y="50911"/>
                    </a:lnTo>
                    <a:lnTo>
                      <a:pt x="149703" y="50608"/>
                    </a:lnTo>
                    <a:lnTo>
                      <a:pt x="151672" y="49547"/>
                    </a:lnTo>
                    <a:lnTo>
                      <a:pt x="151824" y="40608"/>
                    </a:lnTo>
                    <a:lnTo>
                      <a:pt x="152733" y="35153"/>
                    </a:lnTo>
                    <a:lnTo>
                      <a:pt x="154097" y="33638"/>
                    </a:lnTo>
                    <a:lnTo>
                      <a:pt x="155612" y="32425"/>
                    </a:lnTo>
                    <a:lnTo>
                      <a:pt x="158339" y="28183"/>
                    </a:lnTo>
                    <a:lnTo>
                      <a:pt x="163491" y="27122"/>
                    </a:lnTo>
                    <a:lnTo>
                      <a:pt x="167430" y="28334"/>
                    </a:lnTo>
                    <a:lnTo>
                      <a:pt x="170006" y="24698"/>
                    </a:lnTo>
                    <a:lnTo>
                      <a:pt x="170764" y="16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7" name="Freeform: Shape 3336">
                <a:extLst>
                  <a:ext uri="{FF2B5EF4-FFF2-40B4-BE49-F238E27FC236}">
                    <a16:creationId xmlns:a16="http://schemas.microsoft.com/office/drawing/2014/main" id="{4D7D07C4-8243-4036-9323-E6644ADE825C}"/>
                  </a:ext>
                </a:extLst>
              </p:cNvPr>
              <p:cNvSpPr/>
              <p:nvPr/>
            </p:nvSpPr>
            <p:spPr>
              <a:xfrm>
                <a:off x="5626133" y="4149099"/>
                <a:ext cx="216371" cy="156066"/>
              </a:xfrm>
              <a:custGeom>
                <a:avLst/>
                <a:gdLst>
                  <a:gd name="connsiteX0" fmla="*/ 215160 w 216371"/>
                  <a:gd name="connsiteY0" fmla="*/ 86821 h 156066"/>
                  <a:gd name="connsiteX1" fmla="*/ 211069 w 216371"/>
                  <a:gd name="connsiteY1" fmla="*/ 81518 h 156066"/>
                  <a:gd name="connsiteX2" fmla="*/ 208341 w 216371"/>
                  <a:gd name="connsiteY2" fmla="*/ 77579 h 156066"/>
                  <a:gd name="connsiteX3" fmla="*/ 207735 w 216371"/>
                  <a:gd name="connsiteY3" fmla="*/ 76669 h 156066"/>
                  <a:gd name="connsiteX4" fmla="*/ 207432 w 216371"/>
                  <a:gd name="connsiteY4" fmla="*/ 75457 h 156066"/>
                  <a:gd name="connsiteX5" fmla="*/ 207584 w 216371"/>
                  <a:gd name="connsiteY5" fmla="*/ 74851 h 156066"/>
                  <a:gd name="connsiteX6" fmla="*/ 208796 w 216371"/>
                  <a:gd name="connsiteY6" fmla="*/ 74397 h 156066"/>
                  <a:gd name="connsiteX7" fmla="*/ 211372 w 216371"/>
                  <a:gd name="connsiteY7" fmla="*/ 73942 h 156066"/>
                  <a:gd name="connsiteX8" fmla="*/ 211826 w 216371"/>
                  <a:gd name="connsiteY8" fmla="*/ 73488 h 156066"/>
                  <a:gd name="connsiteX9" fmla="*/ 211978 w 216371"/>
                  <a:gd name="connsiteY9" fmla="*/ 72427 h 156066"/>
                  <a:gd name="connsiteX10" fmla="*/ 211523 w 216371"/>
                  <a:gd name="connsiteY10" fmla="*/ 70457 h 156066"/>
                  <a:gd name="connsiteX11" fmla="*/ 210159 w 216371"/>
                  <a:gd name="connsiteY11" fmla="*/ 67730 h 156066"/>
                  <a:gd name="connsiteX12" fmla="*/ 208644 w 216371"/>
                  <a:gd name="connsiteY12" fmla="*/ 65912 h 156066"/>
                  <a:gd name="connsiteX13" fmla="*/ 207735 w 216371"/>
                  <a:gd name="connsiteY13" fmla="*/ 65608 h 156066"/>
                  <a:gd name="connsiteX14" fmla="*/ 206220 w 216371"/>
                  <a:gd name="connsiteY14" fmla="*/ 65457 h 156066"/>
                  <a:gd name="connsiteX15" fmla="*/ 204553 w 216371"/>
                  <a:gd name="connsiteY15" fmla="*/ 65760 h 156066"/>
                  <a:gd name="connsiteX16" fmla="*/ 201371 w 216371"/>
                  <a:gd name="connsiteY16" fmla="*/ 67881 h 156066"/>
                  <a:gd name="connsiteX17" fmla="*/ 200008 w 216371"/>
                  <a:gd name="connsiteY17" fmla="*/ 68336 h 156066"/>
                  <a:gd name="connsiteX18" fmla="*/ 196826 w 216371"/>
                  <a:gd name="connsiteY18" fmla="*/ 68184 h 156066"/>
                  <a:gd name="connsiteX19" fmla="*/ 193947 w 216371"/>
                  <a:gd name="connsiteY19" fmla="*/ 67730 h 156066"/>
                  <a:gd name="connsiteX20" fmla="*/ 192129 w 216371"/>
                  <a:gd name="connsiteY20" fmla="*/ 66669 h 156066"/>
                  <a:gd name="connsiteX21" fmla="*/ 186825 w 216371"/>
                  <a:gd name="connsiteY21" fmla="*/ 62275 h 156066"/>
                  <a:gd name="connsiteX22" fmla="*/ 181068 w 216371"/>
                  <a:gd name="connsiteY22" fmla="*/ 57578 h 156066"/>
                  <a:gd name="connsiteX23" fmla="*/ 178643 w 216371"/>
                  <a:gd name="connsiteY23" fmla="*/ 56972 h 156066"/>
                  <a:gd name="connsiteX24" fmla="*/ 178037 w 216371"/>
                  <a:gd name="connsiteY24" fmla="*/ 56517 h 156066"/>
                  <a:gd name="connsiteX25" fmla="*/ 177734 w 216371"/>
                  <a:gd name="connsiteY25" fmla="*/ 52881 h 156066"/>
                  <a:gd name="connsiteX26" fmla="*/ 177734 w 216371"/>
                  <a:gd name="connsiteY26" fmla="*/ 48638 h 156066"/>
                  <a:gd name="connsiteX27" fmla="*/ 178037 w 216371"/>
                  <a:gd name="connsiteY27" fmla="*/ 47577 h 156066"/>
                  <a:gd name="connsiteX28" fmla="*/ 180461 w 216371"/>
                  <a:gd name="connsiteY28" fmla="*/ 48183 h 156066"/>
                  <a:gd name="connsiteX29" fmla="*/ 183037 w 216371"/>
                  <a:gd name="connsiteY29" fmla="*/ 48487 h 156066"/>
                  <a:gd name="connsiteX30" fmla="*/ 183946 w 216371"/>
                  <a:gd name="connsiteY30" fmla="*/ 47729 h 156066"/>
                  <a:gd name="connsiteX31" fmla="*/ 181825 w 216371"/>
                  <a:gd name="connsiteY31" fmla="*/ 46214 h 156066"/>
                  <a:gd name="connsiteX32" fmla="*/ 178946 w 216371"/>
                  <a:gd name="connsiteY32" fmla="*/ 44699 h 156066"/>
                  <a:gd name="connsiteX33" fmla="*/ 177734 w 216371"/>
                  <a:gd name="connsiteY33" fmla="*/ 42426 h 156066"/>
                  <a:gd name="connsiteX34" fmla="*/ 176977 w 216371"/>
                  <a:gd name="connsiteY34" fmla="*/ 41517 h 156066"/>
                  <a:gd name="connsiteX35" fmla="*/ 175613 w 216371"/>
                  <a:gd name="connsiteY35" fmla="*/ 40759 h 156066"/>
                  <a:gd name="connsiteX36" fmla="*/ 174098 w 216371"/>
                  <a:gd name="connsiteY36" fmla="*/ 40305 h 156066"/>
                  <a:gd name="connsiteX37" fmla="*/ 172582 w 216371"/>
                  <a:gd name="connsiteY37" fmla="*/ 39698 h 156066"/>
                  <a:gd name="connsiteX38" fmla="*/ 171522 w 216371"/>
                  <a:gd name="connsiteY38" fmla="*/ 38941 h 156066"/>
                  <a:gd name="connsiteX39" fmla="*/ 169855 w 216371"/>
                  <a:gd name="connsiteY39" fmla="*/ 38638 h 156066"/>
                  <a:gd name="connsiteX40" fmla="*/ 168036 w 216371"/>
                  <a:gd name="connsiteY40" fmla="*/ 38183 h 156066"/>
                  <a:gd name="connsiteX41" fmla="*/ 165309 w 216371"/>
                  <a:gd name="connsiteY41" fmla="*/ 34395 h 156066"/>
                  <a:gd name="connsiteX42" fmla="*/ 162734 w 216371"/>
                  <a:gd name="connsiteY42" fmla="*/ 30759 h 156066"/>
                  <a:gd name="connsiteX43" fmla="*/ 161218 w 216371"/>
                  <a:gd name="connsiteY43" fmla="*/ 27880 h 156066"/>
                  <a:gd name="connsiteX44" fmla="*/ 160764 w 216371"/>
                  <a:gd name="connsiteY44" fmla="*/ 26062 h 156066"/>
                  <a:gd name="connsiteX45" fmla="*/ 161521 w 216371"/>
                  <a:gd name="connsiteY45" fmla="*/ 23183 h 156066"/>
                  <a:gd name="connsiteX46" fmla="*/ 160764 w 216371"/>
                  <a:gd name="connsiteY46" fmla="*/ 21970 h 156066"/>
                  <a:gd name="connsiteX47" fmla="*/ 157885 w 216371"/>
                  <a:gd name="connsiteY47" fmla="*/ 18940 h 156066"/>
                  <a:gd name="connsiteX48" fmla="*/ 155612 w 216371"/>
                  <a:gd name="connsiteY48" fmla="*/ 16213 h 156066"/>
                  <a:gd name="connsiteX49" fmla="*/ 156067 w 216371"/>
                  <a:gd name="connsiteY49" fmla="*/ 11819 h 156066"/>
                  <a:gd name="connsiteX50" fmla="*/ 156672 w 216371"/>
                  <a:gd name="connsiteY50" fmla="*/ 8182 h 156066"/>
                  <a:gd name="connsiteX51" fmla="*/ 156672 w 216371"/>
                  <a:gd name="connsiteY51" fmla="*/ 5909 h 156066"/>
                  <a:gd name="connsiteX52" fmla="*/ 156976 w 216371"/>
                  <a:gd name="connsiteY52" fmla="*/ 4697 h 156066"/>
                  <a:gd name="connsiteX53" fmla="*/ 151218 w 216371"/>
                  <a:gd name="connsiteY53" fmla="*/ 2576 h 156066"/>
                  <a:gd name="connsiteX54" fmla="*/ 144551 w 216371"/>
                  <a:gd name="connsiteY54" fmla="*/ 606 h 156066"/>
                  <a:gd name="connsiteX55" fmla="*/ 140006 w 216371"/>
                  <a:gd name="connsiteY55" fmla="*/ 1818 h 156066"/>
                  <a:gd name="connsiteX56" fmla="*/ 139248 w 216371"/>
                  <a:gd name="connsiteY56" fmla="*/ 1364 h 156066"/>
                  <a:gd name="connsiteX57" fmla="*/ 138642 w 216371"/>
                  <a:gd name="connsiteY57" fmla="*/ 606 h 156066"/>
                  <a:gd name="connsiteX58" fmla="*/ 136369 w 216371"/>
                  <a:gd name="connsiteY58" fmla="*/ 0 h 156066"/>
                  <a:gd name="connsiteX59" fmla="*/ 132884 w 216371"/>
                  <a:gd name="connsiteY59" fmla="*/ 303 h 156066"/>
                  <a:gd name="connsiteX60" fmla="*/ 130308 w 216371"/>
                  <a:gd name="connsiteY60" fmla="*/ 909 h 156066"/>
                  <a:gd name="connsiteX61" fmla="*/ 126217 w 216371"/>
                  <a:gd name="connsiteY61" fmla="*/ 3939 h 156066"/>
                  <a:gd name="connsiteX62" fmla="*/ 123186 w 216371"/>
                  <a:gd name="connsiteY62" fmla="*/ 6667 h 156066"/>
                  <a:gd name="connsiteX63" fmla="*/ 122277 w 216371"/>
                  <a:gd name="connsiteY63" fmla="*/ 7273 h 156066"/>
                  <a:gd name="connsiteX64" fmla="*/ 118035 w 216371"/>
                  <a:gd name="connsiteY64" fmla="*/ 8788 h 156066"/>
                  <a:gd name="connsiteX65" fmla="*/ 110156 w 216371"/>
                  <a:gd name="connsiteY65" fmla="*/ 12576 h 156066"/>
                  <a:gd name="connsiteX66" fmla="*/ 105762 w 216371"/>
                  <a:gd name="connsiteY66" fmla="*/ 15304 h 156066"/>
                  <a:gd name="connsiteX67" fmla="*/ 104701 w 216371"/>
                  <a:gd name="connsiteY67" fmla="*/ 15910 h 156066"/>
                  <a:gd name="connsiteX68" fmla="*/ 102731 w 216371"/>
                  <a:gd name="connsiteY68" fmla="*/ 16516 h 156066"/>
                  <a:gd name="connsiteX69" fmla="*/ 99549 w 216371"/>
                  <a:gd name="connsiteY69" fmla="*/ 16667 h 156066"/>
                  <a:gd name="connsiteX70" fmla="*/ 97125 w 216371"/>
                  <a:gd name="connsiteY70" fmla="*/ 17273 h 156066"/>
                  <a:gd name="connsiteX71" fmla="*/ 94700 w 216371"/>
                  <a:gd name="connsiteY71" fmla="*/ 24546 h 156066"/>
                  <a:gd name="connsiteX72" fmla="*/ 93186 w 216371"/>
                  <a:gd name="connsiteY72" fmla="*/ 25304 h 156066"/>
                  <a:gd name="connsiteX73" fmla="*/ 83791 w 216371"/>
                  <a:gd name="connsiteY73" fmla="*/ 22425 h 156066"/>
                  <a:gd name="connsiteX74" fmla="*/ 81973 w 216371"/>
                  <a:gd name="connsiteY74" fmla="*/ 22880 h 156066"/>
                  <a:gd name="connsiteX75" fmla="*/ 80306 w 216371"/>
                  <a:gd name="connsiteY75" fmla="*/ 23637 h 156066"/>
                  <a:gd name="connsiteX76" fmla="*/ 75003 w 216371"/>
                  <a:gd name="connsiteY76" fmla="*/ 27880 h 156066"/>
                  <a:gd name="connsiteX77" fmla="*/ 72427 w 216371"/>
                  <a:gd name="connsiteY77" fmla="*/ 31365 h 156066"/>
                  <a:gd name="connsiteX78" fmla="*/ 71063 w 216371"/>
                  <a:gd name="connsiteY78" fmla="*/ 35910 h 156066"/>
                  <a:gd name="connsiteX79" fmla="*/ 71215 w 216371"/>
                  <a:gd name="connsiteY79" fmla="*/ 37274 h 156066"/>
                  <a:gd name="connsiteX80" fmla="*/ 71215 w 216371"/>
                  <a:gd name="connsiteY80" fmla="*/ 38789 h 156066"/>
                  <a:gd name="connsiteX81" fmla="*/ 70306 w 216371"/>
                  <a:gd name="connsiteY81" fmla="*/ 39698 h 156066"/>
                  <a:gd name="connsiteX82" fmla="*/ 69093 w 216371"/>
                  <a:gd name="connsiteY82" fmla="*/ 40001 h 156066"/>
                  <a:gd name="connsiteX83" fmla="*/ 67881 w 216371"/>
                  <a:gd name="connsiteY83" fmla="*/ 40001 h 156066"/>
                  <a:gd name="connsiteX84" fmla="*/ 63487 w 216371"/>
                  <a:gd name="connsiteY84" fmla="*/ 39092 h 156066"/>
                  <a:gd name="connsiteX85" fmla="*/ 62124 w 216371"/>
                  <a:gd name="connsiteY85" fmla="*/ 39395 h 156066"/>
                  <a:gd name="connsiteX86" fmla="*/ 61517 w 216371"/>
                  <a:gd name="connsiteY86" fmla="*/ 41668 h 156066"/>
                  <a:gd name="connsiteX87" fmla="*/ 61669 w 216371"/>
                  <a:gd name="connsiteY87" fmla="*/ 46517 h 156066"/>
                  <a:gd name="connsiteX88" fmla="*/ 60760 w 216371"/>
                  <a:gd name="connsiteY88" fmla="*/ 49850 h 156066"/>
                  <a:gd name="connsiteX89" fmla="*/ 58184 w 216371"/>
                  <a:gd name="connsiteY89" fmla="*/ 50911 h 156066"/>
                  <a:gd name="connsiteX90" fmla="*/ 56063 w 216371"/>
                  <a:gd name="connsiteY90" fmla="*/ 52275 h 156066"/>
                  <a:gd name="connsiteX91" fmla="*/ 54548 w 216371"/>
                  <a:gd name="connsiteY91" fmla="*/ 52578 h 156066"/>
                  <a:gd name="connsiteX92" fmla="*/ 53184 w 216371"/>
                  <a:gd name="connsiteY92" fmla="*/ 52275 h 156066"/>
                  <a:gd name="connsiteX93" fmla="*/ 45608 w 216371"/>
                  <a:gd name="connsiteY93" fmla="*/ 47274 h 156066"/>
                  <a:gd name="connsiteX94" fmla="*/ 43032 w 216371"/>
                  <a:gd name="connsiteY94" fmla="*/ 46517 h 156066"/>
                  <a:gd name="connsiteX95" fmla="*/ 40153 w 216371"/>
                  <a:gd name="connsiteY95" fmla="*/ 47123 h 156066"/>
                  <a:gd name="connsiteX96" fmla="*/ 37426 w 216371"/>
                  <a:gd name="connsiteY96" fmla="*/ 49244 h 156066"/>
                  <a:gd name="connsiteX97" fmla="*/ 36214 w 216371"/>
                  <a:gd name="connsiteY97" fmla="*/ 50608 h 156066"/>
                  <a:gd name="connsiteX98" fmla="*/ 34547 w 216371"/>
                  <a:gd name="connsiteY98" fmla="*/ 52123 h 156066"/>
                  <a:gd name="connsiteX99" fmla="*/ 32577 w 216371"/>
                  <a:gd name="connsiteY99" fmla="*/ 54396 h 156066"/>
                  <a:gd name="connsiteX100" fmla="*/ 33183 w 216371"/>
                  <a:gd name="connsiteY100" fmla="*/ 56214 h 156066"/>
                  <a:gd name="connsiteX101" fmla="*/ 34547 w 216371"/>
                  <a:gd name="connsiteY101" fmla="*/ 58336 h 156066"/>
                  <a:gd name="connsiteX102" fmla="*/ 35456 w 216371"/>
                  <a:gd name="connsiteY102" fmla="*/ 60911 h 156066"/>
                  <a:gd name="connsiteX103" fmla="*/ 35456 w 216371"/>
                  <a:gd name="connsiteY103" fmla="*/ 63336 h 156066"/>
                  <a:gd name="connsiteX104" fmla="*/ 28486 w 216371"/>
                  <a:gd name="connsiteY104" fmla="*/ 66669 h 156066"/>
                  <a:gd name="connsiteX105" fmla="*/ 29092 w 216371"/>
                  <a:gd name="connsiteY105" fmla="*/ 67881 h 156066"/>
                  <a:gd name="connsiteX106" fmla="*/ 30001 w 216371"/>
                  <a:gd name="connsiteY106" fmla="*/ 69245 h 156066"/>
                  <a:gd name="connsiteX107" fmla="*/ 30153 w 216371"/>
                  <a:gd name="connsiteY107" fmla="*/ 71669 h 156066"/>
                  <a:gd name="connsiteX108" fmla="*/ 29850 w 216371"/>
                  <a:gd name="connsiteY108" fmla="*/ 75912 h 156066"/>
                  <a:gd name="connsiteX109" fmla="*/ 28486 w 216371"/>
                  <a:gd name="connsiteY109" fmla="*/ 77427 h 156066"/>
                  <a:gd name="connsiteX110" fmla="*/ 26668 w 216371"/>
                  <a:gd name="connsiteY110" fmla="*/ 78942 h 156066"/>
                  <a:gd name="connsiteX111" fmla="*/ 25607 w 216371"/>
                  <a:gd name="connsiteY111" fmla="*/ 80912 h 156066"/>
                  <a:gd name="connsiteX112" fmla="*/ 24395 w 216371"/>
                  <a:gd name="connsiteY112" fmla="*/ 81973 h 156066"/>
                  <a:gd name="connsiteX113" fmla="*/ 22425 w 216371"/>
                  <a:gd name="connsiteY113" fmla="*/ 83185 h 156066"/>
                  <a:gd name="connsiteX114" fmla="*/ 19849 w 216371"/>
                  <a:gd name="connsiteY114" fmla="*/ 84397 h 156066"/>
                  <a:gd name="connsiteX115" fmla="*/ 15152 w 216371"/>
                  <a:gd name="connsiteY115" fmla="*/ 85458 h 156066"/>
                  <a:gd name="connsiteX116" fmla="*/ 11364 w 216371"/>
                  <a:gd name="connsiteY116" fmla="*/ 86215 h 156066"/>
                  <a:gd name="connsiteX117" fmla="*/ 10000 w 216371"/>
                  <a:gd name="connsiteY117" fmla="*/ 86821 h 156066"/>
                  <a:gd name="connsiteX118" fmla="*/ 7879 w 216371"/>
                  <a:gd name="connsiteY118" fmla="*/ 88337 h 156066"/>
                  <a:gd name="connsiteX119" fmla="*/ 6364 w 216371"/>
                  <a:gd name="connsiteY119" fmla="*/ 90003 h 156066"/>
                  <a:gd name="connsiteX120" fmla="*/ 6061 w 216371"/>
                  <a:gd name="connsiteY120" fmla="*/ 91821 h 156066"/>
                  <a:gd name="connsiteX121" fmla="*/ 6364 w 216371"/>
                  <a:gd name="connsiteY121" fmla="*/ 93943 h 156066"/>
                  <a:gd name="connsiteX122" fmla="*/ 6819 w 216371"/>
                  <a:gd name="connsiteY122" fmla="*/ 95761 h 156066"/>
                  <a:gd name="connsiteX123" fmla="*/ 7576 w 216371"/>
                  <a:gd name="connsiteY123" fmla="*/ 96973 h 156066"/>
                  <a:gd name="connsiteX124" fmla="*/ 8031 w 216371"/>
                  <a:gd name="connsiteY124" fmla="*/ 98488 h 156066"/>
                  <a:gd name="connsiteX125" fmla="*/ 7425 w 216371"/>
                  <a:gd name="connsiteY125" fmla="*/ 102428 h 156066"/>
                  <a:gd name="connsiteX126" fmla="*/ 6061 w 216371"/>
                  <a:gd name="connsiteY126" fmla="*/ 107125 h 156066"/>
                  <a:gd name="connsiteX127" fmla="*/ 4697 w 216371"/>
                  <a:gd name="connsiteY127" fmla="*/ 109247 h 156066"/>
                  <a:gd name="connsiteX128" fmla="*/ 2576 w 216371"/>
                  <a:gd name="connsiteY128" fmla="*/ 110307 h 156066"/>
                  <a:gd name="connsiteX129" fmla="*/ 758 w 216371"/>
                  <a:gd name="connsiteY129" fmla="*/ 111671 h 156066"/>
                  <a:gd name="connsiteX130" fmla="*/ 1364 w 216371"/>
                  <a:gd name="connsiteY130" fmla="*/ 114701 h 156066"/>
                  <a:gd name="connsiteX131" fmla="*/ 1818 w 216371"/>
                  <a:gd name="connsiteY131" fmla="*/ 119095 h 156066"/>
                  <a:gd name="connsiteX132" fmla="*/ 1212 w 216371"/>
                  <a:gd name="connsiteY132" fmla="*/ 122580 h 156066"/>
                  <a:gd name="connsiteX133" fmla="*/ 1212 w 216371"/>
                  <a:gd name="connsiteY133" fmla="*/ 124701 h 156066"/>
                  <a:gd name="connsiteX134" fmla="*/ 455 w 216371"/>
                  <a:gd name="connsiteY134" fmla="*/ 126974 h 156066"/>
                  <a:gd name="connsiteX135" fmla="*/ 0 w 216371"/>
                  <a:gd name="connsiteY135" fmla="*/ 128641 h 156066"/>
                  <a:gd name="connsiteX136" fmla="*/ 1667 w 216371"/>
                  <a:gd name="connsiteY136" fmla="*/ 130459 h 156066"/>
                  <a:gd name="connsiteX137" fmla="*/ 3788 w 216371"/>
                  <a:gd name="connsiteY137" fmla="*/ 131672 h 156066"/>
                  <a:gd name="connsiteX138" fmla="*/ 7121 w 216371"/>
                  <a:gd name="connsiteY138" fmla="*/ 131520 h 156066"/>
                  <a:gd name="connsiteX139" fmla="*/ 9394 w 216371"/>
                  <a:gd name="connsiteY139" fmla="*/ 132277 h 156066"/>
                  <a:gd name="connsiteX140" fmla="*/ 11516 w 216371"/>
                  <a:gd name="connsiteY140" fmla="*/ 133641 h 156066"/>
                  <a:gd name="connsiteX141" fmla="*/ 12879 w 216371"/>
                  <a:gd name="connsiteY141" fmla="*/ 136823 h 156066"/>
                  <a:gd name="connsiteX142" fmla="*/ 14395 w 216371"/>
                  <a:gd name="connsiteY142" fmla="*/ 138944 h 156066"/>
                  <a:gd name="connsiteX143" fmla="*/ 15001 w 216371"/>
                  <a:gd name="connsiteY143" fmla="*/ 142278 h 156066"/>
                  <a:gd name="connsiteX144" fmla="*/ 17425 w 216371"/>
                  <a:gd name="connsiteY144" fmla="*/ 143945 h 156066"/>
                  <a:gd name="connsiteX145" fmla="*/ 19395 w 216371"/>
                  <a:gd name="connsiteY145" fmla="*/ 144702 h 156066"/>
                  <a:gd name="connsiteX146" fmla="*/ 21819 w 216371"/>
                  <a:gd name="connsiteY146" fmla="*/ 146975 h 156066"/>
                  <a:gd name="connsiteX147" fmla="*/ 24546 w 216371"/>
                  <a:gd name="connsiteY147" fmla="*/ 148187 h 156066"/>
                  <a:gd name="connsiteX148" fmla="*/ 27274 w 216371"/>
                  <a:gd name="connsiteY148" fmla="*/ 147884 h 156066"/>
                  <a:gd name="connsiteX149" fmla="*/ 28486 w 216371"/>
                  <a:gd name="connsiteY149" fmla="*/ 149096 h 156066"/>
                  <a:gd name="connsiteX150" fmla="*/ 30456 w 216371"/>
                  <a:gd name="connsiteY150" fmla="*/ 150005 h 156066"/>
                  <a:gd name="connsiteX151" fmla="*/ 32577 w 216371"/>
                  <a:gd name="connsiteY151" fmla="*/ 150005 h 156066"/>
                  <a:gd name="connsiteX152" fmla="*/ 34244 w 216371"/>
                  <a:gd name="connsiteY152" fmla="*/ 147278 h 156066"/>
                  <a:gd name="connsiteX153" fmla="*/ 36668 w 216371"/>
                  <a:gd name="connsiteY153" fmla="*/ 146217 h 156066"/>
                  <a:gd name="connsiteX154" fmla="*/ 42577 w 216371"/>
                  <a:gd name="connsiteY154" fmla="*/ 144096 h 156066"/>
                  <a:gd name="connsiteX155" fmla="*/ 45002 w 216371"/>
                  <a:gd name="connsiteY155" fmla="*/ 143187 h 156066"/>
                  <a:gd name="connsiteX156" fmla="*/ 47274 w 216371"/>
                  <a:gd name="connsiteY156" fmla="*/ 142581 h 156066"/>
                  <a:gd name="connsiteX157" fmla="*/ 53032 w 216371"/>
                  <a:gd name="connsiteY157" fmla="*/ 142429 h 156066"/>
                  <a:gd name="connsiteX158" fmla="*/ 58336 w 216371"/>
                  <a:gd name="connsiteY158" fmla="*/ 143036 h 156066"/>
                  <a:gd name="connsiteX159" fmla="*/ 61063 w 216371"/>
                  <a:gd name="connsiteY159" fmla="*/ 143490 h 156066"/>
                  <a:gd name="connsiteX160" fmla="*/ 62881 w 216371"/>
                  <a:gd name="connsiteY160" fmla="*/ 143187 h 156066"/>
                  <a:gd name="connsiteX161" fmla="*/ 64548 w 216371"/>
                  <a:gd name="connsiteY161" fmla="*/ 144399 h 156066"/>
                  <a:gd name="connsiteX162" fmla="*/ 66366 w 216371"/>
                  <a:gd name="connsiteY162" fmla="*/ 147127 h 156066"/>
                  <a:gd name="connsiteX163" fmla="*/ 67881 w 216371"/>
                  <a:gd name="connsiteY163" fmla="*/ 147884 h 156066"/>
                  <a:gd name="connsiteX164" fmla="*/ 69245 w 216371"/>
                  <a:gd name="connsiteY164" fmla="*/ 148793 h 156066"/>
                  <a:gd name="connsiteX165" fmla="*/ 70458 w 216371"/>
                  <a:gd name="connsiteY165" fmla="*/ 150915 h 156066"/>
                  <a:gd name="connsiteX166" fmla="*/ 71669 w 216371"/>
                  <a:gd name="connsiteY166" fmla="*/ 153036 h 156066"/>
                  <a:gd name="connsiteX167" fmla="*/ 72427 w 216371"/>
                  <a:gd name="connsiteY167" fmla="*/ 153945 h 156066"/>
                  <a:gd name="connsiteX168" fmla="*/ 73942 w 216371"/>
                  <a:gd name="connsiteY168" fmla="*/ 156066 h 156066"/>
                  <a:gd name="connsiteX169" fmla="*/ 75306 w 216371"/>
                  <a:gd name="connsiteY169" fmla="*/ 156066 h 156066"/>
                  <a:gd name="connsiteX170" fmla="*/ 76669 w 216371"/>
                  <a:gd name="connsiteY170" fmla="*/ 155157 h 156066"/>
                  <a:gd name="connsiteX171" fmla="*/ 77276 w 216371"/>
                  <a:gd name="connsiteY171" fmla="*/ 154551 h 156066"/>
                  <a:gd name="connsiteX172" fmla="*/ 76973 w 216371"/>
                  <a:gd name="connsiteY172" fmla="*/ 153036 h 156066"/>
                  <a:gd name="connsiteX173" fmla="*/ 75306 w 216371"/>
                  <a:gd name="connsiteY173" fmla="*/ 149703 h 156066"/>
                  <a:gd name="connsiteX174" fmla="*/ 75003 w 216371"/>
                  <a:gd name="connsiteY174" fmla="*/ 147278 h 156066"/>
                  <a:gd name="connsiteX175" fmla="*/ 75760 w 216371"/>
                  <a:gd name="connsiteY175" fmla="*/ 145914 h 156066"/>
                  <a:gd name="connsiteX176" fmla="*/ 75760 w 216371"/>
                  <a:gd name="connsiteY176" fmla="*/ 142732 h 156066"/>
                  <a:gd name="connsiteX177" fmla="*/ 74851 w 216371"/>
                  <a:gd name="connsiteY177" fmla="*/ 138035 h 156066"/>
                  <a:gd name="connsiteX178" fmla="*/ 74700 w 216371"/>
                  <a:gd name="connsiteY178" fmla="*/ 135005 h 156066"/>
                  <a:gd name="connsiteX179" fmla="*/ 75306 w 216371"/>
                  <a:gd name="connsiteY179" fmla="*/ 133793 h 156066"/>
                  <a:gd name="connsiteX180" fmla="*/ 75003 w 216371"/>
                  <a:gd name="connsiteY180" fmla="*/ 132581 h 156066"/>
                  <a:gd name="connsiteX181" fmla="*/ 73942 w 216371"/>
                  <a:gd name="connsiteY181" fmla="*/ 131368 h 156066"/>
                  <a:gd name="connsiteX182" fmla="*/ 73791 w 216371"/>
                  <a:gd name="connsiteY182" fmla="*/ 130308 h 156066"/>
                  <a:gd name="connsiteX183" fmla="*/ 74851 w 216371"/>
                  <a:gd name="connsiteY183" fmla="*/ 129247 h 156066"/>
                  <a:gd name="connsiteX184" fmla="*/ 74700 w 216371"/>
                  <a:gd name="connsiteY184" fmla="*/ 128338 h 156066"/>
                  <a:gd name="connsiteX185" fmla="*/ 73488 w 216371"/>
                  <a:gd name="connsiteY185" fmla="*/ 127732 h 156066"/>
                  <a:gd name="connsiteX186" fmla="*/ 72276 w 216371"/>
                  <a:gd name="connsiteY186" fmla="*/ 126368 h 156066"/>
                  <a:gd name="connsiteX187" fmla="*/ 71367 w 216371"/>
                  <a:gd name="connsiteY187" fmla="*/ 123944 h 156066"/>
                  <a:gd name="connsiteX188" fmla="*/ 71518 w 216371"/>
                  <a:gd name="connsiteY188" fmla="*/ 120307 h 156066"/>
                  <a:gd name="connsiteX189" fmla="*/ 73336 w 216371"/>
                  <a:gd name="connsiteY189" fmla="*/ 113489 h 156066"/>
                  <a:gd name="connsiteX190" fmla="*/ 73639 w 216371"/>
                  <a:gd name="connsiteY190" fmla="*/ 112883 h 156066"/>
                  <a:gd name="connsiteX191" fmla="*/ 75760 w 216371"/>
                  <a:gd name="connsiteY191" fmla="*/ 112883 h 156066"/>
                  <a:gd name="connsiteX192" fmla="*/ 75760 w 216371"/>
                  <a:gd name="connsiteY192" fmla="*/ 113186 h 156066"/>
                  <a:gd name="connsiteX193" fmla="*/ 82427 w 216371"/>
                  <a:gd name="connsiteY193" fmla="*/ 113186 h 156066"/>
                  <a:gd name="connsiteX194" fmla="*/ 90003 w 216371"/>
                  <a:gd name="connsiteY194" fmla="*/ 113035 h 156066"/>
                  <a:gd name="connsiteX195" fmla="*/ 99095 w 216371"/>
                  <a:gd name="connsiteY195" fmla="*/ 112883 h 156066"/>
                  <a:gd name="connsiteX196" fmla="*/ 107277 w 216371"/>
                  <a:gd name="connsiteY196" fmla="*/ 112883 h 156066"/>
                  <a:gd name="connsiteX197" fmla="*/ 107580 w 216371"/>
                  <a:gd name="connsiteY197" fmla="*/ 112580 h 156066"/>
                  <a:gd name="connsiteX198" fmla="*/ 108943 w 216371"/>
                  <a:gd name="connsiteY198" fmla="*/ 112125 h 156066"/>
                  <a:gd name="connsiteX199" fmla="*/ 117277 w 216371"/>
                  <a:gd name="connsiteY199" fmla="*/ 112883 h 156066"/>
                  <a:gd name="connsiteX200" fmla="*/ 122580 w 216371"/>
                  <a:gd name="connsiteY200" fmla="*/ 112580 h 156066"/>
                  <a:gd name="connsiteX201" fmla="*/ 124702 w 216371"/>
                  <a:gd name="connsiteY201" fmla="*/ 112731 h 156066"/>
                  <a:gd name="connsiteX202" fmla="*/ 126368 w 216371"/>
                  <a:gd name="connsiteY202" fmla="*/ 113186 h 156066"/>
                  <a:gd name="connsiteX203" fmla="*/ 130005 w 216371"/>
                  <a:gd name="connsiteY203" fmla="*/ 112883 h 156066"/>
                  <a:gd name="connsiteX204" fmla="*/ 131823 w 216371"/>
                  <a:gd name="connsiteY204" fmla="*/ 113035 h 156066"/>
                  <a:gd name="connsiteX205" fmla="*/ 133339 w 216371"/>
                  <a:gd name="connsiteY205" fmla="*/ 114853 h 156066"/>
                  <a:gd name="connsiteX206" fmla="*/ 133944 w 216371"/>
                  <a:gd name="connsiteY206" fmla="*/ 114853 h 156066"/>
                  <a:gd name="connsiteX207" fmla="*/ 134702 w 216371"/>
                  <a:gd name="connsiteY207" fmla="*/ 114095 h 156066"/>
                  <a:gd name="connsiteX208" fmla="*/ 136066 w 216371"/>
                  <a:gd name="connsiteY208" fmla="*/ 113186 h 156066"/>
                  <a:gd name="connsiteX209" fmla="*/ 137581 w 216371"/>
                  <a:gd name="connsiteY209" fmla="*/ 112580 h 156066"/>
                  <a:gd name="connsiteX210" fmla="*/ 138642 w 216371"/>
                  <a:gd name="connsiteY210" fmla="*/ 111216 h 156066"/>
                  <a:gd name="connsiteX211" fmla="*/ 139248 w 216371"/>
                  <a:gd name="connsiteY211" fmla="*/ 110307 h 156066"/>
                  <a:gd name="connsiteX212" fmla="*/ 140157 w 216371"/>
                  <a:gd name="connsiteY212" fmla="*/ 110458 h 156066"/>
                  <a:gd name="connsiteX213" fmla="*/ 141520 w 216371"/>
                  <a:gd name="connsiteY213" fmla="*/ 110458 h 156066"/>
                  <a:gd name="connsiteX214" fmla="*/ 142430 w 216371"/>
                  <a:gd name="connsiteY214" fmla="*/ 109549 h 156066"/>
                  <a:gd name="connsiteX215" fmla="*/ 142884 w 216371"/>
                  <a:gd name="connsiteY215" fmla="*/ 108186 h 156066"/>
                  <a:gd name="connsiteX216" fmla="*/ 149248 w 216371"/>
                  <a:gd name="connsiteY216" fmla="*/ 109549 h 156066"/>
                  <a:gd name="connsiteX217" fmla="*/ 155460 w 216371"/>
                  <a:gd name="connsiteY217" fmla="*/ 110913 h 156066"/>
                  <a:gd name="connsiteX218" fmla="*/ 164248 w 216371"/>
                  <a:gd name="connsiteY218" fmla="*/ 113035 h 156066"/>
                  <a:gd name="connsiteX219" fmla="*/ 164552 w 216371"/>
                  <a:gd name="connsiteY219" fmla="*/ 113337 h 156066"/>
                  <a:gd name="connsiteX220" fmla="*/ 164552 w 216371"/>
                  <a:gd name="connsiteY220" fmla="*/ 114095 h 156066"/>
                  <a:gd name="connsiteX221" fmla="*/ 166067 w 216371"/>
                  <a:gd name="connsiteY221" fmla="*/ 114095 h 156066"/>
                  <a:gd name="connsiteX222" fmla="*/ 168643 w 216371"/>
                  <a:gd name="connsiteY222" fmla="*/ 113337 h 156066"/>
                  <a:gd name="connsiteX223" fmla="*/ 175764 w 216371"/>
                  <a:gd name="connsiteY223" fmla="*/ 113035 h 156066"/>
                  <a:gd name="connsiteX224" fmla="*/ 176370 w 216371"/>
                  <a:gd name="connsiteY224" fmla="*/ 113035 h 156066"/>
                  <a:gd name="connsiteX225" fmla="*/ 177279 w 216371"/>
                  <a:gd name="connsiteY225" fmla="*/ 111974 h 156066"/>
                  <a:gd name="connsiteX226" fmla="*/ 178037 w 216371"/>
                  <a:gd name="connsiteY226" fmla="*/ 110610 h 156066"/>
                  <a:gd name="connsiteX227" fmla="*/ 178795 w 216371"/>
                  <a:gd name="connsiteY227" fmla="*/ 110913 h 156066"/>
                  <a:gd name="connsiteX228" fmla="*/ 180158 w 216371"/>
                  <a:gd name="connsiteY228" fmla="*/ 111216 h 156066"/>
                  <a:gd name="connsiteX229" fmla="*/ 180765 w 216371"/>
                  <a:gd name="connsiteY229" fmla="*/ 110762 h 156066"/>
                  <a:gd name="connsiteX230" fmla="*/ 180613 w 216371"/>
                  <a:gd name="connsiteY230" fmla="*/ 109549 h 156066"/>
                  <a:gd name="connsiteX231" fmla="*/ 181068 w 216371"/>
                  <a:gd name="connsiteY231" fmla="*/ 108489 h 156066"/>
                  <a:gd name="connsiteX232" fmla="*/ 182128 w 216371"/>
                  <a:gd name="connsiteY232" fmla="*/ 108034 h 156066"/>
                  <a:gd name="connsiteX233" fmla="*/ 182431 w 216371"/>
                  <a:gd name="connsiteY233" fmla="*/ 106974 h 156066"/>
                  <a:gd name="connsiteX234" fmla="*/ 182431 w 216371"/>
                  <a:gd name="connsiteY234" fmla="*/ 105913 h 156066"/>
                  <a:gd name="connsiteX235" fmla="*/ 183340 w 216371"/>
                  <a:gd name="connsiteY235" fmla="*/ 105610 h 156066"/>
                  <a:gd name="connsiteX236" fmla="*/ 184856 w 216371"/>
                  <a:gd name="connsiteY236" fmla="*/ 105610 h 156066"/>
                  <a:gd name="connsiteX237" fmla="*/ 186067 w 216371"/>
                  <a:gd name="connsiteY237" fmla="*/ 105307 h 156066"/>
                  <a:gd name="connsiteX238" fmla="*/ 187128 w 216371"/>
                  <a:gd name="connsiteY238" fmla="*/ 104701 h 156066"/>
                  <a:gd name="connsiteX239" fmla="*/ 188341 w 216371"/>
                  <a:gd name="connsiteY239" fmla="*/ 102428 h 156066"/>
                  <a:gd name="connsiteX240" fmla="*/ 189098 w 216371"/>
                  <a:gd name="connsiteY240" fmla="*/ 101519 h 156066"/>
                  <a:gd name="connsiteX241" fmla="*/ 189401 w 216371"/>
                  <a:gd name="connsiteY241" fmla="*/ 101064 h 156066"/>
                  <a:gd name="connsiteX242" fmla="*/ 190159 w 216371"/>
                  <a:gd name="connsiteY242" fmla="*/ 100458 h 156066"/>
                  <a:gd name="connsiteX243" fmla="*/ 192129 w 216371"/>
                  <a:gd name="connsiteY243" fmla="*/ 100307 h 156066"/>
                  <a:gd name="connsiteX244" fmla="*/ 193795 w 216371"/>
                  <a:gd name="connsiteY244" fmla="*/ 100458 h 156066"/>
                  <a:gd name="connsiteX245" fmla="*/ 194856 w 216371"/>
                  <a:gd name="connsiteY245" fmla="*/ 101822 h 156066"/>
                  <a:gd name="connsiteX246" fmla="*/ 201826 w 216371"/>
                  <a:gd name="connsiteY246" fmla="*/ 100610 h 156066"/>
                  <a:gd name="connsiteX247" fmla="*/ 205311 w 216371"/>
                  <a:gd name="connsiteY247" fmla="*/ 101216 h 156066"/>
                  <a:gd name="connsiteX248" fmla="*/ 212129 w 216371"/>
                  <a:gd name="connsiteY248" fmla="*/ 95458 h 156066"/>
                  <a:gd name="connsiteX249" fmla="*/ 213644 w 216371"/>
                  <a:gd name="connsiteY249" fmla="*/ 93791 h 156066"/>
                  <a:gd name="connsiteX250" fmla="*/ 215766 w 216371"/>
                  <a:gd name="connsiteY250" fmla="*/ 89700 h 156066"/>
                  <a:gd name="connsiteX251" fmla="*/ 216372 w 216371"/>
                  <a:gd name="connsiteY251" fmla="*/ 88033 h 156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216371" h="156066">
                    <a:moveTo>
                      <a:pt x="215160" y="86821"/>
                    </a:moveTo>
                    <a:lnTo>
                      <a:pt x="211069" y="81518"/>
                    </a:lnTo>
                    <a:lnTo>
                      <a:pt x="208341" y="77579"/>
                    </a:lnTo>
                    <a:lnTo>
                      <a:pt x="207735" y="76669"/>
                    </a:lnTo>
                    <a:lnTo>
                      <a:pt x="207432" y="75457"/>
                    </a:lnTo>
                    <a:lnTo>
                      <a:pt x="207584" y="74851"/>
                    </a:lnTo>
                    <a:lnTo>
                      <a:pt x="208796" y="74397"/>
                    </a:lnTo>
                    <a:lnTo>
                      <a:pt x="211372" y="73942"/>
                    </a:lnTo>
                    <a:lnTo>
                      <a:pt x="211826" y="73488"/>
                    </a:lnTo>
                    <a:lnTo>
                      <a:pt x="211978" y="72427"/>
                    </a:lnTo>
                    <a:lnTo>
                      <a:pt x="211523" y="70457"/>
                    </a:lnTo>
                    <a:lnTo>
                      <a:pt x="210159" y="67730"/>
                    </a:lnTo>
                    <a:lnTo>
                      <a:pt x="208644" y="65912"/>
                    </a:lnTo>
                    <a:lnTo>
                      <a:pt x="207735" y="65608"/>
                    </a:lnTo>
                    <a:lnTo>
                      <a:pt x="206220" y="65457"/>
                    </a:lnTo>
                    <a:lnTo>
                      <a:pt x="204553" y="65760"/>
                    </a:lnTo>
                    <a:lnTo>
                      <a:pt x="201371" y="67881"/>
                    </a:lnTo>
                    <a:lnTo>
                      <a:pt x="200008" y="68336"/>
                    </a:lnTo>
                    <a:lnTo>
                      <a:pt x="196826" y="68184"/>
                    </a:lnTo>
                    <a:lnTo>
                      <a:pt x="193947" y="67730"/>
                    </a:lnTo>
                    <a:lnTo>
                      <a:pt x="192129" y="66669"/>
                    </a:lnTo>
                    <a:lnTo>
                      <a:pt x="186825" y="62275"/>
                    </a:lnTo>
                    <a:lnTo>
                      <a:pt x="181068" y="57578"/>
                    </a:lnTo>
                    <a:lnTo>
                      <a:pt x="178643" y="56972"/>
                    </a:lnTo>
                    <a:lnTo>
                      <a:pt x="178037" y="56517"/>
                    </a:lnTo>
                    <a:lnTo>
                      <a:pt x="177734" y="52881"/>
                    </a:lnTo>
                    <a:lnTo>
                      <a:pt x="177734" y="48638"/>
                    </a:lnTo>
                    <a:lnTo>
                      <a:pt x="178037" y="47577"/>
                    </a:lnTo>
                    <a:lnTo>
                      <a:pt x="180461" y="48183"/>
                    </a:lnTo>
                    <a:lnTo>
                      <a:pt x="183037" y="48487"/>
                    </a:lnTo>
                    <a:lnTo>
                      <a:pt x="183946" y="47729"/>
                    </a:lnTo>
                    <a:lnTo>
                      <a:pt x="181825" y="46214"/>
                    </a:lnTo>
                    <a:lnTo>
                      <a:pt x="178946" y="44699"/>
                    </a:lnTo>
                    <a:lnTo>
                      <a:pt x="177734" y="42426"/>
                    </a:lnTo>
                    <a:lnTo>
                      <a:pt x="176977" y="41517"/>
                    </a:lnTo>
                    <a:lnTo>
                      <a:pt x="175613" y="40759"/>
                    </a:lnTo>
                    <a:lnTo>
                      <a:pt x="174098" y="40305"/>
                    </a:lnTo>
                    <a:lnTo>
                      <a:pt x="172582" y="39698"/>
                    </a:lnTo>
                    <a:lnTo>
                      <a:pt x="171522" y="38941"/>
                    </a:lnTo>
                    <a:lnTo>
                      <a:pt x="169855" y="38638"/>
                    </a:lnTo>
                    <a:lnTo>
                      <a:pt x="168036" y="38183"/>
                    </a:lnTo>
                    <a:lnTo>
                      <a:pt x="165309" y="34395"/>
                    </a:lnTo>
                    <a:lnTo>
                      <a:pt x="162734" y="30759"/>
                    </a:lnTo>
                    <a:lnTo>
                      <a:pt x="161218" y="27880"/>
                    </a:lnTo>
                    <a:lnTo>
                      <a:pt x="160764" y="26062"/>
                    </a:lnTo>
                    <a:lnTo>
                      <a:pt x="161521" y="23183"/>
                    </a:lnTo>
                    <a:lnTo>
                      <a:pt x="160764" y="21970"/>
                    </a:lnTo>
                    <a:lnTo>
                      <a:pt x="157885" y="18940"/>
                    </a:lnTo>
                    <a:lnTo>
                      <a:pt x="155612" y="16213"/>
                    </a:lnTo>
                    <a:lnTo>
                      <a:pt x="156067" y="11819"/>
                    </a:lnTo>
                    <a:lnTo>
                      <a:pt x="156672" y="8182"/>
                    </a:lnTo>
                    <a:lnTo>
                      <a:pt x="156672" y="5909"/>
                    </a:lnTo>
                    <a:lnTo>
                      <a:pt x="156976" y="4697"/>
                    </a:lnTo>
                    <a:lnTo>
                      <a:pt x="151218" y="2576"/>
                    </a:lnTo>
                    <a:lnTo>
                      <a:pt x="144551" y="606"/>
                    </a:lnTo>
                    <a:lnTo>
                      <a:pt x="140006" y="1818"/>
                    </a:lnTo>
                    <a:lnTo>
                      <a:pt x="139248" y="1364"/>
                    </a:lnTo>
                    <a:lnTo>
                      <a:pt x="138642" y="606"/>
                    </a:lnTo>
                    <a:lnTo>
                      <a:pt x="136369" y="0"/>
                    </a:lnTo>
                    <a:lnTo>
                      <a:pt x="132884" y="303"/>
                    </a:lnTo>
                    <a:lnTo>
                      <a:pt x="130308" y="909"/>
                    </a:lnTo>
                    <a:lnTo>
                      <a:pt x="126217" y="3939"/>
                    </a:lnTo>
                    <a:lnTo>
                      <a:pt x="123186" y="6667"/>
                    </a:lnTo>
                    <a:lnTo>
                      <a:pt x="122277" y="7273"/>
                    </a:lnTo>
                    <a:lnTo>
                      <a:pt x="118035" y="8788"/>
                    </a:lnTo>
                    <a:lnTo>
                      <a:pt x="110156" y="12576"/>
                    </a:lnTo>
                    <a:lnTo>
                      <a:pt x="105762" y="15304"/>
                    </a:lnTo>
                    <a:lnTo>
                      <a:pt x="104701" y="15910"/>
                    </a:lnTo>
                    <a:lnTo>
                      <a:pt x="102731" y="16516"/>
                    </a:lnTo>
                    <a:lnTo>
                      <a:pt x="99549" y="16667"/>
                    </a:lnTo>
                    <a:lnTo>
                      <a:pt x="97125" y="17273"/>
                    </a:lnTo>
                    <a:lnTo>
                      <a:pt x="94700" y="24546"/>
                    </a:lnTo>
                    <a:lnTo>
                      <a:pt x="93186" y="25304"/>
                    </a:lnTo>
                    <a:lnTo>
                      <a:pt x="83791" y="22425"/>
                    </a:lnTo>
                    <a:lnTo>
                      <a:pt x="81973" y="22880"/>
                    </a:lnTo>
                    <a:lnTo>
                      <a:pt x="80306" y="23637"/>
                    </a:lnTo>
                    <a:lnTo>
                      <a:pt x="75003" y="27880"/>
                    </a:lnTo>
                    <a:lnTo>
                      <a:pt x="72427" y="31365"/>
                    </a:lnTo>
                    <a:lnTo>
                      <a:pt x="71063" y="35910"/>
                    </a:lnTo>
                    <a:lnTo>
                      <a:pt x="71215" y="37274"/>
                    </a:lnTo>
                    <a:lnTo>
                      <a:pt x="71215" y="38789"/>
                    </a:lnTo>
                    <a:lnTo>
                      <a:pt x="70306" y="39698"/>
                    </a:lnTo>
                    <a:lnTo>
                      <a:pt x="69093" y="40001"/>
                    </a:lnTo>
                    <a:lnTo>
                      <a:pt x="67881" y="40001"/>
                    </a:lnTo>
                    <a:lnTo>
                      <a:pt x="63487" y="39092"/>
                    </a:lnTo>
                    <a:lnTo>
                      <a:pt x="62124" y="39395"/>
                    </a:lnTo>
                    <a:lnTo>
                      <a:pt x="61517" y="41668"/>
                    </a:lnTo>
                    <a:lnTo>
                      <a:pt x="61669" y="46517"/>
                    </a:lnTo>
                    <a:lnTo>
                      <a:pt x="60760" y="49850"/>
                    </a:lnTo>
                    <a:lnTo>
                      <a:pt x="58184" y="50911"/>
                    </a:lnTo>
                    <a:lnTo>
                      <a:pt x="56063" y="52275"/>
                    </a:lnTo>
                    <a:lnTo>
                      <a:pt x="54548" y="52578"/>
                    </a:lnTo>
                    <a:lnTo>
                      <a:pt x="53184" y="52275"/>
                    </a:lnTo>
                    <a:lnTo>
                      <a:pt x="45608" y="47274"/>
                    </a:lnTo>
                    <a:lnTo>
                      <a:pt x="43032" y="46517"/>
                    </a:lnTo>
                    <a:lnTo>
                      <a:pt x="40153" y="47123"/>
                    </a:lnTo>
                    <a:lnTo>
                      <a:pt x="37426" y="49244"/>
                    </a:lnTo>
                    <a:lnTo>
                      <a:pt x="36214" y="50608"/>
                    </a:lnTo>
                    <a:lnTo>
                      <a:pt x="34547" y="52123"/>
                    </a:lnTo>
                    <a:lnTo>
                      <a:pt x="32577" y="54396"/>
                    </a:lnTo>
                    <a:lnTo>
                      <a:pt x="33183" y="56214"/>
                    </a:lnTo>
                    <a:lnTo>
                      <a:pt x="34547" y="58336"/>
                    </a:lnTo>
                    <a:lnTo>
                      <a:pt x="35456" y="60911"/>
                    </a:lnTo>
                    <a:lnTo>
                      <a:pt x="35456" y="63336"/>
                    </a:lnTo>
                    <a:lnTo>
                      <a:pt x="28486" y="66669"/>
                    </a:lnTo>
                    <a:lnTo>
                      <a:pt x="29092" y="67881"/>
                    </a:lnTo>
                    <a:lnTo>
                      <a:pt x="30001" y="69245"/>
                    </a:lnTo>
                    <a:lnTo>
                      <a:pt x="30153" y="71669"/>
                    </a:lnTo>
                    <a:lnTo>
                      <a:pt x="29850" y="75912"/>
                    </a:lnTo>
                    <a:lnTo>
                      <a:pt x="28486" y="77427"/>
                    </a:lnTo>
                    <a:lnTo>
                      <a:pt x="26668" y="78942"/>
                    </a:lnTo>
                    <a:lnTo>
                      <a:pt x="25607" y="80912"/>
                    </a:lnTo>
                    <a:lnTo>
                      <a:pt x="24395" y="81973"/>
                    </a:lnTo>
                    <a:lnTo>
                      <a:pt x="22425" y="83185"/>
                    </a:lnTo>
                    <a:lnTo>
                      <a:pt x="19849" y="84397"/>
                    </a:lnTo>
                    <a:lnTo>
                      <a:pt x="15152" y="85458"/>
                    </a:lnTo>
                    <a:lnTo>
                      <a:pt x="11364" y="86215"/>
                    </a:lnTo>
                    <a:lnTo>
                      <a:pt x="10000" y="86821"/>
                    </a:lnTo>
                    <a:lnTo>
                      <a:pt x="7879" y="88337"/>
                    </a:lnTo>
                    <a:lnTo>
                      <a:pt x="6364" y="90003"/>
                    </a:lnTo>
                    <a:lnTo>
                      <a:pt x="6061" y="91821"/>
                    </a:lnTo>
                    <a:lnTo>
                      <a:pt x="6364" y="93943"/>
                    </a:lnTo>
                    <a:lnTo>
                      <a:pt x="6819" y="95761"/>
                    </a:lnTo>
                    <a:lnTo>
                      <a:pt x="7576" y="96973"/>
                    </a:lnTo>
                    <a:lnTo>
                      <a:pt x="8031" y="98488"/>
                    </a:lnTo>
                    <a:lnTo>
                      <a:pt x="7425" y="102428"/>
                    </a:lnTo>
                    <a:lnTo>
                      <a:pt x="6061" y="107125"/>
                    </a:lnTo>
                    <a:lnTo>
                      <a:pt x="4697" y="109247"/>
                    </a:lnTo>
                    <a:lnTo>
                      <a:pt x="2576" y="110307"/>
                    </a:lnTo>
                    <a:lnTo>
                      <a:pt x="758" y="111671"/>
                    </a:lnTo>
                    <a:lnTo>
                      <a:pt x="1364" y="114701"/>
                    </a:lnTo>
                    <a:lnTo>
                      <a:pt x="1818" y="119095"/>
                    </a:lnTo>
                    <a:lnTo>
                      <a:pt x="1212" y="122580"/>
                    </a:lnTo>
                    <a:lnTo>
                      <a:pt x="1212" y="124701"/>
                    </a:lnTo>
                    <a:lnTo>
                      <a:pt x="455" y="126974"/>
                    </a:lnTo>
                    <a:lnTo>
                      <a:pt x="0" y="128641"/>
                    </a:lnTo>
                    <a:lnTo>
                      <a:pt x="1667" y="130459"/>
                    </a:lnTo>
                    <a:lnTo>
                      <a:pt x="3788" y="131672"/>
                    </a:lnTo>
                    <a:lnTo>
                      <a:pt x="7121" y="131520"/>
                    </a:lnTo>
                    <a:lnTo>
                      <a:pt x="9394" y="132277"/>
                    </a:lnTo>
                    <a:lnTo>
                      <a:pt x="11516" y="133641"/>
                    </a:lnTo>
                    <a:lnTo>
                      <a:pt x="12879" y="136823"/>
                    </a:lnTo>
                    <a:lnTo>
                      <a:pt x="14395" y="138944"/>
                    </a:lnTo>
                    <a:lnTo>
                      <a:pt x="15001" y="142278"/>
                    </a:lnTo>
                    <a:lnTo>
                      <a:pt x="17425" y="143945"/>
                    </a:lnTo>
                    <a:lnTo>
                      <a:pt x="19395" y="144702"/>
                    </a:lnTo>
                    <a:lnTo>
                      <a:pt x="21819" y="146975"/>
                    </a:lnTo>
                    <a:lnTo>
                      <a:pt x="24546" y="148187"/>
                    </a:lnTo>
                    <a:lnTo>
                      <a:pt x="27274" y="147884"/>
                    </a:lnTo>
                    <a:lnTo>
                      <a:pt x="28486" y="149096"/>
                    </a:lnTo>
                    <a:lnTo>
                      <a:pt x="30456" y="150005"/>
                    </a:lnTo>
                    <a:lnTo>
                      <a:pt x="32577" y="150005"/>
                    </a:lnTo>
                    <a:lnTo>
                      <a:pt x="34244" y="147278"/>
                    </a:lnTo>
                    <a:lnTo>
                      <a:pt x="36668" y="146217"/>
                    </a:lnTo>
                    <a:lnTo>
                      <a:pt x="42577" y="144096"/>
                    </a:lnTo>
                    <a:lnTo>
                      <a:pt x="45002" y="143187"/>
                    </a:lnTo>
                    <a:lnTo>
                      <a:pt x="47274" y="142581"/>
                    </a:lnTo>
                    <a:lnTo>
                      <a:pt x="53032" y="142429"/>
                    </a:lnTo>
                    <a:lnTo>
                      <a:pt x="58336" y="143036"/>
                    </a:lnTo>
                    <a:lnTo>
                      <a:pt x="61063" y="143490"/>
                    </a:lnTo>
                    <a:lnTo>
                      <a:pt x="62881" y="143187"/>
                    </a:lnTo>
                    <a:lnTo>
                      <a:pt x="64548" y="144399"/>
                    </a:lnTo>
                    <a:lnTo>
                      <a:pt x="66366" y="147127"/>
                    </a:lnTo>
                    <a:lnTo>
                      <a:pt x="67881" y="147884"/>
                    </a:lnTo>
                    <a:lnTo>
                      <a:pt x="69245" y="148793"/>
                    </a:lnTo>
                    <a:lnTo>
                      <a:pt x="70458" y="150915"/>
                    </a:lnTo>
                    <a:lnTo>
                      <a:pt x="71669" y="153036"/>
                    </a:lnTo>
                    <a:lnTo>
                      <a:pt x="72427" y="153945"/>
                    </a:lnTo>
                    <a:lnTo>
                      <a:pt x="73942" y="156066"/>
                    </a:lnTo>
                    <a:lnTo>
                      <a:pt x="75306" y="156066"/>
                    </a:lnTo>
                    <a:lnTo>
                      <a:pt x="76669" y="155157"/>
                    </a:lnTo>
                    <a:lnTo>
                      <a:pt x="77276" y="154551"/>
                    </a:lnTo>
                    <a:lnTo>
                      <a:pt x="76973" y="153036"/>
                    </a:lnTo>
                    <a:lnTo>
                      <a:pt x="75306" y="149703"/>
                    </a:lnTo>
                    <a:lnTo>
                      <a:pt x="75003" y="147278"/>
                    </a:lnTo>
                    <a:lnTo>
                      <a:pt x="75760" y="145914"/>
                    </a:lnTo>
                    <a:lnTo>
                      <a:pt x="75760" y="142732"/>
                    </a:lnTo>
                    <a:lnTo>
                      <a:pt x="74851" y="138035"/>
                    </a:lnTo>
                    <a:lnTo>
                      <a:pt x="74700" y="135005"/>
                    </a:lnTo>
                    <a:lnTo>
                      <a:pt x="75306" y="133793"/>
                    </a:lnTo>
                    <a:lnTo>
                      <a:pt x="75003" y="132581"/>
                    </a:lnTo>
                    <a:lnTo>
                      <a:pt x="73942" y="131368"/>
                    </a:lnTo>
                    <a:lnTo>
                      <a:pt x="73791" y="130308"/>
                    </a:lnTo>
                    <a:lnTo>
                      <a:pt x="74851" y="129247"/>
                    </a:lnTo>
                    <a:lnTo>
                      <a:pt x="74700" y="128338"/>
                    </a:lnTo>
                    <a:lnTo>
                      <a:pt x="73488" y="127732"/>
                    </a:lnTo>
                    <a:lnTo>
                      <a:pt x="72276" y="126368"/>
                    </a:lnTo>
                    <a:lnTo>
                      <a:pt x="71367" y="123944"/>
                    </a:lnTo>
                    <a:lnTo>
                      <a:pt x="71518" y="120307"/>
                    </a:lnTo>
                    <a:lnTo>
                      <a:pt x="73336" y="113489"/>
                    </a:lnTo>
                    <a:lnTo>
                      <a:pt x="73639" y="112883"/>
                    </a:lnTo>
                    <a:lnTo>
                      <a:pt x="75760" y="112883"/>
                    </a:lnTo>
                    <a:lnTo>
                      <a:pt x="75760" y="113186"/>
                    </a:lnTo>
                    <a:lnTo>
                      <a:pt x="82427" y="113186"/>
                    </a:lnTo>
                    <a:lnTo>
                      <a:pt x="90003" y="113035"/>
                    </a:lnTo>
                    <a:lnTo>
                      <a:pt x="99095" y="112883"/>
                    </a:lnTo>
                    <a:lnTo>
                      <a:pt x="107277" y="112883"/>
                    </a:lnTo>
                    <a:lnTo>
                      <a:pt x="107580" y="112580"/>
                    </a:lnTo>
                    <a:lnTo>
                      <a:pt x="108943" y="112125"/>
                    </a:lnTo>
                    <a:lnTo>
                      <a:pt x="117277" y="112883"/>
                    </a:lnTo>
                    <a:lnTo>
                      <a:pt x="122580" y="112580"/>
                    </a:lnTo>
                    <a:lnTo>
                      <a:pt x="124702" y="112731"/>
                    </a:lnTo>
                    <a:lnTo>
                      <a:pt x="126368" y="113186"/>
                    </a:lnTo>
                    <a:lnTo>
                      <a:pt x="130005" y="112883"/>
                    </a:lnTo>
                    <a:lnTo>
                      <a:pt x="131823" y="113035"/>
                    </a:lnTo>
                    <a:lnTo>
                      <a:pt x="133339" y="114853"/>
                    </a:lnTo>
                    <a:lnTo>
                      <a:pt x="133944" y="114853"/>
                    </a:lnTo>
                    <a:lnTo>
                      <a:pt x="134702" y="114095"/>
                    </a:lnTo>
                    <a:lnTo>
                      <a:pt x="136066" y="113186"/>
                    </a:lnTo>
                    <a:lnTo>
                      <a:pt x="137581" y="112580"/>
                    </a:lnTo>
                    <a:lnTo>
                      <a:pt x="138642" y="111216"/>
                    </a:lnTo>
                    <a:lnTo>
                      <a:pt x="139248" y="110307"/>
                    </a:lnTo>
                    <a:lnTo>
                      <a:pt x="140157" y="110458"/>
                    </a:lnTo>
                    <a:lnTo>
                      <a:pt x="141520" y="110458"/>
                    </a:lnTo>
                    <a:lnTo>
                      <a:pt x="142430" y="109549"/>
                    </a:lnTo>
                    <a:lnTo>
                      <a:pt x="142884" y="108186"/>
                    </a:lnTo>
                    <a:lnTo>
                      <a:pt x="149248" y="109549"/>
                    </a:lnTo>
                    <a:lnTo>
                      <a:pt x="155460" y="110913"/>
                    </a:lnTo>
                    <a:lnTo>
                      <a:pt x="164248" y="113035"/>
                    </a:lnTo>
                    <a:lnTo>
                      <a:pt x="164552" y="113337"/>
                    </a:lnTo>
                    <a:lnTo>
                      <a:pt x="164552" y="114095"/>
                    </a:lnTo>
                    <a:lnTo>
                      <a:pt x="166067" y="114095"/>
                    </a:lnTo>
                    <a:lnTo>
                      <a:pt x="168643" y="113337"/>
                    </a:lnTo>
                    <a:lnTo>
                      <a:pt x="175764" y="113035"/>
                    </a:lnTo>
                    <a:lnTo>
                      <a:pt x="176370" y="113035"/>
                    </a:lnTo>
                    <a:lnTo>
                      <a:pt x="177279" y="111974"/>
                    </a:lnTo>
                    <a:lnTo>
                      <a:pt x="178037" y="110610"/>
                    </a:lnTo>
                    <a:lnTo>
                      <a:pt x="178795" y="110913"/>
                    </a:lnTo>
                    <a:lnTo>
                      <a:pt x="180158" y="111216"/>
                    </a:lnTo>
                    <a:lnTo>
                      <a:pt x="180765" y="110762"/>
                    </a:lnTo>
                    <a:lnTo>
                      <a:pt x="180613" y="109549"/>
                    </a:lnTo>
                    <a:lnTo>
                      <a:pt x="181068" y="108489"/>
                    </a:lnTo>
                    <a:lnTo>
                      <a:pt x="182128" y="108034"/>
                    </a:lnTo>
                    <a:lnTo>
                      <a:pt x="182431" y="106974"/>
                    </a:lnTo>
                    <a:lnTo>
                      <a:pt x="182431" y="105913"/>
                    </a:lnTo>
                    <a:lnTo>
                      <a:pt x="183340" y="105610"/>
                    </a:lnTo>
                    <a:lnTo>
                      <a:pt x="184856" y="105610"/>
                    </a:lnTo>
                    <a:lnTo>
                      <a:pt x="186067" y="105307"/>
                    </a:lnTo>
                    <a:lnTo>
                      <a:pt x="187128" y="104701"/>
                    </a:lnTo>
                    <a:lnTo>
                      <a:pt x="188341" y="102428"/>
                    </a:lnTo>
                    <a:lnTo>
                      <a:pt x="189098" y="101519"/>
                    </a:lnTo>
                    <a:lnTo>
                      <a:pt x="189401" y="101064"/>
                    </a:lnTo>
                    <a:lnTo>
                      <a:pt x="190159" y="100458"/>
                    </a:lnTo>
                    <a:lnTo>
                      <a:pt x="192129" y="100307"/>
                    </a:lnTo>
                    <a:lnTo>
                      <a:pt x="193795" y="100458"/>
                    </a:lnTo>
                    <a:lnTo>
                      <a:pt x="194856" y="101822"/>
                    </a:lnTo>
                    <a:lnTo>
                      <a:pt x="201826" y="100610"/>
                    </a:lnTo>
                    <a:lnTo>
                      <a:pt x="205311" y="101216"/>
                    </a:lnTo>
                    <a:lnTo>
                      <a:pt x="212129" y="95458"/>
                    </a:lnTo>
                    <a:lnTo>
                      <a:pt x="213644" y="93791"/>
                    </a:lnTo>
                    <a:lnTo>
                      <a:pt x="215766" y="89700"/>
                    </a:lnTo>
                    <a:lnTo>
                      <a:pt x="216372" y="8803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8" name="Freeform: Shape 3337">
                <a:extLst>
                  <a:ext uri="{FF2B5EF4-FFF2-40B4-BE49-F238E27FC236}">
                    <a16:creationId xmlns:a16="http://schemas.microsoft.com/office/drawing/2014/main" id="{57762EC2-03BD-4855-AD6F-063C3AC3DA59}"/>
                  </a:ext>
                </a:extLst>
              </p:cNvPr>
              <p:cNvSpPr/>
              <p:nvPr/>
            </p:nvSpPr>
            <p:spPr>
              <a:xfrm>
                <a:off x="5846293" y="3020119"/>
                <a:ext cx="105004" cy="71214"/>
              </a:xfrm>
              <a:custGeom>
                <a:avLst/>
                <a:gdLst>
                  <a:gd name="connsiteX0" fmla="*/ 104398 w 105004"/>
                  <a:gd name="connsiteY0" fmla="*/ 39395 h 71214"/>
                  <a:gd name="connsiteX1" fmla="*/ 104398 w 105004"/>
                  <a:gd name="connsiteY1" fmla="*/ 37577 h 71214"/>
                  <a:gd name="connsiteX2" fmla="*/ 103186 w 105004"/>
                  <a:gd name="connsiteY2" fmla="*/ 36365 h 71214"/>
                  <a:gd name="connsiteX3" fmla="*/ 100610 w 105004"/>
                  <a:gd name="connsiteY3" fmla="*/ 35910 h 71214"/>
                  <a:gd name="connsiteX4" fmla="*/ 100004 w 105004"/>
                  <a:gd name="connsiteY4" fmla="*/ 35001 h 71214"/>
                  <a:gd name="connsiteX5" fmla="*/ 99701 w 105004"/>
                  <a:gd name="connsiteY5" fmla="*/ 34244 h 71214"/>
                  <a:gd name="connsiteX6" fmla="*/ 101519 w 105004"/>
                  <a:gd name="connsiteY6" fmla="*/ 32425 h 71214"/>
                  <a:gd name="connsiteX7" fmla="*/ 99246 w 105004"/>
                  <a:gd name="connsiteY7" fmla="*/ 30910 h 71214"/>
                  <a:gd name="connsiteX8" fmla="*/ 98337 w 105004"/>
                  <a:gd name="connsiteY8" fmla="*/ 29395 h 71214"/>
                  <a:gd name="connsiteX9" fmla="*/ 95155 w 105004"/>
                  <a:gd name="connsiteY9" fmla="*/ 27577 h 71214"/>
                  <a:gd name="connsiteX10" fmla="*/ 94852 w 105004"/>
                  <a:gd name="connsiteY10" fmla="*/ 26819 h 71214"/>
                  <a:gd name="connsiteX11" fmla="*/ 92125 w 105004"/>
                  <a:gd name="connsiteY11" fmla="*/ 26819 h 71214"/>
                  <a:gd name="connsiteX12" fmla="*/ 90458 w 105004"/>
                  <a:gd name="connsiteY12" fmla="*/ 24698 h 71214"/>
                  <a:gd name="connsiteX13" fmla="*/ 86670 w 105004"/>
                  <a:gd name="connsiteY13" fmla="*/ 25759 h 71214"/>
                  <a:gd name="connsiteX14" fmla="*/ 86670 w 105004"/>
                  <a:gd name="connsiteY14" fmla="*/ 25910 h 71214"/>
                  <a:gd name="connsiteX15" fmla="*/ 86064 w 105004"/>
                  <a:gd name="connsiteY15" fmla="*/ 24849 h 71214"/>
                  <a:gd name="connsiteX16" fmla="*/ 85155 w 105004"/>
                  <a:gd name="connsiteY16" fmla="*/ 23486 h 71214"/>
                  <a:gd name="connsiteX17" fmla="*/ 85458 w 105004"/>
                  <a:gd name="connsiteY17" fmla="*/ 22728 h 71214"/>
                  <a:gd name="connsiteX18" fmla="*/ 87882 w 105004"/>
                  <a:gd name="connsiteY18" fmla="*/ 20304 h 71214"/>
                  <a:gd name="connsiteX19" fmla="*/ 88185 w 105004"/>
                  <a:gd name="connsiteY19" fmla="*/ 19698 h 71214"/>
                  <a:gd name="connsiteX20" fmla="*/ 88034 w 105004"/>
                  <a:gd name="connsiteY20" fmla="*/ 19243 h 71214"/>
                  <a:gd name="connsiteX21" fmla="*/ 88185 w 105004"/>
                  <a:gd name="connsiteY21" fmla="*/ 18183 h 71214"/>
                  <a:gd name="connsiteX22" fmla="*/ 90155 w 105004"/>
                  <a:gd name="connsiteY22" fmla="*/ 14698 h 71214"/>
                  <a:gd name="connsiteX23" fmla="*/ 90307 w 105004"/>
                  <a:gd name="connsiteY23" fmla="*/ 13334 h 71214"/>
                  <a:gd name="connsiteX24" fmla="*/ 89549 w 105004"/>
                  <a:gd name="connsiteY24" fmla="*/ 12273 h 71214"/>
                  <a:gd name="connsiteX25" fmla="*/ 88337 w 105004"/>
                  <a:gd name="connsiteY25" fmla="*/ 11667 h 71214"/>
                  <a:gd name="connsiteX26" fmla="*/ 84397 w 105004"/>
                  <a:gd name="connsiteY26" fmla="*/ 10607 h 71214"/>
                  <a:gd name="connsiteX27" fmla="*/ 82427 w 105004"/>
                  <a:gd name="connsiteY27" fmla="*/ 9243 h 71214"/>
                  <a:gd name="connsiteX28" fmla="*/ 81670 w 105004"/>
                  <a:gd name="connsiteY28" fmla="*/ 7879 h 71214"/>
                  <a:gd name="connsiteX29" fmla="*/ 80761 w 105004"/>
                  <a:gd name="connsiteY29" fmla="*/ 7576 h 71214"/>
                  <a:gd name="connsiteX30" fmla="*/ 79397 w 105004"/>
                  <a:gd name="connsiteY30" fmla="*/ 8031 h 71214"/>
                  <a:gd name="connsiteX31" fmla="*/ 76215 w 105004"/>
                  <a:gd name="connsiteY31" fmla="*/ 8485 h 71214"/>
                  <a:gd name="connsiteX32" fmla="*/ 73488 w 105004"/>
                  <a:gd name="connsiteY32" fmla="*/ 7728 h 71214"/>
                  <a:gd name="connsiteX33" fmla="*/ 70458 w 105004"/>
                  <a:gd name="connsiteY33" fmla="*/ 5303 h 71214"/>
                  <a:gd name="connsiteX34" fmla="*/ 69700 w 105004"/>
                  <a:gd name="connsiteY34" fmla="*/ 3182 h 71214"/>
                  <a:gd name="connsiteX35" fmla="*/ 69397 w 105004"/>
                  <a:gd name="connsiteY35" fmla="*/ 1515 h 71214"/>
                  <a:gd name="connsiteX36" fmla="*/ 68488 w 105004"/>
                  <a:gd name="connsiteY36" fmla="*/ 909 h 71214"/>
                  <a:gd name="connsiteX37" fmla="*/ 67427 w 105004"/>
                  <a:gd name="connsiteY37" fmla="*/ 1667 h 71214"/>
                  <a:gd name="connsiteX38" fmla="*/ 66215 w 105004"/>
                  <a:gd name="connsiteY38" fmla="*/ 3030 h 71214"/>
                  <a:gd name="connsiteX39" fmla="*/ 63487 w 105004"/>
                  <a:gd name="connsiteY39" fmla="*/ 3182 h 71214"/>
                  <a:gd name="connsiteX40" fmla="*/ 62730 w 105004"/>
                  <a:gd name="connsiteY40" fmla="*/ 2879 h 71214"/>
                  <a:gd name="connsiteX41" fmla="*/ 62730 w 105004"/>
                  <a:gd name="connsiteY41" fmla="*/ 2121 h 71214"/>
                  <a:gd name="connsiteX42" fmla="*/ 62578 w 105004"/>
                  <a:gd name="connsiteY42" fmla="*/ 1515 h 71214"/>
                  <a:gd name="connsiteX43" fmla="*/ 61821 w 105004"/>
                  <a:gd name="connsiteY43" fmla="*/ 606 h 71214"/>
                  <a:gd name="connsiteX44" fmla="*/ 61063 w 105004"/>
                  <a:gd name="connsiteY44" fmla="*/ 0 h 71214"/>
                  <a:gd name="connsiteX45" fmla="*/ 57729 w 105004"/>
                  <a:gd name="connsiteY45" fmla="*/ 2576 h 71214"/>
                  <a:gd name="connsiteX46" fmla="*/ 56517 w 105004"/>
                  <a:gd name="connsiteY46" fmla="*/ 2576 h 71214"/>
                  <a:gd name="connsiteX47" fmla="*/ 54851 w 105004"/>
                  <a:gd name="connsiteY47" fmla="*/ 1667 h 71214"/>
                  <a:gd name="connsiteX48" fmla="*/ 54093 w 105004"/>
                  <a:gd name="connsiteY48" fmla="*/ 606 h 71214"/>
                  <a:gd name="connsiteX49" fmla="*/ 52427 w 105004"/>
                  <a:gd name="connsiteY49" fmla="*/ 1212 h 71214"/>
                  <a:gd name="connsiteX50" fmla="*/ 50911 w 105004"/>
                  <a:gd name="connsiteY50" fmla="*/ 2424 h 71214"/>
                  <a:gd name="connsiteX51" fmla="*/ 51366 w 105004"/>
                  <a:gd name="connsiteY51" fmla="*/ 4546 h 71214"/>
                  <a:gd name="connsiteX52" fmla="*/ 50608 w 105004"/>
                  <a:gd name="connsiteY52" fmla="*/ 5000 h 71214"/>
                  <a:gd name="connsiteX53" fmla="*/ 48639 w 105004"/>
                  <a:gd name="connsiteY53" fmla="*/ 4697 h 71214"/>
                  <a:gd name="connsiteX54" fmla="*/ 46517 w 105004"/>
                  <a:gd name="connsiteY54" fmla="*/ 3788 h 71214"/>
                  <a:gd name="connsiteX55" fmla="*/ 46062 w 105004"/>
                  <a:gd name="connsiteY55" fmla="*/ 5303 h 71214"/>
                  <a:gd name="connsiteX56" fmla="*/ 45002 w 105004"/>
                  <a:gd name="connsiteY56" fmla="*/ 6667 h 71214"/>
                  <a:gd name="connsiteX57" fmla="*/ 41365 w 105004"/>
                  <a:gd name="connsiteY57" fmla="*/ 8940 h 71214"/>
                  <a:gd name="connsiteX58" fmla="*/ 37729 w 105004"/>
                  <a:gd name="connsiteY58" fmla="*/ 10303 h 71214"/>
                  <a:gd name="connsiteX59" fmla="*/ 35759 w 105004"/>
                  <a:gd name="connsiteY59" fmla="*/ 10152 h 71214"/>
                  <a:gd name="connsiteX60" fmla="*/ 34396 w 105004"/>
                  <a:gd name="connsiteY60" fmla="*/ 9394 h 71214"/>
                  <a:gd name="connsiteX61" fmla="*/ 33638 w 105004"/>
                  <a:gd name="connsiteY61" fmla="*/ 8637 h 71214"/>
                  <a:gd name="connsiteX62" fmla="*/ 31668 w 105004"/>
                  <a:gd name="connsiteY62" fmla="*/ 7879 h 71214"/>
                  <a:gd name="connsiteX63" fmla="*/ 28789 w 105004"/>
                  <a:gd name="connsiteY63" fmla="*/ 7424 h 71214"/>
                  <a:gd name="connsiteX64" fmla="*/ 27122 w 105004"/>
                  <a:gd name="connsiteY64" fmla="*/ 8334 h 71214"/>
                  <a:gd name="connsiteX65" fmla="*/ 25910 w 105004"/>
                  <a:gd name="connsiteY65" fmla="*/ 9091 h 71214"/>
                  <a:gd name="connsiteX66" fmla="*/ 24850 w 105004"/>
                  <a:gd name="connsiteY66" fmla="*/ 8940 h 71214"/>
                  <a:gd name="connsiteX67" fmla="*/ 23941 w 105004"/>
                  <a:gd name="connsiteY67" fmla="*/ 8334 h 71214"/>
                  <a:gd name="connsiteX68" fmla="*/ 23334 w 105004"/>
                  <a:gd name="connsiteY68" fmla="*/ 7273 h 71214"/>
                  <a:gd name="connsiteX69" fmla="*/ 22577 w 105004"/>
                  <a:gd name="connsiteY69" fmla="*/ 4243 h 71214"/>
                  <a:gd name="connsiteX70" fmla="*/ 19092 w 105004"/>
                  <a:gd name="connsiteY70" fmla="*/ 5152 h 71214"/>
                  <a:gd name="connsiteX71" fmla="*/ 11819 w 105004"/>
                  <a:gd name="connsiteY71" fmla="*/ 8182 h 71214"/>
                  <a:gd name="connsiteX72" fmla="*/ 0 w 105004"/>
                  <a:gd name="connsiteY72" fmla="*/ 14395 h 71214"/>
                  <a:gd name="connsiteX73" fmla="*/ 303 w 105004"/>
                  <a:gd name="connsiteY73" fmla="*/ 16061 h 71214"/>
                  <a:gd name="connsiteX74" fmla="*/ 1364 w 105004"/>
                  <a:gd name="connsiteY74" fmla="*/ 18334 h 71214"/>
                  <a:gd name="connsiteX75" fmla="*/ 2122 w 105004"/>
                  <a:gd name="connsiteY75" fmla="*/ 19395 h 71214"/>
                  <a:gd name="connsiteX76" fmla="*/ 1515 w 105004"/>
                  <a:gd name="connsiteY76" fmla="*/ 21061 h 71214"/>
                  <a:gd name="connsiteX77" fmla="*/ 1970 w 105004"/>
                  <a:gd name="connsiteY77" fmla="*/ 22274 h 71214"/>
                  <a:gd name="connsiteX78" fmla="*/ 3940 w 105004"/>
                  <a:gd name="connsiteY78" fmla="*/ 24698 h 71214"/>
                  <a:gd name="connsiteX79" fmla="*/ 6364 w 105004"/>
                  <a:gd name="connsiteY79" fmla="*/ 26819 h 71214"/>
                  <a:gd name="connsiteX80" fmla="*/ 8637 w 105004"/>
                  <a:gd name="connsiteY80" fmla="*/ 28183 h 71214"/>
                  <a:gd name="connsiteX81" fmla="*/ 9243 w 105004"/>
                  <a:gd name="connsiteY81" fmla="*/ 28031 h 71214"/>
                  <a:gd name="connsiteX82" fmla="*/ 10910 w 105004"/>
                  <a:gd name="connsiteY82" fmla="*/ 27728 h 71214"/>
                  <a:gd name="connsiteX83" fmla="*/ 13637 w 105004"/>
                  <a:gd name="connsiteY83" fmla="*/ 26213 h 71214"/>
                  <a:gd name="connsiteX84" fmla="*/ 15910 w 105004"/>
                  <a:gd name="connsiteY84" fmla="*/ 25759 h 71214"/>
                  <a:gd name="connsiteX85" fmla="*/ 17274 w 105004"/>
                  <a:gd name="connsiteY85" fmla="*/ 26971 h 71214"/>
                  <a:gd name="connsiteX86" fmla="*/ 18031 w 105004"/>
                  <a:gd name="connsiteY86" fmla="*/ 27577 h 71214"/>
                  <a:gd name="connsiteX87" fmla="*/ 19395 w 105004"/>
                  <a:gd name="connsiteY87" fmla="*/ 30001 h 71214"/>
                  <a:gd name="connsiteX88" fmla="*/ 19849 w 105004"/>
                  <a:gd name="connsiteY88" fmla="*/ 32577 h 71214"/>
                  <a:gd name="connsiteX89" fmla="*/ 20455 w 105004"/>
                  <a:gd name="connsiteY89" fmla="*/ 34698 h 71214"/>
                  <a:gd name="connsiteX90" fmla="*/ 21668 w 105004"/>
                  <a:gd name="connsiteY90" fmla="*/ 35607 h 71214"/>
                  <a:gd name="connsiteX91" fmla="*/ 26062 w 105004"/>
                  <a:gd name="connsiteY91" fmla="*/ 35910 h 71214"/>
                  <a:gd name="connsiteX92" fmla="*/ 29244 w 105004"/>
                  <a:gd name="connsiteY92" fmla="*/ 36668 h 71214"/>
                  <a:gd name="connsiteX93" fmla="*/ 30153 w 105004"/>
                  <a:gd name="connsiteY93" fmla="*/ 37426 h 71214"/>
                  <a:gd name="connsiteX94" fmla="*/ 31213 w 105004"/>
                  <a:gd name="connsiteY94" fmla="*/ 42123 h 71214"/>
                  <a:gd name="connsiteX95" fmla="*/ 31819 w 105004"/>
                  <a:gd name="connsiteY95" fmla="*/ 42880 h 71214"/>
                  <a:gd name="connsiteX96" fmla="*/ 32577 w 105004"/>
                  <a:gd name="connsiteY96" fmla="*/ 42274 h 71214"/>
                  <a:gd name="connsiteX97" fmla="*/ 33486 w 105004"/>
                  <a:gd name="connsiteY97" fmla="*/ 41517 h 71214"/>
                  <a:gd name="connsiteX98" fmla="*/ 34547 w 105004"/>
                  <a:gd name="connsiteY98" fmla="*/ 41365 h 71214"/>
                  <a:gd name="connsiteX99" fmla="*/ 36517 w 105004"/>
                  <a:gd name="connsiteY99" fmla="*/ 41668 h 71214"/>
                  <a:gd name="connsiteX100" fmla="*/ 38941 w 105004"/>
                  <a:gd name="connsiteY100" fmla="*/ 41668 h 71214"/>
                  <a:gd name="connsiteX101" fmla="*/ 41517 w 105004"/>
                  <a:gd name="connsiteY101" fmla="*/ 42274 h 71214"/>
                  <a:gd name="connsiteX102" fmla="*/ 45153 w 105004"/>
                  <a:gd name="connsiteY102" fmla="*/ 45002 h 71214"/>
                  <a:gd name="connsiteX103" fmla="*/ 45002 w 105004"/>
                  <a:gd name="connsiteY103" fmla="*/ 45759 h 71214"/>
                  <a:gd name="connsiteX104" fmla="*/ 44244 w 105004"/>
                  <a:gd name="connsiteY104" fmla="*/ 47426 h 71214"/>
                  <a:gd name="connsiteX105" fmla="*/ 44093 w 105004"/>
                  <a:gd name="connsiteY105" fmla="*/ 48638 h 71214"/>
                  <a:gd name="connsiteX106" fmla="*/ 44699 w 105004"/>
                  <a:gd name="connsiteY106" fmla="*/ 49093 h 71214"/>
                  <a:gd name="connsiteX107" fmla="*/ 45608 w 105004"/>
                  <a:gd name="connsiteY107" fmla="*/ 50456 h 71214"/>
                  <a:gd name="connsiteX108" fmla="*/ 45305 w 105004"/>
                  <a:gd name="connsiteY108" fmla="*/ 51820 h 71214"/>
                  <a:gd name="connsiteX109" fmla="*/ 44396 w 105004"/>
                  <a:gd name="connsiteY109" fmla="*/ 52881 h 71214"/>
                  <a:gd name="connsiteX110" fmla="*/ 44093 w 105004"/>
                  <a:gd name="connsiteY110" fmla="*/ 53790 h 71214"/>
                  <a:gd name="connsiteX111" fmla="*/ 44093 w 105004"/>
                  <a:gd name="connsiteY111" fmla="*/ 54244 h 71214"/>
                  <a:gd name="connsiteX112" fmla="*/ 44396 w 105004"/>
                  <a:gd name="connsiteY112" fmla="*/ 54699 h 71214"/>
                  <a:gd name="connsiteX113" fmla="*/ 45153 w 105004"/>
                  <a:gd name="connsiteY113" fmla="*/ 55154 h 71214"/>
                  <a:gd name="connsiteX114" fmla="*/ 50457 w 105004"/>
                  <a:gd name="connsiteY114" fmla="*/ 55760 h 71214"/>
                  <a:gd name="connsiteX115" fmla="*/ 55305 w 105004"/>
                  <a:gd name="connsiteY115" fmla="*/ 55154 h 71214"/>
                  <a:gd name="connsiteX116" fmla="*/ 58336 w 105004"/>
                  <a:gd name="connsiteY116" fmla="*/ 53638 h 71214"/>
                  <a:gd name="connsiteX117" fmla="*/ 58790 w 105004"/>
                  <a:gd name="connsiteY117" fmla="*/ 52123 h 71214"/>
                  <a:gd name="connsiteX118" fmla="*/ 59699 w 105004"/>
                  <a:gd name="connsiteY118" fmla="*/ 50305 h 71214"/>
                  <a:gd name="connsiteX119" fmla="*/ 61517 w 105004"/>
                  <a:gd name="connsiteY119" fmla="*/ 48790 h 71214"/>
                  <a:gd name="connsiteX120" fmla="*/ 62730 w 105004"/>
                  <a:gd name="connsiteY120" fmla="*/ 48335 h 71214"/>
                  <a:gd name="connsiteX121" fmla="*/ 63942 w 105004"/>
                  <a:gd name="connsiteY121" fmla="*/ 48941 h 71214"/>
                  <a:gd name="connsiteX122" fmla="*/ 61972 w 105004"/>
                  <a:gd name="connsiteY122" fmla="*/ 55154 h 71214"/>
                  <a:gd name="connsiteX123" fmla="*/ 63336 w 105004"/>
                  <a:gd name="connsiteY123" fmla="*/ 56820 h 71214"/>
                  <a:gd name="connsiteX124" fmla="*/ 63639 w 105004"/>
                  <a:gd name="connsiteY124" fmla="*/ 59245 h 71214"/>
                  <a:gd name="connsiteX125" fmla="*/ 64093 w 105004"/>
                  <a:gd name="connsiteY125" fmla="*/ 61366 h 71214"/>
                  <a:gd name="connsiteX126" fmla="*/ 65760 w 105004"/>
                  <a:gd name="connsiteY126" fmla="*/ 61214 h 71214"/>
                  <a:gd name="connsiteX127" fmla="*/ 67881 w 105004"/>
                  <a:gd name="connsiteY127" fmla="*/ 61669 h 71214"/>
                  <a:gd name="connsiteX128" fmla="*/ 69397 w 105004"/>
                  <a:gd name="connsiteY128" fmla="*/ 62427 h 71214"/>
                  <a:gd name="connsiteX129" fmla="*/ 71063 w 105004"/>
                  <a:gd name="connsiteY129" fmla="*/ 63639 h 71214"/>
                  <a:gd name="connsiteX130" fmla="*/ 73639 w 105004"/>
                  <a:gd name="connsiteY130" fmla="*/ 64851 h 71214"/>
                  <a:gd name="connsiteX131" fmla="*/ 75306 w 105004"/>
                  <a:gd name="connsiteY131" fmla="*/ 65154 h 71214"/>
                  <a:gd name="connsiteX132" fmla="*/ 75912 w 105004"/>
                  <a:gd name="connsiteY132" fmla="*/ 66215 h 71214"/>
                  <a:gd name="connsiteX133" fmla="*/ 77427 w 105004"/>
                  <a:gd name="connsiteY133" fmla="*/ 67275 h 71214"/>
                  <a:gd name="connsiteX134" fmla="*/ 79548 w 105004"/>
                  <a:gd name="connsiteY134" fmla="*/ 69548 h 71214"/>
                  <a:gd name="connsiteX135" fmla="*/ 81518 w 105004"/>
                  <a:gd name="connsiteY135" fmla="*/ 71215 h 71214"/>
                  <a:gd name="connsiteX136" fmla="*/ 82579 w 105004"/>
                  <a:gd name="connsiteY136" fmla="*/ 71215 h 71214"/>
                  <a:gd name="connsiteX137" fmla="*/ 84397 w 105004"/>
                  <a:gd name="connsiteY137" fmla="*/ 70457 h 71214"/>
                  <a:gd name="connsiteX138" fmla="*/ 87124 w 105004"/>
                  <a:gd name="connsiteY138" fmla="*/ 70154 h 71214"/>
                  <a:gd name="connsiteX139" fmla="*/ 89246 w 105004"/>
                  <a:gd name="connsiteY139" fmla="*/ 70154 h 71214"/>
                  <a:gd name="connsiteX140" fmla="*/ 90003 w 105004"/>
                  <a:gd name="connsiteY140" fmla="*/ 69548 h 71214"/>
                  <a:gd name="connsiteX141" fmla="*/ 90610 w 105004"/>
                  <a:gd name="connsiteY141" fmla="*/ 68790 h 71214"/>
                  <a:gd name="connsiteX142" fmla="*/ 91064 w 105004"/>
                  <a:gd name="connsiteY142" fmla="*/ 67578 h 71214"/>
                  <a:gd name="connsiteX143" fmla="*/ 91822 w 105004"/>
                  <a:gd name="connsiteY143" fmla="*/ 66366 h 71214"/>
                  <a:gd name="connsiteX144" fmla="*/ 89701 w 105004"/>
                  <a:gd name="connsiteY144" fmla="*/ 63336 h 71214"/>
                  <a:gd name="connsiteX145" fmla="*/ 89246 w 105004"/>
                  <a:gd name="connsiteY145" fmla="*/ 62275 h 71214"/>
                  <a:gd name="connsiteX146" fmla="*/ 87579 w 105004"/>
                  <a:gd name="connsiteY146" fmla="*/ 60608 h 71214"/>
                  <a:gd name="connsiteX147" fmla="*/ 87579 w 105004"/>
                  <a:gd name="connsiteY147" fmla="*/ 59699 h 71214"/>
                  <a:gd name="connsiteX148" fmla="*/ 88034 w 105004"/>
                  <a:gd name="connsiteY148" fmla="*/ 58790 h 71214"/>
                  <a:gd name="connsiteX149" fmla="*/ 87882 w 105004"/>
                  <a:gd name="connsiteY149" fmla="*/ 58184 h 71214"/>
                  <a:gd name="connsiteX150" fmla="*/ 88034 w 105004"/>
                  <a:gd name="connsiteY150" fmla="*/ 56669 h 71214"/>
                  <a:gd name="connsiteX151" fmla="*/ 89246 w 105004"/>
                  <a:gd name="connsiteY151" fmla="*/ 55154 h 71214"/>
                  <a:gd name="connsiteX152" fmla="*/ 90003 w 105004"/>
                  <a:gd name="connsiteY152" fmla="*/ 53335 h 71214"/>
                  <a:gd name="connsiteX153" fmla="*/ 91367 w 105004"/>
                  <a:gd name="connsiteY153" fmla="*/ 50759 h 71214"/>
                  <a:gd name="connsiteX154" fmla="*/ 94398 w 105004"/>
                  <a:gd name="connsiteY154" fmla="*/ 47729 h 71214"/>
                  <a:gd name="connsiteX155" fmla="*/ 96519 w 105004"/>
                  <a:gd name="connsiteY155" fmla="*/ 48184 h 71214"/>
                  <a:gd name="connsiteX156" fmla="*/ 97428 w 105004"/>
                  <a:gd name="connsiteY156" fmla="*/ 48184 h 71214"/>
                  <a:gd name="connsiteX157" fmla="*/ 98034 w 105004"/>
                  <a:gd name="connsiteY157" fmla="*/ 49396 h 71214"/>
                  <a:gd name="connsiteX158" fmla="*/ 98186 w 105004"/>
                  <a:gd name="connsiteY158" fmla="*/ 49396 h 71214"/>
                  <a:gd name="connsiteX159" fmla="*/ 98337 w 105004"/>
                  <a:gd name="connsiteY159" fmla="*/ 48790 h 71214"/>
                  <a:gd name="connsiteX160" fmla="*/ 99852 w 105004"/>
                  <a:gd name="connsiteY160" fmla="*/ 45456 h 71214"/>
                  <a:gd name="connsiteX161" fmla="*/ 105004 w 105004"/>
                  <a:gd name="connsiteY161" fmla="*/ 42426 h 7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5004" h="71214">
                    <a:moveTo>
                      <a:pt x="104398" y="39395"/>
                    </a:moveTo>
                    <a:lnTo>
                      <a:pt x="104398" y="37577"/>
                    </a:lnTo>
                    <a:lnTo>
                      <a:pt x="103186" y="36365"/>
                    </a:lnTo>
                    <a:lnTo>
                      <a:pt x="100610" y="35910"/>
                    </a:lnTo>
                    <a:lnTo>
                      <a:pt x="100004" y="35001"/>
                    </a:lnTo>
                    <a:lnTo>
                      <a:pt x="99701" y="34244"/>
                    </a:lnTo>
                    <a:lnTo>
                      <a:pt x="101519" y="32425"/>
                    </a:lnTo>
                    <a:lnTo>
                      <a:pt x="99246" y="30910"/>
                    </a:lnTo>
                    <a:lnTo>
                      <a:pt x="98337" y="29395"/>
                    </a:lnTo>
                    <a:lnTo>
                      <a:pt x="95155" y="27577"/>
                    </a:lnTo>
                    <a:lnTo>
                      <a:pt x="94852" y="26819"/>
                    </a:lnTo>
                    <a:lnTo>
                      <a:pt x="92125" y="26819"/>
                    </a:lnTo>
                    <a:lnTo>
                      <a:pt x="90458" y="24698"/>
                    </a:lnTo>
                    <a:lnTo>
                      <a:pt x="86670" y="25759"/>
                    </a:lnTo>
                    <a:lnTo>
                      <a:pt x="86670" y="25910"/>
                    </a:lnTo>
                    <a:lnTo>
                      <a:pt x="86064" y="24849"/>
                    </a:lnTo>
                    <a:lnTo>
                      <a:pt x="85155" y="23486"/>
                    </a:lnTo>
                    <a:lnTo>
                      <a:pt x="85458" y="22728"/>
                    </a:lnTo>
                    <a:lnTo>
                      <a:pt x="87882" y="20304"/>
                    </a:lnTo>
                    <a:lnTo>
                      <a:pt x="88185" y="19698"/>
                    </a:lnTo>
                    <a:lnTo>
                      <a:pt x="88034" y="19243"/>
                    </a:lnTo>
                    <a:lnTo>
                      <a:pt x="88185" y="18183"/>
                    </a:lnTo>
                    <a:lnTo>
                      <a:pt x="90155" y="14698"/>
                    </a:lnTo>
                    <a:lnTo>
                      <a:pt x="90307" y="13334"/>
                    </a:lnTo>
                    <a:lnTo>
                      <a:pt x="89549" y="12273"/>
                    </a:lnTo>
                    <a:lnTo>
                      <a:pt x="88337" y="11667"/>
                    </a:lnTo>
                    <a:lnTo>
                      <a:pt x="84397" y="10607"/>
                    </a:lnTo>
                    <a:lnTo>
                      <a:pt x="82427" y="9243"/>
                    </a:lnTo>
                    <a:lnTo>
                      <a:pt x="81670" y="7879"/>
                    </a:lnTo>
                    <a:lnTo>
                      <a:pt x="80761" y="7576"/>
                    </a:lnTo>
                    <a:lnTo>
                      <a:pt x="79397" y="8031"/>
                    </a:lnTo>
                    <a:lnTo>
                      <a:pt x="76215" y="8485"/>
                    </a:lnTo>
                    <a:lnTo>
                      <a:pt x="73488" y="7728"/>
                    </a:lnTo>
                    <a:lnTo>
                      <a:pt x="70458" y="5303"/>
                    </a:lnTo>
                    <a:lnTo>
                      <a:pt x="69700" y="3182"/>
                    </a:lnTo>
                    <a:lnTo>
                      <a:pt x="69397" y="1515"/>
                    </a:lnTo>
                    <a:lnTo>
                      <a:pt x="68488" y="909"/>
                    </a:lnTo>
                    <a:lnTo>
                      <a:pt x="67427" y="1667"/>
                    </a:lnTo>
                    <a:lnTo>
                      <a:pt x="66215" y="3030"/>
                    </a:lnTo>
                    <a:lnTo>
                      <a:pt x="63487" y="3182"/>
                    </a:lnTo>
                    <a:lnTo>
                      <a:pt x="62730" y="2879"/>
                    </a:lnTo>
                    <a:lnTo>
                      <a:pt x="62730" y="2121"/>
                    </a:lnTo>
                    <a:lnTo>
                      <a:pt x="62578" y="1515"/>
                    </a:lnTo>
                    <a:lnTo>
                      <a:pt x="61821" y="606"/>
                    </a:lnTo>
                    <a:lnTo>
                      <a:pt x="61063" y="0"/>
                    </a:lnTo>
                    <a:lnTo>
                      <a:pt x="57729" y="2576"/>
                    </a:lnTo>
                    <a:lnTo>
                      <a:pt x="56517" y="2576"/>
                    </a:lnTo>
                    <a:lnTo>
                      <a:pt x="54851" y="1667"/>
                    </a:lnTo>
                    <a:lnTo>
                      <a:pt x="54093" y="606"/>
                    </a:lnTo>
                    <a:lnTo>
                      <a:pt x="52427" y="1212"/>
                    </a:lnTo>
                    <a:lnTo>
                      <a:pt x="50911" y="2424"/>
                    </a:lnTo>
                    <a:lnTo>
                      <a:pt x="51366" y="4546"/>
                    </a:lnTo>
                    <a:lnTo>
                      <a:pt x="50608" y="5000"/>
                    </a:lnTo>
                    <a:lnTo>
                      <a:pt x="48639" y="4697"/>
                    </a:lnTo>
                    <a:lnTo>
                      <a:pt x="46517" y="3788"/>
                    </a:lnTo>
                    <a:lnTo>
                      <a:pt x="46062" y="5303"/>
                    </a:lnTo>
                    <a:lnTo>
                      <a:pt x="45002" y="6667"/>
                    </a:lnTo>
                    <a:lnTo>
                      <a:pt x="41365" y="8940"/>
                    </a:lnTo>
                    <a:lnTo>
                      <a:pt x="37729" y="10303"/>
                    </a:lnTo>
                    <a:lnTo>
                      <a:pt x="35759" y="10152"/>
                    </a:lnTo>
                    <a:lnTo>
                      <a:pt x="34396" y="9394"/>
                    </a:lnTo>
                    <a:lnTo>
                      <a:pt x="33638" y="8637"/>
                    </a:lnTo>
                    <a:lnTo>
                      <a:pt x="31668" y="7879"/>
                    </a:lnTo>
                    <a:lnTo>
                      <a:pt x="28789" y="7424"/>
                    </a:lnTo>
                    <a:lnTo>
                      <a:pt x="27122" y="8334"/>
                    </a:lnTo>
                    <a:lnTo>
                      <a:pt x="25910" y="9091"/>
                    </a:lnTo>
                    <a:lnTo>
                      <a:pt x="24850" y="8940"/>
                    </a:lnTo>
                    <a:lnTo>
                      <a:pt x="23941" y="8334"/>
                    </a:lnTo>
                    <a:lnTo>
                      <a:pt x="23334" y="7273"/>
                    </a:lnTo>
                    <a:lnTo>
                      <a:pt x="22577" y="4243"/>
                    </a:lnTo>
                    <a:lnTo>
                      <a:pt x="19092" y="5152"/>
                    </a:lnTo>
                    <a:lnTo>
                      <a:pt x="11819" y="8182"/>
                    </a:lnTo>
                    <a:lnTo>
                      <a:pt x="0" y="14395"/>
                    </a:lnTo>
                    <a:lnTo>
                      <a:pt x="303" y="16061"/>
                    </a:lnTo>
                    <a:lnTo>
                      <a:pt x="1364" y="18334"/>
                    </a:lnTo>
                    <a:lnTo>
                      <a:pt x="2122" y="19395"/>
                    </a:lnTo>
                    <a:lnTo>
                      <a:pt x="1515" y="21061"/>
                    </a:lnTo>
                    <a:lnTo>
                      <a:pt x="1970" y="22274"/>
                    </a:lnTo>
                    <a:lnTo>
                      <a:pt x="3940" y="24698"/>
                    </a:lnTo>
                    <a:lnTo>
                      <a:pt x="6364" y="26819"/>
                    </a:lnTo>
                    <a:lnTo>
                      <a:pt x="8637" y="28183"/>
                    </a:lnTo>
                    <a:lnTo>
                      <a:pt x="9243" y="28031"/>
                    </a:lnTo>
                    <a:lnTo>
                      <a:pt x="10910" y="27728"/>
                    </a:lnTo>
                    <a:lnTo>
                      <a:pt x="13637" y="26213"/>
                    </a:lnTo>
                    <a:lnTo>
                      <a:pt x="15910" y="25759"/>
                    </a:lnTo>
                    <a:lnTo>
                      <a:pt x="17274" y="26971"/>
                    </a:lnTo>
                    <a:lnTo>
                      <a:pt x="18031" y="27577"/>
                    </a:lnTo>
                    <a:lnTo>
                      <a:pt x="19395" y="30001"/>
                    </a:lnTo>
                    <a:lnTo>
                      <a:pt x="19849" y="32577"/>
                    </a:lnTo>
                    <a:lnTo>
                      <a:pt x="20455" y="34698"/>
                    </a:lnTo>
                    <a:lnTo>
                      <a:pt x="21668" y="35607"/>
                    </a:lnTo>
                    <a:lnTo>
                      <a:pt x="26062" y="35910"/>
                    </a:lnTo>
                    <a:lnTo>
                      <a:pt x="29244" y="36668"/>
                    </a:lnTo>
                    <a:lnTo>
                      <a:pt x="30153" y="37426"/>
                    </a:lnTo>
                    <a:lnTo>
                      <a:pt x="31213" y="42123"/>
                    </a:lnTo>
                    <a:lnTo>
                      <a:pt x="31819" y="42880"/>
                    </a:lnTo>
                    <a:lnTo>
                      <a:pt x="32577" y="42274"/>
                    </a:lnTo>
                    <a:lnTo>
                      <a:pt x="33486" y="41517"/>
                    </a:lnTo>
                    <a:lnTo>
                      <a:pt x="34547" y="41365"/>
                    </a:lnTo>
                    <a:lnTo>
                      <a:pt x="36517" y="41668"/>
                    </a:lnTo>
                    <a:lnTo>
                      <a:pt x="38941" y="41668"/>
                    </a:lnTo>
                    <a:lnTo>
                      <a:pt x="41517" y="42274"/>
                    </a:lnTo>
                    <a:lnTo>
                      <a:pt x="45153" y="45002"/>
                    </a:lnTo>
                    <a:lnTo>
                      <a:pt x="45002" y="45759"/>
                    </a:lnTo>
                    <a:lnTo>
                      <a:pt x="44244" y="47426"/>
                    </a:lnTo>
                    <a:lnTo>
                      <a:pt x="44093" y="48638"/>
                    </a:lnTo>
                    <a:lnTo>
                      <a:pt x="44699" y="49093"/>
                    </a:lnTo>
                    <a:lnTo>
                      <a:pt x="45608" y="50456"/>
                    </a:lnTo>
                    <a:lnTo>
                      <a:pt x="45305" y="51820"/>
                    </a:lnTo>
                    <a:lnTo>
                      <a:pt x="44396" y="52881"/>
                    </a:lnTo>
                    <a:lnTo>
                      <a:pt x="44093" y="53790"/>
                    </a:lnTo>
                    <a:lnTo>
                      <a:pt x="44093" y="54244"/>
                    </a:lnTo>
                    <a:lnTo>
                      <a:pt x="44396" y="54699"/>
                    </a:lnTo>
                    <a:lnTo>
                      <a:pt x="45153" y="55154"/>
                    </a:lnTo>
                    <a:lnTo>
                      <a:pt x="50457" y="55760"/>
                    </a:lnTo>
                    <a:lnTo>
                      <a:pt x="55305" y="55154"/>
                    </a:lnTo>
                    <a:lnTo>
                      <a:pt x="58336" y="53638"/>
                    </a:lnTo>
                    <a:lnTo>
                      <a:pt x="58790" y="52123"/>
                    </a:lnTo>
                    <a:lnTo>
                      <a:pt x="59699" y="50305"/>
                    </a:lnTo>
                    <a:lnTo>
                      <a:pt x="61517" y="48790"/>
                    </a:lnTo>
                    <a:lnTo>
                      <a:pt x="62730" y="48335"/>
                    </a:lnTo>
                    <a:lnTo>
                      <a:pt x="63942" y="48941"/>
                    </a:lnTo>
                    <a:lnTo>
                      <a:pt x="61972" y="55154"/>
                    </a:lnTo>
                    <a:lnTo>
                      <a:pt x="63336" y="56820"/>
                    </a:lnTo>
                    <a:lnTo>
                      <a:pt x="63639" y="59245"/>
                    </a:lnTo>
                    <a:lnTo>
                      <a:pt x="64093" y="61366"/>
                    </a:lnTo>
                    <a:lnTo>
                      <a:pt x="65760" y="61214"/>
                    </a:lnTo>
                    <a:lnTo>
                      <a:pt x="67881" y="61669"/>
                    </a:lnTo>
                    <a:lnTo>
                      <a:pt x="69397" y="62427"/>
                    </a:lnTo>
                    <a:lnTo>
                      <a:pt x="71063" y="63639"/>
                    </a:lnTo>
                    <a:lnTo>
                      <a:pt x="73639" y="64851"/>
                    </a:lnTo>
                    <a:lnTo>
                      <a:pt x="75306" y="65154"/>
                    </a:lnTo>
                    <a:lnTo>
                      <a:pt x="75912" y="66215"/>
                    </a:lnTo>
                    <a:lnTo>
                      <a:pt x="77427" y="67275"/>
                    </a:lnTo>
                    <a:lnTo>
                      <a:pt x="79548" y="69548"/>
                    </a:lnTo>
                    <a:lnTo>
                      <a:pt x="81518" y="71215"/>
                    </a:lnTo>
                    <a:lnTo>
                      <a:pt x="82579" y="71215"/>
                    </a:lnTo>
                    <a:lnTo>
                      <a:pt x="84397" y="70457"/>
                    </a:lnTo>
                    <a:lnTo>
                      <a:pt x="87124" y="70154"/>
                    </a:lnTo>
                    <a:lnTo>
                      <a:pt x="89246" y="70154"/>
                    </a:lnTo>
                    <a:lnTo>
                      <a:pt x="90003" y="69548"/>
                    </a:lnTo>
                    <a:lnTo>
                      <a:pt x="90610" y="68790"/>
                    </a:lnTo>
                    <a:lnTo>
                      <a:pt x="91064" y="67578"/>
                    </a:lnTo>
                    <a:lnTo>
                      <a:pt x="91822" y="66366"/>
                    </a:lnTo>
                    <a:lnTo>
                      <a:pt x="89701" y="63336"/>
                    </a:lnTo>
                    <a:lnTo>
                      <a:pt x="89246" y="62275"/>
                    </a:lnTo>
                    <a:lnTo>
                      <a:pt x="87579" y="60608"/>
                    </a:lnTo>
                    <a:lnTo>
                      <a:pt x="87579" y="59699"/>
                    </a:lnTo>
                    <a:lnTo>
                      <a:pt x="88034" y="58790"/>
                    </a:lnTo>
                    <a:lnTo>
                      <a:pt x="87882" y="58184"/>
                    </a:lnTo>
                    <a:lnTo>
                      <a:pt x="88034" y="56669"/>
                    </a:lnTo>
                    <a:lnTo>
                      <a:pt x="89246" y="55154"/>
                    </a:lnTo>
                    <a:lnTo>
                      <a:pt x="90003" y="53335"/>
                    </a:lnTo>
                    <a:lnTo>
                      <a:pt x="91367" y="50759"/>
                    </a:lnTo>
                    <a:lnTo>
                      <a:pt x="94398" y="47729"/>
                    </a:lnTo>
                    <a:lnTo>
                      <a:pt x="96519" y="48184"/>
                    </a:lnTo>
                    <a:lnTo>
                      <a:pt x="97428" y="48184"/>
                    </a:lnTo>
                    <a:lnTo>
                      <a:pt x="98034" y="49396"/>
                    </a:lnTo>
                    <a:lnTo>
                      <a:pt x="98186" y="49396"/>
                    </a:lnTo>
                    <a:lnTo>
                      <a:pt x="98337" y="48790"/>
                    </a:lnTo>
                    <a:lnTo>
                      <a:pt x="99852" y="45456"/>
                    </a:lnTo>
                    <a:lnTo>
                      <a:pt x="105004" y="4242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9" name="Freeform: Shape 3338">
                <a:extLst>
                  <a:ext uri="{FF2B5EF4-FFF2-40B4-BE49-F238E27FC236}">
                    <a16:creationId xmlns:a16="http://schemas.microsoft.com/office/drawing/2014/main" id="{AA315C2E-197B-4C6F-BE60-E6DBFC660D85}"/>
                  </a:ext>
                </a:extLst>
              </p:cNvPr>
              <p:cNvSpPr/>
              <p:nvPr/>
            </p:nvSpPr>
            <p:spPr>
              <a:xfrm>
                <a:off x="8185774" y="3823027"/>
                <a:ext cx="126064" cy="166672"/>
              </a:xfrm>
              <a:custGeom>
                <a:avLst/>
                <a:gdLst>
                  <a:gd name="connsiteX0" fmla="*/ 83488 w 126064"/>
                  <a:gd name="connsiteY0" fmla="*/ 116368 h 166672"/>
                  <a:gd name="connsiteX1" fmla="*/ 82579 w 126064"/>
                  <a:gd name="connsiteY1" fmla="*/ 128187 h 166672"/>
                  <a:gd name="connsiteX2" fmla="*/ 85457 w 126064"/>
                  <a:gd name="connsiteY2" fmla="*/ 126217 h 166672"/>
                  <a:gd name="connsiteX3" fmla="*/ 86215 w 126064"/>
                  <a:gd name="connsiteY3" fmla="*/ 123186 h 166672"/>
                  <a:gd name="connsiteX4" fmla="*/ 85609 w 126064"/>
                  <a:gd name="connsiteY4" fmla="*/ 120762 h 166672"/>
                  <a:gd name="connsiteX5" fmla="*/ 83488 w 126064"/>
                  <a:gd name="connsiteY5" fmla="*/ 116368 h 166672"/>
                  <a:gd name="connsiteX6" fmla="*/ 95610 w 126064"/>
                  <a:gd name="connsiteY6" fmla="*/ 117277 h 166672"/>
                  <a:gd name="connsiteX7" fmla="*/ 94549 w 126064"/>
                  <a:gd name="connsiteY7" fmla="*/ 114853 h 166672"/>
                  <a:gd name="connsiteX8" fmla="*/ 93791 w 126064"/>
                  <a:gd name="connsiteY8" fmla="*/ 113641 h 166672"/>
                  <a:gd name="connsiteX9" fmla="*/ 93336 w 126064"/>
                  <a:gd name="connsiteY9" fmla="*/ 114095 h 166672"/>
                  <a:gd name="connsiteX10" fmla="*/ 92579 w 126064"/>
                  <a:gd name="connsiteY10" fmla="*/ 117580 h 166672"/>
                  <a:gd name="connsiteX11" fmla="*/ 94094 w 126064"/>
                  <a:gd name="connsiteY11" fmla="*/ 120307 h 166672"/>
                  <a:gd name="connsiteX12" fmla="*/ 95306 w 126064"/>
                  <a:gd name="connsiteY12" fmla="*/ 121065 h 166672"/>
                  <a:gd name="connsiteX13" fmla="*/ 96519 w 126064"/>
                  <a:gd name="connsiteY13" fmla="*/ 120156 h 166672"/>
                  <a:gd name="connsiteX14" fmla="*/ 96215 w 126064"/>
                  <a:gd name="connsiteY14" fmla="*/ 118944 h 166672"/>
                  <a:gd name="connsiteX15" fmla="*/ 95610 w 126064"/>
                  <a:gd name="connsiteY15" fmla="*/ 117277 h 166672"/>
                  <a:gd name="connsiteX16" fmla="*/ 71972 w 126064"/>
                  <a:gd name="connsiteY16" fmla="*/ 104852 h 166672"/>
                  <a:gd name="connsiteX17" fmla="*/ 71518 w 126064"/>
                  <a:gd name="connsiteY17" fmla="*/ 103640 h 166672"/>
                  <a:gd name="connsiteX18" fmla="*/ 69851 w 126064"/>
                  <a:gd name="connsiteY18" fmla="*/ 101519 h 166672"/>
                  <a:gd name="connsiteX19" fmla="*/ 68639 w 126064"/>
                  <a:gd name="connsiteY19" fmla="*/ 102125 h 166672"/>
                  <a:gd name="connsiteX20" fmla="*/ 69396 w 126064"/>
                  <a:gd name="connsiteY20" fmla="*/ 103186 h 166672"/>
                  <a:gd name="connsiteX21" fmla="*/ 70608 w 126064"/>
                  <a:gd name="connsiteY21" fmla="*/ 104095 h 166672"/>
                  <a:gd name="connsiteX22" fmla="*/ 71972 w 126064"/>
                  <a:gd name="connsiteY22" fmla="*/ 104852 h 166672"/>
                  <a:gd name="connsiteX23" fmla="*/ 73033 w 126064"/>
                  <a:gd name="connsiteY23" fmla="*/ 110762 h 166672"/>
                  <a:gd name="connsiteX24" fmla="*/ 72578 w 126064"/>
                  <a:gd name="connsiteY24" fmla="*/ 108640 h 166672"/>
                  <a:gd name="connsiteX25" fmla="*/ 72275 w 126064"/>
                  <a:gd name="connsiteY25" fmla="*/ 107883 h 166672"/>
                  <a:gd name="connsiteX26" fmla="*/ 70154 w 126064"/>
                  <a:gd name="connsiteY26" fmla="*/ 106368 h 166672"/>
                  <a:gd name="connsiteX27" fmla="*/ 67578 w 126064"/>
                  <a:gd name="connsiteY27" fmla="*/ 107125 h 166672"/>
                  <a:gd name="connsiteX28" fmla="*/ 68184 w 126064"/>
                  <a:gd name="connsiteY28" fmla="*/ 109701 h 166672"/>
                  <a:gd name="connsiteX29" fmla="*/ 69245 w 126064"/>
                  <a:gd name="connsiteY29" fmla="*/ 111822 h 166672"/>
                  <a:gd name="connsiteX30" fmla="*/ 69396 w 126064"/>
                  <a:gd name="connsiteY30" fmla="*/ 113338 h 166672"/>
                  <a:gd name="connsiteX31" fmla="*/ 71669 w 126064"/>
                  <a:gd name="connsiteY31" fmla="*/ 115610 h 166672"/>
                  <a:gd name="connsiteX32" fmla="*/ 72427 w 126064"/>
                  <a:gd name="connsiteY32" fmla="*/ 118338 h 166672"/>
                  <a:gd name="connsiteX33" fmla="*/ 72578 w 126064"/>
                  <a:gd name="connsiteY33" fmla="*/ 121671 h 166672"/>
                  <a:gd name="connsiteX34" fmla="*/ 68033 w 126064"/>
                  <a:gd name="connsiteY34" fmla="*/ 129096 h 166672"/>
                  <a:gd name="connsiteX35" fmla="*/ 70457 w 126064"/>
                  <a:gd name="connsiteY35" fmla="*/ 129399 h 166672"/>
                  <a:gd name="connsiteX36" fmla="*/ 75154 w 126064"/>
                  <a:gd name="connsiteY36" fmla="*/ 128338 h 166672"/>
                  <a:gd name="connsiteX37" fmla="*/ 76518 w 126064"/>
                  <a:gd name="connsiteY37" fmla="*/ 126368 h 166672"/>
                  <a:gd name="connsiteX38" fmla="*/ 77427 w 126064"/>
                  <a:gd name="connsiteY38" fmla="*/ 119701 h 166672"/>
                  <a:gd name="connsiteX39" fmla="*/ 77427 w 126064"/>
                  <a:gd name="connsiteY39" fmla="*/ 116974 h 166672"/>
                  <a:gd name="connsiteX40" fmla="*/ 73791 w 126064"/>
                  <a:gd name="connsiteY40" fmla="*/ 112580 h 166672"/>
                  <a:gd name="connsiteX41" fmla="*/ 73033 w 126064"/>
                  <a:gd name="connsiteY41" fmla="*/ 110762 h 166672"/>
                  <a:gd name="connsiteX42" fmla="*/ 125762 w 126064"/>
                  <a:gd name="connsiteY42" fmla="*/ 149703 h 166672"/>
                  <a:gd name="connsiteX43" fmla="*/ 124853 w 126064"/>
                  <a:gd name="connsiteY43" fmla="*/ 146369 h 166672"/>
                  <a:gd name="connsiteX44" fmla="*/ 124550 w 126064"/>
                  <a:gd name="connsiteY44" fmla="*/ 142278 h 166672"/>
                  <a:gd name="connsiteX45" fmla="*/ 124550 w 126064"/>
                  <a:gd name="connsiteY45" fmla="*/ 132884 h 166672"/>
                  <a:gd name="connsiteX46" fmla="*/ 124398 w 126064"/>
                  <a:gd name="connsiteY46" fmla="*/ 131823 h 166672"/>
                  <a:gd name="connsiteX47" fmla="*/ 124095 w 126064"/>
                  <a:gd name="connsiteY47" fmla="*/ 129853 h 166672"/>
                  <a:gd name="connsiteX48" fmla="*/ 123338 w 126064"/>
                  <a:gd name="connsiteY48" fmla="*/ 119550 h 166672"/>
                  <a:gd name="connsiteX49" fmla="*/ 122731 w 126064"/>
                  <a:gd name="connsiteY49" fmla="*/ 116216 h 166672"/>
                  <a:gd name="connsiteX50" fmla="*/ 122277 w 126064"/>
                  <a:gd name="connsiteY50" fmla="*/ 111671 h 166672"/>
                  <a:gd name="connsiteX51" fmla="*/ 121519 w 126064"/>
                  <a:gd name="connsiteY51" fmla="*/ 110307 h 166672"/>
                  <a:gd name="connsiteX52" fmla="*/ 120610 w 126064"/>
                  <a:gd name="connsiteY52" fmla="*/ 107731 h 166672"/>
                  <a:gd name="connsiteX53" fmla="*/ 119550 w 126064"/>
                  <a:gd name="connsiteY53" fmla="*/ 105610 h 166672"/>
                  <a:gd name="connsiteX54" fmla="*/ 118641 w 126064"/>
                  <a:gd name="connsiteY54" fmla="*/ 104701 h 166672"/>
                  <a:gd name="connsiteX55" fmla="*/ 118034 w 126064"/>
                  <a:gd name="connsiteY55" fmla="*/ 100610 h 166672"/>
                  <a:gd name="connsiteX56" fmla="*/ 117883 w 126064"/>
                  <a:gd name="connsiteY56" fmla="*/ 95610 h 166672"/>
                  <a:gd name="connsiteX57" fmla="*/ 117883 w 126064"/>
                  <a:gd name="connsiteY57" fmla="*/ 93337 h 166672"/>
                  <a:gd name="connsiteX58" fmla="*/ 116671 w 126064"/>
                  <a:gd name="connsiteY58" fmla="*/ 88488 h 166672"/>
                  <a:gd name="connsiteX59" fmla="*/ 115459 w 126064"/>
                  <a:gd name="connsiteY59" fmla="*/ 83034 h 166672"/>
                  <a:gd name="connsiteX60" fmla="*/ 113792 w 126064"/>
                  <a:gd name="connsiteY60" fmla="*/ 83336 h 166672"/>
                  <a:gd name="connsiteX61" fmla="*/ 112883 w 126064"/>
                  <a:gd name="connsiteY61" fmla="*/ 81973 h 166672"/>
                  <a:gd name="connsiteX62" fmla="*/ 112125 w 126064"/>
                  <a:gd name="connsiteY62" fmla="*/ 81973 h 166672"/>
                  <a:gd name="connsiteX63" fmla="*/ 109853 w 126064"/>
                  <a:gd name="connsiteY63" fmla="*/ 83185 h 166672"/>
                  <a:gd name="connsiteX64" fmla="*/ 108034 w 126064"/>
                  <a:gd name="connsiteY64" fmla="*/ 82730 h 166672"/>
                  <a:gd name="connsiteX65" fmla="*/ 106670 w 126064"/>
                  <a:gd name="connsiteY65" fmla="*/ 82882 h 166672"/>
                  <a:gd name="connsiteX66" fmla="*/ 106670 w 126064"/>
                  <a:gd name="connsiteY66" fmla="*/ 85458 h 166672"/>
                  <a:gd name="connsiteX67" fmla="*/ 106974 w 126064"/>
                  <a:gd name="connsiteY67" fmla="*/ 88185 h 166672"/>
                  <a:gd name="connsiteX68" fmla="*/ 106519 w 126064"/>
                  <a:gd name="connsiteY68" fmla="*/ 89094 h 166672"/>
                  <a:gd name="connsiteX69" fmla="*/ 103034 w 126064"/>
                  <a:gd name="connsiteY69" fmla="*/ 92276 h 166672"/>
                  <a:gd name="connsiteX70" fmla="*/ 102125 w 126064"/>
                  <a:gd name="connsiteY70" fmla="*/ 94398 h 166672"/>
                  <a:gd name="connsiteX71" fmla="*/ 102277 w 126064"/>
                  <a:gd name="connsiteY71" fmla="*/ 96670 h 166672"/>
                  <a:gd name="connsiteX72" fmla="*/ 102731 w 126064"/>
                  <a:gd name="connsiteY72" fmla="*/ 99701 h 166672"/>
                  <a:gd name="connsiteX73" fmla="*/ 102125 w 126064"/>
                  <a:gd name="connsiteY73" fmla="*/ 101216 h 166672"/>
                  <a:gd name="connsiteX74" fmla="*/ 100610 w 126064"/>
                  <a:gd name="connsiteY74" fmla="*/ 102580 h 166672"/>
                  <a:gd name="connsiteX75" fmla="*/ 98489 w 126064"/>
                  <a:gd name="connsiteY75" fmla="*/ 103337 h 166672"/>
                  <a:gd name="connsiteX76" fmla="*/ 96670 w 126064"/>
                  <a:gd name="connsiteY76" fmla="*/ 103034 h 166672"/>
                  <a:gd name="connsiteX77" fmla="*/ 95458 w 126064"/>
                  <a:gd name="connsiteY77" fmla="*/ 101822 h 166672"/>
                  <a:gd name="connsiteX78" fmla="*/ 94397 w 126064"/>
                  <a:gd name="connsiteY78" fmla="*/ 98792 h 166672"/>
                  <a:gd name="connsiteX79" fmla="*/ 93488 w 126064"/>
                  <a:gd name="connsiteY79" fmla="*/ 97125 h 166672"/>
                  <a:gd name="connsiteX80" fmla="*/ 92427 w 126064"/>
                  <a:gd name="connsiteY80" fmla="*/ 96670 h 166672"/>
                  <a:gd name="connsiteX81" fmla="*/ 91670 w 126064"/>
                  <a:gd name="connsiteY81" fmla="*/ 97125 h 166672"/>
                  <a:gd name="connsiteX82" fmla="*/ 91518 w 126064"/>
                  <a:gd name="connsiteY82" fmla="*/ 99095 h 166672"/>
                  <a:gd name="connsiteX83" fmla="*/ 91518 w 126064"/>
                  <a:gd name="connsiteY83" fmla="*/ 100761 h 166672"/>
                  <a:gd name="connsiteX84" fmla="*/ 91215 w 126064"/>
                  <a:gd name="connsiteY84" fmla="*/ 100913 h 166672"/>
                  <a:gd name="connsiteX85" fmla="*/ 90609 w 126064"/>
                  <a:gd name="connsiteY85" fmla="*/ 100610 h 166672"/>
                  <a:gd name="connsiteX86" fmla="*/ 90003 w 126064"/>
                  <a:gd name="connsiteY86" fmla="*/ 99852 h 166672"/>
                  <a:gd name="connsiteX87" fmla="*/ 88336 w 126064"/>
                  <a:gd name="connsiteY87" fmla="*/ 92125 h 166672"/>
                  <a:gd name="connsiteX88" fmla="*/ 85912 w 126064"/>
                  <a:gd name="connsiteY88" fmla="*/ 86215 h 166672"/>
                  <a:gd name="connsiteX89" fmla="*/ 85760 w 126064"/>
                  <a:gd name="connsiteY89" fmla="*/ 83943 h 166672"/>
                  <a:gd name="connsiteX90" fmla="*/ 86670 w 126064"/>
                  <a:gd name="connsiteY90" fmla="*/ 81064 h 166672"/>
                  <a:gd name="connsiteX91" fmla="*/ 87730 w 126064"/>
                  <a:gd name="connsiteY91" fmla="*/ 76518 h 166672"/>
                  <a:gd name="connsiteX92" fmla="*/ 90609 w 126064"/>
                  <a:gd name="connsiteY92" fmla="*/ 73639 h 166672"/>
                  <a:gd name="connsiteX93" fmla="*/ 90912 w 126064"/>
                  <a:gd name="connsiteY93" fmla="*/ 72427 h 166672"/>
                  <a:gd name="connsiteX94" fmla="*/ 91367 w 126064"/>
                  <a:gd name="connsiteY94" fmla="*/ 71518 h 166672"/>
                  <a:gd name="connsiteX95" fmla="*/ 92124 w 126064"/>
                  <a:gd name="connsiteY95" fmla="*/ 71366 h 166672"/>
                  <a:gd name="connsiteX96" fmla="*/ 95761 w 126064"/>
                  <a:gd name="connsiteY96" fmla="*/ 71669 h 166672"/>
                  <a:gd name="connsiteX97" fmla="*/ 96973 w 126064"/>
                  <a:gd name="connsiteY97" fmla="*/ 71215 h 166672"/>
                  <a:gd name="connsiteX98" fmla="*/ 98034 w 126064"/>
                  <a:gd name="connsiteY98" fmla="*/ 69851 h 166672"/>
                  <a:gd name="connsiteX99" fmla="*/ 99549 w 126064"/>
                  <a:gd name="connsiteY99" fmla="*/ 68791 h 166672"/>
                  <a:gd name="connsiteX100" fmla="*/ 101064 w 126064"/>
                  <a:gd name="connsiteY100" fmla="*/ 68336 h 166672"/>
                  <a:gd name="connsiteX101" fmla="*/ 102277 w 126064"/>
                  <a:gd name="connsiteY101" fmla="*/ 68184 h 166672"/>
                  <a:gd name="connsiteX102" fmla="*/ 104246 w 126064"/>
                  <a:gd name="connsiteY102" fmla="*/ 69245 h 166672"/>
                  <a:gd name="connsiteX103" fmla="*/ 105155 w 126064"/>
                  <a:gd name="connsiteY103" fmla="*/ 68639 h 166672"/>
                  <a:gd name="connsiteX104" fmla="*/ 105761 w 126064"/>
                  <a:gd name="connsiteY104" fmla="*/ 66821 h 166672"/>
                  <a:gd name="connsiteX105" fmla="*/ 106670 w 126064"/>
                  <a:gd name="connsiteY105" fmla="*/ 65003 h 166672"/>
                  <a:gd name="connsiteX106" fmla="*/ 107277 w 126064"/>
                  <a:gd name="connsiteY106" fmla="*/ 64093 h 166672"/>
                  <a:gd name="connsiteX107" fmla="*/ 108640 w 126064"/>
                  <a:gd name="connsiteY107" fmla="*/ 63639 h 166672"/>
                  <a:gd name="connsiteX108" fmla="*/ 110307 w 126064"/>
                  <a:gd name="connsiteY108" fmla="*/ 63487 h 166672"/>
                  <a:gd name="connsiteX109" fmla="*/ 110913 w 126064"/>
                  <a:gd name="connsiteY109" fmla="*/ 63184 h 166672"/>
                  <a:gd name="connsiteX110" fmla="*/ 111367 w 126064"/>
                  <a:gd name="connsiteY110" fmla="*/ 62578 h 166672"/>
                  <a:gd name="connsiteX111" fmla="*/ 111822 w 126064"/>
                  <a:gd name="connsiteY111" fmla="*/ 60154 h 166672"/>
                  <a:gd name="connsiteX112" fmla="*/ 114095 w 126064"/>
                  <a:gd name="connsiteY112" fmla="*/ 54548 h 166672"/>
                  <a:gd name="connsiteX113" fmla="*/ 114853 w 126064"/>
                  <a:gd name="connsiteY113" fmla="*/ 52123 h 166672"/>
                  <a:gd name="connsiteX114" fmla="*/ 115004 w 126064"/>
                  <a:gd name="connsiteY114" fmla="*/ 51669 h 166672"/>
                  <a:gd name="connsiteX115" fmla="*/ 115004 w 126064"/>
                  <a:gd name="connsiteY115" fmla="*/ 48941 h 166672"/>
                  <a:gd name="connsiteX116" fmla="*/ 115610 w 126064"/>
                  <a:gd name="connsiteY116" fmla="*/ 48487 h 166672"/>
                  <a:gd name="connsiteX117" fmla="*/ 119247 w 126064"/>
                  <a:gd name="connsiteY117" fmla="*/ 49850 h 166672"/>
                  <a:gd name="connsiteX118" fmla="*/ 120913 w 126064"/>
                  <a:gd name="connsiteY118" fmla="*/ 49850 h 166672"/>
                  <a:gd name="connsiteX119" fmla="*/ 121822 w 126064"/>
                  <a:gd name="connsiteY119" fmla="*/ 49244 h 166672"/>
                  <a:gd name="connsiteX120" fmla="*/ 122126 w 126064"/>
                  <a:gd name="connsiteY120" fmla="*/ 48184 h 166672"/>
                  <a:gd name="connsiteX121" fmla="*/ 121671 w 126064"/>
                  <a:gd name="connsiteY121" fmla="*/ 46972 h 166672"/>
                  <a:gd name="connsiteX122" fmla="*/ 119095 w 126064"/>
                  <a:gd name="connsiteY122" fmla="*/ 44850 h 166672"/>
                  <a:gd name="connsiteX123" fmla="*/ 114550 w 126064"/>
                  <a:gd name="connsiteY123" fmla="*/ 42123 h 166672"/>
                  <a:gd name="connsiteX124" fmla="*/ 110307 w 126064"/>
                  <a:gd name="connsiteY124" fmla="*/ 40456 h 166672"/>
                  <a:gd name="connsiteX125" fmla="*/ 102428 w 126064"/>
                  <a:gd name="connsiteY125" fmla="*/ 40759 h 166672"/>
                  <a:gd name="connsiteX126" fmla="*/ 94700 w 126064"/>
                  <a:gd name="connsiteY126" fmla="*/ 41365 h 166672"/>
                  <a:gd name="connsiteX127" fmla="*/ 92427 w 126064"/>
                  <a:gd name="connsiteY127" fmla="*/ 41062 h 166672"/>
                  <a:gd name="connsiteX128" fmla="*/ 89548 w 126064"/>
                  <a:gd name="connsiteY128" fmla="*/ 40305 h 166672"/>
                  <a:gd name="connsiteX129" fmla="*/ 82579 w 126064"/>
                  <a:gd name="connsiteY129" fmla="*/ 40456 h 166672"/>
                  <a:gd name="connsiteX130" fmla="*/ 74093 w 126064"/>
                  <a:gd name="connsiteY130" fmla="*/ 40911 h 166672"/>
                  <a:gd name="connsiteX131" fmla="*/ 70912 w 126064"/>
                  <a:gd name="connsiteY131" fmla="*/ 40608 h 166672"/>
                  <a:gd name="connsiteX132" fmla="*/ 69396 w 126064"/>
                  <a:gd name="connsiteY132" fmla="*/ 40608 h 166672"/>
                  <a:gd name="connsiteX133" fmla="*/ 66215 w 126064"/>
                  <a:gd name="connsiteY133" fmla="*/ 40911 h 166672"/>
                  <a:gd name="connsiteX134" fmla="*/ 61063 w 126064"/>
                  <a:gd name="connsiteY134" fmla="*/ 40153 h 166672"/>
                  <a:gd name="connsiteX135" fmla="*/ 57426 w 126064"/>
                  <a:gd name="connsiteY135" fmla="*/ 39092 h 166672"/>
                  <a:gd name="connsiteX136" fmla="*/ 54244 w 126064"/>
                  <a:gd name="connsiteY136" fmla="*/ 38032 h 166672"/>
                  <a:gd name="connsiteX137" fmla="*/ 50456 w 126064"/>
                  <a:gd name="connsiteY137" fmla="*/ 36971 h 166672"/>
                  <a:gd name="connsiteX138" fmla="*/ 49547 w 126064"/>
                  <a:gd name="connsiteY138" fmla="*/ 36971 h 166672"/>
                  <a:gd name="connsiteX139" fmla="*/ 49093 w 126064"/>
                  <a:gd name="connsiteY139" fmla="*/ 36668 h 166672"/>
                  <a:gd name="connsiteX140" fmla="*/ 48790 w 126064"/>
                  <a:gd name="connsiteY140" fmla="*/ 35759 h 166672"/>
                  <a:gd name="connsiteX141" fmla="*/ 48638 w 126064"/>
                  <a:gd name="connsiteY141" fmla="*/ 34547 h 166672"/>
                  <a:gd name="connsiteX142" fmla="*/ 49395 w 126064"/>
                  <a:gd name="connsiteY142" fmla="*/ 29244 h 166672"/>
                  <a:gd name="connsiteX143" fmla="*/ 48638 w 126064"/>
                  <a:gd name="connsiteY143" fmla="*/ 21061 h 166672"/>
                  <a:gd name="connsiteX144" fmla="*/ 49244 w 126064"/>
                  <a:gd name="connsiteY144" fmla="*/ 18031 h 166672"/>
                  <a:gd name="connsiteX145" fmla="*/ 46214 w 126064"/>
                  <a:gd name="connsiteY145" fmla="*/ 11364 h 166672"/>
                  <a:gd name="connsiteX146" fmla="*/ 45153 w 126064"/>
                  <a:gd name="connsiteY146" fmla="*/ 10152 h 166672"/>
                  <a:gd name="connsiteX147" fmla="*/ 43789 w 126064"/>
                  <a:gd name="connsiteY147" fmla="*/ 10152 h 166672"/>
                  <a:gd name="connsiteX148" fmla="*/ 42880 w 126064"/>
                  <a:gd name="connsiteY148" fmla="*/ 11061 h 166672"/>
                  <a:gd name="connsiteX149" fmla="*/ 42577 w 126064"/>
                  <a:gd name="connsiteY149" fmla="*/ 12576 h 166672"/>
                  <a:gd name="connsiteX150" fmla="*/ 43032 w 126064"/>
                  <a:gd name="connsiteY150" fmla="*/ 14394 h 166672"/>
                  <a:gd name="connsiteX151" fmla="*/ 41971 w 126064"/>
                  <a:gd name="connsiteY151" fmla="*/ 16364 h 166672"/>
                  <a:gd name="connsiteX152" fmla="*/ 39698 w 126064"/>
                  <a:gd name="connsiteY152" fmla="*/ 16970 h 166672"/>
                  <a:gd name="connsiteX153" fmla="*/ 36971 w 126064"/>
                  <a:gd name="connsiteY153" fmla="*/ 16364 h 166672"/>
                  <a:gd name="connsiteX154" fmla="*/ 34698 w 126064"/>
                  <a:gd name="connsiteY154" fmla="*/ 15455 h 166672"/>
                  <a:gd name="connsiteX155" fmla="*/ 31819 w 126064"/>
                  <a:gd name="connsiteY155" fmla="*/ 13485 h 166672"/>
                  <a:gd name="connsiteX156" fmla="*/ 29698 w 126064"/>
                  <a:gd name="connsiteY156" fmla="*/ 10606 h 166672"/>
                  <a:gd name="connsiteX157" fmla="*/ 29546 w 126064"/>
                  <a:gd name="connsiteY157" fmla="*/ 7576 h 166672"/>
                  <a:gd name="connsiteX158" fmla="*/ 28637 w 126064"/>
                  <a:gd name="connsiteY158" fmla="*/ 5606 h 166672"/>
                  <a:gd name="connsiteX159" fmla="*/ 27274 w 126064"/>
                  <a:gd name="connsiteY159" fmla="*/ 4697 h 166672"/>
                  <a:gd name="connsiteX160" fmla="*/ 26364 w 126064"/>
                  <a:gd name="connsiteY160" fmla="*/ 4394 h 166672"/>
                  <a:gd name="connsiteX161" fmla="*/ 25455 w 126064"/>
                  <a:gd name="connsiteY161" fmla="*/ 4546 h 166672"/>
                  <a:gd name="connsiteX162" fmla="*/ 24697 w 126064"/>
                  <a:gd name="connsiteY162" fmla="*/ 5606 h 166672"/>
                  <a:gd name="connsiteX163" fmla="*/ 25304 w 126064"/>
                  <a:gd name="connsiteY163" fmla="*/ 6667 h 166672"/>
                  <a:gd name="connsiteX164" fmla="*/ 26213 w 126064"/>
                  <a:gd name="connsiteY164" fmla="*/ 8182 h 166672"/>
                  <a:gd name="connsiteX165" fmla="*/ 25910 w 126064"/>
                  <a:gd name="connsiteY165" fmla="*/ 9243 h 166672"/>
                  <a:gd name="connsiteX166" fmla="*/ 25152 w 126064"/>
                  <a:gd name="connsiteY166" fmla="*/ 9394 h 166672"/>
                  <a:gd name="connsiteX167" fmla="*/ 23940 w 126064"/>
                  <a:gd name="connsiteY167" fmla="*/ 8940 h 166672"/>
                  <a:gd name="connsiteX168" fmla="*/ 22122 w 126064"/>
                  <a:gd name="connsiteY168" fmla="*/ 9243 h 166672"/>
                  <a:gd name="connsiteX169" fmla="*/ 20304 w 126064"/>
                  <a:gd name="connsiteY169" fmla="*/ 8485 h 166672"/>
                  <a:gd name="connsiteX170" fmla="*/ 19243 w 126064"/>
                  <a:gd name="connsiteY170" fmla="*/ 8485 h 166672"/>
                  <a:gd name="connsiteX171" fmla="*/ 18182 w 126064"/>
                  <a:gd name="connsiteY171" fmla="*/ 8182 h 166672"/>
                  <a:gd name="connsiteX172" fmla="*/ 18182 w 126064"/>
                  <a:gd name="connsiteY172" fmla="*/ 6364 h 166672"/>
                  <a:gd name="connsiteX173" fmla="*/ 16516 w 126064"/>
                  <a:gd name="connsiteY173" fmla="*/ 4091 h 166672"/>
                  <a:gd name="connsiteX174" fmla="*/ 13788 w 126064"/>
                  <a:gd name="connsiteY174" fmla="*/ 1515 h 166672"/>
                  <a:gd name="connsiteX175" fmla="*/ 11061 w 126064"/>
                  <a:gd name="connsiteY175" fmla="*/ 0 h 166672"/>
                  <a:gd name="connsiteX176" fmla="*/ 9697 w 126064"/>
                  <a:gd name="connsiteY176" fmla="*/ 152 h 166672"/>
                  <a:gd name="connsiteX177" fmla="*/ 9091 w 126064"/>
                  <a:gd name="connsiteY177" fmla="*/ 1818 h 166672"/>
                  <a:gd name="connsiteX178" fmla="*/ 9243 w 126064"/>
                  <a:gd name="connsiteY178" fmla="*/ 2424 h 166672"/>
                  <a:gd name="connsiteX179" fmla="*/ 10152 w 126064"/>
                  <a:gd name="connsiteY179" fmla="*/ 2727 h 166672"/>
                  <a:gd name="connsiteX180" fmla="*/ 11515 w 126064"/>
                  <a:gd name="connsiteY180" fmla="*/ 3788 h 166672"/>
                  <a:gd name="connsiteX181" fmla="*/ 11819 w 126064"/>
                  <a:gd name="connsiteY181" fmla="*/ 4849 h 166672"/>
                  <a:gd name="connsiteX182" fmla="*/ 11667 w 126064"/>
                  <a:gd name="connsiteY182" fmla="*/ 5758 h 166672"/>
                  <a:gd name="connsiteX183" fmla="*/ 10000 w 126064"/>
                  <a:gd name="connsiteY183" fmla="*/ 7425 h 166672"/>
                  <a:gd name="connsiteX184" fmla="*/ 8788 w 126064"/>
                  <a:gd name="connsiteY184" fmla="*/ 8940 h 166672"/>
                  <a:gd name="connsiteX185" fmla="*/ 6061 w 126064"/>
                  <a:gd name="connsiteY185" fmla="*/ 11213 h 166672"/>
                  <a:gd name="connsiteX186" fmla="*/ 3788 w 126064"/>
                  <a:gd name="connsiteY186" fmla="*/ 13788 h 166672"/>
                  <a:gd name="connsiteX187" fmla="*/ 3182 w 126064"/>
                  <a:gd name="connsiteY187" fmla="*/ 15758 h 166672"/>
                  <a:gd name="connsiteX188" fmla="*/ 2273 w 126064"/>
                  <a:gd name="connsiteY188" fmla="*/ 17576 h 166672"/>
                  <a:gd name="connsiteX189" fmla="*/ 1969 w 126064"/>
                  <a:gd name="connsiteY189" fmla="*/ 19546 h 166672"/>
                  <a:gd name="connsiteX190" fmla="*/ 2576 w 126064"/>
                  <a:gd name="connsiteY190" fmla="*/ 20910 h 166672"/>
                  <a:gd name="connsiteX191" fmla="*/ 3636 w 126064"/>
                  <a:gd name="connsiteY191" fmla="*/ 21819 h 166672"/>
                  <a:gd name="connsiteX192" fmla="*/ 6515 w 126064"/>
                  <a:gd name="connsiteY192" fmla="*/ 22425 h 166672"/>
                  <a:gd name="connsiteX193" fmla="*/ 9545 w 126064"/>
                  <a:gd name="connsiteY193" fmla="*/ 25152 h 166672"/>
                  <a:gd name="connsiteX194" fmla="*/ 11970 w 126064"/>
                  <a:gd name="connsiteY194" fmla="*/ 28789 h 166672"/>
                  <a:gd name="connsiteX195" fmla="*/ 13333 w 126064"/>
                  <a:gd name="connsiteY195" fmla="*/ 29850 h 166672"/>
                  <a:gd name="connsiteX196" fmla="*/ 15758 w 126064"/>
                  <a:gd name="connsiteY196" fmla="*/ 31062 h 166672"/>
                  <a:gd name="connsiteX197" fmla="*/ 20607 w 126064"/>
                  <a:gd name="connsiteY197" fmla="*/ 31213 h 166672"/>
                  <a:gd name="connsiteX198" fmla="*/ 21364 w 126064"/>
                  <a:gd name="connsiteY198" fmla="*/ 32274 h 166672"/>
                  <a:gd name="connsiteX199" fmla="*/ 21970 w 126064"/>
                  <a:gd name="connsiteY199" fmla="*/ 34850 h 166672"/>
                  <a:gd name="connsiteX200" fmla="*/ 22879 w 126064"/>
                  <a:gd name="connsiteY200" fmla="*/ 35759 h 166672"/>
                  <a:gd name="connsiteX201" fmla="*/ 25304 w 126064"/>
                  <a:gd name="connsiteY201" fmla="*/ 36971 h 166672"/>
                  <a:gd name="connsiteX202" fmla="*/ 25455 w 126064"/>
                  <a:gd name="connsiteY202" fmla="*/ 37880 h 166672"/>
                  <a:gd name="connsiteX203" fmla="*/ 24849 w 126064"/>
                  <a:gd name="connsiteY203" fmla="*/ 38941 h 166672"/>
                  <a:gd name="connsiteX204" fmla="*/ 23788 w 126064"/>
                  <a:gd name="connsiteY204" fmla="*/ 39699 h 166672"/>
                  <a:gd name="connsiteX205" fmla="*/ 21819 w 126064"/>
                  <a:gd name="connsiteY205" fmla="*/ 40153 h 166672"/>
                  <a:gd name="connsiteX206" fmla="*/ 19849 w 126064"/>
                  <a:gd name="connsiteY206" fmla="*/ 40305 h 166672"/>
                  <a:gd name="connsiteX207" fmla="*/ 17879 w 126064"/>
                  <a:gd name="connsiteY207" fmla="*/ 40001 h 166672"/>
                  <a:gd name="connsiteX208" fmla="*/ 15000 w 126064"/>
                  <a:gd name="connsiteY208" fmla="*/ 39850 h 166672"/>
                  <a:gd name="connsiteX209" fmla="*/ 11819 w 126064"/>
                  <a:gd name="connsiteY209" fmla="*/ 39850 h 166672"/>
                  <a:gd name="connsiteX210" fmla="*/ 9545 w 126064"/>
                  <a:gd name="connsiteY210" fmla="*/ 46365 h 166672"/>
                  <a:gd name="connsiteX211" fmla="*/ 7879 w 126064"/>
                  <a:gd name="connsiteY211" fmla="*/ 48638 h 166672"/>
                  <a:gd name="connsiteX212" fmla="*/ 6970 w 126064"/>
                  <a:gd name="connsiteY212" fmla="*/ 48638 h 166672"/>
                  <a:gd name="connsiteX213" fmla="*/ 4545 w 126064"/>
                  <a:gd name="connsiteY213" fmla="*/ 47577 h 166672"/>
                  <a:gd name="connsiteX214" fmla="*/ 3485 w 126064"/>
                  <a:gd name="connsiteY214" fmla="*/ 47729 h 166672"/>
                  <a:gd name="connsiteX215" fmla="*/ 606 w 126064"/>
                  <a:gd name="connsiteY215" fmla="*/ 53638 h 166672"/>
                  <a:gd name="connsiteX216" fmla="*/ 151 w 126064"/>
                  <a:gd name="connsiteY216" fmla="*/ 55002 h 166672"/>
                  <a:gd name="connsiteX217" fmla="*/ 0 w 126064"/>
                  <a:gd name="connsiteY217" fmla="*/ 56063 h 166672"/>
                  <a:gd name="connsiteX218" fmla="*/ 1515 w 126064"/>
                  <a:gd name="connsiteY218" fmla="*/ 58336 h 166672"/>
                  <a:gd name="connsiteX219" fmla="*/ 3333 w 126064"/>
                  <a:gd name="connsiteY219" fmla="*/ 60154 h 166672"/>
                  <a:gd name="connsiteX220" fmla="*/ 5455 w 126064"/>
                  <a:gd name="connsiteY220" fmla="*/ 60911 h 166672"/>
                  <a:gd name="connsiteX221" fmla="*/ 7121 w 126064"/>
                  <a:gd name="connsiteY221" fmla="*/ 60305 h 166672"/>
                  <a:gd name="connsiteX222" fmla="*/ 8485 w 126064"/>
                  <a:gd name="connsiteY222" fmla="*/ 61063 h 166672"/>
                  <a:gd name="connsiteX223" fmla="*/ 10152 w 126064"/>
                  <a:gd name="connsiteY223" fmla="*/ 62881 h 166672"/>
                  <a:gd name="connsiteX224" fmla="*/ 12879 w 126064"/>
                  <a:gd name="connsiteY224" fmla="*/ 64093 h 166672"/>
                  <a:gd name="connsiteX225" fmla="*/ 16819 w 126064"/>
                  <a:gd name="connsiteY225" fmla="*/ 64699 h 166672"/>
                  <a:gd name="connsiteX226" fmla="*/ 19091 w 126064"/>
                  <a:gd name="connsiteY226" fmla="*/ 66215 h 166672"/>
                  <a:gd name="connsiteX227" fmla="*/ 19395 w 126064"/>
                  <a:gd name="connsiteY227" fmla="*/ 67427 h 166672"/>
                  <a:gd name="connsiteX228" fmla="*/ 19243 w 126064"/>
                  <a:gd name="connsiteY228" fmla="*/ 68791 h 166672"/>
                  <a:gd name="connsiteX229" fmla="*/ 18940 w 126064"/>
                  <a:gd name="connsiteY229" fmla="*/ 72124 h 166672"/>
                  <a:gd name="connsiteX230" fmla="*/ 18486 w 126064"/>
                  <a:gd name="connsiteY230" fmla="*/ 74094 h 166672"/>
                  <a:gd name="connsiteX231" fmla="*/ 16364 w 126064"/>
                  <a:gd name="connsiteY231" fmla="*/ 79094 h 166672"/>
                  <a:gd name="connsiteX232" fmla="*/ 14849 w 126064"/>
                  <a:gd name="connsiteY232" fmla="*/ 83488 h 166672"/>
                  <a:gd name="connsiteX233" fmla="*/ 15607 w 126064"/>
                  <a:gd name="connsiteY233" fmla="*/ 85609 h 166672"/>
                  <a:gd name="connsiteX234" fmla="*/ 16212 w 126064"/>
                  <a:gd name="connsiteY234" fmla="*/ 86518 h 166672"/>
                  <a:gd name="connsiteX235" fmla="*/ 16667 w 126064"/>
                  <a:gd name="connsiteY235" fmla="*/ 87124 h 166672"/>
                  <a:gd name="connsiteX236" fmla="*/ 18334 w 126064"/>
                  <a:gd name="connsiteY236" fmla="*/ 88791 h 166672"/>
                  <a:gd name="connsiteX237" fmla="*/ 19546 w 126064"/>
                  <a:gd name="connsiteY237" fmla="*/ 90458 h 166672"/>
                  <a:gd name="connsiteX238" fmla="*/ 18486 w 126064"/>
                  <a:gd name="connsiteY238" fmla="*/ 94549 h 166672"/>
                  <a:gd name="connsiteX239" fmla="*/ 19091 w 126064"/>
                  <a:gd name="connsiteY239" fmla="*/ 95610 h 166672"/>
                  <a:gd name="connsiteX240" fmla="*/ 21364 w 126064"/>
                  <a:gd name="connsiteY240" fmla="*/ 96367 h 166672"/>
                  <a:gd name="connsiteX241" fmla="*/ 23788 w 126064"/>
                  <a:gd name="connsiteY241" fmla="*/ 96973 h 166672"/>
                  <a:gd name="connsiteX242" fmla="*/ 24697 w 126064"/>
                  <a:gd name="connsiteY242" fmla="*/ 97731 h 166672"/>
                  <a:gd name="connsiteX243" fmla="*/ 22576 w 126064"/>
                  <a:gd name="connsiteY243" fmla="*/ 101974 h 166672"/>
                  <a:gd name="connsiteX244" fmla="*/ 23031 w 126064"/>
                  <a:gd name="connsiteY244" fmla="*/ 104852 h 166672"/>
                  <a:gd name="connsiteX245" fmla="*/ 23940 w 126064"/>
                  <a:gd name="connsiteY245" fmla="*/ 107580 h 166672"/>
                  <a:gd name="connsiteX246" fmla="*/ 24546 w 126064"/>
                  <a:gd name="connsiteY246" fmla="*/ 111974 h 166672"/>
                  <a:gd name="connsiteX247" fmla="*/ 24697 w 126064"/>
                  <a:gd name="connsiteY247" fmla="*/ 112428 h 166672"/>
                  <a:gd name="connsiteX248" fmla="*/ 24546 w 126064"/>
                  <a:gd name="connsiteY248" fmla="*/ 113489 h 166672"/>
                  <a:gd name="connsiteX249" fmla="*/ 25910 w 126064"/>
                  <a:gd name="connsiteY249" fmla="*/ 116974 h 166672"/>
                  <a:gd name="connsiteX250" fmla="*/ 28031 w 126064"/>
                  <a:gd name="connsiteY250" fmla="*/ 123792 h 166672"/>
                  <a:gd name="connsiteX251" fmla="*/ 28183 w 126064"/>
                  <a:gd name="connsiteY251" fmla="*/ 126368 h 166672"/>
                  <a:gd name="connsiteX252" fmla="*/ 28031 w 126064"/>
                  <a:gd name="connsiteY252" fmla="*/ 129096 h 166672"/>
                  <a:gd name="connsiteX253" fmla="*/ 28789 w 126064"/>
                  <a:gd name="connsiteY253" fmla="*/ 131368 h 166672"/>
                  <a:gd name="connsiteX254" fmla="*/ 29092 w 126064"/>
                  <a:gd name="connsiteY254" fmla="*/ 135460 h 166672"/>
                  <a:gd name="connsiteX255" fmla="*/ 31062 w 126064"/>
                  <a:gd name="connsiteY255" fmla="*/ 138035 h 166672"/>
                  <a:gd name="connsiteX256" fmla="*/ 32880 w 126064"/>
                  <a:gd name="connsiteY256" fmla="*/ 139854 h 166672"/>
                  <a:gd name="connsiteX257" fmla="*/ 34092 w 126064"/>
                  <a:gd name="connsiteY257" fmla="*/ 140308 h 166672"/>
                  <a:gd name="connsiteX258" fmla="*/ 36213 w 126064"/>
                  <a:gd name="connsiteY258" fmla="*/ 139854 h 166672"/>
                  <a:gd name="connsiteX259" fmla="*/ 38940 w 126064"/>
                  <a:gd name="connsiteY259" fmla="*/ 136975 h 166672"/>
                  <a:gd name="connsiteX260" fmla="*/ 40304 w 126064"/>
                  <a:gd name="connsiteY260" fmla="*/ 134247 h 166672"/>
                  <a:gd name="connsiteX261" fmla="*/ 40304 w 126064"/>
                  <a:gd name="connsiteY261" fmla="*/ 130914 h 166672"/>
                  <a:gd name="connsiteX262" fmla="*/ 39395 w 126064"/>
                  <a:gd name="connsiteY262" fmla="*/ 125762 h 166672"/>
                  <a:gd name="connsiteX263" fmla="*/ 39850 w 126064"/>
                  <a:gd name="connsiteY263" fmla="*/ 123944 h 166672"/>
                  <a:gd name="connsiteX264" fmla="*/ 41668 w 126064"/>
                  <a:gd name="connsiteY264" fmla="*/ 132278 h 166672"/>
                  <a:gd name="connsiteX265" fmla="*/ 42123 w 126064"/>
                  <a:gd name="connsiteY265" fmla="*/ 135763 h 166672"/>
                  <a:gd name="connsiteX266" fmla="*/ 42123 w 126064"/>
                  <a:gd name="connsiteY266" fmla="*/ 138490 h 166672"/>
                  <a:gd name="connsiteX267" fmla="*/ 43789 w 126064"/>
                  <a:gd name="connsiteY267" fmla="*/ 137126 h 166672"/>
                  <a:gd name="connsiteX268" fmla="*/ 44850 w 126064"/>
                  <a:gd name="connsiteY268" fmla="*/ 135308 h 166672"/>
                  <a:gd name="connsiteX269" fmla="*/ 47274 w 126064"/>
                  <a:gd name="connsiteY269" fmla="*/ 134096 h 166672"/>
                  <a:gd name="connsiteX270" fmla="*/ 48790 w 126064"/>
                  <a:gd name="connsiteY270" fmla="*/ 132278 h 166672"/>
                  <a:gd name="connsiteX271" fmla="*/ 49850 w 126064"/>
                  <a:gd name="connsiteY271" fmla="*/ 129247 h 166672"/>
                  <a:gd name="connsiteX272" fmla="*/ 50153 w 126064"/>
                  <a:gd name="connsiteY272" fmla="*/ 126974 h 166672"/>
                  <a:gd name="connsiteX273" fmla="*/ 49850 w 126064"/>
                  <a:gd name="connsiteY273" fmla="*/ 123641 h 166672"/>
                  <a:gd name="connsiteX274" fmla="*/ 50608 w 126064"/>
                  <a:gd name="connsiteY274" fmla="*/ 120762 h 166672"/>
                  <a:gd name="connsiteX275" fmla="*/ 53487 w 126064"/>
                  <a:gd name="connsiteY275" fmla="*/ 118489 h 166672"/>
                  <a:gd name="connsiteX276" fmla="*/ 51062 w 126064"/>
                  <a:gd name="connsiteY276" fmla="*/ 123035 h 166672"/>
                  <a:gd name="connsiteX277" fmla="*/ 51062 w 126064"/>
                  <a:gd name="connsiteY277" fmla="*/ 126065 h 166672"/>
                  <a:gd name="connsiteX278" fmla="*/ 51668 w 126064"/>
                  <a:gd name="connsiteY278" fmla="*/ 128490 h 166672"/>
                  <a:gd name="connsiteX279" fmla="*/ 52729 w 126064"/>
                  <a:gd name="connsiteY279" fmla="*/ 131217 h 166672"/>
                  <a:gd name="connsiteX280" fmla="*/ 55911 w 126064"/>
                  <a:gd name="connsiteY280" fmla="*/ 129096 h 166672"/>
                  <a:gd name="connsiteX281" fmla="*/ 58032 w 126064"/>
                  <a:gd name="connsiteY281" fmla="*/ 128035 h 166672"/>
                  <a:gd name="connsiteX282" fmla="*/ 59850 w 126064"/>
                  <a:gd name="connsiteY282" fmla="*/ 127429 h 166672"/>
                  <a:gd name="connsiteX283" fmla="*/ 56517 w 126064"/>
                  <a:gd name="connsiteY283" fmla="*/ 131368 h 166672"/>
                  <a:gd name="connsiteX284" fmla="*/ 56062 w 126064"/>
                  <a:gd name="connsiteY284" fmla="*/ 133035 h 166672"/>
                  <a:gd name="connsiteX285" fmla="*/ 56062 w 126064"/>
                  <a:gd name="connsiteY285" fmla="*/ 135156 h 166672"/>
                  <a:gd name="connsiteX286" fmla="*/ 57729 w 126064"/>
                  <a:gd name="connsiteY286" fmla="*/ 136369 h 166672"/>
                  <a:gd name="connsiteX287" fmla="*/ 58487 w 126064"/>
                  <a:gd name="connsiteY287" fmla="*/ 137278 h 166672"/>
                  <a:gd name="connsiteX288" fmla="*/ 60457 w 126064"/>
                  <a:gd name="connsiteY288" fmla="*/ 136975 h 166672"/>
                  <a:gd name="connsiteX289" fmla="*/ 61972 w 126064"/>
                  <a:gd name="connsiteY289" fmla="*/ 135005 h 166672"/>
                  <a:gd name="connsiteX290" fmla="*/ 63790 w 126064"/>
                  <a:gd name="connsiteY290" fmla="*/ 130762 h 166672"/>
                  <a:gd name="connsiteX291" fmla="*/ 67578 w 126064"/>
                  <a:gd name="connsiteY291" fmla="*/ 126974 h 166672"/>
                  <a:gd name="connsiteX292" fmla="*/ 69245 w 126064"/>
                  <a:gd name="connsiteY292" fmla="*/ 125914 h 166672"/>
                  <a:gd name="connsiteX293" fmla="*/ 70305 w 126064"/>
                  <a:gd name="connsiteY293" fmla="*/ 124702 h 166672"/>
                  <a:gd name="connsiteX294" fmla="*/ 71063 w 126064"/>
                  <a:gd name="connsiteY294" fmla="*/ 121671 h 166672"/>
                  <a:gd name="connsiteX295" fmla="*/ 70457 w 126064"/>
                  <a:gd name="connsiteY295" fmla="*/ 119550 h 166672"/>
                  <a:gd name="connsiteX296" fmla="*/ 68639 w 126064"/>
                  <a:gd name="connsiteY296" fmla="*/ 116519 h 166672"/>
                  <a:gd name="connsiteX297" fmla="*/ 67426 w 126064"/>
                  <a:gd name="connsiteY297" fmla="*/ 115156 h 166672"/>
                  <a:gd name="connsiteX298" fmla="*/ 67730 w 126064"/>
                  <a:gd name="connsiteY298" fmla="*/ 113792 h 166672"/>
                  <a:gd name="connsiteX299" fmla="*/ 67275 w 126064"/>
                  <a:gd name="connsiteY299" fmla="*/ 112428 h 166672"/>
                  <a:gd name="connsiteX300" fmla="*/ 66063 w 126064"/>
                  <a:gd name="connsiteY300" fmla="*/ 110459 h 166672"/>
                  <a:gd name="connsiteX301" fmla="*/ 66063 w 126064"/>
                  <a:gd name="connsiteY301" fmla="*/ 108337 h 166672"/>
                  <a:gd name="connsiteX302" fmla="*/ 66669 w 126064"/>
                  <a:gd name="connsiteY302" fmla="*/ 106822 h 166672"/>
                  <a:gd name="connsiteX303" fmla="*/ 69093 w 126064"/>
                  <a:gd name="connsiteY303" fmla="*/ 106216 h 166672"/>
                  <a:gd name="connsiteX304" fmla="*/ 67124 w 126064"/>
                  <a:gd name="connsiteY304" fmla="*/ 103943 h 166672"/>
                  <a:gd name="connsiteX305" fmla="*/ 66820 w 126064"/>
                  <a:gd name="connsiteY305" fmla="*/ 101974 h 166672"/>
                  <a:gd name="connsiteX306" fmla="*/ 68487 w 126064"/>
                  <a:gd name="connsiteY306" fmla="*/ 101064 h 166672"/>
                  <a:gd name="connsiteX307" fmla="*/ 70305 w 126064"/>
                  <a:gd name="connsiteY307" fmla="*/ 99701 h 166672"/>
                  <a:gd name="connsiteX308" fmla="*/ 70457 w 126064"/>
                  <a:gd name="connsiteY308" fmla="*/ 97731 h 166672"/>
                  <a:gd name="connsiteX309" fmla="*/ 70154 w 126064"/>
                  <a:gd name="connsiteY309" fmla="*/ 95913 h 166672"/>
                  <a:gd name="connsiteX310" fmla="*/ 68336 w 126064"/>
                  <a:gd name="connsiteY310" fmla="*/ 93640 h 166672"/>
                  <a:gd name="connsiteX311" fmla="*/ 64699 w 126064"/>
                  <a:gd name="connsiteY311" fmla="*/ 93034 h 166672"/>
                  <a:gd name="connsiteX312" fmla="*/ 61366 w 126064"/>
                  <a:gd name="connsiteY312" fmla="*/ 90458 h 166672"/>
                  <a:gd name="connsiteX313" fmla="*/ 65154 w 126064"/>
                  <a:gd name="connsiteY313" fmla="*/ 91216 h 166672"/>
                  <a:gd name="connsiteX314" fmla="*/ 69245 w 126064"/>
                  <a:gd name="connsiteY314" fmla="*/ 91519 h 166672"/>
                  <a:gd name="connsiteX315" fmla="*/ 69548 w 126064"/>
                  <a:gd name="connsiteY315" fmla="*/ 90003 h 166672"/>
                  <a:gd name="connsiteX316" fmla="*/ 69396 w 126064"/>
                  <a:gd name="connsiteY316" fmla="*/ 88185 h 166672"/>
                  <a:gd name="connsiteX317" fmla="*/ 69699 w 126064"/>
                  <a:gd name="connsiteY317" fmla="*/ 86973 h 166672"/>
                  <a:gd name="connsiteX318" fmla="*/ 70608 w 126064"/>
                  <a:gd name="connsiteY318" fmla="*/ 86518 h 166672"/>
                  <a:gd name="connsiteX319" fmla="*/ 70912 w 126064"/>
                  <a:gd name="connsiteY319" fmla="*/ 88185 h 166672"/>
                  <a:gd name="connsiteX320" fmla="*/ 70912 w 126064"/>
                  <a:gd name="connsiteY320" fmla="*/ 90761 h 166672"/>
                  <a:gd name="connsiteX321" fmla="*/ 71972 w 126064"/>
                  <a:gd name="connsiteY321" fmla="*/ 95610 h 166672"/>
                  <a:gd name="connsiteX322" fmla="*/ 71366 w 126064"/>
                  <a:gd name="connsiteY322" fmla="*/ 100761 h 166672"/>
                  <a:gd name="connsiteX323" fmla="*/ 71972 w 126064"/>
                  <a:gd name="connsiteY323" fmla="*/ 102731 h 166672"/>
                  <a:gd name="connsiteX324" fmla="*/ 76669 w 126064"/>
                  <a:gd name="connsiteY324" fmla="*/ 111519 h 166672"/>
                  <a:gd name="connsiteX325" fmla="*/ 79851 w 126064"/>
                  <a:gd name="connsiteY325" fmla="*/ 115156 h 166672"/>
                  <a:gd name="connsiteX326" fmla="*/ 85457 w 126064"/>
                  <a:gd name="connsiteY326" fmla="*/ 114701 h 166672"/>
                  <a:gd name="connsiteX327" fmla="*/ 87276 w 126064"/>
                  <a:gd name="connsiteY327" fmla="*/ 113944 h 166672"/>
                  <a:gd name="connsiteX328" fmla="*/ 90003 w 126064"/>
                  <a:gd name="connsiteY328" fmla="*/ 111216 h 166672"/>
                  <a:gd name="connsiteX329" fmla="*/ 92579 w 126064"/>
                  <a:gd name="connsiteY329" fmla="*/ 109398 h 166672"/>
                  <a:gd name="connsiteX330" fmla="*/ 94549 w 126064"/>
                  <a:gd name="connsiteY330" fmla="*/ 106822 h 166672"/>
                  <a:gd name="connsiteX331" fmla="*/ 94549 w 126064"/>
                  <a:gd name="connsiteY331" fmla="*/ 109398 h 166672"/>
                  <a:gd name="connsiteX332" fmla="*/ 95912 w 126064"/>
                  <a:gd name="connsiteY332" fmla="*/ 111974 h 166672"/>
                  <a:gd name="connsiteX333" fmla="*/ 100307 w 126064"/>
                  <a:gd name="connsiteY333" fmla="*/ 117732 h 166672"/>
                  <a:gd name="connsiteX334" fmla="*/ 101367 w 126064"/>
                  <a:gd name="connsiteY334" fmla="*/ 120611 h 166672"/>
                  <a:gd name="connsiteX335" fmla="*/ 103034 w 126064"/>
                  <a:gd name="connsiteY335" fmla="*/ 123792 h 166672"/>
                  <a:gd name="connsiteX336" fmla="*/ 104398 w 126064"/>
                  <a:gd name="connsiteY336" fmla="*/ 122429 h 166672"/>
                  <a:gd name="connsiteX337" fmla="*/ 104852 w 126064"/>
                  <a:gd name="connsiteY337" fmla="*/ 122277 h 166672"/>
                  <a:gd name="connsiteX338" fmla="*/ 104700 w 126064"/>
                  <a:gd name="connsiteY338" fmla="*/ 123186 h 166672"/>
                  <a:gd name="connsiteX339" fmla="*/ 103791 w 126064"/>
                  <a:gd name="connsiteY339" fmla="*/ 125762 h 166672"/>
                  <a:gd name="connsiteX340" fmla="*/ 104549 w 126064"/>
                  <a:gd name="connsiteY340" fmla="*/ 127732 h 166672"/>
                  <a:gd name="connsiteX341" fmla="*/ 106216 w 126064"/>
                  <a:gd name="connsiteY341" fmla="*/ 135611 h 166672"/>
                  <a:gd name="connsiteX342" fmla="*/ 108792 w 126064"/>
                  <a:gd name="connsiteY342" fmla="*/ 141217 h 166672"/>
                  <a:gd name="connsiteX343" fmla="*/ 108943 w 126064"/>
                  <a:gd name="connsiteY343" fmla="*/ 146066 h 166672"/>
                  <a:gd name="connsiteX344" fmla="*/ 110155 w 126064"/>
                  <a:gd name="connsiteY344" fmla="*/ 155763 h 166672"/>
                  <a:gd name="connsiteX345" fmla="*/ 113943 w 126064"/>
                  <a:gd name="connsiteY345" fmla="*/ 161218 h 166672"/>
                  <a:gd name="connsiteX346" fmla="*/ 115459 w 126064"/>
                  <a:gd name="connsiteY346" fmla="*/ 164097 h 166672"/>
                  <a:gd name="connsiteX347" fmla="*/ 117125 w 126064"/>
                  <a:gd name="connsiteY347" fmla="*/ 166673 h 166672"/>
                  <a:gd name="connsiteX348" fmla="*/ 117580 w 126064"/>
                  <a:gd name="connsiteY348" fmla="*/ 166673 h 166672"/>
                  <a:gd name="connsiteX349" fmla="*/ 117277 w 126064"/>
                  <a:gd name="connsiteY349" fmla="*/ 164551 h 166672"/>
                  <a:gd name="connsiteX350" fmla="*/ 116519 w 126064"/>
                  <a:gd name="connsiteY350" fmla="*/ 162582 h 166672"/>
                  <a:gd name="connsiteX351" fmla="*/ 116065 w 126064"/>
                  <a:gd name="connsiteY351" fmla="*/ 160460 h 166672"/>
                  <a:gd name="connsiteX352" fmla="*/ 115913 w 126064"/>
                  <a:gd name="connsiteY352" fmla="*/ 158794 h 166672"/>
                  <a:gd name="connsiteX353" fmla="*/ 114550 w 126064"/>
                  <a:gd name="connsiteY353" fmla="*/ 157279 h 166672"/>
                  <a:gd name="connsiteX354" fmla="*/ 113943 w 126064"/>
                  <a:gd name="connsiteY354" fmla="*/ 154703 h 166672"/>
                  <a:gd name="connsiteX355" fmla="*/ 113641 w 126064"/>
                  <a:gd name="connsiteY355" fmla="*/ 152127 h 166672"/>
                  <a:gd name="connsiteX356" fmla="*/ 114398 w 126064"/>
                  <a:gd name="connsiteY356" fmla="*/ 150308 h 166672"/>
                  <a:gd name="connsiteX357" fmla="*/ 116368 w 126064"/>
                  <a:gd name="connsiteY357" fmla="*/ 148339 h 166672"/>
                  <a:gd name="connsiteX358" fmla="*/ 117731 w 126064"/>
                  <a:gd name="connsiteY358" fmla="*/ 148036 h 166672"/>
                  <a:gd name="connsiteX359" fmla="*/ 118943 w 126064"/>
                  <a:gd name="connsiteY359" fmla="*/ 148945 h 166672"/>
                  <a:gd name="connsiteX360" fmla="*/ 121671 w 126064"/>
                  <a:gd name="connsiteY360" fmla="*/ 150308 h 166672"/>
                  <a:gd name="connsiteX361" fmla="*/ 123489 w 126064"/>
                  <a:gd name="connsiteY361" fmla="*/ 151521 h 166672"/>
                  <a:gd name="connsiteX362" fmla="*/ 124247 w 126064"/>
                  <a:gd name="connsiteY362" fmla="*/ 153187 h 166672"/>
                  <a:gd name="connsiteX363" fmla="*/ 125156 w 126064"/>
                  <a:gd name="connsiteY363" fmla="*/ 153036 h 166672"/>
                  <a:gd name="connsiteX364" fmla="*/ 126065 w 126064"/>
                  <a:gd name="connsiteY364" fmla="*/ 151975 h 166672"/>
                  <a:gd name="connsiteX365" fmla="*/ 125762 w 126064"/>
                  <a:gd name="connsiteY365" fmla="*/ 149703 h 166672"/>
                  <a:gd name="connsiteX366" fmla="*/ 105458 w 126064"/>
                  <a:gd name="connsiteY366" fmla="*/ 134550 h 166672"/>
                  <a:gd name="connsiteX367" fmla="*/ 104852 w 126064"/>
                  <a:gd name="connsiteY367" fmla="*/ 133338 h 166672"/>
                  <a:gd name="connsiteX368" fmla="*/ 104549 w 126064"/>
                  <a:gd name="connsiteY368" fmla="*/ 133338 h 166672"/>
                  <a:gd name="connsiteX369" fmla="*/ 104095 w 126064"/>
                  <a:gd name="connsiteY369" fmla="*/ 134550 h 166672"/>
                  <a:gd name="connsiteX370" fmla="*/ 103640 w 126064"/>
                  <a:gd name="connsiteY370" fmla="*/ 136672 h 166672"/>
                  <a:gd name="connsiteX371" fmla="*/ 104095 w 126064"/>
                  <a:gd name="connsiteY371" fmla="*/ 138338 h 166672"/>
                  <a:gd name="connsiteX372" fmla="*/ 105155 w 126064"/>
                  <a:gd name="connsiteY372" fmla="*/ 136066 h 166672"/>
                  <a:gd name="connsiteX373" fmla="*/ 105458 w 126064"/>
                  <a:gd name="connsiteY373" fmla="*/ 134550 h 166672"/>
                  <a:gd name="connsiteX374" fmla="*/ 106822 w 126064"/>
                  <a:gd name="connsiteY374" fmla="*/ 139096 h 166672"/>
                  <a:gd name="connsiteX375" fmla="*/ 106065 w 126064"/>
                  <a:gd name="connsiteY375" fmla="*/ 139096 h 166672"/>
                  <a:gd name="connsiteX376" fmla="*/ 104700 w 126064"/>
                  <a:gd name="connsiteY376" fmla="*/ 139551 h 166672"/>
                  <a:gd name="connsiteX377" fmla="*/ 105155 w 126064"/>
                  <a:gd name="connsiteY377" fmla="*/ 143339 h 166672"/>
                  <a:gd name="connsiteX378" fmla="*/ 104852 w 126064"/>
                  <a:gd name="connsiteY378" fmla="*/ 144551 h 166672"/>
                  <a:gd name="connsiteX379" fmla="*/ 105610 w 126064"/>
                  <a:gd name="connsiteY379" fmla="*/ 145460 h 166672"/>
                  <a:gd name="connsiteX380" fmla="*/ 107277 w 126064"/>
                  <a:gd name="connsiteY380" fmla="*/ 145308 h 166672"/>
                  <a:gd name="connsiteX381" fmla="*/ 107579 w 126064"/>
                  <a:gd name="connsiteY381" fmla="*/ 142430 h 166672"/>
                  <a:gd name="connsiteX382" fmla="*/ 107277 w 126064"/>
                  <a:gd name="connsiteY382" fmla="*/ 140308 h 166672"/>
                  <a:gd name="connsiteX383" fmla="*/ 106822 w 126064"/>
                  <a:gd name="connsiteY383" fmla="*/ 139096 h 16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126064" h="166672">
                    <a:moveTo>
                      <a:pt x="83488" y="116368"/>
                    </a:moveTo>
                    <a:lnTo>
                      <a:pt x="82579" y="128187"/>
                    </a:lnTo>
                    <a:lnTo>
                      <a:pt x="85457" y="126217"/>
                    </a:lnTo>
                    <a:lnTo>
                      <a:pt x="86215" y="123186"/>
                    </a:lnTo>
                    <a:lnTo>
                      <a:pt x="85609" y="120762"/>
                    </a:lnTo>
                    <a:lnTo>
                      <a:pt x="83488" y="116368"/>
                    </a:lnTo>
                    <a:close/>
                    <a:moveTo>
                      <a:pt x="95610" y="117277"/>
                    </a:moveTo>
                    <a:lnTo>
                      <a:pt x="94549" y="114853"/>
                    </a:lnTo>
                    <a:lnTo>
                      <a:pt x="93791" y="113641"/>
                    </a:lnTo>
                    <a:lnTo>
                      <a:pt x="93336" y="114095"/>
                    </a:lnTo>
                    <a:lnTo>
                      <a:pt x="92579" y="117580"/>
                    </a:lnTo>
                    <a:lnTo>
                      <a:pt x="94094" y="120307"/>
                    </a:lnTo>
                    <a:lnTo>
                      <a:pt x="95306" y="121065"/>
                    </a:lnTo>
                    <a:lnTo>
                      <a:pt x="96519" y="120156"/>
                    </a:lnTo>
                    <a:lnTo>
                      <a:pt x="96215" y="118944"/>
                    </a:lnTo>
                    <a:lnTo>
                      <a:pt x="95610" y="117277"/>
                    </a:lnTo>
                    <a:close/>
                    <a:moveTo>
                      <a:pt x="71972" y="104852"/>
                    </a:moveTo>
                    <a:lnTo>
                      <a:pt x="71518" y="103640"/>
                    </a:lnTo>
                    <a:lnTo>
                      <a:pt x="69851" y="101519"/>
                    </a:lnTo>
                    <a:lnTo>
                      <a:pt x="68639" y="102125"/>
                    </a:lnTo>
                    <a:lnTo>
                      <a:pt x="69396" y="103186"/>
                    </a:lnTo>
                    <a:lnTo>
                      <a:pt x="70608" y="104095"/>
                    </a:lnTo>
                    <a:lnTo>
                      <a:pt x="71972" y="104852"/>
                    </a:lnTo>
                    <a:close/>
                    <a:moveTo>
                      <a:pt x="73033" y="110762"/>
                    </a:moveTo>
                    <a:lnTo>
                      <a:pt x="72578" y="108640"/>
                    </a:lnTo>
                    <a:lnTo>
                      <a:pt x="72275" y="107883"/>
                    </a:lnTo>
                    <a:lnTo>
                      <a:pt x="70154" y="106368"/>
                    </a:lnTo>
                    <a:lnTo>
                      <a:pt x="67578" y="107125"/>
                    </a:lnTo>
                    <a:lnTo>
                      <a:pt x="68184" y="109701"/>
                    </a:lnTo>
                    <a:lnTo>
                      <a:pt x="69245" y="111822"/>
                    </a:lnTo>
                    <a:lnTo>
                      <a:pt x="69396" y="113338"/>
                    </a:lnTo>
                    <a:lnTo>
                      <a:pt x="71669" y="115610"/>
                    </a:lnTo>
                    <a:lnTo>
                      <a:pt x="72427" y="118338"/>
                    </a:lnTo>
                    <a:lnTo>
                      <a:pt x="72578" y="121671"/>
                    </a:lnTo>
                    <a:lnTo>
                      <a:pt x="68033" y="129096"/>
                    </a:lnTo>
                    <a:lnTo>
                      <a:pt x="70457" y="129399"/>
                    </a:lnTo>
                    <a:lnTo>
                      <a:pt x="75154" y="128338"/>
                    </a:lnTo>
                    <a:lnTo>
                      <a:pt x="76518" y="126368"/>
                    </a:lnTo>
                    <a:lnTo>
                      <a:pt x="77427" y="119701"/>
                    </a:lnTo>
                    <a:lnTo>
                      <a:pt x="77427" y="116974"/>
                    </a:lnTo>
                    <a:lnTo>
                      <a:pt x="73791" y="112580"/>
                    </a:lnTo>
                    <a:lnTo>
                      <a:pt x="73033" y="110762"/>
                    </a:lnTo>
                    <a:close/>
                    <a:moveTo>
                      <a:pt x="125762" y="149703"/>
                    </a:moveTo>
                    <a:lnTo>
                      <a:pt x="124853" y="146369"/>
                    </a:lnTo>
                    <a:lnTo>
                      <a:pt x="124550" y="142278"/>
                    </a:lnTo>
                    <a:lnTo>
                      <a:pt x="124550" y="132884"/>
                    </a:lnTo>
                    <a:lnTo>
                      <a:pt x="124398" y="131823"/>
                    </a:lnTo>
                    <a:lnTo>
                      <a:pt x="124095" y="129853"/>
                    </a:lnTo>
                    <a:lnTo>
                      <a:pt x="123338" y="119550"/>
                    </a:lnTo>
                    <a:lnTo>
                      <a:pt x="122731" y="116216"/>
                    </a:lnTo>
                    <a:lnTo>
                      <a:pt x="122277" y="111671"/>
                    </a:lnTo>
                    <a:lnTo>
                      <a:pt x="121519" y="110307"/>
                    </a:lnTo>
                    <a:lnTo>
                      <a:pt x="120610" y="107731"/>
                    </a:lnTo>
                    <a:lnTo>
                      <a:pt x="119550" y="105610"/>
                    </a:lnTo>
                    <a:lnTo>
                      <a:pt x="118641" y="104701"/>
                    </a:lnTo>
                    <a:lnTo>
                      <a:pt x="118034" y="100610"/>
                    </a:lnTo>
                    <a:lnTo>
                      <a:pt x="117883" y="95610"/>
                    </a:lnTo>
                    <a:lnTo>
                      <a:pt x="117883" y="93337"/>
                    </a:lnTo>
                    <a:lnTo>
                      <a:pt x="116671" y="88488"/>
                    </a:lnTo>
                    <a:lnTo>
                      <a:pt x="115459" y="83034"/>
                    </a:lnTo>
                    <a:lnTo>
                      <a:pt x="113792" y="83336"/>
                    </a:lnTo>
                    <a:lnTo>
                      <a:pt x="112883" y="81973"/>
                    </a:lnTo>
                    <a:lnTo>
                      <a:pt x="112125" y="81973"/>
                    </a:lnTo>
                    <a:lnTo>
                      <a:pt x="109853" y="83185"/>
                    </a:lnTo>
                    <a:lnTo>
                      <a:pt x="108034" y="82730"/>
                    </a:lnTo>
                    <a:lnTo>
                      <a:pt x="106670" y="82882"/>
                    </a:lnTo>
                    <a:lnTo>
                      <a:pt x="106670" y="85458"/>
                    </a:lnTo>
                    <a:lnTo>
                      <a:pt x="106974" y="88185"/>
                    </a:lnTo>
                    <a:lnTo>
                      <a:pt x="106519" y="89094"/>
                    </a:lnTo>
                    <a:lnTo>
                      <a:pt x="103034" y="92276"/>
                    </a:lnTo>
                    <a:lnTo>
                      <a:pt x="102125" y="94398"/>
                    </a:lnTo>
                    <a:lnTo>
                      <a:pt x="102277" y="96670"/>
                    </a:lnTo>
                    <a:lnTo>
                      <a:pt x="102731" y="99701"/>
                    </a:lnTo>
                    <a:lnTo>
                      <a:pt x="102125" y="101216"/>
                    </a:lnTo>
                    <a:lnTo>
                      <a:pt x="100610" y="102580"/>
                    </a:lnTo>
                    <a:lnTo>
                      <a:pt x="98489" y="103337"/>
                    </a:lnTo>
                    <a:lnTo>
                      <a:pt x="96670" y="103034"/>
                    </a:lnTo>
                    <a:lnTo>
                      <a:pt x="95458" y="101822"/>
                    </a:lnTo>
                    <a:lnTo>
                      <a:pt x="94397" y="98792"/>
                    </a:lnTo>
                    <a:lnTo>
                      <a:pt x="93488" y="97125"/>
                    </a:lnTo>
                    <a:lnTo>
                      <a:pt x="92427" y="96670"/>
                    </a:lnTo>
                    <a:lnTo>
                      <a:pt x="91670" y="97125"/>
                    </a:lnTo>
                    <a:lnTo>
                      <a:pt x="91518" y="99095"/>
                    </a:lnTo>
                    <a:lnTo>
                      <a:pt x="91518" y="100761"/>
                    </a:lnTo>
                    <a:lnTo>
                      <a:pt x="91215" y="100913"/>
                    </a:lnTo>
                    <a:lnTo>
                      <a:pt x="90609" y="100610"/>
                    </a:lnTo>
                    <a:lnTo>
                      <a:pt x="90003" y="99852"/>
                    </a:lnTo>
                    <a:lnTo>
                      <a:pt x="88336" y="92125"/>
                    </a:lnTo>
                    <a:lnTo>
                      <a:pt x="85912" y="86215"/>
                    </a:lnTo>
                    <a:lnTo>
                      <a:pt x="85760" y="83943"/>
                    </a:lnTo>
                    <a:lnTo>
                      <a:pt x="86670" y="81064"/>
                    </a:lnTo>
                    <a:lnTo>
                      <a:pt x="87730" y="76518"/>
                    </a:lnTo>
                    <a:lnTo>
                      <a:pt x="90609" y="73639"/>
                    </a:lnTo>
                    <a:lnTo>
                      <a:pt x="90912" y="72427"/>
                    </a:lnTo>
                    <a:lnTo>
                      <a:pt x="91367" y="71518"/>
                    </a:lnTo>
                    <a:lnTo>
                      <a:pt x="92124" y="71366"/>
                    </a:lnTo>
                    <a:lnTo>
                      <a:pt x="95761" y="71669"/>
                    </a:lnTo>
                    <a:lnTo>
                      <a:pt x="96973" y="71215"/>
                    </a:lnTo>
                    <a:lnTo>
                      <a:pt x="98034" y="69851"/>
                    </a:lnTo>
                    <a:lnTo>
                      <a:pt x="99549" y="68791"/>
                    </a:lnTo>
                    <a:lnTo>
                      <a:pt x="101064" y="68336"/>
                    </a:lnTo>
                    <a:lnTo>
                      <a:pt x="102277" y="68184"/>
                    </a:lnTo>
                    <a:lnTo>
                      <a:pt x="104246" y="69245"/>
                    </a:lnTo>
                    <a:lnTo>
                      <a:pt x="105155" y="68639"/>
                    </a:lnTo>
                    <a:lnTo>
                      <a:pt x="105761" y="66821"/>
                    </a:lnTo>
                    <a:lnTo>
                      <a:pt x="106670" y="65003"/>
                    </a:lnTo>
                    <a:lnTo>
                      <a:pt x="107277" y="64093"/>
                    </a:lnTo>
                    <a:lnTo>
                      <a:pt x="108640" y="63639"/>
                    </a:lnTo>
                    <a:lnTo>
                      <a:pt x="110307" y="63487"/>
                    </a:lnTo>
                    <a:lnTo>
                      <a:pt x="110913" y="63184"/>
                    </a:lnTo>
                    <a:lnTo>
                      <a:pt x="111367" y="62578"/>
                    </a:lnTo>
                    <a:lnTo>
                      <a:pt x="111822" y="60154"/>
                    </a:lnTo>
                    <a:lnTo>
                      <a:pt x="114095" y="54548"/>
                    </a:lnTo>
                    <a:lnTo>
                      <a:pt x="114853" y="52123"/>
                    </a:lnTo>
                    <a:lnTo>
                      <a:pt x="115004" y="51669"/>
                    </a:lnTo>
                    <a:lnTo>
                      <a:pt x="115004" y="48941"/>
                    </a:lnTo>
                    <a:lnTo>
                      <a:pt x="115610" y="48487"/>
                    </a:lnTo>
                    <a:lnTo>
                      <a:pt x="119247" y="49850"/>
                    </a:lnTo>
                    <a:lnTo>
                      <a:pt x="120913" y="49850"/>
                    </a:lnTo>
                    <a:lnTo>
                      <a:pt x="121822" y="49244"/>
                    </a:lnTo>
                    <a:lnTo>
                      <a:pt x="122126" y="48184"/>
                    </a:lnTo>
                    <a:lnTo>
                      <a:pt x="121671" y="46972"/>
                    </a:lnTo>
                    <a:lnTo>
                      <a:pt x="119095" y="44850"/>
                    </a:lnTo>
                    <a:lnTo>
                      <a:pt x="114550" y="42123"/>
                    </a:lnTo>
                    <a:lnTo>
                      <a:pt x="110307" y="40456"/>
                    </a:lnTo>
                    <a:lnTo>
                      <a:pt x="102428" y="40759"/>
                    </a:lnTo>
                    <a:lnTo>
                      <a:pt x="94700" y="41365"/>
                    </a:lnTo>
                    <a:lnTo>
                      <a:pt x="92427" y="41062"/>
                    </a:lnTo>
                    <a:lnTo>
                      <a:pt x="89548" y="40305"/>
                    </a:lnTo>
                    <a:lnTo>
                      <a:pt x="82579" y="40456"/>
                    </a:lnTo>
                    <a:lnTo>
                      <a:pt x="74093" y="40911"/>
                    </a:lnTo>
                    <a:lnTo>
                      <a:pt x="70912" y="40608"/>
                    </a:lnTo>
                    <a:lnTo>
                      <a:pt x="69396" y="40608"/>
                    </a:lnTo>
                    <a:lnTo>
                      <a:pt x="66215" y="40911"/>
                    </a:lnTo>
                    <a:lnTo>
                      <a:pt x="61063" y="40153"/>
                    </a:lnTo>
                    <a:lnTo>
                      <a:pt x="57426" y="39092"/>
                    </a:lnTo>
                    <a:lnTo>
                      <a:pt x="54244" y="38032"/>
                    </a:lnTo>
                    <a:lnTo>
                      <a:pt x="50456" y="36971"/>
                    </a:lnTo>
                    <a:lnTo>
                      <a:pt x="49547" y="36971"/>
                    </a:lnTo>
                    <a:lnTo>
                      <a:pt x="49093" y="36668"/>
                    </a:lnTo>
                    <a:lnTo>
                      <a:pt x="48790" y="35759"/>
                    </a:lnTo>
                    <a:lnTo>
                      <a:pt x="48638" y="34547"/>
                    </a:lnTo>
                    <a:lnTo>
                      <a:pt x="49395" y="29244"/>
                    </a:lnTo>
                    <a:lnTo>
                      <a:pt x="48638" y="21061"/>
                    </a:lnTo>
                    <a:lnTo>
                      <a:pt x="49244" y="18031"/>
                    </a:lnTo>
                    <a:lnTo>
                      <a:pt x="46214" y="11364"/>
                    </a:lnTo>
                    <a:lnTo>
                      <a:pt x="45153" y="10152"/>
                    </a:lnTo>
                    <a:lnTo>
                      <a:pt x="43789" y="10152"/>
                    </a:lnTo>
                    <a:lnTo>
                      <a:pt x="42880" y="11061"/>
                    </a:lnTo>
                    <a:lnTo>
                      <a:pt x="42577" y="12576"/>
                    </a:lnTo>
                    <a:lnTo>
                      <a:pt x="43032" y="14394"/>
                    </a:lnTo>
                    <a:lnTo>
                      <a:pt x="41971" y="16364"/>
                    </a:lnTo>
                    <a:lnTo>
                      <a:pt x="39698" y="16970"/>
                    </a:lnTo>
                    <a:lnTo>
                      <a:pt x="36971" y="16364"/>
                    </a:lnTo>
                    <a:lnTo>
                      <a:pt x="34698" y="15455"/>
                    </a:lnTo>
                    <a:lnTo>
                      <a:pt x="31819" y="13485"/>
                    </a:lnTo>
                    <a:lnTo>
                      <a:pt x="29698" y="10606"/>
                    </a:lnTo>
                    <a:lnTo>
                      <a:pt x="29546" y="7576"/>
                    </a:lnTo>
                    <a:lnTo>
                      <a:pt x="28637" y="5606"/>
                    </a:lnTo>
                    <a:lnTo>
                      <a:pt x="27274" y="4697"/>
                    </a:lnTo>
                    <a:lnTo>
                      <a:pt x="26364" y="4394"/>
                    </a:lnTo>
                    <a:lnTo>
                      <a:pt x="25455" y="4546"/>
                    </a:lnTo>
                    <a:lnTo>
                      <a:pt x="24697" y="5606"/>
                    </a:lnTo>
                    <a:lnTo>
                      <a:pt x="25304" y="6667"/>
                    </a:lnTo>
                    <a:lnTo>
                      <a:pt x="26213" y="8182"/>
                    </a:lnTo>
                    <a:lnTo>
                      <a:pt x="25910" y="9243"/>
                    </a:lnTo>
                    <a:lnTo>
                      <a:pt x="25152" y="9394"/>
                    </a:lnTo>
                    <a:lnTo>
                      <a:pt x="23940" y="8940"/>
                    </a:lnTo>
                    <a:lnTo>
                      <a:pt x="22122" y="9243"/>
                    </a:lnTo>
                    <a:lnTo>
                      <a:pt x="20304" y="8485"/>
                    </a:lnTo>
                    <a:lnTo>
                      <a:pt x="19243" y="8485"/>
                    </a:lnTo>
                    <a:lnTo>
                      <a:pt x="18182" y="8182"/>
                    </a:lnTo>
                    <a:lnTo>
                      <a:pt x="18182" y="6364"/>
                    </a:lnTo>
                    <a:lnTo>
                      <a:pt x="16516" y="4091"/>
                    </a:lnTo>
                    <a:lnTo>
                      <a:pt x="13788" y="1515"/>
                    </a:lnTo>
                    <a:lnTo>
                      <a:pt x="11061" y="0"/>
                    </a:lnTo>
                    <a:lnTo>
                      <a:pt x="9697" y="152"/>
                    </a:lnTo>
                    <a:lnTo>
                      <a:pt x="9091" y="1818"/>
                    </a:lnTo>
                    <a:lnTo>
                      <a:pt x="9243" y="2424"/>
                    </a:lnTo>
                    <a:lnTo>
                      <a:pt x="10152" y="2727"/>
                    </a:lnTo>
                    <a:lnTo>
                      <a:pt x="11515" y="3788"/>
                    </a:lnTo>
                    <a:lnTo>
                      <a:pt x="11819" y="4849"/>
                    </a:lnTo>
                    <a:lnTo>
                      <a:pt x="11667" y="5758"/>
                    </a:lnTo>
                    <a:lnTo>
                      <a:pt x="10000" y="7425"/>
                    </a:lnTo>
                    <a:lnTo>
                      <a:pt x="8788" y="8940"/>
                    </a:lnTo>
                    <a:lnTo>
                      <a:pt x="6061" y="11213"/>
                    </a:lnTo>
                    <a:lnTo>
                      <a:pt x="3788" y="13788"/>
                    </a:lnTo>
                    <a:lnTo>
                      <a:pt x="3182" y="15758"/>
                    </a:lnTo>
                    <a:lnTo>
                      <a:pt x="2273" y="17576"/>
                    </a:lnTo>
                    <a:lnTo>
                      <a:pt x="1969" y="19546"/>
                    </a:lnTo>
                    <a:lnTo>
                      <a:pt x="2576" y="20910"/>
                    </a:lnTo>
                    <a:lnTo>
                      <a:pt x="3636" y="21819"/>
                    </a:lnTo>
                    <a:lnTo>
                      <a:pt x="6515" y="22425"/>
                    </a:lnTo>
                    <a:lnTo>
                      <a:pt x="9545" y="25152"/>
                    </a:lnTo>
                    <a:lnTo>
                      <a:pt x="11970" y="28789"/>
                    </a:lnTo>
                    <a:lnTo>
                      <a:pt x="13333" y="29850"/>
                    </a:lnTo>
                    <a:lnTo>
                      <a:pt x="15758" y="31062"/>
                    </a:lnTo>
                    <a:lnTo>
                      <a:pt x="20607" y="31213"/>
                    </a:lnTo>
                    <a:lnTo>
                      <a:pt x="21364" y="32274"/>
                    </a:lnTo>
                    <a:lnTo>
                      <a:pt x="21970" y="34850"/>
                    </a:lnTo>
                    <a:lnTo>
                      <a:pt x="22879" y="35759"/>
                    </a:lnTo>
                    <a:lnTo>
                      <a:pt x="25304" y="36971"/>
                    </a:lnTo>
                    <a:lnTo>
                      <a:pt x="25455" y="37880"/>
                    </a:lnTo>
                    <a:lnTo>
                      <a:pt x="24849" y="38941"/>
                    </a:lnTo>
                    <a:lnTo>
                      <a:pt x="23788" y="39699"/>
                    </a:lnTo>
                    <a:lnTo>
                      <a:pt x="21819" y="40153"/>
                    </a:lnTo>
                    <a:lnTo>
                      <a:pt x="19849" y="40305"/>
                    </a:lnTo>
                    <a:lnTo>
                      <a:pt x="17879" y="40001"/>
                    </a:lnTo>
                    <a:lnTo>
                      <a:pt x="15000" y="39850"/>
                    </a:lnTo>
                    <a:lnTo>
                      <a:pt x="11819" y="39850"/>
                    </a:lnTo>
                    <a:lnTo>
                      <a:pt x="9545" y="46365"/>
                    </a:lnTo>
                    <a:lnTo>
                      <a:pt x="7879" y="48638"/>
                    </a:lnTo>
                    <a:lnTo>
                      <a:pt x="6970" y="48638"/>
                    </a:lnTo>
                    <a:lnTo>
                      <a:pt x="4545" y="47577"/>
                    </a:lnTo>
                    <a:lnTo>
                      <a:pt x="3485" y="47729"/>
                    </a:lnTo>
                    <a:lnTo>
                      <a:pt x="606" y="53638"/>
                    </a:lnTo>
                    <a:lnTo>
                      <a:pt x="151" y="55002"/>
                    </a:lnTo>
                    <a:lnTo>
                      <a:pt x="0" y="56063"/>
                    </a:lnTo>
                    <a:lnTo>
                      <a:pt x="1515" y="58336"/>
                    </a:lnTo>
                    <a:lnTo>
                      <a:pt x="3333" y="60154"/>
                    </a:lnTo>
                    <a:lnTo>
                      <a:pt x="5455" y="60911"/>
                    </a:lnTo>
                    <a:lnTo>
                      <a:pt x="7121" y="60305"/>
                    </a:lnTo>
                    <a:lnTo>
                      <a:pt x="8485" y="61063"/>
                    </a:lnTo>
                    <a:lnTo>
                      <a:pt x="10152" y="62881"/>
                    </a:lnTo>
                    <a:lnTo>
                      <a:pt x="12879" y="64093"/>
                    </a:lnTo>
                    <a:lnTo>
                      <a:pt x="16819" y="64699"/>
                    </a:lnTo>
                    <a:lnTo>
                      <a:pt x="19091" y="66215"/>
                    </a:lnTo>
                    <a:lnTo>
                      <a:pt x="19395" y="67427"/>
                    </a:lnTo>
                    <a:lnTo>
                      <a:pt x="19243" y="68791"/>
                    </a:lnTo>
                    <a:lnTo>
                      <a:pt x="18940" y="72124"/>
                    </a:lnTo>
                    <a:lnTo>
                      <a:pt x="18486" y="74094"/>
                    </a:lnTo>
                    <a:lnTo>
                      <a:pt x="16364" y="79094"/>
                    </a:lnTo>
                    <a:lnTo>
                      <a:pt x="14849" y="83488"/>
                    </a:lnTo>
                    <a:lnTo>
                      <a:pt x="15607" y="85609"/>
                    </a:lnTo>
                    <a:lnTo>
                      <a:pt x="16212" y="86518"/>
                    </a:lnTo>
                    <a:lnTo>
                      <a:pt x="16667" y="87124"/>
                    </a:lnTo>
                    <a:lnTo>
                      <a:pt x="18334" y="88791"/>
                    </a:lnTo>
                    <a:lnTo>
                      <a:pt x="19546" y="90458"/>
                    </a:lnTo>
                    <a:lnTo>
                      <a:pt x="18486" y="94549"/>
                    </a:lnTo>
                    <a:lnTo>
                      <a:pt x="19091" y="95610"/>
                    </a:lnTo>
                    <a:lnTo>
                      <a:pt x="21364" y="96367"/>
                    </a:lnTo>
                    <a:lnTo>
                      <a:pt x="23788" y="96973"/>
                    </a:lnTo>
                    <a:lnTo>
                      <a:pt x="24697" y="97731"/>
                    </a:lnTo>
                    <a:lnTo>
                      <a:pt x="22576" y="101974"/>
                    </a:lnTo>
                    <a:lnTo>
                      <a:pt x="23031" y="104852"/>
                    </a:lnTo>
                    <a:lnTo>
                      <a:pt x="23940" y="107580"/>
                    </a:lnTo>
                    <a:lnTo>
                      <a:pt x="24546" y="111974"/>
                    </a:lnTo>
                    <a:lnTo>
                      <a:pt x="24697" y="112428"/>
                    </a:lnTo>
                    <a:lnTo>
                      <a:pt x="24546" y="113489"/>
                    </a:lnTo>
                    <a:lnTo>
                      <a:pt x="25910" y="116974"/>
                    </a:lnTo>
                    <a:lnTo>
                      <a:pt x="28031" y="123792"/>
                    </a:lnTo>
                    <a:lnTo>
                      <a:pt x="28183" y="126368"/>
                    </a:lnTo>
                    <a:lnTo>
                      <a:pt x="28031" y="129096"/>
                    </a:lnTo>
                    <a:lnTo>
                      <a:pt x="28789" y="131368"/>
                    </a:lnTo>
                    <a:lnTo>
                      <a:pt x="29092" y="135460"/>
                    </a:lnTo>
                    <a:lnTo>
                      <a:pt x="31062" y="138035"/>
                    </a:lnTo>
                    <a:lnTo>
                      <a:pt x="32880" y="139854"/>
                    </a:lnTo>
                    <a:lnTo>
                      <a:pt x="34092" y="140308"/>
                    </a:lnTo>
                    <a:lnTo>
                      <a:pt x="36213" y="139854"/>
                    </a:lnTo>
                    <a:lnTo>
                      <a:pt x="38940" y="136975"/>
                    </a:lnTo>
                    <a:lnTo>
                      <a:pt x="40304" y="134247"/>
                    </a:lnTo>
                    <a:lnTo>
                      <a:pt x="40304" y="130914"/>
                    </a:lnTo>
                    <a:lnTo>
                      <a:pt x="39395" y="125762"/>
                    </a:lnTo>
                    <a:lnTo>
                      <a:pt x="39850" y="123944"/>
                    </a:lnTo>
                    <a:lnTo>
                      <a:pt x="41668" y="132278"/>
                    </a:lnTo>
                    <a:lnTo>
                      <a:pt x="42123" y="135763"/>
                    </a:lnTo>
                    <a:lnTo>
                      <a:pt x="42123" y="138490"/>
                    </a:lnTo>
                    <a:lnTo>
                      <a:pt x="43789" y="137126"/>
                    </a:lnTo>
                    <a:lnTo>
                      <a:pt x="44850" y="135308"/>
                    </a:lnTo>
                    <a:lnTo>
                      <a:pt x="47274" y="134096"/>
                    </a:lnTo>
                    <a:lnTo>
                      <a:pt x="48790" y="132278"/>
                    </a:lnTo>
                    <a:lnTo>
                      <a:pt x="49850" y="129247"/>
                    </a:lnTo>
                    <a:lnTo>
                      <a:pt x="50153" y="126974"/>
                    </a:lnTo>
                    <a:lnTo>
                      <a:pt x="49850" y="123641"/>
                    </a:lnTo>
                    <a:lnTo>
                      <a:pt x="50608" y="120762"/>
                    </a:lnTo>
                    <a:lnTo>
                      <a:pt x="53487" y="118489"/>
                    </a:lnTo>
                    <a:lnTo>
                      <a:pt x="51062" y="123035"/>
                    </a:lnTo>
                    <a:lnTo>
                      <a:pt x="51062" y="126065"/>
                    </a:lnTo>
                    <a:lnTo>
                      <a:pt x="51668" y="128490"/>
                    </a:lnTo>
                    <a:lnTo>
                      <a:pt x="52729" y="131217"/>
                    </a:lnTo>
                    <a:lnTo>
                      <a:pt x="55911" y="129096"/>
                    </a:lnTo>
                    <a:lnTo>
                      <a:pt x="58032" y="128035"/>
                    </a:lnTo>
                    <a:lnTo>
                      <a:pt x="59850" y="127429"/>
                    </a:lnTo>
                    <a:lnTo>
                      <a:pt x="56517" y="131368"/>
                    </a:lnTo>
                    <a:lnTo>
                      <a:pt x="56062" y="133035"/>
                    </a:lnTo>
                    <a:lnTo>
                      <a:pt x="56062" y="135156"/>
                    </a:lnTo>
                    <a:lnTo>
                      <a:pt x="57729" y="136369"/>
                    </a:lnTo>
                    <a:lnTo>
                      <a:pt x="58487" y="137278"/>
                    </a:lnTo>
                    <a:lnTo>
                      <a:pt x="60457" y="136975"/>
                    </a:lnTo>
                    <a:lnTo>
                      <a:pt x="61972" y="135005"/>
                    </a:lnTo>
                    <a:lnTo>
                      <a:pt x="63790" y="130762"/>
                    </a:lnTo>
                    <a:lnTo>
                      <a:pt x="67578" y="126974"/>
                    </a:lnTo>
                    <a:lnTo>
                      <a:pt x="69245" y="125914"/>
                    </a:lnTo>
                    <a:lnTo>
                      <a:pt x="70305" y="124702"/>
                    </a:lnTo>
                    <a:lnTo>
                      <a:pt x="71063" y="121671"/>
                    </a:lnTo>
                    <a:lnTo>
                      <a:pt x="70457" y="119550"/>
                    </a:lnTo>
                    <a:lnTo>
                      <a:pt x="68639" y="116519"/>
                    </a:lnTo>
                    <a:lnTo>
                      <a:pt x="67426" y="115156"/>
                    </a:lnTo>
                    <a:lnTo>
                      <a:pt x="67730" y="113792"/>
                    </a:lnTo>
                    <a:lnTo>
                      <a:pt x="67275" y="112428"/>
                    </a:lnTo>
                    <a:lnTo>
                      <a:pt x="66063" y="110459"/>
                    </a:lnTo>
                    <a:lnTo>
                      <a:pt x="66063" y="108337"/>
                    </a:lnTo>
                    <a:lnTo>
                      <a:pt x="66669" y="106822"/>
                    </a:lnTo>
                    <a:lnTo>
                      <a:pt x="69093" y="106216"/>
                    </a:lnTo>
                    <a:lnTo>
                      <a:pt x="67124" y="103943"/>
                    </a:lnTo>
                    <a:lnTo>
                      <a:pt x="66820" y="101974"/>
                    </a:lnTo>
                    <a:lnTo>
                      <a:pt x="68487" y="101064"/>
                    </a:lnTo>
                    <a:lnTo>
                      <a:pt x="70305" y="99701"/>
                    </a:lnTo>
                    <a:lnTo>
                      <a:pt x="70457" y="97731"/>
                    </a:lnTo>
                    <a:lnTo>
                      <a:pt x="70154" y="95913"/>
                    </a:lnTo>
                    <a:lnTo>
                      <a:pt x="68336" y="93640"/>
                    </a:lnTo>
                    <a:lnTo>
                      <a:pt x="64699" y="93034"/>
                    </a:lnTo>
                    <a:lnTo>
                      <a:pt x="61366" y="90458"/>
                    </a:lnTo>
                    <a:lnTo>
                      <a:pt x="65154" y="91216"/>
                    </a:lnTo>
                    <a:lnTo>
                      <a:pt x="69245" y="91519"/>
                    </a:lnTo>
                    <a:lnTo>
                      <a:pt x="69548" y="90003"/>
                    </a:lnTo>
                    <a:lnTo>
                      <a:pt x="69396" y="88185"/>
                    </a:lnTo>
                    <a:lnTo>
                      <a:pt x="69699" y="86973"/>
                    </a:lnTo>
                    <a:lnTo>
                      <a:pt x="70608" y="86518"/>
                    </a:lnTo>
                    <a:lnTo>
                      <a:pt x="70912" y="88185"/>
                    </a:lnTo>
                    <a:lnTo>
                      <a:pt x="70912" y="90761"/>
                    </a:lnTo>
                    <a:lnTo>
                      <a:pt x="71972" y="95610"/>
                    </a:lnTo>
                    <a:lnTo>
                      <a:pt x="71366" y="100761"/>
                    </a:lnTo>
                    <a:lnTo>
                      <a:pt x="71972" y="102731"/>
                    </a:lnTo>
                    <a:lnTo>
                      <a:pt x="76669" y="111519"/>
                    </a:lnTo>
                    <a:lnTo>
                      <a:pt x="79851" y="115156"/>
                    </a:lnTo>
                    <a:lnTo>
                      <a:pt x="85457" y="114701"/>
                    </a:lnTo>
                    <a:lnTo>
                      <a:pt x="87276" y="113944"/>
                    </a:lnTo>
                    <a:lnTo>
                      <a:pt x="90003" y="111216"/>
                    </a:lnTo>
                    <a:lnTo>
                      <a:pt x="92579" y="109398"/>
                    </a:lnTo>
                    <a:lnTo>
                      <a:pt x="94549" y="106822"/>
                    </a:lnTo>
                    <a:lnTo>
                      <a:pt x="94549" y="109398"/>
                    </a:lnTo>
                    <a:lnTo>
                      <a:pt x="95912" y="111974"/>
                    </a:lnTo>
                    <a:lnTo>
                      <a:pt x="100307" y="117732"/>
                    </a:lnTo>
                    <a:lnTo>
                      <a:pt x="101367" y="120611"/>
                    </a:lnTo>
                    <a:lnTo>
                      <a:pt x="103034" y="123792"/>
                    </a:lnTo>
                    <a:lnTo>
                      <a:pt x="104398" y="122429"/>
                    </a:lnTo>
                    <a:lnTo>
                      <a:pt x="104852" y="122277"/>
                    </a:lnTo>
                    <a:lnTo>
                      <a:pt x="104700" y="123186"/>
                    </a:lnTo>
                    <a:lnTo>
                      <a:pt x="103791" y="125762"/>
                    </a:lnTo>
                    <a:lnTo>
                      <a:pt x="104549" y="127732"/>
                    </a:lnTo>
                    <a:lnTo>
                      <a:pt x="106216" y="135611"/>
                    </a:lnTo>
                    <a:lnTo>
                      <a:pt x="108792" y="141217"/>
                    </a:lnTo>
                    <a:lnTo>
                      <a:pt x="108943" y="146066"/>
                    </a:lnTo>
                    <a:lnTo>
                      <a:pt x="110155" y="155763"/>
                    </a:lnTo>
                    <a:lnTo>
                      <a:pt x="113943" y="161218"/>
                    </a:lnTo>
                    <a:lnTo>
                      <a:pt x="115459" y="164097"/>
                    </a:lnTo>
                    <a:lnTo>
                      <a:pt x="117125" y="166673"/>
                    </a:lnTo>
                    <a:lnTo>
                      <a:pt x="117580" y="166673"/>
                    </a:lnTo>
                    <a:lnTo>
                      <a:pt x="117277" y="164551"/>
                    </a:lnTo>
                    <a:lnTo>
                      <a:pt x="116519" y="162582"/>
                    </a:lnTo>
                    <a:lnTo>
                      <a:pt x="116065" y="160460"/>
                    </a:lnTo>
                    <a:lnTo>
                      <a:pt x="115913" y="158794"/>
                    </a:lnTo>
                    <a:lnTo>
                      <a:pt x="114550" y="157279"/>
                    </a:lnTo>
                    <a:lnTo>
                      <a:pt x="113943" y="154703"/>
                    </a:lnTo>
                    <a:lnTo>
                      <a:pt x="113641" y="152127"/>
                    </a:lnTo>
                    <a:lnTo>
                      <a:pt x="114398" y="150308"/>
                    </a:lnTo>
                    <a:lnTo>
                      <a:pt x="116368" y="148339"/>
                    </a:lnTo>
                    <a:lnTo>
                      <a:pt x="117731" y="148036"/>
                    </a:lnTo>
                    <a:lnTo>
                      <a:pt x="118943" y="148945"/>
                    </a:lnTo>
                    <a:lnTo>
                      <a:pt x="121671" y="150308"/>
                    </a:lnTo>
                    <a:lnTo>
                      <a:pt x="123489" y="151521"/>
                    </a:lnTo>
                    <a:lnTo>
                      <a:pt x="124247" y="153187"/>
                    </a:lnTo>
                    <a:lnTo>
                      <a:pt x="125156" y="153036"/>
                    </a:lnTo>
                    <a:lnTo>
                      <a:pt x="126065" y="151975"/>
                    </a:lnTo>
                    <a:lnTo>
                      <a:pt x="125762" y="149703"/>
                    </a:lnTo>
                    <a:close/>
                    <a:moveTo>
                      <a:pt x="105458" y="134550"/>
                    </a:moveTo>
                    <a:lnTo>
                      <a:pt x="104852" y="133338"/>
                    </a:lnTo>
                    <a:lnTo>
                      <a:pt x="104549" y="133338"/>
                    </a:lnTo>
                    <a:lnTo>
                      <a:pt x="104095" y="134550"/>
                    </a:lnTo>
                    <a:lnTo>
                      <a:pt x="103640" y="136672"/>
                    </a:lnTo>
                    <a:lnTo>
                      <a:pt x="104095" y="138338"/>
                    </a:lnTo>
                    <a:lnTo>
                      <a:pt x="105155" y="136066"/>
                    </a:lnTo>
                    <a:lnTo>
                      <a:pt x="105458" y="134550"/>
                    </a:lnTo>
                    <a:close/>
                    <a:moveTo>
                      <a:pt x="106822" y="139096"/>
                    </a:moveTo>
                    <a:lnTo>
                      <a:pt x="106065" y="139096"/>
                    </a:lnTo>
                    <a:lnTo>
                      <a:pt x="104700" y="139551"/>
                    </a:lnTo>
                    <a:lnTo>
                      <a:pt x="105155" y="143339"/>
                    </a:lnTo>
                    <a:lnTo>
                      <a:pt x="104852" y="144551"/>
                    </a:lnTo>
                    <a:lnTo>
                      <a:pt x="105610" y="145460"/>
                    </a:lnTo>
                    <a:lnTo>
                      <a:pt x="107277" y="145308"/>
                    </a:lnTo>
                    <a:lnTo>
                      <a:pt x="107579" y="142430"/>
                    </a:lnTo>
                    <a:lnTo>
                      <a:pt x="107277" y="140308"/>
                    </a:lnTo>
                    <a:lnTo>
                      <a:pt x="106822" y="139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0" name="Freeform: Shape 3339">
                <a:extLst>
                  <a:ext uri="{FF2B5EF4-FFF2-40B4-BE49-F238E27FC236}">
                    <a16:creationId xmlns:a16="http://schemas.microsoft.com/office/drawing/2014/main" id="{7AC9E8D7-B040-4D65-AD80-E00E4A7E75E0}"/>
                  </a:ext>
                </a:extLst>
              </p:cNvPr>
              <p:cNvSpPr/>
              <p:nvPr/>
            </p:nvSpPr>
            <p:spPr>
              <a:xfrm>
                <a:off x="4145170" y="4198040"/>
                <a:ext cx="6060" cy="6970"/>
              </a:xfrm>
              <a:custGeom>
                <a:avLst/>
                <a:gdLst>
                  <a:gd name="connsiteX0" fmla="*/ 4394 w 6060"/>
                  <a:gd name="connsiteY0" fmla="*/ 3333 h 6970"/>
                  <a:gd name="connsiteX1" fmla="*/ 1515 w 6060"/>
                  <a:gd name="connsiteY1" fmla="*/ 0 h 6970"/>
                  <a:gd name="connsiteX2" fmla="*/ 0 w 6060"/>
                  <a:gd name="connsiteY2" fmla="*/ 303 h 6970"/>
                  <a:gd name="connsiteX3" fmla="*/ 151 w 6060"/>
                  <a:gd name="connsiteY3" fmla="*/ 4546 h 6970"/>
                  <a:gd name="connsiteX4" fmla="*/ 1061 w 6060"/>
                  <a:gd name="connsiteY4" fmla="*/ 5909 h 6970"/>
                  <a:gd name="connsiteX5" fmla="*/ 3485 w 6060"/>
                  <a:gd name="connsiteY5" fmla="*/ 6970 h 6970"/>
                  <a:gd name="connsiteX6" fmla="*/ 4243 w 6060"/>
                  <a:gd name="connsiteY6" fmla="*/ 6516 h 6970"/>
                  <a:gd name="connsiteX7" fmla="*/ 6061 w 6060"/>
                  <a:gd name="connsiteY7" fmla="*/ 4546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0" h="6970">
                    <a:moveTo>
                      <a:pt x="4394" y="3333"/>
                    </a:moveTo>
                    <a:lnTo>
                      <a:pt x="1515" y="0"/>
                    </a:lnTo>
                    <a:lnTo>
                      <a:pt x="0" y="303"/>
                    </a:lnTo>
                    <a:lnTo>
                      <a:pt x="151" y="4546"/>
                    </a:lnTo>
                    <a:lnTo>
                      <a:pt x="1061" y="5909"/>
                    </a:lnTo>
                    <a:lnTo>
                      <a:pt x="3485" y="6970"/>
                    </a:lnTo>
                    <a:lnTo>
                      <a:pt x="4243" y="6516"/>
                    </a:lnTo>
                    <a:lnTo>
                      <a:pt x="6061" y="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1" name="Freeform: Shape 3340">
                <a:extLst>
                  <a:ext uri="{FF2B5EF4-FFF2-40B4-BE49-F238E27FC236}">
                    <a16:creationId xmlns:a16="http://schemas.microsoft.com/office/drawing/2014/main" id="{2FB8E0CB-1C2C-4494-8BC7-09EF9720356D}"/>
                  </a:ext>
                </a:extLst>
              </p:cNvPr>
              <p:cNvSpPr/>
              <p:nvPr/>
            </p:nvSpPr>
            <p:spPr>
              <a:xfrm>
                <a:off x="6207822" y="3238005"/>
                <a:ext cx="105155" cy="90609"/>
              </a:xfrm>
              <a:custGeom>
                <a:avLst/>
                <a:gdLst>
                  <a:gd name="connsiteX0" fmla="*/ 104246 w 105155"/>
                  <a:gd name="connsiteY0" fmla="*/ 40456 h 90609"/>
                  <a:gd name="connsiteX1" fmla="*/ 101064 w 105155"/>
                  <a:gd name="connsiteY1" fmla="*/ 37729 h 90609"/>
                  <a:gd name="connsiteX2" fmla="*/ 98489 w 105155"/>
                  <a:gd name="connsiteY2" fmla="*/ 35304 h 90609"/>
                  <a:gd name="connsiteX3" fmla="*/ 95610 w 105155"/>
                  <a:gd name="connsiteY3" fmla="*/ 33486 h 90609"/>
                  <a:gd name="connsiteX4" fmla="*/ 93337 w 105155"/>
                  <a:gd name="connsiteY4" fmla="*/ 32728 h 90609"/>
                  <a:gd name="connsiteX5" fmla="*/ 92731 w 105155"/>
                  <a:gd name="connsiteY5" fmla="*/ 31819 h 90609"/>
                  <a:gd name="connsiteX6" fmla="*/ 92428 w 105155"/>
                  <a:gd name="connsiteY6" fmla="*/ 30759 h 90609"/>
                  <a:gd name="connsiteX7" fmla="*/ 92731 w 105155"/>
                  <a:gd name="connsiteY7" fmla="*/ 28940 h 90609"/>
                  <a:gd name="connsiteX8" fmla="*/ 92882 w 105155"/>
                  <a:gd name="connsiteY8" fmla="*/ 26668 h 90609"/>
                  <a:gd name="connsiteX9" fmla="*/ 93337 w 105155"/>
                  <a:gd name="connsiteY9" fmla="*/ 25152 h 90609"/>
                  <a:gd name="connsiteX10" fmla="*/ 95307 w 105155"/>
                  <a:gd name="connsiteY10" fmla="*/ 22425 h 90609"/>
                  <a:gd name="connsiteX11" fmla="*/ 97276 w 105155"/>
                  <a:gd name="connsiteY11" fmla="*/ 19546 h 90609"/>
                  <a:gd name="connsiteX12" fmla="*/ 98337 w 105155"/>
                  <a:gd name="connsiteY12" fmla="*/ 16667 h 90609"/>
                  <a:gd name="connsiteX13" fmla="*/ 98943 w 105155"/>
                  <a:gd name="connsiteY13" fmla="*/ 14091 h 90609"/>
                  <a:gd name="connsiteX14" fmla="*/ 98791 w 105155"/>
                  <a:gd name="connsiteY14" fmla="*/ 13334 h 90609"/>
                  <a:gd name="connsiteX15" fmla="*/ 97731 w 105155"/>
                  <a:gd name="connsiteY15" fmla="*/ 12728 h 90609"/>
                  <a:gd name="connsiteX16" fmla="*/ 95761 w 105155"/>
                  <a:gd name="connsiteY16" fmla="*/ 12122 h 90609"/>
                  <a:gd name="connsiteX17" fmla="*/ 92882 w 105155"/>
                  <a:gd name="connsiteY17" fmla="*/ 12728 h 90609"/>
                  <a:gd name="connsiteX18" fmla="*/ 90306 w 105155"/>
                  <a:gd name="connsiteY18" fmla="*/ 13637 h 90609"/>
                  <a:gd name="connsiteX19" fmla="*/ 89397 w 105155"/>
                  <a:gd name="connsiteY19" fmla="*/ 13637 h 90609"/>
                  <a:gd name="connsiteX20" fmla="*/ 87579 w 105155"/>
                  <a:gd name="connsiteY20" fmla="*/ 13788 h 90609"/>
                  <a:gd name="connsiteX21" fmla="*/ 84700 w 105155"/>
                  <a:gd name="connsiteY21" fmla="*/ 13182 h 90609"/>
                  <a:gd name="connsiteX22" fmla="*/ 83488 w 105155"/>
                  <a:gd name="connsiteY22" fmla="*/ 12122 h 90609"/>
                  <a:gd name="connsiteX23" fmla="*/ 83185 w 105155"/>
                  <a:gd name="connsiteY23" fmla="*/ 11061 h 90609"/>
                  <a:gd name="connsiteX24" fmla="*/ 83185 w 105155"/>
                  <a:gd name="connsiteY24" fmla="*/ 10000 h 90609"/>
                  <a:gd name="connsiteX25" fmla="*/ 82276 w 105155"/>
                  <a:gd name="connsiteY25" fmla="*/ 8334 h 90609"/>
                  <a:gd name="connsiteX26" fmla="*/ 80003 w 105155"/>
                  <a:gd name="connsiteY26" fmla="*/ 6667 h 90609"/>
                  <a:gd name="connsiteX27" fmla="*/ 75154 w 105155"/>
                  <a:gd name="connsiteY27" fmla="*/ 6364 h 90609"/>
                  <a:gd name="connsiteX28" fmla="*/ 73488 w 105155"/>
                  <a:gd name="connsiteY28" fmla="*/ 5909 h 90609"/>
                  <a:gd name="connsiteX29" fmla="*/ 71669 w 105155"/>
                  <a:gd name="connsiteY29" fmla="*/ 5152 h 90609"/>
                  <a:gd name="connsiteX30" fmla="*/ 69700 w 105155"/>
                  <a:gd name="connsiteY30" fmla="*/ 4697 h 90609"/>
                  <a:gd name="connsiteX31" fmla="*/ 67881 w 105155"/>
                  <a:gd name="connsiteY31" fmla="*/ 4849 h 90609"/>
                  <a:gd name="connsiteX32" fmla="*/ 65608 w 105155"/>
                  <a:gd name="connsiteY32" fmla="*/ 5303 h 90609"/>
                  <a:gd name="connsiteX33" fmla="*/ 61820 w 105155"/>
                  <a:gd name="connsiteY33" fmla="*/ 4546 h 90609"/>
                  <a:gd name="connsiteX34" fmla="*/ 60457 w 105155"/>
                  <a:gd name="connsiteY34" fmla="*/ 5455 h 90609"/>
                  <a:gd name="connsiteX35" fmla="*/ 58487 w 105155"/>
                  <a:gd name="connsiteY35" fmla="*/ 6667 h 90609"/>
                  <a:gd name="connsiteX36" fmla="*/ 56669 w 105155"/>
                  <a:gd name="connsiteY36" fmla="*/ 6667 h 90609"/>
                  <a:gd name="connsiteX37" fmla="*/ 53335 w 105155"/>
                  <a:gd name="connsiteY37" fmla="*/ 3939 h 90609"/>
                  <a:gd name="connsiteX38" fmla="*/ 52426 w 105155"/>
                  <a:gd name="connsiteY38" fmla="*/ 3788 h 90609"/>
                  <a:gd name="connsiteX39" fmla="*/ 49396 w 105155"/>
                  <a:gd name="connsiteY39" fmla="*/ 5152 h 90609"/>
                  <a:gd name="connsiteX40" fmla="*/ 48183 w 105155"/>
                  <a:gd name="connsiteY40" fmla="*/ 5152 h 90609"/>
                  <a:gd name="connsiteX41" fmla="*/ 47274 w 105155"/>
                  <a:gd name="connsiteY41" fmla="*/ 4849 h 90609"/>
                  <a:gd name="connsiteX42" fmla="*/ 43335 w 105155"/>
                  <a:gd name="connsiteY42" fmla="*/ 3788 h 90609"/>
                  <a:gd name="connsiteX43" fmla="*/ 41517 w 105155"/>
                  <a:gd name="connsiteY43" fmla="*/ 3485 h 90609"/>
                  <a:gd name="connsiteX44" fmla="*/ 40305 w 105155"/>
                  <a:gd name="connsiteY44" fmla="*/ 3939 h 90609"/>
                  <a:gd name="connsiteX45" fmla="*/ 37880 w 105155"/>
                  <a:gd name="connsiteY45" fmla="*/ 3485 h 90609"/>
                  <a:gd name="connsiteX46" fmla="*/ 32274 w 105155"/>
                  <a:gd name="connsiteY46" fmla="*/ 0 h 90609"/>
                  <a:gd name="connsiteX47" fmla="*/ 28789 w 105155"/>
                  <a:gd name="connsiteY47" fmla="*/ 2576 h 90609"/>
                  <a:gd name="connsiteX48" fmla="*/ 21667 w 105155"/>
                  <a:gd name="connsiteY48" fmla="*/ 1970 h 90609"/>
                  <a:gd name="connsiteX49" fmla="*/ 19546 w 105155"/>
                  <a:gd name="connsiteY49" fmla="*/ 3788 h 90609"/>
                  <a:gd name="connsiteX50" fmla="*/ 17122 w 105155"/>
                  <a:gd name="connsiteY50" fmla="*/ 7273 h 90609"/>
                  <a:gd name="connsiteX51" fmla="*/ 15152 w 105155"/>
                  <a:gd name="connsiteY51" fmla="*/ 8940 h 90609"/>
                  <a:gd name="connsiteX52" fmla="*/ 13485 w 105155"/>
                  <a:gd name="connsiteY52" fmla="*/ 8334 h 90609"/>
                  <a:gd name="connsiteX53" fmla="*/ 11516 w 105155"/>
                  <a:gd name="connsiteY53" fmla="*/ 6818 h 90609"/>
                  <a:gd name="connsiteX54" fmla="*/ 7879 w 105155"/>
                  <a:gd name="connsiteY54" fmla="*/ 2879 h 90609"/>
                  <a:gd name="connsiteX55" fmla="*/ 6061 w 105155"/>
                  <a:gd name="connsiteY55" fmla="*/ 2121 h 90609"/>
                  <a:gd name="connsiteX56" fmla="*/ 4091 w 105155"/>
                  <a:gd name="connsiteY56" fmla="*/ 1970 h 90609"/>
                  <a:gd name="connsiteX57" fmla="*/ 2273 w 105155"/>
                  <a:gd name="connsiteY57" fmla="*/ 2424 h 90609"/>
                  <a:gd name="connsiteX58" fmla="*/ 1364 w 105155"/>
                  <a:gd name="connsiteY58" fmla="*/ 3182 h 90609"/>
                  <a:gd name="connsiteX59" fmla="*/ 606 w 105155"/>
                  <a:gd name="connsiteY59" fmla="*/ 9091 h 90609"/>
                  <a:gd name="connsiteX60" fmla="*/ 0 w 105155"/>
                  <a:gd name="connsiteY60" fmla="*/ 14091 h 90609"/>
                  <a:gd name="connsiteX61" fmla="*/ 0 w 105155"/>
                  <a:gd name="connsiteY61" fmla="*/ 17122 h 90609"/>
                  <a:gd name="connsiteX62" fmla="*/ 3788 w 105155"/>
                  <a:gd name="connsiteY62" fmla="*/ 20001 h 90609"/>
                  <a:gd name="connsiteX63" fmla="*/ 8485 w 105155"/>
                  <a:gd name="connsiteY63" fmla="*/ 24849 h 90609"/>
                  <a:gd name="connsiteX64" fmla="*/ 10000 w 105155"/>
                  <a:gd name="connsiteY64" fmla="*/ 25455 h 90609"/>
                  <a:gd name="connsiteX65" fmla="*/ 10758 w 105155"/>
                  <a:gd name="connsiteY65" fmla="*/ 26971 h 90609"/>
                  <a:gd name="connsiteX66" fmla="*/ 11819 w 105155"/>
                  <a:gd name="connsiteY66" fmla="*/ 31062 h 90609"/>
                  <a:gd name="connsiteX67" fmla="*/ 13031 w 105155"/>
                  <a:gd name="connsiteY67" fmla="*/ 35607 h 90609"/>
                  <a:gd name="connsiteX68" fmla="*/ 15304 w 105155"/>
                  <a:gd name="connsiteY68" fmla="*/ 38638 h 90609"/>
                  <a:gd name="connsiteX69" fmla="*/ 17425 w 105155"/>
                  <a:gd name="connsiteY69" fmla="*/ 40911 h 90609"/>
                  <a:gd name="connsiteX70" fmla="*/ 20001 w 105155"/>
                  <a:gd name="connsiteY70" fmla="*/ 42729 h 90609"/>
                  <a:gd name="connsiteX71" fmla="*/ 23334 w 105155"/>
                  <a:gd name="connsiteY71" fmla="*/ 45759 h 90609"/>
                  <a:gd name="connsiteX72" fmla="*/ 25910 w 105155"/>
                  <a:gd name="connsiteY72" fmla="*/ 49093 h 90609"/>
                  <a:gd name="connsiteX73" fmla="*/ 26668 w 105155"/>
                  <a:gd name="connsiteY73" fmla="*/ 50305 h 90609"/>
                  <a:gd name="connsiteX74" fmla="*/ 31819 w 105155"/>
                  <a:gd name="connsiteY74" fmla="*/ 54547 h 90609"/>
                  <a:gd name="connsiteX75" fmla="*/ 36819 w 105155"/>
                  <a:gd name="connsiteY75" fmla="*/ 58942 h 90609"/>
                  <a:gd name="connsiteX76" fmla="*/ 41214 w 105155"/>
                  <a:gd name="connsiteY76" fmla="*/ 60457 h 90609"/>
                  <a:gd name="connsiteX77" fmla="*/ 41971 w 105155"/>
                  <a:gd name="connsiteY77" fmla="*/ 61366 h 90609"/>
                  <a:gd name="connsiteX78" fmla="*/ 41971 w 105155"/>
                  <a:gd name="connsiteY78" fmla="*/ 64699 h 90609"/>
                  <a:gd name="connsiteX79" fmla="*/ 42577 w 105155"/>
                  <a:gd name="connsiteY79" fmla="*/ 65911 h 90609"/>
                  <a:gd name="connsiteX80" fmla="*/ 45456 w 105155"/>
                  <a:gd name="connsiteY80" fmla="*/ 69548 h 90609"/>
                  <a:gd name="connsiteX81" fmla="*/ 51669 w 105155"/>
                  <a:gd name="connsiteY81" fmla="*/ 74700 h 90609"/>
                  <a:gd name="connsiteX82" fmla="*/ 52274 w 105155"/>
                  <a:gd name="connsiteY82" fmla="*/ 75912 h 90609"/>
                  <a:gd name="connsiteX83" fmla="*/ 52426 w 105155"/>
                  <a:gd name="connsiteY83" fmla="*/ 76821 h 90609"/>
                  <a:gd name="connsiteX84" fmla="*/ 52123 w 105155"/>
                  <a:gd name="connsiteY84" fmla="*/ 77427 h 90609"/>
                  <a:gd name="connsiteX85" fmla="*/ 50456 w 105155"/>
                  <a:gd name="connsiteY85" fmla="*/ 78185 h 90609"/>
                  <a:gd name="connsiteX86" fmla="*/ 52729 w 105155"/>
                  <a:gd name="connsiteY86" fmla="*/ 79548 h 90609"/>
                  <a:gd name="connsiteX87" fmla="*/ 54699 w 105155"/>
                  <a:gd name="connsiteY87" fmla="*/ 78942 h 90609"/>
                  <a:gd name="connsiteX88" fmla="*/ 56517 w 105155"/>
                  <a:gd name="connsiteY88" fmla="*/ 79397 h 90609"/>
                  <a:gd name="connsiteX89" fmla="*/ 57578 w 105155"/>
                  <a:gd name="connsiteY89" fmla="*/ 81215 h 90609"/>
                  <a:gd name="connsiteX90" fmla="*/ 59699 w 105155"/>
                  <a:gd name="connsiteY90" fmla="*/ 82427 h 90609"/>
                  <a:gd name="connsiteX91" fmla="*/ 63033 w 105155"/>
                  <a:gd name="connsiteY91" fmla="*/ 84700 h 90609"/>
                  <a:gd name="connsiteX92" fmla="*/ 65305 w 105155"/>
                  <a:gd name="connsiteY92" fmla="*/ 86367 h 90609"/>
                  <a:gd name="connsiteX93" fmla="*/ 70154 w 105155"/>
                  <a:gd name="connsiteY93" fmla="*/ 89397 h 90609"/>
                  <a:gd name="connsiteX94" fmla="*/ 71366 w 105155"/>
                  <a:gd name="connsiteY94" fmla="*/ 89700 h 90609"/>
                  <a:gd name="connsiteX95" fmla="*/ 73791 w 105155"/>
                  <a:gd name="connsiteY95" fmla="*/ 90609 h 90609"/>
                  <a:gd name="connsiteX96" fmla="*/ 74245 w 105155"/>
                  <a:gd name="connsiteY96" fmla="*/ 90458 h 90609"/>
                  <a:gd name="connsiteX97" fmla="*/ 75003 w 105155"/>
                  <a:gd name="connsiteY97" fmla="*/ 90003 h 90609"/>
                  <a:gd name="connsiteX98" fmla="*/ 76518 w 105155"/>
                  <a:gd name="connsiteY98" fmla="*/ 88640 h 90609"/>
                  <a:gd name="connsiteX99" fmla="*/ 76821 w 105155"/>
                  <a:gd name="connsiteY99" fmla="*/ 87882 h 90609"/>
                  <a:gd name="connsiteX100" fmla="*/ 76669 w 105155"/>
                  <a:gd name="connsiteY100" fmla="*/ 86821 h 90609"/>
                  <a:gd name="connsiteX101" fmla="*/ 74548 w 105155"/>
                  <a:gd name="connsiteY101" fmla="*/ 83488 h 90609"/>
                  <a:gd name="connsiteX102" fmla="*/ 74245 w 105155"/>
                  <a:gd name="connsiteY102" fmla="*/ 81215 h 90609"/>
                  <a:gd name="connsiteX103" fmla="*/ 73942 w 105155"/>
                  <a:gd name="connsiteY103" fmla="*/ 77124 h 90609"/>
                  <a:gd name="connsiteX104" fmla="*/ 74397 w 105155"/>
                  <a:gd name="connsiteY104" fmla="*/ 76215 h 90609"/>
                  <a:gd name="connsiteX105" fmla="*/ 75154 w 105155"/>
                  <a:gd name="connsiteY105" fmla="*/ 75760 h 90609"/>
                  <a:gd name="connsiteX106" fmla="*/ 78942 w 105155"/>
                  <a:gd name="connsiteY106" fmla="*/ 75154 h 90609"/>
                  <a:gd name="connsiteX107" fmla="*/ 78942 w 105155"/>
                  <a:gd name="connsiteY107" fmla="*/ 71972 h 90609"/>
                  <a:gd name="connsiteX108" fmla="*/ 79094 w 105155"/>
                  <a:gd name="connsiteY108" fmla="*/ 71063 h 90609"/>
                  <a:gd name="connsiteX109" fmla="*/ 79851 w 105155"/>
                  <a:gd name="connsiteY109" fmla="*/ 69699 h 90609"/>
                  <a:gd name="connsiteX110" fmla="*/ 80306 w 105155"/>
                  <a:gd name="connsiteY110" fmla="*/ 68487 h 90609"/>
                  <a:gd name="connsiteX111" fmla="*/ 82427 w 105155"/>
                  <a:gd name="connsiteY111" fmla="*/ 66669 h 90609"/>
                  <a:gd name="connsiteX112" fmla="*/ 85155 w 105155"/>
                  <a:gd name="connsiteY112" fmla="*/ 64699 h 90609"/>
                  <a:gd name="connsiteX113" fmla="*/ 86367 w 105155"/>
                  <a:gd name="connsiteY113" fmla="*/ 64548 h 90609"/>
                  <a:gd name="connsiteX114" fmla="*/ 87427 w 105155"/>
                  <a:gd name="connsiteY114" fmla="*/ 64851 h 90609"/>
                  <a:gd name="connsiteX115" fmla="*/ 88640 w 105155"/>
                  <a:gd name="connsiteY115" fmla="*/ 66669 h 90609"/>
                  <a:gd name="connsiteX116" fmla="*/ 90003 w 105155"/>
                  <a:gd name="connsiteY116" fmla="*/ 66366 h 90609"/>
                  <a:gd name="connsiteX117" fmla="*/ 90155 w 105155"/>
                  <a:gd name="connsiteY117" fmla="*/ 64245 h 90609"/>
                  <a:gd name="connsiteX118" fmla="*/ 88488 w 105155"/>
                  <a:gd name="connsiteY118" fmla="*/ 61366 h 90609"/>
                  <a:gd name="connsiteX119" fmla="*/ 87579 w 105155"/>
                  <a:gd name="connsiteY119" fmla="*/ 59699 h 90609"/>
                  <a:gd name="connsiteX120" fmla="*/ 87882 w 105155"/>
                  <a:gd name="connsiteY120" fmla="*/ 58638 h 90609"/>
                  <a:gd name="connsiteX121" fmla="*/ 88488 w 105155"/>
                  <a:gd name="connsiteY121" fmla="*/ 58184 h 90609"/>
                  <a:gd name="connsiteX122" fmla="*/ 90003 w 105155"/>
                  <a:gd name="connsiteY122" fmla="*/ 58487 h 90609"/>
                  <a:gd name="connsiteX123" fmla="*/ 91367 w 105155"/>
                  <a:gd name="connsiteY123" fmla="*/ 58942 h 90609"/>
                  <a:gd name="connsiteX124" fmla="*/ 92276 w 105155"/>
                  <a:gd name="connsiteY124" fmla="*/ 58638 h 90609"/>
                  <a:gd name="connsiteX125" fmla="*/ 93791 w 105155"/>
                  <a:gd name="connsiteY125" fmla="*/ 58335 h 90609"/>
                  <a:gd name="connsiteX126" fmla="*/ 94549 w 105155"/>
                  <a:gd name="connsiteY126" fmla="*/ 58487 h 90609"/>
                  <a:gd name="connsiteX127" fmla="*/ 96216 w 105155"/>
                  <a:gd name="connsiteY127" fmla="*/ 56669 h 90609"/>
                  <a:gd name="connsiteX128" fmla="*/ 97428 w 105155"/>
                  <a:gd name="connsiteY128" fmla="*/ 56517 h 90609"/>
                  <a:gd name="connsiteX129" fmla="*/ 99095 w 105155"/>
                  <a:gd name="connsiteY129" fmla="*/ 56366 h 90609"/>
                  <a:gd name="connsiteX130" fmla="*/ 100155 w 105155"/>
                  <a:gd name="connsiteY130" fmla="*/ 57275 h 90609"/>
                  <a:gd name="connsiteX131" fmla="*/ 101519 w 105155"/>
                  <a:gd name="connsiteY131" fmla="*/ 57426 h 90609"/>
                  <a:gd name="connsiteX132" fmla="*/ 102428 w 105155"/>
                  <a:gd name="connsiteY132" fmla="*/ 56366 h 90609"/>
                  <a:gd name="connsiteX133" fmla="*/ 102731 w 105155"/>
                  <a:gd name="connsiteY133" fmla="*/ 54699 h 90609"/>
                  <a:gd name="connsiteX134" fmla="*/ 102579 w 105155"/>
                  <a:gd name="connsiteY134" fmla="*/ 52729 h 90609"/>
                  <a:gd name="connsiteX135" fmla="*/ 99246 w 105155"/>
                  <a:gd name="connsiteY135" fmla="*/ 48032 h 90609"/>
                  <a:gd name="connsiteX136" fmla="*/ 96216 w 105155"/>
                  <a:gd name="connsiteY136" fmla="*/ 44699 h 90609"/>
                  <a:gd name="connsiteX137" fmla="*/ 95912 w 105155"/>
                  <a:gd name="connsiteY137" fmla="*/ 44092 h 90609"/>
                  <a:gd name="connsiteX138" fmla="*/ 96519 w 105155"/>
                  <a:gd name="connsiteY138" fmla="*/ 43486 h 90609"/>
                  <a:gd name="connsiteX139" fmla="*/ 97579 w 105155"/>
                  <a:gd name="connsiteY139" fmla="*/ 43032 h 90609"/>
                  <a:gd name="connsiteX140" fmla="*/ 98640 w 105155"/>
                  <a:gd name="connsiteY140" fmla="*/ 43335 h 90609"/>
                  <a:gd name="connsiteX141" fmla="*/ 101519 w 105155"/>
                  <a:gd name="connsiteY141" fmla="*/ 43638 h 90609"/>
                  <a:gd name="connsiteX142" fmla="*/ 104246 w 105155"/>
                  <a:gd name="connsiteY142" fmla="*/ 43335 h 90609"/>
                  <a:gd name="connsiteX143" fmla="*/ 105155 w 105155"/>
                  <a:gd name="connsiteY143" fmla="*/ 42426 h 90609"/>
                  <a:gd name="connsiteX144" fmla="*/ 105155 w 105155"/>
                  <a:gd name="connsiteY144" fmla="*/ 41365 h 9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05155" h="90609">
                    <a:moveTo>
                      <a:pt x="104246" y="40456"/>
                    </a:moveTo>
                    <a:lnTo>
                      <a:pt x="101064" y="37729"/>
                    </a:lnTo>
                    <a:lnTo>
                      <a:pt x="98489" y="35304"/>
                    </a:lnTo>
                    <a:lnTo>
                      <a:pt x="95610" y="33486"/>
                    </a:lnTo>
                    <a:lnTo>
                      <a:pt x="93337" y="32728"/>
                    </a:lnTo>
                    <a:lnTo>
                      <a:pt x="92731" y="31819"/>
                    </a:lnTo>
                    <a:lnTo>
                      <a:pt x="92428" y="30759"/>
                    </a:lnTo>
                    <a:lnTo>
                      <a:pt x="92731" y="28940"/>
                    </a:lnTo>
                    <a:lnTo>
                      <a:pt x="92882" y="26668"/>
                    </a:lnTo>
                    <a:lnTo>
                      <a:pt x="93337" y="25152"/>
                    </a:lnTo>
                    <a:lnTo>
                      <a:pt x="95307" y="22425"/>
                    </a:lnTo>
                    <a:lnTo>
                      <a:pt x="97276" y="19546"/>
                    </a:lnTo>
                    <a:lnTo>
                      <a:pt x="98337" y="16667"/>
                    </a:lnTo>
                    <a:lnTo>
                      <a:pt x="98943" y="14091"/>
                    </a:lnTo>
                    <a:lnTo>
                      <a:pt x="98791" y="13334"/>
                    </a:lnTo>
                    <a:lnTo>
                      <a:pt x="97731" y="12728"/>
                    </a:lnTo>
                    <a:lnTo>
                      <a:pt x="95761" y="12122"/>
                    </a:lnTo>
                    <a:lnTo>
                      <a:pt x="92882" y="12728"/>
                    </a:lnTo>
                    <a:lnTo>
                      <a:pt x="90306" y="13637"/>
                    </a:lnTo>
                    <a:lnTo>
                      <a:pt x="89397" y="13637"/>
                    </a:lnTo>
                    <a:lnTo>
                      <a:pt x="87579" y="13788"/>
                    </a:lnTo>
                    <a:lnTo>
                      <a:pt x="84700" y="13182"/>
                    </a:lnTo>
                    <a:lnTo>
                      <a:pt x="83488" y="12122"/>
                    </a:lnTo>
                    <a:lnTo>
                      <a:pt x="83185" y="11061"/>
                    </a:lnTo>
                    <a:lnTo>
                      <a:pt x="83185" y="10000"/>
                    </a:lnTo>
                    <a:lnTo>
                      <a:pt x="82276" y="8334"/>
                    </a:lnTo>
                    <a:lnTo>
                      <a:pt x="80003" y="6667"/>
                    </a:lnTo>
                    <a:lnTo>
                      <a:pt x="75154" y="6364"/>
                    </a:lnTo>
                    <a:lnTo>
                      <a:pt x="73488" y="5909"/>
                    </a:lnTo>
                    <a:lnTo>
                      <a:pt x="71669" y="5152"/>
                    </a:lnTo>
                    <a:lnTo>
                      <a:pt x="69700" y="4697"/>
                    </a:lnTo>
                    <a:lnTo>
                      <a:pt x="67881" y="4849"/>
                    </a:lnTo>
                    <a:lnTo>
                      <a:pt x="65608" y="5303"/>
                    </a:lnTo>
                    <a:lnTo>
                      <a:pt x="61820" y="4546"/>
                    </a:lnTo>
                    <a:lnTo>
                      <a:pt x="60457" y="5455"/>
                    </a:lnTo>
                    <a:lnTo>
                      <a:pt x="58487" y="6667"/>
                    </a:lnTo>
                    <a:lnTo>
                      <a:pt x="56669" y="6667"/>
                    </a:lnTo>
                    <a:lnTo>
                      <a:pt x="53335" y="3939"/>
                    </a:lnTo>
                    <a:lnTo>
                      <a:pt x="52426" y="3788"/>
                    </a:lnTo>
                    <a:lnTo>
                      <a:pt x="49396" y="5152"/>
                    </a:lnTo>
                    <a:lnTo>
                      <a:pt x="48183" y="5152"/>
                    </a:lnTo>
                    <a:lnTo>
                      <a:pt x="47274" y="4849"/>
                    </a:lnTo>
                    <a:lnTo>
                      <a:pt x="43335" y="3788"/>
                    </a:lnTo>
                    <a:lnTo>
                      <a:pt x="41517" y="3485"/>
                    </a:lnTo>
                    <a:lnTo>
                      <a:pt x="40305" y="3939"/>
                    </a:lnTo>
                    <a:lnTo>
                      <a:pt x="37880" y="3485"/>
                    </a:lnTo>
                    <a:lnTo>
                      <a:pt x="32274" y="0"/>
                    </a:lnTo>
                    <a:lnTo>
                      <a:pt x="28789" y="2576"/>
                    </a:lnTo>
                    <a:lnTo>
                      <a:pt x="21667" y="1970"/>
                    </a:lnTo>
                    <a:lnTo>
                      <a:pt x="19546" y="3788"/>
                    </a:lnTo>
                    <a:lnTo>
                      <a:pt x="17122" y="7273"/>
                    </a:lnTo>
                    <a:lnTo>
                      <a:pt x="15152" y="8940"/>
                    </a:lnTo>
                    <a:lnTo>
                      <a:pt x="13485" y="8334"/>
                    </a:lnTo>
                    <a:lnTo>
                      <a:pt x="11516" y="6818"/>
                    </a:lnTo>
                    <a:lnTo>
                      <a:pt x="7879" y="2879"/>
                    </a:lnTo>
                    <a:lnTo>
                      <a:pt x="6061" y="2121"/>
                    </a:lnTo>
                    <a:lnTo>
                      <a:pt x="4091" y="1970"/>
                    </a:lnTo>
                    <a:lnTo>
                      <a:pt x="2273" y="2424"/>
                    </a:lnTo>
                    <a:lnTo>
                      <a:pt x="1364" y="3182"/>
                    </a:lnTo>
                    <a:lnTo>
                      <a:pt x="606" y="9091"/>
                    </a:lnTo>
                    <a:lnTo>
                      <a:pt x="0" y="14091"/>
                    </a:lnTo>
                    <a:lnTo>
                      <a:pt x="0" y="17122"/>
                    </a:lnTo>
                    <a:lnTo>
                      <a:pt x="3788" y="20001"/>
                    </a:lnTo>
                    <a:lnTo>
                      <a:pt x="8485" y="24849"/>
                    </a:lnTo>
                    <a:lnTo>
                      <a:pt x="10000" y="25455"/>
                    </a:lnTo>
                    <a:lnTo>
                      <a:pt x="10758" y="26971"/>
                    </a:lnTo>
                    <a:lnTo>
                      <a:pt x="11819" y="31062"/>
                    </a:lnTo>
                    <a:lnTo>
                      <a:pt x="13031" y="35607"/>
                    </a:lnTo>
                    <a:lnTo>
                      <a:pt x="15304" y="38638"/>
                    </a:lnTo>
                    <a:lnTo>
                      <a:pt x="17425" y="40911"/>
                    </a:lnTo>
                    <a:lnTo>
                      <a:pt x="20001" y="42729"/>
                    </a:lnTo>
                    <a:lnTo>
                      <a:pt x="23334" y="45759"/>
                    </a:lnTo>
                    <a:lnTo>
                      <a:pt x="25910" y="49093"/>
                    </a:lnTo>
                    <a:lnTo>
                      <a:pt x="26668" y="50305"/>
                    </a:lnTo>
                    <a:lnTo>
                      <a:pt x="31819" y="54547"/>
                    </a:lnTo>
                    <a:lnTo>
                      <a:pt x="36819" y="58942"/>
                    </a:lnTo>
                    <a:lnTo>
                      <a:pt x="41214" y="60457"/>
                    </a:lnTo>
                    <a:lnTo>
                      <a:pt x="41971" y="61366"/>
                    </a:lnTo>
                    <a:lnTo>
                      <a:pt x="41971" y="64699"/>
                    </a:lnTo>
                    <a:lnTo>
                      <a:pt x="42577" y="65911"/>
                    </a:lnTo>
                    <a:lnTo>
                      <a:pt x="45456" y="69548"/>
                    </a:lnTo>
                    <a:lnTo>
                      <a:pt x="51669" y="74700"/>
                    </a:lnTo>
                    <a:lnTo>
                      <a:pt x="52274" y="75912"/>
                    </a:lnTo>
                    <a:lnTo>
                      <a:pt x="52426" y="76821"/>
                    </a:lnTo>
                    <a:lnTo>
                      <a:pt x="52123" y="77427"/>
                    </a:lnTo>
                    <a:lnTo>
                      <a:pt x="50456" y="78185"/>
                    </a:lnTo>
                    <a:lnTo>
                      <a:pt x="52729" y="79548"/>
                    </a:lnTo>
                    <a:lnTo>
                      <a:pt x="54699" y="78942"/>
                    </a:lnTo>
                    <a:lnTo>
                      <a:pt x="56517" y="79397"/>
                    </a:lnTo>
                    <a:lnTo>
                      <a:pt x="57578" y="81215"/>
                    </a:lnTo>
                    <a:lnTo>
                      <a:pt x="59699" y="82427"/>
                    </a:lnTo>
                    <a:lnTo>
                      <a:pt x="63033" y="84700"/>
                    </a:lnTo>
                    <a:lnTo>
                      <a:pt x="65305" y="86367"/>
                    </a:lnTo>
                    <a:lnTo>
                      <a:pt x="70154" y="89397"/>
                    </a:lnTo>
                    <a:lnTo>
                      <a:pt x="71366" y="89700"/>
                    </a:lnTo>
                    <a:lnTo>
                      <a:pt x="73791" y="90609"/>
                    </a:lnTo>
                    <a:lnTo>
                      <a:pt x="74245" y="90458"/>
                    </a:lnTo>
                    <a:lnTo>
                      <a:pt x="75003" y="90003"/>
                    </a:lnTo>
                    <a:lnTo>
                      <a:pt x="76518" y="88640"/>
                    </a:lnTo>
                    <a:lnTo>
                      <a:pt x="76821" y="87882"/>
                    </a:lnTo>
                    <a:lnTo>
                      <a:pt x="76669" y="86821"/>
                    </a:lnTo>
                    <a:lnTo>
                      <a:pt x="74548" y="83488"/>
                    </a:lnTo>
                    <a:lnTo>
                      <a:pt x="74245" y="81215"/>
                    </a:lnTo>
                    <a:lnTo>
                      <a:pt x="73942" y="77124"/>
                    </a:lnTo>
                    <a:lnTo>
                      <a:pt x="74397" y="76215"/>
                    </a:lnTo>
                    <a:lnTo>
                      <a:pt x="75154" y="75760"/>
                    </a:lnTo>
                    <a:lnTo>
                      <a:pt x="78942" y="75154"/>
                    </a:lnTo>
                    <a:lnTo>
                      <a:pt x="78942" y="71972"/>
                    </a:lnTo>
                    <a:lnTo>
                      <a:pt x="79094" y="71063"/>
                    </a:lnTo>
                    <a:lnTo>
                      <a:pt x="79851" y="69699"/>
                    </a:lnTo>
                    <a:lnTo>
                      <a:pt x="80306" y="68487"/>
                    </a:lnTo>
                    <a:lnTo>
                      <a:pt x="82427" y="66669"/>
                    </a:lnTo>
                    <a:lnTo>
                      <a:pt x="85155" y="64699"/>
                    </a:lnTo>
                    <a:lnTo>
                      <a:pt x="86367" y="64548"/>
                    </a:lnTo>
                    <a:lnTo>
                      <a:pt x="87427" y="64851"/>
                    </a:lnTo>
                    <a:lnTo>
                      <a:pt x="88640" y="66669"/>
                    </a:lnTo>
                    <a:lnTo>
                      <a:pt x="90003" y="66366"/>
                    </a:lnTo>
                    <a:lnTo>
                      <a:pt x="90155" y="64245"/>
                    </a:lnTo>
                    <a:lnTo>
                      <a:pt x="88488" y="61366"/>
                    </a:lnTo>
                    <a:lnTo>
                      <a:pt x="87579" y="59699"/>
                    </a:lnTo>
                    <a:lnTo>
                      <a:pt x="87882" y="58638"/>
                    </a:lnTo>
                    <a:lnTo>
                      <a:pt x="88488" y="58184"/>
                    </a:lnTo>
                    <a:lnTo>
                      <a:pt x="90003" y="58487"/>
                    </a:lnTo>
                    <a:lnTo>
                      <a:pt x="91367" y="58942"/>
                    </a:lnTo>
                    <a:lnTo>
                      <a:pt x="92276" y="58638"/>
                    </a:lnTo>
                    <a:lnTo>
                      <a:pt x="93791" y="58335"/>
                    </a:lnTo>
                    <a:lnTo>
                      <a:pt x="94549" y="58487"/>
                    </a:lnTo>
                    <a:lnTo>
                      <a:pt x="96216" y="56669"/>
                    </a:lnTo>
                    <a:lnTo>
                      <a:pt x="97428" y="56517"/>
                    </a:lnTo>
                    <a:lnTo>
                      <a:pt x="99095" y="56366"/>
                    </a:lnTo>
                    <a:lnTo>
                      <a:pt x="100155" y="57275"/>
                    </a:lnTo>
                    <a:lnTo>
                      <a:pt x="101519" y="57426"/>
                    </a:lnTo>
                    <a:lnTo>
                      <a:pt x="102428" y="56366"/>
                    </a:lnTo>
                    <a:lnTo>
                      <a:pt x="102731" y="54699"/>
                    </a:lnTo>
                    <a:lnTo>
                      <a:pt x="102579" y="52729"/>
                    </a:lnTo>
                    <a:lnTo>
                      <a:pt x="99246" y="48032"/>
                    </a:lnTo>
                    <a:lnTo>
                      <a:pt x="96216" y="44699"/>
                    </a:lnTo>
                    <a:lnTo>
                      <a:pt x="95912" y="44092"/>
                    </a:lnTo>
                    <a:lnTo>
                      <a:pt x="96519" y="43486"/>
                    </a:lnTo>
                    <a:lnTo>
                      <a:pt x="97579" y="43032"/>
                    </a:lnTo>
                    <a:lnTo>
                      <a:pt x="98640" y="43335"/>
                    </a:lnTo>
                    <a:lnTo>
                      <a:pt x="101519" y="43638"/>
                    </a:lnTo>
                    <a:lnTo>
                      <a:pt x="104246" y="43335"/>
                    </a:lnTo>
                    <a:lnTo>
                      <a:pt x="105155" y="42426"/>
                    </a:lnTo>
                    <a:lnTo>
                      <a:pt x="105155" y="413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2" name="Freeform: Shape 3341">
                <a:extLst>
                  <a:ext uri="{FF2B5EF4-FFF2-40B4-BE49-F238E27FC236}">
                    <a16:creationId xmlns:a16="http://schemas.microsoft.com/office/drawing/2014/main" id="{960A607F-E6A4-4ACF-832E-2A740D76A377}"/>
                  </a:ext>
                </a:extLst>
              </p:cNvPr>
              <p:cNvSpPr/>
              <p:nvPr/>
            </p:nvSpPr>
            <p:spPr>
              <a:xfrm>
                <a:off x="7002245" y="3350737"/>
                <a:ext cx="152884" cy="112276"/>
              </a:xfrm>
              <a:custGeom>
                <a:avLst/>
                <a:gdLst>
                  <a:gd name="connsiteX0" fmla="*/ 151369 w 152884"/>
                  <a:gd name="connsiteY0" fmla="*/ 47881 h 112276"/>
                  <a:gd name="connsiteX1" fmla="*/ 149703 w 152884"/>
                  <a:gd name="connsiteY1" fmla="*/ 46214 h 112276"/>
                  <a:gd name="connsiteX2" fmla="*/ 147884 w 152884"/>
                  <a:gd name="connsiteY2" fmla="*/ 44850 h 112276"/>
                  <a:gd name="connsiteX3" fmla="*/ 146217 w 152884"/>
                  <a:gd name="connsiteY3" fmla="*/ 43941 h 112276"/>
                  <a:gd name="connsiteX4" fmla="*/ 142733 w 152884"/>
                  <a:gd name="connsiteY4" fmla="*/ 42577 h 112276"/>
                  <a:gd name="connsiteX5" fmla="*/ 138945 w 152884"/>
                  <a:gd name="connsiteY5" fmla="*/ 42577 h 112276"/>
                  <a:gd name="connsiteX6" fmla="*/ 136823 w 152884"/>
                  <a:gd name="connsiteY6" fmla="*/ 42426 h 112276"/>
                  <a:gd name="connsiteX7" fmla="*/ 135308 w 152884"/>
                  <a:gd name="connsiteY7" fmla="*/ 41668 h 112276"/>
                  <a:gd name="connsiteX8" fmla="*/ 130914 w 152884"/>
                  <a:gd name="connsiteY8" fmla="*/ 38183 h 112276"/>
                  <a:gd name="connsiteX9" fmla="*/ 128186 w 152884"/>
                  <a:gd name="connsiteY9" fmla="*/ 35456 h 112276"/>
                  <a:gd name="connsiteX10" fmla="*/ 121823 w 152884"/>
                  <a:gd name="connsiteY10" fmla="*/ 28183 h 112276"/>
                  <a:gd name="connsiteX11" fmla="*/ 120459 w 152884"/>
                  <a:gd name="connsiteY11" fmla="*/ 25304 h 112276"/>
                  <a:gd name="connsiteX12" fmla="*/ 119550 w 152884"/>
                  <a:gd name="connsiteY12" fmla="*/ 21971 h 112276"/>
                  <a:gd name="connsiteX13" fmla="*/ 118489 w 152884"/>
                  <a:gd name="connsiteY13" fmla="*/ 19243 h 112276"/>
                  <a:gd name="connsiteX14" fmla="*/ 116974 w 152884"/>
                  <a:gd name="connsiteY14" fmla="*/ 16819 h 112276"/>
                  <a:gd name="connsiteX15" fmla="*/ 110762 w 152884"/>
                  <a:gd name="connsiteY15" fmla="*/ 8485 h 112276"/>
                  <a:gd name="connsiteX16" fmla="*/ 106367 w 152884"/>
                  <a:gd name="connsiteY16" fmla="*/ 3333 h 112276"/>
                  <a:gd name="connsiteX17" fmla="*/ 103792 w 152884"/>
                  <a:gd name="connsiteY17" fmla="*/ 1515 h 112276"/>
                  <a:gd name="connsiteX18" fmla="*/ 102277 w 152884"/>
                  <a:gd name="connsiteY18" fmla="*/ 3637 h 112276"/>
                  <a:gd name="connsiteX19" fmla="*/ 99852 w 152884"/>
                  <a:gd name="connsiteY19" fmla="*/ 7425 h 112276"/>
                  <a:gd name="connsiteX20" fmla="*/ 98791 w 152884"/>
                  <a:gd name="connsiteY20" fmla="*/ 9394 h 112276"/>
                  <a:gd name="connsiteX21" fmla="*/ 96216 w 152884"/>
                  <a:gd name="connsiteY21" fmla="*/ 11213 h 112276"/>
                  <a:gd name="connsiteX22" fmla="*/ 91973 w 152884"/>
                  <a:gd name="connsiteY22" fmla="*/ 13182 h 112276"/>
                  <a:gd name="connsiteX23" fmla="*/ 89549 w 152884"/>
                  <a:gd name="connsiteY23" fmla="*/ 14091 h 112276"/>
                  <a:gd name="connsiteX24" fmla="*/ 86973 w 152884"/>
                  <a:gd name="connsiteY24" fmla="*/ 18183 h 112276"/>
                  <a:gd name="connsiteX25" fmla="*/ 84094 w 152884"/>
                  <a:gd name="connsiteY25" fmla="*/ 22122 h 112276"/>
                  <a:gd name="connsiteX26" fmla="*/ 82124 w 152884"/>
                  <a:gd name="connsiteY26" fmla="*/ 22577 h 112276"/>
                  <a:gd name="connsiteX27" fmla="*/ 76669 w 152884"/>
                  <a:gd name="connsiteY27" fmla="*/ 21971 h 112276"/>
                  <a:gd name="connsiteX28" fmla="*/ 74700 w 152884"/>
                  <a:gd name="connsiteY28" fmla="*/ 21667 h 112276"/>
                  <a:gd name="connsiteX29" fmla="*/ 69093 w 152884"/>
                  <a:gd name="connsiteY29" fmla="*/ 20001 h 112276"/>
                  <a:gd name="connsiteX30" fmla="*/ 67578 w 152884"/>
                  <a:gd name="connsiteY30" fmla="*/ 18940 h 112276"/>
                  <a:gd name="connsiteX31" fmla="*/ 66063 w 152884"/>
                  <a:gd name="connsiteY31" fmla="*/ 14395 h 112276"/>
                  <a:gd name="connsiteX32" fmla="*/ 64396 w 152884"/>
                  <a:gd name="connsiteY32" fmla="*/ 12425 h 112276"/>
                  <a:gd name="connsiteX33" fmla="*/ 62275 w 152884"/>
                  <a:gd name="connsiteY33" fmla="*/ 11213 h 112276"/>
                  <a:gd name="connsiteX34" fmla="*/ 60760 w 152884"/>
                  <a:gd name="connsiteY34" fmla="*/ 10152 h 112276"/>
                  <a:gd name="connsiteX35" fmla="*/ 60154 w 152884"/>
                  <a:gd name="connsiteY35" fmla="*/ 9091 h 112276"/>
                  <a:gd name="connsiteX36" fmla="*/ 58638 w 152884"/>
                  <a:gd name="connsiteY36" fmla="*/ 7425 h 112276"/>
                  <a:gd name="connsiteX37" fmla="*/ 55760 w 152884"/>
                  <a:gd name="connsiteY37" fmla="*/ 5000 h 112276"/>
                  <a:gd name="connsiteX38" fmla="*/ 53638 w 152884"/>
                  <a:gd name="connsiteY38" fmla="*/ 2727 h 112276"/>
                  <a:gd name="connsiteX39" fmla="*/ 51972 w 152884"/>
                  <a:gd name="connsiteY39" fmla="*/ 2121 h 112276"/>
                  <a:gd name="connsiteX40" fmla="*/ 50002 w 152884"/>
                  <a:gd name="connsiteY40" fmla="*/ 2879 h 112276"/>
                  <a:gd name="connsiteX41" fmla="*/ 48790 w 152884"/>
                  <a:gd name="connsiteY41" fmla="*/ 3030 h 112276"/>
                  <a:gd name="connsiteX42" fmla="*/ 48335 w 152884"/>
                  <a:gd name="connsiteY42" fmla="*/ 2576 h 112276"/>
                  <a:gd name="connsiteX43" fmla="*/ 47881 w 152884"/>
                  <a:gd name="connsiteY43" fmla="*/ 606 h 112276"/>
                  <a:gd name="connsiteX44" fmla="*/ 45002 w 152884"/>
                  <a:gd name="connsiteY44" fmla="*/ 0 h 112276"/>
                  <a:gd name="connsiteX45" fmla="*/ 44395 w 152884"/>
                  <a:gd name="connsiteY45" fmla="*/ 1212 h 112276"/>
                  <a:gd name="connsiteX46" fmla="*/ 42881 w 152884"/>
                  <a:gd name="connsiteY46" fmla="*/ 3333 h 112276"/>
                  <a:gd name="connsiteX47" fmla="*/ 41668 w 152884"/>
                  <a:gd name="connsiteY47" fmla="*/ 4394 h 112276"/>
                  <a:gd name="connsiteX48" fmla="*/ 40305 w 152884"/>
                  <a:gd name="connsiteY48" fmla="*/ 4546 h 112276"/>
                  <a:gd name="connsiteX49" fmla="*/ 38941 w 152884"/>
                  <a:gd name="connsiteY49" fmla="*/ 5000 h 112276"/>
                  <a:gd name="connsiteX50" fmla="*/ 38486 w 152884"/>
                  <a:gd name="connsiteY50" fmla="*/ 6061 h 112276"/>
                  <a:gd name="connsiteX51" fmla="*/ 38486 w 152884"/>
                  <a:gd name="connsiteY51" fmla="*/ 7576 h 112276"/>
                  <a:gd name="connsiteX52" fmla="*/ 38789 w 152884"/>
                  <a:gd name="connsiteY52" fmla="*/ 8637 h 112276"/>
                  <a:gd name="connsiteX53" fmla="*/ 39093 w 152884"/>
                  <a:gd name="connsiteY53" fmla="*/ 9091 h 112276"/>
                  <a:gd name="connsiteX54" fmla="*/ 40456 w 152884"/>
                  <a:gd name="connsiteY54" fmla="*/ 9394 h 112276"/>
                  <a:gd name="connsiteX55" fmla="*/ 41820 w 152884"/>
                  <a:gd name="connsiteY55" fmla="*/ 12425 h 112276"/>
                  <a:gd name="connsiteX56" fmla="*/ 43941 w 152884"/>
                  <a:gd name="connsiteY56" fmla="*/ 13940 h 112276"/>
                  <a:gd name="connsiteX57" fmla="*/ 47274 w 152884"/>
                  <a:gd name="connsiteY57" fmla="*/ 15758 h 112276"/>
                  <a:gd name="connsiteX58" fmla="*/ 50305 w 152884"/>
                  <a:gd name="connsiteY58" fmla="*/ 17728 h 112276"/>
                  <a:gd name="connsiteX59" fmla="*/ 51820 w 152884"/>
                  <a:gd name="connsiteY59" fmla="*/ 19546 h 112276"/>
                  <a:gd name="connsiteX60" fmla="*/ 51517 w 152884"/>
                  <a:gd name="connsiteY60" fmla="*/ 20910 h 112276"/>
                  <a:gd name="connsiteX61" fmla="*/ 50457 w 152884"/>
                  <a:gd name="connsiteY61" fmla="*/ 23637 h 112276"/>
                  <a:gd name="connsiteX62" fmla="*/ 47881 w 152884"/>
                  <a:gd name="connsiteY62" fmla="*/ 25910 h 112276"/>
                  <a:gd name="connsiteX63" fmla="*/ 45759 w 152884"/>
                  <a:gd name="connsiteY63" fmla="*/ 26516 h 112276"/>
                  <a:gd name="connsiteX64" fmla="*/ 45002 w 152884"/>
                  <a:gd name="connsiteY64" fmla="*/ 26365 h 112276"/>
                  <a:gd name="connsiteX65" fmla="*/ 43638 w 152884"/>
                  <a:gd name="connsiteY65" fmla="*/ 25607 h 112276"/>
                  <a:gd name="connsiteX66" fmla="*/ 40911 w 152884"/>
                  <a:gd name="connsiteY66" fmla="*/ 23789 h 112276"/>
                  <a:gd name="connsiteX67" fmla="*/ 37880 w 152884"/>
                  <a:gd name="connsiteY67" fmla="*/ 22425 h 112276"/>
                  <a:gd name="connsiteX68" fmla="*/ 35607 w 152884"/>
                  <a:gd name="connsiteY68" fmla="*/ 22880 h 112276"/>
                  <a:gd name="connsiteX69" fmla="*/ 34092 w 152884"/>
                  <a:gd name="connsiteY69" fmla="*/ 23486 h 112276"/>
                  <a:gd name="connsiteX70" fmla="*/ 31062 w 152884"/>
                  <a:gd name="connsiteY70" fmla="*/ 22880 h 112276"/>
                  <a:gd name="connsiteX71" fmla="*/ 27577 w 152884"/>
                  <a:gd name="connsiteY71" fmla="*/ 21667 h 112276"/>
                  <a:gd name="connsiteX72" fmla="*/ 25759 w 152884"/>
                  <a:gd name="connsiteY72" fmla="*/ 20455 h 112276"/>
                  <a:gd name="connsiteX73" fmla="*/ 25001 w 152884"/>
                  <a:gd name="connsiteY73" fmla="*/ 19546 h 112276"/>
                  <a:gd name="connsiteX74" fmla="*/ 25607 w 152884"/>
                  <a:gd name="connsiteY74" fmla="*/ 18031 h 112276"/>
                  <a:gd name="connsiteX75" fmla="*/ 17576 w 152884"/>
                  <a:gd name="connsiteY75" fmla="*/ 15152 h 112276"/>
                  <a:gd name="connsiteX76" fmla="*/ 13637 w 152884"/>
                  <a:gd name="connsiteY76" fmla="*/ 14395 h 112276"/>
                  <a:gd name="connsiteX77" fmla="*/ 11819 w 152884"/>
                  <a:gd name="connsiteY77" fmla="*/ 15304 h 112276"/>
                  <a:gd name="connsiteX78" fmla="*/ 5910 w 152884"/>
                  <a:gd name="connsiteY78" fmla="*/ 19546 h 112276"/>
                  <a:gd name="connsiteX79" fmla="*/ 6515 w 152884"/>
                  <a:gd name="connsiteY79" fmla="*/ 21061 h 112276"/>
                  <a:gd name="connsiteX80" fmla="*/ 8182 w 152884"/>
                  <a:gd name="connsiteY80" fmla="*/ 22728 h 112276"/>
                  <a:gd name="connsiteX81" fmla="*/ 10000 w 152884"/>
                  <a:gd name="connsiteY81" fmla="*/ 23334 h 112276"/>
                  <a:gd name="connsiteX82" fmla="*/ 11061 w 152884"/>
                  <a:gd name="connsiteY82" fmla="*/ 24243 h 112276"/>
                  <a:gd name="connsiteX83" fmla="*/ 11061 w 152884"/>
                  <a:gd name="connsiteY83" fmla="*/ 25001 h 112276"/>
                  <a:gd name="connsiteX84" fmla="*/ 7728 w 152884"/>
                  <a:gd name="connsiteY84" fmla="*/ 25759 h 112276"/>
                  <a:gd name="connsiteX85" fmla="*/ 7576 w 152884"/>
                  <a:gd name="connsiteY85" fmla="*/ 26213 h 112276"/>
                  <a:gd name="connsiteX86" fmla="*/ 7728 w 152884"/>
                  <a:gd name="connsiteY86" fmla="*/ 26668 h 112276"/>
                  <a:gd name="connsiteX87" fmla="*/ 8637 w 152884"/>
                  <a:gd name="connsiteY87" fmla="*/ 26819 h 112276"/>
                  <a:gd name="connsiteX88" fmla="*/ 13182 w 152884"/>
                  <a:gd name="connsiteY88" fmla="*/ 28941 h 112276"/>
                  <a:gd name="connsiteX89" fmla="*/ 15758 w 152884"/>
                  <a:gd name="connsiteY89" fmla="*/ 28941 h 112276"/>
                  <a:gd name="connsiteX90" fmla="*/ 17122 w 152884"/>
                  <a:gd name="connsiteY90" fmla="*/ 29547 h 112276"/>
                  <a:gd name="connsiteX91" fmla="*/ 17879 w 152884"/>
                  <a:gd name="connsiteY91" fmla="*/ 30759 h 112276"/>
                  <a:gd name="connsiteX92" fmla="*/ 20001 w 152884"/>
                  <a:gd name="connsiteY92" fmla="*/ 32425 h 112276"/>
                  <a:gd name="connsiteX93" fmla="*/ 21667 w 152884"/>
                  <a:gd name="connsiteY93" fmla="*/ 34092 h 112276"/>
                  <a:gd name="connsiteX94" fmla="*/ 21819 w 152884"/>
                  <a:gd name="connsiteY94" fmla="*/ 34698 h 112276"/>
                  <a:gd name="connsiteX95" fmla="*/ 21516 w 152884"/>
                  <a:gd name="connsiteY95" fmla="*/ 35456 h 112276"/>
                  <a:gd name="connsiteX96" fmla="*/ 16667 w 152884"/>
                  <a:gd name="connsiteY96" fmla="*/ 38638 h 112276"/>
                  <a:gd name="connsiteX97" fmla="*/ 16061 w 152884"/>
                  <a:gd name="connsiteY97" fmla="*/ 39698 h 112276"/>
                  <a:gd name="connsiteX98" fmla="*/ 16061 w 152884"/>
                  <a:gd name="connsiteY98" fmla="*/ 40911 h 112276"/>
                  <a:gd name="connsiteX99" fmla="*/ 18183 w 152884"/>
                  <a:gd name="connsiteY99" fmla="*/ 44396 h 112276"/>
                  <a:gd name="connsiteX100" fmla="*/ 21364 w 152884"/>
                  <a:gd name="connsiteY100" fmla="*/ 48184 h 112276"/>
                  <a:gd name="connsiteX101" fmla="*/ 25910 w 152884"/>
                  <a:gd name="connsiteY101" fmla="*/ 51062 h 112276"/>
                  <a:gd name="connsiteX102" fmla="*/ 32122 w 152884"/>
                  <a:gd name="connsiteY102" fmla="*/ 54093 h 112276"/>
                  <a:gd name="connsiteX103" fmla="*/ 32274 w 152884"/>
                  <a:gd name="connsiteY103" fmla="*/ 56063 h 112276"/>
                  <a:gd name="connsiteX104" fmla="*/ 31213 w 152884"/>
                  <a:gd name="connsiteY104" fmla="*/ 58336 h 112276"/>
                  <a:gd name="connsiteX105" fmla="*/ 30304 w 152884"/>
                  <a:gd name="connsiteY105" fmla="*/ 59851 h 112276"/>
                  <a:gd name="connsiteX106" fmla="*/ 29850 w 152884"/>
                  <a:gd name="connsiteY106" fmla="*/ 60911 h 112276"/>
                  <a:gd name="connsiteX107" fmla="*/ 29092 w 152884"/>
                  <a:gd name="connsiteY107" fmla="*/ 61366 h 112276"/>
                  <a:gd name="connsiteX108" fmla="*/ 22880 w 152884"/>
                  <a:gd name="connsiteY108" fmla="*/ 61214 h 112276"/>
                  <a:gd name="connsiteX109" fmla="*/ 21971 w 152884"/>
                  <a:gd name="connsiteY109" fmla="*/ 61517 h 112276"/>
                  <a:gd name="connsiteX110" fmla="*/ 21516 w 152884"/>
                  <a:gd name="connsiteY110" fmla="*/ 61972 h 112276"/>
                  <a:gd name="connsiteX111" fmla="*/ 21516 w 152884"/>
                  <a:gd name="connsiteY111" fmla="*/ 62275 h 112276"/>
                  <a:gd name="connsiteX112" fmla="*/ 23789 w 152884"/>
                  <a:gd name="connsiteY112" fmla="*/ 63033 h 112276"/>
                  <a:gd name="connsiteX113" fmla="*/ 27274 w 152884"/>
                  <a:gd name="connsiteY113" fmla="*/ 65457 h 112276"/>
                  <a:gd name="connsiteX114" fmla="*/ 29243 w 152884"/>
                  <a:gd name="connsiteY114" fmla="*/ 67730 h 112276"/>
                  <a:gd name="connsiteX115" fmla="*/ 31365 w 152884"/>
                  <a:gd name="connsiteY115" fmla="*/ 68791 h 112276"/>
                  <a:gd name="connsiteX116" fmla="*/ 33789 w 152884"/>
                  <a:gd name="connsiteY116" fmla="*/ 70609 h 112276"/>
                  <a:gd name="connsiteX117" fmla="*/ 35607 w 152884"/>
                  <a:gd name="connsiteY117" fmla="*/ 72275 h 112276"/>
                  <a:gd name="connsiteX118" fmla="*/ 38486 w 152884"/>
                  <a:gd name="connsiteY118" fmla="*/ 74548 h 112276"/>
                  <a:gd name="connsiteX119" fmla="*/ 41820 w 152884"/>
                  <a:gd name="connsiteY119" fmla="*/ 73790 h 112276"/>
                  <a:gd name="connsiteX120" fmla="*/ 46214 w 152884"/>
                  <a:gd name="connsiteY120" fmla="*/ 75760 h 112276"/>
                  <a:gd name="connsiteX121" fmla="*/ 46365 w 152884"/>
                  <a:gd name="connsiteY121" fmla="*/ 77124 h 112276"/>
                  <a:gd name="connsiteX122" fmla="*/ 46062 w 152884"/>
                  <a:gd name="connsiteY122" fmla="*/ 78336 h 112276"/>
                  <a:gd name="connsiteX123" fmla="*/ 43335 w 152884"/>
                  <a:gd name="connsiteY123" fmla="*/ 79700 h 112276"/>
                  <a:gd name="connsiteX124" fmla="*/ 43032 w 152884"/>
                  <a:gd name="connsiteY124" fmla="*/ 80306 h 112276"/>
                  <a:gd name="connsiteX125" fmla="*/ 43032 w 152884"/>
                  <a:gd name="connsiteY125" fmla="*/ 80761 h 112276"/>
                  <a:gd name="connsiteX126" fmla="*/ 43335 w 152884"/>
                  <a:gd name="connsiteY126" fmla="*/ 81367 h 112276"/>
                  <a:gd name="connsiteX127" fmla="*/ 45002 w 152884"/>
                  <a:gd name="connsiteY127" fmla="*/ 82427 h 112276"/>
                  <a:gd name="connsiteX128" fmla="*/ 46972 w 152884"/>
                  <a:gd name="connsiteY128" fmla="*/ 84094 h 112276"/>
                  <a:gd name="connsiteX129" fmla="*/ 49093 w 152884"/>
                  <a:gd name="connsiteY129" fmla="*/ 86518 h 112276"/>
                  <a:gd name="connsiteX130" fmla="*/ 48183 w 152884"/>
                  <a:gd name="connsiteY130" fmla="*/ 87276 h 112276"/>
                  <a:gd name="connsiteX131" fmla="*/ 46214 w 152884"/>
                  <a:gd name="connsiteY131" fmla="*/ 87427 h 112276"/>
                  <a:gd name="connsiteX132" fmla="*/ 44699 w 152884"/>
                  <a:gd name="connsiteY132" fmla="*/ 87124 h 112276"/>
                  <a:gd name="connsiteX133" fmla="*/ 44093 w 152884"/>
                  <a:gd name="connsiteY133" fmla="*/ 87579 h 112276"/>
                  <a:gd name="connsiteX134" fmla="*/ 44093 w 152884"/>
                  <a:gd name="connsiteY134" fmla="*/ 88337 h 112276"/>
                  <a:gd name="connsiteX135" fmla="*/ 46062 w 152884"/>
                  <a:gd name="connsiteY135" fmla="*/ 90155 h 112276"/>
                  <a:gd name="connsiteX136" fmla="*/ 46517 w 152884"/>
                  <a:gd name="connsiteY136" fmla="*/ 91519 h 112276"/>
                  <a:gd name="connsiteX137" fmla="*/ 46365 w 152884"/>
                  <a:gd name="connsiteY137" fmla="*/ 93791 h 112276"/>
                  <a:gd name="connsiteX138" fmla="*/ 46517 w 152884"/>
                  <a:gd name="connsiteY138" fmla="*/ 96670 h 112276"/>
                  <a:gd name="connsiteX139" fmla="*/ 48335 w 152884"/>
                  <a:gd name="connsiteY139" fmla="*/ 96670 h 112276"/>
                  <a:gd name="connsiteX140" fmla="*/ 54548 w 152884"/>
                  <a:gd name="connsiteY140" fmla="*/ 90761 h 112276"/>
                  <a:gd name="connsiteX141" fmla="*/ 56517 w 152884"/>
                  <a:gd name="connsiteY141" fmla="*/ 88791 h 112276"/>
                  <a:gd name="connsiteX142" fmla="*/ 60305 w 152884"/>
                  <a:gd name="connsiteY142" fmla="*/ 87731 h 112276"/>
                  <a:gd name="connsiteX143" fmla="*/ 62426 w 152884"/>
                  <a:gd name="connsiteY143" fmla="*/ 85458 h 112276"/>
                  <a:gd name="connsiteX144" fmla="*/ 65760 w 152884"/>
                  <a:gd name="connsiteY144" fmla="*/ 82579 h 112276"/>
                  <a:gd name="connsiteX145" fmla="*/ 69851 w 152884"/>
                  <a:gd name="connsiteY145" fmla="*/ 79851 h 112276"/>
                  <a:gd name="connsiteX146" fmla="*/ 73639 w 152884"/>
                  <a:gd name="connsiteY146" fmla="*/ 77427 h 112276"/>
                  <a:gd name="connsiteX147" fmla="*/ 76518 w 152884"/>
                  <a:gd name="connsiteY147" fmla="*/ 75912 h 112276"/>
                  <a:gd name="connsiteX148" fmla="*/ 81670 w 152884"/>
                  <a:gd name="connsiteY148" fmla="*/ 72579 h 112276"/>
                  <a:gd name="connsiteX149" fmla="*/ 85003 w 152884"/>
                  <a:gd name="connsiteY149" fmla="*/ 71366 h 112276"/>
                  <a:gd name="connsiteX150" fmla="*/ 87882 w 152884"/>
                  <a:gd name="connsiteY150" fmla="*/ 71366 h 112276"/>
                  <a:gd name="connsiteX151" fmla="*/ 92125 w 152884"/>
                  <a:gd name="connsiteY151" fmla="*/ 75306 h 112276"/>
                  <a:gd name="connsiteX152" fmla="*/ 95761 w 152884"/>
                  <a:gd name="connsiteY152" fmla="*/ 78942 h 112276"/>
                  <a:gd name="connsiteX153" fmla="*/ 96822 w 152884"/>
                  <a:gd name="connsiteY153" fmla="*/ 80457 h 112276"/>
                  <a:gd name="connsiteX154" fmla="*/ 95003 w 152884"/>
                  <a:gd name="connsiteY154" fmla="*/ 81821 h 112276"/>
                  <a:gd name="connsiteX155" fmla="*/ 91670 w 152884"/>
                  <a:gd name="connsiteY155" fmla="*/ 83185 h 112276"/>
                  <a:gd name="connsiteX156" fmla="*/ 91064 w 152884"/>
                  <a:gd name="connsiteY156" fmla="*/ 84245 h 112276"/>
                  <a:gd name="connsiteX157" fmla="*/ 90761 w 152884"/>
                  <a:gd name="connsiteY157" fmla="*/ 85458 h 112276"/>
                  <a:gd name="connsiteX158" fmla="*/ 90912 w 152884"/>
                  <a:gd name="connsiteY158" fmla="*/ 86670 h 112276"/>
                  <a:gd name="connsiteX159" fmla="*/ 91367 w 152884"/>
                  <a:gd name="connsiteY159" fmla="*/ 87731 h 112276"/>
                  <a:gd name="connsiteX160" fmla="*/ 95458 w 152884"/>
                  <a:gd name="connsiteY160" fmla="*/ 90003 h 112276"/>
                  <a:gd name="connsiteX161" fmla="*/ 95913 w 152884"/>
                  <a:gd name="connsiteY161" fmla="*/ 91216 h 112276"/>
                  <a:gd name="connsiteX162" fmla="*/ 95913 w 152884"/>
                  <a:gd name="connsiteY162" fmla="*/ 92579 h 112276"/>
                  <a:gd name="connsiteX163" fmla="*/ 95458 w 152884"/>
                  <a:gd name="connsiteY163" fmla="*/ 93337 h 112276"/>
                  <a:gd name="connsiteX164" fmla="*/ 94549 w 152884"/>
                  <a:gd name="connsiteY164" fmla="*/ 93791 h 112276"/>
                  <a:gd name="connsiteX165" fmla="*/ 91670 w 152884"/>
                  <a:gd name="connsiteY165" fmla="*/ 94397 h 112276"/>
                  <a:gd name="connsiteX166" fmla="*/ 89246 w 152884"/>
                  <a:gd name="connsiteY166" fmla="*/ 95155 h 112276"/>
                  <a:gd name="connsiteX167" fmla="*/ 88337 w 152884"/>
                  <a:gd name="connsiteY167" fmla="*/ 95913 h 112276"/>
                  <a:gd name="connsiteX168" fmla="*/ 87579 w 152884"/>
                  <a:gd name="connsiteY168" fmla="*/ 96822 h 112276"/>
                  <a:gd name="connsiteX169" fmla="*/ 87731 w 152884"/>
                  <a:gd name="connsiteY169" fmla="*/ 97731 h 112276"/>
                  <a:gd name="connsiteX170" fmla="*/ 88488 w 152884"/>
                  <a:gd name="connsiteY170" fmla="*/ 98792 h 112276"/>
                  <a:gd name="connsiteX171" fmla="*/ 93489 w 152884"/>
                  <a:gd name="connsiteY171" fmla="*/ 101822 h 112276"/>
                  <a:gd name="connsiteX172" fmla="*/ 94094 w 152884"/>
                  <a:gd name="connsiteY172" fmla="*/ 102883 h 112276"/>
                  <a:gd name="connsiteX173" fmla="*/ 95155 w 152884"/>
                  <a:gd name="connsiteY173" fmla="*/ 104398 h 112276"/>
                  <a:gd name="connsiteX174" fmla="*/ 96367 w 152884"/>
                  <a:gd name="connsiteY174" fmla="*/ 105307 h 112276"/>
                  <a:gd name="connsiteX175" fmla="*/ 98489 w 152884"/>
                  <a:gd name="connsiteY175" fmla="*/ 105610 h 112276"/>
                  <a:gd name="connsiteX176" fmla="*/ 99549 w 152884"/>
                  <a:gd name="connsiteY176" fmla="*/ 106216 h 112276"/>
                  <a:gd name="connsiteX177" fmla="*/ 104398 w 152884"/>
                  <a:gd name="connsiteY177" fmla="*/ 111822 h 112276"/>
                  <a:gd name="connsiteX178" fmla="*/ 105610 w 152884"/>
                  <a:gd name="connsiteY178" fmla="*/ 112277 h 112276"/>
                  <a:gd name="connsiteX179" fmla="*/ 111216 w 152884"/>
                  <a:gd name="connsiteY179" fmla="*/ 111065 h 112276"/>
                  <a:gd name="connsiteX180" fmla="*/ 111974 w 152884"/>
                  <a:gd name="connsiteY180" fmla="*/ 111065 h 112276"/>
                  <a:gd name="connsiteX181" fmla="*/ 111520 w 152884"/>
                  <a:gd name="connsiteY181" fmla="*/ 98943 h 112276"/>
                  <a:gd name="connsiteX182" fmla="*/ 111671 w 152884"/>
                  <a:gd name="connsiteY182" fmla="*/ 98185 h 112276"/>
                  <a:gd name="connsiteX183" fmla="*/ 113641 w 152884"/>
                  <a:gd name="connsiteY183" fmla="*/ 94246 h 112276"/>
                  <a:gd name="connsiteX184" fmla="*/ 114550 w 152884"/>
                  <a:gd name="connsiteY184" fmla="*/ 90458 h 112276"/>
                  <a:gd name="connsiteX185" fmla="*/ 115913 w 152884"/>
                  <a:gd name="connsiteY185" fmla="*/ 88640 h 112276"/>
                  <a:gd name="connsiteX186" fmla="*/ 118641 w 152884"/>
                  <a:gd name="connsiteY186" fmla="*/ 90155 h 112276"/>
                  <a:gd name="connsiteX187" fmla="*/ 118641 w 152884"/>
                  <a:gd name="connsiteY187" fmla="*/ 91973 h 112276"/>
                  <a:gd name="connsiteX188" fmla="*/ 118944 w 152884"/>
                  <a:gd name="connsiteY188" fmla="*/ 92731 h 112276"/>
                  <a:gd name="connsiteX189" fmla="*/ 120156 w 152884"/>
                  <a:gd name="connsiteY189" fmla="*/ 91821 h 112276"/>
                  <a:gd name="connsiteX190" fmla="*/ 121065 w 152884"/>
                  <a:gd name="connsiteY190" fmla="*/ 90458 h 112276"/>
                  <a:gd name="connsiteX191" fmla="*/ 123035 w 152884"/>
                  <a:gd name="connsiteY191" fmla="*/ 83639 h 112276"/>
                  <a:gd name="connsiteX192" fmla="*/ 124398 w 152884"/>
                  <a:gd name="connsiteY192" fmla="*/ 82276 h 112276"/>
                  <a:gd name="connsiteX193" fmla="*/ 125611 w 152884"/>
                  <a:gd name="connsiteY193" fmla="*/ 81670 h 112276"/>
                  <a:gd name="connsiteX194" fmla="*/ 125762 w 152884"/>
                  <a:gd name="connsiteY194" fmla="*/ 80155 h 112276"/>
                  <a:gd name="connsiteX195" fmla="*/ 124702 w 152884"/>
                  <a:gd name="connsiteY195" fmla="*/ 76821 h 112276"/>
                  <a:gd name="connsiteX196" fmla="*/ 124550 w 152884"/>
                  <a:gd name="connsiteY196" fmla="*/ 73336 h 112276"/>
                  <a:gd name="connsiteX197" fmla="*/ 126974 w 152884"/>
                  <a:gd name="connsiteY197" fmla="*/ 65912 h 112276"/>
                  <a:gd name="connsiteX198" fmla="*/ 128641 w 152884"/>
                  <a:gd name="connsiteY198" fmla="*/ 57881 h 112276"/>
                  <a:gd name="connsiteX199" fmla="*/ 130611 w 152884"/>
                  <a:gd name="connsiteY199" fmla="*/ 54396 h 112276"/>
                  <a:gd name="connsiteX200" fmla="*/ 133793 w 152884"/>
                  <a:gd name="connsiteY200" fmla="*/ 52578 h 112276"/>
                  <a:gd name="connsiteX201" fmla="*/ 137126 w 152884"/>
                  <a:gd name="connsiteY201" fmla="*/ 51366 h 112276"/>
                  <a:gd name="connsiteX202" fmla="*/ 140611 w 152884"/>
                  <a:gd name="connsiteY202" fmla="*/ 50456 h 112276"/>
                  <a:gd name="connsiteX203" fmla="*/ 146824 w 152884"/>
                  <a:gd name="connsiteY203" fmla="*/ 50305 h 112276"/>
                  <a:gd name="connsiteX204" fmla="*/ 152884 w 152884"/>
                  <a:gd name="connsiteY204" fmla="*/ 51669 h 112276"/>
                  <a:gd name="connsiteX205" fmla="*/ 151369 w 152884"/>
                  <a:gd name="connsiteY205" fmla="*/ 47881 h 112276"/>
                  <a:gd name="connsiteX206" fmla="*/ 21364 w 152884"/>
                  <a:gd name="connsiteY206" fmla="*/ 41365 h 112276"/>
                  <a:gd name="connsiteX207" fmla="*/ 20304 w 152884"/>
                  <a:gd name="connsiteY207" fmla="*/ 41971 h 112276"/>
                  <a:gd name="connsiteX208" fmla="*/ 19395 w 152884"/>
                  <a:gd name="connsiteY208" fmla="*/ 41668 h 112276"/>
                  <a:gd name="connsiteX209" fmla="*/ 19395 w 152884"/>
                  <a:gd name="connsiteY209" fmla="*/ 40305 h 112276"/>
                  <a:gd name="connsiteX210" fmla="*/ 20153 w 152884"/>
                  <a:gd name="connsiteY210" fmla="*/ 39698 h 112276"/>
                  <a:gd name="connsiteX211" fmla="*/ 20910 w 152884"/>
                  <a:gd name="connsiteY211" fmla="*/ 39698 h 112276"/>
                  <a:gd name="connsiteX212" fmla="*/ 21667 w 152884"/>
                  <a:gd name="connsiteY212" fmla="*/ 40153 h 112276"/>
                  <a:gd name="connsiteX213" fmla="*/ 21364 w 152884"/>
                  <a:gd name="connsiteY213" fmla="*/ 41365 h 112276"/>
                  <a:gd name="connsiteX214" fmla="*/ 6212 w 152884"/>
                  <a:gd name="connsiteY214" fmla="*/ 28334 h 112276"/>
                  <a:gd name="connsiteX215" fmla="*/ 6819 w 152884"/>
                  <a:gd name="connsiteY215" fmla="*/ 28031 h 112276"/>
                  <a:gd name="connsiteX216" fmla="*/ 6970 w 152884"/>
                  <a:gd name="connsiteY216" fmla="*/ 27122 h 112276"/>
                  <a:gd name="connsiteX217" fmla="*/ 6819 w 152884"/>
                  <a:gd name="connsiteY217" fmla="*/ 26365 h 112276"/>
                  <a:gd name="connsiteX218" fmla="*/ 6061 w 152884"/>
                  <a:gd name="connsiteY218" fmla="*/ 26062 h 112276"/>
                  <a:gd name="connsiteX219" fmla="*/ 5152 w 152884"/>
                  <a:gd name="connsiteY219" fmla="*/ 26213 h 112276"/>
                  <a:gd name="connsiteX220" fmla="*/ 5152 w 152884"/>
                  <a:gd name="connsiteY220" fmla="*/ 27122 h 112276"/>
                  <a:gd name="connsiteX221" fmla="*/ 5455 w 152884"/>
                  <a:gd name="connsiteY221" fmla="*/ 27880 h 112276"/>
                  <a:gd name="connsiteX222" fmla="*/ 6212 w 152884"/>
                  <a:gd name="connsiteY222" fmla="*/ 28334 h 112276"/>
                  <a:gd name="connsiteX223" fmla="*/ 34850 w 152884"/>
                  <a:gd name="connsiteY223" fmla="*/ 92731 h 112276"/>
                  <a:gd name="connsiteX224" fmla="*/ 32274 w 152884"/>
                  <a:gd name="connsiteY224" fmla="*/ 87579 h 112276"/>
                  <a:gd name="connsiteX225" fmla="*/ 33031 w 152884"/>
                  <a:gd name="connsiteY225" fmla="*/ 85458 h 112276"/>
                  <a:gd name="connsiteX226" fmla="*/ 31668 w 152884"/>
                  <a:gd name="connsiteY226" fmla="*/ 84245 h 112276"/>
                  <a:gd name="connsiteX227" fmla="*/ 28183 w 152884"/>
                  <a:gd name="connsiteY227" fmla="*/ 82124 h 112276"/>
                  <a:gd name="connsiteX228" fmla="*/ 27274 w 152884"/>
                  <a:gd name="connsiteY228" fmla="*/ 81215 h 112276"/>
                  <a:gd name="connsiteX229" fmla="*/ 27729 w 152884"/>
                  <a:gd name="connsiteY229" fmla="*/ 80003 h 112276"/>
                  <a:gd name="connsiteX230" fmla="*/ 28031 w 152884"/>
                  <a:gd name="connsiteY230" fmla="*/ 77730 h 112276"/>
                  <a:gd name="connsiteX231" fmla="*/ 27729 w 152884"/>
                  <a:gd name="connsiteY231" fmla="*/ 75912 h 112276"/>
                  <a:gd name="connsiteX232" fmla="*/ 26819 w 152884"/>
                  <a:gd name="connsiteY232" fmla="*/ 75306 h 112276"/>
                  <a:gd name="connsiteX233" fmla="*/ 25153 w 152884"/>
                  <a:gd name="connsiteY233" fmla="*/ 75306 h 112276"/>
                  <a:gd name="connsiteX234" fmla="*/ 23031 w 152884"/>
                  <a:gd name="connsiteY234" fmla="*/ 75760 h 112276"/>
                  <a:gd name="connsiteX235" fmla="*/ 18788 w 152884"/>
                  <a:gd name="connsiteY235" fmla="*/ 77579 h 112276"/>
                  <a:gd name="connsiteX236" fmla="*/ 15909 w 152884"/>
                  <a:gd name="connsiteY236" fmla="*/ 76518 h 112276"/>
                  <a:gd name="connsiteX237" fmla="*/ 14243 w 152884"/>
                  <a:gd name="connsiteY237" fmla="*/ 75306 h 112276"/>
                  <a:gd name="connsiteX238" fmla="*/ 13334 w 152884"/>
                  <a:gd name="connsiteY238" fmla="*/ 74397 h 112276"/>
                  <a:gd name="connsiteX239" fmla="*/ 11212 w 152884"/>
                  <a:gd name="connsiteY239" fmla="*/ 75154 h 112276"/>
                  <a:gd name="connsiteX240" fmla="*/ 10607 w 152884"/>
                  <a:gd name="connsiteY240" fmla="*/ 74700 h 112276"/>
                  <a:gd name="connsiteX241" fmla="*/ 10455 w 152884"/>
                  <a:gd name="connsiteY241" fmla="*/ 72275 h 112276"/>
                  <a:gd name="connsiteX242" fmla="*/ 9849 w 152884"/>
                  <a:gd name="connsiteY242" fmla="*/ 71063 h 112276"/>
                  <a:gd name="connsiteX243" fmla="*/ 8485 w 152884"/>
                  <a:gd name="connsiteY243" fmla="*/ 69548 h 112276"/>
                  <a:gd name="connsiteX244" fmla="*/ 7273 w 152884"/>
                  <a:gd name="connsiteY244" fmla="*/ 68791 h 112276"/>
                  <a:gd name="connsiteX245" fmla="*/ 2727 w 152884"/>
                  <a:gd name="connsiteY245" fmla="*/ 70306 h 112276"/>
                  <a:gd name="connsiteX246" fmla="*/ 0 w 152884"/>
                  <a:gd name="connsiteY246" fmla="*/ 70760 h 112276"/>
                  <a:gd name="connsiteX247" fmla="*/ 455 w 152884"/>
                  <a:gd name="connsiteY247" fmla="*/ 71366 h 112276"/>
                  <a:gd name="connsiteX248" fmla="*/ 1364 w 152884"/>
                  <a:gd name="connsiteY248" fmla="*/ 72427 h 112276"/>
                  <a:gd name="connsiteX249" fmla="*/ 1970 w 152884"/>
                  <a:gd name="connsiteY249" fmla="*/ 73185 h 112276"/>
                  <a:gd name="connsiteX250" fmla="*/ 6364 w 152884"/>
                  <a:gd name="connsiteY250" fmla="*/ 79700 h 112276"/>
                  <a:gd name="connsiteX251" fmla="*/ 8333 w 152884"/>
                  <a:gd name="connsiteY251" fmla="*/ 81670 h 112276"/>
                  <a:gd name="connsiteX252" fmla="*/ 9394 w 152884"/>
                  <a:gd name="connsiteY252" fmla="*/ 83336 h 112276"/>
                  <a:gd name="connsiteX253" fmla="*/ 10152 w 152884"/>
                  <a:gd name="connsiteY253" fmla="*/ 85155 h 112276"/>
                  <a:gd name="connsiteX254" fmla="*/ 11516 w 152884"/>
                  <a:gd name="connsiteY254" fmla="*/ 86367 h 112276"/>
                  <a:gd name="connsiteX255" fmla="*/ 13334 w 152884"/>
                  <a:gd name="connsiteY255" fmla="*/ 86973 h 112276"/>
                  <a:gd name="connsiteX256" fmla="*/ 15455 w 152884"/>
                  <a:gd name="connsiteY256" fmla="*/ 88791 h 112276"/>
                  <a:gd name="connsiteX257" fmla="*/ 16970 w 152884"/>
                  <a:gd name="connsiteY257" fmla="*/ 90155 h 112276"/>
                  <a:gd name="connsiteX258" fmla="*/ 19395 w 152884"/>
                  <a:gd name="connsiteY258" fmla="*/ 93034 h 112276"/>
                  <a:gd name="connsiteX259" fmla="*/ 21971 w 152884"/>
                  <a:gd name="connsiteY259" fmla="*/ 94094 h 112276"/>
                  <a:gd name="connsiteX260" fmla="*/ 31517 w 152884"/>
                  <a:gd name="connsiteY260" fmla="*/ 96216 h 112276"/>
                  <a:gd name="connsiteX261" fmla="*/ 36819 w 152884"/>
                  <a:gd name="connsiteY261" fmla="*/ 97125 h 112276"/>
                  <a:gd name="connsiteX262" fmla="*/ 35759 w 152884"/>
                  <a:gd name="connsiteY262" fmla="*/ 94700 h 112276"/>
                  <a:gd name="connsiteX263" fmla="*/ 34850 w 152884"/>
                  <a:gd name="connsiteY263" fmla="*/ 92731 h 11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152884" h="112276">
                    <a:moveTo>
                      <a:pt x="151369" y="47881"/>
                    </a:moveTo>
                    <a:lnTo>
                      <a:pt x="149703" y="46214"/>
                    </a:lnTo>
                    <a:lnTo>
                      <a:pt x="147884" y="44850"/>
                    </a:lnTo>
                    <a:lnTo>
                      <a:pt x="146217" y="43941"/>
                    </a:lnTo>
                    <a:lnTo>
                      <a:pt x="142733" y="42577"/>
                    </a:lnTo>
                    <a:lnTo>
                      <a:pt x="138945" y="42577"/>
                    </a:lnTo>
                    <a:lnTo>
                      <a:pt x="136823" y="42426"/>
                    </a:lnTo>
                    <a:lnTo>
                      <a:pt x="135308" y="41668"/>
                    </a:lnTo>
                    <a:lnTo>
                      <a:pt x="130914" y="38183"/>
                    </a:lnTo>
                    <a:lnTo>
                      <a:pt x="128186" y="35456"/>
                    </a:lnTo>
                    <a:lnTo>
                      <a:pt x="121823" y="28183"/>
                    </a:lnTo>
                    <a:lnTo>
                      <a:pt x="120459" y="25304"/>
                    </a:lnTo>
                    <a:lnTo>
                      <a:pt x="119550" y="21971"/>
                    </a:lnTo>
                    <a:lnTo>
                      <a:pt x="118489" y="19243"/>
                    </a:lnTo>
                    <a:lnTo>
                      <a:pt x="116974" y="16819"/>
                    </a:lnTo>
                    <a:lnTo>
                      <a:pt x="110762" y="8485"/>
                    </a:lnTo>
                    <a:lnTo>
                      <a:pt x="106367" y="3333"/>
                    </a:lnTo>
                    <a:lnTo>
                      <a:pt x="103792" y="1515"/>
                    </a:lnTo>
                    <a:lnTo>
                      <a:pt x="102277" y="3637"/>
                    </a:lnTo>
                    <a:lnTo>
                      <a:pt x="99852" y="7425"/>
                    </a:lnTo>
                    <a:lnTo>
                      <a:pt x="98791" y="9394"/>
                    </a:lnTo>
                    <a:lnTo>
                      <a:pt x="96216" y="11213"/>
                    </a:lnTo>
                    <a:lnTo>
                      <a:pt x="91973" y="13182"/>
                    </a:lnTo>
                    <a:lnTo>
                      <a:pt x="89549" y="14091"/>
                    </a:lnTo>
                    <a:lnTo>
                      <a:pt x="86973" y="18183"/>
                    </a:lnTo>
                    <a:lnTo>
                      <a:pt x="84094" y="22122"/>
                    </a:lnTo>
                    <a:lnTo>
                      <a:pt x="82124" y="22577"/>
                    </a:lnTo>
                    <a:lnTo>
                      <a:pt x="76669" y="21971"/>
                    </a:lnTo>
                    <a:lnTo>
                      <a:pt x="74700" y="21667"/>
                    </a:lnTo>
                    <a:lnTo>
                      <a:pt x="69093" y="20001"/>
                    </a:lnTo>
                    <a:lnTo>
                      <a:pt x="67578" y="18940"/>
                    </a:lnTo>
                    <a:lnTo>
                      <a:pt x="66063" y="14395"/>
                    </a:lnTo>
                    <a:lnTo>
                      <a:pt x="64396" y="12425"/>
                    </a:lnTo>
                    <a:lnTo>
                      <a:pt x="62275" y="11213"/>
                    </a:lnTo>
                    <a:lnTo>
                      <a:pt x="60760" y="10152"/>
                    </a:lnTo>
                    <a:lnTo>
                      <a:pt x="60154" y="9091"/>
                    </a:lnTo>
                    <a:lnTo>
                      <a:pt x="58638" y="7425"/>
                    </a:lnTo>
                    <a:lnTo>
                      <a:pt x="55760" y="5000"/>
                    </a:lnTo>
                    <a:lnTo>
                      <a:pt x="53638" y="2727"/>
                    </a:lnTo>
                    <a:lnTo>
                      <a:pt x="51972" y="2121"/>
                    </a:lnTo>
                    <a:lnTo>
                      <a:pt x="50002" y="2879"/>
                    </a:lnTo>
                    <a:lnTo>
                      <a:pt x="48790" y="3030"/>
                    </a:lnTo>
                    <a:lnTo>
                      <a:pt x="48335" y="2576"/>
                    </a:lnTo>
                    <a:lnTo>
                      <a:pt x="47881" y="606"/>
                    </a:lnTo>
                    <a:lnTo>
                      <a:pt x="45002" y="0"/>
                    </a:lnTo>
                    <a:lnTo>
                      <a:pt x="44395" y="1212"/>
                    </a:lnTo>
                    <a:lnTo>
                      <a:pt x="42881" y="3333"/>
                    </a:lnTo>
                    <a:lnTo>
                      <a:pt x="41668" y="4394"/>
                    </a:lnTo>
                    <a:lnTo>
                      <a:pt x="40305" y="4546"/>
                    </a:lnTo>
                    <a:lnTo>
                      <a:pt x="38941" y="5000"/>
                    </a:lnTo>
                    <a:lnTo>
                      <a:pt x="38486" y="6061"/>
                    </a:lnTo>
                    <a:lnTo>
                      <a:pt x="38486" y="7576"/>
                    </a:lnTo>
                    <a:lnTo>
                      <a:pt x="38789" y="8637"/>
                    </a:lnTo>
                    <a:lnTo>
                      <a:pt x="39093" y="9091"/>
                    </a:lnTo>
                    <a:lnTo>
                      <a:pt x="40456" y="9394"/>
                    </a:lnTo>
                    <a:lnTo>
                      <a:pt x="41820" y="12425"/>
                    </a:lnTo>
                    <a:lnTo>
                      <a:pt x="43941" y="13940"/>
                    </a:lnTo>
                    <a:lnTo>
                      <a:pt x="47274" y="15758"/>
                    </a:lnTo>
                    <a:lnTo>
                      <a:pt x="50305" y="17728"/>
                    </a:lnTo>
                    <a:lnTo>
                      <a:pt x="51820" y="19546"/>
                    </a:lnTo>
                    <a:lnTo>
                      <a:pt x="51517" y="20910"/>
                    </a:lnTo>
                    <a:lnTo>
                      <a:pt x="50457" y="23637"/>
                    </a:lnTo>
                    <a:lnTo>
                      <a:pt x="47881" y="25910"/>
                    </a:lnTo>
                    <a:lnTo>
                      <a:pt x="45759" y="26516"/>
                    </a:lnTo>
                    <a:lnTo>
                      <a:pt x="45002" y="26365"/>
                    </a:lnTo>
                    <a:lnTo>
                      <a:pt x="43638" y="25607"/>
                    </a:lnTo>
                    <a:lnTo>
                      <a:pt x="40911" y="23789"/>
                    </a:lnTo>
                    <a:lnTo>
                      <a:pt x="37880" y="22425"/>
                    </a:lnTo>
                    <a:lnTo>
                      <a:pt x="35607" y="22880"/>
                    </a:lnTo>
                    <a:lnTo>
                      <a:pt x="34092" y="23486"/>
                    </a:lnTo>
                    <a:lnTo>
                      <a:pt x="31062" y="22880"/>
                    </a:lnTo>
                    <a:lnTo>
                      <a:pt x="27577" y="21667"/>
                    </a:lnTo>
                    <a:lnTo>
                      <a:pt x="25759" y="20455"/>
                    </a:lnTo>
                    <a:lnTo>
                      <a:pt x="25001" y="19546"/>
                    </a:lnTo>
                    <a:lnTo>
                      <a:pt x="25607" y="18031"/>
                    </a:lnTo>
                    <a:lnTo>
                      <a:pt x="17576" y="15152"/>
                    </a:lnTo>
                    <a:lnTo>
                      <a:pt x="13637" y="14395"/>
                    </a:lnTo>
                    <a:lnTo>
                      <a:pt x="11819" y="15304"/>
                    </a:lnTo>
                    <a:lnTo>
                      <a:pt x="5910" y="19546"/>
                    </a:lnTo>
                    <a:lnTo>
                      <a:pt x="6515" y="21061"/>
                    </a:lnTo>
                    <a:lnTo>
                      <a:pt x="8182" y="22728"/>
                    </a:lnTo>
                    <a:lnTo>
                      <a:pt x="10000" y="23334"/>
                    </a:lnTo>
                    <a:lnTo>
                      <a:pt x="11061" y="24243"/>
                    </a:lnTo>
                    <a:lnTo>
                      <a:pt x="11061" y="25001"/>
                    </a:lnTo>
                    <a:lnTo>
                      <a:pt x="7728" y="25759"/>
                    </a:lnTo>
                    <a:lnTo>
                      <a:pt x="7576" y="26213"/>
                    </a:lnTo>
                    <a:lnTo>
                      <a:pt x="7728" y="26668"/>
                    </a:lnTo>
                    <a:lnTo>
                      <a:pt x="8637" y="26819"/>
                    </a:lnTo>
                    <a:lnTo>
                      <a:pt x="13182" y="28941"/>
                    </a:lnTo>
                    <a:lnTo>
                      <a:pt x="15758" y="28941"/>
                    </a:lnTo>
                    <a:lnTo>
                      <a:pt x="17122" y="29547"/>
                    </a:lnTo>
                    <a:lnTo>
                      <a:pt x="17879" y="30759"/>
                    </a:lnTo>
                    <a:lnTo>
                      <a:pt x="20001" y="32425"/>
                    </a:lnTo>
                    <a:lnTo>
                      <a:pt x="21667" y="34092"/>
                    </a:lnTo>
                    <a:lnTo>
                      <a:pt x="21819" y="34698"/>
                    </a:lnTo>
                    <a:lnTo>
                      <a:pt x="21516" y="35456"/>
                    </a:lnTo>
                    <a:lnTo>
                      <a:pt x="16667" y="38638"/>
                    </a:lnTo>
                    <a:lnTo>
                      <a:pt x="16061" y="39698"/>
                    </a:lnTo>
                    <a:lnTo>
                      <a:pt x="16061" y="40911"/>
                    </a:lnTo>
                    <a:lnTo>
                      <a:pt x="18183" y="44396"/>
                    </a:lnTo>
                    <a:lnTo>
                      <a:pt x="21364" y="48184"/>
                    </a:lnTo>
                    <a:lnTo>
                      <a:pt x="25910" y="51062"/>
                    </a:lnTo>
                    <a:lnTo>
                      <a:pt x="32122" y="54093"/>
                    </a:lnTo>
                    <a:lnTo>
                      <a:pt x="32274" y="56063"/>
                    </a:lnTo>
                    <a:lnTo>
                      <a:pt x="31213" y="58336"/>
                    </a:lnTo>
                    <a:lnTo>
                      <a:pt x="30304" y="59851"/>
                    </a:lnTo>
                    <a:lnTo>
                      <a:pt x="29850" y="60911"/>
                    </a:lnTo>
                    <a:lnTo>
                      <a:pt x="29092" y="61366"/>
                    </a:lnTo>
                    <a:lnTo>
                      <a:pt x="22880" y="61214"/>
                    </a:lnTo>
                    <a:lnTo>
                      <a:pt x="21971" y="61517"/>
                    </a:lnTo>
                    <a:lnTo>
                      <a:pt x="21516" y="61972"/>
                    </a:lnTo>
                    <a:lnTo>
                      <a:pt x="21516" y="62275"/>
                    </a:lnTo>
                    <a:lnTo>
                      <a:pt x="23789" y="63033"/>
                    </a:lnTo>
                    <a:lnTo>
                      <a:pt x="27274" y="65457"/>
                    </a:lnTo>
                    <a:lnTo>
                      <a:pt x="29243" y="67730"/>
                    </a:lnTo>
                    <a:lnTo>
                      <a:pt x="31365" y="68791"/>
                    </a:lnTo>
                    <a:lnTo>
                      <a:pt x="33789" y="70609"/>
                    </a:lnTo>
                    <a:lnTo>
                      <a:pt x="35607" y="72275"/>
                    </a:lnTo>
                    <a:lnTo>
                      <a:pt x="38486" y="74548"/>
                    </a:lnTo>
                    <a:lnTo>
                      <a:pt x="41820" y="73790"/>
                    </a:lnTo>
                    <a:lnTo>
                      <a:pt x="46214" y="75760"/>
                    </a:lnTo>
                    <a:lnTo>
                      <a:pt x="46365" y="77124"/>
                    </a:lnTo>
                    <a:lnTo>
                      <a:pt x="46062" y="78336"/>
                    </a:lnTo>
                    <a:lnTo>
                      <a:pt x="43335" y="79700"/>
                    </a:lnTo>
                    <a:lnTo>
                      <a:pt x="43032" y="80306"/>
                    </a:lnTo>
                    <a:lnTo>
                      <a:pt x="43032" y="80761"/>
                    </a:lnTo>
                    <a:lnTo>
                      <a:pt x="43335" y="81367"/>
                    </a:lnTo>
                    <a:lnTo>
                      <a:pt x="45002" y="82427"/>
                    </a:lnTo>
                    <a:lnTo>
                      <a:pt x="46972" y="84094"/>
                    </a:lnTo>
                    <a:lnTo>
                      <a:pt x="49093" y="86518"/>
                    </a:lnTo>
                    <a:lnTo>
                      <a:pt x="48183" y="87276"/>
                    </a:lnTo>
                    <a:lnTo>
                      <a:pt x="46214" y="87427"/>
                    </a:lnTo>
                    <a:lnTo>
                      <a:pt x="44699" y="87124"/>
                    </a:lnTo>
                    <a:lnTo>
                      <a:pt x="44093" y="87579"/>
                    </a:lnTo>
                    <a:lnTo>
                      <a:pt x="44093" y="88337"/>
                    </a:lnTo>
                    <a:lnTo>
                      <a:pt x="46062" y="90155"/>
                    </a:lnTo>
                    <a:lnTo>
                      <a:pt x="46517" y="91519"/>
                    </a:lnTo>
                    <a:lnTo>
                      <a:pt x="46365" y="93791"/>
                    </a:lnTo>
                    <a:lnTo>
                      <a:pt x="46517" y="96670"/>
                    </a:lnTo>
                    <a:lnTo>
                      <a:pt x="48335" y="96670"/>
                    </a:lnTo>
                    <a:lnTo>
                      <a:pt x="54548" y="90761"/>
                    </a:lnTo>
                    <a:lnTo>
                      <a:pt x="56517" y="88791"/>
                    </a:lnTo>
                    <a:lnTo>
                      <a:pt x="60305" y="87731"/>
                    </a:lnTo>
                    <a:lnTo>
                      <a:pt x="62426" y="85458"/>
                    </a:lnTo>
                    <a:lnTo>
                      <a:pt x="65760" y="82579"/>
                    </a:lnTo>
                    <a:lnTo>
                      <a:pt x="69851" y="79851"/>
                    </a:lnTo>
                    <a:lnTo>
                      <a:pt x="73639" y="77427"/>
                    </a:lnTo>
                    <a:lnTo>
                      <a:pt x="76518" y="75912"/>
                    </a:lnTo>
                    <a:lnTo>
                      <a:pt x="81670" y="72579"/>
                    </a:lnTo>
                    <a:lnTo>
                      <a:pt x="85003" y="71366"/>
                    </a:lnTo>
                    <a:lnTo>
                      <a:pt x="87882" y="71366"/>
                    </a:lnTo>
                    <a:lnTo>
                      <a:pt x="92125" y="75306"/>
                    </a:lnTo>
                    <a:lnTo>
                      <a:pt x="95761" y="78942"/>
                    </a:lnTo>
                    <a:lnTo>
                      <a:pt x="96822" y="80457"/>
                    </a:lnTo>
                    <a:lnTo>
                      <a:pt x="95003" y="81821"/>
                    </a:lnTo>
                    <a:lnTo>
                      <a:pt x="91670" y="83185"/>
                    </a:lnTo>
                    <a:lnTo>
                      <a:pt x="91064" y="84245"/>
                    </a:lnTo>
                    <a:lnTo>
                      <a:pt x="90761" y="85458"/>
                    </a:lnTo>
                    <a:lnTo>
                      <a:pt x="90912" y="86670"/>
                    </a:lnTo>
                    <a:lnTo>
                      <a:pt x="91367" y="87731"/>
                    </a:lnTo>
                    <a:lnTo>
                      <a:pt x="95458" y="90003"/>
                    </a:lnTo>
                    <a:lnTo>
                      <a:pt x="95913" y="91216"/>
                    </a:lnTo>
                    <a:lnTo>
                      <a:pt x="95913" y="92579"/>
                    </a:lnTo>
                    <a:lnTo>
                      <a:pt x="95458" y="93337"/>
                    </a:lnTo>
                    <a:lnTo>
                      <a:pt x="94549" y="93791"/>
                    </a:lnTo>
                    <a:lnTo>
                      <a:pt x="91670" y="94397"/>
                    </a:lnTo>
                    <a:lnTo>
                      <a:pt x="89246" y="95155"/>
                    </a:lnTo>
                    <a:lnTo>
                      <a:pt x="88337" y="95913"/>
                    </a:lnTo>
                    <a:lnTo>
                      <a:pt x="87579" y="96822"/>
                    </a:lnTo>
                    <a:lnTo>
                      <a:pt x="87731" y="97731"/>
                    </a:lnTo>
                    <a:lnTo>
                      <a:pt x="88488" y="98792"/>
                    </a:lnTo>
                    <a:lnTo>
                      <a:pt x="93489" y="101822"/>
                    </a:lnTo>
                    <a:lnTo>
                      <a:pt x="94094" y="102883"/>
                    </a:lnTo>
                    <a:lnTo>
                      <a:pt x="95155" y="104398"/>
                    </a:lnTo>
                    <a:lnTo>
                      <a:pt x="96367" y="105307"/>
                    </a:lnTo>
                    <a:lnTo>
                      <a:pt x="98489" y="105610"/>
                    </a:lnTo>
                    <a:lnTo>
                      <a:pt x="99549" y="106216"/>
                    </a:lnTo>
                    <a:lnTo>
                      <a:pt x="104398" y="111822"/>
                    </a:lnTo>
                    <a:lnTo>
                      <a:pt x="105610" y="112277"/>
                    </a:lnTo>
                    <a:lnTo>
                      <a:pt x="111216" y="111065"/>
                    </a:lnTo>
                    <a:lnTo>
                      <a:pt x="111974" y="111065"/>
                    </a:lnTo>
                    <a:lnTo>
                      <a:pt x="111520" y="98943"/>
                    </a:lnTo>
                    <a:lnTo>
                      <a:pt x="111671" y="98185"/>
                    </a:lnTo>
                    <a:lnTo>
                      <a:pt x="113641" y="94246"/>
                    </a:lnTo>
                    <a:lnTo>
                      <a:pt x="114550" y="90458"/>
                    </a:lnTo>
                    <a:lnTo>
                      <a:pt x="115913" y="88640"/>
                    </a:lnTo>
                    <a:lnTo>
                      <a:pt x="118641" y="90155"/>
                    </a:lnTo>
                    <a:lnTo>
                      <a:pt x="118641" y="91973"/>
                    </a:lnTo>
                    <a:lnTo>
                      <a:pt x="118944" y="92731"/>
                    </a:lnTo>
                    <a:lnTo>
                      <a:pt x="120156" y="91821"/>
                    </a:lnTo>
                    <a:lnTo>
                      <a:pt x="121065" y="90458"/>
                    </a:lnTo>
                    <a:lnTo>
                      <a:pt x="123035" y="83639"/>
                    </a:lnTo>
                    <a:lnTo>
                      <a:pt x="124398" y="82276"/>
                    </a:lnTo>
                    <a:lnTo>
                      <a:pt x="125611" y="81670"/>
                    </a:lnTo>
                    <a:lnTo>
                      <a:pt x="125762" y="80155"/>
                    </a:lnTo>
                    <a:lnTo>
                      <a:pt x="124702" y="76821"/>
                    </a:lnTo>
                    <a:lnTo>
                      <a:pt x="124550" y="73336"/>
                    </a:lnTo>
                    <a:lnTo>
                      <a:pt x="126974" y="65912"/>
                    </a:lnTo>
                    <a:lnTo>
                      <a:pt x="128641" y="57881"/>
                    </a:lnTo>
                    <a:lnTo>
                      <a:pt x="130611" y="54396"/>
                    </a:lnTo>
                    <a:lnTo>
                      <a:pt x="133793" y="52578"/>
                    </a:lnTo>
                    <a:lnTo>
                      <a:pt x="137126" y="51366"/>
                    </a:lnTo>
                    <a:lnTo>
                      <a:pt x="140611" y="50456"/>
                    </a:lnTo>
                    <a:lnTo>
                      <a:pt x="146824" y="50305"/>
                    </a:lnTo>
                    <a:lnTo>
                      <a:pt x="152884" y="51669"/>
                    </a:lnTo>
                    <a:lnTo>
                      <a:pt x="151369" y="47881"/>
                    </a:lnTo>
                    <a:close/>
                    <a:moveTo>
                      <a:pt x="21364" y="41365"/>
                    </a:moveTo>
                    <a:lnTo>
                      <a:pt x="20304" y="41971"/>
                    </a:lnTo>
                    <a:lnTo>
                      <a:pt x="19395" y="41668"/>
                    </a:lnTo>
                    <a:lnTo>
                      <a:pt x="19395" y="40305"/>
                    </a:lnTo>
                    <a:lnTo>
                      <a:pt x="20153" y="39698"/>
                    </a:lnTo>
                    <a:lnTo>
                      <a:pt x="20910" y="39698"/>
                    </a:lnTo>
                    <a:lnTo>
                      <a:pt x="21667" y="40153"/>
                    </a:lnTo>
                    <a:lnTo>
                      <a:pt x="21364" y="41365"/>
                    </a:lnTo>
                    <a:close/>
                    <a:moveTo>
                      <a:pt x="6212" y="28334"/>
                    </a:moveTo>
                    <a:lnTo>
                      <a:pt x="6819" y="28031"/>
                    </a:lnTo>
                    <a:lnTo>
                      <a:pt x="6970" y="27122"/>
                    </a:lnTo>
                    <a:lnTo>
                      <a:pt x="6819" y="26365"/>
                    </a:lnTo>
                    <a:lnTo>
                      <a:pt x="6061" y="26062"/>
                    </a:lnTo>
                    <a:lnTo>
                      <a:pt x="5152" y="26213"/>
                    </a:lnTo>
                    <a:lnTo>
                      <a:pt x="5152" y="27122"/>
                    </a:lnTo>
                    <a:lnTo>
                      <a:pt x="5455" y="27880"/>
                    </a:lnTo>
                    <a:lnTo>
                      <a:pt x="6212" y="28334"/>
                    </a:lnTo>
                    <a:close/>
                    <a:moveTo>
                      <a:pt x="34850" y="92731"/>
                    </a:moveTo>
                    <a:lnTo>
                      <a:pt x="32274" y="87579"/>
                    </a:lnTo>
                    <a:lnTo>
                      <a:pt x="33031" y="85458"/>
                    </a:lnTo>
                    <a:lnTo>
                      <a:pt x="31668" y="84245"/>
                    </a:lnTo>
                    <a:lnTo>
                      <a:pt x="28183" y="82124"/>
                    </a:lnTo>
                    <a:lnTo>
                      <a:pt x="27274" y="81215"/>
                    </a:lnTo>
                    <a:lnTo>
                      <a:pt x="27729" y="80003"/>
                    </a:lnTo>
                    <a:lnTo>
                      <a:pt x="28031" y="77730"/>
                    </a:lnTo>
                    <a:lnTo>
                      <a:pt x="27729" y="75912"/>
                    </a:lnTo>
                    <a:lnTo>
                      <a:pt x="26819" y="75306"/>
                    </a:lnTo>
                    <a:lnTo>
                      <a:pt x="25153" y="75306"/>
                    </a:lnTo>
                    <a:lnTo>
                      <a:pt x="23031" y="75760"/>
                    </a:lnTo>
                    <a:lnTo>
                      <a:pt x="18788" y="77579"/>
                    </a:lnTo>
                    <a:lnTo>
                      <a:pt x="15909" y="76518"/>
                    </a:lnTo>
                    <a:lnTo>
                      <a:pt x="14243" y="75306"/>
                    </a:lnTo>
                    <a:lnTo>
                      <a:pt x="13334" y="74397"/>
                    </a:lnTo>
                    <a:lnTo>
                      <a:pt x="11212" y="75154"/>
                    </a:lnTo>
                    <a:lnTo>
                      <a:pt x="10607" y="74700"/>
                    </a:lnTo>
                    <a:lnTo>
                      <a:pt x="10455" y="72275"/>
                    </a:lnTo>
                    <a:lnTo>
                      <a:pt x="9849" y="71063"/>
                    </a:lnTo>
                    <a:lnTo>
                      <a:pt x="8485" y="69548"/>
                    </a:lnTo>
                    <a:lnTo>
                      <a:pt x="7273" y="68791"/>
                    </a:lnTo>
                    <a:lnTo>
                      <a:pt x="2727" y="70306"/>
                    </a:lnTo>
                    <a:lnTo>
                      <a:pt x="0" y="70760"/>
                    </a:lnTo>
                    <a:lnTo>
                      <a:pt x="455" y="71366"/>
                    </a:lnTo>
                    <a:lnTo>
                      <a:pt x="1364" y="72427"/>
                    </a:lnTo>
                    <a:lnTo>
                      <a:pt x="1970" y="73185"/>
                    </a:lnTo>
                    <a:lnTo>
                      <a:pt x="6364" y="79700"/>
                    </a:lnTo>
                    <a:lnTo>
                      <a:pt x="8333" y="81670"/>
                    </a:lnTo>
                    <a:lnTo>
                      <a:pt x="9394" y="83336"/>
                    </a:lnTo>
                    <a:lnTo>
                      <a:pt x="10152" y="85155"/>
                    </a:lnTo>
                    <a:lnTo>
                      <a:pt x="11516" y="86367"/>
                    </a:lnTo>
                    <a:lnTo>
                      <a:pt x="13334" y="86973"/>
                    </a:lnTo>
                    <a:lnTo>
                      <a:pt x="15455" y="88791"/>
                    </a:lnTo>
                    <a:lnTo>
                      <a:pt x="16970" y="90155"/>
                    </a:lnTo>
                    <a:lnTo>
                      <a:pt x="19395" y="93034"/>
                    </a:lnTo>
                    <a:lnTo>
                      <a:pt x="21971" y="94094"/>
                    </a:lnTo>
                    <a:lnTo>
                      <a:pt x="31517" y="96216"/>
                    </a:lnTo>
                    <a:lnTo>
                      <a:pt x="36819" y="97125"/>
                    </a:lnTo>
                    <a:lnTo>
                      <a:pt x="35759" y="94700"/>
                    </a:lnTo>
                    <a:lnTo>
                      <a:pt x="34850" y="927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3" name="Freeform: Shape 3342">
                <a:extLst>
                  <a:ext uri="{FF2B5EF4-FFF2-40B4-BE49-F238E27FC236}">
                    <a16:creationId xmlns:a16="http://schemas.microsoft.com/office/drawing/2014/main" id="{8CE2A4F3-DCED-41AF-ACD7-1E391B04CB5D}"/>
                  </a:ext>
                </a:extLst>
              </p:cNvPr>
              <p:cNvSpPr/>
              <p:nvPr/>
            </p:nvSpPr>
            <p:spPr>
              <a:xfrm>
                <a:off x="3860159" y="4217435"/>
                <a:ext cx="4697" cy="5303"/>
              </a:xfrm>
              <a:custGeom>
                <a:avLst/>
                <a:gdLst>
                  <a:gd name="connsiteX0" fmla="*/ 4546 w 4697"/>
                  <a:gd name="connsiteY0" fmla="*/ 4394 h 5303"/>
                  <a:gd name="connsiteX1" fmla="*/ 4243 w 4697"/>
                  <a:gd name="connsiteY1" fmla="*/ 3637 h 5303"/>
                  <a:gd name="connsiteX2" fmla="*/ 2576 w 4697"/>
                  <a:gd name="connsiteY2" fmla="*/ 1212 h 5303"/>
                  <a:gd name="connsiteX3" fmla="*/ 758 w 4697"/>
                  <a:gd name="connsiteY3" fmla="*/ 0 h 5303"/>
                  <a:gd name="connsiteX4" fmla="*/ 455 w 4697"/>
                  <a:gd name="connsiteY4" fmla="*/ 455 h 5303"/>
                  <a:gd name="connsiteX5" fmla="*/ 0 w 4697"/>
                  <a:gd name="connsiteY5" fmla="*/ 1818 h 5303"/>
                  <a:gd name="connsiteX6" fmla="*/ 1667 w 4697"/>
                  <a:gd name="connsiteY6" fmla="*/ 3182 h 5303"/>
                  <a:gd name="connsiteX7" fmla="*/ 3333 w 4697"/>
                  <a:gd name="connsiteY7" fmla="*/ 4849 h 5303"/>
                  <a:gd name="connsiteX8" fmla="*/ 4697 w 4697"/>
                  <a:gd name="connsiteY8" fmla="*/ 5303 h 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97" h="5303">
                    <a:moveTo>
                      <a:pt x="4546" y="4394"/>
                    </a:moveTo>
                    <a:lnTo>
                      <a:pt x="4243" y="3637"/>
                    </a:lnTo>
                    <a:lnTo>
                      <a:pt x="2576" y="1212"/>
                    </a:lnTo>
                    <a:lnTo>
                      <a:pt x="758" y="0"/>
                    </a:lnTo>
                    <a:lnTo>
                      <a:pt x="455" y="455"/>
                    </a:lnTo>
                    <a:lnTo>
                      <a:pt x="0" y="1818"/>
                    </a:lnTo>
                    <a:lnTo>
                      <a:pt x="1667" y="3182"/>
                    </a:lnTo>
                    <a:lnTo>
                      <a:pt x="3333" y="4849"/>
                    </a:lnTo>
                    <a:lnTo>
                      <a:pt x="4697"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4" name="Freeform: Shape 3343">
                <a:extLst>
                  <a:ext uri="{FF2B5EF4-FFF2-40B4-BE49-F238E27FC236}">
                    <a16:creationId xmlns:a16="http://schemas.microsoft.com/office/drawing/2014/main" id="{F50E539F-D227-46FC-BE49-3CEE549A5536}"/>
                  </a:ext>
                </a:extLst>
              </p:cNvPr>
              <p:cNvSpPr/>
              <p:nvPr/>
            </p:nvSpPr>
            <p:spPr>
              <a:xfrm>
                <a:off x="8866557" y="4836246"/>
                <a:ext cx="1259895" cy="1388535"/>
              </a:xfrm>
              <a:custGeom>
                <a:avLst/>
                <a:gdLst>
                  <a:gd name="connsiteX0" fmla="*/ 799423 w 1259895"/>
                  <a:gd name="connsiteY0" fmla="*/ 16061 h 1388535"/>
                  <a:gd name="connsiteX1" fmla="*/ 799272 w 1259895"/>
                  <a:gd name="connsiteY1" fmla="*/ 16819 h 1388535"/>
                  <a:gd name="connsiteX2" fmla="*/ 799575 w 1259895"/>
                  <a:gd name="connsiteY2" fmla="*/ 18637 h 1388535"/>
                  <a:gd name="connsiteX3" fmla="*/ 801090 w 1259895"/>
                  <a:gd name="connsiteY3" fmla="*/ 19395 h 1388535"/>
                  <a:gd name="connsiteX4" fmla="*/ 803363 w 1259895"/>
                  <a:gd name="connsiteY4" fmla="*/ 17879 h 1388535"/>
                  <a:gd name="connsiteX5" fmla="*/ 801241 w 1259895"/>
                  <a:gd name="connsiteY5" fmla="*/ 14849 h 1388535"/>
                  <a:gd name="connsiteX6" fmla="*/ 799423 w 1259895"/>
                  <a:gd name="connsiteY6" fmla="*/ 16061 h 1388535"/>
                  <a:gd name="connsiteX7" fmla="*/ 726390 w 1259895"/>
                  <a:gd name="connsiteY7" fmla="*/ 193795 h 1388535"/>
                  <a:gd name="connsiteX8" fmla="*/ 725027 w 1259895"/>
                  <a:gd name="connsiteY8" fmla="*/ 195007 h 1388535"/>
                  <a:gd name="connsiteX9" fmla="*/ 725329 w 1259895"/>
                  <a:gd name="connsiteY9" fmla="*/ 196219 h 1388535"/>
                  <a:gd name="connsiteX10" fmla="*/ 726390 w 1259895"/>
                  <a:gd name="connsiteY10" fmla="*/ 195765 h 1388535"/>
                  <a:gd name="connsiteX11" fmla="*/ 729421 w 1259895"/>
                  <a:gd name="connsiteY11" fmla="*/ 195158 h 1388535"/>
                  <a:gd name="connsiteX12" fmla="*/ 729117 w 1259895"/>
                  <a:gd name="connsiteY12" fmla="*/ 193643 h 1388535"/>
                  <a:gd name="connsiteX13" fmla="*/ 727299 w 1259895"/>
                  <a:gd name="connsiteY13" fmla="*/ 192128 h 1388535"/>
                  <a:gd name="connsiteX14" fmla="*/ 726390 w 1259895"/>
                  <a:gd name="connsiteY14" fmla="*/ 193795 h 1388535"/>
                  <a:gd name="connsiteX15" fmla="*/ 720330 w 1259895"/>
                  <a:gd name="connsiteY15" fmla="*/ 184552 h 1388535"/>
                  <a:gd name="connsiteX16" fmla="*/ 721541 w 1259895"/>
                  <a:gd name="connsiteY16" fmla="*/ 184552 h 1388535"/>
                  <a:gd name="connsiteX17" fmla="*/ 723511 w 1259895"/>
                  <a:gd name="connsiteY17" fmla="*/ 183946 h 1388535"/>
                  <a:gd name="connsiteX18" fmla="*/ 724572 w 1259895"/>
                  <a:gd name="connsiteY18" fmla="*/ 182582 h 1388535"/>
                  <a:gd name="connsiteX19" fmla="*/ 725633 w 1259895"/>
                  <a:gd name="connsiteY19" fmla="*/ 182885 h 1388535"/>
                  <a:gd name="connsiteX20" fmla="*/ 727754 w 1259895"/>
                  <a:gd name="connsiteY20" fmla="*/ 180461 h 1388535"/>
                  <a:gd name="connsiteX21" fmla="*/ 729117 w 1259895"/>
                  <a:gd name="connsiteY21" fmla="*/ 179249 h 1388535"/>
                  <a:gd name="connsiteX22" fmla="*/ 732905 w 1259895"/>
                  <a:gd name="connsiteY22" fmla="*/ 178794 h 1388535"/>
                  <a:gd name="connsiteX23" fmla="*/ 730330 w 1259895"/>
                  <a:gd name="connsiteY23" fmla="*/ 175612 h 1388535"/>
                  <a:gd name="connsiteX24" fmla="*/ 729876 w 1259895"/>
                  <a:gd name="connsiteY24" fmla="*/ 175461 h 1388535"/>
                  <a:gd name="connsiteX25" fmla="*/ 726390 w 1259895"/>
                  <a:gd name="connsiteY25" fmla="*/ 176673 h 1388535"/>
                  <a:gd name="connsiteX26" fmla="*/ 721845 w 1259895"/>
                  <a:gd name="connsiteY26" fmla="*/ 177431 h 1388535"/>
                  <a:gd name="connsiteX27" fmla="*/ 720027 w 1259895"/>
                  <a:gd name="connsiteY27" fmla="*/ 179097 h 1388535"/>
                  <a:gd name="connsiteX28" fmla="*/ 718208 w 1259895"/>
                  <a:gd name="connsiteY28" fmla="*/ 181825 h 1388535"/>
                  <a:gd name="connsiteX29" fmla="*/ 717753 w 1259895"/>
                  <a:gd name="connsiteY29" fmla="*/ 184249 h 1388535"/>
                  <a:gd name="connsiteX30" fmla="*/ 718057 w 1259895"/>
                  <a:gd name="connsiteY30" fmla="*/ 185007 h 1388535"/>
                  <a:gd name="connsiteX31" fmla="*/ 720330 w 1259895"/>
                  <a:gd name="connsiteY31" fmla="*/ 184552 h 1388535"/>
                  <a:gd name="connsiteX32" fmla="*/ 800484 w 1259895"/>
                  <a:gd name="connsiteY32" fmla="*/ 2727 h 1388535"/>
                  <a:gd name="connsiteX33" fmla="*/ 801090 w 1259895"/>
                  <a:gd name="connsiteY33" fmla="*/ 909 h 1388535"/>
                  <a:gd name="connsiteX34" fmla="*/ 799878 w 1259895"/>
                  <a:gd name="connsiteY34" fmla="*/ 0 h 1388535"/>
                  <a:gd name="connsiteX35" fmla="*/ 798514 w 1259895"/>
                  <a:gd name="connsiteY35" fmla="*/ 1970 h 1388535"/>
                  <a:gd name="connsiteX36" fmla="*/ 799727 w 1259895"/>
                  <a:gd name="connsiteY36" fmla="*/ 3636 h 1388535"/>
                  <a:gd name="connsiteX37" fmla="*/ 800484 w 1259895"/>
                  <a:gd name="connsiteY37" fmla="*/ 2727 h 1388535"/>
                  <a:gd name="connsiteX38" fmla="*/ 658661 w 1259895"/>
                  <a:gd name="connsiteY38" fmla="*/ 156824 h 1388535"/>
                  <a:gd name="connsiteX39" fmla="*/ 658964 w 1259895"/>
                  <a:gd name="connsiteY39" fmla="*/ 158187 h 1388535"/>
                  <a:gd name="connsiteX40" fmla="*/ 660479 w 1259895"/>
                  <a:gd name="connsiteY40" fmla="*/ 159551 h 1388535"/>
                  <a:gd name="connsiteX41" fmla="*/ 661691 w 1259895"/>
                  <a:gd name="connsiteY41" fmla="*/ 158187 h 1388535"/>
                  <a:gd name="connsiteX42" fmla="*/ 661085 w 1259895"/>
                  <a:gd name="connsiteY42" fmla="*/ 157127 h 1388535"/>
                  <a:gd name="connsiteX43" fmla="*/ 660933 w 1259895"/>
                  <a:gd name="connsiteY43" fmla="*/ 155006 h 1388535"/>
                  <a:gd name="connsiteX44" fmla="*/ 659418 w 1259895"/>
                  <a:gd name="connsiteY44" fmla="*/ 153036 h 1388535"/>
                  <a:gd name="connsiteX45" fmla="*/ 658813 w 1259895"/>
                  <a:gd name="connsiteY45" fmla="*/ 154702 h 1388535"/>
                  <a:gd name="connsiteX46" fmla="*/ 658206 w 1259895"/>
                  <a:gd name="connsiteY46" fmla="*/ 155006 h 1388535"/>
                  <a:gd name="connsiteX47" fmla="*/ 657600 w 1259895"/>
                  <a:gd name="connsiteY47" fmla="*/ 156218 h 1388535"/>
                  <a:gd name="connsiteX48" fmla="*/ 658661 w 1259895"/>
                  <a:gd name="connsiteY48" fmla="*/ 156824 h 1388535"/>
                  <a:gd name="connsiteX49" fmla="*/ 648054 w 1259895"/>
                  <a:gd name="connsiteY49" fmla="*/ 36365 h 1388535"/>
                  <a:gd name="connsiteX50" fmla="*/ 651994 w 1259895"/>
                  <a:gd name="connsiteY50" fmla="*/ 31365 h 1388535"/>
                  <a:gd name="connsiteX51" fmla="*/ 653055 w 1259895"/>
                  <a:gd name="connsiteY51" fmla="*/ 26364 h 1388535"/>
                  <a:gd name="connsiteX52" fmla="*/ 651691 w 1259895"/>
                  <a:gd name="connsiteY52" fmla="*/ 26668 h 1388535"/>
                  <a:gd name="connsiteX53" fmla="*/ 651539 w 1259895"/>
                  <a:gd name="connsiteY53" fmla="*/ 28940 h 1388535"/>
                  <a:gd name="connsiteX54" fmla="*/ 651085 w 1259895"/>
                  <a:gd name="connsiteY54" fmla="*/ 30456 h 1388535"/>
                  <a:gd name="connsiteX55" fmla="*/ 650479 w 1259895"/>
                  <a:gd name="connsiteY55" fmla="*/ 30910 h 1388535"/>
                  <a:gd name="connsiteX56" fmla="*/ 649418 w 1259895"/>
                  <a:gd name="connsiteY56" fmla="*/ 31819 h 1388535"/>
                  <a:gd name="connsiteX57" fmla="*/ 646993 w 1259895"/>
                  <a:gd name="connsiteY57" fmla="*/ 35910 h 1388535"/>
                  <a:gd name="connsiteX58" fmla="*/ 645933 w 1259895"/>
                  <a:gd name="connsiteY58" fmla="*/ 36971 h 1388535"/>
                  <a:gd name="connsiteX59" fmla="*/ 646084 w 1259895"/>
                  <a:gd name="connsiteY59" fmla="*/ 38183 h 1388535"/>
                  <a:gd name="connsiteX60" fmla="*/ 648054 w 1259895"/>
                  <a:gd name="connsiteY60" fmla="*/ 36365 h 1388535"/>
                  <a:gd name="connsiteX61" fmla="*/ 642145 w 1259895"/>
                  <a:gd name="connsiteY61" fmla="*/ 42123 h 1388535"/>
                  <a:gd name="connsiteX62" fmla="*/ 644570 w 1259895"/>
                  <a:gd name="connsiteY62" fmla="*/ 40153 h 1388535"/>
                  <a:gd name="connsiteX63" fmla="*/ 644872 w 1259895"/>
                  <a:gd name="connsiteY63" fmla="*/ 38941 h 1388535"/>
                  <a:gd name="connsiteX64" fmla="*/ 644115 w 1259895"/>
                  <a:gd name="connsiteY64" fmla="*/ 39547 h 1388535"/>
                  <a:gd name="connsiteX65" fmla="*/ 639115 w 1259895"/>
                  <a:gd name="connsiteY65" fmla="*/ 41971 h 1388535"/>
                  <a:gd name="connsiteX66" fmla="*/ 636690 w 1259895"/>
                  <a:gd name="connsiteY66" fmla="*/ 44699 h 1388535"/>
                  <a:gd name="connsiteX67" fmla="*/ 641084 w 1259895"/>
                  <a:gd name="connsiteY67" fmla="*/ 42577 h 1388535"/>
                  <a:gd name="connsiteX68" fmla="*/ 642145 w 1259895"/>
                  <a:gd name="connsiteY68" fmla="*/ 42123 h 1388535"/>
                  <a:gd name="connsiteX69" fmla="*/ 645479 w 1259895"/>
                  <a:gd name="connsiteY69" fmla="*/ 152884 h 1388535"/>
                  <a:gd name="connsiteX70" fmla="*/ 645781 w 1259895"/>
                  <a:gd name="connsiteY70" fmla="*/ 154097 h 1388535"/>
                  <a:gd name="connsiteX71" fmla="*/ 646236 w 1259895"/>
                  <a:gd name="connsiteY71" fmla="*/ 154248 h 1388535"/>
                  <a:gd name="connsiteX72" fmla="*/ 647903 w 1259895"/>
                  <a:gd name="connsiteY72" fmla="*/ 154097 h 1388535"/>
                  <a:gd name="connsiteX73" fmla="*/ 648509 w 1259895"/>
                  <a:gd name="connsiteY73" fmla="*/ 151824 h 1388535"/>
                  <a:gd name="connsiteX74" fmla="*/ 647751 w 1259895"/>
                  <a:gd name="connsiteY74" fmla="*/ 151521 h 1388535"/>
                  <a:gd name="connsiteX75" fmla="*/ 646084 w 1259895"/>
                  <a:gd name="connsiteY75" fmla="*/ 151824 h 1388535"/>
                  <a:gd name="connsiteX76" fmla="*/ 645479 w 1259895"/>
                  <a:gd name="connsiteY76" fmla="*/ 152884 h 1388535"/>
                  <a:gd name="connsiteX77" fmla="*/ 655934 w 1259895"/>
                  <a:gd name="connsiteY77" fmla="*/ 114246 h 1388535"/>
                  <a:gd name="connsiteX78" fmla="*/ 653206 w 1259895"/>
                  <a:gd name="connsiteY78" fmla="*/ 113186 h 1388535"/>
                  <a:gd name="connsiteX79" fmla="*/ 652146 w 1259895"/>
                  <a:gd name="connsiteY79" fmla="*/ 111974 h 1388535"/>
                  <a:gd name="connsiteX80" fmla="*/ 651994 w 1259895"/>
                  <a:gd name="connsiteY80" fmla="*/ 110762 h 1388535"/>
                  <a:gd name="connsiteX81" fmla="*/ 653206 w 1259895"/>
                  <a:gd name="connsiteY81" fmla="*/ 107276 h 1388535"/>
                  <a:gd name="connsiteX82" fmla="*/ 653964 w 1259895"/>
                  <a:gd name="connsiteY82" fmla="*/ 106216 h 1388535"/>
                  <a:gd name="connsiteX83" fmla="*/ 654721 w 1259895"/>
                  <a:gd name="connsiteY83" fmla="*/ 105913 h 1388535"/>
                  <a:gd name="connsiteX84" fmla="*/ 656388 w 1259895"/>
                  <a:gd name="connsiteY84" fmla="*/ 103943 h 1388535"/>
                  <a:gd name="connsiteX85" fmla="*/ 655934 w 1259895"/>
                  <a:gd name="connsiteY85" fmla="*/ 102882 h 1388535"/>
                  <a:gd name="connsiteX86" fmla="*/ 655327 w 1259895"/>
                  <a:gd name="connsiteY86" fmla="*/ 102276 h 1388535"/>
                  <a:gd name="connsiteX87" fmla="*/ 654569 w 1259895"/>
                  <a:gd name="connsiteY87" fmla="*/ 101973 h 1388535"/>
                  <a:gd name="connsiteX88" fmla="*/ 653509 w 1259895"/>
                  <a:gd name="connsiteY88" fmla="*/ 104549 h 1388535"/>
                  <a:gd name="connsiteX89" fmla="*/ 652297 w 1259895"/>
                  <a:gd name="connsiteY89" fmla="*/ 104701 h 1388535"/>
                  <a:gd name="connsiteX90" fmla="*/ 651085 w 1259895"/>
                  <a:gd name="connsiteY90" fmla="*/ 103488 h 1388535"/>
                  <a:gd name="connsiteX91" fmla="*/ 650630 w 1259895"/>
                  <a:gd name="connsiteY91" fmla="*/ 101367 h 1388535"/>
                  <a:gd name="connsiteX92" fmla="*/ 650781 w 1259895"/>
                  <a:gd name="connsiteY92" fmla="*/ 100155 h 1388535"/>
                  <a:gd name="connsiteX93" fmla="*/ 649569 w 1259895"/>
                  <a:gd name="connsiteY93" fmla="*/ 100004 h 1388535"/>
                  <a:gd name="connsiteX94" fmla="*/ 647600 w 1259895"/>
                  <a:gd name="connsiteY94" fmla="*/ 101216 h 1388535"/>
                  <a:gd name="connsiteX95" fmla="*/ 646236 w 1259895"/>
                  <a:gd name="connsiteY95" fmla="*/ 103186 h 1388535"/>
                  <a:gd name="connsiteX96" fmla="*/ 643205 w 1259895"/>
                  <a:gd name="connsiteY96" fmla="*/ 105155 h 1388535"/>
                  <a:gd name="connsiteX97" fmla="*/ 642903 w 1259895"/>
                  <a:gd name="connsiteY97" fmla="*/ 109246 h 1388535"/>
                  <a:gd name="connsiteX98" fmla="*/ 643357 w 1259895"/>
                  <a:gd name="connsiteY98" fmla="*/ 112428 h 1388535"/>
                  <a:gd name="connsiteX99" fmla="*/ 642448 w 1259895"/>
                  <a:gd name="connsiteY99" fmla="*/ 113792 h 1388535"/>
                  <a:gd name="connsiteX100" fmla="*/ 640933 w 1259895"/>
                  <a:gd name="connsiteY100" fmla="*/ 114852 h 1388535"/>
                  <a:gd name="connsiteX101" fmla="*/ 641691 w 1259895"/>
                  <a:gd name="connsiteY101" fmla="*/ 115307 h 1388535"/>
                  <a:gd name="connsiteX102" fmla="*/ 644418 w 1259895"/>
                  <a:gd name="connsiteY102" fmla="*/ 115459 h 1388535"/>
                  <a:gd name="connsiteX103" fmla="*/ 649569 w 1259895"/>
                  <a:gd name="connsiteY103" fmla="*/ 116671 h 1388535"/>
                  <a:gd name="connsiteX104" fmla="*/ 652600 w 1259895"/>
                  <a:gd name="connsiteY104" fmla="*/ 116519 h 1388535"/>
                  <a:gd name="connsiteX105" fmla="*/ 656236 w 1259895"/>
                  <a:gd name="connsiteY105" fmla="*/ 117125 h 1388535"/>
                  <a:gd name="connsiteX106" fmla="*/ 657297 w 1259895"/>
                  <a:gd name="connsiteY106" fmla="*/ 115762 h 1388535"/>
                  <a:gd name="connsiteX107" fmla="*/ 657903 w 1259895"/>
                  <a:gd name="connsiteY107" fmla="*/ 114095 h 1388535"/>
                  <a:gd name="connsiteX108" fmla="*/ 657448 w 1259895"/>
                  <a:gd name="connsiteY108" fmla="*/ 113943 h 1388535"/>
                  <a:gd name="connsiteX109" fmla="*/ 655934 w 1259895"/>
                  <a:gd name="connsiteY109" fmla="*/ 114246 h 1388535"/>
                  <a:gd name="connsiteX110" fmla="*/ 654873 w 1259895"/>
                  <a:gd name="connsiteY110" fmla="*/ 154097 h 1388535"/>
                  <a:gd name="connsiteX111" fmla="*/ 655327 w 1259895"/>
                  <a:gd name="connsiteY111" fmla="*/ 153945 h 1388535"/>
                  <a:gd name="connsiteX112" fmla="*/ 656085 w 1259895"/>
                  <a:gd name="connsiteY112" fmla="*/ 153036 h 1388535"/>
                  <a:gd name="connsiteX113" fmla="*/ 655782 w 1259895"/>
                  <a:gd name="connsiteY113" fmla="*/ 150611 h 1388535"/>
                  <a:gd name="connsiteX114" fmla="*/ 654873 w 1259895"/>
                  <a:gd name="connsiteY114" fmla="*/ 151824 h 1388535"/>
                  <a:gd name="connsiteX115" fmla="*/ 654873 w 1259895"/>
                  <a:gd name="connsiteY115" fmla="*/ 154097 h 1388535"/>
                  <a:gd name="connsiteX116" fmla="*/ 987006 w 1259895"/>
                  <a:gd name="connsiteY116" fmla="*/ 285313 h 1388535"/>
                  <a:gd name="connsiteX117" fmla="*/ 987915 w 1259895"/>
                  <a:gd name="connsiteY117" fmla="*/ 285313 h 1388535"/>
                  <a:gd name="connsiteX118" fmla="*/ 988522 w 1259895"/>
                  <a:gd name="connsiteY118" fmla="*/ 285010 h 1388535"/>
                  <a:gd name="connsiteX119" fmla="*/ 988522 w 1259895"/>
                  <a:gd name="connsiteY119" fmla="*/ 284556 h 1388535"/>
                  <a:gd name="connsiteX120" fmla="*/ 987461 w 1259895"/>
                  <a:gd name="connsiteY120" fmla="*/ 283041 h 1388535"/>
                  <a:gd name="connsiteX121" fmla="*/ 986854 w 1259895"/>
                  <a:gd name="connsiteY121" fmla="*/ 281071 h 1388535"/>
                  <a:gd name="connsiteX122" fmla="*/ 985643 w 1259895"/>
                  <a:gd name="connsiteY122" fmla="*/ 284707 h 1388535"/>
                  <a:gd name="connsiteX123" fmla="*/ 987006 w 1259895"/>
                  <a:gd name="connsiteY123" fmla="*/ 285313 h 1388535"/>
                  <a:gd name="connsiteX124" fmla="*/ 1028826 w 1259895"/>
                  <a:gd name="connsiteY124" fmla="*/ 342891 h 1388535"/>
                  <a:gd name="connsiteX125" fmla="*/ 1029735 w 1259895"/>
                  <a:gd name="connsiteY125" fmla="*/ 342437 h 1388535"/>
                  <a:gd name="connsiteX126" fmla="*/ 1028978 w 1259895"/>
                  <a:gd name="connsiteY126" fmla="*/ 340164 h 1388535"/>
                  <a:gd name="connsiteX127" fmla="*/ 1028069 w 1259895"/>
                  <a:gd name="connsiteY127" fmla="*/ 339709 h 1388535"/>
                  <a:gd name="connsiteX128" fmla="*/ 1027917 w 1259895"/>
                  <a:gd name="connsiteY128" fmla="*/ 341376 h 1388535"/>
                  <a:gd name="connsiteX129" fmla="*/ 1027311 w 1259895"/>
                  <a:gd name="connsiteY129" fmla="*/ 342588 h 1388535"/>
                  <a:gd name="connsiteX130" fmla="*/ 1028069 w 1259895"/>
                  <a:gd name="connsiteY130" fmla="*/ 343043 h 1388535"/>
                  <a:gd name="connsiteX131" fmla="*/ 1028826 w 1259895"/>
                  <a:gd name="connsiteY131" fmla="*/ 342891 h 1388535"/>
                  <a:gd name="connsiteX132" fmla="*/ 1098223 w 1259895"/>
                  <a:gd name="connsiteY132" fmla="*/ 442440 h 1388535"/>
                  <a:gd name="connsiteX133" fmla="*/ 1098980 w 1259895"/>
                  <a:gd name="connsiteY133" fmla="*/ 441683 h 1388535"/>
                  <a:gd name="connsiteX134" fmla="*/ 1099132 w 1259895"/>
                  <a:gd name="connsiteY134" fmla="*/ 439713 h 1388535"/>
                  <a:gd name="connsiteX135" fmla="*/ 1100647 w 1259895"/>
                  <a:gd name="connsiteY135" fmla="*/ 434713 h 1388535"/>
                  <a:gd name="connsiteX136" fmla="*/ 1106405 w 1259895"/>
                  <a:gd name="connsiteY136" fmla="*/ 421682 h 1388535"/>
                  <a:gd name="connsiteX137" fmla="*/ 1106708 w 1259895"/>
                  <a:gd name="connsiteY137" fmla="*/ 419258 h 1388535"/>
                  <a:gd name="connsiteX138" fmla="*/ 1105041 w 1259895"/>
                  <a:gd name="connsiteY138" fmla="*/ 417439 h 1388535"/>
                  <a:gd name="connsiteX139" fmla="*/ 1104586 w 1259895"/>
                  <a:gd name="connsiteY139" fmla="*/ 412288 h 1388535"/>
                  <a:gd name="connsiteX140" fmla="*/ 1103829 w 1259895"/>
                  <a:gd name="connsiteY140" fmla="*/ 411985 h 1388535"/>
                  <a:gd name="connsiteX141" fmla="*/ 1102920 w 1259895"/>
                  <a:gd name="connsiteY141" fmla="*/ 412288 h 1388535"/>
                  <a:gd name="connsiteX142" fmla="*/ 1101707 w 1259895"/>
                  <a:gd name="connsiteY142" fmla="*/ 413045 h 1388535"/>
                  <a:gd name="connsiteX143" fmla="*/ 1100647 w 1259895"/>
                  <a:gd name="connsiteY143" fmla="*/ 414561 h 1388535"/>
                  <a:gd name="connsiteX144" fmla="*/ 1101859 w 1259895"/>
                  <a:gd name="connsiteY144" fmla="*/ 415015 h 1388535"/>
                  <a:gd name="connsiteX145" fmla="*/ 1103374 w 1259895"/>
                  <a:gd name="connsiteY145" fmla="*/ 417591 h 1388535"/>
                  <a:gd name="connsiteX146" fmla="*/ 1102920 w 1259895"/>
                  <a:gd name="connsiteY146" fmla="*/ 420015 h 1388535"/>
                  <a:gd name="connsiteX147" fmla="*/ 1101859 w 1259895"/>
                  <a:gd name="connsiteY147" fmla="*/ 421834 h 1388535"/>
                  <a:gd name="connsiteX148" fmla="*/ 1097768 w 1259895"/>
                  <a:gd name="connsiteY148" fmla="*/ 425318 h 1388535"/>
                  <a:gd name="connsiteX149" fmla="*/ 1098374 w 1259895"/>
                  <a:gd name="connsiteY149" fmla="*/ 428500 h 1388535"/>
                  <a:gd name="connsiteX150" fmla="*/ 1098071 w 1259895"/>
                  <a:gd name="connsiteY150" fmla="*/ 430016 h 1388535"/>
                  <a:gd name="connsiteX151" fmla="*/ 1096707 w 1259895"/>
                  <a:gd name="connsiteY151" fmla="*/ 432743 h 1388535"/>
                  <a:gd name="connsiteX152" fmla="*/ 1096101 w 1259895"/>
                  <a:gd name="connsiteY152" fmla="*/ 435773 h 1388535"/>
                  <a:gd name="connsiteX153" fmla="*/ 1096859 w 1259895"/>
                  <a:gd name="connsiteY153" fmla="*/ 440925 h 1388535"/>
                  <a:gd name="connsiteX154" fmla="*/ 1098223 w 1259895"/>
                  <a:gd name="connsiteY154" fmla="*/ 442440 h 1388535"/>
                  <a:gd name="connsiteX155" fmla="*/ 1048675 w 1259895"/>
                  <a:gd name="connsiteY155" fmla="*/ 384559 h 1388535"/>
                  <a:gd name="connsiteX156" fmla="*/ 1049281 w 1259895"/>
                  <a:gd name="connsiteY156" fmla="*/ 384105 h 1388535"/>
                  <a:gd name="connsiteX157" fmla="*/ 1050190 w 1259895"/>
                  <a:gd name="connsiteY157" fmla="*/ 382893 h 1388535"/>
                  <a:gd name="connsiteX158" fmla="*/ 1049584 w 1259895"/>
                  <a:gd name="connsiteY158" fmla="*/ 381378 h 1388535"/>
                  <a:gd name="connsiteX159" fmla="*/ 1048372 w 1259895"/>
                  <a:gd name="connsiteY159" fmla="*/ 379256 h 1388535"/>
                  <a:gd name="connsiteX160" fmla="*/ 1048675 w 1259895"/>
                  <a:gd name="connsiteY160" fmla="*/ 377438 h 1388535"/>
                  <a:gd name="connsiteX161" fmla="*/ 1047918 w 1259895"/>
                  <a:gd name="connsiteY161" fmla="*/ 376983 h 1388535"/>
                  <a:gd name="connsiteX162" fmla="*/ 1047009 w 1259895"/>
                  <a:gd name="connsiteY162" fmla="*/ 377135 h 1388535"/>
                  <a:gd name="connsiteX163" fmla="*/ 1046100 w 1259895"/>
                  <a:gd name="connsiteY163" fmla="*/ 376377 h 1388535"/>
                  <a:gd name="connsiteX164" fmla="*/ 1043675 w 1259895"/>
                  <a:gd name="connsiteY164" fmla="*/ 375468 h 1388535"/>
                  <a:gd name="connsiteX165" fmla="*/ 1042917 w 1259895"/>
                  <a:gd name="connsiteY165" fmla="*/ 377438 h 1388535"/>
                  <a:gd name="connsiteX166" fmla="*/ 1047009 w 1259895"/>
                  <a:gd name="connsiteY166" fmla="*/ 383499 h 1388535"/>
                  <a:gd name="connsiteX167" fmla="*/ 1048675 w 1259895"/>
                  <a:gd name="connsiteY167" fmla="*/ 384559 h 1388535"/>
                  <a:gd name="connsiteX168" fmla="*/ 1108374 w 1259895"/>
                  <a:gd name="connsiteY168" fmla="*/ 487897 h 1388535"/>
                  <a:gd name="connsiteX169" fmla="*/ 1108980 w 1259895"/>
                  <a:gd name="connsiteY169" fmla="*/ 487442 h 1388535"/>
                  <a:gd name="connsiteX170" fmla="*/ 1108526 w 1259895"/>
                  <a:gd name="connsiteY170" fmla="*/ 484109 h 1388535"/>
                  <a:gd name="connsiteX171" fmla="*/ 1109587 w 1259895"/>
                  <a:gd name="connsiteY171" fmla="*/ 479260 h 1388535"/>
                  <a:gd name="connsiteX172" fmla="*/ 1108678 w 1259895"/>
                  <a:gd name="connsiteY172" fmla="*/ 478957 h 1388535"/>
                  <a:gd name="connsiteX173" fmla="*/ 1107314 w 1259895"/>
                  <a:gd name="connsiteY173" fmla="*/ 479563 h 1388535"/>
                  <a:gd name="connsiteX174" fmla="*/ 1106860 w 1259895"/>
                  <a:gd name="connsiteY174" fmla="*/ 482139 h 1388535"/>
                  <a:gd name="connsiteX175" fmla="*/ 1107162 w 1259895"/>
                  <a:gd name="connsiteY175" fmla="*/ 485018 h 1388535"/>
                  <a:gd name="connsiteX176" fmla="*/ 1108374 w 1259895"/>
                  <a:gd name="connsiteY176" fmla="*/ 487897 h 1388535"/>
                  <a:gd name="connsiteX177" fmla="*/ 803515 w 1259895"/>
                  <a:gd name="connsiteY177" fmla="*/ 5455 h 1388535"/>
                  <a:gd name="connsiteX178" fmla="*/ 805181 w 1259895"/>
                  <a:gd name="connsiteY178" fmla="*/ 3788 h 1388535"/>
                  <a:gd name="connsiteX179" fmla="*/ 804120 w 1259895"/>
                  <a:gd name="connsiteY179" fmla="*/ 2424 h 1388535"/>
                  <a:gd name="connsiteX180" fmla="*/ 802000 w 1259895"/>
                  <a:gd name="connsiteY180" fmla="*/ 2727 h 1388535"/>
                  <a:gd name="connsiteX181" fmla="*/ 801393 w 1259895"/>
                  <a:gd name="connsiteY181" fmla="*/ 4091 h 1388535"/>
                  <a:gd name="connsiteX182" fmla="*/ 802000 w 1259895"/>
                  <a:gd name="connsiteY182" fmla="*/ 5152 h 1388535"/>
                  <a:gd name="connsiteX183" fmla="*/ 803515 w 1259895"/>
                  <a:gd name="connsiteY183" fmla="*/ 5455 h 1388535"/>
                  <a:gd name="connsiteX184" fmla="*/ 1107769 w 1259895"/>
                  <a:gd name="connsiteY184" fmla="*/ 493048 h 1388535"/>
                  <a:gd name="connsiteX185" fmla="*/ 1107617 w 1259895"/>
                  <a:gd name="connsiteY185" fmla="*/ 497745 h 1388535"/>
                  <a:gd name="connsiteX186" fmla="*/ 1108526 w 1259895"/>
                  <a:gd name="connsiteY186" fmla="*/ 498958 h 1388535"/>
                  <a:gd name="connsiteX187" fmla="*/ 1109283 w 1259895"/>
                  <a:gd name="connsiteY187" fmla="*/ 499109 h 1388535"/>
                  <a:gd name="connsiteX188" fmla="*/ 1111707 w 1259895"/>
                  <a:gd name="connsiteY188" fmla="*/ 491078 h 1388535"/>
                  <a:gd name="connsiteX189" fmla="*/ 1111253 w 1259895"/>
                  <a:gd name="connsiteY189" fmla="*/ 490624 h 1388535"/>
                  <a:gd name="connsiteX190" fmla="*/ 1108829 w 1259895"/>
                  <a:gd name="connsiteY190" fmla="*/ 490169 h 1388535"/>
                  <a:gd name="connsiteX191" fmla="*/ 1107769 w 1259895"/>
                  <a:gd name="connsiteY191" fmla="*/ 493048 h 1388535"/>
                  <a:gd name="connsiteX192" fmla="*/ 985643 w 1259895"/>
                  <a:gd name="connsiteY192" fmla="*/ 281071 h 1388535"/>
                  <a:gd name="connsiteX193" fmla="*/ 986249 w 1259895"/>
                  <a:gd name="connsiteY193" fmla="*/ 280616 h 1388535"/>
                  <a:gd name="connsiteX194" fmla="*/ 986552 w 1259895"/>
                  <a:gd name="connsiteY194" fmla="*/ 278040 h 1388535"/>
                  <a:gd name="connsiteX195" fmla="*/ 985491 w 1259895"/>
                  <a:gd name="connsiteY195" fmla="*/ 278798 h 1388535"/>
                  <a:gd name="connsiteX196" fmla="*/ 984734 w 1259895"/>
                  <a:gd name="connsiteY196" fmla="*/ 279707 h 1388535"/>
                  <a:gd name="connsiteX197" fmla="*/ 984127 w 1259895"/>
                  <a:gd name="connsiteY197" fmla="*/ 280919 h 1388535"/>
                  <a:gd name="connsiteX198" fmla="*/ 984885 w 1259895"/>
                  <a:gd name="connsiteY198" fmla="*/ 281222 h 1388535"/>
                  <a:gd name="connsiteX199" fmla="*/ 985643 w 1259895"/>
                  <a:gd name="connsiteY199" fmla="*/ 281071 h 1388535"/>
                  <a:gd name="connsiteX200" fmla="*/ 1012765 w 1259895"/>
                  <a:gd name="connsiteY200" fmla="*/ 339103 h 1388535"/>
                  <a:gd name="connsiteX201" fmla="*/ 1012765 w 1259895"/>
                  <a:gd name="connsiteY201" fmla="*/ 337891 h 1388535"/>
                  <a:gd name="connsiteX202" fmla="*/ 1012310 w 1259895"/>
                  <a:gd name="connsiteY202" fmla="*/ 335012 h 1388535"/>
                  <a:gd name="connsiteX203" fmla="*/ 1011250 w 1259895"/>
                  <a:gd name="connsiteY203" fmla="*/ 335770 h 1388535"/>
                  <a:gd name="connsiteX204" fmla="*/ 1011098 w 1259895"/>
                  <a:gd name="connsiteY204" fmla="*/ 337891 h 1388535"/>
                  <a:gd name="connsiteX205" fmla="*/ 1011704 w 1259895"/>
                  <a:gd name="connsiteY205" fmla="*/ 340012 h 1388535"/>
                  <a:gd name="connsiteX206" fmla="*/ 1012765 w 1259895"/>
                  <a:gd name="connsiteY206" fmla="*/ 339103 h 1388535"/>
                  <a:gd name="connsiteX207" fmla="*/ 908518 w 1259895"/>
                  <a:gd name="connsiteY207" fmla="*/ 228645 h 1388535"/>
                  <a:gd name="connsiteX208" fmla="*/ 910640 w 1259895"/>
                  <a:gd name="connsiteY208" fmla="*/ 230614 h 1388535"/>
                  <a:gd name="connsiteX209" fmla="*/ 911852 w 1259895"/>
                  <a:gd name="connsiteY209" fmla="*/ 233039 h 1388535"/>
                  <a:gd name="connsiteX210" fmla="*/ 913519 w 1259895"/>
                  <a:gd name="connsiteY210" fmla="*/ 233948 h 1388535"/>
                  <a:gd name="connsiteX211" fmla="*/ 914276 w 1259895"/>
                  <a:gd name="connsiteY211" fmla="*/ 232887 h 1388535"/>
                  <a:gd name="connsiteX212" fmla="*/ 914730 w 1259895"/>
                  <a:gd name="connsiteY212" fmla="*/ 231524 h 1388535"/>
                  <a:gd name="connsiteX213" fmla="*/ 913519 w 1259895"/>
                  <a:gd name="connsiteY213" fmla="*/ 229402 h 1388535"/>
                  <a:gd name="connsiteX214" fmla="*/ 912912 w 1259895"/>
                  <a:gd name="connsiteY214" fmla="*/ 226675 h 1388535"/>
                  <a:gd name="connsiteX215" fmla="*/ 912155 w 1259895"/>
                  <a:gd name="connsiteY215" fmla="*/ 226523 h 1388535"/>
                  <a:gd name="connsiteX216" fmla="*/ 911701 w 1259895"/>
                  <a:gd name="connsiteY216" fmla="*/ 226978 h 1388535"/>
                  <a:gd name="connsiteX217" fmla="*/ 910488 w 1259895"/>
                  <a:gd name="connsiteY217" fmla="*/ 227432 h 1388535"/>
                  <a:gd name="connsiteX218" fmla="*/ 908064 w 1259895"/>
                  <a:gd name="connsiteY218" fmla="*/ 227281 h 1388535"/>
                  <a:gd name="connsiteX219" fmla="*/ 908518 w 1259895"/>
                  <a:gd name="connsiteY219" fmla="*/ 228645 h 1388535"/>
                  <a:gd name="connsiteX220" fmla="*/ 535778 w 1259895"/>
                  <a:gd name="connsiteY220" fmla="*/ 30456 h 1388535"/>
                  <a:gd name="connsiteX221" fmla="*/ 537898 w 1259895"/>
                  <a:gd name="connsiteY221" fmla="*/ 34698 h 1388535"/>
                  <a:gd name="connsiteX222" fmla="*/ 538505 w 1259895"/>
                  <a:gd name="connsiteY222" fmla="*/ 34244 h 1388535"/>
                  <a:gd name="connsiteX223" fmla="*/ 539414 w 1259895"/>
                  <a:gd name="connsiteY223" fmla="*/ 30607 h 1388535"/>
                  <a:gd name="connsiteX224" fmla="*/ 538505 w 1259895"/>
                  <a:gd name="connsiteY224" fmla="*/ 28940 h 1388535"/>
                  <a:gd name="connsiteX225" fmla="*/ 538353 w 1259895"/>
                  <a:gd name="connsiteY225" fmla="*/ 25910 h 1388535"/>
                  <a:gd name="connsiteX226" fmla="*/ 537898 w 1259895"/>
                  <a:gd name="connsiteY226" fmla="*/ 25152 h 1388535"/>
                  <a:gd name="connsiteX227" fmla="*/ 536838 w 1259895"/>
                  <a:gd name="connsiteY227" fmla="*/ 26819 h 1388535"/>
                  <a:gd name="connsiteX228" fmla="*/ 535323 w 1259895"/>
                  <a:gd name="connsiteY228" fmla="*/ 27122 h 1388535"/>
                  <a:gd name="connsiteX229" fmla="*/ 536232 w 1259895"/>
                  <a:gd name="connsiteY229" fmla="*/ 29243 h 1388535"/>
                  <a:gd name="connsiteX230" fmla="*/ 535778 w 1259895"/>
                  <a:gd name="connsiteY230" fmla="*/ 30456 h 1388535"/>
                  <a:gd name="connsiteX231" fmla="*/ 6061 w 1259895"/>
                  <a:gd name="connsiteY231" fmla="*/ 447592 h 1388535"/>
                  <a:gd name="connsiteX232" fmla="*/ 6061 w 1259895"/>
                  <a:gd name="connsiteY232" fmla="*/ 445622 h 1388535"/>
                  <a:gd name="connsiteX233" fmla="*/ 5152 w 1259895"/>
                  <a:gd name="connsiteY233" fmla="*/ 443653 h 1388535"/>
                  <a:gd name="connsiteX234" fmla="*/ 1970 w 1259895"/>
                  <a:gd name="connsiteY234" fmla="*/ 435016 h 1388535"/>
                  <a:gd name="connsiteX235" fmla="*/ 1061 w 1259895"/>
                  <a:gd name="connsiteY235" fmla="*/ 435319 h 1388535"/>
                  <a:gd name="connsiteX236" fmla="*/ 0 w 1259895"/>
                  <a:gd name="connsiteY236" fmla="*/ 436379 h 1388535"/>
                  <a:gd name="connsiteX237" fmla="*/ 1515 w 1259895"/>
                  <a:gd name="connsiteY237" fmla="*/ 442592 h 1388535"/>
                  <a:gd name="connsiteX238" fmla="*/ 6818 w 1259895"/>
                  <a:gd name="connsiteY238" fmla="*/ 451683 h 1388535"/>
                  <a:gd name="connsiteX239" fmla="*/ 7576 w 1259895"/>
                  <a:gd name="connsiteY239" fmla="*/ 450471 h 1388535"/>
                  <a:gd name="connsiteX240" fmla="*/ 6667 w 1259895"/>
                  <a:gd name="connsiteY240" fmla="*/ 448198 h 1388535"/>
                  <a:gd name="connsiteX241" fmla="*/ 6061 w 1259895"/>
                  <a:gd name="connsiteY241" fmla="*/ 447592 h 1388535"/>
                  <a:gd name="connsiteX242" fmla="*/ 966551 w 1259895"/>
                  <a:gd name="connsiteY242" fmla="*/ 892608 h 1388535"/>
                  <a:gd name="connsiteX243" fmla="*/ 966096 w 1259895"/>
                  <a:gd name="connsiteY243" fmla="*/ 892305 h 1388535"/>
                  <a:gd name="connsiteX244" fmla="*/ 965339 w 1259895"/>
                  <a:gd name="connsiteY244" fmla="*/ 892305 h 1388535"/>
                  <a:gd name="connsiteX245" fmla="*/ 963217 w 1259895"/>
                  <a:gd name="connsiteY245" fmla="*/ 892912 h 1388535"/>
                  <a:gd name="connsiteX246" fmla="*/ 963521 w 1259895"/>
                  <a:gd name="connsiteY246" fmla="*/ 893669 h 1388535"/>
                  <a:gd name="connsiteX247" fmla="*/ 965187 w 1259895"/>
                  <a:gd name="connsiteY247" fmla="*/ 895184 h 1388535"/>
                  <a:gd name="connsiteX248" fmla="*/ 966551 w 1259895"/>
                  <a:gd name="connsiteY248" fmla="*/ 892608 h 1388535"/>
                  <a:gd name="connsiteX249" fmla="*/ 891245 w 1259895"/>
                  <a:gd name="connsiteY249" fmla="*/ 823363 h 1388535"/>
                  <a:gd name="connsiteX250" fmla="*/ 889578 w 1259895"/>
                  <a:gd name="connsiteY250" fmla="*/ 821999 h 1388535"/>
                  <a:gd name="connsiteX251" fmla="*/ 885942 w 1259895"/>
                  <a:gd name="connsiteY251" fmla="*/ 822151 h 1388535"/>
                  <a:gd name="connsiteX252" fmla="*/ 885639 w 1259895"/>
                  <a:gd name="connsiteY252" fmla="*/ 822909 h 1388535"/>
                  <a:gd name="connsiteX253" fmla="*/ 885487 w 1259895"/>
                  <a:gd name="connsiteY253" fmla="*/ 824424 h 1388535"/>
                  <a:gd name="connsiteX254" fmla="*/ 887003 w 1259895"/>
                  <a:gd name="connsiteY254" fmla="*/ 825333 h 1388535"/>
                  <a:gd name="connsiteX255" fmla="*/ 891245 w 1259895"/>
                  <a:gd name="connsiteY255" fmla="*/ 823363 h 1388535"/>
                  <a:gd name="connsiteX256" fmla="*/ 969278 w 1259895"/>
                  <a:gd name="connsiteY256" fmla="*/ 944580 h 1388535"/>
                  <a:gd name="connsiteX257" fmla="*/ 968975 w 1259895"/>
                  <a:gd name="connsiteY257" fmla="*/ 943368 h 1388535"/>
                  <a:gd name="connsiteX258" fmla="*/ 968218 w 1259895"/>
                  <a:gd name="connsiteY258" fmla="*/ 942307 h 1388535"/>
                  <a:gd name="connsiteX259" fmla="*/ 968218 w 1259895"/>
                  <a:gd name="connsiteY259" fmla="*/ 941095 h 1388535"/>
                  <a:gd name="connsiteX260" fmla="*/ 968673 w 1259895"/>
                  <a:gd name="connsiteY260" fmla="*/ 938519 h 1388535"/>
                  <a:gd name="connsiteX261" fmla="*/ 967914 w 1259895"/>
                  <a:gd name="connsiteY261" fmla="*/ 934883 h 1388535"/>
                  <a:gd name="connsiteX262" fmla="*/ 968218 w 1259895"/>
                  <a:gd name="connsiteY262" fmla="*/ 929276 h 1388535"/>
                  <a:gd name="connsiteX263" fmla="*/ 967914 w 1259895"/>
                  <a:gd name="connsiteY263" fmla="*/ 926246 h 1388535"/>
                  <a:gd name="connsiteX264" fmla="*/ 968066 w 1259895"/>
                  <a:gd name="connsiteY264" fmla="*/ 923367 h 1388535"/>
                  <a:gd name="connsiteX265" fmla="*/ 968673 w 1259895"/>
                  <a:gd name="connsiteY265" fmla="*/ 919579 h 1388535"/>
                  <a:gd name="connsiteX266" fmla="*/ 968521 w 1259895"/>
                  <a:gd name="connsiteY266" fmla="*/ 915791 h 1388535"/>
                  <a:gd name="connsiteX267" fmla="*/ 968066 w 1259895"/>
                  <a:gd name="connsiteY267" fmla="*/ 913821 h 1388535"/>
                  <a:gd name="connsiteX268" fmla="*/ 967914 w 1259895"/>
                  <a:gd name="connsiteY268" fmla="*/ 911852 h 1388535"/>
                  <a:gd name="connsiteX269" fmla="*/ 968066 w 1259895"/>
                  <a:gd name="connsiteY269" fmla="*/ 906397 h 1388535"/>
                  <a:gd name="connsiteX270" fmla="*/ 965944 w 1259895"/>
                  <a:gd name="connsiteY270" fmla="*/ 903366 h 1388535"/>
                  <a:gd name="connsiteX271" fmla="*/ 960945 w 1259895"/>
                  <a:gd name="connsiteY271" fmla="*/ 900942 h 1388535"/>
                  <a:gd name="connsiteX272" fmla="*/ 959127 w 1259895"/>
                  <a:gd name="connsiteY272" fmla="*/ 900942 h 1388535"/>
                  <a:gd name="connsiteX273" fmla="*/ 956550 w 1259895"/>
                  <a:gd name="connsiteY273" fmla="*/ 903972 h 1388535"/>
                  <a:gd name="connsiteX274" fmla="*/ 955035 w 1259895"/>
                  <a:gd name="connsiteY274" fmla="*/ 903972 h 1388535"/>
                  <a:gd name="connsiteX275" fmla="*/ 949733 w 1259895"/>
                  <a:gd name="connsiteY275" fmla="*/ 903063 h 1388535"/>
                  <a:gd name="connsiteX276" fmla="*/ 948520 w 1259895"/>
                  <a:gd name="connsiteY276" fmla="*/ 904124 h 1388535"/>
                  <a:gd name="connsiteX277" fmla="*/ 946399 w 1259895"/>
                  <a:gd name="connsiteY277" fmla="*/ 907003 h 1388535"/>
                  <a:gd name="connsiteX278" fmla="*/ 945186 w 1259895"/>
                  <a:gd name="connsiteY278" fmla="*/ 908215 h 1388535"/>
                  <a:gd name="connsiteX279" fmla="*/ 943368 w 1259895"/>
                  <a:gd name="connsiteY279" fmla="*/ 907760 h 1388535"/>
                  <a:gd name="connsiteX280" fmla="*/ 941550 w 1259895"/>
                  <a:gd name="connsiteY280" fmla="*/ 906851 h 1388535"/>
                  <a:gd name="connsiteX281" fmla="*/ 940187 w 1259895"/>
                  <a:gd name="connsiteY281" fmla="*/ 907003 h 1388535"/>
                  <a:gd name="connsiteX282" fmla="*/ 938823 w 1259895"/>
                  <a:gd name="connsiteY282" fmla="*/ 907760 h 1388535"/>
                  <a:gd name="connsiteX283" fmla="*/ 935792 w 1259895"/>
                  <a:gd name="connsiteY283" fmla="*/ 908064 h 1388535"/>
                  <a:gd name="connsiteX284" fmla="*/ 932611 w 1259895"/>
                  <a:gd name="connsiteY284" fmla="*/ 908064 h 1388535"/>
                  <a:gd name="connsiteX285" fmla="*/ 930641 w 1259895"/>
                  <a:gd name="connsiteY285" fmla="*/ 908821 h 1388535"/>
                  <a:gd name="connsiteX286" fmla="*/ 928973 w 1259895"/>
                  <a:gd name="connsiteY286" fmla="*/ 910185 h 1388535"/>
                  <a:gd name="connsiteX287" fmla="*/ 928368 w 1259895"/>
                  <a:gd name="connsiteY287" fmla="*/ 911852 h 1388535"/>
                  <a:gd name="connsiteX288" fmla="*/ 928671 w 1259895"/>
                  <a:gd name="connsiteY288" fmla="*/ 913821 h 1388535"/>
                  <a:gd name="connsiteX289" fmla="*/ 927004 w 1259895"/>
                  <a:gd name="connsiteY289" fmla="*/ 912003 h 1388535"/>
                  <a:gd name="connsiteX290" fmla="*/ 925337 w 1259895"/>
                  <a:gd name="connsiteY290" fmla="*/ 910791 h 1388535"/>
                  <a:gd name="connsiteX291" fmla="*/ 923367 w 1259895"/>
                  <a:gd name="connsiteY291" fmla="*/ 912003 h 1388535"/>
                  <a:gd name="connsiteX292" fmla="*/ 921247 w 1259895"/>
                  <a:gd name="connsiteY292" fmla="*/ 912912 h 1388535"/>
                  <a:gd name="connsiteX293" fmla="*/ 914276 w 1259895"/>
                  <a:gd name="connsiteY293" fmla="*/ 913670 h 1388535"/>
                  <a:gd name="connsiteX294" fmla="*/ 908670 w 1259895"/>
                  <a:gd name="connsiteY294" fmla="*/ 912154 h 1388535"/>
                  <a:gd name="connsiteX295" fmla="*/ 900791 w 1259895"/>
                  <a:gd name="connsiteY295" fmla="*/ 909124 h 1388535"/>
                  <a:gd name="connsiteX296" fmla="*/ 899578 w 1259895"/>
                  <a:gd name="connsiteY296" fmla="*/ 908215 h 1388535"/>
                  <a:gd name="connsiteX297" fmla="*/ 898367 w 1259895"/>
                  <a:gd name="connsiteY297" fmla="*/ 907003 h 1388535"/>
                  <a:gd name="connsiteX298" fmla="*/ 897003 w 1259895"/>
                  <a:gd name="connsiteY298" fmla="*/ 906245 h 1388535"/>
                  <a:gd name="connsiteX299" fmla="*/ 893972 w 1259895"/>
                  <a:gd name="connsiteY299" fmla="*/ 905185 h 1388535"/>
                  <a:gd name="connsiteX300" fmla="*/ 892761 w 1259895"/>
                  <a:gd name="connsiteY300" fmla="*/ 903821 h 1388535"/>
                  <a:gd name="connsiteX301" fmla="*/ 891397 w 1259895"/>
                  <a:gd name="connsiteY301" fmla="*/ 903518 h 1388535"/>
                  <a:gd name="connsiteX302" fmla="*/ 889882 w 1259895"/>
                  <a:gd name="connsiteY302" fmla="*/ 903669 h 1388535"/>
                  <a:gd name="connsiteX303" fmla="*/ 887760 w 1259895"/>
                  <a:gd name="connsiteY303" fmla="*/ 902609 h 1388535"/>
                  <a:gd name="connsiteX304" fmla="*/ 885942 w 1259895"/>
                  <a:gd name="connsiteY304" fmla="*/ 900790 h 1388535"/>
                  <a:gd name="connsiteX305" fmla="*/ 884275 w 1259895"/>
                  <a:gd name="connsiteY305" fmla="*/ 900639 h 1388535"/>
                  <a:gd name="connsiteX306" fmla="*/ 882457 w 1259895"/>
                  <a:gd name="connsiteY306" fmla="*/ 901397 h 1388535"/>
                  <a:gd name="connsiteX307" fmla="*/ 879275 w 1259895"/>
                  <a:gd name="connsiteY307" fmla="*/ 901245 h 1388535"/>
                  <a:gd name="connsiteX308" fmla="*/ 873062 w 1259895"/>
                  <a:gd name="connsiteY308" fmla="*/ 899123 h 1388535"/>
                  <a:gd name="connsiteX309" fmla="*/ 870335 w 1259895"/>
                  <a:gd name="connsiteY309" fmla="*/ 897457 h 1388535"/>
                  <a:gd name="connsiteX310" fmla="*/ 870032 w 1259895"/>
                  <a:gd name="connsiteY310" fmla="*/ 901093 h 1388535"/>
                  <a:gd name="connsiteX311" fmla="*/ 868365 w 1259895"/>
                  <a:gd name="connsiteY311" fmla="*/ 907457 h 1388535"/>
                  <a:gd name="connsiteX312" fmla="*/ 868820 w 1259895"/>
                  <a:gd name="connsiteY312" fmla="*/ 910639 h 1388535"/>
                  <a:gd name="connsiteX313" fmla="*/ 869729 w 1259895"/>
                  <a:gd name="connsiteY313" fmla="*/ 914276 h 1388535"/>
                  <a:gd name="connsiteX314" fmla="*/ 871547 w 1259895"/>
                  <a:gd name="connsiteY314" fmla="*/ 919124 h 1388535"/>
                  <a:gd name="connsiteX315" fmla="*/ 871547 w 1259895"/>
                  <a:gd name="connsiteY315" fmla="*/ 920640 h 1388535"/>
                  <a:gd name="connsiteX316" fmla="*/ 871851 w 1259895"/>
                  <a:gd name="connsiteY316" fmla="*/ 921549 h 1388535"/>
                  <a:gd name="connsiteX317" fmla="*/ 875639 w 1259895"/>
                  <a:gd name="connsiteY317" fmla="*/ 928822 h 1388535"/>
                  <a:gd name="connsiteX318" fmla="*/ 879427 w 1259895"/>
                  <a:gd name="connsiteY318" fmla="*/ 934731 h 1388535"/>
                  <a:gd name="connsiteX319" fmla="*/ 884426 w 1259895"/>
                  <a:gd name="connsiteY319" fmla="*/ 941095 h 1388535"/>
                  <a:gd name="connsiteX320" fmla="*/ 885033 w 1259895"/>
                  <a:gd name="connsiteY320" fmla="*/ 943974 h 1388535"/>
                  <a:gd name="connsiteX321" fmla="*/ 884426 w 1259895"/>
                  <a:gd name="connsiteY321" fmla="*/ 946853 h 1388535"/>
                  <a:gd name="connsiteX322" fmla="*/ 886094 w 1259895"/>
                  <a:gd name="connsiteY322" fmla="*/ 946701 h 1388535"/>
                  <a:gd name="connsiteX323" fmla="*/ 887154 w 1259895"/>
                  <a:gd name="connsiteY323" fmla="*/ 945186 h 1388535"/>
                  <a:gd name="connsiteX324" fmla="*/ 887457 w 1259895"/>
                  <a:gd name="connsiteY324" fmla="*/ 946549 h 1388535"/>
                  <a:gd name="connsiteX325" fmla="*/ 888064 w 1259895"/>
                  <a:gd name="connsiteY325" fmla="*/ 947762 h 1388535"/>
                  <a:gd name="connsiteX326" fmla="*/ 892306 w 1259895"/>
                  <a:gd name="connsiteY326" fmla="*/ 952004 h 1388535"/>
                  <a:gd name="connsiteX327" fmla="*/ 892609 w 1259895"/>
                  <a:gd name="connsiteY327" fmla="*/ 953065 h 1388535"/>
                  <a:gd name="connsiteX328" fmla="*/ 890942 w 1259895"/>
                  <a:gd name="connsiteY328" fmla="*/ 956550 h 1388535"/>
                  <a:gd name="connsiteX329" fmla="*/ 890033 w 1259895"/>
                  <a:gd name="connsiteY329" fmla="*/ 953671 h 1388535"/>
                  <a:gd name="connsiteX330" fmla="*/ 888366 w 1259895"/>
                  <a:gd name="connsiteY330" fmla="*/ 951398 h 1388535"/>
                  <a:gd name="connsiteX331" fmla="*/ 883669 w 1259895"/>
                  <a:gd name="connsiteY331" fmla="*/ 947913 h 1388535"/>
                  <a:gd name="connsiteX332" fmla="*/ 884730 w 1259895"/>
                  <a:gd name="connsiteY332" fmla="*/ 955338 h 1388535"/>
                  <a:gd name="connsiteX333" fmla="*/ 885639 w 1259895"/>
                  <a:gd name="connsiteY333" fmla="*/ 958217 h 1388535"/>
                  <a:gd name="connsiteX334" fmla="*/ 891700 w 1259895"/>
                  <a:gd name="connsiteY334" fmla="*/ 970793 h 1388535"/>
                  <a:gd name="connsiteX335" fmla="*/ 892457 w 1259895"/>
                  <a:gd name="connsiteY335" fmla="*/ 971550 h 1388535"/>
                  <a:gd name="connsiteX336" fmla="*/ 893821 w 1259895"/>
                  <a:gd name="connsiteY336" fmla="*/ 972157 h 1388535"/>
                  <a:gd name="connsiteX337" fmla="*/ 895033 w 1259895"/>
                  <a:gd name="connsiteY337" fmla="*/ 973217 h 1388535"/>
                  <a:gd name="connsiteX338" fmla="*/ 897003 w 1259895"/>
                  <a:gd name="connsiteY338" fmla="*/ 975793 h 1388535"/>
                  <a:gd name="connsiteX339" fmla="*/ 900337 w 1259895"/>
                  <a:gd name="connsiteY339" fmla="*/ 981400 h 1388535"/>
                  <a:gd name="connsiteX340" fmla="*/ 902306 w 1259895"/>
                  <a:gd name="connsiteY340" fmla="*/ 983066 h 1388535"/>
                  <a:gd name="connsiteX341" fmla="*/ 905034 w 1259895"/>
                  <a:gd name="connsiteY341" fmla="*/ 982611 h 1388535"/>
                  <a:gd name="connsiteX342" fmla="*/ 909124 w 1259895"/>
                  <a:gd name="connsiteY342" fmla="*/ 983672 h 1388535"/>
                  <a:gd name="connsiteX343" fmla="*/ 910488 w 1259895"/>
                  <a:gd name="connsiteY343" fmla="*/ 983369 h 1388535"/>
                  <a:gd name="connsiteX344" fmla="*/ 911397 w 1259895"/>
                  <a:gd name="connsiteY344" fmla="*/ 983824 h 1388535"/>
                  <a:gd name="connsiteX345" fmla="*/ 911852 w 1259895"/>
                  <a:gd name="connsiteY345" fmla="*/ 985188 h 1388535"/>
                  <a:gd name="connsiteX346" fmla="*/ 908670 w 1259895"/>
                  <a:gd name="connsiteY346" fmla="*/ 985188 h 1388535"/>
                  <a:gd name="connsiteX347" fmla="*/ 905488 w 1259895"/>
                  <a:gd name="connsiteY347" fmla="*/ 985945 h 1388535"/>
                  <a:gd name="connsiteX348" fmla="*/ 905185 w 1259895"/>
                  <a:gd name="connsiteY348" fmla="*/ 987006 h 1388535"/>
                  <a:gd name="connsiteX349" fmla="*/ 906095 w 1259895"/>
                  <a:gd name="connsiteY349" fmla="*/ 988218 h 1388535"/>
                  <a:gd name="connsiteX350" fmla="*/ 906852 w 1259895"/>
                  <a:gd name="connsiteY350" fmla="*/ 991551 h 1388535"/>
                  <a:gd name="connsiteX351" fmla="*/ 910792 w 1259895"/>
                  <a:gd name="connsiteY351" fmla="*/ 990339 h 1388535"/>
                  <a:gd name="connsiteX352" fmla="*/ 917004 w 1259895"/>
                  <a:gd name="connsiteY352" fmla="*/ 990490 h 1388535"/>
                  <a:gd name="connsiteX353" fmla="*/ 920640 w 1259895"/>
                  <a:gd name="connsiteY353" fmla="*/ 990188 h 1388535"/>
                  <a:gd name="connsiteX354" fmla="*/ 924731 w 1259895"/>
                  <a:gd name="connsiteY354" fmla="*/ 993218 h 1388535"/>
                  <a:gd name="connsiteX355" fmla="*/ 928368 w 1259895"/>
                  <a:gd name="connsiteY355" fmla="*/ 993824 h 1388535"/>
                  <a:gd name="connsiteX356" fmla="*/ 929428 w 1259895"/>
                  <a:gd name="connsiteY356" fmla="*/ 993673 h 1388535"/>
                  <a:gd name="connsiteX357" fmla="*/ 931702 w 1259895"/>
                  <a:gd name="connsiteY357" fmla="*/ 990036 h 1388535"/>
                  <a:gd name="connsiteX358" fmla="*/ 933065 w 1259895"/>
                  <a:gd name="connsiteY358" fmla="*/ 985642 h 1388535"/>
                  <a:gd name="connsiteX359" fmla="*/ 933974 w 1259895"/>
                  <a:gd name="connsiteY359" fmla="*/ 983975 h 1388535"/>
                  <a:gd name="connsiteX360" fmla="*/ 935035 w 1259895"/>
                  <a:gd name="connsiteY360" fmla="*/ 982611 h 1388535"/>
                  <a:gd name="connsiteX361" fmla="*/ 932611 w 1259895"/>
                  <a:gd name="connsiteY361" fmla="*/ 980642 h 1388535"/>
                  <a:gd name="connsiteX362" fmla="*/ 932611 w 1259895"/>
                  <a:gd name="connsiteY362" fmla="*/ 979733 h 1388535"/>
                  <a:gd name="connsiteX363" fmla="*/ 932913 w 1259895"/>
                  <a:gd name="connsiteY363" fmla="*/ 978672 h 1388535"/>
                  <a:gd name="connsiteX364" fmla="*/ 937762 w 1259895"/>
                  <a:gd name="connsiteY364" fmla="*/ 982005 h 1388535"/>
                  <a:gd name="connsiteX365" fmla="*/ 939732 w 1259895"/>
                  <a:gd name="connsiteY365" fmla="*/ 980642 h 1388535"/>
                  <a:gd name="connsiteX366" fmla="*/ 940187 w 1259895"/>
                  <a:gd name="connsiteY366" fmla="*/ 977612 h 1388535"/>
                  <a:gd name="connsiteX367" fmla="*/ 940187 w 1259895"/>
                  <a:gd name="connsiteY367" fmla="*/ 975793 h 1388535"/>
                  <a:gd name="connsiteX368" fmla="*/ 940792 w 1259895"/>
                  <a:gd name="connsiteY368" fmla="*/ 974429 h 1388535"/>
                  <a:gd name="connsiteX369" fmla="*/ 942005 w 1259895"/>
                  <a:gd name="connsiteY369" fmla="*/ 973823 h 1388535"/>
                  <a:gd name="connsiteX370" fmla="*/ 942459 w 1259895"/>
                  <a:gd name="connsiteY370" fmla="*/ 972157 h 1388535"/>
                  <a:gd name="connsiteX371" fmla="*/ 942611 w 1259895"/>
                  <a:gd name="connsiteY371" fmla="*/ 970945 h 1388535"/>
                  <a:gd name="connsiteX372" fmla="*/ 941398 w 1259895"/>
                  <a:gd name="connsiteY372" fmla="*/ 968066 h 1388535"/>
                  <a:gd name="connsiteX373" fmla="*/ 941247 w 1259895"/>
                  <a:gd name="connsiteY373" fmla="*/ 966399 h 1388535"/>
                  <a:gd name="connsiteX374" fmla="*/ 944277 w 1259895"/>
                  <a:gd name="connsiteY374" fmla="*/ 969732 h 1388535"/>
                  <a:gd name="connsiteX375" fmla="*/ 945490 w 1259895"/>
                  <a:gd name="connsiteY375" fmla="*/ 974278 h 1388535"/>
                  <a:gd name="connsiteX376" fmla="*/ 947763 w 1259895"/>
                  <a:gd name="connsiteY376" fmla="*/ 973066 h 1388535"/>
                  <a:gd name="connsiteX377" fmla="*/ 948065 w 1259895"/>
                  <a:gd name="connsiteY377" fmla="*/ 972308 h 1388535"/>
                  <a:gd name="connsiteX378" fmla="*/ 947763 w 1259895"/>
                  <a:gd name="connsiteY378" fmla="*/ 969126 h 1388535"/>
                  <a:gd name="connsiteX379" fmla="*/ 948823 w 1259895"/>
                  <a:gd name="connsiteY379" fmla="*/ 968066 h 1388535"/>
                  <a:gd name="connsiteX380" fmla="*/ 952156 w 1259895"/>
                  <a:gd name="connsiteY380" fmla="*/ 968975 h 1388535"/>
                  <a:gd name="connsiteX381" fmla="*/ 955035 w 1259895"/>
                  <a:gd name="connsiteY381" fmla="*/ 970793 h 1388535"/>
                  <a:gd name="connsiteX382" fmla="*/ 955187 w 1259895"/>
                  <a:gd name="connsiteY382" fmla="*/ 971702 h 1388535"/>
                  <a:gd name="connsiteX383" fmla="*/ 955035 w 1259895"/>
                  <a:gd name="connsiteY383" fmla="*/ 972611 h 1388535"/>
                  <a:gd name="connsiteX384" fmla="*/ 954278 w 1259895"/>
                  <a:gd name="connsiteY384" fmla="*/ 973369 h 1388535"/>
                  <a:gd name="connsiteX385" fmla="*/ 951853 w 1259895"/>
                  <a:gd name="connsiteY385" fmla="*/ 972611 h 1388535"/>
                  <a:gd name="connsiteX386" fmla="*/ 950792 w 1259895"/>
                  <a:gd name="connsiteY386" fmla="*/ 973975 h 1388535"/>
                  <a:gd name="connsiteX387" fmla="*/ 952156 w 1259895"/>
                  <a:gd name="connsiteY387" fmla="*/ 977308 h 1388535"/>
                  <a:gd name="connsiteX388" fmla="*/ 954580 w 1259895"/>
                  <a:gd name="connsiteY388" fmla="*/ 980490 h 1388535"/>
                  <a:gd name="connsiteX389" fmla="*/ 956096 w 1259895"/>
                  <a:gd name="connsiteY389" fmla="*/ 979733 h 1388535"/>
                  <a:gd name="connsiteX390" fmla="*/ 958975 w 1259895"/>
                  <a:gd name="connsiteY390" fmla="*/ 979278 h 1388535"/>
                  <a:gd name="connsiteX391" fmla="*/ 959884 w 1259895"/>
                  <a:gd name="connsiteY391" fmla="*/ 978521 h 1388535"/>
                  <a:gd name="connsiteX392" fmla="*/ 959278 w 1259895"/>
                  <a:gd name="connsiteY392" fmla="*/ 972005 h 1388535"/>
                  <a:gd name="connsiteX393" fmla="*/ 958066 w 1259895"/>
                  <a:gd name="connsiteY393" fmla="*/ 967308 h 1388535"/>
                  <a:gd name="connsiteX394" fmla="*/ 957914 w 1259895"/>
                  <a:gd name="connsiteY394" fmla="*/ 962156 h 1388535"/>
                  <a:gd name="connsiteX395" fmla="*/ 958218 w 1259895"/>
                  <a:gd name="connsiteY395" fmla="*/ 959277 h 1388535"/>
                  <a:gd name="connsiteX396" fmla="*/ 959581 w 1259895"/>
                  <a:gd name="connsiteY396" fmla="*/ 957156 h 1388535"/>
                  <a:gd name="connsiteX397" fmla="*/ 960490 w 1259895"/>
                  <a:gd name="connsiteY397" fmla="*/ 954883 h 1388535"/>
                  <a:gd name="connsiteX398" fmla="*/ 960338 w 1259895"/>
                  <a:gd name="connsiteY398" fmla="*/ 951853 h 1388535"/>
                  <a:gd name="connsiteX399" fmla="*/ 960793 w 1259895"/>
                  <a:gd name="connsiteY399" fmla="*/ 948974 h 1388535"/>
                  <a:gd name="connsiteX400" fmla="*/ 962006 w 1259895"/>
                  <a:gd name="connsiteY400" fmla="*/ 946095 h 1388535"/>
                  <a:gd name="connsiteX401" fmla="*/ 963672 w 1259895"/>
                  <a:gd name="connsiteY401" fmla="*/ 943974 h 1388535"/>
                  <a:gd name="connsiteX402" fmla="*/ 964430 w 1259895"/>
                  <a:gd name="connsiteY402" fmla="*/ 943519 h 1388535"/>
                  <a:gd name="connsiteX403" fmla="*/ 963975 w 1259895"/>
                  <a:gd name="connsiteY403" fmla="*/ 942913 h 1388535"/>
                  <a:gd name="connsiteX404" fmla="*/ 964733 w 1259895"/>
                  <a:gd name="connsiteY404" fmla="*/ 941095 h 1388535"/>
                  <a:gd name="connsiteX405" fmla="*/ 965944 w 1259895"/>
                  <a:gd name="connsiteY405" fmla="*/ 939731 h 1388535"/>
                  <a:gd name="connsiteX406" fmla="*/ 966703 w 1259895"/>
                  <a:gd name="connsiteY406" fmla="*/ 941398 h 1388535"/>
                  <a:gd name="connsiteX407" fmla="*/ 965642 w 1259895"/>
                  <a:gd name="connsiteY407" fmla="*/ 942004 h 1388535"/>
                  <a:gd name="connsiteX408" fmla="*/ 965035 w 1259895"/>
                  <a:gd name="connsiteY408" fmla="*/ 942761 h 1388535"/>
                  <a:gd name="connsiteX409" fmla="*/ 967005 w 1259895"/>
                  <a:gd name="connsiteY409" fmla="*/ 943974 h 1388535"/>
                  <a:gd name="connsiteX410" fmla="*/ 967612 w 1259895"/>
                  <a:gd name="connsiteY410" fmla="*/ 945034 h 1388535"/>
                  <a:gd name="connsiteX411" fmla="*/ 967763 w 1259895"/>
                  <a:gd name="connsiteY411" fmla="*/ 946247 h 1388535"/>
                  <a:gd name="connsiteX412" fmla="*/ 967612 w 1259895"/>
                  <a:gd name="connsiteY412" fmla="*/ 947762 h 1388535"/>
                  <a:gd name="connsiteX413" fmla="*/ 967914 w 1259895"/>
                  <a:gd name="connsiteY413" fmla="*/ 948974 h 1388535"/>
                  <a:gd name="connsiteX414" fmla="*/ 968975 w 1259895"/>
                  <a:gd name="connsiteY414" fmla="*/ 949126 h 1388535"/>
                  <a:gd name="connsiteX415" fmla="*/ 969278 w 1259895"/>
                  <a:gd name="connsiteY415" fmla="*/ 947610 h 1388535"/>
                  <a:gd name="connsiteX416" fmla="*/ 968975 w 1259895"/>
                  <a:gd name="connsiteY416" fmla="*/ 945792 h 1388535"/>
                  <a:gd name="connsiteX417" fmla="*/ 969278 w 1259895"/>
                  <a:gd name="connsiteY417" fmla="*/ 944580 h 1388535"/>
                  <a:gd name="connsiteX418" fmla="*/ 881397 w 1259895"/>
                  <a:gd name="connsiteY418" fmla="*/ 828818 h 1388535"/>
                  <a:gd name="connsiteX419" fmla="*/ 885336 w 1259895"/>
                  <a:gd name="connsiteY419" fmla="*/ 828515 h 1388535"/>
                  <a:gd name="connsiteX420" fmla="*/ 887608 w 1259895"/>
                  <a:gd name="connsiteY420" fmla="*/ 829727 h 1388535"/>
                  <a:gd name="connsiteX421" fmla="*/ 887457 w 1259895"/>
                  <a:gd name="connsiteY421" fmla="*/ 829121 h 1388535"/>
                  <a:gd name="connsiteX422" fmla="*/ 886548 w 1259895"/>
                  <a:gd name="connsiteY422" fmla="*/ 827606 h 1388535"/>
                  <a:gd name="connsiteX423" fmla="*/ 885790 w 1259895"/>
                  <a:gd name="connsiteY423" fmla="*/ 827000 h 1388535"/>
                  <a:gd name="connsiteX424" fmla="*/ 883820 w 1259895"/>
                  <a:gd name="connsiteY424" fmla="*/ 826545 h 1388535"/>
                  <a:gd name="connsiteX425" fmla="*/ 881397 w 1259895"/>
                  <a:gd name="connsiteY425" fmla="*/ 828818 h 1388535"/>
                  <a:gd name="connsiteX426" fmla="*/ 479108 w 1259895"/>
                  <a:gd name="connsiteY426" fmla="*/ 38335 h 1388535"/>
                  <a:gd name="connsiteX427" fmla="*/ 481533 w 1259895"/>
                  <a:gd name="connsiteY427" fmla="*/ 43032 h 1388535"/>
                  <a:gd name="connsiteX428" fmla="*/ 485169 w 1259895"/>
                  <a:gd name="connsiteY428" fmla="*/ 46517 h 1388535"/>
                  <a:gd name="connsiteX429" fmla="*/ 493503 w 1259895"/>
                  <a:gd name="connsiteY429" fmla="*/ 51517 h 1388535"/>
                  <a:gd name="connsiteX430" fmla="*/ 502897 w 1259895"/>
                  <a:gd name="connsiteY430" fmla="*/ 45608 h 1388535"/>
                  <a:gd name="connsiteX431" fmla="*/ 505322 w 1259895"/>
                  <a:gd name="connsiteY431" fmla="*/ 42123 h 1388535"/>
                  <a:gd name="connsiteX432" fmla="*/ 507443 w 1259895"/>
                  <a:gd name="connsiteY432" fmla="*/ 42274 h 1388535"/>
                  <a:gd name="connsiteX433" fmla="*/ 507746 w 1259895"/>
                  <a:gd name="connsiteY433" fmla="*/ 40153 h 1388535"/>
                  <a:gd name="connsiteX434" fmla="*/ 509716 w 1259895"/>
                  <a:gd name="connsiteY434" fmla="*/ 38183 h 1388535"/>
                  <a:gd name="connsiteX435" fmla="*/ 509262 w 1259895"/>
                  <a:gd name="connsiteY435" fmla="*/ 37577 h 1388535"/>
                  <a:gd name="connsiteX436" fmla="*/ 507897 w 1259895"/>
                  <a:gd name="connsiteY436" fmla="*/ 36668 h 1388535"/>
                  <a:gd name="connsiteX437" fmla="*/ 506837 w 1259895"/>
                  <a:gd name="connsiteY437" fmla="*/ 34698 h 1388535"/>
                  <a:gd name="connsiteX438" fmla="*/ 503655 w 1259895"/>
                  <a:gd name="connsiteY438" fmla="*/ 32880 h 1388535"/>
                  <a:gd name="connsiteX439" fmla="*/ 502291 w 1259895"/>
                  <a:gd name="connsiteY439" fmla="*/ 31365 h 1388535"/>
                  <a:gd name="connsiteX440" fmla="*/ 500927 w 1259895"/>
                  <a:gd name="connsiteY440" fmla="*/ 32880 h 1388535"/>
                  <a:gd name="connsiteX441" fmla="*/ 498807 w 1259895"/>
                  <a:gd name="connsiteY441" fmla="*/ 33486 h 1388535"/>
                  <a:gd name="connsiteX442" fmla="*/ 495624 w 1259895"/>
                  <a:gd name="connsiteY442" fmla="*/ 35456 h 1388535"/>
                  <a:gd name="connsiteX443" fmla="*/ 494715 w 1259895"/>
                  <a:gd name="connsiteY443" fmla="*/ 35607 h 1388535"/>
                  <a:gd name="connsiteX444" fmla="*/ 492745 w 1259895"/>
                  <a:gd name="connsiteY444" fmla="*/ 34698 h 1388535"/>
                  <a:gd name="connsiteX445" fmla="*/ 488352 w 1259895"/>
                  <a:gd name="connsiteY445" fmla="*/ 36819 h 1388535"/>
                  <a:gd name="connsiteX446" fmla="*/ 484715 w 1259895"/>
                  <a:gd name="connsiteY446" fmla="*/ 36516 h 1388535"/>
                  <a:gd name="connsiteX447" fmla="*/ 483048 w 1259895"/>
                  <a:gd name="connsiteY447" fmla="*/ 34547 h 1388535"/>
                  <a:gd name="connsiteX448" fmla="*/ 481987 w 1259895"/>
                  <a:gd name="connsiteY448" fmla="*/ 33789 h 1388535"/>
                  <a:gd name="connsiteX449" fmla="*/ 479411 w 1259895"/>
                  <a:gd name="connsiteY449" fmla="*/ 31062 h 1388535"/>
                  <a:gd name="connsiteX450" fmla="*/ 478806 w 1259895"/>
                  <a:gd name="connsiteY450" fmla="*/ 31062 h 1388535"/>
                  <a:gd name="connsiteX451" fmla="*/ 478351 w 1259895"/>
                  <a:gd name="connsiteY451" fmla="*/ 31365 h 1388535"/>
                  <a:gd name="connsiteX452" fmla="*/ 477897 w 1259895"/>
                  <a:gd name="connsiteY452" fmla="*/ 31971 h 1388535"/>
                  <a:gd name="connsiteX453" fmla="*/ 478957 w 1259895"/>
                  <a:gd name="connsiteY453" fmla="*/ 34395 h 1388535"/>
                  <a:gd name="connsiteX454" fmla="*/ 479108 w 1259895"/>
                  <a:gd name="connsiteY454" fmla="*/ 38335 h 1388535"/>
                  <a:gd name="connsiteX455" fmla="*/ 968218 w 1259895"/>
                  <a:gd name="connsiteY455" fmla="*/ 875486 h 1388535"/>
                  <a:gd name="connsiteX456" fmla="*/ 967460 w 1259895"/>
                  <a:gd name="connsiteY456" fmla="*/ 874881 h 1388535"/>
                  <a:gd name="connsiteX457" fmla="*/ 964885 w 1259895"/>
                  <a:gd name="connsiteY457" fmla="*/ 873971 h 1388535"/>
                  <a:gd name="connsiteX458" fmla="*/ 960036 w 1259895"/>
                  <a:gd name="connsiteY458" fmla="*/ 868214 h 1388535"/>
                  <a:gd name="connsiteX459" fmla="*/ 958218 w 1259895"/>
                  <a:gd name="connsiteY459" fmla="*/ 867153 h 1388535"/>
                  <a:gd name="connsiteX460" fmla="*/ 955641 w 1259895"/>
                  <a:gd name="connsiteY460" fmla="*/ 870486 h 1388535"/>
                  <a:gd name="connsiteX461" fmla="*/ 953671 w 1259895"/>
                  <a:gd name="connsiteY461" fmla="*/ 871698 h 1388535"/>
                  <a:gd name="connsiteX462" fmla="*/ 954884 w 1259895"/>
                  <a:gd name="connsiteY462" fmla="*/ 873062 h 1388535"/>
                  <a:gd name="connsiteX463" fmla="*/ 956702 w 1259895"/>
                  <a:gd name="connsiteY463" fmla="*/ 872911 h 1388535"/>
                  <a:gd name="connsiteX464" fmla="*/ 957459 w 1259895"/>
                  <a:gd name="connsiteY464" fmla="*/ 875032 h 1388535"/>
                  <a:gd name="connsiteX465" fmla="*/ 957005 w 1259895"/>
                  <a:gd name="connsiteY465" fmla="*/ 876395 h 1388535"/>
                  <a:gd name="connsiteX466" fmla="*/ 960642 w 1259895"/>
                  <a:gd name="connsiteY466" fmla="*/ 881396 h 1388535"/>
                  <a:gd name="connsiteX467" fmla="*/ 961247 w 1259895"/>
                  <a:gd name="connsiteY467" fmla="*/ 882759 h 1388535"/>
                  <a:gd name="connsiteX468" fmla="*/ 962006 w 1259895"/>
                  <a:gd name="connsiteY468" fmla="*/ 883668 h 1388535"/>
                  <a:gd name="connsiteX469" fmla="*/ 962915 w 1259895"/>
                  <a:gd name="connsiteY469" fmla="*/ 884426 h 1388535"/>
                  <a:gd name="connsiteX470" fmla="*/ 965794 w 1259895"/>
                  <a:gd name="connsiteY470" fmla="*/ 883517 h 1388535"/>
                  <a:gd name="connsiteX471" fmla="*/ 968218 w 1259895"/>
                  <a:gd name="connsiteY471" fmla="*/ 881547 h 1388535"/>
                  <a:gd name="connsiteX472" fmla="*/ 968673 w 1259895"/>
                  <a:gd name="connsiteY472" fmla="*/ 881547 h 1388535"/>
                  <a:gd name="connsiteX473" fmla="*/ 968975 w 1259895"/>
                  <a:gd name="connsiteY473" fmla="*/ 880638 h 1388535"/>
                  <a:gd name="connsiteX474" fmla="*/ 967005 w 1259895"/>
                  <a:gd name="connsiteY474" fmla="*/ 879123 h 1388535"/>
                  <a:gd name="connsiteX475" fmla="*/ 968066 w 1259895"/>
                  <a:gd name="connsiteY475" fmla="*/ 878062 h 1388535"/>
                  <a:gd name="connsiteX476" fmla="*/ 968218 w 1259895"/>
                  <a:gd name="connsiteY476" fmla="*/ 875486 h 1388535"/>
                  <a:gd name="connsiteX477" fmla="*/ 1258229 w 1259895"/>
                  <a:gd name="connsiteY477" fmla="*/ 1379444 h 1388535"/>
                  <a:gd name="connsiteX478" fmla="*/ 1256562 w 1259895"/>
                  <a:gd name="connsiteY478" fmla="*/ 1386869 h 1388535"/>
                  <a:gd name="connsiteX479" fmla="*/ 1256865 w 1259895"/>
                  <a:gd name="connsiteY479" fmla="*/ 1388536 h 1388535"/>
                  <a:gd name="connsiteX480" fmla="*/ 1257774 w 1259895"/>
                  <a:gd name="connsiteY480" fmla="*/ 1387020 h 1388535"/>
                  <a:gd name="connsiteX481" fmla="*/ 1259592 w 1259895"/>
                  <a:gd name="connsiteY481" fmla="*/ 1381869 h 1388535"/>
                  <a:gd name="connsiteX482" fmla="*/ 1259895 w 1259895"/>
                  <a:gd name="connsiteY482" fmla="*/ 1377929 h 1388535"/>
                  <a:gd name="connsiteX483" fmla="*/ 1258229 w 1259895"/>
                  <a:gd name="connsiteY483" fmla="*/ 1379444 h 1388535"/>
                  <a:gd name="connsiteX484" fmla="*/ 636084 w 1259895"/>
                  <a:gd name="connsiteY484" fmla="*/ 101519 h 1388535"/>
                  <a:gd name="connsiteX485" fmla="*/ 635327 w 1259895"/>
                  <a:gd name="connsiteY485" fmla="*/ 101973 h 1388535"/>
                  <a:gd name="connsiteX486" fmla="*/ 635024 w 1259895"/>
                  <a:gd name="connsiteY486" fmla="*/ 102731 h 1388535"/>
                  <a:gd name="connsiteX487" fmla="*/ 635024 w 1259895"/>
                  <a:gd name="connsiteY487" fmla="*/ 103792 h 1388535"/>
                  <a:gd name="connsiteX488" fmla="*/ 637448 w 1259895"/>
                  <a:gd name="connsiteY488" fmla="*/ 104398 h 1388535"/>
                  <a:gd name="connsiteX489" fmla="*/ 638054 w 1259895"/>
                  <a:gd name="connsiteY489" fmla="*/ 104095 h 1388535"/>
                  <a:gd name="connsiteX490" fmla="*/ 639115 w 1259895"/>
                  <a:gd name="connsiteY490" fmla="*/ 103186 h 1388535"/>
                  <a:gd name="connsiteX491" fmla="*/ 638660 w 1259895"/>
                  <a:gd name="connsiteY491" fmla="*/ 100913 h 1388535"/>
                  <a:gd name="connsiteX492" fmla="*/ 637448 w 1259895"/>
                  <a:gd name="connsiteY492" fmla="*/ 99700 h 1388535"/>
                  <a:gd name="connsiteX493" fmla="*/ 636084 w 1259895"/>
                  <a:gd name="connsiteY493" fmla="*/ 101519 h 1388535"/>
                  <a:gd name="connsiteX494" fmla="*/ 1112617 w 1259895"/>
                  <a:gd name="connsiteY494" fmla="*/ 514564 h 1388535"/>
                  <a:gd name="connsiteX495" fmla="*/ 1109283 w 1259895"/>
                  <a:gd name="connsiteY495" fmla="*/ 508958 h 1388535"/>
                  <a:gd name="connsiteX496" fmla="*/ 1108526 w 1259895"/>
                  <a:gd name="connsiteY496" fmla="*/ 504564 h 1388535"/>
                  <a:gd name="connsiteX497" fmla="*/ 1107314 w 1259895"/>
                  <a:gd name="connsiteY497" fmla="*/ 500776 h 1388535"/>
                  <a:gd name="connsiteX498" fmla="*/ 1102162 w 1259895"/>
                  <a:gd name="connsiteY498" fmla="*/ 490018 h 1388535"/>
                  <a:gd name="connsiteX499" fmla="*/ 1099889 w 1259895"/>
                  <a:gd name="connsiteY499" fmla="*/ 483805 h 1388535"/>
                  <a:gd name="connsiteX500" fmla="*/ 1101102 w 1259895"/>
                  <a:gd name="connsiteY500" fmla="*/ 477593 h 1388535"/>
                  <a:gd name="connsiteX501" fmla="*/ 1098980 w 1259895"/>
                  <a:gd name="connsiteY501" fmla="*/ 457744 h 1388535"/>
                  <a:gd name="connsiteX502" fmla="*/ 1101253 w 1259895"/>
                  <a:gd name="connsiteY502" fmla="*/ 447895 h 1388535"/>
                  <a:gd name="connsiteX503" fmla="*/ 1100193 w 1259895"/>
                  <a:gd name="connsiteY503" fmla="*/ 446683 h 1388535"/>
                  <a:gd name="connsiteX504" fmla="*/ 1097465 w 1259895"/>
                  <a:gd name="connsiteY504" fmla="*/ 445168 h 1388535"/>
                  <a:gd name="connsiteX505" fmla="*/ 1096253 w 1259895"/>
                  <a:gd name="connsiteY505" fmla="*/ 443653 h 1388535"/>
                  <a:gd name="connsiteX506" fmla="*/ 1094435 w 1259895"/>
                  <a:gd name="connsiteY506" fmla="*/ 440016 h 1388535"/>
                  <a:gd name="connsiteX507" fmla="*/ 1094283 w 1259895"/>
                  <a:gd name="connsiteY507" fmla="*/ 432591 h 1388535"/>
                  <a:gd name="connsiteX508" fmla="*/ 1090949 w 1259895"/>
                  <a:gd name="connsiteY508" fmla="*/ 428046 h 1388535"/>
                  <a:gd name="connsiteX509" fmla="*/ 1087313 w 1259895"/>
                  <a:gd name="connsiteY509" fmla="*/ 425925 h 1388535"/>
                  <a:gd name="connsiteX510" fmla="*/ 1084889 w 1259895"/>
                  <a:gd name="connsiteY510" fmla="*/ 422137 h 1388535"/>
                  <a:gd name="connsiteX511" fmla="*/ 1083222 w 1259895"/>
                  <a:gd name="connsiteY511" fmla="*/ 418955 h 1388535"/>
                  <a:gd name="connsiteX512" fmla="*/ 1082919 w 1259895"/>
                  <a:gd name="connsiteY512" fmla="*/ 417288 h 1388535"/>
                  <a:gd name="connsiteX513" fmla="*/ 1081858 w 1259895"/>
                  <a:gd name="connsiteY513" fmla="*/ 414409 h 1388535"/>
                  <a:gd name="connsiteX514" fmla="*/ 1078979 w 1259895"/>
                  <a:gd name="connsiteY514" fmla="*/ 412439 h 1388535"/>
                  <a:gd name="connsiteX515" fmla="*/ 1077009 w 1259895"/>
                  <a:gd name="connsiteY515" fmla="*/ 411530 h 1388535"/>
                  <a:gd name="connsiteX516" fmla="*/ 1072918 w 1259895"/>
                  <a:gd name="connsiteY516" fmla="*/ 408651 h 1388535"/>
                  <a:gd name="connsiteX517" fmla="*/ 1070949 w 1259895"/>
                  <a:gd name="connsiteY517" fmla="*/ 405621 h 1388535"/>
                  <a:gd name="connsiteX518" fmla="*/ 1066706 w 1259895"/>
                  <a:gd name="connsiteY518" fmla="*/ 397136 h 1388535"/>
                  <a:gd name="connsiteX519" fmla="*/ 1064736 w 1259895"/>
                  <a:gd name="connsiteY519" fmla="*/ 394863 h 1388535"/>
                  <a:gd name="connsiteX520" fmla="*/ 1060948 w 1259895"/>
                  <a:gd name="connsiteY520" fmla="*/ 392438 h 1388535"/>
                  <a:gd name="connsiteX521" fmla="*/ 1057766 w 1259895"/>
                  <a:gd name="connsiteY521" fmla="*/ 392287 h 1388535"/>
                  <a:gd name="connsiteX522" fmla="*/ 1055797 w 1259895"/>
                  <a:gd name="connsiteY522" fmla="*/ 391681 h 1388535"/>
                  <a:gd name="connsiteX523" fmla="*/ 1048523 w 1259895"/>
                  <a:gd name="connsiteY523" fmla="*/ 386226 h 1388535"/>
                  <a:gd name="connsiteX524" fmla="*/ 1046251 w 1259895"/>
                  <a:gd name="connsiteY524" fmla="*/ 385014 h 1388535"/>
                  <a:gd name="connsiteX525" fmla="*/ 1044433 w 1259895"/>
                  <a:gd name="connsiteY525" fmla="*/ 382438 h 1388535"/>
                  <a:gd name="connsiteX526" fmla="*/ 1041705 w 1259895"/>
                  <a:gd name="connsiteY526" fmla="*/ 379711 h 1388535"/>
                  <a:gd name="connsiteX527" fmla="*/ 1040190 w 1259895"/>
                  <a:gd name="connsiteY527" fmla="*/ 377741 h 1388535"/>
                  <a:gd name="connsiteX528" fmla="*/ 1037766 w 1259895"/>
                  <a:gd name="connsiteY528" fmla="*/ 375620 h 1388535"/>
                  <a:gd name="connsiteX529" fmla="*/ 1036099 w 1259895"/>
                  <a:gd name="connsiteY529" fmla="*/ 367589 h 1388535"/>
                  <a:gd name="connsiteX530" fmla="*/ 1036099 w 1259895"/>
                  <a:gd name="connsiteY530" fmla="*/ 359710 h 1388535"/>
                  <a:gd name="connsiteX531" fmla="*/ 1035645 w 1259895"/>
                  <a:gd name="connsiteY531" fmla="*/ 350316 h 1388535"/>
                  <a:gd name="connsiteX532" fmla="*/ 1033069 w 1259895"/>
                  <a:gd name="connsiteY532" fmla="*/ 345770 h 1388535"/>
                  <a:gd name="connsiteX533" fmla="*/ 1031705 w 1259895"/>
                  <a:gd name="connsiteY533" fmla="*/ 344255 h 1388535"/>
                  <a:gd name="connsiteX534" fmla="*/ 1030190 w 1259895"/>
                  <a:gd name="connsiteY534" fmla="*/ 344710 h 1388535"/>
                  <a:gd name="connsiteX535" fmla="*/ 1030038 w 1259895"/>
                  <a:gd name="connsiteY535" fmla="*/ 347588 h 1388535"/>
                  <a:gd name="connsiteX536" fmla="*/ 1030492 w 1259895"/>
                  <a:gd name="connsiteY536" fmla="*/ 349558 h 1388535"/>
                  <a:gd name="connsiteX537" fmla="*/ 1029432 w 1259895"/>
                  <a:gd name="connsiteY537" fmla="*/ 349710 h 1388535"/>
                  <a:gd name="connsiteX538" fmla="*/ 1025644 w 1259895"/>
                  <a:gd name="connsiteY538" fmla="*/ 347134 h 1388535"/>
                  <a:gd name="connsiteX539" fmla="*/ 1020947 w 1259895"/>
                  <a:gd name="connsiteY539" fmla="*/ 344406 h 1388535"/>
                  <a:gd name="connsiteX540" fmla="*/ 1018371 w 1259895"/>
                  <a:gd name="connsiteY540" fmla="*/ 341376 h 1388535"/>
                  <a:gd name="connsiteX541" fmla="*/ 1016553 w 1259895"/>
                  <a:gd name="connsiteY541" fmla="*/ 338497 h 1388535"/>
                  <a:gd name="connsiteX542" fmla="*/ 1015038 w 1259895"/>
                  <a:gd name="connsiteY542" fmla="*/ 338649 h 1388535"/>
                  <a:gd name="connsiteX543" fmla="*/ 1013977 w 1259895"/>
                  <a:gd name="connsiteY543" fmla="*/ 339103 h 1388535"/>
                  <a:gd name="connsiteX544" fmla="*/ 1012916 w 1259895"/>
                  <a:gd name="connsiteY544" fmla="*/ 342588 h 1388535"/>
                  <a:gd name="connsiteX545" fmla="*/ 1014583 w 1259895"/>
                  <a:gd name="connsiteY545" fmla="*/ 348649 h 1388535"/>
                  <a:gd name="connsiteX546" fmla="*/ 1013674 w 1259895"/>
                  <a:gd name="connsiteY546" fmla="*/ 349558 h 1388535"/>
                  <a:gd name="connsiteX547" fmla="*/ 1012159 w 1259895"/>
                  <a:gd name="connsiteY547" fmla="*/ 348194 h 1388535"/>
                  <a:gd name="connsiteX548" fmla="*/ 1009431 w 1259895"/>
                  <a:gd name="connsiteY548" fmla="*/ 345012 h 1388535"/>
                  <a:gd name="connsiteX549" fmla="*/ 1008068 w 1259895"/>
                  <a:gd name="connsiteY549" fmla="*/ 346073 h 1388535"/>
                  <a:gd name="connsiteX550" fmla="*/ 1006250 w 1259895"/>
                  <a:gd name="connsiteY550" fmla="*/ 346528 h 1388535"/>
                  <a:gd name="connsiteX551" fmla="*/ 1004583 w 1259895"/>
                  <a:gd name="connsiteY551" fmla="*/ 343346 h 1388535"/>
                  <a:gd name="connsiteX552" fmla="*/ 1003219 w 1259895"/>
                  <a:gd name="connsiteY552" fmla="*/ 341376 h 1388535"/>
                  <a:gd name="connsiteX553" fmla="*/ 1001249 w 1259895"/>
                  <a:gd name="connsiteY553" fmla="*/ 334709 h 1388535"/>
                  <a:gd name="connsiteX554" fmla="*/ 999431 w 1259895"/>
                  <a:gd name="connsiteY554" fmla="*/ 327285 h 1388535"/>
                  <a:gd name="connsiteX555" fmla="*/ 999279 w 1259895"/>
                  <a:gd name="connsiteY555" fmla="*/ 321981 h 1388535"/>
                  <a:gd name="connsiteX556" fmla="*/ 995795 w 1259895"/>
                  <a:gd name="connsiteY556" fmla="*/ 319103 h 1388535"/>
                  <a:gd name="connsiteX557" fmla="*/ 994430 w 1259895"/>
                  <a:gd name="connsiteY557" fmla="*/ 314102 h 1388535"/>
                  <a:gd name="connsiteX558" fmla="*/ 993370 w 1259895"/>
                  <a:gd name="connsiteY558" fmla="*/ 312739 h 1388535"/>
                  <a:gd name="connsiteX559" fmla="*/ 992310 w 1259895"/>
                  <a:gd name="connsiteY559" fmla="*/ 309254 h 1388535"/>
                  <a:gd name="connsiteX560" fmla="*/ 988370 w 1259895"/>
                  <a:gd name="connsiteY560" fmla="*/ 304556 h 1388535"/>
                  <a:gd name="connsiteX561" fmla="*/ 984279 w 1259895"/>
                  <a:gd name="connsiteY561" fmla="*/ 301223 h 1388535"/>
                  <a:gd name="connsiteX562" fmla="*/ 980946 w 1259895"/>
                  <a:gd name="connsiteY562" fmla="*/ 298041 h 1388535"/>
                  <a:gd name="connsiteX563" fmla="*/ 978067 w 1259895"/>
                  <a:gd name="connsiteY563" fmla="*/ 293647 h 1388535"/>
                  <a:gd name="connsiteX564" fmla="*/ 979278 w 1259895"/>
                  <a:gd name="connsiteY564" fmla="*/ 290465 h 1388535"/>
                  <a:gd name="connsiteX565" fmla="*/ 981400 w 1259895"/>
                  <a:gd name="connsiteY565" fmla="*/ 291071 h 1388535"/>
                  <a:gd name="connsiteX566" fmla="*/ 983521 w 1259895"/>
                  <a:gd name="connsiteY566" fmla="*/ 290768 h 1388535"/>
                  <a:gd name="connsiteX567" fmla="*/ 981703 w 1259895"/>
                  <a:gd name="connsiteY567" fmla="*/ 287586 h 1388535"/>
                  <a:gd name="connsiteX568" fmla="*/ 980037 w 1259895"/>
                  <a:gd name="connsiteY568" fmla="*/ 285465 h 1388535"/>
                  <a:gd name="connsiteX569" fmla="*/ 975642 w 1259895"/>
                  <a:gd name="connsiteY569" fmla="*/ 281374 h 1388535"/>
                  <a:gd name="connsiteX570" fmla="*/ 973672 w 1259895"/>
                  <a:gd name="connsiteY570" fmla="*/ 280313 h 1388535"/>
                  <a:gd name="connsiteX571" fmla="*/ 969278 w 1259895"/>
                  <a:gd name="connsiteY571" fmla="*/ 279707 h 1388535"/>
                  <a:gd name="connsiteX572" fmla="*/ 964430 w 1259895"/>
                  <a:gd name="connsiteY572" fmla="*/ 275919 h 1388535"/>
                  <a:gd name="connsiteX573" fmla="*/ 961399 w 1259895"/>
                  <a:gd name="connsiteY573" fmla="*/ 274252 h 1388535"/>
                  <a:gd name="connsiteX574" fmla="*/ 959278 w 1259895"/>
                  <a:gd name="connsiteY574" fmla="*/ 273949 h 1388535"/>
                  <a:gd name="connsiteX575" fmla="*/ 956854 w 1259895"/>
                  <a:gd name="connsiteY575" fmla="*/ 273343 h 1388535"/>
                  <a:gd name="connsiteX576" fmla="*/ 955187 w 1259895"/>
                  <a:gd name="connsiteY576" fmla="*/ 271222 h 1388535"/>
                  <a:gd name="connsiteX577" fmla="*/ 952156 w 1259895"/>
                  <a:gd name="connsiteY577" fmla="*/ 270464 h 1388535"/>
                  <a:gd name="connsiteX578" fmla="*/ 947913 w 1259895"/>
                  <a:gd name="connsiteY578" fmla="*/ 266373 h 1388535"/>
                  <a:gd name="connsiteX579" fmla="*/ 945793 w 1259895"/>
                  <a:gd name="connsiteY579" fmla="*/ 262131 h 1388535"/>
                  <a:gd name="connsiteX580" fmla="*/ 944732 w 1259895"/>
                  <a:gd name="connsiteY580" fmla="*/ 260616 h 1388535"/>
                  <a:gd name="connsiteX581" fmla="*/ 943368 w 1259895"/>
                  <a:gd name="connsiteY581" fmla="*/ 259403 h 1388535"/>
                  <a:gd name="connsiteX582" fmla="*/ 941247 w 1259895"/>
                  <a:gd name="connsiteY582" fmla="*/ 260161 h 1388535"/>
                  <a:gd name="connsiteX583" fmla="*/ 939580 w 1259895"/>
                  <a:gd name="connsiteY583" fmla="*/ 260464 h 1388535"/>
                  <a:gd name="connsiteX584" fmla="*/ 935792 w 1259895"/>
                  <a:gd name="connsiteY584" fmla="*/ 259858 h 1388535"/>
                  <a:gd name="connsiteX585" fmla="*/ 934580 w 1259895"/>
                  <a:gd name="connsiteY585" fmla="*/ 258191 h 1388535"/>
                  <a:gd name="connsiteX586" fmla="*/ 932156 w 1259895"/>
                  <a:gd name="connsiteY586" fmla="*/ 256070 h 1388535"/>
                  <a:gd name="connsiteX587" fmla="*/ 927459 w 1259895"/>
                  <a:gd name="connsiteY587" fmla="*/ 255464 h 1388535"/>
                  <a:gd name="connsiteX588" fmla="*/ 923671 w 1259895"/>
                  <a:gd name="connsiteY588" fmla="*/ 254100 h 1388535"/>
                  <a:gd name="connsiteX589" fmla="*/ 920792 w 1259895"/>
                  <a:gd name="connsiteY589" fmla="*/ 252736 h 1388535"/>
                  <a:gd name="connsiteX590" fmla="*/ 917913 w 1259895"/>
                  <a:gd name="connsiteY590" fmla="*/ 251070 h 1388535"/>
                  <a:gd name="connsiteX591" fmla="*/ 915185 w 1259895"/>
                  <a:gd name="connsiteY591" fmla="*/ 248191 h 1388535"/>
                  <a:gd name="connsiteX592" fmla="*/ 912761 w 1259895"/>
                  <a:gd name="connsiteY592" fmla="*/ 244403 h 1388535"/>
                  <a:gd name="connsiteX593" fmla="*/ 913216 w 1259895"/>
                  <a:gd name="connsiteY593" fmla="*/ 239554 h 1388535"/>
                  <a:gd name="connsiteX594" fmla="*/ 913821 w 1259895"/>
                  <a:gd name="connsiteY594" fmla="*/ 236372 h 1388535"/>
                  <a:gd name="connsiteX595" fmla="*/ 910792 w 1259895"/>
                  <a:gd name="connsiteY595" fmla="*/ 235160 h 1388535"/>
                  <a:gd name="connsiteX596" fmla="*/ 905640 w 1259895"/>
                  <a:gd name="connsiteY596" fmla="*/ 228493 h 1388535"/>
                  <a:gd name="connsiteX597" fmla="*/ 905336 w 1259895"/>
                  <a:gd name="connsiteY597" fmla="*/ 225766 h 1388535"/>
                  <a:gd name="connsiteX598" fmla="*/ 906700 w 1259895"/>
                  <a:gd name="connsiteY598" fmla="*/ 220160 h 1388535"/>
                  <a:gd name="connsiteX599" fmla="*/ 908064 w 1259895"/>
                  <a:gd name="connsiteY599" fmla="*/ 210614 h 1388535"/>
                  <a:gd name="connsiteX600" fmla="*/ 905943 w 1259895"/>
                  <a:gd name="connsiteY600" fmla="*/ 203492 h 1388535"/>
                  <a:gd name="connsiteX601" fmla="*/ 901851 w 1259895"/>
                  <a:gd name="connsiteY601" fmla="*/ 194856 h 1388535"/>
                  <a:gd name="connsiteX602" fmla="*/ 902155 w 1259895"/>
                  <a:gd name="connsiteY602" fmla="*/ 190461 h 1388535"/>
                  <a:gd name="connsiteX603" fmla="*/ 900185 w 1259895"/>
                  <a:gd name="connsiteY603" fmla="*/ 190461 h 1388535"/>
                  <a:gd name="connsiteX604" fmla="*/ 897912 w 1259895"/>
                  <a:gd name="connsiteY604" fmla="*/ 189552 h 1388535"/>
                  <a:gd name="connsiteX605" fmla="*/ 894730 w 1259895"/>
                  <a:gd name="connsiteY605" fmla="*/ 185310 h 1388535"/>
                  <a:gd name="connsiteX606" fmla="*/ 892306 w 1259895"/>
                  <a:gd name="connsiteY606" fmla="*/ 182431 h 1388535"/>
                  <a:gd name="connsiteX607" fmla="*/ 890639 w 1259895"/>
                  <a:gd name="connsiteY607" fmla="*/ 179855 h 1388535"/>
                  <a:gd name="connsiteX608" fmla="*/ 888821 w 1259895"/>
                  <a:gd name="connsiteY608" fmla="*/ 176370 h 1388535"/>
                  <a:gd name="connsiteX609" fmla="*/ 889124 w 1259895"/>
                  <a:gd name="connsiteY609" fmla="*/ 173491 h 1388535"/>
                  <a:gd name="connsiteX610" fmla="*/ 889578 w 1259895"/>
                  <a:gd name="connsiteY610" fmla="*/ 171521 h 1388535"/>
                  <a:gd name="connsiteX611" fmla="*/ 889730 w 1259895"/>
                  <a:gd name="connsiteY611" fmla="*/ 166521 h 1388535"/>
                  <a:gd name="connsiteX612" fmla="*/ 887457 w 1259895"/>
                  <a:gd name="connsiteY612" fmla="*/ 161673 h 1388535"/>
                  <a:gd name="connsiteX613" fmla="*/ 886699 w 1259895"/>
                  <a:gd name="connsiteY613" fmla="*/ 156672 h 1388535"/>
                  <a:gd name="connsiteX614" fmla="*/ 884578 w 1259895"/>
                  <a:gd name="connsiteY614" fmla="*/ 150460 h 1388535"/>
                  <a:gd name="connsiteX615" fmla="*/ 885185 w 1259895"/>
                  <a:gd name="connsiteY615" fmla="*/ 146369 h 1388535"/>
                  <a:gd name="connsiteX616" fmla="*/ 884730 w 1259895"/>
                  <a:gd name="connsiteY616" fmla="*/ 142884 h 1388535"/>
                  <a:gd name="connsiteX617" fmla="*/ 884124 w 1259895"/>
                  <a:gd name="connsiteY617" fmla="*/ 139854 h 1388535"/>
                  <a:gd name="connsiteX618" fmla="*/ 884881 w 1259895"/>
                  <a:gd name="connsiteY618" fmla="*/ 138035 h 1388535"/>
                  <a:gd name="connsiteX619" fmla="*/ 885185 w 1259895"/>
                  <a:gd name="connsiteY619" fmla="*/ 135611 h 1388535"/>
                  <a:gd name="connsiteX620" fmla="*/ 882306 w 1259895"/>
                  <a:gd name="connsiteY620" fmla="*/ 133187 h 1388535"/>
                  <a:gd name="connsiteX621" fmla="*/ 879123 w 1259895"/>
                  <a:gd name="connsiteY621" fmla="*/ 131368 h 1388535"/>
                  <a:gd name="connsiteX622" fmla="*/ 875032 w 1259895"/>
                  <a:gd name="connsiteY622" fmla="*/ 128186 h 1388535"/>
                  <a:gd name="connsiteX623" fmla="*/ 867759 w 1259895"/>
                  <a:gd name="connsiteY623" fmla="*/ 123186 h 1388535"/>
                  <a:gd name="connsiteX624" fmla="*/ 866093 w 1259895"/>
                  <a:gd name="connsiteY624" fmla="*/ 119398 h 1388535"/>
                  <a:gd name="connsiteX625" fmla="*/ 863062 w 1259895"/>
                  <a:gd name="connsiteY625" fmla="*/ 116065 h 1388535"/>
                  <a:gd name="connsiteX626" fmla="*/ 858971 w 1259895"/>
                  <a:gd name="connsiteY626" fmla="*/ 117429 h 1388535"/>
                  <a:gd name="connsiteX627" fmla="*/ 855941 w 1259895"/>
                  <a:gd name="connsiteY627" fmla="*/ 118035 h 1388535"/>
                  <a:gd name="connsiteX628" fmla="*/ 853062 w 1259895"/>
                  <a:gd name="connsiteY628" fmla="*/ 120610 h 1388535"/>
                  <a:gd name="connsiteX629" fmla="*/ 849123 w 1259895"/>
                  <a:gd name="connsiteY629" fmla="*/ 122580 h 1388535"/>
                  <a:gd name="connsiteX630" fmla="*/ 845335 w 1259895"/>
                  <a:gd name="connsiteY630" fmla="*/ 120913 h 1388535"/>
                  <a:gd name="connsiteX631" fmla="*/ 843516 w 1259895"/>
                  <a:gd name="connsiteY631" fmla="*/ 119398 h 1388535"/>
                  <a:gd name="connsiteX632" fmla="*/ 842152 w 1259895"/>
                  <a:gd name="connsiteY632" fmla="*/ 114246 h 1388535"/>
                  <a:gd name="connsiteX633" fmla="*/ 840334 w 1259895"/>
                  <a:gd name="connsiteY633" fmla="*/ 108640 h 1388535"/>
                  <a:gd name="connsiteX634" fmla="*/ 838819 w 1259895"/>
                  <a:gd name="connsiteY634" fmla="*/ 105913 h 1388535"/>
                  <a:gd name="connsiteX635" fmla="*/ 837758 w 1259895"/>
                  <a:gd name="connsiteY635" fmla="*/ 102579 h 1388535"/>
                  <a:gd name="connsiteX636" fmla="*/ 838819 w 1259895"/>
                  <a:gd name="connsiteY636" fmla="*/ 94397 h 1388535"/>
                  <a:gd name="connsiteX637" fmla="*/ 837303 w 1259895"/>
                  <a:gd name="connsiteY637" fmla="*/ 90458 h 1388535"/>
                  <a:gd name="connsiteX638" fmla="*/ 836849 w 1259895"/>
                  <a:gd name="connsiteY638" fmla="*/ 84700 h 1388535"/>
                  <a:gd name="connsiteX639" fmla="*/ 835334 w 1259895"/>
                  <a:gd name="connsiteY639" fmla="*/ 78033 h 1388535"/>
                  <a:gd name="connsiteX640" fmla="*/ 833667 w 1259895"/>
                  <a:gd name="connsiteY640" fmla="*/ 74700 h 1388535"/>
                  <a:gd name="connsiteX641" fmla="*/ 833819 w 1259895"/>
                  <a:gd name="connsiteY641" fmla="*/ 71972 h 1388535"/>
                  <a:gd name="connsiteX642" fmla="*/ 830788 w 1259895"/>
                  <a:gd name="connsiteY642" fmla="*/ 68033 h 1388535"/>
                  <a:gd name="connsiteX643" fmla="*/ 829879 w 1259895"/>
                  <a:gd name="connsiteY643" fmla="*/ 65305 h 1388535"/>
                  <a:gd name="connsiteX644" fmla="*/ 828213 w 1259895"/>
                  <a:gd name="connsiteY644" fmla="*/ 64245 h 1388535"/>
                  <a:gd name="connsiteX645" fmla="*/ 825939 w 1259895"/>
                  <a:gd name="connsiteY645" fmla="*/ 62578 h 1388535"/>
                  <a:gd name="connsiteX646" fmla="*/ 825637 w 1259895"/>
                  <a:gd name="connsiteY646" fmla="*/ 60457 h 1388535"/>
                  <a:gd name="connsiteX647" fmla="*/ 825788 w 1259895"/>
                  <a:gd name="connsiteY647" fmla="*/ 58942 h 1388535"/>
                  <a:gd name="connsiteX648" fmla="*/ 827152 w 1259895"/>
                  <a:gd name="connsiteY648" fmla="*/ 56365 h 1388535"/>
                  <a:gd name="connsiteX649" fmla="*/ 827909 w 1259895"/>
                  <a:gd name="connsiteY649" fmla="*/ 53032 h 1388535"/>
                  <a:gd name="connsiteX650" fmla="*/ 824879 w 1259895"/>
                  <a:gd name="connsiteY650" fmla="*/ 52123 h 1388535"/>
                  <a:gd name="connsiteX651" fmla="*/ 822758 w 1259895"/>
                  <a:gd name="connsiteY651" fmla="*/ 51971 h 1388535"/>
                  <a:gd name="connsiteX652" fmla="*/ 821242 w 1259895"/>
                  <a:gd name="connsiteY652" fmla="*/ 50911 h 1388535"/>
                  <a:gd name="connsiteX653" fmla="*/ 819576 w 1259895"/>
                  <a:gd name="connsiteY653" fmla="*/ 49244 h 1388535"/>
                  <a:gd name="connsiteX654" fmla="*/ 818970 w 1259895"/>
                  <a:gd name="connsiteY654" fmla="*/ 44092 h 1388535"/>
                  <a:gd name="connsiteX655" fmla="*/ 818970 w 1259895"/>
                  <a:gd name="connsiteY655" fmla="*/ 38638 h 1388535"/>
                  <a:gd name="connsiteX656" fmla="*/ 818515 w 1259895"/>
                  <a:gd name="connsiteY656" fmla="*/ 35153 h 1388535"/>
                  <a:gd name="connsiteX657" fmla="*/ 817606 w 1259895"/>
                  <a:gd name="connsiteY657" fmla="*/ 32577 h 1388535"/>
                  <a:gd name="connsiteX658" fmla="*/ 817000 w 1259895"/>
                  <a:gd name="connsiteY658" fmla="*/ 29849 h 1388535"/>
                  <a:gd name="connsiteX659" fmla="*/ 815484 w 1259895"/>
                  <a:gd name="connsiteY659" fmla="*/ 26971 h 1388535"/>
                  <a:gd name="connsiteX660" fmla="*/ 810787 w 1259895"/>
                  <a:gd name="connsiteY660" fmla="*/ 23183 h 1388535"/>
                  <a:gd name="connsiteX661" fmla="*/ 811091 w 1259895"/>
                  <a:gd name="connsiteY661" fmla="*/ 21667 h 1388535"/>
                  <a:gd name="connsiteX662" fmla="*/ 812151 w 1259895"/>
                  <a:gd name="connsiteY662" fmla="*/ 19698 h 1388535"/>
                  <a:gd name="connsiteX663" fmla="*/ 810485 w 1259895"/>
                  <a:gd name="connsiteY663" fmla="*/ 18637 h 1388535"/>
                  <a:gd name="connsiteX664" fmla="*/ 808060 w 1259895"/>
                  <a:gd name="connsiteY664" fmla="*/ 18637 h 1388535"/>
                  <a:gd name="connsiteX665" fmla="*/ 806697 w 1259895"/>
                  <a:gd name="connsiteY665" fmla="*/ 21213 h 1388535"/>
                  <a:gd name="connsiteX666" fmla="*/ 804424 w 1259895"/>
                  <a:gd name="connsiteY666" fmla="*/ 23486 h 1388535"/>
                  <a:gd name="connsiteX667" fmla="*/ 800030 w 1259895"/>
                  <a:gd name="connsiteY667" fmla="*/ 25152 h 1388535"/>
                  <a:gd name="connsiteX668" fmla="*/ 799272 w 1259895"/>
                  <a:gd name="connsiteY668" fmla="*/ 34092 h 1388535"/>
                  <a:gd name="connsiteX669" fmla="*/ 796544 w 1259895"/>
                  <a:gd name="connsiteY669" fmla="*/ 43941 h 1388535"/>
                  <a:gd name="connsiteX670" fmla="*/ 794120 w 1259895"/>
                  <a:gd name="connsiteY670" fmla="*/ 51214 h 1388535"/>
                  <a:gd name="connsiteX671" fmla="*/ 794575 w 1259895"/>
                  <a:gd name="connsiteY671" fmla="*/ 53487 h 1388535"/>
                  <a:gd name="connsiteX672" fmla="*/ 794424 w 1259895"/>
                  <a:gd name="connsiteY672" fmla="*/ 55608 h 1388535"/>
                  <a:gd name="connsiteX673" fmla="*/ 793060 w 1259895"/>
                  <a:gd name="connsiteY673" fmla="*/ 54699 h 1388535"/>
                  <a:gd name="connsiteX674" fmla="*/ 791847 w 1259895"/>
                  <a:gd name="connsiteY674" fmla="*/ 53487 h 1388535"/>
                  <a:gd name="connsiteX675" fmla="*/ 790029 w 1259895"/>
                  <a:gd name="connsiteY675" fmla="*/ 56365 h 1388535"/>
                  <a:gd name="connsiteX676" fmla="*/ 786848 w 1259895"/>
                  <a:gd name="connsiteY676" fmla="*/ 63790 h 1388535"/>
                  <a:gd name="connsiteX677" fmla="*/ 786544 w 1259895"/>
                  <a:gd name="connsiteY677" fmla="*/ 67730 h 1388535"/>
                  <a:gd name="connsiteX678" fmla="*/ 788363 w 1259895"/>
                  <a:gd name="connsiteY678" fmla="*/ 68790 h 1388535"/>
                  <a:gd name="connsiteX679" fmla="*/ 789726 w 1259895"/>
                  <a:gd name="connsiteY679" fmla="*/ 69851 h 1388535"/>
                  <a:gd name="connsiteX680" fmla="*/ 791242 w 1259895"/>
                  <a:gd name="connsiteY680" fmla="*/ 70154 h 1388535"/>
                  <a:gd name="connsiteX681" fmla="*/ 791999 w 1259895"/>
                  <a:gd name="connsiteY681" fmla="*/ 71063 h 1388535"/>
                  <a:gd name="connsiteX682" fmla="*/ 792454 w 1259895"/>
                  <a:gd name="connsiteY682" fmla="*/ 72881 h 1388535"/>
                  <a:gd name="connsiteX683" fmla="*/ 793514 w 1259895"/>
                  <a:gd name="connsiteY683" fmla="*/ 74548 h 1388535"/>
                  <a:gd name="connsiteX684" fmla="*/ 793211 w 1259895"/>
                  <a:gd name="connsiteY684" fmla="*/ 76366 h 1388535"/>
                  <a:gd name="connsiteX685" fmla="*/ 791999 w 1259895"/>
                  <a:gd name="connsiteY685" fmla="*/ 75609 h 1388535"/>
                  <a:gd name="connsiteX686" fmla="*/ 789423 w 1259895"/>
                  <a:gd name="connsiteY686" fmla="*/ 75609 h 1388535"/>
                  <a:gd name="connsiteX687" fmla="*/ 788059 w 1259895"/>
                  <a:gd name="connsiteY687" fmla="*/ 77124 h 1388535"/>
                  <a:gd name="connsiteX688" fmla="*/ 784726 w 1259895"/>
                  <a:gd name="connsiteY688" fmla="*/ 80154 h 1388535"/>
                  <a:gd name="connsiteX689" fmla="*/ 785635 w 1259895"/>
                  <a:gd name="connsiteY689" fmla="*/ 88943 h 1388535"/>
                  <a:gd name="connsiteX690" fmla="*/ 784120 w 1259895"/>
                  <a:gd name="connsiteY690" fmla="*/ 93488 h 1388535"/>
                  <a:gd name="connsiteX691" fmla="*/ 782605 w 1259895"/>
                  <a:gd name="connsiteY691" fmla="*/ 97125 h 1388535"/>
                  <a:gd name="connsiteX692" fmla="*/ 780938 w 1259895"/>
                  <a:gd name="connsiteY692" fmla="*/ 103943 h 1388535"/>
                  <a:gd name="connsiteX693" fmla="*/ 781090 w 1259895"/>
                  <a:gd name="connsiteY693" fmla="*/ 107580 h 1388535"/>
                  <a:gd name="connsiteX694" fmla="*/ 782605 w 1259895"/>
                  <a:gd name="connsiteY694" fmla="*/ 110155 h 1388535"/>
                  <a:gd name="connsiteX695" fmla="*/ 784271 w 1259895"/>
                  <a:gd name="connsiteY695" fmla="*/ 113943 h 1388535"/>
                  <a:gd name="connsiteX696" fmla="*/ 783362 w 1259895"/>
                  <a:gd name="connsiteY696" fmla="*/ 119095 h 1388535"/>
                  <a:gd name="connsiteX697" fmla="*/ 782301 w 1259895"/>
                  <a:gd name="connsiteY697" fmla="*/ 122732 h 1388535"/>
                  <a:gd name="connsiteX698" fmla="*/ 784575 w 1259895"/>
                  <a:gd name="connsiteY698" fmla="*/ 133338 h 1388535"/>
                  <a:gd name="connsiteX699" fmla="*/ 785180 w 1259895"/>
                  <a:gd name="connsiteY699" fmla="*/ 138944 h 1388535"/>
                  <a:gd name="connsiteX700" fmla="*/ 783969 w 1259895"/>
                  <a:gd name="connsiteY700" fmla="*/ 142732 h 1388535"/>
                  <a:gd name="connsiteX701" fmla="*/ 780483 w 1259895"/>
                  <a:gd name="connsiteY701" fmla="*/ 154097 h 1388535"/>
                  <a:gd name="connsiteX702" fmla="*/ 778817 w 1259895"/>
                  <a:gd name="connsiteY702" fmla="*/ 162430 h 1388535"/>
                  <a:gd name="connsiteX703" fmla="*/ 779272 w 1259895"/>
                  <a:gd name="connsiteY703" fmla="*/ 166976 h 1388535"/>
                  <a:gd name="connsiteX704" fmla="*/ 777756 w 1259895"/>
                  <a:gd name="connsiteY704" fmla="*/ 171218 h 1388535"/>
                  <a:gd name="connsiteX705" fmla="*/ 775938 w 1259895"/>
                  <a:gd name="connsiteY705" fmla="*/ 178037 h 1388535"/>
                  <a:gd name="connsiteX706" fmla="*/ 773968 w 1259895"/>
                  <a:gd name="connsiteY706" fmla="*/ 183188 h 1388535"/>
                  <a:gd name="connsiteX707" fmla="*/ 766998 w 1259895"/>
                  <a:gd name="connsiteY707" fmla="*/ 193492 h 1388535"/>
                  <a:gd name="connsiteX708" fmla="*/ 765634 w 1259895"/>
                  <a:gd name="connsiteY708" fmla="*/ 198492 h 1388535"/>
                  <a:gd name="connsiteX709" fmla="*/ 763361 w 1259895"/>
                  <a:gd name="connsiteY709" fmla="*/ 204704 h 1388535"/>
                  <a:gd name="connsiteX710" fmla="*/ 758362 w 1259895"/>
                  <a:gd name="connsiteY710" fmla="*/ 208341 h 1388535"/>
                  <a:gd name="connsiteX711" fmla="*/ 754574 w 1259895"/>
                  <a:gd name="connsiteY711" fmla="*/ 210614 h 1388535"/>
                  <a:gd name="connsiteX712" fmla="*/ 746391 w 1259895"/>
                  <a:gd name="connsiteY712" fmla="*/ 212886 h 1388535"/>
                  <a:gd name="connsiteX713" fmla="*/ 741694 w 1259895"/>
                  <a:gd name="connsiteY713" fmla="*/ 212886 h 1388535"/>
                  <a:gd name="connsiteX714" fmla="*/ 739270 w 1259895"/>
                  <a:gd name="connsiteY714" fmla="*/ 211523 h 1388535"/>
                  <a:gd name="connsiteX715" fmla="*/ 737906 w 1259895"/>
                  <a:gd name="connsiteY715" fmla="*/ 210311 h 1388535"/>
                  <a:gd name="connsiteX716" fmla="*/ 732300 w 1259895"/>
                  <a:gd name="connsiteY716" fmla="*/ 208341 h 1388535"/>
                  <a:gd name="connsiteX717" fmla="*/ 725481 w 1259895"/>
                  <a:gd name="connsiteY717" fmla="*/ 203795 h 1388535"/>
                  <a:gd name="connsiteX718" fmla="*/ 720178 w 1259895"/>
                  <a:gd name="connsiteY718" fmla="*/ 202280 h 1388535"/>
                  <a:gd name="connsiteX719" fmla="*/ 717603 w 1259895"/>
                  <a:gd name="connsiteY719" fmla="*/ 197734 h 1388535"/>
                  <a:gd name="connsiteX720" fmla="*/ 717299 w 1259895"/>
                  <a:gd name="connsiteY720" fmla="*/ 195916 h 1388535"/>
                  <a:gd name="connsiteX721" fmla="*/ 716390 w 1259895"/>
                  <a:gd name="connsiteY721" fmla="*/ 193492 h 1388535"/>
                  <a:gd name="connsiteX722" fmla="*/ 713663 w 1259895"/>
                  <a:gd name="connsiteY722" fmla="*/ 190310 h 1388535"/>
                  <a:gd name="connsiteX723" fmla="*/ 708511 w 1259895"/>
                  <a:gd name="connsiteY723" fmla="*/ 189249 h 1388535"/>
                  <a:gd name="connsiteX724" fmla="*/ 703208 w 1259895"/>
                  <a:gd name="connsiteY724" fmla="*/ 186976 h 1388535"/>
                  <a:gd name="connsiteX725" fmla="*/ 699874 w 1259895"/>
                  <a:gd name="connsiteY725" fmla="*/ 187280 h 1388535"/>
                  <a:gd name="connsiteX726" fmla="*/ 692753 w 1259895"/>
                  <a:gd name="connsiteY726" fmla="*/ 185310 h 1388535"/>
                  <a:gd name="connsiteX727" fmla="*/ 688056 w 1259895"/>
                  <a:gd name="connsiteY727" fmla="*/ 182431 h 1388535"/>
                  <a:gd name="connsiteX728" fmla="*/ 683661 w 1259895"/>
                  <a:gd name="connsiteY728" fmla="*/ 178491 h 1388535"/>
                  <a:gd name="connsiteX729" fmla="*/ 677904 w 1259895"/>
                  <a:gd name="connsiteY729" fmla="*/ 171673 h 1388535"/>
                  <a:gd name="connsiteX730" fmla="*/ 673055 w 1259895"/>
                  <a:gd name="connsiteY730" fmla="*/ 169855 h 1388535"/>
                  <a:gd name="connsiteX731" fmla="*/ 666843 w 1259895"/>
                  <a:gd name="connsiteY731" fmla="*/ 166976 h 1388535"/>
                  <a:gd name="connsiteX732" fmla="*/ 663206 w 1259895"/>
                  <a:gd name="connsiteY732" fmla="*/ 164703 h 1388535"/>
                  <a:gd name="connsiteX733" fmla="*/ 661085 w 1259895"/>
                  <a:gd name="connsiteY733" fmla="*/ 163491 h 1388535"/>
                  <a:gd name="connsiteX734" fmla="*/ 658661 w 1259895"/>
                  <a:gd name="connsiteY734" fmla="*/ 161673 h 1388535"/>
                  <a:gd name="connsiteX735" fmla="*/ 656539 w 1259895"/>
                  <a:gd name="connsiteY735" fmla="*/ 162127 h 1388535"/>
                  <a:gd name="connsiteX736" fmla="*/ 652751 w 1259895"/>
                  <a:gd name="connsiteY736" fmla="*/ 162127 h 1388535"/>
                  <a:gd name="connsiteX737" fmla="*/ 650327 w 1259895"/>
                  <a:gd name="connsiteY737" fmla="*/ 160460 h 1388535"/>
                  <a:gd name="connsiteX738" fmla="*/ 650024 w 1259895"/>
                  <a:gd name="connsiteY738" fmla="*/ 159097 h 1388535"/>
                  <a:gd name="connsiteX739" fmla="*/ 650327 w 1259895"/>
                  <a:gd name="connsiteY739" fmla="*/ 158036 h 1388535"/>
                  <a:gd name="connsiteX740" fmla="*/ 650479 w 1259895"/>
                  <a:gd name="connsiteY740" fmla="*/ 156218 h 1388535"/>
                  <a:gd name="connsiteX741" fmla="*/ 649721 w 1259895"/>
                  <a:gd name="connsiteY741" fmla="*/ 155915 h 1388535"/>
                  <a:gd name="connsiteX742" fmla="*/ 648963 w 1259895"/>
                  <a:gd name="connsiteY742" fmla="*/ 155915 h 1388535"/>
                  <a:gd name="connsiteX743" fmla="*/ 648206 w 1259895"/>
                  <a:gd name="connsiteY743" fmla="*/ 156369 h 1388535"/>
                  <a:gd name="connsiteX744" fmla="*/ 647297 w 1259895"/>
                  <a:gd name="connsiteY744" fmla="*/ 156672 h 1388535"/>
                  <a:gd name="connsiteX745" fmla="*/ 643963 w 1259895"/>
                  <a:gd name="connsiteY745" fmla="*/ 155309 h 1388535"/>
                  <a:gd name="connsiteX746" fmla="*/ 639266 w 1259895"/>
                  <a:gd name="connsiteY746" fmla="*/ 152884 h 1388535"/>
                  <a:gd name="connsiteX747" fmla="*/ 638357 w 1259895"/>
                  <a:gd name="connsiteY747" fmla="*/ 150763 h 1388535"/>
                  <a:gd name="connsiteX748" fmla="*/ 636842 w 1259895"/>
                  <a:gd name="connsiteY748" fmla="*/ 148187 h 1388535"/>
                  <a:gd name="connsiteX749" fmla="*/ 630327 w 1259895"/>
                  <a:gd name="connsiteY749" fmla="*/ 144551 h 1388535"/>
                  <a:gd name="connsiteX750" fmla="*/ 626539 w 1259895"/>
                  <a:gd name="connsiteY750" fmla="*/ 141520 h 1388535"/>
                  <a:gd name="connsiteX751" fmla="*/ 618205 w 1259895"/>
                  <a:gd name="connsiteY751" fmla="*/ 137126 h 1388535"/>
                  <a:gd name="connsiteX752" fmla="*/ 616084 w 1259895"/>
                  <a:gd name="connsiteY752" fmla="*/ 135005 h 1388535"/>
                  <a:gd name="connsiteX753" fmla="*/ 615326 w 1259895"/>
                  <a:gd name="connsiteY753" fmla="*/ 133187 h 1388535"/>
                  <a:gd name="connsiteX754" fmla="*/ 614719 w 1259895"/>
                  <a:gd name="connsiteY754" fmla="*/ 130459 h 1388535"/>
                  <a:gd name="connsiteX755" fmla="*/ 616538 w 1259895"/>
                  <a:gd name="connsiteY755" fmla="*/ 127580 h 1388535"/>
                  <a:gd name="connsiteX756" fmla="*/ 618356 w 1259895"/>
                  <a:gd name="connsiteY756" fmla="*/ 125611 h 1388535"/>
                  <a:gd name="connsiteX757" fmla="*/ 623963 w 1259895"/>
                  <a:gd name="connsiteY757" fmla="*/ 117277 h 1388535"/>
                  <a:gd name="connsiteX758" fmla="*/ 625629 w 1259895"/>
                  <a:gd name="connsiteY758" fmla="*/ 115762 h 1388535"/>
                  <a:gd name="connsiteX759" fmla="*/ 627751 w 1259895"/>
                  <a:gd name="connsiteY759" fmla="*/ 113489 h 1388535"/>
                  <a:gd name="connsiteX760" fmla="*/ 629720 w 1259895"/>
                  <a:gd name="connsiteY760" fmla="*/ 107428 h 1388535"/>
                  <a:gd name="connsiteX761" fmla="*/ 630629 w 1259895"/>
                  <a:gd name="connsiteY761" fmla="*/ 103943 h 1388535"/>
                  <a:gd name="connsiteX762" fmla="*/ 628962 w 1259895"/>
                  <a:gd name="connsiteY762" fmla="*/ 98791 h 1388535"/>
                  <a:gd name="connsiteX763" fmla="*/ 628962 w 1259895"/>
                  <a:gd name="connsiteY763" fmla="*/ 90003 h 1388535"/>
                  <a:gd name="connsiteX764" fmla="*/ 635478 w 1259895"/>
                  <a:gd name="connsiteY764" fmla="*/ 86670 h 1388535"/>
                  <a:gd name="connsiteX765" fmla="*/ 637296 w 1259895"/>
                  <a:gd name="connsiteY765" fmla="*/ 86215 h 1388535"/>
                  <a:gd name="connsiteX766" fmla="*/ 638963 w 1259895"/>
                  <a:gd name="connsiteY766" fmla="*/ 85458 h 1388535"/>
                  <a:gd name="connsiteX767" fmla="*/ 640933 w 1259895"/>
                  <a:gd name="connsiteY767" fmla="*/ 86518 h 1388535"/>
                  <a:gd name="connsiteX768" fmla="*/ 642296 w 1259895"/>
                  <a:gd name="connsiteY768" fmla="*/ 88185 h 1388535"/>
                  <a:gd name="connsiteX769" fmla="*/ 643660 w 1259895"/>
                  <a:gd name="connsiteY769" fmla="*/ 87882 h 1388535"/>
                  <a:gd name="connsiteX770" fmla="*/ 647297 w 1259895"/>
                  <a:gd name="connsiteY770" fmla="*/ 81821 h 1388535"/>
                  <a:gd name="connsiteX771" fmla="*/ 646691 w 1259895"/>
                  <a:gd name="connsiteY771" fmla="*/ 79245 h 1388535"/>
                  <a:gd name="connsiteX772" fmla="*/ 645175 w 1259895"/>
                  <a:gd name="connsiteY772" fmla="*/ 77124 h 1388535"/>
                  <a:gd name="connsiteX773" fmla="*/ 645630 w 1259895"/>
                  <a:gd name="connsiteY773" fmla="*/ 75760 h 1388535"/>
                  <a:gd name="connsiteX774" fmla="*/ 656843 w 1259895"/>
                  <a:gd name="connsiteY774" fmla="*/ 63790 h 1388535"/>
                  <a:gd name="connsiteX775" fmla="*/ 655479 w 1259895"/>
                  <a:gd name="connsiteY775" fmla="*/ 60911 h 1388535"/>
                  <a:gd name="connsiteX776" fmla="*/ 653812 w 1259895"/>
                  <a:gd name="connsiteY776" fmla="*/ 60305 h 1388535"/>
                  <a:gd name="connsiteX777" fmla="*/ 650630 w 1259895"/>
                  <a:gd name="connsiteY777" fmla="*/ 60457 h 1388535"/>
                  <a:gd name="connsiteX778" fmla="*/ 647600 w 1259895"/>
                  <a:gd name="connsiteY778" fmla="*/ 57881 h 1388535"/>
                  <a:gd name="connsiteX779" fmla="*/ 645630 w 1259895"/>
                  <a:gd name="connsiteY779" fmla="*/ 53032 h 1388535"/>
                  <a:gd name="connsiteX780" fmla="*/ 643054 w 1259895"/>
                  <a:gd name="connsiteY780" fmla="*/ 52881 h 1388535"/>
                  <a:gd name="connsiteX781" fmla="*/ 638357 w 1259895"/>
                  <a:gd name="connsiteY781" fmla="*/ 57881 h 1388535"/>
                  <a:gd name="connsiteX782" fmla="*/ 637751 w 1259895"/>
                  <a:gd name="connsiteY782" fmla="*/ 59093 h 1388535"/>
                  <a:gd name="connsiteX783" fmla="*/ 638963 w 1259895"/>
                  <a:gd name="connsiteY783" fmla="*/ 59699 h 1388535"/>
                  <a:gd name="connsiteX784" fmla="*/ 640024 w 1259895"/>
                  <a:gd name="connsiteY784" fmla="*/ 62730 h 1388535"/>
                  <a:gd name="connsiteX785" fmla="*/ 638205 w 1259895"/>
                  <a:gd name="connsiteY785" fmla="*/ 66214 h 1388535"/>
                  <a:gd name="connsiteX786" fmla="*/ 636387 w 1259895"/>
                  <a:gd name="connsiteY786" fmla="*/ 66214 h 1388535"/>
                  <a:gd name="connsiteX787" fmla="*/ 633357 w 1259895"/>
                  <a:gd name="connsiteY787" fmla="*/ 65911 h 1388535"/>
                  <a:gd name="connsiteX788" fmla="*/ 631993 w 1259895"/>
                  <a:gd name="connsiteY788" fmla="*/ 63336 h 1388535"/>
                  <a:gd name="connsiteX789" fmla="*/ 631387 w 1259895"/>
                  <a:gd name="connsiteY789" fmla="*/ 59548 h 1388535"/>
                  <a:gd name="connsiteX790" fmla="*/ 629417 w 1259895"/>
                  <a:gd name="connsiteY790" fmla="*/ 58487 h 1388535"/>
                  <a:gd name="connsiteX791" fmla="*/ 627144 w 1259895"/>
                  <a:gd name="connsiteY791" fmla="*/ 59244 h 1388535"/>
                  <a:gd name="connsiteX792" fmla="*/ 625326 w 1259895"/>
                  <a:gd name="connsiteY792" fmla="*/ 60608 h 1388535"/>
                  <a:gd name="connsiteX793" fmla="*/ 624114 w 1259895"/>
                  <a:gd name="connsiteY793" fmla="*/ 61063 h 1388535"/>
                  <a:gd name="connsiteX794" fmla="*/ 623053 w 1259895"/>
                  <a:gd name="connsiteY794" fmla="*/ 60153 h 1388535"/>
                  <a:gd name="connsiteX795" fmla="*/ 623053 w 1259895"/>
                  <a:gd name="connsiteY795" fmla="*/ 58487 h 1388535"/>
                  <a:gd name="connsiteX796" fmla="*/ 625781 w 1259895"/>
                  <a:gd name="connsiteY796" fmla="*/ 55760 h 1388535"/>
                  <a:gd name="connsiteX797" fmla="*/ 628053 w 1259895"/>
                  <a:gd name="connsiteY797" fmla="*/ 54093 h 1388535"/>
                  <a:gd name="connsiteX798" fmla="*/ 628205 w 1259895"/>
                  <a:gd name="connsiteY798" fmla="*/ 53487 h 1388535"/>
                  <a:gd name="connsiteX799" fmla="*/ 626539 w 1259895"/>
                  <a:gd name="connsiteY799" fmla="*/ 53032 h 1388535"/>
                  <a:gd name="connsiteX800" fmla="*/ 626841 w 1259895"/>
                  <a:gd name="connsiteY800" fmla="*/ 51820 h 1388535"/>
                  <a:gd name="connsiteX801" fmla="*/ 628962 w 1259895"/>
                  <a:gd name="connsiteY801" fmla="*/ 49699 h 1388535"/>
                  <a:gd name="connsiteX802" fmla="*/ 627902 w 1259895"/>
                  <a:gd name="connsiteY802" fmla="*/ 49547 h 1388535"/>
                  <a:gd name="connsiteX803" fmla="*/ 625326 w 1259895"/>
                  <a:gd name="connsiteY803" fmla="*/ 51971 h 1388535"/>
                  <a:gd name="connsiteX804" fmla="*/ 622447 w 1259895"/>
                  <a:gd name="connsiteY804" fmla="*/ 53335 h 1388535"/>
                  <a:gd name="connsiteX805" fmla="*/ 618659 w 1259895"/>
                  <a:gd name="connsiteY805" fmla="*/ 56214 h 1388535"/>
                  <a:gd name="connsiteX806" fmla="*/ 613356 w 1259895"/>
                  <a:gd name="connsiteY806" fmla="*/ 58032 h 1388535"/>
                  <a:gd name="connsiteX807" fmla="*/ 609720 w 1259895"/>
                  <a:gd name="connsiteY807" fmla="*/ 60608 h 1388535"/>
                  <a:gd name="connsiteX808" fmla="*/ 604568 w 1259895"/>
                  <a:gd name="connsiteY808" fmla="*/ 59851 h 1388535"/>
                  <a:gd name="connsiteX809" fmla="*/ 599719 w 1259895"/>
                  <a:gd name="connsiteY809" fmla="*/ 57275 h 1388535"/>
                  <a:gd name="connsiteX810" fmla="*/ 598658 w 1259895"/>
                  <a:gd name="connsiteY810" fmla="*/ 55911 h 1388535"/>
                  <a:gd name="connsiteX811" fmla="*/ 596234 w 1259895"/>
                  <a:gd name="connsiteY811" fmla="*/ 53941 h 1388535"/>
                  <a:gd name="connsiteX812" fmla="*/ 590931 w 1259895"/>
                  <a:gd name="connsiteY812" fmla="*/ 56063 h 1388535"/>
                  <a:gd name="connsiteX813" fmla="*/ 587598 w 1259895"/>
                  <a:gd name="connsiteY813" fmla="*/ 55911 h 1388535"/>
                  <a:gd name="connsiteX814" fmla="*/ 585779 w 1259895"/>
                  <a:gd name="connsiteY814" fmla="*/ 55154 h 1388535"/>
                  <a:gd name="connsiteX815" fmla="*/ 582597 w 1259895"/>
                  <a:gd name="connsiteY815" fmla="*/ 54699 h 1388535"/>
                  <a:gd name="connsiteX816" fmla="*/ 579870 w 1259895"/>
                  <a:gd name="connsiteY816" fmla="*/ 52881 h 1388535"/>
                  <a:gd name="connsiteX817" fmla="*/ 573506 w 1259895"/>
                  <a:gd name="connsiteY817" fmla="*/ 49850 h 1388535"/>
                  <a:gd name="connsiteX818" fmla="*/ 566688 w 1259895"/>
                  <a:gd name="connsiteY818" fmla="*/ 49244 h 1388535"/>
                  <a:gd name="connsiteX819" fmla="*/ 563355 w 1259895"/>
                  <a:gd name="connsiteY819" fmla="*/ 49396 h 1388535"/>
                  <a:gd name="connsiteX820" fmla="*/ 560930 w 1259895"/>
                  <a:gd name="connsiteY820" fmla="*/ 47880 h 1388535"/>
                  <a:gd name="connsiteX821" fmla="*/ 558506 w 1259895"/>
                  <a:gd name="connsiteY821" fmla="*/ 46971 h 1388535"/>
                  <a:gd name="connsiteX822" fmla="*/ 553809 w 1259895"/>
                  <a:gd name="connsiteY822" fmla="*/ 46365 h 1388535"/>
                  <a:gd name="connsiteX823" fmla="*/ 551839 w 1259895"/>
                  <a:gd name="connsiteY823" fmla="*/ 44092 h 1388535"/>
                  <a:gd name="connsiteX824" fmla="*/ 549414 w 1259895"/>
                  <a:gd name="connsiteY824" fmla="*/ 39395 h 1388535"/>
                  <a:gd name="connsiteX825" fmla="*/ 547596 w 1259895"/>
                  <a:gd name="connsiteY825" fmla="*/ 38183 h 1388535"/>
                  <a:gd name="connsiteX826" fmla="*/ 544717 w 1259895"/>
                  <a:gd name="connsiteY826" fmla="*/ 37729 h 1388535"/>
                  <a:gd name="connsiteX827" fmla="*/ 541686 w 1259895"/>
                  <a:gd name="connsiteY827" fmla="*/ 39850 h 1388535"/>
                  <a:gd name="connsiteX828" fmla="*/ 539868 w 1259895"/>
                  <a:gd name="connsiteY828" fmla="*/ 40911 h 1388535"/>
                  <a:gd name="connsiteX829" fmla="*/ 536383 w 1259895"/>
                  <a:gd name="connsiteY829" fmla="*/ 37123 h 1388535"/>
                  <a:gd name="connsiteX830" fmla="*/ 530322 w 1259895"/>
                  <a:gd name="connsiteY830" fmla="*/ 33183 h 1388535"/>
                  <a:gd name="connsiteX831" fmla="*/ 528352 w 1259895"/>
                  <a:gd name="connsiteY831" fmla="*/ 32577 h 1388535"/>
                  <a:gd name="connsiteX832" fmla="*/ 527293 w 1259895"/>
                  <a:gd name="connsiteY832" fmla="*/ 33486 h 1388535"/>
                  <a:gd name="connsiteX833" fmla="*/ 526534 w 1259895"/>
                  <a:gd name="connsiteY833" fmla="*/ 35304 h 1388535"/>
                  <a:gd name="connsiteX834" fmla="*/ 525323 w 1259895"/>
                  <a:gd name="connsiteY834" fmla="*/ 35456 h 1388535"/>
                  <a:gd name="connsiteX835" fmla="*/ 523959 w 1259895"/>
                  <a:gd name="connsiteY835" fmla="*/ 34698 h 1388535"/>
                  <a:gd name="connsiteX836" fmla="*/ 521535 w 1259895"/>
                  <a:gd name="connsiteY836" fmla="*/ 32425 h 1388535"/>
                  <a:gd name="connsiteX837" fmla="*/ 520019 w 1259895"/>
                  <a:gd name="connsiteY837" fmla="*/ 31971 h 1388535"/>
                  <a:gd name="connsiteX838" fmla="*/ 515929 w 1259895"/>
                  <a:gd name="connsiteY838" fmla="*/ 34395 h 1388535"/>
                  <a:gd name="connsiteX839" fmla="*/ 516231 w 1259895"/>
                  <a:gd name="connsiteY839" fmla="*/ 35304 h 1388535"/>
                  <a:gd name="connsiteX840" fmla="*/ 519565 w 1259895"/>
                  <a:gd name="connsiteY840" fmla="*/ 36516 h 1388535"/>
                  <a:gd name="connsiteX841" fmla="*/ 523050 w 1259895"/>
                  <a:gd name="connsiteY841" fmla="*/ 40001 h 1388535"/>
                  <a:gd name="connsiteX842" fmla="*/ 524716 w 1259895"/>
                  <a:gd name="connsiteY842" fmla="*/ 40759 h 1388535"/>
                  <a:gd name="connsiteX843" fmla="*/ 528656 w 1259895"/>
                  <a:gd name="connsiteY843" fmla="*/ 39850 h 1388535"/>
                  <a:gd name="connsiteX844" fmla="*/ 534110 w 1259895"/>
                  <a:gd name="connsiteY844" fmla="*/ 40456 h 1388535"/>
                  <a:gd name="connsiteX845" fmla="*/ 539566 w 1259895"/>
                  <a:gd name="connsiteY845" fmla="*/ 44850 h 1388535"/>
                  <a:gd name="connsiteX846" fmla="*/ 538807 w 1259895"/>
                  <a:gd name="connsiteY846" fmla="*/ 46971 h 1388535"/>
                  <a:gd name="connsiteX847" fmla="*/ 538353 w 1259895"/>
                  <a:gd name="connsiteY847" fmla="*/ 50002 h 1388535"/>
                  <a:gd name="connsiteX848" fmla="*/ 538505 w 1259895"/>
                  <a:gd name="connsiteY848" fmla="*/ 53335 h 1388535"/>
                  <a:gd name="connsiteX849" fmla="*/ 538353 w 1259895"/>
                  <a:gd name="connsiteY849" fmla="*/ 55608 h 1388535"/>
                  <a:gd name="connsiteX850" fmla="*/ 540626 w 1259895"/>
                  <a:gd name="connsiteY850" fmla="*/ 58032 h 1388535"/>
                  <a:gd name="connsiteX851" fmla="*/ 539566 w 1259895"/>
                  <a:gd name="connsiteY851" fmla="*/ 58184 h 1388535"/>
                  <a:gd name="connsiteX852" fmla="*/ 536989 w 1259895"/>
                  <a:gd name="connsiteY852" fmla="*/ 57578 h 1388535"/>
                  <a:gd name="connsiteX853" fmla="*/ 535019 w 1259895"/>
                  <a:gd name="connsiteY853" fmla="*/ 58184 h 1388535"/>
                  <a:gd name="connsiteX854" fmla="*/ 533201 w 1259895"/>
                  <a:gd name="connsiteY854" fmla="*/ 59396 h 1388535"/>
                  <a:gd name="connsiteX855" fmla="*/ 532292 w 1259895"/>
                  <a:gd name="connsiteY855" fmla="*/ 62730 h 1388535"/>
                  <a:gd name="connsiteX856" fmla="*/ 531231 w 1259895"/>
                  <a:gd name="connsiteY856" fmla="*/ 61214 h 1388535"/>
                  <a:gd name="connsiteX857" fmla="*/ 528050 w 1259895"/>
                  <a:gd name="connsiteY857" fmla="*/ 59699 h 1388535"/>
                  <a:gd name="connsiteX858" fmla="*/ 526080 w 1259895"/>
                  <a:gd name="connsiteY858" fmla="*/ 60760 h 1388535"/>
                  <a:gd name="connsiteX859" fmla="*/ 522898 w 1259895"/>
                  <a:gd name="connsiteY859" fmla="*/ 62275 h 1388535"/>
                  <a:gd name="connsiteX860" fmla="*/ 520019 w 1259895"/>
                  <a:gd name="connsiteY860" fmla="*/ 61669 h 1388535"/>
                  <a:gd name="connsiteX861" fmla="*/ 518201 w 1259895"/>
                  <a:gd name="connsiteY861" fmla="*/ 60911 h 1388535"/>
                  <a:gd name="connsiteX862" fmla="*/ 513807 w 1259895"/>
                  <a:gd name="connsiteY862" fmla="*/ 62123 h 1388535"/>
                  <a:gd name="connsiteX863" fmla="*/ 505928 w 1259895"/>
                  <a:gd name="connsiteY863" fmla="*/ 62123 h 1388535"/>
                  <a:gd name="connsiteX864" fmla="*/ 503352 w 1259895"/>
                  <a:gd name="connsiteY864" fmla="*/ 60305 h 1388535"/>
                  <a:gd name="connsiteX865" fmla="*/ 502595 w 1259895"/>
                  <a:gd name="connsiteY865" fmla="*/ 57123 h 1388535"/>
                  <a:gd name="connsiteX866" fmla="*/ 501988 w 1259895"/>
                  <a:gd name="connsiteY866" fmla="*/ 56365 h 1388535"/>
                  <a:gd name="connsiteX867" fmla="*/ 501231 w 1259895"/>
                  <a:gd name="connsiteY867" fmla="*/ 57729 h 1388535"/>
                  <a:gd name="connsiteX868" fmla="*/ 500018 w 1259895"/>
                  <a:gd name="connsiteY868" fmla="*/ 59396 h 1388535"/>
                  <a:gd name="connsiteX869" fmla="*/ 495321 w 1259895"/>
                  <a:gd name="connsiteY869" fmla="*/ 59699 h 1388535"/>
                  <a:gd name="connsiteX870" fmla="*/ 494564 w 1259895"/>
                  <a:gd name="connsiteY870" fmla="*/ 60305 h 1388535"/>
                  <a:gd name="connsiteX871" fmla="*/ 494867 w 1259895"/>
                  <a:gd name="connsiteY871" fmla="*/ 61820 h 1388535"/>
                  <a:gd name="connsiteX872" fmla="*/ 494715 w 1259895"/>
                  <a:gd name="connsiteY872" fmla="*/ 63790 h 1388535"/>
                  <a:gd name="connsiteX873" fmla="*/ 492897 w 1259895"/>
                  <a:gd name="connsiteY873" fmla="*/ 63942 h 1388535"/>
                  <a:gd name="connsiteX874" fmla="*/ 490624 w 1259895"/>
                  <a:gd name="connsiteY874" fmla="*/ 64396 h 1388535"/>
                  <a:gd name="connsiteX875" fmla="*/ 490927 w 1259895"/>
                  <a:gd name="connsiteY875" fmla="*/ 66820 h 1388535"/>
                  <a:gd name="connsiteX876" fmla="*/ 491382 w 1259895"/>
                  <a:gd name="connsiteY876" fmla="*/ 68639 h 1388535"/>
                  <a:gd name="connsiteX877" fmla="*/ 490472 w 1259895"/>
                  <a:gd name="connsiteY877" fmla="*/ 69548 h 1388535"/>
                  <a:gd name="connsiteX878" fmla="*/ 488048 w 1259895"/>
                  <a:gd name="connsiteY878" fmla="*/ 67881 h 1388535"/>
                  <a:gd name="connsiteX879" fmla="*/ 486988 w 1259895"/>
                  <a:gd name="connsiteY879" fmla="*/ 66063 h 1388535"/>
                  <a:gd name="connsiteX880" fmla="*/ 485169 w 1259895"/>
                  <a:gd name="connsiteY880" fmla="*/ 65457 h 1388535"/>
                  <a:gd name="connsiteX881" fmla="*/ 483806 w 1259895"/>
                  <a:gd name="connsiteY881" fmla="*/ 66063 h 1388535"/>
                  <a:gd name="connsiteX882" fmla="*/ 483503 w 1259895"/>
                  <a:gd name="connsiteY882" fmla="*/ 67730 h 1388535"/>
                  <a:gd name="connsiteX883" fmla="*/ 483655 w 1259895"/>
                  <a:gd name="connsiteY883" fmla="*/ 71972 h 1388535"/>
                  <a:gd name="connsiteX884" fmla="*/ 482442 w 1259895"/>
                  <a:gd name="connsiteY884" fmla="*/ 72427 h 1388535"/>
                  <a:gd name="connsiteX885" fmla="*/ 479260 w 1259895"/>
                  <a:gd name="connsiteY885" fmla="*/ 72275 h 1388535"/>
                  <a:gd name="connsiteX886" fmla="*/ 477745 w 1259895"/>
                  <a:gd name="connsiteY886" fmla="*/ 73033 h 1388535"/>
                  <a:gd name="connsiteX887" fmla="*/ 475472 w 1259895"/>
                  <a:gd name="connsiteY887" fmla="*/ 78488 h 1388535"/>
                  <a:gd name="connsiteX888" fmla="*/ 471381 w 1259895"/>
                  <a:gd name="connsiteY888" fmla="*/ 80609 h 1388535"/>
                  <a:gd name="connsiteX889" fmla="*/ 470775 w 1259895"/>
                  <a:gd name="connsiteY889" fmla="*/ 83488 h 1388535"/>
                  <a:gd name="connsiteX890" fmla="*/ 470472 w 1259895"/>
                  <a:gd name="connsiteY890" fmla="*/ 85912 h 1388535"/>
                  <a:gd name="connsiteX891" fmla="*/ 473957 w 1259895"/>
                  <a:gd name="connsiteY891" fmla="*/ 90306 h 1388535"/>
                  <a:gd name="connsiteX892" fmla="*/ 472290 w 1259895"/>
                  <a:gd name="connsiteY892" fmla="*/ 92579 h 1388535"/>
                  <a:gd name="connsiteX893" fmla="*/ 470623 w 1259895"/>
                  <a:gd name="connsiteY893" fmla="*/ 94397 h 1388535"/>
                  <a:gd name="connsiteX894" fmla="*/ 468957 w 1259895"/>
                  <a:gd name="connsiteY894" fmla="*/ 95155 h 1388535"/>
                  <a:gd name="connsiteX895" fmla="*/ 465320 w 1259895"/>
                  <a:gd name="connsiteY895" fmla="*/ 95912 h 1388535"/>
                  <a:gd name="connsiteX896" fmla="*/ 462593 w 1259895"/>
                  <a:gd name="connsiteY896" fmla="*/ 97882 h 1388535"/>
                  <a:gd name="connsiteX897" fmla="*/ 461380 w 1259895"/>
                  <a:gd name="connsiteY897" fmla="*/ 100004 h 1388535"/>
                  <a:gd name="connsiteX898" fmla="*/ 461229 w 1259895"/>
                  <a:gd name="connsiteY898" fmla="*/ 101973 h 1388535"/>
                  <a:gd name="connsiteX899" fmla="*/ 460471 w 1259895"/>
                  <a:gd name="connsiteY899" fmla="*/ 104549 h 1388535"/>
                  <a:gd name="connsiteX900" fmla="*/ 459259 w 1259895"/>
                  <a:gd name="connsiteY900" fmla="*/ 107580 h 1388535"/>
                  <a:gd name="connsiteX901" fmla="*/ 458957 w 1259895"/>
                  <a:gd name="connsiteY901" fmla="*/ 109246 h 1388535"/>
                  <a:gd name="connsiteX902" fmla="*/ 456532 w 1259895"/>
                  <a:gd name="connsiteY902" fmla="*/ 110913 h 1388535"/>
                  <a:gd name="connsiteX903" fmla="*/ 452138 w 1259895"/>
                  <a:gd name="connsiteY903" fmla="*/ 115762 h 1388535"/>
                  <a:gd name="connsiteX904" fmla="*/ 449865 w 1259895"/>
                  <a:gd name="connsiteY904" fmla="*/ 120762 h 1388535"/>
                  <a:gd name="connsiteX905" fmla="*/ 452744 w 1259895"/>
                  <a:gd name="connsiteY905" fmla="*/ 123489 h 1388535"/>
                  <a:gd name="connsiteX906" fmla="*/ 456078 w 1259895"/>
                  <a:gd name="connsiteY906" fmla="*/ 125459 h 1388535"/>
                  <a:gd name="connsiteX907" fmla="*/ 458502 w 1259895"/>
                  <a:gd name="connsiteY907" fmla="*/ 125459 h 1388535"/>
                  <a:gd name="connsiteX908" fmla="*/ 458502 w 1259895"/>
                  <a:gd name="connsiteY908" fmla="*/ 125914 h 1388535"/>
                  <a:gd name="connsiteX909" fmla="*/ 455926 w 1259895"/>
                  <a:gd name="connsiteY909" fmla="*/ 127883 h 1388535"/>
                  <a:gd name="connsiteX910" fmla="*/ 457592 w 1259895"/>
                  <a:gd name="connsiteY910" fmla="*/ 130005 h 1388535"/>
                  <a:gd name="connsiteX911" fmla="*/ 460017 w 1259895"/>
                  <a:gd name="connsiteY911" fmla="*/ 131974 h 1388535"/>
                  <a:gd name="connsiteX912" fmla="*/ 461532 w 1259895"/>
                  <a:gd name="connsiteY912" fmla="*/ 132277 h 1388535"/>
                  <a:gd name="connsiteX913" fmla="*/ 462593 w 1259895"/>
                  <a:gd name="connsiteY913" fmla="*/ 133035 h 1388535"/>
                  <a:gd name="connsiteX914" fmla="*/ 460320 w 1259895"/>
                  <a:gd name="connsiteY914" fmla="*/ 133490 h 1388535"/>
                  <a:gd name="connsiteX915" fmla="*/ 456835 w 1259895"/>
                  <a:gd name="connsiteY915" fmla="*/ 133641 h 1388535"/>
                  <a:gd name="connsiteX916" fmla="*/ 456229 w 1259895"/>
                  <a:gd name="connsiteY916" fmla="*/ 135762 h 1388535"/>
                  <a:gd name="connsiteX917" fmla="*/ 456683 w 1259895"/>
                  <a:gd name="connsiteY917" fmla="*/ 138187 h 1388535"/>
                  <a:gd name="connsiteX918" fmla="*/ 457290 w 1259895"/>
                  <a:gd name="connsiteY918" fmla="*/ 140308 h 1388535"/>
                  <a:gd name="connsiteX919" fmla="*/ 456835 w 1259895"/>
                  <a:gd name="connsiteY919" fmla="*/ 141823 h 1388535"/>
                  <a:gd name="connsiteX920" fmla="*/ 455623 w 1259895"/>
                  <a:gd name="connsiteY920" fmla="*/ 140763 h 1388535"/>
                  <a:gd name="connsiteX921" fmla="*/ 455017 w 1259895"/>
                  <a:gd name="connsiteY921" fmla="*/ 139247 h 1388535"/>
                  <a:gd name="connsiteX922" fmla="*/ 451986 w 1259895"/>
                  <a:gd name="connsiteY922" fmla="*/ 136066 h 1388535"/>
                  <a:gd name="connsiteX923" fmla="*/ 449865 w 1259895"/>
                  <a:gd name="connsiteY923" fmla="*/ 135156 h 1388535"/>
                  <a:gd name="connsiteX924" fmla="*/ 446683 w 1259895"/>
                  <a:gd name="connsiteY924" fmla="*/ 134399 h 1388535"/>
                  <a:gd name="connsiteX925" fmla="*/ 445774 w 1259895"/>
                  <a:gd name="connsiteY925" fmla="*/ 135308 h 1388535"/>
                  <a:gd name="connsiteX926" fmla="*/ 445926 w 1259895"/>
                  <a:gd name="connsiteY926" fmla="*/ 140157 h 1388535"/>
                  <a:gd name="connsiteX927" fmla="*/ 445319 w 1259895"/>
                  <a:gd name="connsiteY927" fmla="*/ 142429 h 1388535"/>
                  <a:gd name="connsiteX928" fmla="*/ 444259 w 1259895"/>
                  <a:gd name="connsiteY928" fmla="*/ 141217 h 1388535"/>
                  <a:gd name="connsiteX929" fmla="*/ 443956 w 1259895"/>
                  <a:gd name="connsiteY929" fmla="*/ 137732 h 1388535"/>
                  <a:gd name="connsiteX930" fmla="*/ 441077 w 1259895"/>
                  <a:gd name="connsiteY930" fmla="*/ 134853 h 1388535"/>
                  <a:gd name="connsiteX931" fmla="*/ 429561 w 1259895"/>
                  <a:gd name="connsiteY931" fmla="*/ 131974 h 1388535"/>
                  <a:gd name="connsiteX932" fmla="*/ 427895 w 1259895"/>
                  <a:gd name="connsiteY932" fmla="*/ 131823 h 1388535"/>
                  <a:gd name="connsiteX933" fmla="*/ 425167 w 1259895"/>
                  <a:gd name="connsiteY933" fmla="*/ 132126 h 1388535"/>
                  <a:gd name="connsiteX934" fmla="*/ 423349 w 1259895"/>
                  <a:gd name="connsiteY934" fmla="*/ 133338 h 1388535"/>
                  <a:gd name="connsiteX935" fmla="*/ 423198 w 1259895"/>
                  <a:gd name="connsiteY935" fmla="*/ 134399 h 1388535"/>
                  <a:gd name="connsiteX936" fmla="*/ 421985 w 1259895"/>
                  <a:gd name="connsiteY936" fmla="*/ 135308 h 1388535"/>
                  <a:gd name="connsiteX937" fmla="*/ 420016 w 1259895"/>
                  <a:gd name="connsiteY937" fmla="*/ 136369 h 1388535"/>
                  <a:gd name="connsiteX938" fmla="*/ 418197 w 1259895"/>
                  <a:gd name="connsiteY938" fmla="*/ 137884 h 1388535"/>
                  <a:gd name="connsiteX939" fmla="*/ 416985 w 1259895"/>
                  <a:gd name="connsiteY939" fmla="*/ 139247 h 1388535"/>
                  <a:gd name="connsiteX940" fmla="*/ 416985 w 1259895"/>
                  <a:gd name="connsiteY940" fmla="*/ 140914 h 1388535"/>
                  <a:gd name="connsiteX941" fmla="*/ 418500 w 1259895"/>
                  <a:gd name="connsiteY941" fmla="*/ 143945 h 1388535"/>
                  <a:gd name="connsiteX942" fmla="*/ 419410 w 1259895"/>
                  <a:gd name="connsiteY942" fmla="*/ 144854 h 1388535"/>
                  <a:gd name="connsiteX943" fmla="*/ 419258 w 1259895"/>
                  <a:gd name="connsiteY943" fmla="*/ 146369 h 1388535"/>
                  <a:gd name="connsiteX944" fmla="*/ 417742 w 1259895"/>
                  <a:gd name="connsiteY944" fmla="*/ 144854 h 1388535"/>
                  <a:gd name="connsiteX945" fmla="*/ 416531 w 1259895"/>
                  <a:gd name="connsiteY945" fmla="*/ 144399 h 1388535"/>
                  <a:gd name="connsiteX946" fmla="*/ 415318 w 1259895"/>
                  <a:gd name="connsiteY946" fmla="*/ 146823 h 1388535"/>
                  <a:gd name="connsiteX947" fmla="*/ 414106 w 1259895"/>
                  <a:gd name="connsiteY947" fmla="*/ 147278 h 1388535"/>
                  <a:gd name="connsiteX948" fmla="*/ 414409 w 1259895"/>
                  <a:gd name="connsiteY948" fmla="*/ 140611 h 1388535"/>
                  <a:gd name="connsiteX949" fmla="*/ 415622 w 1259895"/>
                  <a:gd name="connsiteY949" fmla="*/ 136066 h 1388535"/>
                  <a:gd name="connsiteX950" fmla="*/ 416531 w 1259895"/>
                  <a:gd name="connsiteY950" fmla="*/ 133338 h 1388535"/>
                  <a:gd name="connsiteX951" fmla="*/ 417591 w 1259895"/>
                  <a:gd name="connsiteY951" fmla="*/ 131217 h 1388535"/>
                  <a:gd name="connsiteX952" fmla="*/ 417137 w 1259895"/>
                  <a:gd name="connsiteY952" fmla="*/ 130156 h 1388535"/>
                  <a:gd name="connsiteX953" fmla="*/ 409106 w 1259895"/>
                  <a:gd name="connsiteY953" fmla="*/ 123792 h 1388535"/>
                  <a:gd name="connsiteX954" fmla="*/ 405773 w 1259895"/>
                  <a:gd name="connsiteY954" fmla="*/ 118640 h 1388535"/>
                  <a:gd name="connsiteX955" fmla="*/ 403348 w 1259895"/>
                  <a:gd name="connsiteY955" fmla="*/ 115762 h 1388535"/>
                  <a:gd name="connsiteX956" fmla="*/ 399409 w 1259895"/>
                  <a:gd name="connsiteY956" fmla="*/ 113034 h 1388535"/>
                  <a:gd name="connsiteX957" fmla="*/ 397439 w 1259895"/>
                  <a:gd name="connsiteY957" fmla="*/ 111216 h 1388535"/>
                  <a:gd name="connsiteX958" fmla="*/ 392894 w 1259895"/>
                  <a:gd name="connsiteY958" fmla="*/ 108489 h 1388535"/>
                  <a:gd name="connsiteX959" fmla="*/ 387590 w 1259895"/>
                  <a:gd name="connsiteY959" fmla="*/ 106670 h 1388535"/>
                  <a:gd name="connsiteX960" fmla="*/ 385014 w 1259895"/>
                  <a:gd name="connsiteY960" fmla="*/ 104095 h 1388535"/>
                  <a:gd name="connsiteX961" fmla="*/ 382135 w 1259895"/>
                  <a:gd name="connsiteY961" fmla="*/ 103186 h 1388535"/>
                  <a:gd name="connsiteX962" fmla="*/ 378651 w 1259895"/>
                  <a:gd name="connsiteY962" fmla="*/ 104398 h 1388535"/>
                  <a:gd name="connsiteX963" fmla="*/ 378347 w 1259895"/>
                  <a:gd name="connsiteY963" fmla="*/ 106670 h 1388535"/>
                  <a:gd name="connsiteX964" fmla="*/ 378801 w 1259895"/>
                  <a:gd name="connsiteY964" fmla="*/ 108943 h 1388535"/>
                  <a:gd name="connsiteX965" fmla="*/ 376074 w 1259895"/>
                  <a:gd name="connsiteY965" fmla="*/ 112731 h 1388535"/>
                  <a:gd name="connsiteX966" fmla="*/ 373044 w 1259895"/>
                  <a:gd name="connsiteY966" fmla="*/ 114701 h 1388535"/>
                  <a:gd name="connsiteX967" fmla="*/ 370620 w 1259895"/>
                  <a:gd name="connsiteY967" fmla="*/ 112428 h 1388535"/>
                  <a:gd name="connsiteX968" fmla="*/ 368498 w 1259895"/>
                  <a:gd name="connsiteY968" fmla="*/ 110762 h 1388535"/>
                  <a:gd name="connsiteX969" fmla="*/ 366378 w 1259895"/>
                  <a:gd name="connsiteY969" fmla="*/ 111974 h 1388535"/>
                  <a:gd name="connsiteX970" fmla="*/ 365771 w 1259895"/>
                  <a:gd name="connsiteY970" fmla="*/ 114095 h 1388535"/>
                  <a:gd name="connsiteX971" fmla="*/ 364710 w 1259895"/>
                  <a:gd name="connsiteY971" fmla="*/ 114852 h 1388535"/>
                  <a:gd name="connsiteX972" fmla="*/ 363953 w 1259895"/>
                  <a:gd name="connsiteY972" fmla="*/ 113489 h 1388535"/>
                  <a:gd name="connsiteX973" fmla="*/ 362740 w 1259895"/>
                  <a:gd name="connsiteY973" fmla="*/ 110458 h 1388535"/>
                  <a:gd name="connsiteX974" fmla="*/ 360922 w 1259895"/>
                  <a:gd name="connsiteY974" fmla="*/ 109246 h 1388535"/>
                  <a:gd name="connsiteX975" fmla="*/ 359104 w 1259895"/>
                  <a:gd name="connsiteY975" fmla="*/ 109852 h 1388535"/>
                  <a:gd name="connsiteX976" fmla="*/ 359711 w 1259895"/>
                  <a:gd name="connsiteY976" fmla="*/ 112277 h 1388535"/>
                  <a:gd name="connsiteX977" fmla="*/ 360770 w 1259895"/>
                  <a:gd name="connsiteY977" fmla="*/ 113641 h 1388535"/>
                  <a:gd name="connsiteX978" fmla="*/ 360468 w 1259895"/>
                  <a:gd name="connsiteY978" fmla="*/ 115610 h 1388535"/>
                  <a:gd name="connsiteX979" fmla="*/ 359104 w 1259895"/>
                  <a:gd name="connsiteY979" fmla="*/ 116519 h 1388535"/>
                  <a:gd name="connsiteX980" fmla="*/ 358802 w 1259895"/>
                  <a:gd name="connsiteY980" fmla="*/ 118338 h 1388535"/>
                  <a:gd name="connsiteX981" fmla="*/ 358043 w 1259895"/>
                  <a:gd name="connsiteY981" fmla="*/ 120762 h 1388535"/>
                  <a:gd name="connsiteX982" fmla="*/ 358195 w 1259895"/>
                  <a:gd name="connsiteY982" fmla="*/ 124247 h 1388535"/>
                  <a:gd name="connsiteX983" fmla="*/ 356225 w 1259895"/>
                  <a:gd name="connsiteY983" fmla="*/ 125005 h 1388535"/>
                  <a:gd name="connsiteX984" fmla="*/ 354710 w 1259895"/>
                  <a:gd name="connsiteY984" fmla="*/ 127732 h 1388535"/>
                  <a:gd name="connsiteX985" fmla="*/ 353649 w 1259895"/>
                  <a:gd name="connsiteY985" fmla="*/ 127126 h 1388535"/>
                  <a:gd name="connsiteX986" fmla="*/ 353346 w 1259895"/>
                  <a:gd name="connsiteY986" fmla="*/ 125307 h 1388535"/>
                  <a:gd name="connsiteX987" fmla="*/ 352740 w 1259895"/>
                  <a:gd name="connsiteY987" fmla="*/ 123489 h 1388535"/>
                  <a:gd name="connsiteX988" fmla="*/ 350467 w 1259895"/>
                  <a:gd name="connsiteY988" fmla="*/ 122732 h 1388535"/>
                  <a:gd name="connsiteX989" fmla="*/ 349710 w 1259895"/>
                  <a:gd name="connsiteY989" fmla="*/ 124398 h 1388535"/>
                  <a:gd name="connsiteX990" fmla="*/ 349256 w 1259895"/>
                  <a:gd name="connsiteY990" fmla="*/ 125005 h 1388535"/>
                  <a:gd name="connsiteX991" fmla="*/ 348497 w 1259895"/>
                  <a:gd name="connsiteY991" fmla="*/ 125156 h 1388535"/>
                  <a:gd name="connsiteX992" fmla="*/ 348952 w 1259895"/>
                  <a:gd name="connsiteY992" fmla="*/ 123792 h 1388535"/>
                  <a:gd name="connsiteX993" fmla="*/ 348952 w 1259895"/>
                  <a:gd name="connsiteY993" fmla="*/ 121217 h 1388535"/>
                  <a:gd name="connsiteX994" fmla="*/ 349558 w 1259895"/>
                  <a:gd name="connsiteY994" fmla="*/ 118489 h 1388535"/>
                  <a:gd name="connsiteX995" fmla="*/ 347437 w 1259895"/>
                  <a:gd name="connsiteY995" fmla="*/ 117580 h 1388535"/>
                  <a:gd name="connsiteX996" fmla="*/ 346527 w 1259895"/>
                  <a:gd name="connsiteY996" fmla="*/ 118186 h 1388535"/>
                  <a:gd name="connsiteX997" fmla="*/ 346527 w 1259895"/>
                  <a:gd name="connsiteY997" fmla="*/ 120459 h 1388535"/>
                  <a:gd name="connsiteX998" fmla="*/ 346073 w 1259895"/>
                  <a:gd name="connsiteY998" fmla="*/ 123792 h 1388535"/>
                  <a:gd name="connsiteX999" fmla="*/ 343952 w 1259895"/>
                  <a:gd name="connsiteY999" fmla="*/ 124247 h 1388535"/>
                  <a:gd name="connsiteX1000" fmla="*/ 342134 w 1259895"/>
                  <a:gd name="connsiteY1000" fmla="*/ 125762 h 1388535"/>
                  <a:gd name="connsiteX1001" fmla="*/ 339406 w 1259895"/>
                  <a:gd name="connsiteY1001" fmla="*/ 125762 h 1388535"/>
                  <a:gd name="connsiteX1002" fmla="*/ 338042 w 1259895"/>
                  <a:gd name="connsiteY1002" fmla="*/ 126520 h 1388535"/>
                  <a:gd name="connsiteX1003" fmla="*/ 337588 w 1259895"/>
                  <a:gd name="connsiteY1003" fmla="*/ 128338 h 1388535"/>
                  <a:gd name="connsiteX1004" fmla="*/ 335618 w 1259895"/>
                  <a:gd name="connsiteY1004" fmla="*/ 128641 h 1388535"/>
                  <a:gd name="connsiteX1005" fmla="*/ 335618 w 1259895"/>
                  <a:gd name="connsiteY1005" fmla="*/ 130914 h 1388535"/>
                  <a:gd name="connsiteX1006" fmla="*/ 337285 w 1259895"/>
                  <a:gd name="connsiteY1006" fmla="*/ 133187 h 1388535"/>
                  <a:gd name="connsiteX1007" fmla="*/ 337437 w 1259895"/>
                  <a:gd name="connsiteY1007" fmla="*/ 135156 h 1388535"/>
                  <a:gd name="connsiteX1008" fmla="*/ 341225 w 1259895"/>
                  <a:gd name="connsiteY1008" fmla="*/ 137126 h 1388535"/>
                  <a:gd name="connsiteX1009" fmla="*/ 341073 w 1259895"/>
                  <a:gd name="connsiteY1009" fmla="*/ 139096 h 1388535"/>
                  <a:gd name="connsiteX1010" fmla="*/ 340467 w 1259895"/>
                  <a:gd name="connsiteY1010" fmla="*/ 140005 h 1388535"/>
                  <a:gd name="connsiteX1011" fmla="*/ 338951 w 1259895"/>
                  <a:gd name="connsiteY1011" fmla="*/ 139702 h 1388535"/>
                  <a:gd name="connsiteX1012" fmla="*/ 335770 w 1259895"/>
                  <a:gd name="connsiteY1012" fmla="*/ 138035 h 1388535"/>
                  <a:gd name="connsiteX1013" fmla="*/ 332588 w 1259895"/>
                  <a:gd name="connsiteY1013" fmla="*/ 137732 h 1388535"/>
                  <a:gd name="connsiteX1014" fmla="*/ 331679 w 1259895"/>
                  <a:gd name="connsiteY1014" fmla="*/ 136975 h 1388535"/>
                  <a:gd name="connsiteX1015" fmla="*/ 331225 w 1259895"/>
                  <a:gd name="connsiteY1015" fmla="*/ 137581 h 1388535"/>
                  <a:gd name="connsiteX1016" fmla="*/ 331225 w 1259895"/>
                  <a:gd name="connsiteY1016" fmla="*/ 138944 h 1388535"/>
                  <a:gd name="connsiteX1017" fmla="*/ 330012 w 1259895"/>
                  <a:gd name="connsiteY1017" fmla="*/ 139854 h 1388535"/>
                  <a:gd name="connsiteX1018" fmla="*/ 328194 w 1259895"/>
                  <a:gd name="connsiteY1018" fmla="*/ 140005 h 1388535"/>
                  <a:gd name="connsiteX1019" fmla="*/ 326073 w 1259895"/>
                  <a:gd name="connsiteY1019" fmla="*/ 141369 h 1388535"/>
                  <a:gd name="connsiteX1020" fmla="*/ 327587 w 1259895"/>
                  <a:gd name="connsiteY1020" fmla="*/ 143642 h 1388535"/>
                  <a:gd name="connsiteX1021" fmla="*/ 327285 w 1259895"/>
                  <a:gd name="connsiteY1021" fmla="*/ 144551 h 1388535"/>
                  <a:gd name="connsiteX1022" fmla="*/ 328042 w 1259895"/>
                  <a:gd name="connsiteY1022" fmla="*/ 145611 h 1388535"/>
                  <a:gd name="connsiteX1023" fmla="*/ 331225 w 1259895"/>
                  <a:gd name="connsiteY1023" fmla="*/ 145763 h 1388535"/>
                  <a:gd name="connsiteX1024" fmla="*/ 332588 w 1259895"/>
                  <a:gd name="connsiteY1024" fmla="*/ 145460 h 1388535"/>
                  <a:gd name="connsiteX1025" fmla="*/ 332739 w 1259895"/>
                  <a:gd name="connsiteY1025" fmla="*/ 147278 h 1388535"/>
                  <a:gd name="connsiteX1026" fmla="*/ 332285 w 1259895"/>
                  <a:gd name="connsiteY1026" fmla="*/ 149096 h 1388535"/>
                  <a:gd name="connsiteX1027" fmla="*/ 331073 w 1259895"/>
                  <a:gd name="connsiteY1027" fmla="*/ 149702 h 1388535"/>
                  <a:gd name="connsiteX1028" fmla="*/ 329861 w 1259895"/>
                  <a:gd name="connsiteY1028" fmla="*/ 148036 h 1388535"/>
                  <a:gd name="connsiteX1029" fmla="*/ 323799 w 1259895"/>
                  <a:gd name="connsiteY1029" fmla="*/ 144702 h 1388535"/>
                  <a:gd name="connsiteX1030" fmla="*/ 322285 w 1259895"/>
                  <a:gd name="connsiteY1030" fmla="*/ 144399 h 1388535"/>
                  <a:gd name="connsiteX1031" fmla="*/ 321981 w 1259895"/>
                  <a:gd name="connsiteY1031" fmla="*/ 145460 h 1388535"/>
                  <a:gd name="connsiteX1032" fmla="*/ 322285 w 1259895"/>
                  <a:gd name="connsiteY1032" fmla="*/ 146823 h 1388535"/>
                  <a:gd name="connsiteX1033" fmla="*/ 321072 w 1259895"/>
                  <a:gd name="connsiteY1033" fmla="*/ 148490 h 1388535"/>
                  <a:gd name="connsiteX1034" fmla="*/ 318800 w 1259895"/>
                  <a:gd name="connsiteY1034" fmla="*/ 150611 h 1388535"/>
                  <a:gd name="connsiteX1035" fmla="*/ 317284 w 1259895"/>
                  <a:gd name="connsiteY1035" fmla="*/ 150005 h 1388535"/>
                  <a:gd name="connsiteX1036" fmla="*/ 315466 w 1259895"/>
                  <a:gd name="connsiteY1036" fmla="*/ 150460 h 1388535"/>
                  <a:gd name="connsiteX1037" fmla="*/ 314254 w 1259895"/>
                  <a:gd name="connsiteY1037" fmla="*/ 154097 h 1388535"/>
                  <a:gd name="connsiteX1038" fmla="*/ 313799 w 1259895"/>
                  <a:gd name="connsiteY1038" fmla="*/ 157733 h 1388535"/>
                  <a:gd name="connsiteX1039" fmla="*/ 315769 w 1259895"/>
                  <a:gd name="connsiteY1039" fmla="*/ 160309 h 1388535"/>
                  <a:gd name="connsiteX1040" fmla="*/ 317133 w 1259895"/>
                  <a:gd name="connsiteY1040" fmla="*/ 163642 h 1388535"/>
                  <a:gd name="connsiteX1041" fmla="*/ 319861 w 1259895"/>
                  <a:gd name="connsiteY1041" fmla="*/ 159400 h 1388535"/>
                  <a:gd name="connsiteX1042" fmla="*/ 321072 w 1259895"/>
                  <a:gd name="connsiteY1042" fmla="*/ 158945 h 1388535"/>
                  <a:gd name="connsiteX1043" fmla="*/ 321072 w 1259895"/>
                  <a:gd name="connsiteY1043" fmla="*/ 160763 h 1388535"/>
                  <a:gd name="connsiteX1044" fmla="*/ 320011 w 1259895"/>
                  <a:gd name="connsiteY1044" fmla="*/ 162582 h 1388535"/>
                  <a:gd name="connsiteX1045" fmla="*/ 319406 w 1259895"/>
                  <a:gd name="connsiteY1045" fmla="*/ 164854 h 1388535"/>
                  <a:gd name="connsiteX1046" fmla="*/ 319254 w 1259895"/>
                  <a:gd name="connsiteY1046" fmla="*/ 167430 h 1388535"/>
                  <a:gd name="connsiteX1047" fmla="*/ 317436 w 1259895"/>
                  <a:gd name="connsiteY1047" fmla="*/ 167430 h 1388535"/>
                  <a:gd name="connsiteX1048" fmla="*/ 315314 w 1259895"/>
                  <a:gd name="connsiteY1048" fmla="*/ 167127 h 1388535"/>
                  <a:gd name="connsiteX1049" fmla="*/ 314860 w 1259895"/>
                  <a:gd name="connsiteY1049" fmla="*/ 167885 h 1388535"/>
                  <a:gd name="connsiteX1050" fmla="*/ 314103 w 1259895"/>
                  <a:gd name="connsiteY1050" fmla="*/ 169855 h 1388535"/>
                  <a:gd name="connsiteX1051" fmla="*/ 314557 w 1259895"/>
                  <a:gd name="connsiteY1051" fmla="*/ 172582 h 1388535"/>
                  <a:gd name="connsiteX1052" fmla="*/ 315921 w 1259895"/>
                  <a:gd name="connsiteY1052" fmla="*/ 173643 h 1388535"/>
                  <a:gd name="connsiteX1053" fmla="*/ 319102 w 1259895"/>
                  <a:gd name="connsiteY1053" fmla="*/ 173491 h 1388535"/>
                  <a:gd name="connsiteX1054" fmla="*/ 321830 w 1259895"/>
                  <a:gd name="connsiteY1054" fmla="*/ 173643 h 1388535"/>
                  <a:gd name="connsiteX1055" fmla="*/ 324254 w 1259895"/>
                  <a:gd name="connsiteY1055" fmla="*/ 174552 h 1388535"/>
                  <a:gd name="connsiteX1056" fmla="*/ 324709 w 1259895"/>
                  <a:gd name="connsiteY1056" fmla="*/ 175309 h 1388535"/>
                  <a:gd name="connsiteX1057" fmla="*/ 322588 w 1259895"/>
                  <a:gd name="connsiteY1057" fmla="*/ 174855 h 1388535"/>
                  <a:gd name="connsiteX1058" fmla="*/ 318193 w 1259895"/>
                  <a:gd name="connsiteY1058" fmla="*/ 175158 h 1388535"/>
                  <a:gd name="connsiteX1059" fmla="*/ 316073 w 1259895"/>
                  <a:gd name="connsiteY1059" fmla="*/ 174855 h 1388535"/>
                  <a:gd name="connsiteX1060" fmla="*/ 311830 w 1259895"/>
                  <a:gd name="connsiteY1060" fmla="*/ 175006 h 1388535"/>
                  <a:gd name="connsiteX1061" fmla="*/ 308647 w 1259895"/>
                  <a:gd name="connsiteY1061" fmla="*/ 173491 h 1388535"/>
                  <a:gd name="connsiteX1062" fmla="*/ 307132 w 1259895"/>
                  <a:gd name="connsiteY1062" fmla="*/ 171976 h 1388535"/>
                  <a:gd name="connsiteX1063" fmla="*/ 304859 w 1259895"/>
                  <a:gd name="connsiteY1063" fmla="*/ 171521 h 1388535"/>
                  <a:gd name="connsiteX1064" fmla="*/ 302587 w 1259895"/>
                  <a:gd name="connsiteY1064" fmla="*/ 172128 h 1388535"/>
                  <a:gd name="connsiteX1065" fmla="*/ 301375 w 1259895"/>
                  <a:gd name="connsiteY1065" fmla="*/ 174249 h 1388535"/>
                  <a:gd name="connsiteX1066" fmla="*/ 299860 w 1259895"/>
                  <a:gd name="connsiteY1066" fmla="*/ 174703 h 1388535"/>
                  <a:gd name="connsiteX1067" fmla="*/ 296223 w 1259895"/>
                  <a:gd name="connsiteY1067" fmla="*/ 169400 h 1388535"/>
                  <a:gd name="connsiteX1068" fmla="*/ 293950 w 1259895"/>
                  <a:gd name="connsiteY1068" fmla="*/ 169097 h 1388535"/>
                  <a:gd name="connsiteX1069" fmla="*/ 292889 w 1259895"/>
                  <a:gd name="connsiteY1069" fmla="*/ 170309 h 1388535"/>
                  <a:gd name="connsiteX1070" fmla="*/ 293950 w 1259895"/>
                  <a:gd name="connsiteY1070" fmla="*/ 173643 h 1388535"/>
                  <a:gd name="connsiteX1071" fmla="*/ 293344 w 1259895"/>
                  <a:gd name="connsiteY1071" fmla="*/ 175612 h 1388535"/>
                  <a:gd name="connsiteX1072" fmla="*/ 292132 w 1259895"/>
                  <a:gd name="connsiteY1072" fmla="*/ 177127 h 1388535"/>
                  <a:gd name="connsiteX1073" fmla="*/ 290617 w 1259895"/>
                  <a:gd name="connsiteY1073" fmla="*/ 176976 h 1388535"/>
                  <a:gd name="connsiteX1074" fmla="*/ 289707 w 1259895"/>
                  <a:gd name="connsiteY1074" fmla="*/ 177582 h 1388535"/>
                  <a:gd name="connsiteX1075" fmla="*/ 290466 w 1259895"/>
                  <a:gd name="connsiteY1075" fmla="*/ 178946 h 1388535"/>
                  <a:gd name="connsiteX1076" fmla="*/ 292889 w 1259895"/>
                  <a:gd name="connsiteY1076" fmla="*/ 182431 h 1388535"/>
                  <a:gd name="connsiteX1077" fmla="*/ 294859 w 1259895"/>
                  <a:gd name="connsiteY1077" fmla="*/ 183946 h 1388535"/>
                  <a:gd name="connsiteX1078" fmla="*/ 296677 w 1259895"/>
                  <a:gd name="connsiteY1078" fmla="*/ 186067 h 1388535"/>
                  <a:gd name="connsiteX1079" fmla="*/ 297587 w 1259895"/>
                  <a:gd name="connsiteY1079" fmla="*/ 187886 h 1388535"/>
                  <a:gd name="connsiteX1080" fmla="*/ 299708 w 1259895"/>
                  <a:gd name="connsiteY1080" fmla="*/ 187734 h 1388535"/>
                  <a:gd name="connsiteX1081" fmla="*/ 300162 w 1259895"/>
                  <a:gd name="connsiteY1081" fmla="*/ 189249 h 1388535"/>
                  <a:gd name="connsiteX1082" fmla="*/ 298951 w 1259895"/>
                  <a:gd name="connsiteY1082" fmla="*/ 191370 h 1388535"/>
                  <a:gd name="connsiteX1083" fmla="*/ 298951 w 1259895"/>
                  <a:gd name="connsiteY1083" fmla="*/ 194856 h 1388535"/>
                  <a:gd name="connsiteX1084" fmla="*/ 298042 w 1259895"/>
                  <a:gd name="connsiteY1084" fmla="*/ 195007 h 1388535"/>
                  <a:gd name="connsiteX1085" fmla="*/ 296829 w 1259895"/>
                  <a:gd name="connsiteY1085" fmla="*/ 194249 h 1388535"/>
                  <a:gd name="connsiteX1086" fmla="*/ 294405 w 1259895"/>
                  <a:gd name="connsiteY1086" fmla="*/ 192128 h 1388535"/>
                  <a:gd name="connsiteX1087" fmla="*/ 293193 w 1259895"/>
                  <a:gd name="connsiteY1087" fmla="*/ 191674 h 1388535"/>
                  <a:gd name="connsiteX1088" fmla="*/ 292586 w 1259895"/>
                  <a:gd name="connsiteY1088" fmla="*/ 192280 h 1388535"/>
                  <a:gd name="connsiteX1089" fmla="*/ 292435 w 1259895"/>
                  <a:gd name="connsiteY1089" fmla="*/ 193795 h 1388535"/>
                  <a:gd name="connsiteX1090" fmla="*/ 293041 w 1259895"/>
                  <a:gd name="connsiteY1090" fmla="*/ 197583 h 1388535"/>
                  <a:gd name="connsiteX1091" fmla="*/ 291829 w 1259895"/>
                  <a:gd name="connsiteY1091" fmla="*/ 203038 h 1388535"/>
                  <a:gd name="connsiteX1092" fmla="*/ 292132 w 1259895"/>
                  <a:gd name="connsiteY1092" fmla="*/ 204704 h 1388535"/>
                  <a:gd name="connsiteX1093" fmla="*/ 291829 w 1259895"/>
                  <a:gd name="connsiteY1093" fmla="*/ 206068 h 1388535"/>
                  <a:gd name="connsiteX1094" fmla="*/ 290768 w 1259895"/>
                  <a:gd name="connsiteY1094" fmla="*/ 205007 h 1388535"/>
                  <a:gd name="connsiteX1095" fmla="*/ 289556 w 1259895"/>
                  <a:gd name="connsiteY1095" fmla="*/ 202886 h 1388535"/>
                  <a:gd name="connsiteX1096" fmla="*/ 286980 w 1259895"/>
                  <a:gd name="connsiteY1096" fmla="*/ 199553 h 1388535"/>
                  <a:gd name="connsiteX1097" fmla="*/ 283799 w 1259895"/>
                  <a:gd name="connsiteY1097" fmla="*/ 192431 h 1388535"/>
                  <a:gd name="connsiteX1098" fmla="*/ 280465 w 1259895"/>
                  <a:gd name="connsiteY1098" fmla="*/ 187582 h 1388535"/>
                  <a:gd name="connsiteX1099" fmla="*/ 278646 w 1259895"/>
                  <a:gd name="connsiteY1099" fmla="*/ 183492 h 1388535"/>
                  <a:gd name="connsiteX1100" fmla="*/ 275768 w 1259895"/>
                  <a:gd name="connsiteY1100" fmla="*/ 175764 h 1388535"/>
                  <a:gd name="connsiteX1101" fmla="*/ 274253 w 1259895"/>
                  <a:gd name="connsiteY1101" fmla="*/ 175612 h 1388535"/>
                  <a:gd name="connsiteX1102" fmla="*/ 272435 w 1259895"/>
                  <a:gd name="connsiteY1102" fmla="*/ 178946 h 1388535"/>
                  <a:gd name="connsiteX1103" fmla="*/ 270313 w 1259895"/>
                  <a:gd name="connsiteY1103" fmla="*/ 183340 h 1388535"/>
                  <a:gd name="connsiteX1104" fmla="*/ 268949 w 1259895"/>
                  <a:gd name="connsiteY1104" fmla="*/ 185461 h 1388535"/>
                  <a:gd name="connsiteX1105" fmla="*/ 265616 w 1259895"/>
                  <a:gd name="connsiteY1105" fmla="*/ 187582 h 1388535"/>
                  <a:gd name="connsiteX1106" fmla="*/ 263494 w 1259895"/>
                  <a:gd name="connsiteY1106" fmla="*/ 189704 h 1388535"/>
                  <a:gd name="connsiteX1107" fmla="*/ 261070 w 1259895"/>
                  <a:gd name="connsiteY1107" fmla="*/ 190461 h 1388535"/>
                  <a:gd name="connsiteX1108" fmla="*/ 258343 w 1259895"/>
                  <a:gd name="connsiteY1108" fmla="*/ 192886 h 1388535"/>
                  <a:gd name="connsiteX1109" fmla="*/ 256373 w 1259895"/>
                  <a:gd name="connsiteY1109" fmla="*/ 195007 h 1388535"/>
                  <a:gd name="connsiteX1110" fmla="*/ 253646 w 1259895"/>
                  <a:gd name="connsiteY1110" fmla="*/ 200007 h 1388535"/>
                  <a:gd name="connsiteX1111" fmla="*/ 253191 w 1259895"/>
                  <a:gd name="connsiteY1111" fmla="*/ 203189 h 1388535"/>
                  <a:gd name="connsiteX1112" fmla="*/ 253343 w 1259895"/>
                  <a:gd name="connsiteY1112" fmla="*/ 206523 h 1388535"/>
                  <a:gd name="connsiteX1113" fmla="*/ 254555 w 1259895"/>
                  <a:gd name="connsiteY1113" fmla="*/ 211371 h 1388535"/>
                  <a:gd name="connsiteX1114" fmla="*/ 255767 w 1259895"/>
                  <a:gd name="connsiteY1114" fmla="*/ 218341 h 1388535"/>
                  <a:gd name="connsiteX1115" fmla="*/ 257585 w 1259895"/>
                  <a:gd name="connsiteY1115" fmla="*/ 219099 h 1388535"/>
                  <a:gd name="connsiteX1116" fmla="*/ 259101 w 1259895"/>
                  <a:gd name="connsiteY1116" fmla="*/ 220311 h 1388535"/>
                  <a:gd name="connsiteX1117" fmla="*/ 258646 w 1259895"/>
                  <a:gd name="connsiteY1117" fmla="*/ 222432 h 1388535"/>
                  <a:gd name="connsiteX1118" fmla="*/ 256373 w 1259895"/>
                  <a:gd name="connsiteY1118" fmla="*/ 223796 h 1388535"/>
                  <a:gd name="connsiteX1119" fmla="*/ 249403 w 1259895"/>
                  <a:gd name="connsiteY1119" fmla="*/ 230463 h 1388535"/>
                  <a:gd name="connsiteX1120" fmla="*/ 244706 w 1259895"/>
                  <a:gd name="connsiteY1120" fmla="*/ 232736 h 1388535"/>
                  <a:gd name="connsiteX1121" fmla="*/ 243342 w 1259895"/>
                  <a:gd name="connsiteY1121" fmla="*/ 234402 h 1388535"/>
                  <a:gd name="connsiteX1122" fmla="*/ 241675 w 1259895"/>
                  <a:gd name="connsiteY1122" fmla="*/ 237887 h 1388535"/>
                  <a:gd name="connsiteX1123" fmla="*/ 239251 w 1259895"/>
                  <a:gd name="connsiteY1123" fmla="*/ 242281 h 1388535"/>
                  <a:gd name="connsiteX1124" fmla="*/ 238191 w 1259895"/>
                  <a:gd name="connsiteY1124" fmla="*/ 245009 h 1388535"/>
                  <a:gd name="connsiteX1125" fmla="*/ 235615 w 1259895"/>
                  <a:gd name="connsiteY1125" fmla="*/ 250464 h 1388535"/>
                  <a:gd name="connsiteX1126" fmla="*/ 231372 w 1259895"/>
                  <a:gd name="connsiteY1126" fmla="*/ 256524 h 1388535"/>
                  <a:gd name="connsiteX1127" fmla="*/ 226978 w 1259895"/>
                  <a:gd name="connsiteY1127" fmla="*/ 260918 h 1388535"/>
                  <a:gd name="connsiteX1128" fmla="*/ 221978 w 1259895"/>
                  <a:gd name="connsiteY1128" fmla="*/ 264555 h 1388535"/>
                  <a:gd name="connsiteX1129" fmla="*/ 218645 w 1259895"/>
                  <a:gd name="connsiteY1129" fmla="*/ 266222 h 1388535"/>
                  <a:gd name="connsiteX1130" fmla="*/ 206522 w 1259895"/>
                  <a:gd name="connsiteY1130" fmla="*/ 271222 h 1388535"/>
                  <a:gd name="connsiteX1131" fmla="*/ 200007 w 1259895"/>
                  <a:gd name="connsiteY1131" fmla="*/ 273192 h 1388535"/>
                  <a:gd name="connsiteX1132" fmla="*/ 188341 w 1259895"/>
                  <a:gd name="connsiteY1132" fmla="*/ 274555 h 1388535"/>
                  <a:gd name="connsiteX1133" fmla="*/ 183340 w 1259895"/>
                  <a:gd name="connsiteY1133" fmla="*/ 276828 h 1388535"/>
                  <a:gd name="connsiteX1134" fmla="*/ 177127 w 1259895"/>
                  <a:gd name="connsiteY1134" fmla="*/ 276070 h 1388535"/>
                  <a:gd name="connsiteX1135" fmla="*/ 170158 w 1259895"/>
                  <a:gd name="connsiteY1135" fmla="*/ 275616 h 1388535"/>
                  <a:gd name="connsiteX1136" fmla="*/ 160460 w 1259895"/>
                  <a:gd name="connsiteY1136" fmla="*/ 283192 h 1388535"/>
                  <a:gd name="connsiteX1137" fmla="*/ 152429 w 1259895"/>
                  <a:gd name="connsiteY1137" fmla="*/ 285010 h 1388535"/>
                  <a:gd name="connsiteX1138" fmla="*/ 145308 w 1259895"/>
                  <a:gd name="connsiteY1138" fmla="*/ 286374 h 1388535"/>
                  <a:gd name="connsiteX1139" fmla="*/ 142278 w 1259895"/>
                  <a:gd name="connsiteY1139" fmla="*/ 287586 h 1388535"/>
                  <a:gd name="connsiteX1140" fmla="*/ 135308 w 1259895"/>
                  <a:gd name="connsiteY1140" fmla="*/ 291980 h 1388535"/>
                  <a:gd name="connsiteX1141" fmla="*/ 131217 w 1259895"/>
                  <a:gd name="connsiteY1141" fmla="*/ 293950 h 1388535"/>
                  <a:gd name="connsiteX1142" fmla="*/ 123641 w 1259895"/>
                  <a:gd name="connsiteY1142" fmla="*/ 296223 h 1388535"/>
                  <a:gd name="connsiteX1143" fmla="*/ 120610 w 1259895"/>
                  <a:gd name="connsiteY1143" fmla="*/ 295920 h 1388535"/>
                  <a:gd name="connsiteX1144" fmla="*/ 116368 w 1259895"/>
                  <a:gd name="connsiteY1144" fmla="*/ 293799 h 1388535"/>
                  <a:gd name="connsiteX1145" fmla="*/ 112429 w 1259895"/>
                  <a:gd name="connsiteY1145" fmla="*/ 294253 h 1388535"/>
                  <a:gd name="connsiteX1146" fmla="*/ 108034 w 1259895"/>
                  <a:gd name="connsiteY1146" fmla="*/ 293950 h 1388535"/>
                  <a:gd name="connsiteX1147" fmla="*/ 104549 w 1259895"/>
                  <a:gd name="connsiteY1147" fmla="*/ 294101 h 1388535"/>
                  <a:gd name="connsiteX1148" fmla="*/ 101822 w 1259895"/>
                  <a:gd name="connsiteY1148" fmla="*/ 295768 h 1388535"/>
                  <a:gd name="connsiteX1149" fmla="*/ 85609 w 1259895"/>
                  <a:gd name="connsiteY1149" fmla="*/ 304708 h 1388535"/>
                  <a:gd name="connsiteX1150" fmla="*/ 82427 w 1259895"/>
                  <a:gd name="connsiteY1150" fmla="*/ 307132 h 1388535"/>
                  <a:gd name="connsiteX1151" fmla="*/ 79094 w 1259895"/>
                  <a:gd name="connsiteY1151" fmla="*/ 310769 h 1388535"/>
                  <a:gd name="connsiteX1152" fmla="*/ 74245 w 1259895"/>
                  <a:gd name="connsiteY1152" fmla="*/ 314102 h 1388535"/>
                  <a:gd name="connsiteX1153" fmla="*/ 70457 w 1259895"/>
                  <a:gd name="connsiteY1153" fmla="*/ 317890 h 1388535"/>
                  <a:gd name="connsiteX1154" fmla="*/ 62426 w 1259895"/>
                  <a:gd name="connsiteY1154" fmla="*/ 321830 h 1388535"/>
                  <a:gd name="connsiteX1155" fmla="*/ 54093 w 1259895"/>
                  <a:gd name="connsiteY1155" fmla="*/ 324860 h 1388535"/>
                  <a:gd name="connsiteX1156" fmla="*/ 50002 w 1259895"/>
                  <a:gd name="connsiteY1156" fmla="*/ 327285 h 1388535"/>
                  <a:gd name="connsiteX1157" fmla="*/ 47123 w 1259895"/>
                  <a:gd name="connsiteY1157" fmla="*/ 330618 h 1388535"/>
                  <a:gd name="connsiteX1158" fmla="*/ 41971 w 1259895"/>
                  <a:gd name="connsiteY1158" fmla="*/ 339709 h 1388535"/>
                  <a:gd name="connsiteX1159" fmla="*/ 40910 w 1259895"/>
                  <a:gd name="connsiteY1159" fmla="*/ 341982 h 1388535"/>
                  <a:gd name="connsiteX1160" fmla="*/ 38941 w 1259895"/>
                  <a:gd name="connsiteY1160" fmla="*/ 344406 h 1388535"/>
                  <a:gd name="connsiteX1161" fmla="*/ 36213 w 1259895"/>
                  <a:gd name="connsiteY1161" fmla="*/ 345316 h 1388535"/>
                  <a:gd name="connsiteX1162" fmla="*/ 34547 w 1259895"/>
                  <a:gd name="connsiteY1162" fmla="*/ 346073 h 1388535"/>
                  <a:gd name="connsiteX1163" fmla="*/ 35153 w 1259895"/>
                  <a:gd name="connsiteY1163" fmla="*/ 341528 h 1388535"/>
                  <a:gd name="connsiteX1164" fmla="*/ 33183 w 1259895"/>
                  <a:gd name="connsiteY1164" fmla="*/ 337436 h 1388535"/>
                  <a:gd name="connsiteX1165" fmla="*/ 34547 w 1259895"/>
                  <a:gd name="connsiteY1165" fmla="*/ 329709 h 1388535"/>
                  <a:gd name="connsiteX1166" fmla="*/ 34092 w 1259895"/>
                  <a:gd name="connsiteY1166" fmla="*/ 327436 h 1388535"/>
                  <a:gd name="connsiteX1167" fmla="*/ 31365 w 1259895"/>
                  <a:gd name="connsiteY1167" fmla="*/ 328951 h 1388535"/>
                  <a:gd name="connsiteX1168" fmla="*/ 29546 w 1259895"/>
                  <a:gd name="connsiteY1168" fmla="*/ 330618 h 1388535"/>
                  <a:gd name="connsiteX1169" fmla="*/ 25153 w 1259895"/>
                  <a:gd name="connsiteY1169" fmla="*/ 341831 h 1388535"/>
                  <a:gd name="connsiteX1170" fmla="*/ 22122 w 1259895"/>
                  <a:gd name="connsiteY1170" fmla="*/ 350619 h 1388535"/>
                  <a:gd name="connsiteX1171" fmla="*/ 24395 w 1259895"/>
                  <a:gd name="connsiteY1171" fmla="*/ 355619 h 1388535"/>
                  <a:gd name="connsiteX1172" fmla="*/ 25153 w 1259895"/>
                  <a:gd name="connsiteY1172" fmla="*/ 358498 h 1388535"/>
                  <a:gd name="connsiteX1173" fmla="*/ 25153 w 1259895"/>
                  <a:gd name="connsiteY1173" fmla="*/ 361680 h 1388535"/>
                  <a:gd name="connsiteX1174" fmla="*/ 24395 w 1259895"/>
                  <a:gd name="connsiteY1174" fmla="*/ 366225 h 1388535"/>
                  <a:gd name="connsiteX1175" fmla="*/ 24395 w 1259895"/>
                  <a:gd name="connsiteY1175" fmla="*/ 369104 h 1388535"/>
                  <a:gd name="connsiteX1176" fmla="*/ 24092 w 1259895"/>
                  <a:gd name="connsiteY1176" fmla="*/ 373044 h 1388535"/>
                  <a:gd name="connsiteX1177" fmla="*/ 18486 w 1259895"/>
                  <a:gd name="connsiteY1177" fmla="*/ 382135 h 1388535"/>
                  <a:gd name="connsiteX1178" fmla="*/ 16819 w 1259895"/>
                  <a:gd name="connsiteY1178" fmla="*/ 386075 h 1388535"/>
                  <a:gd name="connsiteX1179" fmla="*/ 15000 w 1259895"/>
                  <a:gd name="connsiteY1179" fmla="*/ 393651 h 1388535"/>
                  <a:gd name="connsiteX1180" fmla="*/ 14698 w 1259895"/>
                  <a:gd name="connsiteY1180" fmla="*/ 397136 h 1388535"/>
                  <a:gd name="connsiteX1181" fmla="*/ 14849 w 1259895"/>
                  <a:gd name="connsiteY1181" fmla="*/ 402439 h 1388535"/>
                  <a:gd name="connsiteX1182" fmla="*/ 17122 w 1259895"/>
                  <a:gd name="connsiteY1182" fmla="*/ 406985 h 1388535"/>
                  <a:gd name="connsiteX1183" fmla="*/ 18940 w 1259895"/>
                  <a:gd name="connsiteY1183" fmla="*/ 409863 h 1388535"/>
                  <a:gd name="connsiteX1184" fmla="*/ 21667 w 1259895"/>
                  <a:gd name="connsiteY1184" fmla="*/ 418046 h 1388535"/>
                  <a:gd name="connsiteX1185" fmla="*/ 25001 w 1259895"/>
                  <a:gd name="connsiteY1185" fmla="*/ 423500 h 1388535"/>
                  <a:gd name="connsiteX1186" fmla="*/ 30455 w 1259895"/>
                  <a:gd name="connsiteY1186" fmla="*/ 434561 h 1388535"/>
                  <a:gd name="connsiteX1187" fmla="*/ 36517 w 1259895"/>
                  <a:gd name="connsiteY1187" fmla="*/ 443501 h 1388535"/>
                  <a:gd name="connsiteX1188" fmla="*/ 36971 w 1259895"/>
                  <a:gd name="connsiteY1188" fmla="*/ 446986 h 1388535"/>
                  <a:gd name="connsiteX1189" fmla="*/ 36213 w 1259895"/>
                  <a:gd name="connsiteY1189" fmla="*/ 451531 h 1388535"/>
                  <a:gd name="connsiteX1190" fmla="*/ 36517 w 1259895"/>
                  <a:gd name="connsiteY1190" fmla="*/ 456229 h 1388535"/>
                  <a:gd name="connsiteX1191" fmla="*/ 35456 w 1259895"/>
                  <a:gd name="connsiteY1191" fmla="*/ 457592 h 1388535"/>
                  <a:gd name="connsiteX1192" fmla="*/ 33183 w 1259895"/>
                  <a:gd name="connsiteY1192" fmla="*/ 459259 h 1388535"/>
                  <a:gd name="connsiteX1193" fmla="*/ 30455 w 1259895"/>
                  <a:gd name="connsiteY1193" fmla="*/ 457138 h 1388535"/>
                  <a:gd name="connsiteX1194" fmla="*/ 29092 w 1259895"/>
                  <a:gd name="connsiteY1194" fmla="*/ 455319 h 1388535"/>
                  <a:gd name="connsiteX1195" fmla="*/ 27425 w 1259895"/>
                  <a:gd name="connsiteY1195" fmla="*/ 448653 h 1388535"/>
                  <a:gd name="connsiteX1196" fmla="*/ 26667 w 1259895"/>
                  <a:gd name="connsiteY1196" fmla="*/ 448198 h 1388535"/>
                  <a:gd name="connsiteX1197" fmla="*/ 25455 w 1259895"/>
                  <a:gd name="connsiteY1197" fmla="*/ 451077 h 1388535"/>
                  <a:gd name="connsiteX1198" fmla="*/ 24243 w 1259895"/>
                  <a:gd name="connsiteY1198" fmla="*/ 452289 h 1388535"/>
                  <a:gd name="connsiteX1199" fmla="*/ 23031 w 1259895"/>
                  <a:gd name="connsiteY1199" fmla="*/ 451380 h 1388535"/>
                  <a:gd name="connsiteX1200" fmla="*/ 22122 w 1259895"/>
                  <a:gd name="connsiteY1200" fmla="*/ 450319 h 1388535"/>
                  <a:gd name="connsiteX1201" fmla="*/ 21970 w 1259895"/>
                  <a:gd name="connsiteY1201" fmla="*/ 449107 h 1388535"/>
                  <a:gd name="connsiteX1202" fmla="*/ 22425 w 1259895"/>
                  <a:gd name="connsiteY1202" fmla="*/ 447743 h 1388535"/>
                  <a:gd name="connsiteX1203" fmla="*/ 22879 w 1259895"/>
                  <a:gd name="connsiteY1203" fmla="*/ 442743 h 1388535"/>
                  <a:gd name="connsiteX1204" fmla="*/ 20304 w 1259895"/>
                  <a:gd name="connsiteY1204" fmla="*/ 439865 h 1388535"/>
                  <a:gd name="connsiteX1205" fmla="*/ 18031 w 1259895"/>
                  <a:gd name="connsiteY1205" fmla="*/ 436834 h 1388535"/>
                  <a:gd name="connsiteX1206" fmla="*/ 15607 w 1259895"/>
                  <a:gd name="connsiteY1206" fmla="*/ 436077 h 1388535"/>
                  <a:gd name="connsiteX1207" fmla="*/ 14091 w 1259895"/>
                  <a:gd name="connsiteY1207" fmla="*/ 437440 h 1388535"/>
                  <a:gd name="connsiteX1208" fmla="*/ 14091 w 1259895"/>
                  <a:gd name="connsiteY1208" fmla="*/ 439410 h 1388535"/>
                  <a:gd name="connsiteX1209" fmla="*/ 17273 w 1259895"/>
                  <a:gd name="connsiteY1209" fmla="*/ 444865 h 1388535"/>
                  <a:gd name="connsiteX1210" fmla="*/ 19395 w 1259895"/>
                  <a:gd name="connsiteY1210" fmla="*/ 450622 h 1388535"/>
                  <a:gd name="connsiteX1211" fmla="*/ 22576 w 1259895"/>
                  <a:gd name="connsiteY1211" fmla="*/ 454259 h 1388535"/>
                  <a:gd name="connsiteX1212" fmla="*/ 24546 w 1259895"/>
                  <a:gd name="connsiteY1212" fmla="*/ 455168 h 1388535"/>
                  <a:gd name="connsiteX1213" fmla="*/ 26667 w 1259895"/>
                  <a:gd name="connsiteY1213" fmla="*/ 457441 h 1388535"/>
                  <a:gd name="connsiteX1214" fmla="*/ 26213 w 1259895"/>
                  <a:gd name="connsiteY1214" fmla="*/ 462290 h 1388535"/>
                  <a:gd name="connsiteX1215" fmla="*/ 24698 w 1259895"/>
                  <a:gd name="connsiteY1215" fmla="*/ 464108 h 1388535"/>
                  <a:gd name="connsiteX1216" fmla="*/ 23486 w 1259895"/>
                  <a:gd name="connsiteY1216" fmla="*/ 465017 h 1388535"/>
                  <a:gd name="connsiteX1217" fmla="*/ 19395 w 1259895"/>
                  <a:gd name="connsiteY1217" fmla="*/ 463956 h 1388535"/>
                  <a:gd name="connsiteX1218" fmla="*/ 18486 w 1259895"/>
                  <a:gd name="connsiteY1218" fmla="*/ 460471 h 1388535"/>
                  <a:gd name="connsiteX1219" fmla="*/ 15152 w 1259895"/>
                  <a:gd name="connsiteY1219" fmla="*/ 453501 h 1388535"/>
                  <a:gd name="connsiteX1220" fmla="*/ 14091 w 1259895"/>
                  <a:gd name="connsiteY1220" fmla="*/ 450774 h 1388535"/>
                  <a:gd name="connsiteX1221" fmla="*/ 13182 w 1259895"/>
                  <a:gd name="connsiteY1221" fmla="*/ 450016 h 1388535"/>
                  <a:gd name="connsiteX1222" fmla="*/ 12879 w 1259895"/>
                  <a:gd name="connsiteY1222" fmla="*/ 451380 h 1388535"/>
                  <a:gd name="connsiteX1223" fmla="*/ 12879 w 1259895"/>
                  <a:gd name="connsiteY1223" fmla="*/ 453804 h 1388535"/>
                  <a:gd name="connsiteX1224" fmla="*/ 12273 w 1259895"/>
                  <a:gd name="connsiteY1224" fmla="*/ 454865 h 1388535"/>
                  <a:gd name="connsiteX1225" fmla="*/ 11667 w 1259895"/>
                  <a:gd name="connsiteY1225" fmla="*/ 454713 h 1388535"/>
                  <a:gd name="connsiteX1226" fmla="*/ 10455 w 1259895"/>
                  <a:gd name="connsiteY1226" fmla="*/ 453501 h 1388535"/>
                  <a:gd name="connsiteX1227" fmla="*/ 9243 w 1259895"/>
                  <a:gd name="connsiteY1227" fmla="*/ 452895 h 1388535"/>
                  <a:gd name="connsiteX1228" fmla="*/ 8485 w 1259895"/>
                  <a:gd name="connsiteY1228" fmla="*/ 453198 h 1388535"/>
                  <a:gd name="connsiteX1229" fmla="*/ 9697 w 1259895"/>
                  <a:gd name="connsiteY1229" fmla="*/ 454865 h 1388535"/>
                  <a:gd name="connsiteX1230" fmla="*/ 12425 w 1259895"/>
                  <a:gd name="connsiteY1230" fmla="*/ 460017 h 1388535"/>
                  <a:gd name="connsiteX1231" fmla="*/ 22728 w 1259895"/>
                  <a:gd name="connsiteY1231" fmla="*/ 472593 h 1388535"/>
                  <a:gd name="connsiteX1232" fmla="*/ 31516 w 1259895"/>
                  <a:gd name="connsiteY1232" fmla="*/ 487290 h 1388535"/>
                  <a:gd name="connsiteX1233" fmla="*/ 33486 w 1259895"/>
                  <a:gd name="connsiteY1233" fmla="*/ 493048 h 1388535"/>
                  <a:gd name="connsiteX1234" fmla="*/ 34395 w 1259895"/>
                  <a:gd name="connsiteY1234" fmla="*/ 505776 h 1388535"/>
                  <a:gd name="connsiteX1235" fmla="*/ 35304 w 1259895"/>
                  <a:gd name="connsiteY1235" fmla="*/ 508806 h 1388535"/>
                  <a:gd name="connsiteX1236" fmla="*/ 40456 w 1259895"/>
                  <a:gd name="connsiteY1236" fmla="*/ 515170 h 1388535"/>
                  <a:gd name="connsiteX1237" fmla="*/ 45456 w 1259895"/>
                  <a:gd name="connsiteY1237" fmla="*/ 522443 h 1388535"/>
                  <a:gd name="connsiteX1238" fmla="*/ 46972 w 1259895"/>
                  <a:gd name="connsiteY1238" fmla="*/ 526080 h 1388535"/>
                  <a:gd name="connsiteX1239" fmla="*/ 46972 w 1259895"/>
                  <a:gd name="connsiteY1239" fmla="*/ 529262 h 1388535"/>
                  <a:gd name="connsiteX1240" fmla="*/ 48032 w 1259895"/>
                  <a:gd name="connsiteY1240" fmla="*/ 532292 h 1388535"/>
                  <a:gd name="connsiteX1241" fmla="*/ 54244 w 1259895"/>
                  <a:gd name="connsiteY1241" fmla="*/ 540323 h 1388535"/>
                  <a:gd name="connsiteX1242" fmla="*/ 56971 w 1259895"/>
                  <a:gd name="connsiteY1242" fmla="*/ 548959 h 1388535"/>
                  <a:gd name="connsiteX1243" fmla="*/ 57275 w 1259895"/>
                  <a:gd name="connsiteY1243" fmla="*/ 552141 h 1388535"/>
                  <a:gd name="connsiteX1244" fmla="*/ 56517 w 1259895"/>
                  <a:gd name="connsiteY1244" fmla="*/ 557596 h 1388535"/>
                  <a:gd name="connsiteX1245" fmla="*/ 57275 w 1259895"/>
                  <a:gd name="connsiteY1245" fmla="*/ 567142 h 1388535"/>
                  <a:gd name="connsiteX1246" fmla="*/ 58032 w 1259895"/>
                  <a:gd name="connsiteY1246" fmla="*/ 572294 h 1388535"/>
                  <a:gd name="connsiteX1247" fmla="*/ 60305 w 1259895"/>
                  <a:gd name="connsiteY1247" fmla="*/ 582597 h 1388535"/>
                  <a:gd name="connsiteX1248" fmla="*/ 63033 w 1259895"/>
                  <a:gd name="connsiteY1248" fmla="*/ 590021 h 1388535"/>
                  <a:gd name="connsiteX1249" fmla="*/ 66214 w 1259895"/>
                  <a:gd name="connsiteY1249" fmla="*/ 594567 h 1388535"/>
                  <a:gd name="connsiteX1250" fmla="*/ 70609 w 1259895"/>
                  <a:gd name="connsiteY1250" fmla="*/ 604871 h 1388535"/>
                  <a:gd name="connsiteX1251" fmla="*/ 77276 w 1259895"/>
                  <a:gd name="connsiteY1251" fmla="*/ 616689 h 1388535"/>
                  <a:gd name="connsiteX1252" fmla="*/ 78336 w 1259895"/>
                  <a:gd name="connsiteY1252" fmla="*/ 622598 h 1388535"/>
                  <a:gd name="connsiteX1253" fmla="*/ 78033 w 1259895"/>
                  <a:gd name="connsiteY1253" fmla="*/ 638054 h 1388535"/>
                  <a:gd name="connsiteX1254" fmla="*/ 77578 w 1259895"/>
                  <a:gd name="connsiteY1254" fmla="*/ 643054 h 1388535"/>
                  <a:gd name="connsiteX1255" fmla="*/ 76063 w 1259895"/>
                  <a:gd name="connsiteY1255" fmla="*/ 643963 h 1388535"/>
                  <a:gd name="connsiteX1256" fmla="*/ 75154 w 1259895"/>
                  <a:gd name="connsiteY1256" fmla="*/ 646084 h 1388535"/>
                  <a:gd name="connsiteX1257" fmla="*/ 76518 w 1259895"/>
                  <a:gd name="connsiteY1257" fmla="*/ 656236 h 1388535"/>
                  <a:gd name="connsiteX1258" fmla="*/ 76821 w 1259895"/>
                  <a:gd name="connsiteY1258" fmla="*/ 661994 h 1388535"/>
                  <a:gd name="connsiteX1259" fmla="*/ 74700 w 1259895"/>
                  <a:gd name="connsiteY1259" fmla="*/ 667449 h 1388535"/>
                  <a:gd name="connsiteX1260" fmla="*/ 72275 w 1259895"/>
                  <a:gd name="connsiteY1260" fmla="*/ 672297 h 1388535"/>
                  <a:gd name="connsiteX1261" fmla="*/ 68033 w 1259895"/>
                  <a:gd name="connsiteY1261" fmla="*/ 675630 h 1388535"/>
                  <a:gd name="connsiteX1262" fmla="*/ 63184 w 1259895"/>
                  <a:gd name="connsiteY1262" fmla="*/ 675782 h 1388535"/>
                  <a:gd name="connsiteX1263" fmla="*/ 60911 w 1259895"/>
                  <a:gd name="connsiteY1263" fmla="*/ 673812 h 1388535"/>
                  <a:gd name="connsiteX1264" fmla="*/ 58032 w 1259895"/>
                  <a:gd name="connsiteY1264" fmla="*/ 671842 h 1388535"/>
                  <a:gd name="connsiteX1265" fmla="*/ 57578 w 1259895"/>
                  <a:gd name="connsiteY1265" fmla="*/ 680631 h 1388535"/>
                  <a:gd name="connsiteX1266" fmla="*/ 57578 w 1259895"/>
                  <a:gd name="connsiteY1266" fmla="*/ 688207 h 1388535"/>
                  <a:gd name="connsiteX1267" fmla="*/ 58487 w 1259895"/>
                  <a:gd name="connsiteY1267" fmla="*/ 691086 h 1388535"/>
                  <a:gd name="connsiteX1268" fmla="*/ 58638 w 1259895"/>
                  <a:gd name="connsiteY1268" fmla="*/ 694419 h 1388535"/>
                  <a:gd name="connsiteX1269" fmla="*/ 61972 w 1259895"/>
                  <a:gd name="connsiteY1269" fmla="*/ 696995 h 1388535"/>
                  <a:gd name="connsiteX1270" fmla="*/ 63790 w 1259895"/>
                  <a:gd name="connsiteY1270" fmla="*/ 695935 h 1388535"/>
                  <a:gd name="connsiteX1271" fmla="*/ 66063 w 1259895"/>
                  <a:gd name="connsiteY1271" fmla="*/ 695783 h 1388535"/>
                  <a:gd name="connsiteX1272" fmla="*/ 73942 w 1259895"/>
                  <a:gd name="connsiteY1272" fmla="*/ 699571 h 1388535"/>
                  <a:gd name="connsiteX1273" fmla="*/ 78336 w 1259895"/>
                  <a:gd name="connsiteY1273" fmla="*/ 702601 h 1388535"/>
                  <a:gd name="connsiteX1274" fmla="*/ 85457 w 1259895"/>
                  <a:gd name="connsiteY1274" fmla="*/ 710935 h 1388535"/>
                  <a:gd name="connsiteX1275" fmla="*/ 91821 w 1259895"/>
                  <a:gd name="connsiteY1275" fmla="*/ 713056 h 1388535"/>
                  <a:gd name="connsiteX1276" fmla="*/ 100004 w 1259895"/>
                  <a:gd name="connsiteY1276" fmla="*/ 716844 h 1388535"/>
                  <a:gd name="connsiteX1277" fmla="*/ 109550 w 1259895"/>
                  <a:gd name="connsiteY1277" fmla="*/ 718057 h 1388535"/>
                  <a:gd name="connsiteX1278" fmla="*/ 117126 w 1259895"/>
                  <a:gd name="connsiteY1278" fmla="*/ 718208 h 1388535"/>
                  <a:gd name="connsiteX1279" fmla="*/ 129096 w 1259895"/>
                  <a:gd name="connsiteY1279" fmla="*/ 720178 h 1388535"/>
                  <a:gd name="connsiteX1280" fmla="*/ 131671 w 1259895"/>
                  <a:gd name="connsiteY1280" fmla="*/ 719420 h 1388535"/>
                  <a:gd name="connsiteX1281" fmla="*/ 136823 w 1259895"/>
                  <a:gd name="connsiteY1281" fmla="*/ 718814 h 1388535"/>
                  <a:gd name="connsiteX1282" fmla="*/ 140763 w 1259895"/>
                  <a:gd name="connsiteY1282" fmla="*/ 717450 h 1388535"/>
                  <a:gd name="connsiteX1283" fmla="*/ 144248 w 1259895"/>
                  <a:gd name="connsiteY1283" fmla="*/ 716693 h 1388535"/>
                  <a:gd name="connsiteX1284" fmla="*/ 154703 w 1259895"/>
                  <a:gd name="connsiteY1284" fmla="*/ 708965 h 1388535"/>
                  <a:gd name="connsiteX1285" fmla="*/ 165006 w 1259895"/>
                  <a:gd name="connsiteY1285" fmla="*/ 701086 h 1388535"/>
                  <a:gd name="connsiteX1286" fmla="*/ 170158 w 1259895"/>
                  <a:gd name="connsiteY1286" fmla="*/ 700480 h 1388535"/>
                  <a:gd name="connsiteX1287" fmla="*/ 174703 w 1259895"/>
                  <a:gd name="connsiteY1287" fmla="*/ 700328 h 1388535"/>
                  <a:gd name="connsiteX1288" fmla="*/ 180310 w 1259895"/>
                  <a:gd name="connsiteY1288" fmla="*/ 697601 h 1388535"/>
                  <a:gd name="connsiteX1289" fmla="*/ 185310 w 1259895"/>
                  <a:gd name="connsiteY1289" fmla="*/ 689419 h 1388535"/>
                  <a:gd name="connsiteX1290" fmla="*/ 187886 w 1259895"/>
                  <a:gd name="connsiteY1290" fmla="*/ 687601 h 1388535"/>
                  <a:gd name="connsiteX1291" fmla="*/ 191370 w 1259895"/>
                  <a:gd name="connsiteY1291" fmla="*/ 685480 h 1388535"/>
                  <a:gd name="connsiteX1292" fmla="*/ 201068 w 1259895"/>
                  <a:gd name="connsiteY1292" fmla="*/ 684267 h 1388535"/>
                  <a:gd name="connsiteX1293" fmla="*/ 206826 w 1259895"/>
                  <a:gd name="connsiteY1293" fmla="*/ 685176 h 1388535"/>
                  <a:gd name="connsiteX1294" fmla="*/ 209856 w 1259895"/>
                  <a:gd name="connsiteY1294" fmla="*/ 683813 h 1388535"/>
                  <a:gd name="connsiteX1295" fmla="*/ 217584 w 1259895"/>
                  <a:gd name="connsiteY1295" fmla="*/ 682297 h 1388535"/>
                  <a:gd name="connsiteX1296" fmla="*/ 233797 w 1259895"/>
                  <a:gd name="connsiteY1296" fmla="*/ 680934 h 1388535"/>
                  <a:gd name="connsiteX1297" fmla="*/ 242736 w 1259895"/>
                  <a:gd name="connsiteY1297" fmla="*/ 681995 h 1388535"/>
                  <a:gd name="connsiteX1298" fmla="*/ 248646 w 1259895"/>
                  <a:gd name="connsiteY1298" fmla="*/ 681843 h 1388535"/>
                  <a:gd name="connsiteX1299" fmla="*/ 251827 w 1259895"/>
                  <a:gd name="connsiteY1299" fmla="*/ 682449 h 1388535"/>
                  <a:gd name="connsiteX1300" fmla="*/ 254252 w 1259895"/>
                  <a:gd name="connsiteY1300" fmla="*/ 686085 h 1388535"/>
                  <a:gd name="connsiteX1301" fmla="*/ 271374 w 1259895"/>
                  <a:gd name="connsiteY1301" fmla="*/ 683055 h 1388535"/>
                  <a:gd name="connsiteX1302" fmla="*/ 276223 w 1259895"/>
                  <a:gd name="connsiteY1302" fmla="*/ 682904 h 1388535"/>
                  <a:gd name="connsiteX1303" fmla="*/ 279253 w 1259895"/>
                  <a:gd name="connsiteY1303" fmla="*/ 683358 h 1388535"/>
                  <a:gd name="connsiteX1304" fmla="*/ 283041 w 1259895"/>
                  <a:gd name="connsiteY1304" fmla="*/ 686085 h 1388535"/>
                  <a:gd name="connsiteX1305" fmla="*/ 287283 w 1259895"/>
                  <a:gd name="connsiteY1305" fmla="*/ 683510 h 1388535"/>
                  <a:gd name="connsiteX1306" fmla="*/ 291223 w 1259895"/>
                  <a:gd name="connsiteY1306" fmla="*/ 683813 h 1388535"/>
                  <a:gd name="connsiteX1307" fmla="*/ 295163 w 1259895"/>
                  <a:gd name="connsiteY1307" fmla="*/ 681388 h 1388535"/>
                  <a:gd name="connsiteX1308" fmla="*/ 301071 w 1259895"/>
                  <a:gd name="connsiteY1308" fmla="*/ 674116 h 1388535"/>
                  <a:gd name="connsiteX1309" fmla="*/ 303799 w 1259895"/>
                  <a:gd name="connsiteY1309" fmla="*/ 669570 h 1388535"/>
                  <a:gd name="connsiteX1310" fmla="*/ 308193 w 1259895"/>
                  <a:gd name="connsiteY1310" fmla="*/ 659873 h 1388535"/>
                  <a:gd name="connsiteX1311" fmla="*/ 311375 w 1259895"/>
                  <a:gd name="connsiteY1311" fmla="*/ 656387 h 1388535"/>
                  <a:gd name="connsiteX1312" fmla="*/ 314860 w 1259895"/>
                  <a:gd name="connsiteY1312" fmla="*/ 654721 h 1388535"/>
                  <a:gd name="connsiteX1313" fmla="*/ 318952 w 1259895"/>
                  <a:gd name="connsiteY1313" fmla="*/ 654115 h 1388535"/>
                  <a:gd name="connsiteX1314" fmla="*/ 325315 w 1259895"/>
                  <a:gd name="connsiteY1314" fmla="*/ 652297 h 1388535"/>
                  <a:gd name="connsiteX1315" fmla="*/ 339255 w 1259895"/>
                  <a:gd name="connsiteY1315" fmla="*/ 644114 h 1388535"/>
                  <a:gd name="connsiteX1316" fmla="*/ 344709 w 1259895"/>
                  <a:gd name="connsiteY1316" fmla="*/ 642296 h 1388535"/>
                  <a:gd name="connsiteX1317" fmla="*/ 347588 w 1259895"/>
                  <a:gd name="connsiteY1317" fmla="*/ 640781 h 1388535"/>
                  <a:gd name="connsiteX1318" fmla="*/ 357134 w 1259895"/>
                  <a:gd name="connsiteY1318" fmla="*/ 634417 h 1388535"/>
                  <a:gd name="connsiteX1319" fmla="*/ 363195 w 1259895"/>
                  <a:gd name="connsiteY1319" fmla="*/ 633205 h 1388535"/>
                  <a:gd name="connsiteX1320" fmla="*/ 380771 w 1259895"/>
                  <a:gd name="connsiteY1320" fmla="*/ 634871 h 1388535"/>
                  <a:gd name="connsiteX1321" fmla="*/ 389106 w 1259895"/>
                  <a:gd name="connsiteY1321" fmla="*/ 634417 h 1388535"/>
                  <a:gd name="connsiteX1322" fmla="*/ 395621 w 1259895"/>
                  <a:gd name="connsiteY1322" fmla="*/ 633357 h 1388535"/>
                  <a:gd name="connsiteX1323" fmla="*/ 405469 w 1259895"/>
                  <a:gd name="connsiteY1323" fmla="*/ 629871 h 1388535"/>
                  <a:gd name="connsiteX1324" fmla="*/ 416076 w 1259895"/>
                  <a:gd name="connsiteY1324" fmla="*/ 627295 h 1388535"/>
                  <a:gd name="connsiteX1325" fmla="*/ 429106 w 1259895"/>
                  <a:gd name="connsiteY1325" fmla="*/ 621841 h 1388535"/>
                  <a:gd name="connsiteX1326" fmla="*/ 440016 w 1259895"/>
                  <a:gd name="connsiteY1326" fmla="*/ 616235 h 1388535"/>
                  <a:gd name="connsiteX1327" fmla="*/ 446683 w 1259895"/>
                  <a:gd name="connsiteY1327" fmla="*/ 615022 h 1388535"/>
                  <a:gd name="connsiteX1328" fmla="*/ 457138 w 1259895"/>
                  <a:gd name="connsiteY1328" fmla="*/ 613962 h 1388535"/>
                  <a:gd name="connsiteX1329" fmla="*/ 472442 w 1259895"/>
                  <a:gd name="connsiteY1329" fmla="*/ 612447 h 1388535"/>
                  <a:gd name="connsiteX1330" fmla="*/ 490321 w 1259895"/>
                  <a:gd name="connsiteY1330" fmla="*/ 613204 h 1388535"/>
                  <a:gd name="connsiteX1331" fmla="*/ 494867 w 1259895"/>
                  <a:gd name="connsiteY1331" fmla="*/ 611992 h 1388535"/>
                  <a:gd name="connsiteX1332" fmla="*/ 497139 w 1259895"/>
                  <a:gd name="connsiteY1332" fmla="*/ 610931 h 1388535"/>
                  <a:gd name="connsiteX1333" fmla="*/ 500321 w 1259895"/>
                  <a:gd name="connsiteY1333" fmla="*/ 609871 h 1388535"/>
                  <a:gd name="connsiteX1334" fmla="*/ 504261 w 1259895"/>
                  <a:gd name="connsiteY1334" fmla="*/ 610628 h 1388535"/>
                  <a:gd name="connsiteX1335" fmla="*/ 507292 w 1259895"/>
                  <a:gd name="connsiteY1335" fmla="*/ 611386 h 1388535"/>
                  <a:gd name="connsiteX1336" fmla="*/ 516231 w 1259895"/>
                  <a:gd name="connsiteY1336" fmla="*/ 615780 h 1388535"/>
                  <a:gd name="connsiteX1337" fmla="*/ 529717 w 1259895"/>
                  <a:gd name="connsiteY1337" fmla="*/ 625174 h 1388535"/>
                  <a:gd name="connsiteX1338" fmla="*/ 532747 w 1259895"/>
                  <a:gd name="connsiteY1338" fmla="*/ 625629 h 1388535"/>
                  <a:gd name="connsiteX1339" fmla="*/ 541686 w 1259895"/>
                  <a:gd name="connsiteY1339" fmla="*/ 623507 h 1388535"/>
                  <a:gd name="connsiteX1340" fmla="*/ 544717 w 1259895"/>
                  <a:gd name="connsiteY1340" fmla="*/ 623659 h 1388535"/>
                  <a:gd name="connsiteX1341" fmla="*/ 557142 w 1259895"/>
                  <a:gd name="connsiteY1341" fmla="*/ 630478 h 1388535"/>
                  <a:gd name="connsiteX1342" fmla="*/ 562294 w 1259895"/>
                  <a:gd name="connsiteY1342" fmla="*/ 630629 h 1388535"/>
                  <a:gd name="connsiteX1343" fmla="*/ 566384 w 1259895"/>
                  <a:gd name="connsiteY1343" fmla="*/ 630478 h 1388535"/>
                  <a:gd name="connsiteX1344" fmla="*/ 569567 w 1259895"/>
                  <a:gd name="connsiteY1344" fmla="*/ 631235 h 1388535"/>
                  <a:gd name="connsiteX1345" fmla="*/ 572900 w 1259895"/>
                  <a:gd name="connsiteY1345" fmla="*/ 633053 h 1388535"/>
                  <a:gd name="connsiteX1346" fmla="*/ 576839 w 1259895"/>
                  <a:gd name="connsiteY1346" fmla="*/ 637447 h 1388535"/>
                  <a:gd name="connsiteX1347" fmla="*/ 585173 w 1259895"/>
                  <a:gd name="connsiteY1347" fmla="*/ 641538 h 1388535"/>
                  <a:gd name="connsiteX1348" fmla="*/ 585628 w 1259895"/>
                  <a:gd name="connsiteY1348" fmla="*/ 644872 h 1388535"/>
                  <a:gd name="connsiteX1349" fmla="*/ 585022 w 1259895"/>
                  <a:gd name="connsiteY1349" fmla="*/ 646993 h 1388535"/>
                  <a:gd name="connsiteX1350" fmla="*/ 583204 w 1259895"/>
                  <a:gd name="connsiteY1350" fmla="*/ 647145 h 1388535"/>
                  <a:gd name="connsiteX1351" fmla="*/ 581688 w 1259895"/>
                  <a:gd name="connsiteY1351" fmla="*/ 647599 h 1388535"/>
                  <a:gd name="connsiteX1352" fmla="*/ 583658 w 1259895"/>
                  <a:gd name="connsiteY1352" fmla="*/ 654569 h 1388535"/>
                  <a:gd name="connsiteX1353" fmla="*/ 587143 w 1259895"/>
                  <a:gd name="connsiteY1353" fmla="*/ 660176 h 1388535"/>
                  <a:gd name="connsiteX1354" fmla="*/ 595477 w 1259895"/>
                  <a:gd name="connsiteY1354" fmla="*/ 660933 h 1388535"/>
                  <a:gd name="connsiteX1355" fmla="*/ 598507 w 1259895"/>
                  <a:gd name="connsiteY1355" fmla="*/ 662903 h 1388535"/>
                  <a:gd name="connsiteX1356" fmla="*/ 600476 w 1259895"/>
                  <a:gd name="connsiteY1356" fmla="*/ 665175 h 1388535"/>
                  <a:gd name="connsiteX1357" fmla="*/ 601992 w 1259895"/>
                  <a:gd name="connsiteY1357" fmla="*/ 668661 h 1388535"/>
                  <a:gd name="connsiteX1358" fmla="*/ 603204 w 1259895"/>
                  <a:gd name="connsiteY1358" fmla="*/ 674267 h 1388535"/>
                  <a:gd name="connsiteX1359" fmla="*/ 607447 w 1259895"/>
                  <a:gd name="connsiteY1359" fmla="*/ 678964 h 1388535"/>
                  <a:gd name="connsiteX1360" fmla="*/ 611386 w 1259895"/>
                  <a:gd name="connsiteY1360" fmla="*/ 682904 h 1388535"/>
                  <a:gd name="connsiteX1361" fmla="*/ 612296 w 1259895"/>
                  <a:gd name="connsiteY1361" fmla="*/ 684571 h 1388535"/>
                  <a:gd name="connsiteX1362" fmla="*/ 614114 w 1259895"/>
                  <a:gd name="connsiteY1362" fmla="*/ 690177 h 1388535"/>
                  <a:gd name="connsiteX1363" fmla="*/ 614871 w 1259895"/>
                  <a:gd name="connsiteY1363" fmla="*/ 691843 h 1388535"/>
                  <a:gd name="connsiteX1364" fmla="*/ 616387 w 1259895"/>
                  <a:gd name="connsiteY1364" fmla="*/ 697298 h 1388535"/>
                  <a:gd name="connsiteX1365" fmla="*/ 618659 w 1259895"/>
                  <a:gd name="connsiteY1365" fmla="*/ 703662 h 1388535"/>
                  <a:gd name="connsiteX1366" fmla="*/ 618053 w 1259895"/>
                  <a:gd name="connsiteY1366" fmla="*/ 704268 h 1388535"/>
                  <a:gd name="connsiteX1367" fmla="*/ 616689 w 1259895"/>
                  <a:gd name="connsiteY1367" fmla="*/ 704116 h 1388535"/>
                  <a:gd name="connsiteX1368" fmla="*/ 614265 w 1259895"/>
                  <a:gd name="connsiteY1368" fmla="*/ 702450 h 1388535"/>
                  <a:gd name="connsiteX1369" fmla="*/ 612144 w 1259895"/>
                  <a:gd name="connsiteY1369" fmla="*/ 700632 h 1388535"/>
                  <a:gd name="connsiteX1370" fmla="*/ 611083 w 1259895"/>
                  <a:gd name="connsiteY1370" fmla="*/ 700935 h 1388535"/>
                  <a:gd name="connsiteX1371" fmla="*/ 609871 w 1259895"/>
                  <a:gd name="connsiteY1371" fmla="*/ 702147 h 1388535"/>
                  <a:gd name="connsiteX1372" fmla="*/ 609720 w 1259895"/>
                  <a:gd name="connsiteY1372" fmla="*/ 703662 h 1388535"/>
                  <a:gd name="connsiteX1373" fmla="*/ 611538 w 1259895"/>
                  <a:gd name="connsiteY1373" fmla="*/ 703207 h 1388535"/>
                  <a:gd name="connsiteX1374" fmla="*/ 612599 w 1259895"/>
                  <a:gd name="connsiteY1374" fmla="*/ 703359 h 1388535"/>
                  <a:gd name="connsiteX1375" fmla="*/ 615174 w 1259895"/>
                  <a:gd name="connsiteY1375" fmla="*/ 705329 h 1388535"/>
                  <a:gd name="connsiteX1376" fmla="*/ 617598 w 1259895"/>
                  <a:gd name="connsiteY1376" fmla="*/ 707602 h 1388535"/>
                  <a:gd name="connsiteX1377" fmla="*/ 619417 w 1259895"/>
                  <a:gd name="connsiteY1377" fmla="*/ 708965 h 1388535"/>
                  <a:gd name="connsiteX1378" fmla="*/ 623963 w 1259895"/>
                  <a:gd name="connsiteY1378" fmla="*/ 714571 h 1388535"/>
                  <a:gd name="connsiteX1379" fmla="*/ 625781 w 1259895"/>
                  <a:gd name="connsiteY1379" fmla="*/ 713359 h 1388535"/>
                  <a:gd name="connsiteX1380" fmla="*/ 627902 w 1259895"/>
                  <a:gd name="connsiteY1380" fmla="*/ 712299 h 1388535"/>
                  <a:gd name="connsiteX1381" fmla="*/ 631387 w 1259895"/>
                  <a:gd name="connsiteY1381" fmla="*/ 715329 h 1388535"/>
                  <a:gd name="connsiteX1382" fmla="*/ 632750 w 1259895"/>
                  <a:gd name="connsiteY1382" fmla="*/ 715935 h 1388535"/>
                  <a:gd name="connsiteX1383" fmla="*/ 633508 w 1259895"/>
                  <a:gd name="connsiteY1383" fmla="*/ 714723 h 1388535"/>
                  <a:gd name="connsiteX1384" fmla="*/ 632145 w 1259895"/>
                  <a:gd name="connsiteY1384" fmla="*/ 709268 h 1388535"/>
                  <a:gd name="connsiteX1385" fmla="*/ 630781 w 1259895"/>
                  <a:gd name="connsiteY1385" fmla="*/ 707904 h 1388535"/>
                  <a:gd name="connsiteX1386" fmla="*/ 630478 w 1259895"/>
                  <a:gd name="connsiteY1386" fmla="*/ 705935 h 1388535"/>
                  <a:gd name="connsiteX1387" fmla="*/ 632145 w 1259895"/>
                  <a:gd name="connsiteY1387" fmla="*/ 704571 h 1388535"/>
                  <a:gd name="connsiteX1388" fmla="*/ 632902 w 1259895"/>
                  <a:gd name="connsiteY1388" fmla="*/ 702904 h 1388535"/>
                  <a:gd name="connsiteX1389" fmla="*/ 636842 w 1259895"/>
                  <a:gd name="connsiteY1389" fmla="*/ 698813 h 1388535"/>
                  <a:gd name="connsiteX1390" fmla="*/ 645327 w 1259895"/>
                  <a:gd name="connsiteY1390" fmla="*/ 686540 h 1388535"/>
                  <a:gd name="connsiteX1391" fmla="*/ 647903 w 1259895"/>
                  <a:gd name="connsiteY1391" fmla="*/ 685176 h 1388535"/>
                  <a:gd name="connsiteX1392" fmla="*/ 650933 w 1259895"/>
                  <a:gd name="connsiteY1392" fmla="*/ 682449 h 1388535"/>
                  <a:gd name="connsiteX1393" fmla="*/ 655024 w 1259895"/>
                  <a:gd name="connsiteY1393" fmla="*/ 680328 h 1388535"/>
                  <a:gd name="connsiteX1394" fmla="*/ 659267 w 1259895"/>
                  <a:gd name="connsiteY1394" fmla="*/ 677904 h 1388535"/>
                  <a:gd name="connsiteX1395" fmla="*/ 661994 w 1259895"/>
                  <a:gd name="connsiteY1395" fmla="*/ 676995 h 1388535"/>
                  <a:gd name="connsiteX1396" fmla="*/ 664570 w 1259895"/>
                  <a:gd name="connsiteY1396" fmla="*/ 676540 h 1388535"/>
                  <a:gd name="connsiteX1397" fmla="*/ 667449 w 1259895"/>
                  <a:gd name="connsiteY1397" fmla="*/ 674267 h 1388535"/>
                  <a:gd name="connsiteX1398" fmla="*/ 670631 w 1259895"/>
                  <a:gd name="connsiteY1398" fmla="*/ 668206 h 1388535"/>
                  <a:gd name="connsiteX1399" fmla="*/ 673055 w 1259895"/>
                  <a:gd name="connsiteY1399" fmla="*/ 660933 h 1388535"/>
                  <a:gd name="connsiteX1400" fmla="*/ 675631 w 1259895"/>
                  <a:gd name="connsiteY1400" fmla="*/ 657751 h 1388535"/>
                  <a:gd name="connsiteX1401" fmla="*/ 679571 w 1259895"/>
                  <a:gd name="connsiteY1401" fmla="*/ 654418 h 1388535"/>
                  <a:gd name="connsiteX1402" fmla="*/ 682601 w 1259895"/>
                  <a:gd name="connsiteY1402" fmla="*/ 649721 h 1388535"/>
                  <a:gd name="connsiteX1403" fmla="*/ 682298 w 1259895"/>
                  <a:gd name="connsiteY1403" fmla="*/ 646084 h 1388535"/>
                  <a:gd name="connsiteX1404" fmla="*/ 682298 w 1259895"/>
                  <a:gd name="connsiteY1404" fmla="*/ 642296 h 1388535"/>
                  <a:gd name="connsiteX1405" fmla="*/ 684420 w 1259895"/>
                  <a:gd name="connsiteY1405" fmla="*/ 645175 h 1388535"/>
                  <a:gd name="connsiteX1406" fmla="*/ 685783 w 1259895"/>
                  <a:gd name="connsiteY1406" fmla="*/ 648054 h 1388535"/>
                  <a:gd name="connsiteX1407" fmla="*/ 687904 w 1259895"/>
                  <a:gd name="connsiteY1407" fmla="*/ 657903 h 1388535"/>
                  <a:gd name="connsiteX1408" fmla="*/ 686086 w 1259895"/>
                  <a:gd name="connsiteY1408" fmla="*/ 660024 h 1388535"/>
                  <a:gd name="connsiteX1409" fmla="*/ 684116 w 1259895"/>
                  <a:gd name="connsiteY1409" fmla="*/ 661085 h 1388535"/>
                  <a:gd name="connsiteX1410" fmla="*/ 684420 w 1259895"/>
                  <a:gd name="connsiteY1410" fmla="*/ 664570 h 1388535"/>
                  <a:gd name="connsiteX1411" fmla="*/ 685783 w 1259895"/>
                  <a:gd name="connsiteY1411" fmla="*/ 669115 h 1388535"/>
                  <a:gd name="connsiteX1412" fmla="*/ 686238 w 1259895"/>
                  <a:gd name="connsiteY1412" fmla="*/ 672752 h 1388535"/>
                  <a:gd name="connsiteX1413" fmla="*/ 682146 w 1259895"/>
                  <a:gd name="connsiteY1413" fmla="*/ 676540 h 1388535"/>
                  <a:gd name="connsiteX1414" fmla="*/ 678510 w 1259895"/>
                  <a:gd name="connsiteY1414" fmla="*/ 681237 h 1388535"/>
                  <a:gd name="connsiteX1415" fmla="*/ 674267 w 1259895"/>
                  <a:gd name="connsiteY1415" fmla="*/ 690480 h 1388535"/>
                  <a:gd name="connsiteX1416" fmla="*/ 673965 w 1259895"/>
                  <a:gd name="connsiteY1416" fmla="*/ 693207 h 1388535"/>
                  <a:gd name="connsiteX1417" fmla="*/ 673358 w 1259895"/>
                  <a:gd name="connsiteY1417" fmla="*/ 697147 h 1388535"/>
                  <a:gd name="connsiteX1418" fmla="*/ 673661 w 1259895"/>
                  <a:gd name="connsiteY1418" fmla="*/ 700632 h 1388535"/>
                  <a:gd name="connsiteX1419" fmla="*/ 674267 w 1259895"/>
                  <a:gd name="connsiteY1419" fmla="*/ 703965 h 1388535"/>
                  <a:gd name="connsiteX1420" fmla="*/ 673207 w 1259895"/>
                  <a:gd name="connsiteY1420" fmla="*/ 709117 h 1388535"/>
                  <a:gd name="connsiteX1421" fmla="*/ 671540 w 1259895"/>
                  <a:gd name="connsiteY1421" fmla="*/ 713662 h 1388535"/>
                  <a:gd name="connsiteX1422" fmla="*/ 669267 w 1259895"/>
                  <a:gd name="connsiteY1422" fmla="*/ 713814 h 1388535"/>
                  <a:gd name="connsiteX1423" fmla="*/ 667752 w 1259895"/>
                  <a:gd name="connsiteY1423" fmla="*/ 713662 h 1388535"/>
                  <a:gd name="connsiteX1424" fmla="*/ 664419 w 1259895"/>
                  <a:gd name="connsiteY1424" fmla="*/ 714117 h 1388535"/>
                  <a:gd name="connsiteX1425" fmla="*/ 661236 w 1259895"/>
                  <a:gd name="connsiteY1425" fmla="*/ 713814 h 1388535"/>
                  <a:gd name="connsiteX1426" fmla="*/ 657600 w 1259895"/>
                  <a:gd name="connsiteY1426" fmla="*/ 723814 h 1388535"/>
                  <a:gd name="connsiteX1427" fmla="*/ 659873 w 1259895"/>
                  <a:gd name="connsiteY1427" fmla="*/ 724269 h 1388535"/>
                  <a:gd name="connsiteX1428" fmla="*/ 661540 w 1259895"/>
                  <a:gd name="connsiteY1428" fmla="*/ 723663 h 1388535"/>
                  <a:gd name="connsiteX1429" fmla="*/ 664721 w 1259895"/>
                  <a:gd name="connsiteY1429" fmla="*/ 723663 h 1388535"/>
                  <a:gd name="connsiteX1430" fmla="*/ 668207 w 1259895"/>
                  <a:gd name="connsiteY1430" fmla="*/ 721845 h 1388535"/>
                  <a:gd name="connsiteX1431" fmla="*/ 673358 w 1259895"/>
                  <a:gd name="connsiteY1431" fmla="*/ 720329 h 1388535"/>
                  <a:gd name="connsiteX1432" fmla="*/ 676237 w 1259895"/>
                  <a:gd name="connsiteY1432" fmla="*/ 720784 h 1388535"/>
                  <a:gd name="connsiteX1433" fmla="*/ 679722 w 1259895"/>
                  <a:gd name="connsiteY1433" fmla="*/ 720632 h 1388535"/>
                  <a:gd name="connsiteX1434" fmla="*/ 684722 w 1259895"/>
                  <a:gd name="connsiteY1434" fmla="*/ 707753 h 1388535"/>
                  <a:gd name="connsiteX1435" fmla="*/ 685934 w 1259895"/>
                  <a:gd name="connsiteY1435" fmla="*/ 699419 h 1388535"/>
                  <a:gd name="connsiteX1436" fmla="*/ 688510 w 1259895"/>
                  <a:gd name="connsiteY1436" fmla="*/ 695631 h 1388535"/>
                  <a:gd name="connsiteX1437" fmla="*/ 689268 w 1259895"/>
                  <a:gd name="connsiteY1437" fmla="*/ 693056 h 1388535"/>
                  <a:gd name="connsiteX1438" fmla="*/ 690631 w 1259895"/>
                  <a:gd name="connsiteY1438" fmla="*/ 690631 h 1388535"/>
                  <a:gd name="connsiteX1439" fmla="*/ 693359 w 1259895"/>
                  <a:gd name="connsiteY1439" fmla="*/ 694874 h 1388535"/>
                  <a:gd name="connsiteX1440" fmla="*/ 695480 w 1259895"/>
                  <a:gd name="connsiteY1440" fmla="*/ 698965 h 1388535"/>
                  <a:gd name="connsiteX1441" fmla="*/ 700177 w 1259895"/>
                  <a:gd name="connsiteY1441" fmla="*/ 705632 h 1388535"/>
                  <a:gd name="connsiteX1442" fmla="*/ 701692 w 1259895"/>
                  <a:gd name="connsiteY1442" fmla="*/ 708965 h 1388535"/>
                  <a:gd name="connsiteX1443" fmla="*/ 702299 w 1259895"/>
                  <a:gd name="connsiteY1443" fmla="*/ 716996 h 1388535"/>
                  <a:gd name="connsiteX1444" fmla="*/ 699268 w 1259895"/>
                  <a:gd name="connsiteY1444" fmla="*/ 726239 h 1388535"/>
                  <a:gd name="connsiteX1445" fmla="*/ 697450 w 1259895"/>
                  <a:gd name="connsiteY1445" fmla="*/ 728966 h 1388535"/>
                  <a:gd name="connsiteX1446" fmla="*/ 695177 w 1259895"/>
                  <a:gd name="connsiteY1446" fmla="*/ 731239 h 1388535"/>
                  <a:gd name="connsiteX1447" fmla="*/ 693359 w 1259895"/>
                  <a:gd name="connsiteY1447" fmla="*/ 735178 h 1388535"/>
                  <a:gd name="connsiteX1448" fmla="*/ 698965 w 1259895"/>
                  <a:gd name="connsiteY1448" fmla="*/ 736239 h 1388535"/>
                  <a:gd name="connsiteX1449" fmla="*/ 702601 w 1259895"/>
                  <a:gd name="connsiteY1449" fmla="*/ 736239 h 1388535"/>
                  <a:gd name="connsiteX1450" fmla="*/ 708359 w 1259895"/>
                  <a:gd name="connsiteY1450" fmla="*/ 733360 h 1388535"/>
                  <a:gd name="connsiteX1451" fmla="*/ 709420 w 1259895"/>
                  <a:gd name="connsiteY1451" fmla="*/ 732905 h 1388535"/>
                  <a:gd name="connsiteX1452" fmla="*/ 712299 w 1259895"/>
                  <a:gd name="connsiteY1452" fmla="*/ 732905 h 1388535"/>
                  <a:gd name="connsiteX1453" fmla="*/ 713360 w 1259895"/>
                  <a:gd name="connsiteY1453" fmla="*/ 731390 h 1388535"/>
                  <a:gd name="connsiteX1454" fmla="*/ 716087 w 1259895"/>
                  <a:gd name="connsiteY1454" fmla="*/ 730027 h 1388535"/>
                  <a:gd name="connsiteX1455" fmla="*/ 718208 w 1259895"/>
                  <a:gd name="connsiteY1455" fmla="*/ 728360 h 1388535"/>
                  <a:gd name="connsiteX1456" fmla="*/ 720936 w 1259895"/>
                  <a:gd name="connsiteY1456" fmla="*/ 726996 h 1388535"/>
                  <a:gd name="connsiteX1457" fmla="*/ 723360 w 1259895"/>
                  <a:gd name="connsiteY1457" fmla="*/ 727905 h 1388535"/>
                  <a:gd name="connsiteX1458" fmla="*/ 723966 w 1259895"/>
                  <a:gd name="connsiteY1458" fmla="*/ 728663 h 1388535"/>
                  <a:gd name="connsiteX1459" fmla="*/ 724572 w 1259895"/>
                  <a:gd name="connsiteY1459" fmla="*/ 729572 h 1388535"/>
                  <a:gd name="connsiteX1460" fmla="*/ 723663 w 1259895"/>
                  <a:gd name="connsiteY1460" fmla="*/ 731390 h 1388535"/>
                  <a:gd name="connsiteX1461" fmla="*/ 723663 w 1259895"/>
                  <a:gd name="connsiteY1461" fmla="*/ 735330 h 1388535"/>
                  <a:gd name="connsiteX1462" fmla="*/ 721996 w 1259895"/>
                  <a:gd name="connsiteY1462" fmla="*/ 734875 h 1388535"/>
                  <a:gd name="connsiteX1463" fmla="*/ 720632 w 1259895"/>
                  <a:gd name="connsiteY1463" fmla="*/ 732602 h 1388535"/>
                  <a:gd name="connsiteX1464" fmla="*/ 718814 w 1259895"/>
                  <a:gd name="connsiteY1464" fmla="*/ 733209 h 1388535"/>
                  <a:gd name="connsiteX1465" fmla="*/ 717603 w 1259895"/>
                  <a:gd name="connsiteY1465" fmla="*/ 734875 h 1388535"/>
                  <a:gd name="connsiteX1466" fmla="*/ 714875 w 1259895"/>
                  <a:gd name="connsiteY1466" fmla="*/ 734269 h 1388535"/>
                  <a:gd name="connsiteX1467" fmla="*/ 715329 w 1259895"/>
                  <a:gd name="connsiteY1467" fmla="*/ 735481 h 1388535"/>
                  <a:gd name="connsiteX1468" fmla="*/ 716844 w 1259895"/>
                  <a:gd name="connsiteY1468" fmla="*/ 737754 h 1388535"/>
                  <a:gd name="connsiteX1469" fmla="*/ 722451 w 1259895"/>
                  <a:gd name="connsiteY1469" fmla="*/ 741997 h 1388535"/>
                  <a:gd name="connsiteX1470" fmla="*/ 728512 w 1259895"/>
                  <a:gd name="connsiteY1470" fmla="*/ 747754 h 1388535"/>
                  <a:gd name="connsiteX1471" fmla="*/ 730785 w 1259895"/>
                  <a:gd name="connsiteY1471" fmla="*/ 750482 h 1388535"/>
                  <a:gd name="connsiteX1472" fmla="*/ 735784 w 1259895"/>
                  <a:gd name="connsiteY1472" fmla="*/ 759118 h 1388535"/>
                  <a:gd name="connsiteX1473" fmla="*/ 739270 w 1259895"/>
                  <a:gd name="connsiteY1473" fmla="*/ 768210 h 1388535"/>
                  <a:gd name="connsiteX1474" fmla="*/ 738967 w 1259895"/>
                  <a:gd name="connsiteY1474" fmla="*/ 770937 h 1388535"/>
                  <a:gd name="connsiteX1475" fmla="*/ 737300 w 1259895"/>
                  <a:gd name="connsiteY1475" fmla="*/ 775786 h 1388535"/>
                  <a:gd name="connsiteX1476" fmla="*/ 736088 w 1259895"/>
                  <a:gd name="connsiteY1476" fmla="*/ 780635 h 1388535"/>
                  <a:gd name="connsiteX1477" fmla="*/ 736239 w 1259895"/>
                  <a:gd name="connsiteY1477" fmla="*/ 783210 h 1388535"/>
                  <a:gd name="connsiteX1478" fmla="*/ 737452 w 1259895"/>
                  <a:gd name="connsiteY1478" fmla="*/ 786544 h 1388535"/>
                  <a:gd name="connsiteX1479" fmla="*/ 739876 w 1259895"/>
                  <a:gd name="connsiteY1479" fmla="*/ 789877 h 1388535"/>
                  <a:gd name="connsiteX1480" fmla="*/ 749118 w 1259895"/>
                  <a:gd name="connsiteY1480" fmla="*/ 798968 h 1388535"/>
                  <a:gd name="connsiteX1481" fmla="*/ 753967 w 1259895"/>
                  <a:gd name="connsiteY1481" fmla="*/ 806999 h 1388535"/>
                  <a:gd name="connsiteX1482" fmla="*/ 760482 w 1259895"/>
                  <a:gd name="connsiteY1482" fmla="*/ 811090 h 1388535"/>
                  <a:gd name="connsiteX1483" fmla="*/ 770937 w 1259895"/>
                  <a:gd name="connsiteY1483" fmla="*/ 812605 h 1388535"/>
                  <a:gd name="connsiteX1484" fmla="*/ 776544 w 1259895"/>
                  <a:gd name="connsiteY1484" fmla="*/ 815636 h 1388535"/>
                  <a:gd name="connsiteX1485" fmla="*/ 782301 w 1259895"/>
                  <a:gd name="connsiteY1485" fmla="*/ 821697 h 1388535"/>
                  <a:gd name="connsiteX1486" fmla="*/ 784120 w 1259895"/>
                  <a:gd name="connsiteY1486" fmla="*/ 822151 h 1388535"/>
                  <a:gd name="connsiteX1487" fmla="*/ 786848 w 1259895"/>
                  <a:gd name="connsiteY1487" fmla="*/ 822454 h 1388535"/>
                  <a:gd name="connsiteX1488" fmla="*/ 790484 w 1259895"/>
                  <a:gd name="connsiteY1488" fmla="*/ 818818 h 1388535"/>
                  <a:gd name="connsiteX1489" fmla="*/ 795939 w 1259895"/>
                  <a:gd name="connsiteY1489" fmla="*/ 819272 h 1388535"/>
                  <a:gd name="connsiteX1490" fmla="*/ 803060 w 1259895"/>
                  <a:gd name="connsiteY1490" fmla="*/ 822909 h 1388535"/>
                  <a:gd name="connsiteX1491" fmla="*/ 807303 w 1259895"/>
                  <a:gd name="connsiteY1491" fmla="*/ 821999 h 1388535"/>
                  <a:gd name="connsiteX1492" fmla="*/ 810333 w 1259895"/>
                  <a:gd name="connsiteY1492" fmla="*/ 822454 h 1388535"/>
                  <a:gd name="connsiteX1493" fmla="*/ 814575 w 1259895"/>
                  <a:gd name="connsiteY1493" fmla="*/ 824576 h 1388535"/>
                  <a:gd name="connsiteX1494" fmla="*/ 820788 w 1259895"/>
                  <a:gd name="connsiteY1494" fmla="*/ 828666 h 1388535"/>
                  <a:gd name="connsiteX1495" fmla="*/ 827455 w 1259895"/>
                  <a:gd name="connsiteY1495" fmla="*/ 830788 h 1388535"/>
                  <a:gd name="connsiteX1496" fmla="*/ 831394 w 1259895"/>
                  <a:gd name="connsiteY1496" fmla="*/ 833818 h 1388535"/>
                  <a:gd name="connsiteX1497" fmla="*/ 834425 w 1259895"/>
                  <a:gd name="connsiteY1497" fmla="*/ 834273 h 1388535"/>
                  <a:gd name="connsiteX1498" fmla="*/ 839880 w 1259895"/>
                  <a:gd name="connsiteY1498" fmla="*/ 836242 h 1388535"/>
                  <a:gd name="connsiteX1499" fmla="*/ 843970 w 1259895"/>
                  <a:gd name="connsiteY1499" fmla="*/ 834576 h 1388535"/>
                  <a:gd name="connsiteX1500" fmla="*/ 847456 w 1259895"/>
                  <a:gd name="connsiteY1500" fmla="*/ 832454 h 1388535"/>
                  <a:gd name="connsiteX1501" fmla="*/ 855334 w 1259895"/>
                  <a:gd name="connsiteY1501" fmla="*/ 824878 h 1388535"/>
                  <a:gd name="connsiteX1502" fmla="*/ 861547 w 1259895"/>
                  <a:gd name="connsiteY1502" fmla="*/ 821242 h 1388535"/>
                  <a:gd name="connsiteX1503" fmla="*/ 864880 w 1259895"/>
                  <a:gd name="connsiteY1503" fmla="*/ 819878 h 1388535"/>
                  <a:gd name="connsiteX1504" fmla="*/ 867456 w 1259895"/>
                  <a:gd name="connsiteY1504" fmla="*/ 819272 h 1388535"/>
                  <a:gd name="connsiteX1505" fmla="*/ 870790 w 1259895"/>
                  <a:gd name="connsiteY1505" fmla="*/ 816999 h 1388535"/>
                  <a:gd name="connsiteX1506" fmla="*/ 868668 w 1259895"/>
                  <a:gd name="connsiteY1506" fmla="*/ 815333 h 1388535"/>
                  <a:gd name="connsiteX1507" fmla="*/ 866699 w 1259895"/>
                  <a:gd name="connsiteY1507" fmla="*/ 815636 h 1388535"/>
                  <a:gd name="connsiteX1508" fmla="*/ 863366 w 1259895"/>
                  <a:gd name="connsiteY1508" fmla="*/ 814727 h 1388535"/>
                  <a:gd name="connsiteX1509" fmla="*/ 865335 w 1259895"/>
                  <a:gd name="connsiteY1509" fmla="*/ 813666 h 1388535"/>
                  <a:gd name="connsiteX1510" fmla="*/ 867305 w 1259895"/>
                  <a:gd name="connsiteY1510" fmla="*/ 812908 h 1388535"/>
                  <a:gd name="connsiteX1511" fmla="*/ 877002 w 1259895"/>
                  <a:gd name="connsiteY1511" fmla="*/ 807302 h 1388535"/>
                  <a:gd name="connsiteX1512" fmla="*/ 879578 w 1259895"/>
                  <a:gd name="connsiteY1512" fmla="*/ 808969 h 1388535"/>
                  <a:gd name="connsiteX1513" fmla="*/ 881397 w 1259895"/>
                  <a:gd name="connsiteY1513" fmla="*/ 810787 h 1388535"/>
                  <a:gd name="connsiteX1514" fmla="*/ 883366 w 1259895"/>
                  <a:gd name="connsiteY1514" fmla="*/ 813363 h 1388535"/>
                  <a:gd name="connsiteX1515" fmla="*/ 881851 w 1259895"/>
                  <a:gd name="connsiteY1515" fmla="*/ 816999 h 1388535"/>
                  <a:gd name="connsiteX1516" fmla="*/ 880638 w 1259895"/>
                  <a:gd name="connsiteY1516" fmla="*/ 818666 h 1388535"/>
                  <a:gd name="connsiteX1517" fmla="*/ 877609 w 1259895"/>
                  <a:gd name="connsiteY1517" fmla="*/ 821394 h 1388535"/>
                  <a:gd name="connsiteX1518" fmla="*/ 873972 w 1259895"/>
                  <a:gd name="connsiteY1518" fmla="*/ 821545 h 1388535"/>
                  <a:gd name="connsiteX1519" fmla="*/ 872305 w 1259895"/>
                  <a:gd name="connsiteY1519" fmla="*/ 821394 h 1388535"/>
                  <a:gd name="connsiteX1520" fmla="*/ 875790 w 1259895"/>
                  <a:gd name="connsiteY1520" fmla="*/ 824424 h 1388535"/>
                  <a:gd name="connsiteX1521" fmla="*/ 878820 w 1259895"/>
                  <a:gd name="connsiteY1521" fmla="*/ 826545 h 1388535"/>
                  <a:gd name="connsiteX1522" fmla="*/ 885185 w 1259895"/>
                  <a:gd name="connsiteY1522" fmla="*/ 822757 h 1388535"/>
                  <a:gd name="connsiteX1523" fmla="*/ 886699 w 1259895"/>
                  <a:gd name="connsiteY1523" fmla="*/ 819878 h 1388535"/>
                  <a:gd name="connsiteX1524" fmla="*/ 887912 w 1259895"/>
                  <a:gd name="connsiteY1524" fmla="*/ 818211 h 1388535"/>
                  <a:gd name="connsiteX1525" fmla="*/ 889882 w 1259895"/>
                  <a:gd name="connsiteY1525" fmla="*/ 817909 h 1388535"/>
                  <a:gd name="connsiteX1526" fmla="*/ 892912 w 1259895"/>
                  <a:gd name="connsiteY1526" fmla="*/ 818515 h 1388535"/>
                  <a:gd name="connsiteX1527" fmla="*/ 894124 w 1259895"/>
                  <a:gd name="connsiteY1527" fmla="*/ 820636 h 1388535"/>
                  <a:gd name="connsiteX1528" fmla="*/ 894730 w 1259895"/>
                  <a:gd name="connsiteY1528" fmla="*/ 823212 h 1388535"/>
                  <a:gd name="connsiteX1529" fmla="*/ 892609 w 1259895"/>
                  <a:gd name="connsiteY1529" fmla="*/ 823969 h 1388535"/>
                  <a:gd name="connsiteX1530" fmla="*/ 891548 w 1259895"/>
                  <a:gd name="connsiteY1530" fmla="*/ 825939 h 1388535"/>
                  <a:gd name="connsiteX1531" fmla="*/ 890791 w 1259895"/>
                  <a:gd name="connsiteY1531" fmla="*/ 827757 h 1388535"/>
                  <a:gd name="connsiteX1532" fmla="*/ 894579 w 1259895"/>
                  <a:gd name="connsiteY1532" fmla="*/ 830182 h 1388535"/>
                  <a:gd name="connsiteX1533" fmla="*/ 896549 w 1259895"/>
                  <a:gd name="connsiteY1533" fmla="*/ 831697 h 1388535"/>
                  <a:gd name="connsiteX1534" fmla="*/ 898821 w 1259895"/>
                  <a:gd name="connsiteY1534" fmla="*/ 831697 h 1388535"/>
                  <a:gd name="connsiteX1535" fmla="*/ 901548 w 1259895"/>
                  <a:gd name="connsiteY1535" fmla="*/ 832000 h 1388535"/>
                  <a:gd name="connsiteX1536" fmla="*/ 903518 w 1259895"/>
                  <a:gd name="connsiteY1536" fmla="*/ 835485 h 1388535"/>
                  <a:gd name="connsiteX1537" fmla="*/ 905488 w 1259895"/>
                  <a:gd name="connsiteY1537" fmla="*/ 839424 h 1388535"/>
                  <a:gd name="connsiteX1538" fmla="*/ 907761 w 1259895"/>
                  <a:gd name="connsiteY1538" fmla="*/ 838364 h 1388535"/>
                  <a:gd name="connsiteX1539" fmla="*/ 909124 w 1259895"/>
                  <a:gd name="connsiteY1539" fmla="*/ 837303 h 1388535"/>
                  <a:gd name="connsiteX1540" fmla="*/ 911549 w 1259895"/>
                  <a:gd name="connsiteY1540" fmla="*/ 838364 h 1388535"/>
                  <a:gd name="connsiteX1541" fmla="*/ 914125 w 1259895"/>
                  <a:gd name="connsiteY1541" fmla="*/ 841546 h 1388535"/>
                  <a:gd name="connsiteX1542" fmla="*/ 916246 w 1259895"/>
                  <a:gd name="connsiteY1542" fmla="*/ 845182 h 1388535"/>
                  <a:gd name="connsiteX1543" fmla="*/ 916398 w 1259895"/>
                  <a:gd name="connsiteY1543" fmla="*/ 846697 h 1388535"/>
                  <a:gd name="connsiteX1544" fmla="*/ 918064 w 1259895"/>
                  <a:gd name="connsiteY1544" fmla="*/ 847455 h 1388535"/>
                  <a:gd name="connsiteX1545" fmla="*/ 919579 w 1259895"/>
                  <a:gd name="connsiteY1545" fmla="*/ 846395 h 1388535"/>
                  <a:gd name="connsiteX1546" fmla="*/ 920337 w 1259895"/>
                  <a:gd name="connsiteY1546" fmla="*/ 844879 h 1388535"/>
                  <a:gd name="connsiteX1547" fmla="*/ 920337 w 1259895"/>
                  <a:gd name="connsiteY1547" fmla="*/ 842152 h 1388535"/>
                  <a:gd name="connsiteX1548" fmla="*/ 919882 w 1259895"/>
                  <a:gd name="connsiteY1548" fmla="*/ 837758 h 1388535"/>
                  <a:gd name="connsiteX1549" fmla="*/ 918822 w 1259895"/>
                  <a:gd name="connsiteY1549" fmla="*/ 837152 h 1388535"/>
                  <a:gd name="connsiteX1550" fmla="*/ 916398 w 1259895"/>
                  <a:gd name="connsiteY1550" fmla="*/ 839576 h 1388535"/>
                  <a:gd name="connsiteX1551" fmla="*/ 915034 w 1259895"/>
                  <a:gd name="connsiteY1551" fmla="*/ 837909 h 1388535"/>
                  <a:gd name="connsiteX1552" fmla="*/ 913064 w 1259895"/>
                  <a:gd name="connsiteY1552" fmla="*/ 836091 h 1388535"/>
                  <a:gd name="connsiteX1553" fmla="*/ 913064 w 1259895"/>
                  <a:gd name="connsiteY1553" fmla="*/ 834273 h 1388535"/>
                  <a:gd name="connsiteX1554" fmla="*/ 915185 w 1259895"/>
                  <a:gd name="connsiteY1554" fmla="*/ 833364 h 1388535"/>
                  <a:gd name="connsiteX1555" fmla="*/ 916852 w 1259895"/>
                  <a:gd name="connsiteY1555" fmla="*/ 833818 h 1388535"/>
                  <a:gd name="connsiteX1556" fmla="*/ 918973 w 1259895"/>
                  <a:gd name="connsiteY1556" fmla="*/ 833818 h 1388535"/>
                  <a:gd name="connsiteX1557" fmla="*/ 930489 w 1259895"/>
                  <a:gd name="connsiteY1557" fmla="*/ 832303 h 1388535"/>
                  <a:gd name="connsiteX1558" fmla="*/ 945186 w 1259895"/>
                  <a:gd name="connsiteY1558" fmla="*/ 818211 h 1388535"/>
                  <a:gd name="connsiteX1559" fmla="*/ 951701 w 1259895"/>
                  <a:gd name="connsiteY1559" fmla="*/ 813060 h 1388535"/>
                  <a:gd name="connsiteX1560" fmla="*/ 958368 w 1259895"/>
                  <a:gd name="connsiteY1560" fmla="*/ 809272 h 1388535"/>
                  <a:gd name="connsiteX1561" fmla="*/ 965339 w 1259895"/>
                  <a:gd name="connsiteY1561" fmla="*/ 806847 h 1388535"/>
                  <a:gd name="connsiteX1562" fmla="*/ 968975 w 1259895"/>
                  <a:gd name="connsiteY1562" fmla="*/ 806090 h 1388535"/>
                  <a:gd name="connsiteX1563" fmla="*/ 987613 w 1259895"/>
                  <a:gd name="connsiteY1563" fmla="*/ 804726 h 1388535"/>
                  <a:gd name="connsiteX1564" fmla="*/ 997309 w 1259895"/>
                  <a:gd name="connsiteY1564" fmla="*/ 805181 h 1388535"/>
                  <a:gd name="connsiteX1565" fmla="*/ 1002310 w 1259895"/>
                  <a:gd name="connsiteY1565" fmla="*/ 804272 h 1388535"/>
                  <a:gd name="connsiteX1566" fmla="*/ 1004583 w 1259895"/>
                  <a:gd name="connsiteY1566" fmla="*/ 802908 h 1388535"/>
                  <a:gd name="connsiteX1567" fmla="*/ 1008522 w 1259895"/>
                  <a:gd name="connsiteY1567" fmla="*/ 799271 h 1388535"/>
                  <a:gd name="connsiteX1568" fmla="*/ 1011250 w 1259895"/>
                  <a:gd name="connsiteY1568" fmla="*/ 797150 h 1388535"/>
                  <a:gd name="connsiteX1569" fmla="*/ 1014583 w 1259895"/>
                  <a:gd name="connsiteY1569" fmla="*/ 796544 h 1388535"/>
                  <a:gd name="connsiteX1570" fmla="*/ 1015340 w 1259895"/>
                  <a:gd name="connsiteY1570" fmla="*/ 793817 h 1388535"/>
                  <a:gd name="connsiteX1571" fmla="*/ 1015340 w 1259895"/>
                  <a:gd name="connsiteY1571" fmla="*/ 790938 h 1388535"/>
                  <a:gd name="connsiteX1572" fmla="*/ 1015947 w 1259895"/>
                  <a:gd name="connsiteY1572" fmla="*/ 787907 h 1388535"/>
                  <a:gd name="connsiteX1573" fmla="*/ 1015038 w 1259895"/>
                  <a:gd name="connsiteY1573" fmla="*/ 782301 h 1388535"/>
                  <a:gd name="connsiteX1574" fmla="*/ 1015340 w 1259895"/>
                  <a:gd name="connsiteY1574" fmla="*/ 774877 h 1388535"/>
                  <a:gd name="connsiteX1575" fmla="*/ 1016098 w 1259895"/>
                  <a:gd name="connsiteY1575" fmla="*/ 771089 h 1388535"/>
                  <a:gd name="connsiteX1576" fmla="*/ 1018068 w 1259895"/>
                  <a:gd name="connsiteY1576" fmla="*/ 765634 h 1388535"/>
                  <a:gd name="connsiteX1577" fmla="*/ 1018977 w 1259895"/>
                  <a:gd name="connsiteY1577" fmla="*/ 760028 h 1388535"/>
                  <a:gd name="connsiteX1578" fmla="*/ 1019886 w 1259895"/>
                  <a:gd name="connsiteY1578" fmla="*/ 752149 h 1388535"/>
                  <a:gd name="connsiteX1579" fmla="*/ 1020644 w 1259895"/>
                  <a:gd name="connsiteY1579" fmla="*/ 747452 h 1388535"/>
                  <a:gd name="connsiteX1580" fmla="*/ 1021705 w 1259895"/>
                  <a:gd name="connsiteY1580" fmla="*/ 743209 h 1388535"/>
                  <a:gd name="connsiteX1581" fmla="*/ 1024281 w 1259895"/>
                  <a:gd name="connsiteY1581" fmla="*/ 738512 h 1388535"/>
                  <a:gd name="connsiteX1582" fmla="*/ 1026553 w 1259895"/>
                  <a:gd name="connsiteY1582" fmla="*/ 735481 h 1388535"/>
                  <a:gd name="connsiteX1583" fmla="*/ 1031857 w 1259895"/>
                  <a:gd name="connsiteY1583" fmla="*/ 723966 h 1388535"/>
                  <a:gd name="connsiteX1584" fmla="*/ 1033675 w 1259895"/>
                  <a:gd name="connsiteY1584" fmla="*/ 722905 h 1388535"/>
                  <a:gd name="connsiteX1585" fmla="*/ 1035190 w 1259895"/>
                  <a:gd name="connsiteY1585" fmla="*/ 722905 h 1388535"/>
                  <a:gd name="connsiteX1586" fmla="*/ 1035796 w 1259895"/>
                  <a:gd name="connsiteY1586" fmla="*/ 722147 h 1388535"/>
                  <a:gd name="connsiteX1587" fmla="*/ 1035947 w 1259895"/>
                  <a:gd name="connsiteY1587" fmla="*/ 721541 h 1388535"/>
                  <a:gd name="connsiteX1588" fmla="*/ 1035493 w 1259895"/>
                  <a:gd name="connsiteY1588" fmla="*/ 721087 h 1388535"/>
                  <a:gd name="connsiteX1589" fmla="*/ 1034887 w 1259895"/>
                  <a:gd name="connsiteY1589" fmla="*/ 719723 h 1388535"/>
                  <a:gd name="connsiteX1590" fmla="*/ 1035341 w 1259895"/>
                  <a:gd name="connsiteY1590" fmla="*/ 718663 h 1388535"/>
                  <a:gd name="connsiteX1591" fmla="*/ 1037008 w 1259895"/>
                  <a:gd name="connsiteY1591" fmla="*/ 717602 h 1388535"/>
                  <a:gd name="connsiteX1592" fmla="*/ 1037463 w 1259895"/>
                  <a:gd name="connsiteY1592" fmla="*/ 718057 h 1388535"/>
                  <a:gd name="connsiteX1593" fmla="*/ 1038220 w 1259895"/>
                  <a:gd name="connsiteY1593" fmla="*/ 717753 h 1388535"/>
                  <a:gd name="connsiteX1594" fmla="*/ 1038372 w 1259895"/>
                  <a:gd name="connsiteY1594" fmla="*/ 717147 h 1388535"/>
                  <a:gd name="connsiteX1595" fmla="*/ 1037614 w 1259895"/>
                  <a:gd name="connsiteY1595" fmla="*/ 713965 h 1388535"/>
                  <a:gd name="connsiteX1596" fmla="*/ 1038675 w 1259895"/>
                  <a:gd name="connsiteY1596" fmla="*/ 709571 h 1388535"/>
                  <a:gd name="connsiteX1597" fmla="*/ 1040038 w 1259895"/>
                  <a:gd name="connsiteY1597" fmla="*/ 701844 h 1388535"/>
                  <a:gd name="connsiteX1598" fmla="*/ 1041554 w 1259895"/>
                  <a:gd name="connsiteY1598" fmla="*/ 698359 h 1388535"/>
                  <a:gd name="connsiteX1599" fmla="*/ 1042463 w 1259895"/>
                  <a:gd name="connsiteY1599" fmla="*/ 695631 h 1388535"/>
                  <a:gd name="connsiteX1600" fmla="*/ 1045948 w 1259895"/>
                  <a:gd name="connsiteY1600" fmla="*/ 691540 h 1388535"/>
                  <a:gd name="connsiteX1601" fmla="*/ 1049888 w 1259895"/>
                  <a:gd name="connsiteY1601" fmla="*/ 687449 h 1388535"/>
                  <a:gd name="connsiteX1602" fmla="*/ 1048827 w 1259895"/>
                  <a:gd name="connsiteY1602" fmla="*/ 686994 h 1388535"/>
                  <a:gd name="connsiteX1603" fmla="*/ 1047009 w 1259895"/>
                  <a:gd name="connsiteY1603" fmla="*/ 686692 h 1388535"/>
                  <a:gd name="connsiteX1604" fmla="*/ 1048221 w 1259895"/>
                  <a:gd name="connsiteY1604" fmla="*/ 685783 h 1388535"/>
                  <a:gd name="connsiteX1605" fmla="*/ 1049130 w 1259895"/>
                  <a:gd name="connsiteY1605" fmla="*/ 685480 h 1388535"/>
                  <a:gd name="connsiteX1606" fmla="*/ 1050342 w 1259895"/>
                  <a:gd name="connsiteY1606" fmla="*/ 686085 h 1388535"/>
                  <a:gd name="connsiteX1607" fmla="*/ 1051251 w 1259895"/>
                  <a:gd name="connsiteY1607" fmla="*/ 684267 h 1388535"/>
                  <a:gd name="connsiteX1608" fmla="*/ 1051402 w 1259895"/>
                  <a:gd name="connsiteY1608" fmla="*/ 681388 h 1388535"/>
                  <a:gd name="connsiteX1609" fmla="*/ 1052312 w 1259895"/>
                  <a:gd name="connsiteY1609" fmla="*/ 677297 h 1388535"/>
                  <a:gd name="connsiteX1610" fmla="*/ 1051402 w 1259895"/>
                  <a:gd name="connsiteY1610" fmla="*/ 673661 h 1388535"/>
                  <a:gd name="connsiteX1611" fmla="*/ 1053221 w 1259895"/>
                  <a:gd name="connsiteY1611" fmla="*/ 672600 h 1388535"/>
                  <a:gd name="connsiteX1612" fmla="*/ 1055190 w 1259895"/>
                  <a:gd name="connsiteY1612" fmla="*/ 671842 h 1388535"/>
                  <a:gd name="connsiteX1613" fmla="*/ 1056100 w 1259895"/>
                  <a:gd name="connsiteY1613" fmla="*/ 668054 h 1388535"/>
                  <a:gd name="connsiteX1614" fmla="*/ 1056706 w 1259895"/>
                  <a:gd name="connsiteY1614" fmla="*/ 666540 h 1388535"/>
                  <a:gd name="connsiteX1615" fmla="*/ 1057918 w 1259895"/>
                  <a:gd name="connsiteY1615" fmla="*/ 665175 h 1388535"/>
                  <a:gd name="connsiteX1616" fmla="*/ 1060039 w 1259895"/>
                  <a:gd name="connsiteY1616" fmla="*/ 662145 h 1388535"/>
                  <a:gd name="connsiteX1617" fmla="*/ 1061706 w 1259895"/>
                  <a:gd name="connsiteY1617" fmla="*/ 658964 h 1388535"/>
                  <a:gd name="connsiteX1618" fmla="*/ 1065645 w 1259895"/>
                  <a:gd name="connsiteY1618" fmla="*/ 652902 h 1388535"/>
                  <a:gd name="connsiteX1619" fmla="*/ 1069585 w 1259895"/>
                  <a:gd name="connsiteY1619" fmla="*/ 650478 h 1388535"/>
                  <a:gd name="connsiteX1620" fmla="*/ 1075343 w 1259895"/>
                  <a:gd name="connsiteY1620" fmla="*/ 648509 h 1388535"/>
                  <a:gd name="connsiteX1621" fmla="*/ 1075949 w 1259895"/>
                  <a:gd name="connsiteY1621" fmla="*/ 647448 h 1388535"/>
                  <a:gd name="connsiteX1622" fmla="*/ 1074434 w 1259895"/>
                  <a:gd name="connsiteY1622" fmla="*/ 646842 h 1388535"/>
                  <a:gd name="connsiteX1623" fmla="*/ 1074434 w 1259895"/>
                  <a:gd name="connsiteY1623" fmla="*/ 646235 h 1388535"/>
                  <a:gd name="connsiteX1624" fmla="*/ 1076555 w 1259895"/>
                  <a:gd name="connsiteY1624" fmla="*/ 646235 h 1388535"/>
                  <a:gd name="connsiteX1625" fmla="*/ 1077464 w 1259895"/>
                  <a:gd name="connsiteY1625" fmla="*/ 644114 h 1388535"/>
                  <a:gd name="connsiteX1626" fmla="*/ 1079737 w 1259895"/>
                  <a:gd name="connsiteY1626" fmla="*/ 642599 h 1388535"/>
                  <a:gd name="connsiteX1627" fmla="*/ 1083525 w 1259895"/>
                  <a:gd name="connsiteY1627" fmla="*/ 638963 h 1388535"/>
                  <a:gd name="connsiteX1628" fmla="*/ 1084737 w 1259895"/>
                  <a:gd name="connsiteY1628" fmla="*/ 635629 h 1388535"/>
                  <a:gd name="connsiteX1629" fmla="*/ 1085495 w 1259895"/>
                  <a:gd name="connsiteY1629" fmla="*/ 633053 h 1388535"/>
                  <a:gd name="connsiteX1630" fmla="*/ 1085950 w 1259895"/>
                  <a:gd name="connsiteY1630" fmla="*/ 627144 h 1388535"/>
                  <a:gd name="connsiteX1631" fmla="*/ 1092162 w 1259895"/>
                  <a:gd name="connsiteY1631" fmla="*/ 619265 h 1388535"/>
                  <a:gd name="connsiteX1632" fmla="*/ 1096555 w 1259895"/>
                  <a:gd name="connsiteY1632" fmla="*/ 608659 h 1388535"/>
                  <a:gd name="connsiteX1633" fmla="*/ 1097616 w 1259895"/>
                  <a:gd name="connsiteY1633" fmla="*/ 601840 h 1388535"/>
                  <a:gd name="connsiteX1634" fmla="*/ 1098677 w 1259895"/>
                  <a:gd name="connsiteY1634" fmla="*/ 598204 h 1388535"/>
                  <a:gd name="connsiteX1635" fmla="*/ 1099434 w 1259895"/>
                  <a:gd name="connsiteY1635" fmla="*/ 592749 h 1388535"/>
                  <a:gd name="connsiteX1636" fmla="*/ 1098829 w 1259895"/>
                  <a:gd name="connsiteY1636" fmla="*/ 587142 h 1388535"/>
                  <a:gd name="connsiteX1637" fmla="*/ 1098980 w 1259895"/>
                  <a:gd name="connsiteY1637" fmla="*/ 582445 h 1388535"/>
                  <a:gd name="connsiteX1638" fmla="*/ 1103222 w 1259895"/>
                  <a:gd name="connsiteY1638" fmla="*/ 570475 h 1388535"/>
                  <a:gd name="connsiteX1639" fmla="*/ 1104131 w 1259895"/>
                  <a:gd name="connsiteY1639" fmla="*/ 565475 h 1388535"/>
                  <a:gd name="connsiteX1640" fmla="*/ 1105495 w 1259895"/>
                  <a:gd name="connsiteY1640" fmla="*/ 562293 h 1388535"/>
                  <a:gd name="connsiteX1641" fmla="*/ 1107465 w 1259895"/>
                  <a:gd name="connsiteY1641" fmla="*/ 550475 h 1388535"/>
                  <a:gd name="connsiteX1642" fmla="*/ 1107465 w 1259895"/>
                  <a:gd name="connsiteY1642" fmla="*/ 544414 h 1388535"/>
                  <a:gd name="connsiteX1643" fmla="*/ 1110648 w 1259895"/>
                  <a:gd name="connsiteY1643" fmla="*/ 537292 h 1388535"/>
                  <a:gd name="connsiteX1644" fmla="*/ 1114586 w 1259895"/>
                  <a:gd name="connsiteY1644" fmla="*/ 531535 h 1388535"/>
                  <a:gd name="connsiteX1645" fmla="*/ 1114890 w 1259895"/>
                  <a:gd name="connsiteY1645" fmla="*/ 526231 h 1388535"/>
                  <a:gd name="connsiteX1646" fmla="*/ 1113527 w 1259895"/>
                  <a:gd name="connsiteY1646" fmla="*/ 522140 h 1388535"/>
                  <a:gd name="connsiteX1647" fmla="*/ 1112617 w 1259895"/>
                  <a:gd name="connsiteY1647" fmla="*/ 514564 h 1388535"/>
                  <a:gd name="connsiteX1648" fmla="*/ 968975 w 1259895"/>
                  <a:gd name="connsiteY1648" fmla="*/ 885790 h 1388535"/>
                  <a:gd name="connsiteX1649" fmla="*/ 965490 w 1259895"/>
                  <a:gd name="connsiteY1649" fmla="*/ 887457 h 1388535"/>
                  <a:gd name="connsiteX1650" fmla="*/ 961702 w 1259895"/>
                  <a:gd name="connsiteY1650" fmla="*/ 887457 h 1388535"/>
                  <a:gd name="connsiteX1651" fmla="*/ 960338 w 1259895"/>
                  <a:gd name="connsiteY1651" fmla="*/ 888214 h 1388535"/>
                  <a:gd name="connsiteX1652" fmla="*/ 960642 w 1259895"/>
                  <a:gd name="connsiteY1652" fmla="*/ 888972 h 1388535"/>
                  <a:gd name="connsiteX1653" fmla="*/ 962915 w 1259895"/>
                  <a:gd name="connsiteY1653" fmla="*/ 890487 h 1388535"/>
                  <a:gd name="connsiteX1654" fmla="*/ 965944 w 1259895"/>
                  <a:gd name="connsiteY1654" fmla="*/ 890638 h 1388535"/>
                  <a:gd name="connsiteX1655" fmla="*/ 968823 w 1259895"/>
                  <a:gd name="connsiteY1655" fmla="*/ 889881 h 1388535"/>
                  <a:gd name="connsiteX1656" fmla="*/ 969732 w 1259895"/>
                  <a:gd name="connsiteY1656" fmla="*/ 891851 h 1388535"/>
                  <a:gd name="connsiteX1657" fmla="*/ 971097 w 1259895"/>
                  <a:gd name="connsiteY1657" fmla="*/ 891547 h 1388535"/>
                  <a:gd name="connsiteX1658" fmla="*/ 973066 w 1259895"/>
                  <a:gd name="connsiteY1658" fmla="*/ 889729 h 1388535"/>
                  <a:gd name="connsiteX1659" fmla="*/ 971551 w 1259895"/>
                  <a:gd name="connsiteY1659" fmla="*/ 887608 h 1388535"/>
                  <a:gd name="connsiteX1660" fmla="*/ 968975 w 1259895"/>
                  <a:gd name="connsiteY1660" fmla="*/ 885790 h 1388535"/>
                  <a:gd name="connsiteX1661" fmla="*/ 872002 w 1259895"/>
                  <a:gd name="connsiteY1661" fmla="*/ 892305 h 1388535"/>
                  <a:gd name="connsiteX1662" fmla="*/ 872153 w 1259895"/>
                  <a:gd name="connsiteY1662" fmla="*/ 890184 h 1388535"/>
                  <a:gd name="connsiteX1663" fmla="*/ 872002 w 1259895"/>
                  <a:gd name="connsiteY1663" fmla="*/ 890033 h 1388535"/>
                  <a:gd name="connsiteX1664" fmla="*/ 871093 w 1259895"/>
                  <a:gd name="connsiteY1664" fmla="*/ 891245 h 1388535"/>
                  <a:gd name="connsiteX1665" fmla="*/ 870032 w 1259895"/>
                  <a:gd name="connsiteY1665" fmla="*/ 891699 h 1388535"/>
                  <a:gd name="connsiteX1666" fmla="*/ 871093 w 1259895"/>
                  <a:gd name="connsiteY1666" fmla="*/ 895033 h 1388535"/>
                  <a:gd name="connsiteX1667" fmla="*/ 872002 w 1259895"/>
                  <a:gd name="connsiteY1667" fmla="*/ 892305 h 1388535"/>
                  <a:gd name="connsiteX1668" fmla="*/ 336224 w 1259895"/>
                  <a:gd name="connsiteY1668" fmla="*/ 124853 h 1388535"/>
                  <a:gd name="connsiteX1669" fmla="*/ 336073 w 1259895"/>
                  <a:gd name="connsiteY1669" fmla="*/ 124095 h 1388535"/>
                  <a:gd name="connsiteX1670" fmla="*/ 336224 w 1259895"/>
                  <a:gd name="connsiteY1670" fmla="*/ 121974 h 1388535"/>
                  <a:gd name="connsiteX1671" fmla="*/ 335163 w 1259895"/>
                  <a:gd name="connsiteY1671" fmla="*/ 121519 h 1388535"/>
                  <a:gd name="connsiteX1672" fmla="*/ 333952 w 1259895"/>
                  <a:gd name="connsiteY1672" fmla="*/ 122580 h 1388535"/>
                  <a:gd name="connsiteX1673" fmla="*/ 333195 w 1259895"/>
                  <a:gd name="connsiteY1673" fmla="*/ 125307 h 1388535"/>
                  <a:gd name="connsiteX1674" fmla="*/ 334406 w 1259895"/>
                  <a:gd name="connsiteY1674" fmla="*/ 126671 h 1388535"/>
                  <a:gd name="connsiteX1675" fmla="*/ 336224 w 1259895"/>
                  <a:gd name="connsiteY1675" fmla="*/ 124853 h 1388535"/>
                  <a:gd name="connsiteX1676" fmla="*/ 317739 w 1259895"/>
                  <a:gd name="connsiteY1676" fmla="*/ 148339 h 1388535"/>
                  <a:gd name="connsiteX1677" fmla="*/ 318648 w 1259895"/>
                  <a:gd name="connsiteY1677" fmla="*/ 148642 h 1388535"/>
                  <a:gd name="connsiteX1678" fmla="*/ 319709 w 1259895"/>
                  <a:gd name="connsiteY1678" fmla="*/ 147884 h 1388535"/>
                  <a:gd name="connsiteX1679" fmla="*/ 319861 w 1259895"/>
                  <a:gd name="connsiteY1679" fmla="*/ 146672 h 1388535"/>
                  <a:gd name="connsiteX1680" fmla="*/ 318800 w 1259895"/>
                  <a:gd name="connsiteY1680" fmla="*/ 145460 h 1388535"/>
                  <a:gd name="connsiteX1681" fmla="*/ 318497 w 1259895"/>
                  <a:gd name="connsiteY1681" fmla="*/ 144399 h 1388535"/>
                  <a:gd name="connsiteX1682" fmla="*/ 317587 w 1259895"/>
                  <a:gd name="connsiteY1682" fmla="*/ 144248 h 1388535"/>
                  <a:gd name="connsiteX1683" fmla="*/ 317133 w 1259895"/>
                  <a:gd name="connsiteY1683" fmla="*/ 145005 h 1388535"/>
                  <a:gd name="connsiteX1684" fmla="*/ 316527 w 1259895"/>
                  <a:gd name="connsiteY1684" fmla="*/ 146369 h 1388535"/>
                  <a:gd name="connsiteX1685" fmla="*/ 317587 w 1259895"/>
                  <a:gd name="connsiteY1685" fmla="*/ 147581 h 1388535"/>
                  <a:gd name="connsiteX1686" fmla="*/ 317739 w 1259895"/>
                  <a:gd name="connsiteY1686" fmla="*/ 148339 h 1388535"/>
                  <a:gd name="connsiteX1687" fmla="*/ 67730 w 1259895"/>
                  <a:gd name="connsiteY1687" fmla="*/ 301375 h 1388535"/>
                  <a:gd name="connsiteX1688" fmla="*/ 69245 w 1259895"/>
                  <a:gd name="connsiteY1688" fmla="*/ 299102 h 1388535"/>
                  <a:gd name="connsiteX1689" fmla="*/ 69548 w 1259895"/>
                  <a:gd name="connsiteY1689" fmla="*/ 297132 h 1388535"/>
                  <a:gd name="connsiteX1690" fmla="*/ 68942 w 1259895"/>
                  <a:gd name="connsiteY1690" fmla="*/ 295768 h 1388535"/>
                  <a:gd name="connsiteX1691" fmla="*/ 66821 w 1259895"/>
                  <a:gd name="connsiteY1691" fmla="*/ 298041 h 1388535"/>
                  <a:gd name="connsiteX1692" fmla="*/ 65608 w 1259895"/>
                  <a:gd name="connsiteY1692" fmla="*/ 299859 h 1388535"/>
                  <a:gd name="connsiteX1693" fmla="*/ 65912 w 1259895"/>
                  <a:gd name="connsiteY1693" fmla="*/ 300920 h 1388535"/>
                  <a:gd name="connsiteX1694" fmla="*/ 67730 w 1259895"/>
                  <a:gd name="connsiteY1694" fmla="*/ 301375 h 1388535"/>
                  <a:gd name="connsiteX1695" fmla="*/ 471078 w 1259895"/>
                  <a:gd name="connsiteY1695" fmla="*/ 48638 h 1388535"/>
                  <a:gd name="connsiteX1696" fmla="*/ 476230 w 1259895"/>
                  <a:gd name="connsiteY1696" fmla="*/ 47123 h 1388535"/>
                  <a:gd name="connsiteX1697" fmla="*/ 481230 w 1259895"/>
                  <a:gd name="connsiteY1697" fmla="*/ 48941 h 1388535"/>
                  <a:gd name="connsiteX1698" fmla="*/ 484109 w 1259895"/>
                  <a:gd name="connsiteY1698" fmla="*/ 48487 h 1388535"/>
                  <a:gd name="connsiteX1699" fmla="*/ 483957 w 1259895"/>
                  <a:gd name="connsiteY1699" fmla="*/ 47274 h 1388535"/>
                  <a:gd name="connsiteX1700" fmla="*/ 483351 w 1259895"/>
                  <a:gd name="connsiteY1700" fmla="*/ 46214 h 1388535"/>
                  <a:gd name="connsiteX1701" fmla="*/ 482290 w 1259895"/>
                  <a:gd name="connsiteY1701" fmla="*/ 45305 h 1388535"/>
                  <a:gd name="connsiteX1702" fmla="*/ 480018 w 1259895"/>
                  <a:gd name="connsiteY1702" fmla="*/ 44699 h 1388535"/>
                  <a:gd name="connsiteX1703" fmla="*/ 479260 w 1259895"/>
                  <a:gd name="connsiteY1703" fmla="*/ 42274 h 1388535"/>
                  <a:gd name="connsiteX1704" fmla="*/ 477897 w 1259895"/>
                  <a:gd name="connsiteY1704" fmla="*/ 40001 h 1388535"/>
                  <a:gd name="connsiteX1705" fmla="*/ 477593 w 1259895"/>
                  <a:gd name="connsiteY1705" fmla="*/ 37577 h 1388535"/>
                  <a:gd name="connsiteX1706" fmla="*/ 476533 w 1259895"/>
                  <a:gd name="connsiteY1706" fmla="*/ 35304 h 1388535"/>
                  <a:gd name="connsiteX1707" fmla="*/ 475320 w 1259895"/>
                  <a:gd name="connsiteY1707" fmla="*/ 35304 h 1388535"/>
                  <a:gd name="connsiteX1708" fmla="*/ 474109 w 1259895"/>
                  <a:gd name="connsiteY1708" fmla="*/ 35910 h 1388535"/>
                  <a:gd name="connsiteX1709" fmla="*/ 471381 w 1259895"/>
                  <a:gd name="connsiteY1709" fmla="*/ 39092 h 1388535"/>
                  <a:gd name="connsiteX1710" fmla="*/ 472290 w 1259895"/>
                  <a:gd name="connsiteY1710" fmla="*/ 40911 h 1388535"/>
                  <a:gd name="connsiteX1711" fmla="*/ 472593 w 1259895"/>
                  <a:gd name="connsiteY1711" fmla="*/ 44092 h 1388535"/>
                  <a:gd name="connsiteX1712" fmla="*/ 470926 w 1259895"/>
                  <a:gd name="connsiteY1712" fmla="*/ 45153 h 1388535"/>
                  <a:gd name="connsiteX1713" fmla="*/ 469108 w 1259895"/>
                  <a:gd name="connsiteY1713" fmla="*/ 44699 h 1388535"/>
                  <a:gd name="connsiteX1714" fmla="*/ 468351 w 1259895"/>
                  <a:gd name="connsiteY1714" fmla="*/ 47577 h 1388535"/>
                  <a:gd name="connsiteX1715" fmla="*/ 469260 w 1259895"/>
                  <a:gd name="connsiteY1715" fmla="*/ 48638 h 1388535"/>
                  <a:gd name="connsiteX1716" fmla="*/ 471078 w 1259895"/>
                  <a:gd name="connsiteY1716" fmla="*/ 48638 h 1388535"/>
                  <a:gd name="connsiteX1717" fmla="*/ 853820 w 1259895"/>
                  <a:gd name="connsiteY1717" fmla="*/ 868971 h 1388535"/>
                  <a:gd name="connsiteX1718" fmla="*/ 853062 w 1259895"/>
                  <a:gd name="connsiteY1718" fmla="*/ 864274 h 1388535"/>
                  <a:gd name="connsiteX1719" fmla="*/ 850637 w 1259895"/>
                  <a:gd name="connsiteY1719" fmla="*/ 862456 h 1388535"/>
                  <a:gd name="connsiteX1720" fmla="*/ 849274 w 1259895"/>
                  <a:gd name="connsiteY1720" fmla="*/ 862607 h 1388535"/>
                  <a:gd name="connsiteX1721" fmla="*/ 848971 w 1259895"/>
                  <a:gd name="connsiteY1721" fmla="*/ 865031 h 1388535"/>
                  <a:gd name="connsiteX1722" fmla="*/ 847304 w 1259895"/>
                  <a:gd name="connsiteY1722" fmla="*/ 866395 h 1388535"/>
                  <a:gd name="connsiteX1723" fmla="*/ 846849 w 1259895"/>
                  <a:gd name="connsiteY1723" fmla="*/ 867607 h 1388535"/>
                  <a:gd name="connsiteX1724" fmla="*/ 847001 w 1259895"/>
                  <a:gd name="connsiteY1724" fmla="*/ 870335 h 1388535"/>
                  <a:gd name="connsiteX1725" fmla="*/ 846244 w 1259895"/>
                  <a:gd name="connsiteY1725" fmla="*/ 872911 h 1388535"/>
                  <a:gd name="connsiteX1726" fmla="*/ 847607 w 1259895"/>
                  <a:gd name="connsiteY1726" fmla="*/ 875486 h 1388535"/>
                  <a:gd name="connsiteX1727" fmla="*/ 847304 w 1259895"/>
                  <a:gd name="connsiteY1727" fmla="*/ 878062 h 1388535"/>
                  <a:gd name="connsiteX1728" fmla="*/ 847910 w 1259895"/>
                  <a:gd name="connsiteY1728" fmla="*/ 879880 h 1388535"/>
                  <a:gd name="connsiteX1729" fmla="*/ 848668 w 1259895"/>
                  <a:gd name="connsiteY1729" fmla="*/ 879729 h 1388535"/>
                  <a:gd name="connsiteX1730" fmla="*/ 851546 w 1259895"/>
                  <a:gd name="connsiteY1730" fmla="*/ 878517 h 1388535"/>
                  <a:gd name="connsiteX1731" fmla="*/ 853668 w 1259895"/>
                  <a:gd name="connsiteY1731" fmla="*/ 876699 h 1388535"/>
                  <a:gd name="connsiteX1732" fmla="*/ 854425 w 1259895"/>
                  <a:gd name="connsiteY1732" fmla="*/ 874577 h 1388535"/>
                  <a:gd name="connsiteX1733" fmla="*/ 853516 w 1259895"/>
                  <a:gd name="connsiteY1733" fmla="*/ 872002 h 1388535"/>
                  <a:gd name="connsiteX1734" fmla="*/ 853820 w 1259895"/>
                  <a:gd name="connsiteY1734" fmla="*/ 868971 h 1388535"/>
                  <a:gd name="connsiteX1735" fmla="*/ 942307 w 1259895"/>
                  <a:gd name="connsiteY1735" fmla="*/ 976399 h 1388535"/>
                  <a:gd name="connsiteX1736" fmla="*/ 941550 w 1259895"/>
                  <a:gd name="connsiteY1736" fmla="*/ 977612 h 1388535"/>
                  <a:gd name="connsiteX1737" fmla="*/ 941398 w 1259895"/>
                  <a:gd name="connsiteY1737" fmla="*/ 978672 h 1388535"/>
                  <a:gd name="connsiteX1738" fmla="*/ 940792 w 1259895"/>
                  <a:gd name="connsiteY1738" fmla="*/ 979278 h 1388535"/>
                  <a:gd name="connsiteX1739" fmla="*/ 941853 w 1259895"/>
                  <a:gd name="connsiteY1739" fmla="*/ 980036 h 1388535"/>
                  <a:gd name="connsiteX1740" fmla="*/ 942157 w 1259895"/>
                  <a:gd name="connsiteY1740" fmla="*/ 981702 h 1388535"/>
                  <a:gd name="connsiteX1741" fmla="*/ 942762 w 1259895"/>
                  <a:gd name="connsiteY1741" fmla="*/ 982005 h 1388535"/>
                  <a:gd name="connsiteX1742" fmla="*/ 944429 w 1259895"/>
                  <a:gd name="connsiteY1742" fmla="*/ 982005 h 1388535"/>
                  <a:gd name="connsiteX1743" fmla="*/ 943368 w 1259895"/>
                  <a:gd name="connsiteY1743" fmla="*/ 977914 h 1388535"/>
                  <a:gd name="connsiteX1744" fmla="*/ 942307 w 1259895"/>
                  <a:gd name="connsiteY1744" fmla="*/ 976399 h 1388535"/>
                  <a:gd name="connsiteX1745" fmla="*/ 941247 w 1259895"/>
                  <a:gd name="connsiteY1745" fmla="*/ 983066 h 1388535"/>
                  <a:gd name="connsiteX1746" fmla="*/ 940489 w 1259895"/>
                  <a:gd name="connsiteY1746" fmla="*/ 983066 h 1388535"/>
                  <a:gd name="connsiteX1747" fmla="*/ 939126 w 1259895"/>
                  <a:gd name="connsiteY1747" fmla="*/ 984733 h 1388535"/>
                  <a:gd name="connsiteX1748" fmla="*/ 938671 w 1259895"/>
                  <a:gd name="connsiteY1748" fmla="*/ 986097 h 1388535"/>
                  <a:gd name="connsiteX1749" fmla="*/ 938065 w 1259895"/>
                  <a:gd name="connsiteY1749" fmla="*/ 986399 h 1388535"/>
                  <a:gd name="connsiteX1750" fmla="*/ 937762 w 1259895"/>
                  <a:gd name="connsiteY1750" fmla="*/ 987309 h 1388535"/>
                  <a:gd name="connsiteX1751" fmla="*/ 937156 w 1259895"/>
                  <a:gd name="connsiteY1751" fmla="*/ 988066 h 1388535"/>
                  <a:gd name="connsiteX1752" fmla="*/ 935490 w 1259895"/>
                  <a:gd name="connsiteY1752" fmla="*/ 987460 h 1388535"/>
                  <a:gd name="connsiteX1753" fmla="*/ 935490 w 1259895"/>
                  <a:gd name="connsiteY1753" fmla="*/ 988066 h 1388535"/>
                  <a:gd name="connsiteX1754" fmla="*/ 936853 w 1259895"/>
                  <a:gd name="connsiteY1754" fmla="*/ 990339 h 1388535"/>
                  <a:gd name="connsiteX1755" fmla="*/ 938974 w 1259895"/>
                  <a:gd name="connsiteY1755" fmla="*/ 989733 h 1388535"/>
                  <a:gd name="connsiteX1756" fmla="*/ 941096 w 1259895"/>
                  <a:gd name="connsiteY1756" fmla="*/ 990339 h 1388535"/>
                  <a:gd name="connsiteX1757" fmla="*/ 942459 w 1259895"/>
                  <a:gd name="connsiteY1757" fmla="*/ 986854 h 1388535"/>
                  <a:gd name="connsiteX1758" fmla="*/ 942157 w 1259895"/>
                  <a:gd name="connsiteY1758" fmla="*/ 985188 h 1388535"/>
                  <a:gd name="connsiteX1759" fmla="*/ 941247 w 1259895"/>
                  <a:gd name="connsiteY1759" fmla="*/ 983066 h 1388535"/>
                  <a:gd name="connsiteX1760" fmla="*/ 963975 w 1259895"/>
                  <a:gd name="connsiteY1760" fmla="*/ 961096 h 1388535"/>
                  <a:gd name="connsiteX1761" fmla="*/ 962006 w 1259895"/>
                  <a:gd name="connsiteY1761" fmla="*/ 960338 h 1388535"/>
                  <a:gd name="connsiteX1762" fmla="*/ 960642 w 1259895"/>
                  <a:gd name="connsiteY1762" fmla="*/ 961853 h 1388535"/>
                  <a:gd name="connsiteX1763" fmla="*/ 960793 w 1259895"/>
                  <a:gd name="connsiteY1763" fmla="*/ 962611 h 1388535"/>
                  <a:gd name="connsiteX1764" fmla="*/ 960793 w 1259895"/>
                  <a:gd name="connsiteY1764" fmla="*/ 964278 h 1388535"/>
                  <a:gd name="connsiteX1765" fmla="*/ 961247 w 1259895"/>
                  <a:gd name="connsiteY1765" fmla="*/ 964429 h 1388535"/>
                  <a:gd name="connsiteX1766" fmla="*/ 962763 w 1259895"/>
                  <a:gd name="connsiteY1766" fmla="*/ 964126 h 1388535"/>
                  <a:gd name="connsiteX1767" fmla="*/ 962611 w 1259895"/>
                  <a:gd name="connsiteY1767" fmla="*/ 963065 h 1388535"/>
                  <a:gd name="connsiteX1768" fmla="*/ 964430 w 1259895"/>
                  <a:gd name="connsiteY1768" fmla="*/ 962156 h 1388535"/>
                  <a:gd name="connsiteX1769" fmla="*/ 963975 w 1259895"/>
                  <a:gd name="connsiteY1769" fmla="*/ 961096 h 1388535"/>
                  <a:gd name="connsiteX1770" fmla="*/ 684420 w 1259895"/>
                  <a:gd name="connsiteY1770" fmla="*/ 740936 h 1388535"/>
                  <a:gd name="connsiteX1771" fmla="*/ 681843 w 1259895"/>
                  <a:gd name="connsiteY1771" fmla="*/ 741997 h 1388535"/>
                  <a:gd name="connsiteX1772" fmla="*/ 675328 w 1259895"/>
                  <a:gd name="connsiteY1772" fmla="*/ 741239 h 1388535"/>
                  <a:gd name="connsiteX1773" fmla="*/ 675328 w 1259895"/>
                  <a:gd name="connsiteY1773" fmla="*/ 740785 h 1388535"/>
                  <a:gd name="connsiteX1774" fmla="*/ 676389 w 1259895"/>
                  <a:gd name="connsiteY1774" fmla="*/ 738815 h 1388535"/>
                  <a:gd name="connsiteX1775" fmla="*/ 675025 w 1259895"/>
                  <a:gd name="connsiteY1775" fmla="*/ 737754 h 1388535"/>
                  <a:gd name="connsiteX1776" fmla="*/ 673510 w 1259895"/>
                  <a:gd name="connsiteY1776" fmla="*/ 737299 h 1388535"/>
                  <a:gd name="connsiteX1777" fmla="*/ 668207 w 1259895"/>
                  <a:gd name="connsiteY1777" fmla="*/ 736845 h 1388535"/>
                  <a:gd name="connsiteX1778" fmla="*/ 661540 w 1259895"/>
                  <a:gd name="connsiteY1778" fmla="*/ 739118 h 1388535"/>
                  <a:gd name="connsiteX1779" fmla="*/ 649115 w 1259895"/>
                  <a:gd name="connsiteY1779" fmla="*/ 741694 h 1388535"/>
                  <a:gd name="connsiteX1780" fmla="*/ 647448 w 1259895"/>
                  <a:gd name="connsiteY1780" fmla="*/ 743512 h 1388535"/>
                  <a:gd name="connsiteX1781" fmla="*/ 646388 w 1259895"/>
                  <a:gd name="connsiteY1781" fmla="*/ 746088 h 1388535"/>
                  <a:gd name="connsiteX1782" fmla="*/ 647751 w 1259895"/>
                  <a:gd name="connsiteY1782" fmla="*/ 747452 h 1388535"/>
                  <a:gd name="connsiteX1783" fmla="*/ 652297 w 1259895"/>
                  <a:gd name="connsiteY1783" fmla="*/ 750482 h 1388535"/>
                  <a:gd name="connsiteX1784" fmla="*/ 656539 w 1259895"/>
                  <a:gd name="connsiteY1784" fmla="*/ 750936 h 1388535"/>
                  <a:gd name="connsiteX1785" fmla="*/ 659570 w 1259895"/>
                  <a:gd name="connsiteY1785" fmla="*/ 750179 h 1388535"/>
                  <a:gd name="connsiteX1786" fmla="*/ 662903 w 1259895"/>
                  <a:gd name="connsiteY1786" fmla="*/ 750633 h 1388535"/>
                  <a:gd name="connsiteX1787" fmla="*/ 664570 w 1259895"/>
                  <a:gd name="connsiteY1787" fmla="*/ 748815 h 1388535"/>
                  <a:gd name="connsiteX1788" fmla="*/ 669267 w 1259895"/>
                  <a:gd name="connsiteY1788" fmla="*/ 750027 h 1388535"/>
                  <a:gd name="connsiteX1789" fmla="*/ 671086 w 1259895"/>
                  <a:gd name="connsiteY1789" fmla="*/ 751694 h 1388535"/>
                  <a:gd name="connsiteX1790" fmla="*/ 675025 w 1259895"/>
                  <a:gd name="connsiteY1790" fmla="*/ 750179 h 1388535"/>
                  <a:gd name="connsiteX1791" fmla="*/ 675934 w 1259895"/>
                  <a:gd name="connsiteY1791" fmla="*/ 747452 h 1388535"/>
                  <a:gd name="connsiteX1792" fmla="*/ 677298 w 1259895"/>
                  <a:gd name="connsiteY1792" fmla="*/ 746239 h 1388535"/>
                  <a:gd name="connsiteX1793" fmla="*/ 681843 w 1259895"/>
                  <a:gd name="connsiteY1793" fmla="*/ 745330 h 1388535"/>
                  <a:gd name="connsiteX1794" fmla="*/ 686692 w 1259895"/>
                  <a:gd name="connsiteY1794" fmla="*/ 746542 h 1388535"/>
                  <a:gd name="connsiteX1795" fmla="*/ 688208 w 1259895"/>
                  <a:gd name="connsiteY1795" fmla="*/ 746391 h 1388535"/>
                  <a:gd name="connsiteX1796" fmla="*/ 689722 w 1259895"/>
                  <a:gd name="connsiteY1796" fmla="*/ 744876 h 1388535"/>
                  <a:gd name="connsiteX1797" fmla="*/ 687601 w 1259895"/>
                  <a:gd name="connsiteY1797" fmla="*/ 741845 h 1388535"/>
                  <a:gd name="connsiteX1798" fmla="*/ 684420 w 1259895"/>
                  <a:gd name="connsiteY1798" fmla="*/ 740936 h 138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Lst>
                <a:rect l="l" t="t" r="r" b="b"/>
                <a:pathLst>
                  <a:path w="1259895" h="1388535">
                    <a:moveTo>
                      <a:pt x="799423" y="16061"/>
                    </a:moveTo>
                    <a:lnTo>
                      <a:pt x="799272" y="16819"/>
                    </a:lnTo>
                    <a:lnTo>
                      <a:pt x="799575" y="18637"/>
                    </a:lnTo>
                    <a:lnTo>
                      <a:pt x="801090" y="19395"/>
                    </a:lnTo>
                    <a:lnTo>
                      <a:pt x="803363" y="17879"/>
                    </a:lnTo>
                    <a:lnTo>
                      <a:pt x="801241" y="14849"/>
                    </a:lnTo>
                    <a:lnTo>
                      <a:pt x="799423" y="16061"/>
                    </a:lnTo>
                    <a:close/>
                    <a:moveTo>
                      <a:pt x="726390" y="193795"/>
                    </a:moveTo>
                    <a:lnTo>
                      <a:pt x="725027" y="195007"/>
                    </a:lnTo>
                    <a:lnTo>
                      <a:pt x="725329" y="196219"/>
                    </a:lnTo>
                    <a:lnTo>
                      <a:pt x="726390" y="195765"/>
                    </a:lnTo>
                    <a:lnTo>
                      <a:pt x="729421" y="195158"/>
                    </a:lnTo>
                    <a:lnTo>
                      <a:pt x="729117" y="193643"/>
                    </a:lnTo>
                    <a:lnTo>
                      <a:pt x="727299" y="192128"/>
                    </a:lnTo>
                    <a:lnTo>
                      <a:pt x="726390" y="193795"/>
                    </a:lnTo>
                    <a:close/>
                    <a:moveTo>
                      <a:pt x="720330" y="184552"/>
                    </a:moveTo>
                    <a:lnTo>
                      <a:pt x="721541" y="184552"/>
                    </a:lnTo>
                    <a:lnTo>
                      <a:pt x="723511" y="183946"/>
                    </a:lnTo>
                    <a:lnTo>
                      <a:pt x="724572" y="182582"/>
                    </a:lnTo>
                    <a:lnTo>
                      <a:pt x="725633" y="182885"/>
                    </a:lnTo>
                    <a:lnTo>
                      <a:pt x="727754" y="180461"/>
                    </a:lnTo>
                    <a:lnTo>
                      <a:pt x="729117" y="179249"/>
                    </a:lnTo>
                    <a:lnTo>
                      <a:pt x="732905" y="178794"/>
                    </a:lnTo>
                    <a:lnTo>
                      <a:pt x="730330" y="175612"/>
                    </a:lnTo>
                    <a:lnTo>
                      <a:pt x="729876" y="175461"/>
                    </a:lnTo>
                    <a:lnTo>
                      <a:pt x="726390" y="176673"/>
                    </a:lnTo>
                    <a:lnTo>
                      <a:pt x="721845" y="177431"/>
                    </a:lnTo>
                    <a:lnTo>
                      <a:pt x="720027" y="179097"/>
                    </a:lnTo>
                    <a:lnTo>
                      <a:pt x="718208" y="181825"/>
                    </a:lnTo>
                    <a:lnTo>
                      <a:pt x="717753" y="184249"/>
                    </a:lnTo>
                    <a:lnTo>
                      <a:pt x="718057" y="185007"/>
                    </a:lnTo>
                    <a:lnTo>
                      <a:pt x="720330" y="184552"/>
                    </a:lnTo>
                    <a:close/>
                    <a:moveTo>
                      <a:pt x="800484" y="2727"/>
                    </a:moveTo>
                    <a:lnTo>
                      <a:pt x="801090" y="909"/>
                    </a:lnTo>
                    <a:lnTo>
                      <a:pt x="799878" y="0"/>
                    </a:lnTo>
                    <a:lnTo>
                      <a:pt x="798514" y="1970"/>
                    </a:lnTo>
                    <a:lnTo>
                      <a:pt x="799727" y="3636"/>
                    </a:lnTo>
                    <a:lnTo>
                      <a:pt x="800484" y="2727"/>
                    </a:lnTo>
                    <a:close/>
                    <a:moveTo>
                      <a:pt x="658661" y="156824"/>
                    </a:moveTo>
                    <a:lnTo>
                      <a:pt x="658964" y="158187"/>
                    </a:lnTo>
                    <a:lnTo>
                      <a:pt x="660479" y="159551"/>
                    </a:lnTo>
                    <a:lnTo>
                      <a:pt x="661691" y="158187"/>
                    </a:lnTo>
                    <a:lnTo>
                      <a:pt x="661085" y="157127"/>
                    </a:lnTo>
                    <a:lnTo>
                      <a:pt x="660933" y="155006"/>
                    </a:lnTo>
                    <a:lnTo>
                      <a:pt x="659418" y="153036"/>
                    </a:lnTo>
                    <a:lnTo>
                      <a:pt x="658813" y="154702"/>
                    </a:lnTo>
                    <a:lnTo>
                      <a:pt x="658206" y="155006"/>
                    </a:lnTo>
                    <a:lnTo>
                      <a:pt x="657600" y="156218"/>
                    </a:lnTo>
                    <a:lnTo>
                      <a:pt x="658661" y="156824"/>
                    </a:lnTo>
                    <a:close/>
                    <a:moveTo>
                      <a:pt x="648054" y="36365"/>
                    </a:moveTo>
                    <a:lnTo>
                      <a:pt x="651994" y="31365"/>
                    </a:lnTo>
                    <a:lnTo>
                      <a:pt x="653055" y="26364"/>
                    </a:lnTo>
                    <a:lnTo>
                      <a:pt x="651691" y="26668"/>
                    </a:lnTo>
                    <a:lnTo>
                      <a:pt x="651539" y="28940"/>
                    </a:lnTo>
                    <a:lnTo>
                      <a:pt x="651085" y="30456"/>
                    </a:lnTo>
                    <a:lnTo>
                      <a:pt x="650479" y="30910"/>
                    </a:lnTo>
                    <a:lnTo>
                      <a:pt x="649418" y="31819"/>
                    </a:lnTo>
                    <a:lnTo>
                      <a:pt x="646993" y="35910"/>
                    </a:lnTo>
                    <a:lnTo>
                      <a:pt x="645933" y="36971"/>
                    </a:lnTo>
                    <a:lnTo>
                      <a:pt x="646084" y="38183"/>
                    </a:lnTo>
                    <a:lnTo>
                      <a:pt x="648054" y="36365"/>
                    </a:lnTo>
                    <a:close/>
                    <a:moveTo>
                      <a:pt x="642145" y="42123"/>
                    </a:moveTo>
                    <a:lnTo>
                      <a:pt x="644570" y="40153"/>
                    </a:lnTo>
                    <a:lnTo>
                      <a:pt x="644872" y="38941"/>
                    </a:lnTo>
                    <a:lnTo>
                      <a:pt x="644115" y="39547"/>
                    </a:lnTo>
                    <a:lnTo>
                      <a:pt x="639115" y="41971"/>
                    </a:lnTo>
                    <a:lnTo>
                      <a:pt x="636690" y="44699"/>
                    </a:lnTo>
                    <a:lnTo>
                      <a:pt x="641084" y="42577"/>
                    </a:lnTo>
                    <a:lnTo>
                      <a:pt x="642145" y="42123"/>
                    </a:lnTo>
                    <a:close/>
                    <a:moveTo>
                      <a:pt x="645479" y="152884"/>
                    </a:moveTo>
                    <a:lnTo>
                      <a:pt x="645781" y="154097"/>
                    </a:lnTo>
                    <a:lnTo>
                      <a:pt x="646236" y="154248"/>
                    </a:lnTo>
                    <a:lnTo>
                      <a:pt x="647903" y="154097"/>
                    </a:lnTo>
                    <a:lnTo>
                      <a:pt x="648509" y="151824"/>
                    </a:lnTo>
                    <a:lnTo>
                      <a:pt x="647751" y="151521"/>
                    </a:lnTo>
                    <a:lnTo>
                      <a:pt x="646084" y="151824"/>
                    </a:lnTo>
                    <a:lnTo>
                      <a:pt x="645479" y="152884"/>
                    </a:lnTo>
                    <a:close/>
                    <a:moveTo>
                      <a:pt x="655934" y="114246"/>
                    </a:moveTo>
                    <a:lnTo>
                      <a:pt x="653206" y="113186"/>
                    </a:lnTo>
                    <a:lnTo>
                      <a:pt x="652146" y="111974"/>
                    </a:lnTo>
                    <a:lnTo>
                      <a:pt x="651994" y="110762"/>
                    </a:lnTo>
                    <a:lnTo>
                      <a:pt x="653206" y="107276"/>
                    </a:lnTo>
                    <a:lnTo>
                      <a:pt x="653964" y="106216"/>
                    </a:lnTo>
                    <a:lnTo>
                      <a:pt x="654721" y="105913"/>
                    </a:lnTo>
                    <a:lnTo>
                      <a:pt x="656388" y="103943"/>
                    </a:lnTo>
                    <a:lnTo>
                      <a:pt x="655934" y="102882"/>
                    </a:lnTo>
                    <a:lnTo>
                      <a:pt x="655327" y="102276"/>
                    </a:lnTo>
                    <a:lnTo>
                      <a:pt x="654569" y="101973"/>
                    </a:lnTo>
                    <a:lnTo>
                      <a:pt x="653509" y="104549"/>
                    </a:lnTo>
                    <a:lnTo>
                      <a:pt x="652297" y="104701"/>
                    </a:lnTo>
                    <a:lnTo>
                      <a:pt x="651085" y="103488"/>
                    </a:lnTo>
                    <a:lnTo>
                      <a:pt x="650630" y="101367"/>
                    </a:lnTo>
                    <a:lnTo>
                      <a:pt x="650781" y="100155"/>
                    </a:lnTo>
                    <a:lnTo>
                      <a:pt x="649569" y="100004"/>
                    </a:lnTo>
                    <a:lnTo>
                      <a:pt x="647600" y="101216"/>
                    </a:lnTo>
                    <a:lnTo>
                      <a:pt x="646236" y="103186"/>
                    </a:lnTo>
                    <a:lnTo>
                      <a:pt x="643205" y="105155"/>
                    </a:lnTo>
                    <a:lnTo>
                      <a:pt x="642903" y="109246"/>
                    </a:lnTo>
                    <a:lnTo>
                      <a:pt x="643357" y="112428"/>
                    </a:lnTo>
                    <a:lnTo>
                      <a:pt x="642448" y="113792"/>
                    </a:lnTo>
                    <a:lnTo>
                      <a:pt x="640933" y="114852"/>
                    </a:lnTo>
                    <a:lnTo>
                      <a:pt x="641691" y="115307"/>
                    </a:lnTo>
                    <a:lnTo>
                      <a:pt x="644418" y="115459"/>
                    </a:lnTo>
                    <a:lnTo>
                      <a:pt x="649569" y="116671"/>
                    </a:lnTo>
                    <a:lnTo>
                      <a:pt x="652600" y="116519"/>
                    </a:lnTo>
                    <a:lnTo>
                      <a:pt x="656236" y="117125"/>
                    </a:lnTo>
                    <a:lnTo>
                      <a:pt x="657297" y="115762"/>
                    </a:lnTo>
                    <a:lnTo>
                      <a:pt x="657903" y="114095"/>
                    </a:lnTo>
                    <a:lnTo>
                      <a:pt x="657448" y="113943"/>
                    </a:lnTo>
                    <a:lnTo>
                      <a:pt x="655934" y="114246"/>
                    </a:lnTo>
                    <a:close/>
                    <a:moveTo>
                      <a:pt x="654873" y="154097"/>
                    </a:moveTo>
                    <a:lnTo>
                      <a:pt x="655327" y="153945"/>
                    </a:lnTo>
                    <a:lnTo>
                      <a:pt x="656085" y="153036"/>
                    </a:lnTo>
                    <a:lnTo>
                      <a:pt x="655782" y="150611"/>
                    </a:lnTo>
                    <a:lnTo>
                      <a:pt x="654873" y="151824"/>
                    </a:lnTo>
                    <a:lnTo>
                      <a:pt x="654873" y="154097"/>
                    </a:lnTo>
                    <a:close/>
                    <a:moveTo>
                      <a:pt x="987006" y="285313"/>
                    </a:moveTo>
                    <a:lnTo>
                      <a:pt x="987915" y="285313"/>
                    </a:lnTo>
                    <a:lnTo>
                      <a:pt x="988522" y="285010"/>
                    </a:lnTo>
                    <a:lnTo>
                      <a:pt x="988522" y="284556"/>
                    </a:lnTo>
                    <a:lnTo>
                      <a:pt x="987461" y="283041"/>
                    </a:lnTo>
                    <a:lnTo>
                      <a:pt x="986854" y="281071"/>
                    </a:lnTo>
                    <a:lnTo>
                      <a:pt x="985643" y="284707"/>
                    </a:lnTo>
                    <a:lnTo>
                      <a:pt x="987006" y="285313"/>
                    </a:lnTo>
                    <a:close/>
                    <a:moveTo>
                      <a:pt x="1028826" y="342891"/>
                    </a:moveTo>
                    <a:lnTo>
                      <a:pt x="1029735" y="342437"/>
                    </a:lnTo>
                    <a:lnTo>
                      <a:pt x="1028978" y="340164"/>
                    </a:lnTo>
                    <a:lnTo>
                      <a:pt x="1028069" y="339709"/>
                    </a:lnTo>
                    <a:lnTo>
                      <a:pt x="1027917" y="341376"/>
                    </a:lnTo>
                    <a:lnTo>
                      <a:pt x="1027311" y="342588"/>
                    </a:lnTo>
                    <a:lnTo>
                      <a:pt x="1028069" y="343043"/>
                    </a:lnTo>
                    <a:lnTo>
                      <a:pt x="1028826" y="342891"/>
                    </a:lnTo>
                    <a:close/>
                    <a:moveTo>
                      <a:pt x="1098223" y="442440"/>
                    </a:moveTo>
                    <a:lnTo>
                      <a:pt x="1098980" y="441683"/>
                    </a:lnTo>
                    <a:lnTo>
                      <a:pt x="1099132" y="439713"/>
                    </a:lnTo>
                    <a:lnTo>
                      <a:pt x="1100647" y="434713"/>
                    </a:lnTo>
                    <a:lnTo>
                      <a:pt x="1106405" y="421682"/>
                    </a:lnTo>
                    <a:lnTo>
                      <a:pt x="1106708" y="419258"/>
                    </a:lnTo>
                    <a:lnTo>
                      <a:pt x="1105041" y="417439"/>
                    </a:lnTo>
                    <a:lnTo>
                      <a:pt x="1104586" y="412288"/>
                    </a:lnTo>
                    <a:lnTo>
                      <a:pt x="1103829" y="411985"/>
                    </a:lnTo>
                    <a:lnTo>
                      <a:pt x="1102920" y="412288"/>
                    </a:lnTo>
                    <a:lnTo>
                      <a:pt x="1101707" y="413045"/>
                    </a:lnTo>
                    <a:lnTo>
                      <a:pt x="1100647" y="414561"/>
                    </a:lnTo>
                    <a:lnTo>
                      <a:pt x="1101859" y="415015"/>
                    </a:lnTo>
                    <a:lnTo>
                      <a:pt x="1103374" y="417591"/>
                    </a:lnTo>
                    <a:lnTo>
                      <a:pt x="1102920" y="420015"/>
                    </a:lnTo>
                    <a:lnTo>
                      <a:pt x="1101859" y="421834"/>
                    </a:lnTo>
                    <a:lnTo>
                      <a:pt x="1097768" y="425318"/>
                    </a:lnTo>
                    <a:lnTo>
                      <a:pt x="1098374" y="428500"/>
                    </a:lnTo>
                    <a:lnTo>
                      <a:pt x="1098071" y="430016"/>
                    </a:lnTo>
                    <a:lnTo>
                      <a:pt x="1096707" y="432743"/>
                    </a:lnTo>
                    <a:lnTo>
                      <a:pt x="1096101" y="435773"/>
                    </a:lnTo>
                    <a:lnTo>
                      <a:pt x="1096859" y="440925"/>
                    </a:lnTo>
                    <a:lnTo>
                      <a:pt x="1098223" y="442440"/>
                    </a:lnTo>
                    <a:close/>
                    <a:moveTo>
                      <a:pt x="1048675" y="384559"/>
                    </a:moveTo>
                    <a:lnTo>
                      <a:pt x="1049281" y="384105"/>
                    </a:lnTo>
                    <a:lnTo>
                      <a:pt x="1050190" y="382893"/>
                    </a:lnTo>
                    <a:lnTo>
                      <a:pt x="1049584" y="381378"/>
                    </a:lnTo>
                    <a:lnTo>
                      <a:pt x="1048372" y="379256"/>
                    </a:lnTo>
                    <a:lnTo>
                      <a:pt x="1048675" y="377438"/>
                    </a:lnTo>
                    <a:lnTo>
                      <a:pt x="1047918" y="376983"/>
                    </a:lnTo>
                    <a:lnTo>
                      <a:pt x="1047009" y="377135"/>
                    </a:lnTo>
                    <a:lnTo>
                      <a:pt x="1046100" y="376377"/>
                    </a:lnTo>
                    <a:lnTo>
                      <a:pt x="1043675" y="375468"/>
                    </a:lnTo>
                    <a:lnTo>
                      <a:pt x="1042917" y="377438"/>
                    </a:lnTo>
                    <a:lnTo>
                      <a:pt x="1047009" y="383499"/>
                    </a:lnTo>
                    <a:lnTo>
                      <a:pt x="1048675" y="384559"/>
                    </a:lnTo>
                    <a:close/>
                    <a:moveTo>
                      <a:pt x="1108374" y="487897"/>
                    </a:moveTo>
                    <a:lnTo>
                      <a:pt x="1108980" y="487442"/>
                    </a:lnTo>
                    <a:lnTo>
                      <a:pt x="1108526" y="484109"/>
                    </a:lnTo>
                    <a:lnTo>
                      <a:pt x="1109587" y="479260"/>
                    </a:lnTo>
                    <a:lnTo>
                      <a:pt x="1108678" y="478957"/>
                    </a:lnTo>
                    <a:lnTo>
                      <a:pt x="1107314" y="479563"/>
                    </a:lnTo>
                    <a:lnTo>
                      <a:pt x="1106860" y="482139"/>
                    </a:lnTo>
                    <a:lnTo>
                      <a:pt x="1107162" y="485018"/>
                    </a:lnTo>
                    <a:lnTo>
                      <a:pt x="1108374" y="487897"/>
                    </a:lnTo>
                    <a:close/>
                    <a:moveTo>
                      <a:pt x="803515" y="5455"/>
                    </a:moveTo>
                    <a:lnTo>
                      <a:pt x="805181" y="3788"/>
                    </a:lnTo>
                    <a:lnTo>
                      <a:pt x="804120" y="2424"/>
                    </a:lnTo>
                    <a:lnTo>
                      <a:pt x="802000" y="2727"/>
                    </a:lnTo>
                    <a:lnTo>
                      <a:pt x="801393" y="4091"/>
                    </a:lnTo>
                    <a:lnTo>
                      <a:pt x="802000" y="5152"/>
                    </a:lnTo>
                    <a:lnTo>
                      <a:pt x="803515" y="5455"/>
                    </a:lnTo>
                    <a:close/>
                    <a:moveTo>
                      <a:pt x="1107769" y="493048"/>
                    </a:moveTo>
                    <a:lnTo>
                      <a:pt x="1107617" y="497745"/>
                    </a:lnTo>
                    <a:lnTo>
                      <a:pt x="1108526" y="498958"/>
                    </a:lnTo>
                    <a:lnTo>
                      <a:pt x="1109283" y="499109"/>
                    </a:lnTo>
                    <a:lnTo>
                      <a:pt x="1111707" y="491078"/>
                    </a:lnTo>
                    <a:lnTo>
                      <a:pt x="1111253" y="490624"/>
                    </a:lnTo>
                    <a:lnTo>
                      <a:pt x="1108829" y="490169"/>
                    </a:lnTo>
                    <a:lnTo>
                      <a:pt x="1107769" y="493048"/>
                    </a:lnTo>
                    <a:close/>
                    <a:moveTo>
                      <a:pt x="985643" y="281071"/>
                    </a:moveTo>
                    <a:lnTo>
                      <a:pt x="986249" y="280616"/>
                    </a:lnTo>
                    <a:lnTo>
                      <a:pt x="986552" y="278040"/>
                    </a:lnTo>
                    <a:lnTo>
                      <a:pt x="985491" y="278798"/>
                    </a:lnTo>
                    <a:lnTo>
                      <a:pt x="984734" y="279707"/>
                    </a:lnTo>
                    <a:lnTo>
                      <a:pt x="984127" y="280919"/>
                    </a:lnTo>
                    <a:lnTo>
                      <a:pt x="984885" y="281222"/>
                    </a:lnTo>
                    <a:lnTo>
                      <a:pt x="985643" y="281071"/>
                    </a:lnTo>
                    <a:close/>
                    <a:moveTo>
                      <a:pt x="1012765" y="339103"/>
                    </a:moveTo>
                    <a:lnTo>
                      <a:pt x="1012765" y="337891"/>
                    </a:lnTo>
                    <a:lnTo>
                      <a:pt x="1012310" y="335012"/>
                    </a:lnTo>
                    <a:lnTo>
                      <a:pt x="1011250" y="335770"/>
                    </a:lnTo>
                    <a:lnTo>
                      <a:pt x="1011098" y="337891"/>
                    </a:lnTo>
                    <a:lnTo>
                      <a:pt x="1011704" y="340012"/>
                    </a:lnTo>
                    <a:lnTo>
                      <a:pt x="1012765" y="339103"/>
                    </a:lnTo>
                    <a:close/>
                    <a:moveTo>
                      <a:pt x="908518" y="228645"/>
                    </a:moveTo>
                    <a:lnTo>
                      <a:pt x="910640" y="230614"/>
                    </a:lnTo>
                    <a:lnTo>
                      <a:pt x="911852" y="233039"/>
                    </a:lnTo>
                    <a:lnTo>
                      <a:pt x="913519" y="233948"/>
                    </a:lnTo>
                    <a:lnTo>
                      <a:pt x="914276" y="232887"/>
                    </a:lnTo>
                    <a:lnTo>
                      <a:pt x="914730" y="231524"/>
                    </a:lnTo>
                    <a:lnTo>
                      <a:pt x="913519" y="229402"/>
                    </a:lnTo>
                    <a:lnTo>
                      <a:pt x="912912" y="226675"/>
                    </a:lnTo>
                    <a:lnTo>
                      <a:pt x="912155" y="226523"/>
                    </a:lnTo>
                    <a:lnTo>
                      <a:pt x="911701" y="226978"/>
                    </a:lnTo>
                    <a:lnTo>
                      <a:pt x="910488" y="227432"/>
                    </a:lnTo>
                    <a:lnTo>
                      <a:pt x="908064" y="227281"/>
                    </a:lnTo>
                    <a:lnTo>
                      <a:pt x="908518" y="228645"/>
                    </a:lnTo>
                    <a:close/>
                    <a:moveTo>
                      <a:pt x="535778" y="30456"/>
                    </a:moveTo>
                    <a:lnTo>
                      <a:pt x="537898" y="34698"/>
                    </a:lnTo>
                    <a:lnTo>
                      <a:pt x="538505" y="34244"/>
                    </a:lnTo>
                    <a:lnTo>
                      <a:pt x="539414" y="30607"/>
                    </a:lnTo>
                    <a:lnTo>
                      <a:pt x="538505" y="28940"/>
                    </a:lnTo>
                    <a:lnTo>
                      <a:pt x="538353" y="25910"/>
                    </a:lnTo>
                    <a:lnTo>
                      <a:pt x="537898" y="25152"/>
                    </a:lnTo>
                    <a:lnTo>
                      <a:pt x="536838" y="26819"/>
                    </a:lnTo>
                    <a:lnTo>
                      <a:pt x="535323" y="27122"/>
                    </a:lnTo>
                    <a:lnTo>
                      <a:pt x="536232" y="29243"/>
                    </a:lnTo>
                    <a:lnTo>
                      <a:pt x="535778" y="30456"/>
                    </a:lnTo>
                    <a:close/>
                    <a:moveTo>
                      <a:pt x="6061" y="447592"/>
                    </a:moveTo>
                    <a:lnTo>
                      <a:pt x="6061" y="445622"/>
                    </a:lnTo>
                    <a:lnTo>
                      <a:pt x="5152" y="443653"/>
                    </a:lnTo>
                    <a:lnTo>
                      <a:pt x="1970" y="435016"/>
                    </a:lnTo>
                    <a:lnTo>
                      <a:pt x="1061" y="435319"/>
                    </a:lnTo>
                    <a:lnTo>
                      <a:pt x="0" y="436379"/>
                    </a:lnTo>
                    <a:lnTo>
                      <a:pt x="1515" y="442592"/>
                    </a:lnTo>
                    <a:lnTo>
                      <a:pt x="6818" y="451683"/>
                    </a:lnTo>
                    <a:lnTo>
                      <a:pt x="7576" y="450471"/>
                    </a:lnTo>
                    <a:lnTo>
                      <a:pt x="6667" y="448198"/>
                    </a:lnTo>
                    <a:lnTo>
                      <a:pt x="6061" y="447592"/>
                    </a:lnTo>
                    <a:close/>
                    <a:moveTo>
                      <a:pt x="966551" y="892608"/>
                    </a:moveTo>
                    <a:lnTo>
                      <a:pt x="966096" y="892305"/>
                    </a:lnTo>
                    <a:lnTo>
                      <a:pt x="965339" y="892305"/>
                    </a:lnTo>
                    <a:lnTo>
                      <a:pt x="963217" y="892912"/>
                    </a:lnTo>
                    <a:lnTo>
                      <a:pt x="963521" y="893669"/>
                    </a:lnTo>
                    <a:lnTo>
                      <a:pt x="965187" y="895184"/>
                    </a:lnTo>
                    <a:lnTo>
                      <a:pt x="966551" y="892608"/>
                    </a:lnTo>
                    <a:close/>
                    <a:moveTo>
                      <a:pt x="891245" y="823363"/>
                    </a:moveTo>
                    <a:lnTo>
                      <a:pt x="889578" y="821999"/>
                    </a:lnTo>
                    <a:lnTo>
                      <a:pt x="885942" y="822151"/>
                    </a:lnTo>
                    <a:lnTo>
                      <a:pt x="885639" y="822909"/>
                    </a:lnTo>
                    <a:lnTo>
                      <a:pt x="885487" y="824424"/>
                    </a:lnTo>
                    <a:lnTo>
                      <a:pt x="887003" y="825333"/>
                    </a:lnTo>
                    <a:lnTo>
                      <a:pt x="891245" y="823363"/>
                    </a:lnTo>
                    <a:close/>
                    <a:moveTo>
                      <a:pt x="969278" y="944580"/>
                    </a:moveTo>
                    <a:lnTo>
                      <a:pt x="968975" y="943368"/>
                    </a:lnTo>
                    <a:lnTo>
                      <a:pt x="968218" y="942307"/>
                    </a:lnTo>
                    <a:lnTo>
                      <a:pt x="968218" y="941095"/>
                    </a:lnTo>
                    <a:lnTo>
                      <a:pt x="968673" y="938519"/>
                    </a:lnTo>
                    <a:lnTo>
                      <a:pt x="967914" y="934883"/>
                    </a:lnTo>
                    <a:lnTo>
                      <a:pt x="968218" y="929276"/>
                    </a:lnTo>
                    <a:lnTo>
                      <a:pt x="967914" y="926246"/>
                    </a:lnTo>
                    <a:lnTo>
                      <a:pt x="968066" y="923367"/>
                    </a:lnTo>
                    <a:lnTo>
                      <a:pt x="968673" y="919579"/>
                    </a:lnTo>
                    <a:lnTo>
                      <a:pt x="968521" y="915791"/>
                    </a:lnTo>
                    <a:lnTo>
                      <a:pt x="968066" y="913821"/>
                    </a:lnTo>
                    <a:lnTo>
                      <a:pt x="967914" y="911852"/>
                    </a:lnTo>
                    <a:lnTo>
                      <a:pt x="968066" y="906397"/>
                    </a:lnTo>
                    <a:lnTo>
                      <a:pt x="965944" y="903366"/>
                    </a:lnTo>
                    <a:lnTo>
                      <a:pt x="960945" y="900942"/>
                    </a:lnTo>
                    <a:lnTo>
                      <a:pt x="959127" y="900942"/>
                    </a:lnTo>
                    <a:lnTo>
                      <a:pt x="956550" y="903972"/>
                    </a:lnTo>
                    <a:lnTo>
                      <a:pt x="955035" y="903972"/>
                    </a:lnTo>
                    <a:lnTo>
                      <a:pt x="949733" y="903063"/>
                    </a:lnTo>
                    <a:lnTo>
                      <a:pt x="948520" y="904124"/>
                    </a:lnTo>
                    <a:lnTo>
                      <a:pt x="946399" y="907003"/>
                    </a:lnTo>
                    <a:lnTo>
                      <a:pt x="945186" y="908215"/>
                    </a:lnTo>
                    <a:lnTo>
                      <a:pt x="943368" y="907760"/>
                    </a:lnTo>
                    <a:lnTo>
                      <a:pt x="941550" y="906851"/>
                    </a:lnTo>
                    <a:lnTo>
                      <a:pt x="940187" y="907003"/>
                    </a:lnTo>
                    <a:lnTo>
                      <a:pt x="938823" y="907760"/>
                    </a:lnTo>
                    <a:lnTo>
                      <a:pt x="935792" y="908064"/>
                    </a:lnTo>
                    <a:lnTo>
                      <a:pt x="932611" y="908064"/>
                    </a:lnTo>
                    <a:lnTo>
                      <a:pt x="930641" y="908821"/>
                    </a:lnTo>
                    <a:lnTo>
                      <a:pt x="928973" y="910185"/>
                    </a:lnTo>
                    <a:lnTo>
                      <a:pt x="928368" y="911852"/>
                    </a:lnTo>
                    <a:lnTo>
                      <a:pt x="928671" y="913821"/>
                    </a:lnTo>
                    <a:lnTo>
                      <a:pt x="927004" y="912003"/>
                    </a:lnTo>
                    <a:lnTo>
                      <a:pt x="925337" y="910791"/>
                    </a:lnTo>
                    <a:lnTo>
                      <a:pt x="923367" y="912003"/>
                    </a:lnTo>
                    <a:lnTo>
                      <a:pt x="921247" y="912912"/>
                    </a:lnTo>
                    <a:lnTo>
                      <a:pt x="914276" y="913670"/>
                    </a:lnTo>
                    <a:lnTo>
                      <a:pt x="908670" y="912154"/>
                    </a:lnTo>
                    <a:lnTo>
                      <a:pt x="900791" y="909124"/>
                    </a:lnTo>
                    <a:lnTo>
                      <a:pt x="899578" y="908215"/>
                    </a:lnTo>
                    <a:lnTo>
                      <a:pt x="898367" y="907003"/>
                    </a:lnTo>
                    <a:lnTo>
                      <a:pt x="897003" y="906245"/>
                    </a:lnTo>
                    <a:lnTo>
                      <a:pt x="893972" y="905185"/>
                    </a:lnTo>
                    <a:lnTo>
                      <a:pt x="892761" y="903821"/>
                    </a:lnTo>
                    <a:lnTo>
                      <a:pt x="891397" y="903518"/>
                    </a:lnTo>
                    <a:lnTo>
                      <a:pt x="889882" y="903669"/>
                    </a:lnTo>
                    <a:lnTo>
                      <a:pt x="887760" y="902609"/>
                    </a:lnTo>
                    <a:lnTo>
                      <a:pt x="885942" y="900790"/>
                    </a:lnTo>
                    <a:lnTo>
                      <a:pt x="884275" y="900639"/>
                    </a:lnTo>
                    <a:lnTo>
                      <a:pt x="882457" y="901397"/>
                    </a:lnTo>
                    <a:lnTo>
                      <a:pt x="879275" y="901245"/>
                    </a:lnTo>
                    <a:lnTo>
                      <a:pt x="873062" y="899123"/>
                    </a:lnTo>
                    <a:lnTo>
                      <a:pt x="870335" y="897457"/>
                    </a:lnTo>
                    <a:lnTo>
                      <a:pt x="870032" y="901093"/>
                    </a:lnTo>
                    <a:lnTo>
                      <a:pt x="868365" y="907457"/>
                    </a:lnTo>
                    <a:lnTo>
                      <a:pt x="868820" y="910639"/>
                    </a:lnTo>
                    <a:lnTo>
                      <a:pt x="869729" y="914276"/>
                    </a:lnTo>
                    <a:lnTo>
                      <a:pt x="871547" y="919124"/>
                    </a:lnTo>
                    <a:lnTo>
                      <a:pt x="871547" y="920640"/>
                    </a:lnTo>
                    <a:lnTo>
                      <a:pt x="871851" y="921549"/>
                    </a:lnTo>
                    <a:lnTo>
                      <a:pt x="875639" y="928822"/>
                    </a:lnTo>
                    <a:lnTo>
                      <a:pt x="879427" y="934731"/>
                    </a:lnTo>
                    <a:lnTo>
                      <a:pt x="884426" y="941095"/>
                    </a:lnTo>
                    <a:lnTo>
                      <a:pt x="885033" y="943974"/>
                    </a:lnTo>
                    <a:lnTo>
                      <a:pt x="884426" y="946853"/>
                    </a:lnTo>
                    <a:lnTo>
                      <a:pt x="886094" y="946701"/>
                    </a:lnTo>
                    <a:lnTo>
                      <a:pt x="887154" y="945186"/>
                    </a:lnTo>
                    <a:lnTo>
                      <a:pt x="887457" y="946549"/>
                    </a:lnTo>
                    <a:lnTo>
                      <a:pt x="888064" y="947762"/>
                    </a:lnTo>
                    <a:lnTo>
                      <a:pt x="892306" y="952004"/>
                    </a:lnTo>
                    <a:lnTo>
                      <a:pt x="892609" y="953065"/>
                    </a:lnTo>
                    <a:lnTo>
                      <a:pt x="890942" y="956550"/>
                    </a:lnTo>
                    <a:lnTo>
                      <a:pt x="890033" y="953671"/>
                    </a:lnTo>
                    <a:lnTo>
                      <a:pt x="888366" y="951398"/>
                    </a:lnTo>
                    <a:lnTo>
                      <a:pt x="883669" y="947913"/>
                    </a:lnTo>
                    <a:lnTo>
                      <a:pt x="884730" y="955338"/>
                    </a:lnTo>
                    <a:lnTo>
                      <a:pt x="885639" y="958217"/>
                    </a:lnTo>
                    <a:lnTo>
                      <a:pt x="891700" y="970793"/>
                    </a:lnTo>
                    <a:lnTo>
                      <a:pt x="892457" y="971550"/>
                    </a:lnTo>
                    <a:lnTo>
                      <a:pt x="893821" y="972157"/>
                    </a:lnTo>
                    <a:lnTo>
                      <a:pt x="895033" y="973217"/>
                    </a:lnTo>
                    <a:lnTo>
                      <a:pt x="897003" y="975793"/>
                    </a:lnTo>
                    <a:lnTo>
                      <a:pt x="900337" y="981400"/>
                    </a:lnTo>
                    <a:lnTo>
                      <a:pt x="902306" y="983066"/>
                    </a:lnTo>
                    <a:lnTo>
                      <a:pt x="905034" y="982611"/>
                    </a:lnTo>
                    <a:lnTo>
                      <a:pt x="909124" y="983672"/>
                    </a:lnTo>
                    <a:lnTo>
                      <a:pt x="910488" y="983369"/>
                    </a:lnTo>
                    <a:lnTo>
                      <a:pt x="911397" y="983824"/>
                    </a:lnTo>
                    <a:lnTo>
                      <a:pt x="911852" y="985188"/>
                    </a:lnTo>
                    <a:lnTo>
                      <a:pt x="908670" y="985188"/>
                    </a:lnTo>
                    <a:lnTo>
                      <a:pt x="905488" y="985945"/>
                    </a:lnTo>
                    <a:lnTo>
                      <a:pt x="905185" y="987006"/>
                    </a:lnTo>
                    <a:lnTo>
                      <a:pt x="906095" y="988218"/>
                    </a:lnTo>
                    <a:lnTo>
                      <a:pt x="906852" y="991551"/>
                    </a:lnTo>
                    <a:lnTo>
                      <a:pt x="910792" y="990339"/>
                    </a:lnTo>
                    <a:lnTo>
                      <a:pt x="917004" y="990490"/>
                    </a:lnTo>
                    <a:lnTo>
                      <a:pt x="920640" y="990188"/>
                    </a:lnTo>
                    <a:lnTo>
                      <a:pt x="924731" y="993218"/>
                    </a:lnTo>
                    <a:lnTo>
                      <a:pt x="928368" y="993824"/>
                    </a:lnTo>
                    <a:lnTo>
                      <a:pt x="929428" y="993673"/>
                    </a:lnTo>
                    <a:lnTo>
                      <a:pt x="931702" y="990036"/>
                    </a:lnTo>
                    <a:lnTo>
                      <a:pt x="933065" y="985642"/>
                    </a:lnTo>
                    <a:lnTo>
                      <a:pt x="933974" y="983975"/>
                    </a:lnTo>
                    <a:lnTo>
                      <a:pt x="935035" y="982611"/>
                    </a:lnTo>
                    <a:lnTo>
                      <a:pt x="932611" y="980642"/>
                    </a:lnTo>
                    <a:lnTo>
                      <a:pt x="932611" y="979733"/>
                    </a:lnTo>
                    <a:lnTo>
                      <a:pt x="932913" y="978672"/>
                    </a:lnTo>
                    <a:lnTo>
                      <a:pt x="937762" y="982005"/>
                    </a:lnTo>
                    <a:lnTo>
                      <a:pt x="939732" y="980642"/>
                    </a:lnTo>
                    <a:lnTo>
                      <a:pt x="940187" y="977612"/>
                    </a:lnTo>
                    <a:lnTo>
                      <a:pt x="940187" y="975793"/>
                    </a:lnTo>
                    <a:lnTo>
                      <a:pt x="940792" y="974429"/>
                    </a:lnTo>
                    <a:lnTo>
                      <a:pt x="942005" y="973823"/>
                    </a:lnTo>
                    <a:lnTo>
                      <a:pt x="942459" y="972157"/>
                    </a:lnTo>
                    <a:lnTo>
                      <a:pt x="942611" y="970945"/>
                    </a:lnTo>
                    <a:lnTo>
                      <a:pt x="941398" y="968066"/>
                    </a:lnTo>
                    <a:lnTo>
                      <a:pt x="941247" y="966399"/>
                    </a:lnTo>
                    <a:lnTo>
                      <a:pt x="944277" y="969732"/>
                    </a:lnTo>
                    <a:lnTo>
                      <a:pt x="945490" y="974278"/>
                    </a:lnTo>
                    <a:lnTo>
                      <a:pt x="947763" y="973066"/>
                    </a:lnTo>
                    <a:lnTo>
                      <a:pt x="948065" y="972308"/>
                    </a:lnTo>
                    <a:lnTo>
                      <a:pt x="947763" y="969126"/>
                    </a:lnTo>
                    <a:lnTo>
                      <a:pt x="948823" y="968066"/>
                    </a:lnTo>
                    <a:lnTo>
                      <a:pt x="952156" y="968975"/>
                    </a:lnTo>
                    <a:lnTo>
                      <a:pt x="955035" y="970793"/>
                    </a:lnTo>
                    <a:lnTo>
                      <a:pt x="955187" y="971702"/>
                    </a:lnTo>
                    <a:lnTo>
                      <a:pt x="955035" y="972611"/>
                    </a:lnTo>
                    <a:lnTo>
                      <a:pt x="954278" y="973369"/>
                    </a:lnTo>
                    <a:lnTo>
                      <a:pt x="951853" y="972611"/>
                    </a:lnTo>
                    <a:lnTo>
                      <a:pt x="950792" y="973975"/>
                    </a:lnTo>
                    <a:lnTo>
                      <a:pt x="952156" y="977308"/>
                    </a:lnTo>
                    <a:lnTo>
                      <a:pt x="954580" y="980490"/>
                    </a:lnTo>
                    <a:lnTo>
                      <a:pt x="956096" y="979733"/>
                    </a:lnTo>
                    <a:lnTo>
                      <a:pt x="958975" y="979278"/>
                    </a:lnTo>
                    <a:lnTo>
                      <a:pt x="959884" y="978521"/>
                    </a:lnTo>
                    <a:lnTo>
                      <a:pt x="959278" y="972005"/>
                    </a:lnTo>
                    <a:lnTo>
                      <a:pt x="958066" y="967308"/>
                    </a:lnTo>
                    <a:lnTo>
                      <a:pt x="957914" y="962156"/>
                    </a:lnTo>
                    <a:lnTo>
                      <a:pt x="958218" y="959277"/>
                    </a:lnTo>
                    <a:lnTo>
                      <a:pt x="959581" y="957156"/>
                    </a:lnTo>
                    <a:lnTo>
                      <a:pt x="960490" y="954883"/>
                    </a:lnTo>
                    <a:lnTo>
                      <a:pt x="960338" y="951853"/>
                    </a:lnTo>
                    <a:lnTo>
                      <a:pt x="960793" y="948974"/>
                    </a:lnTo>
                    <a:lnTo>
                      <a:pt x="962006" y="946095"/>
                    </a:lnTo>
                    <a:lnTo>
                      <a:pt x="963672" y="943974"/>
                    </a:lnTo>
                    <a:lnTo>
                      <a:pt x="964430" y="943519"/>
                    </a:lnTo>
                    <a:lnTo>
                      <a:pt x="963975" y="942913"/>
                    </a:lnTo>
                    <a:lnTo>
                      <a:pt x="964733" y="941095"/>
                    </a:lnTo>
                    <a:lnTo>
                      <a:pt x="965944" y="939731"/>
                    </a:lnTo>
                    <a:lnTo>
                      <a:pt x="966703" y="941398"/>
                    </a:lnTo>
                    <a:lnTo>
                      <a:pt x="965642" y="942004"/>
                    </a:lnTo>
                    <a:lnTo>
                      <a:pt x="965035" y="942761"/>
                    </a:lnTo>
                    <a:lnTo>
                      <a:pt x="967005" y="943974"/>
                    </a:lnTo>
                    <a:lnTo>
                      <a:pt x="967612" y="945034"/>
                    </a:lnTo>
                    <a:lnTo>
                      <a:pt x="967763" y="946247"/>
                    </a:lnTo>
                    <a:lnTo>
                      <a:pt x="967612" y="947762"/>
                    </a:lnTo>
                    <a:lnTo>
                      <a:pt x="967914" y="948974"/>
                    </a:lnTo>
                    <a:lnTo>
                      <a:pt x="968975" y="949126"/>
                    </a:lnTo>
                    <a:lnTo>
                      <a:pt x="969278" y="947610"/>
                    </a:lnTo>
                    <a:lnTo>
                      <a:pt x="968975" y="945792"/>
                    </a:lnTo>
                    <a:lnTo>
                      <a:pt x="969278" y="944580"/>
                    </a:lnTo>
                    <a:close/>
                    <a:moveTo>
                      <a:pt x="881397" y="828818"/>
                    </a:moveTo>
                    <a:lnTo>
                      <a:pt x="885336" y="828515"/>
                    </a:lnTo>
                    <a:lnTo>
                      <a:pt x="887608" y="829727"/>
                    </a:lnTo>
                    <a:lnTo>
                      <a:pt x="887457" y="829121"/>
                    </a:lnTo>
                    <a:lnTo>
                      <a:pt x="886548" y="827606"/>
                    </a:lnTo>
                    <a:lnTo>
                      <a:pt x="885790" y="827000"/>
                    </a:lnTo>
                    <a:lnTo>
                      <a:pt x="883820" y="826545"/>
                    </a:lnTo>
                    <a:lnTo>
                      <a:pt x="881397" y="828818"/>
                    </a:lnTo>
                    <a:close/>
                    <a:moveTo>
                      <a:pt x="479108" y="38335"/>
                    </a:moveTo>
                    <a:lnTo>
                      <a:pt x="481533" y="43032"/>
                    </a:lnTo>
                    <a:lnTo>
                      <a:pt x="485169" y="46517"/>
                    </a:lnTo>
                    <a:lnTo>
                      <a:pt x="493503" y="51517"/>
                    </a:lnTo>
                    <a:lnTo>
                      <a:pt x="502897" y="45608"/>
                    </a:lnTo>
                    <a:lnTo>
                      <a:pt x="505322" y="42123"/>
                    </a:lnTo>
                    <a:lnTo>
                      <a:pt x="507443" y="42274"/>
                    </a:lnTo>
                    <a:lnTo>
                      <a:pt x="507746" y="40153"/>
                    </a:lnTo>
                    <a:lnTo>
                      <a:pt x="509716" y="38183"/>
                    </a:lnTo>
                    <a:lnTo>
                      <a:pt x="509262" y="37577"/>
                    </a:lnTo>
                    <a:lnTo>
                      <a:pt x="507897" y="36668"/>
                    </a:lnTo>
                    <a:lnTo>
                      <a:pt x="506837" y="34698"/>
                    </a:lnTo>
                    <a:lnTo>
                      <a:pt x="503655" y="32880"/>
                    </a:lnTo>
                    <a:lnTo>
                      <a:pt x="502291" y="31365"/>
                    </a:lnTo>
                    <a:lnTo>
                      <a:pt x="500927" y="32880"/>
                    </a:lnTo>
                    <a:lnTo>
                      <a:pt x="498807" y="33486"/>
                    </a:lnTo>
                    <a:lnTo>
                      <a:pt x="495624" y="35456"/>
                    </a:lnTo>
                    <a:lnTo>
                      <a:pt x="494715" y="35607"/>
                    </a:lnTo>
                    <a:lnTo>
                      <a:pt x="492745" y="34698"/>
                    </a:lnTo>
                    <a:lnTo>
                      <a:pt x="488352" y="36819"/>
                    </a:lnTo>
                    <a:lnTo>
                      <a:pt x="484715" y="36516"/>
                    </a:lnTo>
                    <a:lnTo>
                      <a:pt x="483048" y="34547"/>
                    </a:lnTo>
                    <a:lnTo>
                      <a:pt x="481987" y="33789"/>
                    </a:lnTo>
                    <a:lnTo>
                      <a:pt x="479411" y="31062"/>
                    </a:lnTo>
                    <a:lnTo>
                      <a:pt x="478806" y="31062"/>
                    </a:lnTo>
                    <a:lnTo>
                      <a:pt x="478351" y="31365"/>
                    </a:lnTo>
                    <a:lnTo>
                      <a:pt x="477897" y="31971"/>
                    </a:lnTo>
                    <a:lnTo>
                      <a:pt x="478957" y="34395"/>
                    </a:lnTo>
                    <a:lnTo>
                      <a:pt x="479108" y="38335"/>
                    </a:lnTo>
                    <a:close/>
                    <a:moveTo>
                      <a:pt x="968218" y="875486"/>
                    </a:moveTo>
                    <a:lnTo>
                      <a:pt x="967460" y="874881"/>
                    </a:lnTo>
                    <a:lnTo>
                      <a:pt x="964885" y="873971"/>
                    </a:lnTo>
                    <a:lnTo>
                      <a:pt x="960036" y="868214"/>
                    </a:lnTo>
                    <a:lnTo>
                      <a:pt x="958218" y="867153"/>
                    </a:lnTo>
                    <a:lnTo>
                      <a:pt x="955641" y="870486"/>
                    </a:lnTo>
                    <a:lnTo>
                      <a:pt x="953671" y="871698"/>
                    </a:lnTo>
                    <a:lnTo>
                      <a:pt x="954884" y="873062"/>
                    </a:lnTo>
                    <a:lnTo>
                      <a:pt x="956702" y="872911"/>
                    </a:lnTo>
                    <a:lnTo>
                      <a:pt x="957459" y="875032"/>
                    </a:lnTo>
                    <a:lnTo>
                      <a:pt x="957005" y="876395"/>
                    </a:lnTo>
                    <a:lnTo>
                      <a:pt x="960642" y="881396"/>
                    </a:lnTo>
                    <a:lnTo>
                      <a:pt x="961247" y="882759"/>
                    </a:lnTo>
                    <a:lnTo>
                      <a:pt x="962006" y="883668"/>
                    </a:lnTo>
                    <a:lnTo>
                      <a:pt x="962915" y="884426"/>
                    </a:lnTo>
                    <a:lnTo>
                      <a:pt x="965794" y="883517"/>
                    </a:lnTo>
                    <a:lnTo>
                      <a:pt x="968218" y="881547"/>
                    </a:lnTo>
                    <a:lnTo>
                      <a:pt x="968673" y="881547"/>
                    </a:lnTo>
                    <a:lnTo>
                      <a:pt x="968975" y="880638"/>
                    </a:lnTo>
                    <a:lnTo>
                      <a:pt x="967005" y="879123"/>
                    </a:lnTo>
                    <a:lnTo>
                      <a:pt x="968066" y="878062"/>
                    </a:lnTo>
                    <a:lnTo>
                      <a:pt x="968218" y="875486"/>
                    </a:lnTo>
                    <a:close/>
                    <a:moveTo>
                      <a:pt x="1258229" y="1379444"/>
                    </a:moveTo>
                    <a:lnTo>
                      <a:pt x="1256562" y="1386869"/>
                    </a:lnTo>
                    <a:lnTo>
                      <a:pt x="1256865" y="1388536"/>
                    </a:lnTo>
                    <a:lnTo>
                      <a:pt x="1257774" y="1387020"/>
                    </a:lnTo>
                    <a:lnTo>
                      <a:pt x="1259592" y="1381869"/>
                    </a:lnTo>
                    <a:lnTo>
                      <a:pt x="1259895" y="1377929"/>
                    </a:lnTo>
                    <a:lnTo>
                      <a:pt x="1258229" y="1379444"/>
                    </a:lnTo>
                    <a:close/>
                    <a:moveTo>
                      <a:pt x="636084" y="101519"/>
                    </a:moveTo>
                    <a:lnTo>
                      <a:pt x="635327" y="101973"/>
                    </a:lnTo>
                    <a:lnTo>
                      <a:pt x="635024" y="102731"/>
                    </a:lnTo>
                    <a:lnTo>
                      <a:pt x="635024" y="103792"/>
                    </a:lnTo>
                    <a:lnTo>
                      <a:pt x="637448" y="104398"/>
                    </a:lnTo>
                    <a:lnTo>
                      <a:pt x="638054" y="104095"/>
                    </a:lnTo>
                    <a:lnTo>
                      <a:pt x="639115" y="103186"/>
                    </a:lnTo>
                    <a:lnTo>
                      <a:pt x="638660" y="100913"/>
                    </a:lnTo>
                    <a:lnTo>
                      <a:pt x="637448" y="99700"/>
                    </a:lnTo>
                    <a:lnTo>
                      <a:pt x="636084" y="101519"/>
                    </a:lnTo>
                    <a:close/>
                    <a:moveTo>
                      <a:pt x="1112617" y="514564"/>
                    </a:moveTo>
                    <a:lnTo>
                      <a:pt x="1109283" y="508958"/>
                    </a:lnTo>
                    <a:lnTo>
                      <a:pt x="1108526" y="504564"/>
                    </a:lnTo>
                    <a:lnTo>
                      <a:pt x="1107314" y="500776"/>
                    </a:lnTo>
                    <a:lnTo>
                      <a:pt x="1102162" y="490018"/>
                    </a:lnTo>
                    <a:lnTo>
                      <a:pt x="1099889" y="483805"/>
                    </a:lnTo>
                    <a:lnTo>
                      <a:pt x="1101102" y="477593"/>
                    </a:lnTo>
                    <a:lnTo>
                      <a:pt x="1098980" y="457744"/>
                    </a:lnTo>
                    <a:lnTo>
                      <a:pt x="1101253" y="447895"/>
                    </a:lnTo>
                    <a:lnTo>
                      <a:pt x="1100193" y="446683"/>
                    </a:lnTo>
                    <a:lnTo>
                      <a:pt x="1097465" y="445168"/>
                    </a:lnTo>
                    <a:lnTo>
                      <a:pt x="1096253" y="443653"/>
                    </a:lnTo>
                    <a:lnTo>
                      <a:pt x="1094435" y="440016"/>
                    </a:lnTo>
                    <a:lnTo>
                      <a:pt x="1094283" y="432591"/>
                    </a:lnTo>
                    <a:lnTo>
                      <a:pt x="1090949" y="428046"/>
                    </a:lnTo>
                    <a:lnTo>
                      <a:pt x="1087313" y="425925"/>
                    </a:lnTo>
                    <a:lnTo>
                      <a:pt x="1084889" y="422137"/>
                    </a:lnTo>
                    <a:lnTo>
                      <a:pt x="1083222" y="418955"/>
                    </a:lnTo>
                    <a:lnTo>
                      <a:pt x="1082919" y="417288"/>
                    </a:lnTo>
                    <a:lnTo>
                      <a:pt x="1081858" y="414409"/>
                    </a:lnTo>
                    <a:lnTo>
                      <a:pt x="1078979" y="412439"/>
                    </a:lnTo>
                    <a:lnTo>
                      <a:pt x="1077009" y="411530"/>
                    </a:lnTo>
                    <a:lnTo>
                      <a:pt x="1072918" y="408651"/>
                    </a:lnTo>
                    <a:lnTo>
                      <a:pt x="1070949" y="405621"/>
                    </a:lnTo>
                    <a:lnTo>
                      <a:pt x="1066706" y="397136"/>
                    </a:lnTo>
                    <a:lnTo>
                      <a:pt x="1064736" y="394863"/>
                    </a:lnTo>
                    <a:lnTo>
                      <a:pt x="1060948" y="392438"/>
                    </a:lnTo>
                    <a:lnTo>
                      <a:pt x="1057766" y="392287"/>
                    </a:lnTo>
                    <a:lnTo>
                      <a:pt x="1055797" y="391681"/>
                    </a:lnTo>
                    <a:lnTo>
                      <a:pt x="1048523" y="386226"/>
                    </a:lnTo>
                    <a:lnTo>
                      <a:pt x="1046251" y="385014"/>
                    </a:lnTo>
                    <a:lnTo>
                      <a:pt x="1044433" y="382438"/>
                    </a:lnTo>
                    <a:lnTo>
                      <a:pt x="1041705" y="379711"/>
                    </a:lnTo>
                    <a:lnTo>
                      <a:pt x="1040190" y="377741"/>
                    </a:lnTo>
                    <a:lnTo>
                      <a:pt x="1037766" y="375620"/>
                    </a:lnTo>
                    <a:lnTo>
                      <a:pt x="1036099" y="367589"/>
                    </a:lnTo>
                    <a:lnTo>
                      <a:pt x="1036099" y="359710"/>
                    </a:lnTo>
                    <a:lnTo>
                      <a:pt x="1035645" y="350316"/>
                    </a:lnTo>
                    <a:lnTo>
                      <a:pt x="1033069" y="345770"/>
                    </a:lnTo>
                    <a:lnTo>
                      <a:pt x="1031705" y="344255"/>
                    </a:lnTo>
                    <a:lnTo>
                      <a:pt x="1030190" y="344710"/>
                    </a:lnTo>
                    <a:lnTo>
                      <a:pt x="1030038" y="347588"/>
                    </a:lnTo>
                    <a:lnTo>
                      <a:pt x="1030492" y="349558"/>
                    </a:lnTo>
                    <a:lnTo>
                      <a:pt x="1029432" y="349710"/>
                    </a:lnTo>
                    <a:lnTo>
                      <a:pt x="1025644" y="347134"/>
                    </a:lnTo>
                    <a:lnTo>
                      <a:pt x="1020947" y="344406"/>
                    </a:lnTo>
                    <a:lnTo>
                      <a:pt x="1018371" y="341376"/>
                    </a:lnTo>
                    <a:lnTo>
                      <a:pt x="1016553" y="338497"/>
                    </a:lnTo>
                    <a:lnTo>
                      <a:pt x="1015038" y="338649"/>
                    </a:lnTo>
                    <a:lnTo>
                      <a:pt x="1013977" y="339103"/>
                    </a:lnTo>
                    <a:lnTo>
                      <a:pt x="1012916" y="342588"/>
                    </a:lnTo>
                    <a:lnTo>
                      <a:pt x="1014583" y="348649"/>
                    </a:lnTo>
                    <a:lnTo>
                      <a:pt x="1013674" y="349558"/>
                    </a:lnTo>
                    <a:lnTo>
                      <a:pt x="1012159" y="348194"/>
                    </a:lnTo>
                    <a:lnTo>
                      <a:pt x="1009431" y="345012"/>
                    </a:lnTo>
                    <a:lnTo>
                      <a:pt x="1008068" y="346073"/>
                    </a:lnTo>
                    <a:lnTo>
                      <a:pt x="1006250" y="346528"/>
                    </a:lnTo>
                    <a:lnTo>
                      <a:pt x="1004583" y="343346"/>
                    </a:lnTo>
                    <a:lnTo>
                      <a:pt x="1003219" y="341376"/>
                    </a:lnTo>
                    <a:lnTo>
                      <a:pt x="1001249" y="334709"/>
                    </a:lnTo>
                    <a:lnTo>
                      <a:pt x="999431" y="327285"/>
                    </a:lnTo>
                    <a:lnTo>
                      <a:pt x="999279" y="321981"/>
                    </a:lnTo>
                    <a:lnTo>
                      <a:pt x="995795" y="319103"/>
                    </a:lnTo>
                    <a:lnTo>
                      <a:pt x="994430" y="314102"/>
                    </a:lnTo>
                    <a:lnTo>
                      <a:pt x="993370" y="312739"/>
                    </a:lnTo>
                    <a:lnTo>
                      <a:pt x="992310" y="309254"/>
                    </a:lnTo>
                    <a:lnTo>
                      <a:pt x="988370" y="304556"/>
                    </a:lnTo>
                    <a:lnTo>
                      <a:pt x="984279" y="301223"/>
                    </a:lnTo>
                    <a:lnTo>
                      <a:pt x="980946" y="298041"/>
                    </a:lnTo>
                    <a:lnTo>
                      <a:pt x="978067" y="293647"/>
                    </a:lnTo>
                    <a:lnTo>
                      <a:pt x="979278" y="290465"/>
                    </a:lnTo>
                    <a:lnTo>
                      <a:pt x="981400" y="291071"/>
                    </a:lnTo>
                    <a:lnTo>
                      <a:pt x="983521" y="290768"/>
                    </a:lnTo>
                    <a:lnTo>
                      <a:pt x="981703" y="287586"/>
                    </a:lnTo>
                    <a:lnTo>
                      <a:pt x="980037" y="285465"/>
                    </a:lnTo>
                    <a:lnTo>
                      <a:pt x="975642" y="281374"/>
                    </a:lnTo>
                    <a:lnTo>
                      <a:pt x="973672" y="280313"/>
                    </a:lnTo>
                    <a:lnTo>
                      <a:pt x="969278" y="279707"/>
                    </a:lnTo>
                    <a:lnTo>
                      <a:pt x="964430" y="275919"/>
                    </a:lnTo>
                    <a:lnTo>
                      <a:pt x="961399" y="274252"/>
                    </a:lnTo>
                    <a:lnTo>
                      <a:pt x="959278" y="273949"/>
                    </a:lnTo>
                    <a:lnTo>
                      <a:pt x="956854" y="273343"/>
                    </a:lnTo>
                    <a:lnTo>
                      <a:pt x="955187" y="271222"/>
                    </a:lnTo>
                    <a:lnTo>
                      <a:pt x="952156" y="270464"/>
                    </a:lnTo>
                    <a:lnTo>
                      <a:pt x="947913" y="266373"/>
                    </a:lnTo>
                    <a:lnTo>
                      <a:pt x="945793" y="262131"/>
                    </a:lnTo>
                    <a:lnTo>
                      <a:pt x="944732" y="260616"/>
                    </a:lnTo>
                    <a:lnTo>
                      <a:pt x="943368" y="259403"/>
                    </a:lnTo>
                    <a:lnTo>
                      <a:pt x="941247" y="260161"/>
                    </a:lnTo>
                    <a:lnTo>
                      <a:pt x="939580" y="260464"/>
                    </a:lnTo>
                    <a:lnTo>
                      <a:pt x="935792" y="259858"/>
                    </a:lnTo>
                    <a:lnTo>
                      <a:pt x="934580" y="258191"/>
                    </a:lnTo>
                    <a:lnTo>
                      <a:pt x="932156" y="256070"/>
                    </a:lnTo>
                    <a:lnTo>
                      <a:pt x="927459" y="255464"/>
                    </a:lnTo>
                    <a:lnTo>
                      <a:pt x="923671" y="254100"/>
                    </a:lnTo>
                    <a:lnTo>
                      <a:pt x="920792" y="252736"/>
                    </a:lnTo>
                    <a:lnTo>
                      <a:pt x="917913" y="251070"/>
                    </a:lnTo>
                    <a:lnTo>
                      <a:pt x="915185" y="248191"/>
                    </a:lnTo>
                    <a:lnTo>
                      <a:pt x="912761" y="244403"/>
                    </a:lnTo>
                    <a:lnTo>
                      <a:pt x="913216" y="239554"/>
                    </a:lnTo>
                    <a:lnTo>
                      <a:pt x="913821" y="236372"/>
                    </a:lnTo>
                    <a:lnTo>
                      <a:pt x="910792" y="235160"/>
                    </a:lnTo>
                    <a:lnTo>
                      <a:pt x="905640" y="228493"/>
                    </a:lnTo>
                    <a:lnTo>
                      <a:pt x="905336" y="225766"/>
                    </a:lnTo>
                    <a:lnTo>
                      <a:pt x="906700" y="220160"/>
                    </a:lnTo>
                    <a:lnTo>
                      <a:pt x="908064" y="210614"/>
                    </a:lnTo>
                    <a:lnTo>
                      <a:pt x="905943" y="203492"/>
                    </a:lnTo>
                    <a:lnTo>
                      <a:pt x="901851" y="194856"/>
                    </a:lnTo>
                    <a:lnTo>
                      <a:pt x="902155" y="190461"/>
                    </a:lnTo>
                    <a:lnTo>
                      <a:pt x="900185" y="190461"/>
                    </a:lnTo>
                    <a:lnTo>
                      <a:pt x="897912" y="189552"/>
                    </a:lnTo>
                    <a:lnTo>
                      <a:pt x="894730" y="185310"/>
                    </a:lnTo>
                    <a:lnTo>
                      <a:pt x="892306" y="182431"/>
                    </a:lnTo>
                    <a:lnTo>
                      <a:pt x="890639" y="179855"/>
                    </a:lnTo>
                    <a:lnTo>
                      <a:pt x="888821" y="176370"/>
                    </a:lnTo>
                    <a:lnTo>
                      <a:pt x="889124" y="173491"/>
                    </a:lnTo>
                    <a:lnTo>
                      <a:pt x="889578" y="171521"/>
                    </a:lnTo>
                    <a:lnTo>
                      <a:pt x="889730" y="166521"/>
                    </a:lnTo>
                    <a:lnTo>
                      <a:pt x="887457" y="161673"/>
                    </a:lnTo>
                    <a:lnTo>
                      <a:pt x="886699" y="156672"/>
                    </a:lnTo>
                    <a:lnTo>
                      <a:pt x="884578" y="150460"/>
                    </a:lnTo>
                    <a:lnTo>
                      <a:pt x="885185" y="146369"/>
                    </a:lnTo>
                    <a:lnTo>
                      <a:pt x="884730" y="142884"/>
                    </a:lnTo>
                    <a:lnTo>
                      <a:pt x="884124" y="139854"/>
                    </a:lnTo>
                    <a:lnTo>
                      <a:pt x="884881" y="138035"/>
                    </a:lnTo>
                    <a:lnTo>
                      <a:pt x="885185" y="135611"/>
                    </a:lnTo>
                    <a:lnTo>
                      <a:pt x="882306" y="133187"/>
                    </a:lnTo>
                    <a:lnTo>
                      <a:pt x="879123" y="131368"/>
                    </a:lnTo>
                    <a:lnTo>
                      <a:pt x="875032" y="128186"/>
                    </a:lnTo>
                    <a:lnTo>
                      <a:pt x="867759" y="123186"/>
                    </a:lnTo>
                    <a:lnTo>
                      <a:pt x="866093" y="119398"/>
                    </a:lnTo>
                    <a:lnTo>
                      <a:pt x="863062" y="116065"/>
                    </a:lnTo>
                    <a:lnTo>
                      <a:pt x="858971" y="117429"/>
                    </a:lnTo>
                    <a:lnTo>
                      <a:pt x="855941" y="118035"/>
                    </a:lnTo>
                    <a:lnTo>
                      <a:pt x="853062" y="120610"/>
                    </a:lnTo>
                    <a:lnTo>
                      <a:pt x="849123" y="122580"/>
                    </a:lnTo>
                    <a:lnTo>
                      <a:pt x="845335" y="120913"/>
                    </a:lnTo>
                    <a:lnTo>
                      <a:pt x="843516" y="119398"/>
                    </a:lnTo>
                    <a:lnTo>
                      <a:pt x="842152" y="114246"/>
                    </a:lnTo>
                    <a:lnTo>
                      <a:pt x="840334" y="108640"/>
                    </a:lnTo>
                    <a:lnTo>
                      <a:pt x="838819" y="105913"/>
                    </a:lnTo>
                    <a:lnTo>
                      <a:pt x="837758" y="102579"/>
                    </a:lnTo>
                    <a:lnTo>
                      <a:pt x="838819" y="94397"/>
                    </a:lnTo>
                    <a:lnTo>
                      <a:pt x="837303" y="90458"/>
                    </a:lnTo>
                    <a:lnTo>
                      <a:pt x="836849" y="84700"/>
                    </a:lnTo>
                    <a:lnTo>
                      <a:pt x="835334" y="78033"/>
                    </a:lnTo>
                    <a:lnTo>
                      <a:pt x="833667" y="74700"/>
                    </a:lnTo>
                    <a:lnTo>
                      <a:pt x="833819" y="71972"/>
                    </a:lnTo>
                    <a:lnTo>
                      <a:pt x="830788" y="68033"/>
                    </a:lnTo>
                    <a:lnTo>
                      <a:pt x="829879" y="65305"/>
                    </a:lnTo>
                    <a:lnTo>
                      <a:pt x="828213" y="64245"/>
                    </a:lnTo>
                    <a:lnTo>
                      <a:pt x="825939" y="62578"/>
                    </a:lnTo>
                    <a:lnTo>
                      <a:pt x="825637" y="60457"/>
                    </a:lnTo>
                    <a:lnTo>
                      <a:pt x="825788" y="58942"/>
                    </a:lnTo>
                    <a:lnTo>
                      <a:pt x="827152" y="56365"/>
                    </a:lnTo>
                    <a:lnTo>
                      <a:pt x="827909" y="53032"/>
                    </a:lnTo>
                    <a:lnTo>
                      <a:pt x="824879" y="52123"/>
                    </a:lnTo>
                    <a:lnTo>
                      <a:pt x="822758" y="51971"/>
                    </a:lnTo>
                    <a:lnTo>
                      <a:pt x="821242" y="50911"/>
                    </a:lnTo>
                    <a:lnTo>
                      <a:pt x="819576" y="49244"/>
                    </a:lnTo>
                    <a:lnTo>
                      <a:pt x="818970" y="44092"/>
                    </a:lnTo>
                    <a:lnTo>
                      <a:pt x="818970" y="38638"/>
                    </a:lnTo>
                    <a:lnTo>
                      <a:pt x="818515" y="35153"/>
                    </a:lnTo>
                    <a:lnTo>
                      <a:pt x="817606" y="32577"/>
                    </a:lnTo>
                    <a:lnTo>
                      <a:pt x="817000" y="29849"/>
                    </a:lnTo>
                    <a:lnTo>
                      <a:pt x="815484" y="26971"/>
                    </a:lnTo>
                    <a:lnTo>
                      <a:pt x="810787" y="23183"/>
                    </a:lnTo>
                    <a:lnTo>
                      <a:pt x="811091" y="21667"/>
                    </a:lnTo>
                    <a:lnTo>
                      <a:pt x="812151" y="19698"/>
                    </a:lnTo>
                    <a:lnTo>
                      <a:pt x="810485" y="18637"/>
                    </a:lnTo>
                    <a:lnTo>
                      <a:pt x="808060" y="18637"/>
                    </a:lnTo>
                    <a:lnTo>
                      <a:pt x="806697" y="21213"/>
                    </a:lnTo>
                    <a:lnTo>
                      <a:pt x="804424" y="23486"/>
                    </a:lnTo>
                    <a:lnTo>
                      <a:pt x="800030" y="25152"/>
                    </a:lnTo>
                    <a:lnTo>
                      <a:pt x="799272" y="34092"/>
                    </a:lnTo>
                    <a:lnTo>
                      <a:pt x="796544" y="43941"/>
                    </a:lnTo>
                    <a:lnTo>
                      <a:pt x="794120" y="51214"/>
                    </a:lnTo>
                    <a:lnTo>
                      <a:pt x="794575" y="53487"/>
                    </a:lnTo>
                    <a:lnTo>
                      <a:pt x="794424" y="55608"/>
                    </a:lnTo>
                    <a:lnTo>
                      <a:pt x="793060" y="54699"/>
                    </a:lnTo>
                    <a:lnTo>
                      <a:pt x="791847" y="53487"/>
                    </a:lnTo>
                    <a:lnTo>
                      <a:pt x="790029" y="56365"/>
                    </a:lnTo>
                    <a:lnTo>
                      <a:pt x="786848" y="63790"/>
                    </a:lnTo>
                    <a:lnTo>
                      <a:pt x="786544" y="67730"/>
                    </a:lnTo>
                    <a:lnTo>
                      <a:pt x="788363" y="68790"/>
                    </a:lnTo>
                    <a:lnTo>
                      <a:pt x="789726" y="69851"/>
                    </a:lnTo>
                    <a:lnTo>
                      <a:pt x="791242" y="70154"/>
                    </a:lnTo>
                    <a:lnTo>
                      <a:pt x="791999" y="71063"/>
                    </a:lnTo>
                    <a:lnTo>
                      <a:pt x="792454" y="72881"/>
                    </a:lnTo>
                    <a:lnTo>
                      <a:pt x="793514" y="74548"/>
                    </a:lnTo>
                    <a:lnTo>
                      <a:pt x="793211" y="76366"/>
                    </a:lnTo>
                    <a:lnTo>
                      <a:pt x="791999" y="75609"/>
                    </a:lnTo>
                    <a:lnTo>
                      <a:pt x="789423" y="75609"/>
                    </a:lnTo>
                    <a:lnTo>
                      <a:pt x="788059" y="77124"/>
                    </a:lnTo>
                    <a:lnTo>
                      <a:pt x="784726" y="80154"/>
                    </a:lnTo>
                    <a:lnTo>
                      <a:pt x="785635" y="88943"/>
                    </a:lnTo>
                    <a:lnTo>
                      <a:pt x="784120" y="93488"/>
                    </a:lnTo>
                    <a:lnTo>
                      <a:pt x="782605" y="97125"/>
                    </a:lnTo>
                    <a:lnTo>
                      <a:pt x="780938" y="103943"/>
                    </a:lnTo>
                    <a:lnTo>
                      <a:pt x="781090" y="107580"/>
                    </a:lnTo>
                    <a:lnTo>
                      <a:pt x="782605" y="110155"/>
                    </a:lnTo>
                    <a:lnTo>
                      <a:pt x="784271" y="113943"/>
                    </a:lnTo>
                    <a:lnTo>
                      <a:pt x="783362" y="119095"/>
                    </a:lnTo>
                    <a:lnTo>
                      <a:pt x="782301" y="122732"/>
                    </a:lnTo>
                    <a:lnTo>
                      <a:pt x="784575" y="133338"/>
                    </a:lnTo>
                    <a:lnTo>
                      <a:pt x="785180" y="138944"/>
                    </a:lnTo>
                    <a:lnTo>
                      <a:pt x="783969" y="142732"/>
                    </a:lnTo>
                    <a:lnTo>
                      <a:pt x="780483" y="154097"/>
                    </a:lnTo>
                    <a:lnTo>
                      <a:pt x="778817" y="162430"/>
                    </a:lnTo>
                    <a:lnTo>
                      <a:pt x="779272" y="166976"/>
                    </a:lnTo>
                    <a:lnTo>
                      <a:pt x="777756" y="171218"/>
                    </a:lnTo>
                    <a:lnTo>
                      <a:pt x="775938" y="178037"/>
                    </a:lnTo>
                    <a:lnTo>
                      <a:pt x="773968" y="183188"/>
                    </a:lnTo>
                    <a:lnTo>
                      <a:pt x="766998" y="193492"/>
                    </a:lnTo>
                    <a:lnTo>
                      <a:pt x="765634" y="198492"/>
                    </a:lnTo>
                    <a:lnTo>
                      <a:pt x="763361" y="204704"/>
                    </a:lnTo>
                    <a:lnTo>
                      <a:pt x="758362" y="208341"/>
                    </a:lnTo>
                    <a:lnTo>
                      <a:pt x="754574" y="210614"/>
                    </a:lnTo>
                    <a:lnTo>
                      <a:pt x="746391" y="212886"/>
                    </a:lnTo>
                    <a:lnTo>
                      <a:pt x="741694" y="212886"/>
                    </a:lnTo>
                    <a:lnTo>
                      <a:pt x="739270" y="211523"/>
                    </a:lnTo>
                    <a:lnTo>
                      <a:pt x="737906" y="210311"/>
                    </a:lnTo>
                    <a:lnTo>
                      <a:pt x="732300" y="208341"/>
                    </a:lnTo>
                    <a:lnTo>
                      <a:pt x="725481" y="203795"/>
                    </a:lnTo>
                    <a:lnTo>
                      <a:pt x="720178" y="202280"/>
                    </a:lnTo>
                    <a:lnTo>
                      <a:pt x="717603" y="197734"/>
                    </a:lnTo>
                    <a:lnTo>
                      <a:pt x="717299" y="195916"/>
                    </a:lnTo>
                    <a:lnTo>
                      <a:pt x="716390" y="193492"/>
                    </a:lnTo>
                    <a:lnTo>
                      <a:pt x="713663" y="190310"/>
                    </a:lnTo>
                    <a:lnTo>
                      <a:pt x="708511" y="189249"/>
                    </a:lnTo>
                    <a:lnTo>
                      <a:pt x="703208" y="186976"/>
                    </a:lnTo>
                    <a:lnTo>
                      <a:pt x="699874" y="187280"/>
                    </a:lnTo>
                    <a:lnTo>
                      <a:pt x="692753" y="185310"/>
                    </a:lnTo>
                    <a:lnTo>
                      <a:pt x="688056" y="182431"/>
                    </a:lnTo>
                    <a:lnTo>
                      <a:pt x="683661" y="178491"/>
                    </a:lnTo>
                    <a:lnTo>
                      <a:pt x="677904" y="171673"/>
                    </a:lnTo>
                    <a:lnTo>
                      <a:pt x="673055" y="169855"/>
                    </a:lnTo>
                    <a:lnTo>
                      <a:pt x="666843" y="166976"/>
                    </a:lnTo>
                    <a:lnTo>
                      <a:pt x="663206" y="164703"/>
                    </a:lnTo>
                    <a:lnTo>
                      <a:pt x="661085" y="163491"/>
                    </a:lnTo>
                    <a:lnTo>
                      <a:pt x="658661" y="161673"/>
                    </a:lnTo>
                    <a:lnTo>
                      <a:pt x="656539" y="162127"/>
                    </a:lnTo>
                    <a:lnTo>
                      <a:pt x="652751" y="162127"/>
                    </a:lnTo>
                    <a:lnTo>
                      <a:pt x="650327" y="160460"/>
                    </a:lnTo>
                    <a:lnTo>
                      <a:pt x="650024" y="159097"/>
                    </a:lnTo>
                    <a:lnTo>
                      <a:pt x="650327" y="158036"/>
                    </a:lnTo>
                    <a:lnTo>
                      <a:pt x="650479" y="156218"/>
                    </a:lnTo>
                    <a:lnTo>
                      <a:pt x="649721" y="155915"/>
                    </a:lnTo>
                    <a:lnTo>
                      <a:pt x="648963" y="155915"/>
                    </a:lnTo>
                    <a:lnTo>
                      <a:pt x="648206" y="156369"/>
                    </a:lnTo>
                    <a:lnTo>
                      <a:pt x="647297" y="156672"/>
                    </a:lnTo>
                    <a:lnTo>
                      <a:pt x="643963" y="155309"/>
                    </a:lnTo>
                    <a:lnTo>
                      <a:pt x="639266" y="152884"/>
                    </a:lnTo>
                    <a:lnTo>
                      <a:pt x="638357" y="150763"/>
                    </a:lnTo>
                    <a:lnTo>
                      <a:pt x="636842" y="148187"/>
                    </a:lnTo>
                    <a:lnTo>
                      <a:pt x="630327" y="144551"/>
                    </a:lnTo>
                    <a:lnTo>
                      <a:pt x="626539" y="141520"/>
                    </a:lnTo>
                    <a:lnTo>
                      <a:pt x="618205" y="137126"/>
                    </a:lnTo>
                    <a:lnTo>
                      <a:pt x="616084" y="135005"/>
                    </a:lnTo>
                    <a:lnTo>
                      <a:pt x="615326" y="133187"/>
                    </a:lnTo>
                    <a:lnTo>
                      <a:pt x="614719" y="130459"/>
                    </a:lnTo>
                    <a:lnTo>
                      <a:pt x="616538" y="127580"/>
                    </a:lnTo>
                    <a:lnTo>
                      <a:pt x="618356" y="125611"/>
                    </a:lnTo>
                    <a:lnTo>
                      <a:pt x="623963" y="117277"/>
                    </a:lnTo>
                    <a:lnTo>
                      <a:pt x="625629" y="115762"/>
                    </a:lnTo>
                    <a:lnTo>
                      <a:pt x="627751" y="113489"/>
                    </a:lnTo>
                    <a:lnTo>
                      <a:pt x="629720" y="107428"/>
                    </a:lnTo>
                    <a:lnTo>
                      <a:pt x="630629" y="103943"/>
                    </a:lnTo>
                    <a:lnTo>
                      <a:pt x="628962" y="98791"/>
                    </a:lnTo>
                    <a:lnTo>
                      <a:pt x="628962" y="90003"/>
                    </a:lnTo>
                    <a:lnTo>
                      <a:pt x="635478" y="86670"/>
                    </a:lnTo>
                    <a:lnTo>
                      <a:pt x="637296" y="86215"/>
                    </a:lnTo>
                    <a:lnTo>
                      <a:pt x="638963" y="85458"/>
                    </a:lnTo>
                    <a:lnTo>
                      <a:pt x="640933" y="86518"/>
                    </a:lnTo>
                    <a:lnTo>
                      <a:pt x="642296" y="88185"/>
                    </a:lnTo>
                    <a:lnTo>
                      <a:pt x="643660" y="87882"/>
                    </a:lnTo>
                    <a:lnTo>
                      <a:pt x="647297" y="81821"/>
                    </a:lnTo>
                    <a:lnTo>
                      <a:pt x="646691" y="79245"/>
                    </a:lnTo>
                    <a:lnTo>
                      <a:pt x="645175" y="77124"/>
                    </a:lnTo>
                    <a:lnTo>
                      <a:pt x="645630" y="75760"/>
                    </a:lnTo>
                    <a:lnTo>
                      <a:pt x="656843" y="63790"/>
                    </a:lnTo>
                    <a:lnTo>
                      <a:pt x="655479" y="60911"/>
                    </a:lnTo>
                    <a:lnTo>
                      <a:pt x="653812" y="60305"/>
                    </a:lnTo>
                    <a:lnTo>
                      <a:pt x="650630" y="60457"/>
                    </a:lnTo>
                    <a:lnTo>
                      <a:pt x="647600" y="57881"/>
                    </a:lnTo>
                    <a:lnTo>
                      <a:pt x="645630" y="53032"/>
                    </a:lnTo>
                    <a:lnTo>
                      <a:pt x="643054" y="52881"/>
                    </a:lnTo>
                    <a:lnTo>
                      <a:pt x="638357" y="57881"/>
                    </a:lnTo>
                    <a:lnTo>
                      <a:pt x="637751" y="59093"/>
                    </a:lnTo>
                    <a:lnTo>
                      <a:pt x="638963" y="59699"/>
                    </a:lnTo>
                    <a:lnTo>
                      <a:pt x="640024" y="62730"/>
                    </a:lnTo>
                    <a:lnTo>
                      <a:pt x="638205" y="66214"/>
                    </a:lnTo>
                    <a:lnTo>
                      <a:pt x="636387" y="66214"/>
                    </a:lnTo>
                    <a:lnTo>
                      <a:pt x="633357" y="65911"/>
                    </a:lnTo>
                    <a:lnTo>
                      <a:pt x="631993" y="63336"/>
                    </a:lnTo>
                    <a:lnTo>
                      <a:pt x="631387" y="59548"/>
                    </a:lnTo>
                    <a:lnTo>
                      <a:pt x="629417" y="58487"/>
                    </a:lnTo>
                    <a:lnTo>
                      <a:pt x="627144" y="59244"/>
                    </a:lnTo>
                    <a:lnTo>
                      <a:pt x="625326" y="60608"/>
                    </a:lnTo>
                    <a:lnTo>
                      <a:pt x="624114" y="61063"/>
                    </a:lnTo>
                    <a:lnTo>
                      <a:pt x="623053" y="60153"/>
                    </a:lnTo>
                    <a:lnTo>
                      <a:pt x="623053" y="58487"/>
                    </a:lnTo>
                    <a:lnTo>
                      <a:pt x="625781" y="55760"/>
                    </a:lnTo>
                    <a:lnTo>
                      <a:pt x="628053" y="54093"/>
                    </a:lnTo>
                    <a:lnTo>
                      <a:pt x="628205" y="53487"/>
                    </a:lnTo>
                    <a:lnTo>
                      <a:pt x="626539" y="53032"/>
                    </a:lnTo>
                    <a:lnTo>
                      <a:pt x="626841" y="51820"/>
                    </a:lnTo>
                    <a:lnTo>
                      <a:pt x="628962" y="49699"/>
                    </a:lnTo>
                    <a:lnTo>
                      <a:pt x="627902" y="49547"/>
                    </a:lnTo>
                    <a:lnTo>
                      <a:pt x="625326" y="51971"/>
                    </a:lnTo>
                    <a:lnTo>
                      <a:pt x="622447" y="53335"/>
                    </a:lnTo>
                    <a:lnTo>
                      <a:pt x="618659" y="56214"/>
                    </a:lnTo>
                    <a:lnTo>
                      <a:pt x="613356" y="58032"/>
                    </a:lnTo>
                    <a:lnTo>
                      <a:pt x="609720" y="60608"/>
                    </a:lnTo>
                    <a:lnTo>
                      <a:pt x="604568" y="59851"/>
                    </a:lnTo>
                    <a:lnTo>
                      <a:pt x="599719" y="57275"/>
                    </a:lnTo>
                    <a:lnTo>
                      <a:pt x="598658" y="55911"/>
                    </a:lnTo>
                    <a:lnTo>
                      <a:pt x="596234" y="53941"/>
                    </a:lnTo>
                    <a:lnTo>
                      <a:pt x="590931" y="56063"/>
                    </a:lnTo>
                    <a:lnTo>
                      <a:pt x="587598" y="55911"/>
                    </a:lnTo>
                    <a:lnTo>
                      <a:pt x="585779" y="55154"/>
                    </a:lnTo>
                    <a:lnTo>
                      <a:pt x="582597" y="54699"/>
                    </a:lnTo>
                    <a:lnTo>
                      <a:pt x="579870" y="52881"/>
                    </a:lnTo>
                    <a:lnTo>
                      <a:pt x="573506" y="49850"/>
                    </a:lnTo>
                    <a:lnTo>
                      <a:pt x="566688" y="49244"/>
                    </a:lnTo>
                    <a:lnTo>
                      <a:pt x="563355" y="49396"/>
                    </a:lnTo>
                    <a:lnTo>
                      <a:pt x="560930" y="47880"/>
                    </a:lnTo>
                    <a:lnTo>
                      <a:pt x="558506" y="46971"/>
                    </a:lnTo>
                    <a:lnTo>
                      <a:pt x="553809" y="46365"/>
                    </a:lnTo>
                    <a:lnTo>
                      <a:pt x="551839" y="44092"/>
                    </a:lnTo>
                    <a:lnTo>
                      <a:pt x="549414" y="39395"/>
                    </a:lnTo>
                    <a:lnTo>
                      <a:pt x="547596" y="38183"/>
                    </a:lnTo>
                    <a:lnTo>
                      <a:pt x="544717" y="37729"/>
                    </a:lnTo>
                    <a:lnTo>
                      <a:pt x="541686" y="39850"/>
                    </a:lnTo>
                    <a:lnTo>
                      <a:pt x="539868" y="40911"/>
                    </a:lnTo>
                    <a:lnTo>
                      <a:pt x="536383" y="37123"/>
                    </a:lnTo>
                    <a:lnTo>
                      <a:pt x="530322" y="33183"/>
                    </a:lnTo>
                    <a:lnTo>
                      <a:pt x="528352" y="32577"/>
                    </a:lnTo>
                    <a:lnTo>
                      <a:pt x="527293" y="33486"/>
                    </a:lnTo>
                    <a:lnTo>
                      <a:pt x="526534" y="35304"/>
                    </a:lnTo>
                    <a:lnTo>
                      <a:pt x="525323" y="35456"/>
                    </a:lnTo>
                    <a:lnTo>
                      <a:pt x="523959" y="34698"/>
                    </a:lnTo>
                    <a:lnTo>
                      <a:pt x="521535" y="32425"/>
                    </a:lnTo>
                    <a:lnTo>
                      <a:pt x="520019" y="31971"/>
                    </a:lnTo>
                    <a:lnTo>
                      <a:pt x="515929" y="34395"/>
                    </a:lnTo>
                    <a:lnTo>
                      <a:pt x="516231" y="35304"/>
                    </a:lnTo>
                    <a:lnTo>
                      <a:pt x="519565" y="36516"/>
                    </a:lnTo>
                    <a:lnTo>
                      <a:pt x="523050" y="40001"/>
                    </a:lnTo>
                    <a:lnTo>
                      <a:pt x="524716" y="40759"/>
                    </a:lnTo>
                    <a:lnTo>
                      <a:pt x="528656" y="39850"/>
                    </a:lnTo>
                    <a:lnTo>
                      <a:pt x="534110" y="40456"/>
                    </a:lnTo>
                    <a:lnTo>
                      <a:pt x="539566" y="44850"/>
                    </a:lnTo>
                    <a:lnTo>
                      <a:pt x="538807" y="46971"/>
                    </a:lnTo>
                    <a:lnTo>
                      <a:pt x="538353" y="50002"/>
                    </a:lnTo>
                    <a:lnTo>
                      <a:pt x="538505" y="53335"/>
                    </a:lnTo>
                    <a:lnTo>
                      <a:pt x="538353" y="55608"/>
                    </a:lnTo>
                    <a:lnTo>
                      <a:pt x="540626" y="58032"/>
                    </a:lnTo>
                    <a:lnTo>
                      <a:pt x="539566" y="58184"/>
                    </a:lnTo>
                    <a:lnTo>
                      <a:pt x="536989" y="57578"/>
                    </a:lnTo>
                    <a:lnTo>
                      <a:pt x="535019" y="58184"/>
                    </a:lnTo>
                    <a:lnTo>
                      <a:pt x="533201" y="59396"/>
                    </a:lnTo>
                    <a:lnTo>
                      <a:pt x="532292" y="62730"/>
                    </a:lnTo>
                    <a:lnTo>
                      <a:pt x="531231" y="61214"/>
                    </a:lnTo>
                    <a:lnTo>
                      <a:pt x="528050" y="59699"/>
                    </a:lnTo>
                    <a:lnTo>
                      <a:pt x="526080" y="60760"/>
                    </a:lnTo>
                    <a:lnTo>
                      <a:pt x="522898" y="62275"/>
                    </a:lnTo>
                    <a:lnTo>
                      <a:pt x="520019" y="61669"/>
                    </a:lnTo>
                    <a:lnTo>
                      <a:pt x="518201" y="60911"/>
                    </a:lnTo>
                    <a:lnTo>
                      <a:pt x="513807" y="62123"/>
                    </a:lnTo>
                    <a:lnTo>
                      <a:pt x="505928" y="62123"/>
                    </a:lnTo>
                    <a:lnTo>
                      <a:pt x="503352" y="60305"/>
                    </a:lnTo>
                    <a:lnTo>
                      <a:pt x="502595" y="57123"/>
                    </a:lnTo>
                    <a:lnTo>
                      <a:pt x="501988" y="56365"/>
                    </a:lnTo>
                    <a:lnTo>
                      <a:pt x="501231" y="57729"/>
                    </a:lnTo>
                    <a:lnTo>
                      <a:pt x="500018" y="59396"/>
                    </a:lnTo>
                    <a:lnTo>
                      <a:pt x="495321" y="59699"/>
                    </a:lnTo>
                    <a:lnTo>
                      <a:pt x="494564" y="60305"/>
                    </a:lnTo>
                    <a:lnTo>
                      <a:pt x="494867" y="61820"/>
                    </a:lnTo>
                    <a:lnTo>
                      <a:pt x="494715" y="63790"/>
                    </a:lnTo>
                    <a:lnTo>
                      <a:pt x="492897" y="63942"/>
                    </a:lnTo>
                    <a:lnTo>
                      <a:pt x="490624" y="64396"/>
                    </a:lnTo>
                    <a:lnTo>
                      <a:pt x="490927" y="66820"/>
                    </a:lnTo>
                    <a:lnTo>
                      <a:pt x="491382" y="68639"/>
                    </a:lnTo>
                    <a:lnTo>
                      <a:pt x="490472" y="69548"/>
                    </a:lnTo>
                    <a:lnTo>
                      <a:pt x="488048" y="67881"/>
                    </a:lnTo>
                    <a:lnTo>
                      <a:pt x="486988" y="66063"/>
                    </a:lnTo>
                    <a:lnTo>
                      <a:pt x="485169" y="65457"/>
                    </a:lnTo>
                    <a:lnTo>
                      <a:pt x="483806" y="66063"/>
                    </a:lnTo>
                    <a:lnTo>
                      <a:pt x="483503" y="67730"/>
                    </a:lnTo>
                    <a:lnTo>
                      <a:pt x="483655" y="71972"/>
                    </a:lnTo>
                    <a:lnTo>
                      <a:pt x="482442" y="72427"/>
                    </a:lnTo>
                    <a:lnTo>
                      <a:pt x="479260" y="72275"/>
                    </a:lnTo>
                    <a:lnTo>
                      <a:pt x="477745" y="73033"/>
                    </a:lnTo>
                    <a:lnTo>
                      <a:pt x="475472" y="78488"/>
                    </a:lnTo>
                    <a:lnTo>
                      <a:pt x="471381" y="80609"/>
                    </a:lnTo>
                    <a:lnTo>
                      <a:pt x="470775" y="83488"/>
                    </a:lnTo>
                    <a:lnTo>
                      <a:pt x="470472" y="85912"/>
                    </a:lnTo>
                    <a:lnTo>
                      <a:pt x="473957" y="90306"/>
                    </a:lnTo>
                    <a:lnTo>
                      <a:pt x="472290" y="92579"/>
                    </a:lnTo>
                    <a:lnTo>
                      <a:pt x="470623" y="94397"/>
                    </a:lnTo>
                    <a:lnTo>
                      <a:pt x="468957" y="95155"/>
                    </a:lnTo>
                    <a:lnTo>
                      <a:pt x="465320" y="95912"/>
                    </a:lnTo>
                    <a:lnTo>
                      <a:pt x="462593" y="97882"/>
                    </a:lnTo>
                    <a:lnTo>
                      <a:pt x="461380" y="100004"/>
                    </a:lnTo>
                    <a:lnTo>
                      <a:pt x="461229" y="101973"/>
                    </a:lnTo>
                    <a:lnTo>
                      <a:pt x="460471" y="104549"/>
                    </a:lnTo>
                    <a:lnTo>
                      <a:pt x="459259" y="107580"/>
                    </a:lnTo>
                    <a:lnTo>
                      <a:pt x="458957" y="109246"/>
                    </a:lnTo>
                    <a:lnTo>
                      <a:pt x="456532" y="110913"/>
                    </a:lnTo>
                    <a:lnTo>
                      <a:pt x="452138" y="115762"/>
                    </a:lnTo>
                    <a:lnTo>
                      <a:pt x="449865" y="120762"/>
                    </a:lnTo>
                    <a:lnTo>
                      <a:pt x="452744" y="123489"/>
                    </a:lnTo>
                    <a:lnTo>
                      <a:pt x="456078" y="125459"/>
                    </a:lnTo>
                    <a:lnTo>
                      <a:pt x="458502" y="125459"/>
                    </a:lnTo>
                    <a:lnTo>
                      <a:pt x="458502" y="125914"/>
                    </a:lnTo>
                    <a:lnTo>
                      <a:pt x="455926" y="127883"/>
                    </a:lnTo>
                    <a:lnTo>
                      <a:pt x="457592" y="130005"/>
                    </a:lnTo>
                    <a:lnTo>
                      <a:pt x="460017" y="131974"/>
                    </a:lnTo>
                    <a:lnTo>
                      <a:pt x="461532" y="132277"/>
                    </a:lnTo>
                    <a:lnTo>
                      <a:pt x="462593" y="133035"/>
                    </a:lnTo>
                    <a:lnTo>
                      <a:pt x="460320" y="133490"/>
                    </a:lnTo>
                    <a:lnTo>
                      <a:pt x="456835" y="133641"/>
                    </a:lnTo>
                    <a:lnTo>
                      <a:pt x="456229" y="135762"/>
                    </a:lnTo>
                    <a:lnTo>
                      <a:pt x="456683" y="138187"/>
                    </a:lnTo>
                    <a:lnTo>
                      <a:pt x="457290" y="140308"/>
                    </a:lnTo>
                    <a:lnTo>
                      <a:pt x="456835" y="141823"/>
                    </a:lnTo>
                    <a:lnTo>
                      <a:pt x="455623" y="140763"/>
                    </a:lnTo>
                    <a:lnTo>
                      <a:pt x="455017" y="139247"/>
                    </a:lnTo>
                    <a:lnTo>
                      <a:pt x="451986" y="136066"/>
                    </a:lnTo>
                    <a:lnTo>
                      <a:pt x="449865" y="135156"/>
                    </a:lnTo>
                    <a:lnTo>
                      <a:pt x="446683" y="134399"/>
                    </a:lnTo>
                    <a:lnTo>
                      <a:pt x="445774" y="135308"/>
                    </a:lnTo>
                    <a:lnTo>
                      <a:pt x="445926" y="140157"/>
                    </a:lnTo>
                    <a:lnTo>
                      <a:pt x="445319" y="142429"/>
                    </a:lnTo>
                    <a:lnTo>
                      <a:pt x="444259" y="141217"/>
                    </a:lnTo>
                    <a:lnTo>
                      <a:pt x="443956" y="137732"/>
                    </a:lnTo>
                    <a:lnTo>
                      <a:pt x="441077" y="134853"/>
                    </a:lnTo>
                    <a:lnTo>
                      <a:pt x="429561" y="131974"/>
                    </a:lnTo>
                    <a:lnTo>
                      <a:pt x="427895" y="131823"/>
                    </a:lnTo>
                    <a:lnTo>
                      <a:pt x="425167" y="132126"/>
                    </a:lnTo>
                    <a:lnTo>
                      <a:pt x="423349" y="133338"/>
                    </a:lnTo>
                    <a:lnTo>
                      <a:pt x="423198" y="134399"/>
                    </a:lnTo>
                    <a:lnTo>
                      <a:pt x="421985" y="135308"/>
                    </a:lnTo>
                    <a:lnTo>
                      <a:pt x="420016" y="136369"/>
                    </a:lnTo>
                    <a:lnTo>
                      <a:pt x="418197" y="137884"/>
                    </a:lnTo>
                    <a:lnTo>
                      <a:pt x="416985" y="139247"/>
                    </a:lnTo>
                    <a:lnTo>
                      <a:pt x="416985" y="140914"/>
                    </a:lnTo>
                    <a:lnTo>
                      <a:pt x="418500" y="143945"/>
                    </a:lnTo>
                    <a:lnTo>
                      <a:pt x="419410" y="144854"/>
                    </a:lnTo>
                    <a:lnTo>
                      <a:pt x="419258" y="146369"/>
                    </a:lnTo>
                    <a:lnTo>
                      <a:pt x="417742" y="144854"/>
                    </a:lnTo>
                    <a:lnTo>
                      <a:pt x="416531" y="144399"/>
                    </a:lnTo>
                    <a:lnTo>
                      <a:pt x="415318" y="146823"/>
                    </a:lnTo>
                    <a:lnTo>
                      <a:pt x="414106" y="147278"/>
                    </a:lnTo>
                    <a:lnTo>
                      <a:pt x="414409" y="140611"/>
                    </a:lnTo>
                    <a:lnTo>
                      <a:pt x="415622" y="136066"/>
                    </a:lnTo>
                    <a:lnTo>
                      <a:pt x="416531" y="133338"/>
                    </a:lnTo>
                    <a:lnTo>
                      <a:pt x="417591" y="131217"/>
                    </a:lnTo>
                    <a:lnTo>
                      <a:pt x="417137" y="130156"/>
                    </a:lnTo>
                    <a:lnTo>
                      <a:pt x="409106" y="123792"/>
                    </a:lnTo>
                    <a:lnTo>
                      <a:pt x="405773" y="118640"/>
                    </a:lnTo>
                    <a:lnTo>
                      <a:pt x="403348" y="115762"/>
                    </a:lnTo>
                    <a:lnTo>
                      <a:pt x="399409" y="113034"/>
                    </a:lnTo>
                    <a:lnTo>
                      <a:pt x="397439" y="111216"/>
                    </a:lnTo>
                    <a:lnTo>
                      <a:pt x="392894" y="108489"/>
                    </a:lnTo>
                    <a:lnTo>
                      <a:pt x="387590" y="106670"/>
                    </a:lnTo>
                    <a:lnTo>
                      <a:pt x="385014" y="104095"/>
                    </a:lnTo>
                    <a:lnTo>
                      <a:pt x="382135" y="103186"/>
                    </a:lnTo>
                    <a:lnTo>
                      <a:pt x="378651" y="104398"/>
                    </a:lnTo>
                    <a:lnTo>
                      <a:pt x="378347" y="106670"/>
                    </a:lnTo>
                    <a:lnTo>
                      <a:pt x="378801" y="108943"/>
                    </a:lnTo>
                    <a:lnTo>
                      <a:pt x="376074" y="112731"/>
                    </a:lnTo>
                    <a:lnTo>
                      <a:pt x="373044" y="114701"/>
                    </a:lnTo>
                    <a:lnTo>
                      <a:pt x="370620" y="112428"/>
                    </a:lnTo>
                    <a:lnTo>
                      <a:pt x="368498" y="110762"/>
                    </a:lnTo>
                    <a:lnTo>
                      <a:pt x="366378" y="111974"/>
                    </a:lnTo>
                    <a:lnTo>
                      <a:pt x="365771" y="114095"/>
                    </a:lnTo>
                    <a:lnTo>
                      <a:pt x="364710" y="114852"/>
                    </a:lnTo>
                    <a:lnTo>
                      <a:pt x="363953" y="113489"/>
                    </a:lnTo>
                    <a:lnTo>
                      <a:pt x="362740" y="110458"/>
                    </a:lnTo>
                    <a:lnTo>
                      <a:pt x="360922" y="109246"/>
                    </a:lnTo>
                    <a:lnTo>
                      <a:pt x="359104" y="109852"/>
                    </a:lnTo>
                    <a:lnTo>
                      <a:pt x="359711" y="112277"/>
                    </a:lnTo>
                    <a:lnTo>
                      <a:pt x="360770" y="113641"/>
                    </a:lnTo>
                    <a:lnTo>
                      <a:pt x="360468" y="115610"/>
                    </a:lnTo>
                    <a:lnTo>
                      <a:pt x="359104" y="116519"/>
                    </a:lnTo>
                    <a:lnTo>
                      <a:pt x="358802" y="118338"/>
                    </a:lnTo>
                    <a:lnTo>
                      <a:pt x="358043" y="120762"/>
                    </a:lnTo>
                    <a:lnTo>
                      <a:pt x="358195" y="124247"/>
                    </a:lnTo>
                    <a:lnTo>
                      <a:pt x="356225" y="125005"/>
                    </a:lnTo>
                    <a:lnTo>
                      <a:pt x="354710" y="127732"/>
                    </a:lnTo>
                    <a:lnTo>
                      <a:pt x="353649" y="127126"/>
                    </a:lnTo>
                    <a:lnTo>
                      <a:pt x="353346" y="125307"/>
                    </a:lnTo>
                    <a:lnTo>
                      <a:pt x="352740" y="123489"/>
                    </a:lnTo>
                    <a:lnTo>
                      <a:pt x="350467" y="122732"/>
                    </a:lnTo>
                    <a:lnTo>
                      <a:pt x="349710" y="124398"/>
                    </a:lnTo>
                    <a:lnTo>
                      <a:pt x="349256" y="125005"/>
                    </a:lnTo>
                    <a:lnTo>
                      <a:pt x="348497" y="125156"/>
                    </a:lnTo>
                    <a:lnTo>
                      <a:pt x="348952" y="123792"/>
                    </a:lnTo>
                    <a:lnTo>
                      <a:pt x="348952" y="121217"/>
                    </a:lnTo>
                    <a:lnTo>
                      <a:pt x="349558" y="118489"/>
                    </a:lnTo>
                    <a:lnTo>
                      <a:pt x="347437" y="117580"/>
                    </a:lnTo>
                    <a:lnTo>
                      <a:pt x="346527" y="118186"/>
                    </a:lnTo>
                    <a:lnTo>
                      <a:pt x="346527" y="120459"/>
                    </a:lnTo>
                    <a:lnTo>
                      <a:pt x="346073" y="123792"/>
                    </a:lnTo>
                    <a:lnTo>
                      <a:pt x="343952" y="124247"/>
                    </a:lnTo>
                    <a:lnTo>
                      <a:pt x="342134" y="125762"/>
                    </a:lnTo>
                    <a:lnTo>
                      <a:pt x="339406" y="125762"/>
                    </a:lnTo>
                    <a:lnTo>
                      <a:pt x="338042" y="126520"/>
                    </a:lnTo>
                    <a:lnTo>
                      <a:pt x="337588" y="128338"/>
                    </a:lnTo>
                    <a:lnTo>
                      <a:pt x="335618" y="128641"/>
                    </a:lnTo>
                    <a:lnTo>
                      <a:pt x="335618" y="130914"/>
                    </a:lnTo>
                    <a:lnTo>
                      <a:pt x="337285" y="133187"/>
                    </a:lnTo>
                    <a:lnTo>
                      <a:pt x="337437" y="135156"/>
                    </a:lnTo>
                    <a:lnTo>
                      <a:pt x="341225" y="137126"/>
                    </a:lnTo>
                    <a:lnTo>
                      <a:pt x="341073" y="139096"/>
                    </a:lnTo>
                    <a:lnTo>
                      <a:pt x="340467" y="140005"/>
                    </a:lnTo>
                    <a:lnTo>
                      <a:pt x="338951" y="139702"/>
                    </a:lnTo>
                    <a:lnTo>
                      <a:pt x="335770" y="138035"/>
                    </a:lnTo>
                    <a:lnTo>
                      <a:pt x="332588" y="137732"/>
                    </a:lnTo>
                    <a:lnTo>
                      <a:pt x="331679" y="136975"/>
                    </a:lnTo>
                    <a:lnTo>
                      <a:pt x="331225" y="137581"/>
                    </a:lnTo>
                    <a:lnTo>
                      <a:pt x="331225" y="138944"/>
                    </a:lnTo>
                    <a:lnTo>
                      <a:pt x="330012" y="139854"/>
                    </a:lnTo>
                    <a:lnTo>
                      <a:pt x="328194" y="140005"/>
                    </a:lnTo>
                    <a:lnTo>
                      <a:pt x="326073" y="141369"/>
                    </a:lnTo>
                    <a:lnTo>
                      <a:pt x="327587" y="143642"/>
                    </a:lnTo>
                    <a:lnTo>
                      <a:pt x="327285" y="144551"/>
                    </a:lnTo>
                    <a:lnTo>
                      <a:pt x="328042" y="145611"/>
                    </a:lnTo>
                    <a:lnTo>
                      <a:pt x="331225" y="145763"/>
                    </a:lnTo>
                    <a:lnTo>
                      <a:pt x="332588" y="145460"/>
                    </a:lnTo>
                    <a:lnTo>
                      <a:pt x="332739" y="147278"/>
                    </a:lnTo>
                    <a:lnTo>
                      <a:pt x="332285" y="149096"/>
                    </a:lnTo>
                    <a:lnTo>
                      <a:pt x="331073" y="149702"/>
                    </a:lnTo>
                    <a:lnTo>
                      <a:pt x="329861" y="148036"/>
                    </a:lnTo>
                    <a:lnTo>
                      <a:pt x="323799" y="144702"/>
                    </a:lnTo>
                    <a:lnTo>
                      <a:pt x="322285" y="144399"/>
                    </a:lnTo>
                    <a:lnTo>
                      <a:pt x="321981" y="145460"/>
                    </a:lnTo>
                    <a:lnTo>
                      <a:pt x="322285" y="146823"/>
                    </a:lnTo>
                    <a:lnTo>
                      <a:pt x="321072" y="148490"/>
                    </a:lnTo>
                    <a:lnTo>
                      <a:pt x="318800" y="150611"/>
                    </a:lnTo>
                    <a:lnTo>
                      <a:pt x="317284" y="150005"/>
                    </a:lnTo>
                    <a:lnTo>
                      <a:pt x="315466" y="150460"/>
                    </a:lnTo>
                    <a:lnTo>
                      <a:pt x="314254" y="154097"/>
                    </a:lnTo>
                    <a:lnTo>
                      <a:pt x="313799" y="157733"/>
                    </a:lnTo>
                    <a:lnTo>
                      <a:pt x="315769" y="160309"/>
                    </a:lnTo>
                    <a:lnTo>
                      <a:pt x="317133" y="163642"/>
                    </a:lnTo>
                    <a:lnTo>
                      <a:pt x="319861" y="159400"/>
                    </a:lnTo>
                    <a:lnTo>
                      <a:pt x="321072" y="158945"/>
                    </a:lnTo>
                    <a:lnTo>
                      <a:pt x="321072" y="160763"/>
                    </a:lnTo>
                    <a:lnTo>
                      <a:pt x="320011" y="162582"/>
                    </a:lnTo>
                    <a:lnTo>
                      <a:pt x="319406" y="164854"/>
                    </a:lnTo>
                    <a:lnTo>
                      <a:pt x="319254" y="167430"/>
                    </a:lnTo>
                    <a:lnTo>
                      <a:pt x="317436" y="167430"/>
                    </a:lnTo>
                    <a:lnTo>
                      <a:pt x="315314" y="167127"/>
                    </a:lnTo>
                    <a:lnTo>
                      <a:pt x="314860" y="167885"/>
                    </a:lnTo>
                    <a:lnTo>
                      <a:pt x="314103" y="169855"/>
                    </a:lnTo>
                    <a:lnTo>
                      <a:pt x="314557" y="172582"/>
                    </a:lnTo>
                    <a:lnTo>
                      <a:pt x="315921" y="173643"/>
                    </a:lnTo>
                    <a:lnTo>
                      <a:pt x="319102" y="173491"/>
                    </a:lnTo>
                    <a:lnTo>
                      <a:pt x="321830" y="173643"/>
                    </a:lnTo>
                    <a:lnTo>
                      <a:pt x="324254" y="174552"/>
                    </a:lnTo>
                    <a:lnTo>
                      <a:pt x="324709" y="175309"/>
                    </a:lnTo>
                    <a:lnTo>
                      <a:pt x="322588" y="174855"/>
                    </a:lnTo>
                    <a:lnTo>
                      <a:pt x="318193" y="175158"/>
                    </a:lnTo>
                    <a:lnTo>
                      <a:pt x="316073" y="174855"/>
                    </a:lnTo>
                    <a:lnTo>
                      <a:pt x="311830" y="175006"/>
                    </a:lnTo>
                    <a:lnTo>
                      <a:pt x="308647" y="173491"/>
                    </a:lnTo>
                    <a:lnTo>
                      <a:pt x="307132" y="171976"/>
                    </a:lnTo>
                    <a:lnTo>
                      <a:pt x="304859" y="171521"/>
                    </a:lnTo>
                    <a:lnTo>
                      <a:pt x="302587" y="172128"/>
                    </a:lnTo>
                    <a:lnTo>
                      <a:pt x="301375" y="174249"/>
                    </a:lnTo>
                    <a:lnTo>
                      <a:pt x="299860" y="174703"/>
                    </a:lnTo>
                    <a:lnTo>
                      <a:pt x="296223" y="169400"/>
                    </a:lnTo>
                    <a:lnTo>
                      <a:pt x="293950" y="169097"/>
                    </a:lnTo>
                    <a:lnTo>
                      <a:pt x="292889" y="170309"/>
                    </a:lnTo>
                    <a:lnTo>
                      <a:pt x="293950" y="173643"/>
                    </a:lnTo>
                    <a:lnTo>
                      <a:pt x="293344" y="175612"/>
                    </a:lnTo>
                    <a:lnTo>
                      <a:pt x="292132" y="177127"/>
                    </a:lnTo>
                    <a:lnTo>
                      <a:pt x="290617" y="176976"/>
                    </a:lnTo>
                    <a:lnTo>
                      <a:pt x="289707" y="177582"/>
                    </a:lnTo>
                    <a:lnTo>
                      <a:pt x="290466" y="178946"/>
                    </a:lnTo>
                    <a:lnTo>
                      <a:pt x="292889" y="182431"/>
                    </a:lnTo>
                    <a:lnTo>
                      <a:pt x="294859" y="183946"/>
                    </a:lnTo>
                    <a:lnTo>
                      <a:pt x="296677" y="186067"/>
                    </a:lnTo>
                    <a:lnTo>
                      <a:pt x="297587" y="187886"/>
                    </a:lnTo>
                    <a:lnTo>
                      <a:pt x="299708" y="187734"/>
                    </a:lnTo>
                    <a:lnTo>
                      <a:pt x="300162" y="189249"/>
                    </a:lnTo>
                    <a:lnTo>
                      <a:pt x="298951" y="191370"/>
                    </a:lnTo>
                    <a:lnTo>
                      <a:pt x="298951" y="194856"/>
                    </a:lnTo>
                    <a:lnTo>
                      <a:pt x="298042" y="195007"/>
                    </a:lnTo>
                    <a:lnTo>
                      <a:pt x="296829" y="194249"/>
                    </a:lnTo>
                    <a:lnTo>
                      <a:pt x="294405" y="192128"/>
                    </a:lnTo>
                    <a:lnTo>
                      <a:pt x="293193" y="191674"/>
                    </a:lnTo>
                    <a:lnTo>
                      <a:pt x="292586" y="192280"/>
                    </a:lnTo>
                    <a:lnTo>
                      <a:pt x="292435" y="193795"/>
                    </a:lnTo>
                    <a:lnTo>
                      <a:pt x="293041" y="197583"/>
                    </a:lnTo>
                    <a:lnTo>
                      <a:pt x="291829" y="203038"/>
                    </a:lnTo>
                    <a:lnTo>
                      <a:pt x="292132" y="204704"/>
                    </a:lnTo>
                    <a:lnTo>
                      <a:pt x="291829" y="206068"/>
                    </a:lnTo>
                    <a:lnTo>
                      <a:pt x="290768" y="205007"/>
                    </a:lnTo>
                    <a:lnTo>
                      <a:pt x="289556" y="202886"/>
                    </a:lnTo>
                    <a:lnTo>
                      <a:pt x="286980" y="199553"/>
                    </a:lnTo>
                    <a:lnTo>
                      <a:pt x="283799" y="192431"/>
                    </a:lnTo>
                    <a:lnTo>
                      <a:pt x="280465" y="187582"/>
                    </a:lnTo>
                    <a:lnTo>
                      <a:pt x="278646" y="183492"/>
                    </a:lnTo>
                    <a:lnTo>
                      <a:pt x="275768" y="175764"/>
                    </a:lnTo>
                    <a:lnTo>
                      <a:pt x="274253" y="175612"/>
                    </a:lnTo>
                    <a:lnTo>
                      <a:pt x="272435" y="178946"/>
                    </a:lnTo>
                    <a:lnTo>
                      <a:pt x="270313" y="183340"/>
                    </a:lnTo>
                    <a:lnTo>
                      <a:pt x="268949" y="185461"/>
                    </a:lnTo>
                    <a:lnTo>
                      <a:pt x="265616" y="187582"/>
                    </a:lnTo>
                    <a:lnTo>
                      <a:pt x="263494" y="189704"/>
                    </a:lnTo>
                    <a:lnTo>
                      <a:pt x="261070" y="190461"/>
                    </a:lnTo>
                    <a:lnTo>
                      <a:pt x="258343" y="192886"/>
                    </a:lnTo>
                    <a:lnTo>
                      <a:pt x="256373" y="195007"/>
                    </a:lnTo>
                    <a:lnTo>
                      <a:pt x="253646" y="200007"/>
                    </a:lnTo>
                    <a:lnTo>
                      <a:pt x="253191" y="203189"/>
                    </a:lnTo>
                    <a:lnTo>
                      <a:pt x="253343" y="206523"/>
                    </a:lnTo>
                    <a:lnTo>
                      <a:pt x="254555" y="211371"/>
                    </a:lnTo>
                    <a:lnTo>
                      <a:pt x="255767" y="218341"/>
                    </a:lnTo>
                    <a:lnTo>
                      <a:pt x="257585" y="219099"/>
                    </a:lnTo>
                    <a:lnTo>
                      <a:pt x="259101" y="220311"/>
                    </a:lnTo>
                    <a:lnTo>
                      <a:pt x="258646" y="222432"/>
                    </a:lnTo>
                    <a:lnTo>
                      <a:pt x="256373" y="223796"/>
                    </a:lnTo>
                    <a:lnTo>
                      <a:pt x="249403" y="230463"/>
                    </a:lnTo>
                    <a:lnTo>
                      <a:pt x="244706" y="232736"/>
                    </a:lnTo>
                    <a:lnTo>
                      <a:pt x="243342" y="234402"/>
                    </a:lnTo>
                    <a:lnTo>
                      <a:pt x="241675" y="237887"/>
                    </a:lnTo>
                    <a:lnTo>
                      <a:pt x="239251" y="242281"/>
                    </a:lnTo>
                    <a:lnTo>
                      <a:pt x="238191" y="245009"/>
                    </a:lnTo>
                    <a:lnTo>
                      <a:pt x="235615" y="250464"/>
                    </a:lnTo>
                    <a:lnTo>
                      <a:pt x="231372" y="256524"/>
                    </a:lnTo>
                    <a:lnTo>
                      <a:pt x="226978" y="260918"/>
                    </a:lnTo>
                    <a:lnTo>
                      <a:pt x="221978" y="264555"/>
                    </a:lnTo>
                    <a:lnTo>
                      <a:pt x="218645" y="266222"/>
                    </a:lnTo>
                    <a:lnTo>
                      <a:pt x="206522" y="271222"/>
                    </a:lnTo>
                    <a:lnTo>
                      <a:pt x="200007" y="273192"/>
                    </a:lnTo>
                    <a:lnTo>
                      <a:pt x="188341" y="274555"/>
                    </a:lnTo>
                    <a:lnTo>
                      <a:pt x="183340" y="276828"/>
                    </a:lnTo>
                    <a:lnTo>
                      <a:pt x="177127" y="276070"/>
                    </a:lnTo>
                    <a:lnTo>
                      <a:pt x="170158" y="275616"/>
                    </a:lnTo>
                    <a:lnTo>
                      <a:pt x="160460" y="283192"/>
                    </a:lnTo>
                    <a:lnTo>
                      <a:pt x="152429" y="285010"/>
                    </a:lnTo>
                    <a:lnTo>
                      <a:pt x="145308" y="286374"/>
                    </a:lnTo>
                    <a:lnTo>
                      <a:pt x="142278" y="287586"/>
                    </a:lnTo>
                    <a:lnTo>
                      <a:pt x="135308" y="291980"/>
                    </a:lnTo>
                    <a:lnTo>
                      <a:pt x="131217" y="293950"/>
                    </a:lnTo>
                    <a:lnTo>
                      <a:pt x="123641" y="296223"/>
                    </a:lnTo>
                    <a:lnTo>
                      <a:pt x="120610" y="295920"/>
                    </a:lnTo>
                    <a:lnTo>
                      <a:pt x="116368" y="293799"/>
                    </a:lnTo>
                    <a:lnTo>
                      <a:pt x="112429" y="294253"/>
                    </a:lnTo>
                    <a:lnTo>
                      <a:pt x="108034" y="293950"/>
                    </a:lnTo>
                    <a:lnTo>
                      <a:pt x="104549" y="294101"/>
                    </a:lnTo>
                    <a:lnTo>
                      <a:pt x="101822" y="295768"/>
                    </a:lnTo>
                    <a:lnTo>
                      <a:pt x="85609" y="304708"/>
                    </a:lnTo>
                    <a:lnTo>
                      <a:pt x="82427" y="307132"/>
                    </a:lnTo>
                    <a:lnTo>
                      <a:pt x="79094" y="310769"/>
                    </a:lnTo>
                    <a:lnTo>
                      <a:pt x="74245" y="314102"/>
                    </a:lnTo>
                    <a:lnTo>
                      <a:pt x="70457" y="317890"/>
                    </a:lnTo>
                    <a:lnTo>
                      <a:pt x="62426" y="321830"/>
                    </a:lnTo>
                    <a:lnTo>
                      <a:pt x="54093" y="324860"/>
                    </a:lnTo>
                    <a:lnTo>
                      <a:pt x="50002" y="327285"/>
                    </a:lnTo>
                    <a:lnTo>
                      <a:pt x="47123" y="330618"/>
                    </a:lnTo>
                    <a:lnTo>
                      <a:pt x="41971" y="339709"/>
                    </a:lnTo>
                    <a:lnTo>
                      <a:pt x="40910" y="341982"/>
                    </a:lnTo>
                    <a:lnTo>
                      <a:pt x="38941" y="344406"/>
                    </a:lnTo>
                    <a:lnTo>
                      <a:pt x="36213" y="345316"/>
                    </a:lnTo>
                    <a:lnTo>
                      <a:pt x="34547" y="346073"/>
                    </a:lnTo>
                    <a:lnTo>
                      <a:pt x="35153" y="341528"/>
                    </a:lnTo>
                    <a:lnTo>
                      <a:pt x="33183" y="337436"/>
                    </a:lnTo>
                    <a:lnTo>
                      <a:pt x="34547" y="329709"/>
                    </a:lnTo>
                    <a:lnTo>
                      <a:pt x="34092" y="327436"/>
                    </a:lnTo>
                    <a:lnTo>
                      <a:pt x="31365" y="328951"/>
                    </a:lnTo>
                    <a:lnTo>
                      <a:pt x="29546" y="330618"/>
                    </a:lnTo>
                    <a:lnTo>
                      <a:pt x="25153" y="341831"/>
                    </a:lnTo>
                    <a:lnTo>
                      <a:pt x="22122" y="350619"/>
                    </a:lnTo>
                    <a:lnTo>
                      <a:pt x="24395" y="355619"/>
                    </a:lnTo>
                    <a:lnTo>
                      <a:pt x="25153" y="358498"/>
                    </a:lnTo>
                    <a:lnTo>
                      <a:pt x="25153" y="361680"/>
                    </a:lnTo>
                    <a:lnTo>
                      <a:pt x="24395" y="366225"/>
                    </a:lnTo>
                    <a:lnTo>
                      <a:pt x="24395" y="369104"/>
                    </a:lnTo>
                    <a:lnTo>
                      <a:pt x="24092" y="373044"/>
                    </a:lnTo>
                    <a:lnTo>
                      <a:pt x="18486" y="382135"/>
                    </a:lnTo>
                    <a:lnTo>
                      <a:pt x="16819" y="386075"/>
                    </a:lnTo>
                    <a:lnTo>
                      <a:pt x="15000" y="393651"/>
                    </a:lnTo>
                    <a:lnTo>
                      <a:pt x="14698" y="397136"/>
                    </a:lnTo>
                    <a:lnTo>
                      <a:pt x="14849" y="402439"/>
                    </a:lnTo>
                    <a:lnTo>
                      <a:pt x="17122" y="406985"/>
                    </a:lnTo>
                    <a:lnTo>
                      <a:pt x="18940" y="409863"/>
                    </a:lnTo>
                    <a:lnTo>
                      <a:pt x="21667" y="418046"/>
                    </a:lnTo>
                    <a:lnTo>
                      <a:pt x="25001" y="423500"/>
                    </a:lnTo>
                    <a:lnTo>
                      <a:pt x="30455" y="434561"/>
                    </a:lnTo>
                    <a:lnTo>
                      <a:pt x="36517" y="443501"/>
                    </a:lnTo>
                    <a:lnTo>
                      <a:pt x="36971" y="446986"/>
                    </a:lnTo>
                    <a:lnTo>
                      <a:pt x="36213" y="451531"/>
                    </a:lnTo>
                    <a:lnTo>
                      <a:pt x="36517" y="456229"/>
                    </a:lnTo>
                    <a:lnTo>
                      <a:pt x="35456" y="457592"/>
                    </a:lnTo>
                    <a:lnTo>
                      <a:pt x="33183" y="459259"/>
                    </a:lnTo>
                    <a:lnTo>
                      <a:pt x="30455" y="457138"/>
                    </a:lnTo>
                    <a:lnTo>
                      <a:pt x="29092" y="455319"/>
                    </a:lnTo>
                    <a:lnTo>
                      <a:pt x="27425" y="448653"/>
                    </a:lnTo>
                    <a:lnTo>
                      <a:pt x="26667" y="448198"/>
                    </a:lnTo>
                    <a:lnTo>
                      <a:pt x="25455" y="451077"/>
                    </a:lnTo>
                    <a:lnTo>
                      <a:pt x="24243" y="452289"/>
                    </a:lnTo>
                    <a:lnTo>
                      <a:pt x="23031" y="451380"/>
                    </a:lnTo>
                    <a:lnTo>
                      <a:pt x="22122" y="450319"/>
                    </a:lnTo>
                    <a:lnTo>
                      <a:pt x="21970" y="449107"/>
                    </a:lnTo>
                    <a:lnTo>
                      <a:pt x="22425" y="447743"/>
                    </a:lnTo>
                    <a:lnTo>
                      <a:pt x="22879" y="442743"/>
                    </a:lnTo>
                    <a:lnTo>
                      <a:pt x="20304" y="439865"/>
                    </a:lnTo>
                    <a:lnTo>
                      <a:pt x="18031" y="436834"/>
                    </a:lnTo>
                    <a:lnTo>
                      <a:pt x="15607" y="436077"/>
                    </a:lnTo>
                    <a:lnTo>
                      <a:pt x="14091" y="437440"/>
                    </a:lnTo>
                    <a:lnTo>
                      <a:pt x="14091" y="439410"/>
                    </a:lnTo>
                    <a:lnTo>
                      <a:pt x="17273" y="444865"/>
                    </a:lnTo>
                    <a:lnTo>
                      <a:pt x="19395" y="450622"/>
                    </a:lnTo>
                    <a:lnTo>
                      <a:pt x="22576" y="454259"/>
                    </a:lnTo>
                    <a:lnTo>
                      <a:pt x="24546" y="455168"/>
                    </a:lnTo>
                    <a:lnTo>
                      <a:pt x="26667" y="457441"/>
                    </a:lnTo>
                    <a:lnTo>
                      <a:pt x="26213" y="462290"/>
                    </a:lnTo>
                    <a:lnTo>
                      <a:pt x="24698" y="464108"/>
                    </a:lnTo>
                    <a:lnTo>
                      <a:pt x="23486" y="465017"/>
                    </a:lnTo>
                    <a:lnTo>
                      <a:pt x="19395" y="463956"/>
                    </a:lnTo>
                    <a:lnTo>
                      <a:pt x="18486" y="460471"/>
                    </a:lnTo>
                    <a:lnTo>
                      <a:pt x="15152" y="453501"/>
                    </a:lnTo>
                    <a:lnTo>
                      <a:pt x="14091" y="450774"/>
                    </a:lnTo>
                    <a:lnTo>
                      <a:pt x="13182" y="450016"/>
                    </a:lnTo>
                    <a:lnTo>
                      <a:pt x="12879" y="451380"/>
                    </a:lnTo>
                    <a:lnTo>
                      <a:pt x="12879" y="453804"/>
                    </a:lnTo>
                    <a:lnTo>
                      <a:pt x="12273" y="454865"/>
                    </a:lnTo>
                    <a:lnTo>
                      <a:pt x="11667" y="454713"/>
                    </a:lnTo>
                    <a:lnTo>
                      <a:pt x="10455" y="453501"/>
                    </a:lnTo>
                    <a:lnTo>
                      <a:pt x="9243" y="452895"/>
                    </a:lnTo>
                    <a:lnTo>
                      <a:pt x="8485" y="453198"/>
                    </a:lnTo>
                    <a:lnTo>
                      <a:pt x="9697" y="454865"/>
                    </a:lnTo>
                    <a:lnTo>
                      <a:pt x="12425" y="460017"/>
                    </a:lnTo>
                    <a:lnTo>
                      <a:pt x="22728" y="472593"/>
                    </a:lnTo>
                    <a:lnTo>
                      <a:pt x="31516" y="487290"/>
                    </a:lnTo>
                    <a:lnTo>
                      <a:pt x="33486" y="493048"/>
                    </a:lnTo>
                    <a:lnTo>
                      <a:pt x="34395" y="505776"/>
                    </a:lnTo>
                    <a:lnTo>
                      <a:pt x="35304" y="508806"/>
                    </a:lnTo>
                    <a:lnTo>
                      <a:pt x="40456" y="515170"/>
                    </a:lnTo>
                    <a:lnTo>
                      <a:pt x="45456" y="522443"/>
                    </a:lnTo>
                    <a:lnTo>
                      <a:pt x="46972" y="526080"/>
                    </a:lnTo>
                    <a:lnTo>
                      <a:pt x="46972" y="529262"/>
                    </a:lnTo>
                    <a:lnTo>
                      <a:pt x="48032" y="532292"/>
                    </a:lnTo>
                    <a:lnTo>
                      <a:pt x="54244" y="540323"/>
                    </a:lnTo>
                    <a:lnTo>
                      <a:pt x="56971" y="548959"/>
                    </a:lnTo>
                    <a:lnTo>
                      <a:pt x="57275" y="552141"/>
                    </a:lnTo>
                    <a:lnTo>
                      <a:pt x="56517" y="557596"/>
                    </a:lnTo>
                    <a:lnTo>
                      <a:pt x="57275" y="567142"/>
                    </a:lnTo>
                    <a:lnTo>
                      <a:pt x="58032" y="572294"/>
                    </a:lnTo>
                    <a:lnTo>
                      <a:pt x="60305" y="582597"/>
                    </a:lnTo>
                    <a:lnTo>
                      <a:pt x="63033" y="590021"/>
                    </a:lnTo>
                    <a:lnTo>
                      <a:pt x="66214" y="594567"/>
                    </a:lnTo>
                    <a:lnTo>
                      <a:pt x="70609" y="604871"/>
                    </a:lnTo>
                    <a:lnTo>
                      <a:pt x="77276" y="616689"/>
                    </a:lnTo>
                    <a:lnTo>
                      <a:pt x="78336" y="622598"/>
                    </a:lnTo>
                    <a:lnTo>
                      <a:pt x="78033" y="638054"/>
                    </a:lnTo>
                    <a:lnTo>
                      <a:pt x="77578" y="643054"/>
                    </a:lnTo>
                    <a:lnTo>
                      <a:pt x="76063" y="643963"/>
                    </a:lnTo>
                    <a:lnTo>
                      <a:pt x="75154" y="646084"/>
                    </a:lnTo>
                    <a:lnTo>
                      <a:pt x="76518" y="656236"/>
                    </a:lnTo>
                    <a:lnTo>
                      <a:pt x="76821" y="661994"/>
                    </a:lnTo>
                    <a:lnTo>
                      <a:pt x="74700" y="667449"/>
                    </a:lnTo>
                    <a:lnTo>
                      <a:pt x="72275" y="672297"/>
                    </a:lnTo>
                    <a:lnTo>
                      <a:pt x="68033" y="675630"/>
                    </a:lnTo>
                    <a:lnTo>
                      <a:pt x="63184" y="675782"/>
                    </a:lnTo>
                    <a:lnTo>
                      <a:pt x="60911" y="673812"/>
                    </a:lnTo>
                    <a:lnTo>
                      <a:pt x="58032" y="671842"/>
                    </a:lnTo>
                    <a:lnTo>
                      <a:pt x="57578" y="680631"/>
                    </a:lnTo>
                    <a:lnTo>
                      <a:pt x="57578" y="688207"/>
                    </a:lnTo>
                    <a:lnTo>
                      <a:pt x="58487" y="691086"/>
                    </a:lnTo>
                    <a:lnTo>
                      <a:pt x="58638" y="694419"/>
                    </a:lnTo>
                    <a:lnTo>
                      <a:pt x="61972" y="696995"/>
                    </a:lnTo>
                    <a:lnTo>
                      <a:pt x="63790" y="695935"/>
                    </a:lnTo>
                    <a:lnTo>
                      <a:pt x="66063" y="695783"/>
                    </a:lnTo>
                    <a:lnTo>
                      <a:pt x="73942" y="699571"/>
                    </a:lnTo>
                    <a:lnTo>
                      <a:pt x="78336" y="702601"/>
                    </a:lnTo>
                    <a:lnTo>
                      <a:pt x="85457" y="710935"/>
                    </a:lnTo>
                    <a:lnTo>
                      <a:pt x="91821" y="713056"/>
                    </a:lnTo>
                    <a:lnTo>
                      <a:pt x="100004" y="716844"/>
                    </a:lnTo>
                    <a:lnTo>
                      <a:pt x="109550" y="718057"/>
                    </a:lnTo>
                    <a:lnTo>
                      <a:pt x="117126" y="718208"/>
                    </a:lnTo>
                    <a:lnTo>
                      <a:pt x="129096" y="720178"/>
                    </a:lnTo>
                    <a:lnTo>
                      <a:pt x="131671" y="719420"/>
                    </a:lnTo>
                    <a:lnTo>
                      <a:pt x="136823" y="718814"/>
                    </a:lnTo>
                    <a:lnTo>
                      <a:pt x="140763" y="717450"/>
                    </a:lnTo>
                    <a:lnTo>
                      <a:pt x="144248" y="716693"/>
                    </a:lnTo>
                    <a:lnTo>
                      <a:pt x="154703" y="708965"/>
                    </a:lnTo>
                    <a:lnTo>
                      <a:pt x="165006" y="701086"/>
                    </a:lnTo>
                    <a:lnTo>
                      <a:pt x="170158" y="700480"/>
                    </a:lnTo>
                    <a:lnTo>
                      <a:pt x="174703" y="700328"/>
                    </a:lnTo>
                    <a:lnTo>
                      <a:pt x="180310" y="697601"/>
                    </a:lnTo>
                    <a:lnTo>
                      <a:pt x="185310" y="689419"/>
                    </a:lnTo>
                    <a:lnTo>
                      <a:pt x="187886" y="687601"/>
                    </a:lnTo>
                    <a:lnTo>
                      <a:pt x="191370" y="685480"/>
                    </a:lnTo>
                    <a:lnTo>
                      <a:pt x="201068" y="684267"/>
                    </a:lnTo>
                    <a:lnTo>
                      <a:pt x="206826" y="685176"/>
                    </a:lnTo>
                    <a:lnTo>
                      <a:pt x="209856" y="683813"/>
                    </a:lnTo>
                    <a:lnTo>
                      <a:pt x="217584" y="682297"/>
                    </a:lnTo>
                    <a:lnTo>
                      <a:pt x="233797" y="680934"/>
                    </a:lnTo>
                    <a:lnTo>
                      <a:pt x="242736" y="681995"/>
                    </a:lnTo>
                    <a:lnTo>
                      <a:pt x="248646" y="681843"/>
                    </a:lnTo>
                    <a:lnTo>
                      <a:pt x="251827" y="682449"/>
                    </a:lnTo>
                    <a:lnTo>
                      <a:pt x="254252" y="686085"/>
                    </a:lnTo>
                    <a:lnTo>
                      <a:pt x="271374" y="683055"/>
                    </a:lnTo>
                    <a:lnTo>
                      <a:pt x="276223" y="682904"/>
                    </a:lnTo>
                    <a:lnTo>
                      <a:pt x="279253" y="683358"/>
                    </a:lnTo>
                    <a:lnTo>
                      <a:pt x="283041" y="686085"/>
                    </a:lnTo>
                    <a:lnTo>
                      <a:pt x="287283" y="683510"/>
                    </a:lnTo>
                    <a:lnTo>
                      <a:pt x="291223" y="683813"/>
                    </a:lnTo>
                    <a:lnTo>
                      <a:pt x="295163" y="681388"/>
                    </a:lnTo>
                    <a:lnTo>
                      <a:pt x="301071" y="674116"/>
                    </a:lnTo>
                    <a:lnTo>
                      <a:pt x="303799" y="669570"/>
                    </a:lnTo>
                    <a:lnTo>
                      <a:pt x="308193" y="659873"/>
                    </a:lnTo>
                    <a:lnTo>
                      <a:pt x="311375" y="656387"/>
                    </a:lnTo>
                    <a:lnTo>
                      <a:pt x="314860" y="654721"/>
                    </a:lnTo>
                    <a:lnTo>
                      <a:pt x="318952" y="654115"/>
                    </a:lnTo>
                    <a:lnTo>
                      <a:pt x="325315" y="652297"/>
                    </a:lnTo>
                    <a:lnTo>
                      <a:pt x="339255" y="644114"/>
                    </a:lnTo>
                    <a:lnTo>
                      <a:pt x="344709" y="642296"/>
                    </a:lnTo>
                    <a:lnTo>
                      <a:pt x="347588" y="640781"/>
                    </a:lnTo>
                    <a:lnTo>
                      <a:pt x="357134" y="634417"/>
                    </a:lnTo>
                    <a:lnTo>
                      <a:pt x="363195" y="633205"/>
                    </a:lnTo>
                    <a:lnTo>
                      <a:pt x="380771" y="634871"/>
                    </a:lnTo>
                    <a:lnTo>
                      <a:pt x="389106" y="634417"/>
                    </a:lnTo>
                    <a:lnTo>
                      <a:pt x="395621" y="633357"/>
                    </a:lnTo>
                    <a:lnTo>
                      <a:pt x="405469" y="629871"/>
                    </a:lnTo>
                    <a:lnTo>
                      <a:pt x="416076" y="627295"/>
                    </a:lnTo>
                    <a:lnTo>
                      <a:pt x="429106" y="621841"/>
                    </a:lnTo>
                    <a:lnTo>
                      <a:pt x="440016" y="616235"/>
                    </a:lnTo>
                    <a:lnTo>
                      <a:pt x="446683" y="615022"/>
                    </a:lnTo>
                    <a:lnTo>
                      <a:pt x="457138" y="613962"/>
                    </a:lnTo>
                    <a:lnTo>
                      <a:pt x="472442" y="612447"/>
                    </a:lnTo>
                    <a:lnTo>
                      <a:pt x="490321" y="613204"/>
                    </a:lnTo>
                    <a:lnTo>
                      <a:pt x="494867" y="611992"/>
                    </a:lnTo>
                    <a:lnTo>
                      <a:pt x="497139" y="610931"/>
                    </a:lnTo>
                    <a:lnTo>
                      <a:pt x="500321" y="609871"/>
                    </a:lnTo>
                    <a:lnTo>
                      <a:pt x="504261" y="610628"/>
                    </a:lnTo>
                    <a:lnTo>
                      <a:pt x="507292" y="611386"/>
                    </a:lnTo>
                    <a:lnTo>
                      <a:pt x="516231" y="615780"/>
                    </a:lnTo>
                    <a:lnTo>
                      <a:pt x="529717" y="625174"/>
                    </a:lnTo>
                    <a:lnTo>
                      <a:pt x="532747" y="625629"/>
                    </a:lnTo>
                    <a:lnTo>
                      <a:pt x="541686" y="623507"/>
                    </a:lnTo>
                    <a:lnTo>
                      <a:pt x="544717" y="623659"/>
                    </a:lnTo>
                    <a:lnTo>
                      <a:pt x="557142" y="630478"/>
                    </a:lnTo>
                    <a:lnTo>
                      <a:pt x="562294" y="630629"/>
                    </a:lnTo>
                    <a:lnTo>
                      <a:pt x="566384" y="630478"/>
                    </a:lnTo>
                    <a:lnTo>
                      <a:pt x="569567" y="631235"/>
                    </a:lnTo>
                    <a:lnTo>
                      <a:pt x="572900" y="633053"/>
                    </a:lnTo>
                    <a:lnTo>
                      <a:pt x="576839" y="637447"/>
                    </a:lnTo>
                    <a:lnTo>
                      <a:pt x="585173" y="641538"/>
                    </a:lnTo>
                    <a:lnTo>
                      <a:pt x="585628" y="644872"/>
                    </a:lnTo>
                    <a:lnTo>
                      <a:pt x="585022" y="646993"/>
                    </a:lnTo>
                    <a:lnTo>
                      <a:pt x="583204" y="647145"/>
                    </a:lnTo>
                    <a:lnTo>
                      <a:pt x="581688" y="647599"/>
                    </a:lnTo>
                    <a:lnTo>
                      <a:pt x="583658" y="654569"/>
                    </a:lnTo>
                    <a:lnTo>
                      <a:pt x="587143" y="660176"/>
                    </a:lnTo>
                    <a:lnTo>
                      <a:pt x="595477" y="660933"/>
                    </a:lnTo>
                    <a:lnTo>
                      <a:pt x="598507" y="662903"/>
                    </a:lnTo>
                    <a:lnTo>
                      <a:pt x="600476" y="665175"/>
                    </a:lnTo>
                    <a:lnTo>
                      <a:pt x="601992" y="668661"/>
                    </a:lnTo>
                    <a:lnTo>
                      <a:pt x="603204" y="674267"/>
                    </a:lnTo>
                    <a:lnTo>
                      <a:pt x="607447" y="678964"/>
                    </a:lnTo>
                    <a:lnTo>
                      <a:pt x="611386" y="682904"/>
                    </a:lnTo>
                    <a:lnTo>
                      <a:pt x="612296" y="684571"/>
                    </a:lnTo>
                    <a:lnTo>
                      <a:pt x="614114" y="690177"/>
                    </a:lnTo>
                    <a:lnTo>
                      <a:pt x="614871" y="691843"/>
                    </a:lnTo>
                    <a:lnTo>
                      <a:pt x="616387" y="697298"/>
                    </a:lnTo>
                    <a:lnTo>
                      <a:pt x="618659" y="703662"/>
                    </a:lnTo>
                    <a:lnTo>
                      <a:pt x="618053" y="704268"/>
                    </a:lnTo>
                    <a:lnTo>
                      <a:pt x="616689" y="704116"/>
                    </a:lnTo>
                    <a:lnTo>
                      <a:pt x="614265" y="702450"/>
                    </a:lnTo>
                    <a:lnTo>
                      <a:pt x="612144" y="700632"/>
                    </a:lnTo>
                    <a:lnTo>
                      <a:pt x="611083" y="700935"/>
                    </a:lnTo>
                    <a:lnTo>
                      <a:pt x="609871" y="702147"/>
                    </a:lnTo>
                    <a:lnTo>
                      <a:pt x="609720" y="703662"/>
                    </a:lnTo>
                    <a:lnTo>
                      <a:pt x="611538" y="703207"/>
                    </a:lnTo>
                    <a:lnTo>
                      <a:pt x="612599" y="703359"/>
                    </a:lnTo>
                    <a:lnTo>
                      <a:pt x="615174" y="705329"/>
                    </a:lnTo>
                    <a:lnTo>
                      <a:pt x="617598" y="707602"/>
                    </a:lnTo>
                    <a:lnTo>
                      <a:pt x="619417" y="708965"/>
                    </a:lnTo>
                    <a:lnTo>
                      <a:pt x="623963" y="714571"/>
                    </a:lnTo>
                    <a:lnTo>
                      <a:pt x="625781" y="713359"/>
                    </a:lnTo>
                    <a:lnTo>
                      <a:pt x="627902" y="712299"/>
                    </a:lnTo>
                    <a:lnTo>
                      <a:pt x="631387" y="715329"/>
                    </a:lnTo>
                    <a:lnTo>
                      <a:pt x="632750" y="715935"/>
                    </a:lnTo>
                    <a:lnTo>
                      <a:pt x="633508" y="714723"/>
                    </a:lnTo>
                    <a:lnTo>
                      <a:pt x="632145" y="709268"/>
                    </a:lnTo>
                    <a:lnTo>
                      <a:pt x="630781" y="707904"/>
                    </a:lnTo>
                    <a:lnTo>
                      <a:pt x="630478" y="705935"/>
                    </a:lnTo>
                    <a:lnTo>
                      <a:pt x="632145" y="704571"/>
                    </a:lnTo>
                    <a:lnTo>
                      <a:pt x="632902" y="702904"/>
                    </a:lnTo>
                    <a:lnTo>
                      <a:pt x="636842" y="698813"/>
                    </a:lnTo>
                    <a:lnTo>
                      <a:pt x="645327" y="686540"/>
                    </a:lnTo>
                    <a:lnTo>
                      <a:pt x="647903" y="685176"/>
                    </a:lnTo>
                    <a:lnTo>
                      <a:pt x="650933" y="682449"/>
                    </a:lnTo>
                    <a:lnTo>
                      <a:pt x="655024" y="680328"/>
                    </a:lnTo>
                    <a:lnTo>
                      <a:pt x="659267" y="677904"/>
                    </a:lnTo>
                    <a:lnTo>
                      <a:pt x="661994" y="676995"/>
                    </a:lnTo>
                    <a:lnTo>
                      <a:pt x="664570" y="676540"/>
                    </a:lnTo>
                    <a:lnTo>
                      <a:pt x="667449" y="674267"/>
                    </a:lnTo>
                    <a:lnTo>
                      <a:pt x="670631" y="668206"/>
                    </a:lnTo>
                    <a:lnTo>
                      <a:pt x="673055" y="660933"/>
                    </a:lnTo>
                    <a:lnTo>
                      <a:pt x="675631" y="657751"/>
                    </a:lnTo>
                    <a:lnTo>
                      <a:pt x="679571" y="654418"/>
                    </a:lnTo>
                    <a:lnTo>
                      <a:pt x="682601" y="649721"/>
                    </a:lnTo>
                    <a:lnTo>
                      <a:pt x="682298" y="646084"/>
                    </a:lnTo>
                    <a:lnTo>
                      <a:pt x="682298" y="642296"/>
                    </a:lnTo>
                    <a:lnTo>
                      <a:pt x="684420" y="645175"/>
                    </a:lnTo>
                    <a:lnTo>
                      <a:pt x="685783" y="648054"/>
                    </a:lnTo>
                    <a:lnTo>
                      <a:pt x="687904" y="657903"/>
                    </a:lnTo>
                    <a:lnTo>
                      <a:pt x="686086" y="660024"/>
                    </a:lnTo>
                    <a:lnTo>
                      <a:pt x="684116" y="661085"/>
                    </a:lnTo>
                    <a:lnTo>
                      <a:pt x="684420" y="664570"/>
                    </a:lnTo>
                    <a:lnTo>
                      <a:pt x="685783" y="669115"/>
                    </a:lnTo>
                    <a:lnTo>
                      <a:pt x="686238" y="672752"/>
                    </a:lnTo>
                    <a:lnTo>
                      <a:pt x="682146" y="676540"/>
                    </a:lnTo>
                    <a:lnTo>
                      <a:pt x="678510" y="681237"/>
                    </a:lnTo>
                    <a:lnTo>
                      <a:pt x="674267" y="690480"/>
                    </a:lnTo>
                    <a:lnTo>
                      <a:pt x="673965" y="693207"/>
                    </a:lnTo>
                    <a:lnTo>
                      <a:pt x="673358" y="697147"/>
                    </a:lnTo>
                    <a:lnTo>
                      <a:pt x="673661" y="700632"/>
                    </a:lnTo>
                    <a:lnTo>
                      <a:pt x="674267" y="703965"/>
                    </a:lnTo>
                    <a:lnTo>
                      <a:pt x="673207" y="709117"/>
                    </a:lnTo>
                    <a:lnTo>
                      <a:pt x="671540" y="713662"/>
                    </a:lnTo>
                    <a:lnTo>
                      <a:pt x="669267" y="713814"/>
                    </a:lnTo>
                    <a:lnTo>
                      <a:pt x="667752" y="713662"/>
                    </a:lnTo>
                    <a:lnTo>
                      <a:pt x="664419" y="714117"/>
                    </a:lnTo>
                    <a:lnTo>
                      <a:pt x="661236" y="713814"/>
                    </a:lnTo>
                    <a:lnTo>
                      <a:pt x="657600" y="723814"/>
                    </a:lnTo>
                    <a:lnTo>
                      <a:pt x="659873" y="724269"/>
                    </a:lnTo>
                    <a:lnTo>
                      <a:pt x="661540" y="723663"/>
                    </a:lnTo>
                    <a:lnTo>
                      <a:pt x="664721" y="723663"/>
                    </a:lnTo>
                    <a:lnTo>
                      <a:pt x="668207" y="721845"/>
                    </a:lnTo>
                    <a:lnTo>
                      <a:pt x="673358" y="720329"/>
                    </a:lnTo>
                    <a:lnTo>
                      <a:pt x="676237" y="720784"/>
                    </a:lnTo>
                    <a:lnTo>
                      <a:pt x="679722" y="720632"/>
                    </a:lnTo>
                    <a:lnTo>
                      <a:pt x="684722" y="707753"/>
                    </a:lnTo>
                    <a:lnTo>
                      <a:pt x="685934" y="699419"/>
                    </a:lnTo>
                    <a:lnTo>
                      <a:pt x="688510" y="695631"/>
                    </a:lnTo>
                    <a:lnTo>
                      <a:pt x="689268" y="693056"/>
                    </a:lnTo>
                    <a:lnTo>
                      <a:pt x="690631" y="690631"/>
                    </a:lnTo>
                    <a:lnTo>
                      <a:pt x="693359" y="694874"/>
                    </a:lnTo>
                    <a:lnTo>
                      <a:pt x="695480" y="698965"/>
                    </a:lnTo>
                    <a:lnTo>
                      <a:pt x="700177" y="705632"/>
                    </a:lnTo>
                    <a:lnTo>
                      <a:pt x="701692" y="708965"/>
                    </a:lnTo>
                    <a:lnTo>
                      <a:pt x="702299" y="716996"/>
                    </a:lnTo>
                    <a:lnTo>
                      <a:pt x="699268" y="726239"/>
                    </a:lnTo>
                    <a:lnTo>
                      <a:pt x="697450" y="728966"/>
                    </a:lnTo>
                    <a:lnTo>
                      <a:pt x="695177" y="731239"/>
                    </a:lnTo>
                    <a:lnTo>
                      <a:pt x="693359" y="735178"/>
                    </a:lnTo>
                    <a:lnTo>
                      <a:pt x="698965" y="736239"/>
                    </a:lnTo>
                    <a:lnTo>
                      <a:pt x="702601" y="736239"/>
                    </a:lnTo>
                    <a:lnTo>
                      <a:pt x="708359" y="733360"/>
                    </a:lnTo>
                    <a:lnTo>
                      <a:pt x="709420" y="732905"/>
                    </a:lnTo>
                    <a:lnTo>
                      <a:pt x="712299" y="732905"/>
                    </a:lnTo>
                    <a:lnTo>
                      <a:pt x="713360" y="731390"/>
                    </a:lnTo>
                    <a:lnTo>
                      <a:pt x="716087" y="730027"/>
                    </a:lnTo>
                    <a:lnTo>
                      <a:pt x="718208" y="728360"/>
                    </a:lnTo>
                    <a:lnTo>
                      <a:pt x="720936" y="726996"/>
                    </a:lnTo>
                    <a:lnTo>
                      <a:pt x="723360" y="727905"/>
                    </a:lnTo>
                    <a:lnTo>
                      <a:pt x="723966" y="728663"/>
                    </a:lnTo>
                    <a:lnTo>
                      <a:pt x="724572" y="729572"/>
                    </a:lnTo>
                    <a:lnTo>
                      <a:pt x="723663" y="731390"/>
                    </a:lnTo>
                    <a:lnTo>
                      <a:pt x="723663" y="735330"/>
                    </a:lnTo>
                    <a:lnTo>
                      <a:pt x="721996" y="734875"/>
                    </a:lnTo>
                    <a:lnTo>
                      <a:pt x="720632" y="732602"/>
                    </a:lnTo>
                    <a:lnTo>
                      <a:pt x="718814" y="733209"/>
                    </a:lnTo>
                    <a:lnTo>
                      <a:pt x="717603" y="734875"/>
                    </a:lnTo>
                    <a:lnTo>
                      <a:pt x="714875" y="734269"/>
                    </a:lnTo>
                    <a:lnTo>
                      <a:pt x="715329" y="735481"/>
                    </a:lnTo>
                    <a:lnTo>
                      <a:pt x="716844" y="737754"/>
                    </a:lnTo>
                    <a:lnTo>
                      <a:pt x="722451" y="741997"/>
                    </a:lnTo>
                    <a:lnTo>
                      <a:pt x="728512" y="747754"/>
                    </a:lnTo>
                    <a:lnTo>
                      <a:pt x="730785" y="750482"/>
                    </a:lnTo>
                    <a:lnTo>
                      <a:pt x="735784" y="759118"/>
                    </a:lnTo>
                    <a:lnTo>
                      <a:pt x="739270" y="768210"/>
                    </a:lnTo>
                    <a:lnTo>
                      <a:pt x="738967" y="770937"/>
                    </a:lnTo>
                    <a:lnTo>
                      <a:pt x="737300" y="775786"/>
                    </a:lnTo>
                    <a:lnTo>
                      <a:pt x="736088" y="780635"/>
                    </a:lnTo>
                    <a:lnTo>
                      <a:pt x="736239" y="783210"/>
                    </a:lnTo>
                    <a:lnTo>
                      <a:pt x="737452" y="786544"/>
                    </a:lnTo>
                    <a:lnTo>
                      <a:pt x="739876" y="789877"/>
                    </a:lnTo>
                    <a:lnTo>
                      <a:pt x="749118" y="798968"/>
                    </a:lnTo>
                    <a:lnTo>
                      <a:pt x="753967" y="806999"/>
                    </a:lnTo>
                    <a:lnTo>
                      <a:pt x="760482" y="811090"/>
                    </a:lnTo>
                    <a:lnTo>
                      <a:pt x="770937" y="812605"/>
                    </a:lnTo>
                    <a:lnTo>
                      <a:pt x="776544" y="815636"/>
                    </a:lnTo>
                    <a:lnTo>
                      <a:pt x="782301" y="821697"/>
                    </a:lnTo>
                    <a:lnTo>
                      <a:pt x="784120" y="822151"/>
                    </a:lnTo>
                    <a:lnTo>
                      <a:pt x="786848" y="822454"/>
                    </a:lnTo>
                    <a:lnTo>
                      <a:pt x="790484" y="818818"/>
                    </a:lnTo>
                    <a:lnTo>
                      <a:pt x="795939" y="819272"/>
                    </a:lnTo>
                    <a:lnTo>
                      <a:pt x="803060" y="822909"/>
                    </a:lnTo>
                    <a:lnTo>
                      <a:pt x="807303" y="821999"/>
                    </a:lnTo>
                    <a:lnTo>
                      <a:pt x="810333" y="822454"/>
                    </a:lnTo>
                    <a:lnTo>
                      <a:pt x="814575" y="824576"/>
                    </a:lnTo>
                    <a:lnTo>
                      <a:pt x="820788" y="828666"/>
                    </a:lnTo>
                    <a:lnTo>
                      <a:pt x="827455" y="830788"/>
                    </a:lnTo>
                    <a:lnTo>
                      <a:pt x="831394" y="833818"/>
                    </a:lnTo>
                    <a:lnTo>
                      <a:pt x="834425" y="834273"/>
                    </a:lnTo>
                    <a:lnTo>
                      <a:pt x="839880" y="836242"/>
                    </a:lnTo>
                    <a:lnTo>
                      <a:pt x="843970" y="834576"/>
                    </a:lnTo>
                    <a:lnTo>
                      <a:pt x="847456" y="832454"/>
                    </a:lnTo>
                    <a:lnTo>
                      <a:pt x="855334" y="824878"/>
                    </a:lnTo>
                    <a:lnTo>
                      <a:pt x="861547" y="821242"/>
                    </a:lnTo>
                    <a:lnTo>
                      <a:pt x="864880" y="819878"/>
                    </a:lnTo>
                    <a:lnTo>
                      <a:pt x="867456" y="819272"/>
                    </a:lnTo>
                    <a:lnTo>
                      <a:pt x="870790" y="816999"/>
                    </a:lnTo>
                    <a:lnTo>
                      <a:pt x="868668" y="815333"/>
                    </a:lnTo>
                    <a:lnTo>
                      <a:pt x="866699" y="815636"/>
                    </a:lnTo>
                    <a:lnTo>
                      <a:pt x="863366" y="814727"/>
                    </a:lnTo>
                    <a:lnTo>
                      <a:pt x="865335" y="813666"/>
                    </a:lnTo>
                    <a:lnTo>
                      <a:pt x="867305" y="812908"/>
                    </a:lnTo>
                    <a:lnTo>
                      <a:pt x="877002" y="807302"/>
                    </a:lnTo>
                    <a:lnTo>
                      <a:pt x="879578" y="808969"/>
                    </a:lnTo>
                    <a:lnTo>
                      <a:pt x="881397" y="810787"/>
                    </a:lnTo>
                    <a:lnTo>
                      <a:pt x="883366" y="813363"/>
                    </a:lnTo>
                    <a:lnTo>
                      <a:pt x="881851" y="816999"/>
                    </a:lnTo>
                    <a:lnTo>
                      <a:pt x="880638" y="818666"/>
                    </a:lnTo>
                    <a:lnTo>
                      <a:pt x="877609" y="821394"/>
                    </a:lnTo>
                    <a:lnTo>
                      <a:pt x="873972" y="821545"/>
                    </a:lnTo>
                    <a:lnTo>
                      <a:pt x="872305" y="821394"/>
                    </a:lnTo>
                    <a:lnTo>
                      <a:pt x="875790" y="824424"/>
                    </a:lnTo>
                    <a:lnTo>
                      <a:pt x="878820" y="826545"/>
                    </a:lnTo>
                    <a:lnTo>
                      <a:pt x="885185" y="822757"/>
                    </a:lnTo>
                    <a:lnTo>
                      <a:pt x="886699" y="819878"/>
                    </a:lnTo>
                    <a:lnTo>
                      <a:pt x="887912" y="818211"/>
                    </a:lnTo>
                    <a:lnTo>
                      <a:pt x="889882" y="817909"/>
                    </a:lnTo>
                    <a:lnTo>
                      <a:pt x="892912" y="818515"/>
                    </a:lnTo>
                    <a:lnTo>
                      <a:pt x="894124" y="820636"/>
                    </a:lnTo>
                    <a:lnTo>
                      <a:pt x="894730" y="823212"/>
                    </a:lnTo>
                    <a:lnTo>
                      <a:pt x="892609" y="823969"/>
                    </a:lnTo>
                    <a:lnTo>
                      <a:pt x="891548" y="825939"/>
                    </a:lnTo>
                    <a:lnTo>
                      <a:pt x="890791" y="827757"/>
                    </a:lnTo>
                    <a:lnTo>
                      <a:pt x="894579" y="830182"/>
                    </a:lnTo>
                    <a:lnTo>
                      <a:pt x="896549" y="831697"/>
                    </a:lnTo>
                    <a:lnTo>
                      <a:pt x="898821" y="831697"/>
                    </a:lnTo>
                    <a:lnTo>
                      <a:pt x="901548" y="832000"/>
                    </a:lnTo>
                    <a:lnTo>
                      <a:pt x="903518" y="835485"/>
                    </a:lnTo>
                    <a:lnTo>
                      <a:pt x="905488" y="839424"/>
                    </a:lnTo>
                    <a:lnTo>
                      <a:pt x="907761" y="838364"/>
                    </a:lnTo>
                    <a:lnTo>
                      <a:pt x="909124" y="837303"/>
                    </a:lnTo>
                    <a:lnTo>
                      <a:pt x="911549" y="838364"/>
                    </a:lnTo>
                    <a:lnTo>
                      <a:pt x="914125" y="841546"/>
                    </a:lnTo>
                    <a:lnTo>
                      <a:pt x="916246" y="845182"/>
                    </a:lnTo>
                    <a:lnTo>
                      <a:pt x="916398" y="846697"/>
                    </a:lnTo>
                    <a:lnTo>
                      <a:pt x="918064" y="847455"/>
                    </a:lnTo>
                    <a:lnTo>
                      <a:pt x="919579" y="846395"/>
                    </a:lnTo>
                    <a:lnTo>
                      <a:pt x="920337" y="844879"/>
                    </a:lnTo>
                    <a:lnTo>
                      <a:pt x="920337" y="842152"/>
                    </a:lnTo>
                    <a:lnTo>
                      <a:pt x="919882" y="837758"/>
                    </a:lnTo>
                    <a:lnTo>
                      <a:pt x="918822" y="837152"/>
                    </a:lnTo>
                    <a:lnTo>
                      <a:pt x="916398" y="839576"/>
                    </a:lnTo>
                    <a:lnTo>
                      <a:pt x="915034" y="837909"/>
                    </a:lnTo>
                    <a:lnTo>
                      <a:pt x="913064" y="836091"/>
                    </a:lnTo>
                    <a:lnTo>
                      <a:pt x="913064" y="834273"/>
                    </a:lnTo>
                    <a:lnTo>
                      <a:pt x="915185" y="833364"/>
                    </a:lnTo>
                    <a:lnTo>
                      <a:pt x="916852" y="833818"/>
                    </a:lnTo>
                    <a:lnTo>
                      <a:pt x="918973" y="833818"/>
                    </a:lnTo>
                    <a:lnTo>
                      <a:pt x="930489" y="832303"/>
                    </a:lnTo>
                    <a:lnTo>
                      <a:pt x="945186" y="818211"/>
                    </a:lnTo>
                    <a:lnTo>
                      <a:pt x="951701" y="813060"/>
                    </a:lnTo>
                    <a:lnTo>
                      <a:pt x="958368" y="809272"/>
                    </a:lnTo>
                    <a:lnTo>
                      <a:pt x="965339" y="806847"/>
                    </a:lnTo>
                    <a:lnTo>
                      <a:pt x="968975" y="806090"/>
                    </a:lnTo>
                    <a:lnTo>
                      <a:pt x="987613" y="804726"/>
                    </a:lnTo>
                    <a:lnTo>
                      <a:pt x="997309" y="805181"/>
                    </a:lnTo>
                    <a:lnTo>
                      <a:pt x="1002310" y="804272"/>
                    </a:lnTo>
                    <a:lnTo>
                      <a:pt x="1004583" y="802908"/>
                    </a:lnTo>
                    <a:lnTo>
                      <a:pt x="1008522" y="799271"/>
                    </a:lnTo>
                    <a:lnTo>
                      <a:pt x="1011250" y="797150"/>
                    </a:lnTo>
                    <a:lnTo>
                      <a:pt x="1014583" y="796544"/>
                    </a:lnTo>
                    <a:lnTo>
                      <a:pt x="1015340" y="793817"/>
                    </a:lnTo>
                    <a:lnTo>
                      <a:pt x="1015340" y="790938"/>
                    </a:lnTo>
                    <a:lnTo>
                      <a:pt x="1015947" y="787907"/>
                    </a:lnTo>
                    <a:lnTo>
                      <a:pt x="1015038" y="782301"/>
                    </a:lnTo>
                    <a:lnTo>
                      <a:pt x="1015340" y="774877"/>
                    </a:lnTo>
                    <a:lnTo>
                      <a:pt x="1016098" y="771089"/>
                    </a:lnTo>
                    <a:lnTo>
                      <a:pt x="1018068" y="765634"/>
                    </a:lnTo>
                    <a:lnTo>
                      <a:pt x="1018977" y="760028"/>
                    </a:lnTo>
                    <a:lnTo>
                      <a:pt x="1019886" y="752149"/>
                    </a:lnTo>
                    <a:lnTo>
                      <a:pt x="1020644" y="747452"/>
                    </a:lnTo>
                    <a:lnTo>
                      <a:pt x="1021705" y="743209"/>
                    </a:lnTo>
                    <a:lnTo>
                      <a:pt x="1024281" y="738512"/>
                    </a:lnTo>
                    <a:lnTo>
                      <a:pt x="1026553" y="735481"/>
                    </a:lnTo>
                    <a:lnTo>
                      <a:pt x="1031857" y="723966"/>
                    </a:lnTo>
                    <a:lnTo>
                      <a:pt x="1033675" y="722905"/>
                    </a:lnTo>
                    <a:lnTo>
                      <a:pt x="1035190" y="722905"/>
                    </a:lnTo>
                    <a:lnTo>
                      <a:pt x="1035796" y="722147"/>
                    </a:lnTo>
                    <a:lnTo>
                      <a:pt x="1035947" y="721541"/>
                    </a:lnTo>
                    <a:lnTo>
                      <a:pt x="1035493" y="721087"/>
                    </a:lnTo>
                    <a:lnTo>
                      <a:pt x="1034887" y="719723"/>
                    </a:lnTo>
                    <a:lnTo>
                      <a:pt x="1035341" y="718663"/>
                    </a:lnTo>
                    <a:lnTo>
                      <a:pt x="1037008" y="717602"/>
                    </a:lnTo>
                    <a:lnTo>
                      <a:pt x="1037463" y="718057"/>
                    </a:lnTo>
                    <a:lnTo>
                      <a:pt x="1038220" y="717753"/>
                    </a:lnTo>
                    <a:lnTo>
                      <a:pt x="1038372" y="717147"/>
                    </a:lnTo>
                    <a:lnTo>
                      <a:pt x="1037614" y="713965"/>
                    </a:lnTo>
                    <a:lnTo>
                      <a:pt x="1038675" y="709571"/>
                    </a:lnTo>
                    <a:lnTo>
                      <a:pt x="1040038" y="701844"/>
                    </a:lnTo>
                    <a:lnTo>
                      <a:pt x="1041554" y="698359"/>
                    </a:lnTo>
                    <a:lnTo>
                      <a:pt x="1042463" y="695631"/>
                    </a:lnTo>
                    <a:lnTo>
                      <a:pt x="1045948" y="691540"/>
                    </a:lnTo>
                    <a:lnTo>
                      <a:pt x="1049888" y="687449"/>
                    </a:lnTo>
                    <a:lnTo>
                      <a:pt x="1048827" y="686994"/>
                    </a:lnTo>
                    <a:lnTo>
                      <a:pt x="1047009" y="686692"/>
                    </a:lnTo>
                    <a:lnTo>
                      <a:pt x="1048221" y="685783"/>
                    </a:lnTo>
                    <a:lnTo>
                      <a:pt x="1049130" y="685480"/>
                    </a:lnTo>
                    <a:lnTo>
                      <a:pt x="1050342" y="686085"/>
                    </a:lnTo>
                    <a:lnTo>
                      <a:pt x="1051251" y="684267"/>
                    </a:lnTo>
                    <a:lnTo>
                      <a:pt x="1051402" y="681388"/>
                    </a:lnTo>
                    <a:lnTo>
                      <a:pt x="1052312" y="677297"/>
                    </a:lnTo>
                    <a:lnTo>
                      <a:pt x="1051402" y="673661"/>
                    </a:lnTo>
                    <a:lnTo>
                      <a:pt x="1053221" y="672600"/>
                    </a:lnTo>
                    <a:lnTo>
                      <a:pt x="1055190" y="671842"/>
                    </a:lnTo>
                    <a:lnTo>
                      <a:pt x="1056100" y="668054"/>
                    </a:lnTo>
                    <a:lnTo>
                      <a:pt x="1056706" y="666540"/>
                    </a:lnTo>
                    <a:lnTo>
                      <a:pt x="1057918" y="665175"/>
                    </a:lnTo>
                    <a:lnTo>
                      <a:pt x="1060039" y="662145"/>
                    </a:lnTo>
                    <a:lnTo>
                      <a:pt x="1061706" y="658964"/>
                    </a:lnTo>
                    <a:lnTo>
                      <a:pt x="1065645" y="652902"/>
                    </a:lnTo>
                    <a:lnTo>
                      <a:pt x="1069585" y="650478"/>
                    </a:lnTo>
                    <a:lnTo>
                      <a:pt x="1075343" y="648509"/>
                    </a:lnTo>
                    <a:lnTo>
                      <a:pt x="1075949" y="647448"/>
                    </a:lnTo>
                    <a:lnTo>
                      <a:pt x="1074434" y="646842"/>
                    </a:lnTo>
                    <a:lnTo>
                      <a:pt x="1074434" y="646235"/>
                    </a:lnTo>
                    <a:lnTo>
                      <a:pt x="1076555" y="646235"/>
                    </a:lnTo>
                    <a:lnTo>
                      <a:pt x="1077464" y="644114"/>
                    </a:lnTo>
                    <a:lnTo>
                      <a:pt x="1079737" y="642599"/>
                    </a:lnTo>
                    <a:lnTo>
                      <a:pt x="1083525" y="638963"/>
                    </a:lnTo>
                    <a:lnTo>
                      <a:pt x="1084737" y="635629"/>
                    </a:lnTo>
                    <a:lnTo>
                      <a:pt x="1085495" y="633053"/>
                    </a:lnTo>
                    <a:lnTo>
                      <a:pt x="1085950" y="627144"/>
                    </a:lnTo>
                    <a:lnTo>
                      <a:pt x="1092162" y="619265"/>
                    </a:lnTo>
                    <a:lnTo>
                      <a:pt x="1096555" y="608659"/>
                    </a:lnTo>
                    <a:lnTo>
                      <a:pt x="1097616" y="601840"/>
                    </a:lnTo>
                    <a:lnTo>
                      <a:pt x="1098677" y="598204"/>
                    </a:lnTo>
                    <a:lnTo>
                      <a:pt x="1099434" y="592749"/>
                    </a:lnTo>
                    <a:lnTo>
                      <a:pt x="1098829" y="587142"/>
                    </a:lnTo>
                    <a:lnTo>
                      <a:pt x="1098980" y="582445"/>
                    </a:lnTo>
                    <a:lnTo>
                      <a:pt x="1103222" y="570475"/>
                    </a:lnTo>
                    <a:lnTo>
                      <a:pt x="1104131" y="565475"/>
                    </a:lnTo>
                    <a:lnTo>
                      <a:pt x="1105495" y="562293"/>
                    </a:lnTo>
                    <a:lnTo>
                      <a:pt x="1107465" y="550475"/>
                    </a:lnTo>
                    <a:lnTo>
                      <a:pt x="1107465" y="544414"/>
                    </a:lnTo>
                    <a:lnTo>
                      <a:pt x="1110648" y="537292"/>
                    </a:lnTo>
                    <a:lnTo>
                      <a:pt x="1114586" y="531535"/>
                    </a:lnTo>
                    <a:lnTo>
                      <a:pt x="1114890" y="526231"/>
                    </a:lnTo>
                    <a:lnTo>
                      <a:pt x="1113527" y="522140"/>
                    </a:lnTo>
                    <a:lnTo>
                      <a:pt x="1112617" y="514564"/>
                    </a:lnTo>
                    <a:close/>
                    <a:moveTo>
                      <a:pt x="968975" y="885790"/>
                    </a:moveTo>
                    <a:lnTo>
                      <a:pt x="965490" y="887457"/>
                    </a:lnTo>
                    <a:lnTo>
                      <a:pt x="961702" y="887457"/>
                    </a:lnTo>
                    <a:lnTo>
                      <a:pt x="960338" y="888214"/>
                    </a:lnTo>
                    <a:lnTo>
                      <a:pt x="960642" y="888972"/>
                    </a:lnTo>
                    <a:lnTo>
                      <a:pt x="962915" y="890487"/>
                    </a:lnTo>
                    <a:lnTo>
                      <a:pt x="965944" y="890638"/>
                    </a:lnTo>
                    <a:lnTo>
                      <a:pt x="968823" y="889881"/>
                    </a:lnTo>
                    <a:lnTo>
                      <a:pt x="969732" y="891851"/>
                    </a:lnTo>
                    <a:lnTo>
                      <a:pt x="971097" y="891547"/>
                    </a:lnTo>
                    <a:lnTo>
                      <a:pt x="973066" y="889729"/>
                    </a:lnTo>
                    <a:lnTo>
                      <a:pt x="971551" y="887608"/>
                    </a:lnTo>
                    <a:lnTo>
                      <a:pt x="968975" y="885790"/>
                    </a:lnTo>
                    <a:close/>
                    <a:moveTo>
                      <a:pt x="872002" y="892305"/>
                    </a:moveTo>
                    <a:lnTo>
                      <a:pt x="872153" y="890184"/>
                    </a:lnTo>
                    <a:lnTo>
                      <a:pt x="872002" y="890033"/>
                    </a:lnTo>
                    <a:lnTo>
                      <a:pt x="871093" y="891245"/>
                    </a:lnTo>
                    <a:lnTo>
                      <a:pt x="870032" y="891699"/>
                    </a:lnTo>
                    <a:lnTo>
                      <a:pt x="871093" y="895033"/>
                    </a:lnTo>
                    <a:lnTo>
                      <a:pt x="872002" y="892305"/>
                    </a:lnTo>
                    <a:close/>
                    <a:moveTo>
                      <a:pt x="336224" y="124853"/>
                    </a:moveTo>
                    <a:lnTo>
                      <a:pt x="336073" y="124095"/>
                    </a:lnTo>
                    <a:lnTo>
                      <a:pt x="336224" y="121974"/>
                    </a:lnTo>
                    <a:lnTo>
                      <a:pt x="335163" y="121519"/>
                    </a:lnTo>
                    <a:lnTo>
                      <a:pt x="333952" y="122580"/>
                    </a:lnTo>
                    <a:lnTo>
                      <a:pt x="333195" y="125307"/>
                    </a:lnTo>
                    <a:lnTo>
                      <a:pt x="334406" y="126671"/>
                    </a:lnTo>
                    <a:lnTo>
                      <a:pt x="336224" y="124853"/>
                    </a:lnTo>
                    <a:close/>
                    <a:moveTo>
                      <a:pt x="317739" y="148339"/>
                    </a:moveTo>
                    <a:lnTo>
                      <a:pt x="318648" y="148642"/>
                    </a:lnTo>
                    <a:lnTo>
                      <a:pt x="319709" y="147884"/>
                    </a:lnTo>
                    <a:lnTo>
                      <a:pt x="319861" y="146672"/>
                    </a:lnTo>
                    <a:lnTo>
                      <a:pt x="318800" y="145460"/>
                    </a:lnTo>
                    <a:lnTo>
                      <a:pt x="318497" y="144399"/>
                    </a:lnTo>
                    <a:lnTo>
                      <a:pt x="317587" y="144248"/>
                    </a:lnTo>
                    <a:lnTo>
                      <a:pt x="317133" y="145005"/>
                    </a:lnTo>
                    <a:lnTo>
                      <a:pt x="316527" y="146369"/>
                    </a:lnTo>
                    <a:lnTo>
                      <a:pt x="317587" y="147581"/>
                    </a:lnTo>
                    <a:lnTo>
                      <a:pt x="317739" y="148339"/>
                    </a:lnTo>
                    <a:close/>
                    <a:moveTo>
                      <a:pt x="67730" y="301375"/>
                    </a:moveTo>
                    <a:lnTo>
                      <a:pt x="69245" y="299102"/>
                    </a:lnTo>
                    <a:lnTo>
                      <a:pt x="69548" y="297132"/>
                    </a:lnTo>
                    <a:lnTo>
                      <a:pt x="68942" y="295768"/>
                    </a:lnTo>
                    <a:lnTo>
                      <a:pt x="66821" y="298041"/>
                    </a:lnTo>
                    <a:lnTo>
                      <a:pt x="65608" y="299859"/>
                    </a:lnTo>
                    <a:lnTo>
                      <a:pt x="65912" y="300920"/>
                    </a:lnTo>
                    <a:lnTo>
                      <a:pt x="67730" y="301375"/>
                    </a:lnTo>
                    <a:close/>
                    <a:moveTo>
                      <a:pt x="471078" y="48638"/>
                    </a:moveTo>
                    <a:lnTo>
                      <a:pt x="476230" y="47123"/>
                    </a:lnTo>
                    <a:lnTo>
                      <a:pt x="481230" y="48941"/>
                    </a:lnTo>
                    <a:lnTo>
                      <a:pt x="484109" y="48487"/>
                    </a:lnTo>
                    <a:lnTo>
                      <a:pt x="483957" y="47274"/>
                    </a:lnTo>
                    <a:lnTo>
                      <a:pt x="483351" y="46214"/>
                    </a:lnTo>
                    <a:lnTo>
                      <a:pt x="482290" y="45305"/>
                    </a:lnTo>
                    <a:lnTo>
                      <a:pt x="480018" y="44699"/>
                    </a:lnTo>
                    <a:lnTo>
                      <a:pt x="479260" y="42274"/>
                    </a:lnTo>
                    <a:lnTo>
                      <a:pt x="477897" y="40001"/>
                    </a:lnTo>
                    <a:lnTo>
                      <a:pt x="477593" y="37577"/>
                    </a:lnTo>
                    <a:lnTo>
                      <a:pt x="476533" y="35304"/>
                    </a:lnTo>
                    <a:lnTo>
                      <a:pt x="475320" y="35304"/>
                    </a:lnTo>
                    <a:lnTo>
                      <a:pt x="474109" y="35910"/>
                    </a:lnTo>
                    <a:lnTo>
                      <a:pt x="471381" y="39092"/>
                    </a:lnTo>
                    <a:lnTo>
                      <a:pt x="472290" y="40911"/>
                    </a:lnTo>
                    <a:lnTo>
                      <a:pt x="472593" y="44092"/>
                    </a:lnTo>
                    <a:lnTo>
                      <a:pt x="470926" y="45153"/>
                    </a:lnTo>
                    <a:lnTo>
                      <a:pt x="469108" y="44699"/>
                    </a:lnTo>
                    <a:lnTo>
                      <a:pt x="468351" y="47577"/>
                    </a:lnTo>
                    <a:lnTo>
                      <a:pt x="469260" y="48638"/>
                    </a:lnTo>
                    <a:lnTo>
                      <a:pt x="471078" y="48638"/>
                    </a:lnTo>
                    <a:close/>
                    <a:moveTo>
                      <a:pt x="853820" y="868971"/>
                    </a:moveTo>
                    <a:lnTo>
                      <a:pt x="853062" y="864274"/>
                    </a:lnTo>
                    <a:lnTo>
                      <a:pt x="850637" y="862456"/>
                    </a:lnTo>
                    <a:lnTo>
                      <a:pt x="849274" y="862607"/>
                    </a:lnTo>
                    <a:lnTo>
                      <a:pt x="848971" y="865031"/>
                    </a:lnTo>
                    <a:lnTo>
                      <a:pt x="847304" y="866395"/>
                    </a:lnTo>
                    <a:lnTo>
                      <a:pt x="846849" y="867607"/>
                    </a:lnTo>
                    <a:lnTo>
                      <a:pt x="847001" y="870335"/>
                    </a:lnTo>
                    <a:lnTo>
                      <a:pt x="846244" y="872911"/>
                    </a:lnTo>
                    <a:lnTo>
                      <a:pt x="847607" y="875486"/>
                    </a:lnTo>
                    <a:lnTo>
                      <a:pt x="847304" y="878062"/>
                    </a:lnTo>
                    <a:lnTo>
                      <a:pt x="847910" y="879880"/>
                    </a:lnTo>
                    <a:lnTo>
                      <a:pt x="848668" y="879729"/>
                    </a:lnTo>
                    <a:lnTo>
                      <a:pt x="851546" y="878517"/>
                    </a:lnTo>
                    <a:lnTo>
                      <a:pt x="853668" y="876699"/>
                    </a:lnTo>
                    <a:lnTo>
                      <a:pt x="854425" y="874577"/>
                    </a:lnTo>
                    <a:lnTo>
                      <a:pt x="853516" y="872002"/>
                    </a:lnTo>
                    <a:lnTo>
                      <a:pt x="853820" y="868971"/>
                    </a:lnTo>
                    <a:close/>
                    <a:moveTo>
                      <a:pt x="942307" y="976399"/>
                    </a:moveTo>
                    <a:lnTo>
                      <a:pt x="941550" y="977612"/>
                    </a:lnTo>
                    <a:lnTo>
                      <a:pt x="941398" y="978672"/>
                    </a:lnTo>
                    <a:lnTo>
                      <a:pt x="940792" y="979278"/>
                    </a:lnTo>
                    <a:lnTo>
                      <a:pt x="941853" y="980036"/>
                    </a:lnTo>
                    <a:lnTo>
                      <a:pt x="942157" y="981702"/>
                    </a:lnTo>
                    <a:lnTo>
                      <a:pt x="942762" y="982005"/>
                    </a:lnTo>
                    <a:lnTo>
                      <a:pt x="944429" y="982005"/>
                    </a:lnTo>
                    <a:lnTo>
                      <a:pt x="943368" y="977914"/>
                    </a:lnTo>
                    <a:lnTo>
                      <a:pt x="942307" y="976399"/>
                    </a:lnTo>
                    <a:close/>
                    <a:moveTo>
                      <a:pt x="941247" y="983066"/>
                    </a:moveTo>
                    <a:lnTo>
                      <a:pt x="940489" y="983066"/>
                    </a:lnTo>
                    <a:lnTo>
                      <a:pt x="939126" y="984733"/>
                    </a:lnTo>
                    <a:lnTo>
                      <a:pt x="938671" y="986097"/>
                    </a:lnTo>
                    <a:lnTo>
                      <a:pt x="938065" y="986399"/>
                    </a:lnTo>
                    <a:lnTo>
                      <a:pt x="937762" y="987309"/>
                    </a:lnTo>
                    <a:lnTo>
                      <a:pt x="937156" y="988066"/>
                    </a:lnTo>
                    <a:lnTo>
                      <a:pt x="935490" y="987460"/>
                    </a:lnTo>
                    <a:lnTo>
                      <a:pt x="935490" y="988066"/>
                    </a:lnTo>
                    <a:lnTo>
                      <a:pt x="936853" y="990339"/>
                    </a:lnTo>
                    <a:lnTo>
                      <a:pt x="938974" y="989733"/>
                    </a:lnTo>
                    <a:lnTo>
                      <a:pt x="941096" y="990339"/>
                    </a:lnTo>
                    <a:lnTo>
                      <a:pt x="942459" y="986854"/>
                    </a:lnTo>
                    <a:lnTo>
                      <a:pt x="942157" y="985188"/>
                    </a:lnTo>
                    <a:lnTo>
                      <a:pt x="941247" y="983066"/>
                    </a:lnTo>
                    <a:close/>
                    <a:moveTo>
                      <a:pt x="963975" y="961096"/>
                    </a:moveTo>
                    <a:lnTo>
                      <a:pt x="962006" y="960338"/>
                    </a:lnTo>
                    <a:lnTo>
                      <a:pt x="960642" y="961853"/>
                    </a:lnTo>
                    <a:lnTo>
                      <a:pt x="960793" y="962611"/>
                    </a:lnTo>
                    <a:lnTo>
                      <a:pt x="960793" y="964278"/>
                    </a:lnTo>
                    <a:lnTo>
                      <a:pt x="961247" y="964429"/>
                    </a:lnTo>
                    <a:lnTo>
                      <a:pt x="962763" y="964126"/>
                    </a:lnTo>
                    <a:lnTo>
                      <a:pt x="962611" y="963065"/>
                    </a:lnTo>
                    <a:lnTo>
                      <a:pt x="964430" y="962156"/>
                    </a:lnTo>
                    <a:lnTo>
                      <a:pt x="963975" y="961096"/>
                    </a:lnTo>
                    <a:close/>
                    <a:moveTo>
                      <a:pt x="684420" y="740936"/>
                    </a:moveTo>
                    <a:lnTo>
                      <a:pt x="681843" y="741997"/>
                    </a:lnTo>
                    <a:lnTo>
                      <a:pt x="675328" y="741239"/>
                    </a:lnTo>
                    <a:lnTo>
                      <a:pt x="675328" y="740785"/>
                    </a:lnTo>
                    <a:lnTo>
                      <a:pt x="676389" y="738815"/>
                    </a:lnTo>
                    <a:lnTo>
                      <a:pt x="675025" y="737754"/>
                    </a:lnTo>
                    <a:lnTo>
                      <a:pt x="673510" y="737299"/>
                    </a:lnTo>
                    <a:lnTo>
                      <a:pt x="668207" y="736845"/>
                    </a:lnTo>
                    <a:lnTo>
                      <a:pt x="661540" y="739118"/>
                    </a:lnTo>
                    <a:lnTo>
                      <a:pt x="649115" y="741694"/>
                    </a:lnTo>
                    <a:lnTo>
                      <a:pt x="647448" y="743512"/>
                    </a:lnTo>
                    <a:lnTo>
                      <a:pt x="646388" y="746088"/>
                    </a:lnTo>
                    <a:lnTo>
                      <a:pt x="647751" y="747452"/>
                    </a:lnTo>
                    <a:lnTo>
                      <a:pt x="652297" y="750482"/>
                    </a:lnTo>
                    <a:lnTo>
                      <a:pt x="656539" y="750936"/>
                    </a:lnTo>
                    <a:lnTo>
                      <a:pt x="659570" y="750179"/>
                    </a:lnTo>
                    <a:lnTo>
                      <a:pt x="662903" y="750633"/>
                    </a:lnTo>
                    <a:lnTo>
                      <a:pt x="664570" y="748815"/>
                    </a:lnTo>
                    <a:lnTo>
                      <a:pt x="669267" y="750027"/>
                    </a:lnTo>
                    <a:lnTo>
                      <a:pt x="671086" y="751694"/>
                    </a:lnTo>
                    <a:lnTo>
                      <a:pt x="675025" y="750179"/>
                    </a:lnTo>
                    <a:lnTo>
                      <a:pt x="675934" y="747452"/>
                    </a:lnTo>
                    <a:lnTo>
                      <a:pt x="677298" y="746239"/>
                    </a:lnTo>
                    <a:lnTo>
                      <a:pt x="681843" y="745330"/>
                    </a:lnTo>
                    <a:lnTo>
                      <a:pt x="686692" y="746542"/>
                    </a:lnTo>
                    <a:lnTo>
                      <a:pt x="688208" y="746391"/>
                    </a:lnTo>
                    <a:lnTo>
                      <a:pt x="689722" y="744876"/>
                    </a:lnTo>
                    <a:lnTo>
                      <a:pt x="687601" y="741845"/>
                    </a:lnTo>
                    <a:lnTo>
                      <a:pt x="684420" y="7409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5" name="Freeform: Shape 3344">
                <a:extLst>
                  <a:ext uri="{FF2B5EF4-FFF2-40B4-BE49-F238E27FC236}">
                    <a16:creationId xmlns:a16="http://schemas.microsoft.com/office/drawing/2014/main" id="{8697A86F-BAA3-42AA-A95D-DF9F4B48850E}"/>
                  </a:ext>
                </a:extLst>
              </p:cNvPr>
              <p:cNvSpPr/>
              <p:nvPr/>
            </p:nvSpPr>
            <p:spPr>
              <a:xfrm>
                <a:off x="6037816" y="3109364"/>
                <a:ext cx="208492" cy="90306"/>
              </a:xfrm>
              <a:custGeom>
                <a:avLst/>
                <a:gdLst>
                  <a:gd name="connsiteX0" fmla="*/ 206826 w 208492"/>
                  <a:gd name="connsiteY0" fmla="*/ 33638 h 90306"/>
                  <a:gd name="connsiteX1" fmla="*/ 206371 w 208492"/>
                  <a:gd name="connsiteY1" fmla="*/ 32122 h 90306"/>
                  <a:gd name="connsiteX2" fmla="*/ 203795 w 208492"/>
                  <a:gd name="connsiteY2" fmla="*/ 28183 h 90306"/>
                  <a:gd name="connsiteX3" fmla="*/ 200765 w 208492"/>
                  <a:gd name="connsiteY3" fmla="*/ 21516 h 90306"/>
                  <a:gd name="connsiteX4" fmla="*/ 200765 w 208492"/>
                  <a:gd name="connsiteY4" fmla="*/ 19546 h 90306"/>
                  <a:gd name="connsiteX5" fmla="*/ 201826 w 208492"/>
                  <a:gd name="connsiteY5" fmla="*/ 17425 h 90306"/>
                  <a:gd name="connsiteX6" fmla="*/ 202886 w 208492"/>
                  <a:gd name="connsiteY6" fmla="*/ 15758 h 90306"/>
                  <a:gd name="connsiteX7" fmla="*/ 203038 w 208492"/>
                  <a:gd name="connsiteY7" fmla="*/ 14395 h 90306"/>
                  <a:gd name="connsiteX8" fmla="*/ 203189 w 208492"/>
                  <a:gd name="connsiteY8" fmla="*/ 14091 h 90306"/>
                  <a:gd name="connsiteX9" fmla="*/ 202583 w 208492"/>
                  <a:gd name="connsiteY9" fmla="*/ 13334 h 90306"/>
                  <a:gd name="connsiteX10" fmla="*/ 201371 w 208492"/>
                  <a:gd name="connsiteY10" fmla="*/ 10455 h 90306"/>
                  <a:gd name="connsiteX11" fmla="*/ 200007 w 208492"/>
                  <a:gd name="connsiteY11" fmla="*/ 10000 h 90306"/>
                  <a:gd name="connsiteX12" fmla="*/ 198038 w 208492"/>
                  <a:gd name="connsiteY12" fmla="*/ 9697 h 90306"/>
                  <a:gd name="connsiteX13" fmla="*/ 196674 w 208492"/>
                  <a:gd name="connsiteY13" fmla="*/ 9394 h 90306"/>
                  <a:gd name="connsiteX14" fmla="*/ 193644 w 208492"/>
                  <a:gd name="connsiteY14" fmla="*/ 7576 h 90306"/>
                  <a:gd name="connsiteX15" fmla="*/ 191977 w 208492"/>
                  <a:gd name="connsiteY15" fmla="*/ 7121 h 90306"/>
                  <a:gd name="connsiteX16" fmla="*/ 190158 w 208492"/>
                  <a:gd name="connsiteY16" fmla="*/ 6970 h 90306"/>
                  <a:gd name="connsiteX17" fmla="*/ 188492 w 208492"/>
                  <a:gd name="connsiteY17" fmla="*/ 8031 h 90306"/>
                  <a:gd name="connsiteX18" fmla="*/ 187128 w 208492"/>
                  <a:gd name="connsiteY18" fmla="*/ 9091 h 90306"/>
                  <a:gd name="connsiteX19" fmla="*/ 183189 w 208492"/>
                  <a:gd name="connsiteY19" fmla="*/ 9091 h 90306"/>
                  <a:gd name="connsiteX20" fmla="*/ 178643 w 208492"/>
                  <a:gd name="connsiteY20" fmla="*/ 8637 h 90306"/>
                  <a:gd name="connsiteX21" fmla="*/ 172431 w 208492"/>
                  <a:gd name="connsiteY21" fmla="*/ 4697 h 90306"/>
                  <a:gd name="connsiteX22" fmla="*/ 170764 w 208492"/>
                  <a:gd name="connsiteY22" fmla="*/ 4697 h 90306"/>
                  <a:gd name="connsiteX23" fmla="*/ 168946 w 208492"/>
                  <a:gd name="connsiteY23" fmla="*/ 4849 h 90306"/>
                  <a:gd name="connsiteX24" fmla="*/ 166218 w 208492"/>
                  <a:gd name="connsiteY24" fmla="*/ 3940 h 90306"/>
                  <a:gd name="connsiteX25" fmla="*/ 160763 w 208492"/>
                  <a:gd name="connsiteY25" fmla="*/ 1515 h 90306"/>
                  <a:gd name="connsiteX26" fmla="*/ 158339 w 208492"/>
                  <a:gd name="connsiteY26" fmla="*/ 909 h 90306"/>
                  <a:gd name="connsiteX27" fmla="*/ 156672 w 208492"/>
                  <a:gd name="connsiteY27" fmla="*/ 1212 h 90306"/>
                  <a:gd name="connsiteX28" fmla="*/ 155309 w 208492"/>
                  <a:gd name="connsiteY28" fmla="*/ 1818 h 90306"/>
                  <a:gd name="connsiteX29" fmla="*/ 154248 w 208492"/>
                  <a:gd name="connsiteY29" fmla="*/ 1818 h 90306"/>
                  <a:gd name="connsiteX30" fmla="*/ 153642 w 208492"/>
                  <a:gd name="connsiteY30" fmla="*/ 1061 h 90306"/>
                  <a:gd name="connsiteX31" fmla="*/ 151672 w 208492"/>
                  <a:gd name="connsiteY31" fmla="*/ 0 h 90306"/>
                  <a:gd name="connsiteX32" fmla="*/ 149551 w 208492"/>
                  <a:gd name="connsiteY32" fmla="*/ 0 h 90306"/>
                  <a:gd name="connsiteX33" fmla="*/ 149096 w 208492"/>
                  <a:gd name="connsiteY33" fmla="*/ 606 h 90306"/>
                  <a:gd name="connsiteX34" fmla="*/ 148339 w 208492"/>
                  <a:gd name="connsiteY34" fmla="*/ 6061 h 90306"/>
                  <a:gd name="connsiteX35" fmla="*/ 147733 w 208492"/>
                  <a:gd name="connsiteY35" fmla="*/ 8031 h 90306"/>
                  <a:gd name="connsiteX36" fmla="*/ 144854 w 208492"/>
                  <a:gd name="connsiteY36" fmla="*/ 7879 h 90306"/>
                  <a:gd name="connsiteX37" fmla="*/ 143945 w 208492"/>
                  <a:gd name="connsiteY37" fmla="*/ 8788 h 90306"/>
                  <a:gd name="connsiteX38" fmla="*/ 141823 w 208492"/>
                  <a:gd name="connsiteY38" fmla="*/ 11516 h 90306"/>
                  <a:gd name="connsiteX39" fmla="*/ 141369 w 208492"/>
                  <a:gd name="connsiteY39" fmla="*/ 14091 h 90306"/>
                  <a:gd name="connsiteX40" fmla="*/ 137581 w 208492"/>
                  <a:gd name="connsiteY40" fmla="*/ 13637 h 90306"/>
                  <a:gd name="connsiteX41" fmla="*/ 135762 w 208492"/>
                  <a:gd name="connsiteY41" fmla="*/ 13182 h 90306"/>
                  <a:gd name="connsiteX42" fmla="*/ 134247 w 208492"/>
                  <a:gd name="connsiteY42" fmla="*/ 13485 h 90306"/>
                  <a:gd name="connsiteX43" fmla="*/ 132429 w 208492"/>
                  <a:gd name="connsiteY43" fmla="*/ 14849 h 90306"/>
                  <a:gd name="connsiteX44" fmla="*/ 127580 w 208492"/>
                  <a:gd name="connsiteY44" fmla="*/ 14849 h 90306"/>
                  <a:gd name="connsiteX45" fmla="*/ 123792 w 208492"/>
                  <a:gd name="connsiteY45" fmla="*/ 13940 h 90306"/>
                  <a:gd name="connsiteX46" fmla="*/ 122126 w 208492"/>
                  <a:gd name="connsiteY46" fmla="*/ 10758 h 90306"/>
                  <a:gd name="connsiteX47" fmla="*/ 120308 w 208492"/>
                  <a:gd name="connsiteY47" fmla="*/ 9546 h 90306"/>
                  <a:gd name="connsiteX48" fmla="*/ 118186 w 208492"/>
                  <a:gd name="connsiteY48" fmla="*/ 8485 h 90306"/>
                  <a:gd name="connsiteX49" fmla="*/ 117429 w 208492"/>
                  <a:gd name="connsiteY49" fmla="*/ 8182 h 90306"/>
                  <a:gd name="connsiteX50" fmla="*/ 116974 w 208492"/>
                  <a:gd name="connsiteY50" fmla="*/ 8788 h 90306"/>
                  <a:gd name="connsiteX51" fmla="*/ 116822 w 208492"/>
                  <a:gd name="connsiteY51" fmla="*/ 11061 h 90306"/>
                  <a:gd name="connsiteX52" fmla="*/ 116974 w 208492"/>
                  <a:gd name="connsiteY52" fmla="*/ 13334 h 90306"/>
                  <a:gd name="connsiteX53" fmla="*/ 116520 w 208492"/>
                  <a:gd name="connsiteY53" fmla="*/ 14546 h 90306"/>
                  <a:gd name="connsiteX54" fmla="*/ 114853 w 208492"/>
                  <a:gd name="connsiteY54" fmla="*/ 16061 h 90306"/>
                  <a:gd name="connsiteX55" fmla="*/ 113943 w 208492"/>
                  <a:gd name="connsiteY55" fmla="*/ 16364 h 90306"/>
                  <a:gd name="connsiteX56" fmla="*/ 113489 w 208492"/>
                  <a:gd name="connsiteY56" fmla="*/ 16667 h 90306"/>
                  <a:gd name="connsiteX57" fmla="*/ 108337 w 208492"/>
                  <a:gd name="connsiteY57" fmla="*/ 14698 h 90306"/>
                  <a:gd name="connsiteX58" fmla="*/ 108034 w 208492"/>
                  <a:gd name="connsiteY58" fmla="*/ 15001 h 90306"/>
                  <a:gd name="connsiteX59" fmla="*/ 107580 w 208492"/>
                  <a:gd name="connsiteY59" fmla="*/ 15304 h 90306"/>
                  <a:gd name="connsiteX60" fmla="*/ 106216 w 208492"/>
                  <a:gd name="connsiteY60" fmla="*/ 21213 h 90306"/>
                  <a:gd name="connsiteX61" fmla="*/ 105307 w 208492"/>
                  <a:gd name="connsiteY61" fmla="*/ 22425 h 90306"/>
                  <a:gd name="connsiteX62" fmla="*/ 103943 w 208492"/>
                  <a:gd name="connsiteY62" fmla="*/ 23486 h 90306"/>
                  <a:gd name="connsiteX63" fmla="*/ 100913 w 208492"/>
                  <a:gd name="connsiteY63" fmla="*/ 24546 h 90306"/>
                  <a:gd name="connsiteX64" fmla="*/ 98943 w 208492"/>
                  <a:gd name="connsiteY64" fmla="*/ 24849 h 90306"/>
                  <a:gd name="connsiteX65" fmla="*/ 97276 w 208492"/>
                  <a:gd name="connsiteY65" fmla="*/ 25455 h 90306"/>
                  <a:gd name="connsiteX66" fmla="*/ 92276 w 208492"/>
                  <a:gd name="connsiteY66" fmla="*/ 27880 h 90306"/>
                  <a:gd name="connsiteX67" fmla="*/ 90003 w 208492"/>
                  <a:gd name="connsiteY67" fmla="*/ 29395 h 90306"/>
                  <a:gd name="connsiteX68" fmla="*/ 88488 w 208492"/>
                  <a:gd name="connsiteY68" fmla="*/ 31365 h 90306"/>
                  <a:gd name="connsiteX69" fmla="*/ 88488 w 208492"/>
                  <a:gd name="connsiteY69" fmla="*/ 32425 h 90306"/>
                  <a:gd name="connsiteX70" fmla="*/ 90912 w 208492"/>
                  <a:gd name="connsiteY70" fmla="*/ 35607 h 90306"/>
                  <a:gd name="connsiteX71" fmla="*/ 93791 w 208492"/>
                  <a:gd name="connsiteY71" fmla="*/ 38789 h 90306"/>
                  <a:gd name="connsiteX72" fmla="*/ 93791 w 208492"/>
                  <a:gd name="connsiteY72" fmla="*/ 41668 h 90306"/>
                  <a:gd name="connsiteX73" fmla="*/ 92579 w 208492"/>
                  <a:gd name="connsiteY73" fmla="*/ 43941 h 90306"/>
                  <a:gd name="connsiteX74" fmla="*/ 92276 w 208492"/>
                  <a:gd name="connsiteY74" fmla="*/ 44699 h 90306"/>
                  <a:gd name="connsiteX75" fmla="*/ 93034 w 208492"/>
                  <a:gd name="connsiteY75" fmla="*/ 45002 h 90306"/>
                  <a:gd name="connsiteX76" fmla="*/ 94700 w 208492"/>
                  <a:gd name="connsiteY76" fmla="*/ 45153 h 90306"/>
                  <a:gd name="connsiteX77" fmla="*/ 95912 w 208492"/>
                  <a:gd name="connsiteY77" fmla="*/ 45456 h 90306"/>
                  <a:gd name="connsiteX78" fmla="*/ 96519 w 208492"/>
                  <a:gd name="connsiteY78" fmla="*/ 46971 h 90306"/>
                  <a:gd name="connsiteX79" fmla="*/ 96367 w 208492"/>
                  <a:gd name="connsiteY79" fmla="*/ 49699 h 90306"/>
                  <a:gd name="connsiteX80" fmla="*/ 95912 w 208492"/>
                  <a:gd name="connsiteY80" fmla="*/ 52123 h 90306"/>
                  <a:gd name="connsiteX81" fmla="*/ 95458 w 208492"/>
                  <a:gd name="connsiteY81" fmla="*/ 53184 h 90306"/>
                  <a:gd name="connsiteX82" fmla="*/ 94246 w 208492"/>
                  <a:gd name="connsiteY82" fmla="*/ 53184 h 90306"/>
                  <a:gd name="connsiteX83" fmla="*/ 91822 w 208492"/>
                  <a:gd name="connsiteY83" fmla="*/ 52123 h 90306"/>
                  <a:gd name="connsiteX84" fmla="*/ 89852 w 208492"/>
                  <a:gd name="connsiteY84" fmla="*/ 50911 h 90306"/>
                  <a:gd name="connsiteX85" fmla="*/ 89094 w 208492"/>
                  <a:gd name="connsiteY85" fmla="*/ 50153 h 90306"/>
                  <a:gd name="connsiteX86" fmla="*/ 89094 w 208492"/>
                  <a:gd name="connsiteY86" fmla="*/ 49244 h 90306"/>
                  <a:gd name="connsiteX87" fmla="*/ 89549 w 208492"/>
                  <a:gd name="connsiteY87" fmla="*/ 48638 h 90306"/>
                  <a:gd name="connsiteX88" fmla="*/ 88791 w 208492"/>
                  <a:gd name="connsiteY88" fmla="*/ 47577 h 90306"/>
                  <a:gd name="connsiteX89" fmla="*/ 86518 w 208492"/>
                  <a:gd name="connsiteY89" fmla="*/ 46517 h 90306"/>
                  <a:gd name="connsiteX90" fmla="*/ 83943 w 208492"/>
                  <a:gd name="connsiteY90" fmla="*/ 46971 h 90306"/>
                  <a:gd name="connsiteX91" fmla="*/ 82124 w 208492"/>
                  <a:gd name="connsiteY91" fmla="*/ 47729 h 90306"/>
                  <a:gd name="connsiteX92" fmla="*/ 80912 w 208492"/>
                  <a:gd name="connsiteY92" fmla="*/ 47577 h 90306"/>
                  <a:gd name="connsiteX93" fmla="*/ 79700 w 208492"/>
                  <a:gd name="connsiteY93" fmla="*/ 46668 h 90306"/>
                  <a:gd name="connsiteX94" fmla="*/ 77579 w 208492"/>
                  <a:gd name="connsiteY94" fmla="*/ 45911 h 90306"/>
                  <a:gd name="connsiteX95" fmla="*/ 75003 w 208492"/>
                  <a:gd name="connsiteY95" fmla="*/ 45305 h 90306"/>
                  <a:gd name="connsiteX96" fmla="*/ 73488 w 208492"/>
                  <a:gd name="connsiteY96" fmla="*/ 44850 h 90306"/>
                  <a:gd name="connsiteX97" fmla="*/ 73033 w 208492"/>
                  <a:gd name="connsiteY97" fmla="*/ 45153 h 90306"/>
                  <a:gd name="connsiteX98" fmla="*/ 73336 w 208492"/>
                  <a:gd name="connsiteY98" fmla="*/ 47274 h 90306"/>
                  <a:gd name="connsiteX99" fmla="*/ 72730 w 208492"/>
                  <a:gd name="connsiteY99" fmla="*/ 48335 h 90306"/>
                  <a:gd name="connsiteX100" fmla="*/ 60002 w 208492"/>
                  <a:gd name="connsiteY100" fmla="*/ 49547 h 90306"/>
                  <a:gd name="connsiteX101" fmla="*/ 56062 w 208492"/>
                  <a:gd name="connsiteY101" fmla="*/ 50759 h 90306"/>
                  <a:gd name="connsiteX102" fmla="*/ 53184 w 208492"/>
                  <a:gd name="connsiteY102" fmla="*/ 52275 h 90306"/>
                  <a:gd name="connsiteX103" fmla="*/ 51062 w 208492"/>
                  <a:gd name="connsiteY103" fmla="*/ 52881 h 90306"/>
                  <a:gd name="connsiteX104" fmla="*/ 50608 w 208492"/>
                  <a:gd name="connsiteY104" fmla="*/ 53790 h 90306"/>
                  <a:gd name="connsiteX105" fmla="*/ 48486 w 208492"/>
                  <a:gd name="connsiteY105" fmla="*/ 55002 h 90306"/>
                  <a:gd name="connsiteX106" fmla="*/ 46214 w 208492"/>
                  <a:gd name="connsiteY106" fmla="*/ 55457 h 90306"/>
                  <a:gd name="connsiteX107" fmla="*/ 45608 w 208492"/>
                  <a:gd name="connsiteY107" fmla="*/ 55002 h 90306"/>
                  <a:gd name="connsiteX108" fmla="*/ 44093 w 208492"/>
                  <a:gd name="connsiteY108" fmla="*/ 55608 h 90306"/>
                  <a:gd name="connsiteX109" fmla="*/ 41517 w 208492"/>
                  <a:gd name="connsiteY109" fmla="*/ 56063 h 90306"/>
                  <a:gd name="connsiteX110" fmla="*/ 39850 w 208492"/>
                  <a:gd name="connsiteY110" fmla="*/ 55911 h 90306"/>
                  <a:gd name="connsiteX111" fmla="*/ 39092 w 208492"/>
                  <a:gd name="connsiteY111" fmla="*/ 55002 h 90306"/>
                  <a:gd name="connsiteX112" fmla="*/ 37426 w 208492"/>
                  <a:gd name="connsiteY112" fmla="*/ 53487 h 90306"/>
                  <a:gd name="connsiteX113" fmla="*/ 36819 w 208492"/>
                  <a:gd name="connsiteY113" fmla="*/ 52426 h 90306"/>
                  <a:gd name="connsiteX114" fmla="*/ 36819 w 208492"/>
                  <a:gd name="connsiteY114" fmla="*/ 51669 h 90306"/>
                  <a:gd name="connsiteX115" fmla="*/ 33334 w 208492"/>
                  <a:gd name="connsiteY115" fmla="*/ 51517 h 90306"/>
                  <a:gd name="connsiteX116" fmla="*/ 31062 w 208492"/>
                  <a:gd name="connsiteY116" fmla="*/ 50759 h 90306"/>
                  <a:gd name="connsiteX117" fmla="*/ 26213 w 208492"/>
                  <a:gd name="connsiteY117" fmla="*/ 50911 h 90306"/>
                  <a:gd name="connsiteX118" fmla="*/ 25001 w 208492"/>
                  <a:gd name="connsiteY118" fmla="*/ 50608 h 90306"/>
                  <a:gd name="connsiteX119" fmla="*/ 24698 w 208492"/>
                  <a:gd name="connsiteY119" fmla="*/ 51063 h 90306"/>
                  <a:gd name="connsiteX120" fmla="*/ 24092 w 208492"/>
                  <a:gd name="connsiteY120" fmla="*/ 55305 h 90306"/>
                  <a:gd name="connsiteX121" fmla="*/ 23031 w 208492"/>
                  <a:gd name="connsiteY121" fmla="*/ 57123 h 90306"/>
                  <a:gd name="connsiteX122" fmla="*/ 21516 w 208492"/>
                  <a:gd name="connsiteY122" fmla="*/ 58942 h 90306"/>
                  <a:gd name="connsiteX123" fmla="*/ 19546 w 208492"/>
                  <a:gd name="connsiteY123" fmla="*/ 59851 h 90306"/>
                  <a:gd name="connsiteX124" fmla="*/ 18031 w 208492"/>
                  <a:gd name="connsiteY124" fmla="*/ 60002 h 90306"/>
                  <a:gd name="connsiteX125" fmla="*/ 18031 w 208492"/>
                  <a:gd name="connsiteY125" fmla="*/ 58790 h 90306"/>
                  <a:gd name="connsiteX126" fmla="*/ 18486 w 208492"/>
                  <a:gd name="connsiteY126" fmla="*/ 57123 h 90306"/>
                  <a:gd name="connsiteX127" fmla="*/ 17273 w 208492"/>
                  <a:gd name="connsiteY127" fmla="*/ 56820 h 90306"/>
                  <a:gd name="connsiteX128" fmla="*/ 15607 w 208492"/>
                  <a:gd name="connsiteY128" fmla="*/ 56517 h 90306"/>
                  <a:gd name="connsiteX129" fmla="*/ 14849 w 208492"/>
                  <a:gd name="connsiteY129" fmla="*/ 56063 h 90306"/>
                  <a:gd name="connsiteX130" fmla="*/ 15000 w 208492"/>
                  <a:gd name="connsiteY130" fmla="*/ 54851 h 90306"/>
                  <a:gd name="connsiteX131" fmla="*/ 14546 w 208492"/>
                  <a:gd name="connsiteY131" fmla="*/ 54244 h 90306"/>
                  <a:gd name="connsiteX132" fmla="*/ 13940 w 208492"/>
                  <a:gd name="connsiteY132" fmla="*/ 53335 h 90306"/>
                  <a:gd name="connsiteX133" fmla="*/ 12273 w 208492"/>
                  <a:gd name="connsiteY133" fmla="*/ 52275 h 90306"/>
                  <a:gd name="connsiteX134" fmla="*/ 8637 w 208492"/>
                  <a:gd name="connsiteY134" fmla="*/ 50608 h 90306"/>
                  <a:gd name="connsiteX135" fmla="*/ 6061 w 208492"/>
                  <a:gd name="connsiteY135" fmla="*/ 49850 h 90306"/>
                  <a:gd name="connsiteX136" fmla="*/ 5152 w 208492"/>
                  <a:gd name="connsiteY136" fmla="*/ 50608 h 90306"/>
                  <a:gd name="connsiteX137" fmla="*/ 4697 w 208492"/>
                  <a:gd name="connsiteY137" fmla="*/ 50911 h 90306"/>
                  <a:gd name="connsiteX138" fmla="*/ 5606 w 208492"/>
                  <a:gd name="connsiteY138" fmla="*/ 51517 h 90306"/>
                  <a:gd name="connsiteX139" fmla="*/ 5303 w 208492"/>
                  <a:gd name="connsiteY139" fmla="*/ 51972 h 90306"/>
                  <a:gd name="connsiteX140" fmla="*/ 4394 w 208492"/>
                  <a:gd name="connsiteY140" fmla="*/ 52123 h 90306"/>
                  <a:gd name="connsiteX141" fmla="*/ 757 w 208492"/>
                  <a:gd name="connsiteY141" fmla="*/ 51972 h 90306"/>
                  <a:gd name="connsiteX142" fmla="*/ 2727 w 208492"/>
                  <a:gd name="connsiteY142" fmla="*/ 53487 h 90306"/>
                  <a:gd name="connsiteX143" fmla="*/ 2273 w 208492"/>
                  <a:gd name="connsiteY143" fmla="*/ 56214 h 90306"/>
                  <a:gd name="connsiteX144" fmla="*/ 0 w 208492"/>
                  <a:gd name="connsiteY144" fmla="*/ 60305 h 90306"/>
                  <a:gd name="connsiteX145" fmla="*/ 303 w 208492"/>
                  <a:gd name="connsiteY145" fmla="*/ 60911 h 90306"/>
                  <a:gd name="connsiteX146" fmla="*/ 455 w 208492"/>
                  <a:gd name="connsiteY146" fmla="*/ 61669 h 90306"/>
                  <a:gd name="connsiteX147" fmla="*/ 757 w 208492"/>
                  <a:gd name="connsiteY147" fmla="*/ 62427 h 90306"/>
                  <a:gd name="connsiteX148" fmla="*/ 757 w 208492"/>
                  <a:gd name="connsiteY148" fmla="*/ 63336 h 90306"/>
                  <a:gd name="connsiteX149" fmla="*/ 1212 w 208492"/>
                  <a:gd name="connsiteY149" fmla="*/ 64245 h 90306"/>
                  <a:gd name="connsiteX150" fmla="*/ 2121 w 208492"/>
                  <a:gd name="connsiteY150" fmla="*/ 65154 h 90306"/>
                  <a:gd name="connsiteX151" fmla="*/ 2273 w 208492"/>
                  <a:gd name="connsiteY151" fmla="*/ 66063 h 90306"/>
                  <a:gd name="connsiteX152" fmla="*/ 1970 w 208492"/>
                  <a:gd name="connsiteY152" fmla="*/ 67124 h 90306"/>
                  <a:gd name="connsiteX153" fmla="*/ 1515 w 208492"/>
                  <a:gd name="connsiteY153" fmla="*/ 67730 h 90306"/>
                  <a:gd name="connsiteX154" fmla="*/ 2576 w 208492"/>
                  <a:gd name="connsiteY154" fmla="*/ 67730 h 90306"/>
                  <a:gd name="connsiteX155" fmla="*/ 6061 w 208492"/>
                  <a:gd name="connsiteY155" fmla="*/ 68487 h 90306"/>
                  <a:gd name="connsiteX156" fmla="*/ 8788 w 208492"/>
                  <a:gd name="connsiteY156" fmla="*/ 69397 h 90306"/>
                  <a:gd name="connsiteX157" fmla="*/ 9243 w 208492"/>
                  <a:gd name="connsiteY157" fmla="*/ 70457 h 90306"/>
                  <a:gd name="connsiteX158" fmla="*/ 9697 w 208492"/>
                  <a:gd name="connsiteY158" fmla="*/ 71821 h 90306"/>
                  <a:gd name="connsiteX159" fmla="*/ 12879 w 208492"/>
                  <a:gd name="connsiteY159" fmla="*/ 73639 h 90306"/>
                  <a:gd name="connsiteX160" fmla="*/ 16667 w 208492"/>
                  <a:gd name="connsiteY160" fmla="*/ 74851 h 90306"/>
                  <a:gd name="connsiteX161" fmla="*/ 17879 w 208492"/>
                  <a:gd name="connsiteY161" fmla="*/ 74397 h 90306"/>
                  <a:gd name="connsiteX162" fmla="*/ 22576 w 208492"/>
                  <a:gd name="connsiteY162" fmla="*/ 70154 h 90306"/>
                  <a:gd name="connsiteX163" fmla="*/ 24395 w 208492"/>
                  <a:gd name="connsiteY163" fmla="*/ 70912 h 90306"/>
                  <a:gd name="connsiteX164" fmla="*/ 25455 w 208492"/>
                  <a:gd name="connsiteY164" fmla="*/ 73185 h 90306"/>
                  <a:gd name="connsiteX165" fmla="*/ 25304 w 208492"/>
                  <a:gd name="connsiteY165" fmla="*/ 74397 h 90306"/>
                  <a:gd name="connsiteX166" fmla="*/ 26062 w 208492"/>
                  <a:gd name="connsiteY166" fmla="*/ 74700 h 90306"/>
                  <a:gd name="connsiteX167" fmla="*/ 28789 w 208492"/>
                  <a:gd name="connsiteY167" fmla="*/ 74700 h 90306"/>
                  <a:gd name="connsiteX168" fmla="*/ 31819 w 208492"/>
                  <a:gd name="connsiteY168" fmla="*/ 75003 h 90306"/>
                  <a:gd name="connsiteX169" fmla="*/ 33789 w 208492"/>
                  <a:gd name="connsiteY169" fmla="*/ 76821 h 90306"/>
                  <a:gd name="connsiteX170" fmla="*/ 35607 w 208492"/>
                  <a:gd name="connsiteY170" fmla="*/ 77427 h 90306"/>
                  <a:gd name="connsiteX171" fmla="*/ 38335 w 208492"/>
                  <a:gd name="connsiteY171" fmla="*/ 77579 h 90306"/>
                  <a:gd name="connsiteX172" fmla="*/ 40153 w 208492"/>
                  <a:gd name="connsiteY172" fmla="*/ 77427 h 90306"/>
                  <a:gd name="connsiteX173" fmla="*/ 41062 w 208492"/>
                  <a:gd name="connsiteY173" fmla="*/ 76670 h 90306"/>
                  <a:gd name="connsiteX174" fmla="*/ 42123 w 208492"/>
                  <a:gd name="connsiteY174" fmla="*/ 74548 h 90306"/>
                  <a:gd name="connsiteX175" fmla="*/ 43941 w 208492"/>
                  <a:gd name="connsiteY175" fmla="*/ 71972 h 90306"/>
                  <a:gd name="connsiteX176" fmla="*/ 46972 w 208492"/>
                  <a:gd name="connsiteY176" fmla="*/ 70609 h 90306"/>
                  <a:gd name="connsiteX177" fmla="*/ 52123 w 208492"/>
                  <a:gd name="connsiteY177" fmla="*/ 70306 h 90306"/>
                  <a:gd name="connsiteX178" fmla="*/ 54850 w 208492"/>
                  <a:gd name="connsiteY178" fmla="*/ 69851 h 90306"/>
                  <a:gd name="connsiteX179" fmla="*/ 57427 w 208492"/>
                  <a:gd name="connsiteY179" fmla="*/ 69851 h 90306"/>
                  <a:gd name="connsiteX180" fmla="*/ 59548 w 208492"/>
                  <a:gd name="connsiteY180" fmla="*/ 70154 h 90306"/>
                  <a:gd name="connsiteX181" fmla="*/ 61517 w 208492"/>
                  <a:gd name="connsiteY181" fmla="*/ 70154 h 90306"/>
                  <a:gd name="connsiteX182" fmla="*/ 66821 w 208492"/>
                  <a:gd name="connsiteY182" fmla="*/ 68336 h 90306"/>
                  <a:gd name="connsiteX183" fmla="*/ 72275 w 208492"/>
                  <a:gd name="connsiteY183" fmla="*/ 66821 h 90306"/>
                  <a:gd name="connsiteX184" fmla="*/ 73033 w 208492"/>
                  <a:gd name="connsiteY184" fmla="*/ 67124 h 90306"/>
                  <a:gd name="connsiteX185" fmla="*/ 73184 w 208492"/>
                  <a:gd name="connsiteY185" fmla="*/ 67578 h 90306"/>
                  <a:gd name="connsiteX186" fmla="*/ 72275 w 208492"/>
                  <a:gd name="connsiteY186" fmla="*/ 68790 h 90306"/>
                  <a:gd name="connsiteX187" fmla="*/ 71214 w 208492"/>
                  <a:gd name="connsiteY187" fmla="*/ 70154 h 90306"/>
                  <a:gd name="connsiteX188" fmla="*/ 71972 w 208492"/>
                  <a:gd name="connsiteY188" fmla="*/ 71972 h 90306"/>
                  <a:gd name="connsiteX189" fmla="*/ 75003 w 208492"/>
                  <a:gd name="connsiteY189" fmla="*/ 75306 h 90306"/>
                  <a:gd name="connsiteX190" fmla="*/ 76669 w 208492"/>
                  <a:gd name="connsiteY190" fmla="*/ 78033 h 90306"/>
                  <a:gd name="connsiteX191" fmla="*/ 78336 w 208492"/>
                  <a:gd name="connsiteY191" fmla="*/ 80003 h 90306"/>
                  <a:gd name="connsiteX192" fmla="*/ 80760 w 208492"/>
                  <a:gd name="connsiteY192" fmla="*/ 80912 h 90306"/>
                  <a:gd name="connsiteX193" fmla="*/ 84094 w 208492"/>
                  <a:gd name="connsiteY193" fmla="*/ 81670 h 90306"/>
                  <a:gd name="connsiteX194" fmla="*/ 86822 w 208492"/>
                  <a:gd name="connsiteY194" fmla="*/ 81821 h 90306"/>
                  <a:gd name="connsiteX195" fmla="*/ 89700 w 208492"/>
                  <a:gd name="connsiteY195" fmla="*/ 82579 h 90306"/>
                  <a:gd name="connsiteX196" fmla="*/ 99700 w 208492"/>
                  <a:gd name="connsiteY196" fmla="*/ 84397 h 90306"/>
                  <a:gd name="connsiteX197" fmla="*/ 104701 w 208492"/>
                  <a:gd name="connsiteY197" fmla="*/ 84852 h 90306"/>
                  <a:gd name="connsiteX198" fmla="*/ 108489 w 208492"/>
                  <a:gd name="connsiteY198" fmla="*/ 85003 h 90306"/>
                  <a:gd name="connsiteX199" fmla="*/ 114247 w 208492"/>
                  <a:gd name="connsiteY199" fmla="*/ 86215 h 90306"/>
                  <a:gd name="connsiteX200" fmla="*/ 115459 w 208492"/>
                  <a:gd name="connsiteY200" fmla="*/ 86367 h 90306"/>
                  <a:gd name="connsiteX201" fmla="*/ 117883 w 208492"/>
                  <a:gd name="connsiteY201" fmla="*/ 86518 h 90306"/>
                  <a:gd name="connsiteX202" fmla="*/ 120459 w 208492"/>
                  <a:gd name="connsiteY202" fmla="*/ 86973 h 90306"/>
                  <a:gd name="connsiteX203" fmla="*/ 123035 w 208492"/>
                  <a:gd name="connsiteY203" fmla="*/ 87427 h 90306"/>
                  <a:gd name="connsiteX204" fmla="*/ 125156 w 208492"/>
                  <a:gd name="connsiteY204" fmla="*/ 88185 h 90306"/>
                  <a:gd name="connsiteX205" fmla="*/ 129702 w 208492"/>
                  <a:gd name="connsiteY205" fmla="*/ 88943 h 90306"/>
                  <a:gd name="connsiteX206" fmla="*/ 133944 w 208492"/>
                  <a:gd name="connsiteY206" fmla="*/ 89397 h 90306"/>
                  <a:gd name="connsiteX207" fmla="*/ 135156 w 208492"/>
                  <a:gd name="connsiteY207" fmla="*/ 89700 h 90306"/>
                  <a:gd name="connsiteX208" fmla="*/ 136217 w 208492"/>
                  <a:gd name="connsiteY208" fmla="*/ 89700 h 90306"/>
                  <a:gd name="connsiteX209" fmla="*/ 137429 w 208492"/>
                  <a:gd name="connsiteY209" fmla="*/ 90306 h 90306"/>
                  <a:gd name="connsiteX210" fmla="*/ 138187 w 208492"/>
                  <a:gd name="connsiteY210" fmla="*/ 89852 h 90306"/>
                  <a:gd name="connsiteX211" fmla="*/ 138793 w 208492"/>
                  <a:gd name="connsiteY211" fmla="*/ 89094 h 90306"/>
                  <a:gd name="connsiteX212" fmla="*/ 141066 w 208492"/>
                  <a:gd name="connsiteY212" fmla="*/ 88185 h 90306"/>
                  <a:gd name="connsiteX213" fmla="*/ 143187 w 208492"/>
                  <a:gd name="connsiteY213" fmla="*/ 86973 h 90306"/>
                  <a:gd name="connsiteX214" fmla="*/ 144551 w 208492"/>
                  <a:gd name="connsiteY214" fmla="*/ 85306 h 90306"/>
                  <a:gd name="connsiteX215" fmla="*/ 145460 w 208492"/>
                  <a:gd name="connsiteY215" fmla="*/ 84094 h 90306"/>
                  <a:gd name="connsiteX216" fmla="*/ 146824 w 208492"/>
                  <a:gd name="connsiteY216" fmla="*/ 83185 h 90306"/>
                  <a:gd name="connsiteX217" fmla="*/ 148339 w 208492"/>
                  <a:gd name="connsiteY217" fmla="*/ 83033 h 90306"/>
                  <a:gd name="connsiteX218" fmla="*/ 149854 w 208492"/>
                  <a:gd name="connsiteY218" fmla="*/ 82579 h 90306"/>
                  <a:gd name="connsiteX219" fmla="*/ 155763 w 208492"/>
                  <a:gd name="connsiteY219" fmla="*/ 81973 h 90306"/>
                  <a:gd name="connsiteX220" fmla="*/ 161824 w 208492"/>
                  <a:gd name="connsiteY220" fmla="*/ 82427 h 90306"/>
                  <a:gd name="connsiteX221" fmla="*/ 164703 w 208492"/>
                  <a:gd name="connsiteY221" fmla="*/ 81518 h 90306"/>
                  <a:gd name="connsiteX222" fmla="*/ 167127 w 208492"/>
                  <a:gd name="connsiteY222" fmla="*/ 80154 h 90306"/>
                  <a:gd name="connsiteX223" fmla="*/ 170613 w 208492"/>
                  <a:gd name="connsiteY223" fmla="*/ 79700 h 90306"/>
                  <a:gd name="connsiteX224" fmla="*/ 170764 w 208492"/>
                  <a:gd name="connsiteY224" fmla="*/ 79700 h 90306"/>
                  <a:gd name="connsiteX225" fmla="*/ 175915 w 208492"/>
                  <a:gd name="connsiteY225" fmla="*/ 80761 h 90306"/>
                  <a:gd name="connsiteX226" fmla="*/ 176370 w 208492"/>
                  <a:gd name="connsiteY226" fmla="*/ 80154 h 90306"/>
                  <a:gd name="connsiteX227" fmla="*/ 176673 w 208492"/>
                  <a:gd name="connsiteY227" fmla="*/ 79851 h 90306"/>
                  <a:gd name="connsiteX228" fmla="*/ 176522 w 208492"/>
                  <a:gd name="connsiteY228" fmla="*/ 76518 h 90306"/>
                  <a:gd name="connsiteX229" fmla="*/ 178189 w 208492"/>
                  <a:gd name="connsiteY229" fmla="*/ 75003 h 90306"/>
                  <a:gd name="connsiteX230" fmla="*/ 179703 w 208492"/>
                  <a:gd name="connsiteY230" fmla="*/ 74397 h 90306"/>
                  <a:gd name="connsiteX231" fmla="*/ 184098 w 208492"/>
                  <a:gd name="connsiteY231" fmla="*/ 70609 h 90306"/>
                  <a:gd name="connsiteX232" fmla="*/ 186219 w 208492"/>
                  <a:gd name="connsiteY232" fmla="*/ 69548 h 90306"/>
                  <a:gd name="connsiteX233" fmla="*/ 188795 w 208492"/>
                  <a:gd name="connsiteY233" fmla="*/ 69851 h 90306"/>
                  <a:gd name="connsiteX234" fmla="*/ 189553 w 208492"/>
                  <a:gd name="connsiteY234" fmla="*/ 69397 h 90306"/>
                  <a:gd name="connsiteX235" fmla="*/ 189704 w 208492"/>
                  <a:gd name="connsiteY235" fmla="*/ 68942 h 90306"/>
                  <a:gd name="connsiteX236" fmla="*/ 190158 w 208492"/>
                  <a:gd name="connsiteY236" fmla="*/ 67730 h 90306"/>
                  <a:gd name="connsiteX237" fmla="*/ 190462 w 208492"/>
                  <a:gd name="connsiteY237" fmla="*/ 66518 h 90306"/>
                  <a:gd name="connsiteX238" fmla="*/ 190613 w 208492"/>
                  <a:gd name="connsiteY238" fmla="*/ 65457 h 90306"/>
                  <a:gd name="connsiteX239" fmla="*/ 190310 w 208492"/>
                  <a:gd name="connsiteY239" fmla="*/ 64851 h 90306"/>
                  <a:gd name="connsiteX240" fmla="*/ 189098 w 208492"/>
                  <a:gd name="connsiteY240" fmla="*/ 64699 h 90306"/>
                  <a:gd name="connsiteX241" fmla="*/ 188492 w 208492"/>
                  <a:gd name="connsiteY241" fmla="*/ 61972 h 90306"/>
                  <a:gd name="connsiteX242" fmla="*/ 189249 w 208492"/>
                  <a:gd name="connsiteY242" fmla="*/ 60911 h 90306"/>
                  <a:gd name="connsiteX243" fmla="*/ 189856 w 208492"/>
                  <a:gd name="connsiteY243" fmla="*/ 60305 h 90306"/>
                  <a:gd name="connsiteX244" fmla="*/ 189098 w 208492"/>
                  <a:gd name="connsiteY244" fmla="*/ 56972 h 90306"/>
                  <a:gd name="connsiteX245" fmla="*/ 189249 w 208492"/>
                  <a:gd name="connsiteY245" fmla="*/ 55911 h 90306"/>
                  <a:gd name="connsiteX246" fmla="*/ 191219 w 208492"/>
                  <a:gd name="connsiteY246" fmla="*/ 55760 h 90306"/>
                  <a:gd name="connsiteX247" fmla="*/ 192886 w 208492"/>
                  <a:gd name="connsiteY247" fmla="*/ 55002 h 90306"/>
                  <a:gd name="connsiteX248" fmla="*/ 194250 w 208492"/>
                  <a:gd name="connsiteY248" fmla="*/ 54244 h 90306"/>
                  <a:gd name="connsiteX249" fmla="*/ 194553 w 208492"/>
                  <a:gd name="connsiteY249" fmla="*/ 53184 h 90306"/>
                  <a:gd name="connsiteX250" fmla="*/ 195613 w 208492"/>
                  <a:gd name="connsiteY250" fmla="*/ 51214 h 90306"/>
                  <a:gd name="connsiteX251" fmla="*/ 194704 w 208492"/>
                  <a:gd name="connsiteY251" fmla="*/ 48638 h 90306"/>
                  <a:gd name="connsiteX252" fmla="*/ 188946 w 208492"/>
                  <a:gd name="connsiteY252" fmla="*/ 46971 h 90306"/>
                  <a:gd name="connsiteX253" fmla="*/ 188643 w 208492"/>
                  <a:gd name="connsiteY253" fmla="*/ 46365 h 90306"/>
                  <a:gd name="connsiteX254" fmla="*/ 190007 w 208492"/>
                  <a:gd name="connsiteY254" fmla="*/ 45608 h 90306"/>
                  <a:gd name="connsiteX255" fmla="*/ 191371 w 208492"/>
                  <a:gd name="connsiteY255" fmla="*/ 44547 h 90306"/>
                  <a:gd name="connsiteX256" fmla="*/ 192280 w 208492"/>
                  <a:gd name="connsiteY256" fmla="*/ 43789 h 90306"/>
                  <a:gd name="connsiteX257" fmla="*/ 193341 w 208492"/>
                  <a:gd name="connsiteY257" fmla="*/ 43789 h 90306"/>
                  <a:gd name="connsiteX258" fmla="*/ 194855 w 208492"/>
                  <a:gd name="connsiteY258" fmla="*/ 44093 h 90306"/>
                  <a:gd name="connsiteX259" fmla="*/ 197583 w 208492"/>
                  <a:gd name="connsiteY259" fmla="*/ 45911 h 90306"/>
                  <a:gd name="connsiteX260" fmla="*/ 198644 w 208492"/>
                  <a:gd name="connsiteY260" fmla="*/ 46214 h 90306"/>
                  <a:gd name="connsiteX261" fmla="*/ 199704 w 208492"/>
                  <a:gd name="connsiteY261" fmla="*/ 45608 h 90306"/>
                  <a:gd name="connsiteX262" fmla="*/ 200765 w 208492"/>
                  <a:gd name="connsiteY262" fmla="*/ 45608 h 90306"/>
                  <a:gd name="connsiteX263" fmla="*/ 203795 w 208492"/>
                  <a:gd name="connsiteY263" fmla="*/ 45608 h 90306"/>
                  <a:gd name="connsiteX264" fmla="*/ 206371 w 208492"/>
                  <a:gd name="connsiteY264" fmla="*/ 45153 h 90306"/>
                  <a:gd name="connsiteX265" fmla="*/ 205765 w 208492"/>
                  <a:gd name="connsiteY265" fmla="*/ 43183 h 90306"/>
                  <a:gd name="connsiteX266" fmla="*/ 205765 w 208492"/>
                  <a:gd name="connsiteY266" fmla="*/ 41820 h 90306"/>
                  <a:gd name="connsiteX267" fmla="*/ 205310 w 208492"/>
                  <a:gd name="connsiteY267" fmla="*/ 40759 h 90306"/>
                  <a:gd name="connsiteX268" fmla="*/ 205614 w 208492"/>
                  <a:gd name="connsiteY268" fmla="*/ 39395 h 90306"/>
                  <a:gd name="connsiteX269" fmla="*/ 206674 w 208492"/>
                  <a:gd name="connsiteY269" fmla="*/ 38486 h 90306"/>
                  <a:gd name="connsiteX270" fmla="*/ 206977 w 208492"/>
                  <a:gd name="connsiteY270" fmla="*/ 36365 h 90306"/>
                  <a:gd name="connsiteX271" fmla="*/ 208493 w 208492"/>
                  <a:gd name="connsiteY271" fmla="*/ 34850 h 9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08492" h="90306">
                    <a:moveTo>
                      <a:pt x="206826" y="33638"/>
                    </a:moveTo>
                    <a:lnTo>
                      <a:pt x="206371" y="32122"/>
                    </a:lnTo>
                    <a:lnTo>
                      <a:pt x="203795" y="28183"/>
                    </a:lnTo>
                    <a:lnTo>
                      <a:pt x="200765" y="21516"/>
                    </a:lnTo>
                    <a:lnTo>
                      <a:pt x="200765" y="19546"/>
                    </a:lnTo>
                    <a:lnTo>
                      <a:pt x="201826" y="17425"/>
                    </a:lnTo>
                    <a:lnTo>
                      <a:pt x="202886" y="15758"/>
                    </a:lnTo>
                    <a:lnTo>
                      <a:pt x="203038" y="14395"/>
                    </a:lnTo>
                    <a:lnTo>
                      <a:pt x="203189" y="14091"/>
                    </a:lnTo>
                    <a:lnTo>
                      <a:pt x="202583" y="13334"/>
                    </a:lnTo>
                    <a:lnTo>
                      <a:pt x="201371" y="10455"/>
                    </a:lnTo>
                    <a:lnTo>
                      <a:pt x="200007" y="10000"/>
                    </a:lnTo>
                    <a:lnTo>
                      <a:pt x="198038" y="9697"/>
                    </a:lnTo>
                    <a:lnTo>
                      <a:pt x="196674" y="9394"/>
                    </a:lnTo>
                    <a:lnTo>
                      <a:pt x="193644" y="7576"/>
                    </a:lnTo>
                    <a:lnTo>
                      <a:pt x="191977" y="7121"/>
                    </a:lnTo>
                    <a:lnTo>
                      <a:pt x="190158" y="6970"/>
                    </a:lnTo>
                    <a:lnTo>
                      <a:pt x="188492" y="8031"/>
                    </a:lnTo>
                    <a:lnTo>
                      <a:pt x="187128" y="9091"/>
                    </a:lnTo>
                    <a:lnTo>
                      <a:pt x="183189" y="9091"/>
                    </a:lnTo>
                    <a:lnTo>
                      <a:pt x="178643" y="8637"/>
                    </a:lnTo>
                    <a:lnTo>
                      <a:pt x="172431" y="4697"/>
                    </a:lnTo>
                    <a:lnTo>
                      <a:pt x="170764" y="4697"/>
                    </a:lnTo>
                    <a:lnTo>
                      <a:pt x="168946" y="4849"/>
                    </a:lnTo>
                    <a:lnTo>
                      <a:pt x="166218" y="3940"/>
                    </a:lnTo>
                    <a:lnTo>
                      <a:pt x="160763" y="1515"/>
                    </a:lnTo>
                    <a:lnTo>
                      <a:pt x="158339" y="909"/>
                    </a:lnTo>
                    <a:lnTo>
                      <a:pt x="156672" y="1212"/>
                    </a:lnTo>
                    <a:lnTo>
                      <a:pt x="155309" y="1818"/>
                    </a:lnTo>
                    <a:lnTo>
                      <a:pt x="154248" y="1818"/>
                    </a:lnTo>
                    <a:lnTo>
                      <a:pt x="153642" y="1061"/>
                    </a:lnTo>
                    <a:lnTo>
                      <a:pt x="151672" y="0"/>
                    </a:lnTo>
                    <a:lnTo>
                      <a:pt x="149551" y="0"/>
                    </a:lnTo>
                    <a:lnTo>
                      <a:pt x="149096" y="606"/>
                    </a:lnTo>
                    <a:lnTo>
                      <a:pt x="148339" y="6061"/>
                    </a:lnTo>
                    <a:lnTo>
                      <a:pt x="147733" y="8031"/>
                    </a:lnTo>
                    <a:lnTo>
                      <a:pt x="144854" y="7879"/>
                    </a:lnTo>
                    <a:lnTo>
                      <a:pt x="143945" y="8788"/>
                    </a:lnTo>
                    <a:lnTo>
                      <a:pt x="141823" y="11516"/>
                    </a:lnTo>
                    <a:lnTo>
                      <a:pt x="141369" y="14091"/>
                    </a:lnTo>
                    <a:lnTo>
                      <a:pt x="137581" y="13637"/>
                    </a:lnTo>
                    <a:lnTo>
                      <a:pt x="135762" y="13182"/>
                    </a:lnTo>
                    <a:lnTo>
                      <a:pt x="134247" y="13485"/>
                    </a:lnTo>
                    <a:lnTo>
                      <a:pt x="132429" y="14849"/>
                    </a:lnTo>
                    <a:lnTo>
                      <a:pt x="127580" y="14849"/>
                    </a:lnTo>
                    <a:lnTo>
                      <a:pt x="123792" y="13940"/>
                    </a:lnTo>
                    <a:lnTo>
                      <a:pt x="122126" y="10758"/>
                    </a:lnTo>
                    <a:lnTo>
                      <a:pt x="120308" y="9546"/>
                    </a:lnTo>
                    <a:lnTo>
                      <a:pt x="118186" y="8485"/>
                    </a:lnTo>
                    <a:lnTo>
                      <a:pt x="117429" y="8182"/>
                    </a:lnTo>
                    <a:lnTo>
                      <a:pt x="116974" y="8788"/>
                    </a:lnTo>
                    <a:lnTo>
                      <a:pt x="116822" y="11061"/>
                    </a:lnTo>
                    <a:lnTo>
                      <a:pt x="116974" y="13334"/>
                    </a:lnTo>
                    <a:lnTo>
                      <a:pt x="116520" y="14546"/>
                    </a:lnTo>
                    <a:lnTo>
                      <a:pt x="114853" y="16061"/>
                    </a:lnTo>
                    <a:lnTo>
                      <a:pt x="113943" y="16364"/>
                    </a:lnTo>
                    <a:lnTo>
                      <a:pt x="113489" y="16667"/>
                    </a:lnTo>
                    <a:lnTo>
                      <a:pt x="108337" y="14698"/>
                    </a:lnTo>
                    <a:lnTo>
                      <a:pt x="108034" y="15001"/>
                    </a:lnTo>
                    <a:lnTo>
                      <a:pt x="107580" y="15304"/>
                    </a:lnTo>
                    <a:lnTo>
                      <a:pt x="106216" y="21213"/>
                    </a:lnTo>
                    <a:lnTo>
                      <a:pt x="105307" y="22425"/>
                    </a:lnTo>
                    <a:lnTo>
                      <a:pt x="103943" y="23486"/>
                    </a:lnTo>
                    <a:lnTo>
                      <a:pt x="100913" y="24546"/>
                    </a:lnTo>
                    <a:lnTo>
                      <a:pt x="98943" y="24849"/>
                    </a:lnTo>
                    <a:lnTo>
                      <a:pt x="97276" y="25455"/>
                    </a:lnTo>
                    <a:lnTo>
                      <a:pt x="92276" y="27880"/>
                    </a:lnTo>
                    <a:lnTo>
                      <a:pt x="90003" y="29395"/>
                    </a:lnTo>
                    <a:lnTo>
                      <a:pt x="88488" y="31365"/>
                    </a:lnTo>
                    <a:lnTo>
                      <a:pt x="88488" y="32425"/>
                    </a:lnTo>
                    <a:lnTo>
                      <a:pt x="90912" y="35607"/>
                    </a:lnTo>
                    <a:lnTo>
                      <a:pt x="93791" y="38789"/>
                    </a:lnTo>
                    <a:lnTo>
                      <a:pt x="93791" y="41668"/>
                    </a:lnTo>
                    <a:lnTo>
                      <a:pt x="92579" y="43941"/>
                    </a:lnTo>
                    <a:lnTo>
                      <a:pt x="92276" y="44699"/>
                    </a:lnTo>
                    <a:lnTo>
                      <a:pt x="93034" y="45002"/>
                    </a:lnTo>
                    <a:lnTo>
                      <a:pt x="94700" y="45153"/>
                    </a:lnTo>
                    <a:lnTo>
                      <a:pt x="95912" y="45456"/>
                    </a:lnTo>
                    <a:lnTo>
                      <a:pt x="96519" y="46971"/>
                    </a:lnTo>
                    <a:lnTo>
                      <a:pt x="96367" y="49699"/>
                    </a:lnTo>
                    <a:lnTo>
                      <a:pt x="95912" y="52123"/>
                    </a:lnTo>
                    <a:lnTo>
                      <a:pt x="95458" y="53184"/>
                    </a:lnTo>
                    <a:lnTo>
                      <a:pt x="94246" y="53184"/>
                    </a:lnTo>
                    <a:lnTo>
                      <a:pt x="91822" y="52123"/>
                    </a:lnTo>
                    <a:lnTo>
                      <a:pt x="89852" y="50911"/>
                    </a:lnTo>
                    <a:lnTo>
                      <a:pt x="89094" y="50153"/>
                    </a:lnTo>
                    <a:lnTo>
                      <a:pt x="89094" y="49244"/>
                    </a:lnTo>
                    <a:lnTo>
                      <a:pt x="89549" y="48638"/>
                    </a:lnTo>
                    <a:lnTo>
                      <a:pt x="88791" y="47577"/>
                    </a:lnTo>
                    <a:lnTo>
                      <a:pt x="86518" y="46517"/>
                    </a:lnTo>
                    <a:lnTo>
                      <a:pt x="83943" y="46971"/>
                    </a:lnTo>
                    <a:lnTo>
                      <a:pt x="82124" y="47729"/>
                    </a:lnTo>
                    <a:lnTo>
                      <a:pt x="80912" y="47577"/>
                    </a:lnTo>
                    <a:lnTo>
                      <a:pt x="79700" y="46668"/>
                    </a:lnTo>
                    <a:lnTo>
                      <a:pt x="77579" y="45911"/>
                    </a:lnTo>
                    <a:lnTo>
                      <a:pt x="75003" y="45305"/>
                    </a:lnTo>
                    <a:lnTo>
                      <a:pt x="73488" y="44850"/>
                    </a:lnTo>
                    <a:lnTo>
                      <a:pt x="73033" y="45153"/>
                    </a:lnTo>
                    <a:lnTo>
                      <a:pt x="73336" y="47274"/>
                    </a:lnTo>
                    <a:lnTo>
                      <a:pt x="72730" y="48335"/>
                    </a:lnTo>
                    <a:lnTo>
                      <a:pt x="60002" y="49547"/>
                    </a:lnTo>
                    <a:lnTo>
                      <a:pt x="56062" y="50759"/>
                    </a:lnTo>
                    <a:lnTo>
                      <a:pt x="53184" y="52275"/>
                    </a:lnTo>
                    <a:lnTo>
                      <a:pt x="51062" y="52881"/>
                    </a:lnTo>
                    <a:lnTo>
                      <a:pt x="50608" y="53790"/>
                    </a:lnTo>
                    <a:lnTo>
                      <a:pt x="48486" y="55002"/>
                    </a:lnTo>
                    <a:lnTo>
                      <a:pt x="46214" y="55457"/>
                    </a:lnTo>
                    <a:lnTo>
                      <a:pt x="45608" y="55002"/>
                    </a:lnTo>
                    <a:lnTo>
                      <a:pt x="44093" y="55608"/>
                    </a:lnTo>
                    <a:lnTo>
                      <a:pt x="41517" y="56063"/>
                    </a:lnTo>
                    <a:lnTo>
                      <a:pt x="39850" y="55911"/>
                    </a:lnTo>
                    <a:lnTo>
                      <a:pt x="39092" y="55002"/>
                    </a:lnTo>
                    <a:lnTo>
                      <a:pt x="37426" y="53487"/>
                    </a:lnTo>
                    <a:lnTo>
                      <a:pt x="36819" y="52426"/>
                    </a:lnTo>
                    <a:lnTo>
                      <a:pt x="36819" y="51669"/>
                    </a:lnTo>
                    <a:lnTo>
                      <a:pt x="33334" y="51517"/>
                    </a:lnTo>
                    <a:lnTo>
                      <a:pt x="31062" y="50759"/>
                    </a:lnTo>
                    <a:lnTo>
                      <a:pt x="26213" y="50911"/>
                    </a:lnTo>
                    <a:lnTo>
                      <a:pt x="25001" y="50608"/>
                    </a:lnTo>
                    <a:lnTo>
                      <a:pt x="24698" y="51063"/>
                    </a:lnTo>
                    <a:lnTo>
                      <a:pt x="24092" y="55305"/>
                    </a:lnTo>
                    <a:lnTo>
                      <a:pt x="23031" y="57123"/>
                    </a:lnTo>
                    <a:lnTo>
                      <a:pt x="21516" y="58942"/>
                    </a:lnTo>
                    <a:lnTo>
                      <a:pt x="19546" y="59851"/>
                    </a:lnTo>
                    <a:lnTo>
                      <a:pt x="18031" y="60002"/>
                    </a:lnTo>
                    <a:lnTo>
                      <a:pt x="18031" y="58790"/>
                    </a:lnTo>
                    <a:lnTo>
                      <a:pt x="18486" y="57123"/>
                    </a:lnTo>
                    <a:lnTo>
                      <a:pt x="17273" y="56820"/>
                    </a:lnTo>
                    <a:lnTo>
                      <a:pt x="15607" y="56517"/>
                    </a:lnTo>
                    <a:lnTo>
                      <a:pt x="14849" y="56063"/>
                    </a:lnTo>
                    <a:lnTo>
                      <a:pt x="15000" y="54851"/>
                    </a:lnTo>
                    <a:lnTo>
                      <a:pt x="14546" y="54244"/>
                    </a:lnTo>
                    <a:lnTo>
                      <a:pt x="13940" y="53335"/>
                    </a:lnTo>
                    <a:lnTo>
                      <a:pt x="12273" y="52275"/>
                    </a:lnTo>
                    <a:lnTo>
                      <a:pt x="8637" y="50608"/>
                    </a:lnTo>
                    <a:lnTo>
                      <a:pt x="6061" y="49850"/>
                    </a:lnTo>
                    <a:lnTo>
                      <a:pt x="5152" y="50608"/>
                    </a:lnTo>
                    <a:lnTo>
                      <a:pt x="4697" y="50911"/>
                    </a:lnTo>
                    <a:lnTo>
                      <a:pt x="5606" y="51517"/>
                    </a:lnTo>
                    <a:lnTo>
                      <a:pt x="5303" y="51972"/>
                    </a:lnTo>
                    <a:lnTo>
                      <a:pt x="4394" y="52123"/>
                    </a:lnTo>
                    <a:lnTo>
                      <a:pt x="757" y="51972"/>
                    </a:lnTo>
                    <a:lnTo>
                      <a:pt x="2727" y="53487"/>
                    </a:lnTo>
                    <a:lnTo>
                      <a:pt x="2273" y="56214"/>
                    </a:lnTo>
                    <a:lnTo>
                      <a:pt x="0" y="60305"/>
                    </a:lnTo>
                    <a:lnTo>
                      <a:pt x="303" y="60911"/>
                    </a:lnTo>
                    <a:lnTo>
                      <a:pt x="455" y="61669"/>
                    </a:lnTo>
                    <a:lnTo>
                      <a:pt x="757" y="62427"/>
                    </a:lnTo>
                    <a:lnTo>
                      <a:pt x="757" y="63336"/>
                    </a:lnTo>
                    <a:lnTo>
                      <a:pt x="1212" y="64245"/>
                    </a:lnTo>
                    <a:lnTo>
                      <a:pt x="2121" y="65154"/>
                    </a:lnTo>
                    <a:lnTo>
                      <a:pt x="2273" y="66063"/>
                    </a:lnTo>
                    <a:lnTo>
                      <a:pt x="1970" y="67124"/>
                    </a:lnTo>
                    <a:lnTo>
                      <a:pt x="1515" y="67730"/>
                    </a:lnTo>
                    <a:lnTo>
                      <a:pt x="2576" y="67730"/>
                    </a:lnTo>
                    <a:lnTo>
                      <a:pt x="6061" y="68487"/>
                    </a:lnTo>
                    <a:lnTo>
                      <a:pt x="8788" y="69397"/>
                    </a:lnTo>
                    <a:lnTo>
                      <a:pt x="9243" y="70457"/>
                    </a:lnTo>
                    <a:lnTo>
                      <a:pt x="9697" y="71821"/>
                    </a:lnTo>
                    <a:lnTo>
                      <a:pt x="12879" y="73639"/>
                    </a:lnTo>
                    <a:lnTo>
                      <a:pt x="16667" y="74851"/>
                    </a:lnTo>
                    <a:lnTo>
                      <a:pt x="17879" y="74397"/>
                    </a:lnTo>
                    <a:lnTo>
                      <a:pt x="22576" y="70154"/>
                    </a:lnTo>
                    <a:lnTo>
                      <a:pt x="24395" y="70912"/>
                    </a:lnTo>
                    <a:lnTo>
                      <a:pt x="25455" y="73185"/>
                    </a:lnTo>
                    <a:lnTo>
                      <a:pt x="25304" y="74397"/>
                    </a:lnTo>
                    <a:lnTo>
                      <a:pt x="26062" y="74700"/>
                    </a:lnTo>
                    <a:lnTo>
                      <a:pt x="28789" y="74700"/>
                    </a:lnTo>
                    <a:lnTo>
                      <a:pt x="31819" y="75003"/>
                    </a:lnTo>
                    <a:lnTo>
                      <a:pt x="33789" y="76821"/>
                    </a:lnTo>
                    <a:lnTo>
                      <a:pt x="35607" y="77427"/>
                    </a:lnTo>
                    <a:lnTo>
                      <a:pt x="38335" y="77579"/>
                    </a:lnTo>
                    <a:lnTo>
                      <a:pt x="40153" y="77427"/>
                    </a:lnTo>
                    <a:lnTo>
                      <a:pt x="41062" y="76670"/>
                    </a:lnTo>
                    <a:lnTo>
                      <a:pt x="42123" y="74548"/>
                    </a:lnTo>
                    <a:lnTo>
                      <a:pt x="43941" y="71972"/>
                    </a:lnTo>
                    <a:lnTo>
                      <a:pt x="46972" y="70609"/>
                    </a:lnTo>
                    <a:lnTo>
                      <a:pt x="52123" y="70306"/>
                    </a:lnTo>
                    <a:lnTo>
                      <a:pt x="54850" y="69851"/>
                    </a:lnTo>
                    <a:lnTo>
                      <a:pt x="57427" y="69851"/>
                    </a:lnTo>
                    <a:lnTo>
                      <a:pt x="59548" y="70154"/>
                    </a:lnTo>
                    <a:lnTo>
                      <a:pt x="61517" y="70154"/>
                    </a:lnTo>
                    <a:lnTo>
                      <a:pt x="66821" y="68336"/>
                    </a:lnTo>
                    <a:lnTo>
                      <a:pt x="72275" y="66821"/>
                    </a:lnTo>
                    <a:lnTo>
                      <a:pt x="73033" y="67124"/>
                    </a:lnTo>
                    <a:lnTo>
                      <a:pt x="73184" y="67578"/>
                    </a:lnTo>
                    <a:lnTo>
                      <a:pt x="72275" y="68790"/>
                    </a:lnTo>
                    <a:lnTo>
                      <a:pt x="71214" y="70154"/>
                    </a:lnTo>
                    <a:lnTo>
                      <a:pt x="71972" y="71972"/>
                    </a:lnTo>
                    <a:lnTo>
                      <a:pt x="75003" y="75306"/>
                    </a:lnTo>
                    <a:lnTo>
                      <a:pt x="76669" y="78033"/>
                    </a:lnTo>
                    <a:lnTo>
                      <a:pt x="78336" y="80003"/>
                    </a:lnTo>
                    <a:lnTo>
                      <a:pt x="80760" y="80912"/>
                    </a:lnTo>
                    <a:lnTo>
                      <a:pt x="84094" y="81670"/>
                    </a:lnTo>
                    <a:lnTo>
                      <a:pt x="86822" y="81821"/>
                    </a:lnTo>
                    <a:lnTo>
                      <a:pt x="89700" y="82579"/>
                    </a:lnTo>
                    <a:lnTo>
                      <a:pt x="99700" y="84397"/>
                    </a:lnTo>
                    <a:lnTo>
                      <a:pt x="104701" y="84852"/>
                    </a:lnTo>
                    <a:lnTo>
                      <a:pt x="108489" y="85003"/>
                    </a:lnTo>
                    <a:lnTo>
                      <a:pt x="114247" y="86215"/>
                    </a:lnTo>
                    <a:lnTo>
                      <a:pt x="115459" y="86367"/>
                    </a:lnTo>
                    <a:lnTo>
                      <a:pt x="117883" y="86518"/>
                    </a:lnTo>
                    <a:lnTo>
                      <a:pt x="120459" y="86973"/>
                    </a:lnTo>
                    <a:lnTo>
                      <a:pt x="123035" y="87427"/>
                    </a:lnTo>
                    <a:lnTo>
                      <a:pt x="125156" y="88185"/>
                    </a:lnTo>
                    <a:lnTo>
                      <a:pt x="129702" y="88943"/>
                    </a:lnTo>
                    <a:lnTo>
                      <a:pt x="133944" y="89397"/>
                    </a:lnTo>
                    <a:lnTo>
                      <a:pt x="135156" y="89700"/>
                    </a:lnTo>
                    <a:lnTo>
                      <a:pt x="136217" y="89700"/>
                    </a:lnTo>
                    <a:lnTo>
                      <a:pt x="137429" y="90306"/>
                    </a:lnTo>
                    <a:lnTo>
                      <a:pt x="138187" y="89852"/>
                    </a:lnTo>
                    <a:lnTo>
                      <a:pt x="138793" y="89094"/>
                    </a:lnTo>
                    <a:lnTo>
                      <a:pt x="141066" y="88185"/>
                    </a:lnTo>
                    <a:lnTo>
                      <a:pt x="143187" y="86973"/>
                    </a:lnTo>
                    <a:lnTo>
                      <a:pt x="144551" y="85306"/>
                    </a:lnTo>
                    <a:lnTo>
                      <a:pt x="145460" y="84094"/>
                    </a:lnTo>
                    <a:lnTo>
                      <a:pt x="146824" y="83185"/>
                    </a:lnTo>
                    <a:lnTo>
                      <a:pt x="148339" y="83033"/>
                    </a:lnTo>
                    <a:lnTo>
                      <a:pt x="149854" y="82579"/>
                    </a:lnTo>
                    <a:lnTo>
                      <a:pt x="155763" y="81973"/>
                    </a:lnTo>
                    <a:lnTo>
                      <a:pt x="161824" y="82427"/>
                    </a:lnTo>
                    <a:lnTo>
                      <a:pt x="164703" y="81518"/>
                    </a:lnTo>
                    <a:lnTo>
                      <a:pt x="167127" y="80154"/>
                    </a:lnTo>
                    <a:lnTo>
                      <a:pt x="170613" y="79700"/>
                    </a:lnTo>
                    <a:lnTo>
                      <a:pt x="170764" y="79700"/>
                    </a:lnTo>
                    <a:lnTo>
                      <a:pt x="175915" y="80761"/>
                    </a:lnTo>
                    <a:lnTo>
                      <a:pt x="176370" y="80154"/>
                    </a:lnTo>
                    <a:lnTo>
                      <a:pt x="176673" y="79851"/>
                    </a:lnTo>
                    <a:lnTo>
                      <a:pt x="176522" y="76518"/>
                    </a:lnTo>
                    <a:lnTo>
                      <a:pt x="178189" y="75003"/>
                    </a:lnTo>
                    <a:lnTo>
                      <a:pt x="179703" y="74397"/>
                    </a:lnTo>
                    <a:lnTo>
                      <a:pt x="184098" y="70609"/>
                    </a:lnTo>
                    <a:lnTo>
                      <a:pt x="186219" y="69548"/>
                    </a:lnTo>
                    <a:lnTo>
                      <a:pt x="188795" y="69851"/>
                    </a:lnTo>
                    <a:lnTo>
                      <a:pt x="189553" y="69397"/>
                    </a:lnTo>
                    <a:lnTo>
                      <a:pt x="189704" y="68942"/>
                    </a:lnTo>
                    <a:lnTo>
                      <a:pt x="190158" y="67730"/>
                    </a:lnTo>
                    <a:lnTo>
                      <a:pt x="190462" y="66518"/>
                    </a:lnTo>
                    <a:lnTo>
                      <a:pt x="190613" y="65457"/>
                    </a:lnTo>
                    <a:lnTo>
                      <a:pt x="190310" y="64851"/>
                    </a:lnTo>
                    <a:lnTo>
                      <a:pt x="189098" y="64699"/>
                    </a:lnTo>
                    <a:lnTo>
                      <a:pt x="188492" y="61972"/>
                    </a:lnTo>
                    <a:lnTo>
                      <a:pt x="189249" y="60911"/>
                    </a:lnTo>
                    <a:lnTo>
                      <a:pt x="189856" y="60305"/>
                    </a:lnTo>
                    <a:lnTo>
                      <a:pt x="189098" y="56972"/>
                    </a:lnTo>
                    <a:lnTo>
                      <a:pt x="189249" y="55911"/>
                    </a:lnTo>
                    <a:lnTo>
                      <a:pt x="191219" y="55760"/>
                    </a:lnTo>
                    <a:lnTo>
                      <a:pt x="192886" y="55002"/>
                    </a:lnTo>
                    <a:lnTo>
                      <a:pt x="194250" y="54244"/>
                    </a:lnTo>
                    <a:lnTo>
                      <a:pt x="194553" y="53184"/>
                    </a:lnTo>
                    <a:lnTo>
                      <a:pt x="195613" y="51214"/>
                    </a:lnTo>
                    <a:lnTo>
                      <a:pt x="194704" y="48638"/>
                    </a:lnTo>
                    <a:lnTo>
                      <a:pt x="188946" y="46971"/>
                    </a:lnTo>
                    <a:lnTo>
                      <a:pt x="188643" y="46365"/>
                    </a:lnTo>
                    <a:lnTo>
                      <a:pt x="190007" y="45608"/>
                    </a:lnTo>
                    <a:lnTo>
                      <a:pt x="191371" y="44547"/>
                    </a:lnTo>
                    <a:lnTo>
                      <a:pt x="192280" y="43789"/>
                    </a:lnTo>
                    <a:lnTo>
                      <a:pt x="193341" y="43789"/>
                    </a:lnTo>
                    <a:lnTo>
                      <a:pt x="194855" y="44093"/>
                    </a:lnTo>
                    <a:lnTo>
                      <a:pt x="197583" y="45911"/>
                    </a:lnTo>
                    <a:lnTo>
                      <a:pt x="198644" y="46214"/>
                    </a:lnTo>
                    <a:lnTo>
                      <a:pt x="199704" y="45608"/>
                    </a:lnTo>
                    <a:lnTo>
                      <a:pt x="200765" y="45608"/>
                    </a:lnTo>
                    <a:lnTo>
                      <a:pt x="203795" y="45608"/>
                    </a:lnTo>
                    <a:lnTo>
                      <a:pt x="206371" y="45153"/>
                    </a:lnTo>
                    <a:lnTo>
                      <a:pt x="205765" y="43183"/>
                    </a:lnTo>
                    <a:lnTo>
                      <a:pt x="205765" y="41820"/>
                    </a:lnTo>
                    <a:lnTo>
                      <a:pt x="205310" y="40759"/>
                    </a:lnTo>
                    <a:lnTo>
                      <a:pt x="205614" y="39395"/>
                    </a:lnTo>
                    <a:lnTo>
                      <a:pt x="206674" y="38486"/>
                    </a:lnTo>
                    <a:lnTo>
                      <a:pt x="206977" y="36365"/>
                    </a:lnTo>
                    <a:lnTo>
                      <a:pt x="208493" y="348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6" name="Freeform: Shape 3345">
                <a:extLst>
                  <a:ext uri="{FF2B5EF4-FFF2-40B4-BE49-F238E27FC236}">
                    <a16:creationId xmlns:a16="http://schemas.microsoft.com/office/drawing/2014/main" id="{6E2A6BD8-04FA-467D-9B72-B47EC8C0587B}"/>
                  </a:ext>
                </a:extLst>
              </p:cNvPr>
              <p:cNvSpPr/>
              <p:nvPr/>
            </p:nvSpPr>
            <p:spPr>
              <a:xfrm>
                <a:off x="10953301" y="4952159"/>
                <a:ext cx="6818" cy="2878"/>
              </a:xfrm>
              <a:custGeom>
                <a:avLst/>
                <a:gdLst>
                  <a:gd name="connsiteX0" fmla="*/ 3636 w 6818"/>
                  <a:gd name="connsiteY0" fmla="*/ 0 h 2878"/>
                  <a:gd name="connsiteX1" fmla="*/ 2727 w 6818"/>
                  <a:gd name="connsiteY1" fmla="*/ 606 h 2878"/>
                  <a:gd name="connsiteX2" fmla="*/ 0 w 6818"/>
                  <a:gd name="connsiteY2" fmla="*/ 1515 h 2878"/>
                  <a:gd name="connsiteX3" fmla="*/ 1363 w 6818"/>
                  <a:gd name="connsiteY3" fmla="*/ 2879 h 2878"/>
                  <a:gd name="connsiteX4" fmla="*/ 2576 w 6818"/>
                  <a:gd name="connsiteY4" fmla="*/ 2727 h 2878"/>
                  <a:gd name="connsiteX5" fmla="*/ 4849 w 6818"/>
                  <a:gd name="connsiteY5" fmla="*/ 758 h 2878"/>
                  <a:gd name="connsiteX6" fmla="*/ 6819 w 6818"/>
                  <a:gd name="connsiteY6" fmla="*/ 303 h 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8" h="2878">
                    <a:moveTo>
                      <a:pt x="3636" y="0"/>
                    </a:moveTo>
                    <a:lnTo>
                      <a:pt x="2727" y="606"/>
                    </a:lnTo>
                    <a:lnTo>
                      <a:pt x="0" y="1515"/>
                    </a:lnTo>
                    <a:lnTo>
                      <a:pt x="1363" y="2879"/>
                    </a:lnTo>
                    <a:lnTo>
                      <a:pt x="2576" y="2727"/>
                    </a:lnTo>
                    <a:lnTo>
                      <a:pt x="4849" y="758"/>
                    </a:lnTo>
                    <a:lnTo>
                      <a:pt x="6819"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7" name="Freeform: Shape 3346">
                <a:extLst>
                  <a:ext uri="{FF2B5EF4-FFF2-40B4-BE49-F238E27FC236}">
                    <a16:creationId xmlns:a16="http://schemas.microsoft.com/office/drawing/2014/main" id="{5E4C5CEE-BA4B-4E40-A508-2768C99B899A}"/>
                  </a:ext>
                </a:extLst>
              </p:cNvPr>
              <p:cNvSpPr/>
              <p:nvPr/>
            </p:nvSpPr>
            <p:spPr>
              <a:xfrm>
                <a:off x="3765004" y="5164136"/>
                <a:ext cx="543808" cy="1071250"/>
              </a:xfrm>
              <a:custGeom>
                <a:avLst/>
                <a:gdLst>
                  <a:gd name="connsiteX0" fmla="*/ 223645 w 543808"/>
                  <a:gd name="connsiteY0" fmla="*/ 1056251 h 1071250"/>
                  <a:gd name="connsiteX1" fmla="*/ 213341 w 543808"/>
                  <a:gd name="connsiteY1" fmla="*/ 1057008 h 1071250"/>
                  <a:gd name="connsiteX2" fmla="*/ 206674 w 543808"/>
                  <a:gd name="connsiteY2" fmla="*/ 1054887 h 1071250"/>
                  <a:gd name="connsiteX3" fmla="*/ 200007 w 543808"/>
                  <a:gd name="connsiteY3" fmla="*/ 1052463 h 1071250"/>
                  <a:gd name="connsiteX4" fmla="*/ 193795 w 543808"/>
                  <a:gd name="connsiteY4" fmla="*/ 1048977 h 1071250"/>
                  <a:gd name="connsiteX5" fmla="*/ 188037 w 543808"/>
                  <a:gd name="connsiteY5" fmla="*/ 1044129 h 1071250"/>
                  <a:gd name="connsiteX6" fmla="*/ 182734 w 543808"/>
                  <a:gd name="connsiteY6" fmla="*/ 1040644 h 1071250"/>
                  <a:gd name="connsiteX7" fmla="*/ 177128 w 543808"/>
                  <a:gd name="connsiteY7" fmla="*/ 1037917 h 1071250"/>
                  <a:gd name="connsiteX8" fmla="*/ 170915 w 543808"/>
                  <a:gd name="connsiteY8" fmla="*/ 1034280 h 1071250"/>
                  <a:gd name="connsiteX9" fmla="*/ 165158 w 543808"/>
                  <a:gd name="connsiteY9" fmla="*/ 1029432 h 1071250"/>
                  <a:gd name="connsiteX10" fmla="*/ 160309 w 543808"/>
                  <a:gd name="connsiteY10" fmla="*/ 1024431 h 1071250"/>
                  <a:gd name="connsiteX11" fmla="*/ 155309 w 543808"/>
                  <a:gd name="connsiteY11" fmla="*/ 1019734 h 1071250"/>
                  <a:gd name="connsiteX12" fmla="*/ 153188 w 543808"/>
                  <a:gd name="connsiteY12" fmla="*/ 1018067 h 1071250"/>
                  <a:gd name="connsiteX13" fmla="*/ 151369 w 543808"/>
                  <a:gd name="connsiteY13" fmla="*/ 1016098 h 1071250"/>
                  <a:gd name="connsiteX14" fmla="*/ 147733 w 543808"/>
                  <a:gd name="connsiteY14" fmla="*/ 1007006 h 1071250"/>
                  <a:gd name="connsiteX15" fmla="*/ 147278 w 543808"/>
                  <a:gd name="connsiteY15" fmla="*/ 1006552 h 1071250"/>
                  <a:gd name="connsiteX16" fmla="*/ 140914 w 543808"/>
                  <a:gd name="connsiteY16" fmla="*/ 1006097 h 1071250"/>
                  <a:gd name="connsiteX17" fmla="*/ 138338 w 543808"/>
                  <a:gd name="connsiteY17" fmla="*/ 1004885 h 1071250"/>
                  <a:gd name="connsiteX18" fmla="*/ 137429 w 543808"/>
                  <a:gd name="connsiteY18" fmla="*/ 1003370 h 1071250"/>
                  <a:gd name="connsiteX19" fmla="*/ 137429 w 543808"/>
                  <a:gd name="connsiteY19" fmla="*/ 1001703 h 1071250"/>
                  <a:gd name="connsiteX20" fmla="*/ 138490 w 543808"/>
                  <a:gd name="connsiteY20" fmla="*/ 999279 h 1071250"/>
                  <a:gd name="connsiteX21" fmla="*/ 139854 w 543808"/>
                  <a:gd name="connsiteY21" fmla="*/ 997158 h 1071250"/>
                  <a:gd name="connsiteX22" fmla="*/ 142581 w 543808"/>
                  <a:gd name="connsiteY22" fmla="*/ 995794 h 1071250"/>
                  <a:gd name="connsiteX23" fmla="*/ 145157 w 543808"/>
                  <a:gd name="connsiteY23" fmla="*/ 998067 h 1071250"/>
                  <a:gd name="connsiteX24" fmla="*/ 144096 w 543808"/>
                  <a:gd name="connsiteY24" fmla="*/ 994430 h 1071250"/>
                  <a:gd name="connsiteX25" fmla="*/ 142429 w 543808"/>
                  <a:gd name="connsiteY25" fmla="*/ 991400 h 1071250"/>
                  <a:gd name="connsiteX26" fmla="*/ 136066 w 543808"/>
                  <a:gd name="connsiteY26" fmla="*/ 983824 h 1071250"/>
                  <a:gd name="connsiteX27" fmla="*/ 134399 w 543808"/>
                  <a:gd name="connsiteY27" fmla="*/ 982308 h 1071250"/>
                  <a:gd name="connsiteX28" fmla="*/ 134399 w 543808"/>
                  <a:gd name="connsiteY28" fmla="*/ 993218 h 1071250"/>
                  <a:gd name="connsiteX29" fmla="*/ 134399 w 543808"/>
                  <a:gd name="connsiteY29" fmla="*/ 1004127 h 1071250"/>
                  <a:gd name="connsiteX30" fmla="*/ 134399 w 543808"/>
                  <a:gd name="connsiteY30" fmla="*/ 1014279 h 1071250"/>
                  <a:gd name="connsiteX31" fmla="*/ 134399 w 543808"/>
                  <a:gd name="connsiteY31" fmla="*/ 1024431 h 1071250"/>
                  <a:gd name="connsiteX32" fmla="*/ 134399 w 543808"/>
                  <a:gd name="connsiteY32" fmla="*/ 1034280 h 1071250"/>
                  <a:gd name="connsiteX33" fmla="*/ 134399 w 543808"/>
                  <a:gd name="connsiteY33" fmla="*/ 1044432 h 1071250"/>
                  <a:gd name="connsiteX34" fmla="*/ 134247 w 543808"/>
                  <a:gd name="connsiteY34" fmla="*/ 1055948 h 1071250"/>
                  <a:gd name="connsiteX35" fmla="*/ 134096 w 543808"/>
                  <a:gd name="connsiteY35" fmla="*/ 1064433 h 1071250"/>
                  <a:gd name="connsiteX36" fmla="*/ 135005 w 543808"/>
                  <a:gd name="connsiteY36" fmla="*/ 1063675 h 1071250"/>
                  <a:gd name="connsiteX37" fmla="*/ 138490 w 543808"/>
                  <a:gd name="connsiteY37" fmla="*/ 1063827 h 1071250"/>
                  <a:gd name="connsiteX38" fmla="*/ 142884 w 543808"/>
                  <a:gd name="connsiteY38" fmla="*/ 1063069 h 1071250"/>
                  <a:gd name="connsiteX39" fmla="*/ 145914 w 543808"/>
                  <a:gd name="connsiteY39" fmla="*/ 1063069 h 1071250"/>
                  <a:gd name="connsiteX40" fmla="*/ 151672 w 543808"/>
                  <a:gd name="connsiteY40" fmla="*/ 1064281 h 1071250"/>
                  <a:gd name="connsiteX41" fmla="*/ 157582 w 543808"/>
                  <a:gd name="connsiteY41" fmla="*/ 1065039 h 1071250"/>
                  <a:gd name="connsiteX42" fmla="*/ 175764 w 543808"/>
                  <a:gd name="connsiteY42" fmla="*/ 1066403 h 1071250"/>
                  <a:gd name="connsiteX43" fmla="*/ 181219 w 543808"/>
                  <a:gd name="connsiteY43" fmla="*/ 1067160 h 1071250"/>
                  <a:gd name="connsiteX44" fmla="*/ 189552 w 543808"/>
                  <a:gd name="connsiteY44" fmla="*/ 1070494 h 1071250"/>
                  <a:gd name="connsiteX45" fmla="*/ 192734 w 543808"/>
                  <a:gd name="connsiteY45" fmla="*/ 1071251 h 1071250"/>
                  <a:gd name="connsiteX46" fmla="*/ 195765 w 543808"/>
                  <a:gd name="connsiteY46" fmla="*/ 1070342 h 1071250"/>
                  <a:gd name="connsiteX47" fmla="*/ 198795 w 543808"/>
                  <a:gd name="connsiteY47" fmla="*/ 1069130 h 1071250"/>
                  <a:gd name="connsiteX48" fmla="*/ 201977 w 543808"/>
                  <a:gd name="connsiteY48" fmla="*/ 1068978 h 1071250"/>
                  <a:gd name="connsiteX49" fmla="*/ 205008 w 543808"/>
                  <a:gd name="connsiteY49" fmla="*/ 1068221 h 1071250"/>
                  <a:gd name="connsiteX50" fmla="*/ 207887 w 543808"/>
                  <a:gd name="connsiteY50" fmla="*/ 1066857 h 1071250"/>
                  <a:gd name="connsiteX51" fmla="*/ 210917 w 543808"/>
                  <a:gd name="connsiteY51" fmla="*/ 1066554 h 1071250"/>
                  <a:gd name="connsiteX52" fmla="*/ 214250 w 543808"/>
                  <a:gd name="connsiteY52" fmla="*/ 1067160 h 1071250"/>
                  <a:gd name="connsiteX53" fmla="*/ 217584 w 543808"/>
                  <a:gd name="connsiteY53" fmla="*/ 1067160 h 1071250"/>
                  <a:gd name="connsiteX54" fmla="*/ 221220 w 543808"/>
                  <a:gd name="connsiteY54" fmla="*/ 1066706 h 1071250"/>
                  <a:gd name="connsiteX55" fmla="*/ 224705 w 543808"/>
                  <a:gd name="connsiteY55" fmla="*/ 1065342 h 1071250"/>
                  <a:gd name="connsiteX56" fmla="*/ 227281 w 543808"/>
                  <a:gd name="connsiteY56" fmla="*/ 1062008 h 1071250"/>
                  <a:gd name="connsiteX57" fmla="*/ 229251 w 543808"/>
                  <a:gd name="connsiteY57" fmla="*/ 1057766 h 1071250"/>
                  <a:gd name="connsiteX58" fmla="*/ 227281 w 543808"/>
                  <a:gd name="connsiteY58" fmla="*/ 1056251 h 1071250"/>
                  <a:gd name="connsiteX59" fmla="*/ 223645 w 543808"/>
                  <a:gd name="connsiteY59" fmla="*/ 1056251 h 1071250"/>
                  <a:gd name="connsiteX60" fmla="*/ 260161 w 543808"/>
                  <a:gd name="connsiteY60" fmla="*/ 1060493 h 1071250"/>
                  <a:gd name="connsiteX61" fmla="*/ 259555 w 543808"/>
                  <a:gd name="connsiteY61" fmla="*/ 1060039 h 1071250"/>
                  <a:gd name="connsiteX62" fmla="*/ 258191 w 543808"/>
                  <a:gd name="connsiteY62" fmla="*/ 1059736 h 1071250"/>
                  <a:gd name="connsiteX63" fmla="*/ 255009 w 543808"/>
                  <a:gd name="connsiteY63" fmla="*/ 1059736 h 1071250"/>
                  <a:gd name="connsiteX64" fmla="*/ 249100 w 543808"/>
                  <a:gd name="connsiteY64" fmla="*/ 1060341 h 1071250"/>
                  <a:gd name="connsiteX65" fmla="*/ 246070 w 543808"/>
                  <a:gd name="connsiteY65" fmla="*/ 1059432 h 1071250"/>
                  <a:gd name="connsiteX66" fmla="*/ 245161 w 543808"/>
                  <a:gd name="connsiteY66" fmla="*/ 1060796 h 1071250"/>
                  <a:gd name="connsiteX67" fmla="*/ 243948 w 543808"/>
                  <a:gd name="connsiteY67" fmla="*/ 1061554 h 1071250"/>
                  <a:gd name="connsiteX68" fmla="*/ 242130 w 543808"/>
                  <a:gd name="connsiteY68" fmla="*/ 1061554 h 1071250"/>
                  <a:gd name="connsiteX69" fmla="*/ 240312 w 543808"/>
                  <a:gd name="connsiteY69" fmla="*/ 1063524 h 1071250"/>
                  <a:gd name="connsiteX70" fmla="*/ 241070 w 543808"/>
                  <a:gd name="connsiteY70" fmla="*/ 1064887 h 1071250"/>
                  <a:gd name="connsiteX71" fmla="*/ 243645 w 543808"/>
                  <a:gd name="connsiteY71" fmla="*/ 1066403 h 1071250"/>
                  <a:gd name="connsiteX72" fmla="*/ 247130 w 543808"/>
                  <a:gd name="connsiteY72" fmla="*/ 1063978 h 1071250"/>
                  <a:gd name="connsiteX73" fmla="*/ 248646 w 543808"/>
                  <a:gd name="connsiteY73" fmla="*/ 1063978 h 1071250"/>
                  <a:gd name="connsiteX74" fmla="*/ 252282 w 543808"/>
                  <a:gd name="connsiteY74" fmla="*/ 1062311 h 1071250"/>
                  <a:gd name="connsiteX75" fmla="*/ 260313 w 543808"/>
                  <a:gd name="connsiteY75" fmla="*/ 1062160 h 1071250"/>
                  <a:gd name="connsiteX76" fmla="*/ 261828 w 543808"/>
                  <a:gd name="connsiteY76" fmla="*/ 1062918 h 1071250"/>
                  <a:gd name="connsiteX77" fmla="*/ 265616 w 543808"/>
                  <a:gd name="connsiteY77" fmla="*/ 1061251 h 1071250"/>
                  <a:gd name="connsiteX78" fmla="*/ 266070 w 543808"/>
                  <a:gd name="connsiteY78" fmla="*/ 1059584 h 1071250"/>
                  <a:gd name="connsiteX79" fmla="*/ 264252 w 543808"/>
                  <a:gd name="connsiteY79" fmla="*/ 1059432 h 1071250"/>
                  <a:gd name="connsiteX80" fmla="*/ 260161 w 543808"/>
                  <a:gd name="connsiteY80" fmla="*/ 1060493 h 1071250"/>
                  <a:gd name="connsiteX81" fmla="*/ 318345 w 543808"/>
                  <a:gd name="connsiteY81" fmla="*/ 520322 h 1071250"/>
                  <a:gd name="connsiteX82" fmla="*/ 316678 w 543808"/>
                  <a:gd name="connsiteY82" fmla="*/ 519565 h 1071250"/>
                  <a:gd name="connsiteX83" fmla="*/ 313193 w 543808"/>
                  <a:gd name="connsiteY83" fmla="*/ 518807 h 1071250"/>
                  <a:gd name="connsiteX84" fmla="*/ 313497 w 543808"/>
                  <a:gd name="connsiteY84" fmla="*/ 519565 h 1071250"/>
                  <a:gd name="connsiteX85" fmla="*/ 314708 w 543808"/>
                  <a:gd name="connsiteY85" fmla="*/ 521383 h 1071250"/>
                  <a:gd name="connsiteX86" fmla="*/ 318042 w 543808"/>
                  <a:gd name="connsiteY86" fmla="*/ 523353 h 1071250"/>
                  <a:gd name="connsiteX87" fmla="*/ 319406 w 543808"/>
                  <a:gd name="connsiteY87" fmla="*/ 523655 h 1071250"/>
                  <a:gd name="connsiteX88" fmla="*/ 319103 w 543808"/>
                  <a:gd name="connsiteY88" fmla="*/ 521686 h 1071250"/>
                  <a:gd name="connsiteX89" fmla="*/ 318345 w 543808"/>
                  <a:gd name="connsiteY89" fmla="*/ 520322 h 1071250"/>
                  <a:gd name="connsiteX90" fmla="*/ 542444 w 543808"/>
                  <a:gd name="connsiteY90" fmla="*/ 133944 h 1071250"/>
                  <a:gd name="connsiteX91" fmla="*/ 542596 w 543808"/>
                  <a:gd name="connsiteY91" fmla="*/ 131217 h 1071250"/>
                  <a:gd name="connsiteX92" fmla="*/ 543808 w 543808"/>
                  <a:gd name="connsiteY92" fmla="*/ 129399 h 1071250"/>
                  <a:gd name="connsiteX93" fmla="*/ 543808 w 543808"/>
                  <a:gd name="connsiteY93" fmla="*/ 127580 h 1071250"/>
                  <a:gd name="connsiteX94" fmla="*/ 541687 w 543808"/>
                  <a:gd name="connsiteY94" fmla="*/ 123489 h 1071250"/>
                  <a:gd name="connsiteX95" fmla="*/ 539565 w 543808"/>
                  <a:gd name="connsiteY95" fmla="*/ 119853 h 1071250"/>
                  <a:gd name="connsiteX96" fmla="*/ 538505 w 543808"/>
                  <a:gd name="connsiteY96" fmla="*/ 113792 h 1071250"/>
                  <a:gd name="connsiteX97" fmla="*/ 537747 w 543808"/>
                  <a:gd name="connsiteY97" fmla="*/ 111519 h 1071250"/>
                  <a:gd name="connsiteX98" fmla="*/ 536080 w 543808"/>
                  <a:gd name="connsiteY98" fmla="*/ 110913 h 1071250"/>
                  <a:gd name="connsiteX99" fmla="*/ 534565 w 543808"/>
                  <a:gd name="connsiteY99" fmla="*/ 108943 h 1071250"/>
                  <a:gd name="connsiteX100" fmla="*/ 532595 w 543808"/>
                  <a:gd name="connsiteY100" fmla="*/ 108792 h 1071250"/>
                  <a:gd name="connsiteX101" fmla="*/ 531686 w 543808"/>
                  <a:gd name="connsiteY101" fmla="*/ 108034 h 1071250"/>
                  <a:gd name="connsiteX102" fmla="*/ 530777 w 543808"/>
                  <a:gd name="connsiteY102" fmla="*/ 107428 h 1071250"/>
                  <a:gd name="connsiteX103" fmla="*/ 529414 w 543808"/>
                  <a:gd name="connsiteY103" fmla="*/ 107580 h 1071250"/>
                  <a:gd name="connsiteX104" fmla="*/ 528201 w 543808"/>
                  <a:gd name="connsiteY104" fmla="*/ 108792 h 1071250"/>
                  <a:gd name="connsiteX105" fmla="*/ 525928 w 543808"/>
                  <a:gd name="connsiteY105" fmla="*/ 108792 h 1071250"/>
                  <a:gd name="connsiteX106" fmla="*/ 524565 w 543808"/>
                  <a:gd name="connsiteY106" fmla="*/ 109246 h 1071250"/>
                  <a:gd name="connsiteX107" fmla="*/ 522898 w 543808"/>
                  <a:gd name="connsiteY107" fmla="*/ 110307 h 1071250"/>
                  <a:gd name="connsiteX108" fmla="*/ 521383 w 543808"/>
                  <a:gd name="connsiteY108" fmla="*/ 109852 h 1071250"/>
                  <a:gd name="connsiteX109" fmla="*/ 520322 w 543808"/>
                  <a:gd name="connsiteY109" fmla="*/ 108943 h 1071250"/>
                  <a:gd name="connsiteX110" fmla="*/ 518201 w 543808"/>
                  <a:gd name="connsiteY110" fmla="*/ 108943 h 1071250"/>
                  <a:gd name="connsiteX111" fmla="*/ 517746 w 543808"/>
                  <a:gd name="connsiteY111" fmla="*/ 121368 h 1071250"/>
                  <a:gd name="connsiteX112" fmla="*/ 516534 w 543808"/>
                  <a:gd name="connsiteY112" fmla="*/ 130156 h 1071250"/>
                  <a:gd name="connsiteX113" fmla="*/ 514413 w 543808"/>
                  <a:gd name="connsiteY113" fmla="*/ 136671 h 1071250"/>
                  <a:gd name="connsiteX114" fmla="*/ 512443 w 543808"/>
                  <a:gd name="connsiteY114" fmla="*/ 140157 h 1071250"/>
                  <a:gd name="connsiteX115" fmla="*/ 510776 w 543808"/>
                  <a:gd name="connsiteY115" fmla="*/ 140611 h 1071250"/>
                  <a:gd name="connsiteX116" fmla="*/ 509564 w 543808"/>
                  <a:gd name="connsiteY116" fmla="*/ 141672 h 1071250"/>
                  <a:gd name="connsiteX117" fmla="*/ 508807 w 543808"/>
                  <a:gd name="connsiteY117" fmla="*/ 143338 h 1071250"/>
                  <a:gd name="connsiteX118" fmla="*/ 507443 w 543808"/>
                  <a:gd name="connsiteY118" fmla="*/ 144702 h 1071250"/>
                  <a:gd name="connsiteX119" fmla="*/ 505322 w 543808"/>
                  <a:gd name="connsiteY119" fmla="*/ 145763 h 1071250"/>
                  <a:gd name="connsiteX120" fmla="*/ 504261 w 543808"/>
                  <a:gd name="connsiteY120" fmla="*/ 146975 h 1071250"/>
                  <a:gd name="connsiteX121" fmla="*/ 504109 w 543808"/>
                  <a:gd name="connsiteY121" fmla="*/ 148339 h 1071250"/>
                  <a:gd name="connsiteX122" fmla="*/ 502140 w 543808"/>
                  <a:gd name="connsiteY122" fmla="*/ 149248 h 1071250"/>
                  <a:gd name="connsiteX123" fmla="*/ 498352 w 543808"/>
                  <a:gd name="connsiteY123" fmla="*/ 149702 h 1071250"/>
                  <a:gd name="connsiteX124" fmla="*/ 496079 w 543808"/>
                  <a:gd name="connsiteY124" fmla="*/ 150763 h 1071250"/>
                  <a:gd name="connsiteX125" fmla="*/ 495473 w 543808"/>
                  <a:gd name="connsiteY125" fmla="*/ 152430 h 1071250"/>
                  <a:gd name="connsiteX126" fmla="*/ 494261 w 543808"/>
                  <a:gd name="connsiteY126" fmla="*/ 153793 h 1071250"/>
                  <a:gd name="connsiteX127" fmla="*/ 492443 w 543808"/>
                  <a:gd name="connsiteY127" fmla="*/ 154854 h 1071250"/>
                  <a:gd name="connsiteX128" fmla="*/ 491533 w 543808"/>
                  <a:gd name="connsiteY128" fmla="*/ 156521 h 1071250"/>
                  <a:gd name="connsiteX129" fmla="*/ 491685 w 543808"/>
                  <a:gd name="connsiteY129" fmla="*/ 158945 h 1071250"/>
                  <a:gd name="connsiteX130" fmla="*/ 490624 w 543808"/>
                  <a:gd name="connsiteY130" fmla="*/ 160915 h 1071250"/>
                  <a:gd name="connsiteX131" fmla="*/ 488351 w 543808"/>
                  <a:gd name="connsiteY131" fmla="*/ 162582 h 1071250"/>
                  <a:gd name="connsiteX132" fmla="*/ 486230 w 543808"/>
                  <a:gd name="connsiteY132" fmla="*/ 162582 h 1071250"/>
                  <a:gd name="connsiteX133" fmla="*/ 484412 w 543808"/>
                  <a:gd name="connsiteY133" fmla="*/ 160915 h 1071250"/>
                  <a:gd name="connsiteX134" fmla="*/ 481836 w 543808"/>
                  <a:gd name="connsiteY134" fmla="*/ 159854 h 1071250"/>
                  <a:gd name="connsiteX135" fmla="*/ 478654 w 543808"/>
                  <a:gd name="connsiteY135" fmla="*/ 159400 h 1071250"/>
                  <a:gd name="connsiteX136" fmla="*/ 476078 w 543808"/>
                  <a:gd name="connsiteY136" fmla="*/ 159854 h 1071250"/>
                  <a:gd name="connsiteX137" fmla="*/ 473957 w 543808"/>
                  <a:gd name="connsiteY137" fmla="*/ 161218 h 1071250"/>
                  <a:gd name="connsiteX138" fmla="*/ 472139 w 543808"/>
                  <a:gd name="connsiteY138" fmla="*/ 163339 h 1071250"/>
                  <a:gd name="connsiteX139" fmla="*/ 470472 w 543808"/>
                  <a:gd name="connsiteY139" fmla="*/ 166218 h 1071250"/>
                  <a:gd name="connsiteX140" fmla="*/ 468654 w 543808"/>
                  <a:gd name="connsiteY140" fmla="*/ 166673 h 1071250"/>
                  <a:gd name="connsiteX141" fmla="*/ 466684 w 543808"/>
                  <a:gd name="connsiteY141" fmla="*/ 164703 h 1071250"/>
                  <a:gd name="connsiteX142" fmla="*/ 464108 w 543808"/>
                  <a:gd name="connsiteY142" fmla="*/ 164097 h 1071250"/>
                  <a:gd name="connsiteX143" fmla="*/ 461078 w 543808"/>
                  <a:gd name="connsiteY143" fmla="*/ 164854 h 1071250"/>
                  <a:gd name="connsiteX144" fmla="*/ 458653 w 543808"/>
                  <a:gd name="connsiteY144" fmla="*/ 164551 h 1071250"/>
                  <a:gd name="connsiteX145" fmla="*/ 456835 w 543808"/>
                  <a:gd name="connsiteY145" fmla="*/ 163188 h 1071250"/>
                  <a:gd name="connsiteX146" fmla="*/ 454108 w 543808"/>
                  <a:gd name="connsiteY146" fmla="*/ 163036 h 1071250"/>
                  <a:gd name="connsiteX147" fmla="*/ 450320 w 543808"/>
                  <a:gd name="connsiteY147" fmla="*/ 164097 h 1071250"/>
                  <a:gd name="connsiteX148" fmla="*/ 442744 w 543808"/>
                  <a:gd name="connsiteY148" fmla="*/ 162885 h 1071250"/>
                  <a:gd name="connsiteX149" fmla="*/ 431228 w 543808"/>
                  <a:gd name="connsiteY149" fmla="*/ 159551 h 1071250"/>
                  <a:gd name="connsiteX150" fmla="*/ 421531 w 543808"/>
                  <a:gd name="connsiteY150" fmla="*/ 158339 h 1071250"/>
                  <a:gd name="connsiteX151" fmla="*/ 409561 w 543808"/>
                  <a:gd name="connsiteY151" fmla="*/ 159551 h 1071250"/>
                  <a:gd name="connsiteX152" fmla="*/ 408500 w 543808"/>
                  <a:gd name="connsiteY152" fmla="*/ 156066 h 1071250"/>
                  <a:gd name="connsiteX153" fmla="*/ 409106 w 543808"/>
                  <a:gd name="connsiteY153" fmla="*/ 154248 h 1071250"/>
                  <a:gd name="connsiteX154" fmla="*/ 411076 w 543808"/>
                  <a:gd name="connsiteY154" fmla="*/ 152884 h 1071250"/>
                  <a:gd name="connsiteX155" fmla="*/ 412288 w 543808"/>
                  <a:gd name="connsiteY155" fmla="*/ 151218 h 1071250"/>
                  <a:gd name="connsiteX156" fmla="*/ 412742 w 543808"/>
                  <a:gd name="connsiteY156" fmla="*/ 149399 h 1071250"/>
                  <a:gd name="connsiteX157" fmla="*/ 414106 w 543808"/>
                  <a:gd name="connsiteY157" fmla="*/ 148036 h 1071250"/>
                  <a:gd name="connsiteX158" fmla="*/ 416228 w 543808"/>
                  <a:gd name="connsiteY158" fmla="*/ 147126 h 1071250"/>
                  <a:gd name="connsiteX159" fmla="*/ 417137 w 543808"/>
                  <a:gd name="connsiteY159" fmla="*/ 146217 h 1071250"/>
                  <a:gd name="connsiteX160" fmla="*/ 416834 w 543808"/>
                  <a:gd name="connsiteY160" fmla="*/ 145308 h 1071250"/>
                  <a:gd name="connsiteX161" fmla="*/ 417288 w 543808"/>
                  <a:gd name="connsiteY161" fmla="*/ 144399 h 1071250"/>
                  <a:gd name="connsiteX162" fmla="*/ 418500 w 543808"/>
                  <a:gd name="connsiteY162" fmla="*/ 143642 h 1071250"/>
                  <a:gd name="connsiteX163" fmla="*/ 419258 w 543808"/>
                  <a:gd name="connsiteY163" fmla="*/ 142429 h 1071250"/>
                  <a:gd name="connsiteX164" fmla="*/ 419409 w 543808"/>
                  <a:gd name="connsiteY164" fmla="*/ 140914 h 1071250"/>
                  <a:gd name="connsiteX165" fmla="*/ 419864 w 543808"/>
                  <a:gd name="connsiteY165" fmla="*/ 140157 h 1071250"/>
                  <a:gd name="connsiteX166" fmla="*/ 420773 w 543808"/>
                  <a:gd name="connsiteY166" fmla="*/ 139550 h 1071250"/>
                  <a:gd name="connsiteX167" fmla="*/ 420925 w 543808"/>
                  <a:gd name="connsiteY167" fmla="*/ 138490 h 1071250"/>
                  <a:gd name="connsiteX168" fmla="*/ 420470 w 543808"/>
                  <a:gd name="connsiteY168" fmla="*/ 135156 h 1071250"/>
                  <a:gd name="connsiteX169" fmla="*/ 420470 w 543808"/>
                  <a:gd name="connsiteY169" fmla="*/ 132429 h 1071250"/>
                  <a:gd name="connsiteX170" fmla="*/ 421076 w 543808"/>
                  <a:gd name="connsiteY170" fmla="*/ 130308 h 1071250"/>
                  <a:gd name="connsiteX171" fmla="*/ 421834 w 543808"/>
                  <a:gd name="connsiteY171" fmla="*/ 128944 h 1071250"/>
                  <a:gd name="connsiteX172" fmla="*/ 422288 w 543808"/>
                  <a:gd name="connsiteY172" fmla="*/ 128641 h 1071250"/>
                  <a:gd name="connsiteX173" fmla="*/ 422743 w 543808"/>
                  <a:gd name="connsiteY173" fmla="*/ 127883 h 1071250"/>
                  <a:gd name="connsiteX174" fmla="*/ 422895 w 543808"/>
                  <a:gd name="connsiteY174" fmla="*/ 126520 h 1071250"/>
                  <a:gd name="connsiteX175" fmla="*/ 423652 w 543808"/>
                  <a:gd name="connsiteY175" fmla="*/ 125307 h 1071250"/>
                  <a:gd name="connsiteX176" fmla="*/ 427440 w 543808"/>
                  <a:gd name="connsiteY176" fmla="*/ 122883 h 1071250"/>
                  <a:gd name="connsiteX177" fmla="*/ 428804 w 543808"/>
                  <a:gd name="connsiteY177" fmla="*/ 121519 h 1071250"/>
                  <a:gd name="connsiteX178" fmla="*/ 428955 w 543808"/>
                  <a:gd name="connsiteY178" fmla="*/ 120307 h 1071250"/>
                  <a:gd name="connsiteX179" fmla="*/ 429561 w 543808"/>
                  <a:gd name="connsiteY179" fmla="*/ 118640 h 1071250"/>
                  <a:gd name="connsiteX180" fmla="*/ 431834 w 543808"/>
                  <a:gd name="connsiteY180" fmla="*/ 115004 h 1071250"/>
                  <a:gd name="connsiteX181" fmla="*/ 432592 w 543808"/>
                  <a:gd name="connsiteY181" fmla="*/ 113337 h 1071250"/>
                  <a:gd name="connsiteX182" fmla="*/ 432592 w 543808"/>
                  <a:gd name="connsiteY182" fmla="*/ 112428 h 1071250"/>
                  <a:gd name="connsiteX183" fmla="*/ 433349 w 543808"/>
                  <a:gd name="connsiteY183" fmla="*/ 111519 h 1071250"/>
                  <a:gd name="connsiteX184" fmla="*/ 436077 w 543808"/>
                  <a:gd name="connsiteY184" fmla="*/ 109549 h 1071250"/>
                  <a:gd name="connsiteX185" fmla="*/ 437592 w 543808"/>
                  <a:gd name="connsiteY185" fmla="*/ 107731 h 1071250"/>
                  <a:gd name="connsiteX186" fmla="*/ 437895 w 543808"/>
                  <a:gd name="connsiteY186" fmla="*/ 105913 h 1071250"/>
                  <a:gd name="connsiteX187" fmla="*/ 437289 w 543808"/>
                  <a:gd name="connsiteY187" fmla="*/ 103943 h 1071250"/>
                  <a:gd name="connsiteX188" fmla="*/ 435774 w 543808"/>
                  <a:gd name="connsiteY188" fmla="*/ 101670 h 1071250"/>
                  <a:gd name="connsiteX189" fmla="*/ 430925 w 543808"/>
                  <a:gd name="connsiteY189" fmla="*/ 96064 h 1071250"/>
                  <a:gd name="connsiteX190" fmla="*/ 427137 w 543808"/>
                  <a:gd name="connsiteY190" fmla="*/ 93488 h 1071250"/>
                  <a:gd name="connsiteX191" fmla="*/ 422288 w 543808"/>
                  <a:gd name="connsiteY191" fmla="*/ 91367 h 1071250"/>
                  <a:gd name="connsiteX192" fmla="*/ 419107 w 543808"/>
                  <a:gd name="connsiteY192" fmla="*/ 90761 h 1071250"/>
                  <a:gd name="connsiteX193" fmla="*/ 417591 w 543808"/>
                  <a:gd name="connsiteY193" fmla="*/ 91518 h 1071250"/>
                  <a:gd name="connsiteX194" fmla="*/ 416076 w 543808"/>
                  <a:gd name="connsiteY194" fmla="*/ 90912 h 1071250"/>
                  <a:gd name="connsiteX195" fmla="*/ 414561 w 543808"/>
                  <a:gd name="connsiteY195" fmla="*/ 89094 h 1071250"/>
                  <a:gd name="connsiteX196" fmla="*/ 411985 w 543808"/>
                  <a:gd name="connsiteY196" fmla="*/ 87579 h 1071250"/>
                  <a:gd name="connsiteX197" fmla="*/ 406379 w 543808"/>
                  <a:gd name="connsiteY197" fmla="*/ 85912 h 1071250"/>
                  <a:gd name="connsiteX198" fmla="*/ 393651 w 543808"/>
                  <a:gd name="connsiteY198" fmla="*/ 79397 h 1071250"/>
                  <a:gd name="connsiteX199" fmla="*/ 388499 w 543808"/>
                  <a:gd name="connsiteY199" fmla="*/ 76215 h 1071250"/>
                  <a:gd name="connsiteX200" fmla="*/ 386833 w 543808"/>
                  <a:gd name="connsiteY200" fmla="*/ 74245 h 1071250"/>
                  <a:gd name="connsiteX201" fmla="*/ 382135 w 543808"/>
                  <a:gd name="connsiteY201" fmla="*/ 70760 h 1071250"/>
                  <a:gd name="connsiteX202" fmla="*/ 374408 w 543808"/>
                  <a:gd name="connsiteY202" fmla="*/ 65760 h 1071250"/>
                  <a:gd name="connsiteX203" fmla="*/ 368498 w 543808"/>
                  <a:gd name="connsiteY203" fmla="*/ 63336 h 1071250"/>
                  <a:gd name="connsiteX204" fmla="*/ 364408 w 543808"/>
                  <a:gd name="connsiteY204" fmla="*/ 63487 h 1071250"/>
                  <a:gd name="connsiteX205" fmla="*/ 357741 w 543808"/>
                  <a:gd name="connsiteY205" fmla="*/ 61972 h 1071250"/>
                  <a:gd name="connsiteX206" fmla="*/ 348649 w 543808"/>
                  <a:gd name="connsiteY206" fmla="*/ 58942 h 1071250"/>
                  <a:gd name="connsiteX207" fmla="*/ 343346 w 543808"/>
                  <a:gd name="connsiteY207" fmla="*/ 56063 h 1071250"/>
                  <a:gd name="connsiteX208" fmla="*/ 341982 w 543808"/>
                  <a:gd name="connsiteY208" fmla="*/ 53184 h 1071250"/>
                  <a:gd name="connsiteX209" fmla="*/ 338649 w 543808"/>
                  <a:gd name="connsiteY209" fmla="*/ 50305 h 1071250"/>
                  <a:gd name="connsiteX210" fmla="*/ 333346 w 543808"/>
                  <a:gd name="connsiteY210" fmla="*/ 47426 h 1071250"/>
                  <a:gd name="connsiteX211" fmla="*/ 330618 w 543808"/>
                  <a:gd name="connsiteY211" fmla="*/ 45608 h 1071250"/>
                  <a:gd name="connsiteX212" fmla="*/ 330467 w 543808"/>
                  <a:gd name="connsiteY212" fmla="*/ 44699 h 1071250"/>
                  <a:gd name="connsiteX213" fmla="*/ 328951 w 543808"/>
                  <a:gd name="connsiteY213" fmla="*/ 43486 h 1071250"/>
                  <a:gd name="connsiteX214" fmla="*/ 325921 w 543808"/>
                  <a:gd name="connsiteY214" fmla="*/ 41971 h 1071250"/>
                  <a:gd name="connsiteX215" fmla="*/ 322739 w 543808"/>
                  <a:gd name="connsiteY215" fmla="*/ 39547 h 1071250"/>
                  <a:gd name="connsiteX216" fmla="*/ 319254 w 543808"/>
                  <a:gd name="connsiteY216" fmla="*/ 36062 h 1071250"/>
                  <a:gd name="connsiteX217" fmla="*/ 315466 w 543808"/>
                  <a:gd name="connsiteY217" fmla="*/ 30607 h 1071250"/>
                  <a:gd name="connsiteX218" fmla="*/ 311375 w 543808"/>
                  <a:gd name="connsiteY218" fmla="*/ 23183 h 1071250"/>
                  <a:gd name="connsiteX219" fmla="*/ 306981 w 543808"/>
                  <a:gd name="connsiteY219" fmla="*/ 18182 h 1071250"/>
                  <a:gd name="connsiteX220" fmla="*/ 302284 w 543808"/>
                  <a:gd name="connsiteY220" fmla="*/ 15607 h 1071250"/>
                  <a:gd name="connsiteX221" fmla="*/ 300011 w 543808"/>
                  <a:gd name="connsiteY221" fmla="*/ 13940 h 1071250"/>
                  <a:gd name="connsiteX222" fmla="*/ 300011 w 543808"/>
                  <a:gd name="connsiteY222" fmla="*/ 13182 h 1071250"/>
                  <a:gd name="connsiteX223" fmla="*/ 299254 w 543808"/>
                  <a:gd name="connsiteY223" fmla="*/ 12425 h 1071250"/>
                  <a:gd name="connsiteX224" fmla="*/ 298799 w 543808"/>
                  <a:gd name="connsiteY224" fmla="*/ 11970 h 1071250"/>
                  <a:gd name="connsiteX225" fmla="*/ 296678 w 543808"/>
                  <a:gd name="connsiteY225" fmla="*/ 10303 h 1071250"/>
                  <a:gd name="connsiteX226" fmla="*/ 294708 w 543808"/>
                  <a:gd name="connsiteY226" fmla="*/ 7121 h 1071250"/>
                  <a:gd name="connsiteX227" fmla="*/ 294253 w 543808"/>
                  <a:gd name="connsiteY227" fmla="*/ 5606 h 1071250"/>
                  <a:gd name="connsiteX228" fmla="*/ 293950 w 543808"/>
                  <a:gd name="connsiteY228" fmla="*/ 5606 h 1071250"/>
                  <a:gd name="connsiteX229" fmla="*/ 282283 w 543808"/>
                  <a:gd name="connsiteY229" fmla="*/ 5758 h 1071250"/>
                  <a:gd name="connsiteX230" fmla="*/ 271071 w 543808"/>
                  <a:gd name="connsiteY230" fmla="*/ 5909 h 1071250"/>
                  <a:gd name="connsiteX231" fmla="*/ 269858 w 543808"/>
                  <a:gd name="connsiteY231" fmla="*/ 6515 h 1071250"/>
                  <a:gd name="connsiteX232" fmla="*/ 268192 w 543808"/>
                  <a:gd name="connsiteY232" fmla="*/ 6515 h 1071250"/>
                  <a:gd name="connsiteX233" fmla="*/ 266980 w 543808"/>
                  <a:gd name="connsiteY233" fmla="*/ 5909 h 1071250"/>
                  <a:gd name="connsiteX234" fmla="*/ 265767 w 543808"/>
                  <a:gd name="connsiteY234" fmla="*/ 5909 h 1071250"/>
                  <a:gd name="connsiteX235" fmla="*/ 264101 w 543808"/>
                  <a:gd name="connsiteY235" fmla="*/ 6515 h 1071250"/>
                  <a:gd name="connsiteX236" fmla="*/ 262586 w 543808"/>
                  <a:gd name="connsiteY236" fmla="*/ 7727 h 1071250"/>
                  <a:gd name="connsiteX237" fmla="*/ 258343 w 543808"/>
                  <a:gd name="connsiteY237" fmla="*/ 16061 h 1071250"/>
                  <a:gd name="connsiteX238" fmla="*/ 256222 w 543808"/>
                  <a:gd name="connsiteY238" fmla="*/ 19698 h 1071250"/>
                  <a:gd name="connsiteX239" fmla="*/ 254706 w 543808"/>
                  <a:gd name="connsiteY239" fmla="*/ 22880 h 1071250"/>
                  <a:gd name="connsiteX240" fmla="*/ 253494 w 543808"/>
                  <a:gd name="connsiteY240" fmla="*/ 28334 h 1071250"/>
                  <a:gd name="connsiteX241" fmla="*/ 253040 w 543808"/>
                  <a:gd name="connsiteY241" fmla="*/ 29243 h 1071250"/>
                  <a:gd name="connsiteX242" fmla="*/ 251676 w 543808"/>
                  <a:gd name="connsiteY242" fmla="*/ 27274 h 1071250"/>
                  <a:gd name="connsiteX243" fmla="*/ 249706 w 543808"/>
                  <a:gd name="connsiteY243" fmla="*/ 22274 h 1071250"/>
                  <a:gd name="connsiteX244" fmla="*/ 248797 w 543808"/>
                  <a:gd name="connsiteY244" fmla="*/ 19395 h 1071250"/>
                  <a:gd name="connsiteX245" fmla="*/ 247585 w 543808"/>
                  <a:gd name="connsiteY245" fmla="*/ 16213 h 1071250"/>
                  <a:gd name="connsiteX246" fmla="*/ 245312 w 543808"/>
                  <a:gd name="connsiteY246" fmla="*/ 12121 h 1071250"/>
                  <a:gd name="connsiteX247" fmla="*/ 242736 w 543808"/>
                  <a:gd name="connsiteY247" fmla="*/ 10910 h 1071250"/>
                  <a:gd name="connsiteX248" fmla="*/ 241070 w 543808"/>
                  <a:gd name="connsiteY248" fmla="*/ 10455 h 1071250"/>
                  <a:gd name="connsiteX249" fmla="*/ 238797 w 543808"/>
                  <a:gd name="connsiteY249" fmla="*/ 9697 h 1071250"/>
                  <a:gd name="connsiteX250" fmla="*/ 234706 w 543808"/>
                  <a:gd name="connsiteY250" fmla="*/ 8788 h 1071250"/>
                  <a:gd name="connsiteX251" fmla="*/ 232887 w 543808"/>
                  <a:gd name="connsiteY251" fmla="*/ 8637 h 1071250"/>
                  <a:gd name="connsiteX252" fmla="*/ 221220 w 543808"/>
                  <a:gd name="connsiteY252" fmla="*/ 8485 h 1071250"/>
                  <a:gd name="connsiteX253" fmla="*/ 220311 w 543808"/>
                  <a:gd name="connsiteY253" fmla="*/ 8333 h 1071250"/>
                  <a:gd name="connsiteX254" fmla="*/ 215765 w 543808"/>
                  <a:gd name="connsiteY254" fmla="*/ 8788 h 1071250"/>
                  <a:gd name="connsiteX255" fmla="*/ 213493 w 543808"/>
                  <a:gd name="connsiteY255" fmla="*/ 8485 h 1071250"/>
                  <a:gd name="connsiteX256" fmla="*/ 211068 w 543808"/>
                  <a:gd name="connsiteY256" fmla="*/ 6212 h 1071250"/>
                  <a:gd name="connsiteX257" fmla="*/ 205614 w 543808"/>
                  <a:gd name="connsiteY257" fmla="*/ 2273 h 1071250"/>
                  <a:gd name="connsiteX258" fmla="*/ 204553 w 543808"/>
                  <a:gd name="connsiteY258" fmla="*/ 1061 h 1071250"/>
                  <a:gd name="connsiteX259" fmla="*/ 202432 w 543808"/>
                  <a:gd name="connsiteY259" fmla="*/ 151 h 1071250"/>
                  <a:gd name="connsiteX260" fmla="*/ 201220 w 543808"/>
                  <a:gd name="connsiteY260" fmla="*/ 0 h 1071250"/>
                  <a:gd name="connsiteX261" fmla="*/ 200462 w 543808"/>
                  <a:gd name="connsiteY261" fmla="*/ 757 h 1071250"/>
                  <a:gd name="connsiteX262" fmla="*/ 199553 w 543808"/>
                  <a:gd name="connsiteY262" fmla="*/ 4091 h 1071250"/>
                  <a:gd name="connsiteX263" fmla="*/ 198492 w 543808"/>
                  <a:gd name="connsiteY263" fmla="*/ 7121 h 1071250"/>
                  <a:gd name="connsiteX264" fmla="*/ 197280 w 543808"/>
                  <a:gd name="connsiteY264" fmla="*/ 8788 h 1071250"/>
                  <a:gd name="connsiteX265" fmla="*/ 193340 w 543808"/>
                  <a:gd name="connsiteY265" fmla="*/ 10000 h 1071250"/>
                  <a:gd name="connsiteX266" fmla="*/ 189704 w 543808"/>
                  <a:gd name="connsiteY266" fmla="*/ 11364 h 1071250"/>
                  <a:gd name="connsiteX267" fmla="*/ 187734 w 543808"/>
                  <a:gd name="connsiteY267" fmla="*/ 11667 h 1071250"/>
                  <a:gd name="connsiteX268" fmla="*/ 186673 w 543808"/>
                  <a:gd name="connsiteY268" fmla="*/ 13182 h 1071250"/>
                  <a:gd name="connsiteX269" fmla="*/ 186219 w 543808"/>
                  <a:gd name="connsiteY269" fmla="*/ 15304 h 1071250"/>
                  <a:gd name="connsiteX270" fmla="*/ 185310 w 543808"/>
                  <a:gd name="connsiteY270" fmla="*/ 17273 h 1071250"/>
                  <a:gd name="connsiteX271" fmla="*/ 180158 w 543808"/>
                  <a:gd name="connsiteY271" fmla="*/ 20152 h 1071250"/>
                  <a:gd name="connsiteX272" fmla="*/ 178946 w 543808"/>
                  <a:gd name="connsiteY272" fmla="*/ 21364 h 1071250"/>
                  <a:gd name="connsiteX273" fmla="*/ 178340 w 543808"/>
                  <a:gd name="connsiteY273" fmla="*/ 24243 h 1071250"/>
                  <a:gd name="connsiteX274" fmla="*/ 175461 w 543808"/>
                  <a:gd name="connsiteY274" fmla="*/ 27728 h 1071250"/>
                  <a:gd name="connsiteX275" fmla="*/ 174552 w 543808"/>
                  <a:gd name="connsiteY275" fmla="*/ 29092 h 1071250"/>
                  <a:gd name="connsiteX276" fmla="*/ 179704 w 543808"/>
                  <a:gd name="connsiteY276" fmla="*/ 34244 h 1071250"/>
                  <a:gd name="connsiteX277" fmla="*/ 177431 w 543808"/>
                  <a:gd name="connsiteY277" fmla="*/ 41214 h 1071250"/>
                  <a:gd name="connsiteX278" fmla="*/ 173946 w 543808"/>
                  <a:gd name="connsiteY278" fmla="*/ 52426 h 1071250"/>
                  <a:gd name="connsiteX279" fmla="*/ 171219 w 543808"/>
                  <a:gd name="connsiteY279" fmla="*/ 61063 h 1071250"/>
                  <a:gd name="connsiteX280" fmla="*/ 170764 w 543808"/>
                  <a:gd name="connsiteY280" fmla="*/ 62275 h 1071250"/>
                  <a:gd name="connsiteX281" fmla="*/ 170158 w 543808"/>
                  <a:gd name="connsiteY281" fmla="*/ 63942 h 1071250"/>
                  <a:gd name="connsiteX282" fmla="*/ 164248 w 543808"/>
                  <a:gd name="connsiteY282" fmla="*/ 66366 h 1071250"/>
                  <a:gd name="connsiteX283" fmla="*/ 155612 w 543808"/>
                  <a:gd name="connsiteY283" fmla="*/ 70002 h 1071250"/>
                  <a:gd name="connsiteX284" fmla="*/ 151218 w 543808"/>
                  <a:gd name="connsiteY284" fmla="*/ 71821 h 1071250"/>
                  <a:gd name="connsiteX285" fmla="*/ 145611 w 543808"/>
                  <a:gd name="connsiteY285" fmla="*/ 74245 h 1071250"/>
                  <a:gd name="connsiteX286" fmla="*/ 144248 w 543808"/>
                  <a:gd name="connsiteY286" fmla="*/ 76215 h 1071250"/>
                  <a:gd name="connsiteX287" fmla="*/ 142581 w 543808"/>
                  <a:gd name="connsiteY287" fmla="*/ 77275 h 1071250"/>
                  <a:gd name="connsiteX288" fmla="*/ 140763 w 543808"/>
                  <a:gd name="connsiteY288" fmla="*/ 78639 h 1071250"/>
                  <a:gd name="connsiteX289" fmla="*/ 140157 w 543808"/>
                  <a:gd name="connsiteY289" fmla="*/ 80154 h 1071250"/>
                  <a:gd name="connsiteX290" fmla="*/ 138490 w 543808"/>
                  <a:gd name="connsiteY290" fmla="*/ 81063 h 1071250"/>
                  <a:gd name="connsiteX291" fmla="*/ 136975 w 543808"/>
                  <a:gd name="connsiteY291" fmla="*/ 84397 h 1071250"/>
                  <a:gd name="connsiteX292" fmla="*/ 136975 w 543808"/>
                  <a:gd name="connsiteY292" fmla="*/ 86973 h 1071250"/>
                  <a:gd name="connsiteX293" fmla="*/ 137884 w 543808"/>
                  <a:gd name="connsiteY293" fmla="*/ 88791 h 1071250"/>
                  <a:gd name="connsiteX294" fmla="*/ 139551 w 543808"/>
                  <a:gd name="connsiteY294" fmla="*/ 89549 h 1071250"/>
                  <a:gd name="connsiteX295" fmla="*/ 140005 w 543808"/>
                  <a:gd name="connsiteY295" fmla="*/ 91670 h 1071250"/>
                  <a:gd name="connsiteX296" fmla="*/ 140460 w 543808"/>
                  <a:gd name="connsiteY296" fmla="*/ 93185 h 1071250"/>
                  <a:gd name="connsiteX297" fmla="*/ 141672 w 543808"/>
                  <a:gd name="connsiteY297" fmla="*/ 94397 h 1071250"/>
                  <a:gd name="connsiteX298" fmla="*/ 141369 w 543808"/>
                  <a:gd name="connsiteY298" fmla="*/ 95306 h 1071250"/>
                  <a:gd name="connsiteX299" fmla="*/ 140460 w 543808"/>
                  <a:gd name="connsiteY299" fmla="*/ 96064 h 1071250"/>
                  <a:gd name="connsiteX300" fmla="*/ 138641 w 543808"/>
                  <a:gd name="connsiteY300" fmla="*/ 96519 h 1071250"/>
                  <a:gd name="connsiteX301" fmla="*/ 137429 w 543808"/>
                  <a:gd name="connsiteY301" fmla="*/ 98640 h 1071250"/>
                  <a:gd name="connsiteX302" fmla="*/ 136066 w 543808"/>
                  <a:gd name="connsiteY302" fmla="*/ 103943 h 1071250"/>
                  <a:gd name="connsiteX303" fmla="*/ 135914 w 543808"/>
                  <a:gd name="connsiteY303" fmla="*/ 105913 h 1071250"/>
                  <a:gd name="connsiteX304" fmla="*/ 137581 w 543808"/>
                  <a:gd name="connsiteY304" fmla="*/ 110762 h 1071250"/>
                  <a:gd name="connsiteX305" fmla="*/ 138490 w 543808"/>
                  <a:gd name="connsiteY305" fmla="*/ 113337 h 1071250"/>
                  <a:gd name="connsiteX306" fmla="*/ 140763 w 543808"/>
                  <a:gd name="connsiteY306" fmla="*/ 122732 h 1071250"/>
                  <a:gd name="connsiteX307" fmla="*/ 141066 w 543808"/>
                  <a:gd name="connsiteY307" fmla="*/ 125307 h 1071250"/>
                  <a:gd name="connsiteX308" fmla="*/ 137884 w 543808"/>
                  <a:gd name="connsiteY308" fmla="*/ 128944 h 1071250"/>
                  <a:gd name="connsiteX309" fmla="*/ 136672 w 543808"/>
                  <a:gd name="connsiteY309" fmla="*/ 131065 h 1071250"/>
                  <a:gd name="connsiteX310" fmla="*/ 136217 w 543808"/>
                  <a:gd name="connsiteY310" fmla="*/ 133035 h 1071250"/>
                  <a:gd name="connsiteX311" fmla="*/ 136217 w 543808"/>
                  <a:gd name="connsiteY311" fmla="*/ 134550 h 1071250"/>
                  <a:gd name="connsiteX312" fmla="*/ 136520 w 543808"/>
                  <a:gd name="connsiteY312" fmla="*/ 135914 h 1071250"/>
                  <a:gd name="connsiteX313" fmla="*/ 139096 w 543808"/>
                  <a:gd name="connsiteY313" fmla="*/ 140308 h 1071250"/>
                  <a:gd name="connsiteX314" fmla="*/ 142126 w 543808"/>
                  <a:gd name="connsiteY314" fmla="*/ 144248 h 1071250"/>
                  <a:gd name="connsiteX315" fmla="*/ 143642 w 543808"/>
                  <a:gd name="connsiteY315" fmla="*/ 146369 h 1071250"/>
                  <a:gd name="connsiteX316" fmla="*/ 143642 w 543808"/>
                  <a:gd name="connsiteY316" fmla="*/ 149096 h 1071250"/>
                  <a:gd name="connsiteX317" fmla="*/ 142884 w 543808"/>
                  <a:gd name="connsiteY317" fmla="*/ 150763 h 1071250"/>
                  <a:gd name="connsiteX318" fmla="*/ 141217 w 543808"/>
                  <a:gd name="connsiteY318" fmla="*/ 151369 h 1071250"/>
                  <a:gd name="connsiteX319" fmla="*/ 137581 w 543808"/>
                  <a:gd name="connsiteY319" fmla="*/ 152430 h 1071250"/>
                  <a:gd name="connsiteX320" fmla="*/ 136066 w 543808"/>
                  <a:gd name="connsiteY320" fmla="*/ 154097 h 1071250"/>
                  <a:gd name="connsiteX321" fmla="*/ 134399 w 543808"/>
                  <a:gd name="connsiteY321" fmla="*/ 154399 h 1071250"/>
                  <a:gd name="connsiteX322" fmla="*/ 132884 w 543808"/>
                  <a:gd name="connsiteY322" fmla="*/ 153187 h 1071250"/>
                  <a:gd name="connsiteX323" fmla="*/ 131217 w 543808"/>
                  <a:gd name="connsiteY323" fmla="*/ 153490 h 1071250"/>
                  <a:gd name="connsiteX324" fmla="*/ 129096 w 543808"/>
                  <a:gd name="connsiteY324" fmla="*/ 154551 h 1071250"/>
                  <a:gd name="connsiteX325" fmla="*/ 128338 w 543808"/>
                  <a:gd name="connsiteY325" fmla="*/ 157278 h 1071250"/>
                  <a:gd name="connsiteX326" fmla="*/ 126520 w 543808"/>
                  <a:gd name="connsiteY326" fmla="*/ 161975 h 1071250"/>
                  <a:gd name="connsiteX327" fmla="*/ 125005 w 543808"/>
                  <a:gd name="connsiteY327" fmla="*/ 163188 h 1071250"/>
                  <a:gd name="connsiteX328" fmla="*/ 123792 w 543808"/>
                  <a:gd name="connsiteY328" fmla="*/ 166673 h 1071250"/>
                  <a:gd name="connsiteX329" fmla="*/ 121671 w 543808"/>
                  <a:gd name="connsiteY329" fmla="*/ 171824 h 1071250"/>
                  <a:gd name="connsiteX330" fmla="*/ 120610 w 543808"/>
                  <a:gd name="connsiteY330" fmla="*/ 174855 h 1071250"/>
                  <a:gd name="connsiteX331" fmla="*/ 120156 w 543808"/>
                  <a:gd name="connsiteY331" fmla="*/ 177128 h 1071250"/>
                  <a:gd name="connsiteX332" fmla="*/ 118035 w 543808"/>
                  <a:gd name="connsiteY332" fmla="*/ 178643 h 1071250"/>
                  <a:gd name="connsiteX333" fmla="*/ 115610 w 543808"/>
                  <a:gd name="connsiteY333" fmla="*/ 181521 h 1071250"/>
                  <a:gd name="connsiteX334" fmla="*/ 113792 w 543808"/>
                  <a:gd name="connsiteY334" fmla="*/ 184249 h 1071250"/>
                  <a:gd name="connsiteX335" fmla="*/ 113034 w 543808"/>
                  <a:gd name="connsiteY335" fmla="*/ 185007 h 1071250"/>
                  <a:gd name="connsiteX336" fmla="*/ 111671 w 543808"/>
                  <a:gd name="connsiteY336" fmla="*/ 185309 h 1071250"/>
                  <a:gd name="connsiteX337" fmla="*/ 110610 w 543808"/>
                  <a:gd name="connsiteY337" fmla="*/ 187886 h 1071250"/>
                  <a:gd name="connsiteX338" fmla="*/ 107125 w 543808"/>
                  <a:gd name="connsiteY338" fmla="*/ 191674 h 1071250"/>
                  <a:gd name="connsiteX339" fmla="*/ 106216 w 543808"/>
                  <a:gd name="connsiteY339" fmla="*/ 196068 h 1071250"/>
                  <a:gd name="connsiteX340" fmla="*/ 105004 w 543808"/>
                  <a:gd name="connsiteY340" fmla="*/ 198341 h 1071250"/>
                  <a:gd name="connsiteX341" fmla="*/ 104852 w 543808"/>
                  <a:gd name="connsiteY341" fmla="*/ 202583 h 1071250"/>
                  <a:gd name="connsiteX342" fmla="*/ 102883 w 543808"/>
                  <a:gd name="connsiteY342" fmla="*/ 210311 h 1071250"/>
                  <a:gd name="connsiteX343" fmla="*/ 102579 w 543808"/>
                  <a:gd name="connsiteY343" fmla="*/ 211977 h 1071250"/>
                  <a:gd name="connsiteX344" fmla="*/ 100610 w 543808"/>
                  <a:gd name="connsiteY344" fmla="*/ 213341 h 1071250"/>
                  <a:gd name="connsiteX345" fmla="*/ 98034 w 543808"/>
                  <a:gd name="connsiteY345" fmla="*/ 216372 h 1071250"/>
                  <a:gd name="connsiteX346" fmla="*/ 97125 w 543808"/>
                  <a:gd name="connsiteY346" fmla="*/ 218644 h 1071250"/>
                  <a:gd name="connsiteX347" fmla="*/ 98337 w 543808"/>
                  <a:gd name="connsiteY347" fmla="*/ 225160 h 1071250"/>
                  <a:gd name="connsiteX348" fmla="*/ 99852 w 543808"/>
                  <a:gd name="connsiteY348" fmla="*/ 231826 h 1071250"/>
                  <a:gd name="connsiteX349" fmla="*/ 100004 w 543808"/>
                  <a:gd name="connsiteY349" fmla="*/ 235008 h 1071250"/>
                  <a:gd name="connsiteX350" fmla="*/ 99398 w 543808"/>
                  <a:gd name="connsiteY350" fmla="*/ 239251 h 1071250"/>
                  <a:gd name="connsiteX351" fmla="*/ 98943 w 543808"/>
                  <a:gd name="connsiteY351" fmla="*/ 241069 h 1071250"/>
                  <a:gd name="connsiteX352" fmla="*/ 100004 w 543808"/>
                  <a:gd name="connsiteY352" fmla="*/ 241827 h 1071250"/>
                  <a:gd name="connsiteX353" fmla="*/ 101670 w 543808"/>
                  <a:gd name="connsiteY353" fmla="*/ 242281 h 1071250"/>
                  <a:gd name="connsiteX354" fmla="*/ 102125 w 543808"/>
                  <a:gd name="connsiteY354" fmla="*/ 243948 h 1071250"/>
                  <a:gd name="connsiteX355" fmla="*/ 100913 w 543808"/>
                  <a:gd name="connsiteY355" fmla="*/ 245160 h 1071250"/>
                  <a:gd name="connsiteX356" fmla="*/ 100458 w 543808"/>
                  <a:gd name="connsiteY356" fmla="*/ 247130 h 1071250"/>
                  <a:gd name="connsiteX357" fmla="*/ 99094 w 543808"/>
                  <a:gd name="connsiteY357" fmla="*/ 249403 h 1071250"/>
                  <a:gd name="connsiteX358" fmla="*/ 95155 w 543808"/>
                  <a:gd name="connsiteY358" fmla="*/ 250312 h 1071250"/>
                  <a:gd name="connsiteX359" fmla="*/ 93791 w 543808"/>
                  <a:gd name="connsiteY359" fmla="*/ 249555 h 1071250"/>
                  <a:gd name="connsiteX360" fmla="*/ 93337 w 543808"/>
                  <a:gd name="connsiteY360" fmla="*/ 250312 h 1071250"/>
                  <a:gd name="connsiteX361" fmla="*/ 93488 w 543808"/>
                  <a:gd name="connsiteY361" fmla="*/ 251979 h 1071250"/>
                  <a:gd name="connsiteX362" fmla="*/ 92579 w 543808"/>
                  <a:gd name="connsiteY362" fmla="*/ 253948 h 1071250"/>
                  <a:gd name="connsiteX363" fmla="*/ 90458 w 543808"/>
                  <a:gd name="connsiteY363" fmla="*/ 259100 h 1071250"/>
                  <a:gd name="connsiteX364" fmla="*/ 89094 w 543808"/>
                  <a:gd name="connsiteY364" fmla="*/ 263798 h 1071250"/>
                  <a:gd name="connsiteX365" fmla="*/ 88337 w 543808"/>
                  <a:gd name="connsiteY365" fmla="*/ 265919 h 1071250"/>
                  <a:gd name="connsiteX366" fmla="*/ 88640 w 543808"/>
                  <a:gd name="connsiteY366" fmla="*/ 267586 h 1071250"/>
                  <a:gd name="connsiteX367" fmla="*/ 89246 w 543808"/>
                  <a:gd name="connsiteY367" fmla="*/ 268646 h 1071250"/>
                  <a:gd name="connsiteX368" fmla="*/ 89246 w 543808"/>
                  <a:gd name="connsiteY368" fmla="*/ 269555 h 1071250"/>
                  <a:gd name="connsiteX369" fmla="*/ 88185 w 543808"/>
                  <a:gd name="connsiteY369" fmla="*/ 270616 h 1071250"/>
                  <a:gd name="connsiteX370" fmla="*/ 87124 w 543808"/>
                  <a:gd name="connsiteY370" fmla="*/ 272434 h 1071250"/>
                  <a:gd name="connsiteX371" fmla="*/ 86064 w 543808"/>
                  <a:gd name="connsiteY371" fmla="*/ 272737 h 1071250"/>
                  <a:gd name="connsiteX372" fmla="*/ 84851 w 543808"/>
                  <a:gd name="connsiteY372" fmla="*/ 272283 h 1071250"/>
                  <a:gd name="connsiteX373" fmla="*/ 83639 w 543808"/>
                  <a:gd name="connsiteY373" fmla="*/ 273343 h 1071250"/>
                  <a:gd name="connsiteX374" fmla="*/ 83336 w 543808"/>
                  <a:gd name="connsiteY374" fmla="*/ 275616 h 1071250"/>
                  <a:gd name="connsiteX375" fmla="*/ 82579 w 543808"/>
                  <a:gd name="connsiteY375" fmla="*/ 278495 h 1071250"/>
                  <a:gd name="connsiteX376" fmla="*/ 82276 w 543808"/>
                  <a:gd name="connsiteY376" fmla="*/ 281829 h 1071250"/>
                  <a:gd name="connsiteX377" fmla="*/ 81821 w 543808"/>
                  <a:gd name="connsiteY377" fmla="*/ 286071 h 1071250"/>
                  <a:gd name="connsiteX378" fmla="*/ 83488 w 543808"/>
                  <a:gd name="connsiteY378" fmla="*/ 288950 h 1071250"/>
                  <a:gd name="connsiteX379" fmla="*/ 85609 w 543808"/>
                  <a:gd name="connsiteY379" fmla="*/ 294253 h 1071250"/>
                  <a:gd name="connsiteX380" fmla="*/ 87124 w 543808"/>
                  <a:gd name="connsiteY380" fmla="*/ 295465 h 1071250"/>
                  <a:gd name="connsiteX381" fmla="*/ 88791 w 543808"/>
                  <a:gd name="connsiteY381" fmla="*/ 295314 h 1071250"/>
                  <a:gd name="connsiteX382" fmla="*/ 90155 w 543808"/>
                  <a:gd name="connsiteY382" fmla="*/ 296374 h 1071250"/>
                  <a:gd name="connsiteX383" fmla="*/ 90912 w 543808"/>
                  <a:gd name="connsiteY383" fmla="*/ 297586 h 1071250"/>
                  <a:gd name="connsiteX384" fmla="*/ 89852 w 543808"/>
                  <a:gd name="connsiteY384" fmla="*/ 299860 h 1071250"/>
                  <a:gd name="connsiteX385" fmla="*/ 88034 w 543808"/>
                  <a:gd name="connsiteY385" fmla="*/ 300162 h 1071250"/>
                  <a:gd name="connsiteX386" fmla="*/ 87882 w 543808"/>
                  <a:gd name="connsiteY386" fmla="*/ 301374 h 1071250"/>
                  <a:gd name="connsiteX387" fmla="*/ 88337 w 543808"/>
                  <a:gd name="connsiteY387" fmla="*/ 304253 h 1071250"/>
                  <a:gd name="connsiteX388" fmla="*/ 88943 w 543808"/>
                  <a:gd name="connsiteY388" fmla="*/ 306981 h 1071250"/>
                  <a:gd name="connsiteX389" fmla="*/ 90609 w 543808"/>
                  <a:gd name="connsiteY389" fmla="*/ 308345 h 1071250"/>
                  <a:gd name="connsiteX390" fmla="*/ 91367 w 543808"/>
                  <a:gd name="connsiteY390" fmla="*/ 311981 h 1071250"/>
                  <a:gd name="connsiteX391" fmla="*/ 93034 w 543808"/>
                  <a:gd name="connsiteY391" fmla="*/ 313193 h 1071250"/>
                  <a:gd name="connsiteX392" fmla="*/ 92882 w 543808"/>
                  <a:gd name="connsiteY392" fmla="*/ 317890 h 1071250"/>
                  <a:gd name="connsiteX393" fmla="*/ 94549 w 543808"/>
                  <a:gd name="connsiteY393" fmla="*/ 323345 h 1071250"/>
                  <a:gd name="connsiteX394" fmla="*/ 96367 w 543808"/>
                  <a:gd name="connsiteY394" fmla="*/ 325012 h 1071250"/>
                  <a:gd name="connsiteX395" fmla="*/ 97125 w 543808"/>
                  <a:gd name="connsiteY395" fmla="*/ 325769 h 1071250"/>
                  <a:gd name="connsiteX396" fmla="*/ 96519 w 543808"/>
                  <a:gd name="connsiteY396" fmla="*/ 328194 h 1071250"/>
                  <a:gd name="connsiteX397" fmla="*/ 95155 w 543808"/>
                  <a:gd name="connsiteY397" fmla="*/ 330164 h 1071250"/>
                  <a:gd name="connsiteX398" fmla="*/ 94852 w 543808"/>
                  <a:gd name="connsiteY398" fmla="*/ 333194 h 1071250"/>
                  <a:gd name="connsiteX399" fmla="*/ 95306 w 543808"/>
                  <a:gd name="connsiteY399" fmla="*/ 335467 h 1071250"/>
                  <a:gd name="connsiteX400" fmla="*/ 97125 w 543808"/>
                  <a:gd name="connsiteY400" fmla="*/ 337588 h 1071250"/>
                  <a:gd name="connsiteX401" fmla="*/ 98489 w 543808"/>
                  <a:gd name="connsiteY401" fmla="*/ 337891 h 1071250"/>
                  <a:gd name="connsiteX402" fmla="*/ 100458 w 543808"/>
                  <a:gd name="connsiteY402" fmla="*/ 336982 h 1071250"/>
                  <a:gd name="connsiteX403" fmla="*/ 102579 w 543808"/>
                  <a:gd name="connsiteY403" fmla="*/ 338043 h 1071250"/>
                  <a:gd name="connsiteX404" fmla="*/ 102883 w 543808"/>
                  <a:gd name="connsiteY404" fmla="*/ 339861 h 1071250"/>
                  <a:gd name="connsiteX405" fmla="*/ 103186 w 543808"/>
                  <a:gd name="connsiteY405" fmla="*/ 341528 h 1071250"/>
                  <a:gd name="connsiteX406" fmla="*/ 102125 w 543808"/>
                  <a:gd name="connsiteY406" fmla="*/ 343649 h 1071250"/>
                  <a:gd name="connsiteX407" fmla="*/ 100913 w 543808"/>
                  <a:gd name="connsiteY407" fmla="*/ 347588 h 1071250"/>
                  <a:gd name="connsiteX408" fmla="*/ 100610 w 543808"/>
                  <a:gd name="connsiteY408" fmla="*/ 351528 h 1071250"/>
                  <a:gd name="connsiteX409" fmla="*/ 100913 w 543808"/>
                  <a:gd name="connsiteY409" fmla="*/ 357589 h 1071250"/>
                  <a:gd name="connsiteX410" fmla="*/ 101519 w 543808"/>
                  <a:gd name="connsiteY410" fmla="*/ 362286 h 1071250"/>
                  <a:gd name="connsiteX411" fmla="*/ 101670 w 543808"/>
                  <a:gd name="connsiteY411" fmla="*/ 365316 h 1071250"/>
                  <a:gd name="connsiteX412" fmla="*/ 101822 w 543808"/>
                  <a:gd name="connsiteY412" fmla="*/ 366680 h 1071250"/>
                  <a:gd name="connsiteX413" fmla="*/ 101064 w 543808"/>
                  <a:gd name="connsiteY413" fmla="*/ 367589 h 1071250"/>
                  <a:gd name="connsiteX414" fmla="*/ 99246 w 543808"/>
                  <a:gd name="connsiteY414" fmla="*/ 368044 h 1071250"/>
                  <a:gd name="connsiteX415" fmla="*/ 97731 w 543808"/>
                  <a:gd name="connsiteY415" fmla="*/ 368195 h 1071250"/>
                  <a:gd name="connsiteX416" fmla="*/ 96367 w 543808"/>
                  <a:gd name="connsiteY416" fmla="*/ 368953 h 1071250"/>
                  <a:gd name="connsiteX417" fmla="*/ 96064 w 543808"/>
                  <a:gd name="connsiteY417" fmla="*/ 370468 h 1071250"/>
                  <a:gd name="connsiteX418" fmla="*/ 95003 w 543808"/>
                  <a:gd name="connsiteY418" fmla="*/ 373044 h 1071250"/>
                  <a:gd name="connsiteX419" fmla="*/ 93943 w 543808"/>
                  <a:gd name="connsiteY419" fmla="*/ 374862 h 1071250"/>
                  <a:gd name="connsiteX420" fmla="*/ 91973 w 543808"/>
                  <a:gd name="connsiteY420" fmla="*/ 377589 h 1071250"/>
                  <a:gd name="connsiteX421" fmla="*/ 90761 w 543808"/>
                  <a:gd name="connsiteY421" fmla="*/ 380468 h 1071250"/>
                  <a:gd name="connsiteX422" fmla="*/ 89852 w 543808"/>
                  <a:gd name="connsiteY422" fmla="*/ 382286 h 1071250"/>
                  <a:gd name="connsiteX423" fmla="*/ 90003 w 543808"/>
                  <a:gd name="connsiteY423" fmla="*/ 383499 h 1071250"/>
                  <a:gd name="connsiteX424" fmla="*/ 89246 w 543808"/>
                  <a:gd name="connsiteY424" fmla="*/ 385923 h 1071250"/>
                  <a:gd name="connsiteX425" fmla="*/ 88488 w 543808"/>
                  <a:gd name="connsiteY425" fmla="*/ 388044 h 1071250"/>
                  <a:gd name="connsiteX426" fmla="*/ 86973 w 543808"/>
                  <a:gd name="connsiteY426" fmla="*/ 395015 h 1071250"/>
                  <a:gd name="connsiteX427" fmla="*/ 85003 w 543808"/>
                  <a:gd name="connsiteY427" fmla="*/ 396529 h 1071250"/>
                  <a:gd name="connsiteX428" fmla="*/ 83336 w 543808"/>
                  <a:gd name="connsiteY428" fmla="*/ 397287 h 1071250"/>
                  <a:gd name="connsiteX429" fmla="*/ 82579 w 543808"/>
                  <a:gd name="connsiteY429" fmla="*/ 398196 h 1071250"/>
                  <a:gd name="connsiteX430" fmla="*/ 83185 w 543808"/>
                  <a:gd name="connsiteY430" fmla="*/ 400015 h 1071250"/>
                  <a:gd name="connsiteX431" fmla="*/ 84851 w 543808"/>
                  <a:gd name="connsiteY431" fmla="*/ 400621 h 1071250"/>
                  <a:gd name="connsiteX432" fmla="*/ 85458 w 543808"/>
                  <a:gd name="connsiteY432" fmla="*/ 402136 h 1071250"/>
                  <a:gd name="connsiteX433" fmla="*/ 85306 w 543808"/>
                  <a:gd name="connsiteY433" fmla="*/ 404560 h 1071250"/>
                  <a:gd name="connsiteX434" fmla="*/ 86367 w 543808"/>
                  <a:gd name="connsiteY434" fmla="*/ 406833 h 1071250"/>
                  <a:gd name="connsiteX435" fmla="*/ 86215 w 543808"/>
                  <a:gd name="connsiteY435" fmla="*/ 409560 h 1071250"/>
                  <a:gd name="connsiteX436" fmla="*/ 87276 w 543808"/>
                  <a:gd name="connsiteY436" fmla="*/ 414560 h 1071250"/>
                  <a:gd name="connsiteX437" fmla="*/ 86367 w 543808"/>
                  <a:gd name="connsiteY437" fmla="*/ 417894 h 1071250"/>
                  <a:gd name="connsiteX438" fmla="*/ 86670 w 543808"/>
                  <a:gd name="connsiteY438" fmla="*/ 420773 h 1071250"/>
                  <a:gd name="connsiteX439" fmla="*/ 86670 w 543808"/>
                  <a:gd name="connsiteY439" fmla="*/ 423652 h 1071250"/>
                  <a:gd name="connsiteX440" fmla="*/ 85306 w 543808"/>
                  <a:gd name="connsiteY440" fmla="*/ 425924 h 1071250"/>
                  <a:gd name="connsiteX441" fmla="*/ 82427 w 543808"/>
                  <a:gd name="connsiteY441" fmla="*/ 426379 h 1071250"/>
                  <a:gd name="connsiteX442" fmla="*/ 80761 w 543808"/>
                  <a:gd name="connsiteY442" fmla="*/ 428349 h 1071250"/>
                  <a:gd name="connsiteX443" fmla="*/ 78033 w 543808"/>
                  <a:gd name="connsiteY443" fmla="*/ 430622 h 1071250"/>
                  <a:gd name="connsiteX444" fmla="*/ 77730 w 543808"/>
                  <a:gd name="connsiteY444" fmla="*/ 432440 h 1071250"/>
                  <a:gd name="connsiteX445" fmla="*/ 77275 w 543808"/>
                  <a:gd name="connsiteY445" fmla="*/ 434107 h 1071250"/>
                  <a:gd name="connsiteX446" fmla="*/ 76215 w 543808"/>
                  <a:gd name="connsiteY446" fmla="*/ 434713 h 1071250"/>
                  <a:gd name="connsiteX447" fmla="*/ 74548 w 543808"/>
                  <a:gd name="connsiteY447" fmla="*/ 434713 h 1071250"/>
                  <a:gd name="connsiteX448" fmla="*/ 73185 w 543808"/>
                  <a:gd name="connsiteY448" fmla="*/ 435016 h 1071250"/>
                  <a:gd name="connsiteX449" fmla="*/ 71215 w 543808"/>
                  <a:gd name="connsiteY449" fmla="*/ 437137 h 1071250"/>
                  <a:gd name="connsiteX450" fmla="*/ 69093 w 543808"/>
                  <a:gd name="connsiteY450" fmla="*/ 438349 h 1071250"/>
                  <a:gd name="connsiteX451" fmla="*/ 68639 w 543808"/>
                  <a:gd name="connsiteY451" fmla="*/ 440016 h 1071250"/>
                  <a:gd name="connsiteX452" fmla="*/ 68790 w 543808"/>
                  <a:gd name="connsiteY452" fmla="*/ 442137 h 1071250"/>
                  <a:gd name="connsiteX453" fmla="*/ 67730 w 543808"/>
                  <a:gd name="connsiteY453" fmla="*/ 443349 h 1071250"/>
                  <a:gd name="connsiteX454" fmla="*/ 66366 w 543808"/>
                  <a:gd name="connsiteY454" fmla="*/ 445774 h 1071250"/>
                  <a:gd name="connsiteX455" fmla="*/ 65457 w 543808"/>
                  <a:gd name="connsiteY455" fmla="*/ 448350 h 1071250"/>
                  <a:gd name="connsiteX456" fmla="*/ 66366 w 543808"/>
                  <a:gd name="connsiteY456" fmla="*/ 450774 h 1071250"/>
                  <a:gd name="connsiteX457" fmla="*/ 67275 w 543808"/>
                  <a:gd name="connsiteY457" fmla="*/ 455017 h 1071250"/>
                  <a:gd name="connsiteX458" fmla="*/ 67427 w 543808"/>
                  <a:gd name="connsiteY458" fmla="*/ 456835 h 1071250"/>
                  <a:gd name="connsiteX459" fmla="*/ 66215 w 543808"/>
                  <a:gd name="connsiteY459" fmla="*/ 460320 h 1071250"/>
                  <a:gd name="connsiteX460" fmla="*/ 65154 w 543808"/>
                  <a:gd name="connsiteY460" fmla="*/ 462593 h 1071250"/>
                  <a:gd name="connsiteX461" fmla="*/ 66063 w 543808"/>
                  <a:gd name="connsiteY461" fmla="*/ 465472 h 1071250"/>
                  <a:gd name="connsiteX462" fmla="*/ 66821 w 543808"/>
                  <a:gd name="connsiteY462" fmla="*/ 467138 h 1071250"/>
                  <a:gd name="connsiteX463" fmla="*/ 66063 w 543808"/>
                  <a:gd name="connsiteY463" fmla="*/ 470775 h 1071250"/>
                  <a:gd name="connsiteX464" fmla="*/ 65457 w 543808"/>
                  <a:gd name="connsiteY464" fmla="*/ 473048 h 1071250"/>
                  <a:gd name="connsiteX465" fmla="*/ 65911 w 543808"/>
                  <a:gd name="connsiteY465" fmla="*/ 477138 h 1071250"/>
                  <a:gd name="connsiteX466" fmla="*/ 67881 w 543808"/>
                  <a:gd name="connsiteY466" fmla="*/ 481836 h 1071250"/>
                  <a:gd name="connsiteX467" fmla="*/ 69699 w 543808"/>
                  <a:gd name="connsiteY467" fmla="*/ 485927 h 1071250"/>
                  <a:gd name="connsiteX468" fmla="*/ 70003 w 543808"/>
                  <a:gd name="connsiteY468" fmla="*/ 490775 h 1071250"/>
                  <a:gd name="connsiteX469" fmla="*/ 70457 w 543808"/>
                  <a:gd name="connsiteY469" fmla="*/ 494563 h 1071250"/>
                  <a:gd name="connsiteX470" fmla="*/ 71366 w 543808"/>
                  <a:gd name="connsiteY470" fmla="*/ 498655 h 1071250"/>
                  <a:gd name="connsiteX471" fmla="*/ 73185 w 543808"/>
                  <a:gd name="connsiteY471" fmla="*/ 500321 h 1071250"/>
                  <a:gd name="connsiteX472" fmla="*/ 74548 w 543808"/>
                  <a:gd name="connsiteY472" fmla="*/ 501685 h 1071250"/>
                  <a:gd name="connsiteX473" fmla="*/ 74245 w 543808"/>
                  <a:gd name="connsiteY473" fmla="*/ 503655 h 1071250"/>
                  <a:gd name="connsiteX474" fmla="*/ 73185 w 543808"/>
                  <a:gd name="connsiteY474" fmla="*/ 506079 h 1071250"/>
                  <a:gd name="connsiteX475" fmla="*/ 71669 w 543808"/>
                  <a:gd name="connsiteY475" fmla="*/ 507897 h 1071250"/>
                  <a:gd name="connsiteX476" fmla="*/ 68033 w 543808"/>
                  <a:gd name="connsiteY476" fmla="*/ 508503 h 1071250"/>
                  <a:gd name="connsiteX477" fmla="*/ 65002 w 543808"/>
                  <a:gd name="connsiteY477" fmla="*/ 510170 h 1071250"/>
                  <a:gd name="connsiteX478" fmla="*/ 62578 w 543808"/>
                  <a:gd name="connsiteY478" fmla="*/ 511382 h 1071250"/>
                  <a:gd name="connsiteX479" fmla="*/ 60760 w 543808"/>
                  <a:gd name="connsiteY479" fmla="*/ 512746 h 1071250"/>
                  <a:gd name="connsiteX480" fmla="*/ 59396 w 543808"/>
                  <a:gd name="connsiteY480" fmla="*/ 514261 h 1071250"/>
                  <a:gd name="connsiteX481" fmla="*/ 58790 w 543808"/>
                  <a:gd name="connsiteY481" fmla="*/ 515928 h 1071250"/>
                  <a:gd name="connsiteX482" fmla="*/ 59245 w 543808"/>
                  <a:gd name="connsiteY482" fmla="*/ 522898 h 1071250"/>
                  <a:gd name="connsiteX483" fmla="*/ 58942 w 543808"/>
                  <a:gd name="connsiteY483" fmla="*/ 525474 h 1071250"/>
                  <a:gd name="connsiteX484" fmla="*/ 57729 w 543808"/>
                  <a:gd name="connsiteY484" fmla="*/ 529110 h 1071250"/>
                  <a:gd name="connsiteX485" fmla="*/ 56517 w 543808"/>
                  <a:gd name="connsiteY485" fmla="*/ 532141 h 1071250"/>
                  <a:gd name="connsiteX486" fmla="*/ 56063 w 543808"/>
                  <a:gd name="connsiteY486" fmla="*/ 533050 h 1071250"/>
                  <a:gd name="connsiteX487" fmla="*/ 55911 w 543808"/>
                  <a:gd name="connsiteY487" fmla="*/ 534413 h 1071250"/>
                  <a:gd name="connsiteX488" fmla="*/ 55760 w 543808"/>
                  <a:gd name="connsiteY488" fmla="*/ 535626 h 1071250"/>
                  <a:gd name="connsiteX489" fmla="*/ 54396 w 543808"/>
                  <a:gd name="connsiteY489" fmla="*/ 535929 h 1071250"/>
                  <a:gd name="connsiteX490" fmla="*/ 52578 w 543808"/>
                  <a:gd name="connsiteY490" fmla="*/ 535322 h 1071250"/>
                  <a:gd name="connsiteX491" fmla="*/ 51517 w 543808"/>
                  <a:gd name="connsiteY491" fmla="*/ 535626 h 1071250"/>
                  <a:gd name="connsiteX492" fmla="*/ 50759 w 543808"/>
                  <a:gd name="connsiteY492" fmla="*/ 536535 h 1071250"/>
                  <a:gd name="connsiteX493" fmla="*/ 51366 w 543808"/>
                  <a:gd name="connsiteY493" fmla="*/ 538808 h 1071250"/>
                  <a:gd name="connsiteX494" fmla="*/ 51972 w 543808"/>
                  <a:gd name="connsiteY494" fmla="*/ 542898 h 1071250"/>
                  <a:gd name="connsiteX495" fmla="*/ 52881 w 543808"/>
                  <a:gd name="connsiteY495" fmla="*/ 544565 h 1071250"/>
                  <a:gd name="connsiteX496" fmla="*/ 52578 w 543808"/>
                  <a:gd name="connsiteY496" fmla="*/ 545929 h 1071250"/>
                  <a:gd name="connsiteX497" fmla="*/ 52275 w 543808"/>
                  <a:gd name="connsiteY497" fmla="*/ 548808 h 1071250"/>
                  <a:gd name="connsiteX498" fmla="*/ 51062 w 543808"/>
                  <a:gd name="connsiteY498" fmla="*/ 551232 h 1071250"/>
                  <a:gd name="connsiteX499" fmla="*/ 49396 w 543808"/>
                  <a:gd name="connsiteY499" fmla="*/ 551232 h 1071250"/>
                  <a:gd name="connsiteX500" fmla="*/ 48335 w 543808"/>
                  <a:gd name="connsiteY500" fmla="*/ 552141 h 1071250"/>
                  <a:gd name="connsiteX501" fmla="*/ 47881 w 543808"/>
                  <a:gd name="connsiteY501" fmla="*/ 553808 h 1071250"/>
                  <a:gd name="connsiteX502" fmla="*/ 48335 w 543808"/>
                  <a:gd name="connsiteY502" fmla="*/ 555929 h 1071250"/>
                  <a:gd name="connsiteX503" fmla="*/ 50456 w 543808"/>
                  <a:gd name="connsiteY503" fmla="*/ 557748 h 1071250"/>
                  <a:gd name="connsiteX504" fmla="*/ 51214 w 543808"/>
                  <a:gd name="connsiteY504" fmla="*/ 558960 h 1071250"/>
                  <a:gd name="connsiteX505" fmla="*/ 50911 w 543808"/>
                  <a:gd name="connsiteY505" fmla="*/ 560475 h 1071250"/>
                  <a:gd name="connsiteX506" fmla="*/ 49244 w 543808"/>
                  <a:gd name="connsiteY506" fmla="*/ 561081 h 1071250"/>
                  <a:gd name="connsiteX507" fmla="*/ 48335 w 543808"/>
                  <a:gd name="connsiteY507" fmla="*/ 562293 h 1071250"/>
                  <a:gd name="connsiteX508" fmla="*/ 47426 w 543808"/>
                  <a:gd name="connsiteY508" fmla="*/ 565021 h 1071250"/>
                  <a:gd name="connsiteX509" fmla="*/ 46214 w 543808"/>
                  <a:gd name="connsiteY509" fmla="*/ 568203 h 1071250"/>
                  <a:gd name="connsiteX510" fmla="*/ 44850 w 543808"/>
                  <a:gd name="connsiteY510" fmla="*/ 570475 h 1071250"/>
                  <a:gd name="connsiteX511" fmla="*/ 44547 w 543808"/>
                  <a:gd name="connsiteY511" fmla="*/ 573657 h 1071250"/>
                  <a:gd name="connsiteX512" fmla="*/ 46365 w 543808"/>
                  <a:gd name="connsiteY512" fmla="*/ 576991 h 1071250"/>
                  <a:gd name="connsiteX513" fmla="*/ 46214 w 543808"/>
                  <a:gd name="connsiteY513" fmla="*/ 580324 h 1071250"/>
                  <a:gd name="connsiteX514" fmla="*/ 46062 w 543808"/>
                  <a:gd name="connsiteY514" fmla="*/ 590022 h 1071250"/>
                  <a:gd name="connsiteX515" fmla="*/ 45911 w 543808"/>
                  <a:gd name="connsiteY515" fmla="*/ 593355 h 1071250"/>
                  <a:gd name="connsiteX516" fmla="*/ 46517 w 543808"/>
                  <a:gd name="connsiteY516" fmla="*/ 598810 h 1071250"/>
                  <a:gd name="connsiteX517" fmla="*/ 45759 w 543808"/>
                  <a:gd name="connsiteY517" fmla="*/ 600325 h 1071250"/>
                  <a:gd name="connsiteX518" fmla="*/ 45456 w 543808"/>
                  <a:gd name="connsiteY518" fmla="*/ 601689 h 1071250"/>
                  <a:gd name="connsiteX519" fmla="*/ 47274 w 543808"/>
                  <a:gd name="connsiteY519" fmla="*/ 605628 h 1071250"/>
                  <a:gd name="connsiteX520" fmla="*/ 49244 w 543808"/>
                  <a:gd name="connsiteY520" fmla="*/ 611992 h 1071250"/>
                  <a:gd name="connsiteX521" fmla="*/ 49850 w 543808"/>
                  <a:gd name="connsiteY521" fmla="*/ 614568 h 1071250"/>
                  <a:gd name="connsiteX522" fmla="*/ 49547 w 543808"/>
                  <a:gd name="connsiteY522" fmla="*/ 616386 h 1071250"/>
                  <a:gd name="connsiteX523" fmla="*/ 46820 w 543808"/>
                  <a:gd name="connsiteY523" fmla="*/ 617901 h 1071250"/>
                  <a:gd name="connsiteX524" fmla="*/ 44547 w 543808"/>
                  <a:gd name="connsiteY524" fmla="*/ 618508 h 1071250"/>
                  <a:gd name="connsiteX525" fmla="*/ 43183 w 543808"/>
                  <a:gd name="connsiteY525" fmla="*/ 617447 h 1071250"/>
                  <a:gd name="connsiteX526" fmla="*/ 42274 w 543808"/>
                  <a:gd name="connsiteY526" fmla="*/ 617901 h 1071250"/>
                  <a:gd name="connsiteX527" fmla="*/ 41214 w 543808"/>
                  <a:gd name="connsiteY527" fmla="*/ 619720 h 1071250"/>
                  <a:gd name="connsiteX528" fmla="*/ 40001 w 543808"/>
                  <a:gd name="connsiteY528" fmla="*/ 621235 h 1071250"/>
                  <a:gd name="connsiteX529" fmla="*/ 39547 w 543808"/>
                  <a:gd name="connsiteY529" fmla="*/ 622750 h 1071250"/>
                  <a:gd name="connsiteX530" fmla="*/ 40759 w 543808"/>
                  <a:gd name="connsiteY530" fmla="*/ 624719 h 1071250"/>
                  <a:gd name="connsiteX531" fmla="*/ 41365 w 543808"/>
                  <a:gd name="connsiteY531" fmla="*/ 628508 h 1071250"/>
                  <a:gd name="connsiteX532" fmla="*/ 40001 w 543808"/>
                  <a:gd name="connsiteY532" fmla="*/ 630174 h 1071250"/>
                  <a:gd name="connsiteX533" fmla="*/ 38941 w 543808"/>
                  <a:gd name="connsiteY533" fmla="*/ 631993 h 1071250"/>
                  <a:gd name="connsiteX534" fmla="*/ 39244 w 543808"/>
                  <a:gd name="connsiteY534" fmla="*/ 634265 h 1071250"/>
                  <a:gd name="connsiteX535" fmla="*/ 39698 w 543808"/>
                  <a:gd name="connsiteY535" fmla="*/ 638508 h 1071250"/>
                  <a:gd name="connsiteX536" fmla="*/ 38789 w 543808"/>
                  <a:gd name="connsiteY536" fmla="*/ 645629 h 1071250"/>
                  <a:gd name="connsiteX537" fmla="*/ 40001 w 543808"/>
                  <a:gd name="connsiteY537" fmla="*/ 648205 h 1071250"/>
                  <a:gd name="connsiteX538" fmla="*/ 41365 w 543808"/>
                  <a:gd name="connsiteY538" fmla="*/ 649417 h 1071250"/>
                  <a:gd name="connsiteX539" fmla="*/ 45608 w 543808"/>
                  <a:gd name="connsiteY539" fmla="*/ 650781 h 1071250"/>
                  <a:gd name="connsiteX540" fmla="*/ 48790 w 543808"/>
                  <a:gd name="connsiteY540" fmla="*/ 651539 h 1071250"/>
                  <a:gd name="connsiteX541" fmla="*/ 49699 w 543808"/>
                  <a:gd name="connsiteY541" fmla="*/ 653812 h 1071250"/>
                  <a:gd name="connsiteX542" fmla="*/ 49396 w 543808"/>
                  <a:gd name="connsiteY542" fmla="*/ 655782 h 1071250"/>
                  <a:gd name="connsiteX543" fmla="*/ 47881 w 543808"/>
                  <a:gd name="connsiteY543" fmla="*/ 656691 h 1071250"/>
                  <a:gd name="connsiteX544" fmla="*/ 45608 w 543808"/>
                  <a:gd name="connsiteY544" fmla="*/ 657448 h 1071250"/>
                  <a:gd name="connsiteX545" fmla="*/ 45608 w 543808"/>
                  <a:gd name="connsiteY545" fmla="*/ 660479 h 1071250"/>
                  <a:gd name="connsiteX546" fmla="*/ 47578 w 543808"/>
                  <a:gd name="connsiteY546" fmla="*/ 663358 h 1071250"/>
                  <a:gd name="connsiteX547" fmla="*/ 49850 w 543808"/>
                  <a:gd name="connsiteY547" fmla="*/ 665479 h 1071250"/>
                  <a:gd name="connsiteX548" fmla="*/ 50305 w 543808"/>
                  <a:gd name="connsiteY548" fmla="*/ 667297 h 1071250"/>
                  <a:gd name="connsiteX549" fmla="*/ 50153 w 543808"/>
                  <a:gd name="connsiteY549" fmla="*/ 669267 h 1071250"/>
                  <a:gd name="connsiteX550" fmla="*/ 48638 w 543808"/>
                  <a:gd name="connsiteY550" fmla="*/ 670934 h 1071250"/>
                  <a:gd name="connsiteX551" fmla="*/ 50759 w 543808"/>
                  <a:gd name="connsiteY551" fmla="*/ 674418 h 1071250"/>
                  <a:gd name="connsiteX552" fmla="*/ 51669 w 543808"/>
                  <a:gd name="connsiteY552" fmla="*/ 676843 h 1071250"/>
                  <a:gd name="connsiteX553" fmla="*/ 50608 w 543808"/>
                  <a:gd name="connsiteY553" fmla="*/ 678661 h 1071250"/>
                  <a:gd name="connsiteX554" fmla="*/ 49244 w 543808"/>
                  <a:gd name="connsiteY554" fmla="*/ 681389 h 1071250"/>
                  <a:gd name="connsiteX555" fmla="*/ 48032 w 543808"/>
                  <a:gd name="connsiteY555" fmla="*/ 682752 h 1071250"/>
                  <a:gd name="connsiteX556" fmla="*/ 48032 w 543808"/>
                  <a:gd name="connsiteY556" fmla="*/ 684267 h 1071250"/>
                  <a:gd name="connsiteX557" fmla="*/ 47578 w 543808"/>
                  <a:gd name="connsiteY557" fmla="*/ 687298 h 1071250"/>
                  <a:gd name="connsiteX558" fmla="*/ 47426 w 543808"/>
                  <a:gd name="connsiteY558" fmla="*/ 690328 h 1071250"/>
                  <a:gd name="connsiteX559" fmla="*/ 47881 w 543808"/>
                  <a:gd name="connsiteY559" fmla="*/ 692146 h 1071250"/>
                  <a:gd name="connsiteX560" fmla="*/ 61366 w 543808"/>
                  <a:gd name="connsiteY560" fmla="*/ 693510 h 1071250"/>
                  <a:gd name="connsiteX561" fmla="*/ 64396 w 543808"/>
                  <a:gd name="connsiteY561" fmla="*/ 694116 h 1071250"/>
                  <a:gd name="connsiteX562" fmla="*/ 66063 w 543808"/>
                  <a:gd name="connsiteY562" fmla="*/ 695934 h 1071250"/>
                  <a:gd name="connsiteX563" fmla="*/ 65760 w 543808"/>
                  <a:gd name="connsiteY563" fmla="*/ 698207 h 1071250"/>
                  <a:gd name="connsiteX564" fmla="*/ 64093 w 543808"/>
                  <a:gd name="connsiteY564" fmla="*/ 700631 h 1071250"/>
                  <a:gd name="connsiteX565" fmla="*/ 63033 w 543808"/>
                  <a:gd name="connsiteY565" fmla="*/ 705026 h 1071250"/>
                  <a:gd name="connsiteX566" fmla="*/ 60305 w 543808"/>
                  <a:gd name="connsiteY566" fmla="*/ 705783 h 1071250"/>
                  <a:gd name="connsiteX567" fmla="*/ 57578 w 543808"/>
                  <a:gd name="connsiteY567" fmla="*/ 704571 h 1071250"/>
                  <a:gd name="connsiteX568" fmla="*/ 54699 w 543808"/>
                  <a:gd name="connsiteY568" fmla="*/ 705026 h 1071250"/>
                  <a:gd name="connsiteX569" fmla="*/ 52275 w 543808"/>
                  <a:gd name="connsiteY569" fmla="*/ 705329 h 1071250"/>
                  <a:gd name="connsiteX570" fmla="*/ 48638 w 543808"/>
                  <a:gd name="connsiteY570" fmla="*/ 705480 h 1071250"/>
                  <a:gd name="connsiteX571" fmla="*/ 43941 w 543808"/>
                  <a:gd name="connsiteY571" fmla="*/ 706086 h 1071250"/>
                  <a:gd name="connsiteX572" fmla="*/ 41062 w 543808"/>
                  <a:gd name="connsiteY572" fmla="*/ 705480 h 1071250"/>
                  <a:gd name="connsiteX573" fmla="*/ 40759 w 543808"/>
                  <a:gd name="connsiteY573" fmla="*/ 707147 h 1071250"/>
                  <a:gd name="connsiteX574" fmla="*/ 41668 w 543808"/>
                  <a:gd name="connsiteY574" fmla="*/ 710026 h 1071250"/>
                  <a:gd name="connsiteX575" fmla="*/ 47881 w 543808"/>
                  <a:gd name="connsiteY575" fmla="*/ 710935 h 1071250"/>
                  <a:gd name="connsiteX576" fmla="*/ 53790 w 543808"/>
                  <a:gd name="connsiteY576" fmla="*/ 712602 h 1071250"/>
                  <a:gd name="connsiteX577" fmla="*/ 55608 w 543808"/>
                  <a:gd name="connsiteY577" fmla="*/ 715632 h 1071250"/>
                  <a:gd name="connsiteX578" fmla="*/ 58032 w 543808"/>
                  <a:gd name="connsiteY578" fmla="*/ 718965 h 1071250"/>
                  <a:gd name="connsiteX579" fmla="*/ 60457 w 543808"/>
                  <a:gd name="connsiteY579" fmla="*/ 721087 h 1071250"/>
                  <a:gd name="connsiteX580" fmla="*/ 60608 w 543808"/>
                  <a:gd name="connsiteY580" fmla="*/ 724572 h 1071250"/>
                  <a:gd name="connsiteX581" fmla="*/ 56820 w 543808"/>
                  <a:gd name="connsiteY581" fmla="*/ 728208 h 1071250"/>
                  <a:gd name="connsiteX582" fmla="*/ 56366 w 543808"/>
                  <a:gd name="connsiteY582" fmla="*/ 730784 h 1071250"/>
                  <a:gd name="connsiteX583" fmla="*/ 51366 w 543808"/>
                  <a:gd name="connsiteY583" fmla="*/ 731542 h 1071250"/>
                  <a:gd name="connsiteX584" fmla="*/ 49850 w 543808"/>
                  <a:gd name="connsiteY584" fmla="*/ 733057 h 1071250"/>
                  <a:gd name="connsiteX585" fmla="*/ 49093 w 543808"/>
                  <a:gd name="connsiteY585" fmla="*/ 738057 h 1071250"/>
                  <a:gd name="connsiteX586" fmla="*/ 49699 w 543808"/>
                  <a:gd name="connsiteY586" fmla="*/ 741997 h 1071250"/>
                  <a:gd name="connsiteX587" fmla="*/ 51669 w 543808"/>
                  <a:gd name="connsiteY587" fmla="*/ 743360 h 1071250"/>
                  <a:gd name="connsiteX588" fmla="*/ 53032 w 543808"/>
                  <a:gd name="connsiteY588" fmla="*/ 745936 h 1071250"/>
                  <a:gd name="connsiteX589" fmla="*/ 51517 w 543808"/>
                  <a:gd name="connsiteY589" fmla="*/ 748967 h 1071250"/>
                  <a:gd name="connsiteX590" fmla="*/ 48032 w 543808"/>
                  <a:gd name="connsiteY590" fmla="*/ 751088 h 1071250"/>
                  <a:gd name="connsiteX591" fmla="*/ 46214 w 543808"/>
                  <a:gd name="connsiteY591" fmla="*/ 753058 h 1071250"/>
                  <a:gd name="connsiteX592" fmla="*/ 47426 w 543808"/>
                  <a:gd name="connsiteY592" fmla="*/ 754573 h 1071250"/>
                  <a:gd name="connsiteX593" fmla="*/ 48941 w 543808"/>
                  <a:gd name="connsiteY593" fmla="*/ 757149 h 1071250"/>
                  <a:gd name="connsiteX594" fmla="*/ 49396 w 543808"/>
                  <a:gd name="connsiteY594" fmla="*/ 758513 h 1071250"/>
                  <a:gd name="connsiteX595" fmla="*/ 50305 w 543808"/>
                  <a:gd name="connsiteY595" fmla="*/ 762149 h 1071250"/>
                  <a:gd name="connsiteX596" fmla="*/ 51366 w 543808"/>
                  <a:gd name="connsiteY596" fmla="*/ 767300 h 1071250"/>
                  <a:gd name="connsiteX597" fmla="*/ 51214 w 543808"/>
                  <a:gd name="connsiteY597" fmla="*/ 769877 h 1071250"/>
                  <a:gd name="connsiteX598" fmla="*/ 50305 w 543808"/>
                  <a:gd name="connsiteY598" fmla="*/ 771695 h 1071250"/>
                  <a:gd name="connsiteX599" fmla="*/ 46971 w 543808"/>
                  <a:gd name="connsiteY599" fmla="*/ 774574 h 1071250"/>
                  <a:gd name="connsiteX600" fmla="*/ 44699 w 543808"/>
                  <a:gd name="connsiteY600" fmla="*/ 775937 h 1071250"/>
                  <a:gd name="connsiteX601" fmla="*/ 44244 w 543808"/>
                  <a:gd name="connsiteY601" fmla="*/ 779574 h 1071250"/>
                  <a:gd name="connsiteX602" fmla="*/ 44093 w 543808"/>
                  <a:gd name="connsiteY602" fmla="*/ 782301 h 1071250"/>
                  <a:gd name="connsiteX603" fmla="*/ 44395 w 543808"/>
                  <a:gd name="connsiteY603" fmla="*/ 784726 h 1071250"/>
                  <a:gd name="connsiteX604" fmla="*/ 45911 w 543808"/>
                  <a:gd name="connsiteY604" fmla="*/ 786695 h 1071250"/>
                  <a:gd name="connsiteX605" fmla="*/ 45759 w 543808"/>
                  <a:gd name="connsiteY605" fmla="*/ 788665 h 1071250"/>
                  <a:gd name="connsiteX606" fmla="*/ 43789 w 543808"/>
                  <a:gd name="connsiteY606" fmla="*/ 789120 h 1071250"/>
                  <a:gd name="connsiteX607" fmla="*/ 42123 w 543808"/>
                  <a:gd name="connsiteY607" fmla="*/ 790029 h 1071250"/>
                  <a:gd name="connsiteX608" fmla="*/ 40456 w 543808"/>
                  <a:gd name="connsiteY608" fmla="*/ 793514 h 1071250"/>
                  <a:gd name="connsiteX609" fmla="*/ 35607 w 543808"/>
                  <a:gd name="connsiteY609" fmla="*/ 797150 h 1071250"/>
                  <a:gd name="connsiteX610" fmla="*/ 33941 w 543808"/>
                  <a:gd name="connsiteY610" fmla="*/ 798817 h 1071250"/>
                  <a:gd name="connsiteX611" fmla="*/ 34092 w 543808"/>
                  <a:gd name="connsiteY611" fmla="*/ 801544 h 1071250"/>
                  <a:gd name="connsiteX612" fmla="*/ 32122 w 543808"/>
                  <a:gd name="connsiteY612" fmla="*/ 805484 h 1071250"/>
                  <a:gd name="connsiteX613" fmla="*/ 30456 w 543808"/>
                  <a:gd name="connsiteY613" fmla="*/ 808969 h 1071250"/>
                  <a:gd name="connsiteX614" fmla="*/ 29243 w 543808"/>
                  <a:gd name="connsiteY614" fmla="*/ 812151 h 1071250"/>
                  <a:gd name="connsiteX615" fmla="*/ 29547 w 543808"/>
                  <a:gd name="connsiteY615" fmla="*/ 815484 h 1071250"/>
                  <a:gd name="connsiteX616" fmla="*/ 32274 w 543808"/>
                  <a:gd name="connsiteY616" fmla="*/ 816999 h 1071250"/>
                  <a:gd name="connsiteX617" fmla="*/ 34395 w 543808"/>
                  <a:gd name="connsiteY617" fmla="*/ 820333 h 1071250"/>
                  <a:gd name="connsiteX618" fmla="*/ 35304 w 543808"/>
                  <a:gd name="connsiteY618" fmla="*/ 824424 h 1071250"/>
                  <a:gd name="connsiteX619" fmla="*/ 33638 w 543808"/>
                  <a:gd name="connsiteY619" fmla="*/ 829272 h 1071250"/>
                  <a:gd name="connsiteX620" fmla="*/ 29698 w 543808"/>
                  <a:gd name="connsiteY620" fmla="*/ 831091 h 1071250"/>
                  <a:gd name="connsiteX621" fmla="*/ 27425 w 543808"/>
                  <a:gd name="connsiteY621" fmla="*/ 833060 h 1071250"/>
                  <a:gd name="connsiteX622" fmla="*/ 26668 w 543808"/>
                  <a:gd name="connsiteY622" fmla="*/ 834576 h 1071250"/>
                  <a:gd name="connsiteX623" fmla="*/ 27274 w 543808"/>
                  <a:gd name="connsiteY623" fmla="*/ 839576 h 1071250"/>
                  <a:gd name="connsiteX624" fmla="*/ 27122 w 543808"/>
                  <a:gd name="connsiteY624" fmla="*/ 842001 h 1071250"/>
                  <a:gd name="connsiteX625" fmla="*/ 26516 w 543808"/>
                  <a:gd name="connsiteY625" fmla="*/ 844273 h 1071250"/>
                  <a:gd name="connsiteX626" fmla="*/ 25455 w 543808"/>
                  <a:gd name="connsiteY626" fmla="*/ 845940 h 1071250"/>
                  <a:gd name="connsiteX627" fmla="*/ 23334 w 543808"/>
                  <a:gd name="connsiteY627" fmla="*/ 847910 h 1071250"/>
                  <a:gd name="connsiteX628" fmla="*/ 19546 w 543808"/>
                  <a:gd name="connsiteY628" fmla="*/ 849577 h 1071250"/>
                  <a:gd name="connsiteX629" fmla="*/ 16364 w 543808"/>
                  <a:gd name="connsiteY629" fmla="*/ 850789 h 1071250"/>
                  <a:gd name="connsiteX630" fmla="*/ 15000 w 543808"/>
                  <a:gd name="connsiteY630" fmla="*/ 852152 h 1071250"/>
                  <a:gd name="connsiteX631" fmla="*/ 13334 w 543808"/>
                  <a:gd name="connsiteY631" fmla="*/ 855031 h 1071250"/>
                  <a:gd name="connsiteX632" fmla="*/ 11819 w 543808"/>
                  <a:gd name="connsiteY632" fmla="*/ 858213 h 1071250"/>
                  <a:gd name="connsiteX633" fmla="*/ 12122 w 543808"/>
                  <a:gd name="connsiteY633" fmla="*/ 862153 h 1071250"/>
                  <a:gd name="connsiteX634" fmla="*/ 3182 w 543808"/>
                  <a:gd name="connsiteY634" fmla="*/ 862607 h 1071250"/>
                  <a:gd name="connsiteX635" fmla="*/ 2576 w 543808"/>
                  <a:gd name="connsiteY635" fmla="*/ 865638 h 1071250"/>
                  <a:gd name="connsiteX636" fmla="*/ 606 w 543808"/>
                  <a:gd name="connsiteY636" fmla="*/ 867910 h 1071250"/>
                  <a:gd name="connsiteX637" fmla="*/ 0 w 543808"/>
                  <a:gd name="connsiteY637" fmla="*/ 872153 h 1071250"/>
                  <a:gd name="connsiteX638" fmla="*/ 1970 w 543808"/>
                  <a:gd name="connsiteY638" fmla="*/ 876244 h 1071250"/>
                  <a:gd name="connsiteX639" fmla="*/ 2879 w 543808"/>
                  <a:gd name="connsiteY639" fmla="*/ 879729 h 1071250"/>
                  <a:gd name="connsiteX640" fmla="*/ 1212 w 543808"/>
                  <a:gd name="connsiteY640" fmla="*/ 883820 h 1071250"/>
                  <a:gd name="connsiteX641" fmla="*/ 1818 w 543808"/>
                  <a:gd name="connsiteY641" fmla="*/ 888062 h 1071250"/>
                  <a:gd name="connsiteX642" fmla="*/ 1970 w 543808"/>
                  <a:gd name="connsiteY642" fmla="*/ 891396 h 1071250"/>
                  <a:gd name="connsiteX643" fmla="*/ 5152 w 543808"/>
                  <a:gd name="connsiteY643" fmla="*/ 895184 h 1071250"/>
                  <a:gd name="connsiteX644" fmla="*/ 7273 w 543808"/>
                  <a:gd name="connsiteY644" fmla="*/ 899881 h 1071250"/>
                  <a:gd name="connsiteX645" fmla="*/ 8334 w 543808"/>
                  <a:gd name="connsiteY645" fmla="*/ 903821 h 1071250"/>
                  <a:gd name="connsiteX646" fmla="*/ 8940 w 543808"/>
                  <a:gd name="connsiteY646" fmla="*/ 906851 h 1071250"/>
                  <a:gd name="connsiteX647" fmla="*/ 9697 w 543808"/>
                  <a:gd name="connsiteY647" fmla="*/ 908670 h 1071250"/>
                  <a:gd name="connsiteX648" fmla="*/ 11061 w 543808"/>
                  <a:gd name="connsiteY648" fmla="*/ 910791 h 1071250"/>
                  <a:gd name="connsiteX649" fmla="*/ 11667 w 543808"/>
                  <a:gd name="connsiteY649" fmla="*/ 913215 h 1071250"/>
                  <a:gd name="connsiteX650" fmla="*/ 13637 w 543808"/>
                  <a:gd name="connsiteY650" fmla="*/ 913973 h 1071250"/>
                  <a:gd name="connsiteX651" fmla="*/ 17122 w 543808"/>
                  <a:gd name="connsiteY651" fmla="*/ 911700 h 1071250"/>
                  <a:gd name="connsiteX652" fmla="*/ 19546 w 543808"/>
                  <a:gd name="connsiteY652" fmla="*/ 910185 h 1071250"/>
                  <a:gd name="connsiteX653" fmla="*/ 21213 w 543808"/>
                  <a:gd name="connsiteY653" fmla="*/ 909579 h 1071250"/>
                  <a:gd name="connsiteX654" fmla="*/ 26213 w 543808"/>
                  <a:gd name="connsiteY654" fmla="*/ 909882 h 1071250"/>
                  <a:gd name="connsiteX655" fmla="*/ 29243 w 543808"/>
                  <a:gd name="connsiteY655" fmla="*/ 908366 h 1071250"/>
                  <a:gd name="connsiteX656" fmla="*/ 30607 w 543808"/>
                  <a:gd name="connsiteY656" fmla="*/ 908518 h 1071250"/>
                  <a:gd name="connsiteX657" fmla="*/ 32425 w 543808"/>
                  <a:gd name="connsiteY657" fmla="*/ 909275 h 1071250"/>
                  <a:gd name="connsiteX658" fmla="*/ 33789 w 543808"/>
                  <a:gd name="connsiteY658" fmla="*/ 910942 h 1071250"/>
                  <a:gd name="connsiteX659" fmla="*/ 34850 w 543808"/>
                  <a:gd name="connsiteY659" fmla="*/ 914882 h 1071250"/>
                  <a:gd name="connsiteX660" fmla="*/ 35456 w 543808"/>
                  <a:gd name="connsiteY660" fmla="*/ 919276 h 1071250"/>
                  <a:gd name="connsiteX661" fmla="*/ 34547 w 543808"/>
                  <a:gd name="connsiteY661" fmla="*/ 923670 h 1071250"/>
                  <a:gd name="connsiteX662" fmla="*/ 33183 w 543808"/>
                  <a:gd name="connsiteY662" fmla="*/ 924579 h 1071250"/>
                  <a:gd name="connsiteX663" fmla="*/ 32729 w 543808"/>
                  <a:gd name="connsiteY663" fmla="*/ 925791 h 1071250"/>
                  <a:gd name="connsiteX664" fmla="*/ 33183 w 543808"/>
                  <a:gd name="connsiteY664" fmla="*/ 928519 h 1071250"/>
                  <a:gd name="connsiteX665" fmla="*/ 34698 w 543808"/>
                  <a:gd name="connsiteY665" fmla="*/ 930489 h 1071250"/>
                  <a:gd name="connsiteX666" fmla="*/ 34698 w 543808"/>
                  <a:gd name="connsiteY666" fmla="*/ 933216 h 1071250"/>
                  <a:gd name="connsiteX667" fmla="*/ 33031 w 543808"/>
                  <a:gd name="connsiteY667" fmla="*/ 939428 h 1071250"/>
                  <a:gd name="connsiteX668" fmla="*/ 31971 w 543808"/>
                  <a:gd name="connsiteY668" fmla="*/ 942004 h 1071250"/>
                  <a:gd name="connsiteX669" fmla="*/ 33941 w 543808"/>
                  <a:gd name="connsiteY669" fmla="*/ 944883 h 1071250"/>
                  <a:gd name="connsiteX670" fmla="*/ 35759 w 543808"/>
                  <a:gd name="connsiteY670" fmla="*/ 947459 h 1071250"/>
                  <a:gd name="connsiteX671" fmla="*/ 39395 w 543808"/>
                  <a:gd name="connsiteY671" fmla="*/ 949429 h 1071250"/>
                  <a:gd name="connsiteX672" fmla="*/ 42426 w 543808"/>
                  <a:gd name="connsiteY672" fmla="*/ 952156 h 1071250"/>
                  <a:gd name="connsiteX673" fmla="*/ 44547 w 543808"/>
                  <a:gd name="connsiteY673" fmla="*/ 954429 h 1071250"/>
                  <a:gd name="connsiteX674" fmla="*/ 44093 w 543808"/>
                  <a:gd name="connsiteY674" fmla="*/ 957459 h 1071250"/>
                  <a:gd name="connsiteX675" fmla="*/ 45456 w 543808"/>
                  <a:gd name="connsiteY675" fmla="*/ 958368 h 1071250"/>
                  <a:gd name="connsiteX676" fmla="*/ 50911 w 543808"/>
                  <a:gd name="connsiteY676" fmla="*/ 958368 h 1071250"/>
                  <a:gd name="connsiteX677" fmla="*/ 59245 w 543808"/>
                  <a:gd name="connsiteY677" fmla="*/ 958520 h 1071250"/>
                  <a:gd name="connsiteX678" fmla="*/ 72124 w 543808"/>
                  <a:gd name="connsiteY678" fmla="*/ 958671 h 1071250"/>
                  <a:gd name="connsiteX679" fmla="*/ 84700 w 543808"/>
                  <a:gd name="connsiteY679" fmla="*/ 958823 h 1071250"/>
                  <a:gd name="connsiteX680" fmla="*/ 98943 w 543808"/>
                  <a:gd name="connsiteY680" fmla="*/ 958975 h 1071250"/>
                  <a:gd name="connsiteX681" fmla="*/ 105761 w 543808"/>
                  <a:gd name="connsiteY681" fmla="*/ 961398 h 1071250"/>
                  <a:gd name="connsiteX682" fmla="*/ 111822 w 543808"/>
                  <a:gd name="connsiteY682" fmla="*/ 963672 h 1071250"/>
                  <a:gd name="connsiteX683" fmla="*/ 119550 w 543808"/>
                  <a:gd name="connsiteY683" fmla="*/ 963672 h 1071250"/>
                  <a:gd name="connsiteX684" fmla="*/ 127277 w 543808"/>
                  <a:gd name="connsiteY684" fmla="*/ 966247 h 1071250"/>
                  <a:gd name="connsiteX685" fmla="*/ 133035 w 543808"/>
                  <a:gd name="connsiteY685" fmla="*/ 967914 h 1071250"/>
                  <a:gd name="connsiteX686" fmla="*/ 136520 w 543808"/>
                  <a:gd name="connsiteY686" fmla="*/ 968520 h 1071250"/>
                  <a:gd name="connsiteX687" fmla="*/ 140005 w 543808"/>
                  <a:gd name="connsiteY687" fmla="*/ 969126 h 1071250"/>
                  <a:gd name="connsiteX688" fmla="*/ 140460 w 543808"/>
                  <a:gd name="connsiteY688" fmla="*/ 971551 h 1071250"/>
                  <a:gd name="connsiteX689" fmla="*/ 141823 w 543808"/>
                  <a:gd name="connsiteY689" fmla="*/ 969732 h 1071250"/>
                  <a:gd name="connsiteX690" fmla="*/ 139096 w 543808"/>
                  <a:gd name="connsiteY690" fmla="*/ 965641 h 1071250"/>
                  <a:gd name="connsiteX691" fmla="*/ 133641 w 543808"/>
                  <a:gd name="connsiteY691" fmla="*/ 958823 h 1071250"/>
                  <a:gd name="connsiteX692" fmla="*/ 127429 w 543808"/>
                  <a:gd name="connsiteY692" fmla="*/ 947913 h 1071250"/>
                  <a:gd name="connsiteX693" fmla="*/ 126065 w 543808"/>
                  <a:gd name="connsiteY693" fmla="*/ 946550 h 1071250"/>
                  <a:gd name="connsiteX694" fmla="*/ 124247 w 543808"/>
                  <a:gd name="connsiteY694" fmla="*/ 945034 h 1071250"/>
                  <a:gd name="connsiteX695" fmla="*/ 120156 w 543808"/>
                  <a:gd name="connsiteY695" fmla="*/ 945944 h 1071250"/>
                  <a:gd name="connsiteX696" fmla="*/ 116520 w 543808"/>
                  <a:gd name="connsiteY696" fmla="*/ 943671 h 1071250"/>
                  <a:gd name="connsiteX697" fmla="*/ 113943 w 543808"/>
                  <a:gd name="connsiteY697" fmla="*/ 943974 h 1071250"/>
                  <a:gd name="connsiteX698" fmla="*/ 112428 w 543808"/>
                  <a:gd name="connsiteY698" fmla="*/ 943065 h 1071250"/>
                  <a:gd name="connsiteX699" fmla="*/ 115307 w 543808"/>
                  <a:gd name="connsiteY699" fmla="*/ 942155 h 1071250"/>
                  <a:gd name="connsiteX700" fmla="*/ 119247 w 543808"/>
                  <a:gd name="connsiteY700" fmla="*/ 942155 h 1071250"/>
                  <a:gd name="connsiteX701" fmla="*/ 123641 w 543808"/>
                  <a:gd name="connsiteY701" fmla="*/ 941701 h 1071250"/>
                  <a:gd name="connsiteX702" fmla="*/ 124247 w 543808"/>
                  <a:gd name="connsiteY702" fmla="*/ 939579 h 1071250"/>
                  <a:gd name="connsiteX703" fmla="*/ 124398 w 543808"/>
                  <a:gd name="connsiteY703" fmla="*/ 938065 h 1071250"/>
                  <a:gd name="connsiteX704" fmla="*/ 123338 w 543808"/>
                  <a:gd name="connsiteY704" fmla="*/ 932913 h 1071250"/>
                  <a:gd name="connsiteX705" fmla="*/ 121217 w 543808"/>
                  <a:gd name="connsiteY705" fmla="*/ 925488 h 1071250"/>
                  <a:gd name="connsiteX706" fmla="*/ 119701 w 543808"/>
                  <a:gd name="connsiteY706" fmla="*/ 921700 h 1071250"/>
                  <a:gd name="connsiteX707" fmla="*/ 117883 w 543808"/>
                  <a:gd name="connsiteY707" fmla="*/ 922155 h 1071250"/>
                  <a:gd name="connsiteX708" fmla="*/ 115610 w 543808"/>
                  <a:gd name="connsiteY708" fmla="*/ 923518 h 1071250"/>
                  <a:gd name="connsiteX709" fmla="*/ 115459 w 543808"/>
                  <a:gd name="connsiteY709" fmla="*/ 922913 h 1071250"/>
                  <a:gd name="connsiteX710" fmla="*/ 118792 w 543808"/>
                  <a:gd name="connsiteY710" fmla="*/ 920185 h 1071250"/>
                  <a:gd name="connsiteX711" fmla="*/ 120914 w 543808"/>
                  <a:gd name="connsiteY711" fmla="*/ 917003 h 1071250"/>
                  <a:gd name="connsiteX712" fmla="*/ 121217 w 543808"/>
                  <a:gd name="connsiteY712" fmla="*/ 912912 h 1071250"/>
                  <a:gd name="connsiteX713" fmla="*/ 122580 w 543808"/>
                  <a:gd name="connsiteY713" fmla="*/ 906851 h 1071250"/>
                  <a:gd name="connsiteX714" fmla="*/ 123792 w 543808"/>
                  <a:gd name="connsiteY714" fmla="*/ 903821 h 1071250"/>
                  <a:gd name="connsiteX715" fmla="*/ 126671 w 543808"/>
                  <a:gd name="connsiteY715" fmla="*/ 899578 h 1071250"/>
                  <a:gd name="connsiteX716" fmla="*/ 131823 w 543808"/>
                  <a:gd name="connsiteY716" fmla="*/ 895942 h 1071250"/>
                  <a:gd name="connsiteX717" fmla="*/ 136217 w 543808"/>
                  <a:gd name="connsiteY717" fmla="*/ 893972 h 1071250"/>
                  <a:gd name="connsiteX718" fmla="*/ 139551 w 543808"/>
                  <a:gd name="connsiteY718" fmla="*/ 892911 h 1071250"/>
                  <a:gd name="connsiteX719" fmla="*/ 140763 w 543808"/>
                  <a:gd name="connsiteY719" fmla="*/ 891548 h 1071250"/>
                  <a:gd name="connsiteX720" fmla="*/ 139399 w 543808"/>
                  <a:gd name="connsiteY720" fmla="*/ 889123 h 1071250"/>
                  <a:gd name="connsiteX721" fmla="*/ 137732 w 543808"/>
                  <a:gd name="connsiteY721" fmla="*/ 887153 h 1071250"/>
                  <a:gd name="connsiteX722" fmla="*/ 135914 w 543808"/>
                  <a:gd name="connsiteY722" fmla="*/ 886244 h 1071250"/>
                  <a:gd name="connsiteX723" fmla="*/ 131672 w 543808"/>
                  <a:gd name="connsiteY723" fmla="*/ 885487 h 1071250"/>
                  <a:gd name="connsiteX724" fmla="*/ 125459 w 543808"/>
                  <a:gd name="connsiteY724" fmla="*/ 886093 h 1071250"/>
                  <a:gd name="connsiteX725" fmla="*/ 127277 w 543808"/>
                  <a:gd name="connsiteY725" fmla="*/ 884881 h 1071250"/>
                  <a:gd name="connsiteX726" fmla="*/ 134096 w 543808"/>
                  <a:gd name="connsiteY726" fmla="*/ 883669 h 1071250"/>
                  <a:gd name="connsiteX727" fmla="*/ 134702 w 543808"/>
                  <a:gd name="connsiteY727" fmla="*/ 881093 h 1071250"/>
                  <a:gd name="connsiteX728" fmla="*/ 133793 w 543808"/>
                  <a:gd name="connsiteY728" fmla="*/ 878668 h 1071250"/>
                  <a:gd name="connsiteX729" fmla="*/ 133944 w 543808"/>
                  <a:gd name="connsiteY729" fmla="*/ 877153 h 1071250"/>
                  <a:gd name="connsiteX730" fmla="*/ 136672 w 543808"/>
                  <a:gd name="connsiteY730" fmla="*/ 881244 h 1071250"/>
                  <a:gd name="connsiteX731" fmla="*/ 138945 w 543808"/>
                  <a:gd name="connsiteY731" fmla="*/ 885184 h 1071250"/>
                  <a:gd name="connsiteX732" fmla="*/ 141217 w 543808"/>
                  <a:gd name="connsiteY732" fmla="*/ 887457 h 1071250"/>
                  <a:gd name="connsiteX733" fmla="*/ 145308 w 543808"/>
                  <a:gd name="connsiteY733" fmla="*/ 889729 h 1071250"/>
                  <a:gd name="connsiteX734" fmla="*/ 148339 w 543808"/>
                  <a:gd name="connsiteY734" fmla="*/ 889275 h 1071250"/>
                  <a:gd name="connsiteX735" fmla="*/ 154703 w 543808"/>
                  <a:gd name="connsiteY735" fmla="*/ 885487 h 1071250"/>
                  <a:gd name="connsiteX736" fmla="*/ 157127 w 543808"/>
                  <a:gd name="connsiteY736" fmla="*/ 883214 h 1071250"/>
                  <a:gd name="connsiteX737" fmla="*/ 158339 w 543808"/>
                  <a:gd name="connsiteY737" fmla="*/ 881093 h 1071250"/>
                  <a:gd name="connsiteX738" fmla="*/ 161673 w 543808"/>
                  <a:gd name="connsiteY738" fmla="*/ 862759 h 1071250"/>
                  <a:gd name="connsiteX739" fmla="*/ 160764 w 543808"/>
                  <a:gd name="connsiteY739" fmla="*/ 861395 h 1071250"/>
                  <a:gd name="connsiteX740" fmla="*/ 161066 w 543808"/>
                  <a:gd name="connsiteY740" fmla="*/ 859425 h 1071250"/>
                  <a:gd name="connsiteX741" fmla="*/ 166976 w 543808"/>
                  <a:gd name="connsiteY741" fmla="*/ 848970 h 1071250"/>
                  <a:gd name="connsiteX742" fmla="*/ 172582 w 543808"/>
                  <a:gd name="connsiteY742" fmla="*/ 844122 h 1071250"/>
                  <a:gd name="connsiteX743" fmla="*/ 176219 w 543808"/>
                  <a:gd name="connsiteY743" fmla="*/ 839727 h 1071250"/>
                  <a:gd name="connsiteX744" fmla="*/ 178946 w 543808"/>
                  <a:gd name="connsiteY744" fmla="*/ 837606 h 1071250"/>
                  <a:gd name="connsiteX745" fmla="*/ 185764 w 543808"/>
                  <a:gd name="connsiteY745" fmla="*/ 833970 h 1071250"/>
                  <a:gd name="connsiteX746" fmla="*/ 190916 w 543808"/>
                  <a:gd name="connsiteY746" fmla="*/ 830333 h 1071250"/>
                  <a:gd name="connsiteX747" fmla="*/ 196522 w 543808"/>
                  <a:gd name="connsiteY747" fmla="*/ 827606 h 1071250"/>
                  <a:gd name="connsiteX748" fmla="*/ 206826 w 543808"/>
                  <a:gd name="connsiteY748" fmla="*/ 818515 h 1071250"/>
                  <a:gd name="connsiteX749" fmla="*/ 208796 w 543808"/>
                  <a:gd name="connsiteY749" fmla="*/ 816242 h 1071250"/>
                  <a:gd name="connsiteX750" fmla="*/ 209705 w 543808"/>
                  <a:gd name="connsiteY750" fmla="*/ 814727 h 1071250"/>
                  <a:gd name="connsiteX751" fmla="*/ 212432 w 543808"/>
                  <a:gd name="connsiteY751" fmla="*/ 813515 h 1071250"/>
                  <a:gd name="connsiteX752" fmla="*/ 210917 w 543808"/>
                  <a:gd name="connsiteY752" fmla="*/ 810484 h 1071250"/>
                  <a:gd name="connsiteX753" fmla="*/ 208947 w 543808"/>
                  <a:gd name="connsiteY753" fmla="*/ 809575 h 1071250"/>
                  <a:gd name="connsiteX754" fmla="*/ 204553 w 543808"/>
                  <a:gd name="connsiteY754" fmla="*/ 810484 h 1071250"/>
                  <a:gd name="connsiteX755" fmla="*/ 202432 w 543808"/>
                  <a:gd name="connsiteY755" fmla="*/ 810636 h 1071250"/>
                  <a:gd name="connsiteX756" fmla="*/ 200916 w 543808"/>
                  <a:gd name="connsiteY756" fmla="*/ 809575 h 1071250"/>
                  <a:gd name="connsiteX757" fmla="*/ 205917 w 543808"/>
                  <a:gd name="connsiteY757" fmla="*/ 808060 h 1071250"/>
                  <a:gd name="connsiteX758" fmla="*/ 210159 w 543808"/>
                  <a:gd name="connsiteY758" fmla="*/ 805181 h 1071250"/>
                  <a:gd name="connsiteX759" fmla="*/ 212129 w 543808"/>
                  <a:gd name="connsiteY759" fmla="*/ 802908 h 1071250"/>
                  <a:gd name="connsiteX760" fmla="*/ 213190 w 543808"/>
                  <a:gd name="connsiteY760" fmla="*/ 800484 h 1071250"/>
                  <a:gd name="connsiteX761" fmla="*/ 214250 w 543808"/>
                  <a:gd name="connsiteY761" fmla="*/ 792756 h 1071250"/>
                  <a:gd name="connsiteX762" fmla="*/ 213341 w 543808"/>
                  <a:gd name="connsiteY762" fmla="*/ 789726 h 1071250"/>
                  <a:gd name="connsiteX763" fmla="*/ 211068 w 543808"/>
                  <a:gd name="connsiteY763" fmla="*/ 786241 h 1071250"/>
                  <a:gd name="connsiteX764" fmla="*/ 207129 w 543808"/>
                  <a:gd name="connsiteY764" fmla="*/ 784120 h 1071250"/>
                  <a:gd name="connsiteX765" fmla="*/ 189249 w 543808"/>
                  <a:gd name="connsiteY765" fmla="*/ 782453 h 1071250"/>
                  <a:gd name="connsiteX766" fmla="*/ 185764 w 543808"/>
                  <a:gd name="connsiteY766" fmla="*/ 781089 h 1071250"/>
                  <a:gd name="connsiteX767" fmla="*/ 169097 w 543808"/>
                  <a:gd name="connsiteY767" fmla="*/ 765482 h 1071250"/>
                  <a:gd name="connsiteX768" fmla="*/ 165764 w 543808"/>
                  <a:gd name="connsiteY768" fmla="*/ 761694 h 1071250"/>
                  <a:gd name="connsiteX769" fmla="*/ 164248 w 543808"/>
                  <a:gd name="connsiteY769" fmla="*/ 758361 h 1071250"/>
                  <a:gd name="connsiteX770" fmla="*/ 163642 w 543808"/>
                  <a:gd name="connsiteY770" fmla="*/ 755785 h 1071250"/>
                  <a:gd name="connsiteX771" fmla="*/ 163036 w 543808"/>
                  <a:gd name="connsiteY771" fmla="*/ 752300 h 1071250"/>
                  <a:gd name="connsiteX772" fmla="*/ 163339 w 543808"/>
                  <a:gd name="connsiteY772" fmla="*/ 748360 h 1071250"/>
                  <a:gd name="connsiteX773" fmla="*/ 164552 w 543808"/>
                  <a:gd name="connsiteY773" fmla="*/ 745481 h 1071250"/>
                  <a:gd name="connsiteX774" fmla="*/ 169097 w 543808"/>
                  <a:gd name="connsiteY774" fmla="*/ 738815 h 1071250"/>
                  <a:gd name="connsiteX775" fmla="*/ 172734 w 543808"/>
                  <a:gd name="connsiteY775" fmla="*/ 732148 h 1071250"/>
                  <a:gd name="connsiteX776" fmla="*/ 181370 w 543808"/>
                  <a:gd name="connsiteY776" fmla="*/ 721239 h 1071250"/>
                  <a:gd name="connsiteX777" fmla="*/ 183037 w 543808"/>
                  <a:gd name="connsiteY777" fmla="*/ 720178 h 1071250"/>
                  <a:gd name="connsiteX778" fmla="*/ 191219 w 543808"/>
                  <a:gd name="connsiteY778" fmla="*/ 718662 h 1071250"/>
                  <a:gd name="connsiteX779" fmla="*/ 192583 w 543808"/>
                  <a:gd name="connsiteY779" fmla="*/ 717753 h 1071250"/>
                  <a:gd name="connsiteX780" fmla="*/ 193644 w 543808"/>
                  <a:gd name="connsiteY780" fmla="*/ 716390 h 1071250"/>
                  <a:gd name="connsiteX781" fmla="*/ 197583 w 543808"/>
                  <a:gd name="connsiteY781" fmla="*/ 713511 h 1071250"/>
                  <a:gd name="connsiteX782" fmla="*/ 201826 w 543808"/>
                  <a:gd name="connsiteY782" fmla="*/ 711238 h 1071250"/>
                  <a:gd name="connsiteX783" fmla="*/ 213644 w 543808"/>
                  <a:gd name="connsiteY783" fmla="*/ 712602 h 1071250"/>
                  <a:gd name="connsiteX784" fmla="*/ 216826 w 543808"/>
                  <a:gd name="connsiteY784" fmla="*/ 712602 h 1071250"/>
                  <a:gd name="connsiteX785" fmla="*/ 217735 w 543808"/>
                  <a:gd name="connsiteY785" fmla="*/ 710480 h 1071250"/>
                  <a:gd name="connsiteX786" fmla="*/ 217887 w 543808"/>
                  <a:gd name="connsiteY786" fmla="*/ 708208 h 1071250"/>
                  <a:gd name="connsiteX787" fmla="*/ 215159 w 543808"/>
                  <a:gd name="connsiteY787" fmla="*/ 705480 h 1071250"/>
                  <a:gd name="connsiteX788" fmla="*/ 216523 w 543808"/>
                  <a:gd name="connsiteY788" fmla="*/ 700934 h 1071250"/>
                  <a:gd name="connsiteX789" fmla="*/ 224402 w 543808"/>
                  <a:gd name="connsiteY789" fmla="*/ 694722 h 1071250"/>
                  <a:gd name="connsiteX790" fmla="*/ 226372 w 543808"/>
                  <a:gd name="connsiteY790" fmla="*/ 690783 h 1071250"/>
                  <a:gd name="connsiteX791" fmla="*/ 226978 w 543808"/>
                  <a:gd name="connsiteY791" fmla="*/ 688055 h 1071250"/>
                  <a:gd name="connsiteX792" fmla="*/ 225766 w 543808"/>
                  <a:gd name="connsiteY792" fmla="*/ 683964 h 1071250"/>
                  <a:gd name="connsiteX793" fmla="*/ 227736 w 543808"/>
                  <a:gd name="connsiteY793" fmla="*/ 680328 h 1071250"/>
                  <a:gd name="connsiteX794" fmla="*/ 225918 w 543808"/>
                  <a:gd name="connsiteY794" fmla="*/ 671540 h 1071250"/>
                  <a:gd name="connsiteX795" fmla="*/ 226524 w 543808"/>
                  <a:gd name="connsiteY795" fmla="*/ 666236 h 1071250"/>
                  <a:gd name="connsiteX796" fmla="*/ 227433 w 543808"/>
                  <a:gd name="connsiteY796" fmla="*/ 664267 h 1071250"/>
                  <a:gd name="connsiteX797" fmla="*/ 229099 w 543808"/>
                  <a:gd name="connsiteY797" fmla="*/ 662600 h 1071250"/>
                  <a:gd name="connsiteX798" fmla="*/ 234706 w 543808"/>
                  <a:gd name="connsiteY798" fmla="*/ 655024 h 1071250"/>
                  <a:gd name="connsiteX799" fmla="*/ 238645 w 543808"/>
                  <a:gd name="connsiteY799" fmla="*/ 651539 h 1071250"/>
                  <a:gd name="connsiteX800" fmla="*/ 242130 w 543808"/>
                  <a:gd name="connsiteY800" fmla="*/ 649721 h 1071250"/>
                  <a:gd name="connsiteX801" fmla="*/ 249858 w 543808"/>
                  <a:gd name="connsiteY801" fmla="*/ 647145 h 1071250"/>
                  <a:gd name="connsiteX802" fmla="*/ 251373 w 543808"/>
                  <a:gd name="connsiteY802" fmla="*/ 645933 h 1071250"/>
                  <a:gd name="connsiteX803" fmla="*/ 252888 w 543808"/>
                  <a:gd name="connsiteY803" fmla="*/ 644114 h 1071250"/>
                  <a:gd name="connsiteX804" fmla="*/ 251221 w 543808"/>
                  <a:gd name="connsiteY804" fmla="*/ 643508 h 1071250"/>
                  <a:gd name="connsiteX805" fmla="*/ 249555 w 543808"/>
                  <a:gd name="connsiteY805" fmla="*/ 643508 h 1071250"/>
                  <a:gd name="connsiteX806" fmla="*/ 244403 w 543808"/>
                  <a:gd name="connsiteY806" fmla="*/ 642145 h 1071250"/>
                  <a:gd name="connsiteX807" fmla="*/ 233494 w 543808"/>
                  <a:gd name="connsiteY807" fmla="*/ 637144 h 1071250"/>
                  <a:gd name="connsiteX808" fmla="*/ 235009 w 543808"/>
                  <a:gd name="connsiteY808" fmla="*/ 634114 h 1071250"/>
                  <a:gd name="connsiteX809" fmla="*/ 239403 w 543808"/>
                  <a:gd name="connsiteY809" fmla="*/ 633053 h 1071250"/>
                  <a:gd name="connsiteX810" fmla="*/ 243797 w 543808"/>
                  <a:gd name="connsiteY810" fmla="*/ 629720 h 1071250"/>
                  <a:gd name="connsiteX811" fmla="*/ 248191 w 543808"/>
                  <a:gd name="connsiteY811" fmla="*/ 629114 h 1071250"/>
                  <a:gd name="connsiteX812" fmla="*/ 252737 w 543808"/>
                  <a:gd name="connsiteY812" fmla="*/ 631084 h 1071250"/>
                  <a:gd name="connsiteX813" fmla="*/ 254858 w 543808"/>
                  <a:gd name="connsiteY813" fmla="*/ 633508 h 1071250"/>
                  <a:gd name="connsiteX814" fmla="*/ 255615 w 543808"/>
                  <a:gd name="connsiteY814" fmla="*/ 637144 h 1071250"/>
                  <a:gd name="connsiteX815" fmla="*/ 258040 w 543808"/>
                  <a:gd name="connsiteY815" fmla="*/ 640629 h 1071250"/>
                  <a:gd name="connsiteX816" fmla="*/ 260616 w 543808"/>
                  <a:gd name="connsiteY816" fmla="*/ 641236 h 1071250"/>
                  <a:gd name="connsiteX817" fmla="*/ 270010 w 543808"/>
                  <a:gd name="connsiteY817" fmla="*/ 638660 h 1071250"/>
                  <a:gd name="connsiteX818" fmla="*/ 271374 w 543808"/>
                  <a:gd name="connsiteY818" fmla="*/ 636690 h 1071250"/>
                  <a:gd name="connsiteX819" fmla="*/ 272131 w 543808"/>
                  <a:gd name="connsiteY819" fmla="*/ 635023 h 1071250"/>
                  <a:gd name="connsiteX820" fmla="*/ 272737 w 543808"/>
                  <a:gd name="connsiteY820" fmla="*/ 630326 h 1071250"/>
                  <a:gd name="connsiteX821" fmla="*/ 272737 w 543808"/>
                  <a:gd name="connsiteY821" fmla="*/ 625477 h 1071250"/>
                  <a:gd name="connsiteX822" fmla="*/ 271828 w 543808"/>
                  <a:gd name="connsiteY822" fmla="*/ 621386 h 1071250"/>
                  <a:gd name="connsiteX823" fmla="*/ 270313 w 543808"/>
                  <a:gd name="connsiteY823" fmla="*/ 618356 h 1071250"/>
                  <a:gd name="connsiteX824" fmla="*/ 269101 w 543808"/>
                  <a:gd name="connsiteY824" fmla="*/ 617143 h 1071250"/>
                  <a:gd name="connsiteX825" fmla="*/ 267283 w 543808"/>
                  <a:gd name="connsiteY825" fmla="*/ 615931 h 1071250"/>
                  <a:gd name="connsiteX826" fmla="*/ 264555 w 543808"/>
                  <a:gd name="connsiteY826" fmla="*/ 616234 h 1071250"/>
                  <a:gd name="connsiteX827" fmla="*/ 259403 w 543808"/>
                  <a:gd name="connsiteY827" fmla="*/ 618204 h 1071250"/>
                  <a:gd name="connsiteX828" fmla="*/ 255464 w 543808"/>
                  <a:gd name="connsiteY828" fmla="*/ 619417 h 1071250"/>
                  <a:gd name="connsiteX829" fmla="*/ 254858 w 543808"/>
                  <a:gd name="connsiteY829" fmla="*/ 620477 h 1071250"/>
                  <a:gd name="connsiteX830" fmla="*/ 260161 w 543808"/>
                  <a:gd name="connsiteY830" fmla="*/ 620931 h 1071250"/>
                  <a:gd name="connsiteX831" fmla="*/ 260161 w 543808"/>
                  <a:gd name="connsiteY831" fmla="*/ 623810 h 1071250"/>
                  <a:gd name="connsiteX832" fmla="*/ 259100 w 543808"/>
                  <a:gd name="connsiteY832" fmla="*/ 625174 h 1071250"/>
                  <a:gd name="connsiteX833" fmla="*/ 254555 w 543808"/>
                  <a:gd name="connsiteY833" fmla="*/ 626084 h 1071250"/>
                  <a:gd name="connsiteX834" fmla="*/ 250312 w 543808"/>
                  <a:gd name="connsiteY834" fmla="*/ 626538 h 1071250"/>
                  <a:gd name="connsiteX835" fmla="*/ 246221 w 543808"/>
                  <a:gd name="connsiteY835" fmla="*/ 625932 h 1071250"/>
                  <a:gd name="connsiteX836" fmla="*/ 246070 w 543808"/>
                  <a:gd name="connsiteY836" fmla="*/ 623962 h 1071250"/>
                  <a:gd name="connsiteX837" fmla="*/ 247433 w 543808"/>
                  <a:gd name="connsiteY837" fmla="*/ 622144 h 1071250"/>
                  <a:gd name="connsiteX838" fmla="*/ 247736 w 543808"/>
                  <a:gd name="connsiteY838" fmla="*/ 621235 h 1071250"/>
                  <a:gd name="connsiteX839" fmla="*/ 246979 w 543808"/>
                  <a:gd name="connsiteY839" fmla="*/ 620780 h 1071250"/>
                  <a:gd name="connsiteX840" fmla="*/ 244706 w 543808"/>
                  <a:gd name="connsiteY840" fmla="*/ 620931 h 1071250"/>
                  <a:gd name="connsiteX841" fmla="*/ 242585 w 543808"/>
                  <a:gd name="connsiteY841" fmla="*/ 619568 h 1071250"/>
                  <a:gd name="connsiteX842" fmla="*/ 237130 w 543808"/>
                  <a:gd name="connsiteY842" fmla="*/ 617598 h 1071250"/>
                  <a:gd name="connsiteX843" fmla="*/ 234706 w 543808"/>
                  <a:gd name="connsiteY843" fmla="*/ 615629 h 1071250"/>
                  <a:gd name="connsiteX844" fmla="*/ 232736 w 543808"/>
                  <a:gd name="connsiteY844" fmla="*/ 611234 h 1071250"/>
                  <a:gd name="connsiteX845" fmla="*/ 234100 w 543808"/>
                  <a:gd name="connsiteY845" fmla="*/ 603810 h 1071250"/>
                  <a:gd name="connsiteX846" fmla="*/ 233796 w 543808"/>
                  <a:gd name="connsiteY846" fmla="*/ 598052 h 1071250"/>
                  <a:gd name="connsiteX847" fmla="*/ 230766 w 543808"/>
                  <a:gd name="connsiteY847" fmla="*/ 587294 h 1071250"/>
                  <a:gd name="connsiteX848" fmla="*/ 230008 w 543808"/>
                  <a:gd name="connsiteY848" fmla="*/ 582900 h 1071250"/>
                  <a:gd name="connsiteX849" fmla="*/ 230160 w 543808"/>
                  <a:gd name="connsiteY849" fmla="*/ 577748 h 1071250"/>
                  <a:gd name="connsiteX850" fmla="*/ 230615 w 543808"/>
                  <a:gd name="connsiteY850" fmla="*/ 575627 h 1071250"/>
                  <a:gd name="connsiteX851" fmla="*/ 232433 w 543808"/>
                  <a:gd name="connsiteY851" fmla="*/ 573203 h 1071250"/>
                  <a:gd name="connsiteX852" fmla="*/ 236675 w 543808"/>
                  <a:gd name="connsiteY852" fmla="*/ 570778 h 1071250"/>
                  <a:gd name="connsiteX853" fmla="*/ 238039 w 543808"/>
                  <a:gd name="connsiteY853" fmla="*/ 570930 h 1071250"/>
                  <a:gd name="connsiteX854" fmla="*/ 239857 w 543808"/>
                  <a:gd name="connsiteY854" fmla="*/ 571536 h 1071250"/>
                  <a:gd name="connsiteX855" fmla="*/ 239403 w 543808"/>
                  <a:gd name="connsiteY855" fmla="*/ 572748 h 1071250"/>
                  <a:gd name="connsiteX856" fmla="*/ 238494 w 543808"/>
                  <a:gd name="connsiteY856" fmla="*/ 573354 h 1071250"/>
                  <a:gd name="connsiteX857" fmla="*/ 244858 w 543808"/>
                  <a:gd name="connsiteY857" fmla="*/ 574718 h 1071250"/>
                  <a:gd name="connsiteX858" fmla="*/ 251373 w 543808"/>
                  <a:gd name="connsiteY858" fmla="*/ 576991 h 1071250"/>
                  <a:gd name="connsiteX859" fmla="*/ 258494 w 543808"/>
                  <a:gd name="connsiteY859" fmla="*/ 579718 h 1071250"/>
                  <a:gd name="connsiteX860" fmla="*/ 268040 w 543808"/>
                  <a:gd name="connsiteY860" fmla="*/ 584264 h 1071250"/>
                  <a:gd name="connsiteX861" fmla="*/ 272131 w 543808"/>
                  <a:gd name="connsiteY861" fmla="*/ 584567 h 1071250"/>
                  <a:gd name="connsiteX862" fmla="*/ 283344 w 543808"/>
                  <a:gd name="connsiteY862" fmla="*/ 584264 h 1071250"/>
                  <a:gd name="connsiteX863" fmla="*/ 290314 w 543808"/>
                  <a:gd name="connsiteY863" fmla="*/ 582900 h 1071250"/>
                  <a:gd name="connsiteX864" fmla="*/ 294708 w 543808"/>
                  <a:gd name="connsiteY864" fmla="*/ 580930 h 1071250"/>
                  <a:gd name="connsiteX865" fmla="*/ 305769 w 543808"/>
                  <a:gd name="connsiteY865" fmla="*/ 575930 h 1071250"/>
                  <a:gd name="connsiteX866" fmla="*/ 308345 w 543808"/>
                  <a:gd name="connsiteY866" fmla="*/ 573506 h 1071250"/>
                  <a:gd name="connsiteX867" fmla="*/ 309860 w 543808"/>
                  <a:gd name="connsiteY867" fmla="*/ 568960 h 1071250"/>
                  <a:gd name="connsiteX868" fmla="*/ 305769 w 543808"/>
                  <a:gd name="connsiteY868" fmla="*/ 561990 h 1071250"/>
                  <a:gd name="connsiteX869" fmla="*/ 304860 w 543808"/>
                  <a:gd name="connsiteY869" fmla="*/ 558657 h 1071250"/>
                  <a:gd name="connsiteX870" fmla="*/ 305617 w 543808"/>
                  <a:gd name="connsiteY870" fmla="*/ 553505 h 1071250"/>
                  <a:gd name="connsiteX871" fmla="*/ 307739 w 543808"/>
                  <a:gd name="connsiteY871" fmla="*/ 545626 h 1071250"/>
                  <a:gd name="connsiteX872" fmla="*/ 308799 w 543808"/>
                  <a:gd name="connsiteY872" fmla="*/ 543808 h 1071250"/>
                  <a:gd name="connsiteX873" fmla="*/ 309709 w 543808"/>
                  <a:gd name="connsiteY873" fmla="*/ 543353 h 1071250"/>
                  <a:gd name="connsiteX874" fmla="*/ 313042 w 543808"/>
                  <a:gd name="connsiteY874" fmla="*/ 541535 h 1071250"/>
                  <a:gd name="connsiteX875" fmla="*/ 314406 w 543808"/>
                  <a:gd name="connsiteY875" fmla="*/ 533353 h 1071250"/>
                  <a:gd name="connsiteX876" fmla="*/ 314557 w 543808"/>
                  <a:gd name="connsiteY876" fmla="*/ 529868 h 1071250"/>
                  <a:gd name="connsiteX877" fmla="*/ 313042 w 543808"/>
                  <a:gd name="connsiteY877" fmla="*/ 528959 h 1071250"/>
                  <a:gd name="connsiteX878" fmla="*/ 311678 w 543808"/>
                  <a:gd name="connsiteY878" fmla="*/ 527292 h 1071250"/>
                  <a:gd name="connsiteX879" fmla="*/ 315163 w 543808"/>
                  <a:gd name="connsiteY879" fmla="*/ 527141 h 1071250"/>
                  <a:gd name="connsiteX880" fmla="*/ 313193 w 543808"/>
                  <a:gd name="connsiteY880" fmla="*/ 525019 h 1071250"/>
                  <a:gd name="connsiteX881" fmla="*/ 310920 w 543808"/>
                  <a:gd name="connsiteY881" fmla="*/ 523504 h 1071250"/>
                  <a:gd name="connsiteX882" fmla="*/ 308496 w 543808"/>
                  <a:gd name="connsiteY882" fmla="*/ 522898 h 1071250"/>
                  <a:gd name="connsiteX883" fmla="*/ 307284 w 543808"/>
                  <a:gd name="connsiteY883" fmla="*/ 519867 h 1071250"/>
                  <a:gd name="connsiteX884" fmla="*/ 308193 w 543808"/>
                  <a:gd name="connsiteY884" fmla="*/ 514716 h 1071250"/>
                  <a:gd name="connsiteX885" fmla="*/ 306223 w 543808"/>
                  <a:gd name="connsiteY885" fmla="*/ 510473 h 1071250"/>
                  <a:gd name="connsiteX886" fmla="*/ 307284 w 543808"/>
                  <a:gd name="connsiteY886" fmla="*/ 508806 h 1071250"/>
                  <a:gd name="connsiteX887" fmla="*/ 311224 w 543808"/>
                  <a:gd name="connsiteY887" fmla="*/ 509261 h 1071250"/>
                  <a:gd name="connsiteX888" fmla="*/ 314557 w 543808"/>
                  <a:gd name="connsiteY888" fmla="*/ 512594 h 1071250"/>
                  <a:gd name="connsiteX889" fmla="*/ 320618 w 543808"/>
                  <a:gd name="connsiteY889" fmla="*/ 513958 h 1071250"/>
                  <a:gd name="connsiteX890" fmla="*/ 327285 w 543808"/>
                  <a:gd name="connsiteY890" fmla="*/ 515170 h 1071250"/>
                  <a:gd name="connsiteX891" fmla="*/ 333346 w 543808"/>
                  <a:gd name="connsiteY891" fmla="*/ 514564 h 1071250"/>
                  <a:gd name="connsiteX892" fmla="*/ 340770 w 543808"/>
                  <a:gd name="connsiteY892" fmla="*/ 515019 h 1071250"/>
                  <a:gd name="connsiteX893" fmla="*/ 346528 w 543808"/>
                  <a:gd name="connsiteY893" fmla="*/ 514412 h 1071250"/>
                  <a:gd name="connsiteX894" fmla="*/ 375923 w 543808"/>
                  <a:gd name="connsiteY894" fmla="*/ 510019 h 1071250"/>
                  <a:gd name="connsiteX895" fmla="*/ 380014 w 543808"/>
                  <a:gd name="connsiteY895" fmla="*/ 508655 h 1071250"/>
                  <a:gd name="connsiteX896" fmla="*/ 398348 w 543808"/>
                  <a:gd name="connsiteY896" fmla="*/ 504715 h 1071250"/>
                  <a:gd name="connsiteX897" fmla="*/ 421076 w 543808"/>
                  <a:gd name="connsiteY897" fmla="*/ 497139 h 1071250"/>
                  <a:gd name="connsiteX898" fmla="*/ 435622 w 543808"/>
                  <a:gd name="connsiteY898" fmla="*/ 488654 h 1071250"/>
                  <a:gd name="connsiteX899" fmla="*/ 438349 w 543808"/>
                  <a:gd name="connsiteY899" fmla="*/ 485927 h 1071250"/>
                  <a:gd name="connsiteX900" fmla="*/ 439410 w 543808"/>
                  <a:gd name="connsiteY900" fmla="*/ 480320 h 1071250"/>
                  <a:gd name="connsiteX901" fmla="*/ 442441 w 543808"/>
                  <a:gd name="connsiteY901" fmla="*/ 475169 h 1071250"/>
                  <a:gd name="connsiteX902" fmla="*/ 450926 w 543808"/>
                  <a:gd name="connsiteY902" fmla="*/ 465774 h 1071250"/>
                  <a:gd name="connsiteX903" fmla="*/ 460775 w 543808"/>
                  <a:gd name="connsiteY903" fmla="*/ 450471 h 1071250"/>
                  <a:gd name="connsiteX904" fmla="*/ 462290 w 543808"/>
                  <a:gd name="connsiteY904" fmla="*/ 447137 h 1071250"/>
                  <a:gd name="connsiteX905" fmla="*/ 462441 w 543808"/>
                  <a:gd name="connsiteY905" fmla="*/ 443501 h 1071250"/>
                  <a:gd name="connsiteX906" fmla="*/ 461684 w 543808"/>
                  <a:gd name="connsiteY906" fmla="*/ 433804 h 1071250"/>
                  <a:gd name="connsiteX907" fmla="*/ 461229 w 543808"/>
                  <a:gd name="connsiteY907" fmla="*/ 432591 h 1071250"/>
                  <a:gd name="connsiteX908" fmla="*/ 460320 w 543808"/>
                  <a:gd name="connsiteY908" fmla="*/ 431228 h 1071250"/>
                  <a:gd name="connsiteX909" fmla="*/ 455168 w 543808"/>
                  <a:gd name="connsiteY909" fmla="*/ 431379 h 1071250"/>
                  <a:gd name="connsiteX910" fmla="*/ 451380 w 543808"/>
                  <a:gd name="connsiteY910" fmla="*/ 429712 h 1071250"/>
                  <a:gd name="connsiteX911" fmla="*/ 446229 w 543808"/>
                  <a:gd name="connsiteY911" fmla="*/ 425015 h 1071250"/>
                  <a:gd name="connsiteX912" fmla="*/ 444259 w 543808"/>
                  <a:gd name="connsiteY912" fmla="*/ 421379 h 1071250"/>
                  <a:gd name="connsiteX913" fmla="*/ 443198 w 543808"/>
                  <a:gd name="connsiteY913" fmla="*/ 417439 h 1071250"/>
                  <a:gd name="connsiteX914" fmla="*/ 443804 w 543808"/>
                  <a:gd name="connsiteY914" fmla="*/ 411833 h 1071250"/>
                  <a:gd name="connsiteX915" fmla="*/ 449108 w 543808"/>
                  <a:gd name="connsiteY915" fmla="*/ 405166 h 1071250"/>
                  <a:gd name="connsiteX916" fmla="*/ 448804 w 543808"/>
                  <a:gd name="connsiteY916" fmla="*/ 400772 h 1071250"/>
                  <a:gd name="connsiteX917" fmla="*/ 445168 w 543808"/>
                  <a:gd name="connsiteY917" fmla="*/ 395317 h 1071250"/>
                  <a:gd name="connsiteX918" fmla="*/ 438501 w 543808"/>
                  <a:gd name="connsiteY918" fmla="*/ 390014 h 1071250"/>
                  <a:gd name="connsiteX919" fmla="*/ 432592 w 543808"/>
                  <a:gd name="connsiteY919" fmla="*/ 386226 h 1071250"/>
                  <a:gd name="connsiteX920" fmla="*/ 418349 w 543808"/>
                  <a:gd name="connsiteY920" fmla="*/ 379711 h 1071250"/>
                  <a:gd name="connsiteX921" fmla="*/ 414712 w 543808"/>
                  <a:gd name="connsiteY921" fmla="*/ 375014 h 1071250"/>
                  <a:gd name="connsiteX922" fmla="*/ 413349 w 543808"/>
                  <a:gd name="connsiteY922" fmla="*/ 372741 h 1071250"/>
                  <a:gd name="connsiteX923" fmla="*/ 411682 w 543808"/>
                  <a:gd name="connsiteY923" fmla="*/ 367741 h 1071250"/>
                  <a:gd name="connsiteX924" fmla="*/ 413046 w 543808"/>
                  <a:gd name="connsiteY924" fmla="*/ 366680 h 1071250"/>
                  <a:gd name="connsiteX925" fmla="*/ 414106 w 543808"/>
                  <a:gd name="connsiteY925" fmla="*/ 366377 h 1071250"/>
                  <a:gd name="connsiteX926" fmla="*/ 415318 w 543808"/>
                  <a:gd name="connsiteY926" fmla="*/ 364559 h 1071250"/>
                  <a:gd name="connsiteX927" fmla="*/ 414864 w 543808"/>
                  <a:gd name="connsiteY927" fmla="*/ 360468 h 1071250"/>
                  <a:gd name="connsiteX928" fmla="*/ 414258 w 543808"/>
                  <a:gd name="connsiteY928" fmla="*/ 358346 h 1071250"/>
                  <a:gd name="connsiteX929" fmla="*/ 413500 w 543808"/>
                  <a:gd name="connsiteY929" fmla="*/ 355467 h 1071250"/>
                  <a:gd name="connsiteX930" fmla="*/ 411530 w 543808"/>
                  <a:gd name="connsiteY930" fmla="*/ 351073 h 1071250"/>
                  <a:gd name="connsiteX931" fmla="*/ 411076 w 543808"/>
                  <a:gd name="connsiteY931" fmla="*/ 348346 h 1071250"/>
                  <a:gd name="connsiteX932" fmla="*/ 413652 w 543808"/>
                  <a:gd name="connsiteY932" fmla="*/ 336830 h 1071250"/>
                  <a:gd name="connsiteX933" fmla="*/ 414409 w 543808"/>
                  <a:gd name="connsiteY933" fmla="*/ 331527 h 1071250"/>
                  <a:gd name="connsiteX934" fmla="*/ 415773 w 543808"/>
                  <a:gd name="connsiteY934" fmla="*/ 330315 h 1071250"/>
                  <a:gd name="connsiteX935" fmla="*/ 417591 w 543808"/>
                  <a:gd name="connsiteY935" fmla="*/ 330618 h 1071250"/>
                  <a:gd name="connsiteX936" fmla="*/ 419258 w 543808"/>
                  <a:gd name="connsiteY936" fmla="*/ 330467 h 1071250"/>
                  <a:gd name="connsiteX937" fmla="*/ 420622 w 543808"/>
                  <a:gd name="connsiteY937" fmla="*/ 328497 h 1071250"/>
                  <a:gd name="connsiteX938" fmla="*/ 421379 w 543808"/>
                  <a:gd name="connsiteY938" fmla="*/ 326830 h 1071250"/>
                  <a:gd name="connsiteX939" fmla="*/ 420016 w 543808"/>
                  <a:gd name="connsiteY939" fmla="*/ 314860 h 1071250"/>
                  <a:gd name="connsiteX940" fmla="*/ 420470 w 543808"/>
                  <a:gd name="connsiteY940" fmla="*/ 312133 h 1071250"/>
                  <a:gd name="connsiteX941" fmla="*/ 422591 w 543808"/>
                  <a:gd name="connsiteY941" fmla="*/ 307587 h 1071250"/>
                  <a:gd name="connsiteX942" fmla="*/ 422743 w 543808"/>
                  <a:gd name="connsiteY942" fmla="*/ 305314 h 1071250"/>
                  <a:gd name="connsiteX943" fmla="*/ 421531 w 543808"/>
                  <a:gd name="connsiteY943" fmla="*/ 303344 h 1071250"/>
                  <a:gd name="connsiteX944" fmla="*/ 421228 w 543808"/>
                  <a:gd name="connsiteY944" fmla="*/ 301374 h 1071250"/>
                  <a:gd name="connsiteX945" fmla="*/ 421834 w 543808"/>
                  <a:gd name="connsiteY945" fmla="*/ 299405 h 1071250"/>
                  <a:gd name="connsiteX946" fmla="*/ 421682 w 543808"/>
                  <a:gd name="connsiteY946" fmla="*/ 297435 h 1071250"/>
                  <a:gd name="connsiteX947" fmla="*/ 420925 w 543808"/>
                  <a:gd name="connsiteY947" fmla="*/ 295617 h 1071250"/>
                  <a:gd name="connsiteX948" fmla="*/ 421531 w 543808"/>
                  <a:gd name="connsiteY948" fmla="*/ 294102 h 1071250"/>
                  <a:gd name="connsiteX949" fmla="*/ 423501 w 543808"/>
                  <a:gd name="connsiteY949" fmla="*/ 292889 h 1071250"/>
                  <a:gd name="connsiteX950" fmla="*/ 425016 w 543808"/>
                  <a:gd name="connsiteY950" fmla="*/ 291071 h 1071250"/>
                  <a:gd name="connsiteX951" fmla="*/ 425925 w 543808"/>
                  <a:gd name="connsiteY951" fmla="*/ 288496 h 1071250"/>
                  <a:gd name="connsiteX952" fmla="*/ 426379 w 543808"/>
                  <a:gd name="connsiteY952" fmla="*/ 286526 h 1071250"/>
                  <a:gd name="connsiteX953" fmla="*/ 426379 w 543808"/>
                  <a:gd name="connsiteY953" fmla="*/ 285162 h 1071250"/>
                  <a:gd name="connsiteX954" fmla="*/ 425773 w 543808"/>
                  <a:gd name="connsiteY954" fmla="*/ 283950 h 1071250"/>
                  <a:gd name="connsiteX955" fmla="*/ 424561 w 543808"/>
                  <a:gd name="connsiteY955" fmla="*/ 282738 h 1071250"/>
                  <a:gd name="connsiteX956" fmla="*/ 425167 w 543808"/>
                  <a:gd name="connsiteY956" fmla="*/ 280313 h 1071250"/>
                  <a:gd name="connsiteX957" fmla="*/ 427440 w 543808"/>
                  <a:gd name="connsiteY957" fmla="*/ 276828 h 1071250"/>
                  <a:gd name="connsiteX958" fmla="*/ 428955 w 543808"/>
                  <a:gd name="connsiteY958" fmla="*/ 273646 h 1071250"/>
                  <a:gd name="connsiteX959" fmla="*/ 429713 w 543808"/>
                  <a:gd name="connsiteY959" fmla="*/ 270919 h 1071250"/>
                  <a:gd name="connsiteX960" fmla="*/ 429713 w 543808"/>
                  <a:gd name="connsiteY960" fmla="*/ 268646 h 1071250"/>
                  <a:gd name="connsiteX961" fmla="*/ 428955 w 543808"/>
                  <a:gd name="connsiteY961" fmla="*/ 266979 h 1071250"/>
                  <a:gd name="connsiteX962" fmla="*/ 429258 w 543808"/>
                  <a:gd name="connsiteY962" fmla="*/ 265919 h 1071250"/>
                  <a:gd name="connsiteX963" fmla="*/ 430622 w 543808"/>
                  <a:gd name="connsiteY963" fmla="*/ 265312 h 1071250"/>
                  <a:gd name="connsiteX964" fmla="*/ 431228 w 543808"/>
                  <a:gd name="connsiteY964" fmla="*/ 263494 h 1071250"/>
                  <a:gd name="connsiteX965" fmla="*/ 431077 w 543808"/>
                  <a:gd name="connsiteY965" fmla="*/ 259100 h 1071250"/>
                  <a:gd name="connsiteX966" fmla="*/ 429561 w 543808"/>
                  <a:gd name="connsiteY966" fmla="*/ 255464 h 1071250"/>
                  <a:gd name="connsiteX967" fmla="*/ 430622 w 543808"/>
                  <a:gd name="connsiteY967" fmla="*/ 252585 h 1071250"/>
                  <a:gd name="connsiteX968" fmla="*/ 433804 w 543808"/>
                  <a:gd name="connsiteY968" fmla="*/ 249251 h 1071250"/>
                  <a:gd name="connsiteX969" fmla="*/ 435471 w 543808"/>
                  <a:gd name="connsiteY969" fmla="*/ 246524 h 1071250"/>
                  <a:gd name="connsiteX970" fmla="*/ 435622 w 543808"/>
                  <a:gd name="connsiteY970" fmla="*/ 244554 h 1071250"/>
                  <a:gd name="connsiteX971" fmla="*/ 436683 w 543808"/>
                  <a:gd name="connsiteY971" fmla="*/ 243342 h 1071250"/>
                  <a:gd name="connsiteX972" fmla="*/ 437895 w 543808"/>
                  <a:gd name="connsiteY972" fmla="*/ 241979 h 1071250"/>
                  <a:gd name="connsiteX973" fmla="*/ 442289 w 543808"/>
                  <a:gd name="connsiteY973" fmla="*/ 238796 h 1071250"/>
                  <a:gd name="connsiteX974" fmla="*/ 444713 w 543808"/>
                  <a:gd name="connsiteY974" fmla="*/ 235918 h 1071250"/>
                  <a:gd name="connsiteX975" fmla="*/ 445168 w 543808"/>
                  <a:gd name="connsiteY975" fmla="*/ 233493 h 1071250"/>
                  <a:gd name="connsiteX976" fmla="*/ 447289 w 543808"/>
                  <a:gd name="connsiteY976" fmla="*/ 231220 h 1071250"/>
                  <a:gd name="connsiteX977" fmla="*/ 450926 w 543808"/>
                  <a:gd name="connsiteY977" fmla="*/ 229251 h 1071250"/>
                  <a:gd name="connsiteX978" fmla="*/ 455017 w 543808"/>
                  <a:gd name="connsiteY978" fmla="*/ 225614 h 1071250"/>
                  <a:gd name="connsiteX979" fmla="*/ 459563 w 543808"/>
                  <a:gd name="connsiteY979" fmla="*/ 220311 h 1071250"/>
                  <a:gd name="connsiteX980" fmla="*/ 462290 w 543808"/>
                  <a:gd name="connsiteY980" fmla="*/ 216372 h 1071250"/>
                  <a:gd name="connsiteX981" fmla="*/ 463199 w 543808"/>
                  <a:gd name="connsiteY981" fmla="*/ 213795 h 1071250"/>
                  <a:gd name="connsiteX982" fmla="*/ 465017 w 543808"/>
                  <a:gd name="connsiteY982" fmla="*/ 211826 h 1071250"/>
                  <a:gd name="connsiteX983" fmla="*/ 467593 w 543808"/>
                  <a:gd name="connsiteY983" fmla="*/ 210462 h 1071250"/>
                  <a:gd name="connsiteX984" fmla="*/ 469866 w 543808"/>
                  <a:gd name="connsiteY984" fmla="*/ 207583 h 1071250"/>
                  <a:gd name="connsiteX985" fmla="*/ 471836 w 543808"/>
                  <a:gd name="connsiteY985" fmla="*/ 203340 h 1071250"/>
                  <a:gd name="connsiteX986" fmla="*/ 474412 w 543808"/>
                  <a:gd name="connsiteY986" fmla="*/ 199856 h 1071250"/>
                  <a:gd name="connsiteX987" fmla="*/ 477745 w 543808"/>
                  <a:gd name="connsiteY987" fmla="*/ 197280 h 1071250"/>
                  <a:gd name="connsiteX988" fmla="*/ 479563 w 543808"/>
                  <a:gd name="connsiteY988" fmla="*/ 195159 h 1071250"/>
                  <a:gd name="connsiteX989" fmla="*/ 480018 w 543808"/>
                  <a:gd name="connsiteY989" fmla="*/ 193492 h 1071250"/>
                  <a:gd name="connsiteX990" fmla="*/ 480927 w 543808"/>
                  <a:gd name="connsiteY990" fmla="*/ 192431 h 1071250"/>
                  <a:gd name="connsiteX991" fmla="*/ 482442 w 543808"/>
                  <a:gd name="connsiteY991" fmla="*/ 191976 h 1071250"/>
                  <a:gd name="connsiteX992" fmla="*/ 483200 w 543808"/>
                  <a:gd name="connsiteY992" fmla="*/ 191067 h 1071250"/>
                  <a:gd name="connsiteX993" fmla="*/ 483200 w 543808"/>
                  <a:gd name="connsiteY993" fmla="*/ 189704 h 1071250"/>
                  <a:gd name="connsiteX994" fmla="*/ 483654 w 543808"/>
                  <a:gd name="connsiteY994" fmla="*/ 188795 h 1071250"/>
                  <a:gd name="connsiteX995" fmla="*/ 484563 w 543808"/>
                  <a:gd name="connsiteY995" fmla="*/ 188340 h 1071250"/>
                  <a:gd name="connsiteX996" fmla="*/ 486079 w 543808"/>
                  <a:gd name="connsiteY996" fmla="*/ 188492 h 1071250"/>
                  <a:gd name="connsiteX997" fmla="*/ 488048 w 543808"/>
                  <a:gd name="connsiteY997" fmla="*/ 189249 h 1071250"/>
                  <a:gd name="connsiteX998" fmla="*/ 489260 w 543808"/>
                  <a:gd name="connsiteY998" fmla="*/ 189098 h 1071250"/>
                  <a:gd name="connsiteX999" fmla="*/ 489715 w 543808"/>
                  <a:gd name="connsiteY999" fmla="*/ 188037 h 1071250"/>
                  <a:gd name="connsiteX1000" fmla="*/ 489109 w 543808"/>
                  <a:gd name="connsiteY1000" fmla="*/ 186825 h 1071250"/>
                  <a:gd name="connsiteX1001" fmla="*/ 487594 w 543808"/>
                  <a:gd name="connsiteY1001" fmla="*/ 185461 h 1071250"/>
                  <a:gd name="connsiteX1002" fmla="*/ 488200 w 543808"/>
                  <a:gd name="connsiteY1002" fmla="*/ 183946 h 1071250"/>
                  <a:gd name="connsiteX1003" fmla="*/ 492139 w 543808"/>
                  <a:gd name="connsiteY1003" fmla="*/ 181521 h 1071250"/>
                  <a:gd name="connsiteX1004" fmla="*/ 495018 w 543808"/>
                  <a:gd name="connsiteY1004" fmla="*/ 180612 h 1071250"/>
                  <a:gd name="connsiteX1005" fmla="*/ 496837 w 543808"/>
                  <a:gd name="connsiteY1005" fmla="*/ 179098 h 1071250"/>
                  <a:gd name="connsiteX1006" fmla="*/ 498503 w 543808"/>
                  <a:gd name="connsiteY1006" fmla="*/ 176673 h 1071250"/>
                  <a:gd name="connsiteX1007" fmla="*/ 501382 w 543808"/>
                  <a:gd name="connsiteY1007" fmla="*/ 175006 h 1071250"/>
                  <a:gd name="connsiteX1008" fmla="*/ 505322 w 543808"/>
                  <a:gd name="connsiteY1008" fmla="*/ 174097 h 1071250"/>
                  <a:gd name="connsiteX1009" fmla="*/ 506382 w 543808"/>
                  <a:gd name="connsiteY1009" fmla="*/ 173188 h 1071250"/>
                  <a:gd name="connsiteX1010" fmla="*/ 506231 w 543808"/>
                  <a:gd name="connsiteY1010" fmla="*/ 171976 h 1071250"/>
                  <a:gd name="connsiteX1011" fmla="*/ 506988 w 543808"/>
                  <a:gd name="connsiteY1011" fmla="*/ 171067 h 1071250"/>
                  <a:gd name="connsiteX1012" fmla="*/ 509261 w 543808"/>
                  <a:gd name="connsiteY1012" fmla="*/ 170461 h 1071250"/>
                  <a:gd name="connsiteX1013" fmla="*/ 510474 w 543808"/>
                  <a:gd name="connsiteY1013" fmla="*/ 169400 h 1071250"/>
                  <a:gd name="connsiteX1014" fmla="*/ 510625 w 543808"/>
                  <a:gd name="connsiteY1014" fmla="*/ 167733 h 1071250"/>
                  <a:gd name="connsiteX1015" fmla="*/ 511383 w 543808"/>
                  <a:gd name="connsiteY1015" fmla="*/ 166218 h 1071250"/>
                  <a:gd name="connsiteX1016" fmla="*/ 512595 w 543808"/>
                  <a:gd name="connsiteY1016" fmla="*/ 164854 h 1071250"/>
                  <a:gd name="connsiteX1017" fmla="*/ 513958 w 543808"/>
                  <a:gd name="connsiteY1017" fmla="*/ 164248 h 1071250"/>
                  <a:gd name="connsiteX1018" fmla="*/ 515474 w 543808"/>
                  <a:gd name="connsiteY1018" fmla="*/ 164551 h 1071250"/>
                  <a:gd name="connsiteX1019" fmla="*/ 516989 w 543808"/>
                  <a:gd name="connsiteY1019" fmla="*/ 163945 h 1071250"/>
                  <a:gd name="connsiteX1020" fmla="*/ 518352 w 543808"/>
                  <a:gd name="connsiteY1020" fmla="*/ 162430 h 1071250"/>
                  <a:gd name="connsiteX1021" fmla="*/ 520019 w 543808"/>
                  <a:gd name="connsiteY1021" fmla="*/ 161824 h 1071250"/>
                  <a:gd name="connsiteX1022" fmla="*/ 521989 w 543808"/>
                  <a:gd name="connsiteY1022" fmla="*/ 161975 h 1071250"/>
                  <a:gd name="connsiteX1023" fmla="*/ 523050 w 543808"/>
                  <a:gd name="connsiteY1023" fmla="*/ 161673 h 1071250"/>
                  <a:gd name="connsiteX1024" fmla="*/ 526383 w 543808"/>
                  <a:gd name="connsiteY1024" fmla="*/ 161066 h 1071250"/>
                  <a:gd name="connsiteX1025" fmla="*/ 528201 w 543808"/>
                  <a:gd name="connsiteY1025" fmla="*/ 159854 h 1071250"/>
                  <a:gd name="connsiteX1026" fmla="*/ 529717 w 543808"/>
                  <a:gd name="connsiteY1026" fmla="*/ 157127 h 1071250"/>
                  <a:gd name="connsiteX1027" fmla="*/ 531080 w 543808"/>
                  <a:gd name="connsiteY1027" fmla="*/ 156066 h 1071250"/>
                  <a:gd name="connsiteX1028" fmla="*/ 532292 w 543808"/>
                  <a:gd name="connsiteY1028" fmla="*/ 156672 h 1071250"/>
                  <a:gd name="connsiteX1029" fmla="*/ 534262 w 543808"/>
                  <a:gd name="connsiteY1029" fmla="*/ 155763 h 1071250"/>
                  <a:gd name="connsiteX1030" fmla="*/ 537141 w 543808"/>
                  <a:gd name="connsiteY1030" fmla="*/ 153339 h 1071250"/>
                  <a:gd name="connsiteX1031" fmla="*/ 537747 w 543808"/>
                  <a:gd name="connsiteY1031" fmla="*/ 153339 h 1071250"/>
                  <a:gd name="connsiteX1032" fmla="*/ 539868 w 543808"/>
                  <a:gd name="connsiteY1032" fmla="*/ 152278 h 1071250"/>
                  <a:gd name="connsiteX1033" fmla="*/ 541990 w 543808"/>
                  <a:gd name="connsiteY1033" fmla="*/ 148036 h 1071250"/>
                  <a:gd name="connsiteX1034" fmla="*/ 543050 w 543808"/>
                  <a:gd name="connsiteY1034" fmla="*/ 145308 h 1071250"/>
                  <a:gd name="connsiteX1035" fmla="*/ 542747 w 543808"/>
                  <a:gd name="connsiteY1035" fmla="*/ 143035 h 1071250"/>
                  <a:gd name="connsiteX1036" fmla="*/ 541990 w 543808"/>
                  <a:gd name="connsiteY1036" fmla="*/ 141369 h 1071250"/>
                  <a:gd name="connsiteX1037" fmla="*/ 542293 w 543808"/>
                  <a:gd name="connsiteY1037" fmla="*/ 138944 h 1071250"/>
                  <a:gd name="connsiteX1038" fmla="*/ 542444 w 543808"/>
                  <a:gd name="connsiteY1038" fmla="*/ 133944 h 107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Lst>
                <a:rect l="l" t="t" r="r" b="b"/>
                <a:pathLst>
                  <a:path w="543808" h="1071250">
                    <a:moveTo>
                      <a:pt x="223645" y="1056251"/>
                    </a:moveTo>
                    <a:lnTo>
                      <a:pt x="213341" y="1057008"/>
                    </a:lnTo>
                    <a:lnTo>
                      <a:pt x="206674" y="1054887"/>
                    </a:lnTo>
                    <a:lnTo>
                      <a:pt x="200007" y="1052463"/>
                    </a:lnTo>
                    <a:lnTo>
                      <a:pt x="193795" y="1048977"/>
                    </a:lnTo>
                    <a:lnTo>
                      <a:pt x="188037" y="1044129"/>
                    </a:lnTo>
                    <a:lnTo>
                      <a:pt x="182734" y="1040644"/>
                    </a:lnTo>
                    <a:lnTo>
                      <a:pt x="177128" y="1037917"/>
                    </a:lnTo>
                    <a:lnTo>
                      <a:pt x="170915" y="1034280"/>
                    </a:lnTo>
                    <a:lnTo>
                      <a:pt x="165158" y="1029432"/>
                    </a:lnTo>
                    <a:lnTo>
                      <a:pt x="160309" y="1024431"/>
                    </a:lnTo>
                    <a:lnTo>
                      <a:pt x="155309" y="1019734"/>
                    </a:lnTo>
                    <a:lnTo>
                      <a:pt x="153188" y="1018067"/>
                    </a:lnTo>
                    <a:lnTo>
                      <a:pt x="151369" y="1016098"/>
                    </a:lnTo>
                    <a:lnTo>
                      <a:pt x="147733" y="1007006"/>
                    </a:lnTo>
                    <a:lnTo>
                      <a:pt x="147278" y="1006552"/>
                    </a:lnTo>
                    <a:lnTo>
                      <a:pt x="140914" y="1006097"/>
                    </a:lnTo>
                    <a:lnTo>
                      <a:pt x="138338" y="1004885"/>
                    </a:lnTo>
                    <a:lnTo>
                      <a:pt x="137429" y="1003370"/>
                    </a:lnTo>
                    <a:lnTo>
                      <a:pt x="137429" y="1001703"/>
                    </a:lnTo>
                    <a:lnTo>
                      <a:pt x="138490" y="999279"/>
                    </a:lnTo>
                    <a:lnTo>
                      <a:pt x="139854" y="997158"/>
                    </a:lnTo>
                    <a:lnTo>
                      <a:pt x="142581" y="995794"/>
                    </a:lnTo>
                    <a:lnTo>
                      <a:pt x="145157" y="998067"/>
                    </a:lnTo>
                    <a:lnTo>
                      <a:pt x="144096" y="994430"/>
                    </a:lnTo>
                    <a:lnTo>
                      <a:pt x="142429" y="991400"/>
                    </a:lnTo>
                    <a:lnTo>
                      <a:pt x="136066" y="983824"/>
                    </a:lnTo>
                    <a:lnTo>
                      <a:pt x="134399" y="982308"/>
                    </a:lnTo>
                    <a:lnTo>
                      <a:pt x="134399" y="993218"/>
                    </a:lnTo>
                    <a:lnTo>
                      <a:pt x="134399" y="1004127"/>
                    </a:lnTo>
                    <a:lnTo>
                      <a:pt x="134399" y="1014279"/>
                    </a:lnTo>
                    <a:lnTo>
                      <a:pt x="134399" y="1024431"/>
                    </a:lnTo>
                    <a:lnTo>
                      <a:pt x="134399" y="1034280"/>
                    </a:lnTo>
                    <a:lnTo>
                      <a:pt x="134399" y="1044432"/>
                    </a:lnTo>
                    <a:lnTo>
                      <a:pt x="134247" y="1055948"/>
                    </a:lnTo>
                    <a:lnTo>
                      <a:pt x="134096" y="1064433"/>
                    </a:lnTo>
                    <a:lnTo>
                      <a:pt x="135005" y="1063675"/>
                    </a:lnTo>
                    <a:lnTo>
                      <a:pt x="138490" y="1063827"/>
                    </a:lnTo>
                    <a:lnTo>
                      <a:pt x="142884" y="1063069"/>
                    </a:lnTo>
                    <a:lnTo>
                      <a:pt x="145914" y="1063069"/>
                    </a:lnTo>
                    <a:lnTo>
                      <a:pt x="151672" y="1064281"/>
                    </a:lnTo>
                    <a:lnTo>
                      <a:pt x="157582" y="1065039"/>
                    </a:lnTo>
                    <a:lnTo>
                      <a:pt x="175764" y="1066403"/>
                    </a:lnTo>
                    <a:lnTo>
                      <a:pt x="181219" y="1067160"/>
                    </a:lnTo>
                    <a:lnTo>
                      <a:pt x="189552" y="1070494"/>
                    </a:lnTo>
                    <a:lnTo>
                      <a:pt x="192734" y="1071251"/>
                    </a:lnTo>
                    <a:lnTo>
                      <a:pt x="195765" y="1070342"/>
                    </a:lnTo>
                    <a:lnTo>
                      <a:pt x="198795" y="1069130"/>
                    </a:lnTo>
                    <a:lnTo>
                      <a:pt x="201977" y="1068978"/>
                    </a:lnTo>
                    <a:lnTo>
                      <a:pt x="205008" y="1068221"/>
                    </a:lnTo>
                    <a:lnTo>
                      <a:pt x="207887" y="1066857"/>
                    </a:lnTo>
                    <a:lnTo>
                      <a:pt x="210917" y="1066554"/>
                    </a:lnTo>
                    <a:lnTo>
                      <a:pt x="214250" y="1067160"/>
                    </a:lnTo>
                    <a:lnTo>
                      <a:pt x="217584" y="1067160"/>
                    </a:lnTo>
                    <a:lnTo>
                      <a:pt x="221220" y="1066706"/>
                    </a:lnTo>
                    <a:lnTo>
                      <a:pt x="224705" y="1065342"/>
                    </a:lnTo>
                    <a:lnTo>
                      <a:pt x="227281" y="1062008"/>
                    </a:lnTo>
                    <a:lnTo>
                      <a:pt x="229251" y="1057766"/>
                    </a:lnTo>
                    <a:lnTo>
                      <a:pt x="227281" y="1056251"/>
                    </a:lnTo>
                    <a:lnTo>
                      <a:pt x="223645" y="1056251"/>
                    </a:lnTo>
                    <a:close/>
                    <a:moveTo>
                      <a:pt x="260161" y="1060493"/>
                    </a:moveTo>
                    <a:lnTo>
                      <a:pt x="259555" y="1060039"/>
                    </a:lnTo>
                    <a:lnTo>
                      <a:pt x="258191" y="1059736"/>
                    </a:lnTo>
                    <a:lnTo>
                      <a:pt x="255009" y="1059736"/>
                    </a:lnTo>
                    <a:lnTo>
                      <a:pt x="249100" y="1060341"/>
                    </a:lnTo>
                    <a:lnTo>
                      <a:pt x="246070" y="1059432"/>
                    </a:lnTo>
                    <a:lnTo>
                      <a:pt x="245161" y="1060796"/>
                    </a:lnTo>
                    <a:lnTo>
                      <a:pt x="243948" y="1061554"/>
                    </a:lnTo>
                    <a:lnTo>
                      <a:pt x="242130" y="1061554"/>
                    </a:lnTo>
                    <a:lnTo>
                      <a:pt x="240312" y="1063524"/>
                    </a:lnTo>
                    <a:lnTo>
                      <a:pt x="241070" y="1064887"/>
                    </a:lnTo>
                    <a:lnTo>
                      <a:pt x="243645" y="1066403"/>
                    </a:lnTo>
                    <a:lnTo>
                      <a:pt x="247130" y="1063978"/>
                    </a:lnTo>
                    <a:lnTo>
                      <a:pt x="248646" y="1063978"/>
                    </a:lnTo>
                    <a:lnTo>
                      <a:pt x="252282" y="1062311"/>
                    </a:lnTo>
                    <a:lnTo>
                      <a:pt x="260313" y="1062160"/>
                    </a:lnTo>
                    <a:lnTo>
                      <a:pt x="261828" y="1062918"/>
                    </a:lnTo>
                    <a:lnTo>
                      <a:pt x="265616" y="1061251"/>
                    </a:lnTo>
                    <a:lnTo>
                      <a:pt x="266070" y="1059584"/>
                    </a:lnTo>
                    <a:lnTo>
                      <a:pt x="264252" y="1059432"/>
                    </a:lnTo>
                    <a:lnTo>
                      <a:pt x="260161" y="1060493"/>
                    </a:lnTo>
                    <a:close/>
                    <a:moveTo>
                      <a:pt x="318345" y="520322"/>
                    </a:moveTo>
                    <a:lnTo>
                      <a:pt x="316678" y="519565"/>
                    </a:lnTo>
                    <a:lnTo>
                      <a:pt x="313193" y="518807"/>
                    </a:lnTo>
                    <a:lnTo>
                      <a:pt x="313497" y="519565"/>
                    </a:lnTo>
                    <a:lnTo>
                      <a:pt x="314708" y="521383"/>
                    </a:lnTo>
                    <a:lnTo>
                      <a:pt x="318042" y="523353"/>
                    </a:lnTo>
                    <a:lnTo>
                      <a:pt x="319406" y="523655"/>
                    </a:lnTo>
                    <a:lnTo>
                      <a:pt x="319103" y="521686"/>
                    </a:lnTo>
                    <a:lnTo>
                      <a:pt x="318345" y="520322"/>
                    </a:lnTo>
                    <a:close/>
                    <a:moveTo>
                      <a:pt x="542444" y="133944"/>
                    </a:moveTo>
                    <a:lnTo>
                      <a:pt x="542596" y="131217"/>
                    </a:lnTo>
                    <a:lnTo>
                      <a:pt x="543808" y="129399"/>
                    </a:lnTo>
                    <a:lnTo>
                      <a:pt x="543808" y="127580"/>
                    </a:lnTo>
                    <a:lnTo>
                      <a:pt x="541687" y="123489"/>
                    </a:lnTo>
                    <a:lnTo>
                      <a:pt x="539565" y="119853"/>
                    </a:lnTo>
                    <a:lnTo>
                      <a:pt x="538505" y="113792"/>
                    </a:lnTo>
                    <a:lnTo>
                      <a:pt x="537747" y="111519"/>
                    </a:lnTo>
                    <a:lnTo>
                      <a:pt x="536080" y="110913"/>
                    </a:lnTo>
                    <a:lnTo>
                      <a:pt x="534565" y="108943"/>
                    </a:lnTo>
                    <a:lnTo>
                      <a:pt x="532595" y="108792"/>
                    </a:lnTo>
                    <a:lnTo>
                      <a:pt x="531686" y="108034"/>
                    </a:lnTo>
                    <a:lnTo>
                      <a:pt x="530777" y="107428"/>
                    </a:lnTo>
                    <a:lnTo>
                      <a:pt x="529414" y="107580"/>
                    </a:lnTo>
                    <a:lnTo>
                      <a:pt x="528201" y="108792"/>
                    </a:lnTo>
                    <a:lnTo>
                      <a:pt x="525928" y="108792"/>
                    </a:lnTo>
                    <a:lnTo>
                      <a:pt x="524565" y="109246"/>
                    </a:lnTo>
                    <a:lnTo>
                      <a:pt x="522898" y="110307"/>
                    </a:lnTo>
                    <a:lnTo>
                      <a:pt x="521383" y="109852"/>
                    </a:lnTo>
                    <a:lnTo>
                      <a:pt x="520322" y="108943"/>
                    </a:lnTo>
                    <a:lnTo>
                      <a:pt x="518201" y="108943"/>
                    </a:lnTo>
                    <a:lnTo>
                      <a:pt x="517746" y="121368"/>
                    </a:lnTo>
                    <a:lnTo>
                      <a:pt x="516534" y="130156"/>
                    </a:lnTo>
                    <a:lnTo>
                      <a:pt x="514413" y="136671"/>
                    </a:lnTo>
                    <a:lnTo>
                      <a:pt x="512443" y="140157"/>
                    </a:lnTo>
                    <a:lnTo>
                      <a:pt x="510776" y="140611"/>
                    </a:lnTo>
                    <a:lnTo>
                      <a:pt x="509564" y="141672"/>
                    </a:lnTo>
                    <a:lnTo>
                      <a:pt x="508807" y="143338"/>
                    </a:lnTo>
                    <a:lnTo>
                      <a:pt x="507443" y="144702"/>
                    </a:lnTo>
                    <a:lnTo>
                      <a:pt x="505322" y="145763"/>
                    </a:lnTo>
                    <a:lnTo>
                      <a:pt x="504261" y="146975"/>
                    </a:lnTo>
                    <a:lnTo>
                      <a:pt x="504109" y="148339"/>
                    </a:lnTo>
                    <a:lnTo>
                      <a:pt x="502140" y="149248"/>
                    </a:lnTo>
                    <a:lnTo>
                      <a:pt x="498352" y="149702"/>
                    </a:lnTo>
                    <a:lnTo>
                      <a:pt x="496079" y="150763"/>
                    </a:lnTo>
                    <a:lnTo>
                      <a:pt x="495473" y="152430"/>
                    </a:lnTo>
                    <a:lnTo>
                      <a:pt x="494261" y="153793"/>
                    </a:lnTo>
                    <a:lnTo>
                      <a:pt x="492443" y="154854"/>
                    </a:lnTo>
                    <a:lnTo>
                      <a:pt x="491533" y="156521"/>
                    </a:lnTo>
                    <a:lnTo>
                      <a:pt x="491685" y="158945"/>
                    </a:lnTo>
                    <a:lnTo>
                      <a:pt x="490624" y="160915"/>
                    </a:lnTo>
                    <a:lnTo>
                      <a:pt x="488351" y="162582"/>
                    </a:lnTo>
                    <a:lnTo>
                      <a:pt x="486230" y="162582"/>
                    </a:lnTo>
                    <a:lnTo>
                      <a:pt x="484412" y="160915"/>
                    </a:lnTo>
                    <a:lnTo>
                      <a:pt x="481836" y="159854"/>
                    </a:lnTo>
                    <a:lnTo>
                      <a:pt x="478654" y="159400"/>
                    </a:lnTo>
                    <a:lnTo>
                      <a:pt x="476078" y="159854"/>
                    </a:lnTo>
                    <a:lnTo>
                      <a:pt x="473957" y="161218"/>
                    </a:lnTo>
                    <a:lnTo>
                      <a:pt x="472139" y="163339"/>
                    </a:lnTo>
                    <a:lnTo>
                      <a:pt x="470472" y="166218"/>
                    </a:lnTo>
                    <a:lnTo>
                      <a:pt x="468654" y="166673"/>
                    </a:lnTo>
                    <a:lnTo>
                      <a:pt x="466684" y="164703"/>
                    </a:lnTo>
                    <a:lnTo>
                      <a:pt x="464108" y="164097"/>
                    </a:lnTo>
                    <a:lnTo>
                      <a:pt x="461078" y="164854"/>
                    </a:lnTo>
                    <a:lnTo>
                      <a:pt x="458653" y="164551"/>
                    </a:lnTo>
                    <a:lnTo>
                      <a:pt x="456835" y="163188"/>
                    </a:lnTo>
                    <a:lnTo>
                      <a:pt x="454108" y="163036"/>
                    </a:lnTo>
                    <a:lnTo>
                      <a:pt x="450320" y="164097"/>
                    </a:lnTo>
                    <a:lnTo>
                      <a:pt x="442744" y="162885"/>
                    </a:lnTo>
                    <a:lnTo>
                      <a:pt x="431228" y="159551"/>
                    </a:lnTo>
                    <a:lnTo>
                      <a:pt x="421531" y="158339"/>
                    </a:lnTo>
                    <a:lnTo>
                      <a:pt x="409561" y="159551"/>
                    </a:lnTo>
                    <a:lnTo>
                      <a:pt x="408500" y="156066"/>
                    </a:lnTo>
                    <a:lnTo>
                      <a:pt x="409106" y="154248"/>
                    </a:lnTo>
                    <a:lnTo>
                      <a:pt x="411076" y="152884"/>
                    </a:lnTo>
                    <a:lnTo>
                      <a:pt x="412288" y="151218"/>
                    </a:lnTo>
                    <a:lnTo>
                      <a:pt x="412742" y="149399"/>
                    </a:lnTo>
                    <a:lnTo>
                      <a:pt x="414106" y="148036"/>
                    </a:lnTo>
                    <a:lnTo>
                      <a:pt x="416228" y="147126"/>
                    </a:lnTo>
                    <a:lnTo>
                      <a:pt x="417137" y="146217"/>
                    </a:lnTo>
                    <a:lnTo>
                      <a:pt x="416834" y="145308"/>
                    </a:lnTo>
                    <a:lnTo>
                      <a:pt x="417288" y="144399"/>
                    </a:lnTo>
                    <a:lnTo>
                      <a:pt x="418500" y="143642"/>
                    </a:lnTo>
                    <a:lnTo>
                      <a:pt x="419258" y="142429"/>
                    </a:lnTo>
                    <a:lnTo>
                      <a:pt x="419409" y="140914"/>
                    </a:lnTo>
                    <a:lnTo>
                      <a:pt x="419864" y="140157"/>
                    </a:lnTo>
                    <a:lnTo>
                      <a:pt x="420773" y="139550"/>
                    </a:lnTo>
                    <a:lnTo>
                      <a:pt x="420925" y="138490"/>
                    </a:lnTo>
                    <a:lnTo>
                      <a:pt x="420470" y="135156"/>
                    </a:lnTo>
                    <a:lnTo>
                      <a:pt x="420470" y="132429"/>
                    </a:lnTo>
                    <a:lnTo>
                      <a:pt x="421076" y="130308"/>
                    </a:lnTo>
                    <a:lnTo>
                      <a:pt x="421834" y="128944"/>
                    </a:lnTo>
                    <a:lnTo>
                      <a:pt x="422288" y="128641"/>
                    </a:lnTo>
                    <a:lnTo>
                      <a:pt x="422743" y="127883"/>
                    </a:lnTo>
                    <a:lnTo>
                      <a:pt x="422895" y="126520"/>
                    </a:lnTo>
                    <a:lnTo>
                      <a:pt x="423652" y="125307"/>
                    </a:lnTo>
                    <a:lnTo>
                      <a:pt x="427440" y="122883"/>
                    </a:lnTo>
                    <a:lnTo>
                      <a:pt x="428804" y="121519"/>
                    </a:lnTo>
                    <a:lnTo>
                      <a:pt x="428955" y="120307"/>
                    </a:lnTo>
                    <a:lnTo>
                      <a:pt x="429561" y="118640"/>
                    </a:lnTo>
                    <a:lnTo>
                      <a:pt x="431834" y="115004"/>
                    </a:lnTo>
                    <a:lnTo>
                      <a:pt x="432592" y="113337"/>
                    </a:lnTo>
                    <a:lnTo>
                      <a:pt x="432592" y="112428"/>
                    </a:lnTo>
                    <a:lnTo>
                      <a:pt x="433349" y="111519"/>
                    </a:lnTo>
                    <a:lnTo>
                      <a:pt x="436077" y="109549"/>
                    </a:lnTo>
                    <a:lnTo>
                      <a:pt x="437592" y="107731"/>
                    </a:lnTo>
                    <a:lnTo>
                      <a:pt x="437895" y="105913"/>
                    </a:lnTo>
                    <a:lnTo>
                      <a:pt x="437289" y="103943"/>
                    </a:lnTo>
                    <a:lnTo>
                      <a:pt x="435774" y="101670"/>
                    </a:lnTo>
                    <a:lnTo>
                      <a:pt x="430925" y="96064"/>
                    </a:lnTo>
                    <a:lnTo>
                      <a:pt x="427137" y="93488"/>
                    </a:lnTo>
                    <a:lnTo>
                      <a:pt x="422288" y="91367"/>
                    </a:lnTo>
                    <a:lnTo>
                      <a:pt x="419107" y="90761"/>
                    </a:lnTo>
                    <a:lnTo>
                      <a:pt x="417591" y="91518"/>
                    </a:lnTo>
                    <a:lnTo>
                      <a:pt x="416076" y="90912"/>
                    </a:lnTo>
                    <a:lnTo>
                      <a:pt x="414561" y="89094"/>
                    </a:lnTo>
                    <a:lnTo>
                      <a:pt x="411985" y="87579"/>
                    </a:lnTo>
                    <a:lnTo>
                      <a:pt x="406379" y="85912"/>
                    </a:lnTo>
                    <a:lnTo>
                      <a:pt x="393651" y="79397"/>
                    </a:lnTo>
                    <a:lnTo>
                      <a:pt x="388499" y="76215"/>
                    </a:lnTo>
                    <a:lnTo>
                      <a:pt x="386833" y="74245"/>
                    </a:lnTo>
                    <a:lnTo>
                      <a:pt x="382135" y="70760"/>
                    </a:lnTo>
                    <a:lnTo>
                      <a:pt x="374408" y="65760"/>
                    </a:lnTo>
                    <a:lnTo>
                      <a:pt x="368498" y="63336"/>
                    </a:lnTo>
                    <a:lnTo>
                      <a:pt x="364408" y="63487"/>
                    </a:lnTo>
                    <a:lnTo>
                      <a:pt x="357741" y="61972"/>
                    </a:lnTo>
                    <a:lnTo>
                      <a:pt x="348649" y="58942"/>
                    </a:lnTo>
                    <a:lnTo>
                      <a:pt x="343346" y="56063"/>
                    </a:lnTo>
                    <a:lnTo>
                      <a:pt x="341982" y="53184"/>
                    </a:lnTo>
                    <a:lnTo>
                      <a:pt x="338649" y="50305"/>
                    </a:lnTo>
                    <a:lnTo>
                      <a:pt x="333346" y="47426"/>
                    </a:lnTo>
                    <a:lnTo>
                      <a:pt x="330618" y="45608"/>
                    </a:lnTo>
                    <a:lnTo>
                      <a:pt x="330467" y="44699"/>
                    </a:lnTo>
                    <a:lnTo>
                      <a:pt x="328951" y="43486"/>
                    </a:lnTo>
                    <a:lnTo>
                      <a:pt x="325921" y="41971"/>
                    </a:lnTo>
                    <a:lnTo>
                      <a:pt x="322739" y="39547"/>
                    </a:lnTo>
                    <a:lnTo>
                      <a:pt x="319254" y="36062"/>
                    </a:lnTo>
                    <a:lnTo>
                      <a:pt x="315466" y="30607"/>
                    </a:lnTo>
                    <a:lnTo>
                      <a:pt x="311375" y="23183"/>
                    </a:lnTo>
                    <a:lnTo>
                      <a:pt x="306981" y="18182"/>
                    </a:lnTo>
                    <a:lnTo>
                      <a:pt x="302284" y="15607"/>
                    </a:lnTo>
                    <a:lnTo>
                      <a:pt x="300011" y="13940"/>
                    </a:lnTo>
                    <a:lnTo>
                      <a:pt x="300011" y="13182"/>
                    </a:lnTo>
                    <a:lnTo>
                      <a:pt x="299254" y="12425"/>
                    </a:lnTo>
                    <a:lnTo>
                      <a:pt x="298799" y="11970"/>
                    </a:lnTo>
                    <a:lnTo>
                      <a:pt x="296678" y="10303"/>
                    </a:lnTo>
                    <a:lnTo>
                      <a:pt x="294708" y="7121"/>
                    </a:lnTo>
                    <a:lnTo>
                      <a:pt x="294253" y="5606"/>
                    </a:lnTo>
                    <a:lnTo>
                      <a:pt x="293950" y="5606"/>
                    </a:lnTo>
                    <a:lnTo>
                      <a:pt x="282283" y="5758"/>
                    </a:lnTo>
                    <a:lnTo>
                      <a:pt x="271071" y="5909"/>
                    </a:lnTo>
                    <a:lnTo>
                      <a:pt x="269858" y="6515"/>
                    </a:lnTo>
                    <a:lnTo>
                      <a:pt x="268192" y="6515"/>
                    </a:lnTo>
                    <a:lnTo>
                      <a:pt x="266980" y="5909"/>
                    </a:lnTo>
                    <a:lnTo>
                      <a:pt x="265767" y="5909"/>
                    </a:lnTo>
                    <a:lnTo>
                      <a:pt x="264101" y="6515"/>
                    </a:lnTo>
                    <a:lnTo>
                      <a:pt x="262586" y="7727"/>
                    </a:lnTo>
                    <a:lnTo>
                      <a:pt x="258343" y="16061"/>
                    </a:lnTo>
                    <a:lnTo>
                      <a:pt x="256222" y="19698"/>
                    </a:lnTo>
                    <a:lnTo>
                      <a:pt x="254706" y="22880"/>
                    </a:lnTo>
                    <a:lnTo>
                      <a:pt x="253494" y="28334"/>
                    </a:lnTo>
                    <a:lnTo>
                      <a:pt x="253040" y="29243"/>
                    </a:lnTo>
                    <a:lnTo>
                      <a:pt x="251676" y="27274"/>
                    </a:lnTo>
                    <a:lnTo>
                      <a:pt x="249706" y="22274"/>
                    </a:lnTo>
                    <a:lnTo>
                      <a:pt x="248797" y="19395"/>
                    </a:lnTo>
                    <a:lnTo>
                      <a:pt x="247585" y="16213"/>
                    </a:lnTo>
                    <a:lnTo>
                      <a:pt x="245312" y="12121"/>
                    </a:lnTo>
                    <a:lnTo>
                      <a:pt x="242736" y="10910"/>
                    </a:lnTo>
                    <a:lnTo>
                      <a:pt x="241070" y="10455"/>
                    </a:lnTo>
                    <a:lnTo>
                      <a:pt x="238797" y="9697"/>
                    </a:lnTo>
                    <a:lnTo>
                      <a:pt x="234706" y="8788"/>
                    </a:lnTo>
                    <a:lnTo>
                      <a:pt x="232887" y="8637"/>
                    </a:lnTo>
                    <a:lnTo>
                      <a:pt x="221220" y="8485"/>
                    </a:lnTo>
                    <a:lnTo>
                      <a:pt x="220311" y="8333"/>
                    </a:lnTo>
                    <a:lnTo>
                      <a:pt x="215765" y="8788"/>
                    </a:lnTo>
                    <a:lnTo>
                      <a:pt x="213493" y="8485"/>
                    </a:lnTo>
                    <a:lnTo>
                      <a:pt x="211068" y="6212"/>
                    </a:lnTo>
                    <a:lnTo>
                      <a:pt x="205614" y="2273"/>
                    </a:lnTo>
                    <a:lnTo>
                      <a:pt x="204553" y="1061"/>
                    </a:lnTo>
                    <a:lnTo>
                      <a:pt x="202432" y="151"/>
                    </a:lnTo>
                    <a:lnTo>
                      <a:pt x="201220" y="0"/>
                    </a:lnTo>
                    <a:lnTo>
                      <a:pt x="200462" y="757"/>
                    </a:lnTo>
                    <a:lnTo>
                      <a:pt x="199553" y="4091"/>
                    </a:lnTo>
                    <a:lnTo>
                      <a:pt x="198492" y="7121"/>
                    </a:lnTo>
                    <a:lnTo>
                      <a:pt x="197280" y="8788"/>
                    </a:lnTo>
                    <a:lnTo>
                      <a:pt x="193340" y="10000"/>
                    </a:lnTo>
                    <a:lnTo>
                      <a:pt x="189704" y="11364"/>
                    </a:lnTo>
                    <a:lnTo>
                      <a:pt x="187734" y="11667"/>
                    </a:lnTo>
                    <a:lnTo>
                      <a:pt x="186673" y="13182"/>
                    </a:lnTo>
                    <a:lnTo>
                      <a:pt x="186219" y="15304"/>
                    </a:lnTo>
                    <a:lnTo>
                      <a:pt x="185310" y="17273"/>
                    </a:lnTo>
                    <a:lnTo>
                      <a:pt x="180158" y="20152"/>
                    </a:lnTo>
                    <a:lnTo>
                      <a:pt x="178946" y="21364"/>
                    </a:lnTo>
                    <a:lnTo>
                      <a:pt x="178340" y="24243"/>
                    </a:lnTo>
                    <a:lnTo>
                      <a:pt x="175461" y="27728"/>
                    </a:lnTo>
                    <a:lnTo>
                      <a:pt x="174552" y="29092"/>
                    </a:lnTo>
                    <a:lnTo>
                      <a:pt x="179704" y="34244"/>
                    </a:lnTo>
                    <a:lnTo>
                      <a:pt x="177431" y="41214"/>
                    </a:lnTo>
                    <a:lnTo>
                      <a:pt x="173946" y="52426"/>
                    </a:lnTo>
                    <a:lnTo>
                      <a:pt x="171219" y="61063"/>
                    </a:lnTo>
                    <a:lnTo>
                      <a:pt x="170764" y="62275"/>
                    </a:lnTo>
                    <a:lnTo>
                      <a:pt x="170158" y="63942"/>
                    </a:lnTo>
                    <a:lnTo>
                      <a:pt x="164248" y="66366"/>
                    </a:lnTo>
                    <a:lnTo>
                      <a:pt x="155612" y="70002"/>
                    </a:lnTo>
                    <a:lnTo>
                      <a:pt x="151218" y="71821"/>
                    </a:lnTo>
                    <a:lnTo>
                      <a:pt x="145611" y="74245"/>
                    </a:lnTo>
                    <a:lnTo>
                      <a:pt x="144248" y="76215"/>
                    </a:lnTo>
                    <a:lnTo>
                      <a:pt x="142581" y="77275"/>
                    </a:lnTo>
                    <a:lnTo>
                      <a:pt x="140763" y="78639"/>
                    </a:lnTo>
                    <a:lnTo>
                      <a:pt x="140157" y="80154"/>
                    </a:lnTo>
                    <a:lnTo>
                      <a:pt x="138490" y="81063"/>
                    </a:lnTo>
                    <a:lnTo>
                      <a:pt x="136975" y="84397"/>
                    </a:lnTo>
                    <a:lnTo>
                      <a:pt x="136975" y="86973"/>
                    </a:lnTo>
                    <a:lnTo>
                      <a:pt x="137884" y="88791"/>
                    </a:lnTo>
                    <a:lnTo>
                      <a:pt x="139551" y="89549"/>
                    </a:lnTo>
                    <a:lnTo>
                      <a:pt x="140005" y="91670"/>
                    </a:lnTo>
                    <a:lnTo>
                      <a:pt x="140460" y="93185"/>
                    </a:lnTo>
                    <a:lnTo>
                      <a:pt x="141672" y="94397"/>
                    </a:lnTo>
                    <a:lnTo>
                      <a:pt x="141369" y="95306"/>
                    </a:lnTo>
                    <a:lnTo>
                      <a:pt x="140460" y="96064"/>
                    </a:lnTo>
                    <a:lnTo>
                      <a:pt x="138641" y="96519"/>
                    </a:lnTo>
                    <a:lnTo>
                      <a:pt x="137429" y="98640"/>
                    </a:lnTo>
                    <a:lnTo>
                      <a:pt x="136066" y="103943"/>
                    </a:lnTo>
                    <a:lnTo>
                      <a:pt x="135914" y="105913"/>
                    </a:lnTo>
                    <a:lnTo>
                      <a:pt x="137581" y="110762"/>
                    </a:lnTo>
                    <a:lnTo>
                      <a:pt x="138490" y="113337"/>
                    </a:lnTo>
                    <a:lnTo>
                      <a:pt x="140763" y="122732"/>
                    </a:lnTo>
                    <a:lnTo>
                      <a:pt x="141066" y="125307"/>
                    </a:lnTo>
                    <a:lnTo>
                      <a:pt x="137884" y="128944"/>
                    </a:lnTo>
                    <a:lnTo>
                      <a:pt x="136672" y="131065"/>
                    </a:lnTo>
                    <a:lnTo>
                      <a:pt x="136217" y="133035"/>
                    </a:lnTo>
                    <a:lnTo>
                      <a:pt x="136217" y="134550"/>
                    </a:lnTo>
                    <a:lnTo>
                      <a:pt x="136520" y="135914"/>
                    </a:lnTo>
                    <a:lnTo>
                      <a:pt x="139096" y="140308"/>
                    </a:lnTo>
                    <a:lnTo>
                      <a:pt x="142126" y="144248"/>
                    </a:lnTo>
                    <a:lnTo>
                      <a:pt x="143642" y="146369"/>
                    </a:lnTo>
                    <a:lnTo>
                      <a:pt x="143642" y="149096"/>
                    </a:lnTo>
                    <a:lnTo>
                      <a:pt x="142884" y="150763"/>
                    </a:lnTo>
                    <a:lnTo>
                      <a:pt x="141217" y="151369"/>
                    </a:lnTo>
                    <a:lnTo>
                      <a:pt x="137581" y="152430"/>
                    </a:lnTo>
                    <a:lnTo>
                      <a:pt x="136066" y="154097"/>
                    </a:lnTo>
                    <a:lnTo>
                      <a:pt x="134399" y="154399"/>
                    </a:lnTo>
                    <a:lnTo>
                      <a:pt x="132884" y="153187"/>
                    </a:lnTo>
                    <a:lnTo>
                      <a:pt x="131217" y="153490"/>
                    </a:lnTo>
                    <a:lnTo>
                      <a:pt x="129096" y="154551"/>
                    </a:lnTo>
                    <a:lnTo>
                      <a:pt x="128338" y="157278"/>
                    </a:lnTo>
                    <a:lnTo>
                      <a:pt x="126520" y="161975"/>
                    </a:lnTo>
                    <a:lnTo>
                      <a:pt x="125005" y="163188"/>
                    </a:lnTo>
                    <a:lnTo>
                      <a:pt x="123792" y="166673"/>
                    </a:lnTo>
                    <a:lnTo>
                      <a:pt x="121671" y="171824"/>
                    </a:lnTo>
                    <a:lnTo>
                      <a:pt x="120610" y="174855"/>
                    </a:lnTo>
                    <a:lnTo>
                      <a:pt x="120156" y="177128"/>
                    </a:lnTo>
                    <a:lnTo>
                      <a:pt x="118035" y="178643"/>
                    </a:lnTo>
                    <a:lnTo>
                      <a:pt x="115610" y="181521"/>
                    </a:lnTo>
                    <a:lnTo>
                      <a:pt x="113792" y="184249"/>
                    </a:lnTo>
                    <a:lnTo>
                      <a:pt x="113034" y="185007"/>
                    </a:lnTo>
                    <a:lnTo>
                      <a:pt x="111671" y="185309"/>
                    </a:lnTo>
                    <a:lnTo>
                      <a:pt x="110610" y="187886"/>
                    </a:lnTo>
                    <a:lnTo>
                      <a:pt x="107125" y="191674"/>
                    </a:lnTo>
                    <a:lnTo>
                      <a:pt x="106216" y="196068"/>
                    </a:lnTo>
                    <a:lnTo>
                      <a:pt x="105004" y="198341"/>
                    </a:lnTo>
                    <a:lnTo>
                      <a:pt x="104852" y="202583"/>
                    </a:lnTo>
                    <a:lnTo>
                      <a:pt x="102883" y="210311"/>
                    </a:lnTo>
                    <a:lnTo>
                      <a:pt x="102579" y="211977"/>
                    </a:lnTo>
                    <a:lnTo>
                      <a:pt x="100610" y="213341"/>
                    </a:lnTo>
                    <a:lnTo>
                      <a:pt x="98034" y="216372"/>
                    </a:lnTo>
                    <a:lnTo>
                      <a:pt x="97125" y="218644"/>
                    </a:lnTo>
                    <a:lnTo>
                      <a:pt x="98337" y="225160"/>
                    </a:lnTo>
                    <a:lnTo>
                      <a:pt x="99852" y="231826"/>
                    </a:lnTo>
                    <a:lnTo>
                      <a:pt x="100004" y="235008"/>
                    </a:lnTo>
                    <a:lnTo>
                      <a:pt x="99398" y="239251"/>
                    </a:lnTo>
                    <a:lnTo>
                      <a:pt x="98943" y="241069"/>
                    </a:lnTo>
                    <a:lnTo>
                      <a:pt x="100004" y="241827"/>
                    </a:lnTo>
                    <a:lnTo>
                      <a:pt x="101670" y="242281"/>
                    </a:lnTo>
                    <a:lnTo>
                      <a:pt x="102125" y="243948"/>
                    </a:lnTo>
                    <a:lnTo>
                      <a:pt x="100913" y="245160"/>
                    </a:lnTo>
                    <a:lnTo>
                      <a:pt x="100458" y="247130"/>
                    </a:lnTo>
                    <a:lnTo>
                      <a:pt x="99094" y="249403"/>
                    </a:lnTo>
                    <a:lnTo>
                      <a:pt x="95155" y="250312"/>
                    </a:lnTo>
                    <a:lnTo>
                      <a:pt x="93791" y="249555"/>
                    </a:lnTo>
                    <a:lnTo>
                      <a:pt x="93337" y="250312"/>
                    </a:lnTo>
                    <a:lnTo>
                      <a:pt x="93488" y="251979"/>
                    </a:lnTo>
                    <a:lnTo>
                      <a:pt x="92579" y="253948"/>
                    </a:lnTo>
                    <a:lnTo>
                      <a:pt x="90458" y="259100"/>
                    </a:lnTo>
                    <a:lnTo>
                      <a:pt x="89094" y="263798"/>
                    </a:lnTo>
                    <a:lnTo>
                      <a:pt x="88337" y="265919"/>
                    </a:lnTo>
                    <a:lnTo>
                      <a:pt x="88640" y="267586"/>
                    </a:lnTo>
                    <a:lnTo>
                      <a:pt x="89246" y="268646"/>
                    </a:lnTo>
                    <a:lnTo>
                      <a:pt x="89246" y="269555"/>
                    </a:lnTo>
                    <a:lnTo>
                      <a:pt x="88185" y="270616"/>
                    </a:lnTo>
                    <a:lnTo>
                      <a:pt x="87124" y="272434"/>
                    </a:lnTo>
                    <a:lnTo>
                      <a:pt x="86064" y="272737"/>
                    </a:lnTo>
                    <a:lnTo>
                      <a:pt x="84851" y="272283"/>
                    </a:lnTo>
                    <a:lnTo>
                      <a:pt x="83639" y="273343"/>
                    </a:lnTo>
                    <a:lnTo>
                      <a:pt x="83336" y="275616"/>
                    </a:lnTo>
                    <a:lnTo>
                      <a:pt x="82579" y="278495"/>
                    </a:lnTo>
                    <a:lnTo>
                      <a:pt x="82276" y="281829"/>
                    </a:lnTo>
                    <a:lnTo>
                      <a:pt x="81821" y="286071"/>
                    </a:lnTo>
                    <a:lnTo>
                      <a:pt x="83488" y="288950"/>
                    </a:lnTo>
                    <a:lnTo>
                      <a:pt x="85609" y="294253"/>
                    </a:lnTo>
                    <a:lnTo>
                      <a:pt x="87124" y="295465"/>
                    </a:lnTo>
                    <a:lnTo>
                      <a:pt x="88791" y="295314"/>
                    </a:lnTo>
                    <a:lnTo>
                      <a:pt x="90155" y="296374"/>
                    </a:lnTo>
                    <a:lnTo>
                      <a:pt x="90912" y="297586"/>
                    </a:lnTo>
                    <a:lnTo>
                      <a:pt x="89852" y="299860"/>
                    </a:lnTo>
                    <a:lnTo>
                      <a:pt x="88034" y="300162"/>
                    </a:lnTo>
                    <a:lnTo>
                      <a:pt x="87882" y="301374"/>
                    </a:lnTo>
                    <a:lnTo>
                      <a:pt x="88337" y="304253"/>
                    </a:lnTo>
                    <a:lnTo>
                      <a:pt x="88943" y="306981"/>
                    </a:lnTo>
                    <a:lnTo>
                      <a:pt x="90609" y="308345"/>
                    </a:lnTo>
                    <a:lnTo>
                      <a:pt x="91367" y="311981"/>
                    </a:lnTo>
                    <a:lnTo>
                      <a:pt x="93034" y="313193"/>
                    </a:lnTo>
                    <a:lnTo>
                      <a:pt x="92882" y="317890"/>
                    </a:lnTo>
                    <a:lnTo>
                      <a:pt x="94549" y="323345"/>
                    </a:lnTo>
                    <a:lnTo>
                      <a:pt x="96367" y="325012"/>
                    </a:lnTo>
                    <a:lnTo>
                      <a:pt x="97125" y="325769"/>
                    </a:lnTo>
                    <a:lnTo>
                      <a:pt x="96519" y="328194"/>
                    </a:lnTo>
                    <a:lnTo>
                      <a:pt x="95155" y="330164"/>
                    </a:lnTo>
                    <a:lnTo>
                      <a:pt x="94852" y="333194"/>
                    </a:lnTo>
                    <a:lnTo>
                      <a:pt x="95306" y="335467"/>
                    </a:lnTo>
                    <a:lnTo>
                      <a:pt x="97125" y="337588"/>
                    </a:lnTo>
                    <a:lnTo>
                      <a:pt x="98489" y="337891"/>
                    </a:lnTo>
                    <a:lnTo>
                      <a:pt x="100458" y="336982"/>
                    </a:lnTo>
                    <a:lnTo>
                      <a:pt x="102579" y="338043"/>
                    </a:lnTo>
                    <a:lnTo>
                      <a:pt x="102883" y="339861"/>
                    </a:lnTo>
                    <a:lnTo>
                      <a:pt x="103186" y="341528"/>
                    </a:lnTo>
                    <a:lnTo>
                      <a:pt x="102125" y="343649"/>
                    </a:lnTo>
                    <a:lnTo>
                      <a:pt x="100913" y="347588"/>
                    </a:lnTo>
                    <a:lnTo>
                      <a:pt x="100610" y="351528"/>
                    </a:lnTo>
                    <a:lnTo>
                      <a:pt x="100913" y="357589"/>
                    </a:lnTo>
                    <a:lnTo>
                      <a:pt x="101519" y="362286"/>
                    </a:lnTo>
                    <a:lnTo>
                      <a:pt x="101670" y="365316"/>
                    </a:lnTo>
                    <a:lnTo>
                      <a:pt x="101822" y="366680"/>
                    </a:lnTo>
                    <a:lnTo>
                      <a:pt x="101064" y="367589"/>
                    </a:lnTo>
                    <a:lnTo>
                      <a:pt x="99246" y="368044"/>
                    </a:lnTo>
                    <a:lnTo>
                      <a:pt x="97731" y="368195"/>
                    </a:lnTo>
                    <a:lnTo>
                      <a:pt x="96367" y="368953"/>
                    </a:lnTo>
                    <a:lnTo>
                      <a:pt x="96064" y="370468"/>
                    </a:lnTo>
                    <a:lnTo>
                      <a:pt x="95003" y="373044"/>
                    </a:lnTo>
                    <a:lnTo>
                      <a:pt x="93943" y="374862"/>
                    </a:lnTo>
                    <a:lnTo>
                      <a:pt x="91973" y="377589"/>
                    </a:lnTo>
                    <a:lnTo>
                      <a:pt x="90761" y="380468"/>
                    </a:lnTo>
                    <a:lnTo>
                      <a:pt x="89852" y="382286"/>
                    </a:lnTo>
                    <a:lnTo>
                      <a:pt x="90003" y="383499"/>
                    </a:lnTo>
                    <a:lnTo>
                      <a:pt x="89246" y="385923"/>
                    </a:lnTo>
                    <a:lnTo>
                      <a:pt x="88488" y="388044"/>
                    </a:lnTo>
                    <a:lnTo>
                      <a:pt x="86973" y="395015"/>
                    </a:lnTo>
                    <a:lnTo>
                      <a:pt x="85003" y="396529"/>
                    </a:lnTo>
                    <a:lnTo>
                      <a:pt x="83336" y="397287"/>
                    </a:lnTo>
                    <a:lnTo>
                      <a:pt x="82579" y="398196"/>
                    </a:lnTo>
                    <a:lnTo>
                      <a:pt x="83185" y="400015"/>
                    </a:lnTo>
                    <a:lnTo>
                      <a:pt x="84851" y="400621"/>
                    </a:lnTo>
                    <a:lnTo>
                      <a:pt x="85458" y="402136"/>
                    </a:lnTo>
                    <a:lnTo>
                      <a:pt x="85306" y="404560"/>
                    </a:lnTo>
                    <a:lnTo>
                      <a:pt x="86367" y="406833"/>
                    </a:lnTo>
                    <a:lnTo>
                      <a:pt x="86215" y="409560"/>
                    </a:lnTo>
                    <a:lnTo>
                      <a:pt x="87276" y="414560"/>
                    </a:lnTo>
                    <a:lnTo>
                      <a:pt x="86367" y="417894"/>
                    </a:lnTo>
                    <a:lnTo>
                      <a:pt x="86670" y="420773"/>
                    </a:lnTo>
                    <a:lnTo>
                      <a:pt x="86670" y="423652"/>
                    </a:lnTo>
                    <a:lnTo>
                      <a:pt x="85306" y="425924"/>
                    </a:lnTo>
                    <a:lnTo>
                      <a:pt x="82427" y="426379"/>
                    </a:lnTo>
                    <a:lnTo>
                      <a:pt x="80761" y="428349"/>
                    </a:lnTo>
                    <a:lnTo>
                      <a:pt x="78033" y="430622"/>
                    </a:lnTo>
                    <a:lnTo>
                      <a:pt x="77730" y="432440"/>
                    </a:lnTo>
                    <a:lnTo>
                      <a:pt x="77275" y="434107"/>
                    </a:lnTo>
                    <a:lnTo>
                      <a:pt x="76215" y="434713"/>
                    </a:lnTo>
                    <a:lnTo>
                      <a:pt x="74548" y="434713"/>
                    </a:lnTo>
                    <a:lnTo>
                      <a:pt x="73185" y="435016"/>
                    </a:lnTo>
                    <a:lnTo>
                      <a:pt x="71215" y="437137"/>
                    </a:lnTo>
                    <a:lnTo>
                      <a:pt x="69093" y="438349"/>
                    </a:lnTo>
                    <a:lnTo>
                      <a:pt x="68639" y="440016"/>
                    </a:lnTo>
                    <a:lnTo>
                      <a:pt x="68790" y="442137"/>
                    </a:lnTo>
                    <a:lnTo>
                      <a:pt x="67730" y="443349"/>
                    </a:lnTo>
                    <a:lnTo>
                      <a:pt x="66366" y="445774"/>
                    </a:lnTo>
                    <a:lnTo>
                      <a:pt x="65457" y="448350"/>
                    </a:lnTo>
                    <a:lnTo>
                      <a:pt x="66366" y="450774"/>
                    </a:lnTo>
                    <a:lnTo>
                      <a:pt x="67275" y="455017"/>
                    </a:lnTo>
                    <a:lnTo>
                      <a:pt x="67427" y="456835"/>
                    </a:lnTo>
                    <a:lnTo>
                      <a:pt x="66215" y="460320"/>
                    </a:lnTo>
                    <a:lnTo>
                      <a:pt x="65154" y="462593"/>
                    </a:lnTo>
                    <a:lnTo>
                      <a:pt x="66063" y="465472"/>
                    </a:lnTo>
                    <a:lnTo>
                      <a:pt x="66821" y="467138"/>
                    </a:lnTo>
                    <a:lnTo>
                      <a:pt x="66063" y="470775"/>
                    </a:lnTo>
                    <a:lnTo>
                      <a:pt x="65457" y="473048"/>
                    </a:lnTo>
                    <a:lnTo>
                      <a:pt x="65911" y="477138"/>
                    </a:lnTo>
                    <a:lnTo>
                      <a:pt x="67881" y="481836"/>
                    </a:lnTo>
                    <a:lnTo>
                      <a:pt x="69699" y="485927"/>
                    </a:lnTo>
                    <a:lnTo>
                      <a:pt x="70003" y="490775"/>
                    </a:lnTo>
                    <a:lnTo>
                      <a:pt x="70457" y="494563"/>
                    </a:lnTo>
                    <a:lnTo>
                      <a:pt x="71366" y="498655"/>
                    </a:lnTo>
                    <a:lnTo>
                      <a:pt x="73185" y="500321"/>
                    </a:lnTo>
                    <a:lnTo>
                      <a:pt x="74548" y="501685"/>
                    </a:lnTo>
                    <a:lnTo>
                      <a:pt x="74245" y="503655"/>
                    </a:lnTo>
                    <a:lnTo>
                      <a:pt x="73185" y="506079"/>
                    </a:lnTo>
                    <a:lnTo>
                      <a:pt x="71669" y="507897"/>
                    </a:lnTo>
                    <a:lnTo>
                      <a:pt x="68033" y="508503"/>
                    </a:lnTo>
                    <a:lnTo>
                      <a:pt x="65002" y="510170"/>
                    </a:lnTo>
                    <a:lnTo>
                      <a:pt x="62578" y="511382"/>
                    </a:lnTo>
                    <a:lnTo>
                      <a:pt x="60760" y="512746"/>
                    </a:lnTo>
                    <a:lnTo>
                      <a:pt x="59396" y="514261"/>
                    </a:lnTo>
                    <a:lnTo>
                      <a:pt x="58790" y="515928"/>
                    </a:lnTo>
                    <a:lnTo>
                      <a:pt x="59245" y="522898"/>
                    </a:lnTo>
                    <a:lnTo>
                      <a:pt x="58942" y="525474"/>
                    </a:lnTo>
                    <a:lnTo>
                      <a:pt x="57729" y="529110"/>
                    </a:lnTo>
                    <a:lnTo>
                      <a:pt x="56517" y="532141"/>
                    </a:lnTo>
                    <a:lnTo>
                      <a:pt x="56063" y="533050"/>
                    </a:lnTo>
                    <a:lnTo>
                      <a:pt x="55911" y="534413"/>
                    </a:lnTo>
                    <a:lnTo>
                      <a:pt x="55760" y="535626"/>
                    </a:lnTo>
                    <a:lnTo>
                      <a:pt x="54396" y="535929"/>
                    </a:lnTo>
                    <a:lnTo>
                      <a:pt x="52578" y="535322"/>
                    </a:lnTo>
                    <a:lnTo>
                      <a:pt x="51517" y="535626"/>
                    </a:lnTo>
                    <a:lnTo>
                      <a:pt x="50759" y="536535"/>
                    </a:lnTo>
                    <a:lnTo>
                      <a:pt x="51366" y="538808"/>
                    </a:lnTo>
                    <a:lnTo>
                      <a:pt x="51972" y="542898"/>
                    </a:lnTo>
                    <a:lnTo>
                      <a:pt x="52881" y="544565"/>
                    </a:lnTo>
                    <a:lnTo>
                      <a:pt x="52578" y="545929"/>
                    </a:lnTo>
                    <a:lnTo>
                      <a:pt x="52275" y="548808"/>
                    </a:lnTo>
                    <a:lnTo>
                      <a:pt x="51062" y="551232"/>
                    </a:lnTo>
                    <a:lnTo>
                      <a:pt x="49396" y="551232"/>
                    </a:lnTo>
                    <a:lnTo>
                      <a:pt x="48335" y="552141"/>
                    </a:lnTo>
                    <a:lnTo>
                      <a:pt x="47881" y="553808"/>
                    </a:lnTo>
                    <a:lnTo>
                      <a:pt x="48335" y="555929"/>
                    </a:lnTo>
                    <a:lnTo>
                      <a:pt x="50456" y="557748"/>
                    </a:lnTo>
                    <a:lnTo>
                      <a:pt x="51214" y="558960"/>
                    </a:lnTo>
                    <a:lnTo>
                      <a:pt x="50911" y="560475"/>
                    </a:lnTo>
                    <a:lnTo>
                      <a:pt x="49244" y="561081"/>
                    </a:lnTo>
                    <a:lnTo>
                      <a:pt x="48335" y="562293"/>
                    </a:lnTo>
                    <a:lnTo>
                      <a:pt x="47426" y="565021"/>
                    </a:lnTo>
                    <a:lnTo>
                      <a:pt x="46214" y="568203"/>
                    </a:lnTo>
                    <a:lnTo>
                      <a:pt x="44850" y="570475"/>
                    </a:lnTo>
                    <a:lnTo>
                      <a:pt x="44547" y="573657"/>
                    </a:lnTo>
                    <a:lnTo>
                      <a:pt x="46365" y="576991"/>
                    </a:lnTo>
                    <a:lnTo>
                      <a:pt x="46214" y="580324"/>
                    </a:lnTo>
                    <a:lnTo>
                      <a:pt x="46062" y="590022"/>
                    </a:lnTo>
                    <a:lnTo>
                      <a:pt x="45911" y="593355"/>
                    </a:lnTo>
                    <a:lnTo>
                      <a:pt x="46517" y="598810"/>
                    </a:lnTo>
                    <a:lnTo>
                      <a:pt x="45759" y="600325"/>
                    </a:lnTo>
                    <a:lnTo>
                      <a:pt x="45456" y="601689"/>
                    </a:lnTo>
                    <a:lnTo>
                      <a:pt x="47274" y="605628"/>
                    </a:lnTo>
                    <a:lnTo>
                      <a:pt x="49244" y="611992"/>
                    </a:lnTo>
                    <a:lnTo>
                      <a:pt x="49850" y="614568"/>
                    </a:lnTo>
                    <a:lnTo>
                      <a:pt x="49547" y="616386"/>
                    </a:lnTo>
                    <a:lnTo>
                      <a:pt x="46820" y="617901"/>
                    </a:lnTo>
                    <a:lnTo>
                      <a:pt x="44547" y="618508"/>
                    </a:lnTo>
                    <a:lnTo>
                      <a:pt x="43183" y="617447"/>
                    </a:lnTo>
                    <a:lnTo>
                      <a:pt x="42274" y="617901"/>
                    </a:lnTo>
                    <a:lnTo>
                      <a:pt x="41214" y="619720"/>
                    </a:lnTo>
                    <a:lnTo>
                      <a:pt x="40001" y="621235"/>
                    </a:lnTo>
                    <a:lnTo>
                      <a:pt x="39547" y="622750"/>
                    </a:lnTo>
                    <a:lnTo>
                      <a:pt x="40759" y="624719"/>
                    </a:lnTo>
                    <a:lnTo>
                      <a:pt x="41365" y="628508"/>
                    </a:lnTo>
                    <a:lnTo>
                      <a:pt x="40001" y="630174"/>
                    </a:lnTo>
                    <a:lnTo>
                      <a:pt x="38941" y="631993"/>
                    </a:lnTo>
                    <a:lnTo>
                      <a:pt x="39244" y="634265"/>
                    </a:lnTo>
                    <a:lnTo>
                      <a:pt x="39698" y="638508"/>
                    </a:lnTo>
                    <a:lnTo>
                      <a:pt x="38789" y="645629"/>
                    </a:lnTo>
                    <a:lnTo>
                      <a:pt x="40001" y="648205"/>
                    </a:lnTo>
                    <a:lnTo>
                      <a:pt x="41365" y="649417"/>
                    </a:lnTo>
                    <a:lnTo>
                      <a:pt x="45608" y="650781"/>
                    </a:lnTo>
                    <a:lnTo>
                      <a:pt x="48790" y="651539"/>
                    </a:lnTo>
                    <a:lnTo>
                      <a:pt x="49699" y="653812"/>
                    </a:lnTo>
                    <a:lnTo>
                      <a:pt x="49396" y="655782"/>
                    </a:lnTo>
                    <a:lnTo>
                      <a:pt x="47881" y="656691"/>
                    </a:lnTo>
                    <a:lnTo>
                      <a:pt x="45608" y="657448"/>
                    </a:lnTo>
                    <a:lnTo>
                      <a:pt x="45608" y="660479"/>
                    </a:lnTo>
                    <a:lnTo>
                      <a:pt x="47578" y="663358"/>
                    </a:lnTo>
                    <a:lnTo>
                      <a:pt x="49850" y="665479"/>
                    </a:lnTo>
                    <a:lnTo>
                      <a:pt x="50305" y="667297"/>
                    </a:lnTo>
                    <a:lnTo>
                      <a:pt x="50153" y="669267"/>
                    </a:lnTo>
                    <a:lnTo>
                      <a:pt x="48638" y="670934"/>
                    </a:lnTo>
                    <a:lnTo>
                      <a:pt x="50759" y="674418"/>
                    </a:lnTo>
                    <a:lnTo>
                      <a:pt x="51669" y="676843"/>
                    </a:lnTo>
                    <a:lnTo>
                      <a:pt x="50608" y="678661"/>
                    </a:lnTo>
                    <a:lnTo>
                      <a:pt x="49244" y="681389"/>
                    </a:lnTo>
                    <a:lnTo>
                      <a:pt x="48032" y="682752"/>
                    </a:lnTo>
                    <a:lnTo>
                      <a:pt x="48032" y="684267"/>
                    </a:lnTo>
                    <a:lnTo>
                      <a:pt x="47578" y="687298"/>
                    </a:lnTo>
                    <a:lnTo>
                      <a:pt x="47426" y="690328"/>
                    </a:lnTo>
                    <a:lnTo>
                      <a:pt x="47881" y="692146"/>
                    </a:lnTo>
                    <a:lnTo>
                      <a:pt x="61366" y="693510"/>
                    </a:lnTo>
                    <a:lnTo>
                      <a:pt x="64396" y="694116"/>
                    </a:lnTo>
                    <a:lnTo>
                      <a:pt x="66063" y="695934"/>
                    </a:lnTo>
                    <a:lnTo>
                      <a:pt x="65760" y="698207"/>
                    </a:lnTo>
                    <a:lnTo>
                      <a:pt x="64093" y="700631"/>
                    </a:lnTo>
                    <a:lnTo>
                      <a:pt x="63033" y="705026"/>
                    </a:lnTo>
                    <a:lnTo>
                      <a:pt x="60305" y="705783"/>
                    </a:lnTo>
                    <a:lnTo>
                      <a:pt x="57578" y="704571"/>
                    </a:lnTo>
                    <a:lnTo>
                      <a:pt x="54699" y="705026"/>
                    </a:lnTo>
                    <a:lnTo>
                      <a:pt x="52275" y="705329"/>
                    </a:lnTo>
                    <a:lnTo>
                      <a:pt x="48638" y="705480"/>
                    </a:lnTo>
                    <a:lnTo>
                      <a:pt x="43941" y="706086"/>
                    </a:lnTo>
                    <a:lnTo>
                      <a:pt x="41062" y="705480"/>
                    </a:lnTo>
                    <a:lnTo>
                      <a:pt x="40759" y="707147"/>
                    </a:lnTo>
                    <a:lnTo>
                      <a:pt x="41668" y="710026"/>
                    </a:lnTo>
                    <a:lnTo>
                      <a:pt x="47881" y="710935"/>
                    </a:lnTo>
                    <a:lnTo>
                      <a:pt x="53790" y="712602"/>
                    </a:lnTo>
                    <a:lnTo>
                      <a:pt x="55608" y="715632"/>
                    </a:lnTo>
                    <a:lnTo>
                      <a:pt x="58032" y="718965"/>
                    </a:lnTo>
                    <a:lnTo>
                      <a:pt x="60457" y="721087"/>
                    </a:lnTo>
                    <a:lnTo>
                      <a:pt x="60608" y="724572"/>
                    </a:lnTo>
                    <a:lnTo>
                      <a:pt x="56820" y="728208"/>
                    </a:lnTo>
                    <a:lnTo>
                      <a:pt x="56366" y="730784"/>
                    </a:lnTo>
                    <a:lnTo>
                      <a:pt x="51366" y="731542"/>
                    </a:lnTo>
                    <a:lnTo>
                      <a:pt x="49850" y="733057"/>
                    </a:lnTo>
                    <a:lnTo>
                      <a:pt x="49093" y="738057"/>
                    </a:lnTo>
                    <a:lnTo>
                      <a:pt x="49699" y="741997"/>
                    </a:lnTo>
                    <a:lnTo>
                      <a:pt x="51669" y="743360"/>
                    </a:lnTo>
                    <a:lnTo>
                      <a:pt x="53032" y="745936"/>
                    </a:lnTo>
                    <a:lnTo>
                      <a:pt x="51517" y="748967"/>
                    </a:lnTo>
                    <a:lnTo>
                      <a:pt x="48032" y="751088"/>
                    </a:lnTo>
                    <a:lnTo>
                      <a:pt x="46214" y="753058"/>
                    </a:lnTo>
                    <a:lnTo>
                      <a:pt x="47426" y="754573"/>
                    </a:lnTo>
                    <a:lnTo>
                      <a:pt x="48941" y="757149"/>
                    </a:lnTo>
                    <a:lnTo>
                      <a:pt x="49396" y="758513"/>
                    </a:lnTo>
                    <a:lnTo>
                      <a:pt x="50305" y="762149"/>
                    </a:lnTo>
                    <a:lnTo>
                      <a:pt x="51366" y="767300"/>
                    </a:lnTo>
                    <a:lnTo>
                      <a:pt x="51214" y="769877"/>
                    </a:lnTo>
                    <a:lnTo>
                      <a:pt x="50305" y="771695"/>
                    </a:lnTo>
                    <a:lnTo>
                      <a:pt x="46971" y="774574"/>
                    </a:lnTo>
                    <a:lnTo>
                      <a:pt x="44699" y="775937"/>
                    </a:lnTo>
                    <a:lnTo>
                      <a:pt x="44244" y="779574"/>
                    </a:lnTo>
                    <a:lnTo>
                      <a:pt x="44093" y="782301"/>
                    </a:lnTo>
                    <a:lnTo>
                      <a:pt x="44395" y="784726"/>
                    </a:lnTo>
                    <a:lnTo>
                      <a:pt x="45911" y="786695"/>
                    </a:lnTo>
                    <a:lnTo>
                      <a:pt x="45759" y="788665"/>
                    </a:lnTo>
                    <a:lnTo>
                      <a:pt x="43789" y="789120"/>
                    </a:lnTo>
                    <a:lnTo>
                      <a:pt x="42123" y="790029"/>
                    </a:lnTo>
                    <a:lnTo>
                      <a:pt x="40456" y="793514"/>
                    </a:lnTo>
                    <a:lnTo>
                      <a:pt x="35607" y="797150"/>
                    </a:lnTo>
                    <a:lnTo>
                      <a:pt x="33941" y="798817"/>
                    </a:lnTo>
                    <a:lnTo>
                      <a:pt x="34092" y="801544"/>
                    </a:lnTo>
                    <a:lnTo>
                      <a:pt x="32122" y="805484"/>
                    </a:lnTo>
                    <a:lnTo>
                      <a:pt x="30456" y="808969"/>
                    </a:lnTo>
                    <a:lnTo>
                      <a:pt x="29243" y="812151"/>
                    </a:lnTo>
                    <a:lnTo>
                      <a:pt x="29547" y="815484"/>
                    </a:lnTo>
                    <a:lnTo>
                      <a:pt x="32274" y="816999"/>
                    </a:lnTo>
                    <a:lnTo>
                      <a:pt x="34395" y="820333"/>
                    </a:lnTo>
                    <a:lnTo>
                      <a:pt x="35304" y="824424"/>
                    </a:lnTo>
                    <a:lnTo>
                      <a:pt x="33638" y="829272"/>
                    </a:lnTo>
                    <a:lnTo>
                      <a:pt x="29698" y="831091"/>
                    </a:lnTo>
                    <a:lnTo>
                      <a:pt x="27425" y="833060"/>
                    </a:lnTo>
                    <a:lnTo>
                      <a:pt x="26668" y="834576"/>
                    </a:lnTo>
                    <a:lnTo>
                      <a:pt x="27274" y="839576"/>
                    </a:lnTo>
                    <a:lnTo>
                      <a:pt x="27122" y="842001"/>
                    </a:lnTo>
                    <a:lnTo>
                      <a:pt x="26516" y="844273"/>
                    </a:lnTo>
                    <a:lnTo>
                      <a:pt x="25455" y="845940"/>
                    </a:lnTo>
                    <a:lnTo>
                      <a:pt x="23334" y="847910"/>
                    </a:lnTo>
                    <a:lnTo>
                      <a:pt x="19546" y="849577"/>
                    </a:lnTo>
                    <a:lnTo>
                      <a:pt x="16364" y="850789"/>
                    </a:lnTo>
                    <a:lnTo>
                      <a:pt x="15000" y="852152"/>
                    </a:lnTo>
                    <a:lnTo>
                      <a:pt x="13334" y="855031"/>
                    </a:lnTo>
                    <a:lnTo>
                      <a:pt x="11819" y="858213"/>
                    </a:lnTo>
                    <a:lnTo>
                      <a:pt x="12122" y="862153"/>
                    </a:lnTo>
                    <a:lnTo>
                      <a:pt x="3182" y="862607"/>
                    </a:lnTo>
                    <a:lnTo>
                      <a:pt x="2576" y="865638"/>
                    </a:lnTo>
                    <a:lnTo>
                      <a:pt x="606" y="867910"/>
                    </a:lnTo>
                    <a:lnTo>
                      <a:pt x="0" y="872153"/>
                    </a:lnTo>
                    <a:lnTo>
                      <a:pt x="1970" y="876244"/>
                    </a:lnTo>
                    <a:lnTo>
                      <a:pt x="2879" y="879729"/>
                    </a:lnTo>
                    <a:lnTo>
                      <a:pt x="1212" y="883820"/>
                    </a:lnTo>
                    <a:lnTo>
                      <a:pt x="1818" y="888062"/>
                    </a:lnTo>
                    <a:lnTo>
                      <a:pt x="1970" y="891396"/>
                    </a:lnTo>
                    <a:lnTo>
                      <a:pt x="5152" y="895184"/>
                    </a:lnTo>
                    <a:lnTo>
                      <a:pt x="7273" y="899881"/>
                    </a:lnTo>
                    <a:lnTo>
                      <a:pt x="8334" y="903821"/>
                    </a:lnTo>
                    <a:lnTo>
                      <a:pt x="8940" y="906851"/>
                    </a:lnTo>
                    <a:lnTo>
                      <a:pt x="9697" y="908670"/>
                    </a:lnTo>
                    <a:lnTo>
                      <a:pt x="11061" y="910791"/>
                    </a:lnTo>
                    <a:lnTo>
                      <a:pt x="11667" y="913215"/>
                    </a:lnTo>
                    <a:lnTo>
                      <a:pt x="13637" y="913973"/>
                    </a:lnTo>
                    <a:lnTo>
                      <a:pt x="17122" y="911700"/>
                    </a:lnTo>
                    <a:lnTo>
                      <a:pt x="19546" y="910185"/>
                    </a:lnTo>
                    <a:lnTo>
                      <a:pt x="21213" y="909579"/>
                    </a:lnTo>
                    <a:lnTo>
                      <a:pt x="26213" y="909882"/>
                    </a:lnTo>
                    <a:lnTo>
                      <a:pt x="29243" y="908366"/>
                    </a:lnTo>
                    <a:lnTo>
                      <a:pt x="30607" y="908518"/>
                    </a:lnTo>
                    <a:lnTo>
                      <a:pt x="32425" y="909275"/>
                    </a:lnTo>
                    <a:lnTo>
                      <a:pt x="33789" y="910942"/>
                    </a:lnTo>
                    <a:lnTo>
                      <a:pt x="34850" y="914882"/>
                    </a:lnTo>
                    <a:lnTo>
                      <a:pt x="35456" y="919276"/>
                    </a:lnTo>
                    <a:lnTo>
                      <a:pt x="34547" y="923670"/>
                    </a:lnTo>
                    <a:lnTo>
                      <a:pt x="33183" y="924579"/>
                    </a:lnTo>
                    <a:lnTo>
                      <a:pt x="32729" y="925791"/>
                    </a:lnTo>
                    <a:lnTo>
                      <a:pt x="33183" y="928519"/>
                    </a:lnTo>
                    <a:lnTo>
                      <a:pt x="34698" y="930489"/>
                    </a:lnTo>
                    <a:lnTo>
                      <a:pt x="34698" y="933216"/>
                    </a:lnTo>
                    <a:lnTo>
                      <a:pt x="33031" y="939428"/>
                    </a:lnTo>
                    <a:lnTo>
                      <a:pt x="31971" y="942004"/>
                    </a:lnTo>
                    <a:lnTo>
                      <a:pt x="33941" y="944883"/>
                    </a:lnTo>
                    <a:lnTo>
                      <a:pt x="35759" y="947459"/>
                    </a:lnTo>
                    <a:lnTo>
                      <a:pt x="39395" y="949429"/>
                    </a:lnTo>
                    <a:lnTo>
                      <a:pt x="42426" y="952156"/>
                    </a:lnTo>
                    <a:lnTo>
                      <a:pt x="44547" y="954429"/>
                    </a:lnTo>
                    <a:lnTo>
                      <a:pt x="44093" y="957459"/>
                    </a:lnTo>
                    <a:lnTo>
                      <a:pt x="45456" y="958368"/>
                    </a:lnTo>
                    <a:lnTo>
                      <a:pt x="50911" y="958368"/>
                    </a:lnTo>
                    <a:lnTo>
                      <a:pt x="59245" y="958520"/>
                    </a:lnTo>
                    <a:lnTo>
                      <a:pt x="72124" y="958671"/>
                    </a:lnTo>
                    <a:lnTo>
                      <a:pt x="84700" y="958823"/>
                    </a:lnTo>
                    <a:lnTo>
                      <a:pt x="98943" y="958975"/>
                    </a:lnTo>
                    <a:lnTo>
                      <a:pt x="105761" y="961398"/>
                    </a:lnTo>
                    <a:lnTo>
                      <a:pt x="111822" y="963672"/>
                    </a:lnTo>
                    <a:lnTo>
                      <a:pt x="119550" y="963672"/>
                    </a:lnTo>
                    <a:lnTo>
                      <a:pt x="127277" y="966247"/>
                    </a:lnTo>
                    <a:lnTo>
                      <a:pt x="133035" y="967914"/>
                    </a:lnTo>
                    <a:lnTo>
                      <a:pt x="136520" y="968520"/>
                    </a:lnTo>
                    <a:lnTo>
                      <a:pt x="140005" y="969126"/>
                    </a:lnTo>
                    <a:lnTo>
                      <a:pt x="140460" y="971551"/>
                    </a:lnTo>
                    <a:lnTo>
                      <a:pt x="141823" y="969732"/>
                    </a:lnTo>
                    <a:lnTo>
                      <a:pt x="139096" y="965641"/>
                    </a:lnTo>
                    <a:lnTo>
                      <a:pt x="133641" y="958823"/>
                    </a:lnTo>
                    <a:lnTo>
                      <a:pt x="127429" y="947913"/>
                    </a:lnTo>
                    <a:lnTo>
                      <a:pt x="126065" y="946550"/>
                    </a:lnTo>
                    <a:lnTo>
                      <a:pt x="124247" y="945034"/>
                    </a:lnTo>
                    <a:lnTo>
                      <a:pt x="120156" y="945944"/>
                    </a:lnTo>
                    <a:lnTo>
                      <a:pt x="116520" y="943671"/>
                    </a:lnTo>
                    <a:lnTo>
                      <a:pt x="113943" y="943974"/>
                    </a:lnTo>
                    <a:lnTo>
                      <a:pt x="112428" y="943065"/>
                    </a:lnTo>
                    <a:lnTo>
                      <a:pt x="115307" y="942155"/>
                    </a:lnTo>
                    <a:lnTo>
                      <a:pt x="119247" y="942155"/>
                    </a:lnTo>
                    <a:lnTo>
                      <a:pt x="123641" y="941701"/>
                    </a:lnTo>
                    <a:lnTo>
                      <a:pt x="124247" y="939579"/>
                    </a:lnTo>
                    <a:lnTo>
                      <a:pt x="124398" y="938065"/>
                    </a:lnTo>
                    <a:lnTo>
                      <a:pt x="123338" y="932913"/>
                    </a:lnTo>
                    <a:lnTo>
                      <a:pt x="121217" y="925488"/>
                    </a:lnTo>
                    <a:lnTo>
                      <a:pt x="119701" y="921700"/>
                    </a:lnTo>
                    <a:lnTo>
                      <a:pt x="117883" y="922155"/>
                    </a:lnTo>
                    <a:lnTo>
                      <a:pt x="115610" y="923518"/>
                    </a:lnTo>
                    <a:lnTo>
                      <a:pt x="115459" y="922913"/>
                    </a:lnTo>
                    <a:lnTo>
                      <a:pt x="118792" y="920185"/>
                    </a:lnTo>
                    <a:lnTo>
                      <a:pt x="120914" y="917003"/>
                    </a:lnTo>
                    <a:lnTo>
                      <a:pt x="121217" y="912912"/>
                    </a:lnTo>
                    <a:lnTo>
                      <a:pt x="122580" y="906851"/>
                    </a:lnTo>
                    <a:lnTo>
                      <a:pt x="123792" y="903821"/>
                    </a:lnTo>
                    <a:lnTo>
                      <a:pt x="126671" y="899578"/>
                    </a:lnTo>
                    <a:lnTo>
                      <a:pt x="131823" y="895942"/>
                    </a:lnTo>
                    <a:lnTo>
                      <a:pt x="136217" y="893972"/>
                    </a:lnTo>
                    <a:lnTo>
                      <a:pt x="139551" y="892911"/>
                    </a:lnTo>
                    <a:lnTo>
                      <a:pt x="140763" y="891548"/>
                    </a:lnTo>
                    <a:lnTo>
                      <a:pt x="139399" y="889123"/>
                    </a:lnTo>
                    <a:lnTo>
                      <a:pt x="137732" y="887153"/>
                    </a:lnTo>
                    <a:lnTo>
                      <a:pt x="135914" y="886244"/>
                    </a:lnTo>
                    <a:lnTo>
                      <a:pt x="131672" y="885487"/>
                    </a:lnTo>
                    <a:lnTo>
                      <a:pt x="125459" y="886093"/>
                    </a:lnTo>
                    <a:lnTo>
                      <a:pt x="127277" y="884881"/>
                    </a:lnTo>
                    <a:lnTo>
                      <a:pt x="134096" y="883669"/>
                    </a:lnTo>
                    <a:lnTo>
                      <a:pt x="134702" y="881093"/>
                    </a:lnTo>
                    <a:lnTo>
                      <a:pt x="133793" y="878668"/>
                    </a:lnTo>
                    <a:lnTo>
                      <a:pt x="133944" y="877153"/>
                    </a:lnTo>
                    <a:lnTo>
                      <a:pt x="136672" y="881244"/>
                    </a:lnTo>
                    <a:lnTo>
                      <a:pt x="138945" y="885184"/>
                    </a:lnTo>
                    <a:lnTo>
                      <a:pt x="141217" y="887457"/>
                    </a:lnTo>
                    <a:lnTo>
                      <a:pt x="145308" y="889729"/>
                    </a:lnTo>
                    <a:lnTo>
                      <a:pt x="148339" y="889275"/>
                    </a:lnTo>
                    <a:lnTo>
                      <a:pt x="154703" y="885487"/>
                    </a:lnTo>
                    <a:lnTo>
                      <a:pt x="157127" y="883214"/>
                    </a:lnTo>
                    <a:lnTo>
                      <a:pt x="158339" y="881093"/>
                    </a:lnTo>
                    <a:lnTo>
                      <a:pt x="161673" y="862759"/>
                    </a:lnTo>
                    <a:lnTo>
                      <a:pt x="160764" y="861395"/>
                    </a:lnTo>
                    <a:lnTo>
                      <a:pt x="161066" y="859425"/>
                    </a:lnTo>
                    <a:lnTo>
                      <a:pt x="166976" y="848970"/>
                    </a:lnTo>
                    <a:lnTo>
                      <a:pt x="172582" y="844122"/>
                    </a:lnTo>
                    <a:lnTo>
                      <a:pt x="176219" y="839727"/>
                    </a:lnTo>
                    <a:lnTo>
                      <a:pt x="178946" y="837606"/>
                    </a:lnTo>
                    <a:lnTo>
                      <a:pt x="185764" y="833970"/>
                    </a:lnTo>
                    <a:lnTo>
                      <a:pt x="190916" y="830333"/>
                    </a:lnTo>
                    <a:lnTo>
                      <a:pt x="196522" y="827606"/>
                    </a:lnTo>
                    <a:lnTo>
                      <a:pt x="206826" y="818515"/>
                    </a:lnTo>
                    <a:lnTo>
                      <a:pt x="208796" y="816242"/>
                    </a:lnTo>
                    <a:lnTo>
                      <a:pt x="209705" y="814727"/>
                    </a:lnTo>
                    <a:lnTo>
                      <a:pt x="212432" y="813515"/>
                    </a:lnTo>
                    <a:lnTo>
                      <a:pt x="210917" y="810484"/>
                    </a:lnTo>
                    <a:lnTo>
                      <a:pt x="208947" y="809575"/>
                    </a:lnTo>
                    <a:lnTo>
                      <a:pt x="204553" y="810484"/>
                    </a:lnTo>
                    <a:lnTo>
                      <a:pt x="202432" y="810636"/>
                    </a:lnTo>
                    <a:lnTo>
                      <a:pt x="200916" y="809575"/>
                    </a:lnTo>
                    <a:lnTo>
                      <a:pt x="205917" y="808060"/>
                    </a:lnTo>
                    <a:lnTo>
                      <a:pt x="210159" y="805181"/>
                    </a:lnTo>
                    <a:lnTo>
                      <a:pt x="212129" y="802908"/>
                    </a:lnTo>
                    <a:lnTo>
                      <a:pt x="213190" y="800484"/>
                    </a:lnTo>
                    <a:lnTo>
                      <a:pt x="214250" y="792756"/>
                    </a:lnTo>
                    <a:lnTo>
                      <a:pt x="213341" y="789726"/>
                    </a:lnTo>
                    <a:lnTo>
                      <a:pt x="211068" y="786241"/>
                    </a:lnTo>
                    <a:lnTo>
                      <a:pt x="207129" y="784120"/>
                    </a:lnTo>
                    <a:lnTo>
                      <a:pt x="189249" y="782453"/>
                    </a:lnTo>
                    <a:lnTo>
                      <a:pt x="185764" y="781089"/>
                    </a:lnTo>
                    <a:lnTo>
                      <a:pt x="169097" y="765482"/>
                    </a:lnTo>
                    <a:lnTo>
                      <a:pt x="165764" y="761694"/>
                    </a:lnTo>
                    <a:lnTo>
                      <a:pt x="164248" y="758361"/>
                    </a:lnTo>
                    <a:lnTo>
                      <a:pt x="163642" y="755785"/>
                    </a:lnTo>
                    <a:lnTo>
                      <a:pt x="163036" y="752300"/>
                    </a:lnTo>
                    <a:lnTo>
                      <a:pt x="163339" y="748360"/>
                    </a:lnTo>
                    <a:lnTo>
                      <a:pt x="164552" y="745481"/>
                    </a:lnTo>
                    <a:lnTo>
                      <a:pt x="169097" y="738815"/>
                    </a:lnTo>
                    <a:lnTo>
                      <a:pt x="172734" y="732148"/>
                    </a:lnTo>
                    <a:lnTo>
                      <a:pt x="181370" y="721239"/>
                    </a:lnTo>
                    <a:lnTo>
                      <a:pt x="183037" y="720178"/>
                    </a:lnTo>
                    <a:lnTo>
                      <a:pt x="191219" y="718662"/>
                    </a:lnTo>
                    <a:lnTo>
                      <a:pt x="192583" y="717753"/>
                    </a:lnTo>
                    <a:lnTo>
                      <a:pt x="193644" y="716390"/>
                    </a:lnTo>
                    <a:lnTo>
                      <a:pt x="197583" y="713511"/>
                    </a:lnTo>
                    <a:lnTo>
                      <a:pt x="201826" y="711238"/>
                    </a:lnTo>
                    <a:lnTo>
                      <a:pt x="213644" y="712602"/>
                    </a:lnTo>
                    <a:lnTo>
                      <a:pt x="216826" y="712602"/>
                    </a:lnTo>
                    <a:lnTo>
                      <a:pt x="217735" y="710480"/>
                    </a:lnTo>
                    <a:lnTo>
                      <a:pt x="217887" y="708208"/>
                    </a:lnTo>
                    <a:lnTo>
                      <a:pt x="215159" y="705480"/>
                    </a:lnTo>
                    <a:lnTo>
                      <a:pt x="216523" y="700934"/>
                    </a:lnTo>
                    <a:lnTo>
                      <a:pt x="224402" y="694722"/>
                    </a:lnTo>
                    <a:lnTo>
                      <a:pt x="226372" y="690783"/>
                    </a:lnTo>
                    <a:lnTo>
                      <a:pt x="226978" y="688055"/>
                    </a:lnTo>
                    <a:lnTo>
                      <a:pt x="225766" y="683964"/>
                    </a:lnTo>
                    <a:lnTo>
                      <a:pt x="227736" y="680328"/>
                    </a:lnTo>
                    <a:lnTo>
                      <a:pt x="225918" y="671540"/>
                    </a:lnTo>
                    <a:lnTo>
                      <a:pt x="226524" y="666236"/>
                    </a:lnTo>
                    <a:lnTo>
                      <a:pt x="227433" y="664267"/>
                    </a:lnTo>
                    <a:lnTo>
                      <a:pt x="229099" y="662600"/>
                    </a:lnTo>
                    <a:lnTo>
                      <a:pt x="234706" y="655024"/>
                    </a:lnTo>
                    <a:lnTo>
                      <a:pt x="238645" y="651539"/>
                    </a:lnTo>
                    <a:lnTo>
                      <a:pt x="242130" y="649721"/>
                    </a:lnTo>
                    <a:lnTo>
                      <a:pt x="249858" y="647145"/>
                    </a:lnTo>
                    <a:lnTo>
                      <a:pt x="251373" y="645933"/>
                    </a:lnTo>
                    <a:lnTo>
                      <a:pt x="252888" y="644114"/>
                    </a:lnTo>
                    <a:lnTo>
                      <a:pt x="251221" y="643508"/>
                    </a:lnTo>
                    <a:lnTo>
                      <a:pt x="249555" y="643508"/>
                    </a:lnTo>
                    <a:lnTo>
                      <a:pt x="244403" y="642145"/>
                    </a:lnTo>
                    <a:lnTo>
                      <a:pt x="233494" y="637144"/>
                    </a:lnTo>
                    <a:lnTo>
                      <a:pt x="235009" y="634114"/>
                    </a:lnTo>
                    <a:lnTo>
                      <a:pt x="239403" y="633053"/>
                    </a:lnTo>
                    <a:lnTo>
                      <a:pt x="243797" y="629720"/>
                    </a:lnTo>
                    <a:lnTo>
                      <a:pt x="248191" y="629114"/>
                    </a:lnTo>
                    <a:lnTo>
                      <a:pt x="252737" y="631084"/>
                    </a:lnTo>
                    <a:lnTo>
                      <a:pt x="254858" y="633508"/>
                    </a:lnTo>
                    <a:lnTo>
                      <a:pt x="255615" y="637144"/>
                    </a:lnTo>
                    <a:lnTo>
                      <a:pt x="258040" y="640629"/>
                    </a:lnTo>
                    <a:lnTo>
                      <a:pt x="260616" y="641236"/>
                    </a:lnTo>
                    <a:lnTo>
                      <a:pt x="270010" y="638660"/>
                    </a:lnTo>
                    <a:lnTo>
                      <a:pt x="271374" y="636690"/>
                    </a:lnTo>
                    <a:lnTo>
                      <a:pt x="272131" y="635023"/>
                    </a:lnTo>
                    <a:lnTo>
                      <a:pt x="272737" y="630326"/>
                    </a:lnTo>
                    <a:lnTo>
                      <a:pt x="272737" y="625477"/>
                    </a:lnTo>
                    <a:lnTo>
                      <a:pt x="271828" y="621386"/>
                    </a:lnTo>
                    <a:lnTo>
                      <a:pt x="270313" y="618356"/>
                    </a:lnTo>
                    <a:lnTo>
                      <a:pt x="269101" y="617143"/>
                    </a:lnTo>
                    <a:lnTo>
                      <a:pt x="267283" y="615931"/>
                    </a:lnTo>
                    <a:lnTo>
                      <a:pt x="264555" y="616234"/>
                    </a:lnTo>
                    <a:lnTo>
                      <a:pt x="259403" y="618204"/>
                    </a:lnTo>
                    <a:lnTo>
                      <a:pt x="255464" y="619417"/>
                    </a:lnTo>
                    <a:lnTo>
                      <a:pt x="254858" y="620477"/>
                    </a:lnTo>
                    <a:lnTo>
                      <a:pt x="260161" y="620931"/>
                    </a:lnTo>
                    <a:lnTo>
                      <a:pt x="260161" y="623810"/>
                    </a:lnTo>
                    <a:lnTo>
                      <a:pt x="259100" y="625174"/>
                    </a:lnTo>
                    <a:lnTo>
                      <a:pt x="254555" y="626084"/>
                    </a:lnTo>
                    <a:lnTo>
                      <a:pt x="250312" y="626538"/>
                    </a:lnTo>
                    <a:lnTo>
                      <a:pt x="246221" y="625932"/>
                    </a:lnTo>
                    <a:lnTo>
                      <a:pt x="246070" y="623962"/>
                    </a:lnTo>
                    <a:lnTo>
                      <a:pt x="247433" y="622144"/>
                    </a:lnTo>
                    <a:lnTo>
                      <a:pt x="247736" y="621235"/>
                    </a:lnTo>
                    <a:lnTo>
                      <a:pt x="246979" y="620780"/>
                    </a:lnTo>
                    <a:lnTo>
                      <a:pt x="244706" y="620931"/>
                    </a:lnTo>
                    <a:lnTo>
                      <a:pt x="242585" y="619568"/>
                    </a:lnTo>
                    <a:lnTo>
                      <a:pt x="237130" y="617598"/>
                    </a:lnTo>
                    <a:lnTo>
                      <a:pt x="234706" y="615629"/>
                    </a:lnTo>
                    <a:lnTo>
                      <a:pt x="232736" y="611234"/>
                    </a:lnTo>
                    <a:lnTo>
                      <a:pt x="234100" y="603810"/>
                    </a:lnTo>
                    <a:lnTo>
                      <a:pt x="233796" y="598052"/>
                    </a:lnTo>
                    <a:lnTo>
                      <a:pt x="230766" y="587294"/>
                    </a:lnTo>
                    <a:lnTo>
                      <a:pt x="230008" y="582900"/>
                    </a:lnTo>
                    <a:lnTo>
                      <a:pt x="230160" y="577748"/>
                    </a:lnTo>
                    <a:lnTo>
                      <a:pt x="230615" y="575627"/>
                    </a:lnTo>
                    <a:lnTo>
                      <a:pt x="232433" y="573203"/>
                    </a:lnTo>
                    <a:lnTo>
                      <a:pt x="236675" y="570778"/>
                    </a:lnTo>
                    <a:lnTo>
                      <a:pt x="238039" y="570930"/>
                    </a:lnTo>
                    <a:lnTo>
                      <a:pt x="239857" y="571536"/>
                    </a:lnTo>
                    <a:lnTo>
                      <a:pt x="239403" y="572748"/>
                    </a:lnTo>
                    <a:lnTo>
                      <a:pt x="238494" y="573354"/>
                    </a:lnTo>
                    <a:lnTo>
                      <a:pt x="244858" y="574718"/>
                    </a:lnTo>
                    <a:lnTo>
                      <a:pt x="251373" y="576991"/>
                    </a:lnTo>
                    <a:lnTo>
                      <a:pt x="258494" y="579718"/>
                    </a:lnTo>
                    <a:lnTo>
                      <a:pt x="268040" y="584264"/>
                    </a:lnTo>
                    <a:lnTo>
                      <a:pt x="272131" y="584567"/>
                    </a:lnTo>
                    <a:lnTo>
                      <a:pt x="283344" y="584264"/>
                    </a:lnTo>
                    <a:lnTo>
                      <a:pt x="290314" y="582900"/>
                    </a:lnTo>
                    <a:lnTo>
                      <a:pt x="294708" y="580930"/>
                    </a:lnTo>
                    <a:lnTo>
                      <a:pt x="305769" y="575930"/>
                    </a:lnTo>
                    <a:lnTo>
                      <a:pt x="308345" y="573506"/>
                    </a:lnTo>
                    <a:lnTo>
                      <a:pt x="309860" y="568960"/>
                    </a:lnTo>
                    <a:lnTo>
                      <a:pt x="305769" y="561990"/>
                    </a:lnTo>
                    <a:lnTo>
                      <a:pt x="304860" y="558657"/>
                    </a:lnTo>
                    <a:lnTo>
                      <a:pt x="305617" y="553505"/>
                    </a:lnTo>
                    <a:lnTo>
                      <a:pt x="307739" y="545626"/>
                    </a:lnTo>
                    <a:lnTo>
                      <a:pt x="308799" y="543808"/>
                    </a:lnTo>
                    <a:lnTo>
                      <a:pt x="309709" y="543353"/>
                    </a:lnTo>
                    <a:lnTo>
                      <a:pt x="313042" y="541535"/>
                    </a:lnTo>
                    <a:lnTo>
                      <a:pt x="314406" y="533353"/>
                    </a:lnTo>
                    <a:lnTo>
                      <a:pt x="314557" y="529868"/>
                    </a:lnTo>
                    <a:lnTo>
                      <a:pt x="313042" y="528959"/>
                    </a:lnTo>
                    <a:lnTo>
                      <a:pt x="311678" y="527292"/>
                    </a:lnTo>
                    <a:lnTo>
                      <a:pt x="315163" y="527141"/>
                    </a:lnTo>
                    <a:lnTo>
                      <a:pt x="313193" y="525019"/>
                    </a:lnTo>
                    <a:lnTo>
                      <a:pt x="310920" y="523504"/>
                    </a:lnTo>
                    <a:lnTo>
                      <a:pt x="308496" y="522898"/>
                    </a:lnTo>
                    <a:lnTo>
                      <a:pt x="307284" y="519867"/>
                    </a:lnTo>
                    <a:lnTo>
                      <a:pt x="308193" y="514716"/>
                    </a:lnTo>
                    <a:lnTo>
                      <a:pt x="306223" y="510473"/>
                    </a:lnTo>
                    <a:lnTo>
                      <a:pt x="307284" y="508806"/>
                    </a:lnTo>
                    <a:lnTo>
                      <a:pt x="311224" y="509261"/>
                    </a:lnTo>
                    <a:lnTo>
                      <a:pt x="314557" y="512594"/>
                    </a:lnTo>
                    <a:lnTo>
                      <a:pt x="320618" y="513958"/>
                    </a:lnTo>
                    <a:lnTo>
                      <a:pt x="327285" y="515170"/>
                    </a:lnTo>
                    <a:lnTo>
                      <a:pt x="333346" y="514564"/>
                    </a:lnTo>
                    <a:lnTo>
                      <a:pt x="340770" y="515019"/>
                    </a:lnTo>
                    <a:lnTo>
                      <a:pt x="346528" y="514412"/>
                    </a:lnTo>
                    <a:lnTo>
                      <a:pt x="375923" y="510019"/>
                    </a:lnTo>
                    <a:lnTo>
                      <a:pt x="380014" y="508655"/>
                    </a:lnTo>
                    <a:lnTo>
                      <a:pt x="398348" y="504715"/>
                    </a:lnTo>
                    <a:lnTo>
                      <a:pt x="421076" y="497139"/>
                    </a:lnTo>
                    <a:lnTo>
                      <a:pt x="435622" y="488654"/>
                    </a:lnTo>
                    <a:lnTo>
                      <a:pt x="438349" y="485927"/>
                    </a:lnTo>
                    <a:lnTo>
                      <a:pt x="439410" y="480320"/>
                    </a:lnTo>
                    <a:lnTo>
                      <a:pt x="442441" y="475169"/>
                    </a:lnTo>
                    <a:lnTo>
                      <a:pt x="450926" y="465774"/>
                    </a:lnTo>
                    <a:lnTo>
                      <a:pt x="460775" y="450471"/>
                    </a:lnTo>
                    <a:lnTo>
                      <a:pt x="462290" y="447137"/>
                    </a:lnTo>
                    <a:lnTo>
                      <a:pt x="462441" y="443501"/>
                    </a:lnTo>
                    <a:lnTo>
                      <a:pt x="461684" y="433804"/>
                    </a:lnTo>
                    <a:lnTo>
                      <a:pt x="461229" y="432591"/>
                    </a:lnTo>
                    <a:lnTo>
                      <a:pt x="460320" y="431228"/>
                    </a:lnTo>
                    <a:lnTo>
                      <a:pt x="455168" y="431379"/>
                    </a:lnTo>
                    <a:lnTo>
                      <a:pt x="451380" y="429712"/>
                    </a:lnTo>
                    <a:lnTo>
                      <a:pt x="446229" y="425015"/>
                    </a:lnTo>
                    <a:lnTo>
                      <a:pt x="444259" y="421379"/>
                    </a:lnTo>
                    <a:lnTo>
                      <a:pt x="443198" y="417439"/>
                    </a:lnTo>
                    <a:lnTo>
                      <a:pt x="443804" y="411833"/>
                    </a:lnTo>
                    <a:lnTo>
                      <a:pt x="449108" y="405166"/>
                    </a:lnTo>
                    <a:lnTo>
                      <a:pt x="448804" y="400772"/>
                    </a:lnTo>
                    <a:lnTo>
                      <a:pt x="445168" y="395317"/>
                    </a:lnTo>
                    <a:lnTo>
                      <a:pt x="438501" y="390014"/>
                    </a:lnTo>
                    <a:lnTo>
                      <a:pt x="432592" y="386226"/>
                    </a:lnTo>
                    <a:lnTo>
                      <a:pt x="418349" y="379711"/>
                    </a:lnTo>
                    <a:lnTo>
                      <a:pt x="414712" y="375014"/>
                    </a:lnTo>
                    <a:lnTo>
                      <a:pt x="413349" y="372741"/>
                    </a:lnTo>
                    <a:lnTo>
                      <a:pt x="411682" y="367741"/>
                    </a:lnTo>
                    <a:lnTo>
                      <a:pt x="413046" y="366680"/>
                    </a:lnTo>
                    <a:lnTo>
                      <a:pt x="414106" y="366377"/>
                    </a:lnTo>
                    <a:lnTo>
                      <a:pt x="415318" y="364559"/>
                    </a:lnTo>
                    <a:lnTo>
                      <a:pt x="414864" y="360468"/>
                    </a:lnTo>
                    <a:lnTo>
                      <a:pt x="414258" y="358346"/>
                    </a:lnTo>
                    <a:lnTo>
                      <a:pt x="413500" y="355467"/>
                    </a:lnTo>
                    <a:lnTo>
                      <a:pt x="411530" y="351073"/>
                    </a:lnTo>
                    <a:lnTo>
                      <a:pt x="411076" y="348346"/>
                    </a:lnTo>
                    <a:lnTo>
                      <a:pt x="413652" y="336830"/>
                    </a:lnTo>
                    <a:lnTo>
                      <a:pt x="414409" y="331527"/>
                    </a:lnTo>
                    <a:lnTo>
                      <a:pt x="415773" y="330315"/>
                    </a:lnTo>
                    <a:lnTo>
                      <a:pt x="417591" y="330618"/>
                    </a:lnTo>
                    <a:lnTo>
                      <a:pt x="419258" y="330467"/>
                    </a:lnTo>
                    <a:lnTo>
                      <a:pt x="420622" y="328497"/>
                    </a:lnTo>
                    <a:lnTo>
                      <a:pt x="421379" y="326830"/>
                    </a:lnTo>
                    <a:lnTo>
                      <a:pt x="420016" y="314860"/>
                    </a:lnTo>
                    <a:lnTo>
                      <a:pt x="420470" y="312133"/>
                    </a:lnTo>
                    <a:lnTo>
                      <a:pt x="422591" y="307587"/>
                    </a:lnTo>
                    <a:lnTo>
                      <a:pt x="422743" y="305314"/>
                    </a:lnTo>
                    <a:lnTo>
                      <a:pt x="421531" y="303344"/>
                    </a:lnTo>
                    <a:lnTo>
                      <a:pt x="421228" y="301374"/>
                    </a:lnTo>
                    <a:lnTo>
                      <a:pt x="421834" y="299405"/>
                    </a:lnTo>
                    <a:lnTo>
                      <a:pt x="421682" y="297435"/>
                    </a:lnTo>
                    <a:lnTo>
                      <a:pt x="420925" y="295617"/>
                    </a:lnTo>
                    <a:lnTo>
                      <a:pt x="421531" y="294102"/>
                    </a:lnTo>
                    <a:lnTo>
                      <a:pt x="423501" y="292889"/>
                    </a:lnTo>
                    <a:lnTo>
                      <a:pt x="425016" y="291071"/>
                    </a:lnTo>
                    <a:lnTo>
                      <a:pt x="425925" y="288496"/>
                    </a:lnTo>
                    <a:lnTo>
                      <a:pt x="426379" y="286526"/>
                    </a:lnTo>
                    <a:lnTo>
                      <a:pt x="426379" y="285162"/>
                    </a:lnTo>
                    <a:lnTo>
                      <a:pt x="425773" y="283950"/>
                    </a:lnTo>
                    <a:lnTo>
                      <a:pt x="424561" y="282738"/>
                    </a:lnTo>
                    <a:lnTo>
                      <a:pt x="425167" y="280313"/>
                    </a:lnTo>
                    <a:lnTo>
                      <a:pt x="427440" y="276828"/>
                    </a:lnTo>
                    <a:lnTo>
                      <a:pt x="428955" y="273646"/>
                    </a:lnTo>
                    <a:lnTo>
                      <a:pt x="429713" y="270919"/>
                    </a:lnTo>
                    <a:lnTo>
                      <a:pt x="429713" y="268646"/>
                    </a:lnTo>
                    <a:lnTo>
                      <a:pt x="428955" y="266979"/>
                    </a:lnTo>
                    <a:lnTo>
                      <a:pt x="429258" y="265919"/>
                    </a:lnTo>
                    <a:lnTo>
                      <a:pt x="430622" y="265312"/>
                    </a:lnTo>
                    <a:lnTo>
                      <a:pt x="431228" y="263494"/>
                    </a:lnTo>
                    <a:lnTo>
                      <a:pt x="431077" y="259100"/>
                    </a:lnTo>
                    <a:lnTo>
                      <a:pt x="429561" y="255464"/>
                    </a:lnTo>
                    <a:lnTo>
                      <a:pt x="430622" y="252585"/>
                    </a:lnTo>
                    <a:lnTo>
                      <a:pt x="433804" y="249251"/>
                    </a:lnTo>
                    <a:lnTo>
                      <a:pt x="435471" y="246524"/>
                    </a:lnTo>
                    <a:lnTo>
                      <a:pt x="435622" y="244554"/>
                    </a:lnTo>
                    <a:lnTo>
                      <a:pt x="436683" y="243342"/>
                    </a:lnTo>
                    <a:lnTo>
                      <a:pt x="437895" y="241979"/>
                    </a:lnTo>
                    <a:lnTo>
                      <a:pt x="442289" y="238796"/>
                    </a:lnTo>
                    <a:lnTo>
                      <a:pt x="444713" y="235918"/>
                    </a:lnTo>
                    <a:lnTo>
                      <a:pt x="445168" y="233493"/>
                    </a:lnTo>
                    <a:lnTo>
                      <a:pt x="447289" y="231220"/>
                    </a:lnTo>
                    <a:lnTo>
                      <a:pt x="450926" y="229251"/>
                    </a:lnTo>
                    <a:lnTo>
                      <a:pt x="455017" y="225614"/>
                    </a:lnTo>
                    <a:lnTo>
                      <a:pt x="459563" y="220311"/>
                    </a:lnTo>
                    <a:lnTo>
                      <a:pt x="462290" y="216372"/>
                    </a:lnTo>
                    <a:lnTo>
                      <a:pt x="463199" y="213795"/>
                    </a:lnTo>
                    <a:lnTo>
                      <a:pt x="465017" y="211826"/>
                    </a:lnTo>
                    <a:lnTo>
                      <a:pt x="467593" y="210462"/>
                    </a:lnTo>
                    <a:lnTo>
                      <a:pt x="469866" y="207583"/>
                    </a:lnTo>
                    <a:lnTo>
                      <a:pt x="471836" y="203340"/>
                    </a:lnTo>
                    <a:lnTo>
                      <a:pt x="474412" y="199856"/>
                    </a:lnTo>
                    <a:lnTo>
                      <a:pt x="477745" y="197280"/>
                    </a:lnTo>
                    <a:lnTo>
                      <a:pt x="479563" y="195159"/>
                    </a:lnTo>
                    <a:lnTo>
                      <a:pt x="480018" y="193492"/>
                    </a:lnTo>
                    <a:lnTo>
                      <a:pt x="480927" y="192431"/>
                    </a:lnTo>
                    <a:lnTo>
                      <a:pt x="482442" y="191976"/>
                    </a:lnTo>
                    <a:lnTo>
                      <a:pt x="483200" y="191067"/>
                    </a:lnTo>
                    <a:lnTo>
                      <a:pt x="483200" y="189704"/>
                    </a:lnTo>
                    <a:lnTo>
                      <a:pt x="483654" y="188795"/>
                    </a:lnTo>
                    <a:lnTo>
                      <a:pt x="484563" y="188340"/>
                    </a:lnTo>
                    <a:lnTo>
                      <a:pt x="486079" y="188492"/>
                    </a:lnTo>
                    <a:lnTo>
                      <a:pt x="488048" y="189249"/>
                    </a:lnTo>
                    <a:lnTo>
                      <a:pt x="489260" y="189098"/>
                    </a:lnTo>
                    <a:lnTo>
                      <a:pt x="489715" y="188037"/>
                    </a:lnTo>
                    <a:lnTo>
                      <a:pt x="489109" y="186825"/>
                    </a:lnTo>
                    <a:lnTo>
                      <a:pt x="487594" y="185461"/>
                    </a:lnTo>
                    <a:lnTo>
                      <a:pt x="488200" y="183946"/>
                    </a:lnTo>
                    <a:lnTo>
                      <a:pt x="492139" y="181521"/>
                    </a:lnTo>
                    <a:lnTo>
                      <a:pt x="495018" y="180612"/>
                    </a:lnTo>
                    <a:lnTo>
                      <a:pt x="496837" y="179098"/>
                    </a:lnTo>
                    <a:lnTo>
                      <a:pt x="498503" y="176673"/>
                    </a:lnTo>
                    <a:lnTo>
                      <a:pt x="501382" y="175006"/>
                    </a:lnTo>
                    <a:lnTo>
                      <a:pt x="505322" y="174097"/>
                    </a:lnTo>
                    <a:lnTo>
                      <a:pt x="506382" y="173188"/>
                    </a:lnTo>
                    <a:lnTo>
                      <a:pt x="506231" y="171976"/>
                    </a:lnTo>
                    <a:lnTo>
                      <a:pt x="506988" y="171067"/>
                    </a:lnTo>
                    <a:lnTo>
                      <a:pt x="509261" y="170461"/>
                    </a:lnTo>
                    <a:lnTo>
                      <a:pt x="510474" y="169400"/>
                    </a:lnTo>
                    <a:lnTo>
                      <a:pt x="510625" y="167733"/>
                    </a:lnTo>
                    <a:lnTo>
                      <a:pt x="511383" y="166218"/>
                    </a:lnTo>
                    <a:lnTo>
                      <a:pt x="512595" y="164854"/>
                    </a:lnTo>
                    <a:lnTo>
                      <a:pt x="513958" y="164248"/>
                    </a:lnTo>
                    <a:lnTo>
                      <a:pt x="515474" y="164551"/>
                    </a:lnTo>
                    <a:lnTo>
                      <a:pt x="516989" y="163945"/>
                    </a:lnTo>
                    <a:lnTo>
                      <a:pt x="518352" y="162430"/>
                    </a:lnTo>
                    <a:lnTo>
                      <a:pt x="520019" y="161824"/>
                    </a:lnTo>
                    <a:lnTo>
                      <a:pt x="521989" y="161975"/>
                    </a:lnTo>
                    <a:lnTo>
                      <a:pt x="523050" y="161673"/>
                    </a:lnTo>
                    <a:lnTo>
                      <a:pt x="526383" y="161066"/>
                    </a:lnTo>
                    <a:lnTo>
                      <a:pt x="528201" y="159854"/>
                    </a:lnTo>
                    <a:lnTo>
                      <a:pt x="529717" y="157127"/>
                    </a:lnTo>
                    <a:lnTo>
                      <a:pt x="531080" y="156066"/>
                    </a:lnTo>
                    <a:lnTo>
                      <a:pt x="532292" y="156672"/>
                    </a:lnTo>
                    <a:lnTo>
                      <a:pt x="534262" y="155763"/>
                    </a:lnTo>
                    <a:lnTo>
                      <a:pt x="537141" y="153339"/>
                    </a:lnTo>
                    <a:lnTo>
                      <a:pt x="537747" y="153339"/>
                    </a:lnTo>
                    <a:lnTo>
                      <a:pt x="539868" y="152278"/>
                    </a:lnTo>
                    <a:lnTo>
                      <a:pt x="541990" y="148036"/>
                    </a:lnTo>
                    <a:lnTo>
                      <a:pt x="543050" y="145308"/>
                    </a:lnTo>
                    <a:lnTo>
                      <a:pt x="542747" y="143035"/>
                    </a:lnTo>
                    <a:lnTo>
                      <a:pt x="541990" y="141369"/>
                    </a:lnTo>
                    <a:lnTo>
                      <a:pt x="542293" y="138944"/>
                    </a:lnTo>
                    <a:lnTo>
                      <a:pt x="542444" y="1339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8" name="Freeform: Shape 3347">
                <a:extLst>
                  <a:ext uri="{FF2B5EF4-FFF2-40B4-BE49-F238E27FC236}">
                    <a16:creationId xmlns:a16="http://schemas.microsoft.com/office/drawing/2014/main" id="{3200611D-EE76-45A7-AB11-89A5F3D39ECC}"/>
                  </a:ext>
                </a:extLst>
              </p:cNvPr>
              <p:cNvSpPr/>
              <p:nvPr/>
            </p:nvSpPr>
            <p:spPr>
              <a:xfrm>
                <a:off x="6097969" y="4682907"/>
                <a:ext cx="336982" cy="373650"/>
              </a:xfrm>
              <a:custGeom>
                <a:avLst/>
                <a:gdLst>
                  <a:gd name="connsiteX0" fmla="*/ 10606 w 336982"/>
                  <a:gd name="connsiteY0" fmla="*/ 20607 h 373650"/>
                  <a:gd name="connsiteX1" fmla="*/ 12425 w 336982"/>
                  <a:gd name="connsiteY1" fmla="*/ 24092 h 373650"/>
                  <a:gd name="connsiteX2" fmla="*/ 13182 w 336982"/>
                  <a:gd name="connsiteY2" fmla="*/ 28031 h 373650"/>
                  <a:gd name="connsiteX3" fmla="*/ 12425 w 336982"/>
                  <a:gd name="connsiteY3" fmla="*/ 30001 h 373650"/>
                  <a:gd name="connsiteX4" fmla="*/ 11819 w 336982"/>
                  <a:gd name="connsiteY4" fmla="*/ 32577 h 373650"/>
                  <a:gd name="connsiteX5" fmla="*/ 13031 w 336982"/>
                  <a:gd name="connsiteY5" fmla="*/ 35304 h 373650"/>
                  <a:gd name="connsiteX6" fmla="*/ 13485 w 336982"/>
                  <a:gd name="connsiteY6" fmla="*/ 36062 h 373650"/>
                  <a:gd name="connsiteX7" fmla="*/ 14698 w 336982"/>
                  <a:gd name="connsiteY7" fmla="*/ 35759 h 373650"/>
                  <a:gd name="connsiteX8" fmla="*/ 18334 w 336982"/>
                  <a:gd name="connsiteY8" fmla="*/ 35304 h 373650"/>
                  <a:gd name="connsiteX9" fmla="*/ 21061 w 336982"/>
                  <a:gd name="connsiteY9" fmla="*/ 35001 h 373650"/>
                  <a:gd name="connsiteX10" fmla="*/ 21516 w 336982"/>
                  <a:gd name="connsiteY10" fmla="*/ 34395 h 373650"/>
                  <a:gd name="connsiteX11" fmla="*/ 21970 w 336982"/>
                  <a:gd name="connsiteY11" fmla="*/ 26971 h 373650"/>
                  <a:gd name="connsiteX12" fmla="*/ 22122 w 336982"/>
                  <a:gd name="connsiteY12" fmla="*/ 19395 h 373650"/>
                  <a:gd name="connsiteX13" fmla="*/ 21213 w 336982"/>
                  <a:gd name="connsiteY13" fmla="*/ 18334 h 373650"/>
                  <a:gd name="connsiteX14" fmla="*/ 20304 w 336982"/>
                  <a:gd name="connsiteY14" fmla="*/ 17728 h 373650"/>
                  <a:gd name="connsiteX15" fmla="*/ 20304 w 336982"/>
                  <a:gd name="connsiteY15" fmla="*/ 17273 h 373650"/>
                  <a:gd name="connsiteX16" fmla="*/ 21667 w 336982"/>
                  <a:gd name="connsiteY16" fmla="*/ 16364 h 373650"/>
                  <a:gd name="connsiteX17" fmla="*/ 23637 w 336982"/>
                  <a:gd name="connsiteY17" fmla="*/ 15304 h 373650"/>
                  <a:gd name="connsiteX18" fmla="*/ 24243 w 336982"/>
                  <a:gd name="connsiteY18" fmla="*/ 14849 h 373650"/>
                  <a:gd name="connsiteX19" fmla="*/ 26364 w 336982"/>
                  <a:gd name="connsiteY19" fmla="*/ 12879 h 373650"/>
                  <a:gd name="connsiteX20" fmla="*/ 30607 w 336982"/>
                  <a:gd name="connsiteY20" fmla="*/ 8334 h 373650"/>
                  <a:gd name="connsiteX21" fmla="*/ 33789 w 336982"/>
                  <a:gd name="connsiteY21" fmla="*/ 7273 h 373650"/>
                  <a:gd name="connsiteX22" fmla="*/ 36819 w 336982"/>
                  <a:gd name="connsiteY22" fmla="*/ 6061 h 373650"/>
                  <a:gd name="connsiteX23" fmla="*/ 37274 w 336982"/>
                  <a:gd name="connsiteY23" fmla="*/ 5606 h 373650"/>
                  <a:gd name="connsiteX24" fmla="*/ 36668 w 336982"/>
                  <a:gd name="connsiteY24" fmla="*/ 5152 h 373650"/>
                  <a:gd name="connsiteX25" fmla="*/ 34547 w 336982"/>
                  <a:gd name="connsiteY25" fmla="*/ 3333 h 373650"/>
                  <a:gd name="connsiteX26" fmla="*/ 32122 w 336982"/>
                  <a:gd name="connsiteY26" fmla="*/ 455 h 373650"/>
                  <a:gd name="connsiteX27" fmla="*/ 31213 w 336982"/>
                  <a:gd name="connsiteY27" fmla="*/ 0 h 373650"/>
                  <a:gd name="connsiteX28" fmla="*/ 29850 w 336982"/>
                  <a:gd name="connsiteY28" fmla="*/ 0 h 373650"/>
                  <a:gd name="connsiteX29" fmla="*/ 27728 w 336982"/>
                  <a:gd name="connsiteY29" fmla="*/ 1061 h 373650"/>
                  <a:gd name="connsiteX30" fmla="*/ 25607 w 336982"/>
                  <a:gd name="connsiteY30" fmla="*/ 2727 h 373650"/>
                  <a:gd name="connsiteX31" fmla="*/ 21819 w 336982"/>
                  <a:gd name="connsiteY31" fmla="*/ 4243 h 373650"/>
                  <a:gd name="connsiteX32" fmla="*/ 18637 w 336982"/>
                  <a:gd name="connsiteY32" fmla="*/ 5152 h 373650"/>
                  <a:gd name="connsiteX33" fmla="*/ 18334 w 336982"/>
                  <a:gd name="connsiteY33" fmla="*/ 6212 h 373650"/>
                  <a:gd name="connsiteX34" fmla="*/ 17576 w 336982"/>
                  <a:gd name="connsiteY34" fmla="*/ 8031 h 373650"/>
                  <a:gd name="connsiteX35" fmla="*/ 16516 w 336982"/>
                  <a:gd name="connsiteY35" fmla="*/ 9091 h 373650"/>
                  <a:gd name="connsiteX36" fmla="*/ 13637 w 336982"/>
                  <a:gd name="connsiteY36" fmla="*/ 9394 h 373650"/>
                  <a:gd name="connsiteX37" fmla="*/ 12576 w 336982"/>
                  <a:gd name="connsiteY37" fmla="*/ 11061 h 373650"/>
                  <a:gd name="connsiteX38" fmla="*/ 10152 w 336982"/>
                  <a:gd name="connsiteY38" fmla="*/ 14243 h 373650"/>
                  <a:gd name="connsiteX39" fmla="*/ 8485 w 336982"/>
                  <a:gd name="connsiteY39" fmla="*/ 15607 h 373650"/>
                  <a:gd name="connsiteX40" fmla="*/ 9091 w 336982"/>
                  <a:gd name="connsiteY40" fmla="*/ 16516 h 373650"/>
                  <a:gd name="connsiteX41" fmla="*/ 10606 w 336982"/>
                  <a:gd name="connsiteY41" fmla="*/ 20607 h 373650"/>
                  <a:gd name="connsiteX42" fmla="*/ 336982 w 336982"/>
                  <a:gd name="connsiteY42" fmla="*/ 189704 h 373650"/>
                  <a:gd name="connsiteX43" fmla="*/ 336528 w 336982"/>
                  <a:gd name="connsiteY43" fmla="*/ 188037 h 373650"/>
                  <a:gd name="connsiteX44" fmla="*/ 336073 w 336982"/>
                  <a:gd name="connsiteY44" fmla="*/ 184401 h 373650"/>
                  <a:gd name="connsiteX45" fmla="*/ 335467 w 336982"/>
                  <a:gd name="connsiteY45" fmla="*/ 179400 h 373650"/>
                  <a:gd name="connsiteX46" fmla="*/ 334861 w 336982"/>
                  <a:gd name="connsiteY46" fmla="*/ 175764 h 373650"/>
                  <a:gd name="connsiteX47" fmla="*/ 333800 w 336982"/>
                  <a:gd name="connsiteY47" fmla="*/ 176370 h 373650"/>
                  <a:gd name="connsiteX48" fmla="*/ 333194 w 336982"/>
                  <a:gd name="connsiteY48" fmla="*/ 177734 h 373650"/>
                  <a:gd name="connsiteX49" fmla="*/ 333042 w 336982"/>
                  <a:gd name="connsiteY49" fmla="*/ 178794 h 373650"/>
                  <a:gd name="connsiteX50" fmla="*/ 331224 w 336982"/>
                  <a:gd name="connsiteY50" fmla="*/ 179704 h 373650"/>
                  <a:gd name="connsiteX51" fmla="*/ 327436 w 336982"/>
                  <a:gd name="connsiteY51" fmla="*/ 179552 h 373650"/>
                  <a:gd name="connsiteX52" fmla="*/ 323648 w 336982"/>
                  <a:gd name="connsiteY52" fmla="*/ 178794 h 373650"/>
                  <a:gd name="connsiteX53" fmla="*/ 321073 w 336982"/>
                  <a:gd name="connsiteY53" fmla="*/ 178491 h 373650"/>
                  <a:gd name="connsiteX54" fmla="*/ 319254 w 336982"/>
                  <a:gd name="connsiteY54" fmla="*/ 178643 h 373650"/>
                  <a:gd name="connsiteX55" fmla="*/ 312587 w 336982"/>
                  <a:gd name="connsiteY55" fmla="*/ 181370 h 373650"/>
                  <a:gd name="connsiteX56" fmla="*/ 310314 w 336982"/>
                  <a:gd name="connsiteY56" fmla="*/ 181673 h 373650"/>
                  <a:gd name="connsiteX57" fmla="*/ 303193 w 336982"/>
                  <a:gd name="connsiteY57" fmla="*/ 181522 h 373650"/>
                  <a:gd name="connsiteX58" fmla="*/ 299102 w 336982"/>
                  <a:gd name="connsiteY58" fmla="*/ 180916 h 373650"/>
                  <a:gd name="connsiteX59" fmla="*/ 296223 w 336982"/>
                  <a:gd name="connsiteY59" fmla="*/ 180764 h 373650"/>
                  <a:gd name="connsiteX60" fmla="*/ 294102 w 336982"/>
                  <a:gd name="connsiteY60" fmla="*/ 181673 h 373650"/>
                  <a:gd name="connsiteX61" fmla="*/ 291526 w 336982"/>
                  <a:gd name="connsiteY61" fmla="*/ 183643 h 373650"/>
                  <a:gd name="connsiteX62" fmla="*/ 289405 w 336982"/>
                  <a:gd name="connsiteY62" fmla="*/ 184704 h 373650"/>
                  <a:gd name="connsiteX63" fmla="*/ 288344 w 336982"/>
                  <a:gd name="connsiteY63" fmla="*/ 184552 h 373650"/>
                  <a:gd name="connsiteX64" fmla="*/ 287738 w 336982"/>
                  <a:gd name="connsiteY64" fmla="*/ 183643 h 373650"/>
                  <a:gd name="connsiteX65" fmla="*/ 286829 w 336982"/>
                  <a:gd name="connsiteY65" fmla="*/ 182431 h 373650"/>
                  <a:gd name="connsiteX66" fmla="*/ 286526 w 336982"/>
                  <a:gd name="connsiteY66" fmla="*/ 179400 h 373650"/>
                  <a:gd name="connsiteX67" fmla="*/ 285465 w 336982"/>
                  <a:gd name="connsiteY67" fmla="*/ 176067 h 373650"/>
                  <a:gd name="connsiteX68" fmla="*/ 286223 w 336982"/>
                  <a:gd name="connsiteY68" fmla="*/ 174400 h 373650"/>
                  <a:gd name="connsiteX69" fmla="*/ 288344 w 336982"/>
                  <a:gd name="connsiteY69" fmla="*/ 173188 h 373650"/>
                  <a:gd name="connsiteX70" fmla="*/ 289101 w 336982"/>
                  <a:gd name="connsiteY70" fmla="*/ 170612 h 373650"/>
                  <a:gd name="connsiteX71" fmla="*/ 288496 w 336982"/>
                  <a:gd name="connsiteY71" fmla="*/ 166824 h 373650"/>
                  <a:gd name="connsiteX72" fmla="*/ 288496 w 336982"/>
                  <a:gd name="connsiteY72" fmla="*/ 164097 h 373650"/>
                  <a:gd name="connsiteX73" fmla="*/ 289101 w 336982"/>
                  <a:gd name="connsiteY73" fmla="*/ 162582 h 373650"/>
                  <a:gd name="connsiteX74" fmla="*/ 288344 w 336982"/>
                  <a:gd name="connsiteY74" fmla="*/ 158794 h 373650"/>
                  <a:gd name="connsiteX75" fmla="*/ 286223 w 336982"/>
                  <a:gd name="connsiteY75" fmla="*/ 152733 h 373650"/>
                  <a:gd name="connsiteX76" fmla="*/ 283192 w 336982"/>
                  <a:gd name="connsiteY76" fmla="*/ 147884 h 373650"/>
                  <a:gd name="connsiteX77" fmla="*/ 279404 w 336982"/>
                  <a:gd name="connsiteY77" fmla="*/ 144096 h 373650"/>
                  <a:gd name="connsiteX78" fmla="*/ 276828 w 336982"/>
                  <a:gd name="connsiteY78" fmla="*/ 140460 h 373650"/>
                  <a:gd name="connsiteX79" fmla="*/ 275616 w 336982"/>
                  <a:gd name="connsiteY79" fmla="*/ 136975 h 373650"/>
                  <a:gd name="connsiteX80" fmla="*/ 276071 w 336982"/>
                  <a:gd name="connsiteY80" fmla="*/ 128793 h 373650"/>
                  <a:gd name="connsiteX81" fmla="*/ 277283 w 336982"/>
                  <a:gd name="connsiteY81" fmla="*/ 121520 h 373650"/>
                  <a:gd name="connsiteX82" fmla="*/ 278192 w 336982"/>
                  <a:gd name="connsiteY82" fmla="*/ 115762 h 373650"/>
                  <a:gd name="connsiteX83" fmla="*/ 277889 w 336982"/>
                  <a:gd name="connsiteY83" fmla="*/ 106064 h 373650"/>
                  <a:gd name="connsiteX84" fmla="*/ 275313 w 336982"/>
                  <a:gd name="connsiteY84" fmla="*/ 99852 h 373650"/>
                  <a:gd name="connsiteX85" fmla="*/ 274707 w 336982"/>
                  <a:gd name="connsiteY85" fmla="*/ 93185 h 373650"/>
                  <a:gd name="connsiteX86" fmla="*/ 276222 w 336982"/>
                  <a:gd name="connsiteY86" fmla="*/ 85912 h 373650"/>
                  <a:gd name="connsiteX87" fmla="*/ 276374 w 336982"/>
                  <a:gd name="connsiteY87" fmla="*/ 80912 h 373650"/>
                  <a:gd name="connsiteX88" fmla="*/ 275465 w 336982"/>
                  <a:gd name="connsiteY88" fmla="*/ 78336 h 373650"/>
                  <a:gd name="connsiteX89" fmla="*/ 274858 w 336982"/>
                  <a:gd name="connsiteY89" fmla="*/ 77882 h 373650"/>
                  <a:gd name="connsiteX90" fmla="*/ 273949 w 336982"/>
                  <a:gd name="connsiteY90" fmla="*/ 77579 h 373650"/>
                  <a:gd name="connsiteX91" fmla="*/ 267434 w 336982"/>
                  <a:gd name="connsiteY91" fmla="*/ 77276 h 373650"/>
                  <a:gd name="connsiteX92" fmla="*/ 258646 w 336982"/>
                  <a:gd name="connsiteY92" fmla="*/ 76973 h 373650"/>
                  <a:gd name="connsiteX93" fmla="*/ 251070 w 336982"/>
                  <a:gd name="connsiteY93" fmla="*/ 76821 h 373650"/>
                  <a:gd name="connsiteX94" fmla="*/ 242736 w 336982"/>
                  <a:gd name="connsiteY94" fmla="*/ 76669 h 373650"/>
                  <a:gd name="connsiteX95" fmla="*/ 241372 w 336982"/>
                  <a:gd name="connsiteY95" fmla="*/ 75760 h 373650"/>
                  <a:gd name="connsiteX96" fmla="*/ 240766 w 336982"/>
                  <a:gd name="connsiteY96" fmla="*/ 74094 h 373650"/>
                  <a:gd name="connsiteX97" fmla="*/ 240766 w 336982"/>
                  <a:gd name="connsiteY97" fmla="*/ 72427 h 373650"/>
                  <a:gd name="connsiteX98" fmla="*/ 242433 w 336982"/>
                  <a:gd name="connsiteY98" fmla="*/ 67275 h 373650"/>
                  <a:gd name="connsiteX99" fmla="*/ 242130 w 336982"/>
                  <a:gd name="connsiteY99" fmla="*/ 66821 h 373650"/>
                  <a:gd name="connsiteX100" fmla="*/ 239251 w 336982"/>
                  <a:gd name="connsiteY100" fmla="*/ 66669 h 373650"/>
                  <a:gd name="connsiteX101" fmla="*/ 231221 w 336982"/>
                  <a:gd name="connsiteY101" fmla="*/ 67427 h 373650"/>
                  <a:gd name="connsiteX102" fmla="*/ 225918 w 336982"/>
                  <a:gd name="connsiteY102" fmla="*/ 68184 h 373650"/>
                  <a:gd name="connsiteX103" fmla="*/ 222584 w 336982"/>
                  <a:gd name="connsiteY103" fmla="*/ 68487 h 373650"/>
                  <a:gd name="connsiteX104" fmla="*/ 216675 w 336982"/>
                  <a:gd name="connsiteY104" fmla="*/ 69851 h 373650"/>
                  <a:gd name="connsiteX105" fmla="*/ 213038 w 336982"/>
                  <a:gd name="connsiteY105" fmla="*/ 72730 h 373650"/>
                  <a:gd name="connsiteX106" fmla="*/ 211826 w 336982"/>
                  <a:gd name="connsiteY106" fmla="*/ 76367 h 373650"/>
                  <a:gd name="connsiteX107" fmla="*/ 211977 w 336982"/>
                  <a:gd name="connsiteY107" fmla="*/ 79397 h 373650"/>
                  <a:gd name="connsiteX108" fmla="*/ 211826 w 336982"/>
                  <a:gd name="connsiteY108" fmla="*/ 81670 h 373650"/>
                  <a:gd name="connsiteX109" fmla="*/ 210159 w 336982"/>
                  <a:gd name="connsiteY109" fmla="*/ 83943 h 373650"/>
                  <a:gd name="connsiteX110" fmla="*/ 208796 w 336982"/>
                  <a:gd name="connsiteY110" fmla="*/ 86670 h 373650"/>
                  <a:gd name="connsiteX111" fmla="*/ 208796 w 336982"/>
                  <a:gd name="connsiteY111" fmla="*/ 88033 h 373650"/>
                  <a:gd name="connsiteX112" fmla="*/ 208038 w 336982"/>
                  <a:gd name="connsiteY112" fmla="*/ 95155 h 373650"/>
                  <a:gd name="connsiteX113" fmla="*/ 202583 w 336982"/>
                  <a:gd name="connsiteY113" fmla="*/ 96064 h 373650"/>
                  <a:gd name="connsiteX114" fmla="*/ 197129 w 336982"/>
                  <a:gd name="connsiteY114" fmla="*/ 96064 h 373650"/>
                  <a:gd name="connsiteX115" fmla="*/ 195916 w 336982"/>
                  <a:gd name="connsiteY115" fmla="*/ 95913 h 373650"/>
                  <a:gd name="connsiteX116" fmla="*/ 189249 w 336982"/>
                  <a:gd name="connsiteY116" fmla="*/ 94246 h 373650"/>
                  <a:gd name="connsiteX117" fmla="*/ 186825 w 336982"/>
                  <a:gd name="connsiteY117" fmla="*/ 94246 h 373650"/>
                  <a:gd name="connsiteX118" fmla="*/ 184704 w 336982"/>
                  <a:gd name="connsiteY118" fmla="*/ 95155 h 373650"/>
                  <a:gd name="connsiteX119" fmla="*/ 180613 w 336982"/>
                  <a:gd name="connsiteY119" fmla="*/ 96064 h 373650"/>
                  <a:gd name="connsiteX120" fmla="*/ 176673 w 336982"/>
                  <a:gd name="connsiteY120" fmla="*/ 96670 h 373650"/>
                  <a:gd name="connsiteX121" fmla="*/ 172734 w 336982"/>
                  <a:gd name="connsiteY121" fmla="*/ 98792 h 373650"/>
                  <a:gd name="connsiteX122" fmla="*/ 171673 w 336982"/>
                  <a:gd name="connsiteY122" fmla="*/ 98943 h 373650"/>
                  <a:gd name="connsiteX123" fmla="*/ 169097 w 336982"/>
                  <a:gd name="connsiteY123" fmla="*/ 97882 h 373650"/>
                  <a:gd name="connsiteX124" fmla="*/ 165460 w 336982"/>
                  <a:gd name="connsiteY124" fmla="*/ 98034 h 373650"/>
                  <a:gd name="connsiteX125" fmla="*/ 161824 w 336982"/>
                  <a:gd name="connsiteY125" fmla="*/ 98488 h 373650"/>
                  <a:gd name="connsiteX126" fmla="*/ 160006 w 336982"/>
                  <a:gd name="connsiteY126" fmla="*/ 98792 h 373650"/>
                  <a:gd name="connsiteX127" fmla="*/ 158793 w 336982"/>
                  <a:gd name="connsiteY127" fmla="*/ 98186 h 373650"/>
                  <a:gd name="connsiteX128" fmla="*/ 155309 w 336982"/>
                  <a:gd name="connsiteY128" fmla="*/ 92882 h 373650"/>
                  <a:gd name="connsiteX129" fmla="*/ 150763 w 336982"/>
                  <a:gd name="connsiteY129" fmla="*/ 85761 h 373650"/>
                  <a:gd name="connsiteX130" fmla="*/ 148339 w 336982"/>
                  <a:gd name="connsiteY130" fmla="*/ 81367 h 373650"/>
                  <a:gd name="connsiteX131" fmla="*/ 147429 w 336982"/>
                  <a:gd name="connsiteY131" fmla="*/ 80155 h 373650"/>
                  <a:gd name="connsiteX132" fmla="*/ 145915 w 336982"/>
                  <a:gd name="connsiteY132" fmla="*/ 78639 h 373650"/>
                  <a:gd name="connsiteX133" fmla="*/ 143793 w 336982"/>
                  <a:gd name="connsiteY133" fmla="*/ 75760 h 373650"/>
                  <a:gd name="connsiteX134" fmla="*/ 142884 w 336982"/>
                  <a:gd name="connsiteY134" fmla="*/ 73033 h 373650"/>
                  <a:gd name="connsiteX135" fmla="*/ 143187 w 336982"/>
                  <a:gd name="connsiteY135" fmla="*/ 70457 h 373650"/>
                  <a:gd name="connsiteX136" fmla="*/ 141975 w 336982"/>
                  <a:gd name="connsiteY136" fmla="*/ 66972 h 373650"/>
                  <a:gd name="connsiteX137" fmla="*/ 139096 w 336982"/>
                  <a:gd name="connsiteY137" fmla="*/ 62578 h 373650"/>
                  <a:gd name="connsiteX138" fmla="*/ 137126 w 336982"/>
                  <a:gd name="connsiteY138" fmla="*/ 58336 h 373650"/>
                  <a:gd name="connsiteX139" fmla="*/ 136217 w 336982"/>
                  <a:gd name="connsiteY139" fmla="*/ 54396 h 373650"/>
                  <a:gd name="connsiteX140" fmla="*/ 135914 w 336982"/>
                  <a:gd name="connsiteY140" fmla="*/ 50911 h 373650"/>
                  <a:gd name="connsiteX141" fmla="*/ 136369 w 336982"/>
                  <a:gd name="connsiteY141" fmla="*/ 48032 h 373650"/>
                  <a:gd name="connsiteX142" fmla="*/ 135762 w 336982"/>
                  <a:gd name="connsiteY142" fmla="*/ 45911 h 373650"/>
                  <a:gd name="connsiteX143" fmla="*/ 134247 w 336982"/>
                  <a:gd name="connsiteY143" fmla="*/ 44547 h 373650"/>
                  <a:gd name="connsiteX144" fmla="*/ 133338 w 336982"/>
                  <a:gd name="connsiteY144" fmla="*/ 42880 h 373650"/>
                  <a:gd name="connsiteX145" fmla="*/ 132732 w 336982"/>
                  <a:gd name="connsiteY145" fmla="*/ 42123 h 373650"/>
                  <a:gd name="connsiteX146" fmla="*/ 131368 w 336982"/>
                  <a:gd name="connsiteY146" fmla="*/ 40456 h 373650"/>
                  <a:gd name="connsiteX147" fmla="*/ 128489 w 336982"/>
                  <a:gd name="connsiteY147" fmla="*/ 38638 h 373650"/>
                  <a:gd name="connsiteX148" fmla="*/ 125308 w 336982"/>
                  <a:gd name="connsiteY148" fmla="*/ 37729 h 373650"/>
                  <a:gd name="connsiteX149" fmla="*/ 118338 w 336982"/>
                  <a:gd name="connsiteY149" fmla="*/ 37729 h 373650"/>
                  <a:gd name="connsiteX150" fmla="*/ 109246 w 336982"/>
                  <a:gd name="connsiteY150" fmla="*/ 37729 h 373650"/>
                  <a:gd name="connsiteX151" fmla="*/ 100913 w 336982"/>
                  <a:gd name="connsiteY151" fmla="*/ 37880 h 373650"/>
                  <a:gd name="connsiteX152" fmla="*/ 91670 w 336982"/>
                  <a:gd name="connsiteY152" fmla="*/ 38032 h 373650"/>
                  <a:gd name="connsiteX153" fmla="*/ 82427 w 336982"/>
                  <a:gd name="connsiteY153" fmla="*/ 38183 h 373650"/>
                  <a:gd name="connsiteX154" fmla="*/ 79851 w 336982"/>
                  <a:gd name="connsiteY154" fmla="*/ 38486 h 373650"/>
                  <a:gd name="connsiteX155" fmla="*/ 72730 w 336982"/>
                  <a:gd name="connsiteY155" fmla="*/ 38638 h 373650"/>
                  <a:gd name="connsiteX156" fmla="*/ 66972 w 336982"/>
                  <a:gd name="connsiteY156" fmla="*/ 38183 h 373650"/>
                  <a:gd name="connsiteX157" fmla="*/ 64851 w 336982"/>
                  <a:gd name="connsiteY157" fmla="*/ 37880 h 373650"/>
                  <a:gd name="connsiteX158" fmla="*/ 61215 w 336982"/>
                  <a:gd name="connsiteY158" fmla="*/ 37729 h 373650"/>
                  <a:gd name="connsiteX159" fmla="*/ 55305 w 336982"/>
                  <a:gd name="connsiteY159" fmla="*/ 37729 h 373650"/>
                  <a:gd name="connsiteX160" fmla="*/ 52123 w 336982"/>
                  <a:gd name="connsiteY160" fmla="*/ 37880 h 373650"/>
                  <a:gd name="connsiteX161" fmla="*/ 44547 w 336982"/>
                  <a:gd name="connsiteY161" fmla="*/ 37880 h 373650"/>
                  <a:gd name="connsiteX162" fmla="*/ 43789 w 336982"/>
                  <a:gd name="connsiteY162" fmla="*/ 37880 h 373650"/>
                  <a:gd name="connsiteX163" fmla="*/ 42577 w 336982"/>
                  <a:gd name="connsiteY163" fmla="*/ 38335 h 373650"/>
                  <a:gd name="connsiteX164" fmla="*/ 39395 w 336982"/>
                  <a:gd name="connsiteY164" fmla="*/ 37577 h 373650"/>
                  <a:gd name="connsiteX165" fmla="*/ 36213 w 336982"/>
                  <a:gd name="connsiteY165" fmla="*/ 37880 h 373650"/>
                  <a:gd name="connsiteX166" fmla="*/ 34547 w 336982"/>
                  <a:gd name="connsiteY166" fmla="*/ 39092 h 373650"/>
                  <a:gd name="connsiteX167" fmla="*/ 28486 w 336982"/>
                  <a:gd name="connsiteY167" fmla="*/ 41668 h 373650"/>
                  <a:gd name="connsiteX168" fmla="*/ 21970 w 336982"/>
                  <a:gd name="connsiteY168" fmla="*/ 42880 h 373650"/>
                  <a:gd name="connsiteX169" fmla="*/ 17273 w 336982"/>
                  <a:gd name="connsiteY169" fmla="*/ 43941 h 373650"/>
                  <a:gd name="connsiteX170" fmla="*/ 15152 w 336982"/>
                  <a:gd name="connsiteY170" fmla="*/ 44093 h 373650"/>
                  <a:gd name="connsiteX171" fmla="*/ 14698 w 336982"/>
                  <a:gd name="connsiteY171" fmla="*/ 45002 h 373650"/>
                  <a:gd name="connsiteX172" fmla="*/ 16061 w 336982"/>
                  <a:gd name="connsiteY172" fmla="*/ 46668 h 373650"/>
                  <a:gd name="connsiteX173" fmla="*/ 17879 w 336982"/>
                  <a:gd name="connsiteY173" fmla="*/ 51214 h 373650"/>
                  <a:gd name="connsiteX174" fmla="*/ 21213 w 336982"/>
                  <a:gd name="connsiteY174" fmla="*/ 57729 h 373650"/>
                  <a:gd name="connsiteX175" fmla="*/ 29546 w 336982"/>
                  <a:gd name="connsiteY175" fmla="*/ 67730 h 373650"/>
                  <a:gd name="connsiteX176" fmla="*/ 30607 w 336982"/>
                  <a:gd name="connsiteY176" fmla="*/ 75306 h 373650"/>
                  <a:gd name="connsiteX177" fmla="*/ 36819 w 336982"/>
                  <a:gd name="connsiteY177" fmla="*/ 90306 h 373650"/>
                  <a:gd name="connsiteX178" fmla="*/ 44698 w 336982"/>
                  <a:gd name="connsiteY178" fmla="*/ 106368 h 373650"/>
                  <a:gd name="connsiteX179" fmla="*/ 44395 w 336982"/>
                  <a:gd name="connsiteY179" fmla="*/ 109095 h 373650"/>
                  <a:gd name="connsiteX180" fmla="*/ 44395 w 336982"/>
                  <a:gd name="connsiteY180" fmla="*/ 111368 h 373650"/>
                  <a:gd name="connsiteX181" fmla="*/ 44698 w 336982"/>
                  <a:gd name="connsiteY181" fmla="*/ 113338 h 373650"/>
                  <a:gd name="connsiteX182" fmla="*/ 44244 w 336982"/>
                  <a:gd name="connsiteY182" fmla="*/ 115004 h 373650"/>
                  <a:gd name="connsiteX183" fmla="*/ 35910 w 336982"/>
                  <a:gd name="connsiteY183" fmla="*/ 123792 h 373650"/>
                  <a:gd name="connsiteX184" fmla="*/ 35759 w 336982"/>
                  <a:gd name="connsiteY184" fmla="*/ 122883 h 373650"/>
                  <a:gd name="connsiteX185" fmla="*/ 36668 w 336982"/>
                  <a:gd name="connsiteY185" fmla="*/ 121823 h 373650"/>
                  <a:gd name="connsiteX186" fmla="*/ 37122 w 336982"/>
                  <a:gd name="connsiteY186" fmla="*/ 120914 h 373650"/>
                  <a:gd name="connsiteX187" fmla="*/ 35910 w 336982"/>
                  <a:gd name="connsiteY187" fmla="*/ 121520 h 373650"/>
                  <a:gd name="connsiteX188" fmla="*/ 34547 w 336982"/>
                  <a:gd name="connsiteY188" fmla="*/ 123338 h 373650"/>
                  <a:gd name="connsiteX189" fmla="*/ 34547 w 336982"/>
                  <a:gd name="connsiteY189" fmla="*/ 124853 h 373650"/>
                  <a:gd name="connsiteX190" fmla="*/ 36668 w 336982"/>
                  <a:gd name="connsiteY190" fmla="*/ 129853 h 373650"/>
                  <a:gd name="connsiteX191" fmla="*/ 38789 w 336982"/>
                  <a:gd name="connsiteY191" fmla="*/ 134247 h 373650"/>
                  <a:gd name="connsiteX192" fmla="*/ 39850 w 336982"/>
                  <a:gd name="connsiteY192" fmla="*/ 138642 h 373650"/>
                  <a:gd name="connsiteX193" fmla="*/ 40153 w 336982"/>
                  <a:gd name="connsiteY193" fmla="*/ 142884 h 373650"/>
                  <a:gd name="connsiteX194" fmla="*/ 42274 w 336982"/>
                  <a:gd name="connsiteY194" fmla="*/ 146218 h 373650"/>
                  <a:gd name="connsiteX195" fmla="*/ 43486 w 336982"/>
                  <a:gd name="connsiteY195" fmla="*/ 150915 h 373650"/>
                  <a:gd name="connsiteX196" fmla="*/ 47881 w 336982"/>
                  <a:gd name="connsiteY196" fmla="*/ 158036 h 373650"/>
                  <a:gd name="connsiteX197" fmla="*/ 49093 w 336982"/>
                  <a:gd name="connsiteY197" fmla="*/ 162582 h 373650"/>
                  <a:gd name="connsiteX198" fmla="*/ 51669 w 336982"/>
                  <a:gd name="connsiteY198" fmla="*/ 165158 h 373650"/>
                  <a:gd name="connsiteX199" fmla="*/ 54093 w 336982"/>
                  <a:gd name="connsiteY199" fmla="*/ 168491 h 373650"/>
                  <a:gd name="connsiteX200" fmla="*/ 54548 w 336982"/>
                  <a:gd name="connsiteY200" fmla="*/ 171824 h 373650"/>
                  <a:gd name="connsiteX201" fmla="*/ 57123 w 336982"/>
                  <a:gd name="connsiteY201" fmla="*/ 176522 h 373650"/>
                  <a:gd name="connsiteX202" fmla="*/ 57578 w 336982"/>
                  <a:gd name="connsiteY202" fmla="*/ 180007 h 373650"/>
                  <a:gd name="connsiteX203" fmla="*/ 55911 w 336982"/>
                  <a:gd name="connsiteY203" fmla="*/ 191977 h 373650"/>
                  <a:gd name="connsiteX204" fmla="*/ 55911 w 336982"/>
                  <a:gd name="connsiteY204" fmla="*/ 200917 h 373650"/>
                  <a:gd name="connsiteX205" fmla="*/ 53184 w 336982"/>
                  <a:gd name="connsiteY205" fmla="*/ 209553 h 373650"/>
                  <a:gd name="connsiteX206" fmla="*/ 50760 w 336982"/>
                  <a:gd name="connsiteY206" fmla="*/ 214099 h 373650"/>
                  <a:gd name="connsiteX207" fmla="*/ 45759 w 336982"/>
                  <a:gd name="connsiteY207" fmla="*/ 220614 h 373650"/>
                  <a:gd name="connsiteX208" fmla="*/ 38789 w 336982"/>
                  <a:gd name="connsiteY208" fmla="*/ 224251 h 373650"/>
                  <a:gd name="connsiteX209" fmla="*/ 33941 w 336982"/>
                  <a:gd name="connsiteY209" fmla="*/ 227736 h 373650"/>
                  <a:gd name="connsiteX210" fmla="*/ 31668 w 336982"/>
                  <a:gd name="connsiteY210" fmla="*/ 234706 h 373650"/>
                  <a:gd name="connsiteX211" fmla="*/ 22122 w 336982"/>
                  <a:gd name="connsiteY211" fmla="*/ 246070 h 373650"/>
                  <a:gd name="connsiteX212" fmla="*/ 20910 w 336982"/>
                  <a:gd name="connsiteY212" fmla="*/ 254858 h 373650"/>
                  <a:gd name="connsiteX213" fmla="*/ 17425 w 336982"/>
                  <a:gd name="connsiteY213" fmla="*/ 262737 h 373650"/>
                  <a:gd name="connsiteX214" fmla="*/ 14698 w 336982"/>
                  <a:gd name="connsiteY214" fmla="*/ 279404 h 373650"/>
                  <a:gd name="connsiteX215" fmla="*/ 9091 w 336982"/>
                  <a:gd name="connsiteY215" fmla="*/ 296374 h 373650"/>
                  <a:gd name="connsiteX216" fmla="*/ 7576 w 336982"/>
                  <a:gd name="connsiteY216" fmla="*/ 303799 h 373650"/>
                  <a:gd name="connsiteX217" fmla="*/ 6212 w 336982"/>
                  <a:gd name="connsiteY217" fmla="*/ 307132 h 373650"/>
                  <a:gd name="connsiteX218" fmla="*/ 4394 w 336982"/>
                  <a:gd name="connsiteY218" fmla="*/ 309557 h 373650"/>
                  <a:gd name="connsiteX219" fmla="*/ 3030 w 336982"/>
                  <a:gd name="connsiteY219" fmla="*/ 310921 h 373650"/>
                  <a:gd name="connsiteX220" fmla="*/ 303 w 336982"/>
                  <a:gd name="connsiteY220" fmla="*/ 312739 h 373650"/>
                  <a:gd name="connsiteX221" fmla="*/ 757 w 336982"/>
                  <a:gd name="connsiteY221" fmla="*/ 315012 h 373650"/>
                  <a:gd name="connsiteX222" fmla="*/ 1515 w 336982"/>
                  <a:gd name="connsiteY222" fmla="*/ 316981 h 373650"/>
                  <a:gd name="connsiteX223" fmla="*/ 2121 w 336982"/>
                  <a:gd name="connsiteY223" fmla="*/ 331376 h 373650"/>
                  <a:gd name="connsiteX224" fmla="*/ 2121 w 336982"/>
                  <a:gd name="connsiteY224" fmla="*/ 336982 h 373650"/>
                  <a:gd name="connsiteX225" fmla="*/ 1061 w 336982"/>
                  <a:gd name="connsiteY225" fmla="*/ 341679 h 373650"/>
                  <a:gd name="connsiteX226" fmla="*/ 0 w 336982"/>
                  <a:gd name="connsiteY226" fmla="*/ 352286 h 373650"/>
                  <a:gd name="connsiteX227" fmla="*/ 4394 w 336982"/>
                  <a:gd name="connsiteY227" fmla="*/ 351680 h 373650"/>
                  <a:gd name="connsiteX228" fmla="*/ 7424 w 336982"/>
                  <a:gd name="connsiteY228" fmla="*/ 350013 h 373650"/>
                  <a:gd name="connsiteX229" fmla="*/ 10152 w 336982"/>
                  <a:gd name="connsiteY229" fmla="*/ 349861 h 373650"/>
                  <a:gd name="connsiteX230" fmla="*/ 12879 w 336982"/>
                  <a:gd name="connsiteY230" fmla="*/ 351073 h 373650"/>
                  <a:gd name="connsiteX231" fmla="*/ 15758 w 336982"/>
                  <a:gd name="connsiteY231" fmla="*/ 351225 h 373650"/>
                  <a:gd name="connsiteX232" fmla="*/ 16819 w 336982"/>
                  <a:gd name="connsiteY232" fmla="*/ 351073 h 373650"/>
                  <a:gd name="connsiteX233" fmla="*/ 21970 w 336982"/>
                  <a:gd name="connsiteY233" fmla="*/ 351225 h 373650"/>
                  <a:gd name="connsiteX234" fmla="*/ 25001 w 336982"/>
                  <a:gd name="connsiteY234" fmla="*/ 349710 h 373650"/>
                  <a:gd name="connsiteX235" fmla="*/ 28486 w 336982"/>
                  <a:gd name="connsiteY235" fmla="*/ 348195 h 373650"/>
                  <a:gd name="connsiteX236" fmla="*/ 30456 w 336982"/>
                  <a:gd name="connsiteY236" fmla="*/ 346983 h 373650"/>
                  <a:gd name="connsiteX237" fmla="*/ 33334 w 336982"/>
                  <a:gd name="connsiteY237" fmla="*/ 345619 h 373650"/>
                  <a:gd name="connsiteX238" fmla="*/ 37122 w 336982"/>
                  <a:gd name="connsiteY238" fmla="*/ 344255 h 373650"/>
                  <a:gd name="connsiteX239" fmla="*/ 39244 w 336982"/>
                  <a:gd name="connsiteY239" fmla="*/ 344407 h 373650"/>
                  <a:gd name="connsiteX240" fmla="*/ 41820 w 336982"/>
                  <a:gd name="connsiteY240" fmla="*/ 344861 h 373650"/>
                  <a:gd name="connsiteX241" fmla="*/ 45305 w 336982"/>
                  <a:gd name="connsiteY241" fmla="*/ 345316 h 373650"/>
                  <a:gd name="connsiteX242" fmla="*/ 47274 w 336982"/>
                  <a:gd name="connsiteY242" fmla="*/ 346225 h 373650"/>
                  <a:gd name="connsiteX243" fmla="*/ 49547 w 336982"/>
                  <a:gd name="connsiteY243" fmla="*/ 349104 h 373650"/>
                  <a:gd name="connsiteX244" fmla="*/ 53184 w 336982"/>
                  <a:gd name="connsiteY244" fmla="*/ 351680 h 373650"/>
                  <a:gd name="connsiteX245" fmla="*/ 55911 w 336982"/>
                  <a:gd name="connsiteY245" fmla="*/ 353195 h 373650"/>
                  <a:gd name="connsiteX246" fmla="*/ 58941 w 336982"/>
                  <a:gd name="connsiteY246" fmla="*/ 355165 h 373650"/>
                  <a:gd name="connsiteX247" fmla="*/ 59850 w 336982"/>
                  <a:gd name="connsiteY247" fmla="*/ 355922 h 373650"/>
                  <a:gd name="connsiteX248" fmla="*/ 61215 w 336982"/>
                  <a:gd name="connsiteY248" fmla="*/ 356377 h 373650"/>
                  <a:gd name="connsiteX249" fmla="*/ 61972 w 336982"/>
                  <a:gd name="connsiteY249" fmla="*/ 356528 h 373650"/>
                  <a:gd name="connsiteX250" fmla="*/ 67730 w 336982"/>
                  <a:gd name="connsiteY250" fmla="*/ 356225 h 373650"/>
                  <a:gd name="connsiteX251" fmla="*/ 72881 w 336982"/>
                  <a:gd name="connsiteY251" fmla="*/ 355922 h 373650"/>
                  <a:gd name="connsiteX252" fmla="*/ 78488 w 336982"/>
                  <a:gd name="connsiteY252" fmla="*/ 355922 h 373650"/>
                  <a:gd name="connsiteX253" fmla="*/ 88943 w 336982"/>
                  <a:gd name="connsiteY253" fmla="*/ 355922 h 373650"/>
                  <a:gd name="connsiteX254" fmla="*/ 99398 w 336982"/>
                  <a:gd name="connsiteY254" fmla="*/ 355922 h 373650"/>
                  <a:gd name="connsiteX255" fmla="*/ 109853 w 336982"/>
                  <a:gd name="connsiteY255" fmla="*/ 355922 h 373650"/>
                  <a:gd name="connsiteX256" fmla="*/ 120308 w 336982"/>
                  <a:gd name="connsiteY256" fmla="*/ 355922 h 373650"/>
                  <a:gd name="connsiteX257" fmla="*/ 130763 w 336982"/>
                  <a:gd name="connsiteY257" fmla="*/ 355922 h 373650"/>
                  <a:gd name="connsiteX258" fmla="*/ 141217 w 336982"/>
                  <a:gd name="connsiteY258" fmla="*/ 355922 h 373650"/>
                  <a:gd name="connsiteX259" fmla="*/ 151672 w 336982"/>
                  <a:gd name="connsiteY259" fmla="*/ 355922 h 373650"/>
                  <a:gd name="connsiteX260" fmla="*/ 162127 w 336982"/>
                  <a:gd name="connsiteY260" fmla="*/ 355922 h 373650"/>
                  <a:gd name="connsiteX261" fmla="*/ 166370 w 336982"/>
                  <a:gd name="connsiteY261" fmla="*/ 355922 h 373650"/>
                  <a:gd name="connsiteX262" fmla="*/ 173794 w 336982"/>
                  <a:gd name="connsiteY262" fmla="*/ 356074 h 373650"/>
                  <a:gd name="connsiteX263" fmla="*/ 181673 w 336982"/>
                  <a:gd name="connsiteY263" fmla="*/ 356225 h 373650"/>
                  <a:gd name="connsiteX264" fmla="*/ 182582 w 336982"/>
                  <a:gd name="connsiteY264" fmla="*/ 356377 h 373650"/>
                  <a:gd name="connsiteX265" fmla="*/ 183491 w 336982"/>
                  <a:gd name="connsiteY265" fmla="*/ 356983 h 373650"/>
                  <a:gd name="connsiteX266" fmla="*/ 184249 w 336982"/>
                  <a:gd name="connsiteY266" fmla="*/ 357437 h 373650"/>
                  <a:gd name="connsiteX267" fmla="*/ 186977 w 336982"/>
                  <a:gd name="connsiteY267" fmla="*/ 361074 h 373650"/>
                  <a:gd name="connsiteX268" fmla="*/ 190462 w 336982"/>
                  <a:gd name="connsiteY268" fmla="*/ 364862 h 373650"/>
                  <a:gd name="connsiteX269" fmla="*/ 193341 w 336982"/>
                  <a:gd name="connsiteY269" fmla="*/ 366680 h 373650"/>
                  <a:gd name="connsiteX270" fmla="*/ 196825 w 336982"/>
                  <a:gd name="connsiteY270" fmla="*/ 367741 h 373650"/>
                  <a:gd name="connsiteX271" fmla="*/ 200159 w 336982"/>
                  <a:gd name="connsiteY271" fmla="*/ 368195 h 373650"/>
                  <a:gd name="connsiteX272" fmla="*/ 203189 w 336982"/>
                  <a:gd name="connsiteY272" fmla="*/ 367892 h 373650"/>
                  <a:gd name="connsiteX273" fmla="*/ 208341 w 336982"/>
                  <a:gd name="connsiteY273" fmla="*/ 368347 h 373650"/>
                  <a:gd name="connsiteX274" fmla="*/ 215463 w 336982"/>
                  <a:gd name="connsiteY274" fmla="*/ 369559 h 373650"/>
                  <a:gd name="connsiteX275" fmla="*/ 222887 w 336982"/>
                  <a:gd name="connsiteY275" fmla="*/ 369862 h 373650"/>
                  <a:gd name="connsiteX276" fmla="*/ 230615 w 336982"/>
                  <a:gd name="connsiteY276" fmla="*/ 369407 h 373650"/>
                  <a:gd name="connsiteX277" fmla="*/ 236069 w 336982"/>
                  <a:gd name="connsiteY277" fmla="*/ 370013 h 373650"/>
                  <a:gd name="connsiteX278" fmla="*/ 239251 w 336982"/>
                  <a:gd name="connsiteY278" fmla="*/ 371832 h 373650"/>
                  <a:gd name="connsiteX279" fmla="*/ 242433 w 336982"/>
                  <a:gd name="connsiteY279" fmla="*/ 373044 h 373650"/>
                  <a:gd name="connsiteX280" fmla="*/ 245767 w 336982"/>
                  <a:gd name="connsiteY280" fmla="*/ 373650 h 373650"/>
                  <a:gd name="connsiteX281" fmla="*/ 250161 w 336982"/>
                  <a:gd name="connsiteY281" fmla="*/ 373196 h 373650"/>
                  <a:gd name="connsiteX282" fmla="*/ 255767 w 336982"/>
                  <a:gd name="connsiteY282" fmla="*/ 371832 h 373650"/>
                  <a:gd name="connsiteX283" fmla="*/ 260464 w 336982"/>
                  <a:gd name="connsiteY283" fmla="*/ 371983 h 373650"/>
                  <a:gd name="connsiteX284" fmla="*/ 262737 w 336982"/>
                  <a:gd name="connsiteY284" fmla="*/ 373044 h 373650"/>
                  <a:gd name="connsiteX285" fmla="*/ 264101 w 336982"/>
                  <a:gd name="connsiteY285" fmla="*/ 373044 h 373650"/>
                  <a:gd name="connsiteX286" fmla="*/ 272283 w 336982"/>
                  <a:gd name="connsiteY286" fmla="*/ 371529 h 373650"/>
                  <a:gd name="connsiteX287" fmla="*/ 278950 w 336982"/>
                  <a:gd name="connsiteY287" fmla="*/ 370317 h 373650"/>
                  <a:gd name="connsiteX288" fmla="*/ 288950 w 336982"/>
                  <a:gd name="connsiteY288" fmla="*/ 368347 h 373650"/>
                  <a:gd name="connsiteX289" fmla="*/ 297132 w 336982"/>
                  <a:gd name="connsiteY289" fmla="*/ 366832 h 373650"/>
                  <a:gd name="connsiteX290" fmla="*/ 309254 w 336982"/>
                  <a:gd name="connsiteY290" fmla="*/ 364559 h 373650"/>
                  <a:gd name="connsiteX291" fmla="*/ 317739 w 336982"/>
                  <a:gd name="connsiteY291" fmla="*/ 362892 h 373650"/>
                  <a:gd name="connsiteX292" fmla="*/ 312284 w 336982"/>
                  <a:gd name="connsiteY292" fmla="*/ 358195 h 373650"/>
                  <a:gd name="connsiteX293" fmla="*/ 306072 w 336982"/>
                  <a:gd name="connsiteY293" fmla="*/ 352892 h 373650"/>
                  <a:gd name="connsiteX294" fmla="*/ 299708 w 336982"/>
                  <a:gd name="connsiteY294" fmla="*/ 346983 h 373650"/>
                  <a:gd name="connsiteX295" fmla="*/ 294859 w 336982"/>
                  <a:gd name="connsiteY295" fmla="*/ 342437 h 373650"/>
                  <a:gd name="connsiteX296" fmla="*/ 292435 w 336982"/>
                  <a:gd name="connsiteY296" fmla="*/ 339709 h 373650"/>
                  <a:gd name="connsiteX297" fmla="*/ 288192 w 336982"/>
                  <a:gd name="connsiteY297" fmla="*/ 336224 h 373650"/>
                  <a:gd name="connsiteX298" fmla="*/ 285162 w 336982"/>
                  <a:gd name="connsiteY298" fmla="*/ 334558 h 373650"/>
                  <a:gd name="connsiteX299" fmla="*/ 283950 w 336982"/>
                  <a:gd name="connsiteY299" fmla="*/ 333649 h 373650"/>
                  <a:gd name="connsiteX300" fmla="*/ 280920 w 336982"/>
                  <a:gd name="connsiteY300" fmla="*/ 324254 h 373650"/>
                  <a:gd name="connsiteX301" fmla="*/ 279253 w 336982"/>
                  <a:gd name="connsiteY301" fmla="*/ 315618 h 373650"/>
                  <a:gd name="connsiteX302" fmla="*/ 279253 w 336982"/>
                  <a:gd name="connsiteY302" fmla="*/ 309102 h 373650"/>
                  <a:gd name="connsiteX303" fmla="*/ 279253 w 336982"/>
                  <a:gd name="connsiteY303" fmla="*/ 300162 h 373650"/>
                  <a:gd name="connsiteX304" fmla="*/ 279253 w 336982"/>
                  <a:gd name="connsiteY304" fmla="*/ 291223 h 373650"/>
                  <a:gd name="connsiteX305" fmla="*/ 279253 w 336982"/>
                  <a:gd name="connsiteY305" fmla="*/ 282283 h 373650"/>
                  <a:gd name="connsiteX306" fmla="*/ 279253 w 336982"/>
                  <a:gd name="connsiteY306" fmla="*/ 273343 h 373650"/>
                  <a:gd name="connsiteX307" fmla="*/ 279253 w 336982"/>
                  <a:gd name="connsiteY307" fmla="*/ 264404 h 373650"/>
                  <a:gd name="connsiteX308" fmla="*/ 279253 w 336982"/>
                  <a:gd name="connsiteY308" fmla="*/ 255464 h 373650"/>
                  <a:gd name="connsiteX309" fmla="*/ 279253 w 336982"/>
                  <a:gd name="connsiteY309" fmla="*/ 246524 h 373650"/>
                  <a:gd name="connsiteX310" fmla="*/ 279253 w 336982"/>
                  <a:gd name="connsiteY310" fmla="*/ 237585 h 373650"/>
                  <a:gd name="connsiteX311" fmla="*/ 279253 w 336982"/>
                  <a:gd name="connsiteY311" fmla="*/ 233342 h 373650"/>
                  <a:gd name="connsiteX312" fmla="*/ 285617 w 336982"/>
                  <a:gd name="connsiteY312" fmla="*/ 233342 h 373650"/>
                  <a:gd name="connsiteX313" fmla="*/ 292738 w 336982"/>
                  <a:gd name="connsiteY313" fmla="*/ 233342 h 373650"/>
                  <a:gd name="connsiteX314" fmla="*/ 300163 w 336982"/>
                  <a:gd name="connsiteY314" fmla="*/ 233342 h 373650"/>
                  <a:gd name="connsiteX315" fmla="*/ 308345 w 336982"/>
                  <a:gd name="connsiteY315" fmla="*/ 233342 h 373650"/>
                  <a:gd name="connsiteX316" fmla="*/ 316527 w 336982"/>
                  <a:gd name="connsiteY316" fmla="*/ 233342 h 373650"/>
                  <a:gd name="connsiteX317" fmla="*/ 324709 w 336982"/>
                  <a:gd name="connsiteY317" fmla="*/ 233342 h 373650"/>
                  <a:gd name="connsiteX318" fmla="*/ 330315 w 336982"/>
                  <a:gd name="connsiteY318" fmla="*/ 233342 h 373650"/>
                  <a:gd name="connsiteX319" fmla="*/ 331830 w 336982"/>
                  <a:gd name="connsiteY319" fmla="*/ 233190 h 373650"/>
                  <a:gd name="connsiteX320" fmla="*/ 333649 w 336982"/>
                  <a:gd name="connsiteY320" fmla="*/ 232887 h 373650"/>
                  <a:gd name="connsiteX321" fmla="*/ 333800 w 336982"/>
                  <a:gd name="connsiteY321" fmla="*/ 231978 h 373650"/>
                  <a:gd name="connsiteX322" fmla="*/ 331528 w 336982"/>
                  <a:gd name="connsiteY322" fmla="*/ 227584 h 373650"/>
                  <a:gd name="connsiteX323" fmla="*/ 331679 w 336982"/>
                  <a:gd name="connsiteY323" fmla="*/ 226069 h 373650"/>
                  <a:gd name="connsiteX324" fmla="*/ 332285 w 336982"/>
                  <a:gd name="connsiteY324" fmla="*/ 223038 h 373650"/>
                  <a:gd name="connsiteX325" fmla="*/ 333194 w 336982"/>
                  <a:gd name="connsiteY325" fmla="*/ 220463 h 373650"/>
                  <a:gd name="connsiteX326" fmla="*/ 334406 w 336982"/>
                  <a:gd name="connsiteY326" fmla="*/ 217129 h 373650"/>
                  <a:gd name="connsiteX327" fmla="*/ 334558 w 336982"/>
                  <a:gd name="connsiteY327" fmla="*/ 215159 h 373650"/>
                  <a:gd name="connsiteX328" fmla="*/ 333497 w 336982"/>
                  <a:gd name="connsiteY328" fmla="*/ 208795 h 373650"/>
                  <a:gd name="connsiteX329" fmla="*/ 333649 w 336982"/>
                  <a:gd name="connsiteY329" fmla="*/ 205159 h 373650"/>
                  <a:gd name="connsiteX330" fmla="*/ 333952 w 336982"/>
                  <a:gd name="connsiteY330" fmla="*/ 201371 h 373650"/>
                  <a:gd name="connsiteX331" fmla="*/ 334255 w 336982"/>
                  <a:gd name="connsiteY331" fmla="*/ 197886 h 373650"/>
                  <a:gd name="connsiteX332" fmla="*/ 333952 w 336982"/>
                  <a:gd name="connsiteY332" fmla="*/ 195462 h 373650"/>
                  <a:gd name="connsiteX333" fmla="*/ 334406 w 336982"/>
                  <a:gd name="connsiteY333" fmla="*/ 194098 h 373650"/>
                  <a:gd name="connsiteX334" fmla="*/ 335164 w 336982"/>
                  <a:gd name="connsiteY334" fmla="*/ 192128 h 373650"/>
                  <a:gd name="connsiteX335" fmla="*/ 335618 w 336982"/>
                  <a:gd name="connsiteY335" fmla="*/ 190007 h 373650"/>
                  <a:gd name="connsiteX336" fmla="*/ 336073 w 336982"/>
                  <a:gd name="connsiteY336" fmla="*/ 189098 h 373650"/>
                  <a:gd name="connsiteX337" fmla="*/ 336982 w 336982"/>
                  <a:gd name="connsiteY337" fmla="*/ 189704 h 37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Lst>
                <a:rect l="l" t="t" r="r" b="b"/>
                <a:pathLst>
                  <a:path w="336982" h="373650">
                    <a:moveTo>
                      <a:pt x="10606" y="20607"/>
                    </a:moveTo>
                    <a:lnTo>
                      <a:pt x="12425" y="24092"/>
                    </a:lnTo>
                    <a:lnTo>
                      <a:pt x="13182" y="28031"/>
                    </a:lnTo>
                    <a:lnTo>
                      <a:pt x="12425" y="30001"/>
                    </a:lnTo>
                    <a:lnTo>
                      <a:pt x="11819" y="32577"/>
                    </a:lnTo>
                    <a:lnTo>
                      <a:pt x="13031" y="35304"/>
                    </a:lnTo>
                    <a:lnTo>
                      <a:pt x="13485" y="36062"/>
                    </a:lnTo>
                    <a:lnTo>
                      <a:pt x="14698" y="35759"/>
                    </a:lnTo>
                    <a:lnTo>
                      <a:pt x="18334" y="35304"/>
                    </a:lnTo>
                    <a:lnTo>
                      <a:pt x="21061" y="35001"/>
                    </a:lnTo>
                    <a:lnTo>
                      <a:pt x="21516" y="34395"/>
                    </a:lnTo>
                    <a:lnTo>
                      <a:pt x="21970" y="26971"/>
                    </a:lnTo>
                    <a:lnTo>
                      <a:pt x="22122" y="19395"/>
                    </a:lnTo>
                    <a:lnTo>
                      <a:pt x="21213" y="18334"/>
                    </a:lnTo>
                    <a:lnTo>
                      <a:pt x="20304" y="17728"/>
                    </a:lnTo>
                    <a:lnTo>
                      <a:pt x="20304" y="17273"/>
                    </a:lnTo>
                    <a:lnTo>
                      <a:pt x="21667" y="16364"/>
                    </a:lnTo>
                    <a:lnTo>
                      <a:pt x="23637" y="15304"/>
                    </a:lnTo>
                    <a:lnTo>
                      <a:pt x="24243" y="14849"/>
                    </a:lnTo>
                    <a:lnTo>
                      <a:pt x="26364" y="12879"/>
                    </a:lnTo>
                    <a:lnTo>
                      <a:pt x="30607" y="8334"/>
                    </a:lnTo>
                    <a:lnTo>
                      <a:pt x="33789" y="7273"/>
                    </a:lnTo>
                    <a:lnTo>
                      <a:pt x="36819" y="6061"/>
                    </a:lnTo>
                    <a:lnTo>
                      <a:pt x="37274" y="5606"/>
                    </a:lnTo>
                    <a:lnTo>
                      <a:pt x="36668" y="5152"/>
                    </a:lnTo>
                    <a:lnTo>
                      <a:pt x="34547" y="3333"/>
                    </a:lnTo>
                    <a:lnTo>
                      <a:pt x="32122" y="455"/>
                    </a:lnTo>
                    <a:lnTo>
                      <a:pt x="31213" y="0"/>
                    </a:lnTo>
                    <a:lnTo>
                      <a:pt x="29850" y="0"/>
                    </a:lnTo>
                    <a:lnTo>
                      <a:pt x="27728" y="1061"/>
                    </a:lnTo>
                    <a:lnTo>
                      <a:pt x="25607" y="2727"/>
                    </a:lnTo>
                    <a:lnTo>
                      <a:pt x="21819" y="4243"/>
                    </a:lnTo>
                    <a:lnTo>
                      <a:pt x="18637" y="5152"/>
                    </a:lnTo>
                    <a:lnTo>
                      <a:pt x="18334" y="6212"/>
                    </a:lnTo>
                    <a:lnTo>
                      <a:pt x="17576" y="8031"/>
                    </a:lnTo>
                    <a:lnTo>
                      <a:pt x="16516" y="9091"/>
                    </a:lnTo>
                    <a:lnTo>
                      <a:pt x="13637" y="9394"/>
                    </a:lnTo>
                    <a:lnTo>
                      <a:pt x="12576" y="11061"/>
                    </a:lnTo>
                    <a:lnTo>
                      <a:pt x="10152" y="14243"/>
                    </a:lnTo>
                    <a:lnTo>
                      <a:pt x="8485" y="15607"/>
                    </a:lnTo>
                    <a:lnTo>
                      <a:pt x="9091" y="16516"/>
                    </a:lnTo>
                    <a:lnTo>
                      <a:pt x="10606" y="20607"/>
                    </a:lnTo>
                    <a:close/>
                    <a:moveTo>
                      <a:pt x="336982" y="189704"/>
                    </a:moveTo>
                    <a:lnTo>
                      <a:pt x="336528" y="188037"/>
                    </a:lnTo>
                    <a:lnTo>
                      <a:pt x="336073" y="184401"/>
                    </a:lnTo>
                    <a:lnTo>
                      <a:pt x="335467" y="179400"/>
                    </a:lnTo>
                    <a:lnTo>
                      <a:pt x="334861" y="175764"/>
                    </a:lnTo>
                    <a:lnTo>
                      <a:pt x="333800" y="176370"/>
                    </a:lnTo>
                    <a:lnTo>
                      <a:pt x="333194" y="177734"/>
                    </a:lnTo>
                    <a:lnTo>
                      <a:pt x="333042" y="178794"/>
                    </a:lnTo>
                    <a:lnTo>
                      <a:pt x="331224" y="179704"/>
                    </a:lnTo>
                    <a:lnTo>
                      <a:pt x="327436" y="179552"/>
                    </a:lnTo>
                    <a:lnTo>
                      <a:pt x="323648" y="178794"/>
                    </a:lnTo>
                    <a:lnTo>
                      <a:pt x="321073" y="178491"/>
                    </a:lnTo>
                    <a:lnTo>
                      <a:pt x="319254" y="178643"/>
                    </a:lnTo>
                    <a:lnTo>
                      <a:pt x="312587" y="181370"/>
                    </a:lnTo>
                    <a:lnTo>
                      <a:pt x="310314" y="181673"/>
                    </a:lnTo>
                    <a:lnTo>
                      <a:pt x="303193" y="181522"/>
                    </a:lnTo>
                    <a:lnTo>
                      <a:pt x="299102" y="180916"/>
                    </a:lnTo>
                    <a:lnTo>
                      <a:pt x="296223" y="180764"/>
                    </a:lnTo>
                    <a:lnTo>
                      <a:pt x="294102" y="181673"/>
                    </a:lnTo>
                    <a:lnTo>
                      <a:pt x="291526" y="183643"/>
                    </a:lnTo>
                    <a:lnTo>
                      <a:pt x="289405" y="184704"/>
                    </a:lnTo>
                    <a:lnTo>
                      <a:pt x="288344" y="184552"/>
                    </a:lnTo>
                    <a:lnTo>
                      <a:pt x="287738" y="183643"/>
                    </a:lnTo>
                    <a:lnTo>
                      <a:pt x="286829" y="182431"/>
                    </a:lnTo>
                    <a:lnTo>
                      <a:pt x="286526" y="179400"/>
                    </a:lnTo>
                    <a:lnTo>
                      <a:pt x="285465" y="176067"/>
                    </a:lnTo>
                    <a:lnTo>
                      <a:pt x="286223" y="174400"/>
                    </a:lnTo>
                    <a:lnTo>
                      <a:pt x="288344" y="173188"/>
                    </a:lnTo>
                    <a:lnTo>
                      <a:pt x="289101" y="170612"/>
                    </a:lnTo>
                    <a:lnTo>
                      <a:pt x="288496" y="166824"/>
                    </a:lnTo>
                    <a:lnTo>
                      <a:pt x="288496" y="164097"/>
                    </a:lnTo>
                    <a:lnTo>
                      <a:pt x="289101" y="162582"/>
                    </a:lnTo>
                    <a:lnTo>
                      <a:pt x="288344" y="158794"/>
                    </a:lnTo>
                    <a:lnTo>
                      <a:pt x="286223" y="152733"/>
                    </a:lnTo>
                    <a:lnTo>
                      <a:pt x="283192" y="147884"/>
                    </a:lnTo>
                    <a:lnTo>
                      <a:pt x="279404" y="144096"/>
                    </a:lnTo>
                    <a:lnTo>
                      <a:pt x="276828" y="140460"/>
                    </a:lnTo>
                    <a:lnTo>
                      <a:pt x="275616" y="136975"/>
                    </a:lnTo>
                    <a:lnTo>
                      <a:pt x="276071" y="128793"/>
                    </a:lnTo>
                    <a:lnTo>
                      <a:pt x="277283" y="121520"/>
                    </a:lnTo>
                    <a:lnTo>
                      <a:pt x="278192" y="115762"/>
                    </a:lnTo>
                    <a:lnTo>
                      <a:pt x="277889" y="106064"/>
                    </a:lnTo>
                    <a:lnTo>
                      <a:pt x="275313" y="99852"/>
                    </a:lnTo>
                    <a:lnTo>
                      <a:pt x="274707" y="93185"/>
                    </a:lnTo>
                    <a:lnTo>
                      <a:pt x="276222" y="85912"/>
                    </a:lnTo>
                    <a:lnTo>
                      <a:pt x="276374" y="80912"/>
                    </a:lnTo>
                    <a:lnTo>
                      <a:pt x="275465" y="78336"/>
                    </a:lnTo>
                    <a:lnTo>
                      <a:pt x="274858" y="77882"/>
                    </a:lnTo>
                    <a:lnTo>
                      <a:pt x="273949" y="77579"/>
                    </a:lnTo>
                    <a:lnTo>
                      <a:pt x="267434" y="77276"/>
                    </a:lnTo>
                    <a:lnTo>
                      <a:pt x="258646" y="76973"/>
                    </a:lnTo>
                    <a:lnTo>
                      <a:pt x="251070" y="76821"/>
                    </a:lnTo>
                    <a:lnTo>
                      <a:pt x="242736" y="76669"/>
                    </a:lnTo>
                    <a:lnTo>
                      <a:pt x="241372" y="75760"/>
                    </a:lnTo>
                    <a:lnTo>
                      <a:pt x="240766" y="74094"/>
                    </a:lnTo>
                    <a:lnTo>
                      <a:pt x="240766" y="72427"/>
                    </a:lnTo>
                    <a:lnTo>
                      <a:pt x="242433" y="67275"/>
                    </a:lnTo>
                    <a:lnTo>
                      <a:pt x="242130" y="66821"/>
                    </a:lnTo>
                    <a:lnTo>
                      <a:pt x="239251" y="66669"/>
                    </a:lnTo>
                    <a:lnTo>
                      <a:pt x="231221" y="67427"/>
                    </a:lnTo>
                    <a:lnTo>
                      <a:pt x="225918" y="68184"/>
                    </a:lnTo>
                    <a:lnTo>
                      <a:pt x="222584" y="68487"/>
                    </a:lnTo>
                    <a:lnTo>
                      <a:pt x="216675" y="69851"/>
                    </a:lnTo>
                    <a:lnTo>
                      <a:pt x="213038" y="72730"/>
                    </a:lnTo>
                    <a:lnTo>
                      <a:pt x="211826" y="76367"/>
                    </a:lnTo>
                    <a:lnTo>
                      <a:pt x="211977" y="79397"/>
                    </a:lnTo>
                    <a:lnTo>
                      <a:pt x="211826" y="81670"/>
                    </a:lnTo>
                    <a:lnTo>
                      <a:pt x="210159" y="83943"/>
                    </a:lnTo>
                    <a:lnTo>
                      <a:pt x="208796" y="86670"/>
                    </a:lnTo>
                    <a:lnTo>
                      <a:pt x="208796" y="88033"/>
                    </a:lnTo>
                    <a:lnTo>
                      <a:pt x="208038" y="95155"/>
                    </a:lnTo>
                    <a:lnTo>
                      <a:pt x="202583" y="96064"/>
                    </a:lnTo>
                    <a:lnTo>
                      <a:pt x="197129" y="96064"/>
                    </a:lnTo>
                    <a:lnTo>
                      <a:pt x="195916" y="95913"/>
                    </a:lnTo>
                    <a:lnTo>
                      <a:pt x="189249" y="94246"/>
                    </a:lnTo>
                    <a:lnTo>
                      <a:pt x="186825" y="94246"/>
                    </a:lnTo>
                    <a:lnTo>
                      <a:pt x="184704" y="95155"/>
                    </a:lnTo>
                    <a:lnTo>
                      <a:pt x="180613" y="96064"/>
                    </a:lnTo>
                    <a:lnTo>
                      <a:pt x="176673" y="96670"/>
                    </a:lnTo>
                    <a:lnTo>
                      <a:pt x="172734" y="98792"/>
                    </a:lnTo>
                    <a:lnTo>
                      <a:pt x="171673" y="98943"/>
                    </a:lnTo>
                    <a:lnTo>
                      <a:pt x="169097" y="97882"/>
                    </a:lnTo>
                    <a:lnTo>
                      <a:pt x="165460" y="98034"/>
                    </a:lnTo>
                    <a:lnTo>
                      <a:pt x="161824" y="98488"/>
                    </a:lnTo>
                    <a:lnTo>
                      <a:pt x="160006" y="98792"/>
                    </a:lnTo>
                    <a:lnTo>
                      <a:pt x="158793" y="98186"/>
                    </a:lnTo>
                    <a:lnTo>
                      <a:pt x="155309" y="92882"/>
                    </a:lnTo>
                    <a:lnTo>
                      <a:pt x="150763" y="85761"/>
                    </a:lnTo>
                    <a:lnTo>
                      <a:pt x="148339" y="81367"/>
                    </a:lnTo>
                    <a:lnTo>
                      <a:pt x="147429" y="80155"/>
                    </a:lnTo>
                    <a:lnTo>
                      <a:pt x="145915" y="78639"/>
                    </a:lnTo>
                    <a:lnTo>
                      <a:pt x="143793" y="75760"/>
                    </a:lnTo>
                    <a:lnTo>
                      <a:pt x="142884" y="73033"/>
                    </a:lnTo>
                    <a:lnTo>
                      <a:pt x="143187" y="70457"/>
                    </a:lnTo>
                    <a:lnTo>
                      <a:pt x="141975" y="66972"/>
                    </a:lnTo>
                    <a:lnTo>
                      <a:pt x="139096" y="62578"/>
                    </a:lnTo>
                    <a:lnTo>
                      <a:pt x="137126" y="58336"/>
                    </a:lnTo>
                    <a:lnTo>
                      <a:pt x="136217" y="54396"/>
                    </a:lnTo>
                    <a:lnTo>
                      <a:pt x="135914" y="50911"/>
                    </a:lnTo>
                    <a:lnTo>
                      <a:pt x="136369" y="48032"/>
                    </a:lnTo>
                    <a:lnTo>
                      <a:pt x="135762" y="45911"/>
                    </a:lnTo>
                    <a:lnTo>
                      <a:pt x="134247" y="44547"/>
                    </a:lnTo>
                    <a:lnTo>
                      <a:pt x="133338" y="42880"/>
                    </a:lnTo>
                    <a:lnTo>
                      <a:pt x="132732" y="42123"/>
                    </a:lnTo>
                    <a:lnTo>
                      <a:pt x="131368" y="40456"/>
                    </a:lnTo>
                    <a:lnTo>
                      <a:pt x="128489" y="38638"/>
                    </a:lnTo>
                    <a:lnTo>
                      <a:pt x="125308" y="37729"/>
                    </a:lnTo>
                    <a:lnTo>
                      <a:pt x="118338" y="37729"/>
                    </a:lnTo>
                    <a:lnTo>
                      <a:pt x="109246" y="37729"/>
                    </a:lnTo>
                    <a:lnTo>
                      <a:pt x="100913" y="37880"/>
                    </a:lnTo>
                    <a:lnTo>
                      <a:pt x="91670" y="38032"/>
                    </a:lnTo>
                    <a:lnTo>
                      <a:pt x="82427" y="38183"/>
                    </a:lnTo>
                    <a:lnTo>
                      <a:pt x="79851" y="38486"/>
                    </a:lnTo>
                    <a:lnTo>
                      <a:pt x="72730" y="38638"/>
                    </a:lnTo>
                    <a:lnTo>
                      <a:pt x="66972" y="38183"/>
                    </a:lnTo>
                    <a:lnTo>
                      <a:pt x="64851" y="37880"/>
                    </a:lnTo>
                    <a:lnTo>
                      <a:pt x="61215" y="37729"/>
                    </a:lnTo>
                    <a:lnTo>
                      <a:pt x="55305" y="37729"/>
                    </a:lnTo>
                    <a:lnTo>
                      <a:pt x="52123" y="37880"/>
                    </a:lnTo>
                    <a:lnTo>
                      <a:pt x="44547" y="37880"/>
                    </a:lnTo>
                    <a:lnTo>
                      <a:pt x="43789" y="37880"/>
                    </a:lnTo>
                    <a:lnTo>
                      <a:pt x="42577" y="38335"/>
                    </a:lnTo>
                    <a:lnTo>
                      <a:pt x="39395" y="37577"/>
                    </a:lnTo>
                    <a:lnTo>
                      <a:pt x="36213" y="37880"/>
                    </a:lnTo>
                    <a:lnTo>
                      <a:pt x="34547" y="39092"/>
                    </a:lnTo>
                    <a:lnTo>
                      <a:pt x="28486" y="41668"/>
                    </a:lnTo>
                    <a:lnTo>
                      <a:pt x="21970" y="42880"/>
                    </a:lnTo>
                    <a:lnTo>
                      <a:pt x="17273" y="43941"/>
                    </a:lnTo>
                    <a:lnTo>
                      <a:pt x="15152" y="44093"/>
                    </a:lnTo>
                    <a:lnTo>
                      <a:pt x="14698" y="45002"/>
                    </a:lnTo>
                    <a:lnTo>
                      <a:pt x="16061" y="46668"/>
                    </a:lnTo>
                    <a:lnTo>
                      <a:pt x="17879" y="51214"/>
                    </a:lnTo>
                    <a:lnTo>
                      <a:pt x="21213" y="57729"/>
                    </a:lnTo>
                    <a:lnTo>
                      <a:pt x="29546" y="67730"/>
                    </a:lnTo>
                    <a:lnTo>
                      <a:pt x="30607" y="75306"/>
                    </a:lnTo>
                    <a:lnTo>
                      <a:pt x="36819" y="90306"/>
                    </a:lnTo>
                    <a:lnTo>
                      <a:pt x="44698" y="106368"/>
                    </a:lnTo>
                    <a:lnTo>
                      <a:pt x="44395" y="109095"/>
                    </a:lnTo>
                    <a:lnTo>
                      <a:pt x="44395" y="111368"/>
                    </a:lnTo>
                    <a:lnTo>
                      <a:pt x="44698" y="113338"/>
                    </a:lnTo>
                    <a:lnTo>
                      <a:pt x="44244" y="115004"/>
                    </a:lnTo>
                    <a:lnTo>
                      <a:pt x="35910" y="123792"/>
                    </a:lnTo>
                    <a:lnTo>
                      <a:pt x="35759" y="122883"/>
                    </a:lnTo>
                    <a:lnTo>
                      <a:pt x="36668" y="121823"/>
                    </a:lnTo>
                    <a:lnTo>
                      <a:pt x="37122" y="120914"/>
                    </a:lnTo>
                    <a:lnTo>
                      <a:pt x="35910" y="121520"/>
                    </a:lnTo>
                    <a:lnTo>
                      <a:pt x="34547" y="123338"/>
                    </a:lnTo>
                    <a:lnTo>
                      <a:pt x="34547" y="124853"/>
                    </a:lnTo>
                    <a:lnTo>
                      <a:pt x="36668" y="129853"/>
                    </a:lnTo>
                    <a:lnTo>
                      <a:pt x="38789" y="134247"/>
                    </a:lnTo>
                    <a:lnTo>
                      <a:pt x="39850" y="138642"/>
                    </a:lnTo>
                    <a:lnTo>
                      <a:pt x="40153" y="142884"/>
                    </a:lnTo>
                    <a:lnTo>
                      <a:pt x="42274" y="146218"/>
                    </a:lnTo>
                    <a:lnTo>
                      <a:pt x="43486" y="150915"/>
                    </a:lnTo>
                    <a:lnTo>
                      <a:pt x="47881" y="158036"/>
                    </a:lnTo>
                    <a:lnTo>
                      <a:pt x="49093" y="162582"/>
                    </a:lnTo>
                    <a:lnTo>
                      <a:pt x="51669" y="165158"/>
                    </a:lnTo>
                    <a:lnTo>
                      <a:pt x="54093" y="168491"/>
                    </a:lnTo>
                    <a:lnTo>
                      <a:pt x="54548" y="171824"/>
                    </a:lnTo>
                    <a:lnTo>
                      <a:pt x="57123" y="176522"/>
                    </a:lnTo>
                    <a:lnTo>
                      <a:pt x="57578" y="180007"/>
                    </a:lnTo>
                    <a:lnTo>
                      <a:pt x="55911" y="191977"/>
                    </a:lnTo>
                    <a:lnTo>
                      <a:pt x="55911" y="200917"/>
                    </a:lnTo>
                    <a:lnTo>
                      <a:pt x="53184" y="209553"/>
                    </a:lnTo>
                    <a:lnTo>
                      <a:pt x="50760" y="214099"/>
                    </a:lnTo>
                    <a:lnTo>
                      <a:pt x="45759" y="220614"/>
                    </a:lnTo>
                    <a:lnTo>
                      <a:pt x="38789" y="224251"/>
                    </a:lnTo>
                    <a:lnTo>
                      <a:pt x="33941" y="227736"/>
                    </a:lnTo>
                    <a:lnTo>
                      <a:pt x="31668" y="234706"/>
                    </a:lnTo>
                    <a:lnTo>
                      <a:pt x="22122" y="246070"/>
                    </a:lnTo>
                    <a:lnTo>
                      <a:pt x="20910" y="254858"/>
                    </a:lnTo>
                    <a:lnTo>
                      <a:pt x="17425" y="262737"/>
                    </a:lnTo>
                    <a:lnTo>
                      <a:pt x="14698" y="279404"/>
                    </a:lnTo>
                    <a:lnTo>
                      <a:pt x="9091" y="296374"/>
                    </a:lnTo>
                    <a:lnTo>
                      <a:pt x="7576" y="303799"/>
                    </a:lnTo>
                    <a:lnTo>
                      <a:pt x="6212" y="307132"/>
                    </a:lnTo>
                    <a:lnTo>
                      <a:pt x="4394" y="309557"/>
                    </a:lnTo>
                    <a:lnTo>
                      <a:pt x="3030" y="310921"/>
                    </a:lnTo>
                    <a:lnTo>
                      <a:pt x="303" y="312739"/>
                    </a:lnTo>
                    <a:lnTo>
                      <a:pt x="757" y="315012"/>
                    </a:lnTo>
                    <a:lnTo>
                      <a:pt x="1515" y="316981"/>
                    </a:lnTo>
                    <a:lnTo>
                      <a:pt x="2121" y="331376"/>
                    </a:lnTo>
                    <a:lnTo>
                      <a:pt x="2121" y="336982"/>
                    </a:lnTo>
                    <a:lnTo>
                      <a:pt x="1061" y="341679"/>
                    </a:lnTo>
                    <a:lnTo>
                      <a:pt x="0" y="352286"/>
                    </a:lnTo>
                    <a:lnTo>
                      <a:pt x="4394" y="351680"/>
                    </a:lnTo>
                    <a:lnTo>
                      <a:pt x="7424" y="350013"/>
                    </a:lnTo>
                    <a:lnTo>
                      <a:pt x="10152" y="349861"/>
                    </a:lnTo>
                    <a:lnTo>
                      <a:pt x="12879" y="351073"/>
                    </a:lnTo>
                    <a:lnTo>
                      <a:pt x="15758" y="351225"/>
                    </a:lnTo>
                    <a:lnTo>
                      <a:pt x="16819" y="351073"/>
                    </a:lnTo>
                    <a:lnTo>
                      <a:pt x="21970" y="351225"/>
                    </a:lnTo>
                    <a:lnTo>
                      <a:pt x="25001" y="349710"/>
                    </a:lnTo>
                    <a:lnTo>
                      <a:pt x="28486" y="348195"/>
                    </a:lnTo>
                    <a:lnTo>
                      <a:pt x="30456" y="346983"/>
                    </a:lnTo>
                    <a:lnTo>
                      <a:pt x="33334" y="345619"/>
                    </a:lnTo>
                    <a:lnTo>
                      <a:pt x="37122" y="344255"/>
                    </a:lnTo>
                    <a:lnTo>
                      <a:pt x="39244" y="344407"/>
                    </a:lnTo>
                    <a:lnTo>
                      <a:pt x="41820" y="344861"/>
                    </a:lnTo>
                    <a:lnTo>
                      <a:pt x="45305" y="345316"/>
                    </a:lnTo>
                    <a:lnTo>
                      <a:pt x="47274" y="346225"/>
                    </a:lnTo>
                    <a:lnTo>
                      <a:pt x="49547" y="349104"/>
                    </a:lnTo>
                    <a:lnTo>
                      <a:pt x="53184" y="351680"/>
                    </a:lnTo>
                    <a:lnTo>
                      <a:pt x="55911" y="353195"/>
                    </a:lnTo>
                    <a:lnTo>
                      <a:pt x="58941" y="355165"/>
                    </a:lnTo>
                    <a:lnTo>
                      <a:pt x="59850" y="355922"/>
                    </a:lnTo>
                    <a:lnTo>
                      <a:pt x="61215" y="356377"/>
                    </a:lnTo>
                    <a:lnTo>
                      <a:pt x="61972" y="356528"/>
                    </a:lnTo>
                    <a:lnTo>
                      <a:pt x="67730" y="356225"/>
                    </a:lnTo>
                    <a:lnTo>
                      <a:pt x="72881" y="355922"/>
                    </a:lnTo>
                    <a:lnTo>
                      <a:pt x="78488" y="355922"/>
                    </a:lnTo>
                    <a:lnTo>
                      <a:pt x="88943" y="355922"/>
                    </a:lnTo>
                    <a:lnTo>
                      <a:pt x="99398" y="355922"/>
                    </a:lnTo>
                    <a:lnTo>
                      <a:pt x="109853" y="355922"/>
                    </a:lnTo>
                    <a:lnTo>
                      <a:pt x="120308" y="355922"/>
                    </a:lnTo>
                    <a:lnTo>
                      <a:pt x="130763" y="355922"/>
                    </a:lnTo>
                    <a:lnTo>
                      <a:pt x="141217" y="355922"/>
                    </a:lnTo>
                    <a:lnTo>
                      <a:pt x="151672" y="355922"/>
                    </a:lnTo>
                    <a:lnTo>
                      <a:pt x="162127" y="355922"/>
                    </a:lnTo>
                    <a:lnTo>
                      <a:pt x="166370" y="355922"/>
                    </a:lnTo>
                    <a:lnTo>
                      <a:pt x="173794" y="356074"/>
                    </a:lnTo>
                    <a:lnTo>
                      <a:pt x="181673" y="356225"/>
                    </a:lnTo>
                    <a:lnTo>
                      <a:pt x="182582" y="356377"/>
                    </a:lnTo>
                    <a:lnTo>
                      <a:pt x="183491" y="356983"/>
                    </a:lnTo>
                    <a:lnTo>
                      <a:pt x="184249" y="357437"/>
                    </a:lnTo>
                    <a:lnTo>
                      <a:pt x="186977" y="361074"/>
                    </a:lnTo>
                    <a:lnTo>
                      <a:pt x="190462" y="364862"/>
                    </a:lnTo>
                    <a:lnTo>
                      <a:pt x="193341" y="366680"/>
                    </a:lnTo>
                    <a:lnTo>
                      <a:pt x="196825" y="367741"/>
                    </a:lnTo>
                    <a:lnTo>
                      <a:pt x="200159" y="368195"/>
                    </a:lnTo>
                    <a:lnTo>
                      <a:pt x="203189" y="367892"/>
                    </a:lnTo>
                    <a:lnTo>
                      <a:pt x="208341" y="368347"/>
                    </a:lnTo>
                    <a:lnTo>
                      <a:pt x="215463" y="369559"/>
                    </a:lnTo>
                    <a:lnTo>
                      <a:pt x="222887" y="369862"/>
                    </a:lnTo>
                    <a:lnTo>
                      <a:pt x="230615" y="369407"/>
                    </a:lnTo>
                    <a:lnTo>
                      <a:pt x="236069" y="370013"/>
                    </a:lnTo>
                    <a:lnTo>
                      <a:pt x="239251" y="371832"/>
                    </a:lnTo>
                    <a:lnTo>
                      <a:pt x="242433" y="373044"/>
                    </a:lnTo>
                    <a:lnTo>
                      <a:pt x="245767" y="373650"/>
                    </a:lnTo>
                    <a:lnTo>
                      <a:pt x="250161" y="373196"/>
                    </a:lnTo>
                    <a:lnTo>
                      <a:pt x="255767" y="371832"/>
                    </a:lnTo>
                    <a:lnTo>
                      <a:pt x="260464" y="371983"/>
                    </a:lnTo>
                    <a:lnTo>
                      <a:pt x="262737" y="373044"/>
                    </a:lnTo>
                    <a:lnTo>
                      <a:pt x="264101" y="373044"/>
                    </a:lnTo>
                    <a:lnTo>
                      <a:pt x="272283" y="371529"/>
                    </a:lnTo>
                    <a:lnTo>
                      <a:pt x="278950" y="370317"/>
                    </a:lnTo>
                    <a:lnTo>
                      <a:pt x="288950" y="368347"/>
                    </a:lnTo>
                    <a:lnTo>
                      <a:pt x="297132" y="366832"/>
                    </a:lnTo>
                    <a:lnTo>
                      <a:pt x="309254" y="364559"/>
                    </a:lnTo>
                    <a:lnTo>
                      <a:pt x="317739" y="362892"/>
                    </a:lnTo>
                    <a:lnTo>
                      <a:pt x="312284" y="358195"/>
                    </a:lnTo>
                    <a:lnTo>
                      <a:pt x="306072" y="352892"/>
                    </a:lnTo>
                    <a:lnTo>
                      <a:pt x="299708" y="346983"/>
                    </a:lnTo>
                    <a:lnTo>
                      <a:pt x="294859" y="342437"/>
                    </a:lnTo>
                    <a:lnTo>
                      <a:pt x="292435" y="339709"/>
                    </a:lnTo>
                    <a:lnTo>
                      <a:pt x="288192" y="336224"/>
                    </a:lnTo>
                    <a:lnTo>
                      <a:pt x="285162" y="334558"/>
                    </a:lnTo>
                    <a:lnTo>
                      <a:pt x="283950" y="333649"/>
                    </a:lnTo>
                    <a:lnTo>
                      <a:pt x="280920" y="324254"/>
                    </a:lnTo>
                    <a:lnTo>
                      <a:pt x="279253" y="315618"/>
                    </a:lnTo>
                    <a:lnTo>
                      <a:pt x="279253" y="309102"/>
                    </a:lnTo>
                    <a:lnTo>
                      <a:pt x="279253" y="300162"/>
                    </a:lnTo>
                    <a:lnTo>
                      <a:pt x="279253" y="291223"/>
                    </a:lnTo>
                    <a:lnTo>
                      <a:pt x="279253" y="282283"/>
                    </a:lnTo>
                    <a:lnTo>
                      <a:pt x="279253" y="273343"/>
                    </a:lnTo>
                    <a:lnTo>
                      <a:pt x="279253" y="264404"/>
                    </a:lnTo>
                    <a:lnTo>
                      <a:pt x="279253" y="255464"/>
                    </a:lnTo>
                    <a:lnTo>
                      <a:pt x="279253" y="246524"/>
                    </a:lnTo>
                    <a:lnTo>
                      <a:pt x="279253" y="237585"/>
                    </a:lnTo>
                    <a:lnTo>
                      <a:pt x="279253" y="233342"/>
                    </a:lnTo>
                    <a:lnTo>
                      <a:pt x="285617" y="233342"/>
                    </a:lnTo>
                    <a:lnTo>
                      <a:pt x="292738" y="233342"/>
                    </a:lnTo>
                    <a:lnTo>
                      <a:pt x="300163" y="233342"/>
                    </a:lnTo>
                    <a:lnTo>
                      <a:pt x="308345" y="233342"/>
                    </a:lnTo>
                    <a:lnTo>
                      <a:pt x="316527" y="233342"/>
                    </a:lnTo>
                    <a:lnTo>
                      <a:pt x="324709" y="233342"/>
                    </a:lnTo>
                    <a:lnTo>
                      <a:pt x="330315" y="233342"/>
                    </a:lnTo>
                    <a:lnTo>
                      <a:pt x="331830" y="233190"/>
                    </a:lnTo>
                    <a:lnTo>
                      <a:pt x="333649" y="232887"/>
                    </a:lnTo>
                    <a:lnTo>
                      <a:pt x="333800" y="231978"/>
                    </a:lnTo>
                    <a:lnTo>
                      <a:pt x="331528" y="227584"/>
                    </a:lnTo>
                    <a:lnTo>
                      <a:pt x="331679" y="226069"/>
                    </a:lnTo>
                    <a:lnTo>
                      <a:pt x="332285" y="223038"/>
                    </a:lnTo>
                    <a:lnTo>
                      <a:pt x="333194" y="220463"/>
                    </a:lnTo>
                    <a:lnTo>
                      <a:pt x="334406" y="217129"/>
                    </a:lnTo>
                    <a:lnTo>
                      <a:pt x="334558" y="215159"/>
                    </a:lnTo>
                    <a:lnTo>
                      <a:pt x="333497" y="208795"/>
                    </a:lnTo>
                    <a:lnTo>
                      <a:pt x="333649" y="205159"/>
                    </a:lnTo>
                    <a:lnTo>
                      <a:pt x="333952" y="201371"/>
                    </a:lnTo>
                    <a:lnTo>
                      <a:pt x="334255" y="197886"/>
                    </a:lnTo>
                    <a:lnTo>
                      <a:pt x="333952" y="195462"/>
                    </a:lnTo>
                    <a:lnTo>
                      <a:pt x="334406" y="194098"/>
                    </a:lnTo>
                    <a:lnTo>
                      <a:pt x="335164" y="192128"/>
                    </a:lnTo>
                    <a:lnTo>
                      <a:pt x="335618" y="190007"/>
                    </a:lnTo>
                    <a:lnTo>
                      <a:pt x="336073" y="189098"/>
                    </a:lnTo>
                    <a:lnTo>
                      <a:pt x="336982" y="1897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9" name="Freeform: Shape 3348">
                <a:extLst>
                  <a:ext uri="{FF2B5EF4-FFF2-40B4-BE49-F238E27FC236}">
                    <a16:creationId xmlns:a16="http://schemas.microsoft.com/office/drawing/2014/main" id="{C8DC1F56-BBF3-454D-AF44-1E82D0FD984D}"/>
                  </a:ext>
                </a:extLst>
              </p:cNvPr>
              <p:cNvSpPr/>
              <p:nvPr/>
            </p:nvSpPr>
            <p:spPr>
              <a:xfrm>
                <a:off x="6965729" y="3369828"/>
                <a:ext cx="86063" cy="77881"/>
              </a:xfrm>
              <a:custGeom>
                <a:avLst/>
                <a:gdLst>
                  <a:gd name="connsiteX0" fmla="*/ 55760 w 86063"/>
                  <a:gd name="connsiteY0" fmla="*/ 21213 h 77881"/>
                  <a:gd name="connsiteX1" fmla="*/ 55760 w 86063"/>
                  <a:gd name="connsiteY1" fmla="*/ 22577 h 77881"/>
                  <a:gd name="connsiteX2" fmla="*/ 56669 w 86063"/>
                  <a:gd name="connsiteY2" fmla="*/ 22880 h 77881"/>
                  <a:gd name="connsiteX3" fmla="*/ 57729 w 86063"/>
                  <a:gd name="connsiteY3" fmla="*/ 22274 h 77881"/>
                  <a:gd name="connsiteX4" fmla="*/ 58033 w 86063"/>
                  <a:gd name="connsiteY4" fmla="*/ 21213 h 77881"/>
                  <a:gd name="connsiteX5" fmla="*/ 57275 w 86063"/>
                  <a:gd name="connsiteY5" fmla="*/ 20758 h 77881"/>
                  <a:gd name="connsiteX6" fmla="*/ 56517 w 86063"/>
                  <a:gd name="connsiteY6" fmla="*/ 20758 h 77881"/>
                  <a:gd name="connsiteX7" fmla="*/ 55760 w 86063"/>
                  <a:gd name="connsiteY7" fmla="*/ 21213 h 77881"/>
                  <a:gd name="connsiteX8" fmla="*/ 83185 w 86063"/>
                  <a:gd name="connsiteY8" fmla="*/ 67881 h 77881"/>
                  <a:gd name="connsiteX9" fmla="*/ 85155 w 86063"/>
                  <a:gd name="connsiteY9" fmla="*/ 67730 h 77881"/>
                  <a:gd name="connsiteX10" fmla="*/ 86064 w 86063"/>
                  <a:gd name="connsiteY10" fmla="*/ 66972 h 77881"/>
                  <a:gd name="connsiteX11" fmla="*/ 83943 w 86063"/>
                  <a:gd name="connsiteY11" fmla="*/ 64548 h 77881"/>
                  <a:gd name="connsiteX12" fmla="*/ 81973 w 86063"/>
                  <a:gd name="connsiteY12" fmla="*/ 62881 h 77881"/>
                  <a:gd name="connsiteX13" fmla="*/ 80306 w 86063"/>
                  <a:gd name="connsiteY13" fmla="*/ 61820 h 77881"/>
                  <a:gd name="connsiteX14" fmla="*/ 80003 w 86063"/>
                  <a:gd name="connsiteY14" fmla="*/ 61214 h 77881"/>
                  <a:gd name="connsiteX15" fmla="*/ 80003 w 86063"/>
                  <a:gd name="connsiteY15" fmla="*/ 60760 h 77881"/>
                  <a:gd name="connsiteX16" fmla="*/ 80306 w 86063"/>
                  <a:gd name="connsiteY16" fmla="*/ 60154 h 77881"/>
                  <a:gd name="connsiteX17" fmla="*/ 83034 w 86063"/>
                  <a:gd name="connsiteY17" fmla="*/ 58790 h 77881"/>
                  <a:gd name="connsiteX18" fmla="*/ 83336 w 86063"/>
                  <a:gd name="connsiteY18" fmla="*/ 57578 h 77881"/>
                  <a:gd name="connsiteX19" fmla="*/ 83185 w 86063"/>
                  <a:gd name="connsiteY19" fmla="*/ 56214 h 77881"/>
                  <a:gd name="connsiteX20" fmla="*/ 78791 w 86063"/>
                  <a:gd name="connsiteY20" fmla="*/ 54244 h 77881"/>
                  <a:gd name="connsiteX21" fmla="*/ 75458 w 86063"/>
                  <a:gd name="connsiteY21" fmla="*/ 55002 h 77881"/>
                  <a:gd name="connsiteX22" fmla="*/ 72579 w 86063"/>
                  <a:gd name="connsiteY22" fmla="*/ 52729 h 77881"/>
                  <a:gd name="connsiteX23" fmla="*/ 70760 w 86063"/>
                  <a:gd name="connsiteY23" fmla="*/ 51063 h 77881"/>
                  <a:gd name="connsiteX24" fmla="*/ 68336 w 86063"/>
                  <a:gd name="connsiteY24" fmla="*/ 49244 h 77881"/>
                  <a:gd name="connsiteX25" fmla="*/ 66215 w 86063"/>
                  <a:gd name="connsiteY25" fmla="*/ 48184 h 77881"/>
                  <a:gd name="connsiteX26" fmla="*/ 64245 w 86063"/>
                  <a:gd name="connsiteY26" fmla="*/ 45911 h 77881"/>
                  <a:gd name="connsiteX27" fmla="*/ 60760 w 86063"/>
                  <a:gd name="connsiteY27" fmla="*/ 43486 h 77881"/>
                  <a:gd name="connsiteX28" fmla="*/ 58487 w 86063"/>
                  <a:gd name="connsiteY28" fmla="*/ 42729 h 77881"/>
                  <a:gd name="connsiteX29" fmla="*/ 58487 w 86063"/>
                  <a:gd name="connsiteY29" fmla="*/ 42426 h 77881"/>
                  <a:gd name="connsiteX30" fmla="*/ 58942 w 86063"/>
                  <a:gd name="connsiteY30" fmla="*/ 41971 h 77881"/>
                  <a:gd name="connsiteX31" fmla="*/ 59851 w 86063"/>
                  <a:gd name="connsiteY31" fmla="*/ 41668 h 77881"/>
                  <a:gd name="connsiteX32" fmla="*/ 66063 w 86063"/>
                  <a:gd name="connsiteY32" fmla="*/ 41820 h 77881"/>
                  <a:gd name="connsiteX33" fmla="*/ 66821 w 86063"/>
                  <a:gd name="connsiteY33" fmla="*/ 41365 h 77881"/>
                  <a:gd name="connsiteX34" fmla="*/ 67275 w 86063"/>
                  <a:gd name="connsiteY34" fmla="*/ 40304 h 77881"/>
                  <a:gd name="connsiteX35" fmla="*/ 68184 w 86063"/>
                  <a:gd name="connsiteY35" fmla="*/ 38789 h 77881"/>
                  <a:gd name="connsiteX36" fmla="*/ 69245 w 86063"/>
                  <a:gd name="connsiteY36" fmla="*/ 36516 h 77881"/>
                  <a:gd name="connsiteX37" fmla="*/ 69093 w 86063"/>
                  <a:gd name="connsiteY37" fmla="*/ 34547 h 77881"/>
                  <a:gd name="connsiteX38" fmla="*/ 62881 w 86063"/>
                  <a:gd name="connsiteY38" fmla="*/ 31516 h 77881"/>
                  <a:gd name="connsiteX39" fmla="*/ 58336 w 86063"/>
                  <a:gd name="connsiteY39" fmla="*/ 28638 h 77881"/>
                  <a:gd name="connsiteX40" fmla="*/ 55154 w 86063"/>
                  <a:gd name="connsiteY40" fmla="*/ 24849 h 77881"/>
                  <a:gd name="connsiteX41" fmla="*/ 53032 w 86063"/>
                  <a:gd name="connsiteY41" fmla="*/ 21364 h 77881"/>
                  <a:gd name="connsiteX42" fmla="*/ 53032 w 86063"/>
                  <a:gd name="connsiteY42" fmla="*/ 20152 h 77881"/>
                  <a:gd name="connsiteX43" fmla="*/ 53638 w 86063"/>
                  <a:gd name="connsiteY43" fmla="*/ 19092 h 77881"/>
                  <a:gd name="connsiteX44" fmla="*/ 58487 w 86063"/>
                  <a:gd name="connsiteY44" fmla="*/ 15910 h 77881"/>
                  <a:gd name="connsiteX45" fmla="*/ 58790 w 86063"/>
                  <a:gd name="connsiteY45" fmla="*/ 15152 h 77881"/>
                  <a:gd name="connsiteX46" fmla="*/ 58638 w 86063"/>
                  <a:gd name="connsiteY46" fmla="*/ 14546 h 77881"/>
                  <a:gd name="connsiteX47" fmla="*/ 56972 w 86063"/>
                  <a:gd name="connsiteY47" fmla="*/ 12879 h 77881"/>
                  <a:gd name="connsiteX48" fmla="*/ 54850 w 86063"/>
                  <a:gd name="connsiteY48" fmla="*/ 11212 h 77881"/>
                  <a:gd name="connsiteX49" fmla="*/ 54093 w 86063"/>
                  <a:gd name="connsiteY49" fmla="*/ 10000 h 77881"/>
                  <a:gd name="connsiteX50" fmla="*/ 52729 w 86063"/>
                  <a:gd name="connsiteY50" fmla="*/ 9394 h 77881"/>
                  <a:gd name="connsiteX51" fmla="*/ 50153 w 86063"/>
                  <a:gd name="connsiteY51" fmla="*/ 9394 h 77881"/>
                  <a:gd name="connsiteX52" fmla="*/ 45608 w 86063"/>
                  <a:gd name="connsiteY52" fmla="*/ 7273 h 77881"/>
                  <a:gd name="connsiteX53" fmla="*/ 44699 w 86063"/>
                  <a:gd name="connsiteY53" fmla="*/ 7121 h 77881"/>
                  <a:gd name="connsiteX54" fmla="*/ 44547 w 86063"/>
                  <a:gd name="connsiteY54" fmla="*/ 6667 h 77881"/>
                  <a:gd name="connsiteX55" fmla="*/ 44699 w 86063"/>
                  <a:gd name="connsiteY55" fmla="*/ 6212 h 77881"/>
                  <a:gd name="connsiteX56" fmla="*/ 48032 w 86063"/>
                  <a:gd name="connsiteY56" fmla="*/ 5455 h 77881"/>
                  <a:gd name="connsiteX57" fmla="*/ 48032 w 86063"/>
                  <a:gd name="connsiteY57" fmla="*/ 4697 h 77881"/>
                  <a:gd name="connsiteX58" fmla="*/ 46972 w 86063"/>
                  <a:gd name="connsiteY58" fmla="*/ 3788 h 77881"/>
                  <a:gd name="connsiteX59" fmla="*/ 45153 w 86063"/>
                  <a:gd name="connsiteY59" fmla="*/ 3182 h 77881"/>
                  <a:gd name="connsiteX60" fmla="*/ 43486 w 86063"/>
                  <a:gd name="connsiteY60" fmla="*/ 1515 h 77881"/>
                  <a:gd name="connsiteX61" fmla="*/ 42881 w 86063"/>
                  <a:gd name="connsiteY61" fmla="*/ 0 h 77881"/>
                  <a:gd name="connsiteX62" fmla="*/ 42123 w 86063"/>
                  <a:gd name="connsiteY62" fmla="*/ 455 h 77881"/>
                  <a:gd name="connsiteX63" fmla="*/ 37577 w 86063"/>
                  <a:gd name="connsiteY63" fmla="*/ 1061 h 77881"/>
                  <a:gd name="connsiteX64" fmla="*/ 37577 w 86063"/>
                  <a:gd name="connsiteY64" fmla="*/ 1364 h 77881"/>
                  <a:gd name="connsiteX65" fmla="*/ 38638 w 86063"/>
                  <a:gd name="connsiteY65" fmla="*/ 2273 h 77881"/>
                  <a:gd name="connsiteX66" fmla="*/ 38486 w 86063"/>
                  <a:gd name="connsiteY66" fmla="*/ 2576 h 77881"/>
                  <a:gd name="connsiteX67" fmla="*/ 30910 w 86063"/>
                  <a:gd name="connsiteY67" fmla="*/ 2727 h 77881"/>
                  <a:gd name="connsiteX68" fmla="*/ 28334 w 86063"/>
                  <a:gd name="connsiteY68" fmla="*/ 3333 h 77881"/>
                  <a:gd name="connsiteX69" fmla="*/ 21667 w 86063"/>
                  <a:gd name="connsiteY69" fmla="*/ 2576 h 77881"/>
                  <a:gd name="connsiteX70" fmla="*/ 19395 w 86063"/>
                  <a:gd name="connsiteY70" fmla="*/ 2879 h 77881"/>
                  <a:gd name="connsiteX71" fmla="*/ 17425 w 86063"/>
                  <a:gd name="connsiteY71" fmla="*/ 3485 h 77881"/>
                  <a:gd name="connsiteX72" fmla="*/ 12879 w 86063"/>
                  <a:gd name="connsiteY72" fmla="*/ 4243 h 77881"/>
                  <a:gd name="connsiteX73" fmla="*/ 9698 w 86063"/>
                  <a:gd name="connsiteY73" fmla="*/ 5152 h 77881"/>
                  <a:gd name="connsiteX74" fmla="*/ 5606 w 86063"/>
                  <a:gd name="connsiteY74" fmla="*/ 5606 h 77881"/>
                  <a:gd name="connsiteX75" fmla="*/ 1364 w 86063"/>
                  <a:gd name="connsiteY75" fmla="*/ 5606 h 77881"/>
                  <a:gd name="connsiteX76" fmla="*/ 0 w 86063"/>
                  <a:gd name="connsiteY76" fmla="*/ 5909 h 77881"/>
                  <a:gd name="connsiteX77" fmla="*/ 455 w 86063"/>
                  <a:gd name="connsiteY77" fmla="*/ 7273 h 77881"/>
                  <a:gd name="connsiteX78" fmla="*/ 2122 w 86063"/>
                  <a:gd name="connsiteY78" fmla="*/ 9243 h 77881"/>
                  <a:gd name="connsiteX79" fmla="*/ 4091 w 86063"/>
                  <a:gd name="connsiteY79" fmla="*/ 10455 h 77881"/>
                  <a:gd name="connsiteX80" fmla="*/ 5152 w 86063"/>
                  <a:gd name="connsiteY80" fmla="*/ 11667 h 77881"/>
                  <a:gd name="connsiteX81" fmla="*/ 6970 w 86063"/>
                  <a:gd name="connsiteY81" fmla="*/ 16061 h 77881"/>
                  <a:gd name="connsiteX82" fmla="*/ 7728 w 86063"/>
                  <a:gd name="connsiteY82" fmla="*/ 18486 h 77881"/>
                  <a:gd name="connsiteX83" fmla="*/ 7425 w 86063"/>
                  <a:gd name="connsiteY83" fmla="*/ 20758 h 77881"/>
                  <a:gd name="connsiteX84" fmla="*/ 6212 w 86063"/>
                  <a:gd name="connsiteY84" fmla="*/ 23183 h 77881"/>
                  <a:gd name="connsiteX85" fmla="*/ 3485 w 86063"/>
                  <a:gd name="connsiteY85" fmla="*/ 26213 h 77881"/>
                  <a:gd name="connsiteX86" fmla="*/ 4091 w 86063"/>
                  <a:gd name="connsiteY86" fmla="*/ 27425 h 77881"/>
                  <a:gd name="connsiteX87" fmla="*/ 4697 w 86063"/>
                  <a:gd name="connsiteY87" fmla="*/ 29092 h 77881"/>
                  <a:gd name="connsiteX88" fmla="*/ 4546 w 86063"/>
                  <a:gd name="connsiteY88" fmla="*/ 30304 h 77881"/>
                  <a:gd name="connsiteX89" fmla="*/ 6515 w 86063"/>
                  <a:gd name="connsiteY89" fmla="*/ 34092 h 77881"/>
                  <a:gd name="connsiteX90" fmla="*/ 7425 w 86063"/>
                  <a:gd name="connsiteY90" fmla="*/ 36365 h 77881"/>
                  <a:gd name="connsiteX91" fmla="*/ 6667 w 86063"/>
                  <a:gd name="connsiteY91" fmla="*/ 36971 h 77881"/>
                  <a:gd name="connsiteX92" fmla="*/ 6212 w 86063"/>
                  <a:gd name="connsiteY92" fmla="*/ 37729 h 77881"/>
                  <a:gd name="connsiteX93" fmla="*/ 9698 w 86063"/>
                  <a:gd name="connsiteY93" fmla="*/ 39547 h 77881"/>
                  <a:gd name="connsiteX94" fmla="*/ 13788 w 86063"/>
                  <a:gd name="connsiteY94" fmla="*/ 41062 h 77881"/>
                  <a:gd name="connsiteX95" fmla="*/ 15455 w 86063"/>
                  <a:gd name="connsiteY95" fmla="*/ 41365 h 77881"/>
                  <a:gd name="connsiteX96" fmla="*/ 20153 w 86063"/>
                  <a:gd name="connsiteY96" fmla="*/ 40608 h 77881"/>
                  <a:gd name="connsiteX97" fmla="*/ 23183 w 86063"/>
                  <a:gd name="connsiteY97" fmla="*/ 40456 h 77881"/>
                  <a:gd name="connsiteX98" fmla="*/ 26213 w 86063"/>
                  <a:gd name="connsiteY98" fmla="*/ 41820 h 77881"/>
                  <a:gd name="connsiteX99" fmla="*/ 30607 w 86063"/>
                  <a:gd name="connsiteY99" fmla="*/ 45305 h 77881"/>
                  <a:gd name="connsiteX100" fmla="*/ 35305 w 86063"/>
                  <a:gd name="connsiteY100" fmla="*/ 49850 h 77881"/>
                  <a:gd name="connsiteX101" fmla="*/ 36214 w 86063"/>
                  <a:gd name="connsiteY101" fmla="*/ 51214 h 77881"/>
                  <a:gd name="connsiteX102" fmla="*/ 38941 w 86063"/>
                  <a:gd name="connsiteY102" fmla="*/ 50759 h 77881"/>
                  <a:gd name="connsiteX103" fmla="*/ 43486 w 86063"/>
                  <a:gd name="connsiteY103" fmla="*/ 49244 h 77881"/>
                  <a:gd name="connsiteX104" fmla="*/ 44699 w 86063"/>
                  <a:gd name="connsiteY104" fmla="*/ 50002 h 77881"/>
                  <a:gd name="connsiteX105" fmla="*/ 46062 w 86063"/>
                  <a:gd name="connsiteY105" fmla="*/ 51517 h 77881"/>
                  <a:gd name="connsiteX106" fmla="*/ 46669 w 86063"/>
                  <a:gd name="connsiteY106" fmla="*/ 52729 h 77881"/>
                  <a:gd name="connsiteX107" fmla="*/ 46820 w 86063"/>
                  <a:gd name="connsiteY107" fmla="*/ 55154 h 77881"/>
                  <a:gd name="connsiteX108" fmla="*/ 47426 w 86063"/>
                  <a:gd name="connsiteY108" fmla="*/ 55608 h 77881"/>
                  <a:gd name="connsiteX109" fmla="*/ 49548 w 86063"/>
                  <a:gd name="connsiteY109" fmla="*/ 54851 h 77881"/>
                  <a:gd name="connsiteX110" fmla="*/ 50457 w 86063"/>
                  <a:gd name="connsiteY110" fmla="*/ 55760 h 77881"/>
                  <a:gd name="connsiteX111" fmla="*/ 52123 w 86063"/>
                  <a:gd name="connsiteY111" fmla="*/ 56972 h 77881"/>
                  <a:gd name="connsiteX112" fmla="*/ 55002 w 86063"/>
                  <a:gd name="connsiteY112" fmla="*/ 58032 h 77881"/>
                  <a:gd name="connsiteX113" fmla="*/ 59245 w 86063"/>
                  <a:gd name="connsiteY113" fmla="*/ 56214 h 77881"/>
                  <a:gd name="connsiteX114" fmla="*/ 61366 w 86063"/>
                  <a:gd name="connsiteY114" fmla="*/ 55760 h 77881"/>
                  <a:gd name="connsiteX115" fmla="*/ 63033 w 86063"/>
                  <a:gd name="connsiteY115" fmla="*/ 55760 h 77881"/>
                  <a:gd name="connsiteX116" fmla="*/ 63942 w 86063"/>
                  <a:gd name="connsiteY116" fmla="*/ 56366 h 77881"/>
                  <a:gd name="connsiteX117" fmla="*/ 64245 w 86063"/>
                  <a:gd name="connsiteY117" fmla="*/ 58184 h 77881"/>
                  <a:gd name="connsiteX118" fmla="*/ 63942 w 86063"/>
                  <a:gd name="connsiteY118" fmla="*/ 60457 h 77881"/>
                  <a:gd name="connsiteX119" fmla="*/ 63487 w 86063"/>
                  <a:gd name="connsiteY119" fmla="*/ 61669 h 77881"/>
                  <a:gd name="connsiteX120" fmla="*/ 64396 w 86063"/>
                  <a:gd name="connsiteY120" fmla="*/ 62578 h 77881"/>
                  <a:gd name="connsiteX121" fmla="*/ 67881 w 86063"/>
                  <a:gd name="connsiteY121" fmla="*/ 64699 h 77881"/>
                  <a:gd name="connsiteX122" fmla="*/ 69245 w 86063"/>
                  <a:gd name="connsiteY122" fmla="*/ 65911 h 77881"/>
                  <a:gd name="connsiteX123" fmla="*/ 68488 w 86063"/>
                  <a:gd name="connsiteY123" fmla="*/ 68033 h 77881"/>
                  <a:gd name="connsiteX124" fmla="*/ 71063 w 86063"/>
                  <a:gd name="connsiteY124" fmla="*/ 73184 h 77881"/>
                  <a:gd name="connsiteX125" fmla="*/ 71972 w 86063"/>
                  <a:gd name="connsiteY125" fmla="*/ 75154 h 77881"/>
                  <a:gd name="connsiteX126" fmla="*/ 73033 w 86063"/>
                  <a:gd name="connsiteY126" fmla="*/ 77579 h 77881"/>
                  <a:gd name="connsiteX127" fmla="*/ 74548 w 86063"/>
                  <a:gd name="connsiteY127" fmla="*/ 77882 h 77881"/>
                  <a:gd name="connsiteX128" fmla="*/ 78639 w 86063"/>
                  <a:gd name="connsiteY128" fmla="*/ 76518 h 77881"/>
                  <a:gd name="connsiteX129" fmla="*/ 83336 w 86063"/>
                  <a:gd name="connsiteY129" fmla="*/ 76670 h 77881"/>
                  <a:gd name="connsiteX130" fmla="*/ 83185 w 86063"/>
                  <a:gd name="connsiteY130" fmla="*/ 73791 h 77881"/>
                  <a:gd name="connsiteX131" fmla="*/ 83336 w 86063"/>
                  <a:gd name="connsiteY131" fmla="*/ 71518 h 77881"/>
                  <a:gd name="connsiteX132" fmla="*/ 82882 w 86063"/>
                  <a:gd name="connsiteY132" fmla="*/ 70154 h 77881"/>
                  <a:gd name="connsiteX133" fmla="*/ 80912 w 86063"/>
                  <a:gd name="connsiteY133" fmla="*/ 68336 h 77881"/>
                  <a:gd name="connsiteX134" fmla="*/ 80912 w 86063"/>
                  <a:gd name="connsiteY134" fmla="*/ 67578 h 77881"/>
                  <a:gd name="connsiteX135" fmla="*/ 81518 w 86063"/>
                  <a:gd name="connsiteY135" fmla="*/ 67124 h 77881"/>
                  <a:gd name="connsiteX136" fmla="*/ 83185 w 86063"/>
                  <a:gd name="connsiteY136" fmla="*/ 67881 h 77881"/>
                  <a:gd name="connsiteX137" fmla="*/ 43335 w 86063"/>
                  <a:gd name="connsiteY137" fmla="*/ 8940 h 77881"/>
                  <a:gd name="connsiteX138" fmla="*/ 42729 w 86063"/>
                  <a:gd name="connsiteY138" fmla="*/ 9243 h 77881"/>
                  <a:gd name="connsiteX139" fmla="*/ 41820 w 86063"/>
                  <a:gd name="connsiteY139" fmla="*/ 8940 h 77881"/>
                  <a:gd name="connsiteX140" fmla="*/ 41517 w 86063"/>
                  <a:gd name="connsiteY140" fmla="*/ 8182 h 77881"/>
                  <a:gd name="connsiteX141" fmla="*/ 41517 w 86063"/>
                  <a:gd name="connsiteY141" fmla="*/ 7273 h 77881"/>
                  <a:gd name="connsiteX142" fmla="*/ 42426 w 86063"/>
                  <a:gd name="connsiteY142" fmla="*/ 7121 h 77881"/>
                  <a:gd name="connsiteX143" fmla="*/ 43184 w 86063"/>
                  <a:gd name="connsiteY143" fmla="*/ 7424 h 77881"/>
                  <a:gd name="connsiteX144" fmla="*/ 43335 w 86063"/>
                  <a:gd name="connsiteY144" fmla="*/ 8182 h 77881"/>
                  <a:gd name="connsiteX145" fmla="*/ 43335 w 86063"/>
                  <a:gd name="connsiteY145" fmla="*/ 8940 h 7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6063" h="77881">
                    <a:moveTo>
                      <a:pt x="55760" y="21213"/>
                    </a:moveTo>
                    <a:lnTo>
                      <a:pt x="55760" y="22577"/>
                    </a:lnTo>
                    <a:lnTo>
                      <a:pt x="56669" y="22880"/>
                    </a:lnTo>
                    <a:lnTo>
                      <a:pt x="57729" y="22274"/>
                    </a:lnTo>
                    <a:lnTo>
                      <a:pt x="58033" y="21213"/>
                    </a:lnTo>
                    <a:lnTo>
                      <a:pt x="57275" y="20758"/>
                    </a:lnTo>
                    <a:lnTo>
                      <a:pt x="56517" y="20758"/>
                    </a:lnTo>
                    <a:lnTo>
                      <a:pt x="55760" y="21213"/>
                    </a:lnTo>
                    <a:close/>
                    <a:moveTo>
                      <a:pt x="83185" y="67881"/>
                    </a:moveTo>
                    <a:lnTo>
                      <a:pt x="85155" y="67730"/>
                    </a:lnTo>
                    <a:lnTo>
                      <a:pt x="86064" y="66972"/>
                    </a:lnTo>
                    <a:lnTo>
                      <a:pt x="83943" y="64548"/>
                    </a:lnTo>
                    <a:lnTo>
                      <a:pt x="81973" y="62881"/>
                    </a:lnTo>
                    <a:lnTo>
                      <a:pt x="80306" y="61820"/>
                    </a:lnTo>
                    <a:lnTo>
                      <a:pt x="80003" y="61214"/>
                    </a:lnTo>
                    <a:lnTo>
                      <a:pt x="80003" y="60760"/>
                    </a:lnTo>
                    <a:lnTo>
                      <a:pt x="80306" y="60154"/>
                    </a:lnTo>
                    <a:lnTo>
                      <a:pt x="83034" y="58790"/>
                    </a:lnTo>
                    <a:lnTo>
                      <a:pt x="83336" y="57578"/>
                    </a:lnTo>
                    <a:lnTo>
                      <a:pt x="83185" y="56214"/>
                    </a:lnTo>
                    <a:lnTo>
                      <a:pt x="78791" y="54244"/>
                    </a:lnTo>
                    <a:lnTo>
                      <a:pt x="75458" y="55002"/>
                    </a:lnTo>
                    <a:lnTo>
                      <a:pt x="72579" y="52729"/>
                    </a:lnTo>
                    <a:lnTo>
                      <a:pt x="70760" y="51063"/>
                    </a:lnTo>
                    <a:lnTo>
                      <a:pt x="68336" y="49244"/>
                    </a:lnTo>
                    <a:lnTo>
                      <a:pt x="66215" y="48184"/>
                    </a:lnTo>
                    <a:lnTo>
                      <a:pt x="64245" y="45911"/>
                    </a:lnTo>
                    <a:lnTo>
                      <a:pt x="60760" y="43486"/>
                    </a:lnTo>
                    <a:lnTo>
                      <a:pt x="58487" y="42729"/>
                    </a:lnTo>
                    <a:lnTo>
                      <a:pt x="58487" y="42426"/>
                    </a:lnTo>
                    <a:lnTo>
                      <a:pt x="58942" y="41971"/>
                    </a:lnTo>
                    <a:lnTo>
                      <a:pt x="59851" y="41668"/>
                    </a:lnTo>
                    <a:lnTo>
                      <a:pt x="66063" y="41820"/>
                    </a:lnTo>
                    <a:lnTo>
                      <a:pt x="66821" y="41365"/>
                    </a:lnTo>
                    <a:lnTo>
                      <a:pt x="67275" y="40304"/>
                    </a:lnTo>
                    <a:lnTo>
                      <a:pt x="68184" y="38789"/>
                    </a:lnTo>
                    <a:lnTo>
                      <a:pt x="69245" y="36516"/>
                    </a:lnTo>
                    <a:lnTo>
                      <a:pt x="69093" y="34547"/>
                    </a:lnTo>
                    <a:lnTo>
                      <a:pt x="62881" y="31516"/>
                    </a:lnTo>
                    <a:lnTo>
                      <a:pt x="58336" y="28638"/>
                    </a:lnTo>
                    <a:lnTo>
                      <a:pt x="55154" y="24849"/>
                    </a:lnTo>
                    <a:lnTo>
                      <a:pt x="53032" y="21364"/>
                    </a:lnTo>
                    <a:lnTo>
                      <a:pt x="53032" y="20152"/>
                    </a:lnTo>
                    <a:lnTo>
                      <a:pt x="53638" y="19092"/>
                    </a:lnTo>
                    <a:lnTo>
                      <a:pt x="58487" y="15910"/>
                    </a:lnTo>
                    <a:lnTo>
                      <a:pt x="58790" y="15152"/>
                    </a:lnTo>
                    <a:lnTo>
                      <a:pt x="58638" y="14546"/>
                    </a:lnTo>
                    <a:lnTo>
                      <a:pt x="56972" y="12879"/>
                    </a:lnTo>
                    <a:lnTo>
                      <a:pt x="54850" y="11212"/>
                    </a:lnTo>
                    <a:lnTo>
                      <a:pt x="54093" y="10000"/>
                    </a:lnTo>
                    <a:lnTo>
                      <a:pt x="52729" y="9394"/>
                    </a:lnTo>
                    <a:lnTo>
                      <a:pt x="50153" y="9394"/>
                    </a:lnTo>
                    <a:lnTo>
                      <a:pt x="45608" y="7273"/>
                    </a:lnTo>
                    <a:lnTo>
                      <a:pt x="44699" y="7121"/>
                    </a:lnTo>
                    <a:lnTo>
                      <a:pt x="44547" y="6667"/>
                    </a:lnTo>
                    <a:lnTo>
                      <a:pt x="44699" y="6212"/>
                    </a:lnTo>
                    <a:lnTo>
                      <a:pt x="48032" y="5455"/>
                    </a:lnTo>
                    <a:lnTo>
                      <a:pt x="48032" y="4697"/>
                    </a:lnTo>
                    <a:lnTo>
                      <a:pt x="46972" y="3788"/>
                    </a:lnTo>
                    <a:lnTo>
                      <a:pt x="45153" y="3182"/>
                    </a:lnTo>
                    <a:lnTo>
                      <a:pt x="43486" y="1515"/>
                    </a:lnTo>
                    <a:lnTo>
                      <a:pt x="42881" y="0"/>
                    </a:lnTo>
                    <a:lnTo>
                      <a:pt x="42123" y="455"/>
                    </a:lnTo>
                    <a:lnTo>
                      <a:pt x="37577" y="1061"/>
                    </a:lnTo>
                    <a:lnTo>
                      <a:pt x="37577" y="1364"/>
                    </a:lnTo>
                    <a:lnTo>
                      <a:pt x="38638" y="2273"/>
                    </a:lnTo>
                    <a:lnTo>
                      <a:pt x="38486" y="2576"/>
                    </a:lnTo>
                    <a:lnTo>
                      <a:pt x="30910" y="2727"/>
                    </a:lnTo>
                    <a:lnTo>
                      <a:pt x="28334" y="3333"/>
                    </a:lnTo>
                    <a:lnTo>
                      <a:pt x="21667" y="2576"/>
                    </a:lnTo>
                    <a:lnTo>
                      <a:pt x="19395" y="2879"/>
                    </a:lnTo>
                    <a:lnTo>
                      <a:pt x="17425" y="3485"/>
                    </a:lnTo>
                    <a:lnTo>
                      <a:pt x="12879" y="4243"/>
                    </a:lnTo>
                    <a:lnTo>
                      <a:pt x="9698" y="5152"/>
                    </a:lnTo>
                    <a:lnTo>
                      <a:pt x="5606" y="5606"/>
                    </a:lnTo>
                    <a:lnTo>
                      <a:pt x="1364" y="5606"/>
                    </a:lnTo>
                    <a:lnTo>
                      <a:pt x="0" y="5909"/>
                    </a:lnTo>
                    <a:lnTo>
                      <a:pt x="455" y="7273"/>
                    </a:lnTo>
                    <a:lnTo>
                      <a:pt x="2122" y="9243"/>
                    </a:lnTo>
                    <a:lnTo>
                      <a:pt x="4091" y="10455"/>
                    </a:lnTo>
                    <a:lnTo>
                      <a:pt x="5152" y="11667"/>
                    </a:lnTo>
                    <a:lnTo>
                      <a:pt x="6970" y="16061"/>
                    </a:lnTo>
                    <a:lnTo>
                      <a:pt x="7728" y="18486"/>
                    </a:lnTo>
                    <a:lnTo>
                      <a:pt x="7425" y="20758"/>
                    </a:lnTo>
                    <a:lnTo>
                      <a:pt x="6212" y="23183"/>
                    </a:lnTo>
                    <a:lnTo>
                      <a:pt x="3485" y="26213"/>
                    </a:lnTo>
                    <a:lnTo>
                      <a:pt x="4091" y="27425"/>
                    </a:lnTo>
                    <a:lnTo>
                      <a:pt x="4697" y="29092"/>
                    </a:lnTo>
                    <a:lnTo>
                      <a:pt x="4546" y="30304"/>
                    </a:lnTo>
                    <a:lnTo>
                      <a:pt x="6515" y="34092"/>
                    </a:lnTo>
                    <a:lnTo>
                      <a:pt x="7425" y="36365"/>
                    </a:lnTo>
                    <a:lnTo>
                      <a:pt x="6667" y="36971"/>
                    </a:lnTo>
                    <a:lnTo>
                      <a:pt x="6212" y="37729"/>
                    </a:lnTo>
                    <a:lnTo>
                      <a:pt x="9698" y="39547"/>
                    </a:lnTo>
                    <a:lnTo>
                      <a:pt x="13788" y="41062"/>
                    </a:lnTo>
                    <a:lnTo>
                      <a:pt x="15455" y="41365"/>
                    </a:lnTo>
                    <a:lnTo>
                      <a:pt x="20153" y="40608"/>
                    </a:lnTo>
                    <a:lnTo>
                      <a:pt x="23183" y="40456"/>
                    </a:lnTo>
                    <a:lnTo>
                      <a:pt x="26213" y="41820"/>
                    </a:lnTo>
                    <a:lnTo>
                      <a:pt x="30607" y="45305"/>
                    </a:lnTo>
                    <a:lnTo>
                      <a:pt x="35305" y="49850"/>
                    </a:lnTo>
                    <a:lnTo>
                      <a:pt x="36214" y="51214"/>
                    </a:lnTo>
                    <a:lnTo>
                      <a:pt x="38941" y="50759"/>
                    </a:lnTo>
                    <a:lnTo>
                      <a:pt x="43486" y="49244"/>
                    </a:lnTo>
                    <a:lnTo>
                      <a:pt x="44699" y="50002"/>
                    </a:lnTo>
                    <a:lnTo>
                      <a:pt x="46062" y="51517"/>
                    </a:lnTo>
                    <a:lnTo>
                      <a:pt x="46669" y="52729"/>
                    </a:lnTo>
                    <a:lnTo>
                      <a:pt x="46820" y="55154"/>
                    </a:lnTo>
                    <a:lnTo>
                      <a:pt x="47426" y="55608"/>
                    </a:lnTo>
                    <a:lnTo>
                      <a:pt x="49548" y="54851"/>
                    </a:lnTo>
                    <a:lnTo>
                      <a:pt x="50457" y="55760"/>
                    </a:lnTo>
                    <a:lnTo>
                      <a:pt x="52123" y="56972"/>
                    </a:lnTo>
                    <a:lnTo>
                      <a:pt x="55002" y="58032"/>
                    </a:lnTo>
                    <a:lnTo>
                      <a:pt x="59245" y="56214"/>
                    </a:lnTo>
                    <a:lnTo>
                      <a:pt x="61366" y="55760"/>
                    </a:lnTo>
                    <a:lnTo>
                      <a:pt x="63033" y="55760"/>
                    </a:lnTo>
                    <a:lnTo>
                      <a:pt x="63942" y="56366"/>
                    </a:lnTo>
                    <a:lnTo>
                      <a:pt x="64245" y="58184"/>
                    </a:lnTo>
                    <a:lnTo>
                      <a:pt x="63942" y="60457"/>
                    </a:lnTo>
                    <a:lnTo>
                      <a:pt x="63487" y="61669"/>
                    </a:lnTo>
                    <a:lnTo>
                      <a:pt x="64396" y="62578"/>
                    </a:lnTo>
                    <a:lnTo>
                      <a:pt x="67881" y="64699"/>
                    </a:lnTo>
                    <a:lnTo>
                      <a:pt x="69245" y="65911"/>
                    </a:lnTo>
                    <a:lnTo>
                      <a:pt x="68488" y="68033"/>
                    </a:lnTo>
                    <a:lnTo>
                      <a:pt x="71063" y="73184"/>
                    </a:lnTo>
                    <a:lnTo>
                      <a:pt x="71972" y="75154"/>
                    </a:lnTo>
                    <a:lnTo>
                      <a:pt x="73033" y="77579"/>
                    </a:lnTo>
                    <a:lnTo>
                      <a:pt x="74548" y="77882"/>
                    </a:lnTo>
                    <a:lnTo>
                      <a:pt x="78639" y="76518"/>
                    </a:lnTo>
                    <a:lnTo>
                      <a:pt x="83336" y="76670"/>
                    </a:lnTo>
                    <a:lnTo>
                      <a:pt x="83185" y="73791"/>
                    </a:lnTo>
                    <a:lnTo>
                      <a:pt x="83336" y="71518"/>
                    </a:lnTo>
                    <a:lnTo>
                      <a:pt x="82882" y="70154"/>
                    </a:lnTo>
                    <a:lnTo>
                      <a:pt x="80912" y="68336"/>
                    </a:lnTo>
                    <a:lnTo>
                      <a:pt x="80912" y="67578"/>
                    </a:lnTo>
                    <a:lnTo>
                      <a:pt x="81518" y="67124"/>
                    </a:lnTo>
                    <a:lnTo>
                      <a:pt x="83185" y="67881"/>
                    </a:lnTo>
                    <a:close/>
                    <a:moveTo>
                      <a:pt x="43335" y="8940"/>
                    </a:moveTo>
                    <a:lnTo>
                      <a:pt x="42729" y="9243"/>
                    </a:lnTo>
                    <a:lnTo>
                      <a:pt x="41820" y="8940"/>
                    </a:lnTo>
                    <a:lnTo>
                      <a:pt x="41517" y="8182"/>
                    </a:lnTo>
                    <a:lnTo>
                      <a:pt x="41517" y="7273"/>
                    </a:lnTo>
                    <a:lnTo>
                      <a:pt x="42426" y="7121"/>
                    </a:lnTo>
                    <a:lnTo>
                      <a:pt x="43184" y="7424"/>
                    </a:lnTo>
                    <a:lnTo>
                      <a:pt x="43335" y="8182"/>
                    </a:lnTo>
                    <a:lnTo>
                      <a:pt x="43335" y="8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0" name="Freeform: Shape 3349">
                <a:extLst>
                  <a:ext uri="{FF2B5EF4-FFF2-40B4-BE49-F238E27FC236}">
                    <a16:creationId xmlns:a16="http://schemas.microsoft.com/office/drawing/2014/main" id="{C2E79D8D-7D45-4DFA-8ED4-AC587EAE3814}"/>
                  </a:ext>
                </a:extLst>
              </p:cNvPr>
              <p:cNvSpPr/>
              <p:nvPr/>
            </p:nvSpPr>
            <p:spPr>
              <a:xfrm>
                <a:off x="6305856" y="3325736"/>
                <a:ext cx="46819" cy="97427"/>
              </a:xfrm>
              <a:custGeom>
                <a:avLst/>
                <a:gdLst>
                  <a:gd name="connsiteX0" fmla="*/ 45607 w 46819"/>
                  <a:gd name="connsiteY0" fmla="*/ 63033 h 97427"/>
                  <a:gd name="connsiteX1" fmla="*/ 44698 w 46819"/>
                  <a:gd name="connsiteY1" fmla="*/ 61214 h 97427"/>
                  <a:gd name="connsiteX2" fmla="*/ 45002 w 46819"/>
                  <a:gd name="connsiteY2" fmla="*/ 58790 h 97427"/>
                  <a:gd name="connsiteX3" fmla="*/ 44850 w 46819"/>
                  <a:gd name="connsiteY3" fmla="*/ 58032 h 97427"/>
                  <a:gd name="connsiteX4" fmla="*/ 44093 w 46819"/>
                  <a:gd name="connsiteY4" fmla="*/ 57123 h 97427"/>
                  <a:gd name="connsiteX5" fmla="*/ 42426 w 46819"/>
                  <a:gd name="connsiteY5" fmla="*/ 56517 h 97427"/>
                  <a:gd name="connsiteX6" fmla="*/ 38789 w 46819"/>
                  <a:gd name="connsiteY6" fmla="*/ 56972 h 97427"/>
                  <a:gd name="connsiteX7" fmla="*/ 37880 w 46819"/>
                  <a:gd name="connsiteY7" fmla="*/ 56214 h 97427"/>
                  <a:gd name="connsiteX8" fmla="*/ 36517 w 46819"/>
                  <a:gd name="connsiteY8" fmla="*/ 51972 h 97427"/>
                  <a:gd name="connsiteX9" fmla="*/ 35304 w 46819"/>
                  <a:gd name="connsiteY9" fmla="*/ 51214 h 97427"/>
                  <a:gd name="connsiteX10" fmla="*/ 34092 w 46819"/>
                  <a:gd name="connsiteY10" fmla="*/ 49699 h 97427"/>
                  <a:gd name="connsiteX11" fmla="*/ 31971 w 46819"/>
                  <a:gd name="connsiteY11" fmla="*/ 45002 h 97427"/>
                  <a:gd name="connsiteX12" fmla="*/ 31819 w 46819"/>
                  <a:gd name="connsiteY12" fmla="*/ 43032 h 97427"/>
                  <a:gd name="connsiteX13" fmla="*/ 31971 w 46819"/>
                  <a:gd name="connsiteY13" fmla="*/ 41214 h 97427"/>
                  <a:gd name="connsiteX14" fmla="*/ 30759 w 46819"/>
                  <a:gd name="connsiteY14" fmla="*/ 36971 h 97427"/>
                  <a:gd name="connsiteX15" fmla="*/ 31516 w 46819"/>
                  <a:gd name="connsiteY15" fmla="*/ 35910 h 97427"/>
                  <a:gd name="connsiteX16" fmla="*/ 32729 w 46819"/>
                  <a:gd name="connsiteY16" fmla="*/ 35153 h 97427"/>
                  <a:gd name="connsiteX17" fmla="*/ 32729 w 46819"/>
                  <a:gd name="connsiteY17" fmla="*/ 33486 h 97427"/>
                  <a:gd name="connsiteX18" fmla="*/ 32425 w 46819"/>
                  <a:gd name="connsiteY18" fmla="*/ 30910 h 97427"/>
                  <a:gd name="connsiteX19" fmla="*/ 33638 w 46819"/>
                  <a:gd name="connsiteY19" fmla="*/ 25759 h 97427"/>
                  <a:gd name="connsiteX20" fmla="*/ 34092 w 46819"/>
                  <a:gd name="connsiteY20" fmla="*/ 25455 h 97427"/>
                  <a:gd name="connsiteX21" fmla="*/ 34395 w 46819"/>
                  <a:gd name="connsiteY21" fmla="*/ 23940 h 97427"/>
                  <a:gd name="connsiteX22" fmla="*/ 34243 w 46819"/>
                  <a:gd name="connsiteY22" fmla="*/ 20910 h 97427"/>
                  <a:gd name="connsiteX23" fmla="*/ 32880 w 46819"/>
                  <a:gd name="connsiteY23" fmla="*/ 15607 h 97427"/>
                  <a:gd name="connsiteX24" fmla="*/ 31819 w 46819"/>
                  <a:gd name="connsiteY24" fmla="*/ 13940 h 97427"/>
                  <a:gd name="connsiteX25" fmla="*/ 29698 w 46819"/>
                  <a:gd name="connsiteY25" fmla="*/ 12273 h 97427"/>
                  <a:gd name="connsiteX26" fmla="*/ 28031 w 46819"/>
                  <a:gd name="connsiteY26" fmla="*/ 11213 h 97427"/>
                  <a:gd name="connsiteX27" fmla="*/ 25153 w 46819"/>
                  <a:gd name="connsiteY27" fmla="*/ 10152 h 97427"/>
                  <a:gd name="connsiteX28" fmla="*/ 23637 w 46819"/>
                  <a:gd name="connsiteY28" fmla="*/ 7273 h 97427"/>
                  <a:gd name="connsiteX29" fmla="*/ 21364 w 46819"/>
                  <a:gd name="connsiteY29" fmla="*/ 4091 h 97427"/>
                  <a:gd name="connsiteX30" fmla="*/ 20304 w 46819"/>
                  <a:gd name="connsiteY30" fmla="*/ 3333 h 97427"/>
                  <a:gd name="connsiteX31" fmla="*/ 19849 w 46819"/>
                  <a:gd name="connsiteY31" fmla="*/ 3182 h 97427"/>
                  <a:gd name="connsiteX32" fmla="*/ 16819 w 46819"/>
                  <a:gd name="connsiteY32" fmla="*/ 4697 h 97427"/>
                  <a:gd name="connsiteX33" fmla="*/ 14698 w 46819"/>
                  <a:gd name="connsiteY33" fmla="*/ 5303 h 97427"/>
                  <a:gd name="connsiteX34" fmla="*/ 12728 w 46819"/>
                  <a:gd name="connsiteY34" fmla="*/ 5606 h 97427"/>
                  <a:gd name="connsiteX35" fmla="*/ 11819 w 46819"/>
                  <a:gd name="connsiteY35" fmla="*/ 5000 h 97427"/>
                  <a:gd name="connsiteX36" fmla="*/ 11364 w 46819"/>
                  <a:gd name="connsiteY36" fmla="*/ 4091 h 97427"/>
                  <a:gd name="connsiteX37" fmla="*/ 11515 w 46819"/>
                  <a:gd name="connsiteY37" fmla="*/ 1364 h 97427"/>
                  <a:gd name="connsiteX38" fmla="*/ 11061 w 46819"/>
                  <a:gd name="connsiteY38" fmla="*/ 455 h 97427"/>
                  <a:gd name="connsiteX39" fmla="*/ 10455 w 46819"/>
                  <a:gd name="connsiteY39" fmla="*/ 0 h 97427"/>
                  <a:gd name="connsiteX40" fmla="*/ 9091 w 46819"/>
                  <a:gd name="connsiteY40" fmla="*/ 606 h 97427"/>
                  <a:gd name="connsiteX41" fmla="*/ 7576 w 46819"/>
                  <a:gd name="connsiteY41" fmla="*/ 2727 h 97427"/>
                  <a:gd name="connsiteX42" fmla="*/ 6061 w 46819"/>
                  <a:gd name="connsiteY42" fmla="*/ 5152 h 97427"/>
                  <a:gd name="connsiteX43" fmla="*/ 3939 w 46819"/>
                  <a:gd name="connsiteY43" fmla="*/ 7728 h 97427"/>
                  <a:gd name="connsiteX44" fmla="*/ 2121 w 46819"/>
                  <a:gd name="connsiteY44" fmla="*/ 10152 h 97427"/>
                  <a:gd name="connsiteX45" fmla="*/ 1061 w 46819"/>
                  <a:gd name="connsiteY45" fmla="*/ 11819 h 97427"/>
                  <a:gd name="connsiteX46" fmla="*/ 1061 w 46819"/>
                  <a:gd name="connsiteY46" fmla="*/ 11819 h 97427"/>
                  <a:gd name="connsiteX47" fmla="*/ 1970 w 46819"/>
                  <a:gd name="connsiteY47" fmla="*/ 13788 h 97427"/>
                  <a:gd name="connsiteX48" fmla="*/ 3485 w 46819"/>
                  <a:gd name="connsiteY48" fmla="*/ 16213 h 97427"/>
                  <a:gd name="connsiteX49" fmla="*/ 4394 w 46819"/>
                  <a:gd name="connsiteY49" fmla="*/ 17728 h 97427"/>
                  <a:gd name="connsiteX50" fmla="*/ 3939 w 46819"/>
                  <a:gd name="connsiteY50" fmla="*/ 18789 h 97427"/>
                  <a:gd name="connsiteX51" fmla="*/ 1970 w 46819"/>
                  <a:gd name="connsiteY51" fmla="*/ 18486 h 97427"/>
                  <a:gd name="connsiteX52" fmla="*/ 455 w 46819"/>
                  <a:gd name="connsiteY52" fmla="*/ 17728 h 97427"/>
                  <a:gd name="connsiteX53" fmla="*/ 1061 w 46819"/>
                  <a:gd name="connsiteY53" fmla="*/ 19092 h 97427"/>
                  <a:gd name="connsiteX54" fmla="*/ 757 w 46819"/>
                  <a:gd name="connsiteY54" fmla="*/ 20455 h 97427"/>
                  <a:gd name="connsiteX55" fmla="*/ 1061 w 46819"/>
                  <a:gd name="connsiteY55" fmla="*/ 21364 h 97427"/>
                  <a:gd name="connsiteX56" fmla="*/ 606 w 46819"/>
                  <a:gd name="connsiteY56" fmla="*/ 23940 h 97427"/>
                  <a:gd name="connsiteX57" fmla="*/ 606 w 46819"/>
                  <a:gd name="connsiteY57" fmla="*/ 25607 h 97427"/>
                  <a:gd name="connsiteX58" fmla="*/ 3939 w 46819"/>
                  <a:gd name="connsiteY58" fmla="*/ 26062 h 97427"/>
                  <a:gd name="connsiteX59" fmla="*/ 6970 w 46819"/>
                  <a:gd name="connsiteY59" fmla="*/ 28183 h 97427"/>
                  <a:gd name="connsiteX60" fmla="*/ 6970 w 46819"/>
                  <a:gd name="connsiteY60" fmla="*/ 33032 h 97427"/>
                  <a:gd name="connsiteX61" fmla="*/ 6061 w 46819"/>
                  <a:gd name="connsiteY61" fmla="*/ 34547 h 97427"/>
                  <a:gd name="connsiteX62" fmla="*/ 4849 w 46819"/>
                  <a:gd name="connsiteY62" fmla="*/ 35607 h 97427"/>
                  <a:gd name="connsiteX63" fmla="*/ 3182 w 46819"/>
                  <a:gd name="connsiteY63" fmla="*/ 40153 h 97427"/>
                  <a:gd name="connsiteX64" fmla="*/ 3636 w 46819"/>
                  <a:gd name="connsiteY64" fmla="*/ 43486 h 97427"/>
                  <a:gd name="connsiteX65" fmla="*/ 4394 w 46819"/>
                  <a:gd name="connsiteY65" fmla="*/ 46214 h 97427"/>
                  <a:gd name="connsiteX66" fmla="*/ 3636 w 46819"/>
                  <a:gd name="connsiteY66" fmla="*/ 50456 h 97427"/>
                  <a:gd name="connsiteX67" fmla="*/ 3788 w 46819"/>
                  <a:gd name="connsiteY67" fmla="*/ 56063 h 97427"/>
                  <a:gd name="connsiteX68" fmla="*/ 1667 w 46819"/>
                  <a:gd name="connsiteY68" fmla="*/ 60760 h 97427"/>
                  <a:gd name="connsiteX69" fmla="*/ 455 w 46819"/>
                  <a:gd name="connsiteY69" fmla="*/ 64851 h 97427"/>
                  <a:gd name="connsiteX70" fmla="*/ 606 w 46819"/>
                  <a:gd name="connsiteY70" fmla="*/ 66215 h 97427"/>
                  <a:gd name="connsiteX71" fmla="*/ 3182 w 46819"/>
                  <a:gd name="connsiteY71" fmla="*/ 71063 h 97427"/>
                  <a:gd name="connsiteX72" fmla="*/ 3788 w 46819"/>
                  <a:gd name="connsiteY72" fmla="*/ 73185 h 97427"/>
                  <a:gd name="connsiteX73" fmla="*/ 3182 w 46819"/>
                  <a:gd name="connsiteY73" fmla="*/ 74094 h 97427"/>
                  <a:gd name="connsiteX74" fmla="*/ 1970 w 46819"/>
                  <a:gd name="connsiteY74" fmla="*/ 73488 h 97427"/>
                  <a:gd name="connsiteX75" fmla="*/ 1061 w 46819"/>
                  <a:gd name="connsiteY75" fmla="*/ 73033 h 97427"/>
                  <a:gd name="connsiteX76" fmla="*/ 0 w 46819"/>
                  <a:gd name="connsiteY76" fmla="*/ 73185 h 97427"/>
                  <a:gd name="connsiteX77" fmla="*/ 1061 w 46819"/>
                  <a:gd name="connsiteY77" fmla="*/ 75003 h 97427"/>
                  <a:gd name="connsiteX78" fmla="*/ 2121 w 46819"/>
                  <a:gd name="connsiteY78" fmla="*/ 77124 h 97427"/>
                  <a:gd name="connsiteX79" fmla="*/ 4394 w 46819"/>
                  <a:gd name="connsiteY79" fmla="*/ 79397 h 97427"/>
                  <a:gd name="connsiteX80" fmla="*/ 14546 w 46819"/>
                  <a:gd name="connsiteY80" fmla="*/ 84852 h 97427"/>
                  <a:gd name="connsiteX81" fmla="*/ 17576 w 46819"/>
                  <a:gd name="connsiteY81" fmla="*/ 90306 h 97427"/>
                  <a:gd name="connsiteX82" fmla="*/ 18486 w 46819"/>
                  <a:gd name="connsiteY82" fmla="*/ 92579 h 97427"/>
                  <a:gd name="connsiteX83" fmla="*/ 18637 w 46819"/>
                  <a:gd name="connsiteY83" fmla="*/ 95610 h 97427"/>
                  <a:gd name="connsiteX84" fmla="*/ 19091 w 46819"/>
                  <a:gd name="connsiteY84" fmla="*/ 95458 h 97427"/>
                  <a:gd name="connsiteX85" fmla="*/ 20152 w 46819"/>
                  <a:gd name="connsiteY85" fmla="*/ 95913 h 97427"/>
                  <a:gd name="connsiteX86" fmla="*/ 22122 w 46819"/>
                  <a:gd name="connsiteY86" fmla="*/ 97125 h 97427"/>
                  <a:gd name="connsiteX87" fmla="*/ 24243 w 46819"/>
                  <a:gd name="connsiteY87" fmla="*/ 97428 h 97427"/>
                  <a:gd name="connsiteX88" fmla="*/ 25304 w 46819"/>
                  <a:gd name="connsiteY88" fmla="*/ 96519 h 97427"/>
                  <a:gd name="connsiteX89" fmla="*/ 26062 w 46819"/>
                  <a:gd name="connsiteY89" fmla="*/ 95761 h 97427"/>
                  <a:gd name="connsiteX90" fmla="*/ 26364 w 46819"/>
                  <a:gd name="connsiteY90" fmla="*/ 94701 h 97427"/>
                  <a:gd name="connsiteX91" fmla="*/ 26516 w 46819"/>
                  <a:gd name="connsiteY91" fmla="*/ 93185 h 97427"/>
                  <a:gd name="connsiteX92" fmla="*/ 26971 w 46819"/>
                  <a:gd name="connsiteY92" fmla="*/ 92731 h 97427"/>
                  <a:gd name="connsiteX93" fmla="*/ 28486 w 46819"/>
                  <a:gd name="connsiteY93" fmla="*/ 92882 h 97427"/>
                  <a:gd name="connsiteX94" fmla="*/ 28941 w 46819"/>
                  <a:gd name="connsiteY94" fmla="*/ 92579 h 97427"/>
                  <a:gd name="connsiteX95" fmla="*/ 28941 w 46819"/>
                  <a:gd name="connsiteY95" fmla="*/ 91367 h 97427"/>
                  <a:gd name="connsiteX96" fmla="*/ 28031 w 46819"/>
                  <a:gd name="connsiteY96" fmla="*/ 89700 h 97427"/>
                  <a:gd name="connsiteX97" fmla="*/ 27122 w 46819"/>
                  <a:gd name="connsiteY97" fmla="*/ 87882 h 97427"/>
                  <a:gd name="connsiteX98" fmla="*/ 27122 w 46819"/>
                  <a:gd name="connsiteY98" fmla="*/ 86821 h 97427"/>
                  <a:gd name="connsiteX99" fmla="*/ 27880 w 46819"/>
                  <a:gd name="connsiteY99" fmla="*/ 86518 h 97427"/>
                  <a:gd name="connsiteX100" fmla="*/ 29092 w 46819"/>
                  <a:gd name="connsiteY100" fmla="*/ 85609 h 97427"/>
                  <a:gd name="connsiteX101" fmla="*/ 29698 w 46819"/>
                  <a:gd name="connsiteY101" fmla="*/ 84700 h 97427"/>
                  <a:gd name="connsiteX102" fmla="*/ 31062 w 46819"/>
                  <a:gd name="connsiteY102" fmla="*/ 84094 h 97427"/>
                  <a:gd name="connsiteX103" fmla="*/ 33031 w 46819"/>
                  <a:gd name="connsiteY103" fmla="*/ 84094 h 97427"/>
                  <a:gd name="connsiteX104" fmla="*/ 35153 w 46819"/>
                  <a:gd name="connsiteY104" fmla="*/ 83639 h 97427"/>
                  <a:gd name="connsiteX105" fmla="*/ 36517 w 46819"/>
                  <a:gd name="connsiteY105" fmla="*/ 82427 h 97427"/>
                  <a:gd name="connsiteX106" fmla="*/ 36668 w 46819"/>
                  <a:gd name="connsiteY106" fmla="*/ 81367 h 97427"/>
                  <a:gd name="connsiteX107" fmla="*/ 37577 w 46819"/>
                  <a:gd name="connsiteY107" fmla="*/ 78336 h 97427"/>
                  <a:gd name="connsiteX108" fmla="*/ 38183 w 46819"/>
                  <a:gd name="connsiteY108" fmla="*/ 76821 h 97427"/>
                  <a:gd name="connsiteX109" fmla="*/ 39092 w 46819"/>
                  <a:gd name="connsiteY109" fmla="*/ 75457 h 97427"/>
                  <a:gd name="connsiteX110" fmla="*/ 39547 w 46819"/>
                  <a:gd name="connsiteY110" fmla="*/ 73639 h 97427"/>
                  <a:gd name="connsiteX111" fmla="*/ 40607 w 46819"/>
                  <a:gd name="connsiteY111" fmla="*/ 71821 h 97427"/>
                  <a:gd name="connsiteX112" fmla="*/ 42729 w 46819"/>
                  <a:gd name="connsiteY112" fmla="*/ 71215 h 97427"/>
                  <a:gd name="connsiteX113" fmla="*/ 44547 w 46819"/>
                  <a:gd name="connsiteY113" fmla="*/ 70306 h 97427"/>
                  <a:gd name="connsiteX114" fmla="*/ 45911 w 46819"/>
                  <a:gd name="connsiteY114" fmla="*/ 68033 h 97427"/>
                  <a:gd name="connsiteX115" fmla="*/ 46820 w 46819"/>
                  <a:gd name="connsiteY115" fmla="*/ 66215 h 97427"/>
                  <a:gd name="connsiteX116" fmla="*/ 46820 w 46819"/>
                  <a:gd name="connsiteY116" fmla="*/ 65002 h 9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6819" h="97427">
                    <a:moveTo>
                      <a:pt x="45607" y="63033"/>
                    </a:moveTo>
                    <a:lnTo>
                      <a:pt x="44698" y="61214"/>
                    </a:lnTo>
                    <a:lnTo>
                      <a:pt x="45002" y="58790"/>
                    </a:lnTo>
                    <a:lnTo>
                      <a:pt x="44850" y="58032"/>
                    </a:lnTo>
                    <a:lnTo>
                      <a:pt x="44093" y="57123"/>
                    </a:lnTo>
                    <a:lnTo>
                      <a:pt x="42426" y="56517"/>
                    </a:lnTo>
                    <a:lnTo>
                      <a:pt x="38789" y="56972"/>
                    </a:lnTo>
                    <a:lnTo>
                      <a:pt x="37880" y="56214"/>
                    </a:lnTo>
                    <a:lnTo>
                      <a:pt x="36517" y="51972"/>
                    </a:lnTo>
                    <a:lnTo>
                      <a:pt x="35304" y="51214"/>
                    </a:lnTo>
                    <a:lnTo>
                      <a:pt x="34092" y="49699"/>
                    </a:lnTo>
                    <a:lnTo>
                      <a:pt x="31971" y="45002"/>
                    </a:lnTo>
                    <a:lnTo>
                      <a:pt x="31819" y="43032"/>
                    </a:lnTo>
                    <a:lnTo>
                      <a:pt x="31971" y="41214"/>
                    </a:lnTo>
                    <a:lnTo>
                      <a:pt x="30759" y="36971"/>
                    </a:lnTo>
                    <a:lnTo>
                      <a:pt x="31516" y="35910"/>
                    </a:lnTo>
                    <a:lnTo>
                      <a:pt x="32729" y="35153"/>
                    </a:lnTo>
                    <a:lnTo>
                      <a:pt x="32729" y="33486"/>
                    </a:lnTo>
                    <a:lnTo>
                      <a:pt x="32425" y="30910"/>
                    </a:lnTo>
                    <a:lnTo>
                      <a:pt x="33638" y="25759"/>
                    </a:lnTo>
                    <a:lnTo>
                      <a:pt x="34092" y="25455"/>
                    </a:lnTo>
                    <a:lnTo>
                      <a:pt x="34395" y="23940"/>
                    </a:lnTo>
                    <a:lnTo>
                      <a:pt x="34243" y="20910"/>
                    </a:lnTo>
                    <a:lnTo>
                      <a:pt x="32880" y="15607"/>
                    </a:lnTo>
                    <a:lnTo>
                      <a:pt x="31819" y="13940"/>
                    </a:lnTo>
                    <a:lnTo>
                      <a:pt x="29698" y="12273"/>
                    </a:lnTo>
                    <a:lnTo>
                      <a:pt x="28031" y="11213"/>
                    </a:lnTo>
                    <a:lnTo>
                      <a:pt x="25153" y="10152"/>
                    </a:lnTo>
                    <a:lnTo>
                      <a:pt x="23637" y="7273"/>
                    </a:lnTo>
                    <a:lnTo>
                      <a:pt x="21364" y="4091"/>
                    </a:lnTo>
                    <a:lnTo>
                      <a:pt x="20304" y="3333"/>
                    </a:lnTo>
                    <a:lnTo>
                      <a:pt x="19849" y="3182"/>
                    </a:lnTo>
                    <a:lnTo>
                      <a:pt x="16819" y="4697"/>
                    </a:lnTo>
                    <a:lnTo>
                      <a:pt x="14698" y="5303"/>
                    </a:lnTo>
                    <a:lnTo>
                      <a:pt x="12728" y="5606"/>
                    </a:lnTo>
                    <a:lnTo>
                      <a:pt x="11819" y="5000"/>
                    </a:lnTo>
                    <a:lnTo>
                      <a:pt x="11364" y="4091"/>
                    </a:lnTo>
                    <a:lnTo>
                      <a:pt x="11515" y="1364"/>
                    </a:lnTo>
                    <a:lnTo>
                      <a:pt x="11061" y="455"/>
                    </a:lnTo>
                    <a:lnTo>
                      <a:pt x="10455" y="0"/>
                    </a:lnTo>
                    <a:lnTo>
                      <a:pt x="9091" y="606"/>
                    </a:lnTo>
                    <a:lnTo>
                      <a:pt x="7576" y="2727"/>
                    </a:lnTo>
                    <a:lnTo>
                      <a:pt x="6061" y="5152"/>
                    </a:lnTo>
                    <a:lnTo>
                      <a:pt x="3939" y="7728"/>
                    </a:lnTo>
                    <a:lnTo>
                      <a:pt x="2121" y="10152"/>
                    </a:lnTo>
                    <a:lnTo>
                      <a:pt x="1061" y="11819"/>
                    </a:lnTo>
                    <a:lnTo>
                      <a:pt x="1061" y="11819"/>
                    </a:lnTo>
                    <a:lnTo>
                      <a:pt x="1970" y="13788"/>
                    </a:lnTo>
                    <a:lnTo>
                      <a:pt x="3485" y="16213"/>
                    </a:lnTo>
                    <a:lnTo>
                      <a:pt x="4394" y="17728"/>
                    </a:lnTo>
                    <a:lnTo>
                      <a:pt x="3939" y="18789"/>
                    </a:lnTo>
                    <a:lnTo>
                      <a:pt x="1970" y="18486"/>
                    </a:lnTo>
                    <a:lnTo>
                      <a:pt x="455" y="17728"/>
                    </a:lnTo>
                    <a:lnTo>
                      <a:pt x="1061" y="19092"/>
                    </a:lnTo>
                    <a:lnTo>
                      <a:pt x="757" y="20455"/>
                    </a:lnTo>
                    <a:lnTo>
                      <a:pt x="1061" y="21364"/>
                    </a:lnTo>
                    <a:lnTo>
                      <a:pt x="606" y="23940"/>
                    </a:lnTo>
                    <a:lnTo>
                      <a:pt x="606" y="25607"/>
                    </a:lnTo>
                    <a:lnTo>
                      <a:pt x="3939" y="26062"/>
                    </a:lnTo>
                    <a:lnTo>
                      <a:pt x="6970" y="28183"/>
                    </a:lnTo>
                    <a:lnTo>
                      <a:pt x="6970" y="33032"/>
                    </a:lnTo>
                    <a:lnTo>
                      <a:pt x="6061" y="34547"/>
                    </a:lnTo>
                    <a:lnTo>
                      <a:pt x="4849" y="35607"/>
                    </a:lnTo>
                    <a:lnTo>
                      <a:pt x="3182" y="40153"/>
                    </a:lnTo>
                    <a:lnTo>
                      <a:pt x="3636" y="43486"/>
                    </a:lnTo>
                    <a:lnTo>
                      <a:pt x="4394" y="46214"/>
                    </a:lnTo>
                    <a:lnTo>
                      <a:pt x="3636" y="50456"/>
                    </a:lnTo>
                    <a:lnTo>
                      <a:pt x="3788" y="56063"/>
                    </a:lnTo>
                    <a:lnTo>
                      <a:pt x="1667" y="60760"/>
                    </a:lnTo>
                    <a:lnTo>
                      <a:pt x="455" y="64851"/>
                    </a:lnTo>
                    <a:lnTo>
                      <a:pt x="606" y="66215"/>
                    </a:lnTo>
                    <a:lnTo>
                      <a:pt x="3182" y="71063"/>
                    </a:lnTo>
                    <a:lnTo>
                      <a:pt x="3788" y="73185"/>
                    </a:lnTo>
                    <a:lnTo>
                      <a:pt x="3182" y="74094"/>
                    </a:lnTo>
                    <a:lnTo>
                      <a:pt x="1970" y="73488"/>
                    </a:lnTo>
                    <a:lnTo>
                      <a:pt x="1061" y="73033"/>
                    </a:lnTo>
                    <a:lnTo>
                      <a:pt x="0" y="73185"/>
                    </a:lnTo>
                    <a:lnTo>
                      <a:pt x="1061" y="75003"/>
                    </a:lnTo>
                    <a:lnTo>
                      <a:pt x="2121" y="77124"/>
                    </a:lnTo>
                    <a:lnTo>
                      <a:pt x="4394" y="79397"/>
                    </a:lnTo>
                    <a:lnTo>
                      <a:pt x="14546" y="84852"/>
                    </a:lnTo>
                    <a:lnTo>
                      <a:pt x="17576" y="90306"/>
                    </a:lnTo>
                    <a:lnTo>
                      <a:pt x="18486" y="92579"/>
                    </a:lnTo>
                    <a:lnTo>
                      <a:pt x="18637" y="95610"/>
                    </a:lnTo>
                    <a:lnTo>
                      <a:pt x="19091" y="95458"/>
                    </a:lnTo>
                    <a:lnTo>
                      <a:pt x="20152" y="95913"/>
                    </a:lnTo>
                    <a:lnTo>
                      <a:pt x="22122" y="97125"/>
                    </a:lnTo>
                    <a:lnTo>
                      <a:pt x="24243" y="97428"/>
                    </a:lnTo>
                    <a:lnTo>
                      <a:pt x="25304" y="96519"/>
                    </a:lnTo>
                    <a:lnTo>
                      <a:pt x="26062" y="95761"/>
                    </a:lnTo>
                    <a:lnTo>
                      <a:pt x="26364" y="94701"/>
                    </a:lnTo>
                    <a:lnTo>
                      <a:pt x="26516" y="93185"/>
                    </a:lnTo>
                    <a:lnTo>
                      <a:pt x="26971" y="92731"/>
                    </a:lnTo>
                    <a:lnTo>
                      <a:pt x="28486" y="92882"/>
                    </a:lnTo>
                    <a:lnTo>
                      <a:pt x="28941" y="92579"/>
                    </a:lnTo>
                    <a:lnTo>
                      <a:pt x="28941" y="91367"/>
                    </a:lnTo>
                    <a:lnTo>
                      <a:pt x="28031" y="89700"/>
                    </a:lnTo>
                    <a:lnTo>
                      <a:pt x="27122" y="87882"/>
                    </a:lnTo>
                    <a:lnTo>
                      <a:pt x="27122" y="86821"/>
                    </a:lnTo>
                    <a:lnTo>
                      <a:pt x="27880" y="86518"/>
                    </a:lnTo>
                    <a:lnTo>
                      <a:pt x="29092" y="85609"/>
                    </a:lnTo>
                    <a:lnTo>
                      <a:pt x="29698" y="84700"/>
                    </a:lnTo>
                    <a:lnTo>
                      <a:pt x="31062" y="84094"/>
                    </a:lnTo>
                    <a:lnTo>
                      <a:pt x="33031" y="84094"/>
                    </a:lnTo>
                    <a:lnTo>
                      <a:pt x="35153" y="83639"/>
                    </a:lnTo>
                    <a:lnTo>
                      <a:pt x="36517" y="82427"/>
                    </a:lnTo>
                    <a:lnTo>
                      <a:pt x="36668" y="81367"/>
                    </a:lnTo>
                    <a:lnTo>
                      <a:pt x="37577" y="78336"/>
                    </a:lnTo>
                    <a:lnTo>
                      <a:pt x="38183" y="76821"/>
                    </a:lnTo>
                    <a:lnTo>
                      <a:pt x="39092" y="75457"/>
                    </a:lnTo>
                    <a:lnTo>
                      <a:pt x="39547" y="73639"/>
                    </a:lnTo>
                    <a:lnTo>
                      <a:pt x="40607" y="71821"/>
                    </a:lnTo>
                    <a:lnTo>
                      <a:pt x="42729" y="71215"/>
                    </a:lnTo>
                    <a:lnTo>
                      <a:pt x="44547" y="70306"/>
                    </a:lnTo>
                    <a:lnTo>
                      <a:pt x="45911" y="68033"/>
                    </a:lnTo>
                    <a:lnTo>
                      <a:pt x="46820" y="66215"/>
                    </a:lnTo>
                    <a:lnTo>
                      <a:pt x="46820" y="6500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1" name="Freeform: Shape 3350">
                <a:extLst>
                  <a:ext uri="{FF2B5EF4-FFF2-40B4-BE49-F238E27FC236}">
                    <a16:creationId xmlns:a16="http://schemas.microsoft.com/office/drawing/2014/main" id="{31B90E53-2E65-417C-8D38-8A29BD5AE79C}"/>
                  </a:ext>
                </a:extLst>
              </p:cNvPr>
              <p:cNvSpPr/>
              <p:nvPr/>
            </p:nvSpPr>
            <p:spPr>
              <a:xfrm>
                <a:off x="4049105" y="4059854"/>
                <a:ext cx="4848" cy="2878"/>
              </a:xfrm>
              <a:custGeom>
                <a:avLst/>
                <a:gdLst>
                  <a:gd name="connsiteX0" fmla="*/ 3636 w 4848"/>
                  <a:gd name="connsiteY0" fmla="*/ 0 h 2878"/>
                  <a:gd name="connsiteX1" fmla="*/ 151 w 4848"/>
                  <a:gd name="connsiteY1" fmla="*/ 1970 h 2878"/>
                  <a:gd name="connsiteX2" fmla="*/ 0 w 4848"/>
                  <a:gd name="connsiteY2" fmla="*/ 2879 h 2878"/>
                  <a:gd name="connsiteX3" fmla="*/ 4394 w 4848"/>
                  <a:gd name="connsiteY3" fmla="*/ 1364 h 2878"/>
                  <a:gd name="connsiteX4" fmla="*/ 4849 w 4848"/>
                  <a:gd name="connsiteY4" fmla="*/ 151 h 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8" h="2878">
                    <a:moveTo>
                      <a:pt x="3636" y="0"/>
                    </a:moveTo>
                    <a:lnTo>
                      <a:pt x="151" y="1970"/>
                    </a:lnTo>
                    <a:lnTo>
                      <a:pt x="0" y="2879"/>
                    </a:lnTo>
                    <a:lnTo>
                      <a:pt x="4394" y="1364"/>
                    </a:lnTo>
                    <a:lnTo>
                      <a:pt x="4849"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2" name="Freeform: Shape 3351">
                <a:extLst>
                  <a:ext uri="{FF2B5EF4-FFF2-40B4-BE49-F238E27FC236}">
                    <a16:creationId xmlns:a16="http://schemas.microsoft.com/office/drawing/2014/main" id="{4D236ABB-B0A9-497C-8516-248169133C64}"/>
                  </a:ext>
                </a:extLst>
              </p:cNvPr>
              <p:cNvSpPr/>
              <p:nvPr/>
            </p:nvSpPr>
            <p:spPr>
              <a:xfrm>
                <a:off x="4083955" y="4075612"/>
                <a:ext cx="5606" cy="19849"/>
              </a:xfrm>
              <a:custGeom>
                <a:avLst/>
                <a:gdLst>
                  <a:gd name="connsiteX0" fmla="*/ 3333 w 5606"/>
                  <a:gd name="connsiteY0" fmla="*/ 4546 h 19849"/>
                  <a:gd name="connsiteX1" fmla="*/ 3788 w 5606"/>
                  <a:gd name="connsiteY1" fmla="*/ 3788 h 19849"/>
                  <a:gd name="connsiteX2" fmla="*/ 3788 w 5606"/>
                  <a:gd name="connsiteY2" fmla="*/ 1364 h 19849"/>
                  <a:gd name="connsiteX3" fmla="*/ 3030 w 5606"/>
                  <a:gd name="connsiteY3" fmla="*/ 606 h 19849"/>
                  <a:gd name="connsiteX4" fmla="*/ 1818 w 5606"/>
                  <a:gd name="connsiteY4" fmla="*/ 455 h 19849"/>
                  <a:gd name="connsiteX5" fmla="*/ 909 w 5606"/>
                  <a:gd name="connsiteY5" fmla="*/ 0 h 19849"/>
                  <a:gd name="connsiteX6" fmla="*/ 606 w 5606"/>
                  <a:gd name="connsiteY6" fmla="*/ 303 h 19849"/>
                  <a:gd name="connsiteX7" fmla="*/ 606 w 5606"/>
                  <a:gd name="connsiteY7" fmla="*/ 758 h 19849"/>
                  <a:gd name="connsiteX8" fmla="*/ 1364 w 5606"/>
                  <a:gd name="connsiteY8" fmla="*/ 3333 h 19849"/>
                  <a:gd name="connsiteX9" fmla="*/ 3333 w 5606"/>
                  <a:gd name="connsiteY9" fmla="*/ 4546 h 19849"/>
                  <a:gd name="connsiteX10" fmla="*/ 4849 w 5606"/>
                  <a:gd name="connsiteY10" fmla="*/ 16970 h 19849"/>
                  <a:gd name="connsiteX11" fmla="*/ 4091 w 5606"/>
                  <a:gd name="connsiteY11" fmla="*/ 16061 h 19849"/>
                  <a:gd name="connsiteX12" fmla="*/ 1970 w 5606"/>
                  <a:gd name="connsiteY12" fmla="*/ 15152 h 19849"/>
                  <a:gd name="connsiteX13" fmla="*/ 0 w 5606"/>
                  <a:gd name="connsiteY13" fmla="*/ 17122 h 19849"/>
                  <a:gd name="connsiteX14" fmla="*/ 151 w 5606"/>
                  <a:gd name="connsiteY14" fmla="*/ 18031 h 19849"/>
                  <a:gd name="connsiteX15" fmla="*/ 757 w 5606"/>
                  <a:gd name="connsiteY15" fmla="*/ 19395 h 19849"/>
                  <a:gd name="connsiteX16" fmla="*/ 3788 w 5606"/>
                  <a:gd name="connsiteY16" fmla="*/ 19849 h 19849"/>
                  <a:gd name="connsiteX17" fmla="*/ 4697 w 5606"/>
                  <a:gd name="connsiteY17" fmla="*/ 18789 h 19849"/>
                  <a:gd name="connsiteX18" fmla="*/ 5303 w 5606"/>
                  <a:gd name="connsiteY18" fmla="*/ 18486 h 19849"/>
                  <a:gd name="connsiteX19" fmla="*/ 5606 w 5606"/>
                  <a:gd name="connsiteY19" fmla="*/ 17880 h 19849"/>
                  <a:gd name="connsiteX20" fmla="*/ 5606 w 5606"/>
                  <a:gd name="connsiteY20" fmla="*/ 17122 h 19849"/>
                  <a:gd name="connsiteX21" fmla="*/ 4849 w 5606"/>
                  <a:gd name="connsiteY21" fmla="*/ 16970 h 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06" h="19849">
                    <a:moveTo>
                      <a:pt x="3333" y="4546"/>
                    </a:moveTo>
                    <a:lnTo>
                      <a:pt x="3788" y="3788"/>
                    </a:lnTo>
                    <a:lnTo>
                      <a:pt x="3788" y="1364"/>
                    </a:lnTo>
                    <a:lnTo>
                      <a:pt x="3030" y="606"/>
                    </a:lnTo>
                    <a:lnTo>
                      <a:pt x="1818" y="455"/>
                    </a:lnTo>
                    <a:lnTo>
                      <a:pt x="909" y="0"/>
                    </a:lnTo>
                    <a:lnTo>
                      <a:pt x="606" y="303"/>
                    </a:lnTo>
                    <a:lnTo>
                      <a:pt x="606" y="758"/>
                    </a:lnTo>
                    <a:lnTo>
                      <a:pt x="1364" y="3333"/>
                    </a:lnTo>
                    <a:lnTo>
                      <a:pt x="3333" y="4546"/>
                    </a:lnTo>
                    <a:close/>
                    <a:moveTo>
                      <a:pt x="4849" y="16970"/>
                    </a:moveTo>
                    <a:lnTo>
                      <a:pt x="4091" y="16061"/>
                    </a:lnTo>
                    <a:lnTo>
                      <a:pt x="1970" y="15152"/>
                    </a:lnTo>
                    <a:lnTo>
                      <a:pt x="0" y="17122"/>
                    </a:lnTo>
                    <a:lnTo>
                      <a:pt x="151" y="18031"/>
                    </a:lnTo>
                    <a:lnTo>
                      <a:pt x="757" y="19395"/>
                    </a:lnTo>
                    <a:lnTo>
                      <a:pt x="3788" y="19849"/>
                    </a:lnTo>
                    <a:lnTo>
                      <a:pt x="4697" y="18789"/>
                    </a:lnTo>
                    <a:lnTo>
                      <a:pt x="5303" y="18486"/>
                    </a:lnTo>
                    <a:lnTo>
                      <a:pt x="5606" y="17880"/>
                    </a:lnTo>
                    <a:lnTo>
                      <a:pt x="5606" y="17122"/>
                    </a:lnTo>
                    <a:lnTo>
                      <a:pt x="4849"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3" name="Freeform: Shape 3352">
                <a:extLst>
                  <a:ext uri="{FF2B5EF4-FFF2-40B4-BE49-F238E27FC236}">
                    <a16:creationId xmlns:a16="http://schemas.microsoft.com/office/drawing/2014/main" id="{98F60353-5BC1-43A3-8C6E-B67A044BE487}"/>
                  </a:ext>
                </a:extLst>
              </p:cNvPr>
              <p:cNvSpPr/>
              <p:nvPr/>
            </p:nvSpPr>
            <p:spPr>
              <a:xfrm>
                <a:off x="7432110" y="3461347"/>
                <a:ext cx="394105" cy="277888"/>
              </a:xfrm>
              <a:custGeom>
                <a:avLst/>
                <a:gdLst>
                  <a:gd name="connsiteX0" fmla="*/ 393651 w 394105"/>
                  <a:gd name="connsiteY0" fmla="*/ 38335 h 277888"/>
                  <a:gd name="connsiteX1" fmla="*/ 392439 w 394105"/>
                  <a:gd name="connsiteY1" fmla="*/ 36971 h 277888"/>
                  <a:gd name="connsiteX2" fmla="*/ 389711 w 394105"/>
                  <a:gd name="connsiteY2" fmla="*/ 34698 h 277888"/>
                  <a:gd name="connsiteX3" fmla="*/ 387742 w 394105"/>
                  <a:gd name="connsiteY3" fmla="*/ 33486 h 277888"/>
                  <a:gd name="connsiteX4" fmla="*/ 384105 w 394105"/>
                  <a:gd name="connsiteY4" fmla="*/ 33941 h 277888"/>
                  <a:gd name="connsiteX5" fmla="*/ 381984 w 394105"/>
                  <a:gd name="connsiteY5" fmla="*/ 33486 h 277888"/>
                  <a:gd name="connsiteX6" fmla="*/ 379256 w 394105"/>
                  <a:gd name="connsiteY6" fmla="*/ 32729 h 277888"/>
                  <a:gd name="connsiteX7" fmla="*/ 376832 w 394105"/>
                  <a:gd name="connsiteY7" fmla="*/ 32880 h 277888"/>
                  <a:gd name="connsiteX8" fmla="*/ 375317 w 394105"/>
                  <a:gd name="connsiteY8" fmla="*/ 34244 h 277888"/>
                  <a:gd name="connsiteX9" fmla="*/ 374408 w 394105"/>
                  <a:gd name="connsiteY9" fmla="*/ 35607 h 277888"/>
                  <a:gd name="connsiteX10" fmla="*/ 371832 w 394105"/>
                  <a:gd name="connsiteY10" fmla="*/ 35910 h 277888"/>
                  <a:gd name="connsiteX11" fmla="*/ 368347 w 394105"/>
                  <a:gd name="connsiteY11" fmla="*/ 36971 h 277888"/>
                  <a:gd name="connsiteX12" fmla="*/ 362892 w 394105"/>
                  <a:gd name="connsiteY12" fmla="*/ 38638 h 277888"/>
                  <a:gd name="connsiteX13" fmla="*/ 360316 w 394105"/>
                  <a:gd name="connsiteY13" fmla="*/ 38335 h 277888"/>
                  <a:gd name="connsiteX14" fmla="*/ 359559 w 394105"/>
                  <a:gd name="connsiteY14" fmla="*/ 37729 h 277888"/>
                  <a:gd name="connsiteX15" fmla="*/ 360165 w 394105"/>
                  <a:gd name="connsiteY15" fmla="*/ 36819 h 277888"/>
                  <a:gd name="connsiteX16" fmla="*/ 361983 w 394105"/>
                  <a:gd name="connsiteY16" fmla="*/ 35607 h 277888"/>
                  <a:gd name="connsiteX17" fmla="*/ 362438 w 394105"/>
                  <a:gd name="connsiteY17" fmla="*/ 34092 h 277888"/>
                  <a:gd name="connsiteX18" fmla="*/ 362135 w 394105"/>
                  <a:gd name="connsiteY18" fmla="*/ 32729 h 277888"/>
                  <a:gd name="connsiteX19" fmla="*/ 360468 w 394105"/>
                  <a:gd name="connsiteY19" fmla="*/ 32425 h 277888"/>
                  <a:gd name="connsiteX20" fmla="*/ 359711 w 394105"/>
                  <a:gd name="connsiteY20" fmla="*/ 32122 h 277888"/>
                  <a:gd name="connsiteX21" fmla="*/ 358953 w 394105"/>
                  <a:gd name="connsiteY21" fmla="*/ 31819 h 277888"/>
                  <a:gd name="connsiteX22" fmla="*/ 355619 w 394105"/>
                  <a:gd name="connsiteY22" fmla="*/ 31062 h 277888"/>
                  <a:gd name="connsiteX23" fmla="*/ 352892 w 394105"/>
                  <a:gd name="connsiteY23" fmla="*/ 31365 h 277888"/>
                  <a:gd name="connsiteX24" fmla="*/ 348195 w 394105"/>
                  <a:gd name="connsiteY24" fmla="*/ 33031 h 277888"/>
                  <a:gd name="connsiteX25" fmla="*/ 339558 w 394105"/>
                  <a:gd name="connsiteY25" fmla="*/ 37426 h 277888"/>
                  <a:gd name="connsiteX26" fmla="*/ 335770 w 394105"/>
                  <a:gd name="connsiteY26" fmla="*/ 40456 h 277888"/>
                  <a:gd name="connsiteX27" fmla="*/ 333043 w 394105"/>
                  <a:gd name="connsiteY27" fmla="*/ 45002 h 277888"/>
                  <a:gd name="connsiteX28" fmla="*/ 324861 w 394105"/>
                  <a:gd name="connsiteY28" fmla="*/ 46365 h 277888"/>
                  <a:gd name="connsiteX29" fmla="*/ 319254 w 394105"/>
                  <a:gd name="connsiteY29" fmla="*/ 49093 h 277888"/>
                  <a:gd name="connsiteX30" fmla="*/ 313497 w 394105"/>
                  <a:gd name="connsiteY30" fmla="*/ 53184 h 277888"/>
                  <a:gd name="connsiteX31" fmla="*/ 309709 w 394105"/>
                  <a:gd name="connsiteY31" fmla="*/ 55457 h 277888"/>
                  <a:gd name="connsiteX32" fmla="*/ 307739 w 394105"/>
                  <a:gd name="connsiteY32" fmla="*/ 55760 h 277888"/>
                  <a:gd name="connsiteX33" fmla="*/ 305920 w 394105"/>
                  <a:gd name="connsiteY33" fmla="*/ 55457 h 277888"/>
                  <a:gd name="connsiteX34" fmla="*/ 304102 w 394105"/>
                  <a:gd name="connsiteY34" fmla="*/ 54244 h 277888"/>
                  <a:gd name="connsiteX35" fmla="*/ 302284 w 394105"/>
                  <a:gd name="connsiteY35" fmla="*/ 50760 h 277888"/>
                  <a:gd name="connsiteX36" fmla="*/ 300617 w 394105"/>
                  <a:gd name="connsiteY36" fmla="*/ 45456 h 277888"/>
                  <a:gd name="connsiteX37" fmla="*/ 299557 w 394105"/>
                  <a:gd name="connsiteY37" fmla="*/ 41971 h 277888"/>
                  <a:gd name="connsiteX38" fmla="*/ 300163 w 394105"/>
                  <a:gd name="connsiteY38" fmla="*/ 37426 h 277888"/>
                  <a:gd name="connsiteX39" fmla="*/ 300769 w 394105"/>
                  <a:gd name="connsiteY39" fmla="*/ 32274 h 277888"/>
                  <a:gd name="connsiteX40" fmla="*/ 301526 w 394105"/>
                  <a:gd name="connsiteY40" fmla="*/ 26971 h 277888"/>
                  <a:gd name="connsiteX41" fmla="*/ 302587 w 394105"/>
                  <a:gd name="connsiteY41" fmla="*/ 20910 h 277888"/>
                  <a:gd name="connsiteX42" fmla="*/ 303496 w 394105"/>
                  <a:gd name="connsiteY42" fmla="*/ 18637 h 277888"/>
                  <a:gd name="connsiteX43" fmla="*/ 303648 w 394105"/>
                  <a:gd name="connsiteY43" fmla="*/ 17273 h 277888"/>
                  <a:gd name="connsiteX44" fmla="*/ 302739 w 394105"/>
                  <a:gd name="connsiteY44" fmla="*/ 16516 h 277888"/>
                  <a:gd name="connsiteX45" fmla="*/ 301072 w 394105"/>
                  <a:gd name="connsiteY45" fmla="*/ 16516 h 277888"/>
                  <a:gd name="connsiteX46" fmla="*/ 298344 w 394105"/>
                  <a:gd name="connsiteY46" fmla="*/ 17425 h 277888"/>
                  <a:gd name="connsiteX47" fmla="*/ 296375 w 394105"/>
                  <a:gd name="connsiteY47" fmla="*/ 17576 h 277888"/>
                  <a:gd name="connsiteX48" fmla="*/ 295314 w 394105"/>
                  <a:gd name="connsiteY48" fmla="*/ 16970 h 277888"/>
                  <a:gd name="connsiteX49" fmla="*/ 295466 w 394105"/>
                  <a:gd name="connsiteY49" fmla="*/ 14091 h 277888"/>
                  <a:gd name="connsiteX50" fmla="*/ 296829 w 394105"/>
                  <a:gd name="connsiteY50" fmla="*/ 9091 h 277888"/>
                  <a:gd name="connsiteX51" fmla="*/ 294708 w 394105"/>
                  <a:gd name="connsiteY51" fmla="*/ 4697 h 277888"/>
                  <a:gd name="connsiteX52" fmla="*/ 289102 w 394105"/>
                  <a:gd name="connsiteY52" fmla="*/ 1212 h 277888"/>
                  <a:gd name="connsiteX53" fmla="*/ 284405 w 394105"/>
                  <a:gd name="connsiteY53" fmla="*/ 0 h 277888"/>
                  <a:gd name="connsiteX54" fmla="*/ 280465 w 394105"/>
                  <a:gd name="connsiteY54" fmla="*/ 1061 h 277888"/>
                  <a:gd name="connsiteX55" fmla="*/ 277132 w 394105"/>
                  <a:gd name="connsiteY55" fmla="*/ 3788 h 277888"/>
                  <a:gd name="connsiteX56" fmla="*/ 274556 w 394105"/>
                  <a:gd name="connsiteY56" fmla="*/ 8334 h 277888"/>
                  <a:gd name="connsiteX57" fmla="*/ 271828 w 394105"/>
                  <a:gd name="connsiteY57" fmla="*/ 11970 h 277888"/>
                  <a:gd name="connsiteX58" fmla="*/ 268949 w 394105"/>
                  <a:gd name="connsiteY58" fmla="*/ 14849 h 277888"/>
                  <a:gd name="connsiteX59" fmla="*/ 266828 w 394105"/>
                  <a:gd name="connsiteY59" fmla="*/ 16213 h 277888"/>
                  <a:gd name="connsiteX60" fmla="*/ 266222 w 394105"/>
                  <a:gd name="connsiteY60" fmla="*/ 16819 h 277888"/>
                  <a:gd name="connsiteX61" fmla="*/ 265768 w 394105"/>
                  <a:gd name="connsiteY61" fmla="*/ 18031 h 277888"/>
                  <a:gd name="connsiteX62" fmla="*/ 267283 w 394105"/>
                  <a:gd name="connsiteY62" fmla="*/ 21819 h 277888"/>
                  <a:gd name="connsiteX63" fmla="*/ 267283 w 394105"/>
                  <a:gd name="connsiteY63" fmla="*/ 25001 h 277888"/>
                  <a:gd name="connsiteX64" fmla="*/ 265465 w 394105"/>
                  <a:gd name="connsiteY64" fmla="*/ 27577 h 277888"/>
                  <a:gd name="connsiteX65" fmla="*/ 263646 w 394105"/>
                  <a:gd name="connsiteY65" fmla="*/ 28789 h 277888"/>
                  <a:gd name="connsiteX66" fmla="*/ 261525 w 394105"/>
                  <a:gd name="connsiteY66" fmla="*/ 28637 h 277888"/>
                  <a:gd name="connsiteX67" fmla="*/ 259858 w 394105"/>
                  <a:gd name="connsiteY67" fmla="*/ 28031 h 277888"/>
                  <a:gd name="connsiteX68" fmla="*/ 258646 w 394105"/>
                  <a:gd name="connsiteY68" fmla="*/ 26971 h 277888"/>
                  <a:gd name="connsiteX69" fmla="*/ 255464 w 394105"/>
                  <a:gd name="connsiteY69" fmla="*/ 26668 h 277888"/>
                  <a:gd name="connsiteX70" fmla="*/ 250161 w 394105"/>
                  <a:gd name="connsiteY70" fmla="*/ 27274 h 277888"/>
                  <a:gd name="connsiteX71" fmla="*/ 246373 w 394105"/>
                  <a:gd name="connsiteY71" fmla="*/ 28486 h 277888"/>
                  <a:gd name="connsiteX72" fmla="*/ 244403 w 394105"/>
                  <a:gd name="connsiteY72" fmla="*/ 30607 h 277888"/>
                  <a:gd name="connsiteX73" fmla="*/ 243949 w 394105"/>
                  <a:gd name="connsiteY73" fmla="*/ 33335 h 277888"/>
                  <a:gd name="connsiteX74" fmla="*/ 244706 w 394105"/>
                  <a:gd name="connsiteY74" fmla="*/ 36819 h 277888"/>
                  <a:gd name="connsiteX75" fmla="*/ 244251 w 394105"/>
                  <a:gd name="connsiteY75" fmla="*/ 39395 h 277888"/>
                  <a:gd name="connsiteX76" fmla="*/ 242585 w 394105"/>
                  <a:gd name="connsiteY76" fmla="*/ 41214 h 277888"/>
                  <a:gd name="connsiteX77" fmla="*/ 241221 w 394105"/>
                  <a:gd name="connsiteY77" fmla="*/ 42274 h 277888"/>
                  <a:gd name="connsiteX78" fmla="*/ 240161 w 394105"/>
                  <a:gd name="connsiteY78" fmla="*/ 42426 h 277888"/>
                  <a:gd name="connsiteX79" fmla="*/ 237888 w 394105"/>
                  <a:gd name="connsiteY79" fmla="*/ 40911 h 277888"/>
                  <a:gd name="connsiteX80" fmla="*/ 234403 w 394105"/>
                  <a:gd name="connsiteY80" fmla="*/ 37577 h 277888"/>
                  <a:gd name="connsiteX81" fmla="*/ 231827 w 394105"/>
                  <a:gd name="connsiteY81" fmla="*/ 35759 h 277888"/>
                  <a:gd name="connsiteX82" fmla="*/ 230615 w 394105"/>
                  <a:gd name="connsiteY82" fmla="*/ 35456 h 277888"/>
                  <a:gd name="connsiteX83" fmla="*/ 229857 w 394105"/>
                  <a:gd name="connsiteY83" fmla="*/ 35607 h 277888"/>
                  <a:gd name="connsiteX84" fmla="*/ 228948 w 394105"/>
                  <a:gd name="connsiteY84" fmla="*/ 35910 h 277888"/>
                  <a:gd name="connsiteX85" fmla="*/ 228494 w 394105"/>
                  <a:gd name="connsiteY85" fmla="*/ 36365 h 277888"/>
                  <a:gd name="connsiteX86" fmla="*/ 228190 w 394105"/>
                  <a:gd name="connsiteY86" fmla="*/ 37426 h 277888"/>
                  <a:gd name="connsiteX87" fmla="*/ 226978 w 394105"/>
                  <a:gd name="connsiteY87" fmla="*/ 37729 h 277888"/>
                  <a:gd name="connsiteX88" fmla="*/ 225463 w 394105"/>
                  <a:gd name="connsiteY88" fmla="*/ 37426 h 277888"/>
                  <a:gd name="connsiteX89" fmla="*/ 223948 w 394105"/>
                  <a:gd name="connsiteY89" fmla="*/ 37729 h 277888"/>
                  <a:gd name="connsiteX90" fmla="*/ 223039 w 394105"/>
                  <a:gd name="connsiteY90" fmla="*/ 38789 h 277888"/>
                  <a:gd name="connsiteX91" fmla="*/ 220614 w 394105"/>
                  <a:gd name="connsiteY91" fmla="*/ 40153 h 277888"/>
                  <a:gd name="connsiteX92" fmla="*/ 216220 w 394105"/>
                  <a:gd name="connsiteY92" fmla="*/ 41517 h 277888"/>
                  <a:gd name="connsiteX93" fmla="*/ 213796 w 394105"/>
                  <a:gd name="connsiteY93" fmla="*/ 43183 h 277888"/>
                  <a:gd name="connsiteX94" fmla="*/ 213342 w 394105"/>
                  <a:gd name="connsiteY94" fmla="*/ 44699 h 277888"/>
                  <a:gd name="connsiteX95" fmla="*/ 212735 w 394105"/>
                  <a:gd name="connsiteY95" fmla="*/ 45456 h 277888"/>
                  <a:gd name="connsiteX96" fmla="*/ 211372 w 394105"/>
                  <a:gd name="connsiteY96" fmla="*/ 45153 h 277888"/>
                  <a:gd name="connsiteX97" fmla="*/ 207432 w 394105"/>
                  <a:gd name="connsiteY97" fmla="*/ 47426 h 277888"/>
                  <a:gd name="connsiteX98" fmla="*/ 204402 w 394105"/>
                  <a:gd name="connsiteY98" fmla="*/ 46820 h 277888"/>
                  <a:gd name="connsiteX99" fmla="*/ 201068 w 394105"/>
                  <a:gd name="connsiteY99" fmla="*/ 43941 h 277888"/>
                  <a:gd name="connsiteX100" fmla="*/ 199250 w 394105"/>
                  <a:gd name="connsiteY100" fmla="*/ 41517 h 277888"/>
                  <a:gd name="connsiteX101" fmla="*/ 198947 w 394105"/>
                  <a:gd name="connsiteY101" fmla="*/ 40456 h 277888"/>
                  <a:gd name="connsiteX102" fmla="*/ 198795 w 394105"/>
                  <a:gd name="connsiteY102" fmla="*/ 39698 h 277888"/>
                  <a:gd name="connsiteX103" fmla="*/ 197432 w 394105"/>
                  <a:gd name="connsiteY103" fmla="*/ 38789 h 277888"/>
                  <a:gd name="connsiteX104" fmla="*/ 194856 w 394105"/>
                  <a:gd name="connsiteY104" fmla="*/ 38941 h 277888"/>
                  <a:gd name="connsiteX105" fmla="*/ 193189 w 394105"/>
                  <a:gd name="connsiteY105" fmla="*/ 38486 h 277888"/>
                  <a:gd name="connsiteX106" fmla="*/ 192432 w 394105"/>
                  <a:gd name="connsiteY106" fmla="*/ 37577 h 277888"/>
                  <a:gd name="connsiteX107" fmla="*/ 190310 w 394105"/>
                  <a:gd name="connsiteY107" fmla="*/ 37729 h 277888"/>
                  <a:gd name="connsiteX108" fmla="*/ 186977 w 394105"/>
                  <a:gd name="connsiteY108" fmla="*/ 39395 h 277888"/>
                  <a:gd name="connsiteX109" fmla="*/ 183643 w 394105"/>
                  <a:gd name="connsiteY109" fmla="*/ 38486 h 277888"/>
                  <a:gd name="connsiteX110" fmla="*/ 180158 w 394105"/>
                  <a:gd name="connsiteY110" fmla="*/ 35456 h 277888"/>
                  <a:gd name="connsiteX111" fmla="*/ 173491 w 394105"/>
                  <a:gd name="connsiteY111" fmla="*/ 34244 h 277888"/>
                  <a:gd name="connsiteX112" fmla="*/ 165158 w 394105"/>
                  <a:gd name="connsiteY112" fmla="*/ 35001 h 277888"/>
                  <a:gd name="connsiteX113" fmla="*/ 163794 w 394105"/>
                  <a:gd name="connsiteY113" fmla="*/ 35001 h 277888"/>
                  <a:gd name="connsiteX114" fmla="*/ 160460 w 394105"/>
                  <a:gd name="connsiteY114" fmla="*/ 34395 h 277888"/>
                  <a:gd name="connsiteX115" fmla="*/ 153793 w 394105"/>
                  <a:gd name="connsiteY115" fmla="*/ 32880 h 277888"/>
                  <a:gd name="connsiteX116" fmla="*/ 148187 w 394105"/>
                  <a:gd name="connsiteY116" fmla="*/ 30001 h 277888"/>
                  <a:gd name="connsiteX117" fmla="*/ 144399 w 394105"/>
                  <a:gd name="connsiteY117" fmla="*/ 28031 h 277888"/>
                  <a:gd name="connsiteX118" fmla="*/ 143945 w 394105"/>
                  <a:gd name="connsiteY118" fmla="*/ 28334 h 277888"/>
                  <a:gd name="connsiteX119" fmla="*/ 142278 w 394105"/>
                  <a:gd name="connsiteY119" fmla="*/ 29546 h 277888"/>
                  <a:gd name="connsiteX120" fmla="*/ 141066 w 394105"/>
                  <a:gd name="connsiteY120" fmla="*/ 31213 h 277888"/>
                  <a:gd name="connsiteX121" fmla="*/ 140157 w 394105"/>
                  <a:gd name="connsiteY121" fmla="*/ 34395 h 277888"/>
                  <a:gd name="connsiteX122" fmla="*/ 138641 w 394105"/>
                  <a:gd name="connsiteY122" fmla="*/ 38032 h 277888"/>
                  <a:gd name="connsiteX123" fmla="*/ 131823 w 394105"/>
                  <a:gd name="connsiteY123" fmla="*/ 38183 h 277888"/>
                  <a:gd name="connsiteX124" fmla="*/ 125914 w 394105"/>
                  <a:gd name="connsiteY124" fmla="*/ 38486 h 277888"/>
                  <a:gd name="connsiteX125" fmla="*/ 122277 w 394105"/>
                  <a:gd name="connsiteY125" fmla="*/ 39850 h 277888"/>
                  <a:gd name="connsiteX126" fmla="*/ 118489 w 394105"/>
                  <a:gd name="connsiteY126" fmla="*/ 41820 h 277888"/>
                  <a:gd name="connsiteX127" fmla="*/ 117580 w 394105"/>
                  <a:gd name="connsiteY127" fmla="*/ 44093 h 277888"/>
                  <a:gd name="connsiteX128" fmla="*/ 116823 w 394105"/>
                  <a:gd name="connsiteY128" fmla="*/ 46972 h 277888"/>
                  <a:gd name="connsiteX129" fmla="*/ 114550 w 394105"/>
                  <a:gd name="connsiteY129" fmla="*/ 53790 h 277888"/>
                  <a:gd name="connsiteX130" fmla="*/ 112580 w 394105"/>
                  <a:gd name="connsiteY130" fmla="*/ 59851 h 277888"/>
                  <a:gd name="connsiteX131" fmla="*/ 111671 w 394105"/>
                  <a:gd name="connsiteY131" fmla="*/ 63790 h 277888"/>
                  <a:gd name="connsiteX132" fmla="*/ 110156 w 394105"/>
                  <a:gd name="connsiteY132" fmla="*/ 66518 h 277888"/>
                  <a:gd name="connsiteX133" fmla="*/ 105913 w 394105"/>
                  <a:gd name="connsiteY133" fmla="*/ 70154 h 277888"/>
                  <a:gd name="connsiteX134" fmla="*/ 101216 w 394105"/>
                  <a:gd name="connsiteY134" fmla="*/ 72427 h 277888"/>
                  <a:gd name="connsiteX135" fmla="*/ 98640 w 394105"/>
                  <a:gd name="connsiteY135" fmla="*/ 73639 h 277888"/>
                  <a:gd name="connsiteX136" fmla="*/ 97579 w 394105"/>
                  <a:gd name="connsiteY136" fmla="*/ 75003 h 277888"/>
                  <a:gd name="connsiteX137" fmla="*/ 97277 w 394105"/>
                  <a:gd name="connsiteY137" fmla="*/ 76366 h 277888"/>
                  <a:gd name="connsiteX138" fmla="*/ 96367 w 394105"/>
                  <a:gd name="connsiteY138" fmla="*/ 76821 h 277888"/>
                  <a:gd name="connsiteX139" fmla="*/ 94549 w 394105"/>
                  <a:gd name="connsiteY139" fmla="*/ 76518 h 277888"/>
                  <a:gd name="connsiteX140" fmla="*/ 92428 w 394105"/>
                  <a:gd name="connsiteY140" fmla="*/ 76821 h 277888"/>
                  <a:gd name="connsiteX141" fmla="*/ 87882 w 394105"/>
                  <a:gd name="connsiteY141" fmla="*/ 78185 h 277888"/>
                  <a:gd name="connsiteX142" fmla="*/ 82882 w 394105"/>
                  <a:gd name="connsiteY142" fmla="*/ 79851 h 277888"/>
                  <a:gd name="connsiteX143" fmla="*/ 77124 w 394105"/>
                  <a:gd name="connsiteY143" fmla="*/ 81518 h 277888"/>
                  <a:gd name="connsiteX144" fmla="*/ 73639 w 394105"/>
                  <a:gd name="connsiteY144" fmla="*/ 81518 h 277888"/>
                  <a:gd name="connsiteX145" fmla="*/ 72427 w 394105"/>
                  <a:gd name="connsiteY145" fmla="*/ 81973 h 277888"/>
                  <a:gd name="connsiteX146" fmla="*/ 71821 w 394105"/>
                  <a:gd name="connsiteY146" fmla="*/ 82730 h 277888"/>
                  <a:gd name="connsiteX147" fmla="*/ 72427 w 394105"/>
                  <a:gd name="connsiteY147" fmla="*/ 84397 h 277888"/>
                  <a:gd name="connsiteX148" fmla="*/ 72881 w 394105"/>
                  <a:gd name="connsiteY148" fmla="*/ 85609 h 277888"/>
                  <a:gd name="connsiteX149" fmla="*/ 73488 w 394105"/>
                  <a:gd name="connsiteY149" fmla="*/ 87124 h 277888"/>
                  <a:gd name="connsiteX150" fmla="*/ 72124 w 394105"/>
                  <a:gd name="connsiteY150" fmla="*/ 88337 h 277888"/>
                  <a:gd name="connsiteX151" fmla="*/ 71063 w 394105"/>
                  <a:gd name="connsiteY151" fmla="*/ 90609 h 277888"/>
                  <a:gd name="connsiteX152" fmla="*/ 70306 w 394105"/>
                  <a:gd name="connsiteY152" fmla="*/ 94397 h 277888"/>
                  <a:gd name="connsiteX153" fmla="*/ 68336 w 394105"/>
                  <a:gd name="connsiteY153" fmla="*/ 95458 h 277888"/>
                  <a:gd name="connsiteX154" fmla="*/ 64851 w 394105"/>
                  <a:gd name="connsiteY154" fmla="*/ 97276 h 277888"/>
                  <a:gd name="connsiteX155" fmla="*/ 61215 w 394105"/>
                  <a:gd name="connsiteY155" fmla="*/ 99701 h 277888"/>
                  <a:gd name="connsiteX156" fmla="*/ 60305 w 394105"/>
                  <a:gd name="connsiteY156" fmla="*/ 100307 h 277888"/>
                  <a:gd name="connsiteX157" fmla="*/ 58184 w 394105"/>
                  <a:gd name="connsiteY157" fmla="*/ 100913 h 277888"/>
                  <a:gd name="connsiteX158" fmla="*/ 56063 w 394105"/>
                  <a:gd name="connsiteY158" fmla="*/ 100761 h 277888"/>
                  <a:gd name="connsiteX159" fmla="*/ 54093 w 394105"/>
                  <a:gd name="connsiteY159" fmla="*/ 100307 h 277888"/>
                  <a:gd name="connsiteX160" fmla="*/ 51972 w 394105"/>
                  <a:gd name="connsiteY160" fmla="*/ 100913 h 277888"/>
                  <a:gd name="connsiteX161" fmla="*/ 49850 w 394105"/>
                  <a:gd name="connsiteY161" fmla="*/ 102882 h 277888"/>
                  <a:gd name="connsiteX162" fmla="*/ 48790 w 394105"/>
                  <a:gd name="connsiteY162" fmla="*/ 102276 h 277888"/>
                  <a:gd name="connsiteX163" fmla="*/ 48335 w 394105"/>
                  <a:gd name="connsiteY163" fmla="*/ 100458 h 277888"/>
                  <a:gd name="connsiteX164" fmla="*/ 47274 w 394105"/>
                  <a:gd name="connsiteY164" fmla="*/ 99094 h 277888"/>
                  <a:gd name="connsiteX165" fmla="*/ 43941 w 394105"/>
                  <a:gd name="connsiteY165" fmla="*/ 96367 h 277888"/>
                  <a:gd name="connsiteX166" fmla="*/ 41062 w 394105"/>
                  <a:gd name="connsiteY166" fmla="*/ 94397 h 277888"/>
                  <a:gd name="connsiteX167" fmla="*/ 39698 w 394105"/>
                  <a:gd name="connsiteY167" fmla="*/ 94246 h 277888"/>
                  <a:gd name="connsiteX168" fmla="*/ 37123 w 394105"/>
                  <a:gd name="connsiteY168" fmla="*/ 94852 h 277888"/>
                  <a:gd name="connsiteX169" fmla="*/ 33789 w 394105"/>
                  <a:gd name="connsiteY169" fmla="*/ 95155 h 277888"/>
                  <a:gd name="connsiteX170" fmla="*/ 31062 w 394105"/>
                  <a:gd name="connsiteY170" fmla="*/ 94700 h 277888"/>
                  <a:gd name="connsiteX171" fmla="*/ 28941 w 394105"/>
                  <a:gd name="connsiteY171" fmla="*/ 93943 h 277888"/>
                  <a:gd name="connsiteX172" fmla="*/ 25607 w 394105"/>
                  <a:gd name="connsiteY172" fmla="*/ 91216 h 277888"/>
                  <a:gd name="connsiteX173" fmla="*/ 24395 w 394105"/>
                  <a:gd name="connsiteY173" fmla="*/ 89852 h 277888"/>
                  <a:gd name="connsiteX174" fmla="*/ 23486 w 394105"/>
                  <a:gd name="connsiteY174" fmla="*/ 88640 h 277888"/>
                  <a:gd name="connsiteX175" fmla="*/ 21213 w 394105"/>
                  <a:gd name="connsiteY175" fmla="*/ 88943 h 277888"/>
                  <a:gd name="connsiteX176" fmla="*/ 21819 w 394105"/>
                  <a:gd name="connsiteY176" fmla="*/ 91064 h 277888"/>
                  <a:gd name="connsiteX177" fmla="*/ 21667 w 394105"/>
                  <a:gd name="connsiteY177" fmla="*/ 92276 h 277888"/>
                  <a:gd name="connsiteX178" fmla="*/ 20758 w 394105"/>
                  <a:gd name="connsiteY178" fmla="*/ 93488 h 277888"/>
                  <a:gd name="connsiteX179" fmla="*/ 20304 w 394105"/>
                  <a:gd name="connsiteY179" fmla="*/ 95004 h 277888"/>
                  <a:gd name="connsiteX180" fmla="*/ 19546 w 394105"/>
                  <a:gd name="connsiteY180" fmla="*/ 96973 h 277888"/>
                  <a:gd name="connsiteX181" fmla="*/ 19243 w 394105"/>
                  <a:gd name="connsiteY181" fmla="*/ 98488 h 277888"/>
                  <a:gd name="connsiteX182" fmla="*/ 17879 w 394105"/>
                  <a:gd name="connsiteY182" fmla="*/ 99246 h 277888"/>
                  <a:gd name="connsiteX183" fmla="*/ 16819 w 394105"/>
                  <a:gd name="connsiteY183" fmla="*/ 99701 h 277888"/>
                  <a:gd name="connsiteX184" fmla="*/ 16970 w 394105"/>
                  <a:gd name="connsiteY184" fmla="*/ 101670 h 277888"/>
                  <a:gd name="connsiteX185" fmla="*/ 17576 w 394105"/>
                  <a:gd name="connsiteY185" fmla="*/ 103337 h 277888"/>
                  <a:gd name="connsiteX186" fmla="*/ 18183 w 394105"/>
                  <a:gd name="connsiteY186" fmla="*/ 105307 h 277888"/>
                  <a:gd name="connsiteX187" fmla="*/ 17425 w 394105"/>
                  <a:gd name="connsiteY187" fmla="*/ 106519 h 277888"/>
                  <a:gd name="connsiteX188" fmla="*/ 16970 w 394105"/>
                  <a:gd name="connsiteY188" fmla="*/ 108034 h 277888"/>
                  <a:gd name="connsiteX189" fmla="*/ 16061 w 394105"/>
                  <a:gd name="connsiteY189" fmla="*/ 110610 h 277888"/>
                  <a:gd name="connsiteX190" fmla="*/ 16213 w 394105"/>
                  <a:gd name="connsiteY190" fmla="*/ 112580 h 277888"/>
                  <a:gd name="connsiteX191" fmla="*/ 15152 w 394105"/>
                  <a:gd name="connsiteY191" fmla="*/ 114246 h 277888"/>
                  <a:gd name="connsiteX192" fmla="*/ 13788 w 394105"/>
                  <a:gd name="connsiteY192" fmla="*/ 115913 h 277888"/>
                  <a:gd name="connsiteX193" fmla="*/ 12879 w 394105"/>
                  <a:gd name="connsiteY193" fmla="*/ 117125 h 277888"/>
                  <a:gd name="connsiteX194" fmla="*/ 12728 w 394105"/>
                  <a:gd name="connsiteY194" fmla="*/ 118792 h 277888"/>
                  <a:gd name="connsiteX195" fmla="*/ 11819 w 394105"/>
                  <a:gd name="connsiteY195" fmla="*/ 119398 h 277888"/>
                  <a:gd name="connsiteX196" fmla="*/ 9849 w 394105"/>
                  <a:gd name="connsiteY196" fmla="*/ 120913 h 277888"/>
                  <a:gd name="connsiteX197" fmla="*/ 8637 w 394105"/>
                  <a:gd name="connsiteY197" fmla="*/ 121823 h 277888"/>
                  <a:gd name="connsiteX198" fmla="*/ 6970 w 394105"/>
                  <a:gd name="connsiteY198" fmla="*/ 122126 h 277888"/>
                  <a:gd name="connsiteX199" fmla="*/ 6667 w 394105"/>
                  <a:gd name="connsiteY199" fmla="*/ 123035 h 277888"/>
                  <a:gd name="connsiteX200" fmla="*/ 6819 w 394105"/>
                  <a:gd name="connsiteY200" fmla="*/ 123792 h 277888"/>
                  <a:gd name="connsiteX201" fmla="*/ 7576 w 394105"/>
                  <a:gd name="connsiteY201" fmla="*/ 124247 h 277888"/>
                  <a:gd name="connsiteX202" fmla="*/ 8788 w 394105"/>
                  <a:gd name="connsiteY202" fmla="*/ 126065 h 277888"/>
                  <a:gd name="connsiteX203" fmla="*/ 11061 w 394105"/>
                  <a:gd name="connsiteY203" fmla="*/ 129096 h 277888"/>
                  <a:gd name="connsiteX204" fmla="*/ 4243 w 394105"/>
                  <a:gd name="connsiteY204" fmla="*/ 129399 h 277888"/>
                  <a:gd name="connsiteX205" fmla="*/ 2273 w 394105"/>
                  <a:gd name="connsiteY205" fmla="*/ 132126 h 277888"/>
                  <a:gd name="connsiteX206" fmla="*/ 0 w 394105"/>
                  <a:gd name="connsiteY206" fmla="*/ 135914 h 277888"/>
                  <a:gd name="connsiteX207" fmla="*/ 1212 w 394105"/>
                  <a:gd name="connsiteY207" fmla="*/ 143793 h 277888"/>
                  <a:gd name="connsiteX208" fmla="*/ 0 w 394105"/>
                  <a:gd name="connsiteY208" fmla="*/ 147733 h 277888"/>
                  <a:gd name="connsiteX209" fmla="*/ 758 w 394105"/>
                  <a:gd name="connsiteY209" fmla="*/ 150005 h 277888"/>
                  <a:gd name="connsiteX210" fmla="*/ 2424 w 394105"/>
                  <a:gd name="connsiteY210" fmla="*/ 151521 h 277888"/>
                  <a:gd name="connsiteX211" fmla="*/ 4697 w 394105"/>
                  <a:gd name="connsiteY211" fmla="*/ 152278 h 277888"/>
                  <a:gd name="connsiteX212" fmla="*/ 8788 w 394105"/>
                  <a:gd name="connsiteY212" fmla="*/ 152430 h 277888"/>
                  <a:gd name="connsiteX213" fmla="*/ 11516 w 394105"/>
                  <a:gd name="connsiteY213" fmla="*/ 153036 h 277888"/>
                  <a:gd name="connsiteX214" fmla="*/ 11819 w 394105"/>
                  <a:gd name="connsiteY214" fmla="*/ 154097 h 277888"/>
                  <a:gd name="connsiteX215" fmla="*/ 10303 w 394105"/>
                  <a:gd name="connsiteY215" fmla="*/ 155460 h 277888"/>
                  <a:gd name="connsiteX216" fmla="*/ 7728 w 394105"/>
                  <a:gd name="connsiteY216" fmla="*/ 158339 h 277888"/>
                  <a:gd name="connsiteX217" fmla="*/ 6364 w 394105"/>
                  <a:gd name="connsiteY217" fmla="*/ 159551 h 277888"/>
                  <a:gd name="connsiteX218" fmla="*/ 2122 w 394105"/>
                  <a:gd name="connsiteY218" fmla="*/ 165157 h 277888"/>
                  <a:gd name="connsiteX219" fmla="*/ 2122 w 394105"/>
                  <a:gd name="connsiteY219" fmla="*/ 167582 h 277888"/>
                  <a:gd name="connsiteX220" fmla="*/ 2424 w 394105"/>
                  <a:gd name="connsiteY220" fmla="*/ 169552 h 277888"/>
                  <a:gd name="connsiteX221" fmla="*/ 4394 w 394105"/>
                  <a:gd name="connsiteY221" fmla="*/ 175612 h 277888"/>
                  <a:gd name="connsiteX222" fmla="*/ 6212 w 394105"/>
                  <a:gd name="connsiteY222" fmla="*/ 181522 h 277888"/>
                  <a:gd name="connsiteX223" fmla="*/ 9394 w 394105"/>
                  <a:gd name="connsiteY223" fmla="*/ 192128 h 277888"/>
                  <a:gd name="connsiteX224" fmla="*/ 9394 w 394105"/>
                  <a:gd name="connsiteY224" fmla="*/ 194704 h 277888"/>
                  <a:gd name="connsiteX225" fmla="*/ 8334 w 394105"/>
                  <a:gd name="connsiteY225" fmla="*/ 200159 h 277888"/>
                  <a:gd name="connsiteX226" fmla="*/ 8334 w 394105"/>
                  <a:gd name="connsiteY226" fmla="*/ 203492 h 277888"/>
                  <a:gd name="connsiteX227" fmla="*/ 8788 w 394105"/>
                  <a:gd name="connsiteY227" fmla="*/ 207735 h 277888"/>
                  <a:gd name="connsiteX228" fmla="*/ 8334 w 394105"/>
                  <a:gd name="connsiteY228" fmla="*/ 210008 h 277888"/>
                  <a:gd name="connsiteX229" fmla="*/ 9243 w 394105"/>
                  <a:gd name="connsiteY229" fmla="*/ 215008 h 277888"/>
                  <a:gd name="connsiteX230" fmla="*/ 10152 w 394105"/>
                  <a:gd name="connsiteY230" fmla="*/ 215311 h 277888"/>
                  <a:gd name="connsiteX231" fmla="*/ 17122 w 394105"/>
                  <a:gd name="connsiteY231" fmla="*/ 216372 h 277888"/>
                  <a:gd name="connsiteX232" fmla="*/ 23637 w 394105"/>
                  <a:gd name="connsiteY232" fmla="*/ 217129 h 277888"/>
                  <a:gd name="connsiteX233" fmla="*/ 32122 w 394105"/>
                  <a:gd name="connsiteY233" fmla="*/ 218341 h 277888"/>
                  <a:gd name="connsiteX234" fmla="*/ 34698 w 394105"/>
                  <a:gd name="connsiteY234" fmla="*/ 221220 h 277888"/>
                  <a:gd name="connsiteX235" fmla="*/ 36365 w 394105"/>
                  <a:gd name="connsiteY235" fmla="*/ 227736 h 277888"/>
                  <a:gd name="connsiteX236" fmla="*/ 36214 w 394105"/>
                  <a:gd name="connsiteY236" fmla="*/ 232433 h 277888"/>
                  <a:gd name="connsiteX237" fmla="*/ 35607 w 394105"/>
                  <a:gd name="connsiteY237" fmla="*/ 234857 h 277888"/>
                  <a:gd name="connsiteX238" fmla="*/ 29395 w 394105"/>
                  <a:gd name="connsiteY238" fmla="*/ 241827 h 277888"/>
                  <a:gd name="connsiteX239" fmla="*/ 23183 w 394105"/>
                  <a:gd name="connsiteY239" fmla="*/ 248948 h 277888"/>
                  <a:gd name="connsiteX240" fmla="*/ 16970 w 394105"/>
                  <a:gd name="connsiteY240" fmla="*/ 255918 h 277888"/>
                  <a:gd name="connsiteX241" fmla="*/ 9849 w 394105"/>
                  <a:gd name="connsiteY241" fmla="*/ 263949 h 277888"/>
                  <a:gd name="connsiteX242" fmla="*/ 20153 w 394105"/>
                  <a:gd name="connsiteY242" fmla="*/ 267282 h 277888"/>
                  <a:gd name="connsiteX243" fmla="*/ 28334 w 394105"/>
                  <a:gd name="connsiteY243" fmla="*/ 269707 h 277888"/>
                  <a:gd name="connsiteX244" fmla="*/ 41517 w 394105"/>
                  <a:gd name="connsiteY244" fmla="*/ 273798 h 277888"/>
                  <a:gd name="connsiteX245" fmla="*/ 51669 w 394105"/>
                  <a:gd name="connsiteY245" fmla="*/ 276828 h 277888"/>
                  <a:gd name="connsiteX246" fmla="*/ 54548 w 394105"/>
                  <a:gd name="connsiteY246" fmla="*/ 277434 h 277888"/>
                  <a:gd name="connsiteX247" fmla="*/ 84397 w 394105"/>
                  <a:gd name="connsiteY247" fmla="*/ 274707 h 277888"/>
                  <a:gd name="connsiteX248" fmla="*/ 95307 w 394105"/>
                  <a:gd name="connsiteY248" fmla="*/ 276677 h 277888"/>
                  <a:gd name="connsiteX249" fmla="*/ 98943 w 394105"/>
                  <a:gd name="connsiteY249" fmla="*/ 277889 h 277888"/>
                  <a:gd name="connsiteX250" fmla="*/ 99398 w 394105"/>
                  <a:gd name="connsiteY250" fmla="*/ 277131 h 277888"/>
                  <a:gd name="connsiteX251" fmla="*/ 100913 w 394105"/>
                  <a:gd name="connsiteY251" fmla="*/ 275768 h 277888"/>
                  <a:gd name="connsiteX252" fmla="*/ 103489 w 394105"/>
                  <a:gd name="connsiteY252" fmla="*/ 274404 h 277888"/>
                  <a:gd name="connsiteX253" fmla="*/ 106974 w 394105"/>
                  <a:gd name="connsiteY253" fmla="*/ 273343 h 277888"/>
                  <a:gd name="connsiteX254" fmla="*/ 110459 w 394105"/>
                  <a:gd name="connsiteY254" fmla="*/ 272737 h 277888"/>
                  <a:gd name="connsiteX255" fmla="*/ 115459 w 394105"/>
                  <a:gd name="connsiteY255" fmla="*/ 272586 h 277888"/>
                  <a:gd name="connsiteX256" fmla="*/ 118792 w 394105"/>
                  <a:gd name="connsiteY256" fmla="*/ 272737 h 277888"/>
                  <a:gd name="connsiteX257" fmla="*/ 121368 w 394105"/>
                  <a:gd name="connsiteY257" fmla="*/ 273040 h 277888"/>
                  <a:gd name="connsiteX258" fmla="*/ 126065 w 394105"/>
                  <a:gd name="connsiteY258" fmla="*/ 272889 h 277888"/>
                  <a:gd name="connsiteX259" fmla="*/ 128490 w 394105"/>
                  <a:gd name="connsiteY259" fmla="*/ 272283 h 277888"/>
                  <a:gd name="connsiteX260" fmla="*/ 136369 w 394105"/>
                  <a:gd name="connsiteY260" fmla="*/ 270161 h 277888"/>
                  <a:gd name="connsiteX261" fmla="*/ 141824 w 394105"/>
                  <a:gd name="connsiteY261" fmla="*/ 268646 h 277888"/>
                  <a:gd name="connsiteX262" fmla="*/ 149854 w 394105"/>
                  <a:gd name="connsiteY262" fmla="*/ 266373 h 277888"/>
                  <a:gd name="connsiteX263" fmla="*/ 155763 w 394105"/>
                  <a:gd name="connsiteY263" fmla="*/ 264707 h 277888"/>
                  <a:gd name="connsiteX264" fmla="*/ 157279 w 394105"/>
                  <a:gd name="connsiteY264" fmla="*/ 263798 h 277888"/>
                  <a:gd name="connsiteX265" fmla="*/ 158794 w 394105"/>
                  <a:gd name="connsiteY265" fmla="*/ 262131 h 277888"/>
                  <a:gd name="connsiteX266" fmla="*/ 159400 w 394105"/>
                  <a:gd name="connsiteY266" fmla="*/ 260767 h 277888"/>
                  <a:gd name="connsiteX267" fmla="*/ 157582 w 394105"/>
                  <a:gd name="connsiteY267" fmla="*/ 258494 h 277888"/>
                  <a:gd name="connsiteX268" fmla="*/ 157430 w 394105"/>
                  <a:gd name="connsiteY268" fmla="*/ 256524 h 277888"/>
                  <a:gd name="connsiteX269" fmla="*/ 158642 w 394105"/>
                  <a:gd name="connsiteY269" fmla="*/ 253949 h 277888"/>
                  <a:gd name="connsiteX270" fmla="*/ 159248 w 394105"/>
                  <a:gd name="connsiteY270" fmla="*/ 250161 h 277888"/>
                  <a:gd name="connsiteX271" fmla="*/ 159097 w 394105"/>
                  <a:gd name="connsiteY271" fmla="*/ 244706 h 277888"/>
                  <a:gd name="connsiteX272" fmla="*/ 158794 w 394105"/>
                  <a:gd name="connsiteY272" fmla="*/ 241675 h 277888"/>
                  <a:gd name="connsiteX273" fmla="*/ 160309 w 394105"/>
                  <a:gd name="connsiteY273" fmla="*/ 235766 h 277888"/>
                  <a:gd name="connsiteX274" fmla="*/ 161824 w 394105"/>
                  <a:gd name="connsiteY274" fmla="*/ 232433 h 277888"/>
                  <a:gd name="connsiteX275" fmla="*/ 164552 w 394105"/>
                  <a:gd name="connsiteY275" fmla="*/ 230918 h 277888"/>
                  <a:gd name="connsiteX276" fmla="*/ 166370 w 394105"/>
                  <a:gd name="connsiteY276" fmla="*/ 230008 h 277888"/>
                  <a:gd name="connsiteX277" fmla="*/ 167127 w 394105"/>
                  <a:gd name="connsiteY277" fmla="*/ 229251 h 277888"/>
                  <a:gd name="connsiteX278" fmla="*/ 168036 w 394105"/>
                  <a:gd name="connsiteY278" fmla="*/ 228493 h 277888"/>
                  <a:gd name="connsiteX279" fmla="*/ 170915 w 394105"/>
                  <a:gd name="connsiteY279" fmla="*/ 223948 h 277888"/>
                  <a:gd name="connsiteX280" fmla="*/ 173643 w 394105"/>
                  <a:gd name="connsiteY280" fmla="*/ 221978 h 277888"/>
                  <a:gd name="connsiteX281" fmla="*/ 176219 w 394105"/>
                  <a:gd name="connsiteY281" fmla="*/ 220614 h 277888"/>
                  <a:gd name="connsiteX282" fmla="*/ 178946 w 394105"/>
                  <a:gd name="connsiteY282" fmla="*/ 220766 h 277888"/>
                  <a:gd name="connsiteX283" fmla="*/ 181370 w 394105"/>
                  <a:gd name="connsiteY283" fmla="*/ 222584 h 277888"/>
                  <a:gd name="connsiteX284" fmla="*/ 186067 w 394105"/>
                  <a:gd name="connsiteY284" fmla="*/ 223342 h 277888"/>
                  <a:gd name="connsiteX285" fmla="*/ 190613 w 394105"/>
                  <a:gd name="connsiteY285" fmla="*/ 222735 h 277888"/>
                  <a:gd name="connsiteX286" fmla="*/ 194553 w 394105"/>
                  <a:gd name="connsiteY286" fmla="*/ 221523 h 277888"/>
                  <a:gd name="connsiteX287" fmla="*/ 196371 w 394105"/>
                  <a:gd name="connsiteY287" fmla="*/ 220463 h 277888"/>
                  <a:gd name="connsiteX288" fmla="*/ 198492 w 394105"/>
                  <a:gd name="connsiteY288" fmla="*/ 219554 h 277888"/>
                  <a:gd name="connsiteX289" fmla="*/ 198341 w 394105"/>
                  <a:gd name="connsiteY289" fmla="*/ 218493 h 277888"/>
                  <a:gd name="connsiteX290" fmla="*/ 195916 w 394105"/>
                  <a:gd name="connsiteY290" fmla="*/ 217584 h 277888"/>
                  <a:gd name="connsiteX291" fmla="*/ 194553 w 394105"/>
                  <a:gd name="connsiteY291" fmla="*/ 216220 h 277888"/>
                  <a:gd name="connsiteX292" fmla="*/ 194098 w 394105"/>
                  <a:gd name="connsiteY292" fmla="*/ 214553 h 277888"/>
                  <a:gd name="connsiteX293" fmla="*/ 195462 w 394105"/>
                  <a:gd name="connsiteY293" fmla="*/ 213644 h 277888"/>
                  <a:gd name="connsiteX294" fmla="*/ 198492 w 394105"/>
                  <a:gd name="connsiteY294" fmla="*/ 213341 h 277888"/>
                  <a:gd name="connsiteX295" fmla="*/ 206068 w 394105"/>
                  <a:gd name="connsiteY295" fmla="*/ 209401 h 277888"/>
                  <a:gd name="connsiteX296" fmla="*/ 209099 w 394105"/>
                  <a:gd name="connsiteY296" fmla="*/ 206826 h 277888"/>
                  <a:gd name="connsiteX297" fmla="*/ 210008 w 394105"/>
                  <a:gd name="connsiteY297" fmla="*/ 205765 h 277888"/>
                  <a:gd name="connsiteX298" fmla="*/ 211523 w 394105"/>
                  <a:gd name="connsiteY298" fmla="*/ 205613 h 277888"/>
                  <a:gd name="connsiteX299" fmla="*/ 214402 w 394105"/>
                  <a:gd name="connsiteY299" fmla="*/ 206826 h 277888"/>
                  <a:gd name="connsiteX300" fmla="*/ 217735 w 394105"/>
                  <a:gd name="connsiteY300" fmla="*/ 207129 h 277888"/>
                  <a:gd name="connsiteX301" fmla="*/ 219857 w 394105"/>
                  <a:gd name="connsiteY301" fmla="*/ 205917 h 277888"/>
                  <a:gd name="connsiteX302" fmla="*/ 221978 w 394105"/>
                  <a:gd name="connsiteY302" fmla="*/ 205765 h 277888"/>
                  <a:gd name="connsiteX303" fmla="*/ 224099 w 394105"/>
                  <a:gd name="connsiteY303" fmla="*/ 206977 h 277888"/>
                  <a:gd name="connsiteX304" fmla="*/ 225160 w 394105"/>
                  <a:gd name="connsiteY304" fmla="*/ 208492 h 277888"/>
                  <a:gd name="connsiteX305" fmla="*/ 226978 w 394105"/>
                  <a:gd name="connsiteY305" fmla="*/ 210462 h 277888"/>
                  <a:gd name="connsiteX306" fmla="*/ 229403 w 394105"/>
                  <a:gd name="connsiteY306" fmla="*/ 210765 h 277888"/>
                  <a:gd name="connsiteX307" fmla="*/ 232282 w 394105"/>
                  <a:gd name="connsiteY307" fmla="*/ 209856 h 277888"/>
                  <a:gd name="connsiteX308" fmla="*/ 235312 w 394105"/>
                  <a:gd name="connsiteY308" fmla="*/ 207583 h 277888"/>
                  <a:gd name="connsiteX309" fmla="*/ 238039 w 394105"/>
                  <a:gd name="connsiteY309" fmla="*/ 204704 h 277888"/>
                  <a:gd name="connsiteX310" fmla="*/ 240615 w 394105"/>
                  <a:gd name="connsiteY310" fmla="*/ 201674 h 277888"/>
                  <a:gd name="connsiteX311" fmla="*/ 240009 w 394105"/>
                  <a:gd name="connsiteY311" fmla="*/ 192128 h 277888"/>
                  <a:gd name="connsiteX312" fmla="*/ 239554 w 394105"/>
                  <a:gd name="connsiteY312" fmla="*/ 186673 h 277888"/>
                  <a:gd name="connsiteX313" fmla="*/ 240918 w 394105"/>
                  <a:gd name="connsiteY313" fmla="*/ 183643 h 277888"/>
                  <a:gd name="connsiteX314" fmla="*/ 242737 w 394105"/>
                  <a:gd name="connsiteY314" fmla="*/ 181825 h 277888"/>
                  <a:gd name="connsiteX315" fmla="*/ 244100 w 394105"/>
                  <a:gd name="connsiteY315" fmla="*/ 179097 h 277888"/>
                  <a:gd name="connsiteX316" fmla="*/ 244100 w 394105"/>
                  <a:gd name="connsiteY316" fmla="*/ 176522 h 277888"/>
                  <a:gd name="connsiteX317" fmla="*/ 245312 w 394105"/>
                  <a:gd name="connsiteY317" fmla="*/ 174552 h 277888"/>
                  <a:gd name="connsiteX318" fmla="*/ 246676 w 394105"/>
                  <a:gd name="connsiteY318" fmla="*/ 168794 h 277888"/>
                  <a:gd name="connsiteX319" fmla="*/ 248494 w 394105"/>
                  <a:gd name="connsiteY319" fmla="*/ 167430 h 277888"/>
                  <a:gd name="connsiteX320" fmla="*/ 252282 w 394105"/>
                  <a:gd name="connsiteY320" fmla="*/ 166521 h 277888"/>
                  <a:gd name="connsiteX321" fmla="*/ 258192 w 394105"/>
                  <a:gd name="connsiteY321" fmla="*/ 166067 h 277888"/>
                  <a:gd name="connsiteX322" fmla="*/ 262737 w 394105"/>
                  <a:gd name="connsiteY322" fmla="*/ 163339 h 277888"/>
                  <a:gd name="connsiteX323" fmla="*/ 267434 w 394105"/>
                  <a:gd name="connsiteY323" fmla="*/ 160612 h 277888"/>
                  <a:gd name="connsiteX324" fmla="*/ 268040 w 394105"/>
                  <a:gd name="connsiteY324" fmla="*/ 158188 h 277888"/>
                  <a:gd name="connsiteX325" fmla="*/ 266374 w 394105"/>
                  <a:gd name="connsiteY325" fmla="*/ 155612 h 277888"/>
                  <a:gd name="connsiteX326" fmla="*/ 263949 w 394105"/>
                  <a:gd name="connsiteY326" fmla="*/ 150460 h 277888"/>
                  <a:gd name="connsiteX327" fmla="*/ 261828 w 394105"/>
                  <a:gd name="connsiteY327" fmla="*/ 147430 h 277888"/>
                  <a:gd name="connsiteX328" fmla="*/ 256676 w 394105"/>
                  <a:gd name="connsiteY328" fmla="*/ 141975 h 277888"/>
                  <a:gd name="connsiteX329" fmla="*/ 257282 w 394105"/>
                  <a:gd name="connsiteY329" fmla="*/ 138641 h 277888"/>
                  <a:gd name="connsiteX330" fmla="*/ 260161 w 394105"/>
                  <a:gd name="connsiteY330" fmla="*/ 137278 h 277888"/>
                  <a:gd name="connsiteX331" fmla="*/ 267283 w 394105"/>
                  <a:gd name="connsiteY331" fmla="*/ 139550 h 277888"/>
                  <a:gd name="connsiteX332" fmla="*/ 269253 w 394105"/>
                  <a:gd name="connsiteY332" fmla="*/ 140005 h 277888"/>
                  <a:gd name="connsiteX333" fmla="*/ 271677 w 394105"/>
                  <a:gd name="connsiteY333" fmla="*/ 140460 h 277888"/>
                  <a:gd name="connsiteX334" fmla="*/ 278192 w 394105"/>
                  <a:gd name="connsiteY334" fmla="*/ 140308 h 277888"/>
                  <a:gd name="connsiteX335" fmla="*/ 283496 w 394105"/>
                  <a:gd name="connsiteY335" fmla="*/ 139399 h 277888"/>
                  <a:gd name="connsiteX336" fmla="*/ 289102 w 394105"/>
                  <a:gd name="connsiteY336" fmla="*/ 137429 h 277888"/>
                  <a:gd name="connsiteX337" fmla="*/ 290162 w 394105"/>
                  <a:gd name="connsiteY337" fmla="*/ 135156 h 277888"/>
                  <a:gd name="connsiteX338" fmla="*/ 290162 w 394105"/>
                  <a:gd name="connsiteY338" fmla="*/ 132581 h 277888"/>
                  <a:gd name="connsiteX339" fmla="*/ 290162 w 394105"/>
                  <a:gd name="connsiteY339" fmla="*/ 130459 h 277888"/>
                  <a:gd name="connsiteX340" fmla="*/ 290314 w 394105"/>
                  <a:gd name="connsiteY340" fmla="*/ 127580 h 277888"/>
                  <a:gd name="connsiteX341" fmla="*/ 288344 w 394105"/>
                  <a:gd name="connsiteY341" fmla="*/ 125611 h 277888"/>
                  <a:gd name="connsiteX342" fmla="*/ 287132 w 394105"/>
                  <a:gd name="connsiteY342" fmla="*/ 123944 h 277888"/>
                  <a:gd name="connsiteX343" fmla="*/ 286678 w 394105"/>
                  <a:gd name="connsiteY343" fmla="*/ 122580 h 277888"/>
                  <a:gd name="connsiteX344" fmla="*/ 288193 w 394105"/>
                  <a:gd name="connsiteY344" fmla="*/ 121823 h 277888"/>
                  <a:gd name="connsiteX345" fmla="*/ 289556 w 394105"/>
                  <a:gd name="connsiteY345" fmla="*/ 120459 h 277888"/>
                  <a:gd name="connsiteX346" fmla="*/ 290768 w 394105"/>
                  <a:gd name="connsiteY346" fmla="*/ 117883 h 277888"/>
                  <a:gd name="connsiteX347" fmla="*/ 293799 w 394105"/>
                  <a:gd name="connsiteY347" fmla="*/ 115004 h 277888"/>
                  <a:gd name="connsiteX348" fmla="*/ 295769 w 394105"/>
                  <a:gd name="connsiteY348" fmla="*/ 112277 h 277888"/>
                  <a:gd name="connsiteX349" fmla="*/ 297435 w 394105"/>
                  <a:gd name="connsiteY349" fmla="*/ 110913 h 277888"/>
                  <a:gd name="connsiteX350" fmla="*/ 300163 w 394105"/>
                  <a:gd name="connsiteY350" fmla="*/ 109095 h 277888"/>
                  <a:gd name="connsiteX351" fmla="*/ 301830 w 394105"/>
                  <a:gd name="connsiteY351" fmla="*/ 106519 h 277888"/>
                  <a:gd name="connsiteX352" fmla="*/ 302587 w 394105"/>
                  <a:gd name="connsiteY352" fmla="*/ 105004 h 277888"/>
                  <a:gd name="connsiteX353" fmla="*/ 304102 w 394105"/>
                  <a:gd name="connsiteY353" fmla="*/ 103489 h 277888"/>
                  <a:gd name="connsiteX354" fmla="*/ 304709 w 394105"/>
                  <a:gd name="connsiteY354" fmla="*/ 102428 h 277888"/>
                  <a:gd name="connsiteX355" fmla="*/ 304254 w 394105"/>
                  <a:gd name="connsiteY355" fmla="*/ 101519 h 277888"/>
                  <a:gd name="connsiteX356" fmla="*/ 303496 w 394105"/>
                  <a:gd name="connsiteY356" fmla="*/ 100458 h 277888"/>
                  <a:gd name="connsiteX357" fmla="*/ 302587 w 394105"/>
                  <a:gd name="connsiteY357" fmla="*/ 99246 h 277888"/>
                  <a:gd name="connsiteX358" fmla="*/ 302587 w 394105"/>
                  <a:gd name="connsiteY358" fmla="*/ 98034 h 277888"/>
                  <a:gd name="connsiteX359" fmla="*/ 303345 w 394105"/>
                  <a:gd name="connsiteY359" fmla="*/ 96670 h 277888"/>
                  <a:gd name="connsiteX360" fmla="*/ 304102 w 394105"/>
                  <a:gd name="connsiteY360" fmla="*/ 95458 h 277888"/>
                  <a:gd name="connsiteX361" fmla="*/ 303799 w 394105"/>
                  <a:gd name="connsiteY361" fmla="*/ 93943 h 277888"/>
                  <a:gd name="connsiteX362" fmla="*/ 303345 w 394105"/>
                  <a:gd name="connsiteY362" fmla="*/ 91216 h 277888"/>
                  <a:gd name="connsiteX363" fmla="*/ 301830 w 394105"/>
                  <a:gd name="connsiteY363" fmla="*/ 89700 h 277888"/>
                  <a:gd name="connsiteX364" fmla="*/ 300921 w 394105"/>
                  <a:gd name="connsiteY364" fmla="*/ 86064 h 277888"/>
                  <a:gd name="connsiteX365" fmla="*/ 299405 w 394105"/>
                  <a:gd name="connsiteY365" fmla="*/ 82276 h 277888"/>
                  <a:gd name="connsiteX366" fmla="*/ 298496 w 394105"/>
                  <a:gd name="connsiteY366" fmla="*/ 80912 h 277888"/>
                  <a:gd name="connsiteX367" fmla="*/ 297132 w 394105"/>
                  <a:gd name="connsiteY367" fmla="*/ 79094 h 277888"/>
                  <a:gd name="connsiteX368" fmla="*/ 293647 w 394105"/>
                  <a:gd name="connsiteY368" fmla="*/ 77124 h 277888"/>
                  <a:gd name="connsiteX369" fmla="*/ 292738 w 394105"/>
                  <a:gd name="connsiteY369" fmla="*/ 75760 h 277888"/>
                  <a:gd name="connsiteX370" fmla="*/ 294102 w 394105"/>
                  <a:gd name="connsiteY370" fmla="*/ 73336 h 277888"/>
                  <a:gd name="connsiteX371" fmla="*/ 296223 w 394105"/>
                  <a:gd name="connsiteY371" fmla="*/ 71821 h 277888"/>
                  <a:gd name="connsiteX372" fmla="*/ 300314 w 394105"/>
                  <a:gd name="connsiteY372" fmla="*/ 68033 h 277888"/>
                  <a:gd name="connsiteX373" fmla="*/ 302587 w 394105"/>
                  <a:gd name="connsiteY373" fmla="*/ 65305 h 277888"/>
                  <a:gd name="connsiteX374" fmla="*/ 304709 w 394105"/>
                  <a:gd name="connsiteY374" fmla="*/ 63487 h 277888"/>
                  <a:gd name="connsiteX375" fmla="*/ 307284 w 394105"/>
                  <a:gd name="connsiteY375" fmla="*/ 63790 h 277888"/>
                  <a:gd name="connsiteX376" fmla="*/ 308799 w 394105"/>
                  <a:gd name="connsiteY376" fmla="*/ 63639 h 277888"/>
                  <a:gd name="connsiteX377" fmla="*/ 310163 w 394105"/>
                  <a:gd name="connsiteY377" fmla="*/ 61972 h 277888"/>
                  <a:gd name="connsiteX378" fmla="*/ 312890 w 394105"/>
                  <a:gd name="connsiteY378" fmla="*/ 60457 h 277888"/>
                  <a:gd name="connsiteX379" fmla="*/ 317739 w 394105"/>
                  <a:gd name="connsiteY379" fmla="*/ 57426 h 277888"/>
                  <a:gd name="connsiteX380" fmla="*/ 319406 w 394105"/>
                  <a:gd name="connsiteY380" fmla="*/ 55305 h 277888"/>
                  <a:gd name="connsiteX381" fmla="*/ 321830 w 394105"/>
                  <a:gd name="connsiteY381" fmla="*/ 54244 h 277888"/>
                  <a:gd name="connsiteX382" fmla="*/ 323951 w 394105"/>
                  <a:gd name="connsiteY382" fmla="*/ 53941 h 277888"/>
                  <a:gd name="connsiteX383" fmla="*/ 326830 w 394105"/>
                  <a:gd name="connsiteY383" fmla="*/ 53184 h 277888"/>
                  <a:gd name="connsiteX384" fmla="*/ 329558 w 394105"/>
                  <a:gd name="connsiteY384" fmla="*/ 52123 h 277888"/>
                  <a:gd name="connsiteX385" fmla="*/ 332134 w 394105"/>
                  <a:gd name="connsiteY385" fmla="*/ 51214 h 277888"/>
                  <a:gd name="connsiteX386" fmla="*/ 336073 w 394105"/>
                  <a:gd name="connsiteY386" fmla="*/ 51062 h 277888"/>
                  <a:gd name="connsiteX387" fmla="*/ 342285 w 394105"/>
                  <a:gd name="connsiteY387" fmla="*/ 50608 h 277888"/>
                  <a:gd name="connsiteX388" fmla="*/ 345619 w 394105"/>
                  <a:gd name="connsiteY388" fmla="*/ 50002 h 277888"/>
                  <a:gd name="connsiteX389" fmla="*/ 353649 w 394105"/>
                  <a:gd name="connsiteY389" fmla="*/ 49547 h 277888"/>
                  <a:gd name="connsiteX390" fmla="*/ 362438 w 394105"/>
                  <a:gd name="connsiteY390" fmla="*/ 49396 h 277888"/>
                  <a:gd name="connsiteX391" fmla="*/ 363499 w 394105"/>
                  <a:gd name="connsiteY391" fmla="*/ 49396 h 277888"/>
                  <a:gd name="connsiteX392" fmla="*/ 367287 w 394105"/>
                  <a:gd name="connsiteY392" fmla="*/ 50456 h 277888"/>
                  <a:gd name="connsiteX393" fmla="*/ 369862 w 394105"/>
                  <a:gd name="connsiteY393" fmla="*/ 51517 h 277888"/>
                  <a:gd name="connsiteX394" fmla="*/ 370771 w 394105"/>
                  <a:gd name="connsiteY394" fmla="*/ 51366 h 277888"/>
                  <a:gd name="connsiteX395" fmla="*/ 375166 w 394105"/>
                  <a:gd name="connsiteY395" fmla="*/ 49093 h 277888"/>
                  <a:gd name="connsiteX396" fmla="*/ 381529 w 394105"/>
                  <a:gd name="connsiteY396" fmla="*/ 46365 h 277888"/>
                  <a:gd name="connsiteX397" fmla="*/ 384560 w 394105"/>
                  <a:gd name="connsiteY397" fmla="*/ 45153 h 277888"/>
                  <a:gd name="connsiteX398" fmla="*/ 384105 w 394105"/>
                  <a:gd name="connsiteY398" fmla="*/ 45002 h 277888"/>
                  <a:gd name="connsiteX399" fmla="*/ 383348 w 394105"/>
                  <a:gd name="connsiteY399" fmla="*/ 44093 h 277888"/>
                  <a:gd name="connsiteX400" fmla="*/ 380014 w 394105"/>
                  <a:gd name="connsiteY400" fmla="*/ 41517 h 277888"/>
                  <a:gd name="connsiteX401" fmla="*/ 380014 w 394105"/>
                  <a:gd name="connsiteY401" fmla="*/ 40911 h 277888"/>
                  <a:gd name="connsiteX402" fmla="*/ 385014 w 394105"/>
                  <a:gd name="connsiteY402" fmla="*/ 38486 h 277888"/>
                  <a:gd name="connsiteX403" fmla="*/ 388045 w 394105"/>
                  <a:gd name="connsiteY403" fmla="*/ 37577 h 277888"/>
                  <a:gd name="connsiteX404" fmla="*/ 389711 w 394105"/>
                  <a:gd name="connsiteY404" fmla="*/ 36819 h 277888"/>
                  <a:gd name="connsiteX405" fmla="*/ 390015 w 394105"/>
                  <a:gd name="connsiteY405" fmla="*/ 36971 h 277888"/>
                  <a:gd name="connsiteX406" fmla="*/ 390772 w 394105"/>
                  <a:gd name="connsiteY406" fmla="*/ 38032 h 277888"/>
                  <a:gd name="connsiteX407" fmla="*/ 392742 w 394105"/>
                  <a:gd name="connsiteY407" fmla="*/ 38789 h 277888"/>
                  <a:gd name="connsiteX408" fmla="*/ 394106 w 394105"/>
                  <a:gd name="connsiteY408" fmla="*/ 38638 h 2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94105" h="277888">
                    <a:moveTo>
                      <a:pt x="393651" y="38335"/>
                    </a:moveTo>
                    <a:lnTo>
                      <a:pt x="392439" y="36971"/>
                    </a:lnTo>
                    <a:lnTo>
                      <a:pt x="389711" y="34698"/>
                    </a:lnTo>
                    <a:lnTo>
                      <a:pt x="387742" y="33486"/>
                    </a:lnTo>
                    <a:lnTo>
                      <a:pt x="384105" y="33941"/>
                    </a:lnTo>
                    <a:lnTo>
                      <a:pt x="381984" y="33486"/>
                    </a:lnTo>
                    <a:lnTo>
                      <a:pt x="379256" y="32729"/>
                    </a:lnTo>
                    <a:lnTo>
                      <a:pt x="376832" y="32880"/>
                    </a:lnTo>
                    <a:lnTo>
                      <a:pt x="375317" y="34244"/>
                    </a:lnTo>
                    <a:lnTo>
                      <a:pt x="374408" y="35607"/>
                    </a:lnTo>
                    <a:lnTo>
                      <a:pt x="371832" y="35910"/>
                    </a:lnTo>
                    <a:lnTo>
                      <a:pt x="368347" y="36971"/>
                    </a:lnTo>
                    <a:lnTo>
                      <a:pt x="362892" y="38638"/>
                    </a:lnTo>
                    <a:lnTo>
                      <a:pt x="360316" y="38335"/>
                    </a:lnTo>
                    <a:lnTo>
                      <a:pt x="359559" y="37729"/>
                    </a:lnTo>
                    <a:lnTo>
                      <a:pt x="360165" y="36819"/>
                    </a:lnTo>
                    <a:lnTo>
                      <a:pt x="361983" y="35607"/>
                    </a:lnTo>
                    <a:lnTo>
                      <a:pt x="362438" y="34092"/>
                    </a:lnTo>
                    <a:lnTo>
                      <a:pt x="362135" y="32729"/>
                    </a:lnTo>
                    <a:lnTo>
                      <a:pt x="360468" y="32425"/>
                    </a:lnTo>
                    <a:lnTo>
                      <a:pt x="359711" y="32122"/>
                    </a:lnTo>
                    <a:lnTo>
                      <a:pt x="358953" y="31819"/>
                    </a:lnTo>
                    <a:lnTo>
                      <a:pt x="355619" y="31062"/>
                    </a:lnTo>
                    <a:lnTo>
                      <a:pt x="352892" y="31365"/>
                    </a:lnTo>
                    <a:lnTo>
                      <a:pt x="348195" y="33031"/>
                    </a:lnTo>
                    <a:lnTo>
                      <a:pt x="339558" y="37426"/>
                    </a:lnTo>
                    <a:lnTo>
                      <a:pt x="335770" y="40456"/>
                    </a:lnTo>
                    <a:lnTo>
                      <a:pt x="333043" y="45002"/>
                    </a:lnTo>
                    <a:lnTo>
                      <a:pt x="324861" y="46365"/>
                    </a:lnTo>
                    <a:lnTo>
                      <a:pt x="319254" y="49093"/>
                    </a:lnTo>
                    <a:lnTo>
                      <a:pt x="313497" y="53184"/>
                    </a:lnTo>
                    <a:lnTo>
                      <a:pt x="309709" y="55457"/>
                    </a:lnTo>
                    <a:lnTo>
                      <a:pt x="307739" y="55760"/>
                    </a:lnTo>
                    <a:lnTo>
                      <a:pt x="305920" y="55457"/>
                    </a:lnTo>
                    <a:lnTo>
                      <a:pt x="304102" y="54244"/>
                    </a:lnTo>
                    <a:lnTo>
                      <a:pt x="302284" y="50760"/>
                    </a:lnTo>
                    <a:lnTo>
                      <a:pt x="300617" y="45456"/>
                    </a:lnTo>
                    <a:lnTo>
                      <a:pt x="299557" y="41971"/>
                    </a:lnTo>
                    <a:lnTo>
                      <a:pt x="300163" y="37426"/>
                    </a:lnTo>
                    <a:lnTo>
                      <a:pt x="300769" y="32274"/>
                    </a:lnTo>
                    <a:lnTo>
                      <a:pt x="301526" y="26971"/>
                    </a:lnTo>
                    <a:lnTo>
                      <a:pt x="302587" y="20910"/>
                    </a:lnTo>
                    <a:lnTo>
                      <a:pt x="303496" y="18637"/>
                    </a:lnTo>
                    <a:lnTo>
                      <a:pt x="303648" y="17273"/>
                    </a:lnTo>
                    <a:lnTo>
                      <a:pt x="302739" y="16516"/>
                    </a:lnTo>
                    <a:lnTo>
                      <a:pt x="301072" y="16516"/>
                    </a:lnTo>
                    <a:lnTo>
                      <a:pt x="298344" y="17425"/>
                    </a:lnTo>
                    <a:lnTo>
                      <a:pt x="296375" y="17576"/>
                    </a:lnTo>
                    <a:lnTo>
                      <a:pt x="295314" y="16970"/>
                    </a:lnTo>
                    <a:lnTo>
                      <a:pt x="295466" y="14091"/>
                    </a:lnTo>
                    <a:lnTo>
                      <a:pt x="296829" y="9091"/>
                    </a:lnTo>
                    <a:lnTo>
                      <a:pt x="294708" y="4697"/>
                    </a:lnTo>
                    <a:lnTo>
                      <a:pt x="289102" y="1212"/>
                    </a:lnTo>
                    <a:lnTo>
                      <a:pt x="284405" y="0"/>
                    </a:lnTo>
                    <a:lnTo>
                      <a:pt x="280465" y="1061"/>
                    </a:lnTo>
                    <a:lnTo>
                      <a:pt x="277132" y="3788"/>
                    </a:lnTo>
                    <a:lnTo>
                      <a:pt x="274556" y="8334"/>
                    </a:lnTo>
                    <a:lnTo>
                      <a:pt x="271828" y="11970"/>
                    </a:lnTo>
                    <a:lnTo>
                      <a:pt x="268949" y="14849"/>
                    </a:lnTo>
                    <a:lnTo>
                      <a:pt x="266828" y="16213"/>
                    </a:lnTo>
                    <a:lnTo>
                      <a:pt x="266222" y="16819"/>
                    </a:lnTo>
                    <a:lnTo>
                      <a:pt x="265768" y="18031"/>
                    </a:lnTo>
                    <a:lnTo>
                      <a:pt x="267283" y="21819"/>
                    </a:lnTo>
                    <a:lnTo>
                      <a:pt x="267283" y="25001"/>
                    </a:lnTo>
                    <a:lnTo>
                      <a:pt x="265465" y="27577"/>
                    </a:lnTo>
                    <a:lnTo>
                      <a:pt x="263646" y="28789"/>
                    </a:lnTo>
                    <a:lnTo>
                      <a:pt x="261525" y="28637"/>
                    </a:lnTo>
                    <a:lnTo>
                      <a:pt x="259858" y="28031"/>
                    </a:lnTo>
                    <a:lnTo>
                      <a:pt x="258646" y="26971"/>
                    </a:lnTo>
                    <a:lnTo>
                      <a:pt x="255464" y="26668"/>
                    </a:lnTo>
                    <a:lnTo>
                      <a:pt x="250161" y="27274"/>
                    </a:lnTo>
                    <a:lnTo>
                      <a:pt x="246373" y="28486"/>
                    </a:lnTo>
                    <a:lnTo>
                      <a:pt x="244403" y="30607"/>
                    </a:lnTo>
                    <a:lnTo>
                      <a:pt x="243949" y="33335"/>
                    </a:lnTo>
                    <a:lnTo>
                      <a:pt x="244706" y="36819"/>
                    </a:lnTo>
                    <a:lnTo>
                      <a:pt x="244251" y="39395"/>
                    </a:lnTo>
                    <a:lnTo>
                      <a:pt x="242585" y="41214"/>
                    </a:lnTo>
                    <a:lnTo>
                      <a:pt x="241221" y="42274"/>
                    </a:lnTo>
                    <a:lnTo>
                      <a:pt x="240161" y="42426"/>
                    </a:lnTo>
                    <a:lnTo>
                      <a:pt x="237888" y="40911"/>
                    </a:lnTo>
                    <a:lnTo>
                      <a:pt x="234403" y="37577"/>
                    </a:lnTo>
                    <a:lnTo>
                      <a:pt x="231827" y="35759"/>
                    </a:lnTo>
                    <a:lnTo>
                      <a:pt x="230615" y="35456"/>
                    </a:lnTo>
                    <a:lnTo>
                      <a:pt x="229857" y="35607"/>
                    </a:lnTo>
                    <a:lnTo>
                      <a:pt x="228948" y="35910"/>
                    </a:lnTo>
                    <a:lnTo>
                      <a:pt x="228494" y="36365"/>
                    </a:lnTo>
                    <a:lnTo>
                      <a:pt x="228190" y="37426"/>
                    </a:lnTo>
                    <a:lnTo>
                      <a:pt x="226978" y="37729"/>
                    </a:lnTo>
                    <a:lnTo>
                      <a:pt x="225463" y="37426"/>
                    </a:lnTo>
                    <a:lnTo>
                      <a:pt x="223948" y="37729"/>
                    </a:lnTo>
                    <a:lnTo>
                      <a:pt x="223039" y="38789"/>
                    </a:lnTo>
                    <a:lnTo>
                      <a:pt x="220614" y="40153"/>
                    </a:lnTo>
                    <a:lnTo>
                      <a:pt x="216220" y="41517"/>
                    </a:lnTo>
                    <a:lnTo>
                      <a:pt x="213796" y="43183"/>
                    </a:lnTo>
                    <a:lnTo>
                      <a:pt x="213342" y="44699"/>
                    </a:lnTo>
                    <a:lnTo>
                      <a:pt x="212735" y="45456"/>
                    </a:lnTo>
                    <a:lnTo>
                      <a:pt x="211372" y="45153"/>
                    </a:lnTo>
                    <a:lnTo>
                      <a:pt x="207432" y="47426"/>
                    </a:lnTo>
                    <a:lnTo>
                      <a:pt x="204402" y="46820"/>
                    </a:lnTo>
                    <a:lnTo>
                      <a:pt x="201068" y="43941"/>
                    </a:lnTo>
                    <a:lnTo>
                      <a:pt x="199250" y="41517"/>
                    </a:lnTo>
                    <a:lnTo>
                      <a:pt x="198947" y="40456"/>
                    </a:lnTo>
                    <a:lnTo>
                      <a:pt x="198795" y="39698"/>
                    </a:lnTo>
                    <a:lnTo>
                      <a:pt x="197432" y="38789"/>
                    </a:lnTo>
                    <a:lnTo>
                      <a:pt x="194856" y="38941"/>
                    </a:lnTo>
                    <a:lnTo>
                      <a:pt x="193189" y="38486"/>
                    </a:lnTo>
                    <a:lnTo>
                      <a:pt x="192432" y="37577"/>
                    </a:lnTo>
                    <a:lnTo>
                      <a:pt x="190310" y="37729"/>
                    </a:lnTo>
                    <a:lnTo>
                      <a:pt x="186977" y="39395"/>
                    </a:lnTo>
                    <a:lnTo>
                      <a:pt x="183643" y="38486"/>
                    </a:lnTo>
                    <a:lnTo>
                      <a:pt x="180158" y="35456"/>
                    </a:lnTo>
                    <a:lnTo>
                      <a:pt x="173491" y="34244"/>
                    </a:lnTo>
                    <a:lnTo>
                      <a:pt x="165158" y="35001"/>
                    </a:lnTo>
                    <a:lnTo>
                      <a:pt x="163794" y="35001"/>
                    </a:lnTo>
                    <a:lnTo>
                      <a:pt x="160460" y="34395"/>
                    </a:lnTo>
                    <a:lnTo>
                      <a:pt x="153793" y="32880"/>
                    </a:lnTo>
                    <a:lnTo>
                      <a:pt x="148187" y="30001"/>
                    </a:lnTo>
                    <a:lnTo>
                      <a:pt x="144399" y="28031"/>
                    </a:lnTo>
                    <a:lnTo>
                      <a:pt x="143945" y="28334"/>
                    </a:lnTo>
                    <a:lnTo>
                      <a:pt x="142278" y="29546"/>
                    </a:lnTo>
                    <a:lnTo>
                      <a:pt x="141066" y="31213"/>
                    </a:lnTo>
                    <a:lnTo>
                      <a:pt x="140157" y="34395"/>
                    </a:lnTo>
                    <a:lnTo>
                      <a:pt x="138641" y="38032"/>
                    </a:lnTo>
                    <a:lnTo>
                      <a:pt x="131823" y="38183"/>
                    </a:lnTo>
                    <a:lnTo>
                      <a:pt x="125914" y="38486"/>
                    </a:lnTo>
                    <a:lnTo>
                      <a:pt x="122277" y="39850"/>
                    </a:lnTo>
                    <a:lnTo>
                      <a:pt x="118489" y="41820"/>
                    </a:lnTo>
                    <a:lnTo>
                      <a:pt x="117580" y="44093"/>
                    </a:lnTo>
                    <a:lnTo>
                      <a:pt x="116823" y="46972"/>
                    </a:lnTo>
                    <a:lnTo>
                      <a:pt x="114550" y="53790"/>
                    </a:lnTo>
                    <a:lnTo>
                      <a:pt x="112580" y="59851"/>
                    </a:lnTo>
                    <a:lnTo>
                      <a:pt x="111671" y="63790"/>
                    </a:lnTo>
                    <a:lnTo>
                      <a:pt x="110156" y="66518"/>
                    </a:lnTo>
                    <a:lnTo>
                      <a:pt x="105913" y="70154"/>
                    </a:lnTo>
                    <a:lnTo>
                      <a:pt x="101216" y="72427"/>
                    </a:lnTo>
                    <a:lnTo>
                      <a:pt x="98640" y="73639"/>
                    </a:lnTo>
                    <a:lnTo>
                      <a:pt x="97579" y="75003"/>
                    </a:lnTo>
                    <a:lnTo>
                      <a:pt x="97277" y="76366"/>
                    </a:lnTo>
                    <a:lnTo>
                      <a:pt x="96367" y="76821"/>
                    </a:lnTo>
                    <a:lnTo>
                      <a:pt x="94549" y="76518"/>
                    </a:lnTo>
                    <a:lnTo>
                      <a:pt x="92428" y="76821"/>
                    </a:lnTo>
                    <a:lnTo>
                      <a:pt x="87882" y="78185"/>
                    </a:lnTo>
                    <a:lnTo>
                      <a:pt x="82882" y="79851"/>
                    </a:lnTo>
                    <a:lnTo>
                      <a:pt x="77124" y="81518"/>
                    </a:lnTo>
                    <a:lnTo>
                      <a:pt x="73639" y="81518"/>
                    </a:lnTo>
                    <a:lnTo>
                      <a:pt x="72427" y="81973"/>
                    </a:lnTo>
                    <a:lnTo>
                      <a:pt x="71821" y="82730"/>
                    </a:lnTo>
                    <a:lnTo>
                      <a:pt x="72427" y="84397"/>
                    </a:lnTo>
                    <a:lnTo>
                      <a:pt x="72881" y="85609"/>
                    </a:lnTo>
                    <a:lnTo>
                      <a:pt x="73488" y="87124"/>
                    </a:lnTo>
                    <a:lnTo>
                      <a:pt x="72124" y="88337"/>
                    </a:lnTo>
                    <a:lnTo>
                      <a:pt x="71063" y="90609"/>
                    </a:lnTo>
                    <a:lnTo>
                      <a:pt x="70306" y="94397"/>
                    </a:lnTo>
                    <a:lnTo>
                      <a:pt x="68336" y="95458"/>
                    </a:lnTo>
                    <a:lnTo>
                      <a:pt x="64851" y="97276"/>
                    </a:lnTo>
                    <a:lnTo>
                      <a:pt x="61215" y="99701"/>
                    </a:lnTo>
                    <a:lnTo>
                      <a:pt x="60305" y="100307"/>
                    </a:lnTo>
                    <a:lnTo>
                      <a:pt x="58184" y="100913"/>
                    </a:lnTo>
                    <a:lnTo>
                      <a:pt x="56063" y="100761"/>
                    </a:lnTo>
                    <a:lnTo>
                      <a:pt x="54093" y="100307"/>
                    </a:lnTo>
                    <a:lnTo>
                      <a:pt x="51972" y="100913"/>
                    </a:lnTo>
                    <a:lnTo>
                      <a:pt x="49850" y="102882"/>
                    </a:lnTo>
                    <a:lnTo>
                      <a:pt x="48790" y="102276"/>
                    </a:lnTo>
                    <a:lnTo>
                      <a:pt x="48335" y="100458"/>
                    </a:lnTo>
                    <a:lnTo>
                      <a:pt x="47274" y="99094"/>
                    </a:lnTo>
                    <a:lnTo>
                      <a:pt x="43941" y="96367"/>
                    </a:lnTo>
                    <a:lnTo>
                      <a:pt x="41062" y="94397"/>
                    </a:lnTo>
                    <a:lnTo>
                      <a:pt x="39698" y="94246"/>
                    </a:lnTo>
                    <a:lnTo>
                      <a:pt x="37123" y="94852"/>
                    </a:lnTo>
                    <a:lnTo>
                      <a:pt x="33789" y="95155"/>
                    </a:lnTo>
                    <a:lnTo>
                      <a:pt x="31062" y="94700"/>
                    </a:lnTo>
                    <a:lnTo>
                      <a:pt x="28941" y="93943"/>
                    </a:lnTo>
                    <a:lnTo>
                      <a:pt x="25607" y="91216"/>
                    </a:lnTo>
                    <a:lnTo>
                      <a:pt x="24395" y="89852"/>
                    </a:lnTo>
                    <a:lnTo>
                      <a:pt x="23486" y="88640"/>
                    </a:lnTo>
                    <a:lnTo>
                      <a:pt x="21213" y="88943"/>
                    </a:lnTo>
                    <a:lnTo>
                      <a:pt x="21819" y="91064"/>
                    </a:lnTo>
                    <a:lnTo>
                      <a:pt x="21667" y="92276"/>
                    </a:lnTo>
                    <a:lnTo>
                      <a:pt x="20758" y="93488"/>
                    </a:lnTo>
                    <a:lnTo>
                      <a:pt x="20304" y="95004"/>
                    </a:lnTo>
                    <a:lnTo>
                      <a:pt x="19546" y="96973"/>
                    </a:lnTo>
                    <a:lnTo>
                      <a:pt x="19243" y="98488"/>
                    </a:lnTo>
                    <a:lnTo>
                      <a:pt x="17879" y="99246"/>
                    </a:lnTo>
                    <a:lnTo>
                      <a:pt x="16819" y="99701"/>
                    </a:lnTo>
                    <a:lnTo>
                      <a:pt x="16970" y="101670"/>
                    </a:lnTo>
                    <a:lnTo>
                      <a:pt x="17576" y="103337"/>
                    </a:lnTo>
                    <a:lnTo>
                      <a:pt x="18183" y="105307"/>
                    </a:lnTo>
                    <a:lnTo>
                      <a:pt x="17425" y="106519"/>
                    </a:lnTo>
                    <a:lnTo>
                      <a:pt x="16970" y="108034"/>
                    </a:lnTo>
                    <a:lnTo>
                      <a:pt x="16061" y="110610"/>
                    </a:lnTo>
                    <a:lnTo>
                      <a:pt x="16213" y="112580"/>
                    </a:lnTo>
                    <a:lnTo>
                      <a:pt x="15152" y="114246"/>
                    </a:lnTo>
                    <a:lnTo>
                      <a:pt x="13788" y="115913"/>
                    </a:lnTo>
                    <a:lnTo>
                      <a:pt x="12879" y="117125"/>
                    </a:lnTo>
                    <a:lnTo>
                      <a:pt x="12728" y="118792"/>
                    </a:lnTo>
                    <a:lnTo>
                      <a:pt x="11819" y="119398"/>
                    </a:lnTo>
                    <a:lnTo>
                      <a:pt x="9849" y="120913"/>
                    </a:lnTo>
                    <a:lnTo>
                      <a:pt x="8637" y="121823"/>
                    </a:lnTo>
                    <a:lnTo>
                      <a:pt x="6970" y="122126"/>
                    </a:lnTo>
                    <a:lnTo>
                      <a:pt x="6667" y="123035"/>
                    </a:lnTo>
                    <a:lnTo>
                      <a:pt x="6819" y="123792"/>
                    </a:lnTo>
                    <a:lnTo>
                      <a:pt x="7576" y="124247"/>
                    </a:lnTo>
                    <a:lnTo>
                      <a:pt x="8788" y="126065"/>
                    </a:lnTo>
                    <a:lnTo>
                      <a:pt x="11061" y="129096"/>
                    </a:lnTo>
                    <a:lnTo>
                      <a:pt x="4243" y="129399"/>
                    </a:lnTo>
                    <a:lnTo>
                      <a:pt x="2273" y="132126"/>
                    </a:lnTo>
                    <a:lnTo>
                      <a:pt x="0" y="135914"/>
                    </a:lnTo>
                    <a:lnTo>
                      <a:pt x="1212" y="143793"/>
                    </a:lnTo>
                    <a:lnTo>
                      <a:pt x="0" y="147733"/>
                    </a:lnTo>
                    <a:lnTo>
                      <a:pt x="758" y="150005"/>
                    </a:lnTo>
                    <a:lnTo>
                      <a:pt x="2424" y="151521"/>
                    </a:lnTo>
                    <a:lnTo>
                      <a:pt x="4697" y="152278"/>
                    </a:lnTo>
                    <a:lnTo>
                      <a:pt x="8788" y="152430"/>
                    </a:lnTo>
                    <a:lnTo>
                      <a:pt x="11516" y="153036"/>
                    </a:lnTo>
                    <a:lnTo>
                      <a:pt x="11819" y="154097"/>
                    </a:lnTo>
                    <a:lnTo>
                      <a:pt x="10303" y="155460"/>
                    </a:lnTo>
                    <a:lnTo>
                      <a:pt x="7728" y="158339"/>
                    </a:lnTo>
                    <a:lnTo>
                      <a:pt x="6364" y="159551"/>
                    </a:lnTo>
                    <a:lnTo>
                      <a:pt x="2122" y="165157"/>
                    </a:lnTo>
                    <a:lnTo>
                      <a:pt x="2122" y="167582"/>
                    </a:lnTo>
                    <a:lnTo>
                      <a:pt x="2424" y="169552"/>
                    </a:lnTo>
                    <a:lnTo>
                      <a:pt x="4394" y="175612"/>
                    </a:lnTo>
                    <a:lnTo>
                      <a:pt x="6212" y="181522"/>
                    </a:lnTo>
                    <a:lnTo>
                      <a:pt x="9394" y="192128"/>
                    </a:lnTo>
                    <a:lnTo>
                      <a:pt x="9394" y="194704"/>
                    </a:lnTo>
                    <a:lnTo>
                      <a:pt x="8334" y="200159"/>
                    </a:lnTo>
                    <a:lnTo>
                      <a:pt x="8334" y="203492"/>
                    </a:lnTo>
                    <a:lnTo>
                      <a:pt x="8788" y="207735"/>
                    </a:lnTo>
                    <a:lnTo>
                      <a:pt x="8334" y="210008"/>
                    </a:lnTo>
                    <a:lnTo>
                      <a:pt x="9243" y="215008"/>
                    </a:lnTo>
                    <a:lnTo>
                      <a:pt x="10152" y="215311"/>
                    </a:lnTo>
                    <a:lnTo>
                      <a:pt x="17122" y="216372"/>
                    </a:lnTo>
                    <a:lnTo>
                      <a:pt x="23637" y="217129"/>
                    </a:lnTo>
                    <a:lnTo>
                      <a:pt x="32122" y="218341"/>
                    </a:lnTo>
                    <a:lnTo>
                      <a:pt x="34698" y="221220"/>
                    </a:lnTo>
                    <a:lnTo>
                      <a:pt x="36365" y="227736"/>
                    </a:lnTo>
                    <a:lnTo>
                      <a:pt x="36214" y="232433"/>
                    </a:lnTo>
                    <a:lnTo>
                      <a:pt x="35607" y="234857"/>
                    </a:lnTo>
                    <a:lnTo>
                      <a:pt x="29395" y="241827"/>
                    </a:lnTo>
                    <a:lnTo>
                      <a:pt x="23183" y="248948"/>
                    </a:lnTo>
                    <a:lnTo>
                      <a:pt x="16970" y="255918"/>
                    </a:lnTo>
                    <a:lnTo>
                      <a:pt x="9849" y="263949"/>
                    </a:lnTo>
                    <a:lnTo>
                      <a:pt x="20153" y="267282"/>
                    </a:lnTo>
                    <a:lnTo>
                      <a:pt x="28334" y="269707"/>
                    </a:lnTo>
                    <a:lnTo>
                      <a:pt x="41517" y="273798"/>
                    </a:lnTo>
                    <a:lnTo>
                      <a:pt x="51669" y="276828"/>
                    </a:lnTo>
                    <a:lnTo>
                      <a:pt x="54548" y="277434"/>
                    </a:lnTo>
                    <a:lnTo>
                      <a:pt x="84397" y="274707"/>
                    </a:lnTo>
                    <a:lnTo>
                      <a:pt x="95307" y="276677"/>
                    </a:lnTo>
                    <a:lnTo>
                      <a:pt x="98943" y="277889"/>
                    </a:lnTo>
                    <a:lnTo>
                      <a:pt x="99398" y="277131"/>
                    </a:lnTo>
                    <a:lnTo>
                      <a:pt x="100913" y="275768"/>
                    </a:lnTo>
                    <a:lnTo>
                      <a:pt x="103489" y="274404"/>
                    </a:lnTo>
                    <a:lnTo>
                      <a:pt x="106974" y="273343"/>
                    </a:lnTo>
                    <a:lnTo>
                      <a:pt x="110459" y="272737"/>
                    </a:lnTo>
                    <a:lnTo>
                      <a:pt x="115459" y="272586"/>
                    </a:lnTo>
                    <a:lnTo>
                      <a:pt x="118792" y="272737"/>
                    </a:lnTo>
                    <a:lnTo>
                      <a:pt x="121368" y="273040"/>
                    </a:lnTo>
                    <a:lnTo>
                      <a:pt x="126065" y="272889"/>
                    </a:lnTo>
                    <a:lnTo>
                      <a:pt x="128490" y="272283"/>
                    </a:lnTo>
                    <a:lnTo>
                      <a:pt x="136369" y="270161"/>
                    </a:lnTo>
                    <a:lnTo>
                      <a:pt x="141824" y="268646"/>
                    </a:lnTo>
                    <a:lnTo>
                      <a:pt x="149854" y="266373"/>
                    </a:lnTo>
                    <a:lnTo>
                      <a:pt x="155763" y="264707"/>
                    </a:lnTo>
                    <a:lnTo>
                      <a:pt x="157279" y="263798"/>
                    </a:lnTo>
                    <a:lnTo>
                      <a:pt x="158794" y="262131"/>
                    </a:lnTo>
                    <a:lnTo>
                      <a:pt x="159400" y="260767"/>
                    </a:lnTo>
                    <a:lnTo>
                      <a:pt x="157582" y="258494"/>
                    </a:lnTo>
                    <a:lnTo>
                      <a:pt x="157430" y="256524"/>
                    </a:lnTo>
                    <a:lnTo>
                      <a:pt x="158642" y="253949"/>
                    </a:lnTo>
                    <a:lnTo>
                      <a:pt x="159248" y="250161"/>
                    </a:lnTo>
                    <a:lnTo>
                      <a:pt x="159097" y="244706"/>
                    </a:lnTo>
                    <a:lnTo>
                      <a:pt x="158794" y="241675"/>
                    </a:lnTo>
                    <a:lnTo>
                      <a:pt x="160309" y="235766"/>
                    </a:lnTo>
                    <a:lnTo>
                      <a:pt x="161824" y="232433"/>
                    </a:lnTo>
                    <a:lnTo>
                      <a:pt x="164552" y="230918"/>
                    </a:lnTo>
                    <a:lnTo>
                      <a:pt x="166370" y="230008"/>
                    </a:lnTo>
                    <a:lnTo>
                      <a:pt x="167127" y="229251"/>
                    </a:lnTo>
                    <a:lnTo>
                      <a:pt x="168036" y="228493"/>
                    </a:lnTo>
                    <a:lnTo>
                      <a:pt x="170915" y="223948"/>
                    </a:lnTo>
                    <a:lnTo>
                      <a:pt x="173643" y="221978"/>
                    </a:lnTo>
                    <a:lnTo>
                      <a:pt x="176219" y="220614"/>
                    </a:lnTo>
                    <a:lnTo>
                      <a:pt x="178946" y="220766"/>
                    </a:lnTo>
                    <a:lnTo>
                      <a:pt x="181370" y="222584"/>
                    </a:lnTo>
                    <a:lnTo>
                      <a:pt x="186067" y="223342"/>
                    </a:lnTo>
                    <a:lnTo>
                      <a:pt x="190613" y="222735"/>
                    </a:lnTo>
                    <a:lnTo>
                      <a:pt x="194553" y="221523"/>
                    </a:lnTo>
                    <a:lnTo>
                      <a:pt x="196371" y="220463"/>
                    </a:lnTo>
                    <a:lnTo>
                      <a:pt x="198492" y="219554"/>
                    </a:lnTo>
                    <a:lnTo>
                      <a:pt x="198341" y="218493"/>
                    </a:lnTo>
                    <a:lnTo>
                      <a:pt x="195916" y="217584"/>
                    </a:lnTo>
                    <a:lnTo>
                      <a:pt x="194553" y="216220"/>
                    </a:lnTo>
                    <a:lnTo>
                      <a:pt x="194098" y="214553"/>
                    </a:lnTo>
                    <a:lnTo>
                      <a:pt x="195462" y="213644"/>
                    </a:lnTo>
                    <a:lnTo>
                      <a:pt x="198492" y="213341"/>
                    </a:lnTo>
                    <a:lnTo>
                      <a:pt x="206068" y="209401"/>
                    </a:lnTo>
                    <a:lnTo>
                      <a:pt x="209099" y="206826"/>
                    </a:lnTo>
                    <a:lnTo>
                      <a:pt x="210008" y="205765"/>
                    </a:lnTo>
                    <a:lnTo>
                      <a:pt x="211523" y="205613"/>
                    </a:lnTo>
                    <a:lnTo>
                      <a:pt x="214402" y="206826"/>
                    </a:lnTo>
                    <a:lnTo>
                      <a:pt x="217735" y="207129"/>
                    </a:lnTo>
                    <a:lnTo>
                      <a:pt x="219857" y="205917"/>
                    </a:lnTo>
                    <a:lnTo>
                      <a:pt x="221978" y="205765"/>
                    </a:lnTo>
                    <a:lnTo>
                      <a:pt x="224099" y="206977"/>
                    </a:lnTo>
                    <a:lnTo>
                      <a:pt x="225160" y="208492"/>
                    </a:lnTo>
                    <a:lnTo>
                      <a:pt x="226978" y="210462"/>
                    </a:lnTo>
                    <a:lnTo>
                      <a:pt x="229403" y="210765"/>
                    </a:lnTo>
                    <a:lnTo>
                      <a:pt x="232282" y="209856"/>
                    </a:lnTo>
                    <a:lnTo>
                      <a:pt x="235312" y="207583"/>
                    </a:lnTo>
                    <a:lnTo>
                      <a:pt x="238039" y="204704"/>
                    </a:lnTo>
                    <a:lnTo>
                      <a:pt x="240615" y="201674"/>
                    </a:lnTo>
                    <a:lnTo>
                      <a:pt x="240009" y="192128"/>
                    </a:lnTo>
                    <a:lnTo>
                      <a:pt x="239554" y="186673"/>
                    </a:lnTo>
                    <a:lnTo>
                      <a:pt x="240918" y="183643"/>
                    </a:lnTo>
                    <a:lnTo>
                      <a:pt x="242737" y="181825"/>
                    </a:lnTo>
                    <a:lnTo>
                      <a:pt x="244100" y="179097"/>
                    </a:lnTo>
                    <a:lnTo>
                      <a:pt x="244100" y="176522"/>
                    </a:lnTo>
                    <a:lnTo>
                      <a:pt x="245312" y="174552"/>
                    </a:lnTo>
                    <a:lnTo>
                      <a:pt x="246676" y="168794"/>
                    </a:lnTo>
                    <a:lnTo>
                      <a:pt x="248494" y="167430"/>
                    </a:lnTo>
                    <a:lnTo>
                      <a:pt x="252282" y="166521"/>
                    </a:lnTo>
                    <a:lnTo>
                      <a:pt x="258192" y="166067"/>
                    </a:lnTo>
                    <a:lnTo>
                      <a:pt x="262737" y="163339"/>
                    </a:lnTo>
                    <a:lnTo>
                      <a:pt x="267434" y="160612"/>
                    </a:lnTo>
                    <a:lnTo>
                      <a:pt x="268040" y="158188"/>
                    </a:lnTo>
                    <a:lnTo>
                      <a:pt x="266374" y="155612"/>
                    </a:lnTo>
                    <a:lnTo>
                      <a:pt x="263949" y="150460"/>
                    </a:lnTo>
                    <a:lnTo>
                      <a:pt x="261828" y="147430"/>
                    </a:lnTo>
                    <a:lnTo>
                      <a:pt x="256676" y="141975"/>
                    </a:lnTo>
                    <a:lnTo>
                      <a:pt x="257282" y="138641"/>
                    </a:lnTo>
                    <a:lnTo>
                      <a:pt x="260161" y="137278"/>
                    </a:lnTo>
                    <a:lnTo>
                      <a:pt x="267283" y="139550"/>
                    </a:lnTo>
                    <a:lnTo>
                      <a:pt x="269253" y="140005"/>
                    </a:lnTo>
                    <a:lnTo>
                      <a:pt x="271677" y="140460"/>
                    </a:lnTo>
                    <a:lnTo>
                      <a:pt x="278192" y="140308"/>
                    </a:lnTo>
                    <a:lnTo>
                      <a:pt x="283496" y="139399"/>
                    </a:lnTo>
                    <a:lnTo>
                      <a:pt x="289102" y="137429"/>
                    </a:lnTo>
                    <a:lnTo>
                      <a:pt x="290162" y="135156"/>
                    </a:lnTo>
                    <a:lnTo>
                      <a:pt x="290162" y="132581"/>
                    </a:lnTo>
                    <a:lnTo>
                      <a:pt x="290162" y="130459"/>
                    </a:lnTo>
                    <a:lnTo>
                      <a:pt x="290314" y="127580"/>
                    </a:lnTo>
                    <a:lnTo>
                      <a:pt x="288344" y="125611"/>
                    </a:lnTo>
                    <a:lnTo>
                      <a:pt x="287132" y="123944"/>
                    </a:lnTo>
                    <a:lnTo>
                      <a:pt x="286678" y="122580"/>
                    </a:lnTo>
                    <a:lnTo>
                      <a:pt x="288193" y="121823"/>
                    </a:lnTo>
                    <a:lnTo>
                      <a:pt x="289556" y="120459"/>
                    </a:lnTo>
                    <a:lnTo>
                      <a:pt x="290768" y="117883"/>
                    </a:lnTo>
                    <a:lnTo>
                      <a:pt x="293799" y="115004"/>
                    </a:lnTo>
                    <a:lnTo>
                      <a:pt x="295769" y="112277"/>
                    </a:lnTo>
                    <a:lnTo>
                      <a:pt x="297435" y="110913"/>
                    </a:lnTo>
                    <a:lnTo>
                      <a:pt x="300163" y="109095"/>
                    </a:lnTo>
                    <a:lnTo>
                      <a:pt x="301830" y="106519"/>
                    </a:lnTo>
                    <a:lnTo>
                      <a:pt x="302587" y="105004"/>
                    </a:lnTo>
                    <a:lnTo>
                      <a:pt x="304102" y="103489"/>
                    </a:lnTo>
                    <a:lnTo>
                      <a:pt x="304709" y="102428"/>
                    </a:lnTo>
                    <a:lnTo>
                      <a:pt x="304254" y="101519"/>
                    </a:lnTo>
                    <a:lnTo>
                      <a:pt x="303496" y="100458"/>
                    </a:lnTo>
                    <a:lnTo>
                      <a:pt x="302587" y="99246"/>
                    </a:lnTo>
                    <a:lnTo>
                      <a:pt x="302587" y="98034"/>
                    </a:lnTo>
                    <a:lnTo>
                      <a:pt x="303345" y="96670"/>
                    </a:lnTo>
                    <a:lnTo>
                      <a:pt x="304102" y="95458"/>
                    </a:lnTo>
                    <a:lnTo>
                      <a:pt x="303799" y="93943"/>
                    </a:lnTo>
                    <a:lnTo>
                      <a:pt x="303345" y="91216"/>
                    </a:lnTo>
                    <a:lnTo>
                      <a:pt x="301830" y="89700"/>
                    </a:lnTo>
                    <a:lnTo>
                      <a:pt x="300921" y="86064"/>
                    </a:lnTo>
                    <a:lnTo>
                      <a:pt x="299405" y="82276"/>
                    </a:lnTo>
                    <a:lnTo>
                      <a:pt x="298496" y="80912"/>
                    </a:lnTo>
                    <a:lnTo>
                      <a:pt x="297132" y="79094"/>
                    </a:lnTo>
                    <a:lnTo>
                      <a:pt x="293647" y="77124"/>
                    </a:lnTo>
                    <a:lnTo>
                      <a:pt x="292738" y="75760"/>
                    </a:lnTo>
                    <a:lnTo>
                      <a:pt x="294102" y="73336"/>
                    </a:lnTo>
                    <a:lnTo>
                      <a:pt x="296223" y="71821"/>
                    </a:lnTo>
                    <a:lnTo>
                      <a:pt x="300314" y="68033"/>
                    </a:lnTo>
                    <a:lnTo>
                      <a:pt x="302587" y="65305"/>
                    </a:lnTo>
                    <a:lnTo>
                      <a:pt x="304709" y="63487"/>
                    </a:lnTo>
                    <a:lnTo>
                      <a:pt x="307284" y="63790"/>
                    </a:lnTo>
                    <a:lnTo>
                      <a:pt x="308799" y="63639"/>
                    </a:lnTo>
                    <a:lnTo>
                      <a:pt x="310163" y="61972"/>
                    </a:lnTo>
                    <a:lnTo>
                      <a:pt x="312890" y="60457"/>
                    </a:lnTo>
                    <a:lnTo>
                      <a:pt x="317739" y="57426"/>
                    </a:lnTo>
                    <a:lnTo>
                      <a:pt x="319406" y="55305"/>
                    </a:lnTo>
                    <a:lnTo>
                      <a:pt x="321830" y="54244"/>
                    </a:lnTo>
                    <a:lnTo>
                      <a:pt x="323951" y="53941"/>
                    </a:lnTo>
                    <a:lnTo>
                      <a:pt x="326830" y="53184"/>
                    </a:lnTo>
                    <a:lnTo>
                      <a:pt x="329558" y="52123"/>
                    </a:lnTo>
                    <a:lnTo>
                      <a:pt x="332134" y="51214"/>
                    </a:lnTo>
                    <a:lnTo>
                      <a:pt x="336073" y="51062"/>
                    </a:lnTo>
                    <a:lnTo>
                      <a:pt x="342285" y="50608"/>
                    </a:lnTo>
                    <a:lnTo>
                      <a:pt x="345619" y="50002"/>
                    </a:lnTo>
                    <a:lnTo>
                      <a:pt x="353649" y="49547"/>
                    </a:lnTo>
                    <a:lnTo>
                      <a:pt x="362438" y="49396"/>
                    </a:lnTo>
                    <a:lnTo>
                      <a:pt x="363499" y="49396"/>
                    </a:lnTo>
                    <a:lnTo>
                      <a:pt x="367287" y="50456"/>
                    </a:lnTo>
                    <a:lnTo>
                      <a:pt x="369862" y="51517"/>
                    </a:lnTo>
                    <a:lnTo>
                      <a:pt x="370771" y="51366"/>
                    </a:lnTo>
                    <a:lnTo>
                      <a:pt x="375166" y="49093"/>
                    </a:lnTo>
                    <a:lnTo>
                      <a:pt x="381529" y="46365"/>
                    </a:lnTo>
                    <a:lnTo>
                      <a:pt x="384560" y="45153"/>
                    </a:lnTo>
                    <a:lnTo>
                      <a:pt x="384105" y="45002"/>
                    </a:lnTo>
                    <a:lnTo>
                      <a:pt x="383348" y="44093"/>
                    </a:lnTo>
                    <a:lnTo>
                      <a:pt x="380014" y="41517"/>
                    </a:lnTo>
                    <a:lnTo>
                      <a:pt x="380014" y="40911"/>
                    </a:lnTo>
                    <a:lnTo>
                      <a:pt x="385014" y="38486"/>
                    </a:lnTo>
                    <a:lnTo>
                      <a:pt x="388045" y="37577"/>
                    </a:lnTo>
                    <a:lnTo>
                      <a:pt x="389711" y="36819"/>
                    </a:lnTo>
                    <a:lnTo>
                      <a:pt x="390015" y="36971"/>
                    </a:lnTo>
                    <a:lnTo>
                      <a:pt x="390772" y="38032"/>
                    </a:lnTo>
                    <a:lnTo>
                      <a:pt x="392742" y="38789"/>
                    </a:lnTo>
                    <a:lnTo>
                      <a:pt x="394106" y="386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4" name="Freeform: Shape 3353">
                <a:extLst>
                  <a:ext uri="{FF2B5EF4-FFF2-40B4-BE49-F238E27FC236}">
                    <a16:creationId xmlns:a16="http://schemas.microsoft.com/office/drawing/2014/main" id="{7900B421-FAEC-4191-955D-C82825B44293}"/>
                  </a:ext>
                </a:extLst>
              </p:cNvPr>
              <p:cNvSpPr/>
              <p:nvPr/>
            </p:nvSpPr>
            <p:spPr>
              <a:xfrm>
                <a:off x="7188313" y="3836361"/>
                <a:ext cx="132429" cy="98488"/>
              </a:xfrm>
              <a:custGeom>
                <a:avLst/>
                <a:gdLst>
                  <a:gd name="connsiteX0" fmla="*/ 60911 w 132429"/>
                  <a:gd name="connsiteY0" fmla="*/ 56669 h 98488"/>
                  <a:gd name="connsiteX1" fmla="*/ 61669 w 132429"/>
                  <a:gd name="connsiteY1" fmla="*/ 56214 h 98488"/>
                  <a:gd name="connsiteX2" fmla="*/ 64396 w 132429"/>
                  <a:gd name="connsiteY2" fmla="*/ 56517 h 98488"/>
                  <a:gd name="connsiteX3" fmla="*/ 64396 w 132429"/>
                  <a:gd name="connsiteY3" fmla="*/ 55608 h 98488"/>
                  <a:gd name="connsiteX4" fmla="*/ 63487 w 132429"/>
                  <a:gd name="connsiteY4" fmla="*/ 54548 h 98488"/>
                  <a:gd name="connsiteX5" fmla="*/ 61821 w 132429"/>
                  <a:gd name="connsiteY5" fmla="*/ 53335 h 98488"/>
                  <a:gd name="connsiteX6" fmla="*/ 57881 w 132429"/>
                  <a:gd name="connsiteY6" fmla="*/ 54699 h 98488"/>
                  <a:gd name="connsiteX7" fmla="*/ 56366 w 132429"/>
                  <a:gd name="connsiteY7" fmla="*/ 55911 h 98488"/>
                  <a:gd name="connsiteX8" fmla="*/ 58638 w 132429"/>
                  <a:gd name="connsiteY8" fmla="*/ 56669 h 98488"/>
                  <a:gd name="connsiteX9" fmla="*/ 60911 w 132429"/>
                  <a:gd name="connsiteY9" fmla="*/ 56669 h 98488"/>
                  <a:gd name="connsiteX10" fmla="*/ 48032 w 132429"/>
                  <a:gd name="connsiteY10" fmla="*/ 53032 h 98488"/>
                  <a:gd name="connsiteX11" fmla="*/ 49396 w 132429"/>
                  <a:gd name="connsiteY11" fmla="*/ 52426 h 98488"/>
                  <a:gd name="connsiteX12" fmla="*/ 50153 w 132429"/>
                  <a:gd name="connsiteY12" fmla="*/ 51669 h 98488"/>
                  <a:gd name="connsiteX13" fmla="*/ 51214 w 132429"/>
                  <a:gd name="connsiteY13" fmla="*/ 49850 h 98488"/>
                  <a:gd name="connsiteX14" fmla="*/ 50305 w 132429"/>
                  <a:gd name="connsiteY14" fmla="*/ 48638 h 98488"/>
                  <a:gd name="connsiteX15" fmla="*/ 49244 w 132429"/>
                  <a:gd name="connsiteY15" fmla="*/ 50002 h 98488"/>
                  <a:gd name="connsiteX16" fmla="*/ 48183 w 132429"/>
                  <a:gd name="connsiteY16" fmla="*/ 50608 h 98488"/>
                  <a:gd name="connsiteX17" fmla="*/ 44244 w 132429"/>
                  <a:gd name="connsiteY17" fmla="*/ 52123 h 98488"/>
                  <a:gd name="connsiteX18" fmla="*/ 46062 w 132429"/>
                  <a:gd name="connsiteY18" fmla="*/ 53184 h 98488"/>
                  <a:gd name="connsiteX19" fmla="*/ 48032 w 132429"/>
                  <a:gd name="connsiteY19" fmla="*/ 53032 h 98488"/>
                  <a:gd name="connsiteX20" fmla="*/ 78033 w 132429"/>
                  <a:gd name="connsiteY20" fmla="*/ 48335 h 98488"/>
                  <a:gd name="connsiteX21" fmla="*/ 78791 w 132429"/>
                  <a:gd name="connsiteY21" fmla="*/ 48335 h 98488"/>
                  <a:gd name="connsiteX22" fmla="*/ 79094 w 132429"/>
                  <a:gd name="connsiteY22" fmla="*/ 47729 h 98488"/>
                  <a:gd name="connsiteX23" fmla="*/ 78033 w 132429"/>
                  <a:gd name="connsiteY23" fmla="*/ 46972 h 98488"/>
                  <a:gd name="connsiteX24" fmla="*/ 77276 w 132429"/>
                  <a:gd name="connsiteY24" fmla="*/ 45911 h 98488"/>
                  <a:gd name="connsiteX25" fmla="*/ 76669 w 132429"/>
                  <a:gd name="connsiteY25" fmla="*/ 45911 h 98488"/>
                  <a:gd name="connsiteX26" fmla="*/ 75458 w 132429"/>
                  <a:gd name="connsiteY26" fmla="*/ 46820 h 98488"/>
                  <a:gd name="connsiteX27" fmla="*/ 76063 w 132429"/>
                  <a:gd name="connsiteY27" fmla="*/ 47577 h 98488"/>
                  <a:gd name="connsiteX28" fmla="*/ 78033 w 132429"/>
                  <a:gd name="connsiteY28" fmla="*/ 48335 h 98488"/>
                  <a:gd name="connsiteX29" fmla="*/ 131217 w 132429"/>
                  <a:gd name="connsiteY29" fmla="*/ 31062 h 98488"/>
                  <a:gd name="connsiteX30" fmla="*/ 130914 w 132429"/>
                  <a:gd name="connsiteY30" fmla="*/ 15001 h 98488"/>
                  <a:gd name="connsiteX31" fmla="*/ 129096 w 132429"/>
                  <a:gd name="connsiteY31" fmla="*/ 12576 h 98488"/>
                  <a:gd name="connsiteX32" fmla="*/ 128641 w 132429"/>
                  <a:gd name="connsiteY32" fmla="*/ 13182 h 98488"/>
                  <a:gd name="connsiteX33" fmla="*/ 127884 w 132429"/>
                  <a:gd name="connsiteY33" fmla="*/ 13182 h 98488"/>
                  <a:gd name="connsiteX34" fmla="*/ 126065 w 132429"/>
                  <a:gd name="connsiteY34" fmla="*/ 12576 h 98488"/>
                  <a:gd name="connsiteX35" fmla="*/ 125005 w 132429"/>
                  <a:gd name="connsiteY35" fmla="*/ 11213 h 98488"/>
                  <a:gd name="connsiteX36" fmla="*/ 125156 w 132429"/>
                  <a:gd name="connsiteY36" fmla="*/ 9546 h 98488"/>
                  <a:gd name="connsiteX37" fmla="*/ 125156 w 132429"/>
                  <a:gd name="connsiteY37" fmla="*/ 6515 h 98488"/>
                  <a:gd name="connsiteX38" fmla="*/ 125611 w 132429"/>
                  <a:gd name="connsiteY38" fmla="*/ 3637 h 98488"/>
                  <a:gd name="connsiteX39" fmla="*/ 125459 w 132429"/>
                  <a:gd name="connsiteY39" fmla="*/ 606 h 98488"/>
                  <a:gd name="connsiteX40" fmla="*/ 124096 w 132429"/>
                  <a:gd name="connsiteY40" fmla="*/ 0 h 98488"/>
                  <a:gd name="connsiteX41" fmla="*/ 123035 w 132429"/>
                  <a:gd name="connsiteY41" fmla="*/ 151 h 98488"/>
                  <a:gd name="connsiteX42" fmla="*/ 122884 w 132429"/>
                  <a:gd name="connsiteY42" fmla="*/ 455 h 98488"/>
                  <a:gd name="connsiteX43" fmla="*/ 121519 w 132429"/>
                  <a:gd name="connsiteY43" fmla="*/ 4394 h 98488"/>
                  <a:gd name="connsiteX44" fmla="*/ 119247 w 132429"/>
                  <a:gd name="connsiteY44" fmla="*/ 7879 h 98488"/>
                  <a:gd name="connsiteX45" fmla="*/ 107732 w 132429"/>
                  <a:gd name="connsiteY45" fmla="*/ 16516 h 98488"/>
                  <a:gd name="connsiteX46" fmla="*/ 105307 w 132429"/>
                  <a:gd name="connsiteY46" fmla="*/ 19546 h 98488"/>
                  <a:gd name="connsiteX47" fmla="*/ 102277 w 132429"/>
                  <a:gd name="connsiteY47" fmla="*/ 22274 h 98488"/>
                  <a:gd name="connsiteX48" fmla="*/ 101822 w 132429"/>
                  <a:gd name="connsiteY48" fmla="*/ 24092 h 98488"/>
                  <a:gd name="connsiteX49" fmla="*/ 96216 w 132429"/>
                  <a:gd name="connsiteY49" fmla="*/ 29698 h 98488"/>
                  <a:gd name="connsiteX50" fmla="*/ 86670 w 132429"/>
                  <a:gd name="connsiteY50" fmla="*/ 36365 h 98488"/>
                  <a:gd name="connsiteX51" fmla="*/ 84246 w 132429"/>
                  <a:gd name="connsiteY51" fmla="*/ 39092 h 98488"/>
                  <a:gd name="connsiteX52" fmla="*/ 83336 w 132429"/>
                  <a:gd name="connsiteY52" fmla="*/ 41820 h 98488"/>
                  <a:gd name="connsiteX53" fmla="*/ 82124 w 132429"/>
                  <a:gd name="connsiteY53" fmla="*/ 43486 h 98488"/>
                  <a:gd name="connsiteX54" fmla="*/ 80912 w 132429"/>
                  <a:gd name="connsiteY54" fmla="*/ 44395 h 98488"/>
                  <a:gd name="connsiteX55" fmla="*/ 80003 w 132429"/>
                  <a:gd name="connsiteY55" fmla="*/ 46365 h 98488"/>
                  <a:gd name="connsiteX56" fmla="*/ 78942 w 132429"/>
                  <a:gd name="connsiteY56" fmla="*/ 49396 h 98488"/>
                  <a:gd name="connsiteX57" fmla="*/ 77276 w 132429"/>
                  <a:gd name="connsiteY57" fmla="*/ 51669 h 98488"/>
                  <a:gd name="connsiteX58" fmla="*/ 74700 w 132429"/>
                  <a:gd name="connsiteY58" fmla="*/ 52426 h 98488"/>
                  <a:gd name="connsiteX59" fmla="*/ 70457 w 132429"/>
                  <a:gd name="connsiteY59" fmla="*/ 54850 h 98488"/>
                  <a:gd name="connsiteX60" fmla="*/ 63487 w 132429"/>
                  <a:gd name="connsiteY60" fmla="*/ 57578 h 98488"/>
                  <a:gd name="connsiteX61" fmla="*/ 60911 w 132429"/>
                  <a:gd name="connsiteY61" fmla="*/ 57729 h 98488"/>
                  <a:gd name="connsiteX62" fmla="*/ 48032 w 132429"/>
                  <a:gd name="connsiteY62" fmla="*/ 56820 h 98488"/>
                  <a:gd name="connsiteX63" fmla="*/ 39698 w 132429"/>
                  <a:gd name="connsiteY63" fmla="*/ 55457 h 98488"/>
                  <a:gd name="connsiteX64" fmla="*/ 29395 w 132429"/>
                  <a:gd name="connsiteY64" fmla="*/ 55305 h 98488"/>
                  <a:gd name="connsiteX65" fmla="*/ 25607 w 132429"/>
                  <a:gd name="connsiteY65" fmla="*/ 56517 h 98488"/>
                  <a:gd name="connsiteX66" fmla="*/ 18486 w 132429"/>
                  <a:gd name="connsiteY66" fmla="*/ 59851 h 98488"/>
                  <a:gd name="connsiteX67" fmla="*/ 14849 w 132429"/>
                  <a:gd name="connsiteY67" fmla="*/ 60608 h 98488"/>
                  <a:gd name="connsiteX68" fmla="*/ 9091 w 132429"/>
                  <a:gd name="connsiteY68" fmla="*/ 60154 h 98488"/>
                  <a:gd name="connsiteX69" fmla="*/ 7424 w 132429"/>
                  <a:gd name="connsiteY69" fmla="*/ 59396 h 98488"/>
                  <a:gd name="connsiteX70" fmla="*/ 6061 w 132429"/>
                  <a:gd name="connsiteY70" fmla="*/ 57578 h 98488"/>
                  <a:gd name="connsiteX71" fmla="*/ 5455 w 132429"/>
                  <a:gd name="connsiteY71" fmla="*/ 52426 h 98488"/>
                  <a:gd name="connsiteX72" fmla="*/ 4546 w 132429"/>
                  <a:gd name="connsiteY72" fmla="*/ 52123 h 98488"/>
                  <a:gd name="connsiteX73" fmla="*/ 2576 w 132429"/>
                  <a:gd name="connsiteY73" fmla="*/ 52426 h 98488"/>
                  <a:gd name="connsiteX74" fmla="*/ 1515 w 132429"/>
                  <a:gd name="connsiteY74" fmla="*/ 50911 h 98488"/>
                  <a:gd name="connsiteX75" fmla="*/ 1061 w 132429"/>
                  <a:gd name="connsiteY75" fmla="*/ 49850 h 98488"/>
                  <a:gd name="connsiteX76" fmla="*/ 0 w 132429"/>
                  <a:gd name="connsiteY76" fmla="*/ 51366 h 98488"/>
                  <a:gd name="connsiteX77" fmla="*/ 0 w 132429"/>
                  <a:gd name="connsiteY77" fmla="*/ 52123 h 98488"/>
                  <a:gd name="connsiteX78" fmla="*/ 152 w 132429"/>
                  <a:gd name="connsiteY78" fmla="*/ 55911 h 98488"/>
                  <a:gd name="connsiteX79" fmla="*/ 758 w 132429"/>
                  <a:gd name="connsiteY79" fmla="*/ 57275 h 98488"/>
                  <a:gd name="connsiteX80" fmla="*/ 1818 w 132429"/>
                  <a:gd name="connsiteY80" fmla="*/ 58487 h 98488"/>
                  <a:gd name="connsiteX81" fmla="*/ 3333 w 132429"/>
                  <a:gd name="connsiteY81" fmla="*/ 60305 h 98488"/>
                  <a:gd name="connsiteX82" fmla="*/ 4849 w 132429"/>
                  <a:gd name="connsiteY82" fmla="*/ 62124 h 98488"/>
                  <a:gd name="connsiteX83" fmla="*/ 6364 w 132429"/>
                  <a:gd name="connsiteY83" fmla="*/ 63942 h 98488"/>
                  <a:gd name="connsiteX84" fmla="*/ 7879 w 132429"/>
                  <a:gd name="connsiteY84" fmla="*/ 65760 h 98488"/>
                  <a:gd name="connsiteX85" fmla="*/ 9394 w 132429"/>
                  <a:gd name="connsiteY85" fmla="*/ 67578 h 98488"/>
                  <a:gd name="connsiteX86" fmla="*/ 10910 w 132429"/>
                  <a:gd name="connsiteY86" fmla="*/ 69397 h 98488"/>
                  <a:gd name="connsiteX87" fmla="*/ 12425 w 132429"/>
                  <a:gd name="connsiteY87" fmla="*/ 71215 h 98488"/>
                  <a:gd name="connsiteX88" fmla="*/ 13940 w 132429"/>
                  <a:gd name="connsiteY88" fmla="*/ 73033 h 98488"/>
                  <a:gd name="connsiteX89" fmla="*/ 15455 w 132429"/>
                  <a:gd name="connsiteY89" fmla="*/ 74851 h 98488"/>
                  <a:gd name="connsiteX90" fmla="*/ 16970 w 132429"/>
                  <a:gd name="connsiteY90" fmla="*/ 76669 h 98488"/>
                  <a:gd name="connsiteX91" fmla="*/ 18486 w 132429"/>
                  <a:gd name="connsiteY91" fmla="*/ 78488 h 98488"/>
                  <a:gd name="connsiteX92" fmla="*/ 20001 w 132429"/>
                  <a:gd name="connsiteY92" fmla="*/ 80306 h 98488"/>
                  <a:gd name="connsiteX93" fmla="*/ 21516 w 132429"/>
                  <a:gd name="connsiteY93" fmla="*/ 82124 h 98488"/>
                  <a:gd name="connsiteX94" fmla="*/ 23031 w 132429"/>
                  <a:gd name="connsiteY94" fmla="*/ 83942 h 98488"/>
                  <a:gd name="connsiteX95" fmla="*/ 24546 w 132429"/>
                  <a:gd name="connsiteY95" fmla="*/ 85761 h 98488"/>
                  <a:gd name="connsiteX96" fmla="*/ 26062 w 132429"/>
                  <a:gd name="connsiteY96" fmla="*/ 87579 h 98488"/>
                  <a:gd name="connsiteX97" fmla="*/ 27274 w 132429"/>
                  <a:gd name="connsiteY97" fmla="*/ 89094 h 98488"/>
                  <a:gd name="connsiteX98" fmla="*/ 29547 w 132429"/>
                  <a:gd name="connsiteY98" fmla="*/ 89397 h 98488"/>
                  <a:gd name="connsiteX99" fmla="*/ 30304 w 132429"/>
                  <a:gd name="connsiteY99" fmla="*/ 89549 h 98488"/>
                  <a:gd name="connsiteX100" fmla="*/ 32426 w 132429"/>
                  <a:gd name="connsiteY100" fmla="*/ 89852 h 98488"/>
                  <a:gd name="connsiteX101" fmla="*/ 35607 w 132429"/>
                  <a:gd name="connsiteY101" fmla="*/ 90306 h 98488"/>
                  <a:gd name="connsiteX102" fmla="*/ 39850 w 132429"/>
                  <a:gd name="connsiteY102" fmla="*/ 90912 h 98488"/>
                  <a:gd name="connsiteX103" fmla="*/ 44850 w 132429"/>
                  <a:gd name="connsiteY103" fmla="*/ 91518 h 98488"/>
                  <a:gd name="connsiteX104" fmla="*/ 50305 w 132429"/>
                  <a:gd name="connsiteY104" fmla="*/ 92276 h 98488"/>
                  <a:gd name="connsiteX105" fmla="*/ 56214 w 132429"/>
                  <a:gd name="connsiteY105" fmla="*/ 93034 h 98488"/>
                  <a:gd name="connsiteX106" fmla="*/ 62275 w 132429"/>
                  <a:gd name="connsiteY106" fmla="*/ 93791 h 98488"/>
                  <a:gd name="connsiteX107" fmla="*/ 68336 w 132429"/>
                  <a:gd name="connsiteY107" fmla="*/ 94549 h 98488"/>
                  <a:gd name="connsiteX108" fmla="*/ 74245 w 132429"/>
                  <a:gd name="connsiteY108" fmla="*/ 95306 h 98488"/>
                  <a:gd name="connsiteX109" fmla="*/ 79700 w 132429"/>
                  <a:gd name="connsiteY109" fmla="*/ 96064 h 98488"/>
                  <a:gd name="connsiteX110" fmla="*/ 84700 w 132429"/>
                  <a:gd name="connsiteY110" fmla="*/ 96670 h 98488"/>
                  <a:gd name="connsiteX111" fmla="*/ 88943 w 132429"/>
                  <a:gd name="connsiteY111" fmla="*/ 97276 h 98488"/>
                  <a:gd name="connsiteX112" fmla="*/ 92125 w 132429"/>
                  <a:gd name="connsiteY112" fmla="*/ 97731 h 98488"/>
                  <a:gd name="connsiteX113" fmla="*/ 94246 w 132429"/>
                  <a:gd name="connsiteY113" fmla="*/ 98034 h 98488"/>
                  <a:gd name="connsiteX114" fmla="*/ 95003 w 132429"/>
                  <a:gd name="connsiteY114" fmla="*/ 98185 h 98488"/>
                  <a:gd name="connsiteX115" fmla="*/ 97125 w 132429"/>
                  <a:gd name="connsiteY115" fmla="*/ 98488 h 98488"/>
                  <a:gd name="connsiteX116" fmla="*/ 97579 w 132429"/>
                  <a:gd name="connsiteY116" fmla="*/ 98488 h 98488"/>
                  <a:gd name="connsiteX117" fmla="*/ 99398 w 132429"/>
                  <a:gd name="connsiteY117" fmla="*/ 96216 h 98488"/>
                  <a:gd name="connsiteX118" fmla="*/ 99549 w 132429"/>
                  <a:gd name="connsiteY118" fmla="*/ 91973 h 98488"/>
                  <a:gd name="connsiteX119" fmla="*/ 99549 w 132429"/>
                  <a:gd name="connsiteY119" fmla="*/ 89852 h 98488"/>
                  <a:gd name="connsiteX120" fmla="*/ 99701 w 132429"/>
                  <a:gd name="connsiteY120" fmla="*/ 86670 h 98488"/>
                  <a:gd name="connsiteX121" fmla="*/ 101670 w 132429"/>
                  <a:gd name="connsiteY121" fmla="*/ 82276 h 98488"/>
                  <a:gd name="connsiteX122" fmla="*/ 103943 w 132429"/>
                  <a:gd name="connsiteY122" fmla="*/ 76669 h 98488"/>
                  <a:gd name="connsiteX123" fmla="*/ 105610 w 132429"/>
                  <a:gd name="connsiteY123" fmla="*/ 72881 h 98488"/>
                  <a:gd name="connsiteX124" fmla="*/ 106974 w 132429"/>
                  <a:gd name="connsiteY124" fmla="*/ 69548 h 98488"/>
                  <a:gd name="connsiteX125" fmla="*/ 108186 w 132429"/>
                  <a:gd name="connsiteY125" fmla="*/ 66972 h 98488"/>
                  <a:gd name="connsiteX126" fmla="*/ 108792 w 132429"/>
                  <a:gd name="connsiteY126" fmla="*/ 64245 h 98488"/>
                  <a:gd name="connsiteX127" fmla="*/ 108489 w 132429"/>
                  <a:gd name="connsiteY127" fmla="*/ 62275 h 98488"/>
                  <a:gd name="connsiteX128" fmla="*/ 107732 w 132429"/>
                  <a:gd name="connsiteY128" fmla="*/ 61517 h 98488"/>
                  <a:gd name="connsiteX129" fmla="*/ 107125 w 132429"/>
                  <a:gd name="connsiteY129" fmla="*/ 60608 h 98488"/>
                  <a:gd name="connsiteX130" fmla="*/ 109246 w 132429"/>
                  <a:gd name="connsiteY130" fmla="*/ 59093 h 98488"/>
                  <a:gd name="connsiteX131" fmla="*/ 113338 w 132429"/>
                  <a:gd name="connsiteY131" fmla="*/ 58184 h 98488"/>
                  <a:gd name="connsiteX132" fmla="*/ 115610 w 132429"/>
                  <a:gd name="connsiteY132" fmla="*/ 58336 h 98488"/>
                  <a:gd name="connsiteX133" fmla="*/ 118792 w 132429"/>
                  <a:gd name="connsiteY133" fmla="*/ 57578 h 98488"/>
                  <a:gd name="connsiteX134" fmla="*/ 121217 w 132429"/>
                  <a:gd name="connsiteY134" fmla="*/ 56972 h 98488"/>
                  <a:gd name="connsiteX135" fmla="*/ 121368 w 132429"/>
                  <a:gd name="connsiteY135" fmla="*/ 56063 h 98488"/>
                  <a:gd name="connsiteX136" fmla="*/ 120610 w 132429"/>
                  <a:gd name="connsiteY136" fmla="*/ 54699 h 98488"/>
                  <a:gd name="connsiteX137" fmla="*/ 119550 w 132429"/>
                  <a:gd name="connsiteY137" fmla="*/ 52578 h 98488"/>
                  <a:gd name="connsiteX138" fmla="*/ 116065 w 132429"/>
                  <a:gd name="connsiteY138" fmla="*/ 52426 h 98488"/>
                  <a:gd name="connsiteX139" fmla="*/ 115004 w 132429"/>
                  <a:gd name="connsiteY139" fmla="*/ 51820 h 98488"/>
                  <a:gd name="connsiteX140" fmla="*/ 116217 w 132429"/>
                  <a:gd name="connsiteY140" fmla="*/ 48790 h 98488"/>
                  <a:gd name="connsiteX141" fmla="*/ 116217 w 132429"/>
                  <a:gd name="connsiteY141" fmla="*/ 47881 h 98488"/>
                  <a:gd name="connsiteX142" fmla="*/ 115762 w 132429"/>
                  <a:gd name="connsiteY142" fmla="*/ 46668 h 98488"/>
                  <a:gd name="connsiteX143" fmla="*/ 115308 w 132429"/>
                  <a:gd name="connsiteY143" fmla="*/ 44699 h 98488"/>
                  <a:gd name="connsiteX144" fmla="*/ 115610 w 132429"/>
                  <a:gd name="connsiteY144" fmla="*/ 42123 h 98488"/>
                  <a:gd name="connsiteX145" fmla="*/ 116368 w 132429"/>
                  <a:gd name="connsiteY145" fmla="*/ 40456 h 98488"/>
                  <a:gd name="connsiteX146" fmla="*/ 116368 w 132429"/>
                  <a:gd name="connsiteY146" fmla="*/ 39092 h 98488"/>
                  <a:gd name="connsiteX147" fmla="*/ 116065 w 132429"/>
                  <a:gd name="connsiteY147" fmla="*/ 36213 h 98488"/>
                  <a:gd name="connsiteX148" fmla="*/ 116217 w 132429"/>
                  <a:gd name="connsiteY148" fmla="*/ 33638 h 98488"/>
                  <a:gd name="connsiteX149" fmla="*/ 116974 w 132429"/>
                  <a:gd name="connsiteY149" fmla="*/ 32425 h 98488"/>
                  <a:gd name="connsiteX150" fmla="*/ 118338 w 132429"/>
                  <a:gd name="connsiteY150" fmla="*/ 31213 h 98488"/>
                  <a:gd name="connsiteX151" fmla="*/ 119550 w 132429"/>
                  <a:gd name="connsiteY151" fmla="*/ 30607 h 98488"/>
                  <a:gd name="connsiteX152" fmla="*/ 120914 w 132429"/>
                  <a:gd name="connsiteY152" fmla="*/ 30607 h 98488"/>
                  <a:gd name="connsiteX153" fmla="*/ 121975 w 132429"/>
                  <a:gd name="connsiteY153" fmla="*/ 31062 h 98488"/>
                  <a:gd name="connsiteX154" fmla="*/ 122429 w 132429"/>
                  <a:gd name="connsiteY154" fmla="*/ 32425 h 98488"/>
                  <a:gd name="connsiteX155" fmla="*/ 122126 w 132429"/>
                  <a:gd name="connsiteY155" fmla="*/ 33335 h 98488"/>
                  <a:gd name="connsiteX156" fmla="*/ 121368 w 132429"/>
                  <a:gd name="connsiteY156" fmla="*/ 33486 h 98488"/>
                  <a:gd name="connsiteX157" fmla="*/ 121065 w 132429"/>
                  <a:gd name="connsiteY157" fmla="*/ 33941 h 98488"/>
                  <a:gd name="connsiteX158" fmla="*/ 122126 w 132429"/>
                  <a:gd name="connsiteY158" fmla="*/ 35759 h 98488"/>
                  <a:gd name="connsiteX159" fmla="*/ 123641 w 132429"/>
                  <a:gd name="connsiteY159" fmla="*/ 37426 h 98488"/>
                  <a:gd name="connsiteX160" fmla="*/ 124853 w 132429"/>
                  <a:gd name="connsiteY160" fmla="*/ 37123 h 98488"/>
                  <a:gd name="connsiteX161" fmla="*/ 126217 w 132429"/>
                  <a:gd name="connsiteY161" fmla="*/ 35759 h 98488"/>
                  <a:gd name="connsiteX162" fmla="*/ 127581 w 132429"/>
                  <a:gd name="connsiteY162" fmla="*/ 34698 h 98488"/>
                  <a:gd name="connsiteX163" fmla="*/ 129247 w 132429"/>
                  <a:gd name="connsiteY163" fmla="*/ 33789 h 98488"/>
                  <a:gd name="connsiteX164" fmla="*/ 130460 w 132429"/>
                  <a:gd name="connsiteY164" fmla="*/ 31971 h 98488"/>
                  <a:gd name="connsiteX165" fmla="*/ 131520 w 132429"/>
                  <a:gd name="connsiteY165" fmla="*/ 30759 h 98488"/>
                  <a:gd name="connsiteX166" fmla="*/ 132429 w 132429"/>
                  <a:gd name="connsiteY166" fmla="*/ 30607 h 98488"/>
                  <a:gd name="connsiteX167" fmla="*/ 131217 w 132429"/>
                  <a:gd name="connsiteY167" fmla="*/ 31062 h 98488"/>
                  <a:gd name="connsiteX168" fmla="*/ 128793 w 132429"/>
                  <a:gd name="connsiteY168" fmla="*/ 24849 h 98488"/>
                  <a:gd name="connsiteX169" fmla="*/ 127581 w 132429"/>
                  <a:gd name="connsiteY169" fmla="*/ 25607 h 98488"/>
                  <a:gd name="connsiteX170" fmla="*/ 126823 w 132429"/>
                  <a:gd name="connsiteY170" fmla="*/ 25455 h 98488"/>
                  <a:gd name="connsiteX171" fmla="*/ 126974 w 132429"/>
                  <a:gd name="connsiteY171" fmla="*/ 23940 h 98488"/>
                  <a:gd name="connsiteX172" fmla="*/ 127429 w 132429"/>
                  <a:gd name="connsiteY172" fmla="*/ 22880 h 98488"/>
                  <a:gd name="connsiteX173" fmla="*/ 128641 w 132429"/>
                  <a:gd name="connsiteY173" fmla="*/ 23031 h 98488"/>
                  <a:gd name="connsiteX174" fmla="*/ 128944 w 132429"/>
                  <a:gd name="connsiteY174" fmla="*/ 23637 h 98488"/>
                  <a:gd name="connsiteX175" fmla="*/ 128793 w 132429"/>
                  <a:gd name="connsiteY175" fmla="*/ 24849 h 98488"/>
                  <a:gd name="connsiteX176" fmla="*/ 28486 w 132429"/>
                  <a:gd name="connsiteY176" fmla="*/ 52275 h 98488"/>
                  <a:gd name="connsiteX177" fmla="*/ 29547 w 132429"/>
                  <a:gd name="connsiteY177" fmla="*/ 51062 h 98488"/>
                  <a:gd name="connsiteX178" fmla="*/ 28789 w 132429"/>
                  <a:gd name="connsiteY178" fmla="*/ 49850 h 98488"/>
                  <a:gd name="connsiteX179" fmla="*/ 27577 w 132429"/>
                  <a:gd name="connsiteY179" fmla="*/ 50608 h 98488"/>
                  <a:gd name="connsiteX180" fmla="*/ 27577 w 132429"/>
                  <a:gd name="connsiteY180" fmla="*/ 51062 h 98488"/>
                  <a:gd name="connsiteX181" fmla="*/ 28031 w 132429"/>
                  <a:gd name="connsiteY181" fmla="*/ 52578 h 98488"/>
                  <a:gd name="connsiteX182" fmla="*/ 28486 w 132429"/>
                  <a:gd name="connsiteY182" fmla="*/ 52275 h 9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32429" h="98488">
                    <a:moveTo>
                      <a:pt x="60911" y="56669"/>
                    </a:moveTo>
                    <a:lnTo>
                      <a:pt x="61669" y="56214"/>
                    </a:lnTo>
                    <a:lnTo>
                      <a:pt x="64396" y="56517"/>
                    </a:lnTo>
                    <a:lnTo>
                      <a:pt x="64396" y="55608"/>
                    </a:lnTo>
                    <a:lnTo>
                      <a:pt x="63487" y="54548"/>
                    </a:lnTo>
                    <a:lnTo>
                      <a:pt x="61821" y="53335"/>
                    </a:lnTo>
                    <a:lnTo>
                      <a:pt x="57881" y="54699"/>
                    </a:lnTo>
                    <a:lnTo>
                      <a:pt x="56366" y="55911"/>
                    </a:lnTo>
                    <a:lnTo>
                      <a:pt x="58638" y="56669"/>
                    </a:lnTo>
                    <a:lnTo>
                      <a:pt x="60911" y="56669"/>
                    </a:lnTo>
                    <a:close/>
                    <a:moveTo>
                      <a:pt x="48032" y="53032"/>
                    </a:moveTo>
                    <a:lnTo>
                      <a:pt x="49396" y="52426"/>
                    </a:lnTo>
                    <a:lnTo>
                      <a:pt x="50153" y="51669"/>
                    </a:lnTo>
                    <a:lnTo>
                      <a:pt x="51214" y="49850"/>
                    </a:lnTo>
                    <a:lnTo>
                      <a:pt x="50305" y="48638"/>
                    </a:lnTo>
                    <a:lnTo>
                      <a:pt x="49244" y="50002"/>
                    </a:lnTo>
                    <a:lnTo>
                      <a:pt x="48183" y="50608"/>
                    </a:lnTo>
                    <a:lnTo>
                      <a:pt x="44244" y="52123"/>
                    </a:lnTo>
                    <a:lnTo>
                      <a:pt x="46062" y="53184"/>
                    </a:lnTo>
                    <a:lnTo>
                      <a:pt x="48032" y="53032"/>
                    </a:lnTo>
                    <a:close/>
                    <a:moveTo>
                      <a:pt x="78033" y="48335"/>
                    </a:moveTo>
                    <a:lnTo>
                      <a:pt x="78791" y="48335"/>
                    </a:lnTo>
                    <a:lnTo>
                      <a:pt x="79094" y="47729"/>
                    </a:lnTo>
                    <a:lnTo>
                      <a:pt x="78033" y="46972"/>
                    </a:lnTo>
                    <a:lnTo>
                      <a:pt x="77276" y="45911"/>
                    </a:lnTo>
                    <a:lnTo>
                      <a:pt x="76669" y="45911"/>
                    </a:lnTo>
                    <a:lnTo>
                      <a:pt x="75458" y="46820"/>
                    </a:lnTo>
                    <a:lnTo>
                      <a:pt x="76063" y="47577"/>
                    </a:lnTo>
                    <a:lnTo>
                      <a:pt x="78033" y="48335"/>
                    </a:lnTo>
                    <a:close/>
                    <a:moveTo>
                      <a:pt x="131217" y="31062"/>
                    </a:moveTo>
                    <a:lnTo>
                      <a:pt x="130914" y="15001"/>
                    </a:lnTo>
                    <a:lnTo>
                      <a:pt x="129096" y="12576"/>
                    </a:lnTo>
                    <a:lnTo>
                      <a:pt x="128641" y="13182"/>
                    </a:lnTo>
                    <a:lnTo>
                      <a:pt x="127884" y="13182"/>
                    </a:lnTo>
                    <a:lnTo>
                      <a:pt x="126065" y="12576"/>
                    </a:lnTo>
                    <a:lnTo>
                      <a:pt x="125005" y="11213"/>
                    </a:lnTo>
                    <a:lnTo>
                      <a:pt x="125156" y="9546"/>
                    </a:lnTo>
                    <a:lnTo>
                      <a:pt x="125156" y="6515"/>
                    </a:lnTo>
                    <a:lnTo>
                      <a:pt x="125611" y="3637"/>
                    </a:lnTo>
                    <a:lnTo>
                      <a:pt x="125459" y="606"/>
                    </a:lnTo>
                    <a:lnTo>
                      <a:pt x="124096" y="0"/>
                    </a:lnTo>
                    <a:lnTo>
                      <a:pt x="123035" y="151"/>
                    </a:lnTo>
                    <a:lnTo>
                      <a:pt x="122884" y="455"/>
                    </a:lnTo>
                    <a:lnTo>
                      <a:pt x="121519" y="4394"/>
                    </a:lnTo>
                    <a:lnTo>
                      <a:pt x="119247" y="7879"/>
                    </a:lnTo>
                    <a:lnTo>
                      <a:pt x="107732" y="16516"/>
                    </a:lnTo>
                    <a:lnTo>
                      <a:pt x="105307" y="19546"/>
                    </a:lnTo>
                    <a:lnTo>
                      <a:pt x="102277" y="22274"/>
                    </a:lnTo>
                    <a:lnTo>
                      <a:pt x="101822" y="24092"/>
                    </a:lnTo>
                    <a:lnTo>
                      <a:pt x="96216" y="29698"/>
                    </a:lnTo>
                    <a:lnTo>
                      <a:pt x="86670" y="36365"/>
                    </a:lnTo>
                    <a:lnTo>
                      <a:pt x="84246" y="39092"/>
                    </a:lnTo>
                    <a:lnTo>
                      <a:pt x="83336" y="41820"/>
                    </a:lnTo>
                    <a:lnTo>
                      <a:pt x="82124" y="43486"/>
                    </a:lnTo>
                    <a:lnTo>
                      <a:pt x="80912" y="44395"/>
                    </a:lnTo>
                    <a:lnTo>
                      <a:pt x="80003" y="46365"/>
                    </a:lnTo>
                    <a:lnTo>
                      <a:pt x="78942" y="49396"/>
                    </a:lnTo>
                    <a:lnTo>
                      <a:pt x="77276" y="51669"/>
                    </a:lnTo>
                    <a:lnTo>
                      <a:pt x="74700" y="52426"/>
                    </a:lnTo>
                    <a:lnTo>
                      <a:pt x="70457" y="54850"/>
                    </a:lnTo>
                    <a:lnTo>
                      <a:pt x="63487" y="57578"/>
                    </a:lnTo>
                    <a:lnTo>
                      <a:pt x="60911" y="57729"/>
                    </a:lnTo>
                    <a:lnTo>
                      <a:pt x="48032" y="56820"/>
                    </a:lnTo>
                    <a:lnTo>
                      <a:pt x="39698" y="55457"/>
                    </a:lnTo>
                    <a:lnTo>
                      <a:pt x="29395" y="55305"/>
                    </a:lnTo>
                    <a:lnTo>
                      <a:pt x="25607" y="56517"/>
                    </a:lnTo>
                    <a:lnTo>
                      <a:pt x="18486" y="59851"/>
                    </a:lnTo>
                    <a:lnTo>
                      <a:pt x="14849" y="60608"/>
                    </a:lnTo>
                    <a:lnTo>
                      <a:pt x="9091" y="60154"/>
                    </a:lnTo>
                    <a:lnTo>
                      <a:pt x="7424" y="59396"/>
                    </a:lnTo>
                    <a:lnTo>
                      <a:pt x="6061" y="57578"/>
                    </a:lnTo>
                    <a:lnTo>
                      <a:pt x="5455" y="52426"/>
                    </a:lnTo>
                    <a:lnTo>
                      <a:pt x="4546" y="52123"/>
                    </a:lnTo>
                    <a:lnTo>
                      <a:pt x="2576" y="52426"/>
                    </a:lnTo>
                    <a:lnTo>
                      <a:pt x="1515" y="50911"/>
                    </a:lnTo>
                    <a:lnTo>
                      <a:pt x="1061" y="49850"/>
                    </a:lnTo>
                    <a:lnTo>
                      <a:pt x="0" y="51366"/>
                    </a:lnTo>
                    <a:lnTo>
                      <a:pt x="0" y="52123"/>
                    </a:lnTo>
                    <a:lnTo>
                      <a:pt x="152" y="55911"/>
                    </a:lnTo>
                    <a:lnTo>
                      <a:pt x="758" y="57275"/>
                    </a:lnTo>
                    <a:lnTo>
                      <a:pt x="1818" y="58487"/>
                    </a:lnTo>
                    <a:lnTo>
                      <a:pt x="3333" y="60305"/>
                    </a:lnTo>
                    <a:lnTo>
                      <a:pt x="4849" y="62124"/>
                    </a:lnTo>
                    <a:lnTo>
                      <a:pt x="6364" y="63942"/>
                    </a:lnTo>
                    <a:lnTo>
                      <a:pt x="7879" y="65760"/>
                    </a:lnTo>
                    <a:lnTo>
                      <a:pt x="9394" y="67578"/>
                    </a:lnTo>
                    <a:lnTo>
                      <a:pt x="10910" y="69397"/>
                    </a:lnTo>
                    <a:lnTo>
                      <a:pt x="12425" y="71215"/>
                    </a:lnTo>
                    <a:lnTo>
                      <a:pt x="13940" y="73033"/>
                    </a:lnTo>
                    <a:lnTo>
                      <a:pt x="15455" y="74851"/>
                    </a:lnTo>
                    <a:lnTo>
                      <a:pt x="16970" y="76669"/>
                    </a:lnTo>
                    <a:lnTo>
                      <a:pt x="18486" y="78488"/>
                    </a:lnTo>
                    <a:lnTo>
                      <a:pt x="20001" y="80306"/>
                    </a:lnTo>
                    <a:lnTo>
                      <a:pt x="21516" y="82124"/>
                    </a:lnTo>
                    <a:lnTo>
                      <a:pt x="23031" y="83942"/>
                    </a:lnTo>
                    <a:lnTo>
                      <a:pt x="24546" y="85761"/>
                    </a:lnTo>
                    <a:lnTo>
                      <a:pt x="26062" y="87579"/>
                    </a:lnTo>
                    <a:lnTo>
                      <a:pt x="27274" y="89094"/>
                    </a:lnTo>
                    <a:lnTo>
                      <a:pt x="29547" y="89397"/>
                    </a:lnTo>
                    <a:lnTo>
                      <a:pt x="30304" y="89549"/>
                    </a:lnTo>
                    <a:lnTo>
                      <a:pt x="32426" y="89852"/>
                    </a:lnTo>
                    <a:lnTo>
                      <a:pt x="35607" y="90306"/>
                    </a:lnTo>
                    <a:lnTo>
                      <a:pt x="39850" y="90912"/>
                    </a:lnTo>
                    <a:lnTo>
                      <a:pt x="44850" y="91518"/>
                    </a:lnTo>
                    <a:lnTo>
                      <a:pt x="50305" y="92276"/>
                    </a:lnTo>
                    <a:lnTo>
                      <a:pt x="56214" y="93034"/>
                    </a:lnTo>
                    <a:lnTo>
                      <a:pt x="62275" y="93791"/>
                    </a:lnTo>
                    <a:lnTo>
                      <a:pt x="68336" y="94549"/>
                    </a:lnTo>
                    <a:lnTo>
                      <a:pt x="74245" y="95306"/>
                    </a:lnTo>
                    <a:lnTo>
                      <a:pt x="79700" y="96064"/>
                    </a:lnTo>
                    <a:lnTo>
                      <a:pt x="84700" y="96670"/>
                    </a:lnTo>
                    <a:lnTo>
                      <a:pt x="88943" y="97276"/>
                    </a:lnTo>
                    <a:lnTo>
                      <a:pt x="92125" y="97731"/>
                    </a:lnTo>
                    <a:lnTo>
                      <a:pt x="94246" y="98034"/>
                    </a:lnTo>
                    <a:lnTo>
                      <a:pt x="95003" y="98185"/>
                    </a:lnTo>
                    <a:lnTo>
                      <a:pt x="97125" y="98488"/>
                    </a:lnTo>
                    <a:lnTo>
                      <a:pt x="97579" y="98488"/>
                    </a:lnTo>
                    <a:lnTo>
                      <a:pt x="99398" y="96216"/>
                    </a:lnTo>
                    <a:lnTo>
                      <a:pt x="99549" y="91973"/>
                    </a:lnTo>
                    <a:lnTo>
                      <a:pt x="99549" y="89852"/>
                    </a:lnTo>
                    <a:lnTo>
                      <a:pt x="99701" y="86670"/>
                    </a:lnTo>
                    <a:lnTo>
                      <a:pt x="101670" y="82276"/>
                    </a:lnTo>
                    <a:lnTo>
                      <a:pt x="103943" y="76669"/>
                    </a:lnTo>
                    <a:lnTo>
                      <a:pt x="105610" y="72881"/>
                    </a:lnTo>
                    <a:lnTo>
                      <a:pt x="106974" y="69548"/>
                    </a:lnTo>
                    <a:lnTo>
                      <a:pt x="108186" y="66972"/>
                    </a:lnTo>
                    <a:lnTo>
                      <a:pt x="108792" y="64245"/>
                    </a:lnTo>
                    <a:lnTo>
                      <a:pt x="108489" y="62275"/>
                    </a:lnTo>
                    <a:lnTo>
                      <a:pt x="107732" y="61517"/>
                    </a:lnTo>
                    <a:lnTo>
                      <a:pt x="107125" y="60608"/>
                    </a:lnTo>
                    <a:lnTo>
                      <a:pt x="109246" y="59093"/>
                    </a:lnTo>
                    <a:lnTo>
                      <a:pt x="113338" y="58184"/>
                    </a:lnTo>
                    <a:lnTo>
                      <a:pt x="115610" y="58336"/>
                    </a:lnTo>
                    <a:lnTo>
                      <a:pt x="118792" y="57578"/>
                    </a:lnTo>
                    <a:lnTo>
                      <a:pt x="121217" y="56972"/>
                    </a:lnTo>
                    <a:lnTo>
                      <a:pt x="121368" y="56063"/>
                    </a:lnTo>
                    <a:lnTo>
                      <a:pt x="120610" y="54699"/>
                    </a:lnTo>
                    <a:lnTo>
                      <a:pt x="119550" y="52578"/>
                    </a:lnTo>
                    <a:lnTo>
                      <a:pt x="116065" y="52426"/>
                    </a:lnTo>
                    <a:lnTo>
                      <a:pt x="115004" y="51820"/>
                    </a:lnTo>
                    <a:lnTo>
                      <a:pt x="116217" y="48790"/>
                    </a:lnTo>
                    <a:lnTo>
                      <a:pt x="116217" y="47881"/>
                    </a:lnTo>
                    <a:lnTo>
                      <a:pt x="115762" y="46668"/>
                    </a:lnTo>
                    <a:lnTo>
                      <a:pt x="115308" y="44699"/>
                    </a:lnTo>
                    <a:lnTo>
                      <a:pt x="115610" y="42123"/>
                    </a:lnTo>
                    <a:lnTo>
                      <a:pt x="116368" y="40456"/>
                    </a:lnTo>
                    <a:lnTo>
                      <a:pt x="116368" y="39092"/>
                    </a:lnTo>
                    <a:lnTo>
                      <a:pt x="116065" y="36213"/>
                    </a:lnTo>
                    <a:lnTo>
                      <a:pt x="116217" y="33638"/>
                    </a:lnTo>
                    <a:lnTo>
                      <a:pt x="116974" y="32425"/>
                    </a:lnTo>
                    <a:lnTo>
                      <a:pt x="118338" y="31213"/>
                    </a:lnTo>
                    <a:lnTo>
                      <a:pt x="119550" y="30607"/>
                    </a:lnTo>
                    <a:lnTo>
                      <a:pt x="120914" y="30607"/>
                    </a:lnTo>
                    <a:lnTo>
                      <a:pt x="121975" y="31062"/>
                    </a:lnTo>
                    <a:lnTo>
                      <a:pt x="122429" y="32425"/>
                    </a:lnTo>
                    <a:lnTo>
                      <a:pt x="122126" y="33335"/>
                    </a:lnTo>
                    <a:lnTo>
                      <a:pt x="121368" y="33486"/>
                    </a:lnTo>
                    <a:lnTo>
                      <a:pt x="121065" y="33941"/>
                    </a:lnTo>
                    <a:lnTo>
                      <a:pt x="122126" y="35759"/>
                    </a:lnTo>
                    <a:lnTo>
                      <a:pt x="123641" y="37426"/>
                    </a:lnTo>
                    <a:lnTo>
                      <a:pt x="124853" y="37123"/>
                    </a:lnTo>
                    <a:lnTo>
                      <a:pt x="126217" y="35759"/>
                    </a:lnTo>
                    <a:lnTo>
                      <a:pt x="127581" y="34698"/>
                    </a:lnTo>
                    <a:lnTo>
                      <a:pt x="129247" y="33789"/>
                    </a:lnTo>
                    <a:lnTo>
                      <a:pt x="130460" y="31971"/>
                    </a:lnTo>
                    <a:lnTo>
                      <a:pt x="131520" y="30759"/>
                    </a:lnTo>
                    <a:lnTo>
                      <a:pt x="132429" y="30607"/>
                    </a:lnTo>
                    <a:lnTo>
                      <a:pt x="131217" y="31062"/>
                    </a:lnTo>
                    <a:close/>
                    <a:moveTo>
                      <a:pt x="128793" y="24849"/>
                    </a:moveTo>
                    <a:lnTo>
                      <a:pt x="127581" y="25607"/>
                    </a:lnTo>
                    <a:lnTo>
                      <a:pt x="126823" y="25455"/>
                    </a:lnTo>
                    <a:lnTo>
                      <a:pt x="126974" y="23940"/>
                    </a:lnTo>
                    <a:lnTo>
                      <a:pt x="127429" y="22880"/>
                    </a:lnTo>
                    <a:lnTo>
                      <a:pt x="128641" y="23031"/>
                    </a:lnTo>
                    <a:lnTo>
                      <a:pt x="128944" y="23637"/>
                    </a:lnTo>
                    <a:lnTo>
                      <a:pt x="128793" y="24849"/>
                    </a:lnTo>
                    <a:close/>
                    <a:moveTo>
                      <a:pt x="28486" y="52275"/>
                    </a:moveTo>
                    <a:lnTo>
                      <a:pt x="29547" y="51062"/>
                    </a:lnTo>
                    <a:lnTo>
                      <a:pt x="28789" y="49850"/>
                    </a:lnTo>
                    <a:lnTo>
                      <a:pt x="27577" y="50608"/>
                    </a:lnTo>
                    <a:lnTo>
                      <a:pt x="27577" y="51062"/>
                    </a:lnTo>
                    <a:lnTo>
                      <a:pt x="28031" y="52578"/>
                    </a:lnTo>
                    <a:lnTo>
                      <a:pt x="28486" y="522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5" name="Freeform: Shape 3354">
                <a:extLst>
                  <a:ext uri="{FF2B5EF4-FFF2-40B4-BE49-F238E27FC236}">
                    <a16:creationId xmlns:a16="http://schemas.microsoft.com/office/drawing/2014/main" id="{4F8EC0CE-5E13-45C8-A3AF-CC3E4146C8F2}"/>
                  </a:ext>
                </a:extLst>
              </p:cNvPr>
              <p:cNvSpPr/>
              <p:nvPr/>
            </p:nvSpPr>
            <p:spPr>
              <a:xfrm>
                <a:off x="5815838" y="3325887"/>
                <a:ext cx="8939" cy="6818"/>
              </a:xfrm>
              <a:custGeom>
                <a:avLst/>
                <a:gdLst>
                  <a:gd name="connsiteX0" fmla="*/ 8940 w 8939"/>
                  <a:gd name="connsiteY0" fmla="*/ 2273 h 6818"/>
                  <a:gd name="connsiteX1" fmla="*/ 8182 w 8939"/>
                  <a:gd name="connsiteY1" fmla="*/ 1212 h 6818"/>
                  <a:gd name="connsiteX2" fmla="*/ 4243 w 8939"/>
                  <a:gd name="connsiteY2" fmla="*/ 303 h 6818"/>
                  <a:gd name="connsiteX3" fmla="*/ 2424 w 8939"/>
                  <a:gd name="connsiteY3" fmla="*/ 0 h 6818"/>
                  <a:gd name="connsiteX4" fmla="*/ 1212 w 8939"/>
                  <a:gd name="connsiteY4" fmla="*/ 758 h 6818"/>
                  <a:gd name="connsiteX5" fmla="*/ 455 w 8939"/>
                  <a:gd name="connsiteY5" fmla="*/ 1515 h 6818"/>
                  <a:gd name="connsiteX6" fmla="*/ 0 w 8939"/>
                  <a:gd name="connsiteY6" fmla="*/ 3182 h 6818"/>
                  <a:gd name="connsiteX7" fmla="*/ 303 w 8939"/>
                  <a:gd name="connsiteY7" fmla="*/ 3788 h 6818"/>
                  <a:gd name="connsiteX8" fmla="*/ 455 w 8939"/>
                  <a:gd name="connsiteY8" fmla="*/ 4849 h 6818"/>
                  <a:gd name="connsiteX9" fmla="*/ 455 w 8939"/>
                  <a:gd name="connsiteY9" fmla="*/ 6061 h 6818"/>
                  <a:gd name="connsiteX10" fmla="*/ 1060 w 8939"/>
                  <a:gd name="connsiteY10" fmla="*/ 6819 h 6818"/>
                  <a:gd name="connsiteX11" fmla="*/ 1970 w 8939"/>
                  <a:gd name="connsiteY11" fmla="*/ 6819 h 6818"/>
                  <a:gd name="connsiteX12" fmla="*/ 3333 w 8939"/>
                  <a:gd name="connsiteY12" fmla="*/ 6667 h 6818"/>
                  <a:gd name="connsiteX13" fmla="*/ 4697 w 8939"/>
                  <a:gd name="connsiteY13" fmla="*/ 6212 h 6818"/>
                  <a:gd name="connsiteX14" fmla="*/ 7273 w 8939"/>
                  <a:gd name="connsiteY14" fmla="*/ 4849 h 6818"/>
                  <a:gd name="connsiteX15" fmla="*/ 8031 w 8939"/>
                  <a:gd name="connsiteY15" fmla="*/ 4546 h 6818"/>
                  <a:gd name="connsiteX16" fmla="*/ 8182 w 8939"/>
                  <a:gd name="connsiteY16" fmla="*/ 3940 h 6818"/>
                  <a:gd name="connsiteX17" fmla="*/ 8940 w 8939"/>
                  <a:gd name="connsiteY17" fmla="*/ 2879 h 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39" h="6818">
                    <a:moveTo>
                      <a:pt x="8940" y="2273"/>
                    </a:moveTo>
                    <a:lnTo>
                      <a:pt x="8182" y="1212"/>
                    </a:lnTo>
                    <a:lnTo>
                      <a:pt x="4243" y="303"/>
                    </a:lnTo>
                    <a:lnTo>
                      <a:pt x="2424" y="0"/>
                    </a:lnTo>
                    <a:lnTo>
                      <a:pt x="1212" y="758"/>
                    </a:lnTo>
                    <a:lnTo>
                      <a:pt x="455" y="1515"/>
                    </a:lnTo>
                    <a:lnTo>
                      <a:pt x="0" y="3182"/>
                    </a:lnTo>
                    <a:lnTo>
                      <a:pt x="303" y="3788"/>
                    </a:lnTo>
                    <a:lnTo>
                      <a:pt x="455" y="4849"/>
                    </a:lnTo>
                    <a:lnTo>
                      <a:pt x="455" y="6061"/>
                    </a:lnTo>
                    <a:lnTo>
                      <a:pt x="1060" y="6819"/>
                    </a:lnTo>
                    <a:lnTo>
                      <a:pt x="1970" y="6819"/>
                    </a:lnTo>
                    <a:lnTo>
                      <a:pt x="3333" y="6667"/>
                    </a:lnTo>
                    <a:lnTo>
                      <a:pt x="4697" y="6212"/>
                    </a:lnTo>
                    <a:lnTo>
                      <a:pt x="7273" y="4849"/>
                    </a:lnTo>
                    <a:lnTo>
                      <a:pt x="8031" y="4546"/>
                    </a:lnTo>
                    <a:lnTo>
                      <a:pt x="8182" y="3940"/>
                    </a:lnTo>
                    <a:lnTo>
                      <a:pt x="8940" y="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445" name="Rectangle 444">
              <a:extLst>
                <a:ext uri="{FF2B5EF4-FFF2-40B4-BE49-F238E27FC236}">
                  <a16:creationId xmlns:a16="http://schemas.microsoft.com/office/drawing/2014/main" id="{7AFE2D22-2150-4DE0-A841-4BEECFDFDEFD}"/>
                </a:ext>
              </a:extLst>
            </p:cNvPr>
            <p:cNvSpPr/>
            <p:nvPr/>
          </p:nvSpPr>
          <p:spPr bwMode="auto">
            <a:xfrm>
              <a:off x="3716867" y="0"/>
              <a:ext cx="8475133" cy="6858000"/>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44" name="Group 443">
              <a:extLst>
                <a:ext uri="{FF2B5EF4-FFF2-40B4-BE49-F238E27FC236}">
                  <a16:creationId xmlns:a16="http://schemas.microsoft.com/office/drawing/2014/main" id="{7B900D26-5C49-4C97-8E65-53C2D76E901A}"/>
                </a:ext>
              </a:extLst>
            </p:cNvPr>
            <p:cNvGrpSpPr/>
            <p:nvPr/>
          </p:nvGrpSpPr>
          <p:grpSpPr>
            <a:xfrm>
              <a:off x="3941436" y="1852263"/>
              <a:ext cx="8251225" cy="4385997"/>
              <a:chOff x="3941436" y="1852263"/>
              <a:chExt cx="8251225" cy="4385997"/>
            </a:xfrm>
          </p:grpSpPr>
          <p:sp>
            <p:nvSpPr>
              <p:cNvPr id="347" name="Oval 346">
                <a:extLst>
                  <a:ext uri="{FF2B5EF4-FFF2-40B4-BE49-F238E27FC236}">
                    <a16:creationId xmlns:a16="http://schemas.microsoft.com/office/drawing/2014/main" id="{D67C9313-7E70-4362-9086-FDD3BF4F0D11}"/>
                  </a:ext>
                </a:extLst>
              </p:cNvPr>
              <p:cNvSpPr/>
              <p:nvPr/>
            </p:nvSpPr>
            <p:spPr bwMode="auto">
              <a:xfrm>
                <a:off x="4076700" y="5942955"/>
                <a:ext cx="190500" cy="190500"/>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749AF079-EBBF-4594-95C5-1E3526965D8D}"/>
                  </a:ext>
                </a:extLst>
              </p:cNvPr>
              <p:cNvGrpSpPr/>
              <p:nvPr/>
            </p:nvGrpSpPr>
            <p:grpSpPr>
              <a:xfrm>
                <a:off x="4076700" y="5312442"/>
                <a:ext cx="1216284" cy="190500"/>
                <a:chOff x="4076700" y="5312442"/>
                <a:chExt cx="1216284" cy="190500"/>
              </a:xfrm>
            </p:grpSpPr>
            <p:sp>
              <p:nvSpPr>
                <p:cNvPr id="2" name="Oval 1">
                  <a:extLst>
                    <a:ext uri="{FF2B5EF4-FFF2-40B4-BE49-F238E27FC236}">
                      <a16:creationId xmlns:a16="http://schemas.microsoft.com/office/drawing/2014/main" id="{A9702F87-3759-4ACC-9852-48CF53264536}"/>
                    </a:ext>
                  </a:extLst>
                </p:cNvPr>
                <p:cNvSpPr/>
                <p:nvPr/>
              </p:nvSpPr>
              <p:spPr bwMode="auto">
                <a:xfrm>
                  <a:off x="4076700" y="5312442"/>
                  <a:ext cx="190500" cy="19050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48" name="TextBox 347">
                  <a:extLst>
                    <a:ext uri="{FF2B5EF4-FFF2-40B4-BE49-F238E27FC236}">
                      <a16:creationId xmlns:a16="http://schemas.microsoft.com/office/drawing/2014/main" id="{A7651369-E8F3-4F12-8888-C2FB1FB36541}"/>
                    </a:ext>
                  </a:extLst>
                </p:cNvPr>
                <p:cNvSpPr txBox="1"/>
                <p:nvPr/>
              </p:nvSpPr>
              <p:spPr>
                <a:xfrm>
                  <a:off x="4360600" y="5330748"/>
                  <a:ext cx="932384" cy="1384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vailable region</a:t>
                  </a:r>
                </a:p>
              </p:txBody>
            </p:sp>
          </p:grpSp>
          <p:grpSp>
            <p:nvGrpSpPr>
              <p:cNvPr id="9" name="Group 8">
                <a:extLst>
                  <a:ext uri="{FF2B5EF4-FFF2-40B4-BE49-F238E27FC236}">
                    <a16:creationId xmlns:a16="http://schemas.microsoft.com/office/drawing/2014/main" id="{2B3D2AD4-1595-4647-8E22-63B3CD95D341}"/>
                  </a:ext>
                </a:extLst>
              </p:cNvPr>
              <p:cNvGrpSpPr/>
              <p:nvPr/>
            </p:nvGrpSpPr>
            <p:grpSpPr>
              <a:xfrm>
                <a:off x="4076700" y="5627969"/>
                <a:ext cx="1412204" cy="190500"/>
                <a:chOff x="4076700" y="5627969"/>
                <a:chExt cx="1412204" cy="190500"/>
              </a:xfrm>
            </p:grpSpPr>
            <p:sp>
              <p:nvSpPr>
                <p:cNvPr id="346" name="Oval 345">
                  <a:extLst>
                    <a:ext uri="{FF2B5EF4-FFF2-40B4-BE49-F238E27FC236}">
                      <a16:creationId xmlns:a16="http://schemas.microsoft.com/office/drawing/2014/main" id="{6D6A0856-4901-4D40-BCCD-256A8E38A610}"/>
                    </a:ext>
                  </a:extLst>
                </p:cNvPr>
                <p:cNvSpPr/>
                <p:nvPr/>
              </p:nvSpPr>
              <p:spPr bwMode="auto">
                <a:xfrm>
                  <a:off x="4076700" y="5627969"/>
                  <a:ext cx="190500" cy="190500"/>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349" name="TextBox 348">
                  <a:extLst>
                    <a:ext uri="{FF2B5EF4-FFF2-40B4-BE49-F238E27FC236}">
                      <a16:creationId xmlns:a16="http://schemas.microsoft.com/office/drawing/2014/main" id="{5B2C7AC3-A793-421B-99DD-EF9C2297C175}"/>
                    </a:ext>
                  </a:extLst>
                </p:cNvPr>
                <p:cNvSpPr txBox="1"/>
                <p:nvPr/>
              </p:nvSpPr>
              <p:spPr>
                <a:xfrm>
                  <a:off x="4360599" y="5646275"/>
                  <a:ext cx="1128305" cy="1384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nnounced region</a:t>
                  </a:r>
                </a:p>
              </p:txBody>
            </p:sp>
          </p:grpSp>
          <p:sp>
            <p:nvSpPr>
              <p:cNvPr id="350" name="TextBox 349">
                <a:extLst>
                  <a:ext uri="{FF2B5EF4-FFF2-40B4-BE49-F238E27FC236}">
                    <a16:creationId xmlns:a16="http://schemas.microsoft.com/office/drawing/2014/main" id="{DE2472B1-3D14-4827-BE61-EDA44416CAC1}"/>
                  </a:ext>
                </a:extLst>
              </p:cNvPr>
              <p:cNvSpPr txBox="1"/>
              <p:nvPr/>
            </p:nvSpPr>
            <p:spPr>
              <a:xfrm>
                <a:off x="4360599" y="5961261"/>
                <a:ext cx="1128305" cy="2769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vailability Zone(s) present</a:t>
                </a:r>
              </a:p>
            </p:txBody>
          </p:sp>
          <p:grpSp>
            <p:nvGrpSpPr>
              <p:cNvPr id="3360" name="Group 3359">
                <a:extLst>
                  <a:ext uri="{FF2B5EF4-FFF2-40B4-BE49-F238E27FC236}">
                    <a16:creationId xmlns:a16="http://schemas.microsoft.com/office/drawing/2014/main" id="{7C564011-5B8A-4CF4-AFB9-2D317B24AD68}"/>
                  </a:ext>
                </a:extLst>
              </p:cNvPr>
              <p:cNvGrpSpPr/>
              <p:nvPr/>
            </p:nvGrpSpPr>
            <p:grpSpPr>
              <a:xfrm>
                <a:off x="5925139" y="3221901"/>
                <a:ext cx="157538" cy="157538"/>
                <a:chOff x="4220586" y="3650470"/>
                <a:chExt cx="157538" cy="157538"/>
              </a:xfrm>
            </p:grpSpPr>
            <p:sp>
              <p:nvSpPr>
                <p:cNvPr id="3357" name="Oval 3356">
                  <a:extLst>
                    <a:ext uri="{FF2B5EF4-FFF2-40B4-BE49-F238E27FC236}">
                      <a16:creationId xmlns:a16="http://schemas.microsoft.com/office/drawing/2014/main" id="{9AE81FE9-126F-4724-8E2E-BB61644F07BC}"/>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356" name="Oval 3355">
                  <a:extLst>
                    <a:ext uri="{FF2B5EF4-FFF2-40B4-BE49-F238E27FC236}">
                      <a16:creationId xmlns:a16="http://schemas.microsoft.com/office/drawing/2014/main" id="{EA1B33C2-59E9-489B-AE64-776D840514FB}"/>
                    </a:ext>
                  </a:extLst>
                </p:cNvPr>
                <p:cNvSpPr/>
                <p:nvPr/>
              </p:nvSpPr>
              <p:spPr bwMode="auto">
                <a:xfrm>
                  <a:off x="4275237" y="3705121"/>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358" name="Oval 357">
                  <a:extLst>
                    <a:ext uri="{FF2B5EF4-FFF2-40B4-BE49-F238E27FC236}">
                      <a16:creationId xmlns:a16="http://schemas.microsoft.com/office/drawing/2014/main" id="{BDD4149E-CFAB-4493-BDEF-5C84A49860C8}"/>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0" name="Oval 359">
                  <a:extLst>
                    <a:ext uri="{FF2B5EF4-FFF2-40B4-BE49-F238E27FC236}">
                      <a16:creationId xmlns:a16="http://schemas.microsoft.com/office/drawing/2014/main" id="{7F111EDA-252F-431C-ABFB-F31FC85CF550}"/>
                    </a:ext>
                  </a:extLst>
                </p:cNvPr>
                <p:cNvSpPr/>
                <p:nvPr/>
              </p:nvSpPr>
              <p:spPr bwMode="auto">
                <a:xfrm>
                  <a:off x="4220586" y="3650470"/>
                  <a:ext cx="157538" cy="157538"/>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64" name="Group 363">
                <a:extLst>
                  <a:ext uri="{FF2B5EF4-FFF2-40B4-BE49-F238E27FC236}">
                    <a16:creationId xmlns:a16="http://schemas.microsoft.com/office/drawing/2014/main" id="{500A2D3B-D544-4F08-9FF0-F9DC7913D160}"/>
                  </a:ext>
                </a:extLst>
              </p:cNvPr>
              <p:cNvGrpSpPr/>
              <p:nvPr/>
            </p:nvGrpSpPr>
            <p:grpSpPr>
              <a:xfrm>
                <a:off x="5655887" y="2889137"/>
                <a:ext cx="117026" cy="117026"/>
                <a:chOff x="4240842" y="3670726"/>
                <a:chExt cx="117026" cy="117026"/>
              </a:xfrm>
            </p:grpSpPr>
            <p:sp>
              <p:nvSpPr>
                <p:cNvPr id="365" name="Oval 364">
                  <a:extLst>
                    <a:ext uri="{FF2B5EF4-FFF2-40B4-BE49-F238E27FC236}">
                      <a16:creationId xmlns:a16="http://schemas.microsoft.com/office/drawing/2014/main" id="{5F7C8A46-DADD-42B3-B696-F30F45D12C64}"/>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6" name="Oval 365">
                  <a:extLst>
                    <a:ext uri="{FF2B5EF4-FFF2-40B4-BE49-F238E27FC236}">
                      <a16:creationId xmlns:a16="http://schemas.microsoft.com/office/drawing/2014/main" id="{E9EC41FE-61BF-4F9B-A0D2-E467EE804EA3}"/>
                    </a:ext>
                  </a:extLst>
                </p:cNvPr>
                <p:cNvSpPr/>
                <p:nvPr/>
              </p:nvSpPr>
              <p:spPr bwMode="auto">
                <a:xfrm>
                  <a:off x="4275237" y="3705121"/>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367" name="Oval 366">
                  <a:extLst>
                    <a:ext uri="{FF2B5EF4-FFF2-40B4-BE49-F238E27FC236}">
                      <a16:creationId xmlns:a16="http://schemas.microsoft.com/office/drawing/2014/main" id="{664151F5-A9FA-43F2-908A-52A367C81D11}"/>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363" name="Group 3362">
                <a:extLst>
                  <a:ext uri="{FF2B5EF4-FFF2-40B4-BE49-F238E27FC236}">
                    <a16:creationId xmlns:a16="http://schemas.microsoft.com/office/drawing/2014/main" id="{B5DA42F7-35A6-4849-92FD-0DD4B10F2E6E}"/>
                  </a:ext>
                </a:extLst>
              </p:cNvPr>
              <p:cNvGrpSpPr/>
              <p:nvPr/>
            </p:nvGrpSpPr>
            <p:grpSpPr>
              <a:xfrm>
                <a:off x="5066306" y="2909100"/>
                <a:ext cx="82086" cy="82086"/>
                <a:chOff x="5066306" y="2909100"/>
                <a:chExt cx="82086" cy="82086"/>
              </a:xfrm>
            </p:grpSpPr>
            <p:sp>
              <p:nvSpPr>
                <p:cNvPr id="370" name="Oval 369">
                  <a:extLst>
                    <a:ext uri="{FF2B5EF4-FFF2-40B4-BE49-F238E27FC236}">
                      <a16:creationId xmlns:a16="http://schemas.microsoft.com/office/drawing/2014/main" id="{A1AD72B6-B8F3-43EE-82AE-841CFDC6E041}"/>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1" name="Oval 370">
                  <a:extLst>
                    <a:ext uri="{FF2B5EF4-FFF2-40B4-BE49-F238E27FC236}">
                      <a16:creationId xmlns:a16="http://schemas.microsoft.com/office/drawing/2014/main" id="{D869A383-E97C-46F3-9492-90B3E7DE11C1}"/>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74" name="Group 373">
                <a:extLst>
                  <a:ext uri="{FF2B5EF4-FFF2-40B4-BE49-F238E27FC236}">
                    <a16:creationId xmlns:a16="http://schemas.microsoft.com/office/drawing/2014/main" id="{2A6D15B8-AFA8-42F7-8ABF-65EFFDBFDDFF}"/>
                  </a:ext>
                </a:extLst>
              </p:cNvPr>
              <p:cNvGrpSpPr/>
              <p:nvPr/>
            </p:nvGrpSpPr>
            <p:grpSpPr>
              <a:xfrm>
                <a:off x="7625169" y="2705410"/>
                <a:ext cx="82086" cy="82086"/>
                <a:chOff x="5066306" y="2909100"/>
                <a:chExt cx="82086" cy="82086"/>
              </a:xfrm>
            </p:grpSpPr>
            <p:sp>
              <p:nvSpPr>
                <p:cNvPr id="375" name="Oval 374">
                  <a:extLst>
                    <a:ext uri="{FF2B5EF4-FFF2-40B4-BE49-F238E27FC236}">
                      <a16:creationId xmlns:a16="http://schemas.microsoft.com/office/drawing/2014/main" id="{9327BC15-5E02-420A-A912-706AA9EA1797}"/>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6" name="Oval 375">
                  <a:extLst>
                    <a:ext uri="{FF2B5EF4-FFF2-40B4-BE49-F238E27FC236}">
                      <a16:creationId xmlns:a16="http://schemas.microsoft.com/office/drawing/2014/main" id="{933B9455-2E53-4E8A-AFEC-1DFAE150079B}"/>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77" name="Group 376">
                <a:extLst>
                  <a:ext uri="{FF2B5EF4-FFF2-40B4-BE49-F238E27FC236}">
                    <a16:creationId xmlns:a16="http://schemas.microsoft.com/office/drawing/2014/main" id="{93B3B4F4-BE00-4711-B1DC-E411DA0C7F46}"/>
                  </a:ext>
                </a:extLst>
              </p:cNvPr>
              <p:cNvGrpSpPr/>
              <p:nvPr/>
            </p:nvGrpSpPr>
            <p:grpSpPr>
              <a:xfrm>
                <a:off x="7868404" y="2934924"/>
                <a:ext cx="82086" cy="82086"/>
                <a:chOff x="5066306" y="2909100"/>
                <a:chExt cx="82086" cy="82086"/>
              </a:xfrm>
            </p:grpSpPr>
            <p:sp>
              <p:nvSpPr>
                <p:cNvPr id="378" name="Oval 377">
                  <a:extLst>
                    <a:ext uri="{FF2B5EF4-FFF2-40B4-BE49-F238E27FC236}">
                      <a16:creationId xmlns:a16="http://schemas.microsoft.com/office/drawing/2014/main" id="{124337B0-A88C-43AC-A4CD-9DE64077B0EA}"/>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9" name="Oval 378">
                  <a:extLst>
                    <a:ext uri="{FF2B5EF4-FFF2-40B4-BE49-F238E27FC236}">
                      <a16:creationId xmlns:a16="http://schemas.microsoft.com/office/drawing/2014/main" id="{2A0DEC3D-4F91-434F-A73A-55B46C10DD4D}"/>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362" name="Group 3361">
                <a:extLst>
                  <a:ext uri="{FF2B5EF4-FFF2-40B4-BE49-F238E27FC236}">
                    <a16:creationId xmlns:a16="http://schemas.microsoft.com/office/drawing/2014/main" id="{EFFA4F05-C3FC-4DC7-B6C6-067EC4DB9802}"/>
                  </a:ext>
                </a:extLst>
              </p:cNvPr>
              <p:cNvGrpSpPr/>
              <p:nvPr/>
            </p:nvGrpSpPr>
            <p:grpSpPr>
              <a:xfrm>
                <a:off x="7984170" y="2727110"/>
                <a:ext cx="82086" cy="82086"/>
                <a:chOff x="7984170" y="2727110"/>
                <a:chExt cx="82086" cy="82086"/>
              </a:xfrm>
            </p:grpSpPr>
            <p:sp>
              <p:nvSpPr>
                <p:cNvPr id="381" name="Oval 380">
                  <a:extLst>
                    <a:ext uri="{FF2B5EF4-FFF2-40B4-BE49-F238E27FC236}">
                      <a16:creationId xmlns:a16="http://schemas.microsoft.com/office/drawing/2014/main" id="{6AE26D6B-3D06-444D-B42F-71D0744567E6}"/>
                    </a:ext>
                  </a:extLst>
                </p:cNvPr>
                <p:cNvSpPr/>
                <p:nvPr/>
              </p:nvSpPr>
              <p:spPr bwMode="auto">
                <a:xfrm>
                  <a:off x="7984170" y="272711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2" name="Oval 381">
                  <a:extLst>
                    <a:ext uri="{FF2B5EF4-FFF2-40B4-BE49-F238E27FC236}">
                      <a16:creationId xmlns:a16="http://schemas.microsoft.com/office/drawing/2014/main" id="{423A3CA4-9299-47CF-837D-CEF45271B6BE}"/>
                    </a:ext>
                  </a:extLst>
                </p:cNvPr>
                <p:cNvSpPr/>
                <p:nvPr/>
              </p:nvSpPr>
              <p:spPr bwMode="auto">
                <a:xfrm>
                  <a:off x="8001095" y="274403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84" name="Group 383">
                <a:extLst>
                  <a:ext uri="{FF2B5EF4-FFF2-40B4-BE49-F238E27FC236}">
                    <a16:creationId xmlns:a16="http://schemas.microsoft.com/office/drawing/2014/main" id="{7DDABA3D-CC4E-4E06-AF97-B6F2EA9C3FFF}"/>
                  </a:ext>
                </a:extLst>
              </p:cNvPr>
              <p:cNvGrpSpPr/>
              <p:nvPr/>
            </p:nvGrpSpPr>
            <p:grpSpPr>
              <a:xfrm>
                <a:off x="10079096" y="3907938"/>
                <a:ext cx="82086" cy="82086"/>
                <a:chOff x="7984170" y="2727110"/>
                <a:chExt cx="82086" cy="82086"/>
              </a:xfrm>
            </p:grpSpPr>
            <p:sp>
              <p:nvSpPr>
                <p:cNvPr id="385" name="Oval 384">
                  <a:extLst>
                    <a:ext uri="{FF2B5EF4-FFF2-40B4-BE49-F238E27FC236}">
                      <a16:creationId xmlns:a16="http://schemas.microsoft.com/office/drawing/2014/main" id="{05D3B1E9-BD87-41B8-A4C5-B96319BAEA6F}"/>
                    </a:ext>
                  </a:extLst>
                </p:cNvPr>
                <p:cNvSpPr/>
                <p:nvPr/>
              </p:nvSpPr>
              <p:spPr bwMode="auto">
                <a:xfrm>
                  <a:off x="7984170" y="272711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6" name="Oval 385">
                  <a:extLst>
                    <a:ext uri="{FF2B5EF4-FFF2-40B4-BE49-F238E27FC236}">
                      <a16:creationId xmlns:a16="http://schemas.microsoft.com/office/drawing/2014/main" id="{E2D911E6-D18F-4ABF-BE11-FEEBB6FE672F}"/>
                    </a:ext>
                  </a:extLst>
                </p:cNvPr>
                <p:cNvSpPr/>
                <p:nvPr/>
              </p:nvSpPr>
              <p:spPr bwMode="auto">
                <a:xfrm>
                  <a:off x="8001095" y="274403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sp>
            <p:nvSpPr>
              <p:cNvPr id="389" name="Oval 388">
                <a:extLst>
                  <a:ext uri="{FF2B5EF4-FFF2-40B4-BE49-F238E27FC236}">
                    <a16:creationId xmlns:a16="http://schemas.microsoft.com/office/drawing/2014/main" id="{C75FBDCD-7FFC-4DC8-B63C-A60C75A34867}"/>
                  </a:ext>
                </a:extLst>
              </p:cNvPr>
              <p:cNvSpPr/>
              <p:nvPr/>
            </p:nvSpPr>
            <p:spPr bwMode="auto">
              <a:xfrm>
                <a:off x="5090424" y="3043771"/>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1" name="Oval 390">
                <a:extLst>
                  <a:ext uri="{FF2B5EF4-FFF2-40B4-BE49-F238E27FC236}">
                    <a16:creationId xmlns:a16="http://schemas.microsoft.com/office/drawing/2014/main" id="{5AAA74CE-5230-45C5-B518-0673B58792AC}"/>
                  </a:ext>
                </a:extLst>
              </p:cNvPr>
              <p:cNvSpPr/>
              <p:nvPr/>
            </p:nvSpPr>
            <p:spPr bwMode="auto">
              <a:xfrm>
                <a:off x="5494489" y="3275127"/>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2" name="Oval 391">
                <a:extLst>
                  <a:ext uri="{FF2B5EF4-FFF2-40B4-BE49-F238E27FC236}">
                    <a16:creationId xmlns:a16="http://schemas.microsoft.com/office/drawing/2014/main" id="{93E6CF67-F107-4B7C-995B-86BD39118B01}"/>
                  </a:ext>
                </a:extLst>
              </p:cNvPr>
              <p:cNvSpPr/>
              <p:nvPr/>
            </p:nvSpPr>
            <p:spPr bwMode="auto">
              <a:xfrm>
                <a:off x="5662430" y="3335975"/>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3" name="Oval 392">
                <a:extLst>
                  <a:ext uri="{FF2B5EF4-FFF2-40B4-BE49-F238E27FC236}">
                    <a16:creationId xmlns:a16="http://schemas.microsoft.com/office/drawing/2014/main" id="{D6608FEC-1F8F-42E4-BA22-78C9D280E923}"/>
                  </a:ext>
                </a:extLst>
              </p:cNvPr>
              <p:cNvSpPr/>
              <p:nvPr/>
            </p:nvSpPr>
            <p:spPr bwMode="auto">
              <a:xfrm>
                <a:off x="5214981" y="320733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4" name="Oval 393">
                <a:extLst>
                  <a:ext uri="{FF2B5EF4-FFF2-40B4-BE49-F238E27FC236}">
                    <a16:creationId xmlns:a16="http://schemas.microsoft.com/office/drawing/2014/main" id="{70221FB2-1E32-4231-8DD3-567FADE5FBDC}"/>
                  </a:ext>
                </a:extLst>
              </p:cNvPr>
              <p:cNvSpPr/>
              <p:nvPr/>
            </p:nvSpPr>
            <p:spPr bwMode="auto">
              <a:xfrm>
                <a:off x="5308800" y="2956137"/>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5" name="Oval 394">
                <a:extLst>
                  <a:ext uri="{FF2B5EF4-FFF2-40B4-BE49-F238E27FC236}">
                    <a16:creationId xmlns:a16="http://schemas.microsoft.com/office/drawing/2014/main" id="{CAC66261-6503-48FC-A9A0-210D17E534B5}"/>
                  </a:ext>
                </a:extLst>
              </p:cNvPr>
              <p:cNvSpPr/>
              <p:nvPr/>
            </p:nvSpPr>
            <p:spPr bwMode="auto">
              <a:xfrm>
                <a:off x="5788704" y="300520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6" name="Oval 395">
                <a:extLst>
                  <a:ext uri="{FF2B5EF4-FFF2-40B4-BE49-F238E27FC236}">
                    <a16:creationId xmlns:a16="http://schemas.microsoft.com/office/drawing/2014/main" id="{DD4F58BA-2C0E-492E-B787-EB68C63EDE5E}"/>
                  </a:ext>
                </a:extLst>
              </p:cNvPr>
              <p:cNvSpPr/>
              <p:nvPr/>
            </p:nvSpPr>
            <p:spPr bwMode="auto">
              <a:xfrm>
                <a:off x="5653850" y="305912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7" name="Oval 396">
                <a:extLst>
                  <a:ext uri="{FF2B5EF4-FFF2-40B4-BE49-F238E27FC236}">
                    <a16:creationId xmlns:a16="http://schemas.microsoft.com/office/drawing/2014/main" id="{072B3878-0F9F-4102-8759-EF8B1A333165}"/>
                  </a:ext>
                </a:extLst>
              </p:cNvPr>
              <p:cNvSpPr/>
              <p:nvPr/>
            </p:nvSpPr>
            <p:spPr bwMode="auto">
              <a:xfrm>
                <a:off x="6064684" y="3120614"/>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8" name="Oval 397">
                <a:extLst>
                  <a:ext uri="{FF2B5EF4-FFF2-40B4-BE49-F238E27FC236}">
                    <a16:creationId xmlns:a16="http://schemas.microsoft.com/office/drawing/2014/main" id="{305CB29C-FED9-4405-82C5-AB8477D1C418}"/>
                  </a:ext>
                </a:extLst>
              </p:cNvPr>
              <p:cNvSpPr/>
              <p:nvPr/>
            </p:nvSpPr>
            <p:spPr bwMode="auto">
              <a:xfrm>
                <a:off x="6042220" y="294332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9" name="Oval 398">
                <a:extLst>
                  <a:ext uri="{FF2B5EF4-FFF2-40B4-BE49-F238E27FC236}">
                    <a16:creationId xmlns:a16="http://schemas.microsoft.com/office/drawing/2014/main" id="{EDB4668F-CF45-462F-868F-C684A16C49DC}"/>
                  </a:ext>
                </a:extLst>
              </p:cNvPr>
              <p:cNvSpPr/>
              <p:nvPr/>
            </p:nvSpPr>
            <p:spPr bwMode="auto">
              <a:xfrm>
                <a:off x="6321949" y="2778214"/>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0" name="Oval 399">
                <a:extLst>
                  <a:ext uri="{FF2B5EF4-FFF2-40B4-BE49-F238E27FC236}">
                    <a16:creationId xmlns:a16="http://schemas.microsoft.com/office/drawing/2014/main" id="{F12B4D6E-7D48-4DE2-898A-77AE2509FCBD}"/>
                  </a:ext>
                </a:extLst>
              </p:cNvPr>
              <p:cNvSpPr/>
              <p:nvPr/>
            </p:nvSpPr>
            <p:spPr bwMode="auto">
              <a:xfrm>
                <a:off x="6770881" y="450997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1" name="Oval 400">
                <a:extLst>
                  <a:ext uri="{FF2B5EF4-FFF2-40B4-BE49-F238E27FC236}">
                    <a16:creationId xmlns:a16="http://schemas.microsoft.com/office/drawing/2014/main" id="{5BB97E89-965E-4B2B-A0B4-980FB610CD33}"/>
                  </a:ext>
                </a:extLst>
              </p:cNvPr>
              <p:cNvSpPr/>
              <p:nvPr/>
            </p:nvSpPr>
            <p:spPr bwMode="auto">
              <a:xfrm>
                <a:off x="8215632" y="4783166"/>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2" name="Oval 401">
                <a:extLst>
                  <a:ext uri="{FF2B5EF4-FFF2-40B4-BE49-F238E27FC236}">
                    <a16:creationId xmlns:a16="http://schemas.microsoft.com/office/drawing/2014/main" id="{5E9A162D-4C9D-4F69-A453-A05E2509A843}"/>
                  </a:ext>
                </a:extLst>
              </p:cNvPr>
              <p:cNvSpPr/>
              <p:nvPr/>
            </p:nvSpPr>
            <p:spPr bwMode="auto">
              <a:xfrm>
                <a:off x="8450845" y="4549854"/>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3" name="Oval 402">
                <a:extLst>
                  <a:ext uri="{FF2B5EF4-FFF2-40B4-BE49-F238E27FC236}">
                    <a16:creationId xmlns:a16="http://schemas.microsoft.com/office/drawing/2014/main" id="{9EA93778-4686-45E3-AD17-10BF4CA5045A}"/>
                  </a:ext>
                </a:extLst>
              </p:cNvPr>
              <p:cNvSpPr/>
              <p:nvPr/>
            </p:nvSpPr>
            <p:spPr bwMode="auto">
              <a:xfrm>
                <a:off x="7713719" y="279402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4" name="Oval 403">
                <a:extLst>
                  <a:ext uri="{FF2B5EF4-FFF2-40B4-BE49-F238E27FC236}">
                    <a16:creationId xmlns:a16="http://schemas.microsoft.com/office/drawing/2014/main" id="{E1F136CC-E4A2-4F29-AC33-FF260ACE60F4}"/>
                  </a:ext>
                </a:extLst>
              </p:cNvPr>
              <p:cNvSpPr/>
              <p:nvPr/>
            </p:nvSpPr>
            <p:spPr bwMode="auto">
              <a:xfrm>
                <a:off x="7790434" y="272632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5" name="Oval 404">
                <a:extLst>
                  <a:ext uri="{FF2B5EF4-FFF2-40B4-BE49-F238E27FC236}">
                    <a16:creationId xmlns:a16="http://schemas.microsoft.com/office/drawing/2014/main" id="{28C4E0AF-3936-4FC8-AD35-43E191C9A9BB}"/>
                  </a:ext>
                </a:extLst>
              </p:cNvPr>
              <p:cNvSpPr/>
              <p:nvPr/>
            </p:nvSpPr>
            <p:spPr bwMode="auto">
              <a:xfrm>
                <a:off x="7940563" y="30047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6" name="Oval 405">
                <a:extLst>
                  <a:ext uri="{FF2B5EF4-FFF2-40B4-BE49-F238E27FC236}">
                    <a16:creationId xmlns:a16="http://schemas.microsoft.com/office/drawing/2014/main" id="{C0E35FF5-B5F9-4963-8C35-898D58B84AE9}"/>
                  </a:ext>
                </a:extLst>
              </p:cNvPr>
              <p:cNvSpPr/>
              <p:nvPr/>
            </p:nvSpPr>
            <p:spPr bwMode="auto">
              <a:xfrm>
                <a:off x="8017166" y="2914266"/>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7" name="Oval 406">
                <a:extLst>
                  <a:ext uri="{FF2B5EF4-FFF2-40B4-BE49-F238E27FC236}">
                    <a16:creationId xmlns:a16="http://schemas.microsoft.com/office/drawing/2014/main" id="{2D3C0605-E5B9-442F-8DA8-25CF9556D073}"/>
                  </a:ext>
                </a:extLst>
              </p:cNvPr>
              <p:cNvSpPr/>
              <p:nvPr/>
            </p:nvSpPr>
            <p:spPr bwMode="auto">
              <a:xfrm>
                <a:off x="8128606" y="2907251"/>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8" name="Oval 407">
                <a:extLst>
                  <a:ext uri="{FF2B5EF4-FFF2-40B4-BE49-F238E27FC236}">
                    <a16:creationId xmlns:a16="http://schemas.microsoft.com/office/drawing/2014/main" id="{7D37D433-971E-4E38-AE0E-2DA66148E26B}"/>
                  </a:ext>
                </a:extLst>
              </p:cNvPr>
              <p:cNvSpPr/>
              <p:nvPr/>
            </p:nvSpPr>
            <p:spPr bwMode="auto">
              <a:xfrm>
                <a:off x="8049218" y="281392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9" name="Oval 408">
                <a:extLst>
                  <a:ext uri="{FF2B5EF4-FFF2-40B4-BE49-F238E27FC236}">
                    <a16:creationId xmlns:a16="http://schemas.microsoft.com/office/drawing/2014/main" id="{36865D03-36C7-44DD-8B28-DAEEEF9D8963}"/>
                  </a:ext>
                </a:extLst>
              </p:cNvPr>
              <p:cNvSpPr/>
              <p:nvPr/>
            </p:nvSpPr>
            <p:spPr bwMode="auto">
              <a:xfrm>
                <a:off x="8170436" y="2796258"/>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0" name="Oval 409">
                <a:extLst>
                  <a:ext uri="{FF2B5EF4-FFF2-40B4-BE49-F238E27FC236}">
                    <a16:creationId xmlns:a16="http://schemas.microsoft.com/office/drawing/2014/main" id="{CE9CF66E-2893-491C-ADF0-EAEEE4835285}"/>
                  </a:ext>
                </a:extLst>
              </p:cNvPr>
              <p:cNvSpPr/>
              <p:nvPr/>
            </p:nvSpPr>
            <p:spPr bwMode="auto">
              <a:xfrm>
                <a:off x="8192863" y="270176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1" name="Oval 410">
                <a:extLst>
                  <a:ext uri="{FF2B5EF4-FFF2-40B4-BE49-F238E27FC236}">
                    <a16:creationId xmlns:a16="http://schemas.microsoft.com/office/drawing/2014/main" id="{3BB4B0E1-AA8D-461D-9557-3B1D83487571}"/>
                  </a:ext>
                </a:extLst>
              </p:cNvPr>
              <p:cNvSpPr/>
              <p:nvPr/>
            </p:nvSpPr>
            <p:spPr bwMode="auto">
              <a:xfrm>
                <a:off x="8087595" y="2716519"/>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2" name="Oval 411">
                <a:extLst>
                  <a:ext uri="{FF2B5EF4-FFF2-40B4-BE49-F238E27FC236}">
                    <a16:creationId xmlns:a16="http://schemas.microsoft.com/office/drawing/2014/main" id="{CB1D535C-22FD-4DF4-81FC-7179C63C7E6E}"/>
                  </a:ext>
                </a:extLst>
              </p:cNvPr>
              <p:cNvSpPr/>
              <p:nvPr/>
            </p:nvSpPr>
            <p:spPr bwMode="auto">
              <a:xfrm>
                <a:off x="7943127" y="2413421"/>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3" name="Oval 412">
                <a:extLst>
                  <a:ext uri="{FF2B5EF4-FFF2-40B4-BE49-F238E27FC236}">
                    <a16:creationId xmlns:a16="http://schemas.microsoft.com/office/drawing/2014/main" id="{05F2221D-6628-4363-B4D9-17B971208A22}"/>
                  </a:ext>
                </a:extLst>
              </p:cNvPr>
              <p:cNvSpPr/>
              <p:nvPr/>
            </p:nvSpPr>
            <p:spPr bwMode="auto">
              <a:xfrm>
                <a:off x="8057738" y="235137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4" name="Oval 413">
                <a:extLst>
                  <a:ext uri="{FF2B5EF4-FFF2-40B4-BE49-F238E27FC236}">
                    <a16:creationId xmlns:a16="http://schemas.microsoft.com/office/drawing/2014/main" id="{BC62A048-16F1-4E3A-ABA5-782A8E476A2D}"/>
                  </a:ext>
                </a:extLst>
              </p:cNvPr>
              <p:cNvSpPr/>
              <p:nvPr/>
            </p:nvSpPr>
            <p:spPr bwMode="auto">
              <a:xfrm>
                <a:off x="8956131" y="353912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5" name="Oval 414">
                <a:extLst>
                  <a:ext uri="{FF2B5EF4-FFF2-40B4-BE49-F238E27FC236}">
                    <a16:creationId xmlns:a16="http://schemas.microsoft.com/office/drawing/2014/main" id="{3484370E-FA9C-4929-BEB7-C599C42455EA}"/>
                  </a:ext>
                </a:extLst>
              </p:cNvPr>
              <p:cNvSpPr/>
              <p:nvPr/>
            </p:nvSpPr>
            <p:spPr bwMode="auto">
              <a:xfrm>
                <a:off x="9076478" y="3474372"/>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7" name="Oval 416">
                <a:extLst>
                  <a:ext uri="{FF2B5EF4-FFF2-40B4-BE49-F238E27FC236}">
                    <a16:creationId xmlns:a16="http://schemas.microsoft.com/office/drawing/2014/main" id="{E343CB49-01D3-4B9F-B125-B65F5E3DC319}"/>
                  </a:ext>
                </a:extLst>
              </p:cNvPr>
              <p:cNvSpPr/>
              <p:nvPr/>
            </p:nvSpPr>
            <p:spPr bwMode="auto">
              <a:xfrm>
                <a:off x="9416180" y="3479431"/>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8" name="Oval 417">
                <a:extLst>
                  <a:ext uri="{FF2B5EF4-FFF2-40B4-BE49-F238E27FC236}">
                    <a16:creationId xmlns:a16="http://schemas.microsoft.com/office/drawing/2014/main" id="{5D735FBE-3F11-4633-8803-91016EB27C2D}"/>
                  </a:ext>
                </a:extLst>
              </p:cNvPr>
              <p:cNvSpPr/>
              <p:nvPr/>
            </p:nvSpPr>
            <p:spPr bwMode="auto">
              <a:xfrm>
                <a:off x="9510290" y="357279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9" name="Oval 418">
                <a:extLst>
                  <a:ext uri="{FF2B5EF4-FFF2-40B4-BE49-F238E27FC236}">
                    <a16:creationId xmlns:a16="http://schemas.microsoft.com/office/drawing/2014/main" id="{9D11A6B8-51CC-4706-83D7-E587A40677AA}"/>
                  </a:ext>
                </a:extLst>
              </p:cNvPr>
              <p:cNvSpPr/>
              <p:nvPr/>
            </p:nvSpPr>
            <p:spPr bwMode="auto">
              <a:xfrm>
                <a:off x="9549624" y="3767159"/>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0" name="Oval 419">
                <a:extLst>
                  <a:ext uri="{FF2B5EF4-FFF2-40B4-BE49-F238E27FC236}">
                    <a16:creationId xmlns:a16="http://schemas.microsoft.com/office/drawing/2014/main" id="{AEEEFEDE-7883-4B75-85B3-98E18D944C86}"/>
                  </a:ext>
                </a:extLst>
              </p:cNvPr>
              <p:cNvSpPr/>
              <p:nvPr/>
            </p:nvSpPr>
            <p:spPr bwMode="auto">
              <a:xfrm>
                <a:off x="10263738" y="350203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a:extLst>
                  <a:ext uri="{FF2B5EF4-FFF2-40B4-BE49-F238E27FC236}">
                    <a16:creationId xmlns:a16="http://schemas.microsoft.com/office/drawing/2014/main" id="{3E957E70-4780-4766-86DB-521AA47F044A}"/>
                  </a:ext>
                </a:extLst>
              </p:cNvPr>
              <p:cNvGrpSpPr/>
              <p:nvPr/>
            </p:nvGrpSpPr>
            <p:grpSpPr>
              <a:xfrm>
                <a:off x="10435164" y="3336060"/>
                <a:ext cx="117026" cy="117026"/>
                <a:chOff x="4240842" y="3670726"/>
                <a:chExt cx="117026" cy="117026"/>
              </a:xfrm>
            </p:grpSpPr>
            <p:sp>
              <p:nvSpPr>
                <p:cNvPr id="423" name="Oval 422">
                  <a:extLst>
                    <a:ext uri="{FF2B5EF4-FFF2-40B4-BE49-F238E27FC236}">
                      <a16:creationId xmlns:a16="http://schemas.microsoft.com/office/drawing/2014/main" id="{CC431DD8-EEB2-4212-B66C-7D2BF22CA523}"/>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a:extLst>
                    <a:ext uri="{FF2B5EF4-FFF2-40B4-BE49-F238E27FC236}">
                      <a16:creationId xmlns:a16="http://schemas.microsoft.com/office/drawing/2014/main" id="{A70FD7A6-FD0C-42A4-A39D-444001B774B7}"/>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6" name="Group 425">
                <a:extLst>
                  <a:ext uri="{FF2B5EF4-FFF2-40B4-BE49-F238E27FC236}">
                    <a16:creationId xmlns:a16="http://schemas.microsoft.com/office/drawing/2014/main" id="{911CE57D-8612-4AC7-B0CF-EB016E455B8F}"/>
                  </a:ext>
                </a:extLst>
              </p:cNvPr>
              <p:cNvGrpSpPr/>
              <p:nvPr/>
            </p:nvGrpSpPr>
            <p:grpSpPr>
              <a:xfrm>
                <a:off x="10351003" y="2993750"/>
                <a:ext cx="117026" cy="117026"/>
                <a:chOff x="4240842" y="3670726"/>
                <a:chExt cx="117026" cy="117026"/>
              </a:xfrm>
            </p:grpSpPr>
            <p:sp>
              <p:nvSpPr>
                <p:cNvPr id="427" name="Oval 426">
                  <a:extLst>
                    <a:ext uri="{FF2B5EF4-FFF2-40B4-BE49-F238E27FC236}">
                      <a16:creationId xmlns:a16="http://schemas.microsoft.com/office/drawing/2014/main" id="{314F67F2-9222-451A-AD66-48D6D6DB336C}"/>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8" name="Oval 427">
                  <a:extLst>
                    <a:ext uri="{FF2B5EF4-FFF2-40B4-BE49-F238E27FC236}">
                      <a16:creationId xmlns:a16="http://schemas.microsoft.com/office/drawing/2014/main" id="{AD7063E8-3F32-40E2-8B86-D968A4178D66}"/>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429" name="Oval 428">
                <a:extLst>
                  <a:ext uri="{FF2B5EF4-FFF2-40B4-BE49-F238E27FC236}">
                    <a16:creationId xmlns:a16="http://schemas.microsoft.com/office/drawing/2014/main" id="{730AC90C-D01B-4EF0-92F1-16E770A54030}"/>
                  </a:ext>
                </a:extLst>
              </p:cNvPr>
              <p:cNvSpPr/>
              <p:nvPr/>
            </p:nvSpPr>
            <p:spPr bwMode="auto">
              <a:xfrm>
                <a:off x="10594249" y="3072709"/>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a:extLst>
                  <a:ext uri="{FF2B5EF4-FFF2-40B4-BE49-F238E27FC236}">
                    <a16:creationId xmlns:a16="http://schemas.microsoft.com/office/drawing/2014/main" id="{9E6C38DA-436E-44B3-A47E-7F417FEE0BF4}"/>
                  </a:ext>
                </a:extLst>
              </p:cNvPr>
              <p:cNvSpPr/>
              <p:nvPr/>
            </p:nvSpPr>
            <p:spPr bwMode="auto">
              <a:xfrm>
                <a:off x="10624115" y="31677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1" name="Oval 430">
                <a:extLst>
                  <a:ext uri="{FF2B5EF4-FFF2-40B4-BE49-F238E27FC236}">
                    <a16:creationId xmlns:a16="http://schemas.microsoft.com/office/drawing/2014/main" id="{8685DD20-E69A-4181-BD25-F3DA5EF4B739}"/>
                  </a:ext>
                </a:extLst>
              </p:cNvPr>
              <p:cNvSpPr/>
              <p:nvPr/>
            </p:nvSpPr>
            <p:spPr bwMode="auto">
              <a:xfrm>
                <a:off x="10822169" y="319960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2" name="Oval 431">
                <a:extLst>
                  <a:ext uri="{FF2B5EF4-FFF2-40B4-BE49-F238E27FC236}">
                    <a16:creationId xmlns:a16="http://schemas.microsoft.com/office/drawing/2014/main" id="{2670408B-2D82-403E-83FC-F27362F38111}"/>
                  </a:ext>
                </a:extLst>
              </p:cNvPr>
              <p:cNvSpPr/>
              <p:nvPr/>
            </p:nvSpPr>
            <p:spPr bwMode="auto">
              <a:xfrm>
                <a:off x="10910450" y="31543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33" name="Group 432">
                <a:extLst>
                  <a:ext uri="{FF2B5EF4-FFF2-40B4-BE49-F238E27FC236}">
                    <a16:creationId xmlns:a16="http://schemas.microsoft.com/office/drawing/2014/main" id="{6465D6E8-AB8F-4429-9343-E586C45537C4}"/>
                  </a:ext>
                </a:extLst>
              </p:cNvPr>
              <p:cNvGrpSpPr/>
              <p:nvPr/>
            </p:nvGrpSpPr>
            <p:grpSpPr>
              <a:xfrm>
                <a:off x="11051800" y="4849976"/>
                <a:ext cx="117026" cy="117026"/>
                <a:chOff x="4240842" y="3670726"/>
                <a:chExt cx="117026" cy="117026"/>
              </a:xfrm>
            </p:grpSpPr>
            <p:sp>
              <p:nvSpPr>
                <p:cNvPr id="434" name="Oval 433">
                  <a:extLst>
                    <a:ext uri="{FF2B5EF4-FFF2-40B4-BE49-F238E27FC236}">
                      <a16:creationId xmlns:a16="http://schemas.microsoft.com/office/drawing/2014/main" id="{A3A2ABB4-1EA4-4AB3-9DA0-21C639822F8D}"/>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5" name="Oval 434">
                  <a:extLst>
                    <a:ext uri="{FF2B5EF4-FFF2-40B4-BE49-F238E27FC236}">
                      <a16:creationId xmlns:a16="http://schemas.microsoft.com/office/drawing/2014/main" id="{BC48578E-2861-4704-90CF-9E871A584A95}"/>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436" name="Oval 435">
                <a:extLst>
                  <a:ext uri="{FF2B5EF4-FFF2-40B4-BE49-F238E27FC236}">
                    <a16:creationId xmlns:a16="http://schemas.microsoft.com/office/drawing/2014/main" id="{E144511B-26A3-4F19-A363-88C4084DF2C5}"/>
                  </a:ext>
                </a:extLst>
              </p:cNvPr>
              <p:cNvSpPr/>
              <p:nvPr/>
            </p:nvSpPr>
            <p:spPr bwMode="auto">
              <a:xfrm>
                <a:off x="11164117" y="4740245"/>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7" name="Oval 436">
                <a:extLst>
                  <a:ext uri="{FF2B5EF4-FFF2-40B4-BE49-F238E27FC236}">
                    <a16:creationId xmlns:a16="http://schemas.microsoft.com/office/drawing/2014/main" id="{4DC3B498-7D38-4288-B47F-BC1483004839}"/>
                  </a:ext>
                </a:extLst>
              </p:cNvPr>
              <p:cNvSpPr/>
              <p:nvPr/>
            </p:nvSpPr>
            <p:spPr bwMode="auto">
              <a:xfrm>
                <a:off x="10924886" y="48499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375" name="Group 3374">
                <a:extLst>
                  <a:ext uri="{FF2B5EF4-FFF2-40B4-BE49-F238E27FC236}">
                    <a16:creationId xmlns:a16="http://schemas.microsoft.com/office/drawing/2014/main" id="{4B4FEB01-D8AE-41D3-886F-1D547F30B2BD}"/>
                  </a:ext>
                </a:extLst>
              </p:cNvPr>
              <p:cNvGrpSpPr/>
              <p:nvPr/>
            </p:nvGrpSpPr>
            <p:grpSpPr>
              <a:xfrm>
                <a:off x="3941436" y="2879174"/>
                <a:ext cx="1090039" cy="123111"/>
                <a:chOff x="3941436" y="2879174"/>
                <a:chExt cx="1090039" cy="123111"/>
              </a:xfrm>
            </p:grpSpPr>
            <p:sp>
              <p:nvSpPr>
                <p:cNvPr id="3364" name="TextBox 3363">
                  <a:extLst>
                    <a:ext uri="{FF2B5EF4-FFF2-40B4-BE49-F238E27FC236}">
                      <a16:creationId xmlns:a16="http://schemas.microsoft.com/office/drawing/2014/main" id="{9ABC3222-68C5-4887-A15F-4DD060FC915D}"/>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US 2</a:t>
                  </a:r>
                </a:p>
              </p:txBody>
            </p:sp>
            <p:cxnSp>
              <p:nvCxnSpPr>
                <p:cNvPr id="448" name="Straight Connector 447">
                  <a:extLst>
                    <a:ext uri="{FF2B5EF4-FFF2-40B4-BE49-F238E27FC236}">
                      <a16:creationId xmlns:a16="http://schemas.microsoft.com/office/drawing/2014/main" id="{DE0E689E-F79F-46AD-85FF-CF87D839159E}"/>
                    </a:ext>
                  </a:extLst>
                </p:cNvPr>
                <p:cNvCxnSpPr>
                  <a:cxnSpLocks/>
                </p:cNvCxnSpPr>
                <p:nvPr/>
              </p:nvCxnSpPr>
              <p:spPr>
                <a:xfrm>
                  <a:off x="4867701" y="2942410"/>
                  <a:ext cx="163774"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52" name="Group 451">
                <a:extLst>
                  <a:ext uri="{FF2B5EF4-FFF2-40B4-BE49-F238E27FC236}">
                    <a16:creationId xmlns:a16="http://schemas.microsoft.com/office/drawing/2014/main" id="{E1C8F0C2-2ECF-4BEB-9B37-34463435DE65}"/>
                  </a:ext>
                </a:extLst>
              </p:cNvPr>
              <p:cNvGrpSpPr/>
              <p:nvPr/>
            </p:nvGrpSpPr>
            <p:grpSpPr>
              <a:xfrm>
                <a:off x="3941436" y="3031574"/>
                <a:ext cx="1112785" cy="123111"/>
                <a:chOff x="3941436" y="2879174"/>
                <a:chExt cx="1112785" cy="123111"/>
              </a:xfrm>
            </p:grpSpPr>
            <p:sp>
              <p:nvSpPr>
                <p:cNvPr id="453" name="TextBox 452">
                  <a:extLst>
                    <a:ext uri="{FF2B5EF4-FFF2-40B4-BE49-F238E27FC236}">
                      <a16:creationId xmlns:a16="http://schemas.microsoft.com/office/drawing/2014/main" id="{8927CEDA-1853-4CAA-BAA4-E4AED9F0EE87}"/>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US </a:t>
                  </a:r>
                </a:p>
              </p:txBody>
            </p:sp>
            <p:cxnSp>
              <p:nvCxnSpPr>
                <p:cNvPr id="454" name="Straight Connector 453">
                  <a:extLst>
                    <a:ext uri="{FF2B5EF4-FFF2-40B4-BE49-F238E27FC236}">
                      <a16:creationId xmlns:a16="http://schemas.microsoft.com/office/drawing/2014/main" id="{657E1B39-FBA2-4A2C-82C9-82167D15A670}"/>
                    </a:ext>
                  </a:extLst>
                </p:cNvPr>
                <p:cNvCxnSpPr>
                  <a:cxnSpLocks/>
                </p:cNvCxnSpPr>
                <p:nvPr/>
              </p:nvCxnSpPr>
              <p:spPr>
                <a:xfrm>
                  <a:off x="4867701" y="2942410"/>
                  <a:ext cx="186520"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94" name="Group 793">
                <a:extLst>
                  <a:ext uri="{FF2B5EF4-FFF2-40B4-BE49-F238E27FC236}">
                    <a16:creationId xmlns:a16="http://schemas.microsoft.com/office/drawing/2014/main" id="{1A6B655D-170C-4706-AE20-E2B7C32E38B7}"/>
                  </a:ext>
                </a:extLst>
              </p:cNvPr>
              <p:cNvGrpSpPr/>
              <p:nvPr/>
            </p:nvGrpSpPr>
            <p:grpSpPr>
              <a:xfrm>
                <a:off x="3941436" y="3178341"/>
                <a:ext cx="1240164" cy="123111"/>
                <a:chOff x="3941436" y="2879174"/>
                <a:chExt cx="1240164" cy="123111"/>
              </a:xfrm>
            </p:grpSpPr>
            <p:sp>
              <p:nvSpPr>
                <p:cNvPr id="795" name="TextBox 794">
                  <a:extLst>
                    <a:ext uri="{FF2B5EF4-FFF2-40B4-BE49-F238E27FC236}">
                      <a16:creationId xmlns:a16="http://schemas.microsoft.com/office/drawing/2014/main" id="{1AAEB92D-A427-4BCE-8252-9025B6591F5A}"/>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Arizona</a:t>
                  </a:r>
                </a:p>
              </p:txBody>
            </p:sp>
            <p:cxnSp>
              <p:nvCxnSpPr>
                <p:cNvPr id="796" name="Straight Connector 795">
                  <a:extLst>
                    <a:ext uri="{FF2B5EF4-FFF2-40B4-BE49-F238E27FC236}">
                      <a16:creationId xmlns:a16="http://schemas.microsoft.com/office/drawing/2014/main" id="{9B0881E0-B4E5-4A57-9BD0-42616EA153A4}"/>
                    </a:ext>
                  </a:extLst>
                </p:cNvPr>
                <p:cNvCxnSpPr>
                  <a:cxnSpLocks/>
                </p:cNvCxnSpPr>
                <p:nvPr/>
              </p:nvCxnSpPr>
              <p:spPr>
                <a:xfrm>
                  <a:off x="4867701" y="2942410"/>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99" name="TextBox 798">
                <a:extLst>
                  <a:ext uri="{FF2B5EF4-FFF2-40B4-BE49-F238E27FC236}">
                    <a16:creationId xmlns:a16="http://schemas.microsoft.com/office/drawing/2014/main" id="{B5EC4008-D3E0-45CE-A5F5-4CDD5B306F5A}"/>
                  </a:ext>
                </a:extLst>
              </p:cNvPr>
              <p:cNvSpPr txBox="1"/>
              <p:nvPr/>
            </p:nvSpPr>
            <p:spPr>
              <a:xfrm>
                <a:off x="3948579" y="2731121"/>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Central US</a:t>
                </a:r>
              </a:p>
            </p:txBody>
          </p:sp>
          <p:grpSp>
            <p:nvGrpSpPr>
              <p:cNvPr id="3391" name="Group 3390">
                <a:extLst>
                  <a:ext uri="{FF2B5EF4-FFF2-40B4-BE49-F238E27FC236}">
                    <a16:creationId xmlns:a16="http://schemas.microsoft.com/office/drawing/2014/main" id="{70C39D4A-3C88-4ED2-B54C-A99EAB155592}"/>
                  </a:ext>
                </a:extLst>
              </p:cNvPr>
              <p:cNvGrpSpPr/>
              <p:nvPr/>
            </p:nvGrpSpPr>
            <p:grpSpPr>
              <a:xfrm>
                <a:off x="4874844" y="2790235"/>
                <a:ext cx="482221" cy="139483"/>
                <a:chOff x="4874844" y="2709863"/>
                <a:chExt cx="482221" cy="219856"/>
              </a:xfrm>
            </p:grpSpPr>
            <p:cxnSp>
              <p:nvCxnSpPr>
                <p:cNvPr id="800" name="Straight Connector 799">
                  <a:extLst>
                    <a:ext uri="{FF2B5EF4-FFF2-40B4-BE49-F238E27FC236}">
                      <a16:creationId xmlns:a16="http://schemas.microsoft.com/office/drawing/2014/main" id="{FD67EA9A-6617-4791-BC1A-5C9A25A7C400}"/>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6" name="Straight Connector 805">
                  <a:extLst>
                    <a:ext uri="{FF2B5EF4-FFF2-40B4-BE49-F238E27FC236}">
                      <a16:creationId xmlns:a16="http://schemas.microsoft.com/office/drawing/2014/main" id="{29629536-FCF7-4641-8069-287B2AC21BE0}"/>
                    </a:ext>
                  </a:extLst>
                </p:cNvPr>
                <p:cNvCxnSpPr>
                  <a:cxnSpLocks/>
                </p:cNvCxnSpPr>
                <p:nvPr/>
              </p:nvCxnSpPr>
              <p:spPr>
                <a:xfrm>
                  <a:off x="5352303" y="27098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89" name="Group 3388">
                <a:extLst>
                  <a:ext uri="{FF2B5EF4-FFF2-40B4-BE49-F238E27FC236}">
                    <a16:creationId xmlns:a16="http://schemas.microsoft.com/office/drawing/2014/main" id="{FAA7B302-FEDF-4C6A-AE8D-85D0F7FCB006}"/>
                  </a:ext>
                </a:extLst>
              </p:cNvPr>
              <p:cNvGrpSpPr/>
              <p:nvPr/>
            </p:nvGrpSpPr>
            <p:grpSpPr>
              <a:xfrm>
                <a:off x="4131935" y="3386137"/>
                <a:ext cx="1408486" cy="152670"/>
                <a:chOff x="4131935" y="3386137"/>
                <a:chExt cx="1408486" cy="152670"/>
              </a:xfrm>
            </p:grpSpPr>
            <p:sp>
              <p:nvSpPr>
                <p:cNvPr id="815" name="TextBox 814">
                  <a:extLst>
                    <a:ext uri="{FF2B5EF4-FFF2-40B4-BE49-F238E27FC236}">
                      <a16:creationId xmlns:a16="http://schemas.microsoft.com/office/drawing/2014/main" id="{7BFCE1D8-A39F-4D54-8F89-D06043741BA4}"/>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Texas</a:t>
                  </a:r>
                </a:p>
              </p:txBody>
            </p:sp>
            <p:grpSp>
              <p:nvGrpSpPr>
                <p:cNvPr id="3388" name="Group 3387">
                  <a:extLst>
                    <a:ext uri="{FF2B5EF4-FFF2-40B4-BE49-F238E27FC236}">
                      <a16:creationId xmlns:a16="http://schemas.microsoft.com/office/drawing/2014/main" id="{FE52D635-5494-4779-A655-2B2F43DB2386}"/>
                    </a:ext>
                  </a:extLst>
                </p:cNvPr>
                <p:cNvGrpSpPr/>
                <p:nvPr/>
              </p:nvGrpSpPr>
              <p:grpSpPr>
                <a:xfrm flipV="1">
                  <a:off x="5058200" y="3386137"/>
                  <a:ext cx="482221" cy="93293"/>
                  <a:chOff x="5020101" y="2862263"/>
                  <a:chExt cx="482221" cy="219856"/>
                </a:xfrm>
              </p:grpSpPr>
              <p:cxnSp>
                <p:nvCxnSpPr>
                  <p:cNvPr id="816" name="Straight Connector 815">
                    <a:extLst>
                      <a:ext uri="{FF2B5EF4-FFF2-40B4-BE49-F238E27FC236}">
                        <a16:creationId xmlns:a16="http://schemas.microsoft.com/office/drawing/2014/main" id="{E42F962B-FDC4-4EC5-9D8F-D910A2E53C0C}"/>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4" name="Straight Connector 813">
                    <a:extLst>
                      <a:ext uri="{FF2B5EF4-FFF2-40B4-BE49-F238E27FC236}">
                        <a16:creationId xmlns:a16="http://schemas.microsoft.com/office/drawing/2014/main" id="{70735E7D-A6CA-42F9-9E22-BA1C3805F5F7}"/>
                      </a:ext>
                    </a:extLst>
                  </p:cNvPr>
                  <p:cNvCxnSpPr>
                    <a:cxnSpLocks/>
                  </p:cNvCxnSpPr>
                  <p:nvPr/>
                </p:nvCxnSpPr>
                <p:spPr>
                  <a:xfrm>
                    <a:off x="5495179" y="28622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819" name="Group 818">
                <a:extLst>
                  <a:ext uri="{FF2B5EF4-FFF2-40B4-BE49-F238E27FC236}">
                    <a16:creationId xmlns:a16="http://schemas.microsoft.com/office/drawing/2014/main" id="{42DB6DB5-C374-4FC7-A6AC-6594DFE67FFE}"/>
                  </a:ext>
                </a:extLst>
              </p:cNvPr>
              <p:cNvGrpSpPr/>
              <p:nvPr/>
            </p:nvGrpSpPr>
            <p:grpSpPr>
              <a:xfrm>
                <a:off x="4301003" y="3452813"/>
                <a:ext cx="1408486" cy="238394"/>
                <a:chOff x="4131935" y="3300413"/>
                <a:chExt cx="1408486" cy="238394"/>
              </a:xfrm>
            </p:grpSpPr>
            <p:sp>
              <p:nvSpPr>
                <p:cNvPr id="820" name="TextBox 819">
                  <a:extLst>
                    <a:ext uri="{FF2B5EF4-FFF2-40B4-BE49-F238E27FC236}">
                      <a16:creationId xmlns:a16="http://schemas.microsoft.com/office/drawing/2014/main" id="{60A86EF7-D87D-4498-A1A7-83CDE8639C26}"/>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outh Central US</a:t>
                  </a:r>
                </a:p>
              </p:txBody>
            </p:sp>
            <p:grpSp>
              <p:nvGrpSpPr>
                <p:cNvPr id="821" name="Group 820">
                  <a:extLst>
                    <a:ext uri="{FF2B5EF4-FFF2-40B4-BE49-F238E27FC236}">
                      <a16:creationId xmlns:a16="http://schemas.microsoft.com/office/drawing/2014/main" id="{856BCB00-FC2A-4607-AAAC-1D63588D92E5}"/>
                    </a:ext>
                  </a:extLst>
                </p:cNvPr>
                <p:cNvGrpSpPr/>
                <p:nvPr/>
              </p:nvGrpSpPr>
              <p:grpSpPr>
                <a:xfrm flipV="1">
                  <a:off x="5058200" y="3300413"/>
                  <a:ext cx="482221" cy="179018"/>
                  <a:chOff x="5020101" y="2862261"/>
                  <a:chExt cx="482221" cy="421877"/>
                </a:xfrm>
              </p:grpSpPr>
              <p:cxnSp>
                <p:nvCxnSpPr>
                  <p:cNvPr id="822" name="Straight Connector 821">
                    <a:extLst>
                      <a:ext uri="{FF2B5EF4-FFF2-40B4-BE49-F238E27FC236}">
                        <a16:creationId xmlns:a16="http://schemas.microsoft.com/office/drawing/2014/main" id="{65862E24-E210-4866-BA5C-3D2CAA5DCBB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3" name="Straight Connector 822">
                    <a:extLst>
                      <a:ext uri="{FF2B5EF4-FFF2-40B4-BE49-F238E27FC236}">
                        <a16:creationId xmlns:a16="http://schemas.microsoft.com/office/drawing/2014/main" id="{FB1274C7-9329-4BE2-A568-4CD55B4E57C9}"/>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24" name="Group 323">
                <a:extLst>
                  <a:ext uri="{FF2B5EF4-FFF2-40B4-BE49-F238E27FC236}">
                    <a16:creationId xmlns:a16="http://schemas.microsoft.com/office/drawing/2014/main" id="{6A2BF85E-F744-4E2C-8129-C340436E4973}"/>
                  </a:ext>
                </a:extLst>
              </p:cNvPr>
              <p:cNvGrpSpPr/>
              <p:nvPr/>
            </p:nvGrpSpPr>
            <p:grpSpPr>
              <a:xfrm>
                <a:off x="3948579" y="2574977"/>
                <a:ext cx="1533070" cy="527792"/>
                <a:chOff x="3948579" y="2574977"/>
                <a:chExt cx="1533070" cy="527792"/>
              </a:xfrm>
            </p:grpSpPr>
            <p:sp>
              <p:nvSpPr>
                <p:cNvPr id="832" name="TextBox 831">
                  <a:extLst>
                    <a:ext uri="{FF2B5EF4-FFF2-40B4-BE49-F238E27FC236}">
                      <a16:creationId xmlns:a16="http://schemas.microsoft.com/office/drawing/2014/main" id="{0A5FCE2E-554F-4135-8E52-621BA599B7D8}"/>
                    </a:ext>
                  </a:extLst>
                </p:cNvPr>
                <p:cNvSpPr txBox="1"/>
                <p:nvPr/>
              </p:nvSpPr>
              <p:spPr>
                <a:xfrm>
                  <a:off x="3948579" y="2574977"/>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DoD Central</a:t>
                  </a:r>
                </a:p>
              </p:txBody>
            </p:sp>
            <p:grpSp>
              <p:nvGrpSpPr>
                <p:cNvPr id="833" name="Group 832">
                  <a:extLst>
                    <a:ext uri="{FF2B5EF4-FFF2-40B4-BE49-F238E27FC236}">
                      <a16:creationId xmlns:a16="http://schemas.microsoft.com/office/drawing/2014/main" id="{91A15B9B-9BEE-4AAF-95D7-217529899C91}"/>
                    </a:ext>
                  </a:extLst>
                </p:cNvPr>
                <p:cNvGrpSpPr/>
                <p:nvPr/>
              </p:nvGrpSpPr>
              <p:grpSpPr>
                <a:xfrm>
                  <a:off x="4874844" y="2642944"/>
                  <a:ext cx="606805" cy="459825"/>
                  <a:chOff x="4874844" y="2714446"/>
                  <a:chExt cx="482221" cy="220914"/>
                </a:xfrm>
              </p:grpSpPr>
              <p:cxnSp>
                <p:nvCxnSpPr>
                  <p:cNvPr id="834" name="Straight Connector 833">
                    <a:extLst>
                      <a:ext uri="{FF2B5EF4-FFF2-40B4-BE49-F238E27FC236}">
                        <a16:creationId xmlns:a16="http://schemas.microsoft.com/office/drawing/2014/main" id="{5535CFC7-9CFC-47C0-971E-26AE2F94E5D3}"/>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5" name="Straight Connector 834">
                    <a:extLst>
                      <a:ext uri="{FF2B5EF4-FFF2-40B4-BE49-F238E27FC236}">
                        <a16:creationId xmlns:a16="http://schemas.microsoft.com/office/drawing/2014/main" id="{AB9F0920-805C-4839-A843-B3CA44107DD7}"/>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21" name="Straight Connector 320">
                <a:extLst>
                  <a:ext uri="{FF2B5EF4-FFF2-40B4-BE49-F238E27FC236}">
                    <a16:creationId xmlns:a16="http://schemas.microsoft.com/office/drawing/2014/main" id="{08F266A0-4F69-4B91-A534-0056CF8A243D}"/>
                  </a:ext>
                </a:extLst>
              </p:cNvPr>
              <p:cNvCxnSpPr>
                <a:cxnSpLocks/>
              </p:cNvCxnSpPr>
              <p:nvPr/>
            </p:nvCxnSpPr>
            <p:spPr>
              <a:xfrm>
                <a:off x="5475657" y="3100169"/>
                <a:ext cx="14885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54" name="Group 353">
                <a:extLst>
                  <a:ext uri="{FF2B5EF4-FFF2-40B4-BE49-F238E27FC236}">
                    <a16:creationId xmlns:a16="http://schemas.microsoft.com/office/drawing/2014/main" id="{D3F7A2DF-0193-4F6D-B6C4-0ACBBF5067D1}"/>
                  </a:ext>
                </a:extLst>
              </p:cNvPr>
              <p:cNvGrpSpPr/>
              <p:nvPr/>
            </p:nvGrpSpPr>
            <p:grpSpPr>
              <a:xfrm>
                <a:off x="4190196" y="2219762"/>
                <a:ext cx="1533070" cy="630594"/>
                <a:chOff x="4190196" y="2219762"/>
                <a:chExt cx="1533070" cy="630594"/>
              </a:xfrm>
            </p:grpSpPr>
            <p:sp>
              <p:nvSpPr>
                <p:cNvPr id="843" name="TextBox 842">
                  <a:extLst>
                    <a:ext uri="{FF2B5EF4-FFF2-40B4-BE49-F238E27FC236}">
                      <a16:creationId xmlns:a16="http://schemas.microsoft.com/office/drawing/2014/main" id="{6C9A26CE-8D4D-47A4-ADE8-2D087B9D5589}"/>
                    </a:ext>
                  </a:extLst>
                </p:cNvPr>
                <p:cNvSpPr txBox="1"/>
                <p:nvPr/>
              </p:nvSpPr>
              <p:spPr>
                <a:xfrm>
                  <a:off x="4190196" y="2219762"/>
                  <a:ext cx="898413"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Iowa, Central US</a:t>
                  </a:r>
                </a:p>
              </p:txBody>
            </p:sp>
            <p:grpSp>
              <p:nvGrpSpPr>
                <p:cNvPr id="844" name="Group 843">
                  <a:extLst>
                    <a:ext uri="{FF2B5EF4-FFF2-40B4-BE49-F238E27FC236}">
                      <a16:creationId xmlns:a16="http://schemas.microsoft.com/office/drawing/2014/main" id="{BCE2EE4B-51EB-4AF0-8D7F-C2547AF1066D}"/>
                    </a:ext>
                  </a:extLst>
                </p:cNvPr>
                <p:cNvGrpSpPr/>
                <p:nvPr/>
              </p:nvGrpSpPr>
              <p:grpSpPr>
                <a:xfrm>
                  <a:off x="5116461" y="2344537"/>
                  <a:ext cx="606805" cy="505819"/>
                  <a:chOff x="4874844" y="2714446"/>
                  <a:chExt cx="482221" cy="220914"/>
                </a:xfrm>
              </p:grpSpPr>
              <p:cxnSp>
                <p:nvCxnSpPr>
                  <p:cNvPr id="845" name="Straight Connector 844">
                    <a:extLst>
                      <a:ext uri="{FF2B5EF4-FFF2-40B4-BE49-F238E27FC236}">
                        <a16:creationId xmlns:a16="http://schemas.microsoft.com/office/drawing/2014/main" id="{9A0A8CE2-16AF-4CCC-9C74-15DA0C864427}"/>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6" name="Straight Connector 845">
                    <a:extLst>
                      <a:ext uri="{FF2B5EF4-FFF2-40B4-BE49-F238E27FC236}">
                        <a16:creationId xmlns:a16="http://schemas.microsoft.com/office/drawing/2014/main" id="{61C3451D-CB8F-4FC9-8710-2CC3991C3386}"/>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48" name="TextBox 847">
                <a:extLst>
                  <a:ext uri="{FF2B5EF4-FFF2-40B4-BE49-F238E27FC236}">
                    <a16:creationId xmlns:a16="http://schemas.microsoft.com/office/drawing/2014/main" id="{20873E0A-F03E-44AF-ADFB-6905731B3B49}"/>
                  </a:ext>
                </a:extLst>
              </p:cNvPr>
              <p:cNvSpPr txBox="1"/>
              <p:nvPr/>
            </p:nvSpPr>
            <p:spPr>
              <a:xfrm>
                <a:off x="4427826" y="372811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North Central US</a:t>
                </a:r>
              </a:p>
            </p:txBody>
          </p:sp>
          <p:grpSp>
            <p:nvGrpSpPr>
              <p:cNvPr id="849" name="Group 848">
                <a:extLst>
                  <a:ext uri="{FF2B5EF4-FFF2-40B4-BE49-F238E27FC236}">
                    <a16:creationId xmlns:a16="http://schemas.microsoft.com/office/drawing/2014/main" id="{D51DB2DB-0848-460E-9C5F-E30B0D293B23}"/>
                  </a:ext>
                </a:extLst>
              </p:cNvPr>
              <p:cNvGrpSpPr/>
              <p:nvPr/>
            </p:nvGrpSpPr>
            <p:grpSpPr>
              <a:xfrm flipV="1">
                <a:off x="5354091" y="3124201"/>
                <a:ext cx="482221" cy="669131"/>
                <a:chOff x="5020101" y="2867890"/>
                <a:chExt cx="482221" cy="416248"/>
              </a:xfrm>
            </p:grpSpPr>
            <p:cxnSp>
              <p:nvCxnSpPr>
                <p:cNvPr id="850" name="Straight Connector 849">
                  <a:extLst>
                    <a:ext uri="{FF2B5EF4-FFF2-40B4-BE49-F238E27FC236}">
                      <a16:creationId xmlns:a16="http://schemas.microsoft.com/office/drawing/2014/main" id="{1F77D048-B238-4CFB-8715-CC3E8F18F91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1" name="Straight Connector 850">
                  <a:extLst>
                    <a:ext uri="{FF2B5EF4-FFF2-40B4-BE49-F238E27FC236}">
                      <a16:creationId xmlns:a16="http://schemas.microsoft.com/office/drawing/2014/main" id="{33F0C829-B720-4485-847C-C2D8F3ACE896}"/>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53" name="Group 852">
                <a:extLst>
                  <a:ext uri="{FF2B5EF4-FFF2-40B4-BE49-F238E27FC236}">
                    <a16:creationId xmlns:a16="http://schemas.microsoft.com/office/drawing/2014/main" id="{E8F54062-D665-4F65-B893-7784F4D2C510}"/>
                  </a:ext>
                </a:extLst>
              </p:cNvPr>
              <p:cNvGrpSpPr/>
              <p:nvPr/>
            </p:nvGrpSpPr>
            <p:grpSpPr>
              <a:xfrm flipH="1" flipV="1">
                <a:off x="5995067" y="3409963"/>
                <a:ext cx="482221" cy="532376"/>
                <a:chOff x="5020101" y="2867890"/>
                <a:chExt cx="482221" cy="416248"/>
              </a:xfrm>
            </p:grpSpPr>
            <p:cxnSp>
              <p:nvCxnSpPr>
                <p:cNvPr id="854" name="Straight Connector 853">
                  <a:extLst>
                    <a:ext uri="{FF2B5EF4-FFF2-40B4-BE49-F238E27FC236}">
                      <a16:creationId xmlns:a16="http://schemas.microsoft.com/office/drawing/2014/main" id="{49FE05C0-490A-4786-A371-D395CAD4D4C2}"/>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5" name="Straight Connector 854">
                  <a:extLst>
                    <a:ext uri="{FF2B5EF4-FFF2-40B4-BE49-F238E27FC236}">
                      <a16:creationId xmlns:a16="http://schemas.microsoft.com/office/drawing/2014/main" id="{5F1D3D06-F5E9-4FB4-8133-9E8B6A772B38}"/>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56" name="TextBox 855">
                <a:extLst>
                  <a:ext uri="{FF2B5EF4-FFF2-40B4-BE49-F238E27FC236}">
                    <a16:creationId xmlns:a16="http://schemas.microsoft.com/office/drawing/2014/main" id="{F6DC394E-4973-40BB-9721-13CF63C3494A}"/>
                  </a:ext>
                </a:extLst>
              </p:cNvPr>
              <p:cNvSpPr txBox="1"/>
              <p:nvPr/>
            </p:nvSpPr>
            <p:spPr>
              <a:xfrm>
                <a:off x="6508674" y="3880516"/>
                <a:ext cx="898413" cy="369332"/>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East US,</a:t>
                </a:r>
              </a:p>
              <a:p>
                <a:pPr defTabSz="932742" fontAlgn="b">
                  <a:defRPr/>
                </a:pPr>
                <a:r>
                  <a:rPr lang="en-US" sz="800">
                    <a:gradFill>
                      <a:gsLst>
                        <a:gs pos="1250">
                          <a:srgbClr val="FFFFFF"/>
                        </a:gs>
                        <a:gs pos="100000">
                          <a:srgbClr val="FFFFFF"/>
                        </a:gs>
                      </a:gsLst>
                      <a:lin ang="5400000" scaled="0"/>
                    </a:gradFill>
                    <a:latin typeface="+mj-lt"/>
                  </a:rPr>
                  <a:t>East US 2,</a:t>
                </a:r>
              </a:p>
              <a:p>
                <a:pPr defTabSz="932742" fontAlgn="b">
                  <a:defRPr/>
                </a:pPr>
                <a:r>
                  <a:rPr lang="en-US" sz="800">
                    <a:gradFill>
                      <a:gsLst>
                        <a:gs pos="1250">
                          <a:srgbClr val="FFFFFF"/>
                        </a:gs>
                        <a:gs pos="100000">
                          <a:srgbClr val="FFFFFF"/>
                        </a:gs>
                      </a:gsLst>
                      <a:lin ang="5400000" scaled="0"/>
                    </a:gradFill>
                    <a:latin typeface="+mj-lt"/>
                  </a:rPr>
                  <a:t>US Gov Virginia</a:t>
                </a:r>
              </a:p>
            </p:txBody>
          </p:sp>
          <p:grpSp>
            <p:nvGrpSpPr>
              <p:cNvPr id="328" name="Group 327">
                <a:extLst>
                  <a:ext uri="{FF2B5EF4-FFF2-40B4-BE49-F238E27FC236}">
                    <a16:creationId xmlns:a16="http://schemas.microsoft.com/office/drawing/2014/main" id="{C91F67BB-73EF-4F11-BCB8-4122C9DAB677}"/>
                  </a:ext>
                </a:extLst>
              </p:cNvPr>
              <p:cNvGrpSpPr/>
              <p:nvPr/>
            </p:nvGrpSpPr>
            <p:grpSpPr>
              <a:xfrm>
                <a:off x="6101684" y="3231653"/>
                <a:ext cx="1034163" cy="319483"/>
                <a:chOff x="6101684" y="3231653"/>
                <a:chExt cx="1034163" cy="319483"/>
              </a:xfrm>
            </p:grpSpPr>
            <p:grpSp>
              <p:nvGrpSpPr>
                <p:cNvPr id="862" name="Group 861">
                  <a:extLst>
                    <a:ext uri="{FF2B5EF4-FFF2-40B4-BE49-F238E27FC236}">
                      <a16:creationId xmlns:a16="http://schemas.microsoft.com/office/drawing/2014/main" id="{FF033357-A200-43CF-91BA-CB82C82712C1}"/>
                    </a:ext>
                  </a:extLst>
                </p:cNvPr>
                <p:cNvGrpSpPr/>
                <p:nvPr/>
              </p:nvGrpSpPr>
              <p:grpSpPr>
                <a:xfrm flipH="1" flipV="1">
                  <a:off x="6101684" y="3231653"/>
                  <a:ext cx="375134" cy="254283"/>
                  <a:chOff x="5020101" y="2867890"/>
                  <a:chExt cx="482221" cy="416248"/>
                </a:xfrm>
              </p:grpSpPr>
              <p:cxnSp>
                <p:nvCxnSpPr>
                  <p:cNvPr id="864" name="Straight Connector 863">
                    <a:extLst>
                      <a:ext uri="{FF2B5EF4-FFF2-40B4-BE49-F238E27FC236}">
                        <a16:creationId xmlns:a16="http://schemas.microsoft.com/office/drawing/2014/main" id="{B24BC799-4A27-45D9-A07A-77DA5A89068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5" name="Straight Connector 864">
                    <a:extLst>
                      <a:ext uri="{FF2B5EF4-FFF2-40B4-BE49-F238E27FC236}">
                        <a16:creationId xmlns:a16="http://schemas.microsoft.com/office/drawing/2014/main" id="{ABD1EC05-3E4F-44C6-8C6F-CDE9C24A30D2}"/>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63" name="TextBox 862">
                  <a:extLst>
                    <a:ext uri="{FF2B5EF4-FFF2-40B4-BE49-F238E27FC236}">
                      <a16:creationId xmlns:a16="http://schemas.microsoft.com/office/drawing/2014/main" id="{2EC43BEF-6207-4DFC-9093-5BC961509EF2}"/>
                    </a:ext>
                  </a:extLst>
                </p:cNvPr>
                <p:cNvSpPr txBox="1"/>
                <p:nvPr/>
              </p:nvSpPr>
              <p:spPr>
                <a:xfrm>
                  <a:off x="6508675" y="3428025"/>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Us DoD East</a:t>
                  </a:r>
                </a:p>
              </p:txBody>
            </p:sp>
          </p:grpSp>
          <p:grpSp>
            <p:nvGrpSpPr>
              <p:cNvPr id="871" name="Group 870">
                <a:extLst>
                  <a:ext uri="{FF2B5EF4-FFF2-40B4-BE49-F238E27FC236}">
                    <a16:creationId xmlns:a16="http://schemas.microsoft.com/office/drawing/2014/main" id="{1414C550-A2B3-40CC-8561-CAE6D7B60D5B}"/>
                  </a:ext>
                </a:extLst>
              </p:cNvPr>
              <p:cNvGrpSpPr/>
              <p:nvPr/>
            </p:nvGrpSpPr>
            <p:grpSpPr>
              <a:xfrm flipH="1">
                <a:off x="6080320" y="2566737"/>
                <a:ext cx="140259" cy="357984"/>
                <a:chOff x="5020101" y="2867890"/>
                <a:chExt cx="482221" cy="416248"/>
              </a:xfrm>
            </p:grpSpPr>
            <p:cxnSp>
              <p:nvCxnSpPr>
                <p:cNvPr id="872" name="Straight Connector 871">
                  <a:extLst>
                    <a:ext uri="{FF2B5EF4-FFF2-40B4-BE49-F238E27FC236}">
                      <a16:creationId xmlns:a16="http://schemas.microsoft.com/office/drawing/2014/main" id="{022D4484-E1A6-4D28-BFAB-1DF13DC70FC4}"/>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3" name="Straight Connector 872">
                  <a:extLst>
                    <a:ext uri="{FF2B5EF4-FFF2-40B4-BE49-F238E27FC236}">
                      <a16:creationId xmlns:a16="http://schemas.microsoft.com/office/drawing/2014/main" id="{5357F0C0-DCC9-4825-8641-B2CCA9147705}"/>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74" name="TextBox 873">
                <a:extLst>
                  <a:ext uri="{FF2B5EF4-FFF2-40B4-BE49-F238E27FC236}">
                    <a16:creationId xmlns:a16="http://schemas.microsoft.com/office/drawing/2014/main" id="{1FCEFD09-FEC1-4E7A-AB6C-AAE4251AB71B}"/>
                  </a:ext>
                </a:extLst>
              </p:cNvPr>
              <p:cNvSpPr txBox="1"/>
              <p:nvPr/>
            </p:nvSpPr>
            <p:spPr>
              <a:xfrm>
                <a:off x="6253772" y="2508558"/>
                <a:ext cx="705537"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anada Central</a:t>
                </a:r>
              </a:p>
            </p:txBody>
          </p:sp>
          <p:grpSp>
            <p:nvGrpSpPr>
              <p:cNvPr id="363" name="Group 362">
                <a:extLst>
                  <a:ext uri="{FF2B5EF4-FFF2-40B4-BE49-F238E27FC236}">
                    <a16:creationId xmlns:a16="http://schemas.microsoft.com/office/drawing/2014/main" id="{FC356959-385F-4AA1-A960-131D24F5C8A7}"/>
                  </a:ext>
                </a:extLst>
              </p:cNvPr>
              <p:cNvGrpSpPr/>
              <p:nvPr/>
            </p:nvGrpSpPr>
            <p:grpSpPr>
              <a:xfrm>
                <a:off x="6362699" y="2888440"/>
                <a:ext cx="773148" cy="319485"/>
                <a:chOff x="6362699" y="2888440"/>
                <a:chExt cx="773148" cy="319485"/>
              </a:xfrm>
            </p:grpSpPr>
            <p:grpSp>
              <p:nvGrpSpPr>
                <p:cNvPr id="877" name="Group 876">
                  <a:extLst>
                    <a:ext uri="{FF2B5EF4-FFF2-40B4-BE49-F238E27FC236}">
                      <a16:creationId xmlns:a16="http://schemas.microsoft.com/office/drawing/2014/main" id="{E13F29D4-74A5-4D9C-9F32-00962273B582}"/>
                    </a:ext>
                  </a:extLst>
                </p:cNvPr>
                <p:cNvGrpSpPr/>
                <p:nvPr/>
              </p:nvGrpSpPr>
              <p:grpSpPr>
                <a:xfrm flipH="1" flipV="1">
                  <a:off x="6362699" y="2888440"/>
                  <a:ext cx="121985" cy="259572"/>
                  <a:chOff x="5020101" y="2867890"/>
                  <a:chExt cx="482221" cy="416248"/>
                </a:xfrm>
              </p:grpSpPr>
              <p:cxnSp>
                <p:nvCxnSpPr>
                  <p:cNvPr id="879" name="Straight Connector 878">
                    <a:extLst>
                      <a:ext uri="{FF2B5EF4-FFF2-40B4-BE49-F238E27FC236}">
                        <a16:creationId xmlns:a16="http://schemas.microsoft.com/office/drawing/2014/main" id="{083A7479-0422-411E-B0F0-EFFC85C897A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0" name="Straight Connector 879">
                    <a:extLst>
                      <a:ext uri="{FF2B5EF4-FFF2-40B4-BE49-F238E27FC236}">
                        <a16:creationId xmlns:a16="http://schemas.microsoft.com/office/drawing/2014/main" id="{E905B6B9-C42F-4AC3-BC14-A75F19A658DB}"/>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78" name="TextBox 877">
                  <a:extLst>
                    <a:ext uri="{FF2B5EF4-FFF2-40B4-BE49-F238E27FC236}">
                      <a16:creationId xmlns:a16="http://schemas.microsoft.com/office/drawing/2014/main" id="{1DBB8B08-4978-4C96-BE29-8ACD28021EE2}"/>
                    </a:ext>
                  </a:extLst>
                </p:cNvPr>
                <p:cNvSpPr txBox="1"/>
                <p:nvPr/>
              </p:nvSpPr>
              <p:spPr>
                <a:xfrm>
                  <a:off x="6508675" y="3084814"/>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anada East</a:t>
                  </a:r>
                </a:p>
              </p:txBody>
            </p:sp>
          </p:grpSp>
          <p:grpSp>
            <p:nvGrpSpPr>
              <p:cNvPr id="887" name="Group 886">
                <a:extLst>
                  <a:ext uri="{FF2B5EF4-FFF2-40B4-BE49-F238E27FC236}">
                    <a16:creationId xmlns:a16="http://schemas.microsoft.com/office/drawing/2014/main" id="{F75D1E05-336A-4091-8E01-F9BF902E7834}"/>
                  </a:ext>
                </a:extLst>
              </p:cNvPr>
              <p:cNvGrpSpPr/>
              <p:nvPr/>
            </p:nvGrpSpPr>
            <p:grpSpPr>
              <a:xfrm>
                <a:off x="6809654" y="4626077"/>
                <a:ext cx="1034163" cy="319483"/>
                <a:chOff x="6101684" y="3231653"/>
                <a:chExt cx="1034163" cy="319483"/>
              </a:xfrm>
            </p:grpSpPr>
            <p:grpSp>
              <p:nvGrpSpPr>
                <p:cNvPr id="888" name="Group 887">
                  <a:extLst>
                    <a:ext uri="{FF2B5EF4-FFF2-40B4-BE49-F238E27FC236}">
                      <a16:creationId xmlns:a16="http://schemas.microsoft.com/office/drawing/2014/main" id="{B4DDDBFF-FDC3-4639-BFDD-B8057F182D0D}"/>
                    </a:ext>
                  </a:extLst>
                </p:cNvPr>
                <p:cNvGrpSpPr/>
                <p:nvPr/>
              </p:nvGrpSpPr>
              <p:grpSpPr>
                <a:xfrm flipH="1" flipV="1">
                  <a:off x="6101684" y="3231653"/>
                  <a:ext cx="375134" cy="254283"/>
                  <a:chOff x="5020101" y="2867890"/>
                  <a:chExt cx="482221" cy="416248"/>
                </a:xfrm>
              </p:grpSpPr>
              <p:cxnSp>
                <p:nvCxnSpPr>
                  <p:cNvPr id="890" name="Straight Connector 889">
                    <a:extLst>
                      <a:ext uri="{FF2B5EF4-FFF2-40B4-BE49-F238E27FC236}">
                        <a16:creationId xmlns:a16="http://schemas.microsoft.com/office/drawing/2014/main" id="{F17609AF-3A78-4DE5-846A-BE062F5FC7D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1" name="Straight Connector 890">
                    <a:extLst>
                      <a:ext uri="{FF2B5EF4-FFF2-40B4-BE49-F238E27FC236}">
                        <a16:creationId xmlns:a16="http://schemas.microsoft.com/office/drawing/2014/main" id="{17B982B5-6D61-4808-B9C0-C5FFA20C61AA}"/>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89" name="TextBox 888">
                  <a:extLst>
                    <a:ext uri="{FF2B5EF4-FFF2-40B4-BE49-F238E27FC236}">
                      <a16:creationId xmlns:a16="http://schemas.microsoft.com/office/drawing/2014/main" id="{6BCE94EC-521C-454D-8837-19F2061396F8}"/>
                    </a:ext>
                  </a:extLst>
                </p:cNvPr>
                <p:cNvSpPr txBox="1"/>
                <p:nvPr/>
              </p:nvSpPr>
              <p:spPr>
                <a:xfrm>
                  <a:off x="6508675" y="3428025"/>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Brazil South</a:t>
                  </a:r>
                </a:p>
              </p:txBody>
            </p:sp>
          </p:grpSp>
          <p:grpSp>
            <p:nvGrpSpPr>
              <p:cNvPr id="892" name="Group 891">
                <a:extLst>
                  <a:ext uri="{FF2B5EF4-FFF2-40B4-BE49-F238E27FC236}">
                    <a16:creationId xmlns:a16="http://schemas.microsoft.com/office/drawing/2014/main" id="{63A20AA6-81F5-459A-AE67-4F0F0397C6E4}"/>
                  </a:ext>
                </a:extLst>
              </p:cNvPr>
              <p:cNvGrpSpPr/>
              <p:nvPr/>
            </p:nvGrpSpPr>
            <p:grpSpPr>
              <a:xfrm>
                <a:off x="8487275" y="4668914"/>
                <a:ext cx="1315863" cy="319483"/>
                <a:chOff x="6101684" y="3231653"/>
                <a:chExt cx="1315863" cy="319483"/>
              </a:xfrm>
            </p:grpSpPr>
            <p:grpSp>
              <p:nvGrpSpPr>
                <p:cNvPr id="893" name="Group 892">
                  <a:extLst>
                    <a:ext uri="{FF2B5EF4-FFF2-40B4-BE49-F238E27FC236}">
                      <a16:creationId xmlns:a16="http://schemas.microsoft.com/office/drawing/2014/main" id="{A3045051-F022-4874-B2C4-4D45519881DD}"/>
                    </a:ext>
                  </a:extLst>
                </p:cNvPr>
                <p:cNvGrpSpPr/>
                <p:nvPr/>
              </p:nvGrpSpPr>
              <p:grpSpPr>
                <a:xfrm flipH="1" flipV="1">
                  <a:off x="6101684" y="3231653"/>
                  <a:ext cx="375134" cy="254283"/>
                  <a:chOff x="5020101" y="2867890"/>
                  <a:chExt cx="482221" cy="416248"/>
                </a:xfrm>
              </p:grpSpPr>
              <p:cxnSp>
                <p:nvCxnSpPr>
                  <p:cNvPr id="895" name="Straight Connector 894">
                    <a:extLst>
                      <a:ext uri="{FF2B5EF4-FFF2-40B4-BE49-F238E27FC236}">
                        <a16:creationId xmlns:a16="http://schemas.microsoft.com/office/drawing/2014/main" id="{A1999FF9-F4DB-4152-A628-D1284FC017AF}"/>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6" name="Straight Connector 895">
                    <a:extLst>
                      <a:ext uri="{FF2B5EF4-FFF2-40B4-BE49-F238E27FC236}">
                        <a16:creationId xmlns:a16="http://schemas.microsoft.com/office/drawing/2014/main" id="{107FA5A7-B559-4AAB-8DE4-E9100397E94D}"/>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94" name="TextBox 893">
                  <a:extLst>
                    <a:ext uri="{FF2B5EF4-FFF2-40B4-BE49-F238E27FC236}">
                      <a16:creationId xmlns:a16="http://schemas.microsoft.com/office/drawing/2014/main" id="{A6DFA8A1-A6F6-4CF7-BED9-3D7632900371}"/>
                    </a:ext>
                  </a:extLst>
                </p:cNvPr>
                <p:cNvSpPr txBox="1"/>
                <p:nvPr/>
              </p:nvSpPr>
              <p:spPr>
                <a:xfrm>
                  <a:off x="6508674" y="3428025"/>
                  <a:ext cx="90887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 Africa North</a:t>
                  </a:r>
                </a:p>
              </p:txBody>
            </p:sp>
          </p:grpSp>
          <p:grpSp>
            <p:nvGrpSpPr>
              <p:cNvPr id="897" name="Group 896">
                <a:extLst>
                  <a:ext uri="{FF2B5EF4-FFF2-40B4-BE49-F238E27FC236}">
                    <a16:creationId xmlns:a16="http://schemas.microsoft.com/office/drawing/2014/main" id="{9F7F6F10-8AB7-43D6-BABE-971B9B52AAF2}"/>
                  </a:ext>
                </a:extLst>
              </p:cNvPr>
              <p:cNvGrpSpPr/>
              <p:nvPr/>
            </p:nvGrpSpPr>
            <p:grpSpPr>
              <a:xfrm>
                <a:off x="8254960" y="4903482"/>
                <a:ext cx="1315863" cy="319483"/>
                <a:chOff x="6101684" y="3231653"/>
                <a:chExt cx="1315863" cy="319483"/>
              </a:xfrm>
            </p:grpSpPr>
            <p:grpSp>
              <p:nvGrpSpPr>
                <p:cNvPr id="898" name="Group 897">
                  <a:extLst>
                    <a:ext uri="{FF2B5EF4-FFF2-40B4-BE49-F238E27FC236}">
                      <a16:creationId xmlns:a16="http://schemas.microsoft.com/office/drawing/2014/main" id="{9B8432C0-83B5-442F-9701-787550A9F44F}"/>
                    </a:ext>
                  </a:extLst>
                </p:cNvPr>
                <p:cNvGrpSpPr/>
                <p:nvPr/>
              </p:nvGrpSpPr>
              <p:grpSpPr>
                <a:xfrm flipH="1" flipV="1">
                  <a:off x="6101684" y="3231653"/>
                  <a:ext cx="375134" cy="254283"/>
                  <a:chOff x="5020101" y="2867890"/>
                  <a:chExt cx="482221" cy="416248"/>
                </a:xfrm>
              </p:grpSpPr>
              <p:cxnSp>
                <p:nvCxnSpPr>
                  <p:cNvPr id="900" name="Straight Connector 899">
                    <a:extLst>
                      <a:ext uri="{FF2B5EF4-FFF2-40B4-BE49-F238E27FC236}">
                        <a16:creationId xmlns:a16="http://schemas.microsoft.com/office/drawing/2014/main" id="{E29EAC85-ABDB-41DC-A273-02FC6B747F7B}"/>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1" name="Straight Connector 900">
                    <a:extLst>
                      <a:ext uri="{FF2B5EF4-FFF2-40B4-BE49-F238E27FC236}">
                        <a16:creationId xmlns:a16="http://schemas.microsoft.com/office/drawing/2014/main" id="{8EFE0226-C51F-49E8-A8D1-443428081DC9}"/>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99" name="TextBox 898">
                  <a:extLst>
                    <a:ext uri="{FF2B5EF4-FFF2-40B4-BE49-F238E27FC236}">
                      <a16:creationId xmlns:a16="http://schemas.microsoft.com/office/drawing/2014/main" id="{24AD36F8-C19F-479D-AD56-EC0BF061B62F}"/>
                    </a:ext>
                  </a:extLst>
                </p:cNvPr>
                <p:cNvSpPr txBox="1"/>
                <p:nvPr/>
              </p:nvSpPr>
              <p:spPr>
                <a:xfrm>
                  <a:off x="6508674" y="3428025"/>
                  <a:ext cx="90887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 Africa West</a:t>
                  </a:r>
                </a:p>
              </p:txBody>
            </p:sp>
          </p:grpSp>
          <p:sp>
            <p:nvSpPr>
              <p:cNvPr id="902" name="TextBox 901">
                <a:extLst>
                  <a:ext uri="{FF2B5EF4-FFF2-40B4-BE49-F238E27FC236}">
                    <a16:creationId xmlns:a16="http://schemas.microsoft.com/office/drawing/2014/main" id="{635772B4-989B-457A-95E8-658AE037C538}"/>
                  </a:ext>
                </a:extLst>
              </p:cNvPr>
              <p:cNvSpPr txBox="1"/>
              <p:nvPr/>
            </p:nvSpPr>
            <p:spPr>
              <a:xfrm>
                <a:off x="5764265" y="2167742"/>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North Europe</a:t>
                </a:r>
              </a:p>
            </p:txBody>
          </p:sp>
          <p:grpSp>
            <p:nvGrpSpPr>
              <p:cNvPr id="903" name="Group 902">
                <a:extLst>
                  <a:ext uri="{FF2B5EF4-FFF2-40B4-BE49-F238E27FC236}">
                    <a16:creationId xmlns:a16="http://schemas.microsoft.com/office/drawing/2014/main" id="{116BE7E0-88D9-4225-B756-5F8B97E090C3}"/>
                  </a:ext>
                </a:extLst>
              </p:cNvPr>
              <p:cNvGrpSpPr/>
              <p:nvPr/>
            </p:nvGrpSpPr>
            <p:grpSpPr>
              <a:xfrm>
                <a:off x="6690530" y="2246701"/>
                <a:ext cx="606805" cy="505819"/>
                <a:chOff x="4874844" y="2714446"/>
                <a:chExt cx="482221" cy="220914"/>
              </a:xfrm>
            </p:grpSpPr>
            <p:cxnSp>
              <p:nvCxnSpPr>
                <p:cNvPr id="904" name="Straight Connector 903">
                  <a:extLst>
                    <a:ext uri="{FF2B5EF4-FFF2-40B4-BE49-F238E27FC236}">
                      <a16:creationId xmlns:a16="http://schemas.microsoft.com/office/drawing/2014/main" id="{59D03919-8375-4FC2-A12C-FA8A8A1FD144}"/>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5" name="Straight Connector 904">
                  <a:extLst>
                    <a:ext uri="{FF2B5EF4-FFF2-40B4-BE49-F238E27FC236}">
                      <a16:creationId xmlns:a16="http://schemas.microsoft.com/office/drawing/2014/main" id="{7DFB9F4B-3127-42DF-B637-FA0AA8C3E006}"/>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31" name="Straight Connector 330">
                <a:extLst>
                  <a:ext uri="{FF2B5EF4-FFF2-40B4-BE49-F238E27FC236}">
                    <a16:creationId xmlns:a16="http://schemas.microsoft.com/office/drawing/2014/main" id="{40A7766C-A0DA-4073-AF2F-B4189B7EF3C1}"/>
                  </a:ext>
                </a:extLst>
              </p:cNvPr>
              <p:cNvCxnSpPr>
                <a:cxnSpLocks/>
              </p:cNvCxnSpPr>
              <p:nvPr/>
            </p:nvCxnSpPr>
            <p:spPr>
              <a:xfrm>
                <a:off x="7282308" y="2750922"/>
                <a:ext cx="30589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5" name="Group 334">
                <a:extLst>
                  <a:ext uri="{FF2B5EF4-FFF2-40B4-BE49-F238E27FC236}">
                    <a16:creationId xmlns:a16="http://schemas.microsoft.com/office/drawing/2014/main" id="{B6D2CD9C-C07F-4EF8-B8E6-739DD137F15C}"/>
                  </a:ext>
                </a:extLst>
              </p:cNvPr>
              <p:cNvGrpSpPr/>
              <p:nvPr/>
            </p:nvGrpSpPr>
            <p:grpSpPr>
              <a:xfrm>
                <a:off x="6979033" y="2901596"/>
                <a:ext cx="777825" cy="493039"/>
                <a:chOff x="6995479" y="2888439"/>
                <a:chExt cx="777825" cy="493039"/>
              </a:xfrm>
            </p:grpSpPr>
            <p:grpSp>
              <p:nvGrpSpPr>
                <p:cNvPr id="912" name="Group 911">
                  <a:extLst>
                    <a:ext uri="{FF2B5EF4-FFF2-40B4-BE49-F238E27FC236}">
                      <a16:creationId xmlns:a16="http://schemas.microsoft.com/office/drawing/2014/main" id="{6D828A08-6BD9-44B1-AB52-C9E86DEAA3F5}"/>
                    </a:ext>
                  </a:extLst>
                </p:cNvPr>
                <p:cNvGrpSpPr/>
                <p:nvPr/>
              </p:nvGrpSpPr>
              <p:grpSpPr>
                <a:xfrm flipV="1">
                  <a:off x="7651319" y="2888439"/>
                  <a:ext cx="121985" cy="442493"/>
                  <a:chOff x="5020101" y="2867890"/>
                  <a:chExt cx="482221" cy="416248"/>
                </a:xfrm>
              </p:grpSpPr>
              <p:cxnSp>
                <p:nvCxnSpPr>
                  <p:cNvPr id="913" name="Straight Connector 912">
                    <a:extLst>
                      <a:ext uri="{FF2B5EF4-FFF2-40B4-BE49-F238E27FC236}">
                        <a16:creationId xmlns:a16="http://schemas.microsoft.com/office/drawing/2014/main" id="{DBB2899E-8262-492A-BDF2-521B174D3F28}"/>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14" name="Straight Connector 913">
                    <a:extLst>
                      <a:ext uri="{FF2B5EF4-FFF2-40B4-BE49-F238E27FC236}">
                        <a16:creationId xmlns:a16="http://schemas.microsoft.com/office/drawing/2014/main" id="{0AB48CC7-D130-49E0-8C43-D49131CC9BB0}"/>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5" name="TextBox 914">
                  <a:extLst>
                    <a:ext uri="{FF2B5EF4-FFF2-40B4-BE49-F238E27FC236}">
                      <a16:creationId xmlns:a16="http://schemas.microsoft.com/office/drawing/2014/main" id="{F557F926-AF39-4C4A-97DE-F2D8576184E7}"/>
                    </a:ext>
                  </a:extLst>
                </p:cNvPr>
                <p:cNvSpPr txBox="1"/>
                <p:nvPr/>
              </p:nvSpPr>
              <p:spPr>
                <a:xfrm>
                  <a:off x="6995479" y="3258367"/>
                  <a:ext cx="627172"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K West</a:t>
                  </a:r>
                </a:p>
              </p:txBody>
            </p:sp>
          </p:grpSp>
          <p:grpSp>
            <p:nvGrpSpPr>
              <p:cNvPr id="917" name="Group 916">
                <a:extLst>
                  <a:ext uri="{FF2B5EF4-FFF2-40B4-BE49-F238E27FC236}">
                    <a16:creationId xmlns:a16="http://schemas.microsoft.com/office/drawing/2014/main" id="{3A5CC472-5D07-479F-83E5-26B02B20572F}"/>
                  </a:ext>
                </a:extLst>
              </p:cNvPr>
              <p:cNvGrpSpPr/>
              <p:nvPr/>
            </p:nvGrpSpPr>
            <p:grpSpPr>
              <a:xfrm>
                <a:off x="7134919" y="3047848"/>
                <a:ext cx="777825" cy="616149"/>
                <a:chOff x="6995479" y="2888439"/>
                <a:chExt cx="777825" cy="616149"/>
              </a:xfrm>
            </p:grpSpPr>
            <p:grpSp>
              <p:nvGrpSpPr>
                <p:cNvPr id="918" name="Group 917">
                  <a:extLst>
                    <a:ext uri="{FF2B5EF4-FFF2-40B4-BE49-F238E27FC236}">
                      <a16:creationId xmlns:a16="http://schemas.microsoft.com/office/drawing/2014/main" id="{A5CB7554-1244-4A75-9D70-40FA42AD97D2}"/>
                    </a:ext>
                  </a:extLst>
                </p:cNvPr>
                <p:cNvGrpSpPr/>
                <p:nvPr/>
              </p:nvGrpSpPr>
              <p:grpSpPr>
                <a:xfrm flipV="1">
                  <a:off x="7651319" y="2888439"/>
                  <a:ext cx="121985" cy="442493"/>
                  <a:chOff x="5020101" y="2867890"/>
                  <a:chExt cx="482221" cy="416248"/>
                </a:xfrm>
              </p:grpSpPr>
              <p:cxnSp>
                <p:nvCxnSpPr>
                  <p:cNvPr id="920" name="Straight Connector 919">
                    <a:extLst>
                      <a:ext uri="{FF2B5EF4-FFF2-40B4-BE49-F238E27FC236}">
                        <a16:creationId xmlns:a16="http://schemas.microsoft.com/office/drawing/2014/main" id="{8C4C4C42-A226-4E51-BE14-2A1D96051D6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1" name="Straight Connector 920">
                    <a:extLst>
                      <a:ext uri="{FF2B5EF4-FFF2-40B4-BE49-F238E27FC236}">
                        <a16:creationId xmlns:a16="http://schemas.microsoft.com/office/drawing/2014/main" id="{9A5E726A-A955-4868-9080-93D109310C82}"/>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9" name="TextBox 918">
                  <a:extLst>
                    <a:ext uri="{FF2B5EF4-FFF2-40B4-BE49-F238E27FC236}">
                      <a16:creationId xmlns:a16="http://schemas.microsoft.com/office/drawing/2014/main" id="{F00B9C31-F711-4EA2-B369-836078581A63}"/>
                    </a:ext>
                  </a:extLst>
                </p:cNvPr>
                <p:cNvSpPr txBox="1"/>
                <p:nvPr/>
              </p:nvSpPr>
              <p:spPr>
                <a:xfrm>
                  <a:off x="6995479" y="3258367"/>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France Central</a:t>
                  </a:r>
                </a:p>
              </p:txBody>
            </p:sp>
          </p:grpSp>
          <p:grpSp>
            <p:nvGrpSpPr>
              <p:cNvPr id="336" name="Group 335">
                <a:extLst>
                  <a:ext uri="{FF2B5EF4-FFF2-40B4-BE49-F238E27FC236}">
                    <a16:creationId xmlns:a16="http://schemas.microsoft.com/office/drawing/2014/main" id="{39397E6F-86E1-463B-A84A-E507869E74B0}"/>
                  </a:ext>
                </a:extLst>
              </p:cNvPr>
              <p:cNvGrpSpPr/>
              <p:nvPr/>
            </p:nvGrpSpPr>
            <p:grpSpPr>
              <a:xfrm>
                <a:off x="7204117" y="3121458"/>
                <a:ext cx="777825" cy="813656"/>
                <a:chOff x="7204117" y="3121458"/>
                <a:chExt cx="777825" cy="813656"/>
              </a:xfrm>
            </p:grpSpPr>
            <p:grpSp>
              <p:nvGrpSpPr>
                <p:cNvPr id="923" name="Group 922">
                  <a:extLst>
                    <a:ext uri="{FF2B5EF4-FFF2-40B4-BE49-F238E27FC236}">
                      <a16:creationId xmlns:a16="http://schemas.microsoft.com/office/drawing/2014/main" id="{8F30F54D-4FF6-47D2-A9F0-8F0432095C1F}"/>
                    </a:ext>
                  </a:extLst>
                </p:cNvPr>
                <p:cNvGrpSpPr/>
                <p:nvPr/>
              </p:nvGrpSpPr>
              <p:grpSpPr>
                <a:xfrm flipV="1">
                  <a:off x="7859957" y="3121458"/>
                  <a:ext cx="121985" cy="639999"/>
                  <a:chOff x="5020101" y="2867890"/>
                  <a:chExt cx="482221" cy="416248"/>
                </a:xfrm>
              </p:grpSpPr>
              <p:cxnSp>
                <p:nvCxnSpPr>
                  <p:cNvPr id="925" name="Straight Connector 924">
                    <a:extLst>
                      <a:ext uri="{FF2B5EF4-FFF2-40B4-BE49-F238E27FC236}">
                        <a16:creationId xmlns:a16="http://schemas.microsoft.com/office/drawing/2014/main" id="{A8E36EB1-51C3-41A6-9AE6-14D413C325B5}"/>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6" name="Straight Connector 925">
                    <a:extLst>
                      <a:ext uri="{FF2B5EF4-FFF2-40B4-BE49-F238E27FC236}">
                        <a16:creationId xmlns:a16="http://schemas.microsoft.com/office/drawing/2014/main" id="{5495D3EB-A4CA-4E36-B267-768E233BDC78}"/>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24" name="TextBox 923">
                  <a:extLst>
                    <a:ext uri="{FF2B5EF4-FFF2-40B4-BE49-F238E27FC236}">
                      <a16:creationId xmlns:a16="http://schemas.microsoft.com/office/drawing/2014/main" id="{3029722B-43E6-49F1-89ED-1C5FA25F0C8F}"/>
                    </a:ext>
                  </a:extLst>
                </p:cNvPr>
                <p:cNvSpPr txBox="1"/>
                <p:nvPr/>
              </p:nvSpPr>
              <p:spPr>
                <a:xfrm>
                  <a:off x="7204117" y="3688893"/>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France </a:t>
                  </a:r>
                  <a:br>
                    <a:rPr lang="en-US" sz="800">
                      <a:gradFill>
                        <a:gsLst>
                          <a:gs pos="1250">
                            <a:srgbClr val="FFFFFF"/>
                          </a:gs>
                          <a:gs pos="100000">
                            <a:srgbClr val="FFFFFF"/>
                          </a:gs>
                        </a:gsLst>
                        <a:lin ang="5400000" scaled="0"/>
                      </a:gradFill>
                      <a:latin typeface="+mj-lt"/>
                    </a:rPr>
                  </a:br>
                  <a:r>
                    <a:rPr lang="en-US" sz="800">
                      <a:gradFill>
                        <a:gsLst>
                          <a:gs pos="1250">
                            <a:srgbClr val="FFFFFF"/>
                          </a:gs>
                          <a:gs pos="100000">
                            <a:srgbClr val="FFFFFF"/>
                          </a:gs>
                        </a:gsLst>
                        <a:lin ang="5400000" scaled="0"/>
                      </a:gradFill>
                      <a:latin typeface="+mj-lt"/>
                    </a:rPr>
                    <a:t>South</a:t>
                  </a:r>
                </a:p>
              </p:txBody>
            </p:sp>
          </p:grpSp>
          <p:grpSp>
            <p:nvGrpSpPr>
              <p:cNvPr id="929" name="Group 928">
                <a:extLst>
                  <a:ext uri="{FF2B5EF4-FFF2-40B4-BE49-F238E27FC236}">
                    <a16:creationId xmlns:a16="http://schemas.microsoft.com/office/drawing/2014/main" id="{5BD777FA-DA4A-47D3-A7AE-BB8E4086E366}"/>
                  </a:ext>
                </a:extLst>
              </p:cNvPr>
              <p:cNvGrpSpPr/>
              <p:nvPr/>
            </p:nvGrpSpPr>
            <p:grpSpPr>
              <a:xfrm flipV="1">
                <a:off x="7939104" y="3029360"/>
                <a:ext cx="121985" cy="1011631"/>
                <a:chOff x="5020101" y="2867890"/>
                <a:chExt cx="482221" cy="416248"/>
              </a:xfrm>
            </p:grpSpPr>
            <p:cxnSp>
              <p:nvCxnSpPr>
                <p:cNvPr id="931" name="Straight Connector 930">
                  <a:extLst>
                    <a:ext uri="{FF2B5EF4-FFF2-40B4-BE49-F238E27FC236}">
                      <a16:creationId xmlns:a16="http://schemas.microsoft.com/office/drawing/2014/main" id="{DDB24D61-C201-4DE9-BD43-FD66B5EF591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2" name="Straight Connector 931">
                  <a:extLst>
                    <a:ext uri="{FF2B5EF4-FFF2-40B4-BE49-F238E27FC236}">
                      <a16:creationId xmlns:a16="http://schemas.microsoft.com/office/drawing/2014/main" id="{C119C802-9CBB-4A2C-B5F5-B6BD325572BB}"/>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30" name="TextBox 929">
                <a:extLst>
                  <a:ext uri="{FF2B5EF4-FFF2-40B4-BE49-F238E27FC236}">
                    <a16:creationId xmlns:a16="http://schemas.microsoft.com/office/drawing/2014/main" id="{FB212DB7-7741-4B16-AE55-7503444BB68F}"/>
                  </a:ext>
                </a:extLst>
              </p:cNvPr>
              <p:cNvSpPr txBox="1"/>
              <p:nvPr/>
            </p:nvSpPr>
            <p:spPr>
              <a:xfrm>
                <a:off x="7283264" y="3968428"/>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witzerland</a:t>
                </a:r>
              </a:p>
              <a:p>
                <a:pPr algn="r" defTabSz="932742" fontAlgn="b">
                  <a:defRPr/>
                </a:pPr>
                <a:r>
                  <a:rPr lang="en-US" sz="800">
                    <a:gradFill>
                      <a:gsLst>
                        <a:gs pos="1250">
                          <a:srgbClr val="FFFFFF"/>
                        </a:gs>
                        <a:gs pos="100000">
                          <a:srgbClr val="FFFFFF"/>
                        </a:gs>
                      </a:gsLst>
                      <a:lin ang="5400000" scaled="0"/>
                    </a:gradFill>
                    <a:latin typeface="+mj-lt"/>
                  </a:rPr>
                  <a:t>West</a:t>
                </a:r>
              </a:p>
            </p:txBody>
          </p:sp>
          <p:grpSp>
            <p:nvGrpSpPr>
              <p:cNvPr id="337" name="Group 336">
                <a:extLst>
                  <a:ext uri="{FF2B5EF4-FFF2-40B4-BE49-F238E27FC236}">
                    <a16:creationId xmlns:a16="http://schemas.microsoft.com/office/drawing/2014/main" id="{BA4E1AA6-58F2-4A4F-A859-64FEE3430429}"/>
                  </a:ext>
                </a:extLst>
              </p:cNvPr>
              <p:cNvGrpSpPr/>
              <p:nvPr/>
            </p:nvGrpSpPr>
            <p:grpSpPr>
              <a:xfrm>
                <a:off x="8245943" y="2889988"/>
                <a:ext cx="1240018" cy="123111"/>
                <a:chOff x="8245943" y="2889988"/>
                <a:chExt cx="1240018" cy="123111"/>
              </a:xfrm>
            </p:grpSpPr>
            <p:sp>
              <p:nvSpPr>
                <p:cNvPr id="939" name="TextBox 938">
                  <a:extLst>
                    <a:ext uri="{FF2B5EF4-FFF2-40B4-BE49-F238E27FC236}">
                      <a16:creationId xmlns:a16="http://schemas.microsoft.com/office/drawing/2014/main" id="{C8797AC2-6614-4B35-BED7-29C882E589B1}"/>
                    </a:ext>
                  </a:extLst>
                </p:cNvPr>
                <p:cNvSpPr txBox="1"/>
                <p:nvPr/>
              </p:nvSpPr>
              <p:spPr>
                <a:xfrm>
                  <a:off x="8587548" y="2889988"/>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witzerland North</a:t>
                  </a:r>
                </a:p>
              </p:txBody>
            </p:sp>
            <p:cxnSp>
              <p:nvCxnSpPr>
                <p:cNvPr id="940" name="Straight Connector 939">
                  <a:extLst>
                    <a:ext uri="{FF2B5EF4-FFF2-40B4-BE49-F238E27FC236}">
                      <a16:creationId xmlns:a16="http://schemas.microsoft.com/office/drawing/2014/main" id="{12E2407C-0175-4025-A251-7436E968A6E7}"/>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2" name="Group 941">
                <a:extLst>
                  <a:ext uri="{FF2B5EF4-FFF2-40B4-BE49-F238E27FC236}">
                    <a16:creationId xmlns:a16="http://schemas.microsoft.com/office/drawing/2014/main" id="{206E746B-F85D-4F0A-A9D6-E372E15C6637}"/>
                  </a:ext>
                </a:extLst>
              </p:cNvPr>
              <p:cNvGrpSpPr/>
              <p:nvPr/>
            </p:nvGrpSpPr>
            <p:grpSpPr>
              <a:xfrm>
                <a:off x="8282765" y="2778619"/>
                <a:ext cx="1240018" cy="123111"/>
                <a:chOff x="8245943" y="2889988"/>
                <a:chExt cx="1240018" cy="123111"/>
              </a:xfrm>
            </p:grpSpPr>
            <p:sp>
              <p:nvSpPr>
                <p:cNvPr id="943" name="TextBox 942">
                  <a:extLst>
                    <a:ext uri="{FF2B5EF4-FFF2-40B4-BE49-F238E27FC236}">
                      <a16:creationId xmlns:a16="http://schemas.microsoft.com/office/drawing/2014/main" id="{D9BED837-6CB7-487F-BB34-15CC47B8A639}"/>
                    </a:ext>
                  </a:extLst>
                </p:cNvPr>
                <p:cNvSpPr txBox="1"/>
                <p:nvPr/>
              </p:nvSpPr>
              <p:spPr>
                <a:xfrm>
                  <a:off x="8587548" y="2889988"/>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Central</a:t>
                  </a:r>
                </a:p>
              </p:txBody>
            </p:sp>
            <p:cxnSp>
              <p:nvCxnSpPr>
                <p:cNvPr id="944" name="Straight Connector 943">
                  <a:extLst>
                    <a:ext uri="{FF2B5EF4-FFF2-40B4-BE49-F238E27FC236}">
                      <a16:creationId xmlns:a16="http://schemas.microsoft.com/office/drawing/2014/main" id="{6075E87B-ACC6-4C2E-8FDC-7F8DE4354204}"/>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5" name="Group 944">
                <a:extLst>
                  <a:ext uri="{FF2B5EF4-FFF2-40B4-BE49-F238E27FC236}">
                    <a16:creationId xmlns:a16="http://schemas.microsoft.com/office/drawing/2014/main" id="{EC37AEA3-8489-48C1-B6A7-26C8ACF509EF}"/>
                  </a:ext>
                </a:extLst>
              </p:cNvPr>
              <p:cNvGrpSpPr/>
              <p:nvPr/>
            </p:nvGrpSpPr>
            <p:grpSpPr>
              <a:xfrm>
                <a:off x="8304354" y="2671134"/>
                <a:ext cx="1322096" cy="123111"/>
                <a:chOff x="8245943" y="2889988"/>
                <a:chExt cx="1322096" cy="123111"/>
              </a:xfrm>
            </p:grpSpPr>
            <p:sp>
              <p:nvSpPr>
                <p:cNvPr id="946" name="TextBox 945">
                  <a:extLst>
                    <a:ext uri="{FF2B5EF4-FFF2-40B4-BE49-F238E27FC236}">
                      <a16:creationId xmlns:a16="http://schemas.microsoft.com/office/drawing/2014/main" id="{AC4E045B-AE4F-4380-AB74-AC1ECF9BE985}"/>
                    </a:ext>
                  </a:extLst>
                </p:cNvPr>
                <p:cNvSpPr txBox="1"/>
                <p:nvPr/>
              </p:nvSpPr>
              <p:spPr>
                <a:xfrm>
                  <a:off x="8587548" y="2889988"/>
                  <a:ext cx="98049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Northeast</a:t>
                  </a:r>
                </a:p>
              </p:txBody>
            </p:sp>
            <p:cxnSp>
              <p:nvCxnSpPr>
                <p:cNvPr id="947" name="Straight Connector 946">
                  <a:extLst>
                    <a:ext uri="{FF2B5EF4-FFF2-40B4-BE49-F238E27FC236}">
                      <a16:creationId xmlns:a16="http://schemas.microsoft.com/office/drawing/2014/main" id="{FE545F5B-B1C5-4985-A653-59ED377C0FC4}"/>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8" name="Group 947">
                <a:extLst>
                  <a:ext uri="{FF2B5EF4-FFF2-40B4-BE49-F238E27FC236}">
                    <a16:creationId xmlns:a16="http://schemas.microsoft.com/office/drawing/2014/main" id="{49156296-23F3-437A-B136-D6C997AE1F9A}"/>
                  </a:ext>
                </a:extLst>
              </p:cNvPr>
              <p:cNvGrpSpPr/>
              <p:nvPr/>
            </p:nvGrpSpPr>
            <p:grpSpPr>
              <a:xfrm>
                <a:off x="8173511" y="2330438"/>
                <a:ext cx="1322096" cy="123111"/>
                <a:chOff x="8245943" y="2889988"/>
                <a:chExt cx="1322096" cy="123111"/>
              </a:xfrm>
            </p:grpSpPr>
            <p:sp>
              <p:nvSpPr>
                <p:cNvPr id="949" name="TextBox 948">
                  <a:extLst>
                    <a:ext uri="{FF2B5EF4-FFF2-40B4-BE49-F238E27FC236}">
                      <a16:creationId xmlns:a16="http://schemas.microsoft.com/office/drawing/2014/main" id="{810EF9F3-7F63-4E5D-A445-23503D9E771A}"/>
                    </a:ext>
                  </a:extLst>
                </p:cNvPr>
                <p:cNvSpPr txBox="1"/>
                <p:nvPr/>
              </p:nvSpPr>
              <p:spPr>
                <a:xfrm>
                  <a:off x="8587548" y="2889988"/>
                  <a:ext cx="98049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East</a:t>
                  </a:r>
                </a:p>
              </p:txBody>
            </p:sp>
            <p:cxnSp>
              <p:nvCxnSpPr>
                <p:cNvPr id="950" name="Straight Connector 949">
                  <a:extLst>
                    <a:ext uri="{FF2B5EF4-FFF2-40B4-BE49-F238E27FC236}">
                      <a16:creationId xmlns:a16="http://schemas.microsoft.com/office/drawing/2014/main" id="{CE7767CC-8C0F-4ACB-A394-70E4E93C2F6D}"/>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8" name="Group 337">
                <a:extLst>
                  <a:ext uri="{FF2B5EF4-FFF2-40B4-BE49-F238E27FC236}">
                    <a16:creationId xmlns:a16="http://schemas.microsoft.com/office/drawing/2014/main" id="{C257DD0D-2C71-4490-A922-274C5E1C7027}"/>
                  </a:ext>
                </a:extLst>
              </p:cNvPr>
              <p:cNvGrpSpPr/>
              <p:nvPr/>
            </p:nvGrpSpPr>
            <p:grpSpPr>
              <a:xfrm>
                <a:off x="7974850" y="2122124"/>
                <a:ext cx="1419338" cy="244642"/>
                <a:chOff x="7974850" y="2122124"/>
                <a:chExt cx="1419338" cy="244642"/>
              </a:xfrm>
            </p:grpSpPr>
            <p:sp>
              <p:nvSpPr>
                <p:cNvPr id="952" name="TextBox 951">
                  <a:extLst>
                    <a:ext uri="{FF2B5EF4-FFF2-40B4-BE49-F238E27FC236}">
                      <a16:creationId xmlns:a16="http://schemas.microsoft.com/office/drawing/2014/main" id="{BF437E88-9E61-49DF-A113-E0A60C007872}"/>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West</a:t>
                  </a:r>
                </a:p>
              </p:txBody>
            </p:sp>
            <p:grpSp>
              <p:nvGrpSpPr>
                <p:cNvPr id="953" name="Group 952">
                  <a:extLst>
                    <a:ext uri="{FF2B5EF4-FFF2-40B4-BE49-F238E27FC236}">
                      <a16:creationId xmlns:a16="http://schemas.microsoft.com/office/drawing/2014/main" id="{7886A43F-29AE-4A90-B4A3-39CDCC1D275B}"/>
                    </a:ext>
                  </a:extLst>
                </p:cNvPr>
                <p:cNvGrpSpPr/>
                <p:nvPr/>
              </p:nvGrpSpPr>
              <p:grpSpPr>
                <a:xfrm flipH="1">
                  <a:off x="7974850" y="2187748"/>
                  <a:ext cx="482221" cy="179018"/>
                  <a:chOff x="5020101" y="2862261"/>
                  <a:chExt cx="482221" cy="421877"/>
                </a:xfrm>
              </p:grpSpPr>
              <p:cxnSp>
                <p:nvCxnSpPr>
                  <p:cNvPr id="954" name="Straight Connector 953">
                    <a:extLst>
                      <a:ext uri="{FF2B5EF4-FFF2-40B4-BE49-F238E27FC236}">
                        <a16:creationId xmlns:a16="http://schemas.microsoft.com/office/drawing/2014/main" id="{C41ADC14-04A4-49AD-B84D-5B80C233955F}"/>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5" name="Straight Connector 954">
                    <a:extLst>
                      <a:ext uri="{FF2B5EF4-FFF2-40B4-BE49-F238E27FC236}">
                        <a16:creationId xmlns:a16="http://schemas.microsoft.com/office/drawing/2014/main" id="{BEA9DAFC-4C1D-40BA-86D5-5208F139D7D4}"/>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57" name="Group 956">
                <a:extLst>
                  <a:ext uri="{FF2B5EF4-FFF2-40B4-BE49-F238E27FC236}">
                    <a16:creationId xmlns:a16="http://schemas.microsoft.com/office/drawing/2014/main" id="{DD09EE3A-856F-44A4-A863-1C83AFA3DAD0}"/>
                  </a:ext>
                </a:extLst>
              </p:cNvPr>
              <p:cNvGrpSpPr/>
              <p:nvPr/>
            </p:nvGrpSpPr>
            <p:grpSpPr>
              <a:xfrm>
                <a:off x="8021995" y="2448852"/>
                <a:ext cx="1419338" cy="244642"/>
                <a:chOff x="7974850" y="2122124"/>
                <a:chExt cx="1419338" cy="244642"/>
              </a:xfrm>
            </p:grpSpPr>
            <p:sp>
              <p:nvSpPr>
                <p:cNvPr id="958" name="TextBox 957">
                  <a:extLst>
                    <a:ext uri="{FF2B5EF4-FFF2-40B4-BE49-F238E27FC236}">
                      <a16:creationId xmlns:a16="http://schemas.microsoft.com/office/drawing/2014/main" id="{1C1F105D-F657-46BF-A5B6-C1C8BA5FD261}"/>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West Europe</a:t>
                  </a:r>
                </a:p>
              </p:txBody>
            </p:sp>
            <p:grpSp>
              <p:nvGrpSpPr>
                <p:cNvPr id="959" name="Group 958">
                  <a:extLst>
                    <a:ext uri="{FF2B5EF4-FFF2-40B4-BE49-F238E27FC236}">
                      <a16:creationId xmlns:a16="http://schemas.microsoft.com/office/drawing/2014/main" id="{B4062F7C-7C0D-45C2-BC54-AF22F80FAB2B}"/>
                    </a:ext>
                  </a:extLst>
                </p:cNvPr>
                <p:cNvGrpSpPr/>
                <p:nvPr/>
              </p:nvGrpSpPr>
              <p:grpSpPr>
                <a:xfrm flipH="1">
                  <a:off x="7974850" y="2187748"/>
                  <a:ext cx="482221" cy="179018"/>
                  <a:chOff x="5020101" y="2862261"/>
                  <a:chExt cx="482221" cy="421877"/>
                </a:xfrm>
              </p:grpSpPr>
              <p:cxnSp>
                <p:nvCxnSpPr>
                  <p:cNvPr id="960" name="Straight Connector 959">
                    <a:extLst>
                      <a:ext uri="{FF2B5EF4-FFF2-40B4-BE49-F238E27FC236}">
                        <a16:creationId xmlns:a16="http://schemas.microsoft.com/office/drawing/2014/main" id="{5DB7E9E1-5CF4-4629-9158-665F4EFFF959}"/>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1" name="Straight Connector 960">
                    <a:extLst>
                      <a:ext uri="{FF2B5EF4-FFF2-40B4-BE49-F238E27FC236}">
                        <a16:creationId xmlns:a16="http://schemas.microsoft.com/office/drawing/2014/main" id="{E87AC903-4E42-4C6C-BD2D-1D0EBCB600DD}"/>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62" name="Group 961">
                <a:extLst>
                  <a:ext uri="{FF2B5EF4-FFF2-40B4-BE49-F238E27FC236}">
                    <a16:creationId xmlns:a16="http://schemas.microsoft.com/office/drawing/2014/main" id="{EC0CAD81-EF88-4373-884E-1F61199F500D}"/>
                  </a:ext>
                </a:extLst>
              </p:cNvPr>
              <p:cNvGrpSpPr/>
              <p:nvPr/>
            </p:nvGrpSpPr>
            <p:grpSpPr>
              <a:xfrm>
                <a:off x="8121767" y="2561782"/>
                <a:ext cx="1584815" cy="125503"/>
                <a:chOff x="7974850" y="2122124"/>
                <a:chExt cx="1584815" cy="125503"/>
              </a:xfrm>
            </p:grpSpPr>
            <p:sp>
              <p:nvSpPr>
                <p:cNvPr id="963" name="TextBox 962">
                  <a:extLst>
                    <a:ext uri="{FF2B5EF4-FFF2-40B4-BE49-F238E27FC236}">
                      <a16:creationId xmlns:a16="http://schemas.microsoft.com/office/drawing/2014/main" id="{60AD6D39-F7B0-45C6-A927-029994374498}"/>
                    </a:ext>
                  </a:extLst>
                </p:cNvPr>
                <p:cNvSpPr txBox="1"/>
                <p:nvPr/>
              </p:nvSpPr>
              <p:spPr>
                <a:xfrm>
                  <a:off x="8495775" y="2122124"/>
                  <a:ext cx="1063890"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West Central</a:t>
                  </a:r>
                </a:p>
              </p:txBody>
            </p:sp>
            <p:grpSp>
              <p:nvGrpSpPr>
                <p:cNvPr id="964" name="Group 963">
                  <a:extLst>
                    <a:ext uri="{FF2B5EF4-FFF2-40B4-BE49-F238E27FC236}">
                      <a16:creationId xmlns:a16="http://schemas.microsoft.com/office/drawing/2014/main" id="{802F7BB4-36F2-4CEA-8CB0-A6EFAD28825A}"/>
                    </a:ext>
                  </a:extLst>
                </p:cNvPr>
                <p:cNvGrpSpPr/>
                <p:nvPr/>
              </p:nvGrpSpPr>
              <p:grpSpPr>
                <a:xfrm flipH="1">
                  <a:off x="7974850" y="2187750"/>
                  <a:ext cx="482221" cy="59877"/>
                  <a:chOff x="5020101" y="2862261"/>
                  <a:chExt cx="482221" cy="141107"/>
                </a:xfrm>
              </p:grpSpPr>
              <p:cxnSp>
                <p:nvCxnSpPr>
                  <p:cNvPr id="965" name="Straight Connector 964">
                    <a:extLst>
                      <a:ext uri="{FF2B5EF4-FFF2-40B4-BE49-F238E27FC236}">
                        <a16:creationId xmlns:a16="http://schemas.microsoft.com/office/drawing/2014/main" id="{46064850-86A1-4CFF-B9F0-70887C231900}"/>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6" name="Straight Connector 965">
                    <a:extLst>
                      <a:ext uri="{FF2B5EF4-FFF2-40B4-BE49-F238E27FC236}">
                        <a16:creationId xmlns:a16="http://schemas.microsoft.com/office/drawing/2014/main" id="{7BD96520-9F53-42E2-BB54-8A08E18F2C10}"/>
                      </a:ext>
                    </a:extLst>
                  </p:cNvPr>
                  <p:cNvCxnSpPr>
                    <a:cxnSpLocks/>
                  </p:cNvCxnSpPr>
                  <p:nvPr/>
                </p:nvCxnSpPr>
                <p:spPr>
                  <a:xfrm flipH="1">
                    <a:off x="5495179" y="2862261"/>
                    <a:ext cx="0" cy="14110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53" name="Group 352">
                <a:extLst>
                  <a:ext uri="{FF2B5EF4-FFF2-40B4-BE49-F238E27FC236}">
                    <a16:creationId xmlns:a16="http://schemas.microsoft.com/office/drawing/2014/main" id="{37388FB4-AE98-4D29-B389-3421AD37B3CA}"/>
                  </a:ext>
                </a:extLst>
              </p:cNvPr>
              <p:cNvGrpSpPr/>
              <p:nvPr/>
            </p:nvGrpSpPr>
            <p:grpSpPr>
              <a:xfrm>
                <a:off x="7903968" y="1985684"/>
                <a:ext cx="1420515" cy="871649"/>
                <a:chOff x="7903968" y="1985684"/>
                <a:chExt cx="1420515" cy="871649"/>
              </a:xfrm>
            </p:grpSpPr>
            <p:grpSp>
              <p:nvGrpSpPr>
                <p:cNvPr id="968" name="Group 967">
                  <a:extLst>
                    <a:ext uri="{FF2B5EF4-FFF2-40B4-BE49-F238E27FC236}">
                      <a16:creationId xmlns:a16="http://schemas.microsoft.com/office/drawing/2014/main" id="{E8E43516-6199-40CD-A641-01DF35663F26}"/>
                    </a:ext>
                  </a:extLst>
                </p:cNvPr>
                <p:cNvGrpSpPr/>
                <p:nvPr/>
              </p:nvGrpSpPr>
              <p:grpSpPr>
                <a:xfrm>
                  <a:off x="7905145" y="1985684"/>
                  <a:ext cx="1419338" cy="869349"/>
                  <a:chOff x="7974850" y="2122124"/>
                  <a:chExt cx="1419338" cy="869349"/>
                </a:xfrm>
              </p:grpSpPr>
              <p:sp>
                <p:nvSpPr>
                  <p:cNvPr id="969" name="TextBox 968">
                    <a:extLst>
                      <a:ext uri="{FF2B5EF4-FFF2-40B4-BE49-F238E27FC236}">
                        <a16:creationId xmlns:a16="http://schemas.microsoft.com/office/drawing/2014/main" id="{1496942B-6179-4875-A9BE-7753B55F1B39}"/>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West</a:t>
                    </a:r>
                  </a:p>
                </p:txBody>
              </p:sp>
              <p:grpSp>
                <p:nvGrpSpPr>
                  <p:cNvPr id="970" name="Group 969">
                    <a:extLst>
                      <a:ext uri="{FF2B5EF4-FFF2-40B4-BE49-F238E27FC236}">
                        <a16:creationId xmlns:a16="http://schemas.microsoft.com/office/drawing/2014/main" id="{E2DF6337-8090-4B71-88AB-A5DD16E88D34}"/>
                      </a:ext>
                    </a:extLst>
                  </p:cNvPr>
                  <p:cNvGrpSpPr/>
                  <p:nvPr/>
                </p:nvGrpSpPr>
                <p:grpSpPr>
                  <a:xfrm flipH="1">
                    <a:off x="7974850" y="2187748"/>
                    <a:ext cx="482221" cy="803725"/>
                    <a:chOff x="5020101" y="2862261"/>
                    <a:chExt cx="482221" cy="1894073"/>
                  </a:xfrm>
                </p:grpSpPr>
                <p:cxnSp>
                  <p:nvCxnSpPr>
                    <p:cNvPr id="971" name="Straight Connector 970">
                      <a:extLst>
                        <a:ext uri="{FF2B5EF4-FFF2-40B4-BE49-F238E27FC236}">
                          <a16:creationId xmlns:a16="http://schemas.microsoft.com/office/drawing/2014/main" id="{AB8F744E-5CFC-4D9B-9121-E12C66A5060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2" name="Straight Connector 971">
                      <a:extLst>
                        <a:ext uri="{FF2B5EF4-FFF2-40B4-BE49-F238E27FC236}">
                          <a16:creationId xmlns:a16="http://schemas.microsoft.com/office/drawing/2014/main" id="{DBBF3A0B-A310-40DF-965D-05B526637583}"/>
                        </a:ext>
                      </a:extLst>
                    </p:cNvPr>
                    <p:cNvCxnSpPr>
                      <a:cxnSpLocks/>
                    </p:cNvCxnSpPr>
                    <p:nvPr/>
                  </p:nvCxnSpPr>
                  <p:spPr>
                    <a:xfrm flipH="1">
                      <a:off x="5498468" y="2862261"/>
                      <a:ext cx="0" cy="189407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51" name="Straight Connector 350">
                  <a:extLst>
                    <a:ext uri="{FF2B5EF4-FFF2-40B4-BE49-F238E27FC236}">
                      <a16:creationId xmlns:a16="http://schemas.microsoft.com/office/drawing/2014/main" id="{F956777A-3EC1-474E-B8FF-D627682C0C8B}"/>
                    </a:ext>
                  </a:extLst>
                </p:cNvPr>
                <p:cNvCxnSpPr>
                  <a:cxnSpLocks/>
                </p:cNvCxnSpPr>
                <p:nvPr/>
              </p:nvCxnSpPr>
              <p:spPr>
                <a:xfrm>
                  <a:off x="7903968" y="2857333"/>
                  <a:ext cx="117280"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80" name="Group 979">
                <a:extLst>
                  <a:ext uri="{FF2B5EF4-FFF2-40B4-BE49-F238E27FC236}">
                    <a16:creationId xmlns:a16="http://schemas.microsoft.com/office/drawing/2014/main" id="{E8E2A8D3-52CC-462C-8933-7A35EE072C6C}"/>
                  </a:ext>
                </a:extLst>
              </p:cNvPr>
              <p:cNvGrpSpPr/>
              <p:nvPr/>
            </p:nvGrpSpPr>
            <p:grpSpPr>
              <a:xfrm>
                <a:off x="6303554" y="1852263"/>
                <a:ext cx="1533070" cy="841597"/>
                <a:chOff x="4190196" y="2219762"/>
                <a:chExt cx="1533070" cy="841597"/>
              </a:xfrm>
            </p:grpSpPr>
            <p:sp>
              <p:nvSpPr>
                <p:cNvPr id="981" name="TextBox 980">
                  <a:extLst>
                    <a:ext uri="{FF2B5EF4-FFF2-40B4-BE49-F238E27FC236}">
                      <a16:creationId xmlns:a16="http://schemas.microsoft.com/office/drawing/2014/main" id="{573B7C46-59C4-4EE0-823B-13FF16368D42}"/>
                    </a:ext>
                  </a:extLst>
                </p:cNvPr>
                <p:cNvSpPr txBox="1"/>
                <p:nvPr/>
              </p:nvSpPr>
              <p:spPr>
                <a:xfrm>
                  <a:off x="4190196" y="2219762"/>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K South</a:t>
                  </a:r>
                </a:p>
              </p:txBody>
            </p:sp>
            <p:grpSp>
              <p:nvGrpSpPr>
                <p:cNvPr id="982" name="Group 981">
                  <a:extLst>
                    <a:ext uri="{FF2B5EF4-FFF2-40B4-BE49-F238E27FC236}">
                      <a16:creationId xmlns:a16="http://schemas.microsoft.com/office/drawing/2014/main" id="{DD44FC5B-03CE-4C10-B5C9-14DDBA57F1E9}"/>
                    </a:ext>
                  </a:extLst>
                </p:cNvPr>
                <p:cNvGrpSpPr/>
                <p:nvPr/>
              </p:nvGrpSpPr>
              <p:grpSpPr>
                <a:xfrm>
                  <a:off x="5116461" y="2344534"/>
                  <a:ext cx="606805" cy="716825"/>
                  <a:chOff x="4874844" y="2714446"/>
                  <a:chExt cx="482221" cy="313070"/>
                </a:xfrm>
              </p:grpSpPr>
              <p:cxnSp>
                <p:nvCxnSpPr>
                  <p:cNvPr id="983" name="Straight Connector 982">
                    <a:extLst>
                      <a:ext uri="{FF2B5EF4-FFF2-40B4-BE49-F238E27FC236}">
                        <a16:creationId xmlns:a16="http://schemas.microsoft.com/office/drawing/2014/main" id="{789A98D6-A964-4F19-8384-81D777B434C4}"/>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4" name="Straight Connector 983">
                    <a:extLst>
                      <a:ext uri="{FF2B5EF4-FFF2-40B4-BE49-F238E27FC236}">
                        <a16:creationId xmlns:a16="http://schemas.microsoft.com/office/drawing/2014/main" id="{A15EF0A6-6D86-442B-82EF-620AFEE16FBC}"/>
                      </a:ext>
                    </a:extLst>
                  </p:cNvPr>
                  <p:cNvCxnSpPr>
                    <a:cxnSpLocks/>
                  </p:cNvCxnSpPr>
                  <p:nvPr/>
                </p:nvCxnSpPr>
                <p:spPr>
                  <a:xfrm>
                    <a:off x="5352303" y="2715504"/>
                    <a:ext cx="0" cy="31201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56" name="Group 355">
                <a:extLst>
                  <a:ext uri="{FF2B5EF4-FFF2-40B4-BE49-F238E27FC236}">
                    <a16:creationId xmlns:a16="http://schemas.microsoft.com/office/drawing/2014/main" id="{C8FD31BE-71B2-46DA-B456-C22CB9933982}"/>
                  </a:ext>
                </a:extLst>
              </p:cNvPr>
              <p:cNvGrpSpPr/>
              <p:nvPr/>
            </p:nvGrpSpPr>
            <p:grpSpPr>
              <a:xfrm>
                <a:off x="8112752" y="3661414"/>
                <a:ext cx="893095" cy="152671"/>
                <a:chOff x="8112752" y="3661414"/>
                <a:chExt cx="893095" cy="152671"/>
              </a:xfrm>
            </p:grpSpPr>
            <p:sp>
              <p:nvSpPr>
                <p:cNvPr id="987" name="TextBox 986">
                  <a:extLst>
                    <a:ext uri="{FF2B5EF4-FFF2-40B4-BE49-F238E27FC236}">
                      <a16:creationId xmlns:a16="http://schemas.microsoft.com/office/drawing/2014/main" id="{187DD763-51FE-4573-985F-DD277C5290DF}"/>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AE Central</a:t>
                  </a:r>
                </a:p>
              </p:txBody>
            </p:sp>
            <p:grpSp>
              <p:nvGrpSpPr>
                <p:cNvPr id="988" name="Group 987">
                  <a:extLst>
                    <a:ext uri="{FF2B5EF4-FFF2-40B4-BE49-F238E27FC236}">
                      <a16:creationId xmlns:a16="http://schemas.microsoft.com/office/drawing/2014/main" id="{C425104E-3221-4BC1-970A-B4591FEC4790}"/>
                    </a:ext>
                  </a:extLst>
                </p:cNvPr>
                <p:cNvGrpSpPr/>
                <p:nvPr/>
              </p:nvGrpSpPr>
              <p:grpSpPr>
                <a:xfrm flipV="1">
                  <a:off x="8783891" y="3661414"/>
                  <a:ext cx="221956" cy="93293"/>
                  <a:chOff x="5020101" y="2862263"/>
                  <a:chExt cx="482221" cy="219856"/>
                </a:xfrm>
              </p:grpSpPr>
              <p:cxnSp>
                <p:nvCxnSpPr>
                  <p:cNvPr id="989" name="Straight Connector 988">
                    <a:extLst>
                      <a:ext uri="{FF2B5EF4-FFF2-40B4-BE49-F238E27FC236}">
                        <a16:creationId xmlns:a16="http://schemas.microsoft.com/office/drawing/2014/main" id="{94335744-0310-4929-BD15-50ED4684CB6D}"/>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0" name="Straight Connector 989">
                    <a:extLst>
                      <a:ext uri="{FF2B5EF4-FFF2-40B4-BE49-F238E27FC236}">
                        <a16:creationId xmlns:a16="http://schemas.microsoft.com/office/drawing/2014/main" id="{85B2F785-5417-4F7F-AF11-2D9CB9762C97}"/>
                      </a:ext>
                    </a:extLst>
                  </p:cNvPr>
                  <p:cNvCxnSpPr>
                    <a:cxnSpLocks/>
                  </p:cNvCxnSpPr>
                  <p:nvPr/>
                </p:nvCxnSpPr>
                <p:spPr>
                  <a:xfrm>
                    <a:off x="5495179" y="28622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2" name="Group 991">
                <a:extLst>
                  <a:ext uri="{FF2B5EF4-FFF2-40B4-BE49-F238E27FC236}">
                    <a16:creationId xmlns:a16="http://schemas.microsoft.com/office/drawing/2014/main" id="{AFF9DB32-B873-43E2-942E-51BE2D8E7613}"/>
                  </a:ext>
                </a:extLst>
              </p:cNvPr>
              <p:cNvGrpSpPr/>
              <p:nvPr/>
            </p:nvGrpSpPr>
            <p:grpSpPr>
              <a:xfrm>
                <a:off x="8233322" y="3596833"/>
                <a:ext cx="893095" cy="369652"/>
                <a:chOff x="8112752" y="3444433"/>
                <a:chExt cx="893095" cy="369652"/>
              </a:xfrm>
            </p:grpSpPr>
            <p:sp>
              <p:nvSpPr>
                <p:cNvPr id="993" name="TextBox 992">
                  <a:extLst>
                    <a:ext uri="{FF2B5EF4-FFF2-40B4-BE49-F238E27FC236}">
                      <a16:creationId xmlns:a16="http://schemas.microsoft.com/office/drawing/2014/main" id="{A4F92404-A839-48B0-9BCE-6597C7B6D0BE}"/>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AE North</a:t>
                  </a:r>
                </a:p>
              </p:txBody>
            </p:sp>
            <p:grpSp>
              <p:nvGrpSpPr>
                <p:cNvPr id="994" name="Group 993">
                  <a:extLst>
                    <a:ext uri="{FF2B5EF4-FFF2-40B4-BE49-F238E27FC236}">
                      <a16:creationId xmlns:a16="http://schemas.microsoft.com/office/drawing/2014/main" id="{22BA98D5-428A-4A7F-A73D-B2F7EA1047AE}"/>
                    </a:ext>
                  </a:extLst>
                </p:cNvPr>
                <p:cNvGrpSpPr/>
                <p:nvPr/>
              </p:nvGrpSpPr>
              <p:grpSpPr>
                <a:xfrm flipV="1">
                  <a:off x="8783891" y="3444433"/>
                  <a:ext cx="221956" cy="310275"/>
                  <a:chOff x="5020101" y="2862261"/>
                  <a:chExt cx="482221" cy="731200"/>
                </a:xfrm>
              </p:grpSpPr>
              <p:cxnSp>
                <p:nvCxnSpPr>
                  <p:cNvPr id="995" name="Straight Connector 994">
                    <a:extLst>
                      <a:ext uri="{FF2B5EF4-FFF2-40B4-BE49-F238E27FC236}">
                        <a16:creationId xmlns:a16="http://schemas.microsoft.com/office/drawing/2014/main" id="{6FEBF4A3-9B30-4B10-8AFA-0286308C9860}"/>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4A8976C8-BCF5-4B85-B5C0-E90AC2DCA652}"/>
                      </a:ext>
                    </a:extLst>
                  </p:cNvPr>
                  <p:cNvCxnSpPr>
                    <a:cxnSpLocks/>
                  </p:cNvCxnSpPr>
                  <p:nvPr/>
                </p:nvCxnSpPr>
                <p:spPr>
                  <a:xfrm>
                    <a:off x="5495179" y="2862261"/>
                    <a:ext cx="0" cy="73120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8" name="Group 997">
                <a:extLst>
                  <a:ext uri="{FF2B5EF4-FFF2-40B4-BE49-F238E27FC236}">
                    <a16:creationId xmlns:a16="http://schemas.microsoft.com/office/drawing/2014/main" id="{CF619873-26ED-416F-BB13-1764FE4DF7DD}"/>
                  </a:ext>
                </a:extLst>
              </p:cNvPr>
              <p:cNvGrpSpPr/>
              <p:nvPr/>
            </p:nvGrpSpPr>
            <p:grpSpPr>
              <a:xfrm>
                <a:off x="8570918" y="3599727"/>
                <a:ext cx="893095" cy="585713"/>
                <a:chOff x="8112752" y="3228372"/>
                <a:chExt cx="893095" cy="585713"/>
              </a:xfrm>
            </p:grpSpPr>
            <p:sp>
              <p:nvSpPr>
                <p:cNvPr id="999" name="TextBox 998">
                  <a:extLst>
                    <a:ext uri="{FF2B5EF4-FFF2-40B4-BE49-F238E27FC236}">
                      <a16:creationId xmlns:a16="http://schemas.microsoft.com/office/drawing/2014/main" id="{DFBD8DDA-98B1-4315-A1E2-26C9F9A01CE2}"/>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India</a:t>
                  </a:r>
                </a:p>
              </p:txBody>
            </p:sp>
            <p:grpSp>
              <p:nvGrpSpPr>
                <p:cNvPr id="1000" name="Group 999">
                  <a:extLst>
                    <a:ext uri="{FF2B5EF4-FFF2-40B4-BE49-F238E27FC236}">
                      <a16:creationId xmlns:a16="http://schemas.microsoft.com/office/drawing/2014/main" id="{06AF06AA-FF38-42E5-B251-90E520698EEA}"/>
                    </a:ext>
                  </a:extLst>
                </p:cNvPr>
                <p:cNvGrpSpPr/>
                <p:nvPr/>
              </p:nvGrpSpPr>
              <p:grpSpPr>
                <a:xfrm flipV="1">
                  <a:off x="8783891" y="3228372"/>
                  <a:ext cx="221956" cy="526337"/>
                  <a:chOff x="5020101" y="2862259"/>
                  <a:chExt cx="482221" cy="1240376"/>
                </a:xfrm>
              </p:grpSpPr>
              <p:cxnSp>
                <p:nvCxnSpPr>
                  <p:cNvPr id="1001" name="Straight Connector 1000">
                    <a:extLst>
                      <a:ext uri="{FF2B5EF4-FFF2-40B4-BE49-F238E27FC236}">
                        <a16:creationId xmlns:a16="http://schemas.microsoft.com/office/drawing/2014/main" id="{5146F9E5-6BE0-4195-8D3E-22EFA5F1C65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2" name="Straight Connector 1001">
                    <a:extLst>
                      <a:ext uri="{FF2B5EF4-FFF2-40B4-BE49-F238E27FC236}">
                        <a16:creationId xmlns:a16="http://schemas.microsoft.com/office/drawing/2014/main" id="{92D624B7-3B58-4C52-9E27-A4F940755F88}"/>
                      </a:ext>
                    </a:extLst>
                  </p:cNvPr>
                  <p:cNvCxnSpPr>
                    <a:cxnSpLocks/>
                  </p:cNvCxnSpPr>
                  <p:nvPr/>
                </p:nvCxnSpPr>
                <p:spPr>
                  <a:xfrm>
                    <a:off x="5495179" y="2862259"/>
                    <a:ext cx="0" cy="124037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04" name="Group 1003">
                <a:extLst>
                  <a:ext uri="{FF2B5EF4-FFF2-40B4-BE49-F238E27FC236}">
                    <a16:creationId xmlns:a16="http://schemas.microsoft.com/office/drawing/2014/main" id="{51CABEBF-885A-49FC-9514-F662684B50D2}"/>
                  </a:ext>
                </a:extLst>
              </p:cNvPr>
              <p:cNvGrpSpPr/>
              <p:nvPr/>
            </p:nvGrpSpPr>
            <p:grpSpPr>
              <a:xfrm>
                <a:off x="8700168" y="3889545"/>
                <a:ext cx="893095" cy="585713"/>
                <a:chOff x="8112752" y="3228372"/>
                <a:chExt cx="893095" cy="585713"/>
              </a:xfrm>
            </p:grpSpPr>
            <p:sp>
              <p:nvSpPr>
                <p:cNvPr id="1005" name="TextBox 1004">
                  <a:extLst>
                    <a:ext uri="{FF2B5EF4-FFF2-40B4-BE49-F238E27FC236}">
                      <a16:creationId xmlns:a16="http://schemas.microsoft.com/office/drawing/2014/main" id="{7BC63268-63EF-4848-8546-495226E7FF6B}"/>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outh India</a:t>
                  </a:r>
                </a:p>
              </p:txBody>
            </p:sp>
            <p:grpSp>
              <p:nvGrpSpPr>
                <p:cNvPr id="1006" name="Group 1005">
                  <a:extLst>
                    <a:ext uri="{FF2B5EF4-FFF2-40B4-BE49-F238E27FC236}">
                      <a16:creationId xmlns:a16="http://schemas.microsoft.com/office/drawing/2014/main" id="{4399D866-2C99-4681-BA53-692777827DC8}"/>
                    </a:ext>
                  </a:extLst>
                </p:cNvPr>
                <p:cNvGrpSpPr/>
                <p:nvPr/>
              </p:nvGrpSpPr>
              <p:grpSpPr>
                <a:xfrm flipV="1">
                  <a:off x="8783891" y="3228372"/>
                  <a:ext cx="221956" cy="526337"/>
                  <a:chOff x="5020101" y="2862259"/>
                  <a:chExt cx="482221" cy="1240376"/>
                </a:xfrm>
              </p:grpSpPr>
              <p:cxnSp>
                <p:nvCxnSpPr>
                  <p:cNvPr id="1007" name="Straight Connector 1006">
                    <a:extLst>
                      <a:ext uri="{FF2B5EF4-FFF2-40B4-BE49-F238E27FC236}">
                        <a16:creationId xmlns:a16="http://schemas.microsoft.com/office/drawing/2014/main" id="{68634A2B-F2DE-4AB5-9B4F-0FA5122138BC}"/>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8" name="Straight Connector 1007">
                    <a:extLst>
                      <a:ext uri="{FF2B5EF4-FFF2-40B4-BE49-F238E27FC236}">
                        <a16:creationId xmlns:a16="http://schemas.microsoft.com/office/drawing/2014/main" id="{4ACDD5B9-9094-4535-89DB-B23609B5065C}"/>
                      </a:ext>
                    </a:extLst>
                  </p:cNvPr>
                  <p:cNvCxnSpPr>
                    <a:cxnSpLocks/>
                  </p:cNvCxnSpPr>
                  <p:nvPr/>
                </p:nvCxnSpPr>
                <p:spPr>
                  <a:xfrm>
                    <a:off x="5495179" y="2862259"/>
                    <a:ext cx="0" cy="124037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09" name="Group 1008">
                <a:extLst>
                  <a:ext uri="{FF2B5EF4-FFF2-40B4-BE49-F238E27FC236}">
                    <a16:creationId xmlns:a16="http://schemas.microsoft.com/office/drawing/2014/main" id="{96E46300-E7CF-476C-9B6D-FF2E0E8A5A0D}"/>
                  </a:ext>
                </a:extLst>
              </p:cNvPr>
              <p:cNvGrpSpPr/>
              <p:nvPr/>
            </p:nvGrpSpPr>
            <p:grpSpPr>
              <a:xfrm>
                <a:off x="9626372" y="3557240"/>
                <a:ext cx="485764" cy="246221"/>
                <a:chOff x="8245943" y="2889988"/>
                <a:chExt cx="1379623" cy="246221"/>
              </a:xfrm>
            </p:grpSpPr>
            <p:sp>
              <p:nvSpPr>
                <p:cNvPr id="1010" name="TextBox 1009">
                  <a:extLst>
                    <a:ext uri="{FF2B5EF4-FFF2-40B4-BE49-F238E27FC236}">
                      <a16:creationId xmlns:a16="http://schemas.microsoft.com/office/drawing/2014/main" id="{44B18A39-C16E-4D02-890D-7A350B127582}"/>
                    </a:ext>
                  </a:extLst>
                </p:cNvPr>
                <p:cNvSpPr txBox="1"/>
                <p:nvPr/>
              </p:nvSpPr>
              <p:spPr>
                <a:xfrm>
                  <a:off x="8645075" y="2889988"/>
                  <a:ext cx="980491"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entral India</a:t>
                  </a:r>
                </a:p>
              </p:txBody>
            </p:sp>
            <p:cxnSp>
              <p:nvCxnSpPr>
                <p:cNvPr id="1011" name="Straight Connector 1010">
                  <a:extLst>
                    <a:ext uri="{FF2B5EF4-FFF2-40B4-BE49-F238E27FC236}">
                      <a16:creationId xmlns:a16="http://schemas.microsoft.com/office/drawing/2014/main" id="{40163C77-370F-4779-8632-36F2D2FC54A0}"/>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12" name="Group 1011">
                <a:extLst>
                  <a:ext uri="{FF2B5EF4-FFF2-40B4-BE49-F238E27FC236}">
                    <a16:creationId xmlns:a16="http://schemas.microsoft.com/office/drawing/2014/main" id="{254FCE4F-78F8-43F0-870E-860A8F7BAF28}"/>
                  </a:ext>
                </a:extLst>
              </p:cNvPr>
              <p:cNvGrpSpPr/>
              <p:nvPr/>
            </p:nvGrpSpPr>
            <p:grpSpPr>
              <a:xfrm>
                <a:off x="10200372" y="3884512"/>
                <a:ext cx="631838" cy="246221"/>
                <a:chOff x="8245943" y="2889988"/>
                <a:chExt cx="1794489" cy="246221"/>
              </a:xfrm>
            </p:grpSpPr>
            <p:sp>
              <p:nvSpPr>
                <p:cNvPr id="1013" name="TextBox 1012">
                  <a:extLst>
                    <a:ext uri="{FF2B5EF4-FFF2-40B4-BE49-F238E27FC236}">
                      <a16:creationId xmlns:a16="http://schemas.microsoft.com/office/drawing/2014/main" id="{95A024EE-15C2-49A2-9CD4-7FFDC80C2D4B}"/>
                    </a:ext>
                  </a:extLst>
                </p:cNvPr>
                <p:cNvSpPr txBox="1"/>
                <p:nvPr/>
              </p:nvSpPr>
              <p:spPr>
                <a:xfrm>
                  <a:off x="8645075" y="2889988"/>
                  <a:ext cx="1395357"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east Asia</a:t>
                  </a:r>
                </a:p>
              </p:txBody>
            </p:sp>
            <p:cxnSp>
              <p:nvCxnSpPr>
                <p:cNvPr id="1014" name="Straight Connector 1013">
                  <a:extLst>
                    <a:ext uri="{FF2B5EF4-FFF2-40B4-BE49-F238E27FC236}">
                      <a16:creationId xmlns:a16="http://schemas.microsoft.com/office/drawing/2014/main" id="{DAB8E53A-8D65-4EBB-9455-0AE88B0E45ED}"/>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16" name="Group 1015">
                <a:extLst>
                  <a:ext uri="{FF2B5EF4-FFF2-40B4-BE49-F238E27FC236}">
                    <a16:creationId xmlns:a16="http://schemas.microsoft.com/office/drawing/2014/main" id="{EEEB8AEE-0D52-4A41-B629-DBF460477D53}"/>
                  </a:ext>
                </a:extLst>
              </p:cNvPr>
              <p:cNvGrpSpPr/>
              <p:nvPr/>
            </p:nvGrpSpPr>
            <p:grpSpPr>
              <a:xfrm>
                <a:off x="10302773" y="3617092"/>
                <a:ext cx="607677" cy="231301"/>
                <a:chOff x="6362699" y="2976624"/>
                <a:chExt cx="607677" cy="231301"/>
              </a:xfrm>
            </p:grpSpPr>
            <p:grpSp>
              <p:nvGrpSpPr>
                <p:cNvPr id="1017" name="Group 1016">
                  <a:extLst>
                    <a:ext uri="{FF2B5EF4-FFF2-40B4-BE49-F238E27FC236}">
                      <a16:creationId xmlns:a16="http://schemas.microsoft.com/office/drawing/2014/main" id="{09BD8EBA-BF57-411E-B29B-438373785C35}"/>
                    </a:ext>
                  </a:extLst>
                </p:cNvPr>
                <p:cNvGrpSpPr/>
                <p:nvPr/>
              </p:nvGrpSpPr>
              <p:grpSpPr>
                <a:xfrm flipH="1" flipV="1">
                  <a:off x="6362699" y="2976624"/>
                  <a:ext cx="121985" cy="171391"/>
                  <a:chOff x="5020101" y="2867890"/>
                  <a:chExt cx="482221" cy="274842"/>
                </a:xfrm>
              </p:grpSpPr>
              <p:cxnSp>
                <p:nvCxnSpPr>
                  <p:cNvPr id="1019" name="Straight Connector 1018">
                    <a:extLst>
                      <a:ext uri="{FF2B5EF4-FFF2-40B4-BE49-F238E27FC236}">
                        <a16:creationId xmlns:a16="http://schemas.microsoft.com/office/drawing/2014/main" id="{CBA50684-F957-42DB-A368-CB1081CE40C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0" name="Straight Connector 1019">
                    <a:extLst>
                      <a:ext uri="{FF2B5EF4-FFF2-40B4-BE49-F238E27FC236}">
                        <a16:creationId xmlns:a16="http://schemas.microsoft.com/office/drawing/2014/main" id="{1A72435B-6534-4334-8800-38422671814F}"/>
                      </a:ext>
                    </a:extLst>
                  </p:cNvPr>
                  <p:cNvCxnSpPr>
                    <a:cxnSpLocks/>
                  </p:cNvCxnSpPr>
                  <p:nvPr/>
                </p:nvCxnSpPr>
                <p:spPr>
                  <a:xfrm flipH="1">
                    <a:off x="5495179" y="2867890"/>
                    <a:ext cx="0" cy="27484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18" name="TextBox 1017">
                  <a:extLst>
                    <a:ext uri="{FF2B5EF4-FFF2-40B4-BE49-F238E27FC236}">
                      <a16:creationId xmlns:a16="http://schemas.microsoft.com/office/drawing/2014/main" id="{BF13E093-EC73-4225-8DBA-93A3BDE8F879}"/>
                    </a:ext>
                  </a:extLst>
                </p:cNvPr>
                <p:cNvSpPr txBox="1"/>
                <p:nvPr/>
              </p:nvSpPr>
              <p:spPr>
                <a:xfrm>
                  <a:off x="6508675" y="3084814"/>
                  <a:ext cx="46170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East Asia</a:t>
                  </a:r>
                </a:p>
              </p:txBody>
            </p:sp>
          </p:grpSp>
          <p:grpSp>
            <p:nvGrpSpPr>
              <p:cNvPr id="1022" name="Group 1021">
                <a:extLst>
                  <a:ext uri="{FF2B5EF4-FFF2-40B4-BE49-F238E27FC236}">
                    <a16:creationId xmlns:a16="http://schemas.microsoft.com/office/drawing/2014/main" id="{D982E617-3139-434A-8409-E7458D85A757}"/>
                  </a:ext>
                </a:extLst>
              </p:cNvPr>
              <p:cNvGrpSpPr/>
              <p:nvPr/>
            </p:nvGrpSpPr>
            <p:grpSpPr>
              <a:xfrm>
                <a:off x="10496614" y="3477682"/>
                <a:ext cx="1240112" cy="231301"/>
                <a:chOff x="6362699" y="2976624"/>
                <a:chExt cx="1240112" cy="231301"/>
              </a:xfrm>
            </p:grpSpPr>
            <p:grpSp>
              <p:nvGrpSpPr>
                <p:cNvPr id="1023" name="Group 1022">
                  <a:extLst>
                    <a:ext uri="{FF2B5EF4-FFF2-40B4-BE49-F238E27FC236}">
                      <a16:creationId xmlns:a16="http://schemas.microsoft.com/office/drawing/2014/main" id="{C1A2FD53-E8A6-46B8-918C-FDCF36C3E3CC}"/>
                    </a:ext>
                  </a:extLst>
                </p:cNvPr>
                <p:cNvGrpSpPr/>
                <p:nvPr/>
              </p:nvGrpSpPr>
              <p:grpSpPr>
                <a:xfrm flipH="1" flipV="1">
                  <a:off x="6362699" y="2976624"/>
                  <a:ext cx="121985" cy="171391"/>
                  <a:chOff x="5020101" y="2867890"/>
                  <a:chExt cx="482221" cy="274842"/>
                </a:xfrm>
              </p:grpSpPr>
              <p:cxnSp>
                <p:nvCxnSpPr>
                  <p:cNvPr id="1025" name="Straight Connector 1024">
                    <a:extLst>
                      <a:ext uri="{FF2B5EF4-FFF2-40B4-BE49-F238E27FC236}">
                        <a16:creationId xmlns:a16="http://schemas.microsoft.com/office/drawing/2014/main" id="{838AEB5D-F177-4E47-B852-BDA0D9E1C31B}"/>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6" name="Straight Connector 1025">
                    <a:extLst>
                      <a:ext uri="{FF2B5EF4-FFF2-40B4-BE49-F238E27FC236}">
                        <a16:creationId xmlns:a16="http://schemas.microsoft.com/office/drawing/2014/main" id="{43CF84BF-D68F-455A-A381-4CAD13B573EF}"/>
                      </a:ext>
                    </a:extLst>
                  </p:cNvPr>
                  <p:cNvCxnSpPr>
                    <a:cxnSpLocks/>
                  </p:cNvCxnSpPr>
                  <p:nvPr/>
                </p:nvCxnSpPr>
                <p:spPr>
                  <a:xfrm flipH="1">
                    <a:off x="5495179" y="2867890"/>
                    <a:ext cx="0" cy="27484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24" name="TextBox 1023">
                  <a:extLst>
                    <a:ext uri="{FF2B5EF4-FFF2-40B4-BE49-F238E27FC236}">
                      <a16:creationId xmlns:a16="http://schemas.microsoft.com/office/drawing/2014/main" id="{4D4598ED-5E7E-4717-984F-3BF59E2F64AD}"/>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hina East, China East 2</a:t>
                  </a:r>
                </a:p>
              </p:txBody>
            </p:sp>
          </p:grpSp>
          <p:grpSp>
            <p:nvGrpSpPr>
              <p:cNvPr id="1027" name="Group 1026">
                <a:extLst>
                  <a:ext uri="{FF2B5EF4-FFF2-40B4-BE49-F238E27FC236}">
                    <a16:creationId xmlns:a16="http://schemas.microsoft.com/office/drawing/2014/main" id="{1D8739BC-9401-4EC8-82DE-1A597D334151}"/>
                  </a:ext>
                </a:extLst>
              </p:cNvPr>
              <p:cNvGrpSpPr/>
              <p:nvPr/>
            </p:nvGrpSpPr>
            <p:grpSpPr>
              <a:xfrm>
                <a:off x="10667572" y="3284315"/>
                <a:ext cx="1240112" cy="290384"/>
                <a:chOff x="6362699" y="2917541"/>
                <a:chExt cx="1240112" cy="290384"/>
              </a:xfrm>
            </p:grpSpPr>
            <p:grpSp>
              <p:nvGrpSpPr>
                <p:cNvPr id="1028" name="Group 1027">
                  <a:extLst>
                    <a:ext uri="{FF2B5EF4-FFF2-40B4-BE49-F238E27FC236}">
                      <a16:creationId xmlns:a16="http://schemas.microsoft.com/office/drawing/2014/main" id="{217D4828-3E60-4FD9-8E39-D95567EAB1D0}"/>
                    </a:ext>
                  </a:extLst>
                </p:cNvPr>
                <p:cNvGrpSpPr/>
                <p:nvPr/>
              </p:nvGrpSpPr>
              <p:grpSpPr>
                <a:xfrm flipH="1" flipV="1">
                  <a:off x="6362699" y="2917541"/>
                  <a:ext cx="121985" cy="230474"/>
                  <a:chOff x="5020101" y="2867888"/>
                  <a:chExt cx="482221" cy="369587"/>
                </a:xfrm>
              </p:grpSpPr>
              <p:cxnSp>
                <p:nvCxnSpPr>
                  <p:cNvPr id="1030" name="Straight Connector 1029">
                    <a:extLst>
                      <a:ext uri="{FF2B5EF4-FFF2-40B4-BE49-F238E27FC236}">
                        <a16:creationId xmlns:a16="http://schemas.microsoft.com/office/drawing/2014/main" id="{3DB23879-75D7-42E2-BE7C-AB14F9DBCE5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1" name="Straight Connector 1030">
                    <a:extLst>
                      <a:ext uri="{FF2B5EF4-FFF2-40B4-BE49-F238E27FC236}">
                        <a16:creationId xmlns:a16="http://schemas.microsoft.com/office/drawing/2014/main" id="{E13C5452-F7A7-40D2-AAD5-7D6C592F1295}"/>
                      </a:ext>
                    </a:extLst>
                  </p:cNvPr>
                  <p:cNvCxnSpPr>
                    <a:cxnSpLocks/>
                  </p:cNvCxnSpPr>
                  <p:nvPr/>
                </p:nvCxnSpPr>
                <p:spPr>
                  <a:xfrm flipH="1">
                    <a:off x="5495179" y="2867888"/>
                    <a:ext cx="0" cy="36958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29" name="TextBox 1028">
                  <a:extLst>
                    <a:ext uri="{FF2B5EF4-FFF2-40B4-BE49-F238E27FC236}">
                      <a16:creationId xmlns:a16="http://schemas.microsoft.com/office/drawing/2014/main" id="{EAAABB95-D70D-408F-BA18-132F339A5D34}"/>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Korea South</a:t>
                  </a:r>
                </a:p>
              </p:txBody>
            </p:sp>
          </p:grpSp>
          <p:grpSp>
            <p:nvGrpSpPr>
              <p:cNvPr id="387" name="Group 386">
                <a:extLst>
                  <a:ext uri="{FF2B5EF4-FFF2-40B4-BE49-F238E27FC236}">
                    <a16:creationId xmlns:a16="http://schemas.microsoft.com/office/drawing/2014/main" id="{B433A6C0-4238-46B7-B9DF-DCA08498FBA0}"/>
                  </a:ext>
                </a:extLst>
              </p:cNvPr>
              <p:cNvGrpSpPr/>
              <p:nvPr/>
            </p:nvGrpSpPr>
            <p:grpSpPr>
              <a:xfrm>
                <a:off x="10632847" y="2746404"/>
                <a:ext cx="1240112" cy="294695"/>
                <a:chOff x="10632847" y="2746404"/>
                <a:chExt cx="1240112" cy="294695"/>
              </a:xfrm>
            </p:grpSpPr>
            <p:grpSp>
              <p:nvGrpSpPr>
                <p:cNvPr id="1034" name="Group 1033">
                  <a:extLst>
                    <a:ext uri="{FF2B5EF4-FFF2-40B4-BE49-F238E27FC236}">
                      <a16:creationId xmlns:a16="http://schemas.microsoft.com/office/drawing/2014/main" id="{FAA66DEB-A363-4E96-AEFE-BF357D92D96D}"/>
                    </a:ext>
                  </a:extLst>
                </p:cNvPr>
                <p:cNvGrpSpPr/>
                <p:nvPr/>
              </p:nvGrpSpPr>
              <p:grpSpPr>
                <a:xfrm flipH="1">
                  <a:off x="10632847" y="2810625"/>
                  <a:ext cx="121985" cy="230474"/>
                  <a:chOff x="5020101" y="2867888"/>
                  <a:chExt cx="482221" cy="369587"/>
                </a:xfrm>
              </p:grpSpPr>
              <p:cxnSp>
                <p:nvCxnSpPr>
                  <p:cNvPr id="1036" name="Straight Connector 1035">
                    <a:extLst>
                      <a:ext uri="{FF2B5EF4-FFF2-40B4-BE49-F238E27FC236}">
                        <a16:creationId xmlns:a16="http://schemas.microsoft.com/office/drawing/2014/main" id="{6EC2EA36-558F-445F-998B-A5C4C240093E}"/>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473EAA77-3968-433B-9C39-928F9903522C}"/>
                      </a:ext>
                    </a:extLst>
                  </p:cNvPr>
                  <p:cNvCxnSpPr>
                    <a:cxnSpLocks/>
                  </p:cNvCxnSpPr>
                  <p:nvPr/>
                </p:nvCxnSpPr>
                <p:spPr>
                  <a:xfrm flipH="1">
                    <a:off x="5495179" y="2867888"/>
                    <a:ext cx="0" cy="36958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35" name="TextBox 1034">
                  <a:extLst>
                    <a:ext uri="{FF2B5EF4-FFF2-40B4-BE49-F238E27FC236}">
                      <a16:creationId xmlns:a16="http://schemas.microsoft.com/office/drawing/2014/main" id="{9412E55A-A956-4500-BDCC-104B3B324B9A}"/>
                    </a:ext>
                  </a:extLst>
                </p:cNvPr>
                <p:cNvSpPr txBox="1"/>
                <p:nvPr/>
              </p:nvSpPr>
              <p:spPr>
                <a:xfrm>
                  <a:off x="10778823" y="274640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Korea Central</a:t>
                  </a:r>
                </a:p>
              </p:txBody>
            </p:sp>
          </p:grpSp>
          <p:grpSp>
            <p:nvGrpSpPr>
              <p:cNvPr id="1039" name="Group 1038">
                <a:extLst>
                  <a:ext uri="{FF2B5EF4-FFF2-40B4-BE49-F238E27FC236}">
                    <a16:creationId xmlns:a16="http://schemas.microsoft.com/office/drawing/2014/main" id="{70692F63-288C-459D-A9D8-A0FB4C972A08}"/>
                  </a:ext>
                </a:extLst>
              </p:cNvPr>
              <p:cNvGrpSpPr/>
              <p:nvPr/>
            </p:nvGrpSpPr>
            <p:grpSpPr>
              <a:xfrm>
                <a:off x="10409516" y="2468873"/>
                <a:ext cx="1240112" cy="497140"/>
                <a:chOff x="10632847" y="2746404"/>
                <a:chExt cx="1240112" cy="497140"/>
              </a:xfrm>
            </p:grpSpPr>
            <p:grpSp>
              <p:nvGrpSpPr>
                <p:cNvPr id="1040" name="Group 1039">
                  <a:extLst>
                    <a:ext uri="{FF2B5EF4-FFF2-40B4-BE49-F238E27FC236}">
                      <a16:creationId xmlns:a16="http://schemas.microsoft.com/office/drawing/2014/main" id="{F2EC5865-EC0C-42FF-9B67-B6FDDA71A924}"/>
                    </a:ext>
                  </a:extLst>
                </p:cNvPr>
                <p:cNvGrpSpPr/>
                <p:nvPr/>
              </p:nvGrpSpPr>
              <p:grpSpPr>
                <a:xfrm flipH="1">
                  <a:off x="10632847" y="2810625"/>
                  <a:ext cx="121985" cy="432919"/>
                  <a:chOff x="5020101" y="2867888"/>
                  <a:chExt cx="482221" cy="694227"/>
                </a:xfrm>
              </p:grpSpPr>
              <p:cxnSp>
                <p:nvCxnSpPr>
                  <p:cNvPr id="1042" name="Straight Connector 1041">
                    <a:extLst>
                      <a:ext uri="{FF2B5EF4-FFF2-40B4-BE49-F238E27FC236}">
                        <a16:creationId xmlns:a16="http://schemas.microsoft.com/office/drawing/2014/main" id="{0FAAEE80-3D47-460F-8076-310CDF69950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3" name="Straight Connector 1042">
                    <a:extLst>
                      <a:ext uri="{FF2B5EF4-FFF2-40B4-BE49-F238E27FC236}">
                        <a16:creationId xmlns:a16="http://schemas.microsoft.com/office/drawing/2014/main" id="{7B903EF0-5A91-4598-805E-4BBD8340C5DF}"/>
                      </a:ext>
                    </a:extLst>
                  </p:cNvPr>
                  <p:cNvCxnSpPr>
                    <a:cxnSpLocks/>
                  </p:cNvCxnSpPr>
                  <p:nvPr/>
                </p:nvCxnSpPr>
                <p:spPr>
                  <a:xfrm flipH="1">
                    <a:off x="5495179" y="2867888"/>
                    <a:ext cx="0" cy="69422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41" name="TextBox 1040">
                  <a:extLst>
                    <a:ext uri="{FF2B5EF4-FFF2-40B4-BE49-F238E27FC236}">
                      <a16:creationId xmlns:a16="http://schemas.microsoft.com/office/drawing/2014/main" id="{837C53BA-4B7D-4FE0-A743-9041D467C415}"/>
                    </a:ext>
                  </a:extLst>
                </p:cNvPr>
                <p:cNvSpPr txBox="1"/>
                <p:nvPr/>
              </p:nvSpPr>
              <p:spPr>
                <a:xfrm>
                  <a:off x="10778823" y="2746404"/>
                  <a:ext cx="1094136"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hina North</a:t>
                  </a:r>
                </a:p>
                <a:p>
                  <a:pPr defTabSz="932742" fontAlgn="b">
                    <a:defRPr/>
                  </a:pPr>
                  <a:r>
                    <a:rPr lang="en-US" sz="800">
                      <a:gradFill>
                        <a:gsLst>
                          <a:gs pos="1250">
                            <a:srgbClr val="FFFFFF"/>
                          </a:gs>
                          <a:gs pos="100000">
                            <a:srgbClr val="FFFFFF"/>
                          </a:gs>
                        </a:gsLst>
                        <a:lin ang="5400000" scaled="0"/>
                      </a:gradFill>
                      <a:latin typeface="+mj-lt"/>
                    </a:rPr>
                    <a:t>China North 2</a:t>
                  </a:r>
                </a:p>
              </p:txBody>
            </p:sp>
          </p:grpSp>
          <p:grpSp>
            <p:nvGrpSpPr>
              <p:cNvPr id="1045" name="Group 1044">
                <a:extLst>
                  <a:ext uri="{FF2B5EF4-FFF2-40B4-BE49-F238E27FC236}">
                    <a16:creationId xmlns:a16="http://schemas.microsoft.com/office/drawing/2014/main" id="{1E27D94C-9B62-4CC3-808E-40CC9F1B031C}"/>
                  </a:ext>
                </a:extLst>
              </p:cNvPr>
              <p:cNvGrpSpPr/>
              <p:nvPr/>
            </p:nvGrpSpPr>
            <p:grpSpPr>
              <a:xfrm>
                <a:off x="10860482" y="2942209"/>
                <a:ext cx="1240112" cy="217681"/>
                <a:chOff x="10632847" y="2746404"/>
                <a:chExt cx="1240112" cy="217681"/>
              </a:xfrm>
            </p:grpSpPr>
            <p:grpSp>
              <p:nvGrpSpPr>
                <p:cNvPr id="1046" name="Group 1045">
                  <a:extLst>
                    <a:ext uri="{FF2B5EF4-FFF2-40B4-BE49-F238E27FC236}">
                      <a16:creationId xmlns:a16="http://schemas.microsoft.com/office/drawing/2014/main" id="{67F9FF1C-9F8B-41BC-B609-06636CE011C7}"/>
                    </a:ext>
                  </a:extLst>
                </p:cNvPr>
                <p:cNvGrpSpPr/>
                <p:nvPr/>
              </p:nvGrpSpPr>
              <p:grpSpPr>
                <a:xfrm flipH="1">
                  <a:off x="10632847" y="2810626"/>
                  <a:ext cx="121985" cy="153459"/>
                  <a:chOff x="5020101" y="2867888"/>
                  <a:chExt cx="482221" cy="246086"/>
                </a:xfrm>
              </p:grpSpPr>
              <p:cxnSp>
                <p:nvCxnSpPr>
                  <p:cNvPr id="1048" name="Straight Connector 1047">
                    <a:extLst>
                      <a:ext uri="{FF2B5EF4-FFF2-40B4-BE49-F238E27FC236}">
                        <a16:creationId xmlns:a16="http://schemas.microsoft.com/office/drawing/2014/main" id="{8C9C449E-CB86-41DF-9388-561D5929856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3781A9AE-0AFA-42BA-89B6-61203EEAE28D}"/>
                      </a:ext>
                    </a:extLst>
                  </p:cNvPr>
                  <p:cNvCxnSpPr>
                    <a:cxnSpLocks/>
                  </p:cNvCxnSpPr>
                  <p:nvPr/>
                </p:nvCxnSpPr>
                <p:spPr>
                  <a:xfrm flipH="1">
                    <a:off x="5495179" y="2867888"/>
                    <a:ext cx="0" cy="24608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47" name="TextBox 1046">
                  <a:extLst>
                    <a:ext uri="{FF2B5EF4-FFF2-40B4-BE49-F238E27FC236}">
                      <a16:creationId xmlns:a16="http://schemas.microsoft.com/office/drawing/2014/main" id="{2B816D4E-7D3D-41C9-983A-A000BFFB959E}"/>
                    </a:ext>
                  </a:extLst>
                </p:cNvPr>
                <p:cNvSpPr txBox="1"/>
                <p:nvPr/>
              </p:nvSpPr>
              <p:spPr>
                <a:xfrm>
                  <a:off x="10778823" y="274640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Japan West</a:t>
                  </a:r>
                </a:p>
              </p:txBody>
            </p:sp>
          </p:grpSp>
          <p:grpSp>
            <p:nvGrpSpPr>
              <p:cNvPr id="1051" name="Group 1050">
                <a:extLst>
                  <a:ext uri="{FF2B5EF4-FFF2-40B4-BE49-F238E27FC236}">
                    <a16:creationId xmlns:a16="http://schemas.microsoft.com/office/drawing/2014/main" id="{85E2AAEE-F68B-4F5A-90C5-8EE850A4A697}"/>
                  </a:ext>
                </a:extLst>
              </p:cNvPr>
              <p:cNvGrpSpPr/>
              <p:nvPr/>
            </p:nvGrpSpPr>
            <p:grpSpPr>
              <a:xfrm>
                <a:off x="10952549" y="3269846"/>
                <a:ext cx="1240112" cy="153465"/>
                <a:chOff x="6362699" y="3054460"/>
                <a:chExt cx="1240112" cy="153465"/>
              </a:xfrm>
            </p:grpSpPr>
            <p:grpSp>
              <p:nvGrpSpPr>
                <p:cNvPr id="1052" name="Group 1051">
                  <a:extLst>
                    <a:ext uri="{FF2B5EF4-FFF2-40B4-BE49-F238E27FC236}">
                      <a16:creationId xmlns:a16="http://schemas.microsoft.com/office/drawing/2014/main" id="{29CC3131-B6A8-4955-A5B6-9316A2137126}"/>
                    </a:ext>
                  </a:extLst>
                </p:cNvPr>
                <p:cNvGrpSpPr/>
                <p:nvPr/>
              </p:nvGrpSpPr>
              <p:grpSpPr>
                <a:xfrm flipH="1" flipV="1">
                  <a:off x="6362699" y="3054460"/>
                  <a:ext cx="121985" cy="93553"/>
                  <a:chOff x="5020101" y="2867888"/>
                  <a:chExt cx="482221" cy="150021"/>
                </a:xfrm>
              </p:grpSpPr>
              <p:cxnSp>
                <p:nvCxnSpPr>
                  <p:cNvPr id="1054" name="Straight Connector 1053">
                    <a:extLst>
                      <a:ext uri="{FF2B5EF4-FFF2-40B4-BE49-F238E27FC236}">
                        <a16:creationId xmlns:a16="http://schemas.microsoft.com/office/drawing/2014/main" id="{A1E54B6D-F7FA-493A-BA6E-9A42AA089EF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5" name="Straight Connector 1054">
                    <a:extLst>
                      <a:ext uri="{FF2B5EF4-FFF2-40B4-BE49-F238E27FC236}">
                        <a16:creationId xmlns:a16="http://schemas.microsoft.com/office/drawing/2014/main" id="{36D5D03C-2D72-4F70-92EC-8A52137AC11C}"/>
                      </a:ext>
                    </a:extLst>
                  </p:cNvPr>
                  <p:cNvCxnSpPr>
                    <a:cxnSpLocks/>
                  </p:cNvCxnSpPr>
                  <p:nvPr/>
                </p:nvCxnSpPr>
                <p:spPr>
                  <a:xfrm flipH="1">
                    <a:off x="5495179" y="2867888"/>
                    <a:ext cx="0" cy="150021"/>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53" name="TextBox 1052">
                  <a:extLst>
                    <a:ext uri="{FF2B5EF4-FFF2-40B4-BE49-F238E27FC236}">
                      <a16:creationId xmlns:a16="http://schemas.microsoft.com/office/drawing/2014/main" id="{648E7F73-2723-439D-A8B4-FE28BDFBB3B5}"/>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Japan East</a:t>
                  </a:r>
                </a:p>
              </p:txBody>
            </p:sp>
          </p:grpSp>
          <p:grpSp>
            <p:nvGrpSpPr>
              <p:cNvPr id="1057" name="Group 1056">
                <a:extLst>
                  <a:ext uri="{FF2B5EF4-FFF2-40B4-BE49-F238E27FC236}">
                    <a16:creationId xmlns:a16="http://schemas.microsoft.com/office/drawing/2014/main" id="{1A511D4A-48B7-436E-8392-D713468AEEFA}"/>
                  </a:ext>
                </a:extLst>
              </p:cNvPr>
              <p:cNvGrpSpPr/>
              <p:nvPr/>
            </p:nvGrpSpPr>
            <p:grpSpPr>
              <a:xfrm>
                <a:off x="9563104" y="4976446"/>
                <a:ext cx="1408486" cy="413831"/>
                <a:chOff x="4131935" y="3124976"/>
                <a:chExt cx="1408486" cy="413831"/>
              </a:xfrm>
            </p:grpSpPr>
            <p:sp>
              <p:nvSpPr>
                <p:cNvPr id="1058" name="TextBox 1057">
                  <a:extLst>
                    <a:ext uri="{FF2B5EF4-FFF2-40B4-BE49-F238E27FC236}">
                      <a16:creationId xmlns:a16="http://schemas.microsoft.com/office/drawing/2014/main" id="{0AC32757-A4E3-4193-86B1-48A583807155}"/>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Southeast</a:t>
                  </a:r>
                </a:p>
              </p:txBody>
            </p:sp>
            <p:grpSp>
              <p:nvGrpSpPr>
                <p:cNvPr id="1059" name="Group 1058">
                  <a:extLst>
                    <a:ext uri="{FF2B5EF4-FFF2-40B4-BE49-F238E27FC236}">
                      <a16:creationId xmlns:a16="http://schemas.microsoft.com/office/drawing/2014/main" id="{5E50B77C-FEAB-44FE-8A4B-577A71D7B22E}"/>
                    </a:ext>
                  </a:extLst>
                </p:cNvPr>
                <p:cNvGrpSpPr/>
                <p:nvPr/>
              </p:nvGrpSpPr>
              <p:grpSpPr>
                <a:xfrm flipV="1">
                  <a:off x="5058200" y="3124976"/>
                  <a:ext cx="482221" cy="354455"/>
                  <a:chOff x="5020101" y="2862261"/>
                  <a:chExt cx="482221" cy="835315"/>
                </a:xfrm>
              </p:grpSpPr>
              <p:cxnSp>
                <p:nvCxnSpPr>
                  <p:cNvPr id="1060" name="Straight Connector 1059">
                    <a:extLst>
                      <a:ext uri="{FF2B5EF4-FFF2-40B4-BE49-F238E27FC236}">
                        <a16:creationId xmlns:a16="http://schemas.microsoft.com/office/drawing/2014/main" id="{04E532CA-9F95-4898-BC5E-CE455276F518}"/>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59A4DFE1-FF72-4862-91F4-14FDA25D4D77}"/>
                      </a:ext>
                    </a:extLst>
                  </p:cNvPr>
                  <p:cNvCxnSpPr>
                    <a:cxnSpLocks/>
                  </p:cNvCxnSpPr>
                  <p:nvPr/>
                </p:nvCxnSpPr>
                <p:spPr>
                  <a:xfrm>
                    <a:off x="5495179" y="2862261"/>
                    <a:ext cx="0" cy="83531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63" name="Group 1062">
                <a:extLst>
                  <a:ext uri="{FF2B5EF4-FFF2-40B4-BE49-F238E27FC236}">
                    <a16:creationId xmlns:a16="http://schemas.microsoft.com/office/drawing/2014/main" id="{0805BED3-DE54-459F-8D2E-9EEB2E462037}"/>
                  </a:ext>
                </a:extLst>
              </p:cNvPr>
              <p:cNvGrpSpPr/>
              <p:nvPr/>
            </p:nvGrpSpPr>
            <p:grpSpPr>
              <a:xfrm>
                <a:off x="9712992" y="5006591"/>
                <a:ext cx="1408486" cy="704413"/>
                <a:chOff x="4131935" y="2957504"/>
                <a:chExt cx="1408486" cy="704413"/>
              </a:xfrm>
            </p:grpSpPr>
            <p:sp>
              <p:nvSpPr>
                <p:cNvPr id="1064" name="TextBox 1063">
                  <a:extLst>
                    <a:ext uri="{FF2B5EF4-FFF2-40B4-BE49-F238E27FC236}">
                      <a16:creationId xmlns:a16="http://schemas.microsoft.com/office/drawing/2014/main" id="{768BF5C6-128C-4C28-B062-E5962D9C1296}"/>
                    </a:ext>
                  </a:extLst>
                </p:cNvPr>
                <p:cNvSpPr txBox="1"/>
                <p:nvPr/>
              </p:nvSpPr>
              <p:spPr>
                <a:xfrm>
                  <a:off x="4131935" y="3415696"/>
                  <a:ext cx="898413"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Central</a:t>
                  </a:r>
                </a:p>
                <a:p>
                  <a:pPr algn="r" defTabSz="932742" fontAlgn="b">
                    <a:defRPr/>
                  </a:pPr>
                  <a:r>
                    <a:rPr lang="en-US" sz="800">
                      <a:gradFill>
                        <a:gsLst>
                          <a:gs pos="1250">
                            <a:srgbClr val="FFFFFF"/>
                          </a:gs>
                          <a:gs pos="100000">
                            <a:srgbClr val="FFFFFF"/>
                          </a:gs>
                        </a:gsLst>
                        <a:lin ang="5400000" scaled="0"/>
                      </a:gradFill>
                      <a:latin typeface="+mj-lt"/>
                    </a:rPr>
                    <a:t>Australia Central 2</a:t>
                  </a:r>
                </a:p>
              </p:txBody>
            </p:sp>
            <p:grpSp>
              <p:nvGrpSpPr>
                <p:cNvPr id="1065" name="Group 1064">
                  <a:extLst>
                    <a:ext uri="{FF2B5EF4-FFF2-40B4-BE49-F238E27FC236}">
                      <a16:creationId xmlns:a16="http://schemas.microsoft.com/office/drawing/2014/main" id="{AC19B7E4-3742-4EA7-9A98-197068E7A7CE}"/>
                    </a:ext>
                  </a:extLst>
                </p:cNvPr>
                <p:cNvGrpSpPr/>
                <p:nvPr/>
              </p:nvGrpSpPr>
              <p:grpSpPr>
                <a:xfrm flipV="1">
                  <a:off x="5058200" y="2957504"/>
                  <a:ext cx="482221" cy="521928"/>
                  <a:chOff x="5020101" y="2862259"/>
                  <a:chExt cx="482221" cy="1229985"/>
                </a:xfrm>
              </p:grpSpPr>
              <p:cxnSp>
                <p:nvCxnSpPr>
                  <p:cNvPr id="1066" name="Straight Connector 1065">
                    <a:extLst>
                      <a:ext uri="{FF2B5EF4-FFF2-40B4-BE49-F238E27FC236}">
                        <a16:creationId xmlns:a16="http://schemas.microsoft.com/office/drawing/2014/main" id="{3FD411F0-360D-4F8D-B961-727FBC672EE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D1556B41-DABC-4803-84C6-51446B8AB5EC}"/>
                      </a:ext>
                    </a:extLst>
                  </p:cNvPr>
                  <p:cNvCxnSpPr>
                    <a:cxnSpLocks/>
                  </p:cNvCxnSpPr>
                  <p:nvPr/>
                </p:nvCxnSpPr>
                <p:spPr>
                  <a:xfrm>
                    <a:off x="5495179" y="2862259"/>
                    <a:ext cx="0" cy="122998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69" name="Group 1068">
                <a:extLst>
                  <a:ext uri="{FF2B5EF4-FFF2-40B4-BE49-F238E27FC236}">
                    <a16:creationId xmlns:a16="http://schemas.microsoft.com/office/drawing/2014/main" id="{8540FBCF-66D9-4B5C-9D96-540CCF702631}"/>
                  </a:ext>
                </a:extLst>
              </p:cNvPr>
              <p:cNvGrpSpPr/>
              <p:nvPr/>
            </p:nvGrpSpPr>
            <p:grpSpPr>
              <a:xfrm>
                <a:off x="9810126" y="4848330"/>
                <a:ext cx="1408486" cy="1060274"/>
                <a:chOff x="4131935" y="2478533"/>
                <a:chExt cx="1408486" cy="1060274"/>
              </a:xfrm>
            </p:grpSpPr>
            <p:sp>
              <p:nvSpPr>
                <p:cNvPr id="1070" name="TextBox 1069">
                  <a:extLst>
                    <a:ext uri="{FF2B5EF4-FFF2-40B4-BE49-F238E27FC236}">
                      <a16:creationId xmlns:a16="http://schemas.microsoft.com/office/drawing/2014/main" id="{57D3A08B-0D7D-4A0C-B0C0-F9B23142CBF2}"/>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East</a:t>
                  </a:r>
                </a:p>
              </p:txBody>
            </p:sp>
            <p:grpSp>
              <p:nvGrpSpPr>
                <p:cNvPr id="1071" name="Group 1070">
                  <a:extLst>
                    <a:ext uri="{FF2B5EF4-FFF2-40B4-BE49-F238E27FC236}">
                      <a16:creationId xmlns:a16="http://schemas.microsoft.com/office/drawing/2014/main" id="{51199437-F8BB-4875-B017-618E75BD43C3}"/>
                    </a:ext>
                  </a:extLst>
                </p:cNvPr>
                <p:cNvGrpSpPr/>
                <p:nvPr/>
              </p:nvGrpSpPr>
              <p:grpSpPr>
                <a:xfrm flipV="1">
                  <a:off x="5058200" y="2478533"/>
                  <a:ext cx="482221" cy="1000899"/>
                  <a:chOff x="5020101" y="2862259"/>
                  <a:chExt cx="482221" cy="2358737"/>
                </a:xfrm>
              </p:grpSpPr>
              <p:cxnSp>
                <p:nvCxnSpPr>
                  <p:cNvPr id="1072" name="Straight Connector 1071">
                    <a:extLst>
                      <a:ext uri="{FF2B5EF4-FFF2-40B4-BE49-F238E27FC236}">
                        <a16:creationId xmlns:a16="http://schemas.microsoft.com/office/drawing/2014/main" id="{2BD6AE79-8F10-484D-B306-B4BD3E85D7E5}"/>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3" name="Straight Connector 1072">
                    <a:extLst>
                      <a:ext uri="{FF2B5EF4-FFF2-40B4-BE49-F238E27FC236}">
                        <a16:creationId xmlns:a16="http://schemas.microsoft.com/office/drawing/2014/main" id="{592AB191-1670-4FB8-A4D1-A20A531FD434}"/>
                      </a:ext>
                    </a:extLst>
                  </p:cNvPr>
                  <p:cNvCxnSpPr>
                    <a:cxnSpLocks/>
                  </p:cNvCxnSpPr>
                  <p:nvPr/>
                </p:nvCxnSpPr>
                <p:spPr>
                  <a:xfrm>
                    <a:off x="5495179" y="2862259"/>
                    <a:ext cx="0" cy="235873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grpSp>
        <p:nvGrpSpPr>
          <p:cNvPr id="3" name="Group 2">
            <a:extLst>
              <a:ext uri="{FF2B5EF4-FFF2-40B4-BE49-F238E27FC236}">
                <a16:creationId xmlns:a16="http://schemas.microsoft.com/office/drawing/2014/main" id="{95D91663-6279-46A1-B1EA-B367A45DA39A}"/>
              </a:ext>
            </a:extLst>
          </p:cNvPr>
          <p:cNvGrpSpPr/>
          <p:nvPr/>
        </p:nvGrpSpPr>
        <p:grpSpPr>
          <a:xfrm>
            <a:off x="0" y="681661"/>
            <a:ext cx="5054220" cy="1588116"/>
            <a:chOff x="0" y="681661"/>
            <a:chExt cx="5054220" cy="1588116"/>
          </a:xfrm>
        </p:grpSpPr>
        <p:cxnSp>
          <p:nvCxnSpPr>
            <p:cNvPr id="344" name="Straight Connector 343">
              <a:extLst>
                <a:ext uri="{FF2B5EF4-FFF2-40B4-BE49-F238E27FC236}">
                  <a16:creationId xmlns:a16="http://schemas.microsoft.com/office/drawing/2014/main" id="{955D6EA1-44DE-4489-8ECE-8003418A931B}"/>
                </a:ext>
              </a:extLst>
            </p:cNvPr>
            <p:cNvCxnSpPr>
              <a:cxnSpLocks/>
            </p:cNvCxnSpPr>
            <p:nvPr/>
          </p:nvCxnSpPr>
          <p:spPr>
            <a:xfrm>
              <a:off x="0" y="2269777"/>
              <a:ext cx="3544134" cy="0"/>
            </a:xfrm>
            <a:prstGeom prst="line">
              <a:avLst/>
            </a:prstGeom>
            <a:noFill/>
            <a:ln w="19050" cap="flat" cmpd="sng" algn="ctr">
              <a:solidFill>
                <a:srgbClr val="50E6FF"/>
              </a:solidFill>
              <a:prstDash val="solid"/>
              <a:headEnd type="none"/>
              <a:tailEnd type="none"/>
            </a:ln>
            <a:effectLst/>
          </p:spPr>
        </p:cxnSp>
        <p:sp>
          <p:nvSpPr>
            <p:cNvPr id="343" name="Title 1">
              <a:extLst>
                <a:ext uri="{FF2B5EF4-FFF2-40B4-BE49-F238E27FC236}">
                  <a16:creationId xmlns:a16="http://schemas.microsoft.com/office/drawing/2014/main" id="{64B75FB0-AB94-48A8-B2A0-1C5D702EC225}"/>
                </a:ext>
              </a:extLst>
            </p:cNvPr>
            <p:cNvSpPr txBox="1">
              <a:spLocks/>
            </p:cNvSpPr>
            <p:nvPr/>
          </p:nvSpPr>
          <p:spPr>
            <a:xfrm>
              <a:off x="588263" y="681661"/>
              <a:ext cx="4465957"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regional availability</a:t>
              </a:r>
            </a:p>
          </p:txBody>
        </p:sp>
      </p:grpSp>
    </p:spTree>
    <p:extLst>
      <p:ext uri="{BB962C8B-B14F-4D97-AF65-F5344CB8AC3E}">
        <p14:creationId xmlns:p14="http://schemas.microsoft.com/office/powerpoint/2010/main" val="46580299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17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Modern Data Warehousing Patterns</a:t>
            </a:r>
          </a:p>
        </p:txBody>
      </p:sp>
      <p:sp>
        <p:nvSpPr>
          <p:cNvPr id="3" name="Rectangle 2">
            <a:extLst>
              <a:ext uri="{FF2B5EF4-FFF2-40B4-BE49-F238E27FC236}">
                <a16:creationId xmlns:a16="http://schemas.microsoft.com/office/drawing/2014/main" id="{63D396DF-9507-44B8-92EC-73B657AB8FAE}"/>
              </a:ext>
            </a:extLst>
          </p:cNvPr>
          <p:cNvSpPr/>
          <p:nvPr/>
        </p:nvSpPr>
        <p:spPr bwMode="auto">
          <a:xfrm>
            <a:off x="5466905"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Model &amp; Serv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37D91F1C-ED78-45F2-9789-6EE6BC0AD30C}"/>
              </a:ext>
            </a:extLst>
          </p:cNvPr>
          <p:cNvSpPr/>
          <p:nvPr/>
        </p:nvSpPr>
        <p:spPr bwMode="auto">
          <a:xfrm>
            <a:off x="8729065" y="1867237"/>
            <a:ext cx="3110204" cy="2900697"/>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Visualize</a:t>
            </a:r>
          </a:p>
        </p:txBody>
      </p:sp>
      <p:sp>
        <p:nvSpPr>
          <p:cNvPr id="5" name="Rectangle 4">
            <a:extLst>
              <a:ext uri="{FF2B5EF4-FFF2-40B4-BE49-F238E27FC236}">
                <a16:creationId xmlns:a16="http://schemas.microsoft.com/office/drawing/2014/main" id="{9EE5EA5E-51D1-4FC1-BF2F-878A60E288DD}"/>
              </a:ext>
            </a:extLst>
          </p:cNvPr>
          <p:cNvSpPr/>
          <p:nvPr/>
        </p:nvSpPr>
        <p:spPr bwMode="auto">
          <a:xfrm>
            <a:off x="2212187"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Ingest &amp; Prep</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FD27ECFA-B931-4A7A-AD42-BBFB8A2EF2DC}"/>
              </a:ext>
            </a:extLst>
          </p:cNvPr>
          <p:cNvSpPr/>
          <p:nvPr/>
        </p:nvSpPr>
        <p:spPr bwMode="auto">
          <a:xfrm>
            <a:off x="2204746" y="4914901"/>
            <a:ext cx="9654743" cy="1390902"/>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Store</a:t>
            </a:r>
          </a:p>
        </p:txBody>
      </p:sp>
      <p:sp>
        <p:nvSpPr>
          <p:cNvPr id="7" name="TextBox 6">
            <a:extLst>
              <a:ext uri="{FF2B5EF4-FFF2-40B4-BE49-F238E27FC236}">
                <a16:creationId xmlns:a16="http://schemas.microsoft.com/office/drawing/2014/main" id="{075C0E88-B725-41E4-B538-BAAB7A0C6400}"/>
              </a:ext>
            </a:extLst>
          </p:cNvPr>
          <p:cNvSpPr txBox="1"/>
          <p:nvPr/>
        </p:nvSpPr>
        <p:spPr>
          <a:xfrm>
            <a:off x="740276" y="2724185"/>
            <a:ext cx="1045736"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gs (unstructured)</a:t>
            </a:r>
          </a:p>
        </p:txBody>
      </p:sp>
      <p:sp>
        <p:nvSpPr>
          <p:cNvPr id="8" name="TextBox 7">
            <a:extLst>
              <a:ext uri="{FF2B5EF4-FFF2-40B4-BE49-F238E27FC236}">
                <a16:creationId xmlns:a16="http://schemas.microsoft.com/office/drawing/2014/main" id="{C9EE7EAB-1950-4994-A83D-2CA942E8889C}"/>
              </a:ext>
            </a:extLst>
          </p:cNvPr>
          <p:cNvSpPr txBox="1"/>
          <p:nvPr/>
        </p:nvSpPr>
        <p:spPr>
          <a:xfrm>
            <a:off x="740276" y="3547859"/>
            <a:ext cx="1129729"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Media (unstructured)</a:t>
            </a:r>
          </a:p>
        </p:txBody>
      </p:sp>
      <p:sp>
        <p:nvSpPr>
          <p:cNvPr id="9" name="TextBox 8">
            <a:extLst>
              <a:ext uri="{FF2B5EF4-FFF2-40B4-BE49-F238E27FC236}">
                <a16:creationId xmlns:a16="http://schemas.microsoft.com/office/drawing/2014/main" id="{26915F98-8F99-4E5F-B7FC-393A508748E2}"/>
              </a:ext>
            </a:extLst>
          </p:cNvPr>
          <p:cNvSpPr txBox="1"/>
          <p:nvPr/>
        </p:nvSpPr>
        <p:spPr>
          <a:xfrm>
            <a:off x="740275" y="4371533"/>
            <a:ext cx="1026647"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Files (unstructured)</a:t>
            </a:r>
          </a:p>
        </p:txBody>
      </p:sp>
      <p:sp>
        <p:nvSpPr>
          <p:cNvPr id="10" name="TextBox 9">
            <a:extLst>
              <a:ext uri="{FF2B5EF4-FFF2-40B4-BE49-F238E27FC236}">
                <a16:creationId xmlns:a16="http://schemas.microsoft.com/office/drawing/2014/main" id="{1CB40F69-94FF-4C33-AFDB-6BCECE82CDC8}"/>
              </a:ext>
            </a:extLst>
          </p:cNvPr>
          <p:cNvSpPr txBox="1"/>
          <p:nvPr/>
        </p:nvSpPr>
        <p:spPr>
          <a:xfrm>
            <a:off x="740275" y="5112108"/>
            <a:ext cx="997441" cy="498598"/>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Business/</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custom apps </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structured)</a:t>
            </a:r>
          </a:p>
        </p:txBody>
      </p:sp>
      <p:sp>
        <p:nvSpPr>
          <p:cNvPr id="11" name="Right Bracket 10">
            <a:extLst>
              <a:ext uri="{FF2B5EF4-FFF2-40B4-BE49-F238E27FC236}">
                <a16:creationId xmlns:a16="http://schemas.microsoft.com/office/drawing/2014/main" id="{7BBD9D84-94E3-4F25-80D6-8D5016CA1F65}"/>
              </a:ext>
            </a:extLst>
          </p:cNvPr>
          <p:cNvSpPr/>
          <p:nvPr/>
        </p:nvSpPr>
        <p:spPr>
          <a:xfrm>
            <a:off x="1729256" y="1867237"/>
            <a:ext cx="159697" cy="4533517"/>
          </a:xfrm>
          <a:prstGeom prst="rightBracket">
            <a:avLst>
              <a:gd name="adj" fmla="val 0"/>
            </a:avLst>
          </a:prstGeom>
          <a:ln w="19050">
            <a:solidFill>
              <a:srgbClr val="0078D7"/>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Arrow Connector 11">
            <a:extLst>
              <a:ext uri="{FF2B5EF4-FFF2-40B4-BE49-F238E27FC236}">
                <a16:creationId xmlns:a16="http://schemas.microsoft.com/office/drawing/2014/main" id="{595A3A2A-1F2F-44CE-BFAA-BBFACE774DD2}"/>
              </a:ext>
            </a:extLst>
          </p:cNvPr>
          <p:cNvCxnSpPr>
            <a:cxnSpLocks/>
          </p:cNvCxnSpPr>
          <p:nvPr/>
        </p:nvCxnSpPr>
        <p:spPr>
          <a:xfrm>
            <a:off x="1907832" y="2410979"/>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F905CE8-0369-4667-824C-A05DF5DD87F1}"/>
              </a:ext>
            </a:extLst>
          </p:cNvPr>
          <p:cNvCxnSpPr>
            <a:cxnSpLocks/>
          </p:cNvCxnSpPr>
          <p:nvPr/>
        </p:nvCxnSpPr>
        <p:spPr>
          <a:xfrm>
            <a:off x="5017770" y="234168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5FD6D16-EB6E-4EDC-81A4-6796498F0416}"/>
              </a:ext>
            </a:extLst>
          </p:cNvPr>
          <p:cNvCxnSpPr>
            <a:cxnSpLocks/>
          </p:cNvCxnSpPr>
          <p:nvPr/>
        </p:nvCxnSpPr>
        <p:spPr>
          <a:xfrm>
            <a:off x="1907832" y="5498808"/>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E070E3-E51B-48F2-BD0E-F2F682764D2A}"/>
              </a:ext>
            </a:extLst>
          </p:cNvPr>
          <p:cNvCxnSpPr>
            <a:cxnSpLocks/>
          </p:cNvCxnSpPr>
          <p:nvPr/>
        </p:nvCxnSpPr>
        <p:spPr>
          <a:xfrm>
            <a:off x="8354242" y="233749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F0A554-C199-4F14-B11A-3EC65DDDE603}"/>
              </a:ext>
            </a:extLst>
          </p:cNvPr>
          <p:cNvCxnSpPr>
            <a:cxnSpLocks/>
          </p:cNvCxnSpPr>
          <p:nvPr/>
        </p:nvCxnSpPr>
        <p:spPr>
          <a:xfrm flipV="1">
            <a:off x="7022007"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F27D97A-69A1-4F4B-8103-56AFFA659077}"/>
              </a:ext>
            </a:extLst>
          </p:cNvPr>
          <p:cNvSpPr txBox="1"/>
          <p:nvPr/>
        </p:nvSpPr>
        <p:spPr>
          <a:xfrm>
            <a:off x="2683407" y="3054972"/>
            <a:ext cx="2042864" cy="461665"/>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de-free data transformation and  ingestion from 90+ data integration connectors</a:t>
            </a:r>
          </a:p>
        </p:txBody>
      </p:sp>
      <p:sp>
        <p:nvSpPr>
          <p:cNvPr id="20" name="TextBox 19">
            <a:extLst>
              <a:ext uri="{FF2B5EF4-FFF2-40B4-BE49-F238E27FC236}">
                <a16:creationId xmlns:a16="http://schemas.microsoft.com/office/drawing/2014/main" id="{3D6936F9-7C27-417D-B057-504A157DB17A}"/>
              </a:ext>
            </a:extLst>
          </p:cNvPr>
          <p:cNvSpPr txBox="1"/>
          <p:nvPr/>
        </p:nvSpPr>
        <p:spPr>
          <a:xfrm>
            <a:off x="9089024" y="3629018"/>
            <a:ext cx="2390286" cy="307777"/>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eader in the Magic Quadrant for Business Intelligence and Analytics Platforms*</a:t>
            </a:r>
          </a:p>
        </p:txBody>
      </p:sp>
      <p:sp>
        <p:nvSpPr>
          <p:cNvPr id="21" name="TextBox 20">
            <a:extLst>
              <a:ext uri="{FF2B5EF4-FFF2-40B4-BE49-F238E27FC236}">
                <a16:creationId xmlns:a16="http://schemas.microsoft.com/office/drawing/2014/main" id="{E6823166-CDC1-494D-8E74-A9B26D4D0D45}"/>
              </a:ext>
            </a:extLst>
          </p:cNvPr>
          <p:cNvSpPr txBox="1"/>
          <p:nvPr/>
        </p:nvSpPr>
        <p:spPr>
          <a:xfrm>
            <a:off x="5975772" y="3629018"/>
            <a:ext cx="2092469" cy="307777"/>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Up to 14x faster and costs 94% less than other cloud providers</a:t>
            </a:r>
          </a:p>
        </p:txBody>
      </p:sp>
      <p:sp>
        <p:nvSpPr>
          <p:cNvPr id="22" name="TextBox 21">
            <a:extLst>
              <a:ext uri="{FF2B5EF4-FFF2-40B4-BE49-F238E27FC236}">
                <a16:creationId xmlns:a16="http://schemas.microsoft.com/office/drawing/2014/main" id="{40D2E93F-4EAD-427F-9F41-CCA03C52CF48}"/>
              </a:ext>
            </a:extLst>
          </p:cNvPr>
          <p:cNvSpPr txBox="1"/>
          <p:nvPr/>
        </p:nvSpPr>
        <p:spPr>
          <a:xfrm>
            <a:off x="6236406" y="5861278"/>
            <a:ext cx="2072250" cy="307777"/>
          </a:xfrm>
          <a:prstGeom prst="rect">
            <a:avLst/>
          </a:prstGeom>
          <a:noFill/>
        </p:spPr>
        <p:txBody>
          <a:bodyPr wrap="square" lIns="0" tIns="0" rIns="0" bIns="0" rtlCol="0" anchor="ctr" anchorCtr="0">
            <a:spAutoFit/>
          </a:bodyPr>
          <a:lstStyle>
            <a:defPPr>
              <a:defRPr lang="en-US"/>
            </a:defPPr>
            <a:lvl1pPr marR="0" lvl="0" indent="0" algn="ctr" defTabSz="914367" fontAlgn="auto">
              <a:lnSpc>
                <a:spcPct val="100000"/>
              </a:lnSpc>
              <a:spcBef>
                <a:spcPts val="0"/>
              </a:spcBef>
              <a:spcAft>
                <a:spcPts val="0"/>
              </a:spcAft>
              <a:buClrTx/>
              <a:buSzTx/>
              <a:buFontTx/>
              <a:buNone/>
              <a:tabLst/>
              <a:defRPr sz="1000">
                <a:gradFill>
                  <a:gsLst>
                    <a:gs pos="2917">
                      <a:srgbClr val="1A1A1A"/>
                    </a:gs>
                    <a:gs pos="30000">
                      <a:srgbClr val="1A1A1A"/>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igh performance data lake available in all 54 Azure regions</a:t>
            </a:r>
          </a:p>
        </p:txBody>
      </p:sp>
      <p:sp>
        <p:nvSpPr>
          <p:cNvPr id="23" name="TextBox 22">
            <a:extLst>
              <a:ext uri="{FF2B5EF4-FFF2-40B4-BE49-F238E27FC236}">
                <a16:creationId xmlns:a16="http://schemas.microsoft.com/office/drawing/2014/main" id="{F1DAC04D-3EC3-4BC4-9560-7A4069229FFC}"/>
              </a:ext>
            </a:extLst>
          </p:cNvPr>
          <p:cNvSpPr txBox="1"/>
          <p:nvPr/>
        </p:nvSpPr>
        <p:spPr>
          <a:xfrm>
            <a:off x="10346284" y="3001490"/>
            <a:ext cx="714426"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Power BI</a:t>
            </a:r>
          </a:p>
        </p:txBody>
      </p:sp>
      <p:sp>
        <p:nvSpPr>
          <p:cNvPr id="24" name="Freeform: Shape 23">
            <a:extLst>
              <a:ext uri="{FF2B5EF4-FFF2-40B4-BE49-F238E27FC236}">
                <a16:creationId xmlns:a16="http://schemas.microsoft.com/office/drawing/2014/main" id="{ECA4373E-57BE-43D0-9B0E-9D2535372E60}"/>
              </a:ext>
            </a:extLst>
          </p:cNvPr>
          <p:cNvSpPr>
            <a:spLocks noChangeAspect="1"/>
          </p:cNvSpPr>
          <p:nvPr/>
        </p:nvSpPr>
        <p:spPr bwMode="auto">
          <a:xfrm flipV="1">
            <a:off x="9597315" y="2935867"/>
            <a:ext cx="456306" cy="339887"/>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25" name="Picture 24" descr="A picture containing clock&#10;&#10;Description automatically generated">
            <a:extLst>
              <a:ext uri="{FF2B5EF4-FFF2-40B4-BE49-F238E27FC236}">
                <a16:creationId xmlns:a16="http://schemas.microsoft.com/office/drawing/2014/main" id="{0F9A94FF-A7A6-46D1-8CAF-A65108DFF416}"/>
              </a:ext>
            </a:extLst>
          </p:cNvPr>
          <p:cNvPicPr>
            <a:picLocks noChangeAspect="1"/>
          </p:cNvPicPr>
          <p:nvPr/>
        </p:nvPicPr>
        <p:blipFill>
          <a:blip r:embed="rId3"/>
          <a:stretch>
            <a:fillRect/>
          </a:stretch>
        </p:blipFill>
        <p:spPr>
          <a:xfrm>
            <a:off x="5776853" y="2871199"/>
            <a:ext cx="560860" cy="560860"/>
          </a:xfrm>
          <a:prstGeom prst="rect">
            <a:avLst/>
          </a:prstGeom>
        </p:spPr>
      </p:pic>
      <p:sp>
        <p:nvSpPr>
          <p:cNvPr id="26" name="TextBox 25">
            <a:extLst>
              <a:ext uri="{FF2B5EF4-FFF2-40B4-BE49-F238E27FC236}">
                <a16:creationId xmlns:a16="http://schemas.microsoft.com/office/drawing/2014/main" id="{97C019BA-59B7-4DBE-A2F7-F43F45903E22}"/>
              </a:ext>
            </a:extLst>
          </p:cNvPr>
          <p:cNvSpPr txBox="1"/>
          <p:nvPr/>
        </p:nvSpPr>
        <p:spPr>
          <a:xfrm>
            <a:off x="6396014" y="3001490"/>
            <a:ext cx="1958228" cy="3600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Synapse Analytics</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SQL Pool)</a:t>
            </a:r>
          </a:p>
        </p:txBody>
      </p:sp>
      <p:sp>
        <p:nvSpPr>
          <p:cNvPr id="36" name="Rectangle 35">
            <a:extLst>
              <a:ext uri="{FF2B5EF4-FFF2-40B4-BE49-F238E27FC236}">
                <a16:creationId xmlns:a16="http://schemas.microsoft.com/office/drawing/2014/main" id="{29D01BA8-6D6B-4FCD-A308-FA27E2F65819}"/>
              </a:ext>
            </a:extLst>
          </p:cNvPr>
          <p:cNvSpPr>
            <a:spLocks noChangeArrowheads="1"/>
          </p:cNvSpPr>
          <p:nvPr/>
        </p:nvSpPr>
        <p:spPr bwMode="auto">
          <a:xfrm>
            <a:off x="3008048" y="2867476"/>
            <a:ext cx="50065" cy="50065"/>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64151D54-C3B9-4D75-8635-FC88C756C388}"/>
              </a:ext>
            </a:extLst>
          </p:cNvPr>
          <p:cNvSpPr txBox="1"/>
          <p:nvPr/>
        </p:nvSpPr>
        <p:spPr>
          <a:xfrm>
            <a:off x="3295543" y="2640942"/>
            <a:ext cx="1542217" cy="193899"/>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Factory</a:t>
            </a:r>
          </a:p>
        </p:txBody>
      </p:sp>
      <p:sp>
        <p:nvSpPr>
          <p:cNvPr id="38" name="TextBox 37">
            <a:extLst>
              <a:ext uri="{FF2B5EF4-FFF2-40B4-BE49-F238E27FC236}">
                <a16:creationId xmlns:a16="http://schemas.microsoft.com/office/drawing/2014/main" id="{1B0A2455-EDA3-4441-B2AE-616BF13CFC43}"/>
              </a:ext>
            </a:extLst>
          </p:cNvPr>
          <p:cNvSpPr txBox="1"/>
          <p:nvPr/>
        </p:nvSpPr>
        <p:spPr>
          <a:xfrm>
            <a:off x="6337713" y="5578952"/>
            <a:ext cx="1989584"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Lake Storage</a:t>
            </a:r>
          </a:p>
        </p:txBody>
      </p:sp>
      <p:pic>
        <p:nvPicPr>
          <p:cNvPr id="39" name="Graphic 38">
            <a:extLst>
              <a:ext uri="{FF2B5EF4-FFF2-40B4-BE49-F238E27FC236}">
                <a16:creationId xmlns:a16="http://schemas.microsoft.com/office/drawing/2014/main" id="{833C9F23-5912-4CBC-9DF4-326BCF8DC4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25170" y="2503351"/>
            <a:ext cx="443486" cy="443486"/>
          </a:xfrm>
          <a:prstGeom prst="rect">
            <a:avLst/>
          </a:prstGeom>
        </p:spPr>
      </p:pic>
      <p:pic>
        <p:nvPicPr>
          <p:cNvPr id="40" name="Graphic 39">
            <a:extLst>
              <a:ext uri="{FF2B5EF4-FFF2-40B4-BE49-F238E27FC236}">
                <a16:creationId xmlns:a16="http://schemas.microsoft.com/office/drawing/2014/main" id="{965B372B-0AD6-40AC-823C-973FA30762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52840" y="5430241"/>
            <a:ext cx="445863" cy="491319"/>
          </a:xfrm>
          <a:prstGeom prst="rect">
            <a:avLst/>
          </a:prstGeom>
        </p:spPr>
      </p:pic>
      <p:grpSp>
        <p:nvGrpSpPr>
          <p:cNvPr id="41" name="Group 40">
            <a:extLst>
              <a:ext uri="{FF2B5EF4-FFF2-40B4-BE49-F238E27FC236}">
                <a16:creationId xmlns:a16="http://schemas.microsoft.com/office/drawing/2014/main" id="{2AE1504C-FF34-4ACC-B234-1CFE0B903EDC}"/>
              </a:ext>
            </a:extLst>
          </p:cNvPr>
          <p:cNvGrpSpPr/>
          <p:nvPr/>
        </p:nvGrpSpPr>
        <p:grpSpPr>
          <a:xfrm>
            <a:off x="207550" y="5112913"/>
            <a:ext cx="427983" cy="364076"/>
            <a:chOff x="265316" y="5131089"/>
            <a:chExt cx="793593" cy="675092"/>
          </a:xfrm>
        </p:grpSpPr>
        <p:grpSp>
          <p:nvGrpSpPr>
            <p:cNvPr id="42" name="Group 41">
              <a:extLst>
                <a:ext uri="{FF2B5EF4-FFF2-40B4-BE49-F238E27FC236}">
                  <a16:creationId xmlns:a16="http://schemas.microsoft.com/office/drawing/2014/main" id="{27A019CF-9CC4-43F2-967D-D818B9B8B518}"/>
                </a:ext>
              </a:extLst>
            </p:cNvPr>
            <p:cNvGrpSpPr/>
            <p:nvPr/>
          </p:nvGrpSpPr>
          <p:grpSpPr>
            <a:xfrm>
              <a:off x="265316" y="5131089"/>
              <a:ext cx="793593" cy="675092"/>
              <a:chOff x="2107244" y="1575258"/>
              <a:chExt cx="310993" cy="264555"/>
            </a:xfrm>
          </p:grpSpPr>
          <p:sp>
            <p:nvSpPr>
              <p:cNvPr id="48" name="Rectangle 9">
                <a:extLst>
                  <a:ext uri="{FF2B5EF4-FFF2-40B4-BE49-F238E27FC236}">
                    <a16:creationId xmlns:a16="http://schemas.microsoft.com/office/drawing/2014/main" id="{8F5DBBF9-65FC-4EAA-9DB6-C7F0E4D91ADB}"/>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49" name="Group 48">
                <a:extLst>
                  <a:ext uri="{FF2B5EF4-FFF2-40B4-BE49-F238E27FC236}">
                    <a16:creationId xmlns:a16="http://schemas.microsoft.com/office/drawing/2014/main" id="{D09C5F55-D1A5-49B3-B8AF-DFD848BAF4C8}"/>
                  </a:ext>
                </a:extLst>
              </p:cNvPr>
              <p:cNvGrpSpPr/>
              <p:nvPr/>
            </p:nvGrpSpPr>
            <p:grpSpPr>
              <a:xfrm>
                <a:off x="2219774" y="1683758"/>
                <a:ext cx="104220" cy="99334"/>
                <a:chOff x="2219774" y="1683758"/>
                <a:chExt cx="104220" cy="99334"/>
              </a:xfrm>
            </p:grpSpPr>
            <p:sp>
              <p:nvSpPr>
                <p:cNvPr id="50" name="Freeform 14">
                  <a:extLst>
                    <a:ext uri="{FF2B5EF4-FFF2-40B4-BE49-F238E27FC236}">
                      <a16:creationId xmlns:a16="http://schemas.microsoft.com/office/drawing/2014/main" id="{8E48E1B5-0D24-4930-9A21-8C3D2F6DE9DB}"/>
                    </a:ext>
                  </a:extLst>
                </p:cNvPr>
                <p:cNvSpPr>
                  <a:spLocks/>
                </p:cNvSpPr>
                <p:nvPr/>
              </p:nvSpPr>
              <p:spPr bwMode="auto">
                <a:xfrm>
                  <a:off x="2219774" y="1683758"/>
                  <a:ext cx="104220" cy="98089"/>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solidFill>
                  <a:srgbClr val="50E6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1" name="Line 15">
                  <a:extLst>
                    <a:ext uri="{FF2B5EF4-FFF2-40B4-BE49-F238E27FC236}">
                      <a16:creationId xmlns:a16="http://schemas.microsoft.com/office/drawing/2014/main" id="{9356A958-A444-4D5B-A92E-50A3C4A6C8F8}"/>
                    </a:ext>
                  </a:extLst>
                </p:cNvPr>
                <p:cNvSpPr>
                  <a:spLocks noChangeShapeType="1"/>
                </p:cNvSpPr>
                <p:nvPr/>
              </p:nvSpPr>
              <p:spPr bwMode="auto">
                <a:xfrm>
                  <a:off x="2269956" y="1743244"/>
                  <a:ext cx="0" cy="398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43" name="Rectangle 42">
              <a:extLst>
                <a:ext uri="{FF2B5EF4-FFF2-40B4-BE49-F238E27FC236}">
                  <a16:creationId xmlns:a16="http://schemas.microsoft.com/office/drawing/2014/main" id="{885B4E77-8C9F-4C03-8C8C-4C62BA199232}"/>
                </a:ext>
              </a:extLst>
            </p:cNvPr>
            <p:cNvSpPr/>
            <p:nvPr/>
          </p:nvSpPr>
          <p:spPr bwMode="auto">
            <a:xfrm>
              <a:off x="265317" y="5135133"/>
              <a:ext cx="788838" cy="121362"/>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C3D90F0C-7BA2-4BEE-8491-C9344D0D79F9}"/>
                </a:ext>
              </a:extLst>
            </p:cNvPr>
            <p:cNvGrpSpPr/>
            <p:nvPr/>
          </p:nvGrpSpPr>
          <p:grpSpPr>
            <a:xfrm>
              <a:off x="750755" y="5171384"/>
              <a:ext cx="242719" cy="60681"/>
              <a:chOff x="722201" y="5189927"/>
              <a:chExt cx="242719" cy="60681"/>
            </a:xfrm>
          </p:grpSpPr>
          <p:sp>
            <p:nvSpPr>
              <p:cNvPr id="45" name="Oval 11">
                <a:extLst>
                  <a:ext uri="{FF2B5EF4-FFF2-40B4-BE49-F238E27FC236}">
                    <a16:creationId xmlns:a16="http://schemas.microsoft.com/office/drawing/2014/main" id="{692FAD47-FE31-4F73-A324-D8DAF9759341}"/>
                  </a:ext>
                </a:extLst>
              </p:cNvPr>
              <p:cNvSpPr>
                <a:spLocks noChangeArrowheads="1"/>
              </p:cNvSpPr>
              <p:nvPr/>
            </p:nvSpPr>
            <p:spPr bwMode="auto">
              <a:xfrm>
                <a:off x="722201"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6" name="Oval 12">
                <a:extLst>
                  <a:ext uri="{FF2B5EF4-FFF2-40B4-BE49-F238E27FC236}">
                    <a16:creationId xmlns:a16="http://schemas.microsoft.com/office/drawing/2014/main" id="{D2FBDD74-5879-4DE6-9640-3507C92C6888}"/>
                  </a:ext>
                </a:extLst>
              </p:cNvPr>
              <p:cNvSpPr>
                <a:spLocks noChangeArrowheads="1"/>
              </p:cNvSpPr>
              <p:nvPr/>
            </p:nvSpPr>
            <p:spPr bwMode="auto">
              <a:xfrm>
                <a:off x="811435"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7" name="Oval 13">
                <a:extLst>
                  <a:ext uri="{FF2B5EF4-FFF2-40B4-BE49-F238E27FC236}">
                    <a16:creationId xmlns:a16="http://schemas.microsoft.com/office/drawing/2014/main" id="{BB206F67-9B78-4CD4-A838-29A94916F577}"/>
                  </a:ext>
                </a:extLst>
              </p:cNvPr>
              <p:cNvSpPr>
                <a:spLocks noChangeArrowheads="1"/>
              </p:cNvSpPr>
              <p:nvPr/>
            </p:nvSpPr>
            <p:spPr bwMode="auto">
              <a:xfrm>
                <a:off x="904239"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47F276E2-C814-49C4-BC6B-9B6C1F6543E4}"/>
              </a:ext>
            </a:extLst>
          </p:cNvPr>
          <p:cNvGrpSpPr/>
          <p:nvPr/>
        </p:nvGrpSpPr>
        <p:grpSpPr>
          <a:xfrm>
            <a:off x="209709" y="3456957"/>
            <a:ext cx="423664" cy="435948"/>
            <a:chOff x="425774" y="3428914"/>
            <a:chExt cx="423664" cy="435948"/>
          </a:xfrm>
        </p:grpSpPr>
        <p:sp>
          <p:nvSpPr>
            <p:cNvPr id="53" name="Rectangle 52">
              <a:extLst>
                <a:ext uri="{FF2B5EF4-FFF2-40B4-BE49-F238E27FC236}">
                  <a16:creationId xmlns:a16="http://schemas.microsoft.com/office/drawing/2014/main" id="{FF7D16FF-1F71-499A-BCC5-9146AB5AB958}"/>
                </a:ext>
              </a:extLst>
            </p:cNvPr>
            <p:cNvSpPr/>
            <p:nvPr/>
          </p:nvSpPr>
          <p:spPr bwMode="auto">
            <a:xfrm>
              <a:off x="425774" y="3428914"/>
              <a:ext cx="376317" cy="37460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4" name="Group 59">
              <a:extLst>
                <a:ext uri="{FF2B5EF4-FFF2-40B4-BE49-F238E27FC236}">
                  <a16:creationId xmlns:a16="http://schemas.microsoft.com/office/drawing/2014/main" id="{B6382F74-0034-4E34-822D-9C28AC9F3B46}"/>
                </a:ext>
              </a:extLst>
            </p:cNvPr>
            <p:cNvGrpSpPr>
              <a:grpSpLocks noChangeAspect="1"/>
            </p:cNvGrpSpPr>
            <p:nvPr/>
          </p:nvGrpSpPr>
          <p:grpSpPr bwMode="auto">
            <a:xfrm>
              <a:off x="492356" y="3507780"/>
              <a:ext cx="357082" cy="357082"/>
              <a:chOff x="4013" y="2783"/>
              <a:chExt cx="312" cy="312"/>
            </a:xfrm>
          </p:grpSpPr>
          <p:sp>
            <p:nvSpPr>
              <p:cNvPr id="55" name="AutoShape 58">
                <a:extLst>
                  <a:ext uri="{FF2B5EF4-FFF2-40B4-BE49-F238E27FC236}">
                    <a16:creationId xmlns:a16="http://schemas.microsoft.com/office/drawing/2014/main" id="{2EB4FFCA-144F-4EDC-85D9-319A2C4D97BA}"/>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6" name="Rectangle 60">
                <a:extLst>
                  <a:ext uri="{FF2B5EF4-FFF2-40B4-BE49-F238E27FC236}">
                    <a16:creationId xmlns:a16="http://schemas.microsoft.com/office/drawing/2014/main" id="{A1B15CC0-5885-46D1-B134-0E1D3C0921E6}"/>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7" name="Rectangle 61">
                <a:extLst>
                  <a:ext uri="{FF2B5EF4-FFF2-40B4-BE49-F238E27FC236}">
                    <a16:creationId xmlns:a16="http://schemas.microsoft.com/office/drawing/2014/main" id="{8D4E0421-98C6-413B-A7F9-CAF6F32C72F6}"/>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8" name="Freeform 62">
                <a:extLst>
                  <a:ext uri="{FF2B5EF4-FFF2-40B4-BE49-F238E27FC236}">
                    <a16:creationId xmlns:a16="http://schemas.microsoft.com/office/drawing/2014/main" id="{104DC277-DF52-4BFB-9690-6ED28E1E8D48}"/>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9" name="Oval 63">
                <a:extLst>
                  <a:ext uri="{FF2B5EF4-FFF2-40B4-BE49-F238E27FC236}">
                    <a16:creationId xmlns:a16="http://schemas.microsoft.com/office/drawing/2014/main" id="{CBC82CEB-02E8-4137-A555-843B07E8F4AC}"/>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60" name="Group 59">
            <a:extLst>
              <a:ext uri="{FF2B5EF4-FFF2-40B4-BE49-F238E27FC236}">
                <a16:creationId xmlns:a16="http://schemas.microsoft.com/office/drawing/2014/main" id="{DFEC91B7-9E05-4645-9D5C-7998239A782E}"/>
              </a:ext>
            </a:extLst>
          </p:cNvPr>
          <p:cNvGrpSpPr/>
          <p:nvPr/>
        </p:nvGrpSpPr>
        <p:grpSpPr>
          <a:xfrm>
            <a:off x="227434" y="4301607"/>
            <a:ext cx="388214" cy="427711"/>
            <a:chOff x="343593" y="4433674"/>
            <a:chExt cx="388214" cy="427711"/>
          </a:xfrm>
        </p:grpSpPr>
        <p:sp>
          <p:nvSpPr>
            <p:cNvPr id="61" name="Rectangle 60">
              <a:extLst>
                <a:ext uri="{FF2B5EF4-FFF2-40B4-BE49-F238E27FC236}">
                  <a16:creationId xmlns:a16="http://schemas.microsoft.com/office/drawing/2014/main" id="{EC512A96-545F-45EF-9798-FD38A9FFA4C5}"/>
                </a:ext>
              </a:extLst>
            </p:cNvPr>
            <p:cNvSpPr/>
            <p:nvPr/>
          </p:nvSpPr>
          <p:spPr bwMode="auto">
            <a:xfrm>
              <a:off x="343593" y="4433674"/>
              <a:ext cx="262069" cy="364075"/>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2" name="document">
              <a:extLst>
                <a:ext uri="{FF2B5EF4-FFF2-40B4-BE49-F238E27FC236}">
                  <a16:creationId xmlns:a16="http://schemas.microsoft.com/office/drawing/2014/main" id="{2990D7DE-9A79-44E3-9EE2-F7D7D9E0F446}"/>
                </a:ext>
              </a:extLst>
            </p:cNvPr>
            <p:cNvSpPr>
              <a:spLocks noChangeAspect="1" noEditPoints="1"/>
            </p:cNvSpPr>
            <p:nvPr/>
          </p:nvSpPr>
          <p:spPr bwMode="auto">
            <a:xfrm>
              <a:off x="469738" y="4503224"/>
              <a:ext cx="262069" cy="358161"/>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5875"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grpSp>
        <p:nvGrpSpPr>
          <p:cNvPr id="63" name="Group 62">
            <a:extLst>
              <a:ext uri="{FF2B5EF4-FFF2-40B4-BE49-F238E27FC236}">
                <a16:creationId xmlns:a16="http://schemas.microsoft.com/office/drawing/2014/main" id="{58C0156C-D59F-4239-9746-F12401BD8B28}"/>
              </a:ext>
            </a:extLst>
          </p:cNvPr>
          <p:cNvGrpSpPr/>
          <p:nvPr/>
        </p:nvGrpSpPr>
        <p:grpSpPr>
          <a:xfrm>
            <a:off x="264326" y="2673454"/>
            <a:ext cx="314430" cy="364076"/>
            <a:chOff x="305587" y="2721796"/>
            <a:chExt cx="314430" cy="364076"/>
          </a:xfrm>
        </p:grpSpPr>
        <p:sp>
          <p:nvSpPr>
            <p:cNvPr id="64" name="Rectangle 63">
              <a:extLst>
                <a:ext uri="{FF2B5EF4-FFF2-40B4-BE49-F238E27FC236}">
                  <a16:creationId xmlns:a16="http://schemas.microsoft.com/office/drawing/2014/main" id="{DF406987-EC2D-4FC4-A4AC-A7F2AA63526C}"/>
                </a:ext>
              </a:extLst>
            </p:cNvPr>
            <p:cNvSpPr/>
            <p:nvPr/>
          </p:nvSpPr>
          <p:spPr bwMode="auto">
            <a:xfrm>
              <a:off x="381000" y="2986460"/>
              <a:ext cx="187325" cy="9623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5" name="document_3">
              <a:extLst>
                <a:ext uri="{FF2B5EF4-FFF2-40B4-BE49-F238E27FC236}">
                  <a16:creationId xmlns:a16="http://schemas.microsoft.com/office/drawing/2014/main" id="{474ED08B-1325-4BB1-A0FB-3AE4AD1818B8}"/>
                </a:ext>
              </a:extLst>
            </p:cNvPr>
            <p:cNvSpPr>
              <a:spLocks noChangeAspect="1" noEditPoints="1"/>
            </p:cNvSpPr>
            <p:nvPr/>
          </p:nvSpPr>
          <p:spPr bwMode="auto">
            <a:xfrm>
              <a:off x="305587" y="2721796"/>
              <a:ext cx="314430" cy="364076"/>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solidFill>
              <a:srgbClr val="0078D7"/>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sp>
        <p:nvSpPr>
          <p:cNvPr id="76" name="TextBox 75">
            <a:extLst>
              <a:ext uri="{FF2B5EF4-FFF2-40B4-BE49-F238E27FC236}">
                <a16:creationId xmlns:a16="http://schemas.microsoft.com/office/drawing/2014/main" id="{4E07375F-B33B-4A1F-8E90-68DE030CC018}"/>
              </a:ext>
            </a:extLst>
          </p:cNvPr>
          <p:cNvSpPr txBox="1"/>
          <p:nvPr/>
        </p:nvSpPr>
        <p:spPr>
          <a:xfrm>
            <a:off x="3272096" y="4175131"/>
            <a:ext cx="1701948" cy="123111"/>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p to 10x faster than vanilla Spark</a:t>
            </a:r>
          </a:p>
        </p:txBody>
      </p:sp>
      <p:sp>
        <p:nvSpPr>
          <p:cNvPr id="77" name="TextBox 76">
            <a:extLst>
              <a:ext uri="{FF2B5EF4-FFF2-40B4-BE49-F238E27FC236}">
                <a16:creationId xmlns:a16="http://schemas.microsoft.com/office/drawing/2014/main" id="{5F107AD1-0F9F-40F7-9F6D-CC62DC775D57}"/>
              </a:ext>
            </a:extLst>
          </p:cNvPr>
          <p:cNvSpPr txBox="1"/>
          <p:nvPr/>
        </p:nvSpPr>
        <p:spPr>
          <a:xfrm>
            <a:off x="3239699" y="3808213"/>
            <a:ext cx="1372171" cy="3600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Databricks</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prep)</a:t>
            </a:r>
          </a:p>
        </p:txBody>
      </p:sp>
      <p:grpSp>
        <p:nvGrpSpPr>
          <p:cNvPr id="78" name="Group 4">
            <a:extLst>
              <a:ext uri="{FF2B5EF4-FFF2-40B4-BE49-F238E27FC236}">
                <a16:creationId xmlns:a16="http://schemas.microsoft.com/office/drawing/2014/main" id="{3DF22C31-707F-4B1C-B1A7-2209430C5701}"/>
              </a:ext>
            </a:extLst>
          </p:cNvPr>
          <p:cNvGrpSpPr>
            <a:grpSpLocks noChangeAspect="1"/>
          </p:cNvGrpSpPr>
          <p:nvPr/>
        </p:nvGrpSpPr>
        <p:grpSpPr bwMode="auto">
          <a:xfrm>
            <a:off x="2708334" y="3790409"/>
            <a:ext cx="417512" cy="476250"/>
            <a:chOff x="1937" y="2617"/>
            <a:chExt cx="263" cy="300"/>
          </a:xfrm>
        </p:grpSpPr>
        <p:sp>
          <p:nvSpPr>
            <p:cNvPr id="79" name="AutoShape 3">
              <a:extLst>
                <a:ext uri="{FF2B5EF4-FFF2-40B4-BE49-F238E27FC236}">
                  <a16:creationId xmlns:a16="http://schemas.microsoft.com/office/drawing/2014/main" id="{8FA4AB32-7446-472E-B378-711B9CDF33C1}"/>
                </a:ext>
              </a:extLst>
            </p:cNvPr>
            <p:cNvSpPr>
              <a:spLocks noChangeAspect="1" noChangeArrowheads="1" noTextEdit="1"/>
            </p:cNvSpPr>
            <p:nvPr/>
          </p:nvSpPr>
          <p:spPr bwMode="auto">
            <a:xfrm>
              <a:off x="1937" y="2617"/>
              <a:ext cx="263"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5">
              <a:extLst>
                <a:ext uri="{FF2B5EF4-FFF2-40B4-BE49-F238E27FC236}">
                  <a16:creationId xmlns:a16="http://schemas.microsoft.com/office/drawing/2014/main" id="{EF32FD26-D515-41CA-BF42-1D444C1AD858}"/>
                </a:ext>
              </a:extLst>
            </p:cNvPr>
            <p:cNvSpPr>
              <a:spLocks/>
            </p:cNvSpPr>
            <p:nvPr/>
          </p:nvSpPr>
          <p:spPr bwMode="auto">
            <a:xfrm>
              <a:off x="1937" y="2792"/>
              <a:ext cx="265" cy="125"/>
            </a:xfrm>
            <a:custGeom>
              <a:avLst/>
              <a:gdLst>
                <a:gd name="T0" fmla="*/ 0 w 265"/>
                <a:gd name="T1" fmla="*/ 0 h 125"/>
                <a:gd name="T2" fmla="*/ 0 w 265"/>
                <a:gd name="T3" fmla="*/ 48 h 125"/>
                <a:gd name="T4" fmla="*/ 133 w 265"/>
                <a:gd name="T5" fmla="*/ 125 h 125"/>
                <a:gd name="T6" fmla="*/ 265 w 265"/>
                <a:gd name="T7" fmla="*/ 48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48"/>
                  </a:lnTo>
                  <a:lnTo>
                    <a:pt x="133" y="125"/>
                  </a:lnTo>
                  <a:lnTo>
                    <a:pt x="265" y="48"/>
                  </a:lnTo>
                  <a:lnTo>
                    <a:pt x="265" y="0"/>
                  </a:lnTo>
                  <a:lnTo>
                    <a:pt x="0" y="0"/>
                  </a:lnTo>
                  <a:close/>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6">
              <a:extLst>
                <a:ext uri="{FF2B5EF4-FFF2-40B4-BE49-F238E27FC236}">
                  <a16:creationId xmlns:a16="http://schemas.microsoft.com/office/drawing/2014/main" id="{D781C14F-612A-40C1-BFA6-AD59A57769F5}"/>
                </a:ext>
              </a:extLst>
            </p:cNvPr>
            <p:cNvSpPr>
              <a:spLocks/>
            </p:cNvSpPr>
            <p:nvPr/>
          </p:nvSpPr>
          <p:spPr bwMode="auto">
            <a:xfrm>
              <a:off x="2070" y="2792"/>
              <a:ext cx="132" cy="125"/>
            </a:xfrm>
            <a:custGeom>
              <a:avLst/>
              <a:gdLst>
                <a:gd name="T0" fmla="*/ 0 w 132"/>
                <a:gd name="T1" fmla="*/ 0 h 125"/>
                <a:gd name="T2" fmla="*/ 0 w 132"/>
                <a:gd name="T3" fmla="*/ 125 h 125"/>
                <a:gd name="T4" fmla="*/ 132 w 132"/>
                <a:gd name="T5" fmla="*/ 48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48"/>
                  </a:lnTo>
                  <a:lnTo>
                    <a:pt x="132" y="0"/>
                  </a:lnTo>
                  <a:lnTo>
                    <a:pt x="0" y="0"/>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7">
              <a:extLst>
                <a:ext uri="{FF2B5EF4-FFF2-40B4-BE49-F238E27FC236}">
                  <a16:creationId xmlns:a16="http://schemas.microsoft.com/office/drawing/2014/main" id="{C0FA76D7-1F5D-48B5-83E3-597BF26475E5}"/>
                </a:ext>
              </a:extLst>
            </p:cNvPr>
            <p:cNvSpPr>
              <a:spLocks/>
            </p:cNvSpPr>
            <p:nvPr/>
          </p:nvSpPr>
          <p:spPr bwMode="auto">
            <a:xfrm>
              <a:off x="1937" y="27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8">
              <a:extLst>
                <a:ext uri="{FF2B5EF4-FFF2-40B4-BE49-F238E27FC236}">
                  <a16:creationId xmlns:a16="http://schemas.microsoft.com/office/drawing/2014/main" id="{C0843F5A-959B-451F-85BA-07A3675F5ADB}"/>
                </a:ext>
              </a:extLst>
            </p:cNvPr>
            <p:cNvSpPr>
              <a:spLocks/>
            </p:cNvSpPr>
            <p:nvPr/>
          </p:nvSpPr>
          <p:spPr bwMode="auto">
            <a:xfrm>
              <a:off x="1937" y="2692"/>
              <a:ext cx="265" cy="125"/>
            </a:xfrm>
            <a:custGeom>
              <a:avLst/>
              <a:gdLst>
                <a:gd name="T0" fmla="*/ 0 w 265"/>
                <a:gd name="T1" fmla="*/ 0 h 125"/>
                <a:gd name="T2" fmla="*/ 0 w 265"/>
                <a:gd name="T3" fmla="*/ 50 h 125"/>
                <a:gd name="T4" fmla="*/ 133 w 265"/>
                <a:gd name="T5" fmla="*/ 125 h 125"/>
                <a:gd name="T6" fmla="*/ 265 w 265"/>
                <a:gd name="T7" fmla="*/ 50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50"/>
                  </a:lnTo>
                  <a:lnTo>
                    <a:pt x="133" y="125"/>
                  </a:lnTo>
                  <a:lnTo>
                    <a:pt x="265" y="50"/>
                  </a:lnTo>
                  <a:lnTo>
                    <a:pt x="265" y="0"/>
                  </a:lnTo>
                  <a:lnTo>
                    <a:pt x="0" y="0"/>
                  </a:lnTo>
                  <a:close/>
                </a:path>
              </a:pathLst>
            </a:custGeom>
            <a:solidFill>
              <a:srgbClr val="003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9">
              <a:extLst>
                <a:ext uri="{FF2B5EF4-FFF2-40B4-BE49-F238E27FC236}">
                  <a16:creationId xmlns:a16="http://schemas.microsoft.com/office/drawing/2014/main" id="{E192A11C-99A7-4944-92A7-F60286580FC2}"/>
                </a:ext>
              </a:extLst>
            </p:cNvPr>
            <p:cNvSpPr>
              <a:spLocks/>
            </p:cNvSpPr>
            <p:nvPr/>
          </p:nvSpPr>
          <p:spPr bwMode="auto">
            <a:xfrm>
              <a:off x="2070" y="2692"/>
              <a:ext cx="132" cy="125"/>
            </a:xfrm>
            <a:custGeom>
              <a:avLst/>
              <a:gdLst>
                <a:gd name="T0" fmla="*/ 0 w 132"/>
                <a:gd name="T1" fmla="*/ 0 h 125"/>
                <a:gd name="T2" fmla="*/ 0 w 132"/>
                <a:gd name="T3" fmla="*/ 125 h 125"/>
                <a:gd name="T4" fmla="*/ 132 w 132"/>
                <a:gd name="T5" fmla="*/ 50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50"/>
                  </a:lnTo>
                  <a:lnTo>
                    <a:pt x="132" y="0"/>
                  </a:lnTo>
                  <a:lnTo>
                    <a:pt x="0" y="0"/>
                  </a:lnTo>
                  <a:close/>
                </a:path>
              </a:pathLst>
            </a:custGeom>
            <a:solidFill>
              <a:srgbClr val="005A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10">
              <a:extLst>
                <a:ext uri="{FF2B5EF4-FFF2-40B4-BE49-F238E27FC236}">
                  <a16:creationId xmlns:a16="http://schemas.microsoft.com/office/drawing/2014/main" id="{E0F0924A-74AD-435F-8FC1-F4D7BC56D92E}"/>
                </a:ext>
              </a:extLst>
            </p:cNvPr>
            <p:cNvSpPr>
              <a:spLocks/>
            </p:cNvSpPr>
            <p:nvPr/>
          </p:nvSpPr>
          <p:spPr bwMode="auto">
            <a:xfrm>
              <a:off x="1937" y="26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8" name="Straight Arrow Connector 17">
            <a:extLst>
              <a:ext uri="{FF2B5EF4-FFF2-40B4-BE49-F238E27FC236}">
                <a16:creationId xmlns:a16="http://schemas.microsoft.com/office/drawing/2014/main" id="{E9A68938-CAE8-4347-A06A-49B702C3D454}"/>
              </a:ext>
            </a:extLst>
          </p:cNvPr>
          <p:cNvCxnSpPr>
            <a:cxnSpLocks/>
          </p:cNvCxnSpPr>
          <p:nvPr/>
        </p:nvCxnSpPr>
        <p:spPr>
          <a:xfrm>
            <a:off x="4340672"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08124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34D5D165-603F-4368-920A-C450D1D6FD8F}"/>
              </a:ext>
            </a:extLst>
          </p:cNvPr>
          <p:cNvGraphicFramePr>
            <a:graphicFrameLocks noGrp="1"/>
          </p:cNvGraphicFramePr>
          <p:nvPr/>
        </p:nvGraphicFramePr>
        <p:xfrm>
          <a:off x="413908" y="877968"/>
          <a:ext cx="11591404" cy="5768868"/>
        </p:xfrm>
        <a:graphic>
          <a:graphicData uri="http://schemas.openxmlformats.org/drawingml/2006/table">
            <a:tbl>
              <a:tblPr firstRow="1">
                <a:tableStyleId>{93296810-A885-4BE3-A3E7-6D5BEEA58F35}</a:tableStyleId>
              </a:tblPr>
              <a:tblGrid>
                <a:gridCol w="1708605">
                  <a:extLst>
                    <a:ext uri="{9D8B030D-6E8A-4147-A177-3AD203B41FA5}">
                      <a16:colId xmlns:a16="http://schemas.microsoft.com/office/drawing/2014/main" val="1349382137"/>
                    </a:ext>
                  </a:extLst>
                </a:gridCol>
                <a:gridCol w="1155853">
                  <a:extLst>
                    <a:ext uri="{9D8B030D-6E8A-4147-A177-3AD203B41FA5}">
                      <a16:colId xmlns:a16="http://schemas.microsoft.com/office/drawing/2014/main" val="4003087427"/>
                    </a:ext>
                  </a:extLst>
                </a:gridCol>
                <a:gridCol w="1262456">
                  <a:extLst>
                    <a:ext uri="{9D8B030D-6E8A-4147-A177-3AD203B41FA5}">
                      <a16:colId xmlns:a16="http://schemas.microsoft.com/office/drawing/2014/main" val="1914756200"/>
                    </a:ext>
                  </a:extLst>
                </a:gridCol>
                <a:gridCol w="1442397">
                  <a:extLst>
                    <a:ext uri="{9D8B030D-6E8A-4147-A177-3AD203B41FA5}">
                      <a16:colId xmlns:a16="http://schemas.microsoft.com/office/drawing/2014/main" val="1156580412"/>
                    </a:ext>
                  </a:extLst>
                </a:gridCol>
                <a:gridCol w="992893">
                  <a:extLst>
                    <a:ext uri="{9D8B030D-6E8A-4147-A177-3AD203B41FA5}">
                      <a16:colId xmlns:a16="http://schemas.microsoft.com/office/drawing/2014/main" val="1204242376"/>
                    </a:ext>
                  </a:extLst>
                </a:gridCol>
                <a:gridCol w="964239">
                  <a:extLst>
                    <a:ext uri="{9D8B030D-6E8A-4147-A177-3AD203B41FA5}">
                      <a16:colId xmlns:a16="http://schemas.microsoft.com/office/drawing/2014/main" val="3201287085"/>
                    </a:ext>
                  </a:extLst>
                </a:gridCol>
                <a:gridCol w="1399592">
                  <a:extLst>
                    <a:ext uri="{9D8B030D-6E8A-4147-A177-3AD203B41FA5}">
                      <a16:colId xmlns:a16="http://schemas.microsoft.com/office/drawing/2014/main" val="4198059753"/>
                    </a:ext>
                  </a:extLst>
                </a:gridCol>
                <a:gridCol w="1644085">
                  <a:extLst>
                    <a:ext uri="{9D8B030D-6E8A-4147-A177-3AD203B41FA5}">
                      <a16:colId xmlns:a16="http://schemas.microsoft.com/office/drawing/2014/main" val="3714147732"/>
                    </a:ext>
                  </a:extLst>
                </a:gridCol>
                <a:gridCol w="1021284">
                  <a:extLst>
                    <a:ext uri="{9D8B030D-6E8A-4147-A177-3AD203B41FA5}">
                      <a16:colId xmlns:a16="http://schemas.microsoft.com/office/drawing/2014/main" val="2009551186"/>
                    </a:ext>
                  </a:extLst>
                </a:gridCol>
              </a:tblGrid>
              <a:tr h="273609">
                <a:tc>
                  <a:txBody>
                    <a:bodyPr/>
                    <a:lstStyle/>
                    <a:p>
                      <a:pPr algn="ctr"/>
                      <a:r>
                        <a:rPr lang="en-US" sz="1200" dirty="0">
                          <a:latin typeface="+mn-lt"/>
                        </a:rPr>
                        <a:t>Azure (15)</a:t>
                      </a:r>
                      <a:endParaRPr lang="en-US" sz="1200" b="1" dirty="0">
                        <a:latin typeface="+mn-lt"/>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lumMod val="75000"/>
                      </a:schemeClr>
                    </a:solidFill>
                  </a:tcPr>
                </a:tc>
                <a:tc gridSpan="2">
                  <a:txBody>
                    <a:bodyPr/>
                    <a:lstStyle/>
                    <a:p>
                      <a:pPr algn="ctr"/>
                      <a:r>
                        <a:rPr lang="en-US" sz="1200" dirty="0">
                          <a:latin typeface="+mn-lt"/>
                        </a:rPr>
                        <a:t>Database &amp; DW (26)</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hMerge="1">
                  <a:txBody>
                    <a:bodyPr/>
                    <a:lstStyle/>
                    <a:p>
                      <a:endParaRPr lang="en-US"/>
                    </a:p>
                  </a:txBody>
                  <a:tcPr/>
                </a:tc>
                <a:tc>
                  <a:txBody>
                    <a:bodyPr/>
                    <a:lstStyle/>
                    <a:p>
                      <a:pPr algn="ctr"/>
                      <a:r>
                        <a:rPr lang="en-US" sz="1200" dirty="0">
                          <a:latin typeface="+mn-lt"/>
                        </a:rPr>
                        <a:t>File Storage (6)</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ctr"/>
                      <a:r>
                        <a:rPr lang="en-US" sz="1200" b="1" dirty="0">
                          <a:latin typeface="+mn-lt"/>
                        </a:rPr>
                        <a:t>File Formats(6)</a:t>
                      </a:r>
                    </a:p>
                  </a:txBody>
                  <a:tcPr anchor="ctr">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ctr"/>
                      <a:r>
                        <a:rPr lang="en-US" sz="1200" dirty="0">
                          <a:latin typeface="+mn-lt"/>
                        </a:rPr>
                        <a:t>NoSQL (3) </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gridSpan="2">
                  <a:txBody>
                    <a:bodyPr/>
                    <a:lstStyle/>
                    <a:p>
                      <a:pPr algn="ctr"/>
                      <a:r>
                        <a:rPr lang="en-US" sz="1200" dirty="0">
                          <a:latin typeface="+mn-lt"/>
                        </a:rPr>
                        <a:t>Services and App (28)</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hMerge="1">
                  <a:txBody>
                    <a:bodyPr/>
                    <a:lstStyle/>
                    <a:p>
                      <a:endParaRPr lang="en-US"/>
                    </a:p>
                  </a:txBody>
                  <a:tcPr/>
                </a:tc>
                <a:tc>
                  <a:txBody>
                    <a:bodyPr/>
                    <a:lstStyle/>
                    <a:p>
                      <a:pPr algn="ctr"/>
                      <a:r>
                        <a:rPr lang="en-US" sz="1200" dirty="0">
                          <a:latin typeface="+mn-lt"/>
                        </a:rPr>
                        <a:t>Generic (4)</a:t>
                      </a:r>
                      <a:endParaRPr lang="en-US" sz="1200" b="1" dirty="0">
                        <a:latin typeface="+mn-lt"/>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75000"/>
                      </a:schemeClr>
                    </a:solidFill>
                  </a:tcPr>
                </a:tc>
                <a:extLst>
                  <a:ext uri="{0D108BD9-81ED-4DB2-BD59-A6C34878D82A}">
                    <a16:rowId xmlns:a16="http://schemas.microsoft.com/office/drawing/2014/main" val="1794269896"/>
                  </a:ext>
                </a:extLst>
              </a:tr>
              <a:tr h="273609">
                <a:tc>
                  <a:txBody>
                    <a:bodyPr/>
                    <a:lstStyle/>
                    <a:p>
                      <a:pPr algn="ctr" fontAlgn="b"/>
                      <a:r>
                        <a:rPr lang="en-US" sz="1200" u="none" strike="noStrike" dirty="0">
                          <a:effectLst/>
                        </a:rPr>
                        <a:t>Blob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Amazon Redshift</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Orac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Amazon S3</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AVRO</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assandr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Amazon MW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Oracle Service Cloud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HTTP</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310504516"/>
                  </a:ext>
                </a:extLst>
              </a:tr>
              <a:tr h="273609">
                <a:tc>
                  <a:txBody>
                    <a:bodyPr/>
                    <a:lstStyle/>
                    <a:p>
                      <a:pPr algn="ctr" fontAlgn="b"/>
                      <a:r>
                        <a:rPr lang="en-US" sz="1200" u="none" strike="noStrike" dirty="0">
                          <a:effectLst/>
                        </a:rPr>
                        <a:t>Cosmos DB - SQL AP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DB2</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hoeni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File syste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Binary</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ouchbase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DS for App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ayPal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OData</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948024008"/>
                  </a:ext>
                </a:extLst>
              </a:tr>
              <a:tr h="321932">
                <a:tc>
                  <a:txBody>
                    <a:bodyPr/>
                    <a:lstStyle/>
                    <a:p>
                      <a:pPr algn="ctr" fontAlgn="b"/>
                      <a:r>
                        <a:rPr lang="en-US" sz="1200" u="none" strike="noStrike" dirty="0">
                          <a:effectLst/>
                        </a:rPr>
                        <a:t>Cosmos DB - MongoDB AP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Dril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ostgreSQ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FTP</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Delimited Text</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MongoD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oncur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QuickBooks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ODBC</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549057961"/>
                  </a:ext>
                </a:extLst>
              </a:tr>
              <a:tr h="364812">
                <a:tc>
                  <a:txBody>
                    <a:bodyPr/>
                    <a:lstStyle/>
                    <a:p>
                      <a:pPr algn="ctr" fontAlgn="b"/>
                      <a:r>
                        <a:rPr lang="en-US" sz="1200" u="none" strike="noStrike" dirty="0">
                          <a:effectLst/>
                        </a:rPr>
                        <a:t>Data Explorer</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Google BigQuery</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resto</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oogle Cloud Storag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JSON</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365</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lesforc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REST</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847148126"/>
                  </a:ext>
                </a:extLst>
              </a:tr>
              <a:tr h="364812">
                <a:tc>
                  <a:txBody>
                    <a:bodyPr/>
                    <a:lstStyle/>
                    <a:p>
                      <a:pPr algn="ctr" fontAlgn="b"/>
                      <a:r>
                        <a:rPr lang="en-US" sz="1200" u="none" strike="noStrike" dirty="0">
                          <a:effectLst/>
                        </a:rPr>
                        <a:t>Data Lake Storage Gen1</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Greenplu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BW Open Hu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HDF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ORC</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A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 Service Cloud</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789527017"/>
                  </a:ext>
                </a:extLst>
              </a:tr>
              <a:tr h="364812">
                <a:tc>
                  <a:txBody>
                    <a:bodyPr/>
                    <a:lstStyle/>
                    <a:p>
                      <a:pPr algn="ctr" fontAlgn="b"/>
                      <a:r>
                        <a:rPr lang="en-US" sz="1200" u="none" strike="noStrike" dirty="0">
                          <a:effectLst/>
                        </a:rPr>
                        <a:t>Data Lake Storage Gen2</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HBas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BW via MD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TP</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Parquet</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CR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 Marketing Cloud</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136698536"/>
                  </a:ext>
                </a:extLst>
              </a:tr>
              <a:tr h="364812">
                <a:tc>
                  <a:txBody>
                    <a:bodyPr/>
                    <a:lstStyle/>
                    <a:p>
                      <a:pPr algn="ctr" fontAlgn="b"/>
                      <a:r>
                        <a:rPr lang="en-US" sz="1200" u="none" strike="noStrike" dirty="0">
                          <a:effectLst/>
                        </a:rPr>
                        <a:t>Database for MariaDB</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Hiv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HAN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Google AdWord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C4C</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4245973491"/>
                  </a:ext>
                </a:extLst>
              </a:tr>
              <a:tr h="364812">
                <a:tc>
                  <a:txBody>
                    <a:bodyPr/>
                    <a:lstStyle/>
                    <a:p>
                      <a:pPr algn="ctr" fontAlgn="b"/>
                      <a:r>
                        <a:rPr lang="en-US" sz="1200" u="none" strike="noStrike" dirty="0">
                          <a:effectLst/>
                        </a:rPr>
                        <a:t>Database for MySQL</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Apache Impal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tab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HubSpot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ECC</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148086681"/>
                  </a:ext>
                </a:extLst>
              </a:tr>
              <a:tr h="364812">
                <a:tc>
                  <a:txBody>
                    <a:bodyPr/>
                    <a:lstStyle/>
                    <a:p>
                      <a:pPr algn="ctr" fontAlgn="b"/>
                      <a:r>
                        <a:rPr lang="en-US" sz="1200" u="none" strike="noStrike" dirty="0">
                          <a:effectLst/>
                        </a:rPr>
                        <a:t>Database for PostgreSQL</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Informi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park</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Jir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erviceNow</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504456552"/>
                  </a:ext>
                </a:extLst>
              </a:tr>
              <a:tr h="364812">
                <a:tc>
                  <a:txBody>
                    <a:bodyPr/>
                    <a:lstStyle/>
                    <a:p>
                      <a:pPr algn="ctr" fontAlgn="b"/>
                      <a:r>
                        <a:rPr lang="en-US" sz="1200" u="none" strike="noStrike" dirty="0">
                          <a:effectLst/>
                        </a:rPr>
                        <a:t>File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ariaD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QL Server</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Magent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hopify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710767065"/>
                  </a:ext>
                </a:extLst>
              </a:tr>
              <a:tr h="364812">
                <a:tc>
                  <a:txBody>
                    <a:bodyPr/>
                    <a:lstStyle/>
                    <a:p>
                      <a:pPr algn="ctr" fontAlgn="b"/>
                      <a:r>
                        <a:rPr lang="en-US" sz="1200" u="none" strike="noStrike" dirty="0">
                          <a:effectLst/>
                        </a:rPr>
                        <a:t>SQL Databas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icrosoft Acces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ybas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Market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quare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447842383"/>
                  </a:ext>
                </a:extLst>
              </a:tr>
              <a:tr h="364812">
                <a:tc>
                  <a:txBody>
                    <a:bodyPr/>
                    <a:lstStyle/>
                    <a:p>
                      <a:pPr algn="ctr" fontAlgn="b"/>
                      <a:r>
                        <a:rPr lang="en-US" sz="1200" u="none" strike="noStrike" dirty="0">
                          <a:effectLst/>
                        </a:rPr>
                        <a:t>SQL Database M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ySQ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Teradat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ffice 365</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Web tab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493079572"/>
                  </a:ext>
                </a:extLst>
              </a:tr>
              <a:tr h="364812">
                <a:tc>
                  <a:txBody>
                    <a:bodyPr/>
                    <a:lstStyle/>
                    <a:p>
                      <a:pPr algn="ctr" fontAlgn="b"/>
                      <a:r>
                        <a:rPr lang="en-US" sz="1200" u="none" strike="noStrike" dirty="0">
                          <a:effectLst/>
                        </a:rPr>
                        <a:t>SQL Data Warehous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Netezz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Vertic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racle Eloqua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Xero</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08778324"/>
                  </a:ext>
                </a:extLst>
              </a:tr>
              <a:tr h="364812">
                <a:tc>
                  <a:txBody>
                    <a:bodyPr/>
                    <a:lstStyle/>
                    <a:p>
                      <a:pPr algn="ctr" fontAlgn="b"/>
                      <a:r>
                        <a:rPr lang="en-US" sz="1200" u="none" strike="noStrike" dirty="0">
                          <a:effectLst/>
                        </a:rPr>
                        <a:t>Search index</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racle Responsys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Zoh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432505580"/>
                  </a:ext>
                </a:extLst>
              </a:tr>
              <a:tr h="364812">
                <a:tc>
                  <a:txBody>
                    <a:bodyPr/>
                    <a:lstStyle/>
                    <a:p>
                      <a:pPr algn="ctr" fontAlgn="b"/>
                      <a:r>
                        <a:rPr lang="en-US" sz="1200" u="none" strike="noStrike" dirty="0">
                          <a:effectLst/>
                        </a:rPr>
                        <a:t>Table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extLst>
                  <a:ext uri="{0D108BD9-81ED-4DB2-BD59-A6C34878D82A}">
                    <a16:rowId xmlns:a16="http://schemas.microsoft.com/office/drawing/2014/main" val="3821230554"/>
                  </a:ext>
                </a:extLst>
              </a:tr>
            </a:tbl>
          </a:graphicData>
        </a:graphic>
      </p:graphicFrame>
      <p:sp>
        <p:nvSpPr>
          <p:cNvPr id="3" name="Title 2">
            <a:extLst>
              <a:ext uri="{FF2B5EF4-FFF2-40B4-BE49-F238E27FC236}">
                <a16:creationId xmlns:a16="http://schemas.microsoft.com/office/drawing/2014/main" id="{F904E3FC-68A4-4E91-832F-3651075939B7}"/>
              </a:ext>
            </a:extLst>
          </p:cNvPr>
          <p:cNvSpPr>
            <a:spLocks noGrp="1"/>
          </p:cNvSpPr>
          <p:nvPr>
            <p:ph type="title"/>
          </p:nvPr>
        </p:nvSpPr>
        <p:spPr/>
        <p:txBody>
          <a:bodyPr/>
          <a:lstStyle/>
          <a:p>
            <a:r>
              <a:rPr lang="en-US" dirty="0">
                <a:solidFill>
                  <a:schemeClr val="tx1"/>
                </a:solidFill>
              </a:rPr>
              <a:t>90+ Connectors out of the box</a:t>
            </a:r>
          </a:p>
        </p:txBody>
      </p:sp>
      <p:sp>
        <p:nvSpPr>
          <p:cNvPr id="4" name="Rectangle 3">
            <a:extLst>
              <a:ext uri="{FF2B5EF4-FFF2-40B4-BE49-F238E27FC236}">
                <a16:creationId xmlns:a16="http://schemas.microsoft.com/office/drawing/2014/main" id="{268851F5-8211-433D-A1EC-7760CB0A32AE}"/>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Data Integration &gt; Data Movement</a:t>
            </a:r>
          </a:p>
        </p:txBody>
      </p:sp>
    </p:spTree>
    <p:extLst>
      <p:ext uri="{BB962C8B-B14F-4D97-AF65-F5344CB8AC3E}">
        <p14:creationId xmlns:p14="http://schemas.microsoft.com/office/powerpoint/2010/main" val="36918650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GUID" val="5f31ce95-1040-41c6-ba78-10a9b2ed9970"/>
  <p:tag name="MIO_EKGUID" val="9967bc11-5d16-466f-a137-6c47858ef342"/>
  <p:tag name="MIO_UPDATE" val="True"/>
  <p:tag name="MIO_VERSION" val="02.12.2019 14:58:10"/>
  <p:tag name="MIO_DBID" val="12b0c59e-2253-4124-a5e9-470adf4cb168"/>
  <p:tag name="MIO_LASTDOWNLOADED" val="24.01.2020 05:39:39"/>
  <p:tag name="MIO_OBJECTNAME" val="Attendee Introduction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10.xml><?xml version="1.0" encoding="utf-8"?>
<a:theme xmlns:a="http://schemas.openxmlformats.org/drawingml/2006/main" name="4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1.xml><?xml version="1.0" encoding="utf-8"?>
<a:theme xmlns:a="http://schemas.openxmlformats.org/drawingml/2006/main" name="1_Azure PPT Template - 2018">
  <a:themeElements>
    <a:clrScheme name="FY 19 Azure">
      <a:dk1>
        <a:srgbClr val="000000"/>
      </a:dk1>
      <a:lt1>
        <a:srgbClr val="FFFFFF"/>
      </a:lt1>
      <a:dk2>
        <a:srgbClr val="0078D4"/>
      </a:dk2>
      <a:lt2>
        <a:srgbClr val="FFFFFF"/>
      </a:lt2>
      <a:accent1>
        <a:srgbClr val="EBEBEB"/>
      </a:accent1>
      <a:accent2>
        <a:srgbClr val="D2D2D2"/>
      </a:accent2>
      <a:accent3>
        <a:srgbClr val="757575"/>
      </a:accent3>
      <a:accent4>
        <a:srgbClr val="3C3C41"/>
      </a:accent4>
      <a:accent5>
        <a:srgbClr val="BAD80A"/>
      </a:accent5>
      <a:accent6>
        <a:srgbClr val="50E6FF"/>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2.xml><?xml version="1.0" encoding="utf-8"?>
<a:theme xmlns:a="http://schemas.openxmlformats.org/drawingml/2006/main" name="Modern Data Warehous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13.xml><?xml version="1.0" encoding="utf-8"?>
<a:theme xmlns:a="http://schemas.openxmlformats.org/drawingml/2006/main" name="3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4.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15.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6.xml><?xml version="1.0" encoding="utf-8"?>
<a:theme xmlns:a="http://schemas.openxmlformats.org/drawingml/2006/main" name="5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7.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18.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4.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13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6.xml><?xml version="1.0" encoding="utf-8"?>
<a:theme xmlns:a="http://schemas.openxmlformats.org/drawingml/2006/main" name="4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7.xml><?xml version="1.0" encoding="utf-8"?>
<a:theme xmlns:a="http://schemas.openxmlformats.org/drawingml/2006/main" name="3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9.xml><?xml version="1.0" encoding="utf-8"?>
<a:theme xmlns:a="http://schemas.openxmlformats.org/drawingml/2006/main" name="3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b66b6bb9-0c3b-4baf-b7e0-24038b18f231">
      <UserInfo>
        <DisplayName>Kyle Luikart</DisplayName>
        <AccountId>17</AccountId>
        <AccountType/>
      </UserInfo>
      <UserInfo>
        <DisplayName>Brandon Conboy</DisplayName>
        <AccountId>2976</AccountId>
        <AccountType/>
      </UserInfo>
    </SharedWithUsers>
    <_ip_UnifiedCompliancePolicyUIAction xmlns="http://schemas.microsoft.com/sharepoint/v3" xsi:nil="true"/>
    <_ip_UnifiedCompliancePolicyProperties xmlns="http://schemas.microsoft.com/sharepoint/v3" xsi:nil="true"/>
    <MediaServiceKeyPoints xmlns="6cd3d847-4521-4863-8800-2cff076dfc18"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C50C92-C6C4-4B1D-85D8-ECEBF45D1306}">
  <ds:schemaRefs>
    <ds:schemaRef ds:uri="http://purl.org/dc/terms/"/>
    <ds:schemaRef ds:uri="c15da466-223d-4a9a-9a5d-eb2bee72a60a"/>
    <ds:schemaRef ds:uri="http://schemas.microsoft.com/office/2006/metadata/properties"/>
    <ds:schemaRef ds:uri="http://purl.org/dc/elements/1.1/"/>
    <ds:schemaRef ds:uri="http://schemas.microsoft.com/office/2006/documentManagement/types"/>
    <ds:schemaRef ds:uri="http://purl.org/dc/dcmitype/"/>
    <ds:schemaRef ds:uri="5858525f-8556-4a49-8c5b-46c9ac02e9a8"/>
    <ds:schemaRef ds:uri="http://schemas.microsoft.com/office/infopath/2007/PartnerControls"/>
    <ds:schemaRef ds:uri="http://schemas.openxmlformats.org/package/2006/metadata/core-properties"/>
    <ds:schemaRef ds:uri="http://www.w3.org/XML/1998/namespace"/>
    <ds:schemaRef ds:uri="b66b6bb9-0c3b-4baf-b7e0-24038b18f231"/>
    <ds:schemaRef ds:uri="http://schemas.microsoft.com/sharepoint/v3"/>
    <ds:schemaRef ds:uri="6cd3d847-4521-4863-8800-2cff076dfc18"/>
    <ds:schemaRef ds:uri="230e9df3-be65-4c73-a93b-d1236ebd677e"/>
  </ds:schemaRefs>
</ds:datastoreItem>
</file>

<file path=customXml/itemProps2.xml><?xml version="1.0" encoding="utf-8"?>
<ds:datastoreItem xmlns:ds="http://schemas.openxmlformats.org/officeDocument/2006/customXml" ds:itemID="{E440622F-ACAB-4750-9193-A239EC5B1A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4754C41-DDFD-4EE3-914B-CD3C1F7048CC}">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1665</TotalTime>
  <Words>7074</Words>
  <Application>Microsoft Office PowerPoint</Application>
  <PresentationFormat>Widescreen</PresentationFormat>
  <Paragraphs>1362</Paragraphs>
  <Slides>70</Slides>
  <Notes>49</Notes>
  <HiddenSlides>4</HiddenSlides>
  <MMClips>0</MMClips>
  <ScaleCrop>false</ScaleCrop>
  <HeadingPairs>
    <vt:vector size="6" baseType="variant">
      <vt:variant>
        <vt:lpstr>Fonts Used</vt:lpstr>
      </vt:variant>
      <vt:variant>
        <vt:i4>13</vt:i4>
      </vt:variant>
      <vt:variant>
        <vt:lpstr>Theme</vt:lpstr>
      </vt:variant>
      <vt:variant>
        <vt:i4>18</vt:i4>
      </vt:variant>
      <vt:variant>
        <vt:lpstr>Slide Titles</vt:lpstr>
      </vt:variant>
      <vt:variant>
        <vt:i4>70</vt:i4>
      </vt:variant>
    </vt:vector>
  </HeadingPairs>
  <TitlesOfParts>
    <vt:vector size="101" baseType="lpstr">
      <vt:lpstr>Arial</vt:lpstr>
      <vt:lpstr>Calibri</vt:lpstr>
      <vt:lpstr>Calibri Light</vt:lpstr>
      <vt:lpstr>Century Gothic</vt:lpstr>
      <vt:lpstr>Comic Sans MS</vt:lpstr>
      <vt:lpstr>Consolas</vt:lpstr>
      <vt:lpstr>Segoe</vt:lpstr>
      <vt:lpstr>Segoe UI</vt:lpstr>
      <vt:lpstr>Segoe UI (Body)</vt:lpstr>
      <vt:lpstr>Segoe UI Light</vt:lpstr>
      <vt:lpstr>Segoe UI Semibold</vt:lpstr>
      <vt:lpstr>Segoe UI Semilight</vt:lpstr>
      <vt:lpstr>Wingdings</vt:lpstr>
      <vt:lpstr>White Template</vt:lpstr>
      <vt:lpstr>Microsoft 365 PPT Template - 2018</vt:lpstr>
      <vt:lpstr>2_Black Template</vt:lpstr>
      <vt:lpstr>2_WHITE TEMPLATE</vt:lpstr>
      <vt:lpstr>13_White Template</vt:lpstr>
      <vt:lpstr>4_Azure PPT Template - 2018</vt:lpstr>
      <vt:lpstr>3_WHITE TEMPLATE</vt:lpstr>
      <vt:lpstr>1_Black Template</vt:lpstr>
      <vt:lpstr>3_Black Template</vt:lpstr>
      <vt:lpstr>4_Black Template</vt:lpstr>
      <vt:lpstr>1_Azure PPT Template - 2018</vt:lpstr>
      <vt:lpstr>Modern Data Warehouse</vt:lpstr>
      <vt:lpstr>3_Microsoft 365 PPT Template - 2018</vt:lpstr>
      <vt:lpstr>PASS 2013_SpeakerTemplate_Final</vt:lpstr>
      <vt:lpstr>1_Microsoft 365 PPT Template - 2018</vt:lpstr>
      <vt:lpstr>5_Azure PPT Template - 2018</vt:lpstr>
      <vt:lpstr>Dark Blue</vt:lpstr>
      <vt:lpstr>1_Dark Blue</vt:lpstr>
      <vt:lpstr>Azure Synapse Analytics Synapse in a Day</vt:lpstr>
      <vt:lpstr>PowerPoint Presentation</vt:lpstr>
      <vt:lpstr>Agenda</vt:lpstr>
      <vt:lpstr>Demonstrations</vt:lpstr>
      <vt:lpstr>Attendee Introductions</vt:lpstr>
      <vt:lpstr>PowerPoint Presentation</vt:lpstr>
      <vt:lpstr>PowerPoint Presentation</vt:lpstr>
      <vt:lpstr>Modern Data Warehousing Patterns</vt:lpstr>
      <vt:lpstr>90+ Connectors out of the box</vt:lpstr>
      <vt:lpstr>Azure Synapse Analytics </vt:lpstr>
      <vt:lpstr>Azure Synapse Analytics</vt:lpstr>
      <vt:lpstr>Standalone Pools vs Workspace Pools</vt:lpstr>
      <vt:lpstr>What is Synapse</vt:lpstr>
      <vt:lpstr>PowerPoint Presentation</vt:lpstr>
      <vt:lpstr>PowerPoint Presentation</vt:lpstr>
      <vt:lpstr>PowerPoint Presentation</vt:lpstr>
      <vt:lpstr>PowerPoint Presentation</vt:lpstr>
      <vt:lpstr>PowerPoint Presentation</vt:lpstr>
      <vt:lpstr>Scaling Compute</vt:lpstr>
      <vt:lpstr>PowerPoint Presentation</vt:lpstr>
      <vt:lpstr>PowerPoint Presentation</vt:lpstr>
      <vt:lpstr>Synapse SQL MPP Architecture</vt:lpstr>
      <vt:lpstr>PowerPoint Presentation</vt:lpstr>
      <vt:lpstr>Compute Data Warehouse Units – Memory and  Adaptive Cache</vt:lpstr>
      <vt:lpstr>Separate Compute From Storage </vt:lpstr>
      <vt:lpstr>Independently Scale Compute </vt:lpstr>
      <vt:lpstr>Pause and Resume Workload</vt:lpstr>
      <vt:lpstr>PowerPoint Presentation</vt:lpstr>
      <vt:lpstr>Table Distribution Options</vt:lpstr>
      <vt:lpstr>Demonstration One</vt:lpstr>
      <vt:lpstr>Synapse Studio</vt:lpstr>
      <vt:lpstr>Home Hub</vt:lpstr>
      <vt:lpstr>PowerPoint Presentation</vt:lpstr>
      <vt:lpstr>Synapse Studio   Data hub</vt:lpstr>
      <vt:lpstr>Data Hub</vt:lpstr>
      <vt:lpstr>Data Hub – Linked Storage </vt:lpstr>
      <vt:lpstr>Synapse Studio   Monitor hub</vt:lpstr>
      <vt:lpstr>Monitor Hub</vt:lpstr>
      <vt:lpstr>Monitor Hub - Integration</vt:lpstr>
      <vt:lpstr>Synapse Studio   Manage hub</vt:lpstr>
      <vt:lpstr>Manage Hub</vt:lpstr>
      <vt:lpstr>Manage – dedicated SQL pools</vt:lpstr>
      <vt:lpstr>Manage – serverless SQL pools</vt:lpstr>
      <vt:lpstr>Manage – Apache Spark pools</vt:lpstr>
      <vt:lpstr>Manage – Linked services</vt:lpstr>
      <vt:lpstr>Manage – Triggers </vt:lpstr>
      <vt:lpstr>Connectivity</vt:lpstr>
      <vt:lpstr>Manage – Integration runtimes</vt:lpstr>
      <vt:lpstr>Comprehensive SQL functionality</vt:lpstr>
      <vt:lpstr>Synapse SQL (provisioned) Columnstore Tables </vt:lpstr>
      <vt:lpstr>Synapse Studio   Data Ingestion</vt:lpstr>
      <vt:lpstr>Integrate Hub </vt:lpstr>
      <vt:lpstr>Pipelines</vt:lpstr>
      <vt:lpstr>PowerPoint Presentation</vt:lpstr>
      <vt:lpstr>Data Movement</vt:lpstr>
      <vt:lpstr>Prep &amp; Transform Data</vt:lpstr>
      <vt:lpstr>Triggers</vt:lpstr>
      <vt:lpstr>Demonstration Two</vt:lpstr>
      <vt:lpstr>Demonstration Three</vt:lpstr>
      <vt:lpstr>Demonstration Four</vt:lpstr>
      <vt:lpstr>PowerPoint Presentation</vt:lpstr>
      <vt:lpstr>PowerPoint Presentation</vt:lpstr>
      <vt:lpstr>PowerPoint Presentation</vt:lpstr>
      <vt:lpstr>PowerPoint Presentation</vt:lpstr>
      <vt:lpstr>PowerPoint Presentation</vt:lpstr>
      <vt:lpstr>PowerPoint Presentation</vt:lpstr>
      <vt:lpstr>Get started today</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tics in a day   Overview session</dc:title>
  <dc:creator>Nick Dwyer</dc:creator>
  <cp:lastModifiedBy>John Deardurff</cp:lastModifiedBy>
  <cp:revision>42</cp:revision>
  <dcterms:created xsi:type="dcterms:W3CDTF">2019-09-22T06:19:48Z</dcterms:created>
  <dcterms:modified xsi:type="dcterms:W3CDTF">2022-05-07T11:0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alarse@microsoft.com</vt:lpwstr>
  </property>
  <property fmtid="{D5CDD505-2E9C-101B-9397-08002B2CF9AE}" pid="5" name="MSIP_Label_f42aa342-8706-4288-bd11-ebb85995028c_SetDate">
    <vt:lpwstr>2019-10-01T01:59:02.644072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76a9886-9900-4b0b-bdbc-5aecfae1d3bf</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A158CAB76EB234EA787464046C58889</vt:lpwstr>
  </property>
  <property fmtid="{D5CDD505-2E9C-101B-9397-08002B2CF9AE}" pid="12" name="MediaServiceImageTags">
    <vt:lpwstr/>
  </property>
</Properties>
</file>